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3" r:id="rId4"/>
  </p:sldMasterIdLst>
  <p:notesMasterIdLst>
    <p:notesMasterId r:id="rId154"/>
  </p:notesMasterIdLst>
  <p:handoutMasterIdLst>
    <p:handoutMasterId r:id="rId155"/>
  </p:handoutMasterIdLst>
  <p:sldIdLst>
    <p:sldId id="413" r:id="rId5"/>
    <p:sldId id="400" r:id="rId6"/>
    <p:sldId id="476" r:id="rId7"/>
    <p:sldId id="423" r:id="rId8"/>
    <p:sldId id="443" r:id="rId9"/>
    <p:sldId id="448" r:id="rId10"/>
    <p:sldId id="455" r:id="rId11"/>
    <p:sldId id="449" r:id="rId12"/>
    <p:sldId id="456" r:id="rId13"/>
    <p:sldId id="425" r:id="rId14"/>
    <p:sldId id="424" r:id="rId15"/>
    <p:sldId id="426" r:id="rId16"/>
    <p:sldId id="457" r:id="rId17"/>
    <p:sldId id="458" r:id="rId18"/>
    <p:sldId id="439" r:id="rId19"/>
    <p:sldId id="260" r:id="rId20"/>
    <p:sldId id="261" r:id="rId21"/>
    <p:sldId id="265" r:id="rId22"/>
    <p:sldId id="441" r:id="rId23"/>
    <p:sldId id="442" r:id="rId24"/>
    <p:sldId id="268" r:id="rId25"/>
    <p:sldId id="269" r:id="rId26"/>
    <p:sldId id="465" r:id="rId27"/>
    <p:sldId id="466" r:id="rId28"/>
    <p:sldId id="467" r:id="rId29"/>
    <p:sldId id="468" r:id="rId30"/>
    <p:sldId id="469" r:id="rId31"/>
    <p:sldId id="470" r:id="rId32"/>
    <p:sldId id="471" r:id="rId33"/>
    <p:sldId id="472" r:id="rId34"/>
    <p:sldId id="473" r:id="rId35"/>
    <p:sldId id="474" r:id="rId36"/>
    <p:sldId id="475" r:id="rId37"/>
    <p:sldId id="422" r:id="rId38"/>
    <p:sldId id="451" r:id="rId39"/>
    <p:sldId id="427" r:id="rId40"/>
    <p:sldId id="430" r:id="rId41"/>
    <p:sldId id="444" r:id="rId42"/>
    <p:sldId id="446" r:id="rId43"/>
    <p:sldId id="464" r:id="rId44"/>
    <p:sldId id="459" r:id="rId45"/>
    <p:sldId id="460" r:id="rId46"/>
    <p:sldId id="461" r:id="rId47"/>
    <p:sldId id="462" r:id="rId48"/>
    <p:sldId id="463" r:id="rId49"/>
    <p:sldId id="445" r:id="rId50"/>
    <p:sldId id="432" r:id="rId51"/>
    <p:sldId id="433" r:id="rId52"/>
    <p:sldId id="434" r:id="rId53"/>
    <p:sldId id="435" r:id="rId54"/>
    <p:sldId id="436" r:id="rId55"/>
    <p:sldId id="437" r:id="rId56"/>
    <p:sldId id="438" r:id="rId57"/>
    <p:sldId id="429" r:id="rId58"/>
    <p:sldId id="415" r:id="rId59"/>
    <p:sldId id="259" r:id="rId60"/>
    <p:sldId id="421" r:id="rId61"/>
    <p:sldId id="440" r:id="rId62"/>
    <p:sldId id="419" r:id="rId63"/>
    <p:sldId id="403" r:id="rId64"/>
    <p:sldId id="402" r:id="rId65"/>
    <p:sldId id="404" r:id="rId66"/>
    <p:sldId id="405" r:id="rId67"/>
    <p:sldId id="406" r:id="rId68"/>
    <p:sldId id="407" r:id="rId69"/>
    <p:sldId id="408" r:id="rId70"/>
    <p:sldId id="409" r:id="rId71"/>
    <p:sldId id="410" r:id="rId72"/>
    <p:sldId id="411" r:id="rId73"/>
    <p:sldId id="315" r:id="rId74"/>
    <p:sldId id="318" r:id="rId75"/>
    <p:sldId id="356" r:id="rId76"/>
    <p:sldId id="357" r:id="rId77"/>
    <p:sldId id="375" r:id="rId78"/>
    <p:sldId id="311" r:id="rId79"/>
    <p:sldId id="379" r:id="rId80"/>
    <p:sldId id="380" r:id="rId81"/>
    <p:sldId id="314" r:id="rId82"/>
    <p:sldId id="309" r:id="rId83"/>
    <p:sldId id="336" r:id="rId84"/>
    <p:sldId id="359" r:id="rId85"/>
    <p:sldId id="376" r:id="rId86"/>
    <p:sldId id="324" r:id="rId87"/>
    <p:sldId id="326" r:id="rId88"/>
    <p:sldId id="330" r:id="rId89"/>
    <p:sldId id="332" r:id="rId90"/>
    <p:sldId id="333" r:id="rId91"/>
    <p:sldId id="335" r:id="rId92"/>
    <p:sldId id="348" r:id="rId93"/>
    <p:sldId id="319" r:id="rId94"/>
    <p:sldId id="270" r:id="rId95"/>
    <p:sldId id="300" r:id="rId96"/>
    <p:sldId id="280" r:id="rId97"/>
    <p:sldId id="301" r:id="rId98"/>
    <p:sldId id="279" r:id="rId99"/>
    <p:sldId id="263" r:id="rId100"/>
    <p:sldId id="258" r:id="rId101"/>
    <p:sldId id="266" r:id="rId102"/>
    <p:sldId id="349" r:id="rId103"/>
    <p:sldId id="361" r:id="rId104"/>
    <p:sldId id="360" r:id="rId105"/>
    <p:sldId id="363" r:id="rId106"/>
    <p:sldId id="369" r:id="rId107"/>
    <p:sldId id="277" r:id="rId108"/>
    <p:sldId id="306" r:id="rId109"/>
    <p:sldId id="367" r:id="rId110"/>
    <p:sldId id="281" r:id="rId111"/>
    <p:sldId id="343" r:id="rId112"/>
    <p:sldId id="344" r:id="rId113"/>
    <p:sldId id="345" r:id="rId114"/>
    <p:sldId id="316" r:id="rId115"/>
    <p:sldId id="417" r:id="rId116"/>
    <p:sldId id="317" r:id="rId117"/>
    <p:sldId id="364" r:id="rId118"/>
    <p:sldId id="305" r:id="rId119"/>
    <p:sldId id="267" r:id="rId120"/>
    <p:sldId id="284" r:id="rId121"/>
    <p:sldId id="414" r:id="rId122"/>
    <p:sldId id="327" r:id="rId123"/>
    <p:sldId id="286" r:id="rId124"/>
    <p:sldId id="338" r:id="rId125"/>
    <p:sldId id="292" r:id="rId126"/>
    <p:sldId id="302" r:id="rId127"/>
    <p:sldId id="303" r:id="rId128"/>
    <p:sldId id="304" r:id="rId129"/>
    <p:sldId id="289" r:id="rId130"/>
    <p:sldId id="288" r:id="rId131"/>
    <p:sldId id="387" r:id="rId132"/>
    <p:sldId id="385" r:id="rId133"/>
    <p:sldId id="386" r:id="rId134"/>
    <p:sldId id="291" r:id="rId135"/>
    <p:sldId id="362" r:id="rId136"/>
    <p:sldId id="374" r:id="rId137"/>
    <p:sldId id="381" r:id="rId138"/>
    <p:sldId id="372" r:id="rId139"/>
    <p:sldId id="365" r:id="rId140"/>
    <p:sldId id="366" r:id="rId141"/>
    <p:sldId id="307" r:id="rId142"/>
    <p:sldId id="287" r:id="rId143"/>
    <p:sldId id="358" r:id="rId144"/>
    <p:sldId id="350" r:id="rId145"/>
    <p:sldId id="353" r:id="rId146"/>
    <p:sldId id="352" r:id="rId147"/>
    <p:sldId id="354" r:id="rId148"/>
    <p:sldId id="382" r:id="rId149"/>
    <p:sldId id="388" r:id="rId150"/>
    <p:sldId id="416" r:id="rId151"/>
    <p:sldId id="418" r:id="rId152"/>
    <p:sldId id="271" r:id="rId153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2DCAD3A-FBBF-43E9-AEEF-3B54D8AC8B79}">
          <p14:sldIdLst>
            <p14:sldId id="413"/>
          </p14:sldIdLst>
        </p14:section>
        <p14:section name="Basic Slides" id="{07DB77FA-195E-4E31-B399-5BFDA9E3EC94}">
          <p14:sldIdLst>
            <p14:sldId id="400"/>
            <p14:sldId id="476"/>
            <p14:sldId id="423"/>
            <p14:sldId id="443"/>
            <p14:sldId id="448"/>
            <p14:sldId id="455"/>
            <p14:sldId id="449"/>
            <p14:sldId id="456"/>
            <p14:sldId id="425"/>
            <p14:sldId id="424"/>
            <p14:sldId id="426"/>
            <p14:sldId id="457"/>
            <p14:sldId id="458"/>
            <p14:sldId id="439"/>
            <p14:sldId id="260"/>
            <p14:sldId id="261"/>
            <p14:sldId id="265"/>
            <p14:sldId id="441"/>
            <p14:sldId id="442"/>
            <p14:sldId id="268"/>
            <p14:sldId id="269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22"/>
            <p14:sldId id="451"/>
            <p14:sldId id="427"/>
            <p14:sldId id="430"/>
            <p14:sldId id="444"/>
            <p14:sldId id="446"/>
            <p14:sldId id="464"/>
            <p14:sldId id="459"/>
            <p14:sldId id="460"/>
            <p14:sldId id="461"/>
            <p14:sldId id="462"/>
            <p14:sldId id="463"/>
            <p14:sldId id="445"/>
            <p14:sldId id="432"/>
            <p14:sldId id="433"/>
            <p14:sldId id="434"/>
            <p14:sldId id="435"/>
            <p14:sldId id="436"/>
            <p14:sldId id="437"/>
            <p14:sldId id="438"/>
            <p14:sldId id="429"/>
            <p14:sldId id="415"/>
            <p14:sldId id="259"/>
            <p14:sldId id="421"/>
            <p14:sldId id="440"/>
            <p14:sldId id="419"/>
            <p14:sldId id="403"/>
            <p14:sldId id="402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</p14:sldIdLst>
        </p14:section>
        <p14:section name="Who we are" id="{1EBF4275-909C-4944-A54A-C370A59848EE}">
          <p14:sldIdLst>
            <p14:sldId id="315"/>
            <p14:sldId id="318"/>
            <p14:sldId id="356"/>
            <p14:sldId id="357"/>
            <p14:sldId id="375"/>
            <p14:sldId id="311"/>
            <p14:sldId id="379"/>
            <p14:sldId id="380"/>
            <p14:sldId id="314"/>
            <p14:sldId id="309"/>
            <p14:sldId id="336"/>
            <p14:sldId id="359"/>
            <p14:sldId id="376"/>
            <p14:sldId id="324"/>
            <p14:sldId id="326"/>
            <p14:sldId id="330"/>
            <p14:sldId id="332"/>
            <p14:sldId id="333"/>
            <p14:sldId id="335"/>
            <p14:sldId id="348"/>
          </p14:sldIdLst>
        </p14:section>
        <p14:section name="Our Services" id="{C28991D5-8D4E-40C0-A8CB-F91963C36494}">
          <p14:sldIdLst>
            <p14:sldId id="319"/>
            <p14:sldId id="270"/>
            <p14:sldId id="300"/>
            <p14:sldId id="280"/>
            <p14:sldId id="301"/>
            <p14:sldId id="279"/>
          </p14:sldIdLst>
        </p14:section>
        <p14:section name="Charts" id="{CC168870-245D-40CC-88BA-E6E3AC13A8C9}">
          <p14:sldIdLst>
            <p14:sldId id="263"/>
            <p14:sldId id="258"/>
            <p14:sldId id="266"/>
            <p14:sldId id="349"/>
            <p14:sldId id="361"/>
            <p14:sldId id="360"/>
            <p14:sldId id="363"/>
            <p14:sldId id="369"/>
            <p14:sldId id="277"/>
            <p14:sldId id="306"/>
            <p14:sldId id="367"/>
            <p14:sldId id="281"/>
            <p14:sldId id="343"/>
            <p14:sldId id="344"/>
            <p14:sldId id="345"/>
            <p14:sldId id="316"/>
            <p14:sldId id="417"/>
            <p14:sldId id="317"/>
            <p14:sldId id="364"/>
            <p14:sldId id="305"/>
          </p14:sldIdLst>
        </p14:section>
        <p14:section name="Analytics" id="{D57A7B79-37E0-4541-B0AE-126C74EE8806}">
          <p14:sldIdLst>
            <p14:sldId id="267"/>
            <p14:sldId id="284"/>
            <p14:sldId id="414"/>
            <p14:sldId id="327"/>
            <p14:sldId id="286"/>
            <p14:sldId id="338"/>
            <p14:sldId id="292"/>
            <p14:sldId id="302"/>
            <p14:sldId id="303"/>
            <p14:sldId id="304"/>
            <p14:sldId id="289"/>
            <p14:sldId id="288"/>
            <p14:sldId id="387"/>
            <p14:sldId id="385"/>
            <p14:sldId id="386"/>
            <p14:sldId id="291"/>
            <p14:sldId id="362"/>
            <p14:sldId id="374"/>
            <p14:sldId id="381"/>
            <p14:sldId id="372"/>
            <p14:sldId id="365"/>
            <p14:sldId id="366"/>
            <p14:sldId id="307"/>
            <p14:sldId id="287"/>
            <p14:sldId id="358"/>
            <p14:sldId id="350"/>
            <p14:sldId id="353"/>
            <p14:sldId id="352"/>
            <p14:sldId id="354"/>
            <p14:sldId id="382"/>
            <p14:sldId id="388"/>
            <p14:sldId id="416"/>
            <p14:sldId id="418"/>
          </p14:sldIdLst>
        </p14:section>
        <p14:section name="Icons" id="{F52D23C0-6D4B-4B39-B9EA-23E4A4197502}">
          <p14:sldIdLst>
            <p14:sldId id="27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057C"/>
    <a:srgbClr val="0BCC40"/>
    <a:srgbClr val="00E945"/>
    <a:srgbClr val="65E85A"/>
    <a:srgbClr val="6DEE58"/>
    <a:srgbClr val="55B441"/>
    <a:srgbClr val="91969B"/>
    <a:srgbClr val="F6F8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70"/>
    <p:restoredTop sz="94696"/>
  </p:normalViewPr>
  <p:slideViewPr>
    <p:cSldViewPr snapToGrid="0">
      <p:cViewPr varScale="1">
        <p:scale>
          <a:sx n="105" d="100"/>
          <a:sy n="105" d="100"/>
        </p:scale>
        <p:origin x="61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63" Type="http://schemas.openxmlformats.org/officeDocument/2006/relationships/slide" Target="slides/slide59.xml"/><Relationship Id="rId84" Type="http://schemas.openxmlformats.org/officeDocument/2006/relationships/slide" Target="slides/slide80.xml"/><Relationship Id="rId138" Type="http://schemas.openxmlformats.org/officeDocument/2006/relationships/slide" Target="slides/slide134.xml"/><Relationship Id="rId159" Type="http://schemas.openxmlformats.org/officeDocument/2006/relationships/tableStyles" Target="tableStyles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53" Type="http://schemas.openxmlformats.org/officeDocument/2006/relationships/slide" Target="slides/slide49.xml"/><Relationship Id="rId74" Type="http://schemas.openxmlformats.org/officeDocument/2006/relationships/slide" Target="slides/slide70.xml"/><Relationship Id="rId128" Type="http://schemas.openxmlformats.org/officeDocument/2006/relationships/slide" Target="slides/slide124.xml"/><Relationship Id="rId149" Type="http://schemas.openxmlformats.org/officeDocument/2006/relationships/slide" Target="slides/slide145.xml"/><Relationship Id="rId5" Type="http://schemas.openxmlformats.org/officeDocument/2006/relationships/slide" Target="slides/slide1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43" Type="http://schemas.openxmlformats.org/officeDocument/2006/relationships/slide" Target="slides/slide39.xml"/><Relationship Id="rId64" Type="http://schemas.openxmlformats.org/officeDocument/2006/relationships/slide" Target="slides/slide60.xml"/><Relationship Id="rId118" Type="http://schemas.openxmlformats.org/officeDocument/2006/relationships/slide" Target="slides/slide114.xml"/><Relationship Id="rId139" Type="http://schemas.openxmlformats.org/officeDocument/2006/relationships/slide" Target="slides/slide135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50" Type="http://schemas.openxmlformats.org/officeDocument/2006/relationships/slide" Target="slides/slide146.xml"/><Relationship Id="rId155" Type="http://schemas.openxmlformats.org/officeDocument/2006/relationships/handoutMaster" Target="handoutMasters/handoutMaster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24" Type="http://schemas.openxmlformats.org/officeDocument/2006/relationships/slide" Target="slides/slide120.xml"/><Relationship Id="rId129" Type="http://schemas.openxmlformats.org/officeDocument/2006/relationships/slide" Target="slides/slide125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40" Type="http://schemas.openxmlformats.org/officeDocument/2006/relationships/slide" Target="slides/slide136.xml"/><Relationship Id="rId145" Type="http://schemas.openxmlformats.org/officeDocument/2006/relationships/slide" Target="slides/slide14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44" Type="http://schemas.openxmlformats.org/officeDocument/2006/relationships/slide" Target="slides/slide40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130" Type="http://schemas.openxmlformats.org/officeDocument/2006/relationships/slide" Target="slides/slide126.xml"/><Relationship Id="rId135" Type="http://schemas.openxmlformats.org/officeDocument/2006/relationships/slide" Target="slides/slide131.xml"/><Relationship Id="rId151" Type="http://schemas.openxmlformats.org/officeDocument/2006/relationships/slide" Target="slides/slide147.xml"/><Relationship Id="rId156" Type="http://schemas.openxmlformats.org/officeDocument/2006/relationships/presProps" Target="presProps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slide" Target="slides/slide121.xml"/><Relationship Id="rId141" Type="http://schemas.openxmlformats.org/officeDocument/2006/relationships/slide" Target="slides/slide137.xml"/><Relationship Id="rId146" Type="http://schemas.openxmlformats.org/officeDocument/2006/relationships/slide" Target="slides/slide14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131" Type="http://schemas.openxmlformats.org/officeDocument/2006/relationships/slide" Target="slides/slide127.xml"/><Relationship Id="rId136" Type="http://schemas.openxmlformats.org/officeDocument/2006/relationships/slide" Target="slides/slide132.xml"/><Relationship Id="rId157" Type="http://schemas.openxmlformats.org/officeDocument/2006/relationships/viewProps" Target="viewProps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52" Type="http://schemas.openxmlformats.org/officeDocument/2006/relationships/slide" Target="slides/slide14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26" Type="http://schemas.openxmlformats.org/officeDocument/2006/relationships/slide" Target="slides/slide122.xml"/><Relationship Id="rId147" Type="http://schemas.openxmlformats.org/officeDocument/2006/relationships/slide" Target="slides/slide14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142" Type="http://schemas.openxmlformats.org/officeDocument/2006/relationships/slide" Target="slides/slide138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slide" Target="slides/slide112.xml"/><Relationship Id="rId137" Type="http://schemas.openxmlformats.org/officeDocument/2006/relationships/slide" Target="slides/slide133.xml"/><Relationship Id="rId158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32" Type="http://schemas.openxmlformats.org/officeDocument/2006/relationships/slide" Target="slides/slide128.xml"/><Relationship Id="rId153" Type="http://schemas.openxmlformats.org/officeDocument/2006/relationships/slide" Target="slides/slide149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27" Type="http://schemas.openxmlformats.org/officeDocument/2006/relationships/slide" Target="slides/slide12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slide" Target="slides/slide118.xml"/><Relationship Id="rId143" Type="http://schemas.openxmlformats.org/officeDocument/2006/relationships/slide" Target="slides/slide139.xml"/><Relationship Id="rId148" Type="http://schemas.openxmlformats.org/officeDocument/2006/relationships/slide" Target="slides/slide14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26" Type="http://schemas.openxmlformats.org/officeDocument/2006/relationships/slide" Target="slides/slide22.xml"/><Relationship Id="rId47" Type="http://schemas.openxmlformats.org/officeDocument/2006/relationships/slide" Target="slides/slide43.xml"/><Relationship Id="rId68" Type="http://schemas.openxmlformats.org/officeDocument/2006/relationships/slide" Target="slides/slide64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33" Type="http://schemas.openxmlformats.org/officeDocument/2006/relationships/slide" Target="slides/slide129.xml"/><Relationship Id="rId154" Type="http://schemas.openxmlformats.org/officeDocument/2006/relationships/notesMaster" Target="notesMasters/notesMaster1.xml"/><Relationship Id="rId16" Type="http://schemas.openxmlformats.org/officeDocument/2006/relationships/slide" Target="slides/slide12.xml"/><Relationship Id="rId37" Type="http://schemas.openxmlformats.org/officeDocument/2006/relationships/slide" Target="slides/slide33.xml"/><Relationship Id="rId58" Type="http://schemas.openxmlformats.org/officeDocument/2006/relationships/slide" Target="slides/slide54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slide" Target="slides/slide119.xml"/><Relationship Id="rId144" Type="http://schemas.openxmlformats.org/officeDocument/2006/relationships/slide" Target="slides/slide140.xml"/><Relationship Id="rId90" Type="http://schemas.openxmlformats.org/officeDocument/2006/relationships/slide" Target="slides/slide86.xml"/><Relationship Id="rId27" Type="http://schemas.openxmlformats.org/officeDocument/2006/relationships/slide" Target="slides/slide23.xml"/><Relationship Id="rId48" Type="http://schemas.openxmlformats.org/officeDocument/2006/relationships/slide" Target="slides/slide44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34" Type="http://schemas.openxmlformats.org/officeDocument/2006/relationships/slide" Target="slides/slide13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Net Income</c:v>
                </c:pt>
                <c:pt idx="1">
                  <c:v>Revenue</c:v>
                </c:pt>
                <c:pt idx="2">
                  <c:v>Operating Income</c:v>
                </c:pt>
                <c:pt idx="3">
                  <c:v>Expenses</c:v>
                </c:pt>
                <c:pt idx="4">
                  <c:v>Assets</c:v>
                </c:pt>
                <c:pt idx="5">
                  <c:v>Equity</c:v>
                </c:pt>
              </c:strCache>
            </c:strRef>
          </c:cat>
          <c:val>
            <c:numRef>
              <c:f>Sheet1!$B$2:$B$7</c:f>
              <c:numCache>
                <c:formatCode>"$"#,##0</c:formatCode>
                <c:ptCount val="6"/>
                <c:pt idx="0">
                  <c:v>250000</c:v>
                </c:pt>
                <c:pt idx="1">
                  <c:v>550000</c:v>
                </c:pt>
                <c:pt idx="2">
                  <c:v>120000</c:v>
                </c:pt>
                <c:pt idx="3">
                  <c:v>600000</c:v>
                </c:pt>
                <c:pt idx="4">
                  <c:v>380000</c:v>
                </c:pt>
                <c:pt idx="5">
                  <c:v>28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2E-4056-AAB0-3981BAE5B9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Net Income</c:v>
                </c:pt>
                <c:pt idx="1">
                  <c:v>Revenue</c:v>
                </c:pt>
                <c:pt idx="2">
                  <c:v>Operating Income</c:v>
                </c:pt>
                <c:pt idx="3">
                  <c:v>Expenses</c:v>
                </c:pt>
                <c:pt idx="4">
                  <c:v>Assets</c:v>
                </c:pt>
                <c:pt idx="5">
                  <c:v>Equity</c:v>
                </c:pt>
              </c:strCache>
            </c:strRef>
          </c:cat>
          <c:val>
            <c:numRef>
              <c:f>Sheet1!$C$2:$C$7</c:f>
              <c:numCache>
                <c:formatCode>"$"#,##0</c:formatCode>
                <c:ptCount val="6"/>
                <c:pt idx="0">
                  <c:v>270000</c:v>
                </c:pt>
                <c:pt idx="1">
                  <c:v>650000</c:v>
                </c:pt>
                <c:pt idx="2">
                  <c:v>150000</c:v>
                </c:pt>
                <c:pt idx="3">
                  <c:v>350000</c:v>
                </c:pt>
                <c:pt idx="4">
                  <c:v>450000</c:v>
                </c:pt>
                <c:pt idx="5">
                  <c:v>3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2E-4056-AAB0-3981BAE5B9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Net Income</c:v>
                </c:pt>
                <c:pt idx="1">
                  <c:v>Revenue</c:v>
                </c:pt>
                <c:pt idx="2">
                  <c:v>Operating Income</c:v>
                </c:pt>
                <c:pt idx="3">
                  <c:v>Expenses</c:v>
                </c:pt>
                <c:pt idx="4">
                  <c:v>Assets</c:v>
                </c:pt>
                <c:pt idx="5">
                  <c:v>Equity</c:v>
                </c:pt>
              </c:strCache>
            </c:strRef>
          </c:cat>
          <c:val>
            <c:numRef>
              <c:f>Sheet1!$D$2:$D$7</c:f>
              <c:numCache>
                <c:formatCode>"$"#,##0</c:formatCode>
                <c:ptCount val="6"/>
                <c:pt idx="0">
                  <c:v>350000</c:v>
                </c:pt>
                <c:pt idx="1">
                  <c:v>750000</c:v>
                </c:pt>
                <c:pt idx="2">
                  <c:v>250000</c:v>
                </c:pt>
                <c:pt idx="3">
                  <c:v>700000</c:v>
                </c:pt>
                <c:pt idx="4">
                  <c:v>550000</c:v>
                </c:pt>
                <c:pt idx="5">
                  <c:v>42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2E-4056-AAB0-3981BAE5B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-15"/>
        <c:axId val="536070936"/>
        <c:axId val="536073680"/>
      </c:barChart>
      <c:catAx>
        <c:axId val="536070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073680"/>
        <c:crosses val="autoZero"/>
        <c:auto val="1"/>
        <c:lblAlgn val="ctr"/>
        <c:lblOffset val="100"/>
        <c:noMultiLvlLbl val="0"/>
      </c:catAx>
      <c:valAx>
        <c:axId val="536073680"/>
        <c:scaling>
          <c:orientation val="minMax"/>
        </c:scaling>
        <c:delete val="0"/>
        <c:axPos val="l"/>
        <c:numFmt formatCode="&quot;$&quot;#,##0" sourceLinked="1"/>
        <c:majorTickMark val="in"/>
        <c:minorTickMark val="none"/>
        <c:tickLblPos val="nextTo"/>
        <c:spPr>
          <a:noFill/>
          <a:ln w="9525"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070936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5F-48BD-B6A1-FAC191B8660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5F-48BD-B6A1-FAC191B8660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5F-48BD-B6A1-FAC191B8660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5F-48BD-B6A1-FAC191B8660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Google</c:v>
                </c:pt>
                <c:pt idx="1">
                  <c:v>Direct</c:v>
                </c:pt>
                <c:pt idx="2">
                  <c:v>Search Engine</c:v>
                </c:pt>
                <c:pt idx="3">
                  <c:v>Affiliate 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8</c:v>
                </c:pt>
                <c:pt idx="1">
                  <c:v>0.12</c:v>
                </c:pt>
                <c:pt idx="2">
                  <c:v>0.18</c:v>
                </c:pt>
                <c:pt idx="3">
                  <c:v>0.32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85F-48BD-B6A1-FAC191B866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31708176"/>
        <c:axId val="531704256"/>
      </c:barChart>
      <c:catAx>
        <c:axId val="53170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1704256"/>
        <c:crosses val="autoZero"/>
        <c:auto val="1"/>
        <c:lblAlgn val="ctr"/>
        <c:lblOffset val="100"/>
        <c:noMultiLvlLbl val="0"/>
      </c:catAx>
      <c:valAx>
        <c:axId val="531704256"/>
        <c:scaling>
          <c:orientation val="minMax"/>
          <c:max val="0.5"/>
          <c:min val="0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1708176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4B-479F-9F7F-B9EBD0CE9933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4B-479F-9F7F-B9EBD0CE993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4B-479F-9F7F-B9EBD0CE99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B2-4307-AE0E-7B81A518B9D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B2-4307-AE0E-7B81A518B9D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5</c:v>
                </c:pt>
                <c:pt idx="1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B2-4307-AE0E-7B81A518B9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A7-42BB-9E08-50D2A3552D90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A7-42BB-9E08-50D2A3552D9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7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A7-42BB-9E08-50D2A3552D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FD6-42AA-B742-145EB2EB295C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FD6-42AA-B742-145EB2EB295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3</c:v>
                </c:pt>
                <c:pt idx="1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D6-42AA-B742-145EB2EB2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44-47AD-846D-6B76DC8F02E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44-47AD-846D-6B76DC8F02E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2</c:v>
                </c:pt>
                <c:pt idx="1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244-47AD-846D-6B76DC8F02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231-4E5D-A418-7E4D293DF765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231-4E5D-A418-7E4D293DF76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3</c:v>
                </c:pt>
                <c:pt idx="1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31-4E5D-A418-7E4D293DF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287-4837-BA16-67E4E52716AC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287-4837-BA16-67E4E52716A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87-4837-BA16-67E4E52716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54B-48E8-AC9A-CCC67D6500F1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54B-48E8-AC9A-CCC67D6500F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4</c:v>
                </c:pt>
                <c:pt idx="1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54B-48E8-AC9A-CCC67D6500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E79-4A86-BC22-1AEE53E9FAF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79-4A86-BC22-1AEE53E9FAF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3</c:v>
                </c:pt>
                <c:pt idx="1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79-4A86-BC22-1AEE53E9FA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b Desig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anuary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09-4ECC-8C80-97353CC85A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b Dev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anuary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09-4ECC-8C80-97353CC85A2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bile App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anuary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09-4ECC-8C80-97353CC85A2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rand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anuary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09-4ECC-8C80-97353CC85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-25"/>
        <c:axId val="536313088"/>
        <c:axId val="536317008"/>
      </c:barChart>
      <c:catAx>
        <c:axId val="53631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7008"/>
        <c:crosses val="autoZero"/>
        <c:auto val="1"/>
        <c:lblAlgn val="ctr"/>
        <c:lblOffset val="100"/>
        <c:noMultiLvlLbl val="0"/>
      </c:catAx>
      <c:valAx>
        <c:axId val="536317008"/>
        <c:scaling>
          <c:orientation val="minMax"/>
        </c:scaling>
        <c:delete val="1"/>
        <c:axPos val="l"/>
        <c:numFmt formatCode="0%" sourceLinked="1"/>
        <c:majorTickMark val="in"/>
        <c:minorTickMark val="none"/>
        <c:tickLblPos val="nextTo"/>
        <c:crossAx val="536313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C7E-4E19-9CEB-5A8C149127C0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C7E-4E19-9CEB-5A8C149127C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8000000000000003</c:v>
                </c:pt>
                <c:pt idx="1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7E-4E19-9CEB-5A8C14912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2C-46AD-A667-54BFD2189B0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2C-46AD-A667-54BFD2189B0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12C-46AD-A667-54BFD2189B0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12C-46AD-A667-54BFD2189B0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3</c:v>
                </c:pt>
                <c:pt idx="1">
                  <c:v>0.17</c:v>
                </c:pt>
                <c:pt idx="2">
                  <c:v>0.18</c:v>
                </c:pt>
                <c:pt idx="3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12C-46AD-A667-54BFD2189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53647330098721E-2"/>
          <c:y val="0.87768511890559098"/>
          <c:w val="0.87568851620083521"/>
          <c:h val="0.122314881094408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b Desig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ebruary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83-4620-B9EC-0BF73FD443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b Dev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ebruary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83-4620-B9EC-0BF73FD443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bile App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ebruary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83-4620-B9EC-0BF73FD443E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rand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ebruary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83-4620-B9EC-0BF73FD44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-25"/>
        <c:axId val="536314656"/>
        <c:axId val="536310736"/>
      </c:barChart>
      <c:catAx>
        <c:axId val="536314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0736"/>
        <c:crosses val="autoZero"/>
        <c:auto val="1"/>
        <c:lblAlgn val="ctr"/>
        <c:lblOffset val="100"/>
        <c:noMultiLvlLbl val="0"/>
      </c:catAx>
      <c:valAx>
        <c:axId val="536310736"/>
        <c:scaling>
          <c:orientation val="minMax"/>
        </c:scaling>
        <c:delete val="1"/>
        <c:axPos val="l"/>
        <c:numFmt formatCode="0%" sourceLinked="1"/>
        <c:majorTickMark val="in"/>
        <c:minorTickMark val="none"/>
        <c:tickLblPos val="nextTo"/>
        <c:crossAx val="536314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847491557114342E-2"/>
          <c:y val="6.071756250062478E-2"/>
          <c:w val="0.88813551857434847"/>
          <c:h val="0.827442599737397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b Desig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rch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DB-4CE2-A230-CCFAC6C0A3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b Dev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rch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DB-4CE2-A230-CCFAC6C0A31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bile App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rch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DB-4CE2-A230-CCFAC6C0A31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rand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rch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DB-4CE2-A230-CCFAC6C0A3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-25"/>
        <c:axId val="536311128"/>
        <c:axId val="536317400"/>
      </c:barChart>
      <c:catAx>
        <c:axId val="536311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7400"/>
        <c:crosses val="autoZero"/>
        <c:auto val="1"/>
        <c:lblAlgn val="ctr"/>
        <c:lblOffset val="100"/>
        <c:noMultiLvlLbl val="0"/>
      </c:catAx>
      <c:valAx>
        <c:axId val="536317400"/>
        <c:scaling>
          <c:orientation val="minMax"/>
        </c:scaling>
        <c:delete val="1"/>
        <c:axPos val="l"/>
        <c:numFmt formatCode="0%" sourceLinked="1"/>
        <c:majorTickMark val="in"/>
        <c:minorTickMark val="none"/>
        <c:tickLblPos val="nextTo"/>
        <c:crossAx val="536311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anuar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408-4D11-880F-94E0787AABF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408-4D11-880F-94E0787AABF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408-4D11-880F-94E0787AABF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408-4D11-880F-94E0787AABF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408-4D11-880F-94E0787AAB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</c:strCache>
            </c:strRef>
          </c:cat>
          <c:val>
            <c:numRef>
              <c:f>Sheet1!$B$2:$B$7</c:f>
              <c:numCache>
                <c:formatCode>0</c:formatCode>
                <c:ptCount val="6"/>
                <c:pt idx="0">
                  <c:v>950</c:v>
                </c:pt>
                <c:pt idx="1">
                  <c:v>1300</c:v>
                </c:pt>
                <c:pt idx="2">
                  <c:v>1800</c:v>
                </c:pt>
                <c:pt idx="3">
                  <c:v>2200</c:v>
                </c:pt>
                <c:pt idx="4">
                  <c:v>3500</c:v>
                </c:pt>
                <c:pt idx="5">
                  <c:v>4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408-4D11-880F-94E0787AAB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36315440"/>
        <c:axId val="536316224"/>
      </c:barChart>
      <c:catAx>
        <c:axId val="53631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6224"/>
        <c:crosses val="autoZero"/>
        <c:auto val="1"/>
        <c:lblAlgn val="ctr"/>
        <c:lblOffset val="100"/>
        <c:noMultiLvlLbl val="0"/>
      </c:catAx>
      <c:valAx>
        <c:axId val="536316224"/>
        <c:scaling>
          <c:orientation val="minMax"/>
        </c:scaling>
        <c:delete val="0"/>
        <c:axPos val="l"/>
        <c:numFmt formatCode="0" sourceLinked="1"/>
        <c:majorTickMark val="in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5440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anuar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6F-44DB-9757-7898CB4A3E5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6F-44DB-9757-7898CB4A3E5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6F-44DB-9757-7898CB4A3E5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6F-44DB-9757-7898CB4A3E5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</c:strCache>
            </c:strRef>
          </c:cat>
          <c:val>
            <c:numRef>
              <c:f>Sheet1!$B$2:$B$7</c:f>
              <c:numCache>
                <c:formatCode>0</c:formatCode>
                <c:ptCount val="6"/>
                <c:pt idx="0">
                  <c:v>1100</c:v>
                </c:pt>
                <c:pt idx="1">
                  <c:v>1600</c:v>
                </c:pt>
                <c:pt idx="2">
                  <c:v>2200</c:v>
                </c:pt>
                <c:pt idx="3">
                  <c:v>2600</c:v>
                </c:pt>
                <c:pt idx="4">
                  <c:v>4200</c:v>
                </c:pt>
                <c:pt idx="5">
                  <c:v>5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46F-44DB-9757-7898CB4A3E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36316616"/>
        <c:axId val="536310344"/>
      </c:barChart>
      <c:catAx>
        <c:axId val="536316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0344"/>
        <c:crosses val="autoZero"/>
        <c:auto val="1"/>
        <c:lblAlgn val="ctr"/>
        <c:lblOffset val="100"/>
        <c:noMultiLvlLbl val="0"/>
      </c:catAx>
      <c:valAx>
        <c:axId val="536310344"/>
        <c:scaling>
          <c:orientation val="minMax"/>
        </c:scaling>
        <c:delete val="0"/>
        <c:axPos val="l"/>
        <c:numFmt formatCode="0" sourceLinked="1"/>
        <c:majorTickMark val="in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536316616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April</c:v>
                </c:pt>
                <c:pt idx="1">
                  <c:v>March</c:v>
                </c:pt>
                <c:pt idx="2">
                  <c:v>February</c:v>
                </c:pt>
                <c:pt idx="3">
                  <c:v>January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</c:v>
                </c:pt>
                <c:pt idx="1">
                  <c:v>0.4</c:v>
                </c:pt>
                <c:pt idx="2">
                  <c:v>0.4</c:v>
                </c:pt>
                <c:pt idx="3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EE-4A18-A226-C1A2DBBE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536311912"/>
        <c:axId val="536312696"/>
      </c:barChart>
      <c:catAx>
        <c:axId val="5363119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6312696"/>
        <c:crosses val="autoZero"/>
        <c:auto val="1"/>
        <c:lblAlgn val="ctr"/>
        <c:lblOffset val="100"/>
        <c:noMultiLvlLbl val="0"/>
      </c:catAx>
      <c:valAx>
        <c:axId val="536312696"/>
        <c:scaling>
          <c:orientation val="minMax"/>
          <c:max val="400"/>
        </c:scaling>
        <c:delete val="0"/>
        <c:axPos val="b"/>
        <c:numFmt formatCode="0%" sourceLinked="1"/>
        <c:majorTickMark val="in"/>
        <c:minorTickMark val="none"/>
        <c:tickLblPos val="nextTo"/>
        <c:spPr>
          <a:noFill/>
          <a:ln w="9525"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Lato" panose="020F0502020204030203" pitchFamily="34" charset="0"/>
                <a:ea typeface="+mn-ea"/>
                <a:cs typeface="+mn-cs"/>
              </a:defRPr>
            </a:pPr>
            <a:endParaRPr lang="en-US"/>
          </a:p>
        </c:txPr>
        <c:crossAx val="536311912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3F2-4051-935E-2A9394F8447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3F2-4051-935E-2A9394F8447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3F2-4051-935E-2A9394F8447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3F2-4051-935E-2A9394F8447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5</c:v>
                </c:pt>
                <c:pt idx="1">
                  <c:v>0.44</c:v>
                </c:pt>
                <c:pt idx="2">
                  <c:v>0.16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3F2-4051-935E-2A9394F844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01-47CB-9345-99E4F128BE5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01-47CB-9345-99E4F128BE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Lato" panose="020F050202020403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Returing Customers</c:v>
                </c:pt>
                <c:pt idx="1">
                  <c:v>New Customer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6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101-47CB-9345-99E4F128BE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1"/>
              </a:solidFill>
              <a:latin typeface="Lato" panose="020F050202020403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13EE18-1ADC-4BAA-B192-C546B6151C6C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1FE1DA1-F58B-4C0A-A68E-B1213BE2D1F4}">
      <dgm:prSet phldrT="[Text]" custT="1"/>
      <dgm:spPr>
        <a:solidFill>
          <a:schemeClr val="accent1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ts val="1600"/>
            </a:lnSpc>
            <a:spcAft>
              <a:spcPts val="0"/>
            </a:spcAft>
          </a:pPr>
          <a:r>
            <a:rPr lang="en-US" sz="1200" b="1" cap="all" spc="30" baseline="0">
              <a:latin typeface="Lato" panose="020F0502020204030203" pitchFamily="34" charset="0"/>
            </a:rPr>
            <a:t>WHAT WE DO?</a:t>
          </a:r>
        </a:p>
      </dgm:t>
    </dgm:pt>
    <dgm:pt modelId="{501575B7-32DB-441D-B40A-CF9DC4C88963}" type="parTrans" cxnId="{180CCAC1-7BBE-4B5F-A17E-887E0B8FB1EC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D6F8C61D-94F9-48F4-8984-B6D5EB872ECB}" type="sibTrans" cxnId="{180CCAC1-7BBE-4B5F-A17E-887E0B8FB1EC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793FBB04-F43E-443E-9B08-B4C66FE29B9D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BE4DE241-DA78-41F9-9FD7-E3E60F8CE7B9}" type="parTrans" cxnId="{3379D7C4-C67B-4C48-B1E7-3E97A40FABC9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B3606FCA-B2DC-49F3-A43E-14F6BE16B617}" type="sibTrans" cxnId="{3379D7C4-C67B-4C48-B1E7-3E97A40FABC9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71B886D2-E92E-4995-B4A8-BDDA6EB0AE81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930C6007-5380-4CA8-982A-A6D45313D9B5}" type="parTrans" cxnId="{944888FF-EAB1-407C-82F9-C51830FE13C1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3C476DA4-3CD8-4B0E-ABD4-C564C5420B56}" type="sibTrans" cxnId="{944888FF-EAB1-407C-82F9-C51830FE13C1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C33DC641-C532-4022-9822-F8AF5F030746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7671D52D-FF9B-4473-B1FA-1A35DEAF941B}" type="parTrans" cxnId="{00D6289C-8440-4DE7-84CF-4713FB392805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4CAF0296-0D11-4090-A751-46CBEA3AD8CB}" type="sibTrans" cxnId="{00D6289C-8440-4DE7-84CF-4713FB392805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986C76EE-370D-4E79-9662-7368CD27A7AD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4B82F2F6-1B88-4328-81DA-DEC001BC0DA3}" type="parTrans" cxnId="{E09D2DFD-B536-4C87-9232-AA7B2AE5C793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83F43D43-9D99-4EB6-B6C4-FBD45E92A938}" type="sibTrans" cxnId="{E09D2DFD-B536-4C87-9232-AA7B2AE5C793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51A4A81B-02A5-404A-AD37-3C5CD3A463B2}" type="pres">
      <dgm:prSet presAssocID="{8013EE18-1ADC-4BAA-B192-C546B6151C6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E8E6A7A-A081-437C-BE3B-FA743AF2E190}" type="pres">
      <dgm:prSet presAssocID="{61FE1DA1-F58B-4C0A-A68E-B1213BE2D1F4}" presName="centerShape" presStyleLbl="node0" presStyleIdx="0" presStyleCnt="1"/>
      <dgm:spPr/>
    </dgm:pt>
    <dgm:pt modelId="{0929C9E3-5CC9-461F-A80B-E6468187EA6E}" type="pres">
      <dgm:prSet presAssocID="{793FBB04-F43E-443E-9B08-B4C66FE29B9D}" presName="node" presStyleLbl="node1" presStyleIdx="0" presStyleCnt="4" custScaleX="95433" custScaleY="95433">
        <dgm:presLayoutVars>
          <dgm:bulletEnabled val="1"/>
        </dgm:presLayoutVars>
      </dgm:prSet>
      <dgm:spPr/>
    </dgm:pt>
    <dgm:pt modelId="{7E759E56-0E16-4AC6-B493-7769840E1666}" type="pres">
      <dgm:prSet presAssocID="{793FBB04-F43E-443E-9B08-B4C66FE29B9D}" presName="dummy" presStyleCnt="0"/>
      <dgm:spPr/>
    </dgm:pt>
    <dgm:pt modelId="{FEB6DD14-2709-497D-BE18-AF6C01979C93}" type="pres">
      <dgm:prSet presAssocID="{B3606FCA-B2DC-49F3-A43E-14F6BE16B617}" presName="sibTrans" presStyleLbl="sibTrans2D1" presStyleIdx="0" presStyleCnt="4"/>
      <dgm:spPr/>
    </dgm:pt>
    <dgm:pt modelId="{5D75A59A-ECFB-4CF9-A8A6-5C83A2D4A593}" type="pres">
      <dgm:prSet presAssocID="{71B886D2-E92E-4995-B4A8-BDDA6EB0AE81}" presName="node" presStyleLbl="node1" presStyleIdx="1" presStyleCnt="4" custScaleX="95433" custScaleY="95433">
        <dgm:presLayoutVars>
          <dgm:bulletEnabled val="1"/>
        </dgm:presLayoutVars>
      </dgm:prSet>
      <dgm:spPr/>
    </dgm:pt>
    <dgm:pt modelId="{BA33949D-48FA-4B82-A956-29DED5F6CA57}" type="pres">
      <dgm:prSet presAssocID="{71B886D2-E92E-4995-B4A8-BDDA6EB0AE81}" presName="dummy" presStyleCnt="0"/>
      <dgm:spPr/>
    </dgm:pt>
    <dgm:pt modelId="{CFD10D5F-791D-443F-B093-17886740FAF8}" type="pres">
      <dgm:prSet presAssocID="{3C476DA4-3CD8-4B0E-ABD4-C564C5420B56}" presName="sibTrans" presStyleLbl="sibTrans2D1" presStyleIdx="1" presStyleCnt="4"/>
      <dgm:spPr/>
    </dgm:pt>
    <dgm:pt modelId="{0570BF74-7D3E-4C15-B449-D51D45171511}" type="pres">
      <dgm:prSet presAssocID="{C33DC641-C532-4022-9822-F8AF5F030746}" presName="node" presStyleLbl="node1" presStyleIdx="2" presStyleCnt="4" custScaleX="95433" custScaleY="95433">
        <dgm:presLayoutVars>
          <dgm:bulletEnabled val="1"/>
        </dgm:presLayoutVars>
      </dgm:prSet>
      <dgm:spPr/>
    </dgm:pt>
    <dgm:pt modelId="{893DA76D-9413-405A-BBCC-6686F5611718}" type="pres">
      <dgm:prSet presAssocID="{C33DC641-C532-4022-9822-F8AF5F030746}" presName="dummy" presStyleCnt="0"/>
      <dgm:spPr/>
    </dgm:pt>
    <dgm:pt modelId="{1637E41B-9651-4EA9-A08E-9334E5A00A16}" type="pres">
      <dgm:prSet presAssocID="{4CAF0296-0D11-4090-A751-46CBEA3AD8CB}" presName="sibTrans" presStyleLbl="sibTrans2D1" presStyleIdx="2" presStyleCnt="4"/>
      <dgm:spPr/>
    </dgm:pt>
    <dgm:pt modelId="{D361D381-81AD-497B-9F78-EF0A95E7D061}" type="pres">
      <dgm:prSet presAssocID="{986C76EE-370D-4E79-9662-7368CD27A7AD}" presName="node" presStyleLbl="node1" presStyleIdx="3" presStyleCnt="4" custScaleX="95433" custScaleY="95433">
        <dgm:presLayoutVars>
          <dgm:bulletEnabled val="1"/>
        </dgm:presLayoutVars>
      </dgm:prSet>
      <dgm:spPr/>
    </dgm:pt>
    <dgm:pt modelId="{0AE2ACE7-A382-4AE7-9FF5-99FEF8BBFF69}" type="pres">
      <dgm:prSet presAssocID="{986C76EE-370D-4E79-9662-7368CD27A7AD}" presName="dummy" presStyleCnt="0"/>
      <dgm:spPr/>
    </dgm:pt>
    <dgm:pt modelId="{FA2E86CF-80AC-4137-8303-D16C45341A97}" type="pres">
      <dgm:prSet presAssocID="{83F43D43-9D99-4EB6-B6C4-FBD45E92A938}" presName="sibTrans" presStyleLbl="sibTrans2D1" presStyleIdx="3" presStyleCnt="4"/>
      <dgm:spPr/>
    </dgm:pt>
  </dgm:ptLst>
  <dgm:cxnLst>
    <dgm:cxn modelId="{A122192D-FE27-4BAF-8B76-33B6D3E3E744}" type="presOf" srcId="{71B886D2-E92E-4995-B4A8-BDDA6EB0AE81}" destId="{5D75A59A-ECFB-4CF9-A8A6-5C83A2D4A593}" srcOrd="0" destOrd="0" presId="urn:microsoft.com/office/officeart/2005/8/layout/radial6"/>
    <dgm:cxn modelId="{B6138D30-7F45-4B8C-9835-0CBC80E6D8F0}" type="presOf" srcId="{B3606FCA-B2DC-49F3-A43E-14F6BE16B617}" destId="{FEB6DD14-2709-497D-BE18-AF6C01979C93}" srcOrd="0" destOrd="0" presId="urn:microsoft.com/office/officeart/2005/8/layout/radial6"/>
    <dgm:cxn modelId="{41F5583A-276C-48F8-832D-CD5DD2A86251}" type="presOf" srcId="{986C76EE-370D-4E79-9662-7368CD27A7AD}" destId="{D361D381-81AD-497B-9F78-EF0A95E7D061}" srcOrd="0" destOrd="0" presId="urn:microsoft.com/office/officeart/2005/8/layout/radial6"/>
    <dgm:cxn modelId="{7A75163D-5E45-427B-AEC1-6001C74B9BB5}" type="presOf" srcId="{C33DC641-C532-4022-9822-F8AF5F030746}" destId="{0570BF74-7D3E-4C15-B449-D51D45171511}" srcOrd="0" destOrd="0" presId="urn:microsoft.com/office/officeart/2005/8/layout/radial6"/>
    <dgm:cxn modelId="{9D21AB8A-00F9-4068-A14A-2D42DAEF3141}" type="presOf" srcId="{83F43D43-9D99-4EB6-B6C4-FBD45E92A938}" destId="{FA2E86CF-80AC-4137-8303-D16C45341A97}" srcOrd="0" destOrd="0" presId="urn:microsoft.com/office/officeart/2005/8/layout/radial6"/>
    <dgm:cxn modelId="{00D6289C-8440-4DE7-84CF-4713FB392805}" srcId="{61FE1DA1-F58B-4C0A-A68E-B1213BE2D1F4}" destId="{C33DC641-C532-4022-9822-F8AF5F030746}" srcOrd="2" destOrd="0" parTransId="{7671D52D-FF9B-4473-B1FA-1A35DEAF941B}" sibTransId="{4CAF0296-0D11-4090-A751-46CBEA3AD8CB}"/>
    <dgm:cxn modelId="{B0DDDBA8-CDD7-47AB-BF93-C19E7CFB7C97}" type="presOf" srcId="{4CAF0296-0D11-4090-A751-46CBEA3AD8CB}" destId="{1637E41B-9651-4EA9-A08E-9334E5A00A16}" srcOrd="0" destOrd="0" presId="urn:microsoft.com/office/officeart/2005/8/layout/radial6"/>
    <dgm:cxn modelId="{B7B85ABA-979E-4B7E-846C-A0A0FFB700D8}" type="presOf" srcId="{61FE1DA1-F58B-4C0A-A68E-B1213BE2D1F4}" destId="{EE8E6A7A-A081-437C-BE3B-FA743AF2E190}" srcOrd="0" destOrd="0" presId="urn:microsoft.com/office/officeart/2005/8/layout/radial6"/>
    <dgm:cxn modelId="{7366CCC0-363B-4A23-B49A-9ABC026324AB}" type="presOf" srcId="{3C476DA4-3CD8-4B0E-ABD4-C564C5420B56}" destId="{CFD10D5F-791D-443F-B093-17886740FAF8}" srcOrd="0" destOrd="0" presId="urn:microsoft.com/office/officeart/2005/8/layout/radial6"/>
    <dgm:cxn modelId="{180CCAC1-7BBE-4B5F-A17E-887E0B8FB1EC}" srcId="{8013EE18-1ADC-4BAA-B192-C546B6151C6C}" destId="{61FE1DA1-F58B-4C0A-A68E-B1213BE2D1F4}" srcOrd="0" destOrd="0" parTransId="{501575B7-32DB-441D-B40A-CF9DC4C88963}" sibTransId="{D6F8C61D-94F9-48F4-8984-B6D5EB872ECB}"/>
    <dgm:cxn modelId="{3379D7C4-C67B-4C48-B1E7-3E97A40FABC9}" srcId="{61FE1DA1-F58B-4C0A-A68E-B1213BE2D1F4}" destId="{793FBB04-F43E-443E-9B08-B4C66FE29B9D}" srcOrd="0" destOrd="0" parTransId="{BE4DE241-DA78-41F9-9FD7-E3E60F8CE7B9}" sibTransId="{B3606FCA-B2DC-49F3-A43E-14F6BE16B617}"/>
    <dgm:cxn modelId="{9FAA79D7-DD57-4C79-A58F-55DD9E5D8F34}" type="presOf" srcId="{793FBB04-F43E-443E-9B08-B4C66FE29B9D}" destId="{0929C9E3-5CC9-461F-A80B-E6468187EA6E}" srcOrd="0" destOrd="0" presId="urn:microsoft.com/office/officeart/2005/8/layout/radial6"/>
    <dgm:cxn modelId="{24505DF9-793E-4B89-920A-1317FEAEA1FE}" type="presOf" srcId="{8013EE18-1ADC-4BAA-B192-C546B6151C6C}" destId="{51A4A81B-02A5-404A-AD37-3C5CD3A463B2}" srcOrd="0" destOrd="0" presId="urn:microsoft.com/office/officeart/2005/8/layout/radial6"/>
    <dgm:cxn modelId="{E09D2DFD-B536-4C87-9232-AA7B2AE5C793}" srcId="{61FE1DA1-F58B-4C0A-A68E-B1213BE2D1F4}" destId="{986C76EE-370D-4E79-9662-7368CD27A7AD}" srcOrd="3" destOrd="0" parTransId="{4B82F2F6-1B88-4328-81DA-DEC001BC0DA3}" sibTransId="{83F43D43-9D99-4EB6-B6C4-FBD45E92A938}"/>
    <dgm:cxn modelId="{944888FF-EAB1-407C-82F9-C51830FE13C1}" srcId="{61FE1DA1-F58B-4C0A-A68E-B1213BE2D1F4}" destId="{71B886D2-E92E-4995-B4A8-BDDA6EB0AE81}" srcOrd="1" destOrd="0" parTransId="{930C6007-5380-4CA8-982A-A6D45313D9B5}" sibTransId="{3C476DA4-3CD8-4B0E-ABD4-C564C5420B56}"/>
    <dgm:cxn modelId="{E77B57E2-0682-4B1D-84AF-73E3A65603F7}" type="presParOf" srcId="{51A4A81B-02A5-404A-AD37-3C5CD3A463B2}" destId="{EE8E6A7A-A081-437C-BE3B-FA743AF2E190}" srcOrd="0" destOrd="0" presId="urn:microsoft.com/office/officeart/2005/8/layout/radial6"/>
    <dgm:cxn modelId="{A3B57F83-FF31-4C4C-A820-86921179895B}" type="presParOf" srcId="{51A4A81B-02A5-404A-AD37-3C5CD3A463B2}" destId="{0929C9E3-5CC9-461F-A80B-E6468187EA6E}" srcOrd="1" destOrd="0" presId="urn:microsoft.com/office/officeart/2005/8/layout/radial6"/>
    <dgm:cxn modelId="{58C4510C-7A53-4D81-8EF8-7761FA3072A4}" type="presParOf" srcId="{51A4A81B-02A5-404A-AD37-3C5CD3A463B2}" destId="{7E759E56-0E16-4AC6-B493-7769840E1666}" srcOrd="2" destOrd="0" presId="urn:microsoft.com/office/officeart/2005/8/layout/radial6"/>
    <dgm:cxn modelId="{6CCE3D32-B09F-4020-A897-203E6EFF13D6}" type="presParOf" srcId="{51A4A81B-02A5-404A-AD37-3C5CD3A463B2}" destId="{FEB6DD14-2709-497D-BE18-AF6C01979C93}" srcOrd="3" destOrd="0" presId="urn:microsoft.com/office/officeart/2005/8/layout/radial6"/>
    <dgm:cxn modelId="{62E97CE0-BB4A-413D-8115-D3D0BB0B4874}" type="presParOf" srcId="{51A4A81B-02A5-404A-AD37-3C5CD3A463B2}" destId="{5D75A59A-ECFB-4CF9-A8A6-5C83A2D4A593}" srcOrd="4" destOrd="0" presId="urn:microsoft.com/office/officeart/2005/8/layout/radial6"/>
    <dgm:cxn modelId="{5D246382-8F57-46F5-879C-32490FC7D0C4}" type="presParOf" srcId="{51A4A81B-02A5-404A-AD37-3C5CD3A463B2}" destId="{BA33949D-48FA-4B82-A956-29DED5F6CA57}" srcOrd="5" destOrd="0" presId="urn:microsoft.com/office/officeart/2005/8/layout/radial6"/>
    <dgm:cxn modelId="{1A10CC97-B0CD-49C5-B7C3-A5D19B1FA32E}" type="presParOf" srcId="{51A4A81B-02A5-404A-AD37-3C5CD3A463B2}" destId="{CFD10D5F-791D-443F-B093-17886740FAF8}" srcOrd="6" destOrd="0" presId="urn:microsoft.com/office/officeart/2005/8/layout/radial6"/>
    <dgm:cxn modelId="{05974AEB-CA4A-44DE-85A4-A348B6D7D83F}" type="presParOf" srcId="{51A4A81B-02A5-404A-AD37-3C5CD3A463B2}" destId="{0570BF74-7D3E-4C15-B449-D51D45171511}" srcOrd="7" destOrd="0" presId="urn:microsoft.com/office/officeart/2005/8/layout/radial6"/>
    <dgm:cxn modelId="{9E1A2EBD-FAEB-47F6-BC9F-781F79D55160}" type="presParOf" srcId="{51A4A81B-02A5-404A-AD37-3C5CD3A463B2}" destId="{893DA76D-9413-405A-BBCC-6686F5611718}" srcOrd="8" destOrd="0" presId="urn:microsoft.com/office/officeart/2005/8/layout/radial6"/>
    <dgm:cxn modelId="{693BDABE-1B66-4036-A790-69CD4DF48E71}" type="presParOf" srcId="{51A4A81B-02A5-404A-AD37-3C5CD3A463B2}" destId="{1637E41B-9651-4EA9-A08E-9334E5A00A16}" srcOrd="9" destOrd="0" presId="urn:microsoft.com/office/officeart/2005/8/layout/radial6"/>
    <dgm:cxn modelId="{4C1D41EA-94C0-4C96-B532-A233C0138DCA}" type="presParOf" srcId="{51A4A81B-02A5-404A-AD37-3C5CD3A463B2}" destId="{D361D381-81AD-497B-9F78-EF0A95E7D061}" srcOrd="10" destOrd="0" presId="urn:microsoft.com/office/officeart/2005/8/layout/radial6"/>
    <dgm:cxn modelId="{B3180A2B-1B39-470D-88F9-8305CD867EC8}" type="presParOf" srcId="{51A4A81B-02A5-404A-AD37-3C5CD3A463B2}" destId="{0AE2ACE7-A382-4AE7-9FF5-99FEF8BBFF69}" srcOrd="11" destOrd="0" presId="urn:microsoft.com/office/officeart/2005/8/layout/radial6"/>
    <dgm:cxn modelId="{8C05B72C-23A5-42DF-A0EA-B1E436BA5F8D}" type="presParOf" srcId="{51A4A81B-02A5-404A-AD37-3C5CD3A463B2}" destId="{FA2E86CF-80AC-4137-8303-D16C45341A97}" srcOrd="12" destOrd="0" presId="urn:microsoft.com/office/officeart/2005/8/layout/radial6"/>
  </dgm:cxnLst>
  <dgm:bg>
    <a:effectLst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13EE18-1ADC-4BAA-B192-C546B6151C6C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1FE1DA1-F58B-4C0A-A68E-B1213BE2D1F4}">
      <dgm:prSet phldrT="[Text]" custT="1"/>
      <dgm:spPr>
        <a:solidFill>
          <a:schemeClr val="accent1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ts val="1600"/>
            </a:lnSpc>
            <a:spcAft>
              <a:spcPts val="0"/>
            </a:spcAft>
          </a:pPr>
          <a:r>
            <a:rPr lang="en-US" sz="1200" b="1" cap="all" spc="30" baseline="0">
              <a:latin typeface="Lato" panose="020F0502020204030203" pitchFamily="34" charset="0"/>
            </a:rPr>
            <a:t>WHAT WE DO?</a:t>
          </a:r>
        </a:p>
      </dgm:t>
    </dgm:pt>
    <dgm:pt modelId="{501575B7-32DB-441D-B40A-CF9DC4C88963}" type="parTrans" cxnId="{180CCAC1-7BBE-4B5F-A17E-887E0B8FB1EC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D6F8C61D-94F9-48F4-8984-B6D5EB872ECB}" type="sibTrans" cxnId="{180CCAC1-7BBE-4B5F-A17E-887E0B8FB1EC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793FBB04-F43E-443E-9B08-B4C66FE29B9D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BE4DE241-DA78-41F9-9FD7-E3E60F8CE7B9}" type="parTrans" cxnId="{3379D7C4-C67B-4C48-B1E7-3E97A40FABC9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B3606FCA-B2DC-49F3-A43E-14F6BE16B617}" type="sibTrans" cxnId="{3379D7C4-C67B-4C48-B1E7-3E97A40FABC9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71B886D2-E92E-4995-B4A8-BDDA6EB0AE81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930C6007-5380-4CA8-982A-A6D45313D9B5}" type="parTrans" cxnId="{944888FF-EAB1-407C-82F9-C51830FE13C1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3C476DA4-3CD8-4B0E-ABD4-C564C5420B56}" type="sibTrans" cxnId="{944888FF-EAB1-407C-82F9-C51830FE13C1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C33DC641-C532-4022-9822-F8AF5F030746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7671D52D-FF9B-4473-B1FA-1A35DEAF941B}" type="parTrans" cxnId="{00D6289C-8440-4DE7-84CF-4713FB392805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4CAF0296-0D11-4090-A751-46CBEA3AD8CB}" type="sibTrans" cxnId="{00D6289C-8440-4DE7-84CF-4713FB392805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986C76EE-370D-4E79-9662-7368CD27A7AD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800" b="0">
            <a:latin typeface="Lato" panose="020F0502020204030203" pitchFamily="34" charset="0"/>
          </a:endParaRPr>
        </a:p>
      </dgm:t>
    </dgm:pt>
    <dgm:pt modelId="{4B82F2F6-1B88-4328-81DA-DEC001BC0DA3}" type="parTrans" cxnId="{E09D2DFD-B536-4C87-9232-AA7B2AE5C793}">
      <dgm:prSet/>
      <dgm:spPr/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83F43D43-9D99-4EB6-B6C4-FBD45E92A938}" type="sibTrans" cxnId="{E09D2DFD-B536-4C87-9232-AA7B2AE5C793}">
      <dgm:prSet/>
      <dgm:spPr>
        <a:solidFill>
          <a:schemeClr val="accent6"/>
        </a:solidFill>
      </dgm:spPr>
      <dgm:t>
        <a:bodyPr/>
        <a:lstStyle/>
        <a:p>
          <a:endParaRPr lang="en-US" sz="1000">
            <a:latin typeface="Lato" panose="020F0502020204030203" pitchFamily="34" charset="0"/>
          </a:endParaRPr>
        </a:p>
      </dgm:t>
    </dgm:pt>
    <dgm:pt modelId="{51A4A81B-02A5-404A-AD37-3C5CD3A463B2}" type="pres">
      <dgm:prSet presAssocID="{8013EE18-1ADC-4BAA-B192-C546B6151C6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E8E6A7A-A081-437C-BE3B-FA743AF2E190}" type="pres">
      <dgm:prSet presAssocID="{61FE1DA1-F58B-4C0A-A68E-B1213BE2D1F4}" presName="centerShape" presStyleLbl="node0" presStyleIdx="0" presStyleCnt="1"/>
      <dgm:spPr/>
    </dgm:pt>
    <dgm:pt modelId="{0929C9E3-5CC9-461F-A80B-E6468187EA6E}" type="pres">
      <dgm:prSet presAssocID="{793FBB04-F43E-443E-9B08-B4C66FE29B9D}" presName="node" presStyleLbl="node1" presStyleIdx="0" presStyleCnt="4" custScaleX="95433" custScaleY="95433">
        <dgm:presLayoutVars>
          <dgm:bulletEnabled val="1"/>
        </dgm:presLayoutVars>
      </dgm:prSet>
      <dgm:spPr/>
    </dgm:pt>
    <dgm:pt modelId="{7E759E56-0E16-4AC6-B493-7769840E1666}" type="pres">
      <dgm:prSet presAssocID="{793FBB04-F43E-443E-9B08-B4C66FE29B9D}" presName="dummy" presStyleCnt="0"/>
      <dgm:spPr/>
    </dgm:pt>
    <dgm:pt modelId="{FEB6DD14-2709-497D-BE18-AF6C01979C93}" type="pres">
      <dgm:prSet presAssocID="{B3606FCA-B2DC-49F3-A43E-14F6BE16B617}" presName="sibTrans" presStyleLbl="sibTrans2D1" presStyleIdx="0" presStyleCnt="4"/>
      <dgm:spPr/>
    </dgm:pt>
    <dgm:pt modelId="{5D75A59A-ECFB-4CF9-A8A6-5C83A2D4A593}" type="pres">
      <dgm:prSet presAssocID="{71B886D2-E92E-4995-B4A8-BDDA6EB0AE81}" presName="node" presStyleLbl="node1" presStyleIdx="1" presStyleCnt="4" custScaleX="95433" custScaleY="95433">
        <dgm:presLayoutVars>
          <dgm:bulletEnabled val="1"/>
        </dgm:presLayoutVars>
      </dgm:prSet>
      <dgm:spPr/>
    </dgm:pt>
    <dgm:pt modelId="{BA33949D-48FA-4B82-A956-29DED5F6CA57}" type="pres">
      <dgm:prSet presAssocID="{71B886D2-E92E-4995-B4A8-BDDA6EB0AE81}" presName="dummy" presStyleCnt="0"/>
      <dgm:spPr/>
    </dgm:pt>
    <dgm:pt modelId="{CFD10D5F-791D-443F-B093-17886740FAF8}" type="pres">
      <dgm:prSet presAssocID="{3C476DA4-3CD8-4B0E-ABD4-C564C5420B56}" presName="sibTrans" presStyleLbl="sibTrans2D1" presStyleIdx="1" presStyleCnt="4"/>
      <dgm:spPr/>
    </dgm:pt>
    <dgm:pt modelId="{0570BF74-7D3E-4C15-B449-D51D45171511}" type="pres">
      <dgm:prSet presAssocID="{C33DC641-C532-4022-9822-F8AF5F030746}" presName="node" presStyleLbl="node1" presStyleIdx="2" presStyleCnt="4" custScaleX="95433" custScaleY="95433">
        <dgm:presLayoutVars>
          <dgm:bulletEnabled val="1"/>
        </dgm:presLayoutVars>
      </dgm:prSet>
      <dgm:spPr/>
    </dgm:pt>
    <dgm:pt modelId="{893DA76D-9413-405A-BBCC-6686F5611718}" type="pres">
      <dgm:prSet presAssocID="{C33DC641-C532-4022-9822-F8AF5F030746}" presName="dummy" presStyleCnt="0"/>
      <dgm:spPr/>
    </dgm:pt>
    <dgm:pt modelId="{1637E41B-9651-4EA9-A08E-9334E5A00A16}" type="pres">
      <dgm:prSet presAssocID="{4CAF0296-0D11-4090-A751-46CBEA3AD8CB}" presName="sibTrans" presStyleLbl="sibTrans2D1" presStyleIdx="2" presStyleCnt="4"/>
      <dgm:spPr/>
    </dgm:pt>
    <dgm:pt modelId="{D361D381-81AD-497B-9F78-EF0A95E7D061}" type="pres">
      <dgm:prSet presAssocID="{986C76EE-370D-4E79-9662-7368CD27A7AD}" presName="node" presStyleLbl="node1" presStyleIdx="3" presStyleCnt="4" custScaleX="95433" custScaleY="95433">
        <dgm:presLayoutVars>
          <dgm:bulletEnabled val="1"/>
        </dgm:presLayoutVars>
      </dgm:prSet>
      <dgm:spPr/>
    </dgm:pt>
    <dgm:pt modelId="{0AE2ACE7-A382-4AE7-9FF5-99FEF8BBFF69}" type="pres">
      <dgm:prSet presAssocID="{986C76EE-370D-4E79-9662-7368CD27A7AD}" presName="dummy" presStyleCnt="0"/>
      <dgm:spPr/>
    </dgm:pt>
    <dgm:pt modelId="{FA2E86CF-80AC-4137-8303-D16C45341A97}" type="pres">
      <dgm:prSet presAssocID="{83F43D43-9D99-4EB6-B6C4-FBD45E92A938}" presName="sibTrans" presStyleLbl="sibTrans2D1" presStyleIdx="3" presStyleCnt="4"/>
      <dgm:spPr/>
    </dgm:pt>
  </dgm:ptLst>
  <dgm:cxnLst>
    <dgm:cxn modelId="{A122192D-FE27-4BAF-8B76-33B6D3E3E744}" type="presOf" srcId="{71B886D2-E92E-4995-B4A8-BDDA6EB0AE81}" destId="{5D75A59A-ECFB-4CF9-A8A6-5C83A2D4A593}" srcOrd="0" destOrd="0" presId="urn:microsoft.com/office/officeart/2005/8/layout/radial6"/>
    <dgm:cxn modelId="{B6138D30-7F45-4B8C-9835-0CBC80E6D8F0}" type="presOf" srcId="{B3606FCA-B2DC-49F3-A43E-14F6BE16B617}" destId="{FEB6DD14-2709-497D-BE18-AF6C01979C93}" srcOrd="0" destOrd="0" presId="urn:microsoft.com/office/officeart/2005/8/layout/radial6"/>
    <dgm:cxn modelId="{41F5583A-276C-48F8-832D-CD5DD2A86251}" type="presOf" srcId="{986C76EE-370D-4E79-9662-7368CD27A7AD}" destId="{D361D381-81AD-497B-9F78-EF0A95E7D061}" srcOrd="0" destOrd="0" presId="urn:microsoft.com/office/officeart/2005/8/layout/radial6"/>
    <dgm:cxn modelId="{7A75163D-5E45-427B-AEC1-6001C74B9BB5}" type="presOf" srcId="{C33DC641-C532-4022-9822-F8AF5F030746}" destId="{0570BF74-7D3E-4C15-B449-D51D45171511}" srcOrd="0" destOrd="0" presId="urn:microsoft.com/office/officeart/2005/8/layout/radial6"/>
    <dgm:cxn modelId="{9D21AB8A-00F9-4068-A14A-2D42DAEF3141}" type="presOf" srcId="{83F43D43-9D99-4EB6-B6C4-FBD45E92A938}" destId="{FA2E86CF-80AC-4137-8303-D16C45341A97}" srcOrd="0" destOrd="0" presId="urn:microsoft.com/office/officeart/2005/8/layout/radial6"/>
    <dgm:cxn modelId="{00D6289C-8440-4DE7-84CF-4713FB392805}" srcId="{61FE1DA1-F58B-4C0A-A68E-B1213BE2D1F4}" destId="{C33DC641-C532-4022-9822-F8AF5F030746}" srcOrd="2" destOrd="0" parTransId="{7671D52D-FF9B-4473-B1FA-1A35DEAF941B}" sibTransId="{4CAF0296-0D11-4090-A751-46CBEA3AD8CB}"/>
    <dgm:cxn modelId="{B0DDDBA8-CDD7-47AB-BF93-C19E7CFB7C97}" type="presOf" srcId="{4CAF0296-0D11-4090-A751-46CBEA3AD8CB}" destId="{1637E41B-9651-4EA9-A08E-9334E5A00A16}" srcOrd="0" destOrd="0" presId="urn:microsoft.com/office/officeart/2005/8/layout/radial6"/>
    <dgm:cxn modelId="{B7B85ABA-979E-4B7E-846C-A0A0FFB700D8}" type="presOf" srcId="{61FE1DA1-F58B-4C0A-A68E-B1213BE2D1F4}" destId="{EE8E6A7A-A081-437C-BE3B-FA743AF2E190}" srcOrd="0" destOrd="0" presId="urn:microsoft.com/office/officeart/2005/8/layout/radial6"/>
    <dgm:cxn modelId="{7366CCC0-363B-4A23-B49A-9ABC026324AB}" type="presOf" srcId="{3C476DA4-3CD8-4B0E-ABD4-C564C5420B56}" destId="{CFD10D5F-791D-443F-B093-17886740FAF8}" srcOrd="0" destOrd="0" presId="urn:microsoft.com/office/officeart/2005/8/layout/radial6"/>
    <dgm:cxn modelId="{180CCAC1-7BBE-4B5F-A17E-887E0B8FB1EC}" srcId="{8013EE18-1ADC-4BAA-B192-C546B6151C6C}" destId="{61FE1DA1-F58B-4C0A-A68E-B1213BE2D1F4}" srcOrd="0" destOrd="0" parTransId="{501575B7-32DB-441D-B40A-CF9DC4C88963}" sibTransId="{D6F8C61D-94F9-48F4-8984-B6D5EB872ECB}"/>
    <dgm:cxn modelId="{3379D7C4-C67B-4C48-B1E7-3E97A40FABC9}" srcId="{61FE1DA1-F58B-4C0A-A68E-B1213BE2D1F4}" destId="{793FBB04-F43E-443E-9B08-B4C66FE29B9D}" srcOrd="0" destOrd="0" parTransId="{BE4DE241-DA78-41F9-9FD7-E3E60F8CE7B9}" sibTransId="{B3606FCA-B2DC-49F3-A43E-14F6BE16B617}"/>
    <dgm:cxn modelId="{9FAA79D7-DD57-4C79-A58F-55DD9E5D8F34}" type="presOf" srcId="{793FBB04-F43E-443E-9B08-B4C66FE29B9D}" destId="{0929C9E3-5CC9-461F-A80B-E6468187EA6E}" srcOrd="0" destOrd="0" presId="urn:microsoft.com/office/officeart/2005/8/layout/radial6"/>
    <dgm:cxn modelId="{24505DF9-793E-4B89-920A-1317FEAEA1FE}" type="presOf" srcId="{8013EE18-1ADC-4BAA-B192-C546B6151C6C}" destId="{51A4A81B-02A5-404A-AD37-3C5CD3A463B2}" srcOrd="0" destOrd="0" presId="urn:microsoft.com/office/officeart/2005/8/layout/radial6"/>
    <dgm:cxn modelId="{E09D2DFD-B536-4C87-9232-AA7B2AE5C793}" srcId="{61FE1DA1-F58B-4C0A-A68E-B1213BE2D1F4}" destId="{986C76EE-370D-4E79-9662-7368CD27A7AD}" srcOrd="3" destOrd="0" parTransId="{4B82F2F6-1B88-4328-81DA-DEC001BC0DA3}" sibTransId="{83F43D43-9D99-4EB6-B6C4-FBD45E92A938}"/>
    <dgm:cxn modelId="{944888FF-EAB1-407C-82F9-C51830FE13C1}" srcId="{61FE1DA1-F58B-4C0A-A68E-B1213BE2D1F4}" destId="{71B886D2-E92E-4995-B4A8-BDDA6EB0AE81}" srcOrd="1" destOrd="0" parTransId="{930C6007-5380-4CA8-982A-A6D45313D9B5}" sibTransId="{3C476DA4-3CD8-4B0E-ABD4-C564C5420B56}"/>
    <dgm:cxn modelId="{E77B57E2-0682-4B1D-84AF-73E3A65603F7}" type="presParOf" srcId="{51A4A81B-02A5-404A-AD37-3C5CD3A463B2}" destId="{EE8E6A7A-A081-437C-BE3B-FA743AF2E190}" srcOrd="0" destOrd="0" presId="urn:microsoft.com/office/officeart/2005/8/layout/radial6"/>
    <dgm:cxn modelId="{A3B57F83-FF31-4C4C-A820-86921179895B}" type="presParOf" srcId="{51A4A81B-02A5-404A-AD37-3C5CD3A463B2}" destId="{0929C9E3-5CC9-461F-A80B-E6468187EA6E}" srcOrd="1" destOrd="0" presId="urn:microsoft.com/office/officeart/2005/8/layout/radial6"/>
    <dgm:cxn modelId="{58C4510C-7A53-4D81-8EF8-7761FA3072A4}" type="presParOf" srcId="{51A4A81B-02A5-404A-AD37-3C5CD3A463B2}" destId="{7E759E56-0E16-4AC6-B493-7769840E1666}" srcOrd="2" destOrd="0" presId="urn:microsoft.com/office/officeart/2005/8/layout/radial6"/>
    <dgm:cxn modelId="{6CCE3D32-B09F-4020-A897-203E6EFF13D6}" type="presParOf" srcId="{51A4A81B-02A5-404A-AD37-3C5CD3A463B2}" destId="{FEB6DD14-2709-497D-BE18-AF6C01979C93}" srcOrd="3" destOrd="0" presId="urn:microsoft.com/office/officeart/2005/8/layout/radial6"/>
    <dgm:cxn modelId="{62E97CE0-BB4A-413D-8115-D3D0BB0B4874}" type="presParOf" srcId="{51A4A81B-02A5-404A-AD37-3C5CD3A463B2}" destId="{5D75A59A-ECFB-4CF9-A8A6-5C83A2D4A593}" srcOrd="4" destOrd="0" presId="urn:microsoft.com/office/officeart/2005/8/layout/radial6"/>
    <dgm:cxn modelId="{5D246382-8F57-46F5-879C-32490FC7D0C4}" type="presParOf" srcId="{51A4A81B-02A5-404A-AD37-3C5CD3A463B2}" destId="{BA33949D-48FA-4B82-A956-29DED5F6CA57}" srcOrd="5" destOrd="0" presId="urn:microsoft.com/office/officeart/2005/8/layout/radial6"/>
    <dgm:cxn modelId="{1A10CC97-B0CD-49C5-B7C3-A5D19B1FA32E}" type="presParOf" srcId="{51A4A81B-02A5-404A-AD37-3C5CD3A463B2}" destId="{CFD10D5F-791D-443F-B093-17886740FAF8}" srcOrd="6" destOrd="0" presId="urn:microsoft.com/office/officeart/2005/8/layout/radial6"/>
    <dgm:cxn modelId="{05974AEB-CA4A-44DE-85A4-A348B6D7D83F}" type="presParOf" srcId="{51A4A81B-02A5-404A-AD37-3C5CD3A463B2}" destId="{0570BF74-7D3E-4C15-B449-D51D45171511}" srcOrd="7" destOrd="0" presId="urn:microsoft.com/office/officeart/2005/8/layout/radial6"/>
    <dgm:cxn modelId="{9E1A2EBD-FAEB-47F6-BC9F-781F79D55160}" type="presParOf" srcId="{51A4A81B-02A5-404A-AD37-3C5CD3A463B2}" destId="{893DA76D-9413-405A-BBCC-6686F5611718}" srcOrd="8" destOrd="0" presId="urn:microsoft.com/office/officeart/2005/8/layout/radial6"/>
    <dgm:cxn modelId="{693BDABE-1B66-4036-A790-69CD4DF48E71}" type="presParOf" srcId="{51A4A81B-02A5-404A-AD37-3C5CD3A463B2}" destId="{1637E41B-9651-4EA9-A08E-9334E5A00A16}" srcOrd="9" destOrd="0" presId="urn:microsoft.com/office/officeart/2005/8/layout/radial6"/>
    <dgm:cxn modelId="{4C1D41EA-94C0-4C96-B532-A233C0138DCA}" type="presParOf" srcId="{51A4A81B-02A5-404A-AD37-3C5CD3A463B2}" destId="{D361D381-81AD-497B-9F78-EF0A95E7D061}" srcOrd="10" destOrd="0" presId="urn:microsoft.com/office/officeart/2005/8/layout/radial6"/>
    <dgm:cxn modelId="{B3180A2B-1B39-470D-88F9-8305CD867EC8}" type="presParOf" srcId="{51A4A81B-02A5-404A-AD37-3C5CD3A463B2}" destId="{0AE2ACE7-A382-4AE7-9FF5-99FEF8BBFF69}" srcOrd="11" destOrd="0" presId="urn:microsoft.com/office/officeart/2005/8/layout/radial6"/>
    <dgm:cxn modelId="{8C05B72C-23A5-42DF-A0EA-B1E436BA5F8D}" type="presParOf" srcId="{51A4A81B-02A5-404A-AD37-3C5CD3A463B2}" destId="{FA2E86CF-80AC-4137-8303-D16C45341A97}" srcOrd="12" destOrd="0" presId="urn:microsoft.com/office/officeart/2005/8/layout/radial6"/>
  </dgm:cxnLst>
  <dgm:bg>
    <a:effectLst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2AAFB7-E45D-4EA2-BF48-AA7F48DD95BA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EE3EB2-FA33-42BF-AC70-AA6949D6F50A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</dgm:spPr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80D16889-2FBE-413E-B4EF-69A35E1FF184}" type="parTrans" cxnId="{AC6FC7A3-68BB-4C4F-AAAB-F661D796F0B8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541C1CBC-D0FC-47B6-BAEF-A2519D2AD5B6}" type="sibTrans" cxnId="{AC6FC7A3-68BB-4C4F-AAAB-F661D796F0B8}">
      <dgm:prSet/>
      <dgm:spPr>
        <a:solidFill>
          <a:schemeClr val="accent6"/>
        </a:solidFill>
      </dgm:spPr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8B79E1D3-09AD-46EB-A136-02228B3282DF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</dgm:spPr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6D286B5F-728C-4186-9280-A211A70AE8DA}" type="parTrans" cxnId="{6D9A0317-7C99-4BE6-BA3F-33AF34F2E802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BEFBFF7B-F11F-44CC-9FE6-21F9BD9416C1}" type="sibTrans" cxnId="{6D9A0317-7C99-4BE6-BA3F-33AF34F2E802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33F9E8EE-EC3D-45D9-9DAC-8D074A907E07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</dgm:spPr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EA219A2B-BD28-45FF-934B-ED8AD26A984D}" type="parTrans" cxnId="{65EE49A0-83D0-4392-869A-2FD715791242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16208613-4567-4A90-8D6F-835A0C1EC343}" type="sibTrans" cxnId="{65EE49A0-83D0-4392-869A-2FD715791242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A76163E6-C1E6-41D8-B1BA-7674BFD4FFB9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</dgm:spPr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A787D483-9405-4146-9F1A-CFE2C9FEBCA6}" type="parTrans" cxnId="{BEEF8F8F-2D4D-48F0-94D5-4D69176F05E7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FFED0D5C-0042-4991-8FFF-551400E1DA3A}" type="sibTrans" cxnId="{BEEF8F8F-2D4D-48F0-94D5-4D69176F05E7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CF6B19B3-1022-401C-B13E-C28483A5554C}">
      <dgm:prSet phldrT="[Text]" custT="1"/>
      <dgm:spPr>
        <a:solidFill>
          <a:schemeClr val="accent2"/>
        </a:solidFill>
        <a:ln w="12700">
          <a:solidFill>
            <a:schemeClr val="bg1"/>
          </a:solidFill>
        </a:ln>
      </dgm:spPr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2D2A5703-6B08-422C-9B5B-AEC58B0154C3}" type="parTrans" cxnId="{A0722EF2-E132-44A1-81F7-70C1101FC6C6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4AF87E7D-F543-4077-87BA-7B4197C823F3}" type="sibTrans" cxnId="{A0722EF2-E132-44A1-81F7-70C1101FC6C6}">
      <dgm:prSet/>
      <dgm:spPr/>
      <dgm:t>
        <a:bodyPr/>
        <a:lstStyle/>
        <a:p>
          <a:endParaRPr lang="en-US" sz="1000" b="1">
            <a:latin typeface="Lato" panose="020F0502020204030203" pitchFamily="34" charset="0"/>
          </a:endParaRPr>
        </a:p>
      </dgm:t>
    </dgm:pt>
    <dgm:pt modelId="{A3CFA6F2-1A1B-4A49-8459-F42B56906291}" type="pres">
      <dgm:prSet presAssocID="{062AAFB7-E45D-4EA2-BF48-AA7F48DD95BA}" presName="Name0" presStyleCnt="0">
        <dgm:presLayoutVars>
          <dgm:dir/>
          <dgm:resizeHandles val="exact"/>
        </dgm:presLayoutVars>
      </dgm:prSet>
      <dgm:spPr/>
    </dgm:pt>
    <dgm:pt modelId="{FAACAC5C-6C59-415D-8963-FC82510EB046}" type="pres">
      <dgm:prSet presAssocID="{062AAFB7-E45D-4EA2-BF48-AA7F48DD95BA}" presName="cycle" presStyleCnt="0"/>
      <dgm:spPr/>
    </dgm:pt>
    <dgm:pt modelId="{44A40E13-1430-4C21-957F-EACEF859A4A5}" type="pres">
      <dgm:prSet presAssocID="{87EE3EB2-FA33-42BF-AC70-AA6949D6F50A}" presName="nodeFirstNode" presStyleLbl="node1" presStyleIdx="0" presStyleCnt="5" custScaleX="55433" custScaleY="110866">
        <dgm:presLayoutVars>
          <dgm:bulletEnabled val="1"/>
        </dgm:presLayoutVars>
      </dgm:prSet>
      <dgm:spPr>
        <a:prstGeom prst="ellipse">
          <a:avLst/>
        </a:prstGeom>
      </dgm:spPr>
    </dgm:pt>
    <dgm:pt modelId="{9B10BECB-1E04-4D00-8B31-E34F5D8FA12F}" type="pres">
      <dgm:prSet presAssocID="{541C1CBC-D0FC-47B6-BAEF-A2519D2AD5B6}" presName="sibTransFirstNode" presStyleLbl="bgShp" presStyleIdx="0" presStyleCnt="1"/>
      <dgm:spPr/>
    </dgm:pt>
    <dgm:pt modelId="{4D497E3B-91D6-4C19-AE0F-B340E880EAAC}" type="pres">
      <dgm:prSet presAssocID="{8B79E1D3-09AD-46EB-A136-02228B3282DF}" presName="nodeFollowingNodes" presStyleLbl="node1" presStyleIdx="1" presStyleCnt="5" custScaleX="55433" custScaleY="110866">
        <dgm:presLayoutVars>
          <dgm:bulletEnabled val="1"/>
        </dgm:presLayoutVars>
      </dgm:prSet>
      <dgm:spPr>
        <a:prstGeom prst="ellipse">
          <a:avLst/>
        </a:prstGeom>
      </dgm:spPr>
    </dgm:pt>
    <dgm:pt modelId="{101D2CA0-FEA6-438E-8763-DED26068C79B}" type="pres">
      <dgm:prSet presAssocID="{33F9E8EE-EC3D-45D9-9DAC-8D074A907E07}" presName="nodeFollowingNodes" presStyleLbl="node1" presStyleIdx="2" presStyleCnt="5" custScaleX="55433" custScaleY="110866">
        <dgm:presLayoutVars>
          <dgm:bulletEnabled val="1"/>
        </dgm:presLayoutVars>
      </dgm:prSet>
      <dgm:spPr>
        <a:prstGeom prst="ellipse">
          <a:avLst/>
        </a:prstGeom>
      </dgm:spPr>
    </dgm:pt>
    <dgm:pt modelId="{34EE8BE5-F799-4A6E-A6DD-9B727307ABC1}" type="pres">
      <dgm:prSet presAssocID="{A76163E6-C1E6-41D8-B1BA-7674BFD4FFB9}" presName="nodeFollowingNodes" presStyleLbl="node1" presStyleIdx="3" presStyleCnt="5" custScaleX="55433" custScaleY="110866">
        <dgm:presLayoutVars>
          <dgm:bulletEnabled val="1"/>
        </dgm:presLayoutVars>
      </dgm:prSet>
      <dgm:spPr>
        <a:prstGeom prst="ellipse">
          <a:avLst/>
        </a:prstGeom>
      </dgm:spPr>
    </dgm:pt>
    <dgm:pt modelId="{16029BFB-5108-4A99-9623-F8CCBF1D1BF4}" type="pres">
      <dgm:prSet presAssocID="{CF6B19B3-1022-401C-B13E-C28483A5554C}" presName="nodeFollowingNodes" presStyleLbl="node1" presStyleIdx="4" presStyleCnt="5" custScaleX="55433" custScaleY="110866">
        <dgm:presLayoutVars>
          <dgm:bulletEnabled val="1"/>
        </dgm:presLayoutVars>
      </dgm:prSet>
      <dgm:spPr>
        <a:prstGeom prst="ellipse">
          <a:avLst/>
        </a:prstGeom>
      </dgm:spPr>
    </dgm:pt>
  </dgm:ptLst>
  <dgm:cxnLst>
    <dgm:cxn modelId="{6D9A0317-7C99-4BE6-BA3F-33AF34F2E802}" srcId="{062AAFB7-E45D-4EA2-BF48-AA7F48DD95BA}" destId="{8B79E1D3-09AD-46EB-A136-02228B3282DF}" srcOrd="1" destOrd="0" parTransId="{6D286B5F-728C-4186-9280-A211A70AE8DA}" sibTransId="{BEFBFF7B-F11F-44CC-9FE6-21F9BD9416C1}"/>
    <dgm:cxn modelId="{617BCD2C-C115-471B-B42A-BB7FBDDA8A91}" type="presOf" srcId="{33F9E8EE-EC3D-45D9-9DAC-8D074A907E07}" destId="{101D2CA0-FEA6-438E-8763-DED26068C79B}" srcOrd="0" destOrd="0" presId="urn:microsoft.com/office/officeart/2005/8/layout/cycle3"/>
    <dgm:cxn modelId="{03DFDA2C-35FA-4C86-9ADA-498793BF818D}" type="presOf" srcId="{541C1CBC-D0FC-47B6-BAEF-A2519D2AD5B6}" destId="{9B10BECB-1E04-4D00-8B31-E34F5D8FA12F}" srcOrd="0" destOrd="0" presId="urn:microsoft.com/office/officeart/2005/8/layout/cycle3"/>
    <dgm:cxn modelId="{DB6C6632-00A4-4E4A-86B4-DC49EF810A40}" type="presOf" srcId="{062AAFB7-E45D-4EA2-BF48-AA7F48DD95BA}" destId="{A3CFA6F2-1A1B-4A49-8459-F42B56906291}" srcOrd="0" destOrd="0" presId="urn:microsoft.com/office/officeart/2005/8/layout/cycle3"/>
    <dgm:cxn modelId="{3C7F2C76-B755-421C-95C7-819467CDAE7F}" type="presOf" srcId="{8B79E1D3-09AD-46EB-A136-02228B3282DF}" destId="{4D497E3B-91D6-4C19-AE0F-B340E880EAAC}" srcOrd="0" destOrd="0" presId="urn:microsoft.com/office/officeart/2005/8/layout/cycle3"/>
    <dgm:cxn modelId="{BEEF8F8F-2D4D-48F0-94D5-4D69176F05E7}" srcId="{062AAFB7-E45D-4EA2-BF48-AA7F48DD95BA}" destId="{A76163E6-C1E6-41D8-B1BA-7674BFD4FFB9}" srcOrd="3" destOrd="0" parTransId="{A787D483-9405-4146-9F1A-CFE2C9FEBCA6}" sibTransId="{FFED0D5C-0042-4991-8FFF-551400E1DA3A}"/>
    <dgm:cxn modelId="{EA1A3DA0-B625-4767-AEB9-77F113B43111}" type="presOf" srcId="{A76163E6-C1E6-41D8-B1BA-7674BFD4FFB9}" destId="{34EE8BE5-F799-4A6E-A6DD-9B727307ABC1}" srcOrd="0" destOrd="0" presId="urn:microsoft.com/office/officeart/2005/8/layout/cycle3"/>
    <dgm:cxn modelId="{65EE49A0-83D0-4392-869A-2FD715791242}" srcId="{062AAFB7-E45D-4EA2-BF48-AA7F48DD95BA}" destId="{33F9E8EE-EC3D-45D9-9DAC-8D074A907E07}" srcOrd="2" destOrd="0" parTransId="{EA219A2B-BD28-45FF-934B-ED8AD26A984D}" sibTransId="{16208613-4567-4A90-8D6F-835A0C1EC343}"/>
    <dgm:cxn modelId="{31B056A1-5541-4BA8-B717-63646B0DF79B}" type="presOf" srcId="{87EE3EB2-FA33-42BF-AC70-AA6949D6F50A}" destId="{44A40E13-1430-4C21-957F-EACEF859A4A5}" srcOrd="0" destOrd="0" presId="urn:microsoft.com/office/officeart/2005/8/layout/cycle3"/>
    <dgm:cxn modelId="{AC6FC7A3-68BB-4C4F-AAAB-F661D796F0B8}" srcId="{062AAFB7-E45D-4EA2-BF48-AA7F48DD95BA}" destId="{87EE3EB2-FA33-42BF-AC70-AA6949D6F50A}" srcOrd="0" destOrd="0" parTransId="{80D16889-2FBE-413E-B4EF-69A35E1FF184}" sibTransId="{541C1CBC-D0FC-47B6-BAEF-A2519D2AD5B6}"/>
    <dgm:cxn modelId="{3EF0DBD0-8910-4351-AADA-0D9EFD6FE62D}" type="presOf" srcId="{CF6B19B3-1022-401C-B13E-C28483A5554C}" destId="{16029BFB-5108-4A99-9623-F8CCBF1D1BF4}" srcOrd="0" destOrd="0" presId="urn:microsoft.com/office/officeart/2005/8/layout/cycle3"/>
    <dgm:cxn modelId="{A0722EF2-E132-44A1-81F7-70C1101FC6C6}" srcId="{062AAFB7-E45D-4EA2-BF48-AA7F48DD95BA}" destId="{CF6B19B3-1022-401C-B13E-C28483A5554C}" srcOrd="4" destOrd="0" parTransId="{2D2A5703-6B08-422C-9B5B-AEC58B0154C3}" sibTransId="{4AF87E7D-F543-4077-87BA-7B4197C823F3}"/>
    <dgm:cxn modelId="{9034A81C-2E2B-4905-9048-64FD0F398F14}" type="presParOf" srcId="{A3CFA6F2-1A1B-4A49-8459-F42B56906291}" destId="{FAACAC5C-6C59-415D-8963-FC82510EB046}" srcOrd="0" destOrd="0" presId="urn:microsoft.com/office/officeart/2005/8/layout/cycle3"/>
    <dgm:cxn modelId="{82120B63-ACEA-4078-A854-9E4A0312A4EB}" type="presParOf" srcId="{FAACAC5C-6C59-415D-8963-FC82510EB046}" destId="{44A40E13-1430-4C21-957F-EACEF859A4A5}" srcOrd="0" destOrd="0" presId="urn:microsoft.com/office/officeart/2005/8/layout/cycle3"/>
    <dgm:cxn modelId="{E37EC156-42DF-4624-9123-881D0B20F580}" type="presParOf" srcId="{FAACAC5C-6C59-415D-8963-FC82510EB046}" destId="{9B10BECB-1E04-4D00-8B31-E34F5D8FA12F}" srcOrd="1" destOrd="0" presId="urn:microsoft.com/office/officeart/2005/8/layout/cycle3"/>
    <dgm:cxn modelId="{89A3609E-954B-4E72-968B-3C8AA53AA5BE}" type="presParOf" srcId="{FAACAC5C-6C59-415D-8963-FC82510EB046}" destId="{4D497E3B-91D6-4C19-AE0F-B340E880EAAC}" srcOrd="2" destOrd="0" presId="urn:microsoft.com/office/officeart/2005/8/layout/cycle3"/>
    <dgm:cxn modelId="{0C976D7D-07FB-44C9-8C42-FE9A1CBF6C96}" type="presParOf" srcId="{FAACAC5C-6C59-415D-8963-FC82510EB046}" destId="{101D2CA0-FEA6-438E-8763-DED26068C79B}" srcOrd="3" destOrd="0" presId="urn:microsoft.com/office/officeart/2005/8/layout/cycle3"/>
    <dgm:cxn modelId="{89AD8164-FE3C-4C51-BECB-3C21B4EEEF44}" type="presParOf" srcId="{FAACAC5C-6C59-415D-8963-FC82510EB046}" destId="{34EE8BE5-F799-4A6E-A6DD-9B727307ABC1}" srcOrd="4" destOrd="0" presId="urn:microsoft.com/office/officeart/2005/8/layout/cycle3"/>
    <dgm:cxn modelId="{8C457CE4-8D69-4FF5-B1D9-5D80B9877FEF}" type="presParOf" srcId="{FAACAC5C-6C59-415D-8963-FC82510EB046}" destId="{16029BFB-5108-4A99-9623-F8CCBF1D1BF4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2E86CF-80AC-4137-8303-D16C45341A97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10800000"/>
            <a:gd name="adj2" fmla="val 1620000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37E41B-9651-4EA9-A08E-9334E5A00A16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5400000"/>
            <a:gd name="adj2" fmla="val 1080000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D10D5F-791D-443F-B093-17886740FAF8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0"/>
            <a:gd name="adj2" fmla="val 540000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B6DD14-2709-497D-BE18-AF6C01979C93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16200000"/>
            <a:gd name="adj2" fmla="val 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8E6A7A-A081-437C-BE3B-FA743AF2E190}">
      <dsp:nvSpPr>
        <dsp:cNvPr id="0" name=""/>
        <dsp:cNvSpPr/>
      </dsp:nvSpPr>
      <dsp:spPr>
        <a:xfrm>
          <a:off x="930622" y="873617"/>
          <a:ext cx="958155" cy="958155"/>
        </a:xfrm>
        <a:prstGeom prst="ellipse">
          <a:avLst/>
        </a:prstGeom>
        <a:solidFill>
          <a:schemeClr val="accent1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ts val="16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cap="all" spc="30" baseline="0">
              <a:latin typeface="Lato" panose="020F0502020204030203" pitchFamily="34" charset="0"/>
            </a:rPr>
            <a:t>WHAT WE DO?</a:t>
          </a:r>
        </a:p>
      </dsp:txBody>
      <dsp:txXfrm>
        <a:off x="1070941" y="1013936"/>
        <a:ext cx="677517" cy="677517"/>
      </dsp:txXfrm>
    </dsp:sp>
    <dsp:sp modelId="{0929C9E3-5CC9-461F-A80B-E6468187EA6E}">
      <dsp:nvSpPr>
        <dsp:cNvPr id="0" name=""/>
        <dsp:cNvSpPr/>
      </dsp:nvSpPr>
      <dsp:spPr>
        <a:xfrm>
          <a:off x="1089661" y="15852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1183398" y="109589"/>
        <a:ext cx="452603" cy="452603"/>
      </dsp:txXfrm>
    </dsp:sp>
    <dsp:sp modelId="{5D75A59A-ECFB-4CF9-A8A6-5C83A2D4A593}">
      <dsp:nvSpPr>
        <dsp:cNvPr id="0" name=""/>
        <dsp:cNvSpPr/>
      </dsp:nvSpPr>
      <dsp:spPr>
        <a:xfrm>
          <a:off x="2106464" y="1032656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2200201" y="1126393"/>
        <a:ext cx="452603" cy="452603"/>
      </dsp:txXfrm>
    </dsp:sp>
    <dsp:sp modelId="{0570BF74-7D3E-4C15-B449-D51D45171511}">
      <dsp:nvSpPr>
        <dsp:cNvPr id="0" name=""/>
        <dsp:cNvSpPr/>
      </dsp:nvSpPr>
      <dsp:spPr>
        <a:xfrm>
          <a:off x="1089661" y="2049459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1183398" y="2143196"/>
        <a:ext cx="452603" cy="452603"/>
      </dsp:txXfrm>
    </dsp:sp>
    <dsp:sp modelId="{D361D381-81AD-497B-9F78-EF0A95E7D061}">
      <dsp:nvSpPr>
        <dsp:cNvPr id="0" name=""/>
        <dsp:cNvSpPr/>
      </dsp:nvSpPr>
      <dsp:spPr>
        <a:xfrm>
          <a:off x="72857" y="1032656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166594" y="1126393"/>
        <a:ext cx="452603" cy="4526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2E86CF-80AC-4137-8303-D16C45341A97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10800000"/>
            <a:gd name="adj2" fmla="val 1620000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37E41B-9651-4EA9-A08E-9334E5A00A16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5400000"/>
            <a:gd name="adj2" fmla="val 1080000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D10D5F-791D-443F-B093-17886740FAF8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0"/>
            <a:gd name="adj2" fmla="val 540000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B6DD14-2709-497D-BE18-AF6C01979C93}">
      <dsp:nvSpPr>
        <dsp:cNvPr id="0" name=""/>
        <dsp:cNvSpPr/>
      </dsp:nvSpPr>
      <dsp:spPr>
        <a:xfrm>
          <a:off x="368750" y="311745"/>
          <a:ext cx="2081898" cy="2081898"/>
        </a:xfrm>
        <a:prstGeom prst="blockArc">
          <a:avLst>
            <a:gd name="adj1" fmla="val 16200000"/>
            <a:gd name="adj2" fmla="val 0"/>
            <a:gd name="adj3" fmla="val 4639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8E6A7A-A081-437C-BE3B-FA743AF2E190}">
      <dsp:nvSpPr>
        <dsp:cNvPr id="0" name=""/>
        <dsp:cNvSpPr/>
      </dsp:nvSpPr>
      <dsp:spPr>
        <a:xfrm>
          <a:off x="930622" y="873617"/>
          <a:ext cx="958155" cy="958155"/>
        </a:xfrm>
        <a:prstGeom prst="ellipse">
          <a:avLst/>
        </a:prstGeom>
        <a:solidFill>
          <a:schemeClr val="accent1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ts val="16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cap="all" spc="30" baseline="0">
              <a:latin typeface="Lato" panose="020F0502020204030203" pitchFamily="34" charset="0"/>
            </a:rPr>
            <a:t>WHAT WE DO?</a:t>
          </a:r>
        </a:p>
      </dsp:txBody>
      <dsp:txXfrm>
        <a:off x="1070941" y="1013936"/>
        <a:ext cx="677517" cy="677517"/>
      </dsp:txXfrm>
    </dsp:sp>
    <dsp:sp modelId="{0929C9E3-5CC9-461F-A80B-E6468187EA6E}">
      <dsp:nvSpPr>
        <dsp:cNvPr id="0" name=""/>
        <dsp:cNvSpPr/>
      </dsp:nvSpPr>
      <dsp:spPr>
        <a:xfrm>
          <a:off x="1089661" y="15852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1183398" y="109589"/>
        <a:ext cx="452603" cy="452603"/>
      </dsp:txXfrm>
    </dsp:sp>
    <dsp:sp modelId="{5D75A59A-ECFB-4CF9-A8A6-5C83A2D4A593}">
      <dsp:nvSpPr>
        <dsp:cNvPr id="0" name=""/>
        <dsp:cNvSpPr/>
      </dsp:nvSpPr>
      <dsp:spPr>
        <a:xfrm>
          <a:off x="2106464" y="1032656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2200201" y="1126393"/>
        <a:ext cx="452603" cy="452603"/>
      </dsp:txXfrm>
    </dsp:sp>
    <dsp:sp modelId="{0570BF74-7D3E-4C15-B449-D51D45171511}">
      <dsp:nvSpPr>
        <dsp:cNvPr id="0" name=""/>
        <dsp:cNvSpPr/>
      </dsp:nvSpPr>
      <dsp:spPr>
        <a:xfrm>
          <a:off x="1089661" y="2049459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1183398" y="2143196"/>
        <a:ext cx="452603" cy="452603"/>
      </dsp:txXfrm>
    </dsp:sp>
    <dsp:sp modelId="{D361D381-81AD-497B-9F78-EF0A95E7D061}">
      <dsp:nvSpPr>
        <dsp:cNvPr id="0" name=""/>
        <dsp:cNvSpPr/>
      </dsp:nvSpPr>
      <dsp:spPr>
        <a:xfrm>
          <a:off x="72857" y="1032656"/>
          <a:ext cx="640077" cy="640077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>
          <a:outerShdw blurRad="50800" dist="88900" dir="5400000" sx="80000" sy="8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0" kern="1200">
            <a:latin typeface="Lato" panose="020F0502020204030203" pitchFamily="34" charset="0"/>
          </a:endParaRPr>
        </a:p>
      </dsp:txBody>
      <dsp:txXfrm>
        <a:off x="166594" y="1126393"/>
        <a:ext cx="452603" cy="4526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10BECB-1E04-4D00-8B31-E34F5D8FA12F}">
      <dsp:nvSpPr>
        <dsp:cNvPr id="0" name=""/>
        <dsp:cNvSpPr/>
      </dsp:nvSpPr>
      <dsp:spPr>
        <a:xfrm>
          <a:off x="798589" y="97700"/>
          <a:ext cx="2603186" cy="2603186"/>
        </a:xfrm>
        <a:prstGeom prst="circularArrow">
          <a:avLst>
            <a:gd name="adj1" fmla="val 5544"/>
            <a:gd name="adj2" fmla="val 330680"/>
            <a:gd name="adj3" fmla="val 14808399"/>
            <a:gd name="adj4" fmla="val 16784433"/>
            <a:gd name="adj5" fmla="val 5757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A40E13-1430-4C21-957F-EACEF859A4A5}">
      <dsp:nvSpPr>
        <dsp:cNvPr id="0" name=""/>
        <dsp:cNvSpPr/>
      </dsp:nvSpPr>
      <dsp:spPr>
        <a:xfrm>
          <a:off x="1780142" y="-30005"/>
          <a:ext cx="640079" cy="640079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>
            <a:latin typeface="Lato" panose="020F0502020204030203" pitchFamily="34" charset="0"/>
          </a:endParaRPr>
        </a:p>
      </dsp:txBody>
      <dsp:txXfrm>
        <a:off x="1873879" y="63732"/>
        <a:ext cx="452605" cy="452605"/>
      </dsp:txXfrm>
    </dsp:sp>
    <dsp:sp modelId="{4D497E3B-91D6-4C19-AE0F-B340E880EAAC}">
      <dsp:nvSpPr>
        <dsp:cNvPr id="0" name=""/>
        <dsp:cNvSpPr/>
      </dsp:nvSpPr>
      <dsp:spPr>
        <a:xfrm>
          <a:off x="2835911" y="737055"/>
          <a:ext cx="640079" cy="640079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>
            <a:latin typeface="Lato" panose="020F0502020204030203" pitchFamily="34" charset="0"/>
          </a:endParaRPr>
        </a:p>
      </dsp:txBody>
      <dsp:txXfrm>
        <a:off x="2929648" y="830792"/>
        <a:ext cx="452605" cy="452605"/>
      </dsp:txXfrm>
    </dsp:sp>
    <dsp:sp modelId="{101D2CA0-FEA6-438E-8763-DED26068C79B}">
      <dsp:nvSpPr>
        <dsp:cNvPr id="0" name=""/>
        <dsp:cNvSpPr/>
      </dsp:nvSpPr>
      <dsp:spPr>
        <a:xfrm>
          <a:off x="2432643" y="1978186"/>
          <a:ext cx="640079" cy="640079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>
            <a:latin typeface="Lato" panose="020F0502020204030203" pitchFamily="34" charset="0"/>
          </a:endParaRPr>
        </a:p>
      </dsp:txBody>
      <dsp:txXfrm>
        <a:off x="2526380" y="2071923"/>
        <a:ext cx="452605" cy="452605"/>
      </dsp:txXfrm>
    </dsp:sp>
    <dsp:sp modelId="{34EE8BE5-F799-4A6E-A6DD-9B727307ABC1}">
      <dsp:nvSpPr>
        <dsp:cNvPr id="0" name=""/>
        <dsp:cNvSpPr/>
      </dsp:nvSpPr>
      <dsp:spPr>
        <a:xfrm>
          <a:off x="1127641" y="1978186"/>
          <a:ext cx="640079" cy="640079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>
            <a:latin typeface="Lato" panose="020F0502020204030203" pitchFamily="34" charset="0"/>
          </a:endParaRPr>
        </a:p>
      </dsp:txBody>
      <dsp:txXfrm>
        <a:off x="1221378" y="2071923"/>
        <a:ext cx="452605" cy="452605"/>
      </dsp:txXfrm>
    </dsp:sp>
    <dsp:sp modelId="{16029BFB-5108-4A99-9623-F8CCBF1D1BF4}">
      <dsp:nvSpPr>
        <dsp:cNvPr id="0" name=""/>
        <dsp:cNvSpPr/>
      </dsp:nvSpPr>
      <dsp:spPr>
        <a:xfrm>
          <a:off x="724373" y="737055"/>
          <a:ext cx="640079" cy="640079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>
            <a:latin typeface="Lato" panose="020F0502020204030203" pitchFamily="34" charset="0"/>
          </a:endParaRPr>
        </a:p>
      </dsp:txBody>
      <dsp:txXfrm>
        <a:off x="818110" y="830792"/>
        <a:ext cx="452605" cy="4526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01BD6-766B-4D19-B75E-7E6A037A6BFB}" type="datetimeFigureOut">
              <a:rPr lang="en-US" smtClean="0"/>
              <a:t>12/1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1302AA-81B1-4225-BC36-6DD3E8E987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844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8D3C34-4FAE-4634-9621-7C1A1531823B}" type="datetimeFigureOut">
              <a:rPr lang="en-US" smtClean="0"/>
              <a:t>12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5D1758-ED3D-4611-B861-63A1DF0322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456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9208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3" name="Google Shape;3393;g31f8fa2eecc_2_326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4" name="Google Shape;3394;g31f8fa2eecc_2_32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1" name="Google Shape;3401;g31f8fa2eecc_3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2" name="Google Shape;3402;g31f8fa2eecc_3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4" name="Google Shape;3454;g31f8fa2eecc_3_1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5" name="Google Shape;3455;g31f8fa2eecc_3_1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2" name="Google Shape;3472;g31f8fa2eecc_3_8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3" name="Google Shape;3473;g31f8fa2eecc_3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0" name="Google Shape;3500;g31f8fa2eecc_3_2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1" name="Google Shape;3501;g31f8fa2eecc_3_2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6">
          <a:extLst>
            <a:ext uri="{FF2B5EF4-FFF2-40B4-BE49-F238E27FC236}">
              <a16:creationId xmlns:a16="http://schemas.microsoft.com/office/drawing/2014/main" id="{9A2DDE29-97E6-28CC-E9C6-B1934A96BE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7" name="Google Shape;3327;g31f8fa2eecc_3_0:notes">
            <a:extLst>
              <a:ext uri="{FF2B5EF4-FFF2-40B4-BE49-F238E27FC236}">
                <a16:creationId xmlns:a16="http://schemas.microsoft.com/office/drawing/2014/main" id="{137C43AF-C2B6-3747-E05C-B90170165F1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8" name="Google Shape;3328;g31f8fa2eecc_3_0:notes">
            <a:extLst>
              <a:ext uri="{FF2B5EF4-FFF2-40B4-BE49-F238E27FC236}">
                <a16:creationId xmlns:a16="http://schemas.microsoft.com/office/drawing/2014/main" id="{F0566673-5E80-8829-A44F-D487BB42B5A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62294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6">
          <a:extLst>
            <a:ext uri="{FF2B5EF4-FFF2-40B4-BE49-F238E27FC236}">
              <a16:creationId xmlns:a16="http://schemas.microsoft.com/office/drawing/2014/main" id="{AF8B7C15-E560-68DE-92CB-F1C70DA4B8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7" name="Google Shape;3327;g31f8fa2eecc_3_0:notes">
            <a:extLst>
              <a:ext uri="{FF2B5EF4-FFF2-40B4-BE49-F238E27FC236}">
                <a16:creationId xmlns:a16="http://schemas.microsoft.com/office/drawing/2014/main" id="{304C6338-E8CB-DE4A-CA0D-4FF82AECE3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8" name="Google Shape;3328;g31f8fa2eecc_3_0:notes">
            <a:extLst>
              <a:ext uri="{FF2B5EF4-FFF2-40B4-BE49-F238E27FC236}">
                <a16:creationId xmlns:a16="http://schemas.microsoft.com/office/drawing/2014/main" id="{D83C9BAB-87C7-E5C5-A3E0-D5D8039686B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3242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6">
          <a:extLst>
            <a:ext uri="{FF2B5EF4-FFF2-40B4-BE49-F238E27FC236}">
              <a16:creationId xmlns:a16="http://schemas.microsoft.com/office/drawing/2014/main" id="{870AA7E6-00E2-DFB3-5DA6-F84C1A242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7" name="Google Shape;3327;g31f8fa2eecc_3_0:notes">
            <a:extLst>
              <a:ext uri="{FF2B5EF4-FFF2-40B4-BE49-F238E27FC236}">
                <a16:creationId xmlns:a16="http://schemas.microsoft.com/office/drawing/2014/main" id="{4B24F2B4-1E41-CF3D-DCB0-53BEE80DBF3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8" name="Google Shape;3328;g31f8fa2eecc_3_0:notes">
            <a:extLst>
              <a:ext uri="{FF2B5EF4-FFF2-40B4-BE49-F238E27FC236}">
                <a16:creationId xmlns:a16="http://schemas.microsoft.com/office/drawing/2014/main" id="{FDBAEEA0-F5BB-1EF8-2D08-3F05AC20B30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716742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3" name="Google Shape;3393;g31f8fa2eecc_2_326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4" name="Google Shape;3394;g31f8fa2eecc_2_32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1" name="Google Shape;3401;g31f8fa2eecc_3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2" name="Google Shape;3402;g31f8fa2eecc_3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GB" b="1" i="1" dirty="0">
                    <a:latin typeface="Cambria Math" panose="02040503050406030204" pitchFamily="18" charset="0"/>
                  </a:rPr>
                  <a:t>FID:</a:t>
                </a:r>
              </a:p>
              <a:p>
                <a:r>
                  <a:rPr lang="en-GB" dirty="0"/>
                  <a:t>1. The Inception network is used to extract feature representations from an intermediate layer for both real and generated images.</a:t>
                </a:r>
              </a:p>
              <a:p>
                <a:r>
                  <a:rPr lang="en-GB" dirty="0"/>
                  <a:t>2. These feature representations are assumed to follow a </a:t>
                </a:r>
                <a:r>
                  <a:rPr lang="en-GB" b="1" dirty="0"/>
                  <a:t>multivariate Gaussian distribution</a:t>
                </a:r>
                <a:r>
                  <a:rPr lang="en-GB" dirty="0"/>
                  <a:t>. For real images, the distribution is characterized by a mean vect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i="1" dirty="0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</m:t>
                        </m:r>
                      </m:sub>
                    </m:sSub>
                  </m:oMath>
                </a14:m>
                <a:r>
                  <a:rPr lang="en-GB" dirty="0"/>
                  <a:t>​ and a covariance matri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nary>
                  </m:oMath>
                </a14:m>
                <a:r>
                  <a:rPr lang="en-GB" dirty="0"/>
                  <a:t>. Similarly, for generated images, the parameters a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i="1" dirty="0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𝑔</m:t>
                        </m:r>
                      </m:sub>
                    </m:sSub>
                  </m:oMath>
                </a14:m>
                <a:r>
                  <a:rPr lang="en-GB" dirty="0"/>
                  <a:t>​ and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</m:nary>
                  </m:oMath>
                </a14:m>
                <a:endParaRPr lang="nb-NO" b="0" dirty="0"/>
              </a:p>
              <a:p>
                <a:endParaRPr lang="en-GB" b="1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d>
                      <m:dPr>
                        <m:begChr m:val="‖"/>
                        <m:endChr m:val="‖"/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nb-NO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l-GR" i="1" dirty="0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​</m:t>
                            </m:r>
                          </m:sub>
                        </m:sSub>
                        <m:r>
                          <a:rPr lang="nb-NO" i="1" dirty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nb-NO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l-GR" i="1" dirty="0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</m:sSub>
                      </m:e>
                    </m:d>
                    <m:sSup>
                      <m:sSup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</m:t>
                        </m:r>
                      </m:e>
                      <m:sup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nb-NO" b="0" i="0" dirty="0" smtClean="0">
                        <a:latin typeface="Cambria Math" panose="02040503050406030204" pitchFamily="18" charset="0"/>
                      </a:rPr>
                      <m:t>:   </m:t>
                    </m:r>
                  </m:oMath>
                </a14:m>
                <a:r>
                  <a:rPr lang="en-GB" dirty="0"/>
                  <a:t>                          is the squared Euclidean distance between the means.</a:t>
                </a:r>
              </a:p>
              <a:p>
                <a:r>
                  <a:rPr lang="en-GB" dirty="0"/>
                  <a:t>Tr:                                           denotes the trace operation (sum of diagonal elements).</a:t>
                </a:r>
              </a:p>
              <a:p>
                <a14:m>
                  <m:oMath xmlns:m="http://schemas.openxmlformats.org/officeDocument/2006/math">
                    <m:d>
                      <m:dPr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en-GB" i="1" dirty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</m:nary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+</m:t>
                        </m:r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</m:nary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−</m:t>
                        </m:r>
                        <m:sSup>
                          <m:sSupPr>
                            <m:ctrlPr>
                              <a:rPr lang="en-GB" i="1" dirty="0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d>
                              <m:dPr>
                                <m:ctrlPr>
                                  <a:rPr lang="en-GB" i="1" dirty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nary>
                                  <m:naryPr>
                                    <m:chr m:val="∑"/>
                                    <m:subHide m:val="on"/>
                                    <m:supHide m:val="on"/>
                                    <m:ctrlPr>
                                      <a:rPr lang="en-GB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/>
                                  <m:sup/>
                                  <m:e>
                                    <m:r>
                                      <a:rPr lang="nb-NO" i="1" dirty="0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</m:nary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​</m:t>
                                </m:r>
                                <m:nary>
                                  <m:naryPr>
                                    <m:chr m:val="∑"/>
                                    <m:subHide m:val="on"/>
                                    <m:supHide m:val="on"/>
                                    <m:ctrlPr>
                                      <a:rPr lang="en-GB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/>
                                  <m:sup/>
                                  <m:e>
                                    <m:r>
                                      <a:rPr lang="nb-NO" b="0" i="1" dirty="0" smtClean="0">
                                        <a:latin typeface="Cambria Math" panose="02040503050406030204" pitchFamily="18" charset="0"/>
                                      </a:rPr>
                                      <m:t>𝑔</m:t>
                                    </m:r>
                                  </m:e>
                                </m:nary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​</m:t>
                                </m:r>
                              </m:e>
                            </m:d>
                          </m:e>
                          <m:sup>
                            <m:f>
                              <m:fPr>
                                <m:ctrlPr>
                                  <a:rPr lang="en-GB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nb-NO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nb-NO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</m:sup>
                        </m:sSup>
                      </m:e>
                    </m:d>
                  </m:oMath>
                </a14:m>
                <a:r>
                  <a:rPr lang="en-GB" dirty="0"/>
                  <a:t>:</a:t>
                </a:r>
                <a:r>
                  <a:rPr lang="en-GB" baseline="0" dirty="0"/>
                  <a:t>   </a:t>
                </a:r>
                <a:r>
                  <a:rPr lang="en-GB" dirty="0"/>
                  <a:t>is the matrix square root of the product of the covariance matrices.</a:t>
                </a:r>
              </a:p>
              <a:p>
                <a:r>
                  <a:rPr lang="en-GB" b="1" dirty="0"/>
                  <a:t>Interpretation</a:t>
                </a:r>
                <a:r>
                  <a:rPr lang="en-GB" dirty="0"/>
                  <a:t>: Lower FID indicates that the generated images are closer in distribution to the real images, signifying higher quality.</a:t>
                </a:r>
              </a:p>
              <a:p>
                <a:endParaRPr lang="en-GB" dirty="0"/>
              </a:p>
              <a:p>
                <a:r>
                  <a:rPr lang="en-GB" b="1" i="1" dirty="0">
                    <a:latin typeface="Cambria Math" panose="02040503050406030204" pitchFamily="18" charset="0"/>
                  </a:rPr>
                  <a:t>MiFID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 dirty="0" err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 dirty="0" err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GB" i="1" dirty="0" err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​​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GB" dirty="0"/>
                  <a:t>​​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 dirty="0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sSub>
                          <m:sSubPr>
                            <m:ctrlP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GB" dirty="0"/>
                  <a:t>are the </a:t>
                </a:r>
                <a:r>
                  <a:rPr lang="en-GB" dirty="0" err="1"/>
                  <a:t>i-th</a:t>
                </a:r>
                <a:r>
                  <a:rPr lang="en-GB" dirty="0"/>
                  <a:t> and j-</a:t>
                </a:r>
                <a:r>
                  <a:rPr lang="en-GB" dirty="0" err="1"/>
                  <a:t>th</a:t>
                </a:r>
                <a:r>
                  <a:rPr lang="en-GB" dirty="0"/>
                  <a:t> vectors from the, feature representations (vectors)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GB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GB" dirty="0"/>
                  <a:t>​, respectively. Cosine distance measures the angular difference between these vectors, normalized to [0, 1].</a:t>
                </a:r>
              </a:p>
              <a:p>
                <a:endParaRPr lang="en-GB" dirty="0"/>
              </a:p>
              <a:p>
                <a:r>
                  <a:rPr lang="en-GB" dirty="0"/>
                  <a:t>We make a value </a:t>
                </a:r>
                <a14:m>
                  <m:oMath xmlns:m="http://schemas.openxmlformats.org/officeDocument/2006/math">
                    <m:r>
                      <a:rPr lang="nb-NO" b="0" i="1" dirty="0" smtClean="0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GB" dirty="0"/>
                  <a:t> by taking</a:t>
                </a:r>
                <a:r>
                  <a:rPr lang="en-GB" baseline="0" dirty="0"/>
                  <a:t> the average of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nb-NO" b="0" i="0" dirty="0" smtClean="0">
                            <a:latin typeface="Cambria Math" panose="02040503050406030204" pitchFamily="18" charset="0"/>
                          </a:rPr>
                          <m:t>min</m:t>
                        </m:r>
                      </m:fName>
                      <m:e>
                        <m:sSub>
                          <m:sSubPr>
                            <m:ctrlP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 dirty="0" smtClean="0">
                                <a:latin typeface="Cambria Math" panose="02040503050406030204" pitchFamily="18" charset="0"/>
                              </a:rPr>
                              <m:t>𝑑</m:t>
                            </m:r>
                          </m:e>
                          <m:sub>
                            <m:r>
                              <a:rPr lang="en-GB" i="1" dirty="0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​</m:t>
                            </m:r>
                          </m:sub>
                        </m:sSub>
                      </m:e>
                    </m:func>
                  </m:oMath>
                </a14:m>
                <a:r>
                  <a:rPr lang="en-GB" dirty="0"/>
                  <a:t> for all</a:t>
                </a:r>
                <a:r>
                  <a:rPr lang="en-GB" baseline="0" dirty="0"/>
                  <a:t> feature representation of the generated and real images. </a:t>
                </a:r>
                <a:endParaRPr lang="en-GB" dirty="0"/>
              </a:p>
              <a:p>
                <a:endParaRPr lang="en-GB" dirty="0"/>
              </a:p>
              <a:p>
                <a:r>
                  <a:rPr lang="en-GB" dirty="0"/>
                  <a:t>If this is under a given </a:t>
                </a:r>
                <a:r>
                  <a:rPr lang="en-GB" dirty="0" err="1"/>
                  <a:t>treshold</a:t>
                </a:r>
                <a:r>
                  <a:rPr lang="en-GB" dirty="0"/>
                  <a:t>, the valu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</m:t>
                        </m:r>
                      </m:sub>
                    </m:sSub>
                  </m:oMath>
                </a14:m>
                <a:r>
                  <a:rPr lang="en-GB" dirty="0"/>
                  <a:t> is used. If it’s over the threshold, 1 is used to penalize the model.</a:t>
                </a:r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GB" b="1" i="1" dirty="0">
                    <a:latin typeface="Cambria Math" panose="02040503050406030204" pitchFamily="18" charset="0"/>
                  </a:rPr>
                  <a:t>FID:</a:t>
                </a:r>
              </a:p>
              <a:p>
                <a:r>
                  <a:rPr lang="en-GB" dirty="0"/>
                  <a:t>1. The Inception network is used to extract feature representations from an intermediate layer for both real and generated images.</a:t>
                </a:r>
              </a:p>
              <a:p>
                <a:r>
                  <a:rPr lang="en-GB" dirty="0"/>
                  <a:t>2. These feature representations are assumed to follow a </a:t>
                </a:r>
                <a:r>
                  <a:rPr lang="en-GB" b="1" dirty="0"/>
                  <a:t>multivariate Gaussian distribution</a:t>
                </a:r>
                <a:r>
                  <a:rPr lang="en-GB" dirty="0"/>
                  <a:t>. For real images, the distribution is characterized by a mean vector </a:t>
                </a:r>
                <a:r>
                  <a:rPr lang="el-GR" i="0" dirty="0">
                    <a:latin typeface="Cambria Math" panose="02040503050406030204" pitchFamily="18" charset="0"/>
                  </a:rPr>
                  <a:t>𝜇</a:t>
                </a:r>
                <a:r>
                  <a:rPr lang="nb-NO" i="0" dirty="0">
                    <a:latin typeface="Cambria Math" panose="02040503050406030204" pitchFamily="18" charset="0"/>
                  </a:rPr>
                  <a:t>_</a:t>
                </a:r>
                <a:r>
                  <a:rPr lang="en-GB" i="0" dirty="0">
                    <a:latin typeface="Cambria Math" panose="02040503050406030204" pitchFamily="18" charset="0"/>
                  </a:rPr>
                  <a:t>𝑟​</a:t>
                </a:r>
                <a:r>
                  <a:rPr lang="en-GB" dirty="0"/>
                  <a:t>​ and a covariance matrix </a:t>
                </a:r>
                <a:r>
                  <a:rPr lang="en-GB" i="0" dirty="0">
                    <a:latin typeface="Cambria Math" panose="02040503050406030204" pitchFamily="18" charset="0"/>
                  </a:rPr>
                  <a:t>∑</a:t>
                </a:r>
                <a:r>
                  <a:rPr lang="nb-NO" b="0" i="0" dirty="0">
                    <a:latin typeface="Cambria Math" panose="02040503050406030204" pitchFamily="18" charset="0"/>
                  </a:rPr>
                  <a:t>▒𝑟</a:t>
                </a:r>
                <a:r>
                  <a:rPr lang="en-GB" dirty="0"/>
                  <a:t>. Similarly, for generated images, the parameters are </a:t>
                </a:r>
                <a:r>
                  <a:rPr lang="el-GR" i="0" dirty="0">
                    <a:latin typeface="Cambria Math" panose="02040503050406030204" pitchFamily="18" charset="0"/>
                  </a:rPr>
                  <a:t>𝜇</a:t>
                </a:r>
                <a:r>
                  <a:rPr lang="nb-NO" i="0" dirty="0">
                    <a:latin typeface="Cambria Math" panose="02040503050406030204" pitchFamily="18" charset="0"/>
                  </a:rPr>
                  <a:t>_</a:t>
                </a:r>
                <a:r>
                  <a:rPr lang="nb-NO" b="0" i="0" dirty="0">
                    <a:latin typeface="Cambria Math" panose="02040503050406030204" pitchFamily="18" charset="0"/>
                  </a:rPr>
                  <a:t>𝑔</a:t>
                </a:r>
                <a:r>
                  <a:rPr lang="en-GB" dirty="0"/>
                  <a:t>​ and </a:t>
                </a:r>
                <a:r>
                  <a:rPr lang="en-GB" i="0" dirty="0">
                    <a:latin typeface="Cambria Math" panose="02040503050406030204" pitchFamily="18" charset="0"/>
                  </a:rPr>
                  <a:t>∑</a:t>
                </a:r>
                <a:r>
                  <a:rPr lang="nb-NO" b="0" i="0" dirty="0">
                    <a:latin typeface="Cambria Math" panose="02040503050406030204" pitchFamily="18" charset="0"/>
                  </a:rPr>
                  <a:t>▒𝑔</a:t>
                </a:r>
                <a:endParaRPr lang="nb-NO" b="0" dirty="0"/>
              </a:p>
              <a:p>
                <a:endParaRPr lang="en-GB" b="1" i="1" dirty="0">
                  <a:latin typeface="Cambria Math" panose="02040503050406030204" pitchFamily="18" charset="0"/>
                </a:endParaRPr>
              </a:p>
              <a:p>
                <a:r>
                  <a:rPr lang="en-GB" i="0" dirty="0">
                    <a:latin typeface="Cambria Math" panose="02040503050406030204" pitchFamily="18" charset="0"/>
                  </a:rPr>
                  <a:t>‖</a:t>
                </a:r>
                <a:r>
                  <a:rPr lang="el-GR" i="0" dirty="0">
                    <a:latin typeface="Cambria Math" panose="02040503050406030204" pitchFamily="18" charset="0"/>
                  </a:rPr>
                  <a:t>𝜇</a:t>
                </a:r>
                <a:r>
                  <a:rPr lang="nb-NO" i="0" dirty="0">
                    <a:latin typeface="Cambria Math" panose="02040503050406030204" pitchFamily="18" charset="0"/>
                  </a:rPr>
                  <a:t>_</a:t>
                </a:r>
                <a:r>
                  <a:rPr lang="en-GB" i="0" dirty="0">
                    <a:latin typeface="Cambria Math" panose="02040503050406030204" pitchFamily="18" charset="0"/>
                  </a:rPr>
                  <a:t>𝑟​</a:t>
                </a:r>
                <a:r>
                  <a:rPr lang="nb-NO" i="0" dirty="0">
                    <a:latin typeface="Cambria Math" panose="02040503050406030204" pitchFamily="18" charset="0"/>
                  </a:rPr>
                  <a:t>−</a:t>
                </a:r>
                <a:r>
                  <a:rPr lang="el-GR" i="0" dirty="0">
                    <a:latin typeface="Cambria Math" panose="02040503050406030204" pitchFamily="18" charset="0"/>
                  </a:rPr>
                  <a:t>𝜇</a:t>
                </a:r>
                <a:r>
                  <a:rPr lang="nb-NO" i="0" dirty="0">
                    <a:latin typeface="Cambria Math" panose="02040503050406030204" pitchFamily="18" charset="0"/>
                  </a:rPr>
                  <a:t>_</a:t>
                </a:r>
                <a:r>
                  <a:rPr lang="nb-NO" b="0" i="0" dirty="0">
                    <a:latin typeface="Cambria Math" panose="02040503050406030204" pitchFamily="18" charset="0"/>
                  </a:rPr>
                  <a:t>𝑔 ‖ </a:t>
                </a:r>
                <a:r>
                  <a:rPr lang="en-GB" i="0" dirty="0">
                    <a:latin typeface="Cambria Math" panose="02040503050406030204" pitchFamily="18" charset="0"/>
                  </a:rPr>
                  <a:t>​</a:t>
                </a:r>
                <a:r>
                  <a:rPr lang="nb-NO" b="0" i="0" dirty="0">
                    <a:latin typeface="Cambria Math" panose="02040503050406030204" pitchFamily="18" charset="0"/>
                  </a:rPr>
                  <a:t>^2:   </a:t>
                </a:r>
                <a:r>
                  <a:rPr lang="en-GB" dirty="0"/>
                  <a:t>                          is the squared Euclidean distance between the means.</a:t>
                </a:r>
              </a:p>
              <a:p>
                <a:r>
                  <a:rPr lang="en-GB" dirty="0"/>
                  <a:t>Tr:                                           denotes the trace operation (sum of diagonal elements).</a:t>
                </a:r>
              </a:p>
              <a:p>
                <a:r>
                  <a:rPr lang="en-GB" i="0" dirty="0">
                    <a:latin typeface="Cambria Math" panose="02040503050406030204" pitchFamily="18" charset="0"/>
                  </a:rPr>
                  <a:t>(∑</a:t>
                </a:r>
                <a:r>
                  <a:rPr lang="nb-NO" b="0" i="0" dirty="0">
                    <a:latin typeface="Cambria Math" panose="02040503050406030204" pitchFamily="18" charset="0"/>
                  </a:rPr>
                  <a:t>▒𝑟</a:t>
                </a:r>
                <a:r>
                  <a:rPr lang="en-GB" b="0" i="0" dirty="0">
                    <a:latin typeface="Cambria Math" panose="02040503050406030204" pitchFamily="18" charset="0"/>
                  </a:rPr>
                  <a:t> </a:t>
                </a:r>
                <a:r>
                  <a:rPr lang="en-GB" i="0" dirty="0">
                    <a:latin typeface="Cambria Math" panose="02040503050406030204" pitchFamily="18" charset="0"/>
                  </a:rPr>
                  <a:t>​+∑</a:t>
                </a:r>
                <a:r>
                  <a:rPr lang="nb-NO" b="0" i="0" dirty="0">
                    <a:latin typeface="Cambria Math" panose="02040503050406030204" pitchFamily="18" charset="0"/>
                  </a:rPr>
                  <a:t>▒𝑔</a:t>
                </a:r>
                <a:r>
                  <a:rPr lang="en-GB" b="0" i="0" dirty="0">
                    <a:latin typeface="Cambria Math" panose="02040503050406030204" pitchFamily="18" charset="0"/>
                  </a:rPr>
                  <a:t> </a:t>
                </a:r>
                <a:r>
                  <a:rPr lang="en-GB" i="0" dirty="0">
                    <a:latin typeface="Cambria Math" panose="02040503050406030204" pitchFamily="18" charset="0"/>
                  </a:rPr>
                  <a:t>​−〖2(∑</a:t>
                </a:r>
                <a:r>
                  <a:rPr lang="nb-NO" i="0" dirty="0">
                    <a:latin typeface="Cambria Math" panose="02040503050406030204" pitchFamily="18" charset="0"/>
                  </a:rPr>
                  <a:t>▒𝑟</a:t>
                </a:r>
                <a:r>
                  <a:rPr lang="en-GB" i="0" dirty="0">
                    <a:latin typeface="Cambria Math" panose="02040503050406030204" pitchFamily="18" charset="0"/>
                  </a:rPr>
                  <a:t> ​∑</a:t>
                </a:r>
                <a:r>
                  <a:rPr lang="nb-NO" b="0" i="0" dirty="0">
                    <a:latin typeface="Cambria Math" panose="02040503050406030204" pitchFamily="18" charset="0"/>
                  </a:rPr>
                  <a:t>▒𝑔</a:t>
                </a:r>
                <a:r>
                  <a:rPr lang="en-GB" b="0" i="0" dirty="0">
                    <a:latin typeface="Cambria Math" panose="02040503050406030204" pitchFamily="18" charset="0"/>
                  </a:rPr>
                  <a:t> </a:t>
                </a:r>
                <a:r>
                  <a:rPr lang="en-GB" i="0" dirty="0">
                    <a:latin typeface="Cambria Math" panose="02040503050406030204" pitchFamily="18" charset="0"/>
                  </a:rPr>
                  <a:t>​)〗^(</a:t>
                </a:r>
                <a:r>
                  <a:rPr lang="nb-NO" b="0" i="0" dirty="0">
                    <a:latin typeface="Cambria Math" panose="02040503050406030204" pitchFamily="18" charset="0"/>
                  </a:rPr>
                  <a:t>1</a:t>
                </a:r>
                <a:r>
                  <a:rPr lang="en-GB" b="0" i="0" dirty="0">
                    <a:latin typeface="Cambria Math" panose="02040503050406030204" pitchFamily="18" charset="0"/>
                  </a:rPr>
                  <a:t>/</a:t>
                </a:r>
                <a:r>
                  <a:rPr lang="nb-NO" b="0" i="0" dirty="0">
                    <a:latin typeface="Cambria Math" panose="02040503050406030204" pitchFamily="18" charset="0"/>
                  </a:rPr>
                  <a:t>2</a:t>
                </a:r>
                <a:r>
                  <a:rPr lang="en-GB" b="0" i="0" dirty="0">
                    <a:latin typeface="Cambria Math" panose="02040503050406030204" pitchFamily="18" charset="0"/>
                  </a:rPr>
                  <a:t>)</a:t>
                </a:r>
                <a:r>
                  <a:rPr lang="nb-NO" b="0" i="0" dirty="0">
                    <a:latin typeface="Cambria Math" panose="02040503050406030204" pitchFamily="18" charset="0"/>
                  </a:rPr>
                  <a:t> )</a:t>
                </a:r>
                <a:r>
                  <a:rPr lang="en-GB" dirty="0"/>
                  <a:t>:</a:t>
                </a:r>
                <a:r>
                  <a:rPr lang="en-GB" baseline="0" dirty="0"/>
                  <a:t>   </a:t>
                </a:r>
                <a:r>
                  <a:rPr lang="en-GB" dirty="0"/>
                  <a:t>is the matrix square root of the product of the covariance matrices.</a:t>
                </a:r>
              </a:p>
              <a:p>
                <a:r>
                  <a:rPr lang="en-GB" b="1" dirty="0"/>
                  <a:t>Interpretation</a:t>
                </a:r>
                <a:r>
                  <a:rPr lang="en-GB" dirty="0"/>
                  <a:t>: Lower FID indicates that the generated images are closer in distribution to the real images, signifying higher quality.</a:t>
                </a:r>
              </a:p>
              <a:p>
                <a:endParaRPr lang="en-GB" dirty="0"/>
              </a:p>
              <a:p>
                <a:r>
                  <a:rPr lang="en-GB" b="1" i="1" dirty="0">
                    <a:latin typeface="Cambria Math" panose="02040503050406030204" pitchFamily="18" charset="0"/>
                  </a:rPr>
                  <a:t>MiFID:</a:t>
                </a:r>
              </a:p>
              <a:p>
                <a:r>
                  <a:rPr lang="en-GB" i="0" dirty="0" err="1">
                    <a:latin typeface="Cambria Math" panose="02040503050406030204" pitchFamily="18" charset="0"/>
                  </a:rPr>
                  <a:t>𝑓</a:t>
                </a:r>
                <a:r>
                  <a:rPr lang="nb-NO" b="0" i="0" dirty="0">
                    <a:latin typeface="Cambria Math" panose="02040503050406030204" pitchFamily="18" charset="0"/>
                  </a:rPr>
                  <a:t>_(</a:t>
                </a:r>
                <a:r>
                  <a:rPr lang="en-GB" i="0" dirty="0" err="1">
                    <a:latin typeface="Cambria Math" panose="02040503050406030204" pitchFamily="18" charset="0"/>
                  </a:rPr>
                  <a:t>𝑔</a:t>
                </a:r>
                <a:r>
                  <a:rPr lang="nb-NO" b="0" i="0" dirty="0">
                    <a:latin typeface="Cambria Math" panose="02040503050406030204" pitchFamily="18" charset="0"/>
                  </a:rPr>
                  <a:t>_</a:t>
                </a:r>
                <a:r>
                  <a:rPr lang="en-GB" i="0" dirty="0" err="1">
                    <a:latin typeface="Cambria Math" panose="02040503050406030204" pitchFamily="18" charset="0"/>
                  </a:rPr>
                  <a:t>𝑖</a:t>
                </a:r>
                <a:r>
                  <a:rPr lang="en-GB" i="0" dirty="0">
                    <a:latin typeface="Cambria Math" panose="02040503050406030204" pitchFamily="18" charset="0"/>
                  </a:rPr>
                  <a:t>​​ </a:t>
                </a:r>
                <a:r>
                  <a:rPr lang="nb-NO" b="0" i="0" dirty="0">
                    <a:latin typeface="Cambria Math" panose="02040503050406030204" pitchFamily="18" charset="0"/>
                  </a:rPr>
                  <a:t>)</a:t>
                </a:r>
                <a:r>
                  <a:rPr lang="en-GB" dirty="0"/>
                  <a:t>​​ and </a:t>
                </a:r>
                <a:r>
                  <a:rPr lang="en-GB" i="0" dirty="0">
                    <a:latin typeface="Cambria Math" panose="02040503050406030204" pitchFamily="18" charset="0"/>
                  </a:rPr>
                  <a:t>𝑓</a:t>
                </a:r>
                <a:r>
                  <a:rPr lang="nb-NO" b="0" i="0" dirty="0">
                    <a:latin typeface="Cambria Math" panose="02040503050406030204" pitchFamily="18" charset="0"/>
                  </a:rPr>
                  <a:t>_(𝑟_𝑗 )</a:t>
                </a:r>
                <a:r>
                  <a:rPr lang="en-GB" dirty="0"/>
                  <a:t>are the </a:t>
                </a:r>
                <a:r>
                  <a:rPr lang="en-GB" dirty="0" err="1"/>
                  <a:t>i-th</a:t>
                </a:r>
                <a:r>
                  <a:rPr lang="en-GB" dirty="0"/>
                  <a:t> and j-</a:t>
                </a:r>
                <a:r>
                  <a:rPr lang="en-GB" dirty="0" err="1"/>
                  <a:t>th</a:t>
                </a:r>
                <a:r>
                  <a:rPr lang="en-GB" dirty="0"/>
                  <a:t> vectors from the, feature representations (vectors) of </a:t>
                </a:r>
                <a:r>
                  <a:rPr lang="nb-NO" b="0" i="0" dirty="0">
                    <a:latin typeface="Cambria Math" panose="02040503050406030204" pitchFamily="18" charset="0"/>
                  </a:rPr>
                  <a:t>𝑔_𝑖</a:t>
                </a:r>
                <a:r>
                  <a:rPr lang="en-GB" dirty="0"/>
                  <a:t>and </a:t>
                </a:r>
                <a:r>
                  <a:rPr lang="nb-NO" b="0" i="0" dirty="0">
                    <a:latin typeface="Cambria Math" panose="02040503050406030204" pitchFamily="18" charset="0"/>
                  </a:rPr>
                  <a:t>𝑟_𝑗</a:t>
                </a:r>
                <a:r>
                  <a:rPr lang="en-GB" dirty="0"/>
                  <a:t>​, respectively. Cosine distance measures the angular difference between these vectors, normalized to [0, 1].</a:t>
                </a:r>
              </a:p>
              <a:p>
                <a:endParaRPr lang="en-GB" dirty="0"/>
              </a:p>
              <a:p>
                <a:r>
                  <a:rPr lang="en-GB" dirty="0"/>
                  <a:t>We make a value </a:t>
                </a:r>
                <a:r>
                  <a:rPr lang="nb-NO" b="0" i="0" dirty="0">
                    <a:latin typeface="Cambria Math" panose="02040503050406030204" pitchFamily="18" charset="0"/>
                  </a:rPr>
                  <a:t>𝑑</a:t>
                </a:r>
                <a:r>
                  <a:rPr lang="en-GB" dirty="0"/>
                  <a:t> by taking</a:t>
                </a:r>
                <a:r>
                  <a:rPr lang="en-GB" baseline="0" dirty="0"/>
                  <a:t> the average of</a:t>
                </a:r>
                <a:r>
                  <a:rPr lang="nb-NO" b="0" i="0" dirty="0">
                    <a:latin typeface="Cambria Math" panose="02040503050406030204" pitchFamily="18" charset="0"/>
                  </a:rPr>
                  <a:t>〖 min〗⁡〖</a:t>
                </a:r>
                <a:r>
                  <a:rPr lang="en-GB" i="0" dirty="0">
                    <a:latin typeface="Cambria Math" panose="02040503050406030204" pitchFamily="18" charset="0"/>
                  </a:rPr>
                  <a:t>𝑑</a:t>
                </a:r>
                <a:r>
                  <a:rPr lang="nb-NO" b="0" i="0" dirty="0">
                    <a:latin typeface="Cambria Math" panose="02040503050406030204" pitchFamily="18" charset="0"/>
                  </a:rPr>
                  <a:t>_</a:t>
                </a:r>
                <a:r>
                  <a:rPr lang="en-GB" i="0" dirty="0">
                    <a:latin typeface="Cambria Math" panose="02040503050406030204" pitchFamily="18" charset="0"/>
                  </a:rPr>
                  <a:t>𝑖𝑗​</a:t>
                </a:r>
                <a:r>
                  <a:rPr lang="nb-NO" b="0" i="0" dirty="0">
                    <a:latin typeface="Cambria Math" panose="02040503050406030204" pitchFamily="18" charset="0"/>
                  </a:rPr>
                  <a:t> 〗</a:t>
                </a:r>
                <a:r>
                  <a:rPr lang="en-GB" dirty="0"/>
                  <a:t> for all</a:t>
                </a:r>
                <a:r>
                  <a:rPr lang="en-GB" baseline="0" dirty="0"/>
                  <a:t> feature representation of the generated and real images. </a:t>
                </a:r>
                <a:endParaRPr lang="en-GB" dirty="0"/>
              </a:p>
              <a:p>
                <a:endParaRPr lang="en-GB" dirty="0"/>
              </a:p>
              <a:p>
                <a:r>
                  <a:rPr lang="en-GB" dirty="0"/>
                  <a:t>If this is under a given </a:t>
                </a:r>
                <a:r>
                  <a:rPr lang="en-GB" dirty="0" err="1"/>
                  <a:t>treshold</a:t>
                </a:r>
                <a:r>
                  <a:rPr lang="en-GB" dirty="0"/>
                  <a:t>, the value </a:t>
                </a:r>
                <a:r>
                  <a:rPr lang="en-GB" i="0" dirty="0">
                    <a:latin typeface="Cambria Math" panose="02040503050406030204" pitchFamily="18" charset="0"/>
                  </a:rPr>
                  <a:t>𝑑</a:t>
                </a:r>
                <a:r>
                  <a:rPr lang="nb-NO" b="0" i="0" dirty="0">
                    <a:latin typeface="Cambria Math" panose="02040503050406030204" pitchFamily="18" charset="0"/>
                  </a:rPr>
                  <a:t>_</a:t>
                </a:r>
                <a:r>
                  <a:rPr lang="en-GB" i="0" dirty="0">
                    <a:latin typeface="Cambria Math" panose="02040503050406030204" pitchFamily="18" charset="0"/>
                  </a:rPr>
                  <a:t>​</a:t>
                </a:r>
                <a:r>
                  <a:rPr lang="en-GB" dirty="0"/>
                  <a:t> is used. If it’s over the threshold, 1 is used to penalize the model.</a:t>
                </a:r>
              </a:p>
              <a:p>
                <a:endParaRPr lang="en-GB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0424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4" name="Google Shape;3454;g31f8fa2eecc_3_1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5" name="Google Shape;3455;g31f8fa2eecc_3_1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2" name="Google Shape;3472;g31f8fa2eecc_3_8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3" name="Google Shape;3473;g31f8fa2eecc_3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0" name="Google Shape;3500;g31f8fa2eecc_3_2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1" name="Google Shape;3501;g31f8fa2eecc_3_2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2794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6248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02229-88DD-9C64-B460-25CEDE66F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EEF478-975D-9B64-C2FC-E957DBC1B3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3735FC-8B79-0ECC-D434-D75B73447B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0A710-B876-7436-02C5-8266FB494B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48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4BDD5F-2760-B55D-BE57-BEBB213BF8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423E20-0FBF-E332-24AE-A2D22601D9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AF524D-731B-DC47-33BE-D3A9BFCEB0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F8A110-001D-58B7-4C1E-35350A7B03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648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44891-17D2-94F7-30D2-7A92C24D5C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26EF9A-13B3-BF51-B60B-D2C87F5886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044CE2-370F-4F91-B708-3564A2F90D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56E4D7-644B-E397-1949-F6CC0C8D64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771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6746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7" name="Google Shape;3327;g31f8fa2eecc_3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8" name="Google Shape;3328;g31f8fa2eecc_3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5" name="Google Shape;3335;g31f8fa2eecc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36" name="Google Shape;3336;g31f8fa2eec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7" name="Google Shape;3357;g31f8fa2eecc_3_3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58" name="Google Shape;3358;g31f8fa2eecc_3_3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180dcmunich.org/" TargetMode="External"/><Relationship Id="rId2" Type="http://schemas.openxmlformats.org/officeDocument/2006/relationships/hyperlink" Target="https://www.facebook.com/180dcmunich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8" name="Rectangle 6187">
            <a:extLst>
              <a:ext uri="{FF2B5EF4-FFF2-40B4-BE49-F238E27FC236}">
                <a16:creationId xmlns:a16="http://schemas.microsoft.com/office/drawing/2014/main" id="{AE1C4B48-8123-4474-87BB-37504FEEAF63}"/>
              </a:ext>
            </a:extLst>
          </p:cNvPr>
          <p:cNvSpPr/>
          <p:nvPr userDrawn="1"/>
        </p:nvSpPr>
        <p:spPr>
          <a:xfrm>
            <a:off x="0" y="3572209"/>
            <a:ext cx="9144000" cy="1571290"/>
          </a:xfrm>
          <a:prstGeom prst="rect">
            <a:avLst/>
          </a:prstGeom>
          <a:solidFill>
            <a:srgbClr val="8905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87">
              <a:latin typeface="+mj-lt"/>
            </a:endParaRPr>
          </a:p>
        </p:txBody>
      </p:sp>
      <p:sp>
        <p:nvSpPr>
          <p:cNvPr id="6189" name="Text Placeholder 9">
            <a:extLst>
              <a:ext uri="{FF2B5EF4-FFF2-40B4-BE49-F238E27FC236}">
                <a16:creationId xmlns:a16="http://schemas.microsoft.com/office/drawing/2014/main" id="{1611CFF4-7898-46F0-8CE0-22090EFA2A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3717768"/>
            <a:ext cx="7297578" cy="59309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bg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EL GOES HERE</a:t>
            </a:r>
          </a:p>
        </p:txBody>
      </p:sp>
      <p:sp>
        <p:nvSpPr>
          <p:cNvPr id="6190" name="Text Placeholder 9">
            <a:extLst>
              <a:ext uri="{FF2B5EF4-FFF2-40B4-BE49-F238E27FC236}">
                <a16:creationId xmlns:a16="http://schemas.microsoft.com/office/drawing/2014/main" id="{6DDD7214-49EA-4533-84CA-A832BD5595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4417320"/>
            <a:ext cx="2804519" cy="59309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0" cap="all" spc="50" baseline="0">
                <a:solidFill>
                  <a:schemeClr val="bg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cation, DD.MM.YYYY</a:t>
            </a:r>
          </a:p>
        </p:txBody>
      </p:sp>
      <p:sp>
        <p:nvSpPr>
          <p:cNvPr id="6191" name="Freeform 5">
            <a:extLst>
              <a:ext uri="{FF2B5EF4-FFF2-40B4-BE49-F238E27FC236}">
                <a16:creationId xmlns:a16="http://schemas.microsoft.com/office/drawing/2014/main" id="{7F30C7B8-B338-47DB-9325-93AE88512133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2" name="Freeform 6">
            <a:extLst>
              <a:ext uri="{FF2B5EF4-FFF2-40B4-BE49-F238E27FC236}">
                <a16:creationId xmlns:a16="http://schemas.microsoft.com/office/drawing/2014/main" id="{7B6DDDFA-BFA3-4678-8C3E-59D6DA325282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3" name="Freeform 7">
            <a:extLst>
              <a:ext uri="{FF2B5EF4-FFF2-40B4-BE49-F238E27FC236}">
                <a16:creationId xmlns:a16="http://schemas.microsoft.com/office/drawing/2014/main" id="{EB7D0C85-9106-4233-AE3A-2FF85D5810D0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4" name="Freeform 8">
            <a:extLst>
              <a:ext uri="{FF2B5EF4-FFF2-40B4-BE49-F238E27FC236}">
                <a16:creationId xmlns:a16="http://schemas.microsoft.com/office/drawing/2014/main" id="{6AC23CB5-5CE4-4A9E-834C-35B60635F0B0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5" name="Freeform 9">
            <a:extLst>
              <a:ext uri="{FF2B5EF4-FFF2-40B4-BE49-F238E27FC236}">
                <a16:creationId xmlns:a16="http://schemas.microsoft.com/office/drawing/2014/main" id="{F761BA4E-143B-466E-9658-A66F4B15E88D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6" name="Freeform 10">
            <a:extLst>
              <a:ext uri="{FF2B5EF4-FFF2-40B4-BE49-F238E27FC236}">
                <a16:creationId xmlns:a16="http://schemas.microsoft.com/office/drawing/2014/main" id="{CD1528F8-C53E-47B4-BB40-F176B1730AFF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7" name="Freeform 11">
            <a:extLst>
              <a:ext uri="{FF2B5EF4-FFF2-40B4-BE49-F238E27FC236}">
                <a16:creationId xmlns:a16="http://schemas.microsoft.com/office/drawing/2014/main" id="{0296E961-508E-4558-9961-8F48691B4ED6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8" name="Freeform 12">
            <a:extLst>
              <a:ext uri="{FF2B5EF4-FFF2-40B4-BE49-F238E27FC236}">
                <a16:creationId xmlns:a16="http://schemas.microsoft.com/office/drawing/2014/main" id="{A010C663-DC0C-4305-971D-5027B3D272BB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2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9" name="Freeform 13">
            <a:extLst>
              <a:ext uri="{FF2B5EF4-FFF2-40B4-BE49-F238E27FC236}">
                <a16:creationId xmlns:a16="http://schemas.microsoft.com/office/drawing/2014/main" id="{AE946E52-852E-405B-AE51-39007EE4E74D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0" name="Freeform 14">
            <a:extLst>
              <a:ext uri="{FF2B5EF4-FFF2-40B4-BE49-F238E27FC236}">
                <a16:creationId xmlns:a16="http://schemas.microsoft.com/office/drawing/2014/main" id="{23682E7E-5533-4169-9E3E-23D602C17163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1" name="Freeform 15">
            <a:extLst>
              <a:ext uri="{FF2B5EF4-FFF2-40B4-BE49-F238E27FC236}">
                <a16:creationId xmlns:a16="http://schemas.microsoft.com/office/drawing/2014/main" id="{9223BC98-CA19-4112-A904-3184A77AD323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2" name="Freeform 16">
            <a:extLst>
              <a:ext uri="{FF2B5EF4-FFF2-40B4-BE49-F238E27FC236}">
                <a16:creationId xmlns:a16="http://schemas.microsoft.com/office/drawing/2014/main" id="{E1E766ED-4483-4CC4-80D2-C612B3B15BEF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3" name="Freeform 17">
            <a:extLst>
              <a:ext uri="{FF2B5EF4-FFF2-40B4-BE49-F238E27FC236}">
                <a16:creationId xmlns:a16="http://schemas.microsoft.com/office/drawing/2014/main" id="{D3D333DE-655A-4850-950B-7933B39A682A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4" name="Freeform 18">
            <a:extLst>
              <a:ext uri="{FF2B5EF4-FFF2-40B4-BE49-F238E27FC236}">
                <a16:creationId xmlns:a16="http://schemas.microsoft.com/office/drawing/2014/main" id="{EF89C67A-66A2-4D5E-9EFF-B6C6A72387F1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5" name="Freeform 19">
            <a:extLst>
              <a:ext uri="{FF2B5EF4-FFF2-40B4-BE49-F238E27FC236}">
                <a16:creationId xmlns:a16="http://schemas.microsoft.com/office/drawing/2014/main" id="{FED41BCD-1E75-40A8-A925-1ACC04533E2D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6" name="Freeform 20">
            <a:extLst>
              <a:ext uri="{FF2B5EF4-FFF2-40B4-BE49-F238E27FC236}">
                <a16:creationId xmlns:a16="http://schemas.microsoft.com/office/drawing/2014/main" id="{A68E0836-99EF-4982-89A0-00B066E5C5BB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7" name="Freeform 21">
            <a:extLst>
              <a:ext uri="{FF2B5EF4-FFF2-40B4-BE49-F238E27FC236}">
                <a16:creationId xmlns:a16="http://schemas.microsoft.com/office/drawing/2014/main" id="{057C5AED-6780-4F1F-B3DA-A7E8763B97B2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8" name="Freeform 22">
            <a:extLst>
              <a:ext uri="{FF2B5EF4-FFF2-40B4-BE49-F238E27FC236}">
                <a16:creationId xmlns:a16="http://schemas.microsoft.com/office/drawing/2014/main" id="{894EB21C-E2C1-4624-8967-C7D5D1E9D8AA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9" name="Freeform 23">
            <a:extLst>
              <a:ext uri="{FF2B5EF4-FFF2-40B4-BE49-F238E27FC236}">
                <a16:creationId xmlns:a16="http://schemas.microsoft.com/office/drawing/2014/main" id="{939B2B26-A1B9-4149-B1F4-768280CEA894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0" name="Freeform 24">
            <a:extLst>
              <a:ext uri="{FF2B5EF4-FFF2-40B4-BE49-F238E27FC236}">
                <a16:creationId xmlns:a16="http://schemas.microsoft.com/office/drawing/2014/main" id="{F4DCC2E7-7F14-47D3-B446-2FB3D4C9227E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1" name="Freeform 25">
            <a:extLst>
              <a:ext uri="{FF2B5EF4-FFF2-40B4-BE49-F238E27FC236}">
                <a16:creationId xmlns:a16="http://schemas.microsoft.com/office/drawing/2014/main" id="{C3049995-8982-4181-8B47-642ABD2CB424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2" name="Freeform 26">
            <a:extLst>
              <a:ext uri="{FF2B5EF4-FFF2-40B4-BE49-F238E27FC236}">
                <a16:creationId xmlns:a16="http://schemas.microsoft.com/office/drawing/2014/main" id="{BED774C4-3739-4280-91F9-F436B1665992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3" name="Freeform 27">
            <a:extLst>
              <a:ext uri="{FF2B5EF4-FFF2-40B4-BE49-F238E27FC236}">
                <a16:creationId xmlns:a16="http://schemas.microsoft.com/office/drawing/2014/main" id="{F6A06664-FD37-418F-8B00-D323455B3B56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4" name="Freeform 28">
            <a:extLst>
              <a:ext uri="{FF2B5EF4-FFF2-40B4-BE49-F238E27FC236}">
                <a16:creationId xmlns:a16="http://schemas.microsoft.com/office/drawing/2014/main" id="{8970759D-6997-47D8-810B-58C5E909F7F2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5" name="Freeform 29">
            <a:extLst>
              <a:ext uri="{FF2B5EF4-FFF2-40B4-BE49-F238E27FC236}">
                <a16:creationId xmlns:a16="http://schemas.microsoft.com/office/drawing/2014/main" id="{819C2C32-59C6-4BD6-83CB-2D72E10E1D8C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6" name="Freeform 30">
            <a:extLst>
              <a:ext uri="{FF2B5EF4-FFF2-40B4-BE49-F238E27FC236}">
                <a16:creationId xmlns:a16="http://schemas.microsoft.com/office/drawing/2014/main" id="{7C6CE603-C434-40B6-BCF3-9FBCED0B1349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7" name="Freeform 31">
            <a:extLst>
              <a:ext uri="{FF2B5EF4-FFF2-40B4-BE49-F238E27FC236}">
                <a16:creationId xmlns:a16="http://schemas.microsoft.com/office/drawing/2014/main" id="{692AA41C-5918-4407-B3CF-0F46CFA37553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8" name="Freeform 32">
            <a:extLst>
              <a:ext uri="{FF2B5EF4-FFF2-40B4-BE49-F238E27FC236}">
                <a16:creationId xmlns:a16="http://schemas.microsoft.com/office/drawing/2014/main" id="{933CC343-EB5B-43B2-ABB3-A35B0E942129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9" name="Freeform 33">
            <a:extLst>
              <a:ext uri="{FF2B5EF4-FFF2-40B4-BE49-F238E27FC236}">
                <a16:creationId xmlns:a16="http://schemas.microsoft.com/office/drawing/2014/main" id="{304052F7-EDE8-41D1-9542-15329F23D19B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0" name="Freeform 34">
            <a:extLst>
              <a:ext uri="{FF2B5EF4-FFF2-40B4-BE49-F238E27FC236}">
                <a16:creationId xmlns:a16="http://schemas.microsoft.com/office/drawing/2014/main" id="{943EA465-3CFF-421D-AD8C-A6FE5CAF6280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1" name="Freeform 35">
            <a:extLst>
              <a:ext uri="{FF2B5EF4-FFF2-40B4-BE49-F238E27FC236}">
                <a16:creationId xmlns:a16="http://schemas.microsoft.com/office/drawing/2014/main" id="{7FF1519C-62ED-43E6-8B65-63ACBA37597E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8956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2" name="Freeform 36">
            <a:extLst>
              <a:ext uri="{FF2B5EF4-FFF2-40B4-BE49-F238E27FC236}">
                <a16:creationId xmlns:a16="http://schemas.microsoft.com/office/drawing/2014/main" id="{E4434F38-D24D-4FF6-BC8F-1203F7A7882B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94179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3" name="Freeform 37">
            <a:extLst>
              <a:ext uri="{FF2B5EF4-FFF2-40B4-BE49-F238E27FC236}">
                <a16:creationId xmlns:a16="http://schemas.microsoft.com/office/drawing/2014/main" id="{77399515-AB07-447E-B009-CD78C99678F4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4" name="Freeform 38">
            <a:extLst>
              <a:ext uri="{FF2B5EF4-FFF2-40B4-BE49-F238E27FC236}">
                <a16:creationId xmlns:a16="http://schemas.microsoft.com/office/drawing/2014/main" id="{38903140-BD41-461B-841E-6352A3BF219E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5" name="Freeform 39">
            <a:extLst>
              <a:ext uri="{FF2B5EF4-FFF2-40B4-BE49-F238E27FC236}">
                <a16:creationId xmlns:a16="http://schemas.microsoft.com/office/drawing/2014/main" id="{0F311693-03CD-4810-B7EF-A6B1A1BBE911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6" name="Freeform 40">
            <a:extLst>
              <a:ext uri="{FF2B5EF4-FFF2-40B4-BE49-F238E27FC236}">
                <a16:creationId xmlns:a16="http://schemas.microsoft.com/office/drawing/2014/main" id="{3D10C54B-5095-4342-9C30-045150679A3D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7" name="Freeform 41">
            <a:extLst>
              <a:ext uri="{FF2B5EF4-FFF2-40B4-BE49-F238E27FC236}">
                <a16:creationId xmlns:a16="http://schemas.microsoft.com/office/drawing/2014/main" id="{48404CC8-3C00-4962-BA28-3AACEE8518A6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8956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8" name="Freeform 42">
            <a:extLst>
              <a:ext uri="{FF2B5EF4-FFF2-40B4-BE49-F238E27FC236}">
                <a16:creationId xmlns:a16="http://schemas.microsoft.com/office/drawing/2014/main" id="{B8A177A9-2E68-416D-92C8-562D5EB17ADD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94179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9" name="Freeform 43">
            <a:extLst>
              <a:ext uri="{FF2B5EF4-FFF2-40B4-BE49-F238E27FC236}">
                <a16:creationId xmlns:a16="http://schemas.microsoft.com/office/drawing/2014/main" id="{2D57E7AB-0DE2-4852-8F78-632065DF7F52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8956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0" name="Freeform 44">
            <a:extLst>
              <a:ext uri="{FF2B5EF4-FFF2-40B4-BE49-F238E27FC236}">
                <a16:creationId xmlns:a16="http://schemas.microsoft.com/office/drawing/2014/main" id="{B10452E9-B1FC-435F-9355-82603179CB28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94179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1" name="Freeform 45">
            <a:extLst>
              <a:ext uri="{FF2B5EF4-FFF2-40B4-BE49-F238E27FC236}">
                <a16:creationId xmlns:a16="http://schemas.microsoft.com/office/drawing/2014/main" id="{23C44884-C21B-4D09-9FFE-DDAB9400ECB4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3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2" name="Freeform 46">
            <a:extLst>
              <a:ext uri="{FF2B5EF4-FFF2-40B4-BE49-F238E27FC236}">
                <a16:creationId xmlns:a16="http://schemas.microsoft.com/office/drawing/2014/main" id="{639D73B8-3968-4E8C-A3CE-BF3671951289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2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3" name="Freeform 47">
            <a:extLst>
              <a:ext uri="{FF2B5EF4-FFF2-40B4-BE49-F238E27FC236}">
                <a16:creationId xmlns:a16="http://schemas.microsoft.com/office/drawing/2014/main" id="{86EB613C-0598-44E0-9D84-60C7562EBE60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61742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4" name="Freeform 48">
            <a:extLst>
              <a:ext uri="{FF2B5EF4-FFF2-40B4-BE49-F238E27FC236}">
                <a16:creationId xmlns:a16="http://schemas.microsoft.com/office/drawing/2014/main" id="{4E5644D5-444D-4166-B1F6-12FD9CFB26DC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6646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5" name="Freeform 49">
            <a:extLst>
              <a:ext uri="{FF2B5EF4-FFF2-40B4-BE49-F238E27FC236}">
                <a16:creationId xmlns:a16="http://schemas.microsoft.com/office/drawing/2014/main" id="{378E62E9-457B-4ADF-A5B7-146DAD6FD6A2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6" name="Freeform 50">
            <a:extLst>
              <a:ext uri="{FF2B5EF4-FFF2-40B4-BE49-F238E27FC236}">
                <a16:creationId xmlns:a16="http://schemas.microsoft.com/office/drawing/2014/main" id="{CD7A91EA-39A0-4DF9-A9D5-8B2CE8C9EC51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7" name="Freeform 51">
            <a:extLst>
              <a:ext uri="{FF2B5EF4-FFF2-40B4-BE49-F238E27FC236}">
                <a16:creationId xmlns:a16="http://schemas.microsoft.com/office/drawing/2014/main" id="{E4889C3C-CB46-4CAA-A96D-B82DE7F2C258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61742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3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8" name="Freeform 52">
            <a:extLst>
              <a:ext uri="{FF2B5EF4-FFF2-40B4-BE49-F238E27FC236}">
                <a16:creationId xmlns:a16="http://schemas.microsoft.com/office/drawing/2014/main" id="{761F0A0F-5F6F-4C5F-92B0-76D41C2A9C43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6646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9" name="Freeform 53">
            <a:extLst>
              <a:ext uri="{FF2B5EF4-FFF2-40B4-BE49-F238E27FC236}">
                <a16:creationId xmlns:a16="http://schemas.microsoft.com/office/drawing/2014/main" id="{F9C4F80B-DC7A-42A4-B7B9-B41C411C2581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0" name="Freeform 54">
            <a:extLst>
              <a:ext uri="{FF2B5EF4-FFF2-40B4-BE49-F238E27FC236}">
                <a16:creationId xmlns:a16="http://schemas.microsoft.com/office/drawing/2014/main" id="{B7103722-6DA8-4511-95A8-04C82F720190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19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1" name="Freeform 55">
            <a:extLst>
              <a:ext uri="{FF2B5EF4-FFF2-40B4-BE49-F238E27FC236}">
                <a16:creationId xmlns:a16="http://schemas.microsoft.com/office/drawing/2014/main" id="{C0F43E0A-1F19-46F5-B45A-8D987E930398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2" name="Freeform 56">
            <a:extLst>
              <a:ext uri="{FF2B5EF4-FFF2-40B4-BE49-F238E27FC236}">
                <a16:creationId xmlns:a16="http://schemas.microsoft.com/office/drawing/2014/main" id="{65CE4575-E233-472A-82F9-D581CAB8AD6D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3" name="Freeform 57">
            <a:extLst>
              <a:ext uri="{FF2B5EF4-FFF2-40B4-BE49-F238E27FC236}">
                <a16:creationId xmlns:a16="http://schemas.microsoft.com/office/drawing/2014/main" id="{E50FA071-AD72-4DFA-ABB5-947FA185BEDC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4" name="Freeform 58">
            <a:extLst>
              <a:ext uri="{FF2B5EF4-FFF2-40B4-BE49-F238E27FC236}">
                <a16:creationId xmlns:a16="http://schemas.microsoft.com/office/drawing/2014/main" id="{0F992384-1FCA-42B9-9462-2572A3994979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5" name="Freeform 59">
            <a:extLst>
              <a:ext uri="{FF2B5EF4-FFF2-40B4-BE49-F238E27FC236}">
                <a16:creationId xmlns:a16="http://schemas.microsoft.com/office/drawing/2014/main" id="{EDAD26BF-9AA4-4C93-9AC1-11CDD85E0DA8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6" name="Freeform 60">
            <a:extLst>
              <a:ext uri="{FF2B5EF4-FFF2-40B4-BE49-F238E27FC236}">
                <a16:creationId xmlns:a16="http://schemas.microsoft.com/office/drawing/2014/main" id="{452DEC28-50CD-4A42-B698-94A373612D9D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7" name="Freeform 61">
            <a:extLst>
              <a:ext uri="{FF2B5EF4-FFF2-40B4-BE49-F238E27FC236}">
                <a16:creationId xmlns:a16="http://schemas.microsoft.com/office/drawing/2014/main" id="{4950A329-4ADB-4934-8BCF-C5F43B5AEB5E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3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8" name="Freeform 62">
            <a:extLst>
              <a:ext uri="{FF2B5EF4-FFF2-40B4-BE49-F238E27FC236}">
                <a16:creationId xmlns:a16="http://schemas.microsoft.com/office/drawing/2014/main" id="{9B0C49B9-9D6F-451A-8464-8EE30B2B1440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3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9" name="Freeform 63">
            <a:extLst>
              <a:ext uri="{FF2B5EF4-FFF2-40B4-BE49-F238E27FC236}">
                <a16:creationId xmlns:a16="http://schemas.microsoft.com/office/drawing/2014/main" id="{C6F2C954-C254-4DB7-88E5-9B10B0D3E33F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0" name="Freeform 64">
            <a:extLst>
              <a:ext uri="{FF2B5EF4-FFF2-40B4-BE49-F238E27FC236}">
                <a16:creationId xmlns:a16="http://schemas.microsoft.com/office/drawing/2014/main" id="{2C073599-E612-4CDA-9A72-6725E5BAD552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0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1" name="Freeform 65">
            <a:extLst>
              <a:ext uri="{FF2B5EF4-FFF2-40B4-BE49-F238E27FC236}">
                <a16:creationId xmlns:a16="http://schemas.microsoft.com/office/drawing/2014/main" id="{221D110C-627D-4211-8A62-822D424EBF55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2" name="Freeform 66">
            <a:extLst>
              <a:ext uri="{FF2B5EF4-FFF2-40B4-BE49-F238E27FC236}">
                <a16:creationId xmlns:a16="http://schemas.microsoft.com/office/drawing/2014/main" id="{B4A4B183-B042-44D6-A0D9-41F88A376698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3" name="Freeform 67">
            <a:extLst>
              <a:ext uri="{FF2B5EF4-FFF2-40B4-BE49-F238E27FC236}">
                <a16:creationId xmlns:a16="http://schemas.microsoft.com/office/drawing/2014/main" id="{292D76A1-6B1A-4D10-9952-B65C46917584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4" name="Freeform 68">
            <a:extLst>
              <a:ext uri="{FF2B5EF4-FFF2-40B4-BE49-F238E27FC236}">
                <a16:creationId xmlns:a16="http://schemas.microsoft.com/office/drawing/2014/main" id="{135C409B-B501-4A88-8385-599B92C7CE3C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84837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5" name="Freeform 69">
            <a:extLst>
              <a:ext uri="{FF2B5EF4-FFF2-40B4-BE49-F238E27FC236}">
                <a16:creationId xmlns:a16="http://schemas.microsoft.com/office/drawing/2014/main" id="{83DE1B93-A256-402D-B4FF-71DE79D47D51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6" name="Freeform 70">
            <a:extLst>
              <a:ext uri="{FF2B5EF4-FFF2-40B4-BE49-F238E27FC236}">
                <a16:creationId xmlns:a16="http://schemas.microsoft.com/office/drawing/2014/main" id="{6D1B94EC-6575-40B2-82DD-22AAE3D96EDA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7" name="Freeform 71">
            <a:extLst>
              <a:ext uri="{FF2B5EF4-FFF2-40B4-BE49-F238E27FC236}">
                <a16:creationId xmlns:a16="http://schemas.microsoft.com/office/drawing/2014/main" id="{80DA7CDC-84F5-4EB8-A122-253CBE1694F0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8" name="Freeform 72">
            <a:extLst>
              <a:ext uri="{FF2B5EF4-FFF2-40B4-BE49-F238E27FC236}">
                <a16:creationId xmlns:a16="http://schemas.microsoft.com/office/drawing/2014/main" id="{CD3D74CD-0FC0-4A96-AA8B-84FB15076F9B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84837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9" name="Freeform 73">
            <a:extLst>
              <a:ext uri="{FF2B5EF4-FFF2-40B4-BE49-F238E27FC236}">
                <a16:creationId xmlns:a16="http://schemas.microsoft.com/office/drawing/2014/main" id="{25702357-06F9-45FC-AB85-1144B2F67A30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0" name="Freeform 74">
            <a:extLst>
              <a:ext uri="{FF2B5EF4-FFF2-40B4-BE49-F238E27FC236}">
                <a16:creationId xmlns:a16="http://schemas.microsoft.com/office/drawing/2014/main" id="{AECF6E58-F038-4330-A568-137ABEFC180F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1" name="Freeform 75">
            <a:extLst>
              <a:ext uri="{FF2B5EF4-FFF2-40B4-BE49-F238E27FC236}">
                <a16:creationId xmlns:a16="http://schemas.microsoft.com/office/drawing/2014/main" id="{0EDCF974-DE7E-4387-ACE6-6A2F49D7AE91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2" name="Freeform 76">
            <a:extLst>
              <a:ext uri="{FF2B5EF4-FFF2-40B4-BE49-F238E27FC236}">
                <a16:creationId xmlns:a16="http://schemas.microsoft.com/office/drawing/2014/main" id="{73B098D1-5006-4D74-90BA-99AF73C9CBF3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3" name="Freeform 77">
            <a:extLst>
              <a:ext uri="{FF2B5EF4-FFF2-40B4-BE49-F238E27FC236}">
                <a16:creationId xmlns:a16="http://schemas.microsoft.com/office/drawing/2014/main" id="{00CD3889-0A72-45CE-AF87-CEC637F9C1F9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4" name="Freeform 78">
            <a:extLst>
              <a:ext uri="{FF2B5EF4-FFF2-40B4-BE49-F238E27FC236}">
                <a16:creationId xmlns:a16="http://schemas.microsoft.com/office/drawing/2014/main" id="{D52C90D8-E241-47AA-AD56-FC3BDA7A2193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5" name="Freeform 79">
            <a:extLst>
              <a:ext uri="{FF2B5EF4-FFF2-40B4-BE49-F238E27FC236}">
                <a16:creationId xmlns:a16="http://schemas.microsoft.com/office/drawing/2014/main" id="{B11369A3-1C1A-454C-A9BB-988F654419F6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6" name="Freeform 80">
            <a:extLst>
              <a:ext uri="{FF2B5EF4-FFF2-40B4-BE49-F238E27FC236}">
                <a16:creationId xmlns:a16="http://schemas.microsoft.com/office/drawing/2014/main" id="{DCCB1DF1-FA09-4282-A6DE-48AE3CCD1733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19 w 153"/>
              <a:gd name="T11" fmla="*/ 141 h 154"/>
              <a:gd name="T12" fmla="*/ 107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7" name="Freeform 81">
            <a:extLst>
              <a:ext uri="{FF2B5EF4-FFF2-40B4-BE49-F238E27FC236}">
                <a16:creationId xmlns:a16="http://schemas.microsoft.com/office/drawing/2014/main" id="{2175E0DE-EC47-4869-8D3F-ACFEBCA7DD12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8" name="Freeform 82">
            <a:extLst>
              <a:ext uri="{FF2B5EF4-FFF2-40B4-BE49-F238E27FC236}">
                <a16:creationId xmlns:a16="http://schemas.microsoft.com/office/drawing/2014/main" id="{3EDE297A-D182-4F64-9AB1-81AAEE448862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9" name="Freeform 83">
            <a:extLst>
              <a:ext uri="{FF2B5EF4-FFF2-40B4-BE49-F238E27FC236}">
                <a16:creationId xmlns:a16="http://schemas.microsoft.com/office/drawing/2014/main" id="{3B49F628-4C72-40D7-A5C1-E7DF546C5498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0" name="Freeform 84">
            <a:extLst>
              <a:ext uri="{FF2B5EF4-FFF2-40B4-BE49-F238E27FC236}">
                <a16:creationId xmlns:a16="http://schemas.microsoft.com/office/drawing/2014/main" id="{9E722159-C8F1-459F-B1D1-83776994E39E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1" name="Freeform 85">
            <a:extLst>
              <a:ext uri="{FF2B5EF4-FFF2-40B4-BE49-F238E27FC236}">
                <a16:creationId xmlns:a16="http://schemas.microsoft.com/office/drawing/2014/main" id="{DF70607B-BB27-4EEA-BA74-2C7D2077575D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2" name="Freeform 86">
            <a:extLst>
              <a:ext uri="{FF2B5EF4-FFF2-40B4-BE49-F238E27FC236}">
                <a16:creationId xmlns:a16="http://schemas.microsoft.com/office/drawing/2014/main" id="{9DEE1134-C31B-4BD3-B036-E16126290104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9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3" name="Freeform 87">
            <a:extLst>
              <a:ext uri="{FF2B5EF4-FFF2-40B4-BE49-F238E27FC236}">
                <a16:creationId xmlns:a16="http://schemas.microsoft.com/office/drawing/2014/main" id="{5DF14E2F-EC25-4188-AFE2-3AE8CFDD5288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4" name="Freeform 88">
            <a:extLst>
              <a:ext uri="{FF2B5EF4-FFF2-40B4-BE49-F238E27FC236}">
                <a16:creationId xmlns:a16="http://schemas.microsoft.com/office/drawing/2014/main" id="{E875BDDD-47EB-4ED9-B5CD-3981CA88442A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5" name="Freeform 89">
            <a:extLst>
              <a:ext uri="{FF2B5EF4-FFF2-40B4-BE49-F238E27FC236}">
                <a16:creationId xmlns:a16="http://schemas.microsoft.com/office/drawing/2014/main" id="{DE8C61EF-123C-4655-ACF7-41567F2F42AD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6" name="Freeform 90">
            <a:extLst>
              <a:ext uri="{FF2B5EF4-FFF2-40B4-BE49-F238E27FC236}">
                <a16:creationId xmlns:a16="http://schemas.microsoft.com/office/drawing/2014/main" id="{92BC6FBB-2F9E-4F58-87AD-1F5952DF2B9B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7" name="Freeform 91">
            <a:extLst>
              <a:ext uri="{FF2B5EF4-FFF2-40B4-BE49-F238E27FC236}">
                <a16:creationId xmlns:a16="http://schemas.microsoft.com/office/drawing/2014/main" id="{4FE5FE54-0769-42BA-9D85-8A5827DA87D8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8" name="Freeform 92">
            <a:extLst>
              <a:ext uri="{FF2B5EF4-FFF2-40B4-BE49-F238E27FC236}">
                <a16:creationId xmlns:a16="http://schemas.microsoft.com/office/drawing/2014/main" id="{C98DFC2D-B5E7-4597-8E06-130DEEA576B4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19 w 153"/>
              <a:gd name="T11" fmla="*/ 141 h 154"/>
              <a:gd name="T12" fmla="*/ 107 w 153"/>
              <a:gd name="T13" fmla="*/ 147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9" name="Freeform 93">
            <a:extLst>
              <a:ext uri="{FF2B5EF4-FFF2-40B4-BE49-F238E27FC236}">
                <a16:creationId xmlns:a16="http://schemas.microsoft.com/office/drawing/2014/main" id="{39F4E687-31FE-4F6B-8C14-F73F52C29E8F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0" name="Freeform 94">
            <a:extLst>
              <a:ext uri="{FF2B5EF4-FFF2-40B4-BE49-F238E27FC236}">
                <a16:creationId xmlns:a16="http://schemas.microsoft.com/office/drawing/2014/main" id="{20877C5F-8681-4E96-BCED-D14B934D8294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1" name="Freeform 95">
            <a:extLst>
              <a:ext uri="{FF2B5EF4-FFF2-40B4-BE49-F238E27FC236}">
                <a16:creationId xmlns:a16="http://schemas.microsoft.com/office/drawing/2014/main" id="{084CF8A3-E0D2-4E5F-BF78-69EB6FF79FA5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61742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2" name="Freeform 96">
            <a:extLst>
              <a:ext uri="{FF2B5EF4-FFF2-40B4-BE49-F238E27FC236}">
                <a16:creationId xmlns:a16="http://schemas.microsoft.com/office/drawing/2014/main" id="{38FC2B46-F820-48AC-977A-A285A5D0B7F2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6646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3" name="Freeform 97">
            <a:extLst>
              <a:ext uri="{FF2B5EF4-FFF2-40B4-BE49-F238E27FC236}">
                <a16:creationId xmlns:a16="http://schemas.microsoft.com/office/drawing/2014/main" id="{3F1683AB-E1AB-4C71-9AAC-EE47BE083C0A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61742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4" name="Freeform 98">
            <a:extLst>
              <a:ext uri="{FF2B5EF4-FFF2-40B4-BE49-F238E27FC236}">
                <a16:creationId xmlns:a16="http://schemas.microsoft.com/office/drawing/2014/main" id="{25D0D424-C607-4C54-9E18-6A04D222196F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6646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5" name="Freeform 99">
            <a:extLst>
              <a:ext uri="{FF2B5EF4-FFF2-40B4-BE49-F238E27FC236}">
                <a16:creationId xmlns:a16="http://schemas.microsoft.com/office/drawing/2014/main" id="{2BEB5D4A-7EA3-4EE7-AC27-D8B2CB45485D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61742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6" name="Freeform 100">
            <a:extLst>
              <a:ext uri="{FF2B5EF4-FFF2-40B4-BE49-F238E27FC236}">
                <a16:creationId xmlns:a16="http://schemas.microsoft.com/office/drawing/2014/main" id="{0A85A305-790B-4BBC-8587-06CDE2BBEE6D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6646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19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2"/>
                </a:lnTo>
                <a:lnTo>
                  <a:pt x="138" y="28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7" name="Freeform 101">
            <a:extLst>
              <a:ext uri="{FF2B5EF4-FFF2-40B4-BE49-F238E27FC236}">
                <a16:creationId xmlns:a16="http://schemas.microsoft.com/office/drawing/2014/main" id="{A5F895C8-75E6-4906-830D-61484D8E86A3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8" name="Freeform 102">
            <a:extLst>
              <a:ext uri="{FF2B5EF4-FFF2-40B4-BE49-F238E27FC236}">
                <a16:creationId xmlns:a16="http://schemas.microsoft.com/office/drawing/2014/main" id="{DEEDFE6F-D840-4368-9BD4-8BA5A974209A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9" name="Freeform 103">
            <a:extLst>
              <a:ext uri="{FF2B5EF4-FFF2-40B4-BE49-F238E27FC236}">
                <a16:creationId xmlns:a16="http://schemas.microsoft.com/office/drawing/2014/main" id="{5EBDBD0C-55D3-4C04-B688-21394B20D065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0" name="Freeform 104">
            <a:extLst>
              <a:ext uri="{FF2B5EF4-FFF2-40B4-BE49-F238E27FC236}">
                <a16:creationId xmlns:a16="http://schemas.microsoft.com/office/drawing/2014/main" id="{5EC78262-0B34-4B3E-9EC9-9730C6E55B76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1" name="Freeform 105">
            <a:extLst>
              <a:ext uri="{FF2B5EF4-FFF2-40B4-BE49-F238E27FC236}">
                <a16:creationId xmlns:a16="http://schemas.microsoft.com/office/drawing/2014/main" id="{B45BFBA9-811F-4EBF-A6F5-8A1617396104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5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5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2" name="Freeform 106">
            <a:extLst>
              <a:ext uri="{FF2B5EF4-FFF2-40B4-BE49-F238E27FC236}">
                <a16:creationId xmlns:a16="http://schemas.microsoft.com/office/drawing/2014/main" id="{AA33A652-889D-4822-847F-C90B50FBF9E9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5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3" name="Freeform 107">
            <a:extLst>
              <a:ext uri="{FF2B5EF4-FFF2-40B4-BE49-F238E27FC236}">
                <a16:creationId xmlns:a16="http://schemas.microsoft.com/office/drawing/2014/main" id="{A75F7897-9B16-4B74-9FFC-A566C4BBEBDA}"/>
              </a:ext>
            </a:extLst>
          </p:cNvPr>
          <p:cNvSpPr>
            <a:spLocks/>
          </p:cNvSpPr>
          <p:nvPr userDrawn="1"/>
        </p:nvSpPr>
        <p:spPr bwMode="auto">
          <a:xfrm>
            <a:off x="2639801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4" name="Freeform 108">
            <a:extLst>
              <a:ext uri="{FF2B5EF4-FFF2-40B4-BE49-F238E27FC236}">
                <a16:creationId xmlns:a16="http://schemas.microsoft.com/office/drawing/2014/main" id="{916C7BBA-A90C-4B3D-A723-BE4E2ACB1510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5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5" name="Freeform 109">
            <a:extLst>
              <a:ext uri="{FF2B5EF4-FFF2-40B4-BE49-F238E27FC236}">
                <a16:creationId xmlns:a16="http://schemas.microsoft.com/office/drawing/2014/main" id="{FE3FB7FD-0EA7-4399-A6EE-6AC88DD22420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6" name="Freeform 110">
            <a:extLst>
              <a:ext uri="{FF2B5EF4-FFF2-40B4-BE49-F238E27FC236}">
                <a16:creationId xmlns:a16="http://schemas.microsoft.com/office/drawing/2014/main" id="{626623DF-3CD4-4BA3-8940-F3F32BA837EC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7" name="Freeform 111">
            <a:extLst>
              <a:ext uri="{FF2B5EF4-FFF2-40B4-BE49-F238E27FC236}">
                <a16:creationId xmlns:a16="http://schemas.microsoft.com/office/drawing/2014/main" id="{804F5697-F5C6-4A55-B997-44DA459882DB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8" name="Freeform 112">
            <a:extLst>
              <a:ext uri="{FF2B5EF4-FFF2-40B4-BE49-F238E27FC236}">
                <a16:creationId xmlns:a16="http://schemas.microsoft.com/office/drawing/2014/main" id="{2165F2FA-0E14-4C26-9EE2-6872BBE0A715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4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9" name="Freeform 113">
            <a:extLst>
              <a:ext uri="{FF2B5EF4-FFF2-40B4-BE49-F238E27FC236}">
                <a16:creationId xmlns:a16="http://schemas.microsoft.com/office/drawing/2014/main" id="{01127F4A-CB1D-40EA-B4BC-E64034273AA4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0" name="Freeform 114">
            <a:extLst>
              <a:ext uri="{FF2B5EF4-FFF2-40B4-BE49-F238E27FC236}">
                <a16:creationId xmlns:a16="http://schemas.microsoft.com/office/drawing/2014/main" id="{A9D07890-CDBF-4407-8784-BAE1B3BCA499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7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4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8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1" name="Freeform 115">
            <a:extLst>
              <a:ext uri="{FF2B5EF4-FFF2-40B4-BE49-F238E27FC236}">
                <a16:creationId xmlns:a16="http://schemas.microsoft.com/office/drawing/2014/main" id="{4013A95E-9BCF-42C9-A438-37D5F62040A4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2" name="Freeform 116">
            <a:extLst>
              <a:ext uri="{FF2B5EF4-FFF2-40B4-BE49-F238E27FC236}">
                <a16:creationId xmlns:a16="http://schemas.microsoft.com/office/drawing/2014/main" id="{3ACD4E8E-DD8C-49C6-AC74-C4858B46846D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3" name="Freeform 117">
            <a:extLst>
              <a:ext uri="{FF2B5EF4-FFF2-40B4-BE49-F238E27FC236}">
                <a16:creationId xmlns:a16="http://schemas.microsoft.com/office/drawing/2014/main" id="{54CA200B-7C92-416D-A2D2-FA5BB0B76C9F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4" name="Freeform 118">
            <a:extLst>
              <a:ext uri="{FF2B5EF4-FFF2-40B4-BE49-F238E27FC236}">
                <a16:creationId xmlns:a16="http://schemas.microsoft.com/office/drawing/2014/main" id="{EB208D58-06AC-42A4-9B92-78A2FECC73E5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5" name="Freeform 119">
            <a:extLst>
              <a:ext uri="{FF2B5EF4-FFF2-40B4-BE49-F238E27FC236}">
                <a16:creationId xmlns:a16="http://schemas.microsoft.com/office/drawing/2014/main" id="{AB6ABC18-7CDB-448A-824C-E36DEAA8654F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6" name="Freeform 120">
            <a:extLst>
              <a:ext uri="{FF2B5EF4-FFF2-40B4-BE49-F238E27FC236}">
                <a16:creationId xmlns:a16="http://schemas.microsoft.com/office/drawing/2014/main" id="{BC7C1E65-BEFC-4517-9A2F-0D986B847602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7" name="Freeform 121">
            <a:extLst>
              <a:ext uri="{FF2B5EF4-FFF2-40B4-BE49-F238E27FC236}">
                <a16:creationId xmlns:a16="http://schemas.microsoft.com/office/drawing/2014/main" id="{0BD29DFC-5310-4438-8610-16AC5D4CDCB3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84837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8" name="Freeform 122">
            <a:extLst>
              <a:ext uri="{FF2B5EF4-FFF2-40B4-BE49-F238E27FC236}">
                <a16:creationId xmlns:a16="http://schemas.microsoft.com/office/drawing/2014/main" id="{2D606811-10AC-4C5B-91D3-F9D2A6187145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9" name="Freeform 123">
            <a:extLst>
              <a:ext uri="{FF2B5EF4-FFF2-40B4-BE49-F238E27FC236}">
                <a16:creationId xmlns:a16="http://schemas.microsoft.com/office/drawing/2014/main" id="{15593976-6548-4C99-A5F9-3BD877485A12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84837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0" name="Freeform 124">
            <a:extLst>
              <a:ext uri="{FF2B5EF4-FFF2-40B4-BE49-F238E27FC236}">
                <a16:creationId xmlns:a16="http://schemas.microsoft.com/office/drawing/2014/main" id="{8A15DA7A-2107-46DA-AF1D-A2B4AE11C01E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1" name="Freeform 125">
            <a:extLst>
              <a:ext uri="{FF2B5EF4-FFF2-40B4-BE49-F238E27FC236}">
                <a16:creationId xmlns:a16="http://schemas.microsoft.com/office/drawing/2014/main" id="{B613A8F2-DE76-4EED-AFCB-69ED9250A9B3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84837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2" name="Freeform 126">
            <a:extLst>
              <a:ext uri="{FF2B5EF4-FFF2-40B4-BE49-F238E27FC236}">
                <a16:creationId xmlns:a16="http://schemas.microsoft.com/office/drawing/2014/main" id="{FC89FED3-7252-4AAC-9613-733C5C387AD5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3" name="Freeform 127">
            <a:extLst>
              <a:ext uri="{FF2B5EF4-FFF2-40B4-BE49-F238E27FC236}">
                <a16:creationId xmlns:a16="http://schemas.microsoft.com/office/drawing/2014/main" id="{6FAD28B5-F96E-4B6A-8243-2E4755E78149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4" name="Freeform 128">
            <a:extLst>
              <a:ext uri="{FF2B5EF4-FFF2-40B4-BE49-F238E27FC236}">
                <a16:creationId xmlns:a16="http://schemas.microsoft.com/office/drawing/2014/main" id="{7453BB3E-F010-4839-A9F0-E7A9CC7E1E34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895609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5" name="Freeform 129">
            <a:extLst>
              <a:ext uri="{FF2B5EF4-FFF2-40B4-BE49-F238E27FC236}">
                <a16:creationId xmlns:a16="http://schemas.microsoft.com/office/drawing/2014/main" id="{F5D7E9EE-0A4A-4EAE-BF76-6FA57436B2F9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895609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99"/>
                </a:lnTo>
                <a:lnTo>
                  <a:pt x="3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6" name="Freeform 130">
            <a:extLst>
              <a:ext uri="{FF2B5EF4-FFF2-40B4-BE49-F238E27FC236}">
                <a16:creationId xmlns:a16="http://schemas.microsoft.com/office/drawing/2014/main" id="{8B85F150-A280-425E-897E-207E298F1A6E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895609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6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7" name="Freeform 131">
            <a:extLst>
              <a:ext uri="{FF2B5EF4-FFF2-40B4-BE49-F238E27FC236}">
                <a16:creationId xmlns:a16="http://schemas.microsoft.com/office/drawing/2014/main" id="{32C25D2B-E0F6-4B62-8D09-CF019BE6FF7B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895609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6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8" name="Freeform 132">
            <a:extLst>
              <a:ext uri="{FF2B5EF4-FFF2-40B4-BE49-F238E27FC236}">
                <a16:creationId xmlns:a16="http://schemas.microsoft.com/office/drawing/2014/main" id="{05377A36-64B4-4DE6-A376-6ADD1252A6E4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895609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9" name="Freeform 133">
            <a:extLst>
              <a:ext uri="{FF2B5EF4-FFF2-40B4-BE49-F238E27FC236}">
                <a16:creationId xmlns:a16="http://schemas.microsoft.com/office/drawing/2014/main" id="{246877A6-3670-4D29-A6B4-A3103A0FC453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6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0" name="Freeform 134">
            <a:extLst>
              <a:ext uri="{FF2B5EF4-FFF2-40B4-BE49-F238E27FC236}">
                <a16:creationId xmlns:a16="http://schemas.microsoft.com/office/drawing/2014/main" id="{AF78F25A-484B-4B7F-9BF1-5D29122E45AB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8956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1" name="Freeform 135">
            <a:extLst>
              <a:ext uri="{FF2B5EF4-FFF2-40B4-BE49-F238E27FC236}">
                <a16:creationId xmlns:a16="http://schemas.microsoft.com/office/drawing/2014/main" id="{B729E8F3-7E51-4AC5-9392-903067D509FA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8956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7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2" name="Freeform 136">
            <a:extLst>
              <a:ext uri="{FF2B5EF4-FFF2-40B4-BE49-F238E27FC236}">
                <a16:creationId xmlns:a16="http://schemas.microsoft.com/office/drawing/2014/main" id="{5C6010A6-6939-46F0-BE82-63FFDB1B73C8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94179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7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3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3" name="Freeform 137">
            <a:extLst>
              <a:ext uri="{FF2B5EF4-FFF2-40B4-BE49-F238E27FC236}">
                <a16:creationId xmlns:a16="http://schemas.microsoft.com/office/drawing/2014/main" id="{F408215B-59D8-4DA5-8125-7FE4ED942410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8956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4" name="Freeform 138">
            <a:extLst>
              <a:ext uri="{FF2B5EF4-FFF2-40B4-BE49-F238E27FC236}">
                <a16:creationId xmlns:a16="http://schemas.microsoft.com/office/drawing/2014/main" id="{D1A85708-6573-429E-B234-53E5675F83FB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94179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5" name="Freeform 139">
            <a:extLst>
              <a:ext uri="{FF2B5EF4-FFF2-40B4-BE49-F238E27FC236}">
                <a16:creationId xmlns:a16="http://schemas.microsoft.com/office/drawing/2014/main" id="{B83AD6CC-04D6-4383-9DBD-E0D2C1522E1B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0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6" name="Freeform 140">
            <a:extLst>
              <a:ext uri="{FF2B5EF4-FFF2-40B4-BE49-F238E27FC236}">
                <a16:creationId xmlns:a16="http://schemas.microsoft.com/office/drawing/2014/main" id="{3E0EB6D1-9774-4F9E-B5C2-17960398E0B0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7" name="Freeform 141">
            <a:extLst>
              <a:ext uri="{FF2B5EF4-FFF2-40B4-BE49-F238E27FC236}">
                <a16:creationId xmlns:a16="http://schemas.microsoft.com/office/drawing/2014/main" id="{D2CC7188-8AFF-4C02-BB05-FF995FEF2180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98903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8" name="Freeform 142">
            <a:extLst>
              <a:ext uri="{FF2B5EF4-FFF2-40B4-BE49-F238E27FC236}">
                <a16:creationId xmlns:a16="http://schemas.microsoft.com/office/drawing/2014/main" id="{901B0CD5-3D5E-4278-B4F4-DB61EC1BEAC5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2035224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9" name="Freeform 143">
            <a:extLst>
              <a:ext uri="{FF2B5EF4-FFF2-40B4-BE49-F238E27FC236}">
                <a16:creationId xmlns:a16="http://schemas.microsoft.com/office/drawing/2014/main" id="{0D110C46-F033-41B3-95A8-A09B4E246E7C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2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0" name="Freeform 144">
            <a:extLst>
              <a:ext uri="{FF2B5EF4-FFF2-40B4-BE49-F238E27FC236}">
                <a16:creationId xmlns:a16="http://schemas.microsoft.com/office/drawing/2014/main" id="{BB252E23-AD5C-40F2-AC52-1EDED05D5021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03522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1" name="Freeform 145">
            <a:extLst>
              <a:ext uri="{FF2B5EF4-FFF2-40B4-BE49-F238E27FC236}">
                <a16:creationId xmlns:a16="http://schemas.microsoft.com/office/drawing/2014/main" id="{C78DB46F-443A-4DC1-AFC1-19D0BC947EBA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2" name="Freeform 146">
            <a:extLst>
              <a:ext uri="{FF2B5EF4-FFF2-40B4-BE49-F238E27FC236}">
                <a16:creationId xmlns:a16="http://schemas.microsoft.com/office/drawing/2014/main" id="{8939EBF9-0DF7-4678-A231-6CCF173EDECA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203522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3" name="Freeform 147">
            <a:extLst>
              <a:ext uri="{FF2B5EF4-FFF2-40B4-BE49-F238E27FC236}">
                <a16:creationId xmlns:a16="http://schemas.microsoft.com/office/drawing/2014/main" id="{C970BF9E-27BD-4070-9DA5-EB7A789B0917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98903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4 w 153"/>
              <a:gd name="T45" fmla="*/ 12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4" name="Freeform 148">
            <a:extLst>
              <a:ext uri="{FF2B5EF4-FFF2-40B4-BE49-F238E27FC236}">
                <a16:creationId xmlns:a16="http://schemas.microsoft.com/office/drawing/2014/main" id="{8F5C694C-2FC9-45C3-A541-AB3C06F0D760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2035224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5" name="Freeform 149">
            <a:extLst>
              <a:ext uri="{FF2B5EF4-FFF2-40B4-BE49-F238E27FC236}">
                <a16:creationId xmlns:a16="http://schemas.microsoft.com/office/drawing/2014/main" id="{F1D1D82D-FD28-4E1F-B624-62ADA0EE794E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98903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2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6" name="Freeform 150">
            <a:extLst>
              <a:ext uri="{FF2B5EF4-FFF2-40B4-BE49-F238E27FC236}">
                <a16:creationId xmlns:a16="http://schemas.microsoft.com/office/drawing/2014/main" id="{3B607789-8733-48A4-832E-438367C4488C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2035224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7" name="Freeform 151">
            <a:extLst>
              <a:ext uri="{FF2B5EF4-FFF2-40B4-BE49-F238E27FC236}">
                <a16:creationId xmlns:a16="http://schemas.microsoft.com/office/drawing/2014/main" id="{44A3F989-254F-4211-B74F-677D2FF3EEDC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2082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8" name="Freeform 152">
            <a:extLst>
              <a:ext uri="{FF2B5EF4-FFF2-40B4-BE49-F238E27FC236}">
                <a16:creationId xmlns:a16="http://schemas.microsoft.com/office/drawing/2014/main" id="{3B903172-275C-4974-96FB-F61726B45C2B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212865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9" name="Freeform 153">
            <a:extLst>
              <a:ext uri="{FF2B5EF4-FFF2-40B4-BE49-F238E27FC236}">
                <a16:creationId xmlns:a16="http://schemas.microsoft.com/office/drawing/2014/main" id="{C7CCD4E5-BD3A-4706-8EAD-EA448245F1EE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0" name="Freeform 154">
            <a:extLst>
              <a:ext uri="{FF2B5EF4-FFF2-40B4-BE49-F238E27FC236}">
                <a16:creationId xmlns:a16="http://schemas.microsoft.com/office/drawing/2014/main" id="{E9150981-A5A9-47C2-A684-A2B91347D186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1" name="Freeform 155">
            <a:extLst>
              <a:ext uri="{FF2B5EF4-FFF2-40B4-BE49-F238E27FC236}">
                <a16:creationId xmlns:a16="http://schemas.microsoft.com/office/drawing/2014/main" id="{91AC9F3C-E95C-4B9C-A810-05A6C96D4282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2" name="Freeform 156">
            <a:extLst>
              <a:ext uri="{FF2B5EF4-FFF2-40B4-BE49-F238E27FC236}">
                <a16:creationId xmlns:a16="http://schemas.microsoft.com/office/drawing/2014/main" id="{6EAF9531-30C2-4409-B720-2AF08729E121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3" name="Freeform 157">
            <a:extLst>
              <a:ext uri="{FF2B5EF4-FFF2-40B4-BE49-F238E27FC236}">
                <a16:creationId xmlns:a16="http://schemas.microsoft.com/office/drawing/2014/main" id="{60F09E38-F46B-4598-8960-6959CF54B63E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2082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4" name="Freeform 158">
            <a:extLst>
              <a:ext uri="{FF2B5EF4-FFF2-40B4-BE49-F238E27FC236}">
                <a16:creationId xmlns:a16="http://schemas.microsoft.com/office/drawing/2014/main" id="{07F39A70-CE66-461B-91AD-64C0E84B2FBD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212865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5" name="Freeform 159">
            <a:extLst>
              <a:ext uri="{FF2B5EF4-FFF2-40B4-BE49-F238E27FC236}">
                <a16:creationId xmlns:a16="http://schemas.microsoft.com/office/drawing/2014/main" id="{E3233C31-20C5-46A0-9177-975CEAD7BD3D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203522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6" name="Freeform 160">
            <a:extLst>
              <a:ext uri="{FF2B5EF4-FFF2-40B4-BE49-F238E27FC236}">
                <a16:creationId xmlns:a16="http://schemas.microsoft.com/office/drawing/2014/main" id="{6C3F34BA-6806-482C-9004-05CA0074EFBA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7" name="Freeform 161">
            <a:extLst>
              <a:ext uri="{FF2B5EF4-FFF2-40B4-BE49-F238E27FC236}">
                <a16:creationId xmlns:a16="http://schemas.microsoft.com/office/drawing/2014/main" id="{E959E925-0759-4924-BD15-5EFE4C39F157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203522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8" name="Freeform 162">
            <a:extLst>
              <a:ext uri="{FF2B5EF4-FFF2-40B4-BE49-F238E27FC236}">
                <a16:creationId xmlns:a16="http://schemas.microsoft.com/office/drawing/2014/main" id="{D60163B6-E458-47CC-9574-A6B7E7A2A5F9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9" name="Freeform 163">
            <a:extLst>
              <a:ext uri="{FF2B5EF4-FFF2-40B4-BE49-F238E27FC236}">
                <a16:creationId xmlns:a16="http://schemas.microsoft.com/office/drawing/2014/main" id="{2A3FD618-3476-4F16-B333-133DFF796945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203522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0" name="Freeform 164">
            <a:extLst>
              <a:ext uri="{FF2B5EF4-FFF2-40B4-BE49-F238E27FC236}">
                <a16:creationId xmlns:a16="http://schemas.microsoft.com/office/drawing/2014/main" id="{EED484D8-41C5-46D2-9E0F-9DC70C73076F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1" name="Freeform 165">
            <a:extLst>
              <a:ext uri="{FF2B5EF4-FFF2-40B4-BE49-F238E27FC236}">
                <a16:creationId xmlns:a16="http://schemas.microsoft.com/office/drawing/2014/main" id="{05C903F5-F8E4-4BD4-A000-D15CD8274540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2" name="Freeform 166">
            <a:extLst>
              <a:ext uri="{FF2B5EF4-FFF2-40B4-BE49-F238E27FC236}">
                <a16:creationId xmlns:a16="http://schemas.microsoft.com/office/drawing/2014/main" id="{BFDA1489-938A-4D5B-8676-8726E26BA52A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3" name="Freeform 167">
            <a:extLst>
              <a:ext uri="{FF2B5EF4-FFF2-40B4-BE49-F238E27FC236}">
                <a16:creationId xmlns:a16="http://schemas.microsoft.com/office/drawing/2014/main" id="{F5A17820-6C11-4501-A891-2D58C390D167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4" name="Freeform 168">
            <a:extLst>
              <a:ext uri="{FF2B5EF4-FFF2-40B4-BE49-F238E27FC236}">
                <a16:creationId xmlns:a16="http://schemas.microsoft.com/office/drawing/2014/main" id="{214961A8-A685-4765-B4A0-D61D22517412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5" name="Freeform 169">
            <a:extLst>
              <a:ext uri="{FF2B5EF4-FFF2-40B4-BE49-F238E27FC236}">
                <a16:creationId xmlns:a16="http://schemas.microsoft.com/office/drawing/2014/main" id="{FAC9F50B-164A-4ACD-9626-C9EE02EB7676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2082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6" name="Freeform 170">
            <a:extLst>
              <a:ext uri="{FF2B5EF4-FFF2-40B4-BE49-F238E27FC236}">
                <a16:creationId xmlns:a16="http://schemas.microsoft.com/office/drawing/2014/main" id="{CF95A6FC-5F9A-4711-B9FA-CD702AEDA958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212865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7" name="Freeform 171">
            <a:extLst>
              <a:ext uri="{FF2B5EF4-FFF2-40B4-BE49-F238E27FC236}">
                <a16:creationId xmlns:a16="http://schemas.microsoft.com/office/drawing/2014/main" id="{D3E2C787-A709-4EEC-8A01-D610B73AC847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61742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8" name="Freeform 172">
            <a:extLst>
              <a:ext uri="{FF2B5EF4-FFF2-40B4-BE49-F238E27FC236}">
                <a16:creationId xmlns:a16="http://schemas.microsoft.com/office/drawing/2014/main" id="{8BBCBA90-5D7D-4D08-A31F-B2D43684168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6646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19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9" name="Freeform 173">
            <a:extLst>
              <a:ext uri="{FF2B5EF4-FFF2-40B4-BE49-F238E27FC236}">
                <a16:creationId xmlns:a16="http://schemas.microsoft.com/office/drawing/2014/main" id="{560CB95D-3F72-41FF-BE75-AFDC129FA66D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0" name="Freeform 174">
            <a:extLst>
              <a:ext uri="{FF2B5EF4-FFF2-40B4-BE49-F238E27FC236}">
                <a16:creationId xmlns:a16="http://schemas.microsoft.com/office/drawing/2014/main" id="{AF903162-DDBF-4574-8FF8-BCDE183BC6BE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1" name="Freeform 175">
            <a:extLst>
              <a:ext uri="{FF2B5EF4-FFF2-40B4-BE49-F238E27FC236}">
                <a16:creationId xmlns:a16="http://schemas.microsoft.com/office/drawing/2014/main" id="{2F0BED30-2A15-4AB1-AC08-BA910E62BD36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2" name="Freeform 176">
            <a:extLst>
              <a:ext uri="{FF2B5EF4-FFF2-40B4-BE49-F238E27FC236}">
                <a16:creationId xmlns:a16="http://schemas.microsoft.com/office/drawing/2014/main" id="{5840D50A-7041-44B0-9674-1CDFE4D49316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3" name="Freeform 177">
            <a:extLst>
              <a:ext uri="{FF2B5EF4-FFF2-40B4-BE49-F238E27FC236}">
                <a16:creationId xmlns:a16="http://schemas.microsoft.com/office/drawing/2014/main" id="{B8C88E4A-A15B-4B97-B5C7-85DD64DF7DCB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6174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4" name="Freeform 178">
            <a:extLst>
              <a:ext uri="{FF2B5EF4-FFF2-40B4-BE49-F238E27FC236}">
                <a16:creationId xmlns:a16="http://schemas.microsoft.com/office/drawing/2014/main" id="{4C07102E-2646-4E54-82E4-08E07D75C9A1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6646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5" name="Freeform 179">
            <a:extLst>
              <a:ext uri="{FF2B5EF4-FFF2-40B4-BE49-F238E27FC236}">
                <a16:creationId xmlns:a16="http://schemas.microsoft.com/office/drawing/2014/main" id="{6B0E4922-5F15-4887-B63C-EDE4E2DB4093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6174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6" name="Freeform 180">
            <a:extLst>
              <a:ext uri="{FF2B5EF4-FFF2-40B4-BE49-F238E27FC236}">
                <a16:creationId xmlns:a16="http://schemas.microsoft.com/office/drawing/2014/main" id="{139793B0-3021-4FBC-BE61-E4F225DD372E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7" name="Freeform 181">
            <a:extLst>
              <a:ext uri="{FF2B5EF4-FFF2-40B4-BE49-F238E27FC236}">
                <a16:creationId xmlns:a16="http://schemas.microsoft.com/office/drawing/2014/main" id="{35C911EA-5420-4EA6-B00D-BE98F00E8846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8" name="Freeform 182">
            <a:extLst>
              <a:ext uri="{FF2B5EF4-FFF2-40B4-BE49-F238E27FC236}">
                <a16:creationId xmlns:a16="http://schemas.microsoft.com/office/drawing/2014/main" id="{16060BBE-1059-48DE-B7B9-EF4D4625558E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9" name="Freeform 183">
            <a:extLst>
              <a:ext uri="{FF2B5EF4-FFF2-40B4-BE49-F238E27FC236}">
                <a16:creationId xmlns:a16="http://schemas.microsoft.com/office/drawing/2014/main" id="{79D49664-5508-4C07-B0E2-34BD74CCE19D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0" name="Freeform 184">
            <a:extLst>
              <a:ext uri="{FF2B5EF4-FFF2-40B4-BE49-F238E27FC236}">
                <a16:creationId xmlns:a16="http://schemas.microsoft.com/office/drawing/2014/main" id="{B237BFA5-5A1C-483B-A84F-66C32A541FEC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1" name="Freeform 185">
            <a:extLst>
              <a:ext uri="{FF2B5EF4-FFF2-40B4-BE49-F238E27FC236}">
                <a16:creationId xmlns:a16="http://schemas.microsoft.com/office/drawing/2014/main" id="{C6FCA495-BD2A-40F4-B75A-7C50AC9D302F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2" name="Freeform 186">
            <a:extLst>
              <a:ext uri="{FF2B5EF4-FFF2-40B4-BE49-F238E27FC236}">
                <a16:creationId xmlns:a16="http://schemas.microsoft.com/office/drawing/2014/main" id="{FD310050-FA1D-44AD-9AA2-569E7E9325F1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3" name="Freeform 187">
            <a:extLst>
              <a:ext uri="{FF2B5EF4-FFF2-40B4-BE49-F238E27FC236}">
                <a16:creationId xmlns:a16="http://schemas.microsoft.com/office/drawing/2014/main" id="{0A6694B5-3840-4DB0-87F4-07649F5B0532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8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4" name="Freeform 188">
            <a:extLst>
              <a:ext uri="{FF2B5EF4-FFF2-40B4-BE49-F238E27FC236}">
                <a16:creationId xmlns:a16="http://schemas.microsoft.com/office/drawing/2014/main" id="{752A5861-DA25-470A-A73C-782490C0F7C5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5" name="Freeform 189">
            <a:extLst>
              <a:ext uri="{FF2B5EF4-FFF2-40B4-BE49-F238E27FC236}">
                <a16:creationId xmlns:a16="http://schemas.microsoft.com/office/drawing/2014/main" id="{B62D1CF8-2FEB-406A-90BD-D19E8DEA2CA4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6" name="Freeform 190">
            <a:extLst>
              <a:ext uri="{FF2B5EF4-FFF2-40B4-BE49-F238E27FC236}">
                <a16:creationId xmlns:a16="http://schemas.microsoft.com/office/drawing/2014/main" id="{E8F0FB29-CEC1-4412-BBCE-CEDFE7C62DA3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7" name="Freeform 191">
            <a:extLst>
              <a:ext uri="{FF2B5EF4-FFF2-40B4-BE49-F238E27FC236}">
                <a16:creationId xmlns:a16="http://schemas.microsoft.com/office/drawing/2014/main" id="{62888E58-CDEE-4AC7-B421-17E8180A15AA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8" name="Freeform 192">
            <a:extLst>
              <a:ext uri="{FF2B5EF4-FFF2-40B4-BE49-F238E27FC236}">
                <a16:creationId xmlns:a16="http://schemas.microsoft.com/office/drawing/2014/main" id="{6CB6589D-E2BC-439A-A50F-19015A35265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84837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9" name="Freeform 193">
            <a:extLst>
              <a:ext uri="{FF2B5EF4-FFF2-40B4-BE49-F238E27FC236}">
                <a16:creationId xmlns:a16="http://schemas.microsoft.com/office/drawing/2014/main" id="{A17F6E35-819A-4C33-B53F-A53CADDDF2E2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0" name="Freeform 194">
            <a:extLst>
              <a:ext uri="{FF2B5EF4-FFF2-40B4-BE49-F238E27FC236}">
                <a16:creationId xmlns:a16="http://schemas.microsoft.com/office/drawing/2014/main" id="{2294017C-3039-4FC0-955D-8D2202019C27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1" name="Freeform 195">
            <a:extLst>
              <a:ext uri="{FF2B5EF4-FFF2-40B4-BE49-F238E27FC236}">
                <a16:creationId xmlns:a16="http://schemas.microsoft.com/office/drawing/2014/main" id="{A5F80265-ED36-48A5-AB07-C970DC9FA3CA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2" name="Freeform 196">
            <a:extLst>
              <a:ext uri="{FF2B5EF4-FFF2-40B4-BE49-F238E27FC236}">
                <a16:creationId xmlns:a16="http://schemas.microsoft.com/office/drawing/2014/main" id="{F383D4E3-7A8C-4FB3-B98A-FF90CB64FD47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3" name="Freeform 197">
            <a:extLst>
              <a:ext uri="{FF2B5EF4-FFF2-40B4-BE49-F238E27FC236}">
                <a16:creationId xmlns:a16="http://schemas.microsoft.com/office/drawing/2014/main" id="{0AC66B2D-4291-4D14-A0C3-05215FACB709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4" name="Freeform 198">
            <a:extLst>
              <a:ext uri="{FF2B5EF4-FFF2-40B4-BE49-F238E27FC236}">
                <a16:creationId xmlns:a16="http://schemas.microsoft.com/office/drawing/2014/main" id="{2018C6E4-D840-4CDD-8351-57FD7EDBF2AF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84837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5" name="Freeform 199">
            <a:extLst>
              <a:ext uri="{FF2B5EF4-FFF2-40B4-BE49-F238E27FC236}">
                <a16:creationId xmlns:a16="http://schemas.microsoft.com/office/drawing/2014/main" id="{DBA7C2E1-4783-4628-9EA6-05489939C5FA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6" name="Freeform 200">
            <a:extLst>
              <a:ext uri="{FF2B5EF4-FFF2-40B4-BE49-F238E27FC236}">
                <a16:creationId xmlns:a16="http://schemas.microsoft.com/office/drawing/2014/main" id="{AB3DA8E0-11C7-46E1-ABDB-DAC426AE0842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84837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7" name="Freeform 201">
            <a:extLst>
              <a:ext uri="{FF2B5EF4-FFF2-40B4-BE49-F238E27FC236}">
                <a16:creationId xmlns:a16="http://schemas.microsoft.com/office/drawing/2014/main" id="{62751DF7-A8F5-4F0E-BE1C-6F160CFD10E0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8956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8" name="Freeform 202">
            <a:extLst>
              <a:ext uri="{FF2B5EF4-FFF2-40B4-BE49-F238E27FC236}">
                <a16:creationId xmlns:a16="http://schemas.microsoft.com/office/drawing/2014/main" id="{E84448F8-973D-43B6-BA05-E0B91B73B1B7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94179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9" name="Freeform 203">
            <a:extLst>
              <a:ext uri="{FF2B5EF4-FFF2-40B4-BE49-F238E27FC236}">
                <a16:creationId xmlns:a16="http://schemas.microsoft.com/office/drawing/2014/main" id="{7D332366-AED9-4B0E-949C-343818DD2AE1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0" name="Freeform 204">
            <a:extLst>
              <a:ext uri="{FF2B5EF4-FFF2-40B4-BE49-F238E27FC236}">
                <a16:creationId xmlns:a16="http://schemas.microsoft.com/office/drawing/2014/main" id="{98F2D4EA-AFAE-4021-B4CC-57A19D58239D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1" name="Freeform 206">
            <a:extLst>
              <a:ext uri="{FF2B5EF4-FFF2-40B4-BE49-F238E27FC236}">
                <a16:creationId xmlns:a16="http://schemas.microsoft.com/office/drawing/2014/main" id="{F46E0275-607F-44CC-807B-B1FB070EEA96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6 w 154"/>
              <a:gd name="T13" fmla="*/ 149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2" name="Freeform 207">
            <a:extLst>
              <a:ext uri="{FF2B5EF4-FFF2-40B4-BE49-F238E27FC236}">
                <a16:creationId xmlns:a16="http://schemas.microsoft.com/office/drawing/2014/main" id="{6B25585D-976A-484D-8180-BDE5F5CA9D00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3" name="Freeform 208">
            <a:extLst>
              <a:ext uri="{FF2B5EF4-FFF2-40B4-BE49-F238E27FC236}">
                <a16:creationId xmlns:a16="http://schemas.microsoft.com/office/drawing/2014/main" id="{090E168B-7C10-427D-9D6D-6EDF50B1F8CF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4" name="Freeform 209">
            <a:extLst>
              <a:ext uri="{FF2B5EF4-FFF2-40B4-BE49-F238E27FC236}">
                <a16:creationId xmlns:a16="http://schemas.microsoft.com/office/drawing/2014/main" id="{B3831C01-1B2B-4F15-8CBB-E04BF9B7DE76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5" name="Freeform 210">
            <a:extLst>
              <a:ext uri="{FF2B5EF4-FFF2-40B4-BE49-F238E27FC236}">
                <a16:creationId xmlns:a16="http://schemas.microsoft.com/office/drawing/2014/main" id="{B0DFE8A0-0C40-4FFA-9DE8-B762D5FF39AF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8956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6" name="Freeform 211">
            <a:extLst>
              <a:ext uri="{FF2B5EF4-FFF2-40B4-BE49-F238E27FC236}">
                <a16:creationId xmlns:a16="http://schemas.microsoft.com/office/drawing/2014/main" id="{7188D225-7B30-4767-8D4C-D619F3C1BA47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94179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7" name="Freeform 212">
            <a:extLst>
              <a:ext uri="{FF2B5EF4-FFF2-40B4-BE49-F238E27FC236}">
                <a16:creationId xmlns:a16="http://schemas.microsoft.com/office/drawing/2014/main" id="{A5205E1E-035B-46E9-A5A5-B4F364FAEA05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98903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8" name="Freeform 213">
            <a:extLst>
              <a:ext uri="{FF2B5EF4-FFF2-40B4-BE49-F238E27FC236}">
                <a16:creationId xmlns:a16="http://schemas.microsoft.com/office/drawing/2014/main" id="{4EBE6BBE-8B91-4341-9D2F-107F9F640D5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03522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4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2" y="84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9" name="Freeform 214">
            <a:extLst>
              <a:ext uri="{FF2B5EF4-FFF2-40B4-BE49-F238E27FC236}">
                <a16:creationId xmlns:a16="http://schemas.microsoft.com/office/drawing/2014/main" id="{CA1223EB-A916-4FE1-B164-CB3FAE937DEF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0" name="Freeform 215">
            <a:extLst>
              <a:ext uri="{FF2B5EF4-FFF2-40B4-BE49-F238E27FC236}">
                <a16:creationId xmlns:a16="http://schemas.microsoft.com/office/drawing/2014/main" id="{185000F3-E5D5-4895-8E37-379C007FD2DA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03522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1" name="Freeform 216">
            <a:extLst>
              <a:ext uri="{FF2B5EF4-FFF2-40B4-BE49-F238E27FC236}">
                <a16:creationId xmlns:a16="http://schemas.microsoft.com/office/drawing/2014/main" id="{880D2693-E32D-421F-832E-D9113030DD69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2" name="Freeform 217">
            <a:extLst>
              <a:ext uri="{FF2B5EF4-FFF2-40B4-BE49-F238E27FC236}">
                <a16:creationId xmlns:a16="http://schemas.microsoft.com/office/drawing/2014/main" id="{076391EC-9E54-47CE-B36B-4211A780FB2B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03522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6 w 154"/>
              <a:gd name="T13" fmla="*/ 149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3" name="Freeform 218">
            <a:extLst>
              <a:ext uri="{FF2B5EF4-FFF2-40B4-BE49-F238E27FC236}">
                <a16:creationId xmlns:a16="http://schemas.microsoft.com/office/drawing/2014/main" id="{89A81B2A-8141-4BB6-BD6E-A845FF0417EE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4" name="Freeform 219">
            <a:extLst>
              <a:ext uri="{FF2B5EF4-FFF2-40B4-BE49-F238E27FC236}">
                <a16:creationId xmlns:a16="http://schemas.microsoft.com/office/drawing/2014/main" id="{32CB8556-4649-4BF2-B718-C84350CCA41C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03522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5" name="Freeform 220">
            <a:extLst>
              <a:ext uri="{FF2B5EF4-FFF2-40B4-BE49-F238E27FC236}">
                <a16:creationId xmlns:a16="http://schemas.microsoft.com/office/drawing/2014/main" id="{7C79AE65-497D-4265-BC1B-176150373266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98903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6" name="Freeform 221">
            <a:extLst>
              <a:ext uri="{FF2B5EF4-FFF2-40B4-BE49-F238E27FC236}">
                <a16:creationId xmlns:a16="http://schemas.microsoft.com/office/drawing/2014/main" id="{4E7FAFC7-E952-4F81-ABCB-816E97E6D4E0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03522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7" name="Freeform 222">
            <a:extLst>
              <a:ext uri="{FF2B5EF4-FFF2-40B4-BE49-F238E27FC236}">
                <a16:creationId xmlns:a16="http://schemas.microsoft.com/office/drawing/2014/main" id="{14FB5F29-3B91-4387-81DD-14DCF7853465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0824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8" name="Freeform 223">
            <a:extLst>
              <a:ext uri="{FF2B5EF4-FFF2-40B4-BE49-F238E27FC236}">
                <a16:creationId xmlns:a16="http://schemas.microsoft.com/office/drawing/2014/main" id="{09D1AE56-304E-4F9F-B67E-BC4F1C6F910F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12865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9" name="Freeform 224">
            <a:extLst>
              <a:ext uri="{FF2B5EF4-FFF2-40B4-BE49-F238E27FC236}">
                <a16:creationId xmlns:a16="http://schemas.microsoft.com/office/drawing/2014/main" id="{0201C663-A8D6-458E-ACD8-143D61E76775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0" name="Freeform 225">
            <a:extLst>
              <a:ext uri="{FF2B5EF4-FFF2-40B4-BE49-F238E27FC236}">
                <a16:creationId xmlns:a16="http://schemas.microsoft.com/office/drawing/2014/main" id="{F9F5C0CF-6769-41BF-8E77-78F306CD4587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1" name="Freeform 226">
            <a:extLst>
              <a:ext uri="{FF2B5EF4-FFF2-40B4-BE49-F238E27FC236}">
                <a16:creationId xmlns:a16="http://schemas.microsoft.com/office/drawing/2014/main" id="{30FC99BA-BF04-49A5-8658-09462BB62019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2" name="Freeform 227">
            <a:extLst>
              <a:ext uri="{FF2B5EF4-FFF2-40B4-BE49-F238E27FC236}">
                <a16:creationId xmlns:a16="http://schemas.microsoft.com/office/drawing/2014/main" id="{FCF88A99-D9EF-4CDE-8C99-066786BE44DD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3" name="Freeform 228">
            <a:extLst>
              <a:ext uri="{FF2B5EF4-FFF2-40B4-BE49-F238E27FC236}">
                <a16:creationId xmlns:a16="http://schemas.microsoft.com/office/drawing/2014/main" id="{90346627-9581-404E-BDEC-A17804D8D587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082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4" name="Freeform 229">
            <a:extLst>
              <a:ext uri="{FF2B5EF4-FFF2-40B4-BE49-F238E27FC236}">
                <a16:creationId xmlns:a16="http://schemas.microsoft.com/office/drawing/2014/main" id="{78FA6C65-182E-4CA6-B0B2-E6C5F0A73893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1286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5" name="Freeform 230">
            <a:extLst>
              <a:ext uri="{FF2B5EF4-FFF2-40B4-BE49-F238E27FC236}">
                <a16:creationId xmlns:a16="http://schemas.microsoft.com/office/drawing/2014/main" id="{FFE3525D-387F-40E4-B6C3-EA77E103E839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082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6" name="Freeform 231">
            <a:extLst>
              <a:ext uri="{FF2B5EF4-FFF2-40B4-BE49-F238E27FC236}">
                <a16:creationId xmlns:a16="http://schemas.microsoft.com/office/drawing/2014/main" id="{EE4C3234-BC83-428A-B13D-D2FEEC75D90C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12865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7" name="Freeform 232">
            <a:extLst>
              <a:ext uri="{FF2B5EF4-FFF2-40B4-BE49-F238E27FC236}">
                <a16:creationId xmlns:a16="http://schemas.microsoft.com/office/drawing/2014/main" id="{190BA40C-FEAF-4E44-BF9B-E82546353640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174840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4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2" y="84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8" name="Freeform 233">
            <a:extLst>
              <a:ext uri="{FF2B5EF4-FFF2-40B4-BE49-F238E27FC236}">
                <a16:creationId xmlns:a16="http://schemas.microsoft.com/office/drawing/2014/main" id="{F2409186-DB2D-4B77-BAB8-352F38496380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22207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9" name="Freeform 234">
            <a:extLst>
              <a:ext uri="{FF2B5EF4-FFF2-40B4-BE49-F238E27FC236}">
                <a16:creationId xmlns:a16="http://schemas.microsoft.com/office/drawing/2014/main" id="{390B1420-0286-4C43-A2ED-23C4CF30CE6A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17484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0" name="Freeform 235">
            <a:extLst>
              <a:ext uri="{FF2B5EF4-FFF2-40B4-BE49-F238E27FC236}">
                <a16:creationId xmlns:a16="http://schemas.microsoft.com/office/drawing/2014/main" id="{0E9F7AE5-3CD2-47C1-B892-EF1C207D0875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22207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1" name="Freeform 236">
            <a:extLst>
              <a:ext uri="{FF2B5EF4-FFF2-40B4-BE49-F238E27FC236}">
                <a16:creationId xmlns:a16="http://schemas.microsoft.com/office/drawing/2014/main" id="{F866BF0D-F00D-4705-9629-9CEE9E80B191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17484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2" name="Freeform 237">
            <a:extLst>
              <a:ext uri="{FF2B5EF4-FFF2-40B4-BE49-F238E27FC236}">
                <a16:creationId xmlns:a16="http://schemas.microsoft.com/office/drawing/2014/main" id="{FF978921-C68C-4F3C-89E5-5E0CAF007D08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22207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3" name="Freeform 238">
            <a:extLst>
              <a:ext uri="{FF2B5EF4-FFF2-40B4-BE49-F238E27FC236}">
                <a16:creationId xmlns:a16="http://schemas.microsoft.com/office/drawing/2014/main" id="{305D7DFD-D881-4922-AA55-556CA8B9CDC9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17484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4" name="Freeform 239">
            <a:extLst>
              <a:ext uri="{FF2B5EF4-FFF2-40B4-BE49-F238E27FC236}">
                <a16:creationId xmlns:a16="http://schemas.microsoft.com/office/drawing/2014/main" id="{3D054B12-2E56-4F91-BD96-9D9C2F08B94D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22207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5" name="Freeform 240">
            <a:extLst>
              <a:ext uri="{FF2B5EF4-FFF2-40B4-BE49-F238E27FC236}">
                <a16:creationId xmlns:a16="http://schemas.microsoft.com/office/drawing/2014/main" id="{94B9DB17-1B6D-4475-B8E5-3A48B46715B3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174840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6" name="Freeform 241">
            <a:extLst>
              <a:ext uri="{FF2B5EF4-FFF2-40B4-BE49-F238E27FC236}">
                <a16:creationId xmlns:a16="http://schemas.microsoft.com/office/drawing/2014/main" id="{82882F64-99F1-4174-96E1-B37EBA9CF93A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22207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0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7" name="Freeform 242">
            <a:extLst>
              <a:ext uri="{FF2B5EF4-FFF2-40B4-BE49-F238E27FC236}">
                <a16:creationId xmlns:a16="http://schemas.microsoft.com/office/drawing/2014/main" id="{29D6AF95-1129-471E-8D0B-835D17F8DA9E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268267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6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6"/>
                </a:lnTo>
                <a:lnTo>
                  <a:pt x="0" y="76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8" name="Freeform 243">
            <a:extLst>
              <a:ext uri="{FF2B5EF4-FFF2-40B4-BE49-F238E27FC236}">
                <a16:creationId xmlns:a16="http://schemas.microsoft.com/office/drawing/2014/main" id="{BFF41C21-B096-4588-A1AE-9D28A75DD3B3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31550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3" y="92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9" name="Freeform 244">
            <a:extLst>
              <a:ext uri="{FF2B5EF4-FFF2-40B4-BE49-F238E27FC236}">
                <a16:creationId xmlns:a16="http://schemas.microsoft.com/office/drawing/2014/main" id="{708E1363-AC2A-408A-A8E6-6626DC78FE00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26826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0" name="Freeform 245">
            <a:extLst>
              <a:ext uri="{FF2B5EF4-FFF2-40B4-BE49-F238E27FC236}">
                <a16:creationId xmlns:a16="http://schemas.microsoft.com/office/drawing/2014/main" id="{0495F6D7-5D0F-4C37-91AA-B4C435EEB8E8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1" name="Freeform 246">
            <a:extLst>
              <a:ext uri="{FF2B5EF4-FFF2-40B4-BE49-F238E27FC236}">
                <a16:creationId xmlns:a16="http://schemas.microsoft.com/office/drawing/2014/main" id="{11D59811-3645-424B-91E1-582CAE1B113A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26826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2" name="Freeform 247">
            <a:extLst>
              <a:ext uri="{FF2B5EF4-FFF2-40B4-BE49-F238E27FC236}">
                <a16:creationId xmlns:a16="http://schemas.microsoft.com/office/drawing/2014/main" id="{A9B433B1-2E5D-4064-A4FD-281C6A64F79F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6 w 154"/>
              <a:gd name="T13" fmla="*/ 149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3" name="Freeform 248">
            <a:extLst>
              <a:ext uri="{FF2B5EF4-FFF2-40B4-BE49-F238E27FC236}">
                <a16:creationId xmlns:a16="http://schemas.microsoft.com/office/drawing/2014/main" id="{CCCD93DD-7AD4-45EF-9023-B914D364BFBA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26826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4" name="Freeform 249">
            <a:extLst>
              <a:ext uri="{FF2B5EF4-FFF2-40B4-BE49-F238E27FC236}">
                <a16:creationId xmlns:a16="http://schemas.microsoft.com/office/drawing/2014/main" id="{6C3B356E-AA79-4D34-80F4-1AC6AE0B8A77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5" name="Freeform 250">
            <a:extLst>
              <a:ext uri="{FF2B5EF4-FFF2-40B4-BE49-F238E27FC236}">
                <a16:creationId xmlns:a16="http://schemas.microsoft.com/office/drawing/2014/main" id="{33AA5BC7-35B3-420F-BB06-1228EA38E138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26826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6" name="Freeform 251">
            <a:extLst>
              <a:ext uri="{FF2B5EF4-FFF2-40B4-BE49-F238E27FC236}">
                <a16:creationId xmlns:a16="http://schemas.microsoft.com/office/drawing/2014/main" id="{F8FB1646-7177-4D9C-B52D-809B3DBED542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31550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7" name="Freeform 252">
            <a:extLst>
              <a:ext uri="{FF2B5EF4-FFF2-40B4-BE49-F238E27FC236}">
                <a16:creationId xmlns:a16="http://schemas.microsoft.com/office/drawing/2014/main" id="{4167A666-DE50-46E3-ABEF-B1A78012EE74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3595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8" name="Freeform 253">
            <a:extLst>
              <a:ext uri="{FF2B5EF4-FFF2-40B4-BE49-F238E27FC236}">
                <a16:creationId xmlns:a16="http://schemas.microsoft.com/office/drawing/2014/main" id="{556BEFC3-49EC-4360-BE27-141C4EA0653D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40578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2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9" name="Freeform 254">
            <a:extLst>
              <a:ext uri="{FF2B5EF4-FFF2-40B4-BE49-F238E27FC236}">
                <a16:creationId xmlns:a16="http://schemas.microsoft.com/office/drawing/2014/main" id="{2077EEA0-942A-4937-B21A-6B7102F986D6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0" name="Freeform 255">
            <a:extLst>
              <a:ext uri="{FF2B5EF4-FFF2-40B4-BE49-F238E27FC236}">
                <a16:creationId xmlns:a16="http://schemas.microsoft.com/office/drawing/2014/main" id="{5F2DF5A6-75BD-49BA-B37F-ABAABA0C6F6C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0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1" name="Freeform 256">
            <a:extLst>
              <a:ext uri="{FF2B5EF4-FFF2-40B4-BE49-F238E27FC236}">
                <a16:creationId xmlns:a16="http://schemas.microsoft.com/office/drawing/2014/main" id="{0CB6CB1A-A550-4AA7-A9FE-F6D854B759DC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2" name="Freeform 257">
            <a:extLst>
              <a:ext uri="{FF2B5EF4-FFF2-40B4-BE49-F238E27FC236}">
                <a16:creationId xmlns:a16="http://schemas.microsoft.com/office/drawing/2014/main" id="{31A166A3-448B-4CD2-824B-505469B0F72F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3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3" name="Freeform 258">
            <a:extLst>
              <a:ext uri="{FF2B5EF4-FFF2-40B4-BE49-F238E27FC236}">
                <a16:creationId xmlns:a16="http://schemas.microsoft.com/office/drawing/2014/main" id="{E222CEDD-BC38-47F5-98DC-B8DDF568A7F9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4" name="Freeform 259">
            <a:extLst>
              <a:ext uri="{FF2B5EF4-FFF2-40B4-BE49-F238E27FC236}">
                <a16:creationId xmlns:a16="http://schemas.microsoft.com/office/drawing/2014/main" id="{10D38A09-F9CA-42B4-A066-442E828988A2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2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5" name="Freeform 260">
            <a:extLst>
              <a:ext uri="{FF2B5EF4-FFF2-40B4-BE49-F238E27FC236}">
                <a16:creationId xmlns:a16="http://schemas.microsoft.com/office/drawing/2014/main" id="{FA336254-C304-48BB-860C-3D660DDB6A58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3595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6" name="Freeform 261">
            <a:extLst>
              <a:ext uri="{FF2B5EF4-FFF2-40B4-BE49-F238E27FC236}">
                <a16:creationId xmlns:a16="http://schemas.microsoft.com/office/drawing/2014/main" id="{341C0521-88E7-4664-8133-C3B8F6CC2B88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40578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2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7" name="Freeform 262">
            <a:extLst>
              <a:ext uri="{FF2B5EF4-FFF2-40B4-BE49-F238E27FC236}">
                <a16:creationId xmlns:a16="http://schemas.microsoft.com/office/drawing/2014/main" id="{03B2ED02-8AAB-4024-9585-607BA69F04CD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45302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2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9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9"/>
                </a:lnTo>
                <a:lnTo>
                  <a:pt x="10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9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8" name="Freeform 263">
            <a:extLst>
              <a:ext uri="{FF2B5EF4-FFF2-40B4-BE49-F238E27FC236}">
                <a16:creationId xmlns:a16="http://schemas.microsoft.com/office/drawing/2014/main" id="{FE93194A-B8DA-47F1-AB20-64362E5D019A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499209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5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9" name="Freeform 264">
            <a:extLst>
              <a:ext uri="{FF2B5EF4-FFF2-40B4-BE49-F238E27FC236}">
                <a16:creationId xmlns:a16="http://schemas.microsoft.com/office/drawing/2014/main" id="{9A7E70D8-0DEE-4547-A6E8-479BE482BAE5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2 h 155"/>
              <a:gd name="T22" fmla="*/ 40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2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9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9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0" name="Freeform 265">
            <a:extLst>
              <a:ext uri="{FF2B5EF4-FFF2-40B4-BE49-F238E27FC236}">
                <a16:creationId xmlns:a16="http://schemas.microsoft.com/office/drawing/2014/main" id="{EC376AE3-09A1-409E-9527-B6ACDF244AA8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49920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1" name="Freeform 266">
            <a:extLst>
              <a:ext uri="{FF2B5EF4-FFF2-40B4-BE49-F238E27FC236}">
                <a16:creationId xmlns:a16="http://schemas.microsoft.com/office/drawing/2014/main" id="{61A52C62-E885-44E5-BDA5-36F6827524BB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9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3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3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9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2" name="Freeform 267">
            <a:extLst>
              <a:ext uri="{FF2B5EF4-FFF2-40B4-BE49-F238E27FC236}">
                <a16:creationId xmlns:a16="http://schemas.microsoft.com/office/drawing/2014/main" id="{DE426ADA-88C5-4BA4-A432-5F7236693029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49920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3" name="Freeform 268">
            <a:extLst>
              <a:ext uri="{FF2B5EF4-FFF2-40B4-BE49-F238E27FC236}">
                <a16:creationId xmlns:a16="http://schemas.microsoft.com/office/drawing/2014/main" id="{C98B20B0-E3BE-4567-8E79-30BF905DBD7A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2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2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9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9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4" name="Freeform 269">
            <a:extLst>
              <a:ext uri="{FF2B5EF4-FFF2-40B4-BE49-F238E27FC236}">
                <a16:creationId xmlns:a16="http://schemas.microsoft.com/office/drawing/2014/main" id="{F0A60152-D30B-4F42-8BD5-98CF0EAC9FD6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49920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5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8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5" name="Freeform 270">
            <a:extLst>
              <a:ext uri="{FF2B5EF4-FFF2-40B4-BE49-F238E27FC236}">
                <a16:creationId xmlns:a16="http://schemas.microsoft.com/office/drawing/2014/main" id="{EB04CA3A-6D34-4CAA-8595-E80C06A53D95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245302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9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0" y="132"/>
                </a:lnTo>
                <a:lnTo>
                  <a:pt x="125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2"/>
                </a:lnTo>
                <a:lnTo>
                  <a:pt x="46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6" y="7"/>
                </a:lnTo>
                <a:lnTo>
                  <a:pt x="53" y="5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9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6" name="Freeform 271">
            <a:extLst>
              <a:ext uri="{FF2B5EF4-FFF2-40B4-BE49-F238E27FC236}">
                <a16:creationId xmlns:a16="http://schemas.microsoft.com/office/drawing/2014/main" id="{3BEA521F-7709-4F95-8A01-1710AF838FE2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6174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7" name="Freeform 272">
            <a:extLst>
              <a:ext uri="{FF2B5EF4-FFF2-40B4-BE49-F238E27FC236}">
                <a16:creationId xmlns:a16="http://schemas.microsoft.com/office/drawing/2014/main" id="{0627E8F4-062E-4875-9033-71FA54A636D7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6646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8" name="Freeform 273">
            <a:extLst>
              <a:ext uri="{FF2B5EF4-FFF2-40B4-BE49-F238E27FC236}">
                <a16:creationId xmlns:a16="http://schemas.microsoft.com/office/drawing/2014/main" id="{C20973FF-5D10-41AE-A480-B954530E9DED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9" name="Freeform 274">
            <a:extLst>
              <a:ext uri="{FF2B5EF4-FFF2-40B4-BE49-F238E27FC236}">
                <a16:creationId xmlns:a16="http://schemas.microsoft.com/office/drawing/2014/main" id="{1A5A133B-C390-4559-927F-6764DE2CB6E2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0" name="Freeform 275">
            <a:extLst>
              <a:ext uri="{FF2B5EF4-FFF2-40B4-BE49-F238E27FC236}">
                <a16:creationId xmlns:a16="http://schemas.microsoft.com/office/drawing/2014/main" id="{D3284ED3-EBA2-4E90-9C2E-6C72C85116F9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1" name="Freeform 276">
            <a:extLst>
              <a:ext uri="{FF2B5EF4-FFF2-40B4-BE49-F238E27FC236}">
                <a16:creationId xmlns:a16="http://schemas.microsoft.com/office/drawing/2014/main" id="{CFA6CF3D-EBEE-4EAE-889F-90695000DBA7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2" name="Freeform 277">
            <a:extLst>
              <a:ext uri="{FF2B5EF4-FFF2-40B4-BE49-F238E27FC236}">
                <a16:creationId xmlns:a16="http://schemas.microsoft.com/office/drawing/2014/main" id="{864C7367-16F2-4C09-BA88-01EBB66131A3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3" name="Freeform 278">
            <a:extLst>
              <a:ext uri="{FF2B5EF4-FFF2-40B4-BE49-F238E27FC236}">
                <a16:creationId xmlns:a16="http://schemas.microsoft.com/office/drawing/2014/main" id="{34A94DF5-9562-403E-8490-72AEF055415E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4" name="Freeform 279">
            <a:extLst>
              <a:ext uri="{FF2B5EF4-FFF2-40B4-BE49-F238E27FC236}">
                <a16:creationId xmlns:a16="http://schemas.microsoft.com/office/drawing/2014/main" id="{DCEBE53B-3D98-47A4-B029-3FD56BFCECB8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5" name="Freeform 280">
            <a:extLst>
              <a:ext uri="{FF2B5EF4-FFF2-40B4-BE49-F238E27FC236}">
                <a16:creationId xmlns:a16="http://schemas.microsoft.com/office/drawing/2014/main" id="{032905ED-D6E9-4420-ACC2-27078AA7D3E1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6" name="Freeform 281">
            <a:extLst>
              <a:ext uri="{FF2B5EF4-FFF2-40B4-BE49-F238E27FC236}">
                <a16:creationId xmlns:a16="http://schemas.microsoft.com/office/drawing/2014/main" id="{A565CD2D-B616-4AF9-B34B-BBC97A35155C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7" name="Freeform 282">
            <a:extLst>
              <a:ext uri="{FF2B5EF4-FFF2-40B4-BE49-F238E27FC236}">
                <a16:creationId xmlns:a16="http://schemas.microsoft.com/office/drawing/2014/main" id="{6CE3C004-7651-4156-AF25-5E377B98FDB9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8" name="Freeform 283">
            <a:extLst>
              <a:ext uri="{FF2B5EF4-FFF2-40B4-BE49-F238E27FC236}">
                <a16:creationId xmlns:a16="http://schemas.microsoft.com/office/drawing/2014/main" id="{A88B92EB-979A-460D-8081-A45E1A34709F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9" name="Freeform 284">
            <a:extLst>
              <a:ext uri="{FF2B5EF4-FFF2-40B4-BE49-F238E27FC236}">
                <a16:creationId xmlns:a16="http://schemas.microsoft.com/office/drawing/2014/main" id="{8EB27A30-7DD6-4990-8525-88D52B5772BF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0" name="Freeform 285">
            <a:extLst>
              <a:ext uri="{FF2B5EF4-FFF2-40B4-BE49-F238E27FC236}">
                <a16:creationId xmlns:a16="http://schemas.microsoft.com/office/drawing/2014/main" id="{1F07BE42-4FFE-4EB1-A9C5-0190235EE5AD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52610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1" name="Freeform 286">
            <a:extLst>
              <a:ext uri="{FF2B5EF4-FFF2-40B4-BE49-F238E27FC236}">
                <a16:creationId xmlns:a16="http://schemas.microsoft.com/office/drawing/2014/main" id="{5CFC7BC7-F828-40F6-BBF1-5D07A04E9F0C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5733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2" name="Freeform 287">
            <a:extLst>
              <a:ext uri="{FF2B5EF4-FFF2-40B4-BE49-F238E27FC236}">
                <a16:creationId xmlns:a16="http://schemas.microsoft.com/office/drawing/2014/main" id="{E75B2293-F8E6-4E1C-B38B-05D36F8D51A4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3" name="Freeform 288">
            <a:extLst>
              <a:ext uri="{FF2B5EF4-FFF2-40B4-BE49-F238E27FC236}">
                <a16:creationId xmlns:a16="http://schemas.microsoft.com/office/drawing/2014/main" id="{B9807398-57B5-41BE-907F-67F60CDAE643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4" name="Freeform 289">
            <a:extLst>
              <a:ext uri="{FF2B5EF4-FFF2-40B4-BE49-F238E27FC236}">
                <a16:creationId xmlns:a16="http://schemas.microsoft.com/office/drawing/2014/main" id="{1DE4A0C5-45F9-41EF-B183-107076F02044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52610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5" name="Freeform 290">
            <a:extLst>
              <a:ext uri="{FF2B5EF4-FFF2-40B4-BE49-F238E27FC236}">
                <a16:creationId xmlns:a16="http://schemas.microsoft.com/office/drawing/2014/main" id="{89EB1ED3-CC54-4070-9207-54BFE64DF073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5733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3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6" name="Freeform 291">
            <a:extLst>
              <a:ext uri="{FF2B5EF4-FFF2-40B4-BE49-F238E27FC236}">
                <a16:creationId xmlns:a16="http://schemas.microsoft.com/office/drawing/2014/main" id="{14E926D4-6393-41EB-A50F-A26C98D6840C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7" name="Freeform 292">
            <a:extLst>
              <a:ext uri="{FF2B5EF4-FFF2-40B4-BE49-F238E27FC236}">
                <a16:creationId xmlns:a16="http://schemas.microsoft.com/office/drawing/2014/main" id="{411ACDF1-91C0-4BF1-91FF-58A573A763C3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0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8" name="Freeform 293">
            <a:extLst>
              <a:ext uri="{FF2B5EF4-FFF2-40B4-BE49-F238E27FC236}">
                <a16:creationId xmlns:a16="http://schemas.microsoft.com/office/drawing/2014/main" id="{DD1310A8-5BAC-406D-AC0C-A4A03D50036C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9" name="Freeform 294">
            <a:extLst>
              <a:ext uri="{FF2B5EF4-FFF2-40B4-BE49-F238E27FC236}">
                <a16:creationId xmlns:a16="http://schemas.microsoft.com/office/drawing/2014/main" id="{A616A036-4D10-4CB8-9CFC-E687E992E4AC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0" name="Freeform 295">
            <a:extLst>
              <a:ext uri="{FF2B5EF4-FFF2-40B4-BE49-F238E27FC236}">
                <a16:creationId xmlns:a16="http://schemas.microsoft.com/office/drawing/2014/main" id="{44EA394C-F81D-4D72-BAB9-CFACF33AA0B1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1" name="Freeform 296">
            <a:extLst>
              <a:ext uri="{FF2B5EF4-FFF2-40B4-BE49-F238E27FC236}">
                <a16:creationId xmlns:a16="http://schemas.microsoft.com/office/drawing/2014/main" id="{8DDE56C3-F144-485C-A27D-0FD0AFE3D583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2" name="Freeform 297">
            <a:extLst>
              <a:ext uri="{FF2B5EF4-FFF2-40B4-BE49-F238E27FC236}">
                <a16:creationId xmlns:a16="http://schemas.microsoft.com/office/drawing/2014/main" id="{E4C8FB79-6045-46ED-9260-FBA5AC4C90A7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19 w 153"/>
              <a:gd name="T11" fmla="*/ 141 h 154"/>
              <a:gd name="T12" fmla="*/ 107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3" name="Freeform 298">
            <a:extLst>
              <a:ext uri="{FF2B5EF4-FFF2-40B4-BE49-F238E27FC236}">
                <a16:creationId xmlns:a16="http://schemas.microsoft.com/office/drawing/2014/main" id="{868FEFD4-9DFC-424C-A819-EBFF2A6FEC6A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9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4" name="Freeform 299">
            <a:extLst>
              <a:ext uri="{FF2B5EF4-FFF2-40B4-BE49-F238E27FC236}">
                <a16:creationId xmlns:a16="http://schemas.microsoft.com/office/drawing/2014/main" id="{89A1E250-F4F5-477F-99F9-26B98E53D295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5" name="Freeform 300">
            <a:extLst>
              <a:ext uri="{FF2B5EF4-FFF2-40B4-BE49-F238E27FC236}">
                <a16:creationId xmlns:a16="http://schemas.microsoft.com/office/drawing/2014/main" id="{59C7DC3B-B8C7-407F-BA27-EAA4EA7FA9CB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6" name="Freeform 301">
            <a:extLst>
              <a:ext uri="{FF2B5EF4-FFF2-40B4-BE49-F238E27FC236}">
                <a16:creationId xmlns:a16="http://schemas.microsoft.com/office/drawing/2014/main" id="{0F668412-3A8B-4552-B583-B0B3C9E10D27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52610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7" name="Freeform 302">
            <a:extLst>
              <a:ext uri="{FF2B5EF4-FFF2-40B4-BE49-F238E27FC236}">
                <a16:creationId xmlns:a16="http://schemas.microsoft.com/office/drawing/2014/main" id="{DA354D44-7523-409C-991B-8B91C5C25E3A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5733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8" name="Freeform 303">
            <a:extLst>
              <a:ext uri="{FF2B5EF4-FFF2-40B4-BE49-F238E27FC236}">
                <a16:creationId xmlns:a16="http://schemas.microsoft.com/office/drawing/2014/main" id="{CCE73089-2F7E-4F01-B6E1-1A3E13250A5D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52610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9" name="Freeform 304">
            <a:extLst>
              <a:ext uri="{FF2B5EF4-FFF2-40B4-BE49-F238E27FC236}">
                <a16:creationId xmlns:a16="http://schemas.microsoft.com/office/drawing/2014/main" id="{4B8D2776-0145-40A9-B836-A07C71149F08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5733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3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0" name="Freeform 305">
            <a:extLst>
              <a:ext uri="{FF2B5EF4-FFF2-40B4-BE49-F238E27FC236}">
                <a16:creationId xmlns:a16="http://schemas.microsoft.com/office/drawing/2014/main" id="{0AB7B72F-6903-4236-8651-17104366EFC9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52610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2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1" name="Freeform 306">
            <a:extLst>
              <a:ext uri="{FF2B5EF4-FFF2-40B4-BE49-F238E27FC236}">
                <a16:creationId xmlns:a16="http://schemas.microsoft.com/office/drawing/2014/main" id="{0BE5ACCC-FD47-47A8-971B-61DCCE89F70F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5733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5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2" name="Freeform 307">
            <a:extLst>
              <a:ext uri="{FF2B5EF4-FFF2-40B4-BE49-F238E27FC236}">
                <a16:creationId xmlns:a16="http://schemas.microsoft.com/office/drawing/2014/main" id="{CAB601A9-6F34-4A56-95BB-9C562D128503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3" name="Freeform 308">
            <a:extLst>
              <a:ext uri="{FF2B5EF4-FFF2-40B4-BE49-F238E27FC236}">
                <a16:creationId xmlns:a16="http://schemas.microsoft.com/office/drawing/2014/main" id="{7C4A3B42-5264-459D-A248-03A9016780BF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4" name="Freeform 309">
            <a:extLst>
              <a:ext uri="{FF2B5EF4-FFF2-40B4-BE49-F238E27FC236}">
                <a16:creationId xmlns:a16="http://schemas.microsoft.com/office/drawing/2014/main" id="{8BF882F5-0B7B-42AD-B3CA-11E9E8A86A93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4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5" name="Freeform 310">
            <a:extLst>
              <a:ext uri="{FF2B5EF4-FFF2-40B4-BE49-F238E27FC236}">
                <a16:creationId xmlns:a16="http://schemas.microsoft.com/office/drawing/2014/main" id="{A62E1DD8-BA89-4A87-97ED-9E27A1483580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4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4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6" name="Freeform 311">
            <a:extLst>
              <a:ext uri="{FF2B5EF4-FFF2-40B4-BE49-F238E27FC236}">
                <a16:creationId xmlns:a16="http://schemas.microsoft.com/office/drawing/2014/main" id="{0C4F2D7F-BC27-4981-82F5-180858DD01A5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52610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7" name="Freeform 312">
            <a:extLst>
              <a:ext uri="{FF2B5EF4-FFF2-40B4-BE49-F238E27FC236}">
                <a16:creationId xmlns:a16="http://schemas.microsoft.com/office/drawing/2014/main" id="{E393BE23-2FCA-4F40-898B-D99487B575B6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5733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8" name="Freeform 313">
            <a:extLst>
              <a:ext uri="{FF2B5EF4-FFF2-40B4-BE49-F238E27FC236}">
                <a16:creationId xmlns:a16="http://schemas.microsoft.com/office/drawing/2014/main" id="{83CBEB9A-1F54-47FF-BED3-05CFC61848E7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9" name="Freeform 314">
            <a:extLst>
              <a:ext uri="{FF2B5EF4-FFF2-40B4-BE49-F238E27FC236}">
                <a16:creationId xmlns:a16="http://schemas.microsoft.com/office/drawing/2014/main" id="{FCB3E1E5-8F5C-4E70-AD0B-6FC0AF4774B3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0" name="Freeform 315">
            <a:extLst>
              <a:ext uri="{FF2B5EF4-FFF2-40B4-BE49-F238E27FC236}">
                <a16:creationId xmlns:a16="http://schemas.microsoft.com/office/drawing/2014/main" id="{AD17CF47-C842-4FCC-B512-ACAABC673B80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1" name="Freeform 316">
            <a:extLst>
              <a:ext uri="{FF2B5EF4-FFF2-40B4-BE49-F238E27FC236}">
                <a16:creationId xmlns:a16="http://schemas.microsoft.com/office/drawing/2014/main" id="{9E6DA87A-CBE2-42E4-8DA0-1E7830822B17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3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2" name="Freeform 317">
            <a:extLst>
              <a:ext uri="{FF2B5EF4-FFF2-40B4-BE49-F238E27FC236}">
                <a16:creationId xmlns:a16="http://schemas.microsoft.com/office/drawing/2014/main" id="{60D61FA5-2957-4BE2-91E4-E24D25FEFFEC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5261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3" name="Freeform 318">
            <a:extLst>
              <a:ext uri="{FF2B5EF4-FFF2-40B4-BE49-F238E27FC236}">
                <a16:creationId xmlns:a16="http://schemas.microsoft.com/office/drawing/2014/main" id="{51EC79E8-E9D2-402C-8E03-83390895546E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5733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4" name="Freeform 319">
            <a:extLst>
              <a:ext uri="{FF2B5EF4-FFF2-40B4-BE49-F238E27FC236}">
                <a16:creationId xmlns:a16="http://schemas.microsoft.com/office/drawing/2014/main" id="{2448597B-F463-4CF8-BBAC-9BC9C20DA76D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52610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5" name="Freeform 320">
            <a:extLst>
              <a:ext uri="{FF2B5EF4-FFF2-40B4-BE49-F238E27FC236}">
                <a16:creationId xmlns:a16="http://schemas.microsoft.com/office/drawing/2014/main" id="{8CF07759-C83C-4A88-9C82-1C97E1917489}"/>
              </a:ext>
            </a:extLst>
          </p:cNvPr>
          <p:cNvSpPr>
            <a:spLocks/>
          </p:cNvSpPr>
          <p:nvPr userDrawn="1"/>
        </p:nvSpPr>
        <p:spPr bwMode="auto">
          <a:xfrm>
            <a:off x="3754622" y="15733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6" name="Freeform 321">
            <a:extLst>
              <a:ext uri="{FF2B5EF4-FFF2-40B4-BE49-F238E27FC236}">
                <a16:creationId xmlns:a16="http://schemas.microsoft.com/office/drawing/2014/main" id="{90B6DD46-8DE2-4BA7-B77D-EE5B742BF1F2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7" name="Freeform 322">
            <a:extLst>
              <a:ext uri="{FF2B5EF4-FFF2-40B4-BE49-F238E27FC236}">
                <a16:creationId xmlns:a16="http://schemas.microsoft.com/office/drawing/2014/main" id="{10A79C96-0A02-491C-A387-F206B2217F13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8" name="Freeform 323">
            <a:extLst>
              <a:ext uri="{FF2B5EF4-FFF2-40B4-BE49-F238E27FC236}">
                <a16:creationId xmlns:a16="http://schemas.microsoft.com/office/drawing/2014/main" id="{280413D4-15A7-4949-810C-D4415A520099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9" name="Freeform 324">
            <a:extLst>
              <a:ext uri="{FF2B5EF4-FFF2-40B4-BE49-F238E27FC236}">
                <a16:creationId xmlns:a16="http://schemas.microsoft.com/office/drawing/2014/main" id="{56248A12-C375-4F49-BADB-777BCCAC4D98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0" name="Freeform 325">
            <a:extLst>
              <a:ext uri="{FF2B5EF4-FFF2-40B4-BE49-F238E27FC236}">
                <a16:creationId xmlns:a16="http://schemas.microsoft.com/office/drawing/2014/main" id="{2C3C1ACD-6F64-4D2E-B59D-49E8E1D2E557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1" name="Freeform 326">
            <a:extLst>
              <a:ext uri="{FF2B5EF4-FFF2-40B4-BE49-F238E27FC236}">
                <a16:creationId xmlns:a16="http://schemas.microsoft.com/office/drawing/2014/main" id="{0F2AD868-520E-4E2A-9AD4-FB43448F6473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2" name="Freeform 327">
            <a:extLst>
              <a:ext uri="{FF2B5EF4-FFF2-40B4-BE49-F238E27FC236}">
                <a16:creationId xmlns:a16="http://schemas.microsoft.com/office/drawing/2014/main" id="{DCA14AD1-A17C-475D-B06C-4D9C37E727B1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3" name="Freeform 328">
            <a:extLst>
              <a:ext uri="{FF2B5EF4-FFF2-40B4-BE49-F238E27FC236}">
                <a16:creationId xmlns:a16="http://schemas.microsoft.com/office/drawing/2014/main" id="{9E96ACF8-A856-47FD-9395-2C9FDF82ED25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4" name="Freeform 329">
            <a:extLst>
              <a:ext uri="{FF2B5EF4-FFF2-40B4-BE49-F238E27FC236}">
                <a16:creationId xmlns:a16="http://schemas.microsoft.com/office/drawing/2014/main" id="{11893819-43CA-4A4D-9BE5-577E7EBAEA12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5" name="Freeform 330">
            <a:extLst>
              <a:ext uri="{FF2B5EF4-FFF2-40B4-BE49-F238E27FC236}">
                <a16:creationId xmlns:a16="http://schemas.microsoft.com/office/drawing/2014/main" id="{1635A08F-8B5C-4AB5-A764-AD3870CF4210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6" name="Freeform 331">
            <a:extLst>
              <a:ext uri="{FF2B5EF4-FFF2-40B4-BE49-F238E27FC236}">
                <a16:creationId xmlns:a16="http://schemas.microsoft.com/office/drawing/2014/main" id="{53F92D6D-13B9-4A1F-A599-D9C43FD3546B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7" name="Freeform 332">
            <a:extLst>
              <a:ext uri="{FF2B5EF4-FFF2-40B4-BE49-F238E27FC236}">
                <a16:creationId xmlns:a16="http://schemas.microsoft.com/office/drawing/2014/main" id="{B29209E3-DE67-42DA-BF5F-B89287060919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3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8" name="Freeform 333">
            <a:extLst>
              <a:ext uri="{FF2B5EF4-FFF2-40B4-BE49-F238E27FC236}">
                <a16:creationId xmlns:a16="http://schemas.microsoft.com/office/drawing/2014/main" id="{8A460AEA-380A-4542-8488-947CB3C395BD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431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9" name="Freeform 334">
            <a:extLst>
              <a:ext uri="{FF2B5EF4-FFF2-40B4-BE49-F238E27FC236}">
                <a16:creationId xmlns:a16="http://schemas.microsoft.com/office/drawing/2014/main" id="{02D66F8C-4B6F-44FC-B3C4-28CE4E169DA3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4778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0" name="Freeform 335">
            <a:extLst>
              <a:ext uri="{FF2B5EF4-FFF2-40B4-BE49-F238E27FC236}">
                <a16:creationId xmlns:a16="http://schemas.microsoft.com/office/drawing/2014/main" id="{7EAD968F-461E-4CFE-85B8-142C937B4B13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7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3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1" name="Freeform 336">
            <a:extLst>
              <a:ext uri="{FF2B5EF4-FFF2-40B4-BE49-F238E27FC236}">
                <a16:creationId xmlns:a16="http://schemas.microsoft.com/office/drawing/2014/main" id="{002067F4-E0BF-41FB-B1CD-21A63E5C0EA5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2" name="Freeform 337">
            <a:extLst>
              <a:ext uri="{FF2B5EF4-FFF2-40B4-BE49-F238E27FC236}">
                <a16:creationId xmlns:a16="http://schemas.microsoft.com/office/drawing/2014/main" id="{D6F62D31-2714-46B5-BCCD-4D49F42A9CCE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431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3" name="Freeform 338">
            <a:extLst>
              <a:ext uri="{FF2B5EF4-FFF2-40B4-BE49-F238E27FC236}">
                <a16:creationId xmlns:a16="http://schemas.microsoft.com/office/drawing/2014/main" id="{E4EA7597-04EC-4DA1-9948-AD5511FDD7D9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4778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3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4" name="Freeform 339">
            <a:extLst>
              <a:ext uri="{FF2B5EF4-FFF2-40B4-BE49-F238E27FC236}">
                <a16:creationId xmlns:a16="http://schemas.microsoft.com/office/drawing/2014/main" id="{3F85FA47-C93B-4F48-A089-9C288D7F3F72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5" name="Freeform 340">
            <a:extLst>
              <a:ext uri="{FF2B5EF4-FFF2-40B4-BE49-F238E27FC236}">
                <a16:creationId xmlns:a16="http://schemas.microsoft.com/office/drawing/2014/main" id="{68AAD44B-CBD5-4732-9ED1-400268916EDA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6" name="Freeform 341">
            <a:extLst>
              <a:ext uri="{FF2B5EF4-FFF2-40B4-BE49-F238E27FC236}">
                <a16:creationId xmlns:a16="http://schemas.microsoft.com/office/drawing/2014/main" id="{B5823663-AEB9-44B5-9962-952DAD8AFA80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7" name="Freeform 342">
            <a:extLst>
              <a:ext uri="{FF2B5EF4-FFF2-40B4-BE49-F238E27FC236}">
                <a16:creationId xmlns:a16="http://schemas.microsoft.com/office/drawing/2014/main" id="{7D014D4F-A22C-44F4-9761-110BC3A9E87C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8" name="Freeform 343">
            <a:extLst>
              <a:ext uri="{FF2B5EF4-FFF2-40B4-BE49-F238E27FC236}">
                <a16:creationId xmlns:a16="http://schemas.microsoft.com/office/drawing/2014/main" id="{CC8C32E6-69CF-4DB6-BCF0-B8E0F92BBAAC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9" name="Freeform 344">
            <a:extLst>
              <a:ext uri="{FF2B5EF4-FFF2-40B4-BE49-F238E27FC236}">
                <a16:creationId xmlns:a16="http://schemas.microsoft.com/office/drawing/2014/main" id="{7993EE92-F26E-4A3A-B08C-AED67F18E8F2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0" name="Freeform 345">
            <a:extLst>
              <a:ext uri="{FF2B5EF4-FFF2-40B4-BE49-F238E27FC236}">
                <a16:creationId xmlns:a16="http://schemas.microsoft.com/office/drawing/2014/main" id="{2933C2B3-3ADB-4804-8727-1DEA79D163AA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1 w 153"/>
              <a:gd name="T9" fmla="*/ 132 h 153"/>
              <a:gd name="T10" fmla="*/ 119 w 153"/>
              <a:gd name="T11" fmla="*/ 141 h 153"/>
              <a:gd name="T12" fmla="*/ 107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1" name="Freeform 346">
            <a:extLst>
              <a:ext uri="{FF2B5EF4-FFF2-40B4-BE49-F238E27FC236}">
                <a16:creationId xmlns:a16="http://schemas.microsoft.com/office/drawing/2014/main" id="{8DD51635-AE6E-43E9-AC61-2D438BC6BB5F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9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2" name="Freeform 347">
            <a:extLst>
              <a:ext uri="{FF2B5EF4-FFF2-40B4-BE49-F238E27FC236}">
                <a16:creationId xmlns:a16="http://schemas.microsoft.com/office/drawing/2014/main" id="{41131023-C470-4C6E-8AD2-B4FC2221A578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3" name="Freeform 348">
            <a:extLst>
              <a:ext uri="{FF2B5EF4-FFF2-40B4-BE49-F238E27FC236}">
                <a16:creationId xmlns:a16="http://schemas.microsoft.com/office/drawing/2014/main" id="{3EF7A0A0-7B6C-4DD6-9A3E-F11DEF11CE7C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4" name="Freeform 349">
            <a:extLst>
              <a:ext uri="{FF2B5EF4-FFF2-40B4-BE49-F238E27FC236}">
                <a16:creationId xmlns:a16="http://schemas.microsoft.com/office/drawing/2014/main" id="{FA8D117F-5D1D-43B5-BBD8-00F19EEF510D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431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5" name="Freeform 350">
            <a:extLst>
              <a:ext uri="{FF2B5EF4-FFF2-40B4-BE49-F238E27FC236}">
                <a16:creationId xmlns:a16="http://schemas.microsoft.com/office/drawing/2014/main" id="{04534252-2010-4B54-8F3D-F3684C71C4F8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4778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6" name="Freeform 351">
            <a:extLst>
              <a:ext uri="{FF2B5EF4-FFF2-40B4-BE49-F238E27FC236}">
                <a16:creationId xmlns:a16="http://schemas.microsoft.com/office/drawing/2014/main" id="{85F02468-F250-4D79-B01D-E93F345CF9C7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431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7" name="Freeform 352">
            <a:extLst>
              <a:ext uri="{FF2B5EF4-FFF2-40B4-BE49-F238E27FC236}">
                <a16:creationId xmlns:a16="http://schemas.microsoft.com/office/drawing/2014/main" id="{7CD406C6-B04C-4E66-A918-5CC2B1D3863D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4778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8" name="Freeform 353">
            <a:extLst>
              <a:ext uri="{FF2B5EF4-FFF2-40B4-BE49-F238E27FC236}">
                <a16:creationId xmlns:a16="http://schemas.microsoft.com/office/drawing/2014/main" id="{A4933B90-8CD8-4256-9F0E-018A5A8F19BF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431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7 h 153"/>
              <a:gd name="T6" fmla="*/ 142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9" name="Freeform 354">
            <a:extLst>
              <a:ext uri="{FF2B5EF4-FFF2-40B4-BE49-F238E27FC236}">
                <a16:creationId xmlns:a16="http://schemas.microsoft.com/office/drawing/2014/main" id="{DD07634C-8441-4F50-9188-83C6AD9836AD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4778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0" name="Freeform 355">
            <a:extLst>
              <a:ext uri="{FF2B5EF4-FFF2-40B4-BE49-F238E27FC236}">
                <a16:creationId xmlns:a16="http://schemas.microsoft.com/office/drawing/2014/main" id="{88F7CCEC-B6B0-4DB8-A75E-67ADB77F58A3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431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1" name="Freeform 356">
            <a:extLst>
              <a:ext uri="{FF2B5EF4-FFF2-40B4-BE49-F238E27FC236}">
                <a16:creationId xmlns:a16="http://schemas.microsoft.com/office/drawing/2014/main" id="{44A013EB-091F-4B97-8004-9A523BB95D53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47781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2" name="Freeform 357">
            <a:extLst>
              <a:ext uri="{FF2B5EF4-FFF2-40B4-BE49-F238E27FC236}">
                <a16:creationId xmlns:a16="http://schemas.microsoft.com/office/drawing/2014/main" id="{E182291A-24C8-49F8-A840-04A071994E10}"/>
              </a:ext>
            </a:extLst>
          </p:cNvPr>
          <p:cNvSpPr>
            <a:spLocks/>
          </p:cNvSpPr>
          <p:nvPr userDrawn="1"/>
        </p:nvSpPr>
        <p:spPr bwMode="auto">
          <a:xfrm>
            <a:off x="2692288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5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3" name="Freeform 358">
            <a:extLst>
              <a:ext uri="{FF2B5EF4-FFF2-40B4-BE49-F238E27FC236}">
                <a16:creationId xmlns:a16="http://schemas.microsoft.com/office/drawing/2014/main" id="{4DF250B7-29CE-4432-B4C5-32D8FFE8E6A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431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4" name="Freeform 359">
            <a:extLst>
              <a:ext uri="{FF2B5EF4-FFF2-40B4-BE49-F238E27FC236}">
                <a16:creationId xmlns:a16="http://schemas.microsoft.com/office/drawing/2014/main" id="{422D5CE7-FE48-4D68-A049-8AF4BE1ABC35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4778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5" name="Freeform 360">
            <a:extLst>
              <a:ext uri="{FF2B5EF4-FFF2-40B4-BE49-F238E27FC236}">
                <a16:creationId xmlns:a16="http://schemas.microsoft.com/office/drawing/2014/main" id="{CFAFAE3C-7123-420F-BABD-65F64A3A3A30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6" name="Freeform 361">
            <a:extLst>
              <a:ext uri="{FF2B5EF4-FFF2-40B4-BE49-F238E27FC236}">
                <a16:creationId xmlns:a16="http://schemas.microsoft.com/office/drawing/2014/main" id="{7AAA6623-1134-4E11-9B87-EF82AE80CC5E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7" name="Freeform 362">
            <a:extLst>
              <a:ext uri="{FF2B5EF4-FFF2-40B4-BE49-F238E27FC236}">
                <a16:creationId xmlns:a16="http://schemas.microsoft.com/office/drawing/2014/main" id="{CAA6DEDF-9A32-431D-9BDC-C34DE42E7648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8" name="Freeform 363">
            <a:extLst>
              <a:ext uri="{FF2B5EF4-FFF2-40B4-BE49-F238E27FC236}">
                <a16:creationId xmlns:a16="http://schemas.microsoft.com/office/drawing/2014/main" id="{3069EEAB-F923-4EF9-A440-2508F0DE5DEF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9" name="Freeform 364">
            <a:extLst>
              <a:ext uri="{FF2B5EF4-FFF2-40B4-BE49-F238E27FC236}">
                <a16:creationId xmlns:a16="http://schemas.microsoft.com/office/drawing/2014/main" id="{C589B6FE-D7F0-4E68-8D6F-A073FEB9B1A4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431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0" name="Freeform 365">
            <a:extLst>
              <a:ext uri="{FF2B5EF4-FFF2-40B4-BE49-F238E27FC236}">
                <a16:creationId xmlns:a16="http://schemas.microsoft.com/office/drawing/2014/main" id="{82CB6068-3F98-4C5F-A863-FBA45AF89505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1" name="Freeform 366">
            <a:extLst>
              <a:ext uri="{FF2B5EF4-FFF2-40B4-BE49-F238E27FC236}">
                <a16:creationId xmlns:a16="http://schemas.microsoft.com/office/drawing/2014/main" id="{1A1676BD-E485-4F04-8652-6E516CE3BCBA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2" name="Freeform 367">
            <a:extLst>
              <a:ext uri="{FF2B5EF4-FFF2-40B4-BE49-F238E27FC236}">
                <a16:creationId xmlns:a16="http://schemas.microsoft.com/office/drawing/2014/main" id="{1D6D6DC5-9322-4601-A862-A93EEE979BEF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3" name="Freeform 368">
            <a:extLst>
              <a:ext uri="{FF2B5EF4-FFF2-40B4-BE49-F238E27FC236}">
                <a16:creationId xmlns:a16="http://schemas.microsoft.com/office/drawing/2014/main" id="{BA865147-EA07-418D-A755-66E1BEAF5374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4" name="Freeform 369">
            <a:extLst>
              <a:ext uri="{FF2B5EF4-FFF2-40B4-BE49-F238E27FC236}">
                <a16:creationId xmlns:a16="http://schemas.microsoft.com/office/drawing/2014/main" id="{ED674FA6-0E35-4003-A9D7-C9DF6CF69A01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5" name="Freeform 370">
            <a:extLst>
              <a:ext uri="{FF2B5EF4-FFF2-40B4-BE49-F238E27FC236}">
                <a16:creationId xmlns:a16="http://schemas.microsoft.com/office/drawing/2014/main" id="{70D1E26B-0A8A-4E5C-998E-397E00DC1847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5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6" name="Freeform 371">
            <a:extLst>
              <a:ext uri="{FF2B5EF4-FFF2-40B4-BE49-F238E27FC236}">
                <a16:creationId xmlns:a16="http://schemas.microsoft.com/office/drawing/2014/main" id="{0A4C2DA7-5EE1-48B0-929A-BF523084D605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38753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7" name="Freeform 372">
            <a:extLst>
              <a:ext uri="{FF2B5EF4-FFF2-40B4-BE49-F238E27FC236}">
                <a16:creationId xmlns:a16="http://schemas.microsoft.com/office/drawing/2014/main" id="{99EC4B99-4F22-447D-AA1F-D14CE419FC63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8" name="Freeform 373">
            <a:extLst>
              <a:ext uri="{FF2B5EF4-FFF2-40B4-BE49-F238E27FC236}">
                <a16:creationId xmlns:a16="http://schemas.microsoft.com/office/drawing/2014/main" id="{38F14A40-AF1C-4B7F-913B-82349EC27DE2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38753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9" name="Freeform 374">
            <a:extLst>
              <a:ext uri="{FF2B5EF4-FFF2-40B4-BE49-F238E27FC236}">
                <a16:creationId xmlns:a16="http://schemas.microsoft.com/office/drawing/2014/main" id="{6AD8AA8F-FB48-4A4E-96C9-50C7B283A853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0" name="Freeform 375">
            <a:extLst>
              <a:ext uri="{FF2B5EF4-FFF2-40B4-BE49-F238E27FC236}">
                <a16:creationId xmlns:a16="http://schemas.microsoft.com/office/drawing/2014/main" id="{231DDB77-AA46-4892-9A21-A84C66ACB75B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1" name="Freeform 376">
            <a:extLst>
              <a:ext uri="{FF2B5EF4-FFF2-40B4-BE49-F238E27FC236}">
                <a16:creationId xmlns:a16="http://schemas.microsoft.com/office/drawing/2014/main" id="{1D79A3A0-BB53-41FC-A776-ADB00FF2412E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2" name="Freeform 377">
            <a:extLst>
              <a:ext uri="{FF2B5EF4-FFF2-40B4-BE49-F238E27FC236}">
                <a16:creationId xmlns:a16="http://schemas.microsoft.com/office/drawing/2014/main" id="{66F52D20-E556-471C-8C3F-A6D21EF4922C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3" name="Freeform 378">
            <a:extLst>
              <a:ext uri="{FF2B5EF4-FFF2-40B4-BE49-F238E27FC236}">
                <a16:creationId xmlns:a16="http://schemas.microsoft.com/office/drawing/2014/main" id="{E3AE49E5-5BA9-48AB-B059-DED152A8AFA8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4" name="Freeform 379">
            <a:extLst>
              <a:ext uri="{FF2B5EF4-FFF2-40B4-BE49-F238E27FC236}">
                <a16:creationId xmlns:a16="http://schemas.microsoft.com/office/drawing/2014/main" id="{E67216D5-100E-443E-936C-B58069B6C626}"/>
              </a:ext>
            </a:extLst>
          </p:cNvPr>
          <p:cNvSpPr>
            <a:spLocks/>
          </p:cNvSpPr>
          <p:nvPr userDrawn="1"/>
        </p:nvSpPr>
        <p:spPr bwMode="auto">
          <a:xfrm>
            <a:off x="2781515" y="138753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5" name="Freeform 380">
            <a:extLst>
              <a:ext uri="{FF2B5EF4-FFF2-40B4-BE49-F238E27FC236}">
                <a16:creationId xmlns:a16="http://schemas.microsoft.com/office/drawing/2014/main" id="{80F32D2C-A485-4C20-88A5-4D4E28FF4ECA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38753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6" name="Freeform 381">
            <a:extLst>
              <a:ext uri="{FF2B5EF4-FFF2-40B4-BE49-F238E27FC236}">
                <a16:creationId xmlns:a16="http://schemas.microsoft.com/office/drawing/2014/main" id="{226E823D-FEC2-4350-9406-38B5A64C7F3B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38753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7" name="Freeform 382">
            <a:extLst>
              <a:ext uri="{FF2B5EF4-FFF2-40B4-BE49-F238E27FC236}">
                <a16:creationId xmlns:a16="http://schemas.microsoft.com/office/drawing/2014/main" id="{665BF808-3038-4957-BDBF-C6449460D7E5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38753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8" name="Freeform 383">
            <a:extLst>
              <a:ext uri="{FF2B5EF4-FFF2-40B4-BE49-F238E27FC236}">
                <a16:creationId xmlns:a16="http://schemas.microsoft.com/office/drawing/2014/main" id="{F84F4FDD-3042-4C4D-A3F2-E1A2ABD4FFFB}"/>
              </a:ext>
            </a:extLst>
          </p:cNvPr>
          <p:cNvSpPr>
            <a:spLocks/>
          </p:cNvSpPr>
          <p:nvPr userDrawn="1"/>
        </p:nvSpPr>
        <p:spPr bwMode="auto">
          <a:xfrm>
            <a:off x="2551623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9" name="Freeform 384">
            <a:extLst>
              <a:ext uri="{FF2B5EF4-FFF2-40B4-BE49-F238E27FC236}">
                <a16:creationId xmlns:a16="http://schemas.microsoft.com/office/drawing/2014/main" id="{66D85FC0-9669-4E79-B2EA-C40AA06B7330}"/>
              </a:ext>
            </a:extLst>
          </p:cNvPr>
          <p:cNvSpPr>
            <a:spLocks/>
          </p:cNvSpPr>
          <p:nvPr userDrawn="1"/>
        </p:nvSpPr>
        <p:spPr bwMode="auto">
          <a:xfrm>
            <a:off x="2596762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0" name="Freeform 385">
            <a:extLst>
              <a:ext uri="{FF2B5EF4-FFF2-40B4-BE49-F238E27FC236}">
                <a16:creationId xmlns:a16="http://schemas.microsoft.com/office/drawing/2014/main" id="{334A51EA-575F-4ACC-96A5-66345B22B1B7}"/>
              </a:ext>
            </a:extLst>
          </p:cNvPr>
          <p:cNvSpPr>
            <a:spLocks/>
          </p:cNvSpPr>
          <p:nvPr userDrawn="1"/>
        </p:nvSpPr>
        <p:spPr bwMode="auto">
          <a:xfrm>
            <a:off x="2642950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1" name="Freeform 386">
            <a:extLst>
              <a:ext uri="{FF2B5EF4-FFF2-40B4-BE49-F238E27FC236}">
                <a16:creationId xmlns:a16="http://schemas.microsoft.com/office/drawing/2014/main" id="{25AFC35D-A60E-442E-8168-DA2CAA540436}"/>
              </a:ext>
            </a:extLst>
          </p:cNvPr>
          <p:cNvSpPr>
            <a:spLocks/>
          </p:cNvSpPr>
          <p:nvPr userDrawn="1"/>
        </p:nvSpPr>
        <p:spPr bwMode="auto">
          <a:xfrm>
            <a:off x="2410958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2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2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1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0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2" name="Freeform 387">
            <a:extLst>
              <a:ext uri="{FF2B5EF4-FFF2-40B4-BE49-F238E27FC236}">
                <a16:creationId xmlns:a16="http://schemas.microsoft.com/office/drawing/2014/main" id="{695C36F3-F78E-4C43-93E9-43B8DE326394}"/>
              </a:ext>
            </a:extLst>
          </p:cNvPr>
          <p:cNvSpPr>
            <a:spLocks/>
          </p:cNvSpPr>
          <p:nvPr userDrawn="1"/>
        </p:nvSpPr>
        <p:spPr bwMode="auto">
          <a:xfrm>
            <a:off x="2457146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3" name="Freeform 388">
            <a:extLst>
              <a:ext uri="{FF2B5EF4-FFF2-40B4-BE49-F238E27FC236}">
                <a16:creationId xmlns:a16="http://schemas.microsoft.com/office/drawing/2014/main" id="{7AD05261-F627-425D-A2C9-66AA2FEEB024}"/>
              </a:ext>
            </a:extLst>
          </p:cNvPr>
          <p:cNvSpPr>
            <a:spLocks/>
          </p:cNvSpPr>
          <p:nvPr userDrawn="1"/>
        </p:nvSpPr>
        <p:spPr bwMode="auto">
          <a:xfrm>
            <a:off x="2503335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4" name="Freeform 389">
            <a:extLst>
              <a:ext uri="{FF2B5EF4-FFF2-40B4-BE49-F238E27FC236}">
                <a16:creationId xmlns:a16="http://schemas.microsoft.com/office/drawing/2014/main" id="{75078B77-7976-4521-AA37-73FA5B379902}"/>
              </a:ext>
            </a:extLst>
          </p:cNvPr>
          <p:cNvSpPr>
            <a:spLocks/>
          </p:cNvSpPr>
          <p:nvPr userDrawn="1"/>
        </p:nvSpPr>
        <p:spPr bwMode="auto">
          <a:xfrm>
            <a:off x="2272392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5" name="Freeform 390">
            <a:extLst>
              <a:ext uri="{FF2B5EF4-FFF2-40B4-BE49-F238E27FC236}">
                <a16:creationId xmlns:a16="http://schemas.microsoft.com/office/drawing/2014/main" id="{7B8F2E28-5018-4A12-BACF-EB3D0FCF3CC5}"/>
              </a:ext>
            </a:extLst>
          </p:cNvPr>
          <p:cNvSpPr>
            <a:spLocks/>
          </p:cNvSpPr>
          <p:nvPr userDrawn="1"/>
        </p:nvSpPr>
        <p:spPr bwMode="auto">
          <a:xfrm>
            <a:off x="2319631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6" name="Freeform 391">
            <a:extLst>
              <a:ext uri="{FF2B5EF4-FFF2-40B4-BE49-F238E27FC236}">
                <a16:creationId xmlns:a16="http://schemas.microsoft.com/office/drawing/2014/main" id="{956D5AF0-2744-4346-AA6F-478230D813A5}"/>
              </a:ext>
            </a:extLst>
          </p:cNvPr>
          <p:cNvSpPr>
            <a:spLocks/>
          </p:cNvSpPr>
          <p:nvPr userDrawn="1"/>
        </p:nvSpPr>
        <p:spPr bwMode="auto">
          <a:xfrm>
            <a:off x="2364769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7" name="Freeform 392">
            <a:extLst>
              <a:ext uri="{FF2B5EF4-FFF2-40B4-BE49-F238E27FC236}">
                <a16:creationId xmlns:a16="http://schemas.microsoft.com/office/drawing/2014/main" id="{D2F6FC53-6E10-49F5-AB7D-624800779636}"/>
              </a:ext>
            </a:extLst>
          </p:cNvPr>
          <p:cNvSpPr>
            <a:spLocks/>
          </p:cNvSpPr>
          <p:nvPr userDrawn="1"/>
        </p:nvSpPr>
        <p:spPr bwMode="auto">
          <a:xfrm>
            <a:off x="2462395" y="50995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5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8" name="Freeform 393">
            <a:extLst>
              <a:ext uri="{FF2B5EF4-FFF2-40B4-BE49-F238E27FC236}">
                <a16:creationId xmlns:a16="http://schemas.microsoft.com/office/drawing/2014/main" id="{FBDF5704-6035-4436-80B0-BB672A615F7E}"/>
              </a:ext>
            </a:extLst>
          </p:cNvPr>
          <p:cNvSpPr>
            <a:spLocks/>
          </p:cNvSpPr>
          <p:nvPr userDrawn="1"/>
        </p:nvSpPr>
        <p:spPr bwMode="auto">
          <a:xfrm>
            <a:off x="2508584" y="50995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9" name="Freeform 394">
            <a:extLst>
              <a:ext uri="{FF2B5EF4-FFF2-40B4-BE49-F238E27FC236}">
                <a16:creationId xmlns:a16="http://schemas.microsoft.com/office/drawing/2014/main" id="{7F874C0A-1F55-4F0C-9832-7779E9E31962}"/>
              </a:ext>
            </a:extLst>
          </p:cNvPr>
          <p:cNvSpPr>
            <a:spLocks/>
          </p:cNvSpPr>
          <p:nvPr userDrawn="1"/>
        </p:nvSpPr>
        <p:spPr bwMode="auto">
          <a:xfrm>
            <a:off x="2322780" y="50995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0" name="Freeform 395">
            <a:extLst>
              <a:ext uri="{FF2B5EF4-FFF2-40B4-BE49-F238E27FC236}">
                <a16:creationId xmlns:a16="http://schemas.microsoft.com/office/drawing/2014/main" id="{83CFC004-A2D5-409B-A65F-57006FA21C84}"/>
              </a:ext>
            </a:extLst>
          </p:cNvPr>
          <p:cNvSpPr>
            <a:spLocks/>
          </p:cNvSpPr>
          <p:nvPr userDrawn="1"/>
        </p:nvSpPr>
        <p:spPr bwMode="auto">
          <a:xfrm>
            <a:off x="2368968" y="50995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1" name="Freeform 396">
            <a:extLst>
              <a:ext uri="{FF2B5EF4-FFF2-40B4-BE49-F238E27FC236}">
                <a16:creationId xmlns:a16="http://schemas.microsoft.com/office/drawing/2014/main" id="{D0CE2B8E-71C9-41E3-9F65-9D4E161010DF}"/>
              </a:ext>
            </a:extLst>
          </p:cNvPr>
          <p:cNvSpPr>
            <a:spLocks/>
          </p:cNvSpPr>
          <p:nvPr userDrawn="1"/>
        </p:nvSpPr>
        <p:spPr bwMode="auto">
          <a:xfrm>
            <a:off x="2415157" y="50995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2" name="Freeform 397">
            <a:extLst>
              <a:ext uri="{FF2B5EF4-FFF2-40B4-BE49-F238E27FC236}">
                <a16:creationId xmlns:a16="http://schemas.microsoft.com/office/drawing/2014/main" id="{EA3E64B7-DFE3-4F2E-B913-1C2D692937D5}"/>
              </a:ext>
            </a:extLst>
          </p:cNvPr>
          <p:cNvSpPr>
            <a:spLocks/>
          </p:cNvSpPr>
          <p:nvPr userDrawn="1"/>
        </p:nvSpPr>
        <p:spPr bwMode="auto">
          <a:xfrm>
            <a:off x="2230403" y="50995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3" name="Freeform 398">
            <a:extLst>
              <a:ext uri="{FF2B5EF4-FFF2-40B4-BE49-F238E27FC236}">
                <a16:creationId xmlns:a16="http://schemas.microsoft.com/office/drawing/2014/main" id="{A7633A1B-1F1E-4065-9511-1D87BB6E7A8C}"/>
              </a:ext>
            </a:extLst>
          </p:cNvPr>
          <p:cNvSpPr>
            <a:spLocks/>
          </p:cNvSpPr>
          <p:nvPr userDrawn="1"/>
        </p:nvSpPr>
        <p:spPr bwMode="auto">
          <a:xfrm>
            <a:off x="2276591" y="50995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4" name="Freeform 399">
            <a:extLst>
              <a:ext uri="{FF2B5EF4-FFF2-40B4-BE49-F238E27FC236}">
                <a16:creationId xmlns:a16="http://schemas.microsoft.com/office/drawing/2014/main" id="{19A6C5F3-C202-4127-9955-7537B7621C9A}"/>
              </a:ext>
            </a:extLst>
          </p:cNvPr>
          <p:cNvSpPr>
            <a:spLocks/>
          </p:cNvSpPr>
          <p:nvPr userDrawn="1"/>
        </p:nvSpPr>
        <p:spPr bwMode="auto">
          <a:xfrm>
            <a:off x="2322780" y="558244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5" name="Freeform 400">
            <a:extLst>
              <a:ext uri="{FF2B5EF4-FFF2-40B4-BE49-F238E27FC236}">
                <a16:creationId xmlns:a16="http://schemas.microsoft.com/office/drawing/2014/main" id="{8D558AB5-61D2-4804-A40B-5EB15B785806}"/>
              </a:ext>
            </a:extLst>
          </p:cNvPr>
          <p:cNvSpPr>
            <a:spLocks/>
          </p:cNvSpPr>
          <p:nvPr userDrawn="1"/>
        </p:nvSpPr>
        <p:spPr bwMode="auto">
          <a:xfrm>
            <a:off x="2368968" y="55824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6" name="Freeform 401">
            <a:extLst>
              <a:ext uri="{FF2B5EF4-FFF2-40B4-BE49-F238E27FC236}">
                <a16:creationId xmlns:a16="http://schemas.microsoft.com/office/drawing/2014/main" id="{EDBF2E16-67F0-4575-BCAD-76ACADBEE0D6}"/>
              </a:ext>
            </a:extLst>
          </p:cNvPr>
          <p:cNvSpPr>
            <a:spLocks/>
          </p:cNvSpPr>
          <p:nvPr userDrawn="1"/>
        </p:nvSpPr>
        <p:spPr bwMode="auto">
          <a:xfrm>
            <a:off x="2230403" y="558244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7" name="Freeform 402">
            <a:extLst>
              <a:ext uri="{FF2B5EF4-FFF2-40B4-BE49-F238E27FC236}">
                <a16:creationId xmlns:a16="http://schemas.microsoft.com/office/drawing/2014/main" id="{8C51F0CD-DBA5-4103-934D-8B623E17370A}"/>
              </a:ext>
            </a:extLst>
          </p:cNvPr>
          <p:cNvSpPr>
            <a:spLocks/>
          </p:cNvSpPr>
          <p:nvPr userDrawn="1"/>
        </p:nvSpPr>
        <p:spPr bwMode="auto">
          <a:xfrm>
            <a:off x="2276591" y="55824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8" name="Freeform 403">
            <a:extLst>
              <a:ext uri="{FF2B5EF4-FFF2-40B4-BE49-F238E27FC236}">
                <a16:creationId xmlns:a16="http://schemas.microsoft.com/office/drawing/2014/main" id="{7E9BFC50-ED99-4CF6-BDAE-CDE49A201BE5}"/>
              </a:ext>
            </a:extLst>
          </p:cNvPr>
          <p:cNvSpPr>
            <a:spLocks/>
          </p:cNvSpPr>
          <p:nvPr userDrawn="1"/>
        </p:nvSpPr>
        <p:spPr bwMode="auto">
          <a:xfrm>
            <a:off x="2322780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9" name="Freeform 404">
            <a:extLst>
              <a:ext uri="{FF2B5EF4-FFF2-40B4-BE49-F238E27FC236}">
                <a16:creationId xmlns:a16="http://schemas.microsoft.com/office/drawing/2014/main" id="{8066D634-30F9-4B67-9979-2C5A63B6E7DF}"/>
              </a:ext>
            </a:extLst>
          </p:cNvPr>
          <p:cNvSpPr>
            <a:spLocks/>
          </p:cNvSpPr>
          <p:nvPr userDrawn="1"/>
        </p:nvSpPr>
        <p:spPr bwMode="auto">
          <a:xfrm>
            <a:off x="2230403" y="60233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0" name="Freeform 405">
            <a:extLst>
              <a:ext uri="{FF2B5EF4-FFF2-40B4-BE49-F238E27FC236}">
                <a16:creationId xmlns:a16="http://schemas.microsoft.com/office/drawing/2014/main" id="{87769453-1F47-4571-8C83-EA4F35009F47}"/>
              </a:ext>
            </a:extLst>
          </p:cNvPr>
          <p:cNvSpPr>
            <a:spLocks/>
          </p:cNvSpPr>
          <p:nvPr userDrawn="1"/>
        </p:nvSpPr>
        <p:spPr bwMode="auto">
          <a:xfrm>
            <a:off x="2276591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1" name="Freeform 407">
            <a:extLst>
              <a:ext uri="{FF2B5EF4-FFF2-40B4-BE49-F238E27FC236}">
                <a16:creationId xmlns:a16="http://schemas.microsoft.com/office/drawing/2014/main" id="{6391D15A-C071-49B7-BCBD-2DCB719147FF}"/>
              </a:ext>
            </a:extLst>
          </p:cNvPr>
          <p:cNvSpPr>
            <a:spLocks/>
          </p:cNvSpPr>
          <p:nvPr userDrawn="1"/>
        </p:nvSpPr>
        <p:spPr bwMode="auto">
          <a:xfrm>
            <a:off x="2276591" y="6474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2" name="Freeform 408">
            <a:extLst>
              <a:ext uri="{FF2B5EF4-FFF2-40B4-BE49-F238E27FC236}">
                <a16:creationId xmlns:a16="http://schemas.microsoft.com/office/drawing/2014/main" id="{FC4095EA-8383-4291-8149-D1D04E7845E2}"/>
              </a:ext>
            </a:extLst>
          </p:cNvPr>
          <p:cNvSpPr>
            <a:spLocks/>
          </p:cNvSpPr>
          <p:nvPr userDrawn="1"/>
        </p:nvSpPr>
        <p:spPr bwMode="auto">
          <a:xfrm>
            <a:off x="2551623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8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3" name="Freeform 409">
            <a:extLst>
              <a:ext uri="{FF2B5EF4-FFF2-40B4-BE49-F238E27FC236}">
                <a16:creationId xmlns:a16="http://schemas.microsoft.com/office/drawing/2014/main" id="{ECA5E4D6-0AFB-4926-BAE8-A4845C6E03F3}"/>
              </a:ext>
            </a:extLst>
          </p:cNvPr>
          <p:cNvSpPr>
            <a:spLocks/>
          </p:cNvSpPr>
          <p:nvPr userDrawn="1"/>
        </p:nvSpPr>
        <p:spPr bwMode="auto">
          <a:xfrm>
            <a:off x="2551623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4" name="Freeform 410">
            <a:extLst>
              <a:ext uri="{FF2B5EF4-FFF2-40B4-BE49-F238E27FC236}">
                <a16:creationId xmlns:a16="http://schemas.microsoft.com/office/drawing/2014/main" id="{12BD449A-556D-4AFB-AFAE-173776D4B488}"/>
              </a:ext>
            </a:extLst>
          </p:cNvPr>
          <p:cNvSpPr>
            <a:spLocks/>
          </p:cNvSpPr>
          <p:nvPr userDrawn="1"/>
        </p:nvSpPr>
        <p:spPr bwMode="auto">
          <a:xfrm>
            <a:off x="2596762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5" name="Freeform 411">
            <a:extLst>
              <a:ext uri="{FF2B5EF4-FFF2-40B4-BE49-F238E27FC236}">
                <a16:creationId xmlns:a16="http://schemas.microsoft.com/office/drawing/2014/main" id="{A5FF7585-731A-4F38-8552-7FCA3F514692}"/>
              </a:ext>
            </a:extLst>
          </p:cNvPr>
          <p:cNvSpPr>
            <a:spLocks/>
          </p:cNvSpPr>
          <p:nvPr userDrawn="1"/>
        </p:nvSpPr>
        <p:spPr bwMode="auto">
          <a:xfrm>
            <a:off x="2596762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6" name="Freeform 412">
            <a:extLst>
              <a:ext uri="{FF2B5EF4-FFF2-40B4-BE49-F238E27FC236}">
                <a16:creationId xmlns:a16="http://schemas.microsoft.com/office/drawing/2014/main" id="{06B176F3-BE61-4E5D-B795-35A2F972BAEF}"/>
              </a:ext>
            </a:extLst>
          </p:cNvPr>
          <p:cNvSpPr>
            <a:spLocks/>
          </p:cNvSpPr>
          <p:nvPr userDrawn="1"/>
        </p:nvSpPr>
        <p:spPr bwMode="auto">
          <a:xfrm>
            <a:off x="2642950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7" name="Freeform 413">
            <a:extLst>
              <a:ext uri="{FF2B5EF4-FFF2-40B4-BE49-F238E27FC236}">
                <a16:creationId xmlns:a16="http://schemas.microsoft.com/office/drawing/2014/main" id="{E4C53DC6-A0A8-405C-94B0-F318DAAEB21C}"/>
              </a:ext>
            </a:extLst>
          </p:cNvPr>
          <p:cNvSpPr>
            <a:spLocks/>
          </p:cNvSpPr>
          <p:nvPr userDrawn="1"/>
        </p:nvSpPr>
        <p:spPr bwMode="auto">
          <a:xfrm>
            <a:off x="2642950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9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8" name="Freeform 414">
            <a:extLst>
              <a:ext uri="{FF2B5EF4-FFF2-40B4-BE49-F238E27FC236}">
                <a16:creationId xmlns:a16="http://schemas.microsoft.com/office/drawing/2014/main" id="{0636AC2F-2150-4450-8316-4A4DF416F9D4}"/>
              </a:ext>
            </a:extLst>
          </p:cNvPr>
          <p:cNvSpPr>
            <a:spLocks/>
          </p:cNvSpPr>
          <p:nvPr userDrawn="1"/>
        </p:nvSpPr>
        <p:spPr bwMode="auto">
          <a:xfrm>
            <a:off x="2690188" y="371390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7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9" name="Freeform 415">
            <a:extLst>
              <a:ext uri="{FF2B5EF4-FFF2-40B4-BE49-F238E27FC236}">
                <a16:creationId xmlns:a16="http://schemas.microsoft.com/office/drawing/2014/main" id="{B2620128-753D-45E4-A389-50640A848546}"/>
              </a:ext>
            </a:extLst>
          </p:cNvPr>
          <p:cNvSpPr>
            <a:spLocks/>
          </p:cNvSpPr>
          <p:nvPr userDrawn="1"/>
        </p:nvSpPr>
        <p:spPr bwMode="auto">
          <a:xfrm>
            <a:off x="2690188" y="4175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19 h 153"/>
              <a:gd name="T8" fmla="*/ 132 w 153"/>
              <a:gd name="T9" fmla="*/ 130 h 153"/>
              <a:gd name="T10" fmla="*/ 120 w 153"/>
              <a:gd name="T11" fmla="*/ 141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0" name="Freeform 416">
            <a:extLst>
              <a:ext uri="{FF2B5EF4-FFF2-40B4-BE49-F238E27FC236}">
                <a16:creationId xmlns:a16="http://schemas.microsoft.com/office/drawing/2014/main" id="{73ADEB77-A2D6-47F1-BCF4-3DC6494644EE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371390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1" name="Freeform 417">
            <a:extLst>
              <a:ext uri="{FF2B5EF4-FFF2-40B4-BE49-F238E27FC236}">
                <a16:creationId xmlns:a16="http://schemas.microsoft.com/office/drawing/2014/main" id="{0970F8EF-2508-4AF0-982E-61DCCC65D25F}"/>
              </a:ext>
            </a:extLst>
          </p:cNvPr>
          <p:cNvSpPr>
            <a:spLocks/>
          </p:cNvSpPr>
          <p:nvPr userDrawn="1"/>
        </p:nvSpPr>
        <p:spPr bwMode="auto">
          <a:xfrm>
            <a:off x="2410958" y="371390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2" y="99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9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2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2" name="Freeform 418">
            <a:extLst>
              <a:ext uri="{FF2B5EF4-FFF2-40B4-BE49-F238E27FC236}">
                <a16:creationId xmlns:a16="http://schemas.microsoft.com/office/drawing/2014/main" id="{5EF8E5D2-466B-4D08-B598-B9282F07E2C3}"/>
              </a:ext>
            </a:extLst>
          </p:cNvPr>
          <p:cNvSpPr>
            <a:spLocks/>
          </p:cNvSpPr>
          <p:nvPr userDrawn="1"/>
        </p:nvSpPr>
        <p:spPr bwMode="auto">
          <a:xfrm>
            <a:off x="2410958" y="4175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2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2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9" y="126"/>
                </a:lnTo>
                <a:lnTo>
                  <a:pt x="14" y="119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3" name="Freeform 419">
            <a:extLst>
              <a:ext uri="{FF2B5EF4-FFF2-40B4-BE49-F238E27FC236}">
                <a16:creationId xmlns:a16="http://schemas.microsoft.com/office/drawing/2014/main" id="{C8670090-E2A6-41D0-A1D2-705CA76E1CE6}"/>
              </a:ext>
            </a:extLst>
          </p:cNvPr>
          <p:cNvSpPr>
            <a:spLocks/>
          </p:cNvSpPr>
          <p:nvPr userDrawn="1"/>
        </p:nvSpPr>
        <p:spPr bwMode="auto">
          <a:xfrm>
            <a:off x="2457146" y="371390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4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4" name="Freeform 420">
            <a:extLst>
              <a:ext uri="{FF2B5EF4-FFF2-40B4-BE49-F238E27FC236}">
                <a16:creationId xmlns:a16="http://schemas.microsoft.com/office/drawing/2014/main" id="{D3376391-0A53-4E79-AA2C-B56888FE45C8}"/>
              </a:ext>
            </a:extLst>
          </p:cNvPr>
          <p:cNvSpPr>
            <a:spLocks/>
          </p:cNvSpPr>
          <p:nvPr userDrawn="1"/>
        </p:nvSpPr>
        <p:spPr bwMode="auto">
          <a:xfrm>
            <a:off x="2457146" y="4175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5" name="Freeform 421">
            <a:extLst>
              <a:ext uri="{FF2B5EF4-FFF2-40B4-BE49-F238E27FC236}">
                <a16:creationId xmlns:a16="http://schemas.microsoft.com/office/drawing/2014/main" id="{1DDFC1A1-2EE8-499B-8884-9B5FC4A37509}"/>
              </a:ext>
            </a:extLst>
          </p:cNvPr>
          <p:cNvSpPr>
            <a:spLocks/>
          </p:cNvSpPr>
          <p:nvPr userDrawn="1"/>
        </p:nvSpPr>
        <p:spPr bwMode="auto">
          <a:xfrm>
            <a:off x="2503335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6" name="Freeform 422">
            <a:extLst>
              <a:ext uri="{FF2B5EF4-FFF2-40B4-BE49-F238E27FC236}">
                <a16:creationId xmlns:a16="http://schemas.microsoft.com/office/drawing/2014/main" id="{C5EA65E4-7800-46E9-8326-925811A1B6B2}"/>
              </a:ext>
            </a:extLst>
          </p:cNvPr>
          <p:cNvSpPr>
            <a:spLocks/>
          </p:cNvSpPr>
          <p:nvPr userDrawn="1"/>
        </p:nvSpPr>
        <p:spPr bwMode="auto">
          <a:xfrm>
            <a:off x="2503335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7" name="Freeform 423">
            <a:extLst>
              <a:ext uri="{FF2B5EF4-FFF2-40B4-BE49-F238E27FC236}">
                <a16:creationId xmlns:a16="http://schemas.microsoft.com/office/drawing/2014/main" id="{AE8D4AD5-FD3A-499D-9CF1-99711B7410B2}"/>
              </a:ext>
            </a:extLst>
          </p:cNvPr>
          <p:cNvSpPr>
            <a:spLocks/>
          </p:cNvSpPr>
          <p:nvPr userDrawn="1"/>
        </p:nvSpPr>
        <p:spPr bwMode="auto">
          <a:xfrm>
            <a:off x="2272392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8" name="Freeform 424">
            <a:extLst>
              <a:ext uri="{FF2B5EF4-FFF2-40B4-BE49-F238E27FC236}">
                <a16:creationId xmlns:a16="http://schemas.microsoft.com/office/drawing/2014/main" id="{9B59FD78-E3B6-4C79-BFAE-3AECBC478624}"/>
              </a:ext>
            </a:extLst>
          </p:cNvPr>
          <p:cNvSpPr>
            <a:spLocks/>
          </p:cNvSpPr>
          <p:nvPr userDrawn="1"/>
        </p:nvSpPr>
        <p:spPr bwMode="auto">
          <a:xfrm>
            <a:off x="2272392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9" name="Freeform 425">
            <a:extLst>
              <a:ext uri="{FF2B5EF4-FFF2-40B4-BE49-F238E27FC236}">
                <a16:creationId xmlns:a16="http://schemas.microsoft.com/office/drawing/2014/main" id="{127D7884-4754-4C18-9DBC-39CE76787CD2}"/>
              </a:ext>
            </a:extLst>
          </p:cNvPr>
          <p:cNvSpPr>
            <a:spLocks/>
          </p:cNvSpPr>
          <p:nvPr userDrawn="1"/>
        </p:nvSpPr>
        <p:spPr bwMode="auto">
          <a:xfrm>
            <a:off x="2319631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0" name="Freeform 426">
            <a:extLst>
              <a:ext uri="{FF2B5EF4-FFF2-40B4-BE49-F238E27FC236}">
                <a16:creationId xmlns:a16="http://schemas.microsoft.com/office/drawing/2014/main" id="{949976C9-AFB5-4D77-B81E-F5F24B6DB7FE}"/>
              </a:ext>
            </a:extLst>
          </p:cNvPr>
          <p:cNvSpPr>
            <a:spLocks/>
          </p:cNvSpPr>
          <p:nvPr userDrawn="1"/>
        </p:nvSpPr>
        <p:spPr bwMode="auto">
          <a:xfrm>
            <a:off x="2319631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1" name="Freeform 427">
            <a:extLst>
              <a:ext uri="{FF2B5EF4-FFF2-40B4-BE49-F238E27FC236}">
                <a16:creationId xmlns:a16="http://schemas.microsoft.com/office/drawing/2014/main" id="{F285BC48-B6B3-4BF1-8B46-872CDC56CBE0}"/>
              </a:ext>
            </a:extLst>
          </p:cNvPr>
          <p:cNvSpPr>
            <a:spLocks/>
          </p:cNvSpPr>
          <p:nvPr userDrawn="1"/>
        </p:nvSpPr>
        <p:spPr bwMode="auto">
          <a:xfrm>
            <a:off x="2364769" y="371390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2" name="Freeform 428">
            <a:extLst>
              <a:ext uri="{FF2B5EF4-FFF2-40B4-BE49-F238E27FC236}">
                <a16:creationId xmlns:a16="http://schemas.microsoft.com/office/drawing/2014/main" id="{905F4F56-5A57-4D6E-94F8-B9B30A669314}"/>
              </a:ext>
            </a:extLst>
          </p:cNvPr>
          <p:cNvSpPr>
            <a:spLocks/>
          </p:cNvSpPr>
          <p:nvPr userDrawn="1"/>
        </p:nvSpPr>
        <p:spPr bwMode="auto">
          <a:xfrm>
            <a:off x="2364769" y="4175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3" name="Freeform 429">
            <a:extLst>
              <a:ext uri="{FF2B5EF4-FFF2-40B4-BE49-F238E27FC236}">
                <a16:creationId xmlns:a16="http://schemas.microsoft.com/office/drawing/2014/main" id="{560E39CA-CF2E-483C-9446-035D9B2454B9}"/>
              </a:ext>
            </a:extLst>
          </p:cNvPr>
          <p:cNvSpPr>
            <a:spLocks/>
          </p:cNvSpPr>
          <p:nvPr userDrawn="1"/>
        </p:nvSpPr>
        <p:spPr bwMode="auto">
          <a:xfrm>
            <a:off x="2782565" y="27586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2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4" name="Freeform 430">
            <a:extLst>
              <a:ext uri="{FF2B5EF4-FFF2-40B4-BE49-F238E27FC236}">
                <a16:creationId xmlns:a16="http://schemas.microsoft.com/office/drawing/2014/main" id="{4FBFDB7D-090A-4001-8624-9B8B395C7CFB}"/>
              </a:ext>
            </a:extLst>
          </p:cNvPr>
          <p:cNvSpPr>
            <a:spLocks/>
          </p:cNvSpPr>
          <p:nvPr userDrawn="1"/>
        </p:nvSpPr>
        <p:spPr bwMode="auto">
          <a:xfrm>
            <a:off x="2782565" y="323103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5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6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2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2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1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5"/>
                </a:lnTo>
                <a:lnTo>
                  <a:pt x="14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2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5" name="Freeform 431">
            <a:extLst>
              <a:ext uri="{FF2B5EF4-FFF2-40B4-BE49-F238E27FC236}">
                <a16:creationId xmlns:a16="http://schemas.microsoft.com/office/drawing/2014/main" id="{5CB624FD-6B0B-486C-BE6D-4D4957D85061}"/>
              </a:ext>
            </a:extLst>
          </p:cNvPr>
          <p:cNvSpPr>
            <a:spLocks/>
          </p:cNvSpPr>
          <p:nvPr userDrawn="1"/>
        </p:nvSpPr>
        <p:spPr bwMode="auto">
          <a:xfrm>
            <a:off x="2551623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8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6" name="Freeform 432">
            <a:extLst>
              <a:ext uri="{FF2B5EF4-FFF2-40B4-BE49-F238E27FC236}">
                <a16:creationId xmlns:a16="http://schemas.microsoft.com/office/drawing/2014/main" id="{4C560579-18E9-42FC-92A7-DFB89AA297E8}"/>
              </a:ext>
            </a:extLst>
          </p:cNvPr>
          <p:cNvSpPr>
            <a:spLocks/>
          </p:cNvSpPr>
          <p:nvPr userDrawn="1"/>
        </p:nvSpPr>
        <p:spPr bwMode="auto">
          <a:xfrm>
            <a:off x="2551623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5"/>
                </a:lnTo>
                <a:lnTo>
                  <a:pt x="131" y="130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8" y="125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6" y="46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7" name="Freeform 433">
            <a:extLst>
              <a:ext uri="{FF2B5EF4-FFF2-40B4-BE49-F238E27FC236}">
                <a16:creationId xmlns:a16="http://schemas.microsoft.com/office/drawing/2014/main" id="{8F76AF26-ECD2-498A-AA7B-2CEF3FB5F1B1}"/>
              </a:ext>
            </a:extLst>
          </p:cNvPr>
          <p:cNvSpPr>
            <a:spLocks/>
          </p:cNvSpPr>
          <p:nvPr userDrawn="1"/>
        </p:nvSpPr>
        <p:spPr bwMode="auto">
          <a:xfrm>
            <a:off x="2596762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8" name="Freeform 434">
            <a:extLst>
              <a:ext uri="{FF2B5EF4-FFF2-40B4-BE49-F238E27FC236}">
                <a16:creationId xmlns:a16="http://schemas.microsoft.com/office/drawing/2014/main" id="{05B2BA3D-ACD4-4681-8E26-E0BDA7A69CAD}"/>
              </a:ext>
            </a:extLst>
          </p:cNvPr>
          <p:cNvSpPr>
            <a:spLocks/>
          </p:cNvSpPr>
          <p:nvPr userDrawn="1"/>
        </p:nvSpPr>
        <p:spPr bwMode="auto">
          <a:xfrm>
            <a:off x="2596762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19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9" name="Freeform 435">
            <a:extLst>
              <a:ext uri="{FF2B5EF4-FFF2-40B4-BE49-F238E27FC236}">
                <a16:creationId xmlns:a16="http://schemas.microsoft.com/office/drawing/2014/main" id="{0C73C8A3-290A-456F-8BC6-9229E604B2CD}"/>
              </a:ext>
            </a:extLst>
          </p:cNvPr>
          <p:cNvSpPr>
            <a:spLocks/>
          </p:cNvSpPr>
          <p:nvPr userDrawn="1"/>
        </p:nvSpPr>
        <p:spPr bwMode="auto">
          <a:xfrm>
            <a:off x="2642950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0" name="Freeform 436">
            <a:extLst>
              <a:ext uri="{FF2B5EF4-FFF2-40B4-BE49-F238E27FC236}">
                <a16:creationId xmlns:a16="http://schemas.microsoft.com/office/drawing/2014/main" id="{CF7478DF-D097-4EE5-978E-85F6C2968555}"/>
              </a:ext>
            </a:extLst>
          </p:cNvPr>
          <p:cNvSpPr>
            <a:spLocks/>
          </p:cNvSpPr>
          <p:nvPr userDrawn="1"/>
        </p:nvSpPr>
        <p:spPr bwMode="auto">
          <a:xfrm>
            <a:off x="2642950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9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5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1" name="Freeform 437">
            <a:extLst>
              <a:ext uri="{FF2B5EF4-FFF2-40B4-BE49-F238E27FC236}">
                <a16:creationId xmlns:a16="http://schemas.microsoft.com/office/drawing/2014/main" id="{69EEF441-F64A-4CBC-A886-603446F29B55}"/>
              </a:ext>
            </a:extLst>
          </p:cNvPr>
          <p:cNvSpPr>
            <a:spLocks/>
          </p:cNvSpPr>
          <p:nvPr userDrawn="1"/>
        </p:nvSpPr>
        <p:spPr bwMode="auto">
          <a:xfrm>
            <a:off x="2690188" y="27586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2" name="Freeform 438">
            <a:extLst>
              <a:ext uri="{FF2B5EF4-FFF2-40B4-BE49-F238E27FC236}">
                <a16:creationId xmlns:a16="http://schemas.microsoft.com/office/drawing/2014/main" id="{D9E46232-F666-423B-B8F4-0871836A6453}"/>
              </a:ext>
            </a:extLst>
          </p:cNvPr>
          <p:cNvSpPr>
            <a:spLocks/>
          </p:cNvSpPr>
          <p:nvPr userDrawn="1"/>
        </p:nvSpPr>
        <p:spPr bwMode="auto">
          <a:xfrm>
            <a:off x="2690188" y="32310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19 h 153"/>
              <a:gd name="T8" fmla="*/ 132 w 153"/>
              <a:gd name="T9" fmla="*/ 130 h 153"/>
              <a:gd name="T10" fmla="*/ 120 w 153"/>
              <a:gd name="T11" fmla="*/ 140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3" name="Freeform 439">
            <a:extLst>
              <a:ext uri="{FF2B5EF4-FFF2-40B4-BE49-F238E27FC236}">
                <a16:creationId xmlns:a16="http://schemas.microsoft.com/office/drawing/2014/main" id="{02AB9ED9-819B-4AEB-B473-86B6B361DF86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27586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4" name="Freeform 440">
            <a:extLst>
              <a:ext uri="{FF2B5EF4-FFF2-40B4-BE49-F238E27FC236}">
                <a16:creationId xmlns:a16="http://schemas.microsoft.com/office/drawing/2014/main" id="{80639EFC-8A88-4B85-936B-34B50953A562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32310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3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5" name="Freeform 441">
            <a:extLst>
              <a:ext uri="{FF2B5EF4-FFF2-40B4-BE49-F238E27FC236}">
                <a16:creationId xmlns:a16="http://schemas.microsoft.com/office/drawing/2014/main" id="{A3584963-08F1-49A7-B02B-1F4AB61948C3}"/>
              </a:ext>
            </a:extLst>
          </p:cNvPr>
          <p:cNvSpPr>
            <a:spLocks/>
          </p:cNvSpPr>
          <p:nvPr userDrawn="1"/>
        </p:nvSpPr>
        <p:spPr bwMode="auto">
          <a:xfrm>
            <a:off x="2410958" y="27586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0 h 155"/>
              <a:gd name="T64" fmla="*/ 152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6" name="Freeform 442">
            <a:extLst>
              <a:ext uri="{FF2B5EF4-FFF2-40B4-BE49-F238E27FC236}">
                <a16:creationId xmlns:a16="http://schemas.microsoft.com/office/drawing/2014/main" id="{66CDF01B-1F05-4EBF-8D13-9E48259D823A}"/>
              </a:ext>
            </a:extLst>
          </p:cNvPr>
          <p:cNvSpPr>
            <a:spLocks/>
          </p:cNvSpPr>
          <p:nvPr userDrawn="1"/>
        </p:nvSpPr>
        <p:spPr bwMode="auto">
          <a:xfrm>
            <a:off x="2410958" y="323103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49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5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2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2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19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1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9" y="125"/>
                </a:lnTo>
                <a:lnTo>
                  <a:pt x="14" y="119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6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6"/>
                </a:lnTo>
                <a:lnTo>
                  <a:pt x="152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7" name="Freeform 443">
            <a:extLst>
              <a:ext uri="{FF2B5EF4-FFF2-40B4-BE49-F238E27FC236}">
                <a16:creationId xmlns:a16="http://schemas.microsoft.com/office/drawing/2014/main" id="{B1BD7F0A-01DC-4674-86AB-8F67AFB31144}"/>
              </a:ext>
            </a:extLst>
          </p:cNvPr>
          <p:cNvSpPr>
            <a:spLocks/>
          </p:cNvSpPr>
          <p:nvPr userDrawn="1"/>
        </p:nvSpPr>
        <p:spPr bwMode="auto">
          <a:xfrm>
            <a:off x="2457146" y="27586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8" name="Freeform 444">
            <a:extLst>
              <a:ext uri="{FF2B5EF4-FFF2-40B4-BE49-F238E27FC236}">
                <a16:creationId xmlns:a16="http://schemas.microsoft.com/office/drawing/2014/main" id="{8876CD86-DCD9-4A45-A4BB-71D113EDB096}"/>
              </a:ext>
            </a:extLst>
          </p:cNvPr>
          <p:cNvSpPr>
            <a:spLocks/>
          </p:cNvSpPr>
          <p:nvPr userDrawn="1"/>
        </p:nvSpPr>
        <p:spPr bwMode="auto">
          <a:xfrm>
            <a:off x="2457146" y="323103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5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9" name="Freeform 445">
            <a:extLst>
              <a:ext uri="{FF2B5EF4-FFF2-40B4-BE49-F238E27FC236}">
                <a16:creationId xmlns:a16="http://schemas.microsoft.com/office/drawing/2014/main" id="{42291DFB-9839-4755-B6B3-AC58CF678D76}"/>
              </a:ext>
            </a:extLst>
          </p:cNvPr>
          <p:cNvSpPr>
            <a:spLocks/>
          </p:cNvSpPr>
          <p:nvPr userDrawn="1"/>
        </p:nvSpPr>
        <p:spPr bwMode="auto">
          <a:xfrm>
            <a:off x="2503335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0" name="Freeform 446">
            <a:extLst>
              <a:ext uri="{FF2B5EF4-FFF2-40B4-BE49-F238E27FC236}">
                <a16:creationId xmlns:a16="http://schemas.microsoft.com/office/drawing/2014/main" id="{9295913E-CEF6-422C-9DB2-C984BE80521F}"/>
              </a:ext>
            </a:extLst>
          </p:cNvPr>
          <p:cNvSpPr>
            <a:spLocks/>
          </p:cNvSpPr>
          <p:nvPr userDrawn="1"/>
        </p:nvSpPr>
        <p:spPr bwMode="auto">
          <a:xfrm>
            <a:off x="2503335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1" name="Freeform 447">
            <a:extLst>
              <a:ext uri="{FF2B5EF4-FFF2-40B4-BE49-F238E27FC236}">
                <a16:creationId xmlns:a16="http://schemas.microsoft.com/office/drawing/2014/main" id="{887FD683-A0A2-47D8-9E37-8400EC7A3E64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7586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2" name="Freeform 448">
            <a:extLst>
              <a:ext uri="{FF2B5EF4-FFF2-40B4-BE49-F238E27FC236}">
                <a16:creationId xmlns:a16="http://schemas.microsoft.com/office/drawing/2014/main" id="{56342B63-A805-43D7-9363-A6E8FBD86866}"/>
              </a:ext>
            </a:extLst>
          </p:cNvPr>
          <p:cNvSpPr>
            <a:spLocks/>
          </p:cNvSpPr>
          <p:nvPr userDrawn="1"/>
        </p:nvSpPr>
        <p:spPr bwMode="auto">
          <a:xfrm>
            <a:off x="2090788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3" name="Freeform 449">
            <a:extLst>
              <a:ext uri="{FF2B5EF4-FFF2-40B4-BE49-F238E27FC236}">
                <a16:creationId xmlns:a16="http://schemas.microsoft.com/office/drawing/2014/main" id="{513EFC5B-B190-4FC1-A790-109B063EBE25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32310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19 h 153"/>
              <a:gd name="T8" fmla="*/ 130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5"/>
                </a:lnTo>
                <a:lnTo>
                  <a:pt x="130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5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4" name="Freeform 450">
            <a:extLst>
              <a:ext uri="{FF2B5EF4-FFF2-40B4-BE49-F238E27FC236}">
                <a16:creationId xmlns:a16="http://schemas.microsoft.com/office/drawing/2014/main" id="{8AAB1D9E-8DD0-442C-A77C-6EDF7536BB68}"/>
              </a:ext>
            </a:extLst>
          </p:cNvPr>
          <p:cNvSpPr>
            <a:spLocks/>
          </p:cNvSpPr>
          <p:nvPr userDrawn="1"/>
        </p:nvSpPr>
        <p:spPr bwMode="auto">
          <a:xfrm>
            <a:off x="2226203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5" name="Freeform 451">
            <a:extLst>
              <a:ext uri="{FF2B5EF4-FFF2-40B4-BE49-F238E27FC236}">
                <a16:creationId xmlns:a16="http://schemas.microsoft.com/office/drawing/2014/main" id="{BAB6FE63-748A-4C45-B159-9CB276CBA33F}"/>
              </a:ext>
            </a:extLst>
          </p:cNvPr>
          <p:cNvSpPr>
            <a:spLocks/>
          </p:cNvSpPr>
          <p:nvPr userDrawn="1"/>
        </p:nvSpPr>
        <p:spPr bwMode="auto">
          <a:xfrm>
            <a:off x="2226203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6" name="Freeform 452">
            <a:extLst>
              <a:ext uri="{FF2B5EF4-FFF2-40B4-BE49-F238E27FC236}">
                <a16:creationId xmlns:a16="http://schemas.microsoft.com/office/drawing/2014/main" id="{A49FA611-3927-4BCE-B274-1E3FFD5E8651}"/>
              </a:ext>
            </a:extLst>
          </p:cNvPr>
          <p:cNvSpPr>
            <a:spLocks/>
          </p:cNvSpPr>
          <p:nvPr userDrawn="1"/>
        </p:nvSpPr>
        <p:spPr bwMode="auto">
          <a:xfrm>
            <a:off x="2272392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7" name="Freeform 453">
            <a:extLst>
              <a:ext uri="{FF2B5EF4-FFF2-40B4-BE49-F238E27FC236}">
                <a16:creationId xmlns:a16="http://schemas.microsoft.com/office/drawing/2014/main" id="{E2FADC9F-FDE9-46BC-910E-F37FC0AEE489}"/>
              </a:ext>
            </a:extLst>
          </p:cNvPr>
          <p:cNvSpPr>
            <a:spLocks/>
          </p:cNvSpPr>
          <p:nvPr userDrawn="1"/>
        </p:nvSpPr>
        <p:spPr bwMode="auto">
          <a:xfrm>
            <a:off x="2272392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8" name="Freeform 454">
            <a:extLst>
              <a:ext uri="{FF2B5EF4-FFF2-40B4-BE49-F238E27FC236}">
                <a16:creationId xmlns:a16="http://schemas.microsoft.com/office/drawing/2014/main" id="{B5E6DAB1-19F7-40FC-9E41-3342FCFBF5BB}"/>
              </a:ext>
            </a:extLst>
          </p:cNvPr>
          <p:cNvSpPr>
            <a:spLocks/>
          </p:cNvSpPr>
          <p:nvPr userDrawn="1"/>
        </p:nvSpPr>
        <p:spPr bwMode="auto">
          <a:xfrm>
            <a:off x="2319631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9" name="Freeform 455">
            <a:extLst>
              <a:ext uri="{FF2B5EF4-FFF2-40B4-BE49-F238E27FC236}">
                <a16:creationId xmlns:a16="http://schemas.microsoft.com/office/drawing/2014/main" id="{D17052B4-7AE2-4053-A500-AA6A83FA0660}"/>
              </a:ext>
            </a:extLst>
          </p:cNvPr>
          <p:cNvSpPr>
            <a:spLocks/>
          </p:cNvSpPr>
          <p:nvPr userDrawn="1"/>
        </p:nvSpPr>
        <p:spPr bwMode="auto">
          <a:xfrm>
            <a:off x="2319631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5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0" name="Freeform 456">
            <a:extLst>
              <a:ext uri="{FF2B5EF4-FFF2-40B4-BE49-F238E27FC236}">
                <a16:creationId xmlns:a16="http://schemas.microsoft.com/office/drawing/2014/main" id="{93901AD1-7E59-4C94-9A56-401D8ACC8509}"/>
              </a:ext>
            </a:extLst>
          </p:cNvPr>
          <p:cNvSpPr>
            <a:spLocks/>
          </p:cNvSpPr>
          <p:nvPr userDrawn="1"/>
        </p:nvSpPr>
        <p:spPr bwMode="auto">
          <a:xfrm>
            <a:off x="2364769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1" name="Freeform 457">
            <a:extLst>
              <a:ext uri="{FF2B5EF4-FFF2-40B4-BE49-F238E27FC236}">
                <a16:creationId xmlns:a16="http://schemas.microsoft.com/office/drawing/2014/main" id="{46C16BB8-571B-4E19-8D61-BC43FF9C9C91}"/>
              </a:ext>
            </a:extLst>
          </p:cNvPr>
          <p:cNvSpPr>
            <a:spLocks/>
          </p:cNvSpPr>
          <p:nvPr userDrawn="1"/>
        </p:nvSpPr>
        <p:spPr bwMode="auto">
          <a:xfrm>
            <a:off x="2364769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2" name="Freeform 458">
            <a:extLst>
              <a:ext uri="{FF2B5EF4-FFF2-40B4-BE49-F238E27FC236}">
                <a16:creationId xmlns:a16="http://schemas.microsoft.com/office/drawing/2014/main" id="{A9EFF6BD-BF02-4592-BBD8-FD17E0A87C84}"/>
              </a:ext>
            </a:extLst>
          </p:cNvPr>
          <p:cNvSpPr>
            <a:spLocks/>
          </p:cNvSpPr>
          <p:nvPr userDrawn="1"/>
        </p:nvSpPr>
        <p:spPr bwMode="auto">
          <a:xfrm>
            <a:off x="2136977" y="32310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5"/>
                </a:lnTo>
                <a:lnTo>
                  <a:pt x="131" y="130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0"/>
                </a:lnTo>
                <a:lnTo>
                  <a:pt x="17" y="125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3" name="Freeform 459">
            <a:extLst>
              <a:ext uri="{FF2B5EF4-FFF2-40B4-BE49-F238E27FC236}">
                <a16:creationId xmlns:a16="http://schemas.microsoft.com/office/drawing/2014/main" id="{0788D740-6499-49A7-B834-571DDAA973AF}"/>
              </a:ext>
            </a:extLst>
          </p:cNvPr>
          <p:cNvSpPr>
            <a:spLocks/>
          </p:cNvSpPr>
          <p:nvPr userDrawn="1"/>
        </p:nvSpPr>
        <p:spPr bwMode="auto">
          <a:xfrm>
            <a:off x="2782565" y="23177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9 h 154"/>
              <a:gd name="T62" fmla="*/ 145 w 155"/>
              <a:gd name="T63" fmla="*/ 40 h 154"/>
              <a:gd name="T64" fmla="*/ 152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4" name="Freeform 460">
            <a:extLst>
              <a:ext uri="{FF2B5EF4-FFF2-40B4-BE49-F238E27FC236}">
                <a16:creationId xmlns:a16="http://schemas.microsoft.com/office/drawing/2014/main" id="{CE1DEE98-8C9C-404C-A447-6F788DEE1EA9}"/>
              </a:ext>
            </a:extLst>
          </p:cNvPr>
          <p:cNvSpPr>
            <a:spLocks/>
          </p:cNvSpPr>
          <p:nvPr userDrawn="1"/>
        </p:nvSpPr>
        <p:spPr bwMode="auto">
          <a:xfrm>
            <a:off x="2551623" y="2317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5" name="Freeform 461">
            <a:extLst>
              <a:ext uri="{FF2B5EF4-FFF2-40B4-BE49-F238E27FC236}">
                <a16:creationId xmlns:a16="http://schemas.microsoft.com/office/drawing/2014/main" id="{AF7FA05F-1273-4BE8-8F6F-E2AB6FC2BF03}"/>
              </a:ext>
            </a:extLst>
          </p:cNvPr>
          <p:cNvSpPr>
            <a:spLocks/>
          </p:cNvSpPr>
          <p:nvPr userDrawn="1"/>
        </p:nvSpPr>
        <p:spPr bwMode="auto">
          <a:xfrm>
            <a:off x="2596762" y="2317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6" name="Freeform 462">
            <a:extLst>
              <a:ext uri="{FF2B5EF4-FFF2-40B4-BE49-F238E27FC236}">
                <a16:creationId xmlns:a16="http://schemas.microsoft.com/office/drawing/2014/main" id="{2320F06D-2BD7-4900-8E9B-2315D93CC9B3}"/>
              </a:ext>
            </a:extLst>
          </p:cNvPr>
          <p:cNvSpPr>
            <a:spLocks/>
          </p:cNvSpPr>
          <p:nvPr userDrawn="1"/>
        </p:nvSpPr>
        <p:spPr bwMode="auto">
          <a:xfrm>
            <a:off x="2642950" y="2317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7" name="Freeform 463">
            <a:extLst>
              <a:ext uri="{FF2B5EF4-FFF2-40B4-BE49-F238E27FC236}">
                <a16:creationId xmlns:a16="http://schemas.microsoft.com/office/drawing/2014/main" id="{C36677E1-87AA-4834-9BDE-4BB2A458866A}"/>
              </a:ext>
            </a:extLst>
          </p:cNvPr>
          <p:cNvSpPr>
            <a:spLocks/>
          </p:cNvSpPr>
          <p:nvPr userDrawn="1"/>
        </p:nvSpPr>
        <p:spPr bwMode="auto">
          <a:xfrm>
            <a:off x="2690188" y="23177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8" name="Freeform 464">
            <a:extLst>
              <a:ext uri="{FF2B5EF4-FFF2-40B4-BE49-F238E27FC236}">
                <a16:creationId xmlns:a16="http://schemas.microsoft.com/office/drawing/2014/main" id="{9A09ABD5-E4E4-4A59-88BB-F7BBD803A94E}"/>
              </a:ext>
            </a:extLst>
          </p:cNvPr>
          <p:cNvSpPr>
            <a:spLocks/>
          </p:cNvSpPr>
          <p:nvPr userDrawn="1"/>
        </p:nvSpPr>
        <p:spPr bwMode="auto">
          <a:xfrm>
            <a:off x="2736376" y="23177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9" name="Freeform 465">
            <a:extLst>
              <a:ext uri="{FF2B5EF4-FFF2-40B4-BE49-F238E27FC236}">
                <a16:creationId xmlns:a16="http://schemas.microsoft.com/office/drawing/2014/main" id="{ED89C8A1-CC5C-404A-8282-07638854E2C4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3177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0" name="Freeform 466">
            <a:extLst>
              <a:ext uri="{FF2B5EF4-FFF2-40B4-BE49-F238E27FC236}">
                <a16:creationId xmlns:a16="http://schemas.microsoft.com/office/drawing/2014/main" id="{0A0646B7-98C5-4AE0-A3C5-FD5254C7A8AE}"/>
              </a:ext>
            </a:extLst>
          </p:cNvPr>
          <p:cNvSpPr>
            <a:spLocks/>
          </p:cNvSpPr>
          <p:nvPr userDrawn="1"/>
        </p:nvSpPr>
        <p:spPr bwMode="auto">
          <a:xfrm>
            <a:off x="2133827" y="2317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1" name="Freeform 467">
            <a:extLst>
              <a:ext uri="{FF2B5EF4-FFF2-40B4-BE49-F238E27FC236}">
                <a16:creationId xmlns:a16="http://schemas.microsoft.com/office/drawing/2014/main" id="{89482915-8BFF-413B-AAB8-D0869E5CE83F}"/>
              </a:ext>
            </a:extLst>
          </p:cNvPr>
          <p:cNvSpPr>
            <a:spLocks/>
          </p:cNvSpPr>
          <p:nvPr userDrawn="1"/>
        </p:nvSpPr>
        <p:spPr bwMode="auto">
          <a:xfrm>
            <a:off x="2226203" y="2317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2" name="Freeform 468">
            <a:extLst>
              <a:ext uri="{FF2B5EF4-FFF2-40B4-BE49-F238E27FC236}">
                <a16:creationId xmlns:a16="http://schemas.microsoft.com/office/drawing/2014/main" id="{4D3FBC8C-5F8E-4DAD-BA6F-6B93810BB4B3}"/>
              </a:ext>
            </a:extLst>
          </p:cNvPr>
          <p:cNvSpPr>
            <a:spLocks/>
          </p:cNvSpPr>
          <p:nvPr userDrawn="1"/>
        </p:nvSpPr>
        <p:spPr bwMode="auto">
          <a:xfrm>
            <a:off x="2042500" y="27586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3" name="Freeform 469">
            <a:extLst>
              <a:ext uri="{FF2B5EF4-FFF2-40B4-BE49-F238E27FC236}">
                <a16:creationId xmlns:a16="http://schemas.microsoft.com/office/drawing/2014/main" id="{EE14E0BC-A125-431B-8676-D6529A1CCDEA}"/>
              </a:ext>
            </a:extLst>
          </p:cNvPr>
          <p:cNvSpPr>
            <a:spLocks/>
          </p:cNvSpPr>
          <p:nvPr userDrawn="1"/>
        </p:nvSpPr>
        <p:spPr bwMode="auto">
          <a:xfrm>
            <a:off x="1952222" y="27586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4" name="Freeform 470">
            <a:extLst>
              <a:ext uri="{FF2B5EF4-FFF2-40B4-BE49-F238E27FC236}">
                <a16:creationId xmlns:a16="http://schemas.microsoft.com/office/drawing/2014/main" id="{FBFF0DA9-C2AA-4507-A7D4-93D1BACAA980}"/>
              </a:ext>
            </a:extLst>
          </p:cNvPr>
          <p:cNvSpPr>
            <a:spLocks/>
          </p:cNvSpPr>
          <p:nvPr userDrawn="1"/>
        </p:nvSpPr>
        <p:spPr bwMode="auto">
          <a:xfrm>
            <a:off x="1998411" y="27586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5" name="Freeform 471">
            <a:extLst>
              <a:ext uri="{FF2B5EF4-FFF2-40B4-BE49-F238E27FC236}">
                <a16:creationId xmlns:a16="http://schemas.microsoft.com/office/drawing/2014/main" id="{ED92D35E-9D28-479A-BE92-BFD7F9B7425B}"/>
              </a:ext>
            </a:extLst>
          </p:cNvPr>
          <p:cNvSpPr>
            <a:spLocks/>
          </p:cNvSpPr>
          <p:nvPr userDrawn="1"/>
        </p:nvSpPr>
        <p:spPr bwMode="auto">
          <a:xfrm>
            <a:off x="2088689" y="32310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8" y="125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6" name="Freeform 472">
            <a:extLst>
              <a:ext uri="{FF2B5EF4-FFF2-40B4-BE49-F238E27FC236}">
                <a16:creationId xmlns:a16="http://schemas.microsoft.com/office/drawing/2014/main" id="{D5C9683D-8525-4760-A981-2C15DD1177F6}"/>
              </a:ext>
            </a:extLst>
          </p:cNvPr>
          <p:cNvSpPr>
            <a:spLocks/>
          </p:cNvSpPr>
          <p:nvPr userDrawn="1"/>
        </p:nvSpPr>
        <p:spPr bwMode="auto">
          <a:xfrm>
            <a:off x="1949073" y="32310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6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5"/>
                </a:lnTo>
                <a:lnTo>
                  <a:pt x="131" y="130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49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0"/>
                </a:lnTo>
                <a:lnTo>
                  <a:pt x="17" y="125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49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7" name="Freeform 473">
            <a:extLst>
              <a:ext uri="{FF2B5EF4-FFF2-40B4-BE49-F238E27FC236}">
                <a16:creationId xmlns:a16="http://schemas.microsoft.com/office/drawing/2014/main" id="{97608AC1-FA5D-4AD7-9152-51CE51CF49E8}"/>
              </a:ext>
            </a:extLst>
          </p:cNvPr>
          <p:cNvSpPr>
            <a:spLocks/>
          </p:cNvSpPr>
          <p:nvPr userDrawn="1"/>
        </p:nvSpPr>
        <p:spPr bwMode="auto">
          <a:xfrm>
            <a:off x="2042500" y="23177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8" name="Freeform 474">
            <a:extLst>
              <a:ext uri="{FF2B5EF4-FFF2-40B4-BE49-F238E27FC236}">
                <a16:creationId xmlns:a16="http://schemas.microsoft.com/office/drawing/2014/main" id="{7CDEA987-8515-4C5D-A843-5F953E1A2D2B}"/>
              </a:ext>
            </a:extLst>
          </p:cNvPr>
          <p:cNvSpPr>
            <a:spLocks/>
          </p:cNvSpPr>
          <p:nvPr userDrawn="1"/>
        </p:nvSpPr>
        <p:spPr bwMode="auto">
          <a:xfrm>
            <a:off x="2088689" y="2317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9" name="Freeform 475">
            <a:extLst>
              <a:ext uri="{FF2B5EF4-FFF2-40B4-BE49-F238E27FC236}">
                <a16:creationId xmlns:a16="http://schemas.microsoft.com/office/drawing/2014/main" id="{A62DE791-0FEE-402E-86FA-3FF6105E083A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38753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0" name="Freeform 476">
            <a:extLst>
              <a:ext uri="{FF2B5EF4-FFF2-40B4-BE49-F238E27FC236}">
                <a16:creationId xmlns:a16="http://schemas.microsoft.com/office/drawing/2014/main" id="{9351920B-2D69-4B7B-A927-9DA88A4F7DBC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1" name="Freeform 477">
            <a:extLst>
              <a:ext uri="{FF2B5EF4-FFF2-40B4-BE49-F238E27FC236}">
                <a16:creationId xmlns:a16="http://schemas.microsoft.com/office/drawing/2014/main" id="{8664B495-5F5C-4E22-BF8D-F38E115AFEEF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38753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2" name="Freeform 478">
            <a:extLst>
              <a:ext uri="{FF2B5EF4-FFF2-40B4-BE49-F238E27FC236}">
                <a16:creationId xmlns:a16="http://schemas.microsoft.com/office/drawing/2014/main" id="{E7121764-8D50-4D57-9CA9-3D0DD8A78627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3" name="Freeform 479">
            <a:extLst>
              <a:ext uri="{FF2B5EF4-FFF2-40B4-BE49-F238E27FC236}">
                <a16:creationId xmlns:a16="http://schemas.microsoft.com/office/drawing/2014/main" id="{6FA723E3-995A-48E2-803E-DAB080FF4784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4" name="Freeform 480">
            <a:extLst>
              <a:ext uri="{FF2B5EF4-FFF2-40B4-BE49-F238E27FC236}">
                <a16:creationId xmlns:a16="http://schemas.microsoft.com/office/drawing/2014/main" id="{D3365218-ED43-40DB-A7A5-B72784B29876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5" name="Freeform 481">
            <a:extLst>
              <a:ext uri="{FF2B5EF4-FFF2-40B4-BE49-F238E27FC236}">
                <a16:creationId xmlns:a16="http://schemas.microsoft.com/office/drawing/2014/main" id="{F0988D9E-8962-4900-82A8-2240320D02C3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6" name="Freeform 482">
            <a:extLst>
              <a:ext uri="{FF2B5EF4-FFF2-40B4-BE49-F238E27FC236}">
                <a16:creationId xmlns:a16="http://schemas.microsoft.com/office/drawing/2014/main" id="{62CFC6A3-B6FF-4271-8F14-FCDE5E854DF2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7" name="Freeform 483">
            <a:extLst>
              <a:ext uri="{FF2B5EF4-FFF2-40B4-BE49-F238E27FC236}">
                <a16:creationId xmlns:a16="http://schemas.microsoft.com/office/drawing/2014/main" id="{3209C7CD-AA00-4EEC-A691-01DFEAA132AA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8" name="Freeform 484">
            <a:extLst>
              <a:ext uri="{FF2B5EF4-FFF2-40B4-BE49-F238E27FC236}">
                <a16:creationId xmlns:a16="http://schemas.microsoft.com/office/drawing/2014/main" id="{34E4CD08-BA29-494D-B58F-4B7C59D6DA32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34029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9" name="Freeform 485">
            <a:extLst>
              <a:ext uri="{FF2B5EF4-FFF2-40B4-BE49-F238E27FC236}">
                <a16:creationId xmlns:a16="http://schemas.microsoft.com/office/drawing/2014/main" id="{28C1335A-0F63-4555-A5EE-DEB16E50F235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0" name="Freeform 486">
            <a:extLst>
              <a:ext uri="{FF2B5EF4-FFF2-40B4-BE49-F238E27FC236}">
                <a16:creationId xmlns:a16="http://schemas.microsoft.com/office/drawing/2014/main" id="{DC4BB18F-8C09-4D69-9B8C-EA77538BC28D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34029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1" name="Freeform 487">
            <a:extLst>
              <a:ext uri="{FF2B5EF4-FFF2-40B4-BE49-F238E27FC236}">
                <a16:creationId xmlns:a16="http://schemas.microsoft.com/office/drawing/2014/main" id="{CA306222-E4FA-4B87-ABAE-AEEFF6539028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2" name="Freeform 488">
            <a:extLst>
              <a:ext uri="{FF2B5EF4-FFF2-40B4-BE49-F238E27FC236}">
                <a16:creationId xmlns:a16="http://schemas.microsoft.com/office/drawing/2014/main" id="{A58B1B5F-0FF6-4F10-98A2-B118F76C7FF8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3" name="Freeform 489">
            <a:extLst>
              <a:ext uri="{FF2B5EF4-FFF2-40B4-BE49-F238E27FC236}">
                <a16:creationId xmlns:a16="http://schemas.microsoft.com/office/drawing/2014/main" id="{A4461D3B-D85C-49BD-AC7F-DD37E8ECF1E4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4" name="Freeform 490">
            <a:extLst>
              <a:ext uri="{FF2B5EF4-FFF2-40B4-BE49-F238E27FC236}">
                <a16:creationId xmlns:a16="http://schemas.microsoft.com/office/drawing/2014/main" id="{4382BA5A-3EC8-45AE-9FA7-3B5070672C80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5" name="Freeform 491">
            <a:extLst>
              <a:ext uri="{FF2B5EF4-FFF2-40B4-BE49-F238E27FC236}">
                <a16:creationId xmlns:a16="http://schemas.microsoft.com/office/drawing/2014/main" id="{86420E9E-38E3-4506-816C-9C94459BE819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34029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6" name="Freeform 492">
            <a:extLst>
              <a:ext uri="{FF2B5EF4-FFF2-40B4-BE49-F238E27FC236}">
                <a16:creationId xmlns:a16="http://schemas.microsoft.com/office/drawing/2014/main" id="{272E0EC2-2F22-4133-AFAA-E5B5A906A481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34029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1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7" name="Freeform 493">
            <a:extLst>
              <a:ext uri="{FF2B5EF4-FFF2-40B4-BE49-F238E27FC236}">
                <a16:creationId xmlns:a16="http://schemas.microsoft.com/office/drawing/2014/main" id="{4E281E5C-AE52-4391-9B91-CBD5BBF0CC65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34029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8" name="Freeform 494">
            <a:extLst>
              <a:ext uri="{FF2B5EF4-FFF2-40B4-BE49-F238E27FC236}">
                <a16:creationId xmlns:a16="http://schemas.microsoft.com/office/drawing/2014/main" id="{219ECA19-1AC1-44CE-BBA2-08C82344500B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2962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2 h 154"/>
              <a:gd name="T12" fmla="*/ 106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8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9" name="Freeform 495">
            <a:extLst>
              <a:ext uri="{FF2B5EF4-FFF2-40B4-BE49-F238E27FC236}">
                <a16:creationId xmlns:a16="http://schemas.microsoft.com/office/drawing/2014/main" id="{BF977E00-B245-4F2E-88AE-0EA1A2968B13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2962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0" name="Freeform 496">
            <a:extLst>
              <a:ext uri="{FF2B5EF4-FFF2-40B4-BE49-F238E27FC236}">
                <a16:creationId xmlns:a16="http://schemas.microsoft.com/office/drawing/2014/main" id="{654E130F-A453-4DB3-8D53-F83EFAE9F950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2962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2 h 154"/>
              <a:gd name="T12" fmla="*/ 107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1" name="Freeform 497">
            <a:extLst>
              <a:ext uri="{FF2B5EF4-FFF2-40B4-BE49-F238E27FC236}">
                <a16:creationId xmlns:a16="http://schemas.microsoft.com/office/drawing/2014/main" id="{D838874B-EB7A-4A6B-AB46-44BE1283209A}"/>
              </a:ext>
            </a:extLst>
          </p:cNvPr>
          <p:cNvSpPr>
            <a:spLocks/>
          </p:cNvSpPr>
          <p:nvPr userDrawn="1"/>
        </p:nvSpPr>
        <p:spPr bwMode="auto">
          <a:xfrm>
            <a:off x="3245499" y="12962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2" name="Freeform 498">
            <a:extLst>
              <a:ext uri="{FF2B5EF4-FFF2-40B4-BE49-F238E27FC236}">
                <a16:creationId xmlns:a16="http://schemas.microsoft.com/office/drawing/2014/main" id="{54951E8C-9C52-4096-B62B-8F58F97DC7A7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12962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0" y="120"/>
                </a:lnTo>
                <a:lnTo>
                  <a:pt x="137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3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0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3" name="Freeform 499">
            <a:extLst>
              <a:ext uri="{FF2B5EF4-FFF2-40B4-BE49-F238E27FC236}">
                <a16:creationId xmlns:a16="http://schemas.microsoft.com/office/drawing/2014/main" id="{9D1F44A9-F906-4199-A604-A3E41C9FD1AD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2962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4" name="Freeform 500">
            <a:extLst>
              <a:ext uri="{FF2B5EF4-FFF2-40B4-BE49-F238E27FC236}">
                <a16:creationId xmlns:a16="http://schemas.microsoft.com/office/drawing/2014/main" id="{AA33FC54-25A5-4956-AC11-E9D59972968D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2962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5" name="Freeform 501">
            <a:extLst>
              <a:ext uri="{FF2B5EF4-FFF2-40B4-BE49-F238E27FC236}">
                <a16:creationId xmlns:a16="http://schemas.microsoft.com/office/drawing/2014/main" id="{1CCA2E3D-2B4B-4A3B-9F4C-4BE153CA09CD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2962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19 w 153"/>
              <a:gd name="T11" fmla="*/ 142 h 154"/>
              <a:gd name="T12" fmla="*/ 107 w 153"/>
              <a:gd name="T13" fmla="*/ 149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6" name="Freeform 502">
            <a:extLst>
              <a:ext uri="{FF2B5EF4-FFF2-40B4-BE49-F238E27FC236}">
                <a16:creationId xmlns:a16="http://schemas.microsoft.com/office/drawing/2014/main" id="{54693687-0CC3-48E4-8168-14C08EB25B79}"/>
              </a:ext>
            </a:extLst>
          </p:cNvPr>
          <p:cNvSpPr>
            <a:spLocks/>
          </p:cNvSpPr>
          <p:nvPr userDrawn="1"/>
        </p:nvSpPr>
        <p:spPr bwMode="auto">
          <a:xfrm>
            <a:off x="2828753" y="12962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2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7" name="Freeform 503">
            <a:extLst>
              <a:ext uri="{FF2B5EF4-FFF2-40B4-BE49-F238E27FC236}">
                <a16:creationId xmlns:a16="http://schemas.microsoft.com/office/drawing/2014/main" id="{2391F195-DA4E-431B-B712-9B47232DF708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2962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8 h 154"/>
              <a:gd name="T6" fmla="*/ 142 w 155"/>
              <a:gd name="T7" fmla="*/ 120 h 154"/>
              <a:gd name="T8" fmla="*/ 132 w 155"/>
              <a:gd name="T9" fmla="*/ 132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2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8" name="Freeform 504">
            <a:extLst>
              <a:ext uri="{FF2B5EF4-FFF2-40B4-BE49-F238E27FC236}">
                <a16:creationId xmlns:a16="http://schemas.microsoft.com/office/drawing/2014/main" id="{83F8DF06-F2DD-456E-873F-08B632351F4B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2962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0 w 153"/>
              <a:gd name="T9" fmla="*/ 132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0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9" name="Freeform 505">
            <a:extLst>
              <a:ext uri="{FF2B5EF4-FFF2-40B4-BE49-F238E27FC236}">
                <a16:creationId xmlns:a16="http://schemas.microsoft.com/office/drawing/2014/main" id="{322DC634-3A2C-48AF-A220-91A6537E159C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24687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8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0" name="Freeform 506">
            <a:extLst>
              <a:ext uri="{FF2B5EF4-FFF2-40B4-BE49-F238E27FC236}">
                <a16:creationId xmlns:a16="http://schemas.microsoft.com/office/drawing/2014/main" id="{6515D2A4-E29E-40FF-AE24-A0F47B9365D1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24687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6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1" name="Freeform 507">
            <a:extLst>
              <a:ext uri="{FF2B5EF4-FFF2-40B4-BE49-F238E27FC236}">
                <a16:creationId xmlns:a16="http://schemas.microsoft.com/office/drawing/2014/main" id="{19EBF455-D204-4116-89D4-25068D14907B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24687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7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6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8 h 154"/>
              <a:gd name="T40" fmla="*/ 13 w 153"/>
              <a:gd name="T41" fmla="*/ 34 h 154"/>
              <a:gd name="T42" fmla="*/ 23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2" name="Freeform 508">
            <a:extLst>
              <a:ext uri="{FF2B5EF4-FFF2-40B4-BE49-F238E27FC236}">
                <a16:creationId xmlns:a16="http://schemas.microsoft.com/office/drawing/2014/main" id="{76262107-E12F-43FA-A0C6-70E076373BD5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24687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3" name="Freeform 509">
            <a:extLst>
              <a:ext uri="{FF2B5EF4-FFF2-40B4-BE49-F238E27FC236}">
                <a16:creationId xmlns:a16="http://schemas.microsoft.com/office/drawing/2014/main" id="{393B5643-62AF-4EF6-B2B4-CFBBB4DE41CC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24687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4" name="Freeform 510">
            <a:extLst>
              <a:ext uri="{FF2B5EF4-FFF2-40B4-BE49-F238E27FC236}">
                <a16:creationId xmlns:a16="http://schemas.microsoft.com/office/drawing/2014/main" id="{0A620AC7-8A65-4194-8D22-4ADF030EEFCB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24687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19 w 153"/>
              <a:gd name="T11" fmla="*/ 142 h 154"/>
              <a:gd name="T12" fmla="*/ 107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6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5" name="Freeform 511">
            <a:extLst>
              <a:ext uri="{FF2B5EF4-FFF2-40B4-BE49-F238E27FC236}">
                <a16:creationId xmlns:a16="http://schemas.microsoft.com/office/drawing/2014/main" id="{66EBBFA0-CAE3-493C-8343-B4CD5E01CA4D}"/>
              </a:ext>
            </a:extLst>
          </p:cNvPr>
          <p:cNvSpPr>
            <a:spLocks/>
          </p:cNvSpPr>
          <p:nvPr userDrawn="1"/>
        </p:nvSpPr>
        <p:spPr bwMode="auto">
          <a:xfrm>
            <a:off x="3106934" y="120278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9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6" name="Freeform 512">
            <a:extLst>
              <a:ext uri="{FF2B5EF4-FFF2-40B4-BE49-F238E27FC236}">
                <a16:creationId xmlns:a16="http://schemas.microsoft.com/office/drawing/2014/main" id="{06ADCF83-6793-45C7-B13B-2E98AE5BB323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120278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7" name="Freeform 513">
            <a:extLst>
              <a:ext uri="{FF2B5EF4-FFF2-40B4-BE49-F238E27FC236}">
                <a16:creationId xmlns:a16="http://schemas.microsoft.com/office/drawing/2014/main" id="{2FD58AF7-C754-4EFD-B5A5-55C54A5A4F13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120278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9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8" name="Freeform 514">
            <a:extLst>
              <a:ext uri="{FF2B5EF4-FFF2-40B4-BE49-F238E27FC236}">
                <a16:creationId xmlns:a16="http://schemas.microsoft.com/office/drawing/2014/main" id="{0D78DCB6-E307-4E9A-B942-0AB86FEAACE8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20278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9" name="Freeform 515">
            <a:extLst>
              <a:ext uri="{FF2B5EF4-FFF2-40B4-BE49-F238E27FC236}">
                <a16:creationId xmlns:a16="http://schemas.microsoft.com/office/drawing/2014/main" id="{C3C95DBC-0C82-4A65-B0FF-CDB90A6280D3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3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0" name="Freeform 516">
            <a:extLst>
              <a:ext uri="{FF2B5EF4-FFF2-40B4-BE49-F238E27FC236}">
                <a16:creationId xmlns:a16="http://schemas.microsoft.com/office/drawing/2014/main" id="{CD92A3D8-72FE-4D5B-9C55-7A7957AB7CD6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20278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19 w 153"/>
              <a:gd name="T11" fmla="*/ 141 h 154"/>
              <a:gd name="T12" fmla="*/ 107 w 153"/>
              <a:gd name="T13" fmla="*/ 149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1" name="Freeform 517">
            <a:extLst>
              <a:ext uri="{FF2B5EF4-FFF2-40B4-BE49-F238E27FC236}">
                <a16:creationId xmlns:a16="http://schemas.microsoft.com/office/drawing/2014/main" id="{1C17F45E-4CFB-45B3-8238-8359D27074A8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24687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6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4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6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1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6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2" name="Freeform 518">
            <a:extLst>
              <a:ext uri="{FF2B5EF4-FFF2-40B4-BE49-F238E27FC236}">
                <a16:creationId xmlns:a16="http://schemas.microsoft.com/office/drawing/2014/main" id="{CCC823E5-3B78-466D-A61E-2026F5A737CB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24687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8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0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3" name="Freeform 519">
            <a:extLst>
              <a:ext uri="{FF2B5EF4-FFF2-40B4-BE49-F238E27FC236}">
                <a16:creationId xmlns:a16="http://schemas.microsoft.com/office/drawing/2014/main" id="{3D3881A3-4E63-4312-A005-A6627153DA13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15449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4" name="Freeform 520">
            <a:extLst>
              <a:ext uri="{FF2B5EF4-FFF2-40B4-BE49-F238E27FC236}">
                <a16:creationId xmlns:a16="http://schemas.microsoft.com/office/drawing/2014/main" id="{C9354F26-67B9-4711-89FE-DCAC0A0382BE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15449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1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5" name="Freeform 521">
            <a:extLst>
              <a:ext uri="{FF2B5EF4-FFF2-40B4-BE49-F238E27FC236}">
                <a16:creationId xmlns:a16="http://schemas.microsoft.com/office/drawing/2014/main" id="{7572E632-FE5B-4520-9211-5A7D236ED765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15449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8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0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6" name="Freeform 522">
            <a:extLst>
              <a:ext uri="{FF2B5EF4-FFF2-40B4-BE49-F238E27FC236}">
                <a16:creationId xmlns:a16="http://schemas.microsoft.com/office/drawing/2014/main" id="{26BC59AB-0578-4521-BD32-9B666E744201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11145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7" name="Freeform 523">
            <a:extLst>
              <a:ext uri="{FF2B5EF4-FFF2-40B4-BE49-F238E27FC236}">
                <a16:creationId xmlns:a16="http://schemas.microsoft.com/office/drawing/2014/main" id="{3C4B745D-F150-4C47-A6E3-898E5EE6DE53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1114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8" name="Freeform 524">
            <a:extLst>
              <a:ext uri="{FF2B5EF4-FFF2-40B4-BE49-F238E27FC236}">
                <a16:creationId xmlns:a16="http://schemas.microsoft.com/office/drawing/2014/main" id="{0E905784-A8CF-4E9E-A68A-16FB9F9FEA22}"/>
              </a:ext>
            </a:extLst>
          </p:cNvPr>
          <p:cNvSpPr>
            <a:spLocks/>
          </p:cNvSpPr>
          <p:nvPr userDrawn="1"/>
        </p:nvSpPr>
        <p:spPr bwMode="auto">
          <a:xfrm>
            <a:off x="2832952" y="11114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9" name="Freeform 525">
            <a:extLst>
              <a:ext uri="{FF2B5EF4-FFF2-40B4-BE49-F238E27FC236}">
                <a16:creationId xmlns:a16="http://schemas.microsoft.com/office/drawing/2014/main" id="{8771CDA6-3253-497A-A5AA-A705EEF91A4D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11145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0" name="Freeform 526">
            <a:extLst>
              <a:ext uri="{FF2B5EF4-FFF2-40B4-BE49-F238E27FC236}">
                <a16:creationId xmlns:a16="http://schemas.microsoft.com/office/drawing/2014/main" id="{33C4A4BD-972A-4E3E-B50D-8CBC88F85664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061068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1" name="Freeform 527">
            <a:extLst>
              <a:ext uri="{FF2B5EF4-FFF2-40B4-BE49-F238E27FC236}">
                <a16:creationId xmlns:a16="http://schemas.microsoft.com/office/drawing/2014/main" id="{F424941D-53EF-4747-BCB1-6BE407BD7FBB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061068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2" name="Freeform 528">
            <a:extLst>
              <a:ext uri="{FF2B5EF4-FFF2-40B4-BE49-F238E27FC236}">
                <a16:creationId xmlns:a16="http://schemas.microsoft.com/office/drawing/2014/main" id="{430324D0-15B6-4540-8DD5-594DC99644AA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101593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6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3" name="Freeform 529">
            <a:extLst>
              <a:ext uri="{FF2B5EF4-FFF2-40B4-BE49-F238E27FC236}">
                <a16:creationId xmlns:a16="http://schemas.microsoft.com/office/drawing/2014/main" id="{2C407693-9C01-4D9B-A5F6-8CCDB5FF247D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101593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6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4" name="Freeform 530">
            <a:extLst>
              <a:ext uri="{FF2B5EF4-FFF2-40B4-BE49-F238E27FC236}">
                <a16:creationId xmlns:a16="http://schemas.microsoft.com/office/drawing/2014/main" id="{C19FD4EB-C576-42D5-822A-4968DC8662B3}"/>
              </a:ext>
            </a:extLst>
          </p:cNvPr>
          <p:cNvSpPr>
            <a:spLocks/>
          </p:cNvSpPr>
          <p:nvPr userDrawn="1"/>
        </p:nvSpPr>
        <p:spPr bwMode="auto">
          <a:xfrm>
            <a:off x="3103784" y="101593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6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5" name="Freeform 531">
            <a:extLst>
              <a:ext uri="{FF2B5EF4-FFF2-40B4-BE49-F238E27FC236}">
                <a16:creationId xmlns:a16="http://schemas.microsoft.com/office/drawing/2014/main" id="{640E2E50-0FEE-4E84-8D23-6AB0CA905CCC}"/>
              </a:ext>
            </a:extLst>
          </p:cNvPr>
          <p:cNvSpPr>
            <a:spLocks/>
          </p:cNvSpPr>
          <p:nvPr userDrawn="1"/>
        </p:nvSpPr>
        <p:spPr bwMode="auto">
          <a:xfrm>
            <a:off x="3151023" y="101593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6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2 w 153"/>
              <a:gd name="T49" fmla="*/ 1 h 155"/>
              <a:gd name="T50" fmla="*/ 76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6" name="Freeform 532">
            <a:extLst>
              <a:ext uri="{FF2B5EF4-FFF2-40B4-BE49-F238E27FC236}">
                <a16:creationId xmlns:a16="http://schemas.microsoft.com/office/drawing/2014/main" id="{172B1269-428E-4FCC-BD24-D38204EC4C76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97184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7" name="Freeform 533">
            <a:extLst>
              <a:ext uri="{FF2B5EF4-FFF2-40B4-BE49-F238E27FC236}">
                <a16:creationId xmlns:a16="http://schemas.microsoft.com/office/drawing/2014/main" id="{766830D7-93CB-44AE-A0F9-1C4A84AD6682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97184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8" name="Freeform 534">
            <a:extLst>
              <a:ext uri="{FF2B5EF4-FFF2-40B4-BE49-F238E27FC236}">
                <a16:creationId xmlns:a16="http://schemas.microsoft.com/office/drawing/2014/main" id="{332F6521-CADE-4095-8C1F-C17D17177864}"/>
              </a:ext>
            </a:extLst>
          </p:cNvPr>
          <p:cNvSpPr>
            <a:spLocks/>
          </p:cNvSpPr>
          <p:nvPr userDrawn="1"/>
        </p:nvSpPr>
        <p:spPr bwMode="auto">
          <a:xfrm>
            <a:off x="3103784" y="97184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9" name="Freeform 535">
            <a:extLst>
              <a:ext uri="{FF2B5EF4-FFF2-40B4-BE49-F238E27FC236}">
                <a16:creationId xmlns:a16="http://schemas.microsoft.com/office/drawing/2014/main" id="{036122FF-ABCF-4D71-8207-3474AFE26B73}"/>
              </a:ext>
            </a:extLst>
          </p:cNvPr>
          <p:cNvSpPr>
            <a:spLocks/>
          </p:cNvSpPr>
          <p:nvPr userDrawn="1"/>
        </p:nvSpPr>
        <p:spPr bwMode="auto">
          <a:xfrm>
            <a:off x="3151023" y="97184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6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0" name="Freeform 536">
            <a:extLst>
              <a:ext uri="{FF2B5EF4-FFF2-40B4-BE49-F238E27FC236}">
                <a16:creationId xmlns:a16="http://schemas.microsoft.com/office/drawing/2014/main" id="{BEDCFE81-4AB1-4F6A-A51B-FB5592E37A9A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9277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8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1" name="Freeform 537">
            <a:extLst>
              <a:ext uri="{FF2B5EF4-FFF2-40B4-BE49-F238E27FC236}">
                <a16:creationId xmlns:a16="http://schemas.microsoft.com/office/drawing/2014/main" id="{1CAD0036-48F0-49EB-ADD5-661141D875A7}"/>
              </a:ext>
            </a:extLst>
          </p:cNvPr>
          <p:cNvSpPr>
            <a:spLocks/>
          </p:cNvSpPr>
          <p:nvPr userDrawn="1"/>
        </p:nvSpPr>
        <p:spPr bwMode="auto">
          <a:xfrm>
            <a:off x="2966270" y="9277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2" name="Freeform 538">
            <a:extLst>
              <a:ext uri="{FF2B5EF4-FFF2-40B4-BE49-F238E27FC236}">
                <a16:creationId xmlns:a16="http://schemas.microsoft.com/office/drawing/2014/main" id="{108DBB84-2ECD-4A02-8B40-1B79F92E0DB4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787087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3" name="Freeform 539">
            <a:extLst>
              <a:ext uri="{FF2B5EF4-FFF2-40B4-BE49-F238E27FC236}">
                <a16:creationId xmlns:a16="http://schemas.microsoft.com/office/drawing/2014/main" id="{90A171E0-1D52-4E81-BB1E-E638837451D7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787087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5" name="Freeform 541">
            <a:extLst>
              <a:ext uri="{FF2B5EF4-FFF2-40B4-BE49-F238E27FC236}">
                <a16:creationId xmlns:a16="http://schemas.microsoft.com/office/drawing/2014/main" id="{5D8C0502-E93B-4C41-BF43-E0F188429CE9}"/>
              </a:ext>
            </a:extLst>
          </p:cNvPr>
          <p:cNvSpPr>
            <a:spLocks/>
          </p:cNvSpPr>
          <p:nvPr userDrawn="1"/>
        </p:nvSpPr>
        <p:spPr bwMode="auto">
          <a:xfrm>
            <a:off x="2737427" y="55614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19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6" name="Freeform 542">
            <a:extLst>
              <a:ext uri="{FF2B5EF4-FFF2-40B4-BE49-F238E27FC236}">
                <a16:creationId xmlns:a16="http://schemas.microsoft.com/office/drawing/2014/main" id="{EBE455B6-82C4-4C99-9D10-9F259D6F9A62}"/>
              </a:ext>
            </a:extLst>
          </p:cNvPr>
          <p:cNvSpPr>
            <a:spLocks/>
          </p:cNvSpPr>
          <p:nvPr userDrawn="1"/>
        </p:nvSpPr>
        <p:spPr bwMode="auto">
          <a:xfrm>
            <a:off x="2694387" y="55614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7" name="Freeform 543">
            <a:extLst>
              <a:ext uri="{FF2B5EF4-FFF2-40B4-BE49-F238E27FC236}">
                <a16:creationId xmlns:a16="http://schemas.microsoft.com/office/drawing/2014/main" id="{E40050C9-AA60-495F-8321-AC5BCD8D3B03}"/>
              </a:ext>
            </a:extLst>
          </p:cNvPr>
          <p:cNvSpPr>
            <a:spLocks/>
          </p:cNvSpPr>
          <p:nvPr userDrawn="1"/>
        </p:nvSpPr>
        <p:spPr bwMode="auto">
          <a:xfrm>
            <a:off x="3013507" y="8322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8" name="Freeform 544">
            <a:extLst>
              <a:ext uri="{FF2B5EF4-FFF2-40B4-BE49-F238E27FC236}">
                <a16:creationId xmlns:a16="http://schemas.microsoft.com/office/drawing/2014/main" id="{820D69BB-F155-4FA8-809E-D8283ACA9F2B}"/>
              </a:ext>
            </a:extLst>
          </p:cNvPr>
          <p:cNvSpPr>
            <a:spLocks/>
          </p:cNvSpPr>
          <p:nvPr userDrawn="1"/>
        </p:nvSpPr>
        <p:spPr bwMode="auto">
          <a:xfrm>
            <a:off x="2966270" y="8322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9" name="Freeform 545">
            <a:extLst>
              <a:ext uri="{FF2B5EF4-FFF2-40B4-BE49-F238E27FC236}">
                <a16:creationId xmlns:a16="http://schemas.microsoft.com/office/drawing/2014/main" id="{46AAB6F9-226F-47D3-B5E5-663CB4225877}"/>
              </a:ext>
            </a:extLst>
          </p:cNvPr>
          <p:cNvSpPr>
            <a:spLocks/>
          </p:cNvSpPr>
          <p:nvPr userDrawn="1"/>
        </p:nvSpPr>
        <p:spPr bwMode="auto">
          <a:xfrm>
            <a:off x="2872842" y="8322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0" name="Freeform 546">
            <a:extLst>
              <a:ext uri="{FF2B5EF4-FFF2-40B4-BE49-F238E27FC236}">
                <a16:creationId xmlns:a16="http://schemas.microsoft.com/office/drawing/2014/main" id="{59C50148-65DC-4B90-8C7A-1BC5E0EE064B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9277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8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1" name="Freeform 547">
            <a:extLst>
              <a:ext uri="{FF2B5EF4-FFF2-40B4-BE49-F238E27FC236}">
                <a16:creationId xmlns:a16="http://schemas.microsoft.com/office/drawing/2014/main" id="{2822EB70-5DAF-4179-B30A-4490AB620BD2}"/>
              </a:ext>
            </a:extLst>
          </p:cNvPr>
          <p:cNvSpPr>
            <a:spLocks/>
          </p:cNvSpPr>
          <p:nvPr userDrawn="1"/>
        </p:nvSpPr>
        <p:spPr bwMode="auto">
          <a:xfrm>
            <a:off x="3103784" y="9277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8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2" name="Freeform 548">
            <a:extLst>
              <a:ext uri="{FF2B5EF4-FFF2-40B4-BE49-F238E27FC236}">
                <a16:creationId xmlns:a16="http://schemas.microsoft.com/office/drawing/2014/main" id="{B76E963E-E493-4B36-8158-4B709B9F029E}"/>
              </a:ext>
            </a:extLst>
          </p:cNvPr>
          <p:cNvSpPr>
            <a:spLocks/>
          </p:cNvSpPr>
          <p:nvPr userDrawn="1"/>
        </p:nvSpPr>
        <p:spPr bwMode="auto">
          <a:xfrm>
            <a:off x="3151023" y="9277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8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6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3" name="Freeform 549">
            <a:extLst>
              <a:ext uri="{FF2B5EF4-FFF2-40B4-BE49-F238E27FC236}">
                <a16:creationId xmlns:a16="http://schemas.microsoft.com/office/drawing/2014/main" id="{95C05B6F-5E38-40CD-854E-3C2EF563CDF4}"/>
              </a:ext>
            </a:extLst>
          </p:cNvPr>
          <p:cNvSpPr>
            <a:spLocks/>
          </p:cNvSpPr>
          <p:nvPr userDrawn="1"/>
        </p:nvSpPr>
        <p:spPr bwMode="auto">
          <a:xfrm>
            <a:off x="3059696" y="88051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8" y="137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6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6"/>
                </a:lnTo>
                <a:lnTo>
                  <a:pt x="150" y="55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4" name="Freeform 550">
            <a:extLst>
              <a:ext uri="{FF2B5EF4-FFF2-40B4-BE49-F238E27FC236}">
                <a16:creationId xmlns:a16="http://schemas.microsoft.com/office/drawing/2014/main" id="{4B19025F-F489-49A0-9B84-0D7C8DEB738D}"/>
              </a:ext>
            </a:extLst>
          </p:cNvPr>
          <p:cNvSpPr>
            <a:spLocks/>
          </p:cNvSpPr>
          <p:nvPr userDrawn="1"/>
        </p:nvSpPr>
        <p:spPr bwMode="auto">
          <a:xfrm>
            <a:off x="2970468" y="74089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4 w 153"/>
              <a:gd name="T45" fmla="*/ 13 h 154"/>
              <a:gd name="T46" fmla="*/ 46 w 153"/>
              <a:gd name="T47" fmla="*/ 5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5" name="Freeform 551">
            <a:extLst>
              <a:ext uri="{FF2B5EF4-FFF2-40B4-BE49-F238E27FC236}">
                <a16:creationId xmlns:a16="http://schemas.microsoft.com/office/drawing/2014/main" id="{0963F86A-E043-4344-AAB8-C015ED4CF0EE}"/>
              </a:ext>
            </a:extLst>
          </p:cNvPr>
          <p:cNvSpPr>
            <a:spLocks/>
          </p:cNvSpPr>
          <p:nvPr userDrawn="1"/>
        </p:nvSpPr>
        <p:spPr bwMode="auto">
          <a:xfrm>
            <a:off x="3012457" y="78708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6" name="Freeform 552">
            <a:extLst>
              <a:ext uri="{FF2B5EF4-FFF2-40B4-BE49-F238E27FC236}">
                <a16:creationId xmlns:a16="http://schemas.microsoft.com/office/drawing/2014/main" id="{B6D9CD8C-DCAD-47FF-A15E-4C41A1C90043}"/>
              </a:ext>
            </a:extLst>
          </p:cNvPr>
          <p:cNvSpPr>
            <a:spLocks/>
          </p:cNvSpPr>
          <p:nvPr userDrawn="1"/>
        </p:nvSpPr>
        <p:spPr bwMode="auto">
          <a:xfrm>
            <a:off x="3103784" y="88051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6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6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7" name="Freeform 553">
            <a:extLst>
              <a:ext uri="{FF2B5EF4-FFF2-40B4-BE49-F238E27FC236}">
                <a16:creationId xmlns:a16="http://schemas.microsoft.com/office/drawing/2014/main" id="{8E54C39C-E90E-4911-8DC7-C5C6048D389B}"/>
              </a:ext>
            </a:extLst>
          </p:cNvPr>
          <p:cNvSpPr>
            <a:spLocks/>
          </p:cNvSpPr>
          <p:nvPr userDrawn="1"/>
        </p:nvSpPr>
        <p:spPr bwMode="auto">
          <a:xfrm>
            <a:off x="3151023" y="88051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3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6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6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6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8" name="Freeform 554">
            <a:extLst>
              <a:ext uri="{FF2B5EF4-FFF2-40B4-BE49-F238E27FC236}">
                <a16:creationId xmlns:a16="http://schemas.microsoft.com/office/drawing/2014/main" id="{B6881FE3-CA47-4B63-B69E-2D2ECD9280DD}"/>
              </a:ext>
            </a:extLst>
          </p:cNvPr>
          <p:cNvSpPr>
            <a:spLocks/>
          </p:cNvSpPr>
          <p:nvPr userDrawn="1"/>
        </p:nvSpPr>
        <p:spPr bwMode="auto">
          <a:xfrm>
            <a:off x="2967318" y="10631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3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9" name="Freeform 555">
            <a:extLst>
              <a:ext uri="{FF2B5EF4-FFF2-40B4-BE49-F238E27FC236}">
                <a16:creationId xmlns:a16="http://schemas.microsoft.com/office/drawing/2014/main" id="{178C3D21-AE51-4CC7-9EA5-C3664A6670F1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06316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3 h 155"/>
              <a:gd name="T56" fmla="*/ 115 w 155"/>
              <a:gd name="T57" fmla="*/ 9 h 155"/>
              <a:gd name="T58" fmla="*/ 127 w 155"/>
              <a:gd name="T59" fmla="*/ 17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0" name="Freeform 556">
            <a:extLst>
              <a:ext uri="{FF2B5EF4-FFF2-40B4-BE49-F238E27FC236}">
                <a16:creationId xmlns:a16="http://schemas.microsoft.com/office/drawing/2014/main" id="{C9FDAC45-6D58-4C24-9ADC-C9E33F11F146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0631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3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1" name="Freeform 557">
            <a:extLst>
              <a:ext uri="{FF2B5EF4-FFF2-40B4-BE49-F238E27FC236}">
                <a16:creationId xmlns:a16="http://schemas.microsoft.com/office/drawing/2014/main" id="{15FE4C05-341C-4C38-AA3D-605F4E802CF1}"/>
              </a:ext>
            </a:extLst>
          </p:cNvPr>
          <p:cNvSpPr>
            <a:spLocks/>
          </p:cNvSpPr>
          <p:nvPr userDrawn="1"/>
        </p:nvSpPr>
        <p:spPr bwMode="auto">
          <a:xfrm>
            <a:off x="2874942" y="1022228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1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2" name="Freeform 558">
            <a:extLst>
              <a:ext uri="{FF2B5EF4-FFF2-40B4-BE49-F238E27FC236}">
                <a16:creationId xmlns:a16="http://schemas.microsoft.com/office/drawing/2014/main" id="{4D1F8483-5EA4-4ED2-8839-FCF345F83BF3}"/>
              </a:ext>
            </a:extLst>
          </p:cNvPr>
          <p:cNvSpPr>
            <a:spLocks/>
          </p:cNvSpPr>
          <p:nvPr userDrawn="1"/>
        </p:nvSpPr>
        <p:spPr bwMode="auto">
          <a:xfrm>
            <a:off x="2921130" y="1022228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0" y="131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3" name="Freeform 559">
            <a:extLst>
              <a:ext uri="{FF2B5EF4-FFF2-40B4-BE49-F238E27FC236}">
                <a16:creationId xmlns:a16="http://schemas.microsoft.com/office/drawing/2014/main" id="{B072CFA2-DAE7-437F-AB0B-580847835EAD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34029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4" name="Freeform 560">
            <a:extLst>
              <a:ext uri="{FF2B5EF4-FFF2-40B4-BE49-F238E27FC236}">
                <a16:creationId xmlns:a16="http://schemas.microsoft.com/office/drawing/2014/main" id="{66A05AF8-CA89-4089-9026-3B93CC64D0E5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5" name="Freeform 561">
            <a:extLst>
              <a:ext uri="{FF2B5EF4-FFF2-40B4-BE49-F238E27FC236}">
                <a16:creationId xmlns:a16="http://schemas.microsoft.com/office/drawing/2014/main" id="{39F5770D-CF7C-4903-AF84-C5A71D35691B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6" name="Freeform 562">
            <a:extLst>
              <a:ext uri="{FF2B5EF4-FFF2-40B4-BE49-F238E27FC236}">
                <a16:creationId xmlns:a16="http://schemas.microsoft.com/office/drawing/2014/main" id="{5BF1B609-66EE-46D8-B68E-6A160D5806F3}"/>
              </a:ext>
            </a:extLst>
          </p:cNvPr>
          <p:cNvSpPr>
            <a:spLocks/>
          </p:cNvSpPr>
          <p:nvPr userDrawn="1"/>
        </p:nvSpPr>
        <p:spPr bwMode="auto">
          <a:xfrm>
            <a:off x="3703185" y="134029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7" name="Freeform 563">
            <a:extLst>
              <a:ext uri="{FF2B5EF4-FFF2-40B4-BE49-F238E27FC236}">
                <a16:creationId xmlns:a16="http://schemas.microsoft.com/office/drawing/2014/main" id="{896F0359-FB0B-4340-A916-6C7F615C2E67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4778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8" name="Freeform 564">
            <a:extLst>
              <a:ext uri="{FF2B5EF4-FFF2-40B4-BE49-F238E27FC236}">
                <a16:creationId xmlns:a16="http://schemas.microsoft.com/office/drawing/2014/main" id="{B6F323B2-F267-414E-8F4E-4B085115D184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1083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9" name="Freeform 565">
            <a:extLst>
              <a:ext uri="{FF2B5EF4-FFF2-40B4-BE49-F238E27FC236}">
                <a16:creationId xmlns:a16="http://schemas.microsoft.com/office/drawing/2014/main" id="{3EB0659B-B7A9-44D8-904D-3D9FD0F9BE40}"/>
              </a:ext>
            </a:extLst>
          </p:cNvPr>
          <p:cNvSpPr>
            <a:spLocks/>
          </p:cNvSpPr>
          <p:nvPr userDrawn="1"/>
        </p:nvSpPr>
        <p:spPr bwMode="auto">
          <a:xfrm>
            <a:off x="3288538" y="11586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9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5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9" y="154"/>
                </a:lnTo>
                <a:lnTo>
                  <a:pt x="61" y="153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5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0" name="Freeform 566">
            <a:extLst>
              <a:ext uri="{FF2B5EF4-FFF2-40B4-BE49-F238E27FC236}">
                <a16:creationId xmlns:a16="http://schemas.microsoft.com/office/drawing/2014/main" id="{99314AE4-98AD-43CE-A004-89C6323E51F6}"/>
              </a:ext>
            </a:extLst>
          </p:cNvPr>
          <p:cNvSpPr>
            <a:spLocks/>
          </p:cNvSpPr>
          <p:nvPr userDrawn="1"/>
        </p:nvSpPr>
        <p:spPr bwMode="auto">
          <a:xfrm>
            <a:off x="3197212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8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3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1" name="Freeform 567">
            <a:extLst>
              <a:ext uri="{FF2B5EF4-FFF2-40B4-BE49-F238E27FC236}">
                <a16:creationId xmlns:a16="http://schemas.microsoft.com/office/drawing/2014/main" id="{34DCB866-6EC7-4DE3-8D0E-B4C79EEB0906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06106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2" name="Freeform 568">
            <a:extLst>
              <a:ext uri="{FF2B5EF4-FFF2-40B4-BE49-F238E27FC236}">
                <a16:creationId xmlns:a16="http://schemas.microsoft.com/office/drawing/2014/main" id="{B9536428-1F15-4A00-B627-0FAD7E5E8B96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1083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3" name="Freeform 569">
            <a:extLst>
              <a:ext uri="{FF2B5EF4-FFF2-40B4-BE49-F238E27FC236}">
                <a16:creationId xmlns:a16="http://schemas.microsoft.com/office/drawing/2014/main" id="{B86DC19A-B2E5-4862-9B82-388AB4AB72FA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06106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4" name="Freeform 570">
            <a:extLst>
              <a:ext uri="{FF2B5EF4-FFF2-40B4-BE49-F238E27FC236}">
                <a16:creationId xmlns:a16="http://schemas.microsoft.com/office/drawing/2014/main" id="{ECED76F7-649A-4F59-8A4D-E3B3DA92E6BA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06106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5" name="Freeform 571">
            <a:extLst>
              <a:ext uri="{FF2B5EF4-FFF2-40B4-BE49-F238E27FC236}">
                <a16:creationId xmlns:a16="http://schemas.microsoft.com/office/drawing/2014/main" id="{2C613A96-53F9-407D-A9FA-71612E8166B1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154495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6" name="Freeform 572">
            <a:extLst>
              <a:ext uri="{FF2B5EF4-FFF2-40B4-BE49-F238E27FC236}">
                <a16:creationId xmlns:a16="http://schemas.microsoft.com/office/drawing/2014/main" id="{D34B0A4D-C44F-4584-976C-3D7FD8E7D1FE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20173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1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7" name="Freeform 573">
            <a:extLst>
              <a:ext uri="{FF2B5EF4-FFF2-40B4-BE49-F238E27FC236}">
                <a16:creationId xmlns:a16="http://schemas.microsoft.com/office/drawing/2014/main" id="{1EBE04F1-99B7-4682-803E-D4352C5053E5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29306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8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8" name="Freeform 574">
            <a:extLst>
              <a:ext uri="{FF2B5EF4-FFF2-40B4-BE49-F238E27FC236}">
                <a16:creationId xmlns:a16="http://schemas.microsoft.com/office/drawing/2014/main" id="{C240A1B9-E553-4368-B0DF-4E2E8802B011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29306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9" name="Freeform 575">
            <a:extLst>
              <a:ext uri="{FF2B5EF4-FFF2-40B4-BE49-F238E27FC236}">
                <a16:creationId xmlns:a16="http://schemas.microsoft.com/office/drawing/2014/main" id="{9E5D6A45-389A-4913-A520-15A8AD51F62E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06106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0" name="Freeform 576">
            <a:extLst>
              <a:ext uri="{FF2B5EF4-FFF2-40B4-BE49-F238E27FC236}">
                <a16:creationId xmlns:a16="http://schemas.microsoft.com/office/drawing/2014/main" id="{2E57CF53-CFC6-449C-855F-CDF174F06913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1083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19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1" name="Freeform 577">
            <a:extLst>
              <a:ext uri="{FF2B5EF4-FFF2-40B4-BE49-F238E27FC236}">
                <a16:creationId xmlns:a16="http://schemas.microsoft.com/office/drawing/2014/main" id="{860781EF-C633-4203-BF21-1414840E0BDA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1083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2" name="Freeform 578">
            <a:extLst>
              <a:ext uri="{FF2B5EF4-FFF2-40B4-BE49-F238E27FC236}">
                <a16:creationId xmlns:a16="http://schemas.microsoft.com/office/drawing/2014/main" id="{3012B906-1EB7-466B-97F7-C8140BC0C10D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06106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3" name="Freeform 579">
            <a:extLst>
              <a:ext uri="{FF2B5EF4-FFF2-40B4-BE49-F238E27FC236}">
                <a16:creationId xmlns:a16="http://schemas.microsoft.com/office/drawing/2014/main" id="{F9F3284E-3915-489C-A053-71BB11099A79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1083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4" name="Freeform 580">
            <a:extLst>
              <a:ext uri="{FF2B5EF4-FFF2-40B4-BE49-F238E27FC236}">
                <a16:creationId xmlns:a16="http://schemas.microsoft.com/office/drawing/2014/main" id="{D0047B39-E4AB-4BD7-A88C-2B685CE7D3D4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06106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5" name="Freeform 581">
            <a:extLst>
              <a:ext uri="{FF2B5EF4-FFF2-40B4-BE49-F238E27FC236}">
                <a16:creationId xmlns:a16="http://schemas.microsoft.com/office/drawing/2014/main" id="{37FD4059-2021-442E-A3F6-B9B0EFE5CCD8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1083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6" name="Freeform 582">
            <a:extLst>
              <a:ext uri="{FF2B5EF4-FFF2-40B4-BE49-F238E27FC236}">
                <a16:creationId xmlns:a16="http://schemas.microsoft.com/office/drawing/2014/main" id="{B14A2660-73CA-416A-A244-00F4A6BFEB0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154495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7" name="Freeform 583">
            <a:extLst>
              <a:ext uri="{FF2B5EF4-FFF2-40B4-BE49-F238E27FC236}">
                <a16:creationId xmlns:a16="http://schemas.microsoft.com/office/drawing/2014/main" id="{DC525CA6-0734-4C67-A08E-69EC618D008A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115449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8" name="Freeform 584">
            <a:extLst>
              <a:ext uri="{FF2B5EF4-FFF2-40B4-BE49-F238E27FC236}">
                <a16:creationId xmlns:a16="http://schemas.microsoft.com/office/drawing/2014/main" id="{80F9D4F2-3F97-442E-B598-D38554A43A5A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115449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9" name="Freeform 585">
            <a:extLst>
              <a:ext uri="{FF2B5EF4-FFF2-40B4-BE49-F238E27FC236}">
                <a16:creationId xmlns:a16="http://schemas.microsoft.com/office/drawing/2014/main" id="{08087E6C-C3A6-4767-B1F3-E183F371DB2F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115449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8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0" name="Freeform 586">
            <a:extLst>
              <a:ext uri="{FF2B5EF4-FFF2-40B4-BE49-F238E27FC236}">
                <a16:creationId xmlns:a16="http://schemas.microsoft.com/office/drawing/2014/main" id="{91801680-0B86-4675-B1CF-07F42E7DC60C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97079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1" name="Freeform 587">
            <a:extLst>
              <a:ext uri="{FF2B5EF4-FFF2-40B4-BE49-F238E27FC236}">
                <a16:creationId xmlns:a16="http://schemas.microsoft.com/office/drawing/2014/main" id="{BACEF8FE-8BAF-4C01-959F-C7C060F4F6E0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10169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5" y="137"/>
                </a:lnTo>
                <a:lnTo>
                  <a:pt x="119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2" name="Freeform 588">
            <a:extLst>
              <a:ext uri="{FF2B5EF4-FFF2-40B4-BE49-F238E27FC236}">
                <a16:creationId xmlns:a16="http://schemas.microsoft.com/office/drawing/2014/main" id="{E7D78225-CDF4-4E0A-9B68-F13CC2D782B9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97079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1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3" name="Freeform 589">
            <a:extLst>
              <a:ext uri="{FF2B5EF4-FFF2-40B4-BE49-F238E27FC236}">
                <a16:creationId xmlns:a16="http://schemas.microsoft.com/office/drawing/2014/main" id="{F34514C5-AE5F-47E9-B8E5-EE6A335A22CF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10169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4" name="Freeform 590">
            <a:extLst>
              <a:ext uri="{FF2B5EF4-FFF2-40B4-BE49-F238E27FC236}">
                <a16:creationId xmlns:a16="http://schemas.microsoft.com/office/drawing/2014/main" id="{16EDDBB6-60F8-4863-86DD-48C8F63687A6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97079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5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1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5" name="Freeform 591">
            <a:extLst>
              <a:ext uri="{FF2B5EF4-FFF2-40B4-BE49-F238E27FC236}">
                <a16:creationId xmlns:a16="http://schemas.microsoft.com/office/drawing/2014/main" id="{FFEB4E68-7F73-4665-B0B6-25F18553D823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10169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5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6" name="Freeform 592">
            <a:extLst>
              <a:ext uri="{FF2B5EF4-FFF2-40B4-BE49-F238E27FC236}">
                <a16:creationId xmlns:a16="http://schemas.microsoft.com/office/drawing/2014/main" id="{AA85137F-6E44-497E-BBF7-58BBE7B2B4A3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97079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6 w 153"/>
              <a:gd name="T39" fmla="*/ 46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7" name="Freeform 593">
            <a:extLst>
              <a:ext uri="{FF2B5EF4-FFF2-40B4-BE49-F238E27FC236}">
                <a16:creationId xmlns:a16="http://schemas.microsoft.com/office/drawing/2014/main" id="{B53E4D5F-25B1-4E1F-A170-94050A30E31E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10169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6 h 154"/>
              <a:gd name="T40" fmla="*/ 13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8" name="Freeform 594">
            <a:extLst>
              <a:ext uri="{FF2B5EF4-FFF2-40B4-BE49-F238E27FC236}">
                <a16:creationId xmlns:a16="http://schemas.microsoft.com/office/drawing/2014/main" id="{F35AD1DA-F889-4285-8A81-E05991100314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97079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5 w 153"/>
              <a:gd name="T39" fmla="*/ 46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9" name="Freeform 595">
            <a:extLst>
              <a:ext uri="{FF2B5EF4-FFF2-40B4-BE49-F238E27FC236}">
                <a16:creationId xmlns:a16="http://schemas.microsoft.com/office/drawing/2014/main" id="{4B55AA0F-EAB1-4930-AECE-34C76010E1BE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10169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0" name="Freeform 596">
            <a:extLst>
              <a:ext uri="{FF2B5EF4-FFF2-40B4-BE49-F238E27FC236}">
                <a16:creationId xmlns:a16="http://schemas.microsoft.com/office/drawing/2014/main" id="{66D304E0-52C6-44E3-81AF-9A171BEE7CC1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97079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5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1 h 153"/>
              <a:gd name="T38" fmla="*/ 6 w 155"/>
              <a:gd name="T39" fmla="*/ 46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1" name="Freeform 597">
            <a:extLst>
              <a:ext uri="{FF2B5EF4-FFF2-40B4-BE49-F238E27FC236}">
                <a16:creationId xmlns:a16="http://schemas.microsoft.com/office/drawing/2014/main" id="{754133FC-B442-474C-AAA5-C9BB43EA2F3A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101697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4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2" y="84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6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2" name="Freeform 598">
            <a:extLst>
              <a:ext uri="{FF2B5EF4-FFF2-40B4-BE49-F238E27FC236}">
                <a16:creationId xmlns:a16="http://schemas.microsoft.com/office/drawing/2014/main" id="{59FE8FCE-A44D-4641-BA64-C0FF62559D45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97079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1 h 153"/>
              <a:gd name="T38" fmla="*/ 6 w 154"/>
              <a:gd name="T39" fmla="*/ 46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3" name="Freeform 599">
            <a:extLst>
              <a:ext uri="{FF2B5EF4-FFF2-40B4-BE49-F238E27FC236}">
                <a16:creationId xmlns:a16="http://schemas.microsoft.com/office/drawing/2014/main" id="{40988A11-26EC-496F-80D8-77BF41BBE21D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87526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4" name="Freeform 600">
            <a:extLst>
              <a:ext uri="{FF2B5EF4-FFF2-40B4-BE49-F238E27FC236}">
                <a16:creationId xmlns:a16="http://schemas.microsoft.com/office/drawing/2014/main" id="{E57443A8-CE4F-4913-A018-47F1E67DEC8F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92145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5" name="Freeform 601">
            <a:extLst>
              <a:ext uri="{FF2B5EF4-FFF2-40B4-BE49-F238E27FC236}">
                <a16:creationId xmlns:a16="http://schemas.microsoft.com/office/drawing/2014/main" id="{DCE138FD-9A6F-4489-A429-5936D25491EB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87526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6" name="Freeform 602">
            <a:extLst>
              <a:ext uri="{FF2B5EF4-FFF2-40B4-BE49-F238E27FC236}">
                <a16:creationId xmlns:a16="http://schemas.microsoft.com/office/drawing/2014/main" id="{D734ED19-EB5A-44FE-AD16-0E8C2D1A2CBE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92145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7" name="Freeform 603">
            <a:extLst>
              <a:ext uri="{FF2B5EF4-FFF2-40B4-BE49-F238E27FC236}">
                <a16:creationId xmlns:a16="http://schemas.microsoft.com/office/drawing/2014/main" id="{98685DD6-4CE8-4D84-ABFF-D928FE7D808C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87526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8" name="Freeform 604">
            <a:extLst>
              <a:ext uri="{FF2B5EF4-FFF2-40B4-BE49-F238E27FC236}">
                <a16:creationId xmlns:a16="http://schemas.microsoft.com/office/drawing/2014/main" id="{42CD8D7C-8F36-4376-BC99-9DC7CDACBA1E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92145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9" name="Freeform 605">
            <a:extLst>
              <a:ext uri="{FF2B5EF4-FFF2-40B4-BE49-F238E27FC236}">
                <a16:creationId xmlns:a16="http://schemas.microsoft.com/office/drawing/2014/main" id="{92A08632-37FD-489F-8A1F-516E30822B8C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87526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0" name="Freeform 606">
            <a:extLst>
              <a:ext uri="{FF2B5EF4-FFF2-40B4-BE49-F238E27FC236}">
                <a16:creationId xmlns:a16="http://schemas.microsoft.com/office/drawing/2014/main" id="{A42F178B-1758-4EAD-9859-836AC7A4EF4C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92145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1" name="Freeform 608">
            <a:extLst>
              <a:ext uri="{FF2B5EF4-FFF2-40B4-BE49-F238E27FC236}">
                <a16:creationId xmlns:a16="http://schemas.microsoft.com/office/drawing/2014/main" id="{05ED5034-5D73-4630-94D4-A4FB04A4FDA6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87526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2" name="Freeform 609">
            <a:extLst>
              <a:ext uri="{FF2B5EF4-FFF2-40B4-BE49-F238E27FC236}">
                <a16:creationId xmlns:a16="http://schemas.microsoft.com/office/drawing/2014/main" id="{75D199B0-09DE-478E-8E83-52CBBAF5D02C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92145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3" name="Freeform 610">
            <a:extLst>
              <a:ext uri="{FF2B5EF4-FFF2-40B4-BE49-F238E27FC236}">
                <a16:creationId xmlns:a16="http://schemas.microsoft.com/office/drawing/2014/main" id="{48A934DD-D62E-41CA-81D5-2F3A76BCAC40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87526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4" name="Freeform 611">
            <a:extLst>
              <a:ext uri="{FF2B5EF4-FFF2-40B4-BE49-F238E27FC236}">
                <a16:creationId xmlns:a16="http://schemas.microsoft.com/office/drawing/2014/main" id="{0E7A9190-F00B-4CA5-942A-358C8A59AE4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92145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5" name="Freeform 612">
            <a:extLst>
              <a:ext uri="{FF2B5EF4-FFF2-40B4-BE49-F238E27FC236}">
                <a16:creationId xmlns:a16="http://schemas.microsoft.com/office/drawing/2014/main" id="{28EEFCE6-3CFD-4DF5-90A6-808CB94D0294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87526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6" name="Freeform 613">
            <a:extLst>
              <a:ext uri="{FF2B5EF4-FFF2-40B4-BE49-F238E27FC236}">
                <a16:creationId xmlns:a16="http://schemas.microsoft.com/office/drawing/2014/main" id="{5C577636-C4AE-4AC3-A25B-C17AC10AE3F2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92145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7" name="Freeform 614">
            <a:extLst>
              <a:ext uri="{FF2B5EF4-FFF2-40B4-BE49-F238E27FC236}">
                <a16:creationId xmlns:a16="http://schemas.microsoft.com/office/drawing/2014/main" id="{998E5075-F8CC-4B58-9213-505875144C22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87526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8" name="Freeform 615">
            <a:extLst>
              <a:ext uri="{FF2B5EF4-FFF2-40B4-BE49-F238E27FC236}">
                <a16:creationId xmlns:a16="http://schemas.microsoft.com/office/drawing/2014/main" id="{A4B09FF0-C1EB-4B9A-9174-39888D4E30D5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92145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9" name="Freeform 616">
            <a:extLst>
              <a:ext uri="{FF2B5EF4-FFF2-40B4-BE49-F238E27FC236}">
                <a16:creationId xmlns:a16="http://schemas.microsoft.com/office/drawing/2014/main" id="{376E27FC-BB2C-4BE0-825F-54A3AE193A8D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78813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0" name="Freeform 617">
            <a:extLst>
              <a:ext uri="{FF2B5EF4-FFF2-40B4-BE49-F238E27FC236}">
                <a16:creationId xmlns:a16="http://schemas.microsoft.com/office/drawing/2014/main" id="{9B9C7821-90CC-4942-BAE9-3B252C70D2A0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8311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1" name="Freeform 618">
            <a:extLst>
              <a:ext uri="{FF2B5EF4-FFF2-40B4-BE49-F238E27FC236}">
                <a16:creationId xmlns:a16="http://schemas.microsoft.com/office/drawing/2014/main" id="{4D280AA7-39EE-40D6-96EA-7FFB06AA57C2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8311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2" name="Freeform 619">
            <a:extLst>
              <a:ext uri="{FF2B5EF4-FFF2-40B4-BE49-F238E27FC236}">
                <a16:creationId xmlns:a16="http://schemas.microsoft.com/office/drawing/2014/main" id="{DB4657CC-D254-4975-BF43-93CA945FBA4E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8311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3" name="Freeform 620">
            <a:extLst>
              <a:ext uri="{FF2B5EF4-FFF2-40B4-BE49-F238E27FC236}">
                <a16:creationId xmlns:a16="http://schemas.microsoft.com/office/drawing/2014/main" id="{86700130-CC52-4678-A6D9-0CE9A9F5E57C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8311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4" name="Freeform 621">
            <a:extLst>
              <a:ext uri="{FF2B5EF4-FFF2-40B4-BE49-F238E27FC236}">
                <a16:creationId xmlns:a16="http://schemas.microsoft.com/office/drawing/2014/main" id="{3DA5CC45-115C-48ED-A8C3-472F56266B90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8311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5" name="Freeform 622">
            <a:extLst>
              <a:ext uri="{FF2B5EF4-FFF2-40B4-BE49-F238E27FC236}">
                <a16:creationId xmlns:a16="http://schemas.microsoft.com/office/drawing/2014/main" id="{48D5A01B-F001-48E2-B7C2-E64271A50C36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8311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6" name="Freeform 623">
            <a:extLst>
              <a:ext uri="{FF2B5EF4-FFF2-40B4-BE49-F238E27FC236}">
                <a16:creationId xmlns:a16="http://schemas.microsoft.com/office/drawing/2014/main" id="{88AB2C44-5A35-48BF-BA6D-1ECE85AB62AC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8311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7" name="Freeform 624">
            <a:extLst>
              <a:ext uri="{FF2B5EF4-FFF2-40B4-BE49-F238E27FC236}">
                <a16:creationId xmlns:a16="http://schemas.microsoft.com/office/drawing/2014/main" id="{EF461F84-7468-45DF-B6E7-1C6F5E6214FC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8311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8" name="Freeform 625">
            <a:extLst>
              <a:ext uri="{FF2B5EF4-FFF2-40B4-BE49-F238E27FC236}">
                <a16:creationId xmlns:a16="http://schemas.microsoft.com/office/drawing/2014/main" id="{4041F9EA-53E0-4575-A5B7-0EC3395A4AFA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78498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9" name="Freeform 626">
            <a:extLst>
              <a:ext uri="{FF2B5EF4-FFF2-40B4-BE49-F238E27FC236}">
                <a16:creationId xmlns:a16="http://schemas.microsoft.com/office/drawing/2014/main" id="{935ED9C0-C5D3-401B-950C-FA3D633B6263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78498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0" name="Freeform 627">
            <a:extLst>
              <a:ext uri="{FF2B5EF4-FFF2-40B4-BE49-F238E27FC236}">
                <a16:creationId xmlns:a16="http://schemas.microsoft.com/office/drawing/2014/main" id="{2BE5BAB3-4377-4E94-9EB2-3B04322F742F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97079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49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1" name="Freeform 628">
            <a:extLst>
              <a:ext uri="{FF2B5EF4-FFF2-40B4-BE49-F238E27FC236}">
                <a16:creationId xmlns:a16="http://schemas.microsoft.com/office/drawing/2014/main" id="{202CF676-292C-4346-8742-9D9A4B76DB69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101697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2" name="Freeform 629">
            <a:extLst>
              <a:ext uri="{FF2B5EF4-FFF2-40B4-BE49-F238E27FC236}">
                <a16:creationId xmlns:a16="http://schemas.microsoft.com/office/drawing/2014/main" id="{D498C393-6D8C-4EE3-BE02-48C7488682DA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97079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1 h 153"/>
              <a:gd name="T38" fmla="*/ 6 w 154"/>
              <a:gd name="T39" fmla="*/ 46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3" name="Freeform 630">
            <a:extLst>
              <a:ext uri="{FF2B5EF4-FFF2-40B4-BE49-F238E27FC236}">
                <a16:creationId xmlns:a16="http://schemas.microsoft.com/office/drawing/2014/main" id="{8051829E-3CD1-448C-A2B4-7C32A8E37FA0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10652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4" name="Freeform 631">
            <a:extLst>
              <a:ext uri="{FF2B5EF4-FFF2-40B4-BE49-F238E27FC236}">
                <a16:creationId xmlns:a16="http://schemas.microsoft.com/office/drawing/2014/main" id="{323A8653-D0FA-459D-9F07-F2C501713239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87526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5" name="Freeform 632">
            <a:extLst>
              <a:ext uri="{FF2B5EF4-FFF2-40B4-BE49-F238E27FC236}">
                <a16:creationId xmlns:a16="http://schemas.microsoft.com/office/drawing/2014/main" id="{D7D38339-4B2D-4AA9-9838-434A24221545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92145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6" name="Freeform 633">
            <a:extLst>
              <a:ext uri="{FF2B5EF4-FFF2-40B4-BE49-F238E27FC236}">
                <a16:creationId xmlns:a16="http://schemas.microsoft.com/office/drawing/2014/main" id="{B76A04A3-1DE7-447A-9B3A-E0EF41803F8A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87526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7" name="Freeform 634">
            <a:extLst>
              <a:ext uri="{FF2B5EF4-FFF2-40B4-BE49-F238E27FC236}">
                <a16:creationId xmlns:a16="http://schemas.microsoft.com/office/drawing/2014/main" id="{D0143BDD-C993-4F03-9CE0-2900CA143DFE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92145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8" name="Freeform 635">
            <a:extLst>
              <a:ext uri="{FF2B5EF4-FFF2-40B4-BE49-F238E27FC236}">
                <a16:creationId xmlns:a16="http://schemas.microsoft.com/office/drawing/2014/main" id="{502F4F25-25B5-4A6B-B9EA-0FE004F6D84B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8311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9" name="Freeform 636">
            <a:extLst>
              <a:ext uri="{FF2B5EF4-FFF2-40B4-BE49-F238E27FC236}">
                <a16:creationId xmlns:a16="http://schemas.microsoft.com/office/drawing/2014/main" id="{9D2D139F-DFAA-4FD6-A600-7F78231A1D9F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8311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0" name="Freeform 637">
            <a:extLst>
              <a:ext uri="{FF2B5EF4-FFF2-40B4-BE49-F238E27FC236}">
                <a16:creationId xmlns:a16="http://schemas.microsoft.com/office/drawing/2014/main" id="{E50BE3FC-E147-4D97-8B85-E50A563C35E5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78498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1" name="Freeform 638">
            <a:extLst>
              <a:ext uri="{FF2B5EF4-FFF2-40B4-BE49-F238E27FC236}">
                <a16:creationId xmlns:a16="http://schemas.microsoft.com/office/drawing/2014/main" id="{5F95D487-1381-4EF7-8704-B2473727F090}"/>
              </a:ext>
            </a:extLst>
          </p:cNvPr>
          <p:cNvSpPr>
            <a:spLocks/>
          </p:cNvSpPr>
          <p:nvPr userDrawn="1"/>
        </p:nvSpPr>
        <p:spPr bwMode="auto">
          <a:xfrm>
            <a:off x="3200360" y="73984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2" name="Freeform 639">
            <a:extLst>
              <a:ext uri="{FF2B5EF4-FFF2-40B4-BE49-F238E27FC236}">
                <a16:creationId xmlns:a16="http://schemas.microsoft.com/office/drawing/2014/main" id="{58A1E4EC-BF73-42BE-9F15-BE7782F10603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97079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3" name="Freeform 640">
            <a:extLst>
              <a:ext uri="{FF2B5EF4-FFF2-40B4-BE49-F238E27FC236}">
                <a16:creationId xmlns:a16="http://schemas.microsoft.com/office/drawing/2014/main" id="{66292D16-F9DC-428C-BE25-D69E29760413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87526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4" name="Freeform 641">
            <a:extLst>
              <a:ext uri="{FF2B5EF4-FFF2-40B4-BE49-F238E27FC236}">
                <a16:creationId xmlns:a16="http://schemas.microsoft.com/office/drawing/2014/main" id="{86DE550F-C44F-4E25-9B05-5DAE561C18F6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92145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5" name="Freeform 642">
            <a:extLst>
              <a:ext uri="{FF2B5EF4-FFF2-40B4-BE49-F238E27FC236}">
                <a16:creationId xmlns:a16="http://schemas.microsoft.com/office/drawing/2014/main" id="{F04EC7B8-F812-4F26-8FD1-4B23F0A0A7D8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8311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6" name="Freeform 643">
            <a:extLst>
              <a:ext uri="{FF2B5EF4-FFF2-40B4-BE49-F238E27FC236}">
                <a16:creationId xmlns:a16="http://schemas.microsoft.com/office/drawing/2014/main" id="{188A191B-FB1B-4E86-BB81-808034449E1E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8311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7" name="Freeform 644">
            <a:extLst>
              <a:ext uri="{FF2B5EF4-FFF2-40B4-BE49-F238E27FC236}">
                <a16:creationId xmlns:a16="http://schemas.microsoft.com/office/drawing/2014/main" id="{DF972610-D333-4595-97D2-64239C95F1C0}"/>
              </a:ext>
            </a:extLst>
          </p:cNvPr>
          <p:cNvSpPr>
            <a:spLocks/>
          </p:cNvSpPr>
          <p:nvPr userDrawn="1"/>
        </p:nvSpPr>
        <p:spPr bwMode="auto">
          <a:xfrm>
            <a:off x="3105884" y="8311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5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5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5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8" name="Freeform 645">
            <a:extLst>
              <a:ext uri="{FF2B5EF4-FFF2-40B4-BE49-F238E27FC236}">
                <a16:creationId xmlns:a16="http://schemas.microsoft.com/office/drawing/2014/main" id="{F5F23A20-4A9B-4491-BE44-B1C91A382015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78498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9" name="Freeform 646">
            <a:extLst>
              <a:ext uri="{FF2B5EF4-FFF2-40B4-BE49-F238E27FC236}">
                <a16:creationId xmlns:a16="http://schemas.microsoft.com/office/drawing/2014/main" id="{9367E58D-0106-4E66-A025-EA22213CE27C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78498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0" name="Freeform 647">
            <a:extLst>
              <a:ext uri="{FF2B5EF4-FFF2-40B4-BE49-F238E27FC236}">
                <a16:creationId xmlns:a16="http://schemas.microsoft.com/office/drawing/2014/main" id="{12E7D9DD-66EE-428E-ABE6-B58D73117102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78498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1" name="Freeform 648">
            <a:extLst>
              <a:ext uri="{FF2B5EF4-FFF2-40B4-BE49-F238E27FC236}">
                <a16:creationId xmlns:a16="http://schemas.microsoft.com/office/drawing/2014/main" id="{EBAC47E0-DF00-499B-B245-C87A57A4A1F0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78498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2" name="Freeform 649">
            <a:extLst>
              <a:ext uri="{FF2B5EF4-FFF2-40B4-BE49-F238E27FC236}">
                <a16:creationId xmlns:a16="http://schemas.microsoft.com/office/drawing/2014/main" id="{0E28C030-F4A5-4ED0-8889-1E725B3D7064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78498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3" name="Freeform 650">
            <a:extLst>
              <a:ext uri="{FF2B5EF4-FFF2-40B4-BE49-F238E27FC236}">
                <a16:creationId xmlns:a16="http://schemas.microsoft.com/office/drawing/2014/main" id="{FB016D9E-8AF2-4E61-A8B0-826B75112EC8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784987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4" name="Freeform 651">
            <a:extLst>
              <a:ext uri="{FF2B5EF4-FFF2-40B4-BE49-F238E27FC236}">
                <a16:creationId xmlns:a16="http://schemas.microsoft.com/office/drawing/2014/main" id="{919BA9D4-5E6A-423A-92A7-3DA7303D5498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78498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5" name="Freeform 652">
            <a:extLst>
              <a:ext uri="{FF2B5EF4-FFF2-40B4-BE49-F238E27FC236}">
                <a16:creationId xmlns:a16="http://schemas.microsoft.com/office/drawing/2014/main" id="{7F2E8FBB-88D5-480C-8BDD-66D419CE724B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78498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6" name="Freeform 653">
            <a:extLst>
              <a:ext uri="{FF2B5EF4-FFF2-40B4-BE49-F238E27FC236}">
                <a16:creationId xmlns:a16="http://schemas.microsoft.com/office/drawing/2014/main" id="{BEB7DE18-DE74-4075-BB80-63A1C24A5B2F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8773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7" name="Freeform 654">
            <a:extLst>
              <a:ext uri="{FF2B5EF4-FFF2-40B4-BE49-F238E27FC236}">
                <a16:creationId xmlns:a16="http://schemas.microsoft.com/office/drawing/2014/main" id="{4BF6702B-698C-4AA6-94CA-D93B85013FFF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877364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8" name="Freeform 655">
            <a:extLst>
              <a:ext uri="{FF2B5EF4-FFF2-40B4-BE49-F238E27FC236}">
                <a16:creationId xmlns:a16="http://schemas.microsoft.com/office/drawing/2014/main" id="{EC9E137B-A8A7-44B4-8561-36CA6E0DB25F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877364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9" name="Freeform 656">
            <a:extLst>
              <a:ext uri="{FF2B5EF4-FFF2-40B4-BE49-F238E27FC236}">
                <a16:creationId xmlns:a16="http://schemas.microsoft.com/office/drawing/2014/main" id="{EA711FF6-9410-4265-B73F-BD15C8C023C2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8773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0" name="Freeform 657">
            <a:extLst>
              <a:ext uri="{FF2B5EF4-FFF2-40B4-BE49-F238E27FC236}">
                <a16:creationId xmlns:a16="http://schemas.microsoft.com/office/drawing/2014/main" id="{ADE046B7-D95E-48C1-9C85-92A0813C4EA8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877364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1" name="Freeform 658">
            <a:extLst>
              <a:ext uri="{FF2B5EF4-FFF2-40B4-BE49-F238E27FC236}">
                <a16:creationId xmlns:a16="http://schemas.microsoft.com/office/drawing/2014/main" id="{757A6CC7-49F5-4F1E-8538-1FA861A8B4A5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877364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5 h 153"/>
              <a:gd name="T28" fmla="*/ 9 w 155"/>
              <a:gd name="T29" fmla="*/ 113 h 153"/>
              <a:gd name="T30" fmla="*/ 3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2" name="Freeform 659">
            <a:extLst>
              <a:ext uri="{FF2B5EF4-FFF2-40B4-BE49-F238E27FC236}">
                <a16:creationId xmlns:a16="http://schemas.microsoft.com/office/drawing/2014/main" id="{A025879E-29AF-4878-B65C-A37507B47364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8773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2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5"/>
                </a:lnTo>
                <a:lnTo>
                  <a:pt x="131" y="130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49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5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3" name="Freeform 660">
            <a:extLst>
              <a:ext uri="{FF2B5EF4-FFF2-40B4-BE49-F238E27FC236}">
                <a16:creationId xmlns:a16="http://schemas.microsoft.com/office/drawing/2014/main" id="{34914475-C078-4AA1-92A4-F4D73F4D853C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8773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5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6 w 154"/>
              <a:gd name="T47" fmla="*/ 5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0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49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8" y="125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4" name="Freeform 661">
            <a:extLst>
              <a:ext uri="{FF2B5EF4-FFF2-40B4-BE49-F238E27FC236}">
                <a16:creationId xmlns:a16="http://schemas.microsoft.com/office/drawing/2014/main" id="{5B9E9F36-ADBD-464A-820F-1ABB29B7AAFE}"/>
              </a:ext>
            </a:extLst>
          </p:cNvPr>
          <p:cNvSpPr>
            <a:spLocks/>
          </p:cNvSpPr>
          <p:nvPr userDrawn="1"/>
        </p:nvSpPr>
        <p:spPr bwMode="auto">
          <a:xfrm>
            <a:off x="4216506" y="877364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0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0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5" name="Freeform 662">
            <a:extLst>
              <a:ext uri="{FF2B5EF4-FFF2-40B4-BE49-F238E27FC236}">
                <a16:creationId xmlns:a16="http://schemas.microsoft.com/office/drawing/2014/main" id="{1828E07B-5033-406F-8A60-171C77C6AE93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6" name="Freeform 663">
            <a:extLst>
              <a:ext uri="{FF2B5EF4-FFF2-40B4-BE49-F238E27FC236}">
                <a16:creationId xmlns:a16="http://schemas.microsoft.com/office/drawing/2014/main" id="{9E4AD520-CBBF-4D5E-B54A-76BC35F7840C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7" name="Freeform 664">
            <a:extLst>
              <a:ext uri="{FF2B5EF4-FFF2-40B4-BE49-F238E27FC236}">
                <a16:creationId xmlns:a16="http://schemas.microsoft.com/office/drawing/2014/main" id="{CDAC136E-8AAB-43D0-A378-86C620626658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8" name="Freeform 665">
            <a:extLst>
              <a:ext uri="{FF2B5EF4-FFF2-40B4-BE49-F238E27FC236}">
                <a16:creationId xmlns:a16="http://schemas.microsoft.com/office/drawing/2014/main" id="{784646C8-2E23-4A1B-94E8-B081D21C9FC0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9" name="Freeform 666">
            <a:extLst>
              <a:ext uri="{FF2B5EF4-FFF2-40B4-BE49-F238E27FC236}">
                <a16:creationId xmlns:a16="http://schemas.microsoft.com/office/drawing/2014/main" id="{98C5BEFC-1351-4FE3-8F57-4E8E565CA807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0" name="Freeform 667">
            <a:extLst>
              <a:ext uri="{FF2B5EF4-FFF2-40B4-BE49-F238E27FC236}">
                <a16:creationId xmlns:a16="http://schemas.microsoft.com/office/drawing/2014/main" id="{6C41EBAA-C0D1-4633-A9E0-7F1FCCC7A762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9 w 155"/>
              <a:gd name="T5" fmla="*/ 107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1" name="Freeform 668">
            <a:extLst>
              <a:ext uri="{FF2B5EF4-FFF2-40B4-BE49-F238E27FC236}">
                <a16:creationId xmlns:a16="http://schemas.microsoft.com/office/drawing/2014/main" id="{45C23730-9069-40CC-8BDF-8A7A5C279E7F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7 h 153"/>
              <a:gd name="T6" fmla="*/ 142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2" name="Freeform 669">
            <a:extLst>
              <a:ext uri="{FF2B5EF4-FFF2-40B4-BE49-F238E27FC236}">
                <a16:creationId xmlns:a16="http://schemas.microsoft.com/office/drawing/2014/main" id="{ECBAC152-AD72-48F8-8C02-22428CB9CD72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7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5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3" name="Freeform 670">
            <a:extLst>
              <a:ext uri="{FF2B5EF4-FFF2-40B4-BE49-F238E27FC236}">
                <a16:creationId xmlns:a16="http://schemas.microsoft.com/office/drawing/2014/main" id="{97FD6DD7-443C-4862-8E8A-CBF7E52F98F1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4" name="Freeform 671">
            <a:extLst>
              <a:ext uri="{FF2B5EF4-FFF2-40B4-BE49-F238E27FC236}">
                <a16:creationId xmlns:a16="http://schemas.microsoft.com/office/drawing/2014/main" id="{D8024400-CD4E-4037-BB0A-9A731B9F66B6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5" name="Freeform 672">
            <a:extLst>
              <a:ext uri="{FF2B5EF4-FFF2-40B4-BE49-F238E27FC236}">
                <a16:creationId xmlns:a16="http://schemas.microsoft.com/office/drawing/2014/main" id="{9CDACA05-AED2-441C-A1AD-D4B05942290C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877364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0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6" name="Freeform 673">
            <a:extLst>
              <a:ext uri="{FF2B5EF4-FFF2-40B4-BE49-F238E27FC236}">
                <a16:creationId xmlns:a16="http://schemas.microsoft.com/office/drawing/2014/main" id="{20499A51-D79A-4C5D-8EC2-01416C31AFD0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8773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7" name="Freeform 674">
            <a:extLst>
              <a:ext uri="{FF2B5EF4-FFF2-40B4-BE49-F238E27FC236}">
                <a16:creationId xmlns:a16="http://schemas.microsoft.com/office/drawing/2014/main" id="{D45CACAA-E073-4225-8E8A-6268F821690C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2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8" name="Freeform 675">
            <a:extLst>
              <a:ext uri="{FF2B5EF4-FFF2-40B4-BE49-F238E27FC236}">
                <a16:creationId xmlns:a16="http://schemas.microsoft.com/office/drawing/2014/main" id="{F9576B8B-2368-4DDE-A627-62A3FDA63D92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9" name="Freeform 676">
            <a:extLst>
              <a:ext uri="{FF2B5EF4-FFF2-40B4-BE49-F238E27FC236}">
                <a16:creationId xmlns:a16="http://schemas.microsoft.com/office/drawing/2014/main" id="{C1D61F9C-7D1E-4007-B422-37C21ECDE9A5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0" name="Freeform 677">
            <a:extLst>
              <a:ext uri="{FF2B5EF4-FFF2-40B4-BE49-F238E27FC236}">
                <a16:creationId xmlns:a16="http://schemas.microsoft.com/office/drawing/2014/main" id="{D086C060-35D5-4802-94CC-C33B6A21C013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1" name="Freeform 678">
            <a:extLst>
              <a:ext uri="{FF2B5EF4-FFF2-40B4-BE49-F238E27FC236}">
                <a16:creationId xmlns:a16="http://schemas.microsoft.com/office/drawing/2014/main" id="{AC8C5E74-FDF3-4079-B8F2-940CF484E1C0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2" name="Freeform 679">
            <a:extLst>
              <a:ext uri="{FF2B5EF4-FFF2-40B4-BE49-F238E27FC236}">
                <a16:creationId xmlns:a16="http://schemas.microsoft.com/office/drawing/2014/main" id="{D736360F-4E46-4FE9-B996-5A7E9898ABC7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927752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3" name="Freeform 680">
            <a:extLst>
              <a:ext uri="{FF2B5EF4-FFF2-40B4-BE49-F238E27FC236}">
                <a16:creationId xmlns:a16="http://schemas.microsoft.com/office/drawing/2014/main" id="{B068222A-CB05-4E16-A86E-7E40030289B0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927752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6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2 h 154"/>
              <a:gd name="T46" fmla="*/ 47 w 153"/>
              <a:gd name="T47" fmla="*/ 5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4" name="Freeform 681">
            <a:extLst>
              <a:ext uri="{FF2B5EF4-FFF2-40B4-BE49-F238E27FC236}">
                <a16:creationId xmlns:a16="http://schemas.microsoft.com/office/drawing/2014/main" id="{C923D304-C6C6-4474-9158-EB18848B5330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927752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5" name="Freeform 682">
            <a:extLst>
              <a:ext uri="{FF2B5EF4-FFF2-40B4-BE49-F238E27FC236}">
                <a16:creationId xmlns:a16="http://schemas.microsoft.com/office/drawing/2014/main" id="{DD8E0A20-5706-441C-BF32-A5ECD34E20EF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97079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9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6" name="Freeform 683">
            <a:extLst>
              <a:ext uri="{FF2B5EF4-FFF2-40B4-BE49-F238E27FC236}">
                <a16:creationId xmlns:a16="http://schemas.microsoft.com/office/drawing/2014/main" id="{9692D402-9CBF-4103-9894-B07B089CE013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7" name="Freeform 684">
            <a:extLst>
              <a:ext uri="{FF2B5EF4-FFF2-40B4-BE49-F238E27FC236}">
                <a16:creationId xmlns:a16="http://schemas.microsoft.com/office/drawing/2014/main" id="{1A7DB1AA-550D-4A89-9DFC-9F799EFE0D1E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927752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4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8" name="Freeform 685">
            <a:extLst>
              <a:ext uri="{FF2B5EF4-FFF2-40B4-BE49-F238E27FC236}">
                <a16:creationId xmlns:a16="http://schemas.microsoft.com/office/drawing/2014/main" id="{8CD74E4B-6168-4852-A9EA-F6AB647DF6F4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8773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9" name="Freeform 686">
            <a:extLst>
              <a:ext uri="{FF2B5EF4-FFF2-40B4-BE49-F238E27FC236}">
                <a16:creationId xmlns:a16="http://schemas.microsoft.com/office/drawing/2014/main" id="{DF1885EB-3B18-44E7-B3EB-61DA3364D36E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927752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0" name="Freeform 687">
            <a:extLst>
              <a:ext uri="{FF2B5EF4-FFF2-40B4-BE49-F238E27FC236}">
                <a16:creationId xmlns:a16="http://schemas.microsoft.com/office/drawing/2014/main" id="{FFBCF09C-E702-43AD-8595-05999EEFECB9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927752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1" name="Freeform 688">
            <a:extLst>
              <a:ext uri="{FF2B5EF4-FFF2-40B4-BE49-F238E27FC236}">
                <a16:creationId xmlns:a16="http://schemas.microsoft.com/office/drawing/2014/main" id="{71F04794-8BF4-4E69-89CD-5ABD3A209890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0631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9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9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9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2" name="Freeform 689">
            <a:extLst>
              <a:ext uri="{FF2B5EF4-FFF2-40B4-BE49-F238E27FC236}">
                <a16:creationId xmlns:a16="http://schemas.microsoft.com/office/drawing/2014/main" id="{BB209558-82B3-4A67-822C-D14C5BE9527A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06316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9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9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3" name="Freeform 690">
            <a:extLst>
              <a:ext uri="{FF2B5EF4-FFF2-40B4-BE49-F238E27FC236}">
                <a16:creationId xmlns:a16="http://schemas.microsoft.com/office/drawing/2014/main" id="{F6516B24-D2C1-47F5-91EA-91253ECBA747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06316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9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9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4" name="Freeform 691">
            <a:extLst>
              <a:ext uri="{FF2B5EF4-FFF2-40B4-BE49-F238E27FC236}">
                <a16:creationId xmlns:a16="http://schemas.microsoft.com/office/drawing/2014/main" id="{BC7336F6-489C-4327-BF04-FA9F98452726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11145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5" name="Freeform 692">
            <a:extLst>
              <a:ext uri="{FF2B5EF4-FFF2-40B4-BE49-F238E27FC236}">
                <a16:creationId xmlns:a16="http://schemas.microsoft.com/office/drawing/2014/main" id="{32619B42-8A08-4ABF-9A34-875DDCAFBD7F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0201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6" name="Freeform 693">
            <a:extLst>
              <a:ext uri="{FF2B5EF4-FFF2-40B4-BE49-F238E27FC236}">
                <a16:creationId xmlns:a16="http://schemas.microsoft.com/office/drawing/2014/main" id="{5E4FEB52-96B3-42B6-8416-239829DE93A4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0201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7" name="Freeform 694">
            <a:extLst>
              <a:ext uri="{FF2B5EF4-FFF2-40B4-BE49-F238E27FC236}">
                <a16:creationId xmlns:a16="http://schemas.microsoft.com/office/drawing/2014/main" id="{52FBD366-85A5-46DF-9284-0E1E27553C89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02012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8" name="Freeform 695">
            <a:extLst>
              <a:ext uri="{FF2B5EF4-FFF2-40B4-BE49-F238E27FC236}">
                <a16:creationId xmlns:a16="http://schemas.microsoft.com/office/drawing/2014/main" id="{6ED86E77-17DD-445D-B56D-2805DD0DE6F8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02012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9" name="Freeform 696">
            <a:extLst>
              <a:ext uri="{FF2B5EF4-FFF2-40B4-BE49-F238E27FC236}">
                <a16:creationId xmlns:a16="http://schemas.microsoft.com/office/drawing/2014/main" id="{31C465C4-F4C4-4B78-8D32-818D3DDF315C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0" name="Freeform 697">
            <a:extLst>
              <a:ext uri="{FF2B5EF4-FFF2-40B4-BE49-F238E27FC236}">
                <a16:creationId xmlns:a16="http://schemas.microsoft.com/office/drawing/2014/main" id="{A4D476E5-7F4A-4E2B-8FEE-27083FCED2A1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1" name="Freeform 698">
            <a:extLst>
              <a:ext uri="{FF2B5EF4-FFF2-40B4-BE49-F238E27FC236}">
                <a16:creationId xmlns:a16="http://schemas.microsoft.com/office/drawing/2014/main" id="{3E553BA8-D917-46B1-B01E-9754D9AE9AB6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2" name="Freeform 699">
            <a:extLst>
              <a:ext uri="{FF2B5EF4-FFF2-40B4-BE49-F238E27FC236}">
                <a16:creationId xmlns:a16="http://schemas.microsoft.com/office/drawing/2014/main" id="{48BC8BCC-F679-4B85-BFD5-11B048C811DE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3" name="Freeform 700">
            <a:extLst>
              <a:ext uri="{FF2B5EF4-FFF2-40B4-BE49-F238E27FC236}">
                <a16:creationId xmlns:a16="http://schemas.microsoft.com/office/drawing/2014/main" id="{B2FCA5CB-DC96-4821-87EA-6A5E32818054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4" name="Freeform 701">
            <a:extLst>
              <a:ext uri="{FF2B5EF4-FFF2-40B4-BE49-F238E27FC236}">
                <a16:creationId xmlns:a16="http://schemas.microsoft.com/office/drawing/2014/main" id="{0B679EAC-2ACE-40A1-8F24-5469BD3CE8AB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5" name="Freeform 702">
            <a:extLst>
              <a:ext uri="{FF2B5EF4-FFF2-40B4-BE49-F238E27FC236}">
                <a16:creationId xmlns:a16="http://schemas.microsoft.com/office/drawing/2014/main" id="{FFE6F1DE-52EC-4818-90F6-13C43A72578B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2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6" name="Freeform 703">
            <a:extLst>
              <a:ext uri="{FF2B5EF4-FFF2-40B4-BE49-F238E27FC236}">
                <a16:creationId xmlns:a16="http://schemas.microsoft.com/office/drawing/2014/main" id="{04DEA521-7146-4E41-8344-95BCF40076AA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4 w 154"/>
              <a:gd name="T45" fmla="*/ 13 h 154"/>
              <a:gd name="T46" fmla="*/ 46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5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7" name="Freeform 704">
            <a:extLst>
              <a:ext uri="{FF2B5EF4-FFF2-40B4-BE49-F238E27FC236}">
                <a16:creationId xmlns:a16="http://schemas.microsoft.com/office/drawing/2014/main" id="{DBE9A087-A5B2-4A6E-A53C-BDAB4871DE42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73984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8" name="Freeform 705">
            <a:extLst>
              <a:ext uri="{FF2B5EF4-FFF2-40B4-BE49-F238E27FC236}">
                <a16:creationId xmlns:a16="http://schemas.microsoft.com/office/drawing/2014/main" id="{91AA1CC7-ADCF-4CB4-9B6E-1D64F442264E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739849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9" name="Freeform 706">
            <a:extLst>
              <a:ext uri="{FF2B5EF4-FFF2-40B4-BE49-F238E27FC236}">
                <a16:creationId xmlns:a16="http://schemas.microsoft.com/office/drawing/2014/main" id="{E7A8FAD3-5619-49BF-8343-298223B70DA4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739849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0" name="Freeform 707">
            <a:extLst>
              <a:ext uri="{FF2B5EF4-FFF2-40B4-BE49-F238E27FC236}">
                <a16:creationId xmlns:a16="http://schemas.microsoft.com/office/drawing/2014/main" id="{7A921E35-2CFE-4929-A8D9-6080B37F7A1B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739849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1" name="Freeform 708">
            <a:extLst>
              <a:ext uri="{FF2B5EF4-FFF2-40B4-BE49-F238E27FC236}">
                <a16:creationId xmlns:a16="http://schemas.microsoft.com/office/drawing/2014/main" id="{DA7DF88E-97ED-4FE2-9E30-FCB1E92F9781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73984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2" name="Freeform 709">
            <a:extLst>
              <a:ext uri="{FF2B5EF4-FFF2-40B4-BE49-F238E27FC236}">
                <a16:creationId xmlns:a16="http://schemas.microsoft.com/office/drawing/2014/main" id="{EBA24041-2601-4F74-BCFE-9BE5EEEB9BE2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73984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3" name="Freeform 710">
            <a:extLst>
              <a:ext uri="{FF2B5EF4-FFF2-40B4-BE49-F238E27FC236}">
                <a16:creationId xmlns:a16="http://schemas.microsoft.com/office/drawing/2014/main" id="{98594835-A645-4448-AFEF-2E1950D654DC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73984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4" name="Freeform 711">
            <a:extLst>
              <a:ext uri="{FF2B5EF4-FFF2-40B4-BE49-F238E27FC236}">
                <a16:creationId xmlns:a16="http://schemas.microsoft.com/office/drawing/2014/main" id="{049FA94B-CEBA-4355-B0F3-ADA024A86AEC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69576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5" name="Freeform 712">
            <a:extLst>
              <a:ext uri="{FF2B5EF4-FFF2-40B4-BE49-F238E27FC236}">
                <a16:creationId xmlns:a16="http://schemas.microsoft.com/office/drawing/2014/main" id="{F2ED6280-A2DD-45E7-9A05-0AFE3F2B6EF0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69576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6" name="Freeform 713">
            <a:extLst>
              <a:ext uri="{FF2B5EF4-FFF2-40B4-BE49-F238E27FC236}">
                <a16:creationId xmlns:a16="http://schemas.microsoft.com/office/drawing/2014/main" id="{976F05D9-7C31-4267-8F90-766CDEFA1A53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695760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7" name="Freeform 714">
            <a:extLst>
              <a:ext uri="{FF2B5EF4-FFF2-40B4-BE49-F238E27FC236}">
                <a16:creationId xmlns:a16="http://schemas.microsoft.com/office/drawing/2014/main" id="{814493C0-413D-481F-B4AA-2D93E8BF74C2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695760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8" name="Freeform 715">
            <a:extLst>
              <a:ext uri="{FF2B5EF4-FFF2-40B4-BE49-F238E27FC236}">
                <a16:creationId xmlns:a16="http://schemas.microsoft.com/office/drawing/2014/main" id="{DC0C4A06-5B1F-4F90-8187-02B3E08C6CDF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695760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9" name="Freeform 716">
            <a:extLst>
              <a:ext uri="{FF2B5EF4-FFF2-40B4-BE49-F238E27FC236}">
                <a16:creationId xmlns:a16="http://schemas.microsoft.com/office/drawing/2014/main" id="{F6DA002A-05A1-4F8B-A009-D10435B0E3E8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64957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0" name="Freeform 717">
            <a:extLst>
              <a:ext uri="{FF2B5EF4-FFF2-40B4-BE49-F238E27FC236}">
                <a16:creationId xmlns:a16="http://schemas.microsoft.com/office/drawing/2014/main" id="{251D3371-13B3-490B-A41A-37C68CDC9381}"/>
              </a:ext>
            </a:extLst>
          </p:cNvPr>
          <p:cNvSpPr>
            <a:spLocks/>
          </p:cNvSpPr>
          <p:nvPr userDrawn="1"/>
        </p:nvSpPr>
        <p:spPr bwMode="auto">
          <a:xfrm>
            <a:off x="3337877" y="60338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2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1" name="Freeform 718">
            <a:extLst>
              <a:ext uri="{FF2B5EF4-FFF2-40B4-BE49-F238E27FC236}">
                <a16:creationId xmlns:a16="http://schemas.microsoft.com/office/drawing/2014/main" id="{7619F79B-DD07-4A0E-87B7-D75E88AC6A5D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739849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2" name="Freeform 719">
            <a:extLst>
              <a:ext uri="{FF2B5EF4-FFF2-40B4-BE49-F238E27FC236}">
                <a16:creationId xmlns:a16="http://schemas.microsoft.com/office/drawing/2014/main" id="{F18B0684-EB5F-4744-8E1F-47AB047AD413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73984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3" name="Freeform 720">
            <a:extLst>
              <a:ext uri="{FF2B5EF4-FFF2-40B4-BE49-F238E27FC236}">
                <a16:creationId xmlns:a16="http://schemas.microsoft.com/office/drawing/2014/main" id="{20E101ED-BDDD-4093-BF05-BEB8A57C7254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69576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6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4" name="Freeform 721">
            <a:extLst>
              <a:ext uri="{FF2B5EF4-FFF2-40B4-BE49-F238E27FC236}">
                <a16:creationId xmlns:a16="http://schemas.microsoft.com/office/drawing/2014/main" id="{EC2124B5-33BE-43B9-B90D-193F4F7F55C5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695760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5" name="Freeform 722">
            <a:extLst>
              <a:ext uri="{FF2B5EF4-FFF2-40B4-BE49-F238E27FC236}">
                <a16:creationId xmlns:a16="http://schemas.microsoft.com/office/drawing/2014/main" id="{CEDE5281-3416-406D-88CC-93470828BE71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64957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6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6" name="Freeform 723">
            <a:extLst>
              <a:ext uri="{FF2B5EF4-FFF2-40B4-BE49-F238E27FC236}">
                <a16:creationId xmlns:a16="http://schemas.microsoft.com/office/drawing/2014/main" id="{279DB3D8-40E3-4356-8E00-09197626AD59}"/>
              </a:ext>
            </a:extLst>
          </p:cNvPr>
          <p:cNvSpPr>
            <a:spLocks/>
          </p:cNvSpPr>
          <p:nvPr userDrawn="1"/>
        </p:nvSpPr>
        <p:spPr bwMode="auto">
          <a:xfrm>
            <a:off x="3200360" y="60443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7" name="Freeform 724">
            <a:extLst>
              <a:ext uri="{FF2B5EF4-FFF2-40B4-BE49-F238E27FC236}">
                <a16:creationId xmlns:a16="http://schemas.microsoft.com/office/drawing/2014/main" id="{F5EAC60E-FDF8-40BB-AA8C-0F8105A2EB51}"/>
              </a:ext>
            </a:extLst>
          </p:cNvPr>
          <p:cNvSpPr>
            <a:spLocks/>
          </p:cNvSpPr>
          <p:nvPr userDrawn="1"/>
        </p:nvSpPr>
        <p:spPr bwMode="auto">
          <a:xfrm>
            <a:off x="3199311" y="64957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8" name="Freeform 725">
            <a:extLst>
              <a:ext uri="{FF2B5EF4-FFF2-40B4-BE49-F238E27FC236}">
                <a16:creationId xmlns:a16="http://schemas.microsoft.com/office/drawing/2014/main" id="{FF5A93D2-2465-4AF7-993B-5EF8E3072203}"/>
              </a:ext>
            </a:extLst>
          </p:cNvPr>
          <p:cNvSpPr>
            <a:spLocks/>
          </p:cNvSpPr>
          <p:nvPr userDrawn="1"/>
        </p:nvSpPr>
        <p:spPr bwMode="auto">
          <a:xfrm>
            <a:off x="3153122" y="60443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1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1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9" name="Freeform 726">
            <a:extLst>
              <a:ext uri="{FF2B5EF4-FFF2-40B4-BE49-F238E27FC236}">
                <a16:creationId xmlns:a16="http://schemas.microsoft.com/office/drawing/2014/main" id="{D2B13303-DACE-4E89-84BE-F3D0076515BE}"/>
              </a:ext>
            </a:extLst>
          </p:cNvPr>
          <p:cNvSpPr>
            <a:spLocks/>
          </p:cNvSpPr>
          <p:nvPr userDrawn="1"/>
        </p:nvSpPr>
        <p:spPr bwMode="auto">
          <a:xfrm>
            <a:off x="3152073" y="64957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0" name="Freeform 727">
            <a:extLst>
              <a:ext uri="{FF2B5EF4-FFF2-40B4-BE49-F238E27FC236}">
                <a16:creationId xmlns:a16="http://schemas.microsoft.com/office/drawing/2014/main" id="{F93F32BA-44FC-4643-8773-28631CD4A44C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64957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1" name="Freeform 728">
            <a:extLst>
              <a:ext uri="{FF2B5EF4-FFF2-40B4-BE49-F238E27FC236}">
                <a16:creationId xmlns:a16="http://schemas.microsoft.com/office/drawing/2014/main" id="{C4C843C8-0BF3-406D-8396-31F193B06849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60233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2" name="Freeform 729">
            <a:extLst>
              <a:ext uri="{FF2B5EF4-FFF2-40B4-BE49-F238E27FC236}">
                <a16:creationId xmlns:a16="http://schemas.microsoft.com/office/drawing/2014/main" id="{D95F7086-84C6-44CF-A77B-96610CEFEA52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3" name="Freeform 730">
            <a:extLst>
              <a:ext uri="{FF2B5EF4-FFF2-40B4-BE49-F238E27FC236}">
                <a16:creationId xmlns:a16="http://schemas.microsoft.com/office/drawing/2014/main" id="{208BB2F1-4495-4FC6-AD84-37D235F05A2B}"/>
              </a:ext>
            </a:extLst>
          </p:cNvPr>
          <p:cNvSpPr>
            <a:spLocks/>
          </p:cNvSpPr>
          <p:nvPr userDrawn="1"/>
        </p:nvSpPr>
        <p:spPr bwMode="auto">
          <a:xfrm>
            <a:off x="3246549" y="55509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4" name="Freeform 731">
            <a:extLst>
              <a:ext uri="{FF2B5EF4-FFF2-40B4-BE49-F238E27FC236}">
                <a16:creationId xmlns:a16="http://schemas.microsoft.com/office/drawing/2014/main" id="{6FC70073-B9F0-4BF5-9993-7A098FC8301C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55509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5" name="Freeform 732">
            <a:extLst>
              <a:ext uri="{FF2B5EF4-FFF2-40B4-BE49-F238E27FC236}">
                <a16:creationId xmlns:a16="http://schemas.microsoft.com/office/drawing/2014/main" id="{47DE7063-B618-46F8-AA06-127C979492C6}"/>
              </a:ext>
            </a:extLst>
          </p:cNvPr>
          <p:cNvSpPr>
            <a:spLocks/>
          </p:cNvSpPr>
          <p:nvPr userDrawn="1"/>
        </p:nvSpPr>
        <p:spPr bwMode="auto">
          <a:xfrm>
            <a:off x="3292738" y="509956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6" name="Freeform 733">
            <a:extLst>
              <a:ext uri="{FF2B5EF4-FFF2-40B4-BE49-F238E27FC236}">
                <a16:creationId xmlns:a16="http://schemas.microsoft.com/office/drawing/2014/main" id="{A4F541EA-9FA6-4CFE-A82F-E3C652E8317A}"/>
              </a:ext>
            </a:extLst>
          </p:cNvPr>
          <p:cNvSpPr>
            <a:spLocks/>
          </p:cNvSpPr>
          <p:nvPr userDrawn="1"/>
        </p:nvSpPr>
        <p:spPr bwMode="auto">
          <a:xfrm>
            <a:off x="3430253" y="64957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7" name="Freeform 734">
            <a:extLst>
              <a:ext uri="{FF2B5EF4-FFF2-40B4-BE49-F238E27FC236}">
                <a16:creationId xmlns:a16="http://schemas.microsoft.com/office/drawing/2014/main" id="{4A3CF1D0-2CC7-403F-9510-124B38CA4092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64957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8" name="Freeform 735">
            <a:extLst>
              <a:ext uri="{FF2B5EF4-FFF2-40B4-BE49-F238E27FC236}">
                <a16:creationId xmlns:a16="http://schemas.microsoft.com/office/drawing/2014/main" id="{51997AE8-0643-4F41-8BD8-2FDC0E24693F}"/>
              </a:ext>
            </a:extLst>
          </p:cNvPr>
          <p:cNvSpPr>
            <a:spLocks/>
          </p:cNvSpPr>
          <p:nvPr userDrawn="1"/>
        </p:nvSpPr>
        <p:spPr bwMode="auto">
          <a:xfrm>
            <a:off x="3522630" y="64957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9" name="Freeform 736">
            <a:extLst>
              <a:ext uri="{FF2B5EF4-FFF2-40B4-BE49-F238E27FC236}">
                <a16:creationId xmlns:a16="http://schemas.microsoft.com/office/drawing/2014/main" id="{733486C4-0232-455D-95CC-A90A6BCF796C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64957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0" name="Freeform 737">
            <a:extLst>
              <a:ext uri="{FF2B5EF4-FFF2-40B4-BE49-F238E27FC236}">
                <a16:creationId xmlns:a16="http://schemas.microsoft.com/office/drawing/2014/main" id="{A90F71CF-0687-4FC6-980B-F922C286BF11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64957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1" name="Freeform 738">
            <a:extLst>
              <a:ext uri="{FF2B5EF4-FFF2-40B4-BE49-F238E27FC236}">
                <a16:creationId xmlns:a16="http://schemas.microsoft.com/office/drawing/2014/main" id="{58B5A0E9-BA87-460D-9324-B4FA13D2D070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64957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2" name="Freeform 739">
            <a:extLst>
              <a:ext uri="{FF2B5EF4-FFF2-40B4-BE49-F238E27FC236}">
                <a16:creationId xmlns:a16="http://schemas.microsoft.com/office/drawing/2014/main" id="{1D404BAF-533E-4883-9DD4-1614C91C0A84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7419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3" name="Freeform 740">
            <a:extLst>
              <a:ext uri="{FF2B5EF4-FFF2-40B4-BE49-F238E27FC236}">
                <a16:creationId xmlns:a16="http://schemas.microsoft.com/office/drawing/2014/main" id="{4E75148D-6930-4064-85F1-3100947DB93F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7419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4" name="Freeform 741">
            <a:extLst>
              <a:ext uri="{FF2B5EF4-FFF2-40B4-BE49-F238E27FC236}">
                <a16:creationId xmlns:a16="http://schemas.microsoft.com/office/drawing/2014/main" id="{3E8D0DB0-8F5B-4A94-8ED8-AAD38658EC4F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7419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5" name="Freeform 742">
            <a:extLst>
              <a:ext uri="{FF2B5EF4-FFF2-40B4-BE49-F238E27FC236}">
                <a16:creationId xmlns:a16="http://schemas.microsoft.com/office/drawing/2014/main" id="{600C340B-BB7B-49C8-9BC4-7727245CBDE4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7419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6" name="Freeform 743">
            <a:extLst>
              <a:ext uri="{FF2B5EF4-FFF2-40B4-BE49-F238E27FC236}">
                <a16:creationId xmlns:a16="http://schemas.microsoft.com/office/drawing/2014/main" id="{3F44AD48-6CD7-401C-9FFD-276962FFB1B8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7419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7" name="Freeform 744">
            <a:extLst>
              <a:ext uri="{FF2B5EF4-FFF2-40B4-BE49-F238E27FC236}">
                <a16:creationId xmlns:a16="http://schemas.microsoft.com/office/drawing/2014/main" id="{EAEF2E0E-A6AF-400F-8014-8BA0B1557C0A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7419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8" name="Freeform 745">
            <a:extLst>
              <a:ext uri="{FF2B5EF4-FFF2-40B4-BE49-F238E27FC236}">
                <a16:creationId xmlns:a16="http://schemas.microsoft.com/office/drawing/2014/main" id="{D030E912-8E8C-4067-A301-6C94A062BFBA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7419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2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9" name="Freeform 746">
            <a:extLst>
              <a:ext uri="{FF2B5EF4-FFF2-40B4-BE49-F238E27FC236}">
                <a16:creationId xmlns:a16="http://schemas.microsoft.com/office/drawing/2014/main" id="{AA6050DE-DAAF-48EF-B2F1-CFC944862CAB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7419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6 w 154"/>
              <a:gd name="T47" fmla="*/ 6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0" name="Freeform 747">
            <a:extLst>
              <a:ext uri="{FF2B5EF4-FFF2-40B4-BE49-F238E27FC236}">
                <a16:creationId xmlns:a16="http://schemas.microsoft.com/office/drawing/2014/main" id="{1453C875-1ADE-4462-9F1C-D866C2A335D2}"/>
              </a:ext>
            </a:extLst>
          </p:cNvPr>
          <p:cNvSpPr>
            <a:spLocks/>
          </p:cNvSpPr>
          <p:nvPr userDrawn="1"/>
        </p:nvSpPr>
        <p:spPr bwMode="auto">
          <a:xfrm>
            <a:off x="4216506" y="7419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1" name="Freeform 748">
            <a:extLst>
              <a:ext uri="{FF2B5EF4-FFF2-40B4-BE49-F238E27FC236}">
                <a16:creationId xmlns:a16="http://schemas.microsoft.com/office/drawing/2014/main" id="{84816789-B782-4CDA-B862-73D62183E484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69785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2" name="Freeform 749">
            <a:extLst>
              <a:ext uri="{FF2B5EF4-FFF2-40B4-BE49-F238E27FC236}">
                <a16:creationId xmlns:a16="http://schemas.microsoft.com/office/drawing/2014/main" id="{3513AC6F-F83C-4D87-B5B8-3E731340D0A9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697859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3" name="Freeform 750">
            <a:extLst>
              <a:ext uri="{FF2B5EF4-FFF2-40B4-BE49-F238E27FC236}">
                <a16:creationId xmlns:a16="http://schemas.microsoft.com/office/drawing/2014/main" id="{66B8A57E-8FF2-4DF6-A980-CC286237B6EE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697859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4" name="Freeform 751">
            <a:extLst>
              <a:ext uri="{FF2B5EF4-FFF2-40B4-BE49-F238E27FC236}">
                <a16:creationId xmlns:a16="http://schemas.microsoft.com/office/drawing/2014/main" id="{56AACFA0-52A5-44D5-BE32-69E73ABFDDA9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69785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5" name="Freeform 752">
            <a:extLst>
              <a:ext uri="{FF2B5EF4-FFF2-40B4-BE49-F238E27FC236}">
                <a16:creationId xmlns:a16="http://schemas.microsoft.com/office/drawing/2014/main" id="{0A8A8147-FABA-43F0-96FC-71E299D46CC3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697859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6" name="Freeform 753">
            <a:extLst>
              <a:ext uri="{FF2B5EF4-FFF2-40B4-BE49-F238E27FC236}">
                <a16:creationId xmlns:a16="http://schemas.microsoft.com/office/drawing/2014/main" id="{68172CC9-768C-4D19-984E-0919487A4A86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697859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7" name="Freeform 754">
            <a:extLst>
              <a:ext uri="{FF2B5EF4-FFF2-40B4-BE49-F238E27FC236}">
                <a16:creationId xmlns:a16="http://schemas.microsoft.com/office/drawing/2014/main" id="{90CE61CE-8C38-48D6-A83D-28F316345734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69785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6 h 153"/>
              <a:gd name="T6" fmla="*/ 142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8" name="Freeform 755">
            <a:extLst>
              <a:ext uri="{FF2B5EF4-FFF2-40B4-BE49-F238E27FC236}">
                <a16:creationId xmlns:a16="http://schemas.microsoft.com/office/drawing/2014/main" id="{8FD109ED-35AC-46CD-A3D1-22B0C743EBE2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69785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9" name="Freeform 756">
            <a:extLst>
              <a:ext uri="{FF2B5EF4-FFF2-40B4-BE49-F238E27FC236}">
                <a16:creationId xmlns:a16="http://schemas.microsoft.com/office/drawing/2014/main" id="{5723F3B8-C74C-4F28-8447-907625B66761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6516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0" name="Freeform 757">
            <a:extLst>
              <a:ext uri="{FF2B5EF4-FFF2-40B4-BE49-F238E27FC236}">
                <a16:creationId xmlns:a16="http://schemas.microsoft.com/office/drawing/2014/main" id="{9A607CDD-8FB9-424E-8925-14E1A9C1F22E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65167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1" name="Freeform 758">
            <a:extLst>
              <a:ext uri="{FF2B5EF4-FFF2-40B4-BE49-F238E27FC236}">
                <a16:creationId xmlns:a16="http://schemas.microsoft.com/office/drawing/2014/main" id="{DC12DFCD-A606-4CF6-8DAD-B520C6FF1DE3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7419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2" name="Freeform 759">
            <a:extLst>
              <a:ext uri="{FF2B5EF4-FFF2-40B4-BE49-F238E27FC236}">
                <a16:creationId xmlns:a16="http://schemas.microsoft.com/office/drawing/2014/main" id="{BA50F154-8C63-46A5-A0A3-7AC0C4FB54C8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7419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3" name="Freeform 760">
            <a:extLst>
              <a:ext uri="{FF2B5EF4-FFF2-40B4-BE49-F238E27FC236}">
                <a16:creationId xmlns:a16="http://schemas.microsoft.com/office/drawing/2014/main" id="{0C2E13B6-1B25-4677-AB0D-6AFB442E532D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24477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4" name="Freeform 761">
            <a:extLst>
              <a:ext uri="{FF2B5EF4-FFF2-40B4-BE49-F238E27FC236}">
                <a16:creationId xmlns:a16="http://schemas.microsoft.com/office/drawing/2014/main" id="{0A87F1A5-0EBB-4BCD-9CFF-B3E9FBA2A4D6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244772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5" name="Freeform 762">
            <a:extLst>
              <a:ext uri="{FF2B5EF4-FFF2-40B4-BE49-F238E27FC236}">
                <a16:creationId xmlns:a16="http://schemas.microsoft.com/office/drawing/2014/main" id="{9443632C-5D4A-45CF-AF55-704E3A413753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20068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6" name="Freeform 763">
            <a:extLst>
              <a:ext uri="{FF2B5EF4-FFF2-40B4-BE49-F238E27FC236}">
                <a16:creationId xmlns:a16="http://schemas.microsoft.com/office/drawing/2014/main" id="{D0C9E897-3AED-49C7-97D4-BE9F96DB8CC6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20068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7" name="Freeform 764">
            <a:extLst>
              <a:ext uri="{FF2B5EF4-FFF2-40B4-BE49-F238E27FC236}">
                <a16:creationId xmlns:a16="http://schemas.microsoft.com/office/drawing/2014/main" id="{124431BE-1574-4B5D-B761-45FA6777C237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15449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8" name="Freeform 765">
            <a:extLst>
              <a:ext uri="{FF2B5EF4-FFF2-40B4-BE49-F238E27FC236}">
                <a16:creationId xmlns:a16="http://schemas.microsoft.com/office/drawing/2014/main" id="{CC2DE17A-38E2-4879-B456-7DAC7BBE8194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15449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9" name="Freeform 766">
            <a:extLst>
              <a:ext uri="{FF2B5EF4-FFF2-40B4-BE49-F238E27FC236}">
                <a16:creationId xmlns:a16="http://schemas.microsoft.com/office/drawing/2014/main" id="{3E89AF93-9F98-4E35-90A9-769660868366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24477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5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0" name="Freeform 767">
            <a:extLst>
              <a:ext uri="{FF2B5EF4-FFF2-40B4-BE49-F238E27FC236}">
                <a16:creationId xmlns:a16="http://schemas.microsoft.com/office/drawing/2014/main" id="{44EC5F0E-8F94-4317-943B-B29096193258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20068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1" name="Freeform 768">
            <a:extLst>
              <a:ext uri="{FF2B5EF4-FFF2-40B4-BE49-F238E27FC236}">
                <a16:creationId xmlns:a16="http://schemas.microsoft.com/office/drawing/2014/main" id="{183A097E-C736-4BE9-8DAC-C844A2C34E24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33924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2" name="Freeform 769">
            <a:extLst>
              <a:ext uri="{FF2B5EF4-FFF2-40B4-BE49-F238E27FC236}">
                <a16:creationId xmlns:a16="http://schemas.microsoft.com/office/drawing/2014/main" id="{41E83973-D38C-4AC0-851B-12EFC0E62F80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33924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3" name="Freeform 770">
            <a:extLst>
              <a:ext uri="{FF2B5EF4-FFF2-40B4-BE49-F238E27FC236}">
                <a16:creationId xmlns:a16="http://schemas.microsoft.com/office/drawing/2014/main" id="{3705444A-04BA-4D14-9132-35B2A36A86A9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29515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4" name="Freeform 771">
            <a:extLst>
              <a:ext uri="{FF2B5EF4-FFF2-40B4-BE49-F238E27FC236}">
                <a16:creationId xmlns:a16="http://schemas.microsoft.com/office/drawing/2014/main" id="{7C4DE6B4-0496-4ECF-9316-B85D826A44C6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29515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5" name="Freeform 772">
            <a:extLst>
              <a:ext uri="{FF2B5EF4-FFF2-40B4-BE49-F238E27FC236}">
                <a16:creationId xmlns:a16="http://schemas.microsoft.com/office/drawing/2014/main" id="{248F035F-25AB-4370-A369-94EE5B2ADB70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33924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6" name="Freeform 773">
            <a:extLst>
              <a:ext uri="{FF2B5EF4-FFF2-40B4-BE49-F238E27FC236}">
                <a16:creationId xmlns:a16="http://schemas.microsoft.com/office/drawing/2014/main" id="{BF3AB211-040B-4B16-B39D-C11C75125364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29515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7" name="Freeform 774">
            <a:extLst>
              <a:ext uri="{FF2B5EF4-FFF2-40B4-BE49-F238E27FC236}">
                <a16:creationId xmlns:a16="http://schemas.microsoft.com/office/drawing/2014/main" id="{FB99E5D1-4A70-42C2-8DC5-357DE7B435B7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4316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8" name="Freeform 775">
            <a:extLst>
              <a:ext uri="{FF2B5EF4-FFF2-40B4-BE49-F238E27FC236}">
                <a16:creationId xmlns:a16="http://schemas.microsoft.com/office/drawing/2014/main" id="{17424B87-2361-4477-88DF-2F32C568FD77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4316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7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9" name="Freeform 776">
            <a:extLst>
              <a:ext uri="{FF2B5EF4-FFF2-40B4-BE49-F238E27FC236}">
                <a16:creationId xmlns:a16="http://schemas.microsoft.com/office/drawing/2014/main" id="{E68679C8-5233-4F4F-AE59-4754B7D10CF7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43162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0" name="Freeform 777">
            <a:extLst>
              <a:ext uri="{FF2B5EF4-FFF2-40B4-BE49-F238E27FC236}">
                <a16:creationId xmlns:a16="http://schemas.microsoft.com/office/drawing/2014/main" id="{79F26962-480F-4C36-ACDF-9027199FA5F1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38753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1" name="Freeform 778">
            <a:extLst>
              <a:ext uri="{FF2B5EF4-FFF2-40B4-BE49-F238E27FC236}">
                <a16:creationId xmlns:a16="http://schemas.microsoft.com/office/drawing/2014/main" id="{7294450A-3E54-4B8A-935F-59B30AE83BA7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38753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2" name="Freeform 779">
            <a:extLst>
              <a:ext uri="{FF2B5EF4-FFF2-40B4-BE49-F238E27FC236}">
                <a16:creationId xmlns:a16="http://schemas.microsoft.com/office/drawing/2014/main" id="{3CCA77E8-9E23-4A66-8CB6-F0BA9C7862DE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38753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3" name="Freeform 780">
            <a:extLst>
              <a:ext uri="{FF2B5EF4-FFF2-40B4-BE49-F238E27FC236}">
                <a16:creationId xmlns:a16="http://schemas.microsoft.com/office/drawing/2014/main" id="{FEE1EF03-5176-40BB-BD37-A7462246930F}"/>
              </a:ext>
            </a:extLst>
          </p:cNvPr>
          <p:cNvSpPr>
            <a:spLocks/>
          </p:cNvSpPr>
          <p:nvPr userDrawn="1"/>
        </p:nvSpPr>
        <p:spPr bwMode="auto">
          <a:xfrm>
            <a:off x="3753572" y="138753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4" name="Freeform 781">
            <a:extLst>
              <a:ext uri="{FF2B5EF4-FFF2-40B4-BE49-F238E27FC236}">
                <a16:creationId xmlns:a16="http://schemas.microsoft.com/office/drawing/2014/main" id="{4FBE7AC5-998C-4FDB-9F4E-435E80837517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524002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5" name="Freeform 782">
            <a:extLst>
              <a:ext uri="{FF2B5EF4-FFF2-40B4-BE49-F238E27FC236}">
                <a16:creationId xmlns:a16="http://schemas.microsoft.com/office/drawing/2014/main" id="{29FAE7E7-21EF-4029-80E0-A08084B57DA2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57334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6" name="Freeform 783">
            <a:extLst>
              <a:ext uri="{FF2B5EF4-FFF2-40B4-BE49-F238E27FC236}">
                <a16:creationId xmlns:a16="http://schemas.microsoft.com/office/drawing/2014/main" id="{C455B577-59C7-4AD6-A058-3A9EF237177C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524002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6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2 h 154"/>
              <a:gd name="T46" fmla="*/ 47 w 153"/>
              <a:gd name="T47" fmla="*/ 5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7" name="Freeform 784">
            <a:extLst>
              <a:ext uri="{FF2B5EF4-FFF2-40B4-BE49-F238E27FC236}">
                <a16:creationId xmlns:a16="http://schemas.microsoft.com/office/drawing/2014/main" id="{90E4A5AF-96B7-48D9-B874-639FA3F6DE3A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47991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3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8" name="Freeform 785">
            <a:extLst>
              <a:ext uri="{FF2B5EF4-FFF2-40B4-BE49-F238E27FC236}">
                <a16:creationId xmlns:a16="http://schemas.microsoft.com/office/drawing/2014/main" id="{6CE58DBB-8BAD-4B4B-A74D-F4DDACBC7258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47991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3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9" name="Freeform 786">
            <a:extLst>
              <a:ext uri="{FF2B5EF4-FFF2-40B4-BE49-F238E27FC236}">
                <a16:creationId xmlns:a16="http://schemas.microsoft.com/office/drawing/2014/main" id="{4DED7F71-1CFA-4E5F-A90E-79EF350B2F0C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47991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3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0" name="Freeform 787">
            <a:extLst>
              <a:ext uri="{FF2B5EF4-FFF2-40B4-BE49-F238E27FC236}">
                <a16:creationId xmlns:a16="http://schemas.microsoft.com/office/drawing/2014/main" id="{2B10F382-A635-4172-B561-28720800D9CE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15449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1" name="Freeform 788">
            <a:extLst>
              <a:ext uri="{FF2B5EF4-FFF2-40B4-BE49-F238E27FC236}">
                <a16:creationId xmlns:a16="http://schemas.microsoft.com/office/drawing/2014/main" id="{6AA77651-247A-4560-9F5E-638150EF2C93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110935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3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2" name="Freeform 789">
            <a:extLst>
              <a:ext uri="{FF2B5EF4-FFF2-40B4-BE49-F238E27FC236}">
                <a16:creationId xmlns:a16="http://schemas.microsoft.com/office/drawing/2014/main" id="{F6EBACDA-6F78-4242-BA82-6D7ADE85BD54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110935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4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3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3" name="Freeform 790">
            <a:extLst>
              <a:ext uri="{FF2B5EF4-FFF2-40B4-BE49-F238E27FC236}">
                <a16:creationId xmlns:a16="http://schemas.microsoft.com/office/drawing/2014/main" id="{0C40C086-5609-4460-9F6C-241C8AAA6A12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10935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3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4" name="Freeform 791">
            <a:extLst>
              <a:ext uri="{FF2B5EF4-FFF2-40B4-BE49-F238E27FC236}">
                <a16:creationId xmlns:a16="http://schemas.microsoft.com/office/drawing/2014/main" id="{F1F499E5-9570-4C7C-83F3-B727025877B5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697859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5" name="Freeform 792">
            <a:extLst>
              <a:ext uri="{FF2B5EF4-FFF2-40B4-BE49-F238E27FC236}">
                <a16:creationId xmlns:a16="http://schemas.microsoft.com/office/drawing/2014/main" id="{3D460BF2-19DC-4958-8C0F-F766582FB532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69785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6" name="Freeform 793">
            <a:extLst>
              <a:ext uri="{FF2B5EF4-FFF2-40B4-BE49-F238E27FC236}">
                <a16:creationId xmlns:a16="http://schemas.microsoft.com/office/drawing/2014/main" id="{BE73B3B4-140E-4C13-B558-DAA7A164ACB2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65167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7" name="Freeform 794">
            <a:extLst>
              <a:ext uri="{FF2B5EF4-FFF2-40B4-BE49-F238E27FC236}">
                <a16:creationId xmlns:a16="http://schemas.microsoft.com/office/drawing/2014/main" id="{5FF2E0A7-F2F0-4A1C-BC6D-FEE15248BDFF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133505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8" name="Freeform 795">
            <a:extLst>
              <a:ext uri="{FF2B5EF4-FFF2-40B4-BE49-F238E27FC236}">
                <a16:creationId xmlns:a16="http://schemas.microsoft.com/office/drawing/2014/main" id="{7C5FCFAD-6E53-4359-A288-947653531CB9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1290960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9" name="Freeform 796">
            <a:extLst>
              <a:ext uri="{FF2B5EF4-FFF2-40B4-BE49-F238E27FC236}">
                <a16:creationId xmlns:a16="http://schemas.microsoft.com/office/drawing/2014/main" id="{AAE21987-8C7E-4891-98FC-2958172C4550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1243723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0" name="Freeform 797">
            <a:extLst>
              <a:ext uri="{FF2B5EF4-FFF2-40B4-BE49-F238E27FC236}">
                <a16:creationId xmlns:a16="http://schemas.microsoft.com/office/drawing/2014/main" id="{AC455BDD-5F0F-4B74-9CC6-68302908C46A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1199634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2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1" name="Freeform 798">
            <a:extLst>
              <a:ext uri="{FF2B5EF4-FFF2-40B4-BE49-F238E27FC236}">
                <a16:creationId xmlns:a16="http://schemas.microsoft.com/office/drawing/2014/main" id="{84FE38BA-17AE-4A88-A746-AB104302657E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115554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2" name="Freeform 799">
            <a:extLst>
              <a:ext uri="{FF2B5EF4-FFF2-40B4-BE49-F238E27FC236}">
                <a16:creationId xmlns:a16="http://schemas.microsoft.com/office/drawing/2014/main" id="{FF22710E-613E-4E78-BED6-97ACED433EE7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110935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3" name="Freeform 800">
            <a:extLst>
              <a:ext uri="{FF2B5EF4-FFF2-40B4-BE49-F238E27FC236}">
                <a16:creationId xmlns:a16="http://schemas.microsoft.com/office/drawing/2014/main" id="{6464D4F3-5692-4014-AE6A-AAC50F5038CC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6516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4" name="Freeform 801">
            <a:extLst>
              <a:ext uri="{FF2B5EF4-FFF2-40B4-BE49-F238E27FC236}">
                <a16:creationId xmlns:a16="http://schemas.microsoft.com/office/drawing/2014/main" id="{7B98CF32-5A3C-4715-A484-0E2DE99BBADD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65167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5" name="Freeform 802">
            <a:extLst>
              <a:ext uri="{FF2B5EF4-FFF2-40B4-BE49-F238E27FC236}">
                <a16:creationId xmlns:a16="http://schemas.microsoft.com/office/drawing/2014/main" id="{A0E1BD6C-4C54-4086-ABB7-B56AC7F6042F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6516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6" name="Freeform 803">
            <a:extLst>
              <a:ext uri="{FF2B5EF4-FFF2-40B4-BE49-F238E27FC236}">
                <a16:creationId xmlns:a16="http://schemas.microsoft.com/office/drawing/2014/main" id="{F914F22D-92D1-45B1-A36F-8AEE5131BE47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65167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7" name="Freeform 804">
            <a:extLst>
              <a:ext uri="{FF2B5EF4-FFF2-40B4-BE49-F238E27FC236}">
                <a16:creationId xmlns:a16="http://schemas.microsoft.com/office/drawing/2014/main" id="{50566DFD-3514-4FBF-BDD3-1A6A1FD2A963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65167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9 w 155"/>
              <a:gd name="T5" fmla="*/ 106 h 153"/>
              <a:gd name="T6" fmla="*/ 142 w 155"/>
              <a:gd name="T7" fmla="*/ 119 h 153"/>
              <a:gd name="T8" fmla="*/ 132 w 155"/>
              <a:gd name="T9" fmla="*/ 130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8" name="Freeform 805">
            <a:extLst>
              <a:ext uri="{FF2B5EF4-FFF2-40B4-BE49-F238E27FC236}">
                <a16:creationId xmlns:a16="http://schemas.microsoft.com/office/drawing/2014/main" id="{8796D752-62A1-4CC6-81EC-E4157AE07C82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6516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6 h 153"/>
              <a:gd name="T6" fmla="*/ 142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9" name="Freeform 806">
            <a:extLst>
              <a:ext uri="{FF2B5EF4-FFF2-40B4-BE49-F238E27FC236}">
                <a16:creationId xmlns:a16="http://schemas.microsoft.com/office/drawing/2014/main" id="{FE22AB51-64E6-4E8B-AF6B-A56472C63452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6516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0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0" name="Freeform 807">
            <a:extLst>
              <a:ext uri="{FF2B5EF4-FFF2-40B4-BE49-F238E27FC236}">
                <a16:creationId xmlns:a16="http://schemas.microsoft.com/office/drawing/2014/main" id="{549E4D67-83E0-43F7-B6C1-F287FF233087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1" name="Freeform 809">
            <a:extLst>
              <a:ext uri="{FF2B5EF4-FFF2-40B4-BE49-F238E27FC236}">
                <a16:creationId xmlns:a16="http://schemas.microsoft.com/office/drawing/2014/main" id="{5A3CF9DF-845F-4156-97DC-341921276F18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60233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2" name="Freeform 810">
            <a:extLst>
              <a:ext uri="{FF2B5EF4-FFF2-40B4-BE49-F238E27FC236}">
                <a16:creationId xmlns:a16="http://schemas.microsoft.com/office/drawing/2014/main" id="{C5F69B39-A2CB-476B-AF06-12EC5BE052D6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60233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3" name="Freeform 811">
            <a:extLst>
              <a:ext uri="{FF2B5EF4-FFF2-40B4-BE49-F238E27FC236}">
                <a16:creationId xmlns:a16="http://schemas.microsoft.com/office/drawing/2014/main" id="{80C96646-1E21-4DBD-BB68-B7FE246362D9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4" name="Freeform 812">
            <a:extLst>
              <a:ext uri="{FF2B5EF4-FFF2-40B4-BE49-F238E27FC236}">
                <a16:creationId xmlns:a16="http://schemas.microsoft.com/office/drawing/2014/main" id="{88C9E6F0-E8FB-4A9A-A72B-EBD04AAB71A2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5" name="Freeform 813">
            <a:extLst>
              <a:ext uri="{FF2B5EF4-FFF2-40B4-BE49-F238E27FC236}">
                <a16:creationId xmlns:a16="http://schemas.microsoft.com/office/drawing/2014/main" id="{C98DF366-32ED-4CDE-9D95-46E5DEDD17E1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6" name="Freeform 814">
            <a:extLst>
              <a:ext uri="{FF2B5EF4-FFF2-40B4-BE49-F238E27FC236}">
                <a16:creationId xmlns:a16="http://schemas.microsoft.com/office/drawing/2014/main" id="{06D16F69-DD56-475F-B734-9054CCD41A7D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2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2" y="119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7" name="Freeform 815">
            <a:extLst>
              <a:ext uri="{FF2B5EF4-FFF2-40B4-BE49-F238E27FC236}">
                <a16:creationId xmlns:a16="http://schemas.microsoft.com/office/drawing/2014/main" id="{70186A5B-1067-446F-BA26-47EAD5D74B4C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4 w 154"/>
              <a:gd name="T45" fmla="*/ 13 h 154"/>
              <a:gd name="T46" fmla="*/ 46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5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8" name="Freeform 816">
            <a:extLst>
              <a:ext uri="{FF2B5EF4-FFF2-40B4-BE49-F238E27FC236}">
                <a16:creationId xmlns:a16="http://schemas.microsoft.com/office/drawing/2014/main" id="{4B3740B8-B26E-45E9-912A-F0EDBA1F3889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9" name="Freeform 817">
            <a:extLst>
              <a:ext uri="{FF2B5EF4-FFF2-40B4-BE49-F238E27FC236}">
                <a16:creationId xmlns:a16="http://schemas.microsoft.com/office/drawing/2014/main" id="{03F8194E-062E-424D-9728-5EEE18461F40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5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0" name="Freeform 818">
            <a:extLst>
              <a:ext uri="{FF2B5EF4-FFF2-40B4-BE49-F238E27FC236}">
                <a16:creationId xmlns:a16="http://schemas.microsoft.com/office/drawing/2014/main" id="{90E32C66-447D-407B-BDCD-E9C5F424F6DF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1" name="Freeform 819">
            <a:extLst>
              <a:ext uri="{FF2B5EF4-FFF2-40B4-BE49-F238E27FC236}">
                <a16:creationId xmlns:a16="http://schemas.microsoft.com/office/drawing/2014/main" id="{1FEB7313-729E-4314-BB6A-67BC6C956D08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2" name="Freeform 820">
            <a:extLst>
              <a:ext uri="{FF2B5EF4-FFF2-40B4-BE49-F238E27FC236}">
                <a16:creationId xmlns:a16="http://schemas.microsoft.com/office/drawing/2014/main" id="{B16429D4-0406-46A8-9B09-9606CEB1FE2D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3" name="Freeform 821">
            <a:extLst>
              <a:ext uri="{FF2B5EF4-FFF2-40B4-BE49-F238E27FC236}">
                <a16:creationId xmlns:a16="http://schemas.microsoft.com/office/drawing/2014/main" id="{019FD480-B754-464F-90E2-B2D1BA72CA8F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5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4" name="Freeform 822">
            <a:extLst>
              <a:ext uri="{FF2B5EF4-FFF2-40B4-BE49-F238E27FC236}">
                <a16:creationId xmlns:a16="http://schemas.microsoft.com/office/drawing/2014/main" id="{7AB313DA-4E50-4E99-83BC-A28B9DD6833D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5" name="Freeform 823">
            <a:extLst>
              <a:ext uri="{FF2B5EF4-FFF2-40B4-BE49-F238E27FC236}">
                <a16:creationId xmlns:a16="http://schemas.microsoft.com/office/drawing/2014/main" id="{C4FAE8CB-677C-4CCF-9ECF-0785FAAF87BC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5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6" name="Freeform 824">
            <a:extLst>
              <a:ext uri="{FF2B5EF4-FFF2-40B4-BE49-F238E27FC236}">
                <a16:creationId xmlns:a16="http://schemas.microsoft.com/office/drawing/2014/main" id="{A465B2F2-4CEF-45B0-AF56-4FF216FC3EA6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7" name="Freeform 825">
            <a:extLst>
              <a:ext uri="{FF2B5EF4-FFF2-40B4-BE49-F238E27FC236}">
                <a16:creationId xmlns:a16="http://schemas.microsoft.com/office/drawing/2014/main" id="{39ADBEB2-1CE5-4A94-B0D1-32632EAA22D3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7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5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5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8" name="Freeform 826">
            <a:extLst>
              <a:ext uri="{FF2B5EF4-FFF2-40B4-BE49-F238E27FC236}">
                <a16:creationId xmlns:a16="http://schemas.microsoft.com/office/drawing/2014/main" id="{0D486AFC-33E6-4533-960D-2DFF11E12059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2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3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9" name="Freeform 827">
            <a:extLst>
              <a:ext uri="{FF2B5EF4-FFF2-40B4-BE49-F238E27FC236}">
                <a16:creationId xmlns:a16="http://schemas.microsoft.com/office/drawing/2014/main" id="{A1281D5D-666B-4854-AD5D-4C438047D84A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5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5 h 155"/>
              <a:gd name="T56" fmla="*/ 113 w 154"/>
              <a:gd name="T57" fmla="*/ 10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6" y="7"/>
                </a:lnTo>
                <a:lnTo>
                  <a:pt x="53" y="5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5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0" name="Freeform 828">
            <a:extLst>
              <a:ext uri="{FF2B5EF4-FFF2-40B4-BE49-F238E27FC236}">
                <a16:creationId xmlns:a16="http://schemas.microsoft.com/office/drawing/2014/main" id="{741F3B29-FA3A-4110-9EF0-1EC3842964BB}"/>
              </a:ext>
            </a:extLst>
          </p:cNvPr>
          <p:cNvSpPr>
            <a:spLocks/>
          </p:cNvSpPr>
          <p:nvPr userDrawn="1"/>
        </p:nvSpPr>
        <p:spPr bwMode="auto">
          <a:xfrm>
            <a:off x="3846999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1" name="Freeform 829">
            <a:extLst>
              <a:ext uri="{FF2B5EF4-FFF2-40B4-BE49-F238E27FC236}">
                <a16:creationId xmlns:a16="http://schemas.microsoft.com/office/drawing/2014/main" id="{CA8FB012-9E0D-47E6-99BF-16D24DC49020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50890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5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2" name="Freeform 830">
            <a:extLst>
              <a:ext uri="{FF2B5EF4-FFF2-40B4-BE49-F238E27FC236}">
                <a16:creationId xmlns:a16="http://schemas.microsoft.com/office/drawing/2014/main" id="{8C897627-D4AF-4915-8599-B34B0CB66E78}"/>
              </a:ext>
            </a:extLst>
          </p:cNvPr>
          <p:cNvSpPr>
            <a:spLocks/>
          </p:cNvSpPr>
          <p:nvPr userDrawn="1"/>
        </p:nvSpPr>
        <p:spPr bwMode="auto">
          <a:xfrm>
            <a:off x="3755672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3" name="Freeform 831">
            <a:extLst>
              <a:ext uri="{FF2B5EF4-FFF2-40B4-BE49-F238E27FC236}">
                <a16:creationId xmlns:a16="http://schemas.microsoft.com/office/drawing/2014/main" id="{A9F1D7B7-010A-4C7E-A2C9-B4F966B3FA16}"/>
              </a:ext>
            </a:extLst>
          </p:cNvPr>
          <p:cNvSpPr>
            <a:spLocks/>
          </p:cNvSpPr>
          <p:nvPr userDrawn="1"/>
        </p:nvSpPr>
        <p:spPr bwMode="auto">
          <a:xfrm>
            <a:off x="3660146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3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4" name="Freeform 832">
            <a:extLst>
              <a:ext uri="{FF2B5EF4-FFF2-40B4-BE49-F238E27FC236}">
                <a16:creationId xmlns:a16="http://schemas.microsoft.com/office/drawing/2014/main" id="{D68682E1-852B-49B7-8497-CFF9AB4020EC}"/>
              </a:ext>
            </a:extLst>
          </p:cNvPr>
          <p:cNvSpPr>
            <a:spLocks/>
          </p:cNvSpPr>
          <p:nvPr userDrawn="1"/>
        </p:nvSpPr>
        <p:spPr bwMode="auto">
          <a:xfrm>
            <a:off x="3709484" y="69785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5" name="Freeform 833">
            <a:extLst>
              <a:ext uri="{FF2B5EF4-FFF2-40B4-BE49-F238E27FC236}">
                <a16:creationId xmlns:a16="http://schemas.microsoft.com/office/drawing/2014/main" id="{73B9C03C-E494-439A-AA71-3986265650AE}"/>
              </a:ext>
            </a:extLst>
          </p:cNvPr>
          <p:cNvSpPr>
            <a:spLocks/>
          </p:cNvSpPr>
          <p:nvPr userDrawn="1"/>
        </p:nvSpPr>
        <p:spPr bwMode="auto">
          <a:xfrm>
            <a:off x="3709484" y="6516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1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6" name="Freeform 834">
            <a:extLst>
              <a:ext uri="{FF2B5EF4-FFF2-40B4-BE49-F238E27FC236}">
                <a16:creationId xmlns:a16="http://schemas.microsoft.com/office/drawing/2014/main" id="{80519973-9F88-4C41-B9EC-9EA795A7E80A}"/>
              </a:ext>
            </a:extLst>
          </p:cNvPr>
          <p:cNvSpPr>
            <a:spLocks/>
          </p:cNvSpPr>
          <p:nvPr userDrawn="1"/>
        </p:nvSpPr>
        <p:spPr bwMode="auto">
          <a:xfrm>
            <a:off x="3709484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1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19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7" name="Freeform 835">
            <a:extLst>
              <a:ext uri="{FF2B5EF4-FFF2-40B4-BE49-F238E27FC236}">
                <a16:creationId xmlns:a16="http://schemas.microsoft.com/office/drawing/2014/main" id="{53397550-6CD7-4CFE-9141-E4B98F8BA90C}"/>
              </a:ext>
            </a:extLst>
          </p:cNvPr>
          <p:cNvSpPr>
            <a:spLocks/>
          </p:cNvSpPr>
          <p:nvPr userDrawn="1"/>
        </p:nvSpPr>
        <p:spPr bwMode="auto">
          <a:xfrm>
            <a:off x="3660146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8" name="Freeform 836">
            <a:extLst>
              <a:ext uri="{FF2B5EF4-FFF2-40B4-BE49-F238E27FC236}">
                <a16:creationId xmlns:a16="http://schemas.microsoft.com/office/drawing/2014/main" id="{007F5D9A-0974-4B18-9625-C2DBA01CC478}"/>
              </a:ext>
            </a:extLst>
          </p:cNvPr>
          <p:cNvSpPr>
            <a:spLocks/>
          </p:cNvSpPr>
          <p:nvPr userDrawn="1"/>
        </p:nvSpPr>
        <p:spPr bwMode="auto">
          <a:xfrm>
            <a:off x="3709484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9" name="Freeform 837">
            <a:extLst>
              <a:ext uri="{FF2B5EF4-FFF2-40B4-BE49-F238E27FC236}">
                <a16:creationId xmlns:a16="http://schemas.microsoft.com/office/drawing/2014/main" id="{38F4473D-49AF-432E-8A6B-896E6D8C68F0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0" name="Freeform 838">
            <a:extLst>
              <a:ext uri="{FF2B5EF4-FFF2-40B4-BE49-F238E27FC236}">
                <a16:creationId xmlns:a16="http://schemas.microsoft.com/office/drawing/2014/main" id="{F11705EE-B197-46CA-9379-E0925A0784C6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1" name="Freeform 839">
            <a:extLst>
              <a:ext uri="{FF2B5EF4-FFF2-40B4-BE49-F238E27FC236}">
                <a16:creationId xmlns:a16="http://schemas.microsoft.com/office/drawing/2014/main" id="{810DE5C9-EE3C-48B3-AE9B-32FC89CFED28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2" name="Freeform 840">
            <a:extLst>
              <a:ext uri="{FF2B5EF4-FFF2-40B4-BE49-F238E27FC236}">
                <a16:creationId xmlns:a16="http://schemas.microsoft.com/office/drawing/2014/main" id="{60E960B6-856D-4312-874A-A64273704F17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3" name="Freeform 841">
            <a:extLst>
              <a:ext uri="{FF2B5EF4-FFF2-40B4-BE49-F238E27FC236}">
                <a16:creationId xmlns:a16="http://schemas.microsoft.com/office/drawing/2014/main" id="{8F2FE2B2-F853-4652-A3F4-9745A0C31B14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60233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9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4" name="Freeform 842">
            <a:extLst>
              <a:ext uri="{FF2B5EF4-FFF2-40B4-BE49-F238E27FC236}">
                <a16:creationId xmlns:a16="http://schemas.microsoft.com/office/drawing/2014/main" id="{54699A1C-CA2E-4F43-8F7F-930391D718FD}"/>
              </a:ext>
            </a:extLst>
          </p:cNvPr>
          <p:cNvSpPr>
            <a:spLocks/>
          </p:cNvSpPr>
          <p:nvPr userDrawn="1"/>
        </p:nvSpPr>
        <p:spPr bwMode="auto">
          <a:xfrm>
            <a:off x="3523680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5" name="Freeform 843">
            <a:extLst>
              <a:ext uri="{FF2B5EF4-FFF2-40B4-BE49-F238E27FC236}">
                <a16:creationId xmlns:a16="http://schemas.microsoft.com/office/drawing/2014/main" id="{563E7D89-54CA-453D-8750-0146C464FECB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5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6" name="Freeform 844">
            <a:extLst>
              <a:ext uri="{FF2B5EF4-FFF2-40B4-BE49-F238E27FC236}">
                <a16:creationId xmlns:a16="http://schemas.microsoft.com/office/drawing/2014/main" id="{B4BA9266-DA90-4B46-ADBB-3ECBC265E0CA}"/>
              </a:ext>
            </a:extLst>
          </p:cNvPr>
          <p:cNvSpPr>
            <a:spLocks/>
          </p:cNvSpPr>
          <p:nvPr userDrawn="1"/>
        </p:nvSpPr>
        <p:spPr bwMode="auto">
          <a:xfrm>
            <a:off x="3523680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4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4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7" name="Freeform 845">
            <a:extLst>
              <a:ext uri="{FF2B5EF4-FFF2-40B4-BE49-F238E27FC236}">
                <a16:creationId xmlns:a16="http://schemas.microsoft.com/office/drawing/2014/main" id="{22F22CB4-76A3-4596-AC65-FB3BAF84DCF6}"/>
              </a:ext>
            </a:extLst>
          </p:cNvPr>
          <p:cNvSpPr>
            <a:spLocks/>
          </p:cNvSpPr>
          <p:nvPr userDrawn="1"/>
        </p:nvSpPr>
        <p:spPr bwMode="auto">
          <a:xfrm>
            <a:off x="3431303" y="60233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2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8" name="Freeform 846">
            <a:extLst>
              <a:ext uri="{FF2B5EF4-FFF2-40B4-BE49-F238E27FC236}">
                <a16:creationId xmlns:a16="http://schemas.microsoft.com/office/drawing/2014/main" id="{380828D3-6694-43A5-9039-5E973A942893}"/>
              </a:ext>
            </a:extLst>
          </p:cNvPr>
          <p:cNvSpPr>
            <a:spLocks/>
          </p:cNvSpPr>
          <p:nvPr userDrawn="1"/>
        </p:nvSpPr>
        <p:spPr bwMode="auto">
          <a:xfrm>
            <a:off x="3431303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5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9" name="Freeform 847">
            <a:extLst>
              <a:ext uri="{FF2B5EF4-FFF2-40B4-BE49-F238E27FC236}">
                <a16:creationId xmlns:a16="http://schemas.microsoft.com/office/drawing/2014/main" id="{82A262DF-1D85-413F-9110-F071139BDD01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0" name="Freeform 848">
            <a:extLst>
              <a:ext uri="{FF2B5EF4-FFF2-40B4-BE49-F238E27FC236}">
                <a16:creationId xmlns:a16="http://schemas.microsoft.com/office/drawing/2014/main" id="{77D60C5C-3F9E-464B-8637-0F530B12A25F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1" name="Freeform 849">
            <a:extLst>
              <a:ext uri="{FF2B5EF4-FFF2-40B4-BE49-F238E27FC236}">
                <a16:creationId xmlns:a16="http://schemas.microsoft.com/office/drawing/2014/main" id="{DADC0195-20F2-4A1D-B87E-05FC14F5F601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4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2" name="Freeform 850">
            <a:extLst>
              <a:ext uri="{FF2B5EF4-FFF2-40B4-BE49-F238E27FC236}">
                <a16:creationId xmlns:a16="http://schemas.microsoft.com/office/drawing/2014/main" id="{B90DAFB8-DF2F-4CB1-86B8-9DFC7867310C}"/>
              </a:ext>
            </a:extLst>
          </p:cNvPr>
          <p:cNvSpPr>
            <a:spLocks/>
          </p:cNvSpPr>
          <p:nvPr userDrawn="1"/>
        </p:nvSpPr>
        <p:spPr bwMode="auto">
          <a:xfrm>
            <a:off x="3523680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3" name="Freeform 851">
            <a:extLst>
              <a:ext uri="{FF2B5EF4-FFF2-40B4-BE49-F238E27FC236}">
                <a16:creationId xmlns:a16="http://schemas.microsoft.com/office/drawing/2014/main" id="{ED2F70C5-697D-43FE-A0D0-1911A204F341}"/>
              </a:ext>
            </a:extLst>
          </p:cNvPr>
          <p:cNvSpPr>
            <a:spLocks/>
          </p:cNvSpPr>
          <p:nvPr userDrawn="1"/>
        </p:nvSpPr>
        <p:spPr bwMode="auto">
          <a:xfrm>
            <a:off x="3431303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4" name="Freeform 852">
            <a:extLst>
              <a:ext uri="{FF2B5EF4-FFF2-40B4-BE49-F238E27FC236}">
                <a16:creationId xmlns:a16="http://schemas.microsoft.com/office/drawing/2014/main" id="{DA825BE4-2F2C-4D08-979D-DCE57EF65438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4637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5" name="Freeform 853">
            <a:extLst>
              <a:ext uri="{FF2B5EF4-FFF2-40B4-BE49-F238E27FC236}">
                <a16:creationId xmlns:a16="http://schemas.microsoft.com/office/drawing/2014/main" id="{66C7E323-B603-4A11-A336-BF1D3A411569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4637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6" name="Freeform 854">
            <a:extLst>
              <a:ext uri="{FF2B5EF4-FFF2-40B4-BE49-F238E27FC236}">
                <a16:creationId xmlns:a16="http://schemas.microsoft.com/office/drawing/2014/main" id="{F0A71C14-034F-4845-B568-33E9CC8AC4A3}"/>
              </a:ext>
            </a:extLst>
          </p:cNvPr>
          <p:cNvSpPr>
            <a:spLocks/>
          </p:cNvSpPr>
          <p:nvPr userDrawn="1"/>
        </p:nvSpPr>
        <p:spPr bwMode="auto">
          <a:xfrm>
            <a:off x="3477491" y="4637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7" name="Freeform 855">
            <a:extLst>
              <a:ext uri="{FF2B5EF4-FFF2-40B4-BE49-F238E27FC236}">
                <a16:creationId xmlns:a16="http://schemas.microsoft.com/office/drawing/2014/main" id="{73DA2FB0-C9CD-4D65-9479-8600B2560D05}"/>
              </a:ext>
            </a:extLst>
          </p:cNvPr>
          <p:cNvSpPr>
            <a:spLocks/>
          </p:cNvSpPr>
          <p:nvPr userDrawn="1"/>
        </p:nvSpPr>
        <p:spPr bwMode="auto">
          <a:xfrm>
            <a:off x="3523680" y="4637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4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8" name="Freeform 856">
            <a:extLst>
              <a:ext uri="{FF2B5EF4-FFF2-40B4-BE49-F238E27FC236}">
                <a16:creationId xmlns:a16="http://schemas.microsoft.com/office/drawing/2014/main" id="{B95AB5A2-DC73-4FAD-963B-040E8410450E}"/>
              </a:ext>
            </a:extLst>
          </p:cNvPr>
          <p:cNvSpPr>
            <a:spLocks/>
          </p:cNvSpPr>
          <p:nvPr userDrawn="1"/>
        </p:nvSpPr>
        <p:spPr bwMode="auto">
          <a:xfrm>
            <a:off x="3431303" y="4637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9" name="Freeform 857">
            <a:extLst>
              <a:ext uri="{FF2B5EF4-FFF2-40B4-BE49-F238E27FC236}">
                <a16:creationId xmlns:a16="http://schemas.microsoft.com/office/drawing/2014/main" id="{105F2B46-5659-4A72-8718-B289EAC66AC3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7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3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0" name="Freeform 858">
            <a:extLst>
              <a:ext uri="{FF2B5EF4-FFF2-40B4-BE49-F238E27FC236}">
                <a16:creationId xmlns:a16="http://schemas.microsoft.com/office/drawing/2014/main" id="{78AB6143-79D3-44BB-91AD-019714892DA0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1" name="Freeform 859">
            <a:extLst>
              <a:ext uri="{FF2B5EF4-FFF2-40B4-BE49-F238E27FC236}">
                <a16:creationId xmlns:a16="http://schemas.microsoft.com/office/drawing/2014/main" id="{65E016CB-0989-4128-A0EE-C56A61AD9AAC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4637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2" name="Freeform 860">
            <a:extLst>
              <a:ext uri="{FF2B5EF4-FFF2-40B4-BE49-F238E27FC236}">
                <a16:creationId xmlns:a16="http://schemas.microsoft.com/office/drawing/2014/main" id="{0A00A058-744F-432F-89AF-F9E3C5E9333D}"/>
              </a:ext>
            </a:extLst>
          </p:cNvPr>
          <p:cNvSpPr>
            <a:spLocks/>
          </p:cNvSpPr>
          <p:nvPr userDrawn="1"/>
        </p:nvSpPr>
        <p:spPr bwMode="auto">
          <a:xfrm>
            <a:off x="3338925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0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3" name="Freeform 861">
            <a:extLst>
              <a:ext uri="{FF2B5EF4-FFF2-40B4-BE49-F238E27FC236}">
                <a16:creationId xmlns:a16="http://schemas.microsoft.com/office/drawing/2014/main" id="{EA65FE3F-F8F4-460F-B184-FF1592E0B591}"/>
              </a:ext>
            </a:extLst>
          </p:cNvPr>
          <p:cNvSpPr>
            <a:spLocks/>
          </p:cNvSpPr>
          <p:nvPr userDrawn="1"/>
        </p:nvSpPr>
        <p:spPr bwMode="auto">
          <a:xfrm>
            <a:off x="3338925" y="50890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4" name="Freeform 862">
            <a:extLst>
              <a:ext uri="{FF2B5EF4-FFF2-40B4-BE49-F238E27FC236}">
                <a16:creationId xmlns:a16="http://schemas.microsoft.com/office/drawing/2014/main" id="{7A43FA28-870F-41F3-AE54-C30BD0FCECA1}"/>
              </a:ext>
            </a:extLst>
          </p:cNvPr>
          <p:cNvSpPr>
            <a:spLocks/>
          </p:cNvSpPr>
          <p:nvPr userDrawn="1"/>
        </p:nvSpPr>
        <p:spPr bwMode="auto">
          <a:xfrm>
            <a:off x="3338925" y="4637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5" name="Freeform 863">
            <a:extLst>
              <a:ext uri="{FF2B5EF4-FFF2-40B4-BE49-F238E27FC236}">
                <a16:creationId xmlns:a16="http://schemas.microsoft.com/office/drawing/2014/main" id="{F5060C12-2551-42A1-AFD4-12E9AA88BEEF}"/>
              </a:ext>
            </a:extLst>
          </p:cNvPr>
          <p:cNvSpPr>
            <a:spLocks/>
          </p:cNvSpPr>
          <p:nvPr userDrawn="1"/>
        </p:nvSpPr>
        <p:spPr bwMode="auto">
          <a:xfrm>
            <a:off x="3431303" y="32625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1 h 153"/>
              <a:gd name="T38" fmla="*/ 5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6" name="Freeform 864">
            <a:extLst>
              <a:ext uri="{FF2B5EF4-FFF2-40B4-BE49-F238E27FC236}">
                <a16:creationId xmlns:a16="http://schemas.microsoft.com/office/drawing/2014/main" id="{019B5505-CFB6-4626-8B66-D708B00B7692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32625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1 h 153"/>
              <a:gd name="T38" fmla="*/ 6 w 155"/>
              <a:gd name="T39" fmla="*/ 47 h 153"/>
              <a:gd name="T40" fmla="*/ 13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7" name="Freeform 865">
            <a:extLst>
              <a:ext uri="{FF2B5EF4-FFF2-40B4-BE49-F238E27FC236}">
                <a16:creationId xmlns:a16="http://schemas.microsoft.com/office/drawing/2014/main" id="{380EA75D-0289-4C25-A45C-AA4082A95181}"/>
              </a:ext>
            </a:extLst>
          </p:cNvPr>
          <p:cNvSpPr>
            <a:spLocks/>
          </p:cNvSpPr>
          <p:nvPr userDrawn="1"/>
        </p:nvSpPr>
        <p:spPr bwMode="auto">
          <a:xfrm>
            <a:off x="3431303" y="275864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6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8" name="Freeform 866">
            <a:extLst>
              <a:ext uri="{FF2B5EF4-FFF2-40B4-BE49-F238E27FC236}">
                <a16:creationId xmlns:a16="http://schemas.microsoft.com/office/drawing/2014/main" id="{5A65CC86-341C-45C4-BFA2-EB243EA7F9E4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75864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6 h 154"/>
              <a:gd name="T40" fmla="*/ 13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9" name="Freeform 867">
            <a:extLst>
              <a:ext uri="{FF2B5EF4-FFF2-40B4-BE49-F238E27FC236}">
                <a16:creationId xmlns:a16="http://schemas.microsoft.com/office/drawing/2014/main" id="{D51EA025-7808-43FF-8AF9-DD8F6A3441FB}"/>
              </a:ext>
            </a:extLst>
          </p:cNvPr>
          <p:cNvSpPr>
            <a:spLocks/>
          </p:cNvSpPr>
          <p:nvPr userDrawn="1"/>
        </p:nvSpPr>
        <p:spPr bwMode="auto">
          <a:xfrm>
            <a:off x="3338925" y="32625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0" name="Freeform 868">
            <a:extLst>
              <a:ext uri="{FF2B5EF4-FFF2-40B4-BE49-F238E27FC236}">
                <a16:creationId xmlns:a16="http://schemas.microsoft.com/office/drawing/2014/main" id="{CD2F473E-AE15-4F55-B9D7-3E70332CA990}"/>
              </a:ext>
            </a:extLst>
          </p:cNvPr>
          <p:cNvSpPr>
            <a:spLocks/>
          </p:cNvSpPr>
          <p:nvPr userDrawn="1"/>
        </p:nvSpPr>
        <p:spPr bwMode="auto">
          <a:xfrm>
            <a:off x="3288538" y="32625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4 h 153"/>
              <a:gd name="T42" fmla="*/ 22 w 153"/>
              <a:gd name="T43" fmla="*/ 23 h 153"/>
              <a:gd name="T44" fmla="*/ 34 w 153"/>
              <a:gd name="T45" fmla="*/ 12 h 153"/>
              <a:gd name="T46" fmla="*/ 46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1" name="Freeform 869">
            <a:extLst>
              <a:ext uri="{FF2B5EF4-FFF2-40B4-BE49-F238E27FC236}">
                <a16:creationId xmlns:a16="http://schemas.microsoft.com/office/drawing/2014/main" id="{35431665-6CD4-498C-B5DA-94ECBFD76DDD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2" name="Freeform 870">
            <a:extLst>
              <a:ext uri="{FF2B5EF4-FFF2-40B4-BE49-F238E27FC236}">
                <a16:creationId xmlns:a16="http://schemas.microsoft.com/office/drawing/2014/main" id="{DC2F0D88-B359-4E52-B590-CD7A3079E590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50890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3" name="Freeform 871">
            <a:extLst>
              <a:ext uri="{FF2B5EF4-FFF2-40B4-BE49-F238E27FC236}">
                <a16:creationId xmlns:a16="http://schemas.microsoft.com/office/drawing/2014/main" id="{6B1CB05E-7084-44F0-AE30-7226A286108C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41548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4" name="Freeform 872">
            <a:extLst>
              <a:ext uri="{FF2B5EF4-FFF2-40B4-BE49-F238E27FC236}">
                <a16:creationId xmlns:a16="http://schemas.microsoft.com/office/drawing/2014/main" id="{84E4A307-2CA0-4FB3-964D-7CF70866E7B6}"/>
              </a:ext>
            </a:extLst>
          </p:cNvPr>
          <p:cNvSpPr>
            <a:spLocks/>
          </p:cNvSpPr>
          <p:nvPr userDrawn="1"/>
        </p:nvSpPr>
        <p:spPr bwMode="auto">
          <a:xfrm>
            <a:off x="3893188" y="36929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8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5" name="Freeform 873">
            <a:extLst>
              <a:ext uri="{FF2B5EF4-FFF2-40B4-BE49-F238E27FC236}">
                <a16:creationId xmlns:a16="http://schemas.microsoft.com/office/drawing/2014/main" id="{C0DB8570-48D7-44D2-AA23-59B532EB4FF9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36929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6" name="Freeform 874">
            <a:extLst>
              <a:ext uri="{FF2B5EF4-FFF2-40B4-BE49-F238E27FC236}">
                <a16:creationId xmlns:a16="http://schemas.microsoft.com/office/drawing/2014/main" id="{1C8E018A-D87F-4938-8EB0-E9FB7A5C2A4B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7" name="Freeform 875">
            <a:extLst>
              <a:ext uri="{FF2B5EF4-FFF2-40B4-BE49-F238E27FC236}">
                <a16:creationId xmlns:a16="http://schemas.microsoft.com/office/drawing/2014/main" id="{F3CB929B-1EC9-4C22-9D99-10F1309447CB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8" name="Freeform 876">
            <a:extLst>
              <a:ext uri="{FF2B5EF4-FFF2-40B4-BE49-F238E27FC236}">
                <a16:creationId xmlns:a16="http://schemas.microsoft.com/office/drawing/2014/main" id="{473B72A3-A48D-4B7C-9C89-420BB96427A3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46376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9" name="Freeform 877">
            <a:extLst>
              <a:ext uri="{FF2B5EF4-FFF2-40B4-BE49-F238E27FC236}">
                <a16:creationId xmlns:a16="http://schemas.microsoft.com/office/drawing/2014/main" id="{4842C0F4-BBC1-461E-BD5D-E2EB518F4613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46376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0" name="Freeform 878">
            <a:extLst>
              <a:ext uri="{FF2B5EF4-FFF2-40B4-BE49-F238E27FC236}">
                <a16:creationId xmlns:a16="http://schemas.microsoft.com/office/drawing/2014/main" id="{5C8084AD-532E-45E1-BD97-17903EE7DBC2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5089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5 h 154"/>
              <a:gd name="T28" fmla="*/ 9 w 155"/>
              <a:gd name="T29" fmla="*/ 114 h 154"/>
              <a:gd name="T30" fmla="*/ 3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1" name="Freeform 879">
            <a:extLst>
              <a:ext uri="{FF2B5EF4-FFF2-40B4-BE49-F238E27FC236}">
                <a16:creationId xmlns:a16="http://schemas.microsoft.com/office/drawing/2014/main" id="{869427B1-4981-4971-A16C-93E1F2AE14CC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2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2" name="Freeform 880">
            <a:extLst>
              <a:ext uri="{FF2B5EF4-FFF2-40B4-BE49-F238E27FC236}">
                <a16:creationId xmlns:a16="http://schemas.microsoft.com/office/drawing/2014/main" id="{1CF7DAB9-2E84-43B0-B790-7E32824FDFB9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5089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6 w 154"/>
              <a:gd name="T47" fmla="*/ 5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2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3" name="Freeform 881">
            <a:extLst>
              <a:ext uri="{FF2B5EF4-FFF2-40B4-BE49-F238E27FC236}">
                <a16:creationId xmlns:a16="http://schemas.microsoft.com/office/drawing/2014/main" id="{506BDBC8-3F76-4A90-83F9-686A730DF40C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46376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2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4" name="Freeform 882">
            <a:extLst>
              <a:ext uri="{FF2B5EF4-FFF2-40B4-BE49-F238E27FC236}">
                <a16:creationId xmlns:a16="http://schemas.microsoft.com/office/drawing/2014/main" id="{91525825-035E-420A-A01D-92ED3D2FBC0B}"/>
              </a:ext>
            </a:extLst>
          </p:cNvPr>
          <p:cNvSpPr>
            <a:spLocks/>
          </p:cNvSpPr>
          <p:nvPr userDrawn="1"/>
        </p:nvSpPr>
        <p:spPr bwMode="auto">
          <a:xfrm>
            <a:off x="4170318" y="46376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5 w 154"/>
              <a:gd name="T39" fmla="*/ 47 h 153"/>
              <a:gd name="T40" fmla="*/ 13 w 154"/>
              <a:gd name="T41" fmla="*/ 33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5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5" name="Freeform 883">
            <a:extLst>
              <a:ext uri="{FF2B5EF4-FFF2-40B4-BE49-F238E27FC236}">
                <a16:creationId xmlns:a16="http://schemas.microsoft.com/office/drawing/2014/main" id="{94119295-6AC4-4570-AAE1-C411EA649586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877363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0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5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9" y="125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6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6" name="Freeform 884">
            <a:extLst>
              <a:ext uri="{FF2B5EF4-FFF2-40B4-BE49-F238E27FC236}">
                <a16:creationId xmlns:a16="http://schemas.microsoft.com/office/drawing/2014/main" id="{41D8ABA2-4994-43DC-8FC6-99A364CB119E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87736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7" name="Freeform 885">
            <a:extLst>
              <a:ext uri="{FF2B5EF4-FFF2-40B4-BE49-F238E27FC236}">
                <a16:creationId xmlns:a16="http://schemas.microsoft.com/office/drawing/2014/main" id="{CE3B9584-A58D-4679-A5D3-8D5F99D450C7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87736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8" name="Freeform 886">
            <a:extLst>
              <a:ext uri="{FF2B5EF4-FFF2-40B4-BE49-F238E27FC236}">
                <a16:creationId xmlns:a16="http://schemas.microsoft.com/office/drawing/2014/main" id="{5315E365-E011-4191-908D-02811B53875D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87736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0 h 153"/>
              <a:gd name="T10" fmla="*/ 119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0" y="130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9" name="Freeform 887">
            <a:extLst>
              <a:ext uri="{FF2B5EF4-FFF2-40B4-BE49-F238E27FC236}">
                <a16:creationId xmlns:a16="http://schemas.microsoft.com/office/drawing/2014/main" id="{0D6A2512-466F-478E-AEBB-FED6EF3C3E12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87736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0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0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49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0" name="Freeform 888">
            <a:extLst>
              <a:ext uri="{FF2B5EF4-FFF2-40B4-BE49-F238E27FC236}">
                <a16:creationId xmlns:a16="http://schemas.microsoft.com/office/drawing/2014/main" id="{DBAFA891-BC08-474B-A9AC-164DBFE92599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87736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1" name="Freeform 889">
            <a:extLst>
              <a:ext uri="{FF2B5EF4-FFF2-40B4-BE49-F238E27FC236}">
                <a16:creationId xmlns:a16="http://schemas.microsoft.com/office/drawing/2014/main" id="{1548882C-0403-4A68-A6EE-54256D00B9DB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87736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4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2" name="Freeform 890">
            <a:extLst>
              <a:ext uri="{FF2B5EF4-FFF2-40B4-BE49-F238E27FC236}">
                <a16:creationId xmlns:a16="http://schemas.microsoft.com/office/drawing/2014/main" id="{FA99E994-BFE1-4261-9B25-356A8FFA0BB5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87736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3" name="Freeform 891">
            <a:extLst>
              <a:ext uri="{FF2B5EF4-FFF2-40B4-BE49-F238E27FC236}">
                <a16:creationId xmlns:a16="http://schemas.microsoft.com/office/drawing/2014/main" id="{200E4590-28A0-4D42-BEE2-B462D4468253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87736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4" name="Freeform 892">
            <a:extLst>
              <a:ext uri="{FF2B5EF4-FFF2-40B4-BE49-F238E27FC236}">
                <a16:creationId xmlns:a16="http://schemas.microsoft.com/office/drawing/2014/main" id="{F054F64D-DF7D-4889-BE8D-9835FCF49F30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9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5" name="Freeform 893">
            <a:extLst>
              <a:ext uri="{FF2B5EF4-FFF2-40B4-BE49-F238E27FC236}">
                <a16:creationId xmlns:a16="http://schemas.microsoft.com/office/drawing/2014/main" id="{68452D07-D5B9-4022-87B7-B84ADAD4379D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9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6" name="Freeform 894">
            <a:extLst>
              <a:ext uri="{FF2B5EF4-FFF2-40B4-BE49-F238E27FC236}">
                <a16:creationId xmlns:a16="http://schemas.microsoft.com/office/drawing/2014/main" id="{46061A83-D1F7-4C30-B519-32D240AEF49C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7" name="Freeform 895">
            <a:extLst>
              <a:ext uri="{FF2B5EF4-FFF2-40B4-BE49-F238E27FC236}">
                <a16:creationId xmlns:a16="http://schemas.microsoft.com/office/drawing/2014/main" id="{A6C68A3F-12DB-4DB1-9B10-0F8D3C480099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8 w 153"/>
              <a:gd name="T5" fmla="*/ 107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8" name="Freeform 896">
            <a:extLst>
              <a:ext uri="{FF2B5EF4-FFF2-40B4-BE49-F238E27FC236}">
                <a16:creationId xmlns:a16="http://schemas.microsoft.com/office/drawing/2014/main" id="{AA117E8F-8D84-4E75-8190-6121FB59BA60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9" name="Freeform 897">
            <a:extLst>
              <a:ext uri="{FF2B5EF4-FFF2-40B4-BE49-F238E27FC236}">
                <a16:creationId xmlns:a16="http://schemas.microsoft.com/office/drawing/2014/main" id="{36E88EAD-4910-418C-B9B7-3E09456EABF0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0" name="Freeform 898">
            <a:extLst>
              <a:ext uri="{FF2B5EF4-FFF2-40B4-BE49-F238E27FC236}">
                <a16:creationId xmlns:a16="http://schemas.microsoft.com/office/drawing/2014/main" id="{B5A89ED1-0511-443C-BF64-8F77C67F6887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8 w 153"/>
              <a:gd name="T5" fmla="*/ 107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4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1" name="Freeform 899">
            <a:extLst>
              <a:ext uri="{FF2B5EF4-FFF2-40B4-BE49-F238E27FC236}">
                <a16:creationId xmlns:a16="http://schemas.microsoft.com/office/drawing/2014/main" id="{375F2C8A-E6DC-4B62-990B-5C1AD4C33916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2" name="Freeform 900">
            <a:extLst>
              <a:ext uri="{FF2B5EF4-FFF2-40B4-BE49-F238E27FC236}">
                <a16:creationId xmlns:a16="http://schemas.microsoft.com/office/drawing/2014/main" id="{2934C8EE-B612-43A8-A6A1-9AC6C1B620F3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19"/>
                </a:lnTo>
                <a:lnTo>
                  <a:pt x="10" y="113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3" name="Freeform 901">
            <a:extLst>
              <a:ext uri="{FF2B5EF4-FFF2-40B4-BE49-F238E27FC236}">
                <a16:creationId xmlns:a16="http://schemas.microsoft.com/office/drawing/2014/main" id="{45049D8C-2C3A-4640-96F9-2512DBE3F313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4" name="Freeform 902">
            <a:extLst>
              <a:ext uri="{FF2B5EF4-FFF2-40B4-BE49-F238E27FC236}">
                <a16:creationId xmlns:a16="http://schemas.microsoft.com/office/drawing/2014/main" id="{1106F3BC-5BD9-40CB-BAD7-EE1301F2C9FA}"/>
              </a:ext>
            </a:extLst>
          </p:cNvPr>
          <p:cNvSpPr>
            <a:spLocks/>
          </p:cNvSpPr>
          <p:nvPr userDrawn="1"/>
        </p:nvSpPr>
        <p:spPr bwMode="auto">
          <a:xfrm>
            <a:off x="4261645" y="877363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0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5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5"/>
                </a:lnTo>
                <a:lnTo>
                  <a:pt x="132" y="130"/>
                </a:lnTo>
                <a:lnTo>
                  <a:pt x="127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8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9" y="125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6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1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6"/>
                </a:lnTo>
                <a:lnTo>
                  <a:pt x="151" y="53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5" name="Freeform 903">
            <a:extLst>
              <a:ext uri="{FF2B5EF4-FFF2-40B4-BE49-F238E27FC236}">
                <a16:creationId xmlns:a16="http://schemas.microsoft.com/office/drawing/2014/main" id="{589BF6F9-165D-4C5B-B469-6D28C194AC8E}"/>
              </a:ext>
            </a:extLst>
          </p:cNvPr>
          <p:cNvSpPr>
            <a:spLocks/>
          </p:cNvSpPr>
          <p:nvPr userDrawn="1"/>
        </p:nvSpPr>
        <p:spPr bwMode="auto">
          <a:xfrm>
            <a:off x="4307834" y="87736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0 h 153"/>
              <a:gd name="T10" fmla="*/ 119 w 153"/>
              <a:gd name="T11" fmla="*/ 140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6" name="Freeform 904">
            <a:extLst>
              <a:ext uri="{FF2B5EF4-FFF2-40B4-BE49-F238E27FC236}">
                <a16:creationId xmlns:a16="http://schemas.microsoft.com/office/drawing/2014/main" id="{B24511B1-0886-41B6-B83B-04CEE98F2999}"/>
              </a:ext>
            </a:extLst>
          </p:cNvPr>
          <p:cNvSpPr>
            <a:spLocks/>
          </p:cNvSpPr>
          <p:nvPr userDrawn="1"/>
        </p:nvSpPr>
        <p:spPr bwMode="auto">
          <a:xfrm>
            <a:off x="4262694" y="833275"/>
            <a:ext cx="34350" cy="34350"/>
          </a:xfrm>
          <a:custGeom>
            <a:avLst/>
            <a:gdLst>
              <a:gd name="T0" fmla="*/ 146 w 146"/>
              <a:gd name="T1" fmla="*/ 73 h 146"/>
              <a:gd name="T2" fmla="*/ 146 w 146"/>
              <a:gd name="T3" fmla="*/ 73 h 146"/>
              <a:gd name="T4" fmla="*/ 145 w 146"/>
              <a:gd name="T5" fmla="*/ 80 h 146"/>
              <a:gd name="T6" fmla="*/ 144 w 146"/>
              <a:gd name="T7" fmla="*/ 88 h 146"/>
              <a:gd name="T8" fmla="*/ 143 w 146"/>
              <a:gd name="T9" fmla="*/ 95 h 146"/>
              <a:gd name="T10" fmla="*/ 141 w 146"/>
              <a:gd name="T11" fmla="*/ 102 h 146"/>
              <a:gd name="T12" fmla="*/ 137 w 146"/>
              <a:gd name="T13" fmla="*/ 107 h 146"/>
              <a:gd name="T14" fmla="*/ 134 w 146"/>
              <a:gd name="T15" fmla="*/ 113 h 146"/>
              <a:gd name="T16" fmla="*/ 125 w 146"/>
              <a:gd name="T17" fmla="*/ 125 h 146"/>
              <a:gd name="T18" fmla="*/ 113 w 146"/>
              <a:gd name="T19" fmla="*/ 134 h 146"/>
              <a:gd name="T20" fmla="*/ 108 w 146"/>
              <a:gd name="T21" fmla="*/ 137 h 146"/>
              <a:gd name="T22" fmla="*/ 102 w 146"/>
              <a:gd name="T23" fmla="*/ 141 h 146"/>
              <a:gd name="T24" fmla="*/ 95 w 146"/>
              <a:gd name="T25" fmla="*/ 143 h 146"/>
              <a:gd name="T26" fmla="*/ 88 w 146"/>
              <a:gd name="T27" fmla="*/ 144 h 146"/>
              <a:gd name="T28" fmla="*/ 80 w 146"/>
              <a:gd name="T29" fmla="*/ 145 h 146"/>
              <a:gd name="T30" fmla="*/ 73 w 146"/>
              <a:gd name="T31" fmla="*/ 146 h 146"/>
              <a:gd name="T32" fmla="*/ 73 w 146"/>
              <a:gd name="T33" fmla="*/ 146 h 146"/>
              <a:gd name="T34" fmla="*/ 65 w 146"/>
              <a:gd name="T35" fmla="*/ 145 h 146"/>
              <a:gd name="T36" fmla="*/ 58 w 146"/>
              <a:gd name="T37" fmla="*/ 144 h 146"/>
              <a:gd name="T38" fmla="*/ 51 w 146"/>
              <a:gd name="T39" fmla="*/ 143 h 146"/>
              <a:gd name="T40" fmla="*/ 45 w 146"/>
              <a:gd name="T41" fmla="*/ 141 h 146"/>
              <a:gd name="T42" fmla="*/ 38 w 146"/>
              <a:gd name="T43" fmla="*/ 137 h 146"/>
              <a:gd name="T44" fmla="*/ 32 w 146"/>
              <a:gd name="T45" fmla="*/ 134 h 146"/>
              <a:gd name="T46" fmla="*/ 22 w 146"/>
              <a:gd name="T47" fmla="*/ 125 h 146"/>
              <a:gd name="T48" fmla="*/ 13 w 146"/>
              <a:gd name="T49" fmla="*/ 113 h 146"/>
              <a:gd name="T50" fmla="*/ 6 w 146"/>
              <a:gd name="T51" fmla="*/ 102 h 146"/>
              <a:gd name="T52" fmla="*/ 3 w 146"/>
              <a:gd name="T53" fmla="*/ 95 h 146"/>
              <a:gd name="T54" fmla="*/ 1 w 146"/>
              <a:gd name="T55" fmla="*/ 88 h 146"/>
              <a:gd name="T56" fmla="*/ 0 w 146"/>
              <a:gd name="T57" fmla="*/ 80 h 146"/>
              <a:gd name="T58" fmla="*/ 0 w 146"/>
              <a:gd name="T59" fmla="*/ 73 h 146"/>
              <a:gd name="T60" fmla="*/ 0 w 146"/>
              <a:gd name="T61" fmla="*/ 73 h 146"/>
              <a:gd name="T62" fmla="*/ 0 w 146"/>
              <a:gd name="T63" fmla="*/ 65 h 146"/>
              <a:gd name="T64" fmla="*/ 1 w 146"/>
              <a:gd name="T65" fmla="*/ 58 h 146"/>
              <a:gd name="T66" fmla="*/ 3 w 146"/>
              <a:gd name="T67" fmla="*/ 51 h 146"/>
              <a:gd name="T68" fmla="*/ 6 w 146"/>
              <a:gd name="T69" fmla="*/ 45 h 146"/>
              <a:gd name="T70" fmla="*/ 9 w 146"/>
              <a:gd name="T71" fmla="*/ 38 h 146"/>
              <a:gd name="T72" fmla="*/ 13 w 146"/>
              <a:gd name="T73" fmla="*/ 32 h 146"/>
              <a:gd name="T74" fmla="*/ 22 w 146"/>
              <a:gd name="T75" fmla="*/ 22 h 146"/>
              <a:gd name="T76" fmla="*/ 32 w 146"/>
              <a:gd name="T77" fmla="*/ 12 h 146"/>
              <a:gd name="T78" fmla="*/ 38 w 146"/>
              <a:gd name="T79" fmla="*/ 9 h 146"/>
              <a:gd name="T80" fmla="*/ 45 w 146"/>
              <a:gd name="T81" fmla="*/ 6 h 146"/>
              <a:gd name="T82" fmla="*/ 51 w 146"/>
              <a:gd name="T83" fmla="*/ 3 h 146"/>
              <a:gd name="T84" fmla="*/ 58 w 146"/>
              <a:gd name="T85" fmla="*/ 1 h 146"/>
              <a:gd name="T86" fmla="*/ 65 w 146"/>
              <a:gd name="T87" fmla="*/ 0 h 146"/>
              <a:gd name="T88" fmla="*/ 73 w 146"/>
              <a:gd name="T89" fmla="*/ 0 h 146"/>
              <a:gd name="T90" fmla="*/ 73 w 146"/>
              <a:gd name="T91" fmla="*/ 0 h 146"/>
              <a:gd name="T92" fmla="*/ 80 w 146"/>
              <a:gd name="T93" fmla="*/ 0 h 146"/>
              <a:gd name="T94" fmla="*/ 88 w 146"/>
              <a:gd name="T95" fmla="*/ 1 h 146"/>
              <a:gd name="T96" fmla="*/ 95 w 146"/>
              <a:gd name="T97" fmla="*/ 3 h 146"/>
              <a:gd name="T98" fmla="*/ 102 w 146"/>
              <a:gd name="T99" fmla="*/ 6 h 146"/>
              <a:gd name="T100" fmla="*/ 108 w 146"/>
              <a:gd name="T101" fmla="*/ 9 h 146"/>
              <a:gd name="T102" fmla="*/ 113 w 146"/>
              <a:gd name="T103" fmla="*/ 12 h 146"/>
              <a:gd name="T104" fmla="*/ 125 w 146"/>
              <a:gd name="T105" fmla="*/ 22 h 146"/>
              <a:gd name="T106" fmla="*/ 134 w 146"/>
              <a:gd name="T107" fmla="*/ 32 h 146"/>
              <a:gd name="T108" fmla="*/ 137 w 146"/>
              <a:gd name="T109" fmla="*/ 38 h 146"/>
              <a:gd name="T110" fmla="*/ 141 w 146"/>
              <a:gd name="T111" fmla="*/ 45 h 146"/>
              <a:gd name="T112" fmla="*/ 143 w 146"/>
              <a:gd name="T113" fmla="*/ 51 h 146"/>
              <a:gd name="T114" fmla="*/ 144 w 146"/>
              <a:gd name="T115" fmla="*/ 58 h 146"/>
              <a:gd name="T116" fmla="*/ 145 w 146"/>
              <a:gd name="T117" fmla="*/ 65 h 146"/>
              <a:gd name="T118" fmla="*/ 146 w 146"/>
              <a:gd name="T119" fmla="*/ 73 h 146"/>
              <a:gd name="T120" fmla="*/ 146 w 146"/>
              <a:gd name="T121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" h="146">
                <a:moveTo>
                  <a:pt x="146" y="73"/>
                </a:moveTo>
                <a:lnTo>
                  <a:pt x="146" y="73"/>
                </a:lnTo>
                <a:lnTo>
                  <a:pt x="145" y="80"/>
                </a:lnTo>
                <a:lnTo>
                  <a:pt x="144" y="88"/>
                </a:lnTo>
                <a:lnTo>
                  <a:pt x="143" y="95"/>
                </a:lnTo>
                <a:lnTo>
                  <a:pt x="141" y="102"/>
                </a:lnTo>
                <a:lnTo>
                  <a:pt x="137" y="107"/>
                </a:lnTo>
                <a:lnTo>
                  <a:pt x="134" y="113"/>
                </a:lnTo>
                <a:lnTo>
                  <a:pt x="125" y="125"/>
                </a:lnTo>
                <a:lnTo>
                  <a:pt x="113" y="134"/>
                </a:lnTo>
                <a:lnTo>
                  <a:pt x="108" y="137"/>
                </a:lnTo>
                <a:lnTo>
                  <a:pt x="102" y="141"/>
                </a:lnTo>
                <a:lnTo>
                  <a:pt x="95" y="143"/>
                </a:lnTo>
                <a:lnTo>
                  <a:pt x="88" y="144"/>
                </a:lnTo>
                <a:lnTo>
                  <a:pt x="80" y="145"/>
                </a:lnTo>
                <a:lnTo>
                  <a:pt x="73" y="146"/>
                </a:lnTo>
                <a:lnTo>
                  <a:pt x="73" y="146"/>
                </a:lnTo>
                <a:lnTo>
                  <a:pt x="65" y="145"/>
                </a:lnTo>
                <a:lnTo>
                  <a:pt x="58" y="144"/>
                </a:lnTo>
                <a:lnTo>
                  <a:pt x="51" y="143"/>
                </a:lnTo>
                <a:lnTo>
                  <a:pt x="45" y="141"/>
                </a:lnTo>
                <a:lnTo>
                  <a:pt x="38" y="137"/>
                </a:lnTo>
                <a:lnTo>
                  <a:pt x="32" y="134"/>
                </a:lnTo>
                <a:lnTo>
                  <a:pt x="22" y="125"/>
                </a:lnTo>
                <a:lnTo>
                  <a:pt x="13" y="113"/>
                </a:lnTo>
                <a:lnTo>
                  <a:pt x="6" y="102"/>
                </a:lnTo>
                <a:lnTo>
                  <a:pt x="3" y="95"/>
                </a:lnTo>
                <a:lnTo>
                  <a:pt x="1" y="88"/>
                </a:lnTo>
                <a:lnTo>
                  <a:pt x="0" y="80"/>
                </a:lnTo>
                <a:lnTo>
                  <a:pt x="0" y="73"/>
                </a:lnTo>
                <a:lnTo>
                  <a:pt x="0" y="73"/>
                </a:lnTo>
                <a:lnTo>
                  <a:pt x="0" y="65"/>
                </a:lnTo>
                <a:lnTo>
                  <a:pt x="1" y="58"/>
                </a:lnTo>
                <a:lnTo>
                  <a:pt x="3" y="51"/>
                </a:lnTo>
                <a:lnTo>
                  <a:pt x="6" y="45"/>
                </a:lnTo>
                <a:lnTo>
                  <a:pt x="9" y="38"/>
                </a:lnTo>
                <a:lnTo>
                  <a:pt x="13" y="32"/>
                </a:lnTo>
                <a:lnTo>
                  <a:pt x="22" y="22"/>
                </a:lnTo>
                <a:lnTo>
                  <a:pt x="32" y="12"/>
                </a:lnTo>
                <a:lnTo>
                  <a:pt x="38" y="9"/>
                </a:lnTo>
                <a:lnTo>
                  <a:pt x="45" y="6"/>
                </a:lnTo>
                <a:lnTo>
                  <a:pt x="51" y="3"/>
                </a:lnTo>
                <a:lnTo>
                  <a:pt x="58" y="1"/>
                </a:lnTo>
                <a:lnTo>
                  <a:pt x="65" y="0"/>
                </a:lnTo>
                <a:lnTo>
                  <a:pt x="73" y="0"/>
                </a:lnTo>
                <a:lnTo>
                  <a:pt x="73" y="0"/>
                </a:lnTo>
                <a:lnTo>
                  <a:pt x="80" y="0"/>
                </a:lnTo>
                <a:lnTo>
                  <a:pt x="88" y="1"/>
                </a:lnTo>
                <a:lnTo>
                  <a:pt x="95" y="3"/>
                </a:lnTo>
                <a:lnTo>
                  <a:pt x="102" y="6"/>
                </a:lnTo>
                <a:lnTo>
                  <a:pt x="108" y="9"/>
                </a:lnTo>
                <a:lnTo>
                  <a:pt x="113" y="12"/>
                </a:lnTo>
                <a:lnTo>
                  <a:pt x="125" y="22"/>
                </a:lnTo>
                <a:lnTo>
                  <a:pt x="134" y="32"/>
                </a:lnTo>
                <a:lnTo>
                  <a:pt x="137" y="38"/>
                </a:lnTo>
                <a:lnTo>
                  <a:pt x="141" y="45"/>
                </a:lnTo>
                <a:lnTo>
                  <a:pt x="143" y="51"/>
                </a:lnTo>
                <a:lnTo>
                  <a:pt x="144" y="58"/>
                </a:lnTo>
                <a:lnTo>
                  <a:pt x="145" y="65"/>
                </a:lnTo>
                <a:lnTo>
                  <a:pt x="146" y="73"/>
                </a:lnTo>
                <a:lnTo>
                  <a:pt x="146" y="7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7" name="Freeform 905">
            <a:extLst>
              <a:ext uri="{FF2B5EF4-FFF2-40B4-BE49-F238E27FC236}">
                <a16:creationId xmlns:a16="http://schemas.microsoft.com/office/drawing/2014/main" id="{49E4111C-65F9-40E0-8500-BBDA1E6A276B}"/>
              </a:ext>
            </a:extLst>
          </p:cNvPr>
          <p:cNvSpPr>
            <a:spLocks/>
          </p:cNvSpPr>
          <p:nvPr userDrawn="1"/>
        </p:nvSpPr>
        <p:spPr bwMode="auto">
          <a:xfrm>
            <a:off x="4307834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8 w 153"/>
              <a:gd name="T5" fmla="*/ 107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1 h 153"/>
              <a:gd name="T12" fmla="*/ 107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8" name="Freeform 906">
            <a:extLst>
              <a:ext uri="{FF2B5EF4-FFF2-40B4-BE49-F238E27FC236}">
                <a16:creationId xmlns:a16="http://schemas.microsoft.com/office/drawing/2014/main" id="{F40C9479-4550-4DEF-871C-1514C0F5DC72}"/>
              </a:ext>
            </a:extLst>
          </p:cNvPr>
          <p:cNvSpPr>
            <a:spLocks/>
          </p:cNvSpPr>
          <p:nvPr userDrawn="1"/>
        </p:nvSpPr>
        <p:spPr bwMode="auto">
          <a:xfrm>
            <a:off x="4262694" y="788135"/>
            <a:ext cx="34350" cy="34350"/>
          </a:xfrm>
          <a:custGeom>
            <a:avLst/>
            <a:gdLst>
              <a:gd name="T0" fmla="*/ 146 w 146"/>
              <a:gd name="T1" fmla="*/ 74 h 147"/>
              <a:gd name="T2" fmla="*/ 146 w 146"/>
              <a:gd name="T3" fmla="*/ 74 h 147"/>
              <a:gd name="T4" fmla="*/ 145 w 146"/>
              <a:gd name="T5" fmla="*/ 80 h 147"/>
              <a:gd name="T6" fmla="*/ 144 w 146"/>
              <a:gd name="T7" fmla="*/ 88 h 147"/>
              <a:gd name="T8" fmla="*/ 143 w 146"/>
              <a:gd name="T9" fmla="*/ 95 h 147"/>
              <a:gd name="T10" fmla="*/ 141 w 146"/>
              <a:gd name="T11" fmla="*/ 102 h 147"/>
              <a:gd name="T12" fmla="*/ 137 w 146"/>
              <a:gd name="T13" fmla="*/ 108 h 147"/>
              <a:gd name="T14" fmla="*/ 134 w 146"/>
              <a:gd name="T15" fmla="*/ 115 h 147"/>
              <a:gd name="T16" fmla="*/ 125 w 146"/>
              <a:gd name="T17" fmla="*/ 125 h 147"/>
              <a:gd name="T18" fmla="*/ 113 w 146"/>
              <a:gd name="T19" fmla="*/ 134 h 147"/>
              <a:gd name="T20" fmla="*/ 108 w 146"/>
              <a:gd name="T21" fmla="*/ 138 h 147"/>
              <a:gd name="T22" fmla="*/ 102 w 146"/>
              <a:gd name="T23" fmla="*/ 141 h 147"/>
              <a:gd name="T24" fmla="*/ 95 w 146"/>
              <a:gd name="T25" fmla="*/ 143 h 147"/>
              <a:gd name="T26" fmla="*/ 88 w 146"/>
              <a:gd name="T27" fmla="*/ 145 h 147"/>
              <a:gd name="T28" fmla="*/ 80 w 146"/>
              <a:gd name="T29" fmla="*/ 146 h 147"/>
              <a:gd name="T30" fmla="*/ 73 w 146"/>
              <a:gd name="T31" fmla="*/ 147 h 147"/>
              <a:gd name="T32" fmla="*/ 73 w 146"/>
              <a:gd name="T33" fmla="*/ 147 h 147"/>
              <a:gd name="T34" fmla="*/ 65 w 146"/>
              <a:gd name="T35" fmla="*/ 146 h 147"/>
              <a:gd name="T36" fmla="*/ 58 w 146"/>
              <a:gd name="T37" fmla="*/ 145 h 147"/>
              <a:gd name="T38" fmla="*/ 51 w 146"/>
              <a:gd name="T39" fmla="*/ 143 h 147"/>
              <a:gd name="T40" fmla="*/ 45 w 146"/>
              <a:gd name="T41" fmla="*/ 141 h 147"/>
              <a:gd name="T42" fmla="*/ 38 w 146"/>
              <a:gd name="T43" fmla="*/ 138 h 147"/>
              <a:gd name="T44" fmla="*/ 32 w 146"/>
              <a:gd name="T45" fmla="*/ 134 h 147"/>
              <a:gd name="T46" fmla="*/ 22 w 146"/>
              <a:gd name="T47" fmla="*/ 125 h 147"/>
              <a:gd name="T48" fmla="*/ 13 w 146"/>
              <a:gd name="T49" fmla="*/ 115 h 147"/>
              <a:gd name="T50" fmla="*/ 9 w 146"/>
              <a:gd name="T51" fmla="*/ 108 h 147"/>
              <a:gd name="T52" fmla="*/ 6 w 146"/>
              <a:gd name="T53" fmla="*/ 102 h 147"/>
              <a:gd name="T54" fmla="*/ 3 w 146"/>
              <a:gd name="T55" fmla="*/ 95 h 147"/>
              <a:gd name="T56" fmla="*/ 1 w 146"/>
              <a:gd name="T57" fmla="*/ 88 h 147"/>
              <a:gd name="T58" fmla="*/ 0 w 146"/>
              <a:gd name="T59" fmla="*/ 80 h 147"/>
              <a:gd name="T60" fmla="*/ 0 w 146"/>
              <a:gd name="T61" fmla="*/ 74 h 147"/>
              <a:gd name="T62" fmla="*/ 0 w 146"/>
              <a:gd name="T63" fmla="*/ 74 h 147"/>
              <a:gd name="T64" fmla="*/ 0 w 146"/>
              <a:gd name="T65" fmla="*/ 66 h 147"/>
              <a:gd name="T66" fmla="*/ 1 w 146"/>
              <a:gd name="T67" fmla="*/ 59 h 147"/>
              <a:gd name="T68" fmla="*/ 3 w 146"/>
              <a:gd name="T69" fmla="*/ 52 h 147"/>
              <a:gd name="T70" fmla="*/ 6 w 146"/>
              <a:gd name="T71" fmla="*/ 45 h 147"/>
              <a:gd name="T72" fmla="*/ 13 w 146"/>
              <a:gd name="T73" fmla="*/ 32 h 147"/>
              <a:gd name="T74" fmla="*/ 22 w 146"/>
              <a:gd name="T75" fmla="*/ 22 h 147"/>
              <a:gd name="T76" fmla="*/ 32 w 146"/>
              <a:gd name="T77" fmla="*/ 13 h 147"/>
              <a:gd name="T78" fmla="*/ 38 w 146"/>
              <a:gd name="T79" fmla="*/ 9 h 147"/>
              <a:gd name="T80" fmla="*/ 45 w 146"/>
              <a:gd name="T81" fmla="*/ 6 h 147"/>
              <a:gd name="T82" fmla="*/ 51 w 146"/>
              <a:gd name="T83" fmla="*/ 4 h 147"/>
              <a:gd name="T84" fmla="*/ 58 w 146"/>
              <a:gd name="T85" fmla="*/ 3 h 147"/>
              <a:gd name="T86" fmla="*/ 65 w 146"/>
              <a:gd name="T87" fmla="*/ 1 h 147"/>
              <a:gd name="T88" fmla="*/ 73 w 146"/>
              <a:gd name="T89" fmla="*/ 0 h 147"/>
              <a:gd name="T90" fmla="*/ 73 w 146"/>
              <a:gd name="T91" fmla="*/ 0 h 147"/>
              <a:gd name="T92" fmla="*/ 80 w 146"/>
              <a:gd name="T93" fmla="*/ 1 h 147"/>
              <a:gd name="T94" fmla="*/ 88 w 146"/>
              <a:gd name="T95" fmla="*/ 3 h 147"/>
              <a:gd name="T96" fmla="*/ 95 w 146"/>
              <a:gd name="T97" fmla="*/ 4 h 147"/>
              <a:gd name="T98" fmla="*/ 102 w 146"/>
              <a:gd name="T99" fmla="*/ 6 h 147"/>
              <a:gd name="T100" fmla="*/ 108 w 146"/>
              <a:gd name="T101" fmla="*/ 9 h 147"/>
              <a:gd name="T102" fmla="*/ 113 w 146"/>
              <a:gd name="T103" fmla="*/ 13 h 147"/>
              <a:gd name="T104" fmla="*/ 125 w 146"/>
              <a:gd name="T105" fmla="*/ 22 h 147"/>
              <a:gd name="T106" fmla="*/ 134 w 146"/>
              <a:gd name="T107" fmla="*/ 32 h 147"/>
              <a:gd name="T108" fmla="*/ 137 w 146"/>
              <a:gd name="T109" fmla="*/ 39 h 147"/>
              <a:gd name="T110" fmla="*/ 141 w 146"/>
              <a:gd name="T111" fmla="*/ 45 h 147"/>
              <a:gd name="T112" fmla="*/ 143 w 146"/>
              <a:gd name="T113" fmla="*/ 52 h 147"/>
              <a:gd name="T114" fmla="*/ 144 w 146"/>
              <a:gd name="T115" fmla="*/ 59 h 147"/>
              <a:gd name="T116" fmla="*/ 145 w 146"/>
              <a:gd name="T117" fmla="*/ 66 h 147"/>
              <a:gd name="T118" fmla="*/ 146 w 146"/>
              <a:gd name="T119" fmla="*/ 74 h 147"/>
              <a:gd name="T120" fmla="*/ 146 w 146"/>
              <a:gd name="T121" fmla="*/ 74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" h="147">
                <a:moveTo>
                  <a:pt x="146" y="74"/>
                </a:moveTo>
                <a:lnTo>
                  <a:pt x="146" y="74"/>
                </a:lnTo>
                <a:lnTo>
                  <a:pt x="145" y="80"/>
                </a:lnTo>
                <a:lnTo>
                  <a:pt x="144" y="88"/>
                </a:lnTo>
                <a:lnTo>
                  <a:pt x="143" y="95"/>
                </a:lnTo>
                <a:lnTo>
                  <a:pt x="141" y="102"/>
                </a:lnTo>
                <a:lnTo>
                  <a:pt x="137" y="108"/>
                </a:lnTo>
                <a:lnTo>
                  <a:pt x="134" y="115"/>
                </a:lnTo>
                <a:lnTo>
                  <a:pt x="125" y="125"/>
                </a:lnTo>
                <a:lnTo>
                  <a:pt x="113" y="134"/>
                </a:lnTo>
                <a:lnTo>
                  <a:pt x="108" y="138"/>
                </a:lnTo>
                <a:lnTo>
                  <a:pt x="102" y="141"/>
                </a:lnTo>
                <a:lnTo>
                  <a:pt x="95" y="143"/>
                </a:lnTo>
                <a:lnTo>
                  <a:pt x="88" y="145"/>
                </a:lnTo>
                <a:lnTo>
                  <a:pt x="80" y="146"/>
                </a:lnTo>
                <a:lnTo>
                  <a:pt x="73" y="147"/>
                </a:lnTo>
                <a:lnTo>
                  <a:pt x="73" y="147"/>
                </a:lnTo>
                <a:lnTo>
                  <a:pt x="65" y="146"/>
                </a:lnTo>
                <a:lnTo>
                  <a:pt x="58" y="145"/>
                </a:lnTo>
                <a:lnTo>
                  <a:pt x="51" y="143"/>
                </a:lnTo>
                <a:lnTo>
                  <a:pt x="45" y="141"/>
                </a:lnTo>
                <a:lnTo>
                  <a:pt x="38" y="138"/>
                </a:lnTo>
                <a:lnTo>
                  <a:pt x="32" y="134"/>
                </a:lnTo>
                <a:lnTo>
                  <a:pt x="22" y="125"/>
                </a:lnTo>
                <a:lnTo>
                  <a:pt x="13" y="115"/>
                </a:lnTo>
                <a:lnTo>
                  <a:pt x="9" y="108"/>
                </a:lnTo>
                <a:lnTo>
                  <a:pt x="6" y="102"/>
                </a:lnTo>
                <a:lnTo>
                  <a:pt x="3" y="95"/>
                </a:lnTo>
                <a:lnTo>
                  <a:pt x="1" y="88"/>
                </a:lnTo>
                <a:lnTo>
                  <a:pt x="0" y="80"/>
                </a:lnTo>
                <a:lnTo>
                  <a:pt x="0" y="74"/>
                </a:lnTo>
                <a:lnTo>
                  <a:pt x="0" y="74"/>
                </a:lnTo>
                <a:lnTo>
                  <a:pt x="0" y="66"/>
                </a:lnTo>
                <a:lnTo>
                  <a:pt x="1" y="59"/>
                </a:lnTo>
                <a:lnTo>
                  <a:pt x="3" y="52"/>
                </a:lnTo>
                <a:lnTo>
                  <a:pt x="6" y="45"/>
                </a:lnTo>
                <a:lnTo>
                  <a:pt x="13" y="32"/>
                </a:lnTo>
                <a:lnTo>
                  <a:pt x="22" y="22"/>
                </a:lnTo>
                <a:lnTo>
                  <a:pt x="32" y="13"/>
                </a:lnTo>
                <a:lnTo>
                  <a:pt x="38" y="9"/>
                </a:lnTo>
                <a:lnTo>
                  <a:pt x="45" y="6"/>
                </a:lnTo>
                <a:lnTo>
                  <a:pt x="51" y="4"/>
                </a:lnTo>
                <a:lnTo>
                  <a:pt x="58" y="3"/>
                </a:lnTo>
                <a:lnTo>
                  <a:pt x="65" y="1"/>
                </a:lnTo>
                <a:lnTo>
                  <a:pt x="73" y="0"/>
                </a:lnTo>
                <a:lnTo>
                  <a:pt x="73" y="0"/>
                </a:lnTo>
                <a:lnTo>
                  <a:pt x="80" y="1"/>
                </a:lnTo>
                <a:lnTo>
                  <a:pt x="88" y="3"/>
                </a:lnTo>
                <a:lnTo>
                  <a:pt x="95" y="4"/>
                </a:lnTo>
                <a:lnTo>
                  <a:pt x="102" y="6"/>
                </a:lnTo>
                <a:lnTo>
                  <a:pt x="108" y="9"/>
                </a:lnTo>
                <a:lnTo>
                  <a:pt x="113" y="13"/>
                </a:lnTo>
                <a:lnTo>
                  <a:pt x="125" y="22"/>
                </a:lnTo>
                <a:lnTo>
                  <a:pt x="134" y="32"/>
                </a:lnTo>
                <a:lnTo>
                  <a:pt x="137" y="39"/>
                </a:lnTo>
                <a:lnTo>
                  <a:pt x="141" y="45"/>
                </a:lnTo>
                <a:lnTo>
                  <a:pt x="143" y="52"/>
                </a:lnTo>
                <a:lnTo>
                  <a:pt x="144" y="59"/>
                </a:lnTo>
                <a:lnTo>
                  <a:pt x="145" y="66"/>
                </a:lnTo>
                <a:lnTo>
                  <a:pt x="146" y="74"/>
                </a:lnTo>
                <a:lnTo>
                  <a:pt x="146" y="7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9" name="Freeform 907">
            <a:extLst>
              <a:ext uri="{FF2B5EF4-FFF2-40B4-BE49-F238E27FC236}">
                <a16:creationId xmlns:a16="http://schemas.microsoft.com/office/drawing/2014/main" id="{AC9C1B6C-A198-4F14-B131-62A4C4AA6CFF}"/>
              </a:ext>
            </a:extLst>
          </p:cNvPr>
          <p:cNvSpPr>
            <a:spLocks/>
          </p:cNvSpPr>
          <p:nvPr userDrawn="1"/>
        </p:nvSpPr>
        <p:spPr bwMode="auto">
          <a:xfrm>
            <a:off x="4214407" y="833275"/>
            <a:ext cx="34350" cy="34350"/>
          </a:xfrm>
          <a:custGeom>
            <a:avLst/>
            <a:gdLst>
              <a:gd name="T0" fmla="*/ 147 w 147"/>
              <a:gd name="T1" fmla="*/ 73 h 146"/>
              <a:gd name="T2" fmla="*/ 147 w 147"/>
              <a:gd name="T3" fmla="*/ 73 h 146"/>
              <a:gd name="T4" fmla="*/ 147 w 147"/>
              <a:gd name="T5" fmla="*/ 80 h 146"/>
              <a:gd name="T6" fmla="*/ 146 w 147"/>
              <a:gd name="T7" fmla="*/ 88 h 146"/>
              <a:gd name="T8" fmla="*/ 143 w 147"/>
              <a:gd name="T9" fmla="*/ 95 h 146"/>
              <a:gd name="T10" fmla="*/ 141 w 147"/>
              <a:gd name="T11" fmla="*/ 102 h 146"/>
              <a:gd name="T12" fmla="*/ 138 w 147"/>
              <a:gd name="T13" fmla="*/ 107 h 146"/>
              <a:gd name="T14" fmla="*/ 134 w 147"/>
              <a:gd name="T15" fmla="*/ 113 h 146"/>
              <a:gd name="T16" fmla="*/ 125 w 147"/>
              <a:gd name="T17" fmla="*/ 125 h 146"/>
              <a:gd name="T18" fmla="*/ 115 w 147"/>
              <a:gd name="T19" fmla="*/ 134 h 146"/>
              <a:gd name="T20" fmla="*/ 108 w 147"/>
              <a:gd name="T21" fmla="*/ 137 h 146"/>
              <a:gd name="T22" fmla="*/ 102 w 147"/>
              <a:gd name="T23" fmla="*/ 141 h 146"/>
              <a:gd name="T24" fmla="*/ 95 w 147"/>
              <a:gd name="T25" fmla="*/ 143 h 146"/>
              <a:gd name="T26" fmla="*/ 88 w 147"/>
              <a:gd name="T27" fmla="*/ 144 h 146"/>
              <a:gd name="T28" fmla="*/ 82 w 147"/>
              <a:gd name="T29" fmla="*/ 145 h 146"/>
              <a:gd name="T30" fmla="*/ 74 w 147"/>
              <a:gd name="T31" fmla="*/ 146 h 146"/>
              <a:gd name="T32" fmla="*/ 74 w 147"/>
              <a:gd name="T33" fmla="*/ 146 h 146"/>
              <a:gd name="T34" fmla="*/ 67 w 147"/>
              <a:gd name="T35" fmla="*/ 145 h 146"/>
              <a:gd name="T36" fmla="*/ 59 w 147"/>
              <a:gd name="T37" fmla="*/ 144 h 146"/>
              <a:gd name="T38" fmla="*/ 52 w 147"/>
              <a:gd name="T39" fmla="*/ 143 h 146"/>
              <a:gd name="T40" fmla="*/ 45 w 147"/>
              <a:gd name="T41" fmla="*/ 141 h 146"/>
              <a:gd name="T42" fmla="*/ 39 w 147"/>
              <a:gd name="T43" fmla="*/ 137 h 146"/>
              <a:gd name="T44" fmla="*/ 32 w 147"/>
              <a:gd name="T45" fmla="*/ 134 h 146"/>
              <a:gd name="T46" fmla="*/ 22 w 147"/>
              <a:gd name="T47" fmla="*/ 125 h 146"/>
              <a:gd name="T48" fmla="*/ 13 w 147"/>
              <a:gd name="T49" fmla="*/ 113 h 146"/>
              <a:gd name="T50" fmla="*/ 10 w 147"/>
              <a:gd name="T51" fmla="*/ 107 h 146"/>
              <a:gd name="T52" fmla="*/ 6 w 147"/>
              <a:gd name="T53" fmla="*/ 102 h 146"/>
              <a:gd name="T54" fmla="*/ 4 w 147"/>
              <a:gd name="T55" fmla="*/ 95 h 146"/>
              <a:gd name="T56" fmla="*/ 3 w 147"/>
              <a:gd name="T57" fmla="*/ 88 h 146"/>
              <a:gd name="T58" fmla="*/ 2 w 147"/>
              <a:gd name="T59" fmla="*/ 80 h 146"/>
              <a:gd name="T60" fmla="*/ 0 w 147"/>
              <a:gd name="T61" fmla="*/ 73 h 146"/>
              <a:gd name="T62" fmla="*/ 0 w 147"/>
              <a:gd name="T63" fmla="*/ 73 h 146"/>
              <a:gd name="T64" fmla="*/ 2 w 147"/>
              <a:gd name="T65" fmla="*/ 65 h 146"/>
              <a:gd name="T66" fmla="*/ 3 w 147"/>
              <a:gd name="T67" fmla="*/ 58 h 146"/>
              <a:gd name="T68" fmla="*/ 4 w 147"/>
              <a:gd name="T69" fmla="*/ 51 h 146"/>
              <a:gd name="T70" fmla="*/ 6 w 147"/>
              <a:gd name="T71" fmla="*/ 45 h 146"/>
              <a:gd name="T72" fmla="*/ 10 w 147"/>
              <a:gd name="T73" fmla="*/ 38 h 146"/>
              <a:gd name="T74" fmla="*/ 13 w 147"/>
              <a:gd name="T75" fmla="*/ 32 h 146"/>
              <a:gd name="T76" fmla="*/ 22 w 147"/>
              <a:gd name="T77" fmla="*/ 22 h 146"/>
              <a:gd name="T78" fmla="*/ 32 w 147"/>
              <a:gd name="T79" fmla="*/ 12 h 146"/>
              <a:gd name="T80" fmla="*/ 39 w 147"/>
              <a:gd name="T81" fmla="*/ 9 h 146"/>
              <a:gd name="T82" fmla="*/ 45 w 147"/>
              <a:gd name="T83" fmla="*/ 6 h 146"/>
              <a:gd name="T84" fmla="*/ 52 w 147"/>
              <a:gd name="T85" fmla="*/ 3 h 146"/>
              <a:gd name="T86" fmla="*/ 59 w 147"/>
              <a:gd name="T87" fmla="*/ 1 h 146"/>
              <a:gd name="T88" fmla="*/ 67 w 147"/>
              <a:gd name="T89" fmla="*/ 0 h 146"/>
              <a:gd name="T90" fmla="*/ 74 w 147"/>
              <a:gd name="T91" fmla="*/ 0 h 146"/>
              <a:gd name="T92" fmla="*/ 74 w 147"/>
              <a:gd name="T93" fmla="*/ 0 h 146"/>
              <a:gd name="T94" fmla="*/ 82 w 147"/>
              <a:gd name="T95" fmla="*/ 0 h 146"/>
              <a:gd name="T96" fmla="*/ 88 w 147"/>
              <a:gd name="T97" fmla="*/ 1 h 146"/>
              <a:gd name="T98" fmla="*/ 95 w 147"/>
              <a:gd name="T99" fmla="*/ 3 h 146"/>
              <a:gd name="T100" fmla="*/ 102 w 147"/>
              <a:gd name="T101" fmla="*/ 6 h 146"/>
              <a:gd name="T102" fmla="*/ 108 w 147"/>
              <a:gd name="T103" fmla="*/ 9 h 146"/>
              <a:gd name="T104" fmla="*/ 115 w 147"/>
              <a:gd name="T105" fmla="*/ 12 h 146"/>
              <a:gd name="T106" fmla="*/ 125 w 147"/>
              <a:gd name="T107" fmla="*/ 22 h 146"/>
              <a:gd name="T108" fmla="*/ 134 w 147"/>
              <a:gd name="T109" fmla="*/ 32 h 146"/>
              <a:gd name="T110" fmla="*/ 138 w 147"/>
              <a:gd name="T111" fmla="*/ 38 h 146"/>
              <a:gd name="T112" fmla="*/ 141 w 147"/>
              <a:gd name="T113" fmla="*/ 45 h 146"/>
              <a:gd name="T114" fmla="*/ 143 w 147"/>
              <a:gd name="T115" fmla="*/ 51 h 146"/>
              <a:gd name="T116" fmla="*/ 146 w 147"/>
              <a:gd name="T117" fmla="*/ 58 h 146"/>
              <a:gd name="T118" fmla="*/ 147 w 147"/>
              <a:gd name="T119" fmla="*/ 65 h 146"/>
              <a:gd name="T120" fmla="*/ 147 w 147"/>
              <a:gd name="T121" fmla="*/ 73 h 146"/>
              <a:gd name="T122" fmla="*/ 147 w 147"/>
              <a:gd name="T123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7" h="146">
                <a:moveTo>
                  <a:pt x="147" y="73"/>
                </a:moveTo>
                <a:lnTo>
                  <a:pt x="147" y="73"/>
                </a:lnTo>
                <a:lnTo>
                  <a:pt x="147" y="80"/>
                </a:lnTo>
                <a:lnTo>
                  <a:pt x="146" y="88"/>
                </a:lnTo>
                <a:lnTo>
                  <a:pt x="143" y="95"/>
                </a:lnTo>
                <a:lnTo>
                  <a:pt x="141" y="102"/>
                </a:lnTo>
                <a:lnTo>
                  <a:pt x="138" y="107"/>
                </a:lnTo>
                <a:lnTo>
                  <a:pt x="134" y="113"/>
                </a:lnTo>
                <a:lnTo>
                  <a:pt x="125" y="125"/>
                </a:lnTo>
                <a:lnTo>
                  <a:pt x="115" y="134"/>
                </a:lnTo>
                <a:lnTo>
                  <a:pt x="108" y="137"/>
                </a:lnTo>
                <a:lnTo>
                  <a:pt x="102" y="141"/>
                </a:lnTo>
                <a:lnTo>
                  <a:pt x="95" y="143"/>
                </a:lnTo>
                <a:lnTo>
                  <a:pt x="88" y="144"/>
                </a:lnTo>
                <a:lnTo>
                  <a:pt x="82" y="145"/>
                </a:lnTo>
                <a:lnTo>
                  <a:pt x="74" y="146"/>
                </a:lnTo>
                <a:lnTo>
                  <a:pt x="74" y="146"/>
                </a:lnTo>
                <a:lnTo>
                  <a:pt x="67" y="145"/>
                </a:lnTo>
                <a:lnTo>
                  <a:pt x="59" y="144"/>
                </a:lnTo>
                <a:lnTo>
                  <a:pt x="52" y="143"/>
                </a:lnTo>
                <a:lnTo>
                  <a:pt x="45" y="141"/>
                </a:lnTo>
                <a:lnTo>
                  <a:pt x="39" y="137"/>
                </a:lnTo>
                <a:lnTo>
                  <a:pt x="32" y="134"/>
                </a:lnTo>
                <a:lnTo>
                  <a:pt x="22" y="125"/>
                </a:lnTo>
                <a:lnTo>
                  <a:pt x="13" y="113"/>
                </a:lnTo>
                <a:lnTo>
                  <a:pt x="10" y="107"/>
                </a:lnTo>
                <a:lnTo>
                  <a:pt x="6" y="102"/>
                </a:lnTo>
                <a:lnTo>
                  <a:pt x="4" y="95"/>
                </a:lnTo>
                <a:lnTo>
                  <a:pt x="3" y="88"/>
                </a:lnTo>
                <a:lnTo>
                  <a:pt x="2" y="80"/>
                </a:lnTo>
                <a:lnTo>
                  <a:pt x="0" y="73"/>
                </a:lnTo>
                <a:lnTo>
                  <a:pt x="0" y="73"/>
                </a:lnTo>
                <a:lnTo>
                  <a:pt x="2" y="65"/>
                </a:lnTo>
                <a:lnTo>
                  <a:pt x="3" y="58"/>
                </a:lnTo>
                <a:lnTo>
                  <a:pt x="4" y="51"/>
                </a:lnTo>
                <a:lnTo>
                  <a:pt x="6" y="45"/>
                </a:lnTo>
                <a:lnTo>
                  <a:pt x="10" y="38"/>
                </a:lnTo>
                <a:lnTo>
                  <a:pt x="13" y="32"/>
                </a:lnTo>
                <a:lnTo>
                  <a:pt x="22" y="22"/>
                </a:lnTo>
                <a:lnTo>
                  <a:pt x="32" y="12"/>
                </a:lnTo>
                <a:lnTo>
                  <a:pt x="39" y="9"/>
                </a:lnTo>
                <a:lnTo>
                  <a:pt x="45" y="6"/>
                </a:lnTo>
                <a:lnTo>
                  <a:pt x="52" y="3"/>
                </a:lnTo>
                <a:lnTo>
                  <a:pt x="59" y="1"/>
                </a:lnTo>
                <a:lnTo>
                  <a:pt x="67" y="0"/>
                </a:lnTo>
                <a:lnTo>
                  <a:pt x="74" y="0"/>
                </a:lnTo>
                <a:lnTo>
                  <a:pt x="74" y="0"/>
                </a:lnTo>
                <a:lnTo>
                  <a:pt x="82" y="0"/>
                </a:lnTo>
                <a:lnTo>
                  <a:pt x="88" y="1"/>
                </a:lnTo>
                <a:lnTo>
                  <a:pt x="95" y="3"/>
                </a:lnTo>
                <a:lnTo>
                  <a:pt x="102" y="6"/>
                </a:lnTo>
                <a:lnTo>
                  <a:pt x="108" y="9"/>
                </a:lnTo>
                <a:lnTo>
                  <a:pt x="115" y="12"/>
                </a:lnTo>
                <a:lnTo>
                  <a:pt x="125" y="22"/>
                </a:lnTo>
                <a:lnTo>
                  <a:pt x="134" y="32"/>
                </a:lnTo>
                <a:lnTo>
                  <a:pt x="138" y="38"/>
                </a:lnTo>
                <a:lnTo>
                  <a:pt x="141" y="45"/>
                </a:lnTo>
                <a:lnTo>
                  <a:pt x="143" y="51"/>
                </a:lnTo>
                <a:lnTo>
                  <a:pt x="146" y="58"/>
                </a:lnTo>
                <a:lnTo>
                  <a:pt x="147" y="65"/>
                </a:lnTo>
                <a:lnTo>
                  <a:pt x="147" y="73"/>
                </a:lnTo>
                <a:lnTo>
                  <a:pt x="147" y="7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0" name="Freeform 908">
            <a:extLst>
              <a:ext uri="{FF2B5EF4-FFF2-40B4-BE49-F238E27FC236}">
                <a16:creationId xmlns:a16="http://schemas.microsoft.com/office/drawing/2014/main" id="{DDA686B2-7BEB-4C03-8188-70E523A50716}"/>
              </a:ext>
            </a:extLst>
          </p:cNvPr>
          <p:cNvSpPr>
            <a:spLocks/>
          </p:cNvSpPr>
          <p:nvPr userDrawn="1"/>
        </p:nvSpPr>
        <p:spPr bwMode="auto">
          <a:xfrm>
            <a:off x="4214407" y="788135"/>
            <a:ext cx="34350" cy="34350"/>
          </a:xfrm>
          <a:custGeom>
            <a:avLst/>
            <a:gdLst>
              <a:gd name="T0" fmla="*/ 147 w 147"/>
              <a:gd name="T1" fmla="*/ 74 h 147"/>
              <a:gd name="T2" fmla="*/ 147 w 147"/>
              <a:gd name="T3" fmla="*/ 74 h 147"/>
              <a:gd name="T4" fmla="*/ 147 w 147"/>
              <a:gd name="T5" fmla="*/ 80 h 147"/>
              <a:gd name="T6" fmla="*/ 146 w 147"/>
              <a:gd name="T7" fmla="*/ 88 h 147"/>
              <a:gd name="T8" fmla="*/ 143 w 147"/>
              <a:gd name="T9" fmla="*/ 95 h 147"/>
              <a:gd name="T10" fmla="*/ 141 w 147"/>
              <a:gd name="T11" fmla="*/ 102 h 147"/>
              <a:gd name="T12" fmla="*/ 138 w 147"/>
              <a:gd name="T13" fmla="*/ 108 h 147"/>
              <a:gd name="T14" fmla="*/ 134 w 147"/>
              <a:gd name="T15" fmla="*/ 115 h 147"/>
              <a:gd name="T16" fmla="*/ 125 w 147"/>
              <a:gd name="T17" fmla="*/ 125 h 147"/>
              <a:gd name="T18" fmla="*/ 115 w 147"/>
              <a:gd name="T19" fmla="*/ 134 h 147"/>
              <a:gd name="T20" fmla="*/ 108 w 147"/>
              <a:gd name="T21" fmla="*/ 138 h 147"/>
              <a:gd name="T22" fmla="*/ 102 w 147"/>
              <a:gd name="T23" fmla="*/ 141 h 147"/>
              <a:gd name="T24" fmla="*/ 95 w 147"/>
              <a:gd name="T25" fmla="*/ 143 h 147"/>
              <a:gd name="T26" fmla="*/ 88 w 147"/>
              <a:gd name="T27" fmla="*/ 145 h 147"/>
              <a:gd name="T28" fmla="*/ 82 w 147"/>
              <a:gd name="T29" fmla="*/ 146 h 147"/>
              <a:gd name="T30" fmla="*/ 74 w 147"/>
              <a:gd name="T31" fmla="*/ 147 h 147"/>
              <a:gd name="T32" fmla="*/ 74 w 147"/>
              <a:gd name="T33" fmla="*/ 147 h 147"/>
              <a:gd name="T34" fmla="*/ 67 w 147"/>
              <a:gd name="T35" fmla="*/ 146 h 147"/>
              <a:gd name="T36" fmla="*/ 59 w 147"/>
              <a:gd name="T37" fmla="*/ 145 h 147"/>
              <a:gd name="T38" fmla="*/ 52 w 147"/>
              <a:gd name="T39" fmla="*/ 143 h 147"/>
              <a:gd name="T40" fmla="*/ 45 w 147"/>
              <a:gd name="T41" fmla="*/ 141 h 147"/>
              <a:gd name="T42" fmla="*/ 39 w 147"/>
              <a:gd name="T43" fmla="*/ 138 h 147"/>
              <a:gd name="T44" fmla="*/ 32 w 147"/>
              <a:gd name="T45" fmla="*/ 134 h 147"/>
              <a:gd name="T46" fmla="*/ 22 w 147"/>
              <a:gd name="T47" fmla="*/ 125 h 147"/>
              <a:gd name="T48" fmla="*/ 13 w 147"/>
              <a:gd name="T49" fmla="*/ 115 h 147"/>
              <a:gd name="T50" fmla="*/ 10 w 147"/>
              <a:gd name="T51" fmla="*/ 108 h 147"/>
              <a:gd name="T52" fmla="*/ 6 w 147"/>
              <a:gd name="T53" fmla="*/ 102 h 147"/>
              <a:gd name="T54" fmla="*/ 4 w 147"/>
              <a:gd name="T55" fmla="*/ 95 h 147"/>
              <a:gd name="T56" fmla="*/ 3 w 147"/>
              <a:gd name="T57" fmla="*/ 88 h 147"/>
              <a:gd name="T58" fmla="*/ 2 w 147"/>
              <a:gd name="T59" fmla="*/ 80 h 147"/>
              <a:gd name="T60" fmla="*/ 0 w 147"/>
              <a:gd name="T61" fmla="*/ 74 h 147"/>
              <a:gd name="T62" fmla="*/ 0 w 147"/>
              <a:gd name="T63" fmla="*/ 74 h 147"/>
              <a:gd name="T64" fmla="*/ 2 w 147"/>
              <a:gd name="T65" fmla="*/ 66 h 147"/>
              <a:gd name="T66" fmla="*/ 3 w 147"/>
              <a:gd name="T67" fmla="*/ 59 h 147"/>
              <a:gd name="T68" fmla="*/ 4 w 147"/>
              <a:gd name="T69" fmla="*/ 52 h 147"/>
              <a:gd name="T70" fmla="*/ 6 w 147"/>
              <a:gd name="T71" fmla="*/ 45 h 147"/>
              <a:gd name="T72" fmla="*/ 10 w 147"/>
              <a:gd name="T73" fmla="*/ 39 h 147"/>
              <a:gd name="T74" fmla="*/ 13 w 147"/>
              <a:gd name="T75" fmla="*/ 32 h 147"/>
              <a:gd name="T76" fmla="*/ 22 w 147"/>
              <a:gd name="T77" fmla="*/ 22 h 147"/>
              <a:gd name="T78" fmla="*/ 32 w 147"/>
              <a:gd name="T79" fmla="*/ 13 h 147"/>
              <a:gd name="T80" fmla="*/ 39 w 147"/>
              <a:gd name="T81" fmla="*/ 9 h 147"/>
              <a:gd name="T82" fmla="*/ 45 w 147"/>
              <a:gd name="T83" fmla="*/ 6 h 147"/>
              <a:gd name="T84" fmla="*/ 52 w 147"/>
              <a:gd name="T85" fmla="*/ 4 h 147"/>
              <a:gd name="T86" fmla="*/ 59 w 147"/>
              <a:gd name="T87" fmla="*/ 3 h 147"/>
              <a:gd name="T88" fmla="*/ 67 w 147"/>
              <a:gd name="T89" fmla="*/ 1 h 147"/>
              <a:gd name="T90" fmla="*/ 74 w 147"/>
              <a:gd name="T91" fmla="*/ 0 h 147"/>
              <a:gd name="T92" fmla="*/ 74 w 147"/>
              <a:gd name="T93" fmla="*/ 0 h 147"/>
              <a:gd name="T94" fmla="*/ 82 w 147"/>
              <a:gd name="T95" fmla="*/ 1 h 147"/>
              <a:gd name="T96" fmla="*/ 88 w 147"/>
              <a:gd name="T97" fmla="*/ 3 h 147"/>
              <a:gd name="T98" fmla="*/ 95 w 147"/>
              <a:gd name="T99" fmla="*/ 4 h 147"/>
              <a:gd name="T100" fmla="*/ 102 w 147"/>
              <a:gd name="T101" fmla="*/ 6 h 147"/>
              <a:gd name="T102" fmla="*/ 108 w 147"/>
              <a:gd name="T103" fmla="*/ 9 h 147"/>
              <a:gd name="T104" fmla="*/ 115 w 147"/>
              <a:gd name="T105" fmla="*/ 13 h 147"/>
              <a:gd name="T106" fmla="*/ 125 w 147"/>
              <a:gd name="T107" fmla="*/ 22 h 147"/>
              <a:gd name="T108" fmla="*/ 134 w 147"/>
              <a:gd name="T109" fmla="*/ 32 h 147"/>
              <a:gd name="T110" fmla="*/ 138 w 147"/>
              <a:gd name="T111" fmla="*/ 39 h 147"/>
              <a:gd name="T112" fmla="*/ 141 w 147"/>
              <a:gd name="T113" fmla="*/ 45 h 147"/>
              <a:gd name="T114" fmla="*/ 143 w 147"/>
              <a:gd name="T115" fmla="*/ 52 h 147"/>
              <a:gd name="T116" fmla="*/ 146 w 147"/>
              <a:gd name="T117" fmla="*/ 59 h 147"/>
              <a:gd name="T118" fmla="*/ 147 w 147"/>
              <a:gd name="T119" fmla="*/ 66 h 147"/>
              <a:gd name="T120" fmla="*/ 147 w 147"/>
              <a:gd name="T121" fmla="*/ 74 h 147"/>
              <a:gd name="T122" fmla="*/ 147 w 147"/>
              <a:gd name="T123" fmla="*/ 74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7" h="147">
                <a:moveTo>
                  <a:pt x="147" y="74"/>
                </a:moveTo>
                <a:lnTo>
                  <a:pt x="147" y="74"/>
                </a:lnTo>
                <a:lnTo>
                  <a:pt x="147" y="80"/>
                </a:lnTo>
                <a:lnTo>
                  <a:pt x="146" y="88"/>
                </a:lnTo>
                <a:lnTo>
                  <a:pt x="143" y="95"/>
                </a:lnTo>
                <a:lnTo>
                  <a:pt x="141" y="102"/>
                </a:lnTo>
                <a:lnTo>
                  <a:pt x="138" y="108"/>
                </a:lnTo>
                <a:lnTo>
                  <a:pt x="134" y="115"/>
                </a:lnTo>
                <a:lnTo>
                  <a:pt x="125" y="125"/>
                </a:lnTo>
                <a:lnTo>
                  <a:pt x="115" y="134"/>
                </a:lnTo>
                <a:lnTo>
                  <a:pt x="108" y="138"/>
                </a:lnTo>
                <a:lnTo>
                  <a:pt x="102" y="141"/>
                </a:lnTo>
                <a:lnTo>
                  <a:pt x="95" y="143"/>
                </a:lnTo>
                <a:lnTo>
                  <a:pt x="88" y="145"/>
                </a:lnTo>
                <a:lnTo>
                  <a:pt x="82" y="146"/>
                </a:lnTo>
                <a:lnTo>
                  <a:pt x="74" y="147"/>
                </a:lnTo>
                <a:lnTo>
                  <a:pt x="74" y="147"/>
                </a:lnTo>
                <a:lnTo>
                  <a:pt x="67" y="146"/>
                </a:lnTo>
                <a:lnTo>
                  <a:pt x="59" y="145"/>
                </a:lnTo>
                <a:lnTo>
                  <a:pt x="52" y="143"/>
                </a:lnTo>
                <a:lnTo>
                  <a:pt x="45" y="141"/>
                </a:lnTo>
                <a:lnTo>
                  <a:pt x="39" y="138"/>
                </a:lnTo>
                <a:lnTo>
                  <a:pt x="32" y="134"/>
                </a:lnTo>
                <a:lnTo>
                  <a:pt x="22" y="125"/>
                </a:lnTo>
                <a:lnTo>
                  <a:pt x="13" y="115"/>
                </a:lnTo>
                <a:lnTo>
                  <a:pt x="10" y="108"/>
                </a:lnTo>
                <a:lnTo>
                  <a:pt x="6" y="102"/>
                </a:lnTo>
                <a:lnTo>
                  <a:pt x="4" y="95"/>
                </a:lnTo>
                <a:lnTo>
                  <a:pt x="3" y="88"/>
                </a:lnTo>
                <a:lnTo>
                  <a:pt x="2" y="80"/>
                </a:lnTo>
                <a:lnTo>
                  <a:pt x="0" y="74"/>
                </a:lnTo>
                <a:lnTo>
                  <a:pt x="0" y="74"/>
                </a:lnTo>
                <a:lnTo>
                  <a:pt x="2" y="66"/>
                </a:lnTo>
                <a:lnTo>
                  <a:pt x="3" y="59"/>
                </a:lnTo>
                <a:lnTo>
                  <a:pt x="4" y="52"/>
                </a:lnTo>
                <a:lnTo>
                  <a:pt x="6" y="45"/>
                </a:lnTo>
                <a:lnTo>
                  <a:pt x="10" y="39"/>
                </a:lnTo>
                <a:lnTo>
                  <a:pt x="13" y="32"/>
                </a:lnTo>
                <a:lnTo>
                  <a:pt x="22" y="22"/>
                </a:lnTo>
                <a:lnTo>
                  <a:pt x="32" y="13"/>
                </a:lnTo>
                <a:lnTo>
                  <a:pt x="39" y="9"/>
                </a:lnTo>
                <a:lnTo>
                  <a:pt x="45" y="6"/>
                </a:lnTo>
                <a:lnTo>
                  <a:pt x="52" y="4"/>
                </a:lnTo>
                <a:lnTo>
                  <a:pt x="59" y="3"/>
                </a:lnTo>
                <a:lnTo>
                  <a:pt x="67" y="1"/>
                </a:lnTo>
                <a:lnTo>
                  <a:pt x="74" y="0"/>
                </a:lnTo>
                <a:lnTo>
                  <a:pt x="74" y="0"/>
                </a:lnTo>
                <a:lnTo>
                  <a:pt x="82" y="1"/>
                </a:lnTo>
                <a:lnTo>
                  <a:pt x="88" y="3"/>
                </a:lnTo>
                <a:lnTo>
                  <a:pt x="95" y="4"/>
                </a:lnTo>
                <a:lnTo>
                  <a:pt x="102" y="6"/>
                </a:lnTo>
                <a:lnTo>
                  <a:pt x="108" y="9"/>
                </a:lnTo>
                <a:lnTo>
                  <a:pt x="115" y="13"/>
                </a:lnTo>
                <a:lnTo>
                  <a:pt x="125" y="22"/>
                </a:lnTo>
                <a:lnTo>
                  <a:pt x="134" y="32"/>
                </a:lnTo>
                <a:lnTo>
                  <a:pt x="138" y="39"/>
                </a:lnTo>
                <a:lnTo>
                  <a:pt x="141" y="45"/>
                </a:lnTo>
                <a:lnTo>
                  <a:pt x="143" y="52"/>
                </a:lnTo>
                <a:lnTo>
                  <a:pt x="146" y="59"/>
                </a:lnTo>
                <a:lnTo>
                  <a:pt x="147" y="66"/>
                </a:lnTo>
                <a:lnTo>
                  <a:pt x="147" y="74"/>
                </a:lnTo>
                <a:lnTo>
                  <a:pt x="147" y="7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1" name="Freeform 909">
            <a:extLst>
              <a:ext uri="{FF2B5EF4-FFF2-40B4-BE49-F238E27FC236}">
                <a16:creationId xmlns:a16="http://schemas.microsoft.com/office/drawing/2014/main" id="{C376186F-AF07-4B48-A7A7-9DDA42110617}"/>
              </a:ext>
            </a:extLst>
          </p:cNvPr>
          <p:cNvSpPr>
            <a:spLocks/>
          </p:cNvSpPr>
          <p:nvPr userDrawn="1"/>
        </p:nvSpPr>
        <p:spPr bwMode="auto">
          <a:xfrm>
            <a:off x="4307834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19 w 153"/>
              <a:gd name="T11" fmla="*/ 141 h 154"/>
              <a:gd name="T12" fmla="*/ 107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2" name="Freeform 910">
            <a:extLst>
              <a:ext uri="{FF2B5EF4-FFF2-40B4-BE49-F238E27FC236}">
                <a16:creationId xmlns:a16="http://schemas.microsoft.com/office/drawing/2014/main" id="{1A116981-EE5F-480F-BB43-7B5DB8072F4A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3" name="Freeform 911">
            <a:extLst>
              <a:ext uri="{FF2B5EF4-FFF2-40B4-BE49-F238E27FC236}">
                <a16:creationId xmlns:a16="http://schemas.microsoft.com/office/drawing/2014/main" id="{36522452-206C-4CC3-92AD-85AC377B0886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4" name="Freeform 912">
            <a:extLst>
              <a:ext uri="{FF2B5EF4-FFF2-40B4-BE49-F238E27FC236}">
                <a16:creationId xmlns:a16="http://schemas.microsoft.com/office/drawing/2014/main" id="{01DF0223-80F7-4D65-8A13-BAF3FAC2DBFE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5" name="Freeform 913">
            <a:extLst>
              <a:ext uri="{FF2B5EF4-FFF2-40B4-BE49-F238E27FC236}">
                <a16:creationId xmlns:a16="http://schemas.microsoft.com/office/drawing/2014/main" id="{FB9C2D38-A3C9-4194-96A0-33E7FE06664E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6" name="Freeform 914">
            <a:extLst>
              <a:ext uri="{FF2B5EF4-FFF2-40B4-BE49-F238E27FC236}">
                <a16:creationId xmlns:a16="http://schemas.microsoft.com/office/drawing/2014/main" id="{A2FE25D4-F1FD-4ED8-91AA-9F8C2817C996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4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7" name="Freeform 915">
            <a:extLst>
              <a:ext uri="{FF2B5EF4-FFF2-40B4-BE49-F238E27FC236}">
                <a16:creationId xmlns:a16="http://schemas.microsoft.com/office/drawing/2014/main" id="{8B45DBE5-69EA-4B67-B912-F97801A1C99F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8" name="Freeform 916">
            <a:extLst>
              <a:ext uri="{FF2B5EF4-FFF2-40B4-BE49-F238E27FC236}">
                <a16:creationId xmlns:a16="http://schemas.microsoft.com/office/drawing/2014/main" id="{217E9A60-9753-4E52-BD3E-0DE4AF74E0D3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83432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9" name="Freeform 917">
            <a:extLst>
              <a:ext uri="{FF2B5EF4-FFF2-40B4-BE49-F238E27FC236}">
                <a16:creationId xmlns:a16="http://schemas.microsoft.com/office/drawing/2014/main" id="{0C39C766-38AB-460F-8DD2-75BDFDC3FB29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7108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0" name="Freeform 918">
            <a:extLst>
              <a:ext uri="{FF2B5EF4-FFF2-40B4-BE49-F238E27FC236}">
                <a16:creationId xmlns:a16="http://schemas.microsoft.com/office/drawing/2014/main" id="{B081FB71-5814-4752-B939-11D321ED825E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75809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1" name="Freeform 919">
            <a:extLst>
              <a:ext uri="{FF2B5EF4-FFF2-40B4-BE49-F238E27FC236}">
                <a16:creationId xmlns:a16="http://schemas.microsoft.com/office/drawing/2014/main" id="{B70F8A66-F535-4227-8918-9783441D235E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2" name="Freeform 920">
            <a:extLst>
              <a:ext uri="{FF2B5EF4-FFF2-40B4-BE49-F238E27FC236}">
                <a16:creationId xmlns:a16="http://schemas.microsoft.com/office/drawing/2014/main" id="{6C85D26C-1449-40AB-9203-5174BD3182DD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84837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3" name="Freeform 921">
            <a:extLst>
              <a:ext uri="{FF2B5EF4-FFF2-40B4-BE49-F238E27FC236}">
                <a16:creationId xmlns:a16="http://schemas.microsoft.com/office/drawing/2014/main" id="{7F0F6854-60C8-46E7-B817-052E87A7B213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8956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4" name="Freeform 922">
            <a:extLst>
              <a:ext uri="{FF2B5EF4-FFF2-40B4-BE49-F238E27FC236}">
                <a16:creationId xmlns:a16="http://schemas.microsoft.com/office/drawing/2014/main" id="{10E303B8-60D2-40D5-93AD-0F7E9B5C920F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94179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5" name="Freeform 923">
            <a:extLst>
              <a:ext uri="{FF2B5EF4-FFF2-40B4-BE49-F238E27FC236}">
                <a16:creationId xmlns:a16="http://schemas.microsoft.com/office/drawing/2014/main" id="{44EF0B93-7CBB-4DCA-B2BA-4EE60D5067D6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198903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6" name="Freeform 924">
            <a:extLst>
              <a:ext uri="{FF2B5EF4-FFF2-40B4-BE49-F238E27FC236}">
                <a16:creationId xmlns:a16="http://schemas.microsoft.com/office/drawing/2014/main" id="{481CE557-6FB7-48D5-B82C-2404E0C1BBF2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035224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7" name="Freeform 925">
            <a:extLst>
              <a:ext uri="{FF2B5EF4-FFF2-40B4-BE49-F238E27FC236}">
                <a16:creationId xmlns:a16="http://schemas.microsoft.com/office/drawing/2014/main" id="{0B8D8D16-A8D4-403D-BC54-ADCF9ADC0E9A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082462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8" name="Freeform 926">
            <a:extLst>
              <a:ext uri="{FF2B5EF4-FFF2-40B4-BE49-F238E27FC236}">
                <a16:creationId xmlns:a16="http://schemas.microsoft.com/office/drawing/2014/main" id="{EF45B77E-33AE-461E-A850-065B4A289AB6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12865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9" name="Freeform 927">
            <a:extLst>
              <a:ext uri="{FF2B5EF4-FFF2-40B4-BE49-F238E27FC236}">
                <a16:creationId xmlns:a16="http://schemas.microsoft.com/office/drawing/2014/main" id="{273B945F-F88E-4839-BB78-A2A270E54999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174840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0" name="Freeform 928">
            <a:extLst>
              <a:ext uri="{FF2B5EF4-FFF2-40B4-BE49-F238E27FC236}">
                <a16:creationId xmlns:a16="http://schemas.microsoft.com/office/drawing/2014/main" id="{E9FDAFFA-C8A5-425A-84AF-458E2D65F732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22207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0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1" name="Freeform 929">
            <a:extLst>
              <a:ext uri="{FF2B5EF4-FFF2-40B4-BE49-F238E27FC236}">
                <a16:creationId xmlns:a16="http://schemas.microsoft.com/office/drawing/2014/main" id="{2979DC46-5209-46BF-BA42-58A18F00802B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26826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2" name="Freeform 930">
            <a:extLst>
              <a:ext uri="{FF2B5EF4-FFF2-40B4-BE49-F238E27FC236}">
                <a16:creationId xmlns:a16="http://schemas.microsoft.com/office/drawing/2014/main" id="{18964F02-89FF-4FD8-9023-8D03DA974906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31550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3" name="Freeform 931">
            <a:extLst>
              <a:ext uri="{FF2B5EF4-FFF2-40B4-BE49-F238E27FC236}">
                <a16:creationId xmlns:a16="http://schemas.microsoft.com/office/drawing/2014/main" id="{1BB7DA9F-2596-40B0-9AA3-3E767E3877DF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3595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4" name="Freeform 932">
            <a:extLst>
              <a:ext uri="{FF2B5EF4-FFF2-40B4-BE49-F238E27FC236}">
                <a16:creationId xmlns:a16="http://schemas.microsoft.com/office/drawing/2014/main" id="{4DA54EF9-49D6-450F-9F85-417FA04B822A}"/>
              </a:ext>
            </a:extLst>
          </p:cNvPr>
          <p:cNvSpPr>
            <a:spLocks/>
          </p:cNvSpPr>
          <p:nvPr userDrawn="1"/>
        </p:nvSpPr>
        <p:spPr bwMode="auto">
          <a:xfrm>
            <a:off x="3800810" y="240578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2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5" name="Freeform 933">
            <a:extLst>
              <a:ext uri="{FF2B5EF4-FFF2-40B4-BE49-F238E27FC236}">
                <a16:creationId xmlns:a16="http://schemas.microsoft.com/office/drawing/2014/main" id="{F7F1FB8E-0AB0-4EFF-B1E6-ACAACC744B0E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6" name="Freeform 934">
            <a:extLst>
              <a:ext uri="{FF2B5EF4-FFF2-40B4-BE49-F238E27FC236}">
                <a16:creationId xmlns:a16="http://schemas.microsoft.com/office/drawing/2014/main" id="{EA74D7F3-7FC5-4DA1-B297-21AE05C501C7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75809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7" name="Freeform 935">
            <a:extLst>
              <a:ext uri="{FF2B5EF4-FFF2-40B4-BE49-F238E27FC236}">
                <a16:creationId xmlns:a16="http://schemas.microsoft.com/office/drawing/2014/main" id="{77A8A8E1-812E-47DA-A650-EE87C30711C0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8" name="Freeform 936">
            <a:extLst>
              <a:ext uri="{FF2B5EF4-FFF2-40B4-BE49-F238E27FC236}">
                <a16:creationId xmlns:a16="http://schemas.microsoft.com/office/drawing/2014/main" id="{19D91FF0-5088-49F9-9F96-825FCFFDF693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84837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9" name="Freeform 937">
            <a:extLst>
              <a:ext uri="{FF2B5EF4-FFF2-40B4-BE49-F238E27FC236}">
                <a16:creationId xmlns:a16="http://schemas.microsoft.com/office/drawing/2014/main" id="{2056EC16-B9EF-40FB-923D-5691FCA70C1D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0" name="Freeform 938">
            <a:extLst>
              <a:ext uri="{FF2B5EF4-FFF2-40B4-BE49-F238E27FC236}">
                <a16:creationId xmlns:a16="http://schemas.microsoft.com/office/drawing/2014/main" id="{3EBB4A67-21C0-4D70-B7BA-F0B2C0D80E2B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1" name="Freeform 939">
            <a:extLst>
              <a:ext uri="{FF2B5EF4-FFF2-40B4-BE49-F238E27FC236}">
                <a16:creationId xmlns:a16="http://schemas.microsoft.com/office/drawing/2014/main" id="{39C09FF5-250E-42E3-AF4D-0901264DBAD1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2" name="Freeform 940">
            <a:extLst>
              <a:ext uri="{FF2B5EF4-FFF2-40B4-BE49-F238E27FC236}">
                <a16:creationId xmlns:a16="http://schemas.microsoft.com/office/drawing/2014/main" id="{C99D9940-8F05-4DC6-A40D-370B74377CC6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203522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3" name="Freeform 941">
            <a:extLst>
              <a:ext uri="{FF2B5EF4-FFF2-40B4-BE49-F238E27FC236}">
                <a16:creationId xmlns:a16="http://schemas.microsoft.com/office/drawing/2014/main" id="{32DEE163-196A-4597-8C78-627E0653A0B1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208246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4" name="Freeform 942">
            <a:extLst>
              <a:ext uri="{FF2B5EF4-FFF2-40B4-BE49-F238E27FC236}">
                <a16:creationId xmlns:a16="http://schemas.microsoft.com/office/drawing/2014/main" id="{60A620B0-2FCA-4DEB-AE40-4BD591ED6C78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3 w 155"/>
              <a:gd name="T45" fmla="*/ 13 h 155"/>
              <a:gd name="T46" fmla="*/ 47 w 155"/>
              <a:gd name="T47" fmla="*/ 6 h 155"/>
              <a:gd name="T48" fmla="*/ 61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4 w 155"/>
              <a:gd name="T63" fmla="*/ 40 h 155"/>
              <a:gd name="T64" fmla="*/ 150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5" name="Freeform 943">
            <a:extLst>
              <a:ext uri="{FF2B5EF4-FFF2-40B4-BE49-F238E27FC236}">
                <a16:creationId xmlns:a16="http://schemas.microsoft.com/office/drawing/2014/main" id="{C297A21F-40A6-403F-96DA-75872FC8D567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75809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3 w 155"/>
              <a:gd name="T45" fmla="*/ 14 h 155"/>
              <a:gd name="T46" fmla="*/ 47 w 155"/>
              <a:gd name="T47" fmla="*/ 7 h 155"/>
              <a:gd name="T48" fmla="*/ 61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6" name="Freeform 944">
            <a:extLst>
              <a:ext uri="{FF2B5EF4-FFF2-40B4-BE49-F238E27FC236}">
                <a16:creationId xmlns:a16="http://schemas.microsoft.com/office/drawing/2014/main" id="{C7F9BBF6-0BD3-4842-B493-74EC609F110B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3 w 155"/>
              <a:gd name="T45" fmla="*/ 12 h 153"/>
              <a:gd name="T46" fmla="*/ 47 w 155"/>
              <a:gd name="T47" fmla="*/ 6 h 153"/>
              <a:gd name="T48" fmla="*/ 61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7" name="Freeform 945">
            <a:extLst>
              <a:ext uri="{FF2B5EF4-FFF2-40B4-BE49-F238E27FC236}">
                <a16:creationId xmlns:a16="http://schemas.microsoft.com/office/drawing/2014/main" id="{A5FE8476-5FB7-4731-8382-2BF7930FB034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848370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6 h 154"/>
              <a:gd name="T48" fmla="*/ 61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8" name="Freeform 946">
            <a:extLst>
              <a:ext uri="{FF2B5EF4-FFF2-40B4-BE49-F238E27FC236}">
                <a16:creationId xmlns:a16="http://schemas.microsoft.com/office/drawing/2014/main" id="{6BE0827B-8DC9-494C-813F-56C257C3FA75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8956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7 h 154"/>
              <a:gd name="T48" fmla="*/ 61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0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9" name="Freeform 947">
            <a:extLst>
              <a:ext uri="{FF2B5EF4-FFF2-40B4-BE49-F238E27FC236}">
                <a16:creationId xmlns:a16="http://schemas.microsoft.com/office/drawing/2014/main" id="{2EA009A6-CB5A-491B-BB93-D24BCF4807E4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94179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3 w 155"/>
              <a:gd name="T41" fmla="*/ 34 h 153"/>
              <a:gd name="T42" fmla="*/ 23 w 155"/>
              <a:gd name="T43" fmla="*/ 23 h 153"/>
              <a:gd name="T44" fmla="*/ 33 w 155"/>
              <a:gd name="T45" fmla="*/ 13 h 153"/>
              <a:gd name="T46" fmla="*/ 47 w 155"/>
              <a:gd name="T47" fmla="*/ 6 h 153"/>
              <a:gd name="T48" fmla="*/ 61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0" name="Freeform 948">
            <a:extLst>
              <a:ext uri="{FF2B5EF4-FFF2-40B4-BE49-F238E27FC236}">
                <a16:creationId xmlns:a16="http://schemas.microsoft.com/office/drawing/2014/main" id="{42298C33-2F1F-4EEB-B297-0090AF20077C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198903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2 h 154"/>
              <a:gd name="T46" fmla="*/ 47 w 155"/>
              <a:gd name="T47" fmla="*/ 6 h 154"/>
              <a:gd name="T48" fmla="*/ 61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4 w 155"/>
              <a:gd name="T63" fmla="*/ 40 h 154"/>
              <a:gd name="T64" fmla="*/ 150 w 155"/>
              <a:gd name="T65" fmla="*/ 54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1" name="Freeform 949">
            <a:extLst>
              <a:ext uri="{FF2B5EF4-FFF2-40B4-BE49-F238E27FC236}">
                <a16:creationId xmlns:a16="http://schemas.microsoft.com/office/drawing/2014/main" id="{590973DA-62C0-40FA-83DA-74791D65C87B}"/>
              </a:ext>
            </a:extLst>
          </p:cNvPr>
          <p:cNvSpPr>
            <a:spLocks/>
          </p:cNvSpPr>
          <p:nvPr userDrawn="1"/>
        </p:nvSpPr>
        <p:spPr bwMode="auto">
          <a:xfrm>
            <a:off x="3892138" y="2035224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7 h 154"/>
              <a:gd name="T48" fmla="*/ 61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0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2" name="Freeform 950">
            <a:extLst>
              <a:ext uri="{FF2B5EF4-FFF2-40B4-BE49-F238E27FC236}">
                <a16:creationId xmlns:a16="http://schemas.microsoft.com/office/drawing/2014/main" id="{3CA503B9-2B73-4DB8-B75B-F032B566C6E2}"/>
              </a:ext>
            </a:extLst>
          </p:cNvPr>
          <p:cNvSpPr>
            <a:spLocks/>
          </p:cNvSpPr>
          <p:nvPr userDrawn="1"/>
        </p:nvSpPr>
        <p:spPr bwMode="auto">
          <a:xfrm>
            <a:off x="3936227" y="17108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3" name="Freeform 951">
            <a:extLst>
              <a:ext uri="{FF2B5EF4-FFF2-40B4-BE49-F238E27FC236}">
                <a16:creationId xmlns:a16="http://schemas.microsoft.com/office/drawing/2014/main" id="{46C1FF15-4305-4D54-8BB2-AC201B80BAB2}"/>
              </a:ext>
            </a:extLst>
          </p:cNvPr>
          <p:cNvSpPr>
            <a:spLocks/>
          </p:cNvSpPr>
          <p:nvPr userDrawn="1"/>
        </p:nvSpPr>
        <p:spPr bwMode="auto">
          <a:xfrm>
            <a:off x="3936227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4" name="Freeform 952">
            <a:extLst>
              <a:ext uri="{FF2B5EF4-FFF2-40B4-BE49-F238E27FC236}">
                <a16:creationId xmlns:a16="http://schemas.microsoft.com/office/drawing/2014/main" id="{2A45395A-5CA0-42D8-9C50-5DBAF0F3CDEB}"/>
              </a:ext>
            </a:extLst>
          </p:cNvPr>
          <p:cNvSpPr>
            <a:spLocks/>
          </p:cNvSpPr>
          <p:nvPr userDrawn="1"/>
        </p:nvSpPr>
        <p:spPr bwMode="auto">
          <a:xfrm>
            <a:off x="3936227" y="184837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5" name="Freeform 953">
            <a:extLst>
              <a:ext uri="{FF2B5EF4-FFF2-40B4-BE49-F238E27FC236}">
                <a16:creationId xmlns:a16="http://schemas.microsoft.com/office/drawing/2014/main" id="{CFD11A15-9D79-49A7-9FDE-943246F00264}"/>
              </a:ext>
            </a:extLst>
          </p:cNvPr>
          <p:cNvSpPr>
            <a:spLocks/>
          </p:cNvSpPr>
          <p:nvPr userDrawn="1"/>
        </p:nvSpPr>
        <p:spPr bwMode="auto">
          <a:xfrm>
            <a:off x="3936227" y="18956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6" name="Freeform 954">
            <a:extLst>
              <a:ext uri="{FF2B5EF4-FFF2-40B4-BE49-F238E27FC236}">
                <a16:creationId xmlns:a16="http://schemas.microsoft.com/office/drawing/2014/main" id="{644CBC4E-A3DF-4173-8132-8F6C4D22E17F}"/>
              </a:ext>
            </a:extLst>
          </p:cNvPr>
          <p:cNvSpPr>
            <a:spLocks/>
          </p:cNvSpPr>
          <p:nvPr userDrawn="1"/>
        </p:nvSpPr>
        <p:spPr bwMode="auto">
          <a:xfrm>
            <a:off x="3936227" y="19417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7" name="Freeform 955">
            <a:extLst>
              <a:ext uri="{FF2B5EF4-FFF2-40B4-BE49-F238E27FC236}">
                <a16:creationId xmlns:a16="http://schemas.microsoft.com/office/drawing/2014/main" id="{C6EBF157-EF5E-4260-B427-E2CBA28DDE95}"/>
              </a:ext>
            </a:extLst>
          </p:cNvPr>
          <p:cNvSpPr>
            <a:spLocks/>
          </p:cNvSpPr>
          <p:nvPr userDrawn="1"/>
        </p:nvSpPr>
        <p:spPr bwMode="auto">
          <a:xfrm>
            <a:off x="3936227" y="198903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8" name="Freeform 956">
            <a:extLst>
              <a:ext uri="{FF2B5EF4-FFF2-40B4-BE49-F238E27FC236}">
                <a16:creationId xmlns:a16="http://schemas.microsoft.com/office/drawing/2014/main" id="{7FA21B2A-71AD-4791-8D4D-11E9B3935D54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17108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9" name="Freeform 957">
            <a:extLst>
              <a:ext uri="{FF2B5EF4-FFF2-40B4-BE49-F238E27FC236}">
                <a16:creationId xmlns:a16="http://schemas.microsoft.com/office/drawing/2014/main" id="{FF5714F7-5025-42B0-AF3A-0FCD41F91359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0" name="Freeform 958">
            <a:extLst>
              <a:ext uri="{FF2B5EF4-FFF2-40B4-BE49-F238E27FC236}">
                <a16:creationId xmlns:a16="http://schemas.microsoft.com/office/drawing/2014/main" id="{2011375C-EA46-4AA6-A132-56E1EA25873E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1848370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1" name="Freeform 959">
            <a:extLst>
              <a:ext uri="{FF2B5EF4-FFF2-40B4-BE49-F238E27FC236}">
                <a16:creationId xmlns:a16="http://schemas.microsoft.com/office/drawing/2014/main" id="{4F13804E-56F2-4532-AD97-E1DD92028F43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18956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2" name="Freeform 960">
            <a:extLst>
              <a:ext uri="{FF2B5EF4-FFF2-40B4-BE49-F238E27FC236}">
                <a16:creationId xmlns:a16="http://schemas.microsoft.com/office/drawing/2014/main" id="{F9E77B0A-14C1-48A0-9C06-4E6057346D34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194179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3" name="Freeform 961">
            <a:extLst>
              <a:ext uri="{FF2B5EF4-FFF2-40B4-BE49-F238E27FC236}">
                <a16:creationId xmlns:a16="http://schemas.microsoft.com/office/drawing/2014/main" id="{C4EE2A45-FC65-43B9-9608-31FB5DAED7FC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4" name="Freeform 962">
            <a:extLst>
              <a:ext uri="{FF2B5EF4-FFF2-40B4-BE49-F238E27FC236}">
                <a16:creationId xmlns:a16="http://schemas.microsoft.com/office/drawing/2014/main" id="{4BAB1806-AF1A-4D7A-B9C5-4005FA9CCEFD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1848370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5" name="Freeform 963">
            <a:extLst>
              <a:ext uri="{FF2B5EF4-FFF2-40B4-BE49-F238E27FC236}">
                <a16:creationId xmlns:a16="http://schemas.microsoft.com/office/drawing/2014/main" id="{D0FFC35B-ED82-4535-ABD3-3DF658D1D278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18956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6" name="Freeform 964">
            <a:extLst>
              <a:ext uri="{FF2B5EF4-FFF2-40B4-BE49-F238E27FC236}">
                <a16:creationId xmlns:a16="http://schemas.microsoft.com/office/drawing/2014/main" id="{5C8CEB55-05A8-4CCB-AAA4-A92AA542AA9F}"/>
              </a:ext>
            </a:extLst>
          </p:cNvPr>
          <p:cNvSpPr>
            <a:spLocks/>
          </p:cNvSpPr>
          <p:nvPr userDrawn="1"/>
        </p:nvSpPr>
        <p:spPr bwMode="auto">
          <a:xfrm>
            <a:off x="4078991" y="180218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7" name="Freeform 965">
            <a:extLst>
              <a:ext uri="{FF2B5EF4-FFF2-40B4-BE49-F238E27FC236}">
                <a16:creationId xmlns:a16="http://schemas.microsoft.com/office/drawing/2014/main" id="{48BF2874-EB2A-4A33-9F65-3CDA7BCC0B7E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226826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8" name="Freeform 966">
            <a:extLst>
              <a:ext uri="{FF2B5EF4-FFF2-40B4-BE49-F238E27FC236}">
                <a16:creationId xmlns:a16="http://schemas.microsoft.com/office/drawing/2014/main" id="{840B8222-269A-4B26-8CD1-92D1D1E11A28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9" name="Freeform 967">
            <a:extLst>
              <a:ext uri="{FF2B5EF4-FFF2-40B4-BE49-F238E27FC236}">
                <a16:creationId xmlns:a16="http://schemas.microsoft.com/office/drawing/2014/main" id="{D2CEB6F9-1940-42EC-92BD-FFF23635D4FA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0" name="Freeform 968">
            <a:extLst>
              <a:ext uri="{FF2B5EF4-FFF2-40B4-BE49-F238E27FC236}">
                <a16:creationId xmlns:a16="http://schemas.microsoft.com/office/drawing/2014/main" id="{F6252E93-F600-42F3-9E0D-C1B9521BFE46}"/>
              </a:ext>
            </a:extLst>
          </p:cNvPr>
          <p:cNvSpPr>
            <a:spLocks/>
          </p:cNvSpPr>
          <p:nvPr userDrawn="1"/>
        </p:nvSpPr>
        <p:spPr bwMode="auto">
          <a:xfrm>
            <a:off x="3844899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1" name="Freeform 969">
            <a:extLst>
              <a:ext uri="{FF2B5EF4-FFF2-40B4-BE49-F238E27FC236}">
                <a16:creationId xmlns:a16="http://schemas.microsoft.com/office/drawing/2014/main" id="{D70D0461-A922-4B52-88DF-77C47E30BC93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54539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2" name="Freeform 970">
            <a:extLst>
              <a:ext uri="{FF2B5EF4-FFF2-40B4-BE49-F238E27FC236}">
                <a16:creationId xmlns:a16="http://schemas.microsoft.com/office/drawing/2014/main" id="{10BB2088-B137-4752-A464-6E1750068E05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59263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3" name="Freeform 971">
            <a:extLst>
              <a:ext uri="{FF2B5EF4-FFF2-40B4-BE49-F238E27FC236}">
                <a16:creationId xmlns:a16="http://schemas.microsoft.com/office/drawing/2014/main" id="{BAD1287D-7699-4CF1-A7BD-F18D558C8B4F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4" name="Freeform 972">
            <a:extLst>
              <a:ext uri="{FF2B5EF4-FFF2-40B4-BE49-F238E27FC236}">
                <a16:creationId xmlns:a16="http://schemas.microsoft.com/office/drawing/2014/main" id="{03FD250F-444C-4155-823D-A79CEAC8E340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5" name="Freeform 973">
            <a:extLst>
              <a:ext uri="{FF2B5EF4-FFF2-40B4-BE49-F238E27FC236}">
                <a16:creationId xmlns:a16="http://schemas.microsoft.com/office/drawing/2014/main" id="{457B2B43-C2A6-48B5-9EBD-62C342DB6F3A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6" name="Freeform 974">
            <a:extLst>
              <a:ext uri="{FF2B5EF4-FFF2-40B4-BE49-F238E27FC236}">
                <a16:creationId xmlns:a16="http://schemas.microsoft.com/office/drawing/2014/main" id="{583B1F34-629E-4691-8B6A-C514B5033C2E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7" name="Freeform 975">
            <a:extLst>
              <a:ext uri="{FF2B5EF4-FFF2-40B4-BE49-F238E27FC236}">
                <a16:creationId xmlns:a16="http://schemas.microsoft.com/office/drawing/2014/main" id="{EB5F80F3-9DDE-4FAD-B895-6E397454F937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8" name="Freeform 976">
            <a:extLst>
              <a:ext uri="{FF2B5EF4-FFF2-40B4-BE49-F238E27FC236}">
                <a16:creationId xmlns:a16="http://schemas.microsoft.com/office/drawing/2014/main" id="{7C97D112-FC75-494C-AA06-C3A04D22BA2B}"/>
              </a:ext>
            </a:extLst>
          </p:cNvPr>
          <p:cNvSpPr>
            <a:spLocks/>
          </p:cNvSpPr>
          <p:nvPr userDrawn="1"/>
        </p:nvSpPr>
        <p:spPr bwMode="auto">
          <a:xfrm>
            <a:off x="3708433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9" name="Freeform 977">
            <a:extLst>
              <a:ext uri="{FF2B5EF4-FFF2-40B4-BE49-F238E27FC236}">
                <a16:creationId xmlns:a16="http://schemas.microsoft.com/office/drawing/2014/main" id="{BF24980E-13F8-4778-B9FE-10EC5B14CD97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0" name="Freeform 978">
            <a:extLst>
              <a:ext uri="{FF2B5EF4-FFF2-40B4-BE49-F238E27FC236}">
                <a16:creationId xmlns:a16="http://schemas.microsoft.com/office/drawing/2014/main" id="{92CE5956-56A1-4C79-BD79-AD04763D537E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245302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9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0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1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1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9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1" name="Freeform 979">
            <a:extLst>
              <a:ext uri="{FF2B5EF4-FFF2-40B4-BE49-F238E27FC236}">
                <a16:creationId xmlns:a16="http://schemas.microsoft.com/office/drawing/2014/main" id="{5FF504E0-D966-44B3-883F-4FDB5FECFD6E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249920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6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2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2" name="Freeform 980">
            <a:extLst>
              <a:ext uri="{FF2B5EF4-FFF2-40B4-BE49-F238E27FC236}">
                <a16:creationId xmlns:a16="http://schemas.microsoft.com/office/drawing/2014/main" id="{3F58793C-3C9E-4535-B383-EF649B81039F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2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9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2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9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9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3" name="Freeform 981">
            <a:extLst>
              <a:ext uri="{FF2B5EF4-FFF2-40B4-BE49-F238E27FC236}">
                <a16:creationId xmlns:a16="http://schemas.microsoft.com/office/drawing/2014/main" id="{E39112C0-B5C9-45D3-BCE2-DA366E7BFA20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249500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4" name="Freeform 982">
            <a:extLst>
              <a:ext uri="{FF2B5EF4-FFF2-40B4-BE49-F238E27FC236}">
                <a16:creationId xmlns:a16="http://schemas.microsoft.com/office/drawing/2014/main" id="{D7237F72-73C0-4544-AABD-419E972CC47F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254434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6" name="Freeform 984">
            <a:extLst>
              <a:ext uri="{FF2B5EF4-FFF2-40B4-BE49-F238E27FC236}">
                <a16:creationId xmlns:a16="http://schemas.microsoft.com/office/drawing/2014/main" id="{322C5509-5D90-4CEB-B1B3-327386A4E6BD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7" name="Freeform 985">
            <a:extLst>
              <a:ext uri="{FF2B5EF4-FFF2-40B4-BE49-F238E27FC236}">
                <a16:creationId xmlns:a16="http://schemas.microsoft.com/office/drawing/2014/main" id="{D600C7CF-E1BD-4397-8A72-47EFC5B63C3C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8" name="Freeform 986">
            <a:extLst>
              <a:ext uri="{FF2B5EF4-FFF2-40B4-BE49-F238E27FC236}">
                <a16:creationId xmlns:a16="http://schemas.microsoft.com/office/drawing/2014/main" id="{0B1D2AE8-5D02-48C3-AC98-85C2D3F7CB47}"/>
              </a:ext>
            </a:extLst>
          </p:cNvPr>
          <p:cNvSpPr>
            <a:spLocks/>
          </p:cNvSpPr>
          <p:nvPr userDrawn="1"/>
        </p:nvSpPr>
        <p:spPr bwMode="auto">
          <a:xfrm>
            <a:off x="4031753" y="245197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3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9" name="Freeform 987">
            <a:extLst>
              <a:ext uri="{FF2B5EF4-FFF2-40B4-BE49-F238E27FC236}">
                <a16:creationId xmlns:a16="http://schemas.microsoft.com/office/drawing/2014/main" id="{33AF14D0-0EBA-4C6C-B27D-276B10051173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254539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0" name="Freeform 988">
            <a:extLst>
              <a:ext uri="{FF2B5EF4-FFF2-40B4-BE49-F238E27FC236}">
                <a16:creationId xmlns:a16="http://schemas.microsoft.com/office/drawing/2014/main" id="{2ECB9439-FAF7-401F-BC5F-8DF0BD4D19DF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259263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0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1" name="Freeform 989">
            <a:extLst>
              <a:ext uri="{FF2B5EF4-FFF2-40B4-BE49-F238E27FC236}">
                <a16:creationId xmlns:a16="http://schemas.microsoft.com/office/drawing/2014/main" id="{5A21A2B2-F4AE-4541-99D7-DFE8C456FD23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639873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49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5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2" name="Freeform 990">
            <a:extLst>
              <a:ext uri="{FF2B5EF4-FFF2-40B4-BE49-F238E27FC236}">
                <a16:creationId xmlns:a16="http://schemas.microsoft.com/office/drawing/2014/main" id="{E2AAA00A-C4C9-4247-A347-17194A0411FC}"/>
              </a:ext>
            </a:extLst>
          </p:cNvPr>
          <p:cNvSpPr>
            <a:spLocks/>
          </p:cNvSpPr>
          <p:nvPr userDrawn="1"/>
        </p:nvSpPr>
        <p:spPr bwMode="auto">
          <a:xfrm>
            <a:off x="3568819" y="268606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4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2" y="84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6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3" name="Freeform 991">
            <a:extLst>
              <a:ext uri="{FF2B5EF4-FFF2-40B4-BE49-F238E27FC236}">
                <a16:creationId xmlns:a16="http://schemas.microsoft.com/office/drawing/2014/main" id="{216E9FD1-C348-44D5-8A5B-BF427CB8B217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63987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49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4" name="Freeform 992">
            <a:extLst>
              <a:ext uri="{FF2B5EF4-FFF2-40B4-BE49-F238E27FC236}">
                <a16:creationId xmlns:a16="http://schemas.microsoft.com/office/drawing/2014/main" id="{89B2EEB4-601D-4605-8D93-BBC84C7E2BF0}"/>
              </a:ext>
            </a:extLst>
          </p:cNvPr>
          <p:cNvSpPr>
            <a:spLocks/>
          </p:cNvSpPr>
          <p:nvPr userDrawn="1"/>
        </p:nvSpPr>
        <p:spPr bwMode="auto">
          <a:xfrm>
            <a:off x="3615007" y="268606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6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5" name="Freeform 993">
            <a:extLst>
              <a:ext uri="{FF2B5EF4-FFF2-40B4-BE49-F238E27FC236}">
                <a16:creationId xmlns:a16="http://schemas.microsoft.com/office/drawing/2014/main" id="{463CF86B-937F-49E0-B99A-836325CF96FE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63987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49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6" name="Freeform 994">
            <a:extLst>
              <a:ext uri="{FF2B5EF4-FFF2-40B4-BE49-F238E27FC236}">
                <a16:creationId xmlns:a16="http://schemas.microsoft.com/office/drawing/2014/main" id="{4A153500-B9DA-4C2E-83D5-B0D725131BAC}"/>
              </a:ext>
            </a:extLst>
          </p:cNvPr>
          <p:cNvSpPr>
            <a:spLocks/>
          </p:cNvSpPr>
          <p:nvPr userDrawn="1"/>
        </p:nvSpPr>
        <p:spPr bwMode="auto">
          <a:xfrm>
            <a:off x="3661196" y="268606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6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7" name="Freeform 995">
            <a:extLst>
              <a:ext uri="{FF2B5EF4-FFF2-40B4-BE49-F238E27FC236}">
                <a16:creationId xmlns:a16="http://schemas.microsoft.com/office/drawing/2014/main" id="{CD3C5007-B17A-44D7-8F2B-EECE626E8C26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17484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8" name="Freeform 996">
            <a:extLst>
              <a:ext uri="{FF2B5EF4-FFF2-40B4-BE49-F238E27FC236}">
                <a16:creationId xmlns:a16="http://schemas.microsoft.com/office/drawing/2014/main" id="{FF810702-67C3-4DCC-A63B-71CF8D88534D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22207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9" name="Freeform 997">
            <a:extLst>
              <a:ext uri="{FF2B5EF4-FFF2-40B4-BE49-F238E27FC236}">
                <a16:creationId xmlns:a16="http://schemas.microsoft.com/office/drawing/2014/main" id="{1B999902-99A7-44F7-9E62-C1A9B13B0CA1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17484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0" name="Freeform 998">
            <a:extLst>
              <a:ext uri="{FF2B5EF4-FFF2-40B4-BE49-F238E27FC236}">
                <a16:creationId xmlns:a16="http://schemas.microsoft.com/office/drawing/2014/main" id="{66055BDE-7609-4867-9BC2-6DC6131E527E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22207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1" name="Freeform 999">
            <a:extLst>
              <a:ext uri="{FF2B5EF4-FFF2-40B4-BE49-F238E27FC236}">
                <a16:creationId xmlns:a16="http://schemas.microsoft.com/office/drawing/2014/main" id="{52788441-0E97-4BD5-AFA3-C0BD657B1861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174840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2" name="Freeform 1000">
            <a:extLst>
              <a:ext uri="{FF2B5EF4-FFF2-40B4-BE49-F238E27FC236}">
                <a16:creationId xmlns:a16="http://schemas.microsoft.com/office/drawing/2014/main" id="{772342E1-E0A3-411B-AF23-792A392E119D}"/>
              </a:ext>
            </a:extLst>
          </p:cNvPr>
          <p:cNvSpPr>
            <a:spLocks/>
          </p:cNvSpPr>
          <p:nvPr userDrawn="1"/>
        </p:nvSpPr>
        <p:spPr bwMode="auto">
          <a:xfrm>
            <a:off x="3291688" y="2174840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4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4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2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4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3" name="Freeform 1001">
            <a:extLst>
              <a:ext uri="{FF2B5EF4-FFF2-40B4-BE49-F238E27FC236}">
                <a16:creationId xmlns:a16="http://schemas.microsoft.com/office/drawing/2014/main" id="{4C8BCAFB-586D-408D-8869-19C119CABFF6}"/>
              </a:ext>
            </a:extLst>
          </p:cNvPr>
          <p:cNvSpPr>
            <a:spLocks/>
          </p:cNvSpPr>
          <p:nvPr userDrawn="1"/>
        </p:nvSpPr>
        <p:spPr bwMode="auto">
          <a:xfrm>
            <a:off x="3336826" y="2174840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3 w 155"/>
              <a:gd name="T31" fmla="*/ 100 h 154"/>
              <a:gd name="T32" fmla="*/ 1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4" name="Freeform 1002">
            <a:extLst>
              <a:ext uri="{FF2B5EF4-FFF2-40B4-BE49-F238E27FC236}">
                <a16:creationId xmlns:a16="http://schemas.microsoft.com/office/drawing/2014/main" id="{A13B6B60-DAA2-40F6-851E-B5C2755C9B84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17484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5" name="Freeform 1003">
            <a:extLst>
              <a:ext uri="{FF2B5EF4-FFF2-40B4-BE49-F238E27FC236}">
                <a16:creationId xmlns:a16="http://schemas.microsoft.com/office/drawing/2014/main" id="{6FE718A1-915C-4D4B-990A-29F26A7C3E86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222077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6" name="Freeform 1004">
            <a:extLst>
              <a:ext uri="{FF2B5EF4-FFF2-40B4-BE49-F238E27FC236}">
                <a16:creationId xmlns:a16="http://schemas.microsoft.com/office/drawing/2014/main" id="{B6A17AD1-2D71-41D5-AF73-CADED49123FD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26826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7" name="Freeform 1005">
            <a:extLst>
              <a:ext uri="{FF2B5EF4-FFF2-40B4-BE49-F238E27FC236}">
                <a16:creationId xmlns:a16="http://schemas.microsoft.com/office/drawing/2014/main" id="{E75DD4D1-17C5-4605-AB48-77A513B8C64D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8" name="Freeform 1006">
            <a:extLst>
              <a:ext uri="{FF2B5EF4-FFF2-40B4-BE49-F238E27FC236}">
                <a16:creationId xmlns:a16="http://schemas.microsoft.com/office/drawing/2014/main" id="{620046AF-AEFB-41BE-9FE4-A1593CC658D9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26826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9" name="Freeform 1007">
            <a:extLst>
              <a:ext uri="{FF2B5EF4-FFF2-40B4-BE49-F238E27FC236}">
                <a16:creationId xmlns:a16="http://schemas.microsoft.com/office/drawing/2014/main" id="{91E3B7F3-639B-42BC-B398-6E900092AA90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6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0" name="Freeform 1008">
            <a:extLst>
              <a:ext uri="{FF2B5EF4-FFF2-40B4-BE49-F238E27FC236}">
                <a16:creationId xmlns:a16="http://schemas.microsoft.com/office/drawing/2014/main" id="{4B964201-6512-4B2E-8CA4-23915ED56015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268266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1" name="Freeform 1010">
            <a:extLst>
              <a:ext uri="{FF2B5EF4-FFF2-40B4-BE49-F238E27FC236}">
                <a16:creationId xmlns:a16="http://schemas.microsoft.com/office/drawing/2014/main" id="{0E17CC85-86E4-48F2-92CF-C78DF3596A42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31550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2" name="Freeform 1011">
            <a:extLst>
              <a:ext uri="{FF2B5EF4-FFF2-40B4-BE49-F238E27FC236}">
                <a16:creationId xmlns:a16="http://schemas.microsoft.com/office/drawing/2014/main" id="{1401E691-9974-4CB0-8180-5FECD65D86A1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3" name="Freeform 1012">
            <a:extLst>
              <a:ext uri="{FF2B5EF4-FFF2-40B4-BE49-F238E27FC236}">
                <a16:creationId xmlns:a16="http://schemas.microsoft.com/office/drawing/2014/main" id="{97976688-54CF-4623-8862-41DCCD93555A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4" name="Freeform 1013">
            <a:extLst>
              <a:ext uri="{FF2B5EF4-FFF2-40B4-BE49-F238E27FC236}">
                <a16:creationId xmlns:a16="http://schemas.microsoft.com/office/drawing/2014/main" id="{327C103F-6CD3-45A6-963E-B12578583BA8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5" name="Freeform 1014">
            <a:extLst>
              <a:ext uri="{FF2B5EF4-FFF2-40B4-BE49-F238E27FC236}">
                <a16:creationId xmlns:a16="http://schemas.microsoft.com/office/drawing/2014/main" id="{F79C99AC-1F01-401A-BAC6-A997C661083E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6" name="Freeform 1015">
            <a:extLst>
              <a:ext uri="{FF2B5EF4-FFF2-40B4-BE49-F238E27FC236}">
                <a16:creationId xmlns:a16="http://schemas.microsoft.com/office/drawing/2014/main" id="{C5DBFE7B-6217-47E6-BC41-5BB26A9226F7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3595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7" name="Freeform 1016">
            <a:extLst>
              <a:ext uri="{FF2B5EF4-FFF2-40B4-BE49-F238E27FC236}">
                <a16:creationId xmlns:a16="http://schemas.microsoft.com/office/drawing/2014/main" id="{EC2AB853-74BF-4388-9DC2-C974370BE096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40578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8" name="Freeform 1017">
            <a:extLst>
              <a:ext uri="{FF2B5EF4-FFF2-40B4-BE49-F238E27FC236}">
                <a16:creationId xmlns:a16="http://schemas.microsoft.com/office/drawing/2014/main" id="{2918CA86-1347-4FA4-A437-ACEE2C4DFD70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9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9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9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9" name="Freeform 1018">
            <a:extLst>
              <a:ext uri="{FF2B5EF4-FFF2-40B4-BE49-F238E27FC236}">
                <a16:creationId xmlns:a16="http://schemas.microsoft.com/office/drawing/2014/main" id="{C817EB71-079A-4013-9056-F41221730226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49920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0" name="Freeform 1019">
            <a:extLst>
              <a:ext uri="{FF2B5EF4-FFF2-40B4-BE49-F238E27FC236}">
                <a16:creationId xmlns:a16="http://schemas.microsoft.com/office/drawing/2014/main" id="{F685F54A-63E4-41E3-8F9F-1BA5486AEEDE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9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9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1" name="Freeform 1020">
            <a:extLst>
              <a:ext uri="{FF2B5EF4-FFF2-40B4-BE49-F238E27FC236}">
                <a16:creationId xmlns:a16="http://schemas.microsoft.com/office/drawing/2014/main" id="{B4A4FEE4-00AA-4EA8-9ED3-585F6D2F1057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49920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2" name="Freeform 1021">
            <a:extLst>
              <a:ext uri="{FF2B5EF4-FFF2-40B4-BE49-F238E27FC236}">
                <a16:creationId xmlns:a16="http://schemas.microsoft.com/office/drawing/2014/main" id="{9908645C-7DE7-43E7-900A-0D3D01F039DF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45302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9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2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9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9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3" name="Freeform 1022">
            <a:extLst>
              <a:ext uri="{FF2B5EF4-FFF2-40B4-BE49-F238E27FC236}">
                <a16:creationId xmlns:a16="http://schemas.microsoft.com/office/drawing/2014/main" id="{06F8A2C1-E0D4-459A-9543-561C78F1F09E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49920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4" name="Freeform 1023">
            <a:extLst>
              <a:ext uri="{FF2B5EF4-FFF2-40B4-BE49-F238E27FC236}">
                <a16:creationId xmlns:a16="http://schemas.microsoft.com/office/drawing/2014/main" id="{8B58888D-D496-47CE-9A02-E63BBF189DBE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5" name="Freeform 1024">
            <a:extLst>
              <a:ext uri="{FF2B5EF4-FFF2-40B4-BE49-F238E27FC236}">
                <a16:creationId xmlns:a16="http://schemas.microsoft.com/office/drawing/2014/main" id="{807EC0B1-42C9-42DB-9EE6-E6B7CB6ABD35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6" name="Freeform 1025">
            <a:extLst>
              <a:ext uri="{FF2B5EF4-FFF2-40B4-BE49-F238E27FC236}">
                <a16:creationId xmlns:a16="http://schemas.microsoft.com/office/drawing/2014/main" id="{A09F9973-8118-4FC9-8862-34B9EFA2A757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7" name="Freeform 1026">
            <a:extLst>
              <a:ext uri="{FF2B5EF4-FFF2-40B4-BE49-F238E27FC236}">
                <a16:creationId xmlns:a16="http://schemas.microsoft.com/office/drawing/2014/main" id="{51359226-FF1D-4681-BB7F-4194D6334496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99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8" name="Freeform 1027">
            <a:extLst>
              <a:ext uri="{FF2B5EF4-FFF2-40B4-BE49-F238E27FC236}">
                <a16:creationId xmlns:a16="http://schemas.microsoft.com/office/drawing/2014/main" id="{2B0D474D-098D-4F39-8826-D5E5EA13BD15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54539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9" name="Freeform 1028">
            <a:extLst>
              <a:ext uri="{FF2B5EF4-FFF2-40B4-BE49-F238E27FC236}">
                <a16:creationId xmlns:a16="http://schemas.microsoft.com/office/drawing/2014/main" id="{803ECA5E-59FF-4D34-A164-CF7348249FB4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59263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0" name="Freeform 1029">
            <a:extLst>
              <a:ext uri="{FF2B5EF4-FFF2-40B4-BE49-F238E27FC236}">
                <a16:creationId xmlns:a16="http://schemas.microsoft.com/office/drawing/2014/main" id="{82ADBE96-BEFC-470B-BBAB-502CFD9E375B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63987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49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1" name="Freeform 1030">
            <a:extLst>
              <a:ext uri="{FF2B5EF4-FFF2-40B4-BE49-F238E27FC236}">
                <a16:creationId xmlns:a16="http://schemas.microsoft.com/office/drawing/2014/main" id="{5E544346-7C2B-45EB-81BF-24FA0218EB29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68606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8" y="137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6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2" name="Freeform 1031">
            <a:extLst>
              <a:ext uri="{FF2B5EF4-FFF2-40B4-BE49-F238E27FC236}">
                <a16:creationId xmlns:a16="http://schemas.microsoft.com/office/drawing/2014/main" id="{4712EFB4-1776-40BF-8588-80FEAD6705BF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63987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49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3" name="Freeform 1032">
            <a:extLst>
              <a:ext uri="{FF2B5EF4-FFF2-40B4-BE49-F238E27FC236}">
                <a16:creationId xmlns:a16="http://schemas.microsoft.com/office/drawing/2014/main" id="{301321ED-F872-4FAE-B820-90ABD0B5F097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68606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6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4" name="Freeform 1033">
            <a:extLst>
              <a:ext uri="{FF2B5EF4-FFF2-40B4-BE49-F238E27FC236}">
                <a16:creationId xmlns:a16="http://schemas.microsoft.com/office/drawing/2014/main" id="{ECF7EF9D-23B8-4E9C-8F42-37C266A9983E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639873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49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5" name="Freeform 1034">
            <a:extLst>
              <a:ext uri="{FF2B5EF4-FFF2-40B4-BE49-F238E27FC236}">
                <a16:creationId xmlns:a16="http://schemas.microsoft.com/office/drawing/2014/main" id="{A939E6A4-CF30-4696-AEE2-AF8483C2FFDA}"/>
              </a:ext>
            </a:extLst>
          </p:cNvPr>
          <p:cNvSpPr>
            <a:spLocks/>
          </p:cNvSpPr>
          <p:nvPr userDrawn="1"/>
        </p:nvSpPr>
        <p:spPr bwMode="auto">
          <a:xfrm>
            <a:off x="3521580" y="268606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6" name="Freeform 1035">
            <a:extLst>
              <a:ext uri="{FF2B5EF4-FFF2-40B4-BE49-F238E27FC236}">
                <a16:creationId xmlns:a16="http://schemas.microsoft.com/office/drawing/2014/main" id="{BB783020-7C63-4156-A4C9-65A7E640D577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222077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0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0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7" name="Freeform 1036">
            <a:extLst>
              <a:ext uri="{FF2B5EF4-FFF2-40B4-BE49-F238E27FC236}">
                <a16:creationId xmlns:a16="http://schemas.microsoft.com/office/drawing/2014/main" id="{36B5BC76-E087-4BEC-82DB-2E5E6591478E}"/>
              </a:ext>
            </a:extLst>
          </p:cNvPr>
          <p:cNvSpPr>
            <a:spLocks/>
          </p:cNvSpPr>
          <p:nvPr userDrawn="1"/>
        </p:nvSpPr>
        <p:spPr bwMode="auto">
          <a:xfrm>
            <a:off x="3337876" y="222207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19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8" name="Freeform 1037">
            <a:extLst>
              <a:ext uri="{FF2B5EF4-FFF2-40B4-BE49-F238E27FC236}">
                <a16:creationId xmlns:a16="http://schemas.microsoft.com/office/drawing/2014/main" id="{0D80059C-9585-490A-B894-46409B5BAA4D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222077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9" name="Freeform 1038">
            <a:extLst>
              <a:ext uri="{FF2B5EF4-FFF2-40B4-BE49-F238E27FC236}">
                <a16:creationId xmlns:a16="http://schemas.microsoft.com/office/drawing/2014/main" id="{426818EB-9070-44ED-B936-981775FF0315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26826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7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6"/>
                </a:lnTo>
                <a:lnTo>
                  <a:pt x="0" y="76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0" name="Freeform 1039">
            <a:extLst>
              <a:ext uri="{FF2B5EF4-FFF2-40B4-BE49-F238E27FC236}">
                <a16:creationId xmlns:a16="http://schemas.microsoft.com/office/drawing/2014/main" id="{E1BE70C1-A9FC-4F41-AF6B-419B93504C1F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31550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1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2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1"/>
                </a:lnTo>
                <a:lnTo>
                  <a:pt x="127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1"/>
                </a:lnTo>
                <a:lnTo>
                  <a:pt x="3" y="92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1" name="Freeform 1040">
            <a:extLst>
              <a:ext uri="{FF2B5EF4-FFF2-40B4-BE49-F238E27FC236}">
                <a16:creationId xmlns:a16="http://schemas.microsoft.com/office/drawing/2014/main" id="{6131726E-A2E8-4413-B8E8-981B2518FCE9}"/>
              </a:ext>
            </a:extLst>
          </p:cNvPr>
          <p:cNvSpPr>
            <a:spLocks/>
          </p:cNvSpPr>
          <p:nvPr userDrawn="1"/>
        </p:nvSpPr>
        <p:spPr bwMode="auto">
          <a:xfrm>
            <a:off x="3337876" y="226826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2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2" name="Freeform 1041">
            <a:extLst>
              <a:ext uri="{FF2B5EF4-FFF2-40B4-BE49-F238E27FC236}">
                <a16:creationId xmlns:a16="http://schemas.microsoft.com/office/drawing/2014/main" id="{BEB8BF51-6855-4730-B837-B33165C1EEF5}"/>
              </a:ext>
            </a:extLst>
          </p:cNvPr>
          <p:cNvSpPr>
            <a:spLocks/>
          </p:cNvSpPr>
          <p:nvPr userDrawn="1"/>
        </p:nvSpPr>
        <p:spPr bwMode="auto">
          <a:xfrm>
            <a:off x="3337876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3" name="Freeform 1042">
            <a:extLst>
              <a:ext uri="{FF2B5EF4-FFF2-40B4-BE49-F238E27FC236}">
                <a16:creationId xmlns:a16="http://schemas.microsoft.com/office/drawing/2014/main" id="{43E1DAD8-7226-4684-9CF8-8517D5E25EA8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26826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4" name="Freeform 1043">
            <a:extLst>
              <a:ext uri="{FF2B5EF4-FFF2-40B4-BE49-F238E27FC236}">
                <a16:creationId xmlns:a16="http://schemas.microsoft.com/office/drawing/2014/main" id="{CA796726-4F2B-4859-AC9C-CE695D8EDFCD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3155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5" name="Freeform 1044">
            <a:extLst>
              <a:ext uri="{FF2B5EF4-FFF2-40B4-BE49-F238E27FC236}">
                <a16:creationId xmlns:a16="http://schemas.microsoft.com/office/drawing/2014/main" id="{F4E4C010-68AB-46CB-8426-B3368E0F4BA0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3595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7" y="18"/>
                </a:lnTo>
                <a:lnTo>
                  <a:pt x="132" y="22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6" name="Freeform 1045">
            <a:extLst>
              <a:ext uri="{FF2B5EF4-FFF2-40B4-BE49-F238E27FC236}">
                <a16:creationId xmlns:a16="http://schemas.microsoft.com/office/drawing/2014/main" id="{083798D0-B2A2-4F2E-B3B0-AF8DB8A036FD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40578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2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2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8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7" name="Freeform 1046">
            <a:extLst>
              <a:ext uri="{FF2B5EF4-FFF2-40B4-BE49-F238E27FC236}">
                <a16:creationId xmlns:a16="http://schemas.microsoft.com/office/drawing/2014/main" id="{0AE9D189-32FF-4393-A304-673F686922BD}"/>
              </a:ext>
            </a:extLst>
          </p:cNvPr>
          <p:cNvSpPr>
            <a:spLocks/>
          </p:cNvSpPr>
          <p:nvPr userDrawn="1"/>
        </p:nvSpPr>
        <p:spPr bwMode="auto">
          <a:xfrm>
            <a:off x="3247599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8" name="Freeform 1047">
            <a:extLst>
              <a:ext uri="{FF2B5EF4-FFF2-40B4-BE49-F238E27FC236}">
                <a16:creationId xmlns:a16="http://schemas.microsoft.com/office/drawing/2014/main" id="{79B68F41-D6C6-4E07-B09B-551DF458270F}"/>
              </a:ext>
            </a:extLst>
          </p:cNvPr>
          <p:cNvSpPr>
            <a:spLocks/>
          </p:cNvSpPr>
          <p:nvPr userDrawn="1"/>
        </p:nvSpPr>
        <p:spPr bwMode="auto">
          <a:xfrm>
            <a:off x="3337876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9" name="Freeform 1048">
            <a:extLst>
              <a:ext uri="{FF2B5EF4-FFF2-40B4-BE49-F238E27FC236}">
                <a16:creationId xmlns:a16="http://schemas.microsoft.com/office/drawing/2014/main" id="{730C79CD-63D7-496F-A30D-54BF0118F5E8}"/>
              </a:ext>
            </a:extLst>
          </p:cNvPr>
          <p:cNvSpPr>
            <a:spLocks/>
          </p:cNvSpPr>
          <p:nvPr userDrawn="1"/>
        </p:nvSpPr>
        <p:spPr bwMode="auto">
          <a:xfrm>
            <a:off x="3337876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2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0" name="Freeform 1049">
            <a:extLst>
              <a:ext uri="{FF2B5EF4-FFF2-40B4-BE49-F238E27FC236}">
                <a16:creationId xmlns:a16="http://schemas.microsoft.com/office/drawing/2014/main" id="{A5AFC950-1883-476A-9D9F-301E598E905F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3595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1" name="Freeform 1050">
            <a:extLst>
              <a:ext uri="{FF2B5EF4-FFF2-40B4-BE49-F238E27FC236}">
                <a16:creationId xmlns:a16="http://schemas.microsoft.com/office/drawing/2014/main" id="{EC9F3BF3-C097-49F2-983A-B7481CB93139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4057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2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2" name="Freeform 1051">
            <a:extLst>
              <a:ext uri="{FF2B5EF4-FFF2-40B4-BE49-F238E27FC236}">
                <a16:creationId xmlns:a16="http://schemas.microsoft.com/office/drawing/2014/main" id="{6F712884-8C0E-41F4-A256-33873D6C471D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1093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3" name="Freeform 1052">
            <a:extLst>
              <a:ext uri="{FF2B5EF4-FFF2-40B4-BE49-F238E27FC236}">
                <a16:creationId xmlns:a16="http://schemas.microsoft.com/office/drawing/2014/main" id="{D89535C3-0B72-40D2-BCF9-9A87EFB00E85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15659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4" name="Freeform 1053">
            <a:extLst>
              <a:ext uri="{FF2B5EF4-FFF2-40B4-BE49-F238E27FC236}">
                <a16:creationId xmlns:a16="http://schemas.microsoft.com/office/drawing/2014/main" id="{274B45C8-159E-474E-BBD3-8A92A14686E3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5" name="Freeform 1054">
            <a:extLst>
              <a:ext uri="{FF2B5EF4-FFF2-40B4-BE49-F238E27FC236}">
                <a16:creationId xmlns:a16="http://schemas.microsoft.com/office/drawing/2014/main" id="{16789806-C6CB-447B-ACFD-674330A55555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6" name="Freeform 1055">
            <a:extLst>
              <a:ext uri="{FF2B5EF4-FFF2-40B4-BE49-F238E27FC236}">
                <a16:creationId xmlns:a16="http://schemas.microsoft.com/office/drawing/2014/main" id="{46D8772E-A748-494E-B29F-C3098DEACC9E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4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2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7" name="Freeform 1056">
            <a:extLst>
              <a:ext uri="{FF2B5EF4-FFF2-40B4-BE49-F238E27FC236}">
                <a16:creationId xmlns:a16="http://schemas.microsoft.com/office/drawing/2014/main" id="{E5E42E08-CD4B-4E19-82DB-E5470606032E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4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8" name="Freeform 1057">
            <a:extLst>
              <a:ext uri="{FF2B5EF4-FFF2-40B4-BE49-F238E27FC236}">
                <a16:creationId xmlns:a16="http://schemas.microsoft.com/office/drawing/2014/main" id="{397405C7-9B51-4013-8542-6BDB282637C5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9" name="Freeform 1058">
            <a:extLst>
              <a:ext uri="{FF2B5EF4-FFF2-40B4-BE49-F238E27FC236}">
                <a16:creationId xmlns:a16="http://schemas.microsoft.com/office/drawing/2014/main" id="{6290B06B-8E86-42EE-9F73-4122576861AD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0" name="Freeform 1059">
            <a:extLst>
              <a:ext uri="{FF2B5EF4-FFF2-40B4-BE49-F238E27FC236}">
                <a16:creationId xmlns:a16="http://schemas.microsoft.com/office/drawing/2014/main" id="{688EB53A-4BC3-4062-9B06-34EC3459CAD3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1093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3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8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1" name="Freeform 1060">
            <a:extLst>
              <a:ext uri="{FF2B5EF4-FFF2-40B4-BE49-F238E27FC236}">
                <a16:creationId xmlns:a16="http://schemas.microsoft.com/office/drawing/2014/main" id="{E665E8C5-94F2-4BC5-9137-125299C84BE2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15659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2" name="Freeform 1061">
            <a:extLst>
              <a:ext uri="{FF2B5EF4-FFF2-40B4-BE49-F238E27FC236}">
                <a16:creationId xmlns:a16="http://schemas.microsoft.com/office/drawing/2014/main" id="{2791C75B-8806-481D-BDD1-43792A6B4CEF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3" name="Freeform 1062">
            <a:extLst>
              <a:ext uri="{FF2B5EF4-FFF2-40B4-BE49-F238E27FC236}">
                <a16:creationId xmlns:a16="http://schemas.microsoft.com/office/drawing/2014/main" id="{0D7EE849-0DC9-4CF5-B3CE-7941D2F48486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25002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4" name="Freeform 1063">
            <a:extLst>
              <a:ext uri="{FF2B5EF4-FFF2-40B4-BE49-F238E27FC236}">
                <a16:creationId xmlns:a16="http://schemas.microsoft.com/office/drawing/2014/main" id="{72D2F85E-4740-43A8-9831-26CB2F306F69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5" name="Freeform 1064">
            <a:extLst>
              <a:ext uri="{FF2B5EF4-FFF2-40B4-BE49-F238E27FC236}">
                <a16:creationId xmlns:a16="http://schemas.microsoft.com/office/drawing/2014/main" id="{9A04801D-C59B-42D3-AD9A-ACDFD7EBA8B4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6" name="Freeform 1065">
            <a:extLst>
              <a:ext uri="{FF2B5EF4-FFF2-40B4-BE49-F238E27FC236}">
                <a16:creationId xmlns:a16="http://schemas.microsoft.com/office/drawing/2014/main" id="{8F0A4D27-9239-46B5-B772-3E386BDB21C5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4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7" name="Freeform 1066">
            <a:extLst>
              <a:ext uri="{FF2B5EF4-FFF2-40B4-BE49-F238E27FC236}">
                <a16:creationId xmlns:a16="http://schemas.microsoft.com/office/drawing/2014/main" id="{7D247A8E-B085-4F8F-BCC8-52E8AA5DBC7E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4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8" name="Freeform 1067">
            <a:extLst>
              <a:ext uri="{FF2B5EF4-FFF2-40B4-BE49-F238E27FC236}">
                <a16:creationId xmlns:a16="http://schemas.microsoft.com/office/drawing/2014/main" id="{97285FD4-3E52-422E-8FBD-3E591138F0E9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9" name="Freeform 1068">
            <a:extLst>
              <a:ext uri="{FF2B5EF4-FFF2-40B4-BE49-F238E27FC236}">
                <a16:creationId xmlns:a16="http://schemas.microsoft.com/office/drawing/2014/main" id="{CD8F3D5C-39CE-43E3-8191-3906718F1E03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0" name="Freeform 1069">
            <a:extLst>
              <a:ext uri="{FF2B5EF4-FFF2-40B4-BE49-F238E27FC236}">
                <a16:creationId xmlns:a16="http://schemas.microsoft.com/office/drawing/2014/main" id="{439647AD-0326-4691-9A3F-81361F6EBE6A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2"/>
                </a:lnTo>
                <a:lnTo>
                  <a:pt x="138" y="28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1" name="Freeform 1070">
            <a:extLst>
              <a:ext uri="{FF2B5EF4-FFF2-40B4-BE49-F238E27FC236}">
                <a16:creationId xmlns:a16="http://schemas.microsoft.com/office/drawing/2014/main" id="{AC9A0C84-51E4-40B6-96FB-927B0E48B807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25002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7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2" name="Freeform 1071">
            <a:extLst>
              <a:ext uri="{FF2B5EF4-FFF2-40B4-BE49-F238E27FC236}">
                <a16:creationId xmlns:a16="http://schemas.microsoft.com/office/drawing/2014/main" id="{7F6C07A0-6CC1-4F8C-AE10-4CDF7560FAE2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2941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3" name="Freeform 1072">
            <a:extLst>
              <a:ext uri="{FF2B5EF4-FFF2-40B4-BE49-F238E27FC236}">
                <a16:creationId xmlns:a16="http://schemas.microsoft.com/office/drawing/2014/main" id="{FB812D85-606F-452B-9C7C-EE6A6DA9EABD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3413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4" name="Freeform 1073">
            <a:extLst>
              <a:ext uri="{FF2B5EF4-FFF2-40B4-BE49-F238E27FC236}">
                <a16:creationId xmlns:a16="http://schemas.microsoft.com/office/drawing/2014/main" id="{9BFEBE2C-DC17-4CD7-B4D9-D8E129B52C47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2941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5" name="Freeform 1074">
            <a:extLst>
              <a:ext uri="{FF2B5EF4-FFF2-40B4-BE49-F238E27FC236}">
                <a16:creationId xmlns:a16="http://schemas.microsoft.com/office/drawing/2014/main" id="{B1983766-BAB9-40A2-9FB5-8C2B39AACAD5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6" name="Freeform 1075">
            <a:extLst>
              <a:ext uri="{FF2B5EF4-FFF2-40B4-BE49-F238E27FC236}">
                <a16:creationId xmlns:a16="http://schemas.microsoft.com/office/drawing/2014/main" id="{3F6FF5ED-FB8B-4B78-BA5C-B452960812F7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4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7" name="Freeform 1076">
            <a:extLst>
              <a:ext uri="{FF2B5EF4-FFF2-40B4-BE49-F238E27FC236}">
                <a16:creationId xmlns:a16="http://schemas.microsoft.com/office/drawing/2014/main" id="{BD0D2E72-B158-441E-A3F6-A457BB728BCA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4 w 153"/>
              <a:gd name="T41" fmla="*/ 34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8" name="Freeform 1077">
            <a:extLst>
              <a:ext uri="{FF2B5EF4-FFF2-40B4-BE49-F238E27FC236}">
                <a16:creationId xmlns:a16="http://schemas.microsoft.com/office/drawing/2014/main" id="{D6C95872-4F7A-4D65-A4D8-835522E8C210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2941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9" name="Freeform 1078">
            <a:extLst>
              <a:ext uri="{FF2B5EF4-FFF2-40B4-BE49-F238E27FC236}">
                <a16:creationId xmlns:a16="http://schemas.microsoft.com/office/drawing/2014/main" id="{1E9EC6D2-A44C-4F6B-9C2F-E2FCF5F2DB2A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0" name="Freeform 1079">
            <a:extLst>
              <a:ext uri="{FF2B5EF4-FFF2-40B4-BE49-F238E27FC236}">
                <a16:creationId xmlns:a16="http://schemas.microsoft.com/office/drawing/2014/main" id="{654AD933-F996-4F83-B9C7-A9C65B3C516A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2941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1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2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7"/>
                </a:lnTo>
                <a:lnTo>
                  <a:pt x="132" y="131"/>
                </a:lnTo>
                <a:lnTo>
                  <a:pt x="127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2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1"/>
                </a:lnTo>
                <a:lnTo>
                  <a:pt x="3" y="92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1" name="Freeform 1080">
            <a:extLst>
              <a:ext uri="{FF2B5EF4-FFF2-40B4-BE49-F238E27FC236}">
                <a16:creationId xmlns:a16="http://schemas.microsoft.com/office/drawing/2014/main" id="{93572F0E-90E4-4A62-9B42-A0A422B46F3C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3413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2" name="Freeform 1081">
            <a:extLst>
              <a:ext uri="{FF2B5EF4-FFF2-40B4-BE49-F238E27FC236}">
                <a16:creationId xmlns:a16="http://schemas.microsoft.com/office/drawing/2014/main" id="{EE513AE6-F96B-455B-8E5C-F2AC638BEBAC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38753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3" name="Freeform 1082">
            <a:extLst>
              <a:ext uri="{FF2B5EF4-FFF2-40B4-BE49-F238E27FC236}">
                <a16:creationId xmlns:a16="http://schemas.microsoft.com/office/drawing/2014/main" id="{2E4C4F2B-FF9D-4E71-92DF-C626709D5A18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43477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4" name="Freeform 1083">
            <a:extLst>
              <a:ext uri="{FF2B5EF4-FFF2-40B4-BE49-F238E27FC236}">
                <a16:creationId xmlns:a16="http://schemas.microsoft.com/office/drawing/2014/main" id="{DCFF5E8A-BD0B-4339-BD7E-7FEC60F6F237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3875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5" name="Freeform 1084">
            <a:extLst>
              <a:ext uri="{FF2B5EF4-FFF2-40B4-BE49-F238E27FC236}">
                <a16:creationId xmlns:a16="http://schemas.microsoft.com/office/drawing/2014/main" id="{DBF8B134-ADB8-42FD-BEC5-5E705CA56BBE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43477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6" name="Freeform 1085">
            <a:extLst>
              <a:ext uri="{FF2B5EF4-FFF2-40B4-BE49-F238E27FC236}">
                <a16:creationId xmlns:a16="http://schemas.microsoft.com/office/drawing/2014/main" id="{B0F7EC24-201F-41AD-8A78-F8E1DB6D4912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4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7" name="Freeform 1086">
            <a:extLst>
              <a:ext uri="{FF2B5EF4-FFF2-40B4-BE49-F238E27FC236}">
                <a16:creationId xmlns:a16="http://schemas.microsoft.com/office/drawing/2014/main" id="{C3921379-1BD6-4CAC-B37C-2661F68CC97A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43477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4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8" name="Freeform 1087">
            <a:extLst>
              <a:ext uri="{FF2B5EF4-FFF2-40B4-BE49-F238E27FC236}">
                <a16:creationId xmlns:a16="http://schemas.microsoft.com/office/drawing/2014/main" id="{D3755303-105E-4F7F-BD28-A798CAC585E1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3875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9" name="Freeform 1088">
            <a:extLst>
              <a:ext uri="{FF2B5EF4-FFF2-40B4-BE49-F238E27FC236}">
                <a16:creationId xmlns:a16="http://schemas.microsoft.com/office/drawing/2014/main" id="{3BCE157D-0769-46CF-A6AC-015D06BEF4AA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143477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0" name="Freeform 1089">
            <a:extLst>
              <a:ext uri="{FF2B5EF4-FFF2-40B4-BE49-F238E27FC236}">
                <a16:creationId xmlns:a16="http://schemas.microsoft.com/office/drawing/2014/main" id="{967DDF79-FB10-4ACF-B8AA-940AD657850B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38753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1 h 154"/>
              <a:gd name="T32" fmla="*/ 2 w 155"/>
              <a:gd name="T33" fmla="*/ 85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1" name="Freeform 1090">
            <a:extLst>
              <a:ext uri="{FF2B5EF4-FFF2-40B4-BE49-F238E27FC236}">
                <a16:creationId xmlns:a16="http://schemas.microsoft.com/office/drawing/2014/main" id="{AEE4BFAE-87B6-44C4-9373-5EF91297F8D1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43477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2"/>
                </a:lnTo>
                <a:lnTo>
                  <a:pt x="138" y="28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2" name="Freeform 1091">
            <a:extLst>
              <a:ext uri="{FF2B5EF4-FFF2-40B4-BE49-F238E27FC236}">
                <a16:creationId xmlns:a16="http://schemas.microsoft.com/office/drawing/2014/main" id="{CE35FC68-BF1C-4CFE-882A-509411A13904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3" name="Freeform 1092">
            <a:extLst>
              <a:ext uri="{FF2B5EF4-FFF2-40B4-BE49-F238E27FC236}">
                <a16:creationId xmlns:a16="http://schemas.microsoft.com/office/drawing/2014/main" id="{C8F379CB-1A56-42CE-9803-8BFEAEEE9CA1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4" name="Freeform 1093">
            <a:extLst>
              <a:ext uri="{FF2B5EF4-FFF2-40B4-BE49-F238E27FC236}">
                <a16:creationId xmlns:a16="http://schemas.microsoft.com/office/drawing/2014/main" id="{C8C99DF9-0838-429C-86EA-BE6C6F21FEB4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5" name="Freeform 1094">
            <a:extLst>
              <a:ext uri="{FF2B5EF4-FFF2-40B4-BE49-F238E27FC236}">
                <a16:creationId xmlns:a16="http://schemas.microsoft.com/office/drawing/2014/main" id="{6ADDA0AF-35C5-4823-ADB7-AB1E4C77C863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6" name="Freeform 1095">
            <a:extLst>
              <a:ext uri="{FF2B5EF4-FFF2-40B4-BE49-F238E27FC236}">
                <a16:creationId xmlns:a16="http://schemas.microsoft.com/office/drawing/2014/main" id="{0B11BCE8-B72F-4B85-8CB3-2D84557AAA2F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7" name="Freeform 1096">
            <a:extLst>
              <a:ext uri="{FF2B5EF4-FFF2-40B4-BE49-F238E27FC236}">
                <a16:creationId xmlns:a16="http://schemas.microsoft.com/office/drawing/2014/main" id="{AEFF6F6B-D0A2-4972-9408-9FE27D7EFF80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8" name="Freeform 1097">
            <a:extLst>
              <a:ext uri="{FF2B5EF4-FFF2-40B4-BE49-F238E27FC236}">
                <a16:creationId xmlns:a16="http://schemas.microsoft.com/office/drawing/2014/main" id="{B6B3233A-309B-4100-9ED7-8036B66CCD4A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9" name="Freeform 1098">
            <a:extLst>
              <a:ext uri="{FF2B5EF4-FFF2-40B4-BE49-F238E27FC236}">
                <a16:creationId xmlns:a16="http://schemas.microsoft.com/office/drawing/2014/main" id="{0982837B-2522-4805-BDF2-95DF373981B7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0" name="Freeform 1099">
            <a:extLst>
              <a:ext uri="{FF2B5EF4-FFF2-40B4-BE49-F238E27FC236}">
                <a16:creationId xmlns:a16="http://schemas.microsoft.com/office/drawing/2014/main" id="{04F47902-DEFC-4308-BA7A-74EF4527967F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1" name="Freeform 1100">
            <a:extLst>
              <a:ext uri="{FF2B5EF4-FFF2-40B4-BE49-F238E27FC236}">
                <a16:creationId xmlns:a16="http://schemas.microsoft.com/office/drawing/2014/main" id="{BC36A8A2-9485-41B5-BBD7-32341A557FE1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2" name="Freeform 1101">
            <a:extLst>
              <a:ext uri="{FF2B5EF4-FFF2-40B4-BE49-F238E27FC236}">
                <a16:creationId xmlns:a16="http://schemas.microsoft.com/office/drawing/2014/main" id="{2C00A39C-021B-4608-8BB6-C220819EC5BB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3" name="Freeform 1102">
            <a:extLst>
              <a:ext uri="{FF2B5EF4-FFF2-40B4-BE49-F238E27FC236}">
                <a16:creationId xmlns:a16="http://schemas.microsoft.com/office/drawing/2014/main" id="{3378D18C-F2E9-48DB-8061-6B91BFAF6278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4" name="Freeform 1103">
            <a:extLst>
              <a:ext uri="{FF2B5EF4-FFF2-40B4-BE49-F238E27FC236}">
                <a16:creationId xmlns:a16="http://schemas.microsoft.com/office/drawing/2014/main" id="{6E3AB1C0-86E7-455F-92F4-6E57D4A9BEF9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5" name="Freeform 1104">
            <a:extLst>
              <a:ext uri="{FF2B5EF4-FFF2-40B4-BE49-F238E27FC236}">
                <a16:creationId xmlns:a16="http://schemas.microsoft.com/office/drawing/2014/main" id="{0215430F-678A-4318-AB8D-6ECD6A9233FF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6" name="Freeform 1105">
            <a:extLst>
              <a:ext uri="{FF2B5EF4-FFF2-40B4-BE49-F238E27FC236}">
                <a16:creationId xmlns:a16="http://schemas.microsoft.com/office/drawing/2014/main" id="{D9818A1F-7B82-4D3A-933E-9979BF811708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7" name="Freeform 1106">
            <a:extLst>
              <a:ext uri="{FF2B5EF4-FFF2-40B4-BE49-F238E27FC236}">
                <a16:creationId xmlns:a16="http://schemas.microsoft.com/office/drawing/2014/main" id="{F6ADAE70-4FF4-4E1B-9EE1-246B24DD4A98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8" name="Freeform 1107">
            <a:extLst>
              <a:ext uri="{FF2B5EF4-FFF2-40B4-BE49-F238E27FC236}">
                <a16:creationId xmlns:a16="http://schemas.microsoft.com/office/drawing/2014/main" id="{2ED283A1-B73E-4D0D-87C7-6BB437B92667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9" name="Freeform 1108">
            <a:extLst>
              <a:ext uri="{FF2B5EF4-FFF2-40B4-BE49-F238E27FC236}">
                <a16:creationId xmlns:a16="http://schemas.microsoft.com/office/drawing/2014/main" id="{2CEBFE59-B8C9-413B-8112-05D205298E72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0" name="Freeform 1109">
            <a:extLst>
              <a:ext uri="{FF2B5EF4-FFF2-40B4-BE49-F238E27FC236}">
                <a16:creationId xmlns:a16="http://schemas.microsoft.com/office/drawing/2014/main" id="{25615D02-7CFC-422C-9A52-58B9F56155D7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1" name="Freeform 1110">
            <a:extLst>
              <a:ext uri="{FF2B5EF4-FFF2-40B4-BE49-F238E27FC236}">
                <a16:creationId xmlns:a16="http://schemas.microsoft.com/office/drawing/2014/main" id="{98D6397C-924B-48D5-A6E4-618D1B9EDAA3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2" name="Freeform 1111">
            <a:extLst>
              <a:ext uri="{FF2B5EF4-FFF2-40B4-BE49-F238E27FC236}">
                <a16:creationId xmlns:a16="http://schemas.microsoft.com/office/drawing/2014/main" id="{20CB82FB-243E-4A9A-A5DF-E3087592BA83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3" name="Freeform 1112">
            <a:extLst>
              <a:ext uri="{FF2B5EF4-FFF2-40B4-BE49-F238E27FC236}">
                <a16:creationId xmlns:a16="http://schemas.microsoft.com/office/drawing/2014/main" id="{3F016343-8E26-4716-8996-7DB83ABA0F12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4" name="Freeform 1113">
            <a:extLst>
              <a:ext uri="{FF2B5EF4-FFF2-40B4-BE49-F238E27FC236}">
                <a16:creationId xmlns:a16="http://schemas.microsoft.com/office/drawing/2014/main" id="{39574642-F104-458D-9861-0F9EE54A3116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7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5" name="Freeform 1114">
            <a:extLst>
              <a:ext uri="{FF2B5EF4-FFF2-40B4-BE49-F238E27FC236}">
                <a16:creationId xmlns:a16="http://schemas.microsoft.com/office/drawing/2014/main" id="{790ACF87-C83E-4EEC-A468-D60226623AC2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6" name="Freeform 1115">
            <a:extLst>
              <a:ext uri="{FF2B5EF4-FFF2-40B4-BE49-F238E27FC236}">
                <a16:creationId xmlns:a16="http://schemas.microsoft.com/office/drawing/2014/main" id="{B6EB11E1-91EE-4F6B-BE0E-13531C2419B0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2941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7" name="Freeform 1116">
            <a:extLst>
              <a:ext uri="{FF2B5EF4-FFF2-40B4-BE49-F238E27FC236}">
                <a16:creationId xmlns:a16="http://schemas.microsoft.com/office/drawing/2014/main" id="{D0D85FC9-D448-4A2D-A399-B37BDBD2885D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8" name="Freeform 1117">
            <a:extLst>
              <a:ext uri="{FF2B5EF4-FFF2-40B4-BE49-F238E27FC236}">
                <a16:creationId xmlns:a16="http://schemas.microsoft.com/office/drawing/2014/main" id="{5BF03441-A08C-4207-98F2-AD5D1A0055FB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9" name="Freeform 1118">
            <a:extLst>
              <a:ext uri="{FF2B5EF4-FFF2-40B4-BE49-F238E27FC236}">
                <a16:creationId xmlns:a16="http://schemas.microsoft.com/office/drawing/2014/main" id="{3C278119-8CB3-44BC-9BE1-5F2E2BEAEE28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0" name="Freeform 1119">
            <a:extLst>
              <a:ext uri="{FF2B5EF4-FFF2-40B4-BE49-F238E27FC236}">
                <a16:creationId xmlns:a16="http://schemas.microsoft.com/office/drawing/2014/main" id="{8C6CA573-8054-421B-9924-0F7200DAFEA8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1" name="Freeform 1120">
            <a:extLst>
              <a:ext uri="{FF2B5EF4-FFF2-40B4-BE49-F238E27FC236}">
                <a16:creationId xmlns:a16="http://schemas.microsoft.com/office/drawing/2014/main" id="{B75AC12F-A0C0-4EE7-896F-F96C0DA6989A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2" name="Freeform 1121">
            <a:extLst>
              <a:ext uri="{FF2B5EF4-FFF2-40B4-BE49-F238E27FC236}">
                <a16:creationId xmlns:a16="http://schemas.microsoft.com/office/drawing/2014/main" id="{073F22DE-9E05-4B45-A4CA-62B2EEC0D8DE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1093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3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3" name="Freeform 1122">
            <a:extLst>
              <a:ext uri="{FF2B5EF4-FFF2-40B4-BE49-F238E27FC236}">
                <a16:creationId xmlns:a16="http://schemas.microsoft.com/office/drawing/2014/main" id="{E3CD23EF-89D2-452A-89FB-D20A22690E2F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15659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4" name="Freeform 1123">
            <a:extLst>
              <a:ext uri="{FF2B5EF4-FFF2-40B4-BE49-F238E27FC236}">
                <a16:creationId xmlns:a16="http://schemas.microsoft.com/office/drawing/2014/main" id="{A73A2714-7189-4ADF-8463-B8BE64B41B44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5" name="Freeform 1124">
            <a:extLst>
              <a:ext uri="{FF2B5EF4-FFF2-40B4-BE49-F238E27FC236}">
                <a16:creationId xmlns:a16="http://schemas.microsoft.com/office/drawing/2014/main" id="{2E6C1814-7DDF-4563-88EA-1BF6495F434B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6" name="Freeform 1125">
            <a:extLst>
              <a:ext uri="{FF2B5EF4-FFF2-40B4-BE49-F238E27FC236}">
                <a16:creationId xmlns:a16="http://schemas.microsoft.com/office/drawing/2014/main" id="{A836C9B4-5F98-43DD-891D-4F6EC20B6B27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7" name="Freeform 1126">
            <a:extLst>
              <a:ext uri="{FF2B5EF4-FFF2-40B4-BE49-F238E27FC236}">
                <a16:creationId xmlns:a16="http://schemas.microsoft.com/office/drawing/2014/main" id="{2AE6B83F-0813-4FB4-9769-552DB9F4D98B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6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6" y="155"/>
                </a:lnTo>
                <a:lnTo>
                  <a:pt x="76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8" name="Freeform 1127">
            <a:extLst>
              <a:ext uri="{FF2B5EF4-FFF2-40B4-BE49-F238E27FC236}">
                <a16:creationId xmlns:a16="http://schemas.microsoft.com/office/drawing/2014/main" id="{A87BD67A-7742-4056-98D7-A99664E3FFC8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9" name="Freeform 1128">
            <a:extLst>
              <a:ext uri="{FF2B5EF4-FFF2-40B4-BE49-F238E27FC236}">
                <a16:creationId xmlns:a16="http://schemas.microsoft.com/office/drawing/2014/main" id="{5DDF0347-5819-4EC9-949E-DEC7B9382C3D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25002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0" name="Freeform 1129">
            <a:extLst>
              <a:ext uri="{FF2B5EF4-FFF2-40B4-BE49-F238E27FC236}">
                <a16:creationId xmlns:a16="http://schemas.microsoft.com/office/drawing/2014/main" id="{67094C8E-1DA3-4C71-8DD9-2B1280B68180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1" name="Freeform 1130">
            <a:extLst>
              <a:ext uri="{FF2B5EF4-FFF2-40B4-BE49-F238E27FC236}">
                <a16:creationId xmlns:a16="http://schemas.microsoft.com/office/drawing/2014/main" id="{6A206CF1-AA8A-41D9-AFE8-E0CDDF84E82E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2" name="Freeform 1131">
            <a:extLst>
              <a:ext uri="{FF2B5EF4-FFF2-40B4-BE49-F238E27FC236}">
                <a16:creationId xmlns:a16="http://schemas.microsoft.com/office/drawing/2014/main" id="{4DA1FDF9-4749-4009-A3A6-1ACD37D3965B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3" name="Freeform 1132">
            <a:extLst>
              <a:ext uri="{FF2B5EF4-FFF2-40B4-BE49-F238E27FC236}">
                <a16:creationId xmlns:a16="http://schemas.microsoft.com/office/drawing/2014/main" id="{EC9102BE-2767-4298-96BC-AE537DC76E4E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4" name="Freeform 1133">
            <a:extLst>
              <a:ext uri="{FF2B5EF4-FFF2-40B4-BE49-F238E27FC236}">
                <a16:creationId xmlns:a16="http://schemas.microsoft.com/office/drawing/2014/main" id="{42315723-C171-4785-BE05-F4AF7B9EA82A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2941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1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2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1"/>
                </a:lnTo>
                <a:lnTo>
                  <a:pt x="3" y="92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5" name="Freeform 1134">
            <a:extLst>
              <a:ext uri="{FF2B5EF4-FFF2-40B4-BE49-F238E27FC236}">
                <a16:creationId xmlns:a16="http://schemas.microsoft.com/office/drawing/2014/main" id="{D490510B-D38C-450B-97C4-0B1EEC44BAC6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3413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6" name="Freeform 1135">
            <a:extLst>
              <a:ext uri="{FF2B5EF4-FFF2-40B4-BE49-F238E27FC236}">
                <a16:creationId xmlns:a16="http://schemas.microsoft.com/office/drawing/2014/main" id="{941FADB3-464E-4F16-9F32-C89A9EE704FB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2941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7" name="Freeform 1136">
            <a:extLst>
              <a:ext uri="{FF2B5EF4-FFF2-40B4-BE49-F238E27FC236}">
                <a16:creationId xmlns:a16="http://schemas.microsoft.com/office/drawing/2014/main" id="{5841DB9B-0A9C-4141-8071-64D23C30BCB4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8" name="Freeform 1137">
            <a:extLst>
              <a:ext uri="{FF2B5EF4-FFF2-40B4-BE49-F238E27FC236}">
                <a16:creationId xmlns:a16="http://schemas.microsoft.com/office/drawing/2014/main" id="{07B7C0A7-2BDD-45ED-B5B5-8B15FE5601A5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2941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9" name="Freeform 1138">
            <a:extLst>
              <a:ext uri="{FF2B5EF4-FFF2-40B4-BE49-F238E27FC236}">
                <a16:creationId xmlns:a16="http://schemas.microsoft.com/office/drawing/2014/main" id="{B78F68EE-092D-4C19-BE3D-21BA797712D6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70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6" y="154"/>
                </a:lnTo>
                <a:lnTo>
                  <a:pt x="76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0" name="Freeform 1139">
            <a:extLst>
              <a:ext uri="{FF2B5EF4-FFF2-40B4-BE49-F238E27FC236}">
                <a16:creationId xmlns:a16="http://schemas.microsoft.com/office/drawing/2014/main" id="{CF32C710-43A3-40E1-9605-7C3C2B34E063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38648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2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1" name="Freeform 1140">
            <a:extLst>
              <a:ext uri="{FF2B5EF4-FFF2-40B4-BE49-F238E27FC236}">
                <a16:creationId xmlns:a16="http://schemas.microsoft.com/office/drawing/2014/main" id="{9F7E9FA9-DD9F-4301-85CD-C14BE55F25F0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14337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2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1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2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9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9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2" name="Freeform 1141">
            <a:extLst>
              <a:ext uri="{FF2B5EF4-FFF2-40B4-BE49-F238E27FC236}">
                <a16:creationId xmlns:a16="http://schemas.microsoft.com/office/drawing/2014/main" id="{701B6CD4-53C1-4221-8F37-BA6DC8503AD1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38648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2"/>
                </a:lnTo>
                <a:lnTo>
                  <a:pt x="93" y="153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3" name="Freeform 1142">
            <a:extLst>
              <a:ext uri="{FF2B5EF4-FFF2-40B4-BE49-F238E27FC236}">
                <a16:creationId xmlns:a16="http://schemas.microsoft.com/office/drawing/2014/main" id="{18D95F89-5FDB-421B-A418-0CDB1B226AF1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14337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6 w 154"/>
              <a:gd name="T17" fmla="*/ 155 h 155"/>
              <a:gd name="T18" fmla="*/ 70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5 w 154"/>
              <a:gd name="T53" fmla="*/ 2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99" y="152"/>
                </a:lnTo>
                <a:lnTo>
                  <a:pt x="93" y="154"/>
                </a:lnTo>
                <a:lnTo>
                  <a:pt x="85" y="155"/>
                </a:lnTo>
                <a:lnTo>
                  <a:pt x="76" y="155"/>
                </a:lnTo>
                <a:lnTo>
                  <a:pt x="76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9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2"/>
                </a:lnTo>
                <a:lnTo>
                  <a:pt x="76" y="0"/>
                </a:lnTo>
                <a:lnTo>
                  <a:pt x="76" y="0"/>
                </a:lnTo>
                <a:lnTo>
                  <a:pt x="85" y="2"/>
                </a:lnTo>
                <a:lnTo>
                  <a:pt x="93" y="3"/>
                </a:lnTo>
                <a:lnTo>
                  <a:pt x="99" y="5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7" y="49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4" name="Freeform 1143">
            <a:extLst>
              <a:ext uri="{FF2B5EF4-FFF2-40B4-BE49-F238E27FC236}">
                <a16:creationId xmlns:a16="http://schemas.microsoft.com/office/drawing/2014/main" id="{BC9731C5-57E2-45F2-9FD9-177C6D9C88F6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5" name="Freeform 1144">
            <a:extLst>
              <a:ext uri="{FF2B5EF4-FFF2-40B4-BE49-F238E27FC236}">
                <a16:creationId xmlns:a16="http://schemas.microsoft.com/office/drawing/2014/main" id="{03D04519-1872-4F8B-B638-79526143EF89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6" name="Freeform 1145">
            <a:extLst>
              <a:ext uri="{FF2B5EF4-FFF2-40B4-BE49-F238E27FC236}">
                <a16:creationId xmlns:a16="http://schemas.microsoft.com/office/drawing/2014/main" id="{EE594524-B074-4B4E-8CFA-7C6423E35E50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1093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3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4 w 155"/>
              <a:gd name="T63" fmla="*/ 40 h 155"/>
              <a:gd name="T64" fmla="*/ 150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7" name="Freeform 1146">
            <a:extLst>
              <a:ext uri="{FF2B5EF4-FFF2-40B4-BE49-F238E27FC236}">
                <a16:creationId xmlns:a16="http://schemas.microsoft.com/office/drawing/2014/main" id="{0B33A64E-5D18-4703-BDC0-A9FB40BBAC97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15659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4 h 155"/>
              <a:gd name="T42" fmla="*/ 23 w 155"/>
              <a:gd name="T43" fmla="*/ 23 h 155"/>
              <a:gd name="T44" fmla="*/ 33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8" name="Freeform 1147">
            <a:extLst>
              <a:ext uri="{FF2B5EF4-FFF2-40B4-BE49-F238E27FC236}">
                <a16:creationId xmlns:a16="http://schemas.microsoft.com/office/drawing/2014/main" id="{CBDAC8F3-3A0D-42EE-AA90-2C84C6FDF73A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9" name="Freeform 1148">
            <a:extLst>
              <a:ext uri="{FF2B5EF4-FFF2-40B4-BE49-F238E27FC236}">
                <a16:creationId xmlns:a16="http://schemas.microsoft.com/office/drawing/2014/main" id="{4E65C9B9-03F4-4E96-94FA-1C48C3094C70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0" name="Freeform 1149">
            <a:extLst>
              <a:ext uri="{FF2B5EF4-FFF2-40B4-BE49-F238E27FC236}">
                <a16:creationId xmlns:a16="http://schemas.microsoft.com/office/drawing/2014/main" id="{1A1812C4-27D2-4B8C-B8A7-8AF2071D8193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1093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6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3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4 w 155"/>
              <a:gd name="T63" fmla="*/ 40 h 155"/>
              <a:gd name="T64" fmla="*/ 151 w 155"/>
              <a:gd name="T65" fmla="*/ 54 h 155"/>
              <a:gd name="T66" fmla="*/ 153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1" name="Freeform 1150">
            <a:extLst>
              <a:ext uri="{FF2B5EF4-FFF2-40B4-BE49-F238E27FC236}">
                <a16:creationId xmlns:a16="http://schemas.microsoft.com/office/drawing/2014/main" id="{12DF1D1F-DC56-4375-BDCD-0EEBAA34F4D3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15659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6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1 w 155"/>
              <a:gd name="T65" fmla="*/ 55 h 155"/>
              <a:gd name="T66" fmla="*/ 153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2" name="Freeform 1151">
            <a:extLst>
              <a:ext uri="{FF2B5EF4-FFF2-40B4-BE49-F238E27FC236}">
                <a16:creationId xmlns:a16="http://schemas.microsoft.com/office/drawing/2014/main" id="{F2772DBC-CAB5-487D-88D7-BA095DD18C37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3" name="Freeform 1152">
            <a:extLst>
              <a:ext uri="{FF2B5EF4-FFF2-40B4-BE49-F238E27FC236}">
                <a16:creationId xmlns:a16="http://schemas.microsoft.com/office/drawing/2014/main" id="{405DD400-AF00-40F2-8360-851B533820CB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4" name="Freeform 1153">
            <a:extLst>
              <a:ext uri="{FF2B5EF4-FFF2-40B4-BE49-F238E27FC236}">
                <a16:creationId xmlns:a16="http://schemas.microsoft.com/office/drawing/2014/main" id="{81E98F5C-02CE-4733-9131-A5FF7A2A41AF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5" name="Freeform 1154">
            <a:extLst>
              <a:ext uri="{FF2B5EF4-FFF2-40B4-BE49-F238E27FC236}">
                <a16:creationId xmlns:a16="http://schemas.microsoft.com/office/drawing/2014/main" id="{C72F3BCB-49B7-487F-B135-0AF37D46CC6B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6" name="Freeform 1155">
            <a:extLst>
              <a:ext uri="{FF2B5EF4-FFF2-40B4-BE49-F238E27FC236}">
                <a16:creationId xmlns:a16="http://schemas.microsoft.com/office/drawing/2014/main" id="{A4A7EF8B-3C57-4375-B86A-3945A5703B7A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7" name="Freeform 1156">
            <a:extLst>
              <a:ext uri="{FF2B5EF4-FFF2-40B4-BE49-F238E27FC236}">
                <a16:creationId xmlns:a16="http://schemas.microsoft.com/office/drawing/2014/main" id="{C00AC752-C061-4E2B-BCED-5D8DDFD05A72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8" name="Freeform 1157">
            <a:extLst>
              <a:ext uri="{FF2B5EF4-FFF2-40B4-BE49-F238E27FC236}">
                <a16:creationId xmlns:a16="http://schemas.microsoft.com/office/drawing/2014/main" id="{E94BBF65-46B4-4E7C-8C6F-18C4F6D640F7}"/>
              </a:ext>
            </a:extLst>
          </p:cNvPr>
          <p:cNvSpPr>
            <a:spLocks/>
          </p:cNvSpPr>
          <p:nvPr userDrawn="1"/>
        </p:nvSpPr>
        <p:spPr bwMode="auto">
          <a:xfrm>
            <a:off x="3938326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9" name="Freeform 1158">
            <a:extLst>
              <a:ext uri="{FF2B5EF4-FFF2-40B4-BE49-F238E27FC236}">
                <a16:creationId xmlns:a16="http://schemas.microsoft.com/office/drawing/2014/main" id="{A62041A1-654C-43B3-9BB9-463C089B482B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337149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0" name="Freeform 1159">
            <a:extLst>
              <a:ext uri="{FF2B5EF4-FFF2-40B4-BE49-F238E27FC236}">
                <a16:creationId xmlns:a16="http://schemas.microsoft.com/office/drawing/2014/main" id="{F111D85C-8183-4711-8ED1-502F3A2983A5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29306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1" name="Freeform 1160">
            <a:extLst>
              <a:ext uri="{FF2B5EF4-FFF2-40B4-BE49-F238E27FC236}">
                <a16:creationId xmlns:a16="http://schemas.microsoft.com/office/drawing/2014/main" id="{AE98BDCC-1FC5-4B32-BE0D-B36B1CCE1D1F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43057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2" name="Freeform 1161">
            <a:extLst>
              <a:ext uri="{FF2B5EF4-FFF2-40B4-BE49-F238E27FC236}">
                <a16:creationId xmlns:a16="http://schemas.microsoft.com/office/drawing/2014/main" id="{7D653354-58F8-4919-B8EA-6237F3CD8594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387536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5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3" name="Freeform 1162">
            <a:extLst>
              <a:ext uri="{FF2B5EF4-FFF2-40B4-BE49-F238E27FC236}">
                <a16:creationId xmlns:a16="http://schemas.microsoft.com/office/drawing/2014/main" id="{883B32AF-4886-47ED-AB83-A4A75FCDD2DC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52400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4" name="Freeform 1163">
            <a:extLst>
              <a:ext uri="{FF2B5EF4-FFF2-40B4-BE49-F238E27FC236}">
                <a16:creationId xmlns:a16="http://schemas.microsoft.com/office/drawing/2014/main" id="{A632CD1F-2097-4B6E-9AAB-D772F184BDDF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571241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5" name="Freeform 1164">
            <a:extLst>
              <a:ext uri="{FF2B5EF4-FFF2-40B4-BE49-F238E27FC236}">
                <a16:creationId xmlns:a16="http://schemas.microsoft.com/office/drawing/2014/main" id="{8DD12D87-8C55-4510-99CA-2D05A7C80C4D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47991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3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6" name="Freeform 1165">
            <a:extLst>
              <a:ext uri="{FF2B5EF4-FFF2-40B4-BE49-F238E27FC236}">
                <a16:creationId xmlns:a16="http://schemas.microsoft.com/office/drawing/2014/main" id="{E4C48728-508C-45EA-9CBA-89CB5285C976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24582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0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7" name="Freeform 1166">
            <a:extLst>
              <a:ext uri="{FF2B5EF4-FFF2-40B4-BE49-F238E27FC236}">
                <a16:creationId xmlns:a16="http://schemas.microsoft.com/office/drawing/2014/main" id="{DBE722C5-D658-4FC9-B8F8-0DB322F7A4FE}"/>
              </a:ext>
            </a:extLst>
          </p:cNvPr>
          <p:cNvSpPr>
            <a:spLocks/>
          </p:cNvSpPr>
          <p:nvPr userDrawn="1"/>
        </p:nvSpPr>
        <p:spPr bwMode="auto">
          <a:xfrm>
            <a:off x="3939375" y="120173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8" name="Freeform 1167">
            <a:extLst>
              <a:ext uri="{FF2B5EF4-FFF2-40B4-BE49-F238E27FC236}">
                <a16:creationId xmlns:a16="http://schemas.microsoft.com/office/drawing/2014/main" id="{901F07CB-3637-4F5D-A7EE-3540298FA615}"/>
              </a:ext>
            </a:extLst>
          </p:cNvPr>
          <p:cNvSpPr>
            <a:spLocks/>
          </p:cNvSpPr>
          <p:nvPr userDrawn="1"/>
        </p:nvSpPr>
        <p:spPr bwMode="auto">
          <a:xfrm>
            <a:off x="3938326" y="161638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9" name="Freeform 1168">
            <a:extLst>
              <a:ext uri="{FF2B5EF4-FFF2-40B4-BE49-F238E27FC236}">
                <a16:creationId xmlns:a16="http://schemas.microsoft.com/office/drawing/2014/main" id="{AE5595FB-7100-453C-B366-D45702B27A1B}"/>
              </a:ext>
            </a:extLst>
          </p:cNvPr>
          <p:cNvSpPr>
            <a:spLocks/>
          </p:cNvSpPr>
          <p:nvPr userDrawn="1"/>
        </p:nvSpPr>
        <p:spPr bwMode="auto">
          <a:xfrm>
            <a:off x="3891088" y="1571241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5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6" y="7"/>
                </a:lnTo>
                <a:lnTo>
                  <a:pt x="53" y="5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0" name="Freeform 1169">
            <a:extLst>
              <a:ext uri="{FF2B5EF4-FFF2-40B4-BE49-F238E27FC236}">
                <a16:creationId xmlns:a16="http://schemas.microsoft.com/office/drawing/2014/main" id="{4FFA58A5-A567-4524-9953-06269DCEE50D}"/>
              </a:ext>
            </a:extLst>
          </p:cNvPr>
          <p:cNvSpPr>
            <a:spLocks/>
          </p:cNvSpPr>
          <p:nvPr userDrawn="1"/>
        </p:nvSpPr>
        <p:spPr bwMode="auto">
          <a:xfrm>
            <a:off x="3890037" y="161638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1" name="Freeform 1170">
            <a:extLst>
              <a:ext uri="{FF2B5EF4-FFF2-40B4-BE49-F238E27FC236}">
                <a16:creationId xmlns:a16="http://schemas.microsoft.com/office/drawing/2014/main" id="{D6B80666-B690-4018-9D0F-030C9C39759D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2" name="Freeform 1171">
            <a:extLst>
              <a:ext uri="{FF2B5EF4-FFF2-40B4-BE49-F238E27FC236}">
                <a16:creationId xmlns:a16="http://schemas.microsoft.com/office/drawing/2014/main" id="{7D803CBD-8385-4F08-80D7-32B0CCDA8A3D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3" name="Freeform 1172">
            <a:extLst>
              <a:ext uri="{FF2B5EF4-FFF2-40B4-BE49-F238E27FC236}">
                <a16:creationId xmlns:a16="http://schemas.microsoft.com/office/drawing/2014/main" id="{4F8E3EA1-F73E-4E3D-80FC-4D2D56E199DE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3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4" name="Freeform 1173">
            <a:extLst>
              <a:ext uri="{FF2B5EF4-FFF2-40B4-BE49-F238E27FC236}">
                <a16:creationId xmlns:a16="http://schemas.microsoft.com/office/drawing/2014/main" id="{216DA604-E677-4F96-8D4F-C854294DC6E2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25002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3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0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5" name="Freeform 1174">
            <a:extLst>
              <a:ext uri="{FF2B5EF4-FFF2-40B4-BE49-F238E27FC236}">
                <a16:creationId xmlns:a16="http://schemas.microsoft.com/office/drawing/2014/main" id="{E2323AE1-ADA5-4C7E-8F84-4A726C69E4CE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6" name="Freeform 1175">
            <a:extLst>
              <a:ext uri="{FF2B5EF4-FFF2-40B4-BE49-F238E27FC236}">
                <a16:creationId xmlns:a16="http://schemas.microsoft.com/office/drawing/2014/main" id="{57627FC6-CDAB-4A35-AD66-1CD76C27C120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7" name="Freeform 1176">
            <a:extLst>
              <a:ext uri="{FF2B5EF4-FFF2-40B4-BE49-F238E27FC236}">
                <a16:creationId xmlns:a16="http://schemas.microsoft.com/office/drawing/2014/main" id="{F52ACDFF-A20D-4FCD-9502-B19206AEFA72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6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8" name="Freeform 1177">
            <a:extLst>
              <a:ext uri="{FF2B5EF4-FFF2-40B4-BE49-F238E27FC236}">
                <a16:creationId xmlns:a16="http://schemas.microsoft.com/office/drawing/2014/main" id="{02B85F31-A958-462E-BF31-5CD0ABF41C56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25002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6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3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9" name="Freeform 1178">
            <a:extLst>
              <a:ext uri="{FF2B5EF4-FFF2-40B4-BE49-F238E27FC236}">
                <a16:creationId xmlns:a16="http://schemas.microsoft.com/office/drawing/2014/main" id="{AF3712AA-8E18-4A02-9D95-C2D5C0881F5D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0" name="Freeform 1179">
            <a:extLst>
              <a:ext uri="{FF2B5EF4-FFF2-40B4-BE49-F238E27FC236}">
                <a16:creationId xmlns:a16="http://schemas.microsoft.com/office/drawing/2014/main" id="{E848CFD3-95FC-4B7F-93C9-E9A4BC404F23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1" name="Freeform 1180">
            <a:extLst>
              <a:ext uri="{FF2B5EF4-FFF2-40B4-BE49-F238E27FC236}">
                <a16:creationId xmlns:a16="http://schemas.microsoft.com/office/drawing/2014/main" id="{2EB5770A-7672-4283-B2FF-C067A715D0FF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2" name="Freeform 1181">
            <a:extLst>
              <a:ext uri="{FF2B5EF4-FFF2-40B4-BE49-F238E27FC236}">
                <a16:creationId xmlns:a16="http://schemas.microsoft.com/office/drawing/2014/main" id="{6828EEA3-C733-484B-BC01-2907853D76DB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2941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0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3" name="Freeform 1182">
            <a:extLst>
              <a:ext uri="{FF2B5EF4-FFF2-40B4-BE49-F238E27FC236}">
                <a16:creationId xmlns:a16="http://schemas.microsoft.com/office/drawing/2014/main" id="{D195AC88-FD9F-42B7-B4B3-1C48C005F614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3413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4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4" name="Freeform 1183">
            <a:extLst>
              <a:ext uri="{FF2B5EF4-FFF2-40B4-BE49-F238E27FC236}">
                <a16:creationId xmlns:a16="http://schemas.microsoft.com/office/drawing/2014/main" id="{D56C6764-B102-4C37-A48D-AC699BCD3179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29410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5" name="Freeform 1184">
            <a:extLst>
              <a:ext uri="{FF2B5EF4-FFF2-40B4-BE49-F238E27FC236}">
                <a16:creationId xmlns:a16="http://schemas.microsoft.com/office/drawing/2014/main" id="{F4EFEAFC-98F0-40E8-8C4D-7C213012BC3A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1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6" name="Freeform 1185">
            <a:extLst>
              <a:ext uri="{FF2B5EF4-FFF2-40B4-BE49-F238E27FC236}">
                <a16:creationId xmlns:a16="http://schemas.microsoft.com/office/drawing/2014/main" id="{D7BB61AF-F8E9-4D78-BD22-ABCCF7E19A24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29410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6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3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3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7" name="Freeform 1186">
            <a:extLst>
              <a:ext uri="{FF2B5EF4-FFF2-40B4-BE49-F238E27FC236}">
                <a16:creationId xmlns:a16="http://schemas.microsoft.com/office/drawing/2014/main" id="{D5D1CB02-FE20-4837-82C3-2C42147CC86D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3413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6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3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4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8" name="Freeform 1187">
            <a:extLst>
              <a:ext uri="{FF2B5EF4-FFF2-40B4-BE49-F238E27FC236}">
                <a16:creationId xmlns:a16="http://schemas.microsoft.com/office/drawing/2014/main" id="{599C4387-4E15-406D-B1B9-5E26F8708C31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29410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9" name="Freeform 1188">
            <a:extLst>
              <a:ext uri="{FF2B5EF4-FFF2-40B4-BE49-F238E27FC236}">
                <a16:creationId xmlns:a16="http://schemas.microsoft.com/office/drawing/2014/main" id="{08AAA252-E1E9-415A-BF33-CDA605F26193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0" name="Freeform 1189">
            <a:extLst>
              <a:ext uri="{FF2B5EF4-FFF2-40B4-BE49-F238E27FC236}">
                <a16:creationId xmlns:a16="http://schemas.microsoft.com/office/drawing/2014/main" id="{E1C01E3E-1104-4D11-A756-211B7A8F1B96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38753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1" name="Freeform 1190">
            <a:extLst>
              <a:ext uri="{FF2B5EF4-FFF2-40B4-BE49-F238E27FC236}">
                <a16:creationId xmlns:a16="http://schemas.microsoft.com/office/drawing/2014/main" id="{7CBFBD66-7A6F-4062-A537-6B0340542609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38753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3 w 155"/>
              <a:gd name="T41" fmla="*/ 34 h 153"/>
              <a:gd name="T42" fmla="*/ 23 w 155"/>
              <a:gd name="T43" fmla="*/ 23 h 153"/>
              <a:gd name="T44" fmla="*/ 33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2" name="Freeform 1191">
            <a:extLst>
              <a:ext uri="{FF2B5EF4-FFF2-40B4-BE49-F238E27FC236}">
                <a16:creationId xmlns:a16="http://schemas.microsoft.com/office/drawing/2014/main" id="{A2136381-8923-4FBE-9F4F-4C90962D3336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38753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3" name="Freeform 1192">
            <a:extLst>
              <a:ext uri="{FF2B5EF4-FFF2-40B4-BE49-F238E27FC236}">
                <a16:creationId xmlns:a16="http://schemas.microsoft.com/office/drawing/2014/main" id="{0E6D5E78-6BBC-435E-BA3A-4DACD4B61EB6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138753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6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3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3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3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4" name="Freeform 1193">
            <a:extLst>
              <a:ext uri="{FF2B5EF4-FFF2-40B4-BE49-F238E27FC236}">
                <a16:creationId xmlns:a16="http://schemas.microsoft.com/office/drawing/2014/main" id="{31EC9EBD-29B4-448B-B063-D70689C852C9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38753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5" name="Freeform 1194">
            <a:extLst>
              <a:ext uri="{FF2B5EF4-FFF2-40B4-BE49-F238E27FC236}">
                <a16:creationId xmlns:a16="http://schemas.microsoft.com/office/drawing/2014/main" id="{48E8DF72-B3C3-4E76-AC75-67AAE962A375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1435824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6" name="Freeform 1195">
            <a:extLst>
              <a:ext uri="{FF2B5EF4-FFF2-40B4-BE49-F238E27FC236}">
                <a16:creationId xmlns:a16="http://schemas.microsoft.com/office/drawing/2014/main" id="{460990A3-00FA-450D-8C6A-183F202F25C0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435824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7" name="Freeform 1196">
            <a:extLst>
              <a:ext uri="{FF2B5EF4-FFF2-40B4-BE49-F238E27FC236}">
                <a16:creationId xmlns:a16="http://schemas.microsoft.com/office/drawing/2014/main" id="{1218ED3C-AD03-48F0-8D5E-7CB46C8D58FE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8" name="Freeform 1197">
            <a:extLst>
              <a:ext uri="{FF2B5EF4-FFF2-40B4-BE49-F238E27FC236}">
                <a16:creationId xmlns:a16="http://schemas.microsoft.com/office/drawing/2014/main" id="{AF5556B1-C53E-4B3A-934B-7FDC114D1A36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9" name="Freeform 1198">
            <a:extLst>
              <a:ext uri="{FF2B5EF4-FFF2-40B4-BE49-F238E27FC236}">
                <a16:creationId xmlns:a16="http://schemas.microsoft.com/office/drawing/2014/main" id="{95286DE1-38AE-477A-8F74-A7E25941C49F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3875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0" name="Freeform 1199">
            <a:extLst>
              <a:ext uri="{FF2B5EF4-FFF2-40B4-BE49-F238E27FC236}">
                <a16:creationId xmlns:a16="http://schemas.microsoft.com/office/drawing/2014/main" id="{B64686F2-7FD7-483C-9C44-5C331B1B59AE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43477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1" name="Freeform 1200">
            <a:extLst>
              <a:ext uri="{FF2B5EF4-FFF2-40B4-BE49-F238E27FC236}">
                <a16:creationId xmlns:a16="http://schemas.microsoft.com/office/drawing/2014/main" id="{A6C5063D-45FE-47AF-A856-74799863AA9B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2" name="Freeform 1201">
            <a:extLst>
              <a:ext uri="{FF2B5EF4-FFF2-40B4-BE49-F238E27FC236}">
                <a16:creationId xmlns:a16="http://schemas.microsoft.com/office/drawing/2014/main" id="{3FBBE5D9-B575-4BD1-8DE9-DBCC1F7888EE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43477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3" name="Freeform 1202">
            <a:extLst>
              <a:ext uri="{FF2B5EF4-FFF2-40B4-BE49-F238E27FC236}">
                <a16:creationId xmlns:a16="http://schemas.microsoft.com/office/drawing/2014/main" id="{90D4B74F-4A5F-468E-8E81-3E67FFD2A6D5}"/>
              </a:ext>
            </a:extLst>
          </p:cNvPr>
          <p:cNvSpPr>
            <a:spLocks/>
          </p:cNvSpPr>
          <p:nvPr userDrawn="1"/>
        </p:nvSpPr>
        <p:spPr bwMode="auto">
          <a:xfrm>
            <a:off x="4402309" y="143477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4" name="Freeform 1203">
            <a:extLst>
              <a:ext uri="{FF2B5EF4-FFF2-40B4-BE49-F238E27FC236}">
                <a16:creationId xmlns:a16="http://schemas.microsoft.com/office/drawing/2014/main" id="{908E12AB-DAE7-4408-B6C9-0C0A7DA6F998}"/>
              </a:ext>
            </a:extLst>
          </p:cNvPr>
          <p:cNvSpPr>
            <a:spLocks/>
          </p:cNvSpPr>
          <p:nvPr userDrawn="1"/>
        </p:nvSpPr>
        <p:spPr bwMode="auto">
          <a:xfrm>
            <a:off x="4448498" y="143477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5" name="Freeform 1204">
            <a:extLst>
              <a:ext uri="{FF2B5EF4-FFF2-40B4-BE49-F238E27FC236}">
                <a16:creationId xmlns:a16="http://schemas.microsoft.com/office/drawing/2014/main" id="{C646C17C-9367-44C8-B2B6-3461B58EB988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6" name="Freeform 1205">
            <a:extLst>
              <a:ext uri="{FF2B5EF4-FFF2-40B4-BE49-F238E27FC236}">
                <a16:creationId xmlns:a16="http://schemas.microsoft.com/office/drawing/2014/main" id="{CD38F9D0-2A05-4D9A-A334-610A81D5D34A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43477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7" name="Freeform 1206">
            <a:extLst>
              <a:ext uri="{FF2B5EF4-FFF2-40B4-BE49-F238E27FC236}">
                <a16:creationId xmlns:a16="http://schemas.microsoft.com/office/drawing/2014/main" id="{797941EA-D200-4B0D-8562-B3532837A14D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4809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8" name="Freeform 1207">
            <a:extLst>
              <a:ext uri="{FF2B5EF4-FFF2-40B4-BE49-F238E27FC236}">
                <a16:creationId xmlns:a16="http://schemas.microsoft.com/office/drawing/2014/main" id="{DFE06E0B-70B9-41C2-A48C-EFB4D8A7EF81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52715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9" name="Freeform 1208">
            <a:extLst>
              <a:ext uri="{FF2B5EF4-FFF2-40B4-BE49-F238E27FC236}">
                <a16:creationId xmlns:a16="http://schemas.microsoft.com/office/drawing/2014/main" id="{30C426EB-2CBE-4072-94C6-1939442F23CD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4809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0" name="Freeform 1209">
            <a:extLst>
              <a:ext uri="{FF2B5EF4-FFF2-40B4-BE49-F238E27FC236}">
                <a16:creationId xmlns:a16="http://schemas.microsoft.com/office/drawing/2014/main" id="{7C1F883E-09E4-471B-923A-89413781A2DE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52715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1" name="Freeform 1211">
            <a:extLst>
              <a:ext uri="{FF2B5EF4-FFF2-40B4-BE49-F238E27FC236}">
                <a16:creationId xmlns:a16="http://schemas.microsoft.com/office/drawing/2014/main" id="{E302E8BC-4BFB-4AEA-9E6C-7A7EA8970814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4809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4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2" name="Freeform 1212">
            <a:extLst>
              <a:ext uri="{FF2B5EF4-FFF2-40B4-BE49-F238E27FC236}">
                <a16:creationId xmlns:a16="http://schemas.microsoft.com/office/drawing/2014/main" id="{6EDA47C5-D67C-4169-BEA0-6BE2616C54A5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5271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4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3" name="Freeform 1213">
            <a:extLst>
              <a:ext uri="{FF2B5EF4-FFF2-40B4-BE49-F238E27FC236}">
                <a16:creationId xmlns:a16="http://schemas.microsoft.com/office/drawing/2014/main" id="{9909F1AD-DBAC-4CE4-BDE6-74080EC4993A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14809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4" name="Freeform 1214">
            <a:extLst>
              <a:ext uri="{FF2B5EF4-FFF2-40B4-BE49-F238E27FC236}">
                <a16:creationId xmlns:a16="http://schemas.microsoft.com/office/drawing/2014/main" id="{DE5A3215-2E1E-47EA-9C89-1E39C4A6D466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15271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5" name="Freeform 1215">
            <a:extLst>
              <a:ext uri="{FF2B5EF4-FFF2-40B4-BE49-F238E27FC236}">
                <a16:creationId xmlns:a16="http://schemas.microsoft.com/office/drawing/2014/main" id="{AA5A2954-90D8-4273-9430-65CE2C33C0D6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4809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6" name="Freeform 1216">
            <a:extLst>
              <a:ext uri="{FF2B5EF4-FFF2-40B4-BE49-F238E27FC236}">
                <a16:creationId xmlns:a16="http://schemas.microsoft.com/office/drawing/2014/main" id="{C26C4988-F1D6-4990-AC83-3A8C05F95457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52715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7" name="Freeform 1217">
            <a:extLst>
              <a:ext uri="{FF2B5EF4-FFF2-40B4-BE49-F238E27FC236}">
                <a16:creationId xmlns:a16="http://schemas.microsoft.com/office/drawing/2014/main" id="{62BF6D84-99E8-41BF-95F0-54EE36537901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57439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8" name="Freeform 1218">
            <a:extLst>
              <a:ext uri="{FF2B5EF4-FFF2-40B4-BE49-F238E27FC236}">
                <a16:creationId xmlns:a16="http://schemas.microsoft.com/office/drawing/2014/main" id="{D56B42D5-C303-4D84-A6C7-7CC9EA25A226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62057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9" name="Freeform 1219">
            <a:extLst>
              <a:ext uri="{FF2B5EF4-FFF2-40B4-BE49-F238E27FC236}">
                <a16:creationId xmlns:a16="http://schemas.microsoft.com/office/drawing/2014/main" id="{484559CF-9E6F-43A9-96D4-5379781938AD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5743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0" name="Freeform 1220">
            <a:extLst>
              <a:ext uri="{FF2B5EF4-FFF2-40B4-BE49-F238E27FC236}">
                <a16:creationId xmlns:a16="http://schemas.microsoft.com/office/drawing/2014/main" id="{AE67933C-CA9B-489E-AA32-978135AAD371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6205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1" name="Freeform 1221">
            <a:extLst>
              <a:ext uri="{FF2B5EF4-FFF2-40B4-BE49-F238E27FC236}">
                <a16:creationId xmlns:a16="http://schemas.microsoft.com/office/drawing/2014/main" id="{D0D34E41-4EAC-438B-BAF3-074DFBEA2DE6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57439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4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2" name="Freeform 1222">
            <a:extLst>
              <a:ext uri="{FF2B5EF4-FFF2-40B4-BE49-F238E27FC236}">
                <a16:creationId xmlns:a16="http://schemas.microsoft.com/office/drawing/2014/main" id="{3687E5E5-B037-4E40-AAA2-3E79EE055BCA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6205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4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3" name="Freeform 1223">
            <a:extLst>
              <a:ext uri="{FF2B5EF4-FFF2-40B4-BE49-F238E27FC236}">
                <a16:creationId xmlns:a16="http://schemas.microsoft.com/office/drawing/2014/main" id="{AFC02D42-8502-43F9-AA3F-680497E2E4C3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15743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4" name="Freeform 1224">
            <a:extLst>
              <a:ext uri="{FF2B5EF4-FFF2-40B4-BE49-F238E27FC236}">
                <a16:creationId xmlns:a16="http://schemas.microsoft.com/office/drawing/2014/main" id="{DE43D45D-05EB-44AC-8623-1B00A097D36B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5271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5" name="Freeform 1225">
            <a:extLst>
              <a:ext uri="{FF2B5EF4-FFF2-40B4-BE49-F238E27FC236}">
                <a16:creationId xmlns:a16="http://schemas.microsoft.com/office/drawing/2014/main" id="{E97A0CD4-B970-4B7B-BF8E-8A6B0F2C0FB4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4809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6" name="Freeform 1226">
            <a:extLst>
              <a:ext uri="{FF2B5EF4-FFF2-40B4-BE49-F238E27FC236}">
                <a16:creationId xmlns:a16="http://schemas.microsoft.com/office/drawing/2014/main" id="{AB910828-F47E-4E8E-B67D-236B25D06F75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5271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7" name="Freeform 1227">
            <a:extLst>
              <a:ext uri="{FF2B5EF4-FFF2-40B4-BE49-F238E27FC236}">
                <a16:creationId xmlns:a16="http://schemas.microsoft.com/office/drawing/2014/main" id="{E0357717-D7E8-470B-89C2-CECAAB1FC72F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4809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8" name="Freeform 1228">
            <a:extLst>
              <a:ext uri="{FF2B5EF4-FFF2-40B4-BE49-F238E27FC236}">
                <a16:creationId xmlns:a16="http://schemas.microsoft.com/office/drawing/2014/main" id="{4B361DD1-BF7D-4839-9DAB-6F9063B4E7F0}"/>
              </a:ext>
            </a:extLst>
          </p:cNvPr>
          <p:cNvSpPr>
            <a:spLocks/>
          </p:cNvSpPr>
          <p:nvPr userDrawn="1"/>
        </p:nvSpPr>
        <p:spPr bwMode="auto">
          <a:xfrm>
            <a:off x="4450599" y="14809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9" name="Freeform 1229">
            <a:extLst>
              <a:ext uri="{FF2B5EF4-FFF2-40B4-BE49-F238E27FC236}">
                <a16:creationId xmlns:a16="http://schemas.microsoft.com/office/drawing/2014/main" id="{00329A4A-D28B-489F-AC92-E39724B8CAC8}"/>
              </a:ext>
            </a:extLst>
          </p:cNvPr>
          <p:cNvSpPr>
            <a:spLocks/>
          </p:cNvSpPr>
          <p:nvPr userDrawn="1"/>
        </p:nvSpPr>
        <p:spPr bwMode="auto">
          <a:xfrm>
            <a:off x="4496786" y="14809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0" name="Freeform 1230">
            <a:extLst>
              <a:ext uri="{FF2B5EF4-FFF2-40B4-BE49-F238E27FC236}">
                <a16:creationId xmlns:a16="http://schemas.microsoft.com/office/drawing/2014/main" id="{B23DDF46-BEAC-435B-8002-2459E31133FD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5271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1" name="Freeform 1231">
            <a:extLst>
              <a:ext uri="{FF2B5EF4-FFF2-40B4-BE49-F238E27FC236}">
                <a16:creationId xmlns:a16="http://schemas.microsoft.com/office/drawing/2014/main" id="{DDFC4C5E-E0F2-4877-A34E-EFF518404C54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5743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2" name="Freeform 1232">
            <a:extLst>
              <a:ext uri="{FF2B5EF4-FFF2-40B4-BE49-F238E27FC236}">
                <a16:creationId xmlns:a16="http://schemas.microsoft.com/office/drawing/2014/main" id="{FF09BB55-9485-41DE-B56F-7B0EDFB16C6F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6205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3" name="Freeform 1233">
            <a:extLst>
              <a:ext uri="{FF2B5EF4-FFF2-40B4-BE49-F238E27FC236}">
                <a16:creationId xmlns:a16="http://schemas.microsoft.com/office/drawing/2014/main" id="{A6CCCF05-2F75-40C3-A573-6A6D6B181AFE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57439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8 w 153"/>
              <a:gd name="T5" fmla="*/ 106 h 153"/>
              <a:gd name="T6" fmla="*/ 140 w 153"/>
              <a:gd name="T7" fmla="*/ 119 h 153"/>
              <a:gd name="T8" fmla="*/ 130 w 153"/>
              <a:gd name="T9" fmla="*/ 130 h 153"/>
              <a:gd name="T10" fmla="*/ 119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0" y="130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4" name="Freeform 1234">
            <a:extLst>
              <a:ext uri="{FF2B5EF4-FFF2-40B4-BE49-F238E27FC236}">
                <a16:creationId xmlns:a16="http://schemas.microsoft.com/office/drawing/2014/main" id="{9D3E18D8-D2EC-42AD-8B8A-ADFF01D5AF5A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6205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8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5" name="Freeform 1235">
            <a:extLst>
              <a:ext uri="{FF2B5EF4-FFF2-40B4-BE49-F238E27FC236}">
                <a16:creationId xmlns:a16="http://schemas.microsoft.com/office/drawing/2014/main" id="{4A5A7B83-1A29-4B9B-8CF6-7EFECD8AF76E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1093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6" name="Freeform 1236">
            <a:extLst>
              <a:ext uri="{FF2B5EF4-FFF2-40B4-BE49-F238E27FC236}">
                <a16:creationId xmlns:a16="http://schemas.microsoft.com/office/drawing/2014/main" id="{F711D21C-8D73-49F5-8F28-4A36C4566BED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15659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7" name="Freeform 1237">
            <a:extLst>
              <a:ext uri="{FF2B5EF4-FFF2-40B4-BE49-F238E27FC236}">
                <a16:creationId xmlns:a16="http://schemas.microsoft.com/office/drawing/2014/main" id="{908BEFC1-4E26-4EFD-A0A0-8204A05ECD35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8" name="Freeform 1238">
            <a:extLst>
              <a:ext uri="{FF2B5EF4-FFF2-40B4-BE49-F238E27FC236}">
                <a16:creationId xmlns:a16="http://schemas.microsoft.com/office/drawing/2014/main" id="{736DBBBE-26B9-43EA-AA49-2F03C099DE8D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9" name="Freeform 1239">
            <a:extLst>
              <a:ext uri="{FF2B5EF4-FFF2-40B4-BE49-F238E27FC236}">
                <a16:creationId xmlns:a16="http://schemas.microsoft.com/office/drawing/2014/main" id="{47B041CA-B2E6-4FFD-9E77-F0C9E761B8A8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0" name="Freeform 1240">
            <a:extLst>
              <a:ext uri="{FF2B5EF4-FFF2-40B4-BE49-F238E27FC236}">
                <a16:creationId xmlns:a16="http://schemas.microsoft.com/office/drawing/2014/main" id="{0E0B9A00-E300-4A3A-8B67-DD8CC2A94250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1" name="Freeform 1241">
            <a:extLst>
              <a:ext uri="{FF2B5EF4-FFF2-40B4-BE49-F238E27FC236}">
                <a16:creationId xmlns:a16="http://schemas.microsoft.com/office/drawing/2014/main" id="{B43A8984-EB8E-4F2C-8A36-00D55A6E253D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1093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2" name="Freeform 1242">
            <a:extLst>
              <a:ext uri="{FF2B5EF4-FFF2-40B4-BE49-F238E27FC236}">
                <a16:creationId xmlns:a16="http://schemas.microsoft.com/office/drawing/2014/main" id="{EBFBB602-C129-40B7-A441-0EEB8DD4FEB2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15659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3" name="Freeform 1243">
            <a:extLst>
              <a:ext uri="{FF2B5EF4-FFF2-40B4-BE49-F238E27FC236}">
                <a16:creationId xmlns:a16="http://schemas.microsoft.com/office/drawing/2014/main" id="{364A39D3-1755-45A2-A739-A8586230B21D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4" name="Freeform 1244">
            <a:extLst>
              <a:ext uri="{FF2B5EF4-FFF2-40B4-BE49-F238E27FC236}">
                <a16:creationId xmlns:a16="http://schemas.microsoft.com/office/drawing/2014/main" id="{FA98DA80-0281-43E9-A2B2-49D492E721BB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25002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5" name="Freeform 1245">
            <a:extLst>
              <a:ext uri="{FF2B5EF4-FFF2-40B4-BE49-F238E27FC236}">
                <a16:creationId xmlns:a16="http://schemas.microsoft.com/office/drawing/2014/main" id="{08E8B0DE-76B1-467B-B44A-3C7031C0C638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6" name="Freeform 1246">
            <a:extLst>
              <a:ext uri="{FF2B5EF4-FFF2-40B4-BE49-F238E27FC236}">
                <a16:creationId xmlns:a16="http://schemas.microsoft.com/office/drawing/2014/main" id="{D96DBC9A-A030-4BEB-869A-131E023CAB0D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7" name="Freeform 1247">
            <a:extLst>
              <a:ext uri="{FF2B5EF4-FFF2-40B4-BE49-F238E27FC236}">
                <a16:creationId xmlns:a16="http://schemas.microsoft.com/office/drawing/2014/main" id="{F4582837-92FF-4B5A-ACD7-9AE20E9C9170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8" name="Freeform 1248">
            <a:extLst>
              <a:ext uri="{FF2B5EF4-FFF2-40B4-BE49-F238E27FC236}">
                <a16:creationId xmlns:a16="http://schemas.microsoft.com/office/drawing/2014/main" id="{34DF10FC-CB8A-46F9-84C4-B884895D00A5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9" name="Freeform 1249">
            <a:extLst>
              <a:ext uri="{FF2B5EF4-FFF2-40B4-BE49-F238E27FC236}">
                <a16:creationId xmlns:a16="http://schemas.microsoft.com/office/drawing/2014/main" id="{7B420E22-4345-49A7-90D8-0DCFE625EAC8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2027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0" name="Freeform 1250">
            <a:extLst>
              <a:ext uri="{FF2B5EF4-FFF2-40B4-BE49-F238E27FC236}">
                <a16:creationId xmlns:a16="http://schemas.microsoft.com/office/drawing/2014/main" id="{46C8696D-A990-4598-9B60-68047B65287F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25002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1" name="Freeform 1251">
            <a:extLst>
              <a:ext uri="{FF2B5EF4-FFF2-40B4-BE49-F238E27FC236}">
                <a16:creationId xmlns:a16="http://schemas.microsoft.com/office/drawing/2014/main" id="{3F515D04-E122-402B-A620-0058C9645761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294110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2" name="Freeform 1252">
            <a:extLst>
              <a:ext uri="{FF2B5EF4-FFF2-40B4-BE49-F238E27FC236}">
                <a16:creationId xmlns:a16="http://schemas.microsoft.com/office/drawing/2014/main" id="{F7ADA67A-1586-49D5-ABEF-B203365FD3C2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3413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3" name="Freeform 1253">
            <a:extLst>
              <a:ext uri="{FF2B5EF4-FFF2-40B4-BE49-F238E27FC236}">
                <a16:creationId xmlns:a16="http://schemas.microsoft.com/office/drawing/2014/main" id="{936E2559-1F2E-432B-948F-6D009364CC4C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294110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3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4" name="Freeform 1254">
            <a:extLst>
              <a:ext uri="{FF2B5EF4-FFF2-40B4-BE49-F238E27FC236}">
                <a16:creationId xmlns:a16="http://schemas.microsoft.com/office/drawing/2014/main" id="{FDC57567-220C-43DF-B0AA-3E83F89F135C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5" name="Freeform 1255">
            <a:extLst>
              <a:ext uri="{FF2B5EF4-FFF2-40B4-BE49-F238E27FC236}">
                <a16:creationId xmlns:a16="http://schemas.microsoft.com/office/drawing/2014/main" id="{8B0D91AE-EC33-4CD4-99BD-E3930D24A02F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294110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6" name="Freeform 1256">
            <a:extLst>
              <a:ext uri="{FF2B5EF4-FFF2-40B4-BE49-F238E27FC236}">
                <a16:creationId xmlns:a16="http://schemas.microsoft.com/office/drawing/2014/main" id="{81C7EE0B-B7B4-4FDC-84D3-158C6C9532F0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7" name="Freeform 1257">
            <a:extLst>
              <a:ext uri="{FF2B5EF4-FFF2-40B4-BE49-F238E27FC236}">
                <a16:creationId xmlns:a16="http://schemas.microsoft.com/office/drawing/2014/main" id="{5A1704EC-5D6C-4D9D-860F-7FA27C2D59A1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294110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8" name="Freeform 1258">
            <a:extLst>
              <a:ext uri="{FF2B5EF4-FFF2-40B4-BE49-F238E27FC236}">
                <a16:creationId xmlns:a16="http://schemas.microsoft.com/office/drawing/2014/main" id="{CE54413B-9A6B-4BC9-A6A6-4BCF9A9E556B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3413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9" name="Freeform 1259">
            <a:extLst>
              <a:ext uri="{FF2B5EF4-FFF2-40B4-BE49-F238E27FC236}">
                <a16:creationId xmlns:a16="http://schemas.microsoft.com/office/drawing/2014/main" id="{2D67961F-34BE-455B-8E1C-726C9AF66084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3875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0" name="Freeform 1260">
            <a:extLst>
              <a:ext uri="{FF2B5EF4-FFF2-40B4-BE49-F238E27FC236}">
                <a16:creationId xmlns:a16="http://schemas.microsoft.com/office/drawing/2014/main" id="{28AE2302-B053-4E8B-93AB-E76908B4B8DE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4347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1" name="Freeform 1261">
            <a:extLst>
              <a:ext uri="{FF2B5EF4-FFF2-40B4-BE49-F238E27FC236}">
                <a16:creationId xmlns:a16="http://schemas.microsoft.com/office/drawing/2014/main" id="{96E947EF-906D-42FE-A892-0E30503C8119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2" name="Freeform 1262">
            <a:extLst>
              <a:ext uri="{FF2B5EF4-FFF2-40B4-BE49-F238E27FC236}">
                <a16:creationId xmlns:a16="http://schemas.microsoft.com/office/drawing/2014/main" id="{03FD6709-C026-4737-A39D-8C80CCE77599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4347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3" name="Freeform 1263">
            <a:extLst>
              <a:ext uri="{FF2B5EF4-FFF2-40B4-BE49-F238E27FC236}">
                <a16:creationId xmlns:a16="http://schemas.microsoft.com/office/drawing/2014/main" id="{C78CD2F8-F636-4088-A5AD-DA9AD9423077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4" name="Freeform 1264">
            <a:extLst>
              <a:ext uri="{FF2B5EF4-FFF2-40B4-BE49-F238E27FC236}">
                <a16:creationId xmlns:a16="http://schemas.microsoft.com/office/drawing/2014/main" id="{77E8D445-DB91-4DA7-B920-1F71C95A60BF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4347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5" name="Freeform 1265">
            <a:extLst>
              <a:ext uri="{FF2B5EF4-FFF2-40B4-BE49-F238E27FC236}">
                <a16:creationId xmlns:a16="http://schemas.microsoft.com/office/drawing/2014/main" id="{E059716A-88F2-47C8-A9CC-3875769CCFB1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3875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6" name="Freeform 1266">
            <a:extLst>
              <a:ext uri="{FF2B5EF4-FFF2-40B4-BE49-F238E27FC236}">
                <a16:creationId xmlns:a16="http://schemas.microsoft.com/office/drawing/2014/main" id="{9087B9C7-58A5-42C6-A238-0AAC4E339F0A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4347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7" name="Freeform 1267">
            <a:extLst>
              <a:ext uri="{FF2B5EF4-FFF2-40B4-BE49-F238E27FC236}">
                <a16:creationId xmlns:a16="http://schemas.microsoft.com/office/drawing/2014/main" id="{B6B9A0ED-7A0E-4A4A-97E9-14222A81D0F8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4809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8" name="Freeform 1268">
            <a:extLst>
              <a:ext uri="{FF2B5EF4-FFF2-40B4-BE49-F238E27FC236}">
                <a16:creationId xmlns:a16="http://schemas.microsoft.com/office/drawing/2014/main" id="{72B7F1F8-6B57-49F0-9D03-0DF3FD291881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4809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9" name="Freeform 1269">
            <a:extLst>
              <a:ext uri="{FF2B5EF4-FFF2-40B4-BE49-F238E27FC236}">
                <a16:creationId xmlns:a16="http://schemas.microsoft.com/office/drawing/2014/main" id="{CB72A326-F479-46F1-98E1-AE394A058898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4809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0" name="Freeform 1270">
            <a:extLst>
              <a:ext uri="{FF2B5EF4-FFF2-40B4-BE49-F238E27FC236}">
                <a16:creationId xmlns:a16="http://schemas.microsoft.com/office/drawing/2014/main" id="{01682522-2304-485D-9014-DBD851532CF3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5271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1" name="Freeform 1271">
            <a:extLst>
              <a:ext uri="{FF2B5EF4-FFF2-40B4-BE49-F238E27FC236}">
                <a16:creationId xmlns:a16="http://schemas.microsoft.com/office/drawing/2014/main" id="{664B350C-B055-4590-9079-A72C959E2CFA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4809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2" name="Freeform 1272">
            <a:extLst>
              <a:ext uri="{FF2B5EF4-FFF2-40B4-BE49-F238E27FC236}">
                <a16:creationId xmlns:a16="http://schemas.microsoft.com/office/drawing/2014/main" id="{D77CB89D-147D-4672-A8C6-AB68BC95BD2F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5271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3" name="Freeform 1273">
            <a:extLst>
              <a:ext uri="{FF2B5EF4-FFF2-40B4-BE49-F238E27FC236}">
                <a16:creationId xmlns:a16="http://schemas.microsoft.com/office/drawing/2014/main" id="{DF69FB9B-FA08-45FF-961A-AD77AA5BCDC1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57439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19 h 153"/>
              <a:gd name="T8" fmla="*/ 131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4" name="Freeform 1274">
            <a:extLst>
              <a:ext uri="{FF2B5EF4-FFF2-40B4-BE49-F238E27FC236}">
                <a16:creationId xmlns:a16="http://schemas.microsoft.com/office/drawing/2014/main" id="{5BACF0DA-DEFC-4225-AEF0-26DFB10EB1E3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6205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5" name="Freeform 1275">
            <a:extLst>
              <a:ext uri="{FF2B5EF4-FFF2-40B4-BE49-F238E27FC236}">
                <a16:creationId xmlns:a16="http://schemas.microsoft.com/office/drawing/2014/main" id="{62F7CC06-AA18-42FF-9C68-7BFAAE7F6446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0190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6" name="Freeform 1276">
            <a:extLst>
              <a:ext uri="{FF2B5EF4-FFF2-40B4-BE49-F238E27FC236}">
                <a16:creationId xmlns:a16="http://schemas.microsoft.com/office/drawing/2014/main" id="{C2B1AB6C-CFD2-48F1-AA0A-46F6D6E77B7D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106526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2 h 155"/>
              <a:gd name="T22" fmla="*/ 40 w 155"/>
              <a:gd name="T23" fmla="*/ 146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1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7" name="Freeform 1277">
            <a:extLst>
              <a:ext uri="{FF2B5EF4-FFF2-40B4-BE49-F238E27FC236}">
                <a16:creationId xmlns:a16="http://schemas.microsoft.com/office/drawing/2014/main" id="{2ACBA6C3-C654-401A-B52B-66D9E568C4E0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8" name="Freeform 1278">
            <a:extLst>
              <a:ext uri="{FF2B5EF4-FFF2-40B4-BE49-F238E27FC236}">
                <a16:creationId xmlns:a16="http://schemas.microsoft.com/office/drawing/2014/main" id="{3C284787-C968-40FC-9E64-60CA26055FE6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9" name="Freeform 1279">
            <a:extLst>
              <a:ext uri="{FF2B5EF4-FFF2-40B4-BE49-F238E27FC236}">
                <a16:creationId xmlns:a16="http://schemas.microsoft.com/office/drawing/2014/main" id="{9A6173B6-DA51-41AB-B03B-2165B6FD6225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4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0" name="Freeform 1280">
            <a:extLst>
              <a:ext uri="{FF2B5EF4-FFF2-40B4-BE49-F238E27FC236}">
                <a16:creationId xmlns:a16="http://schemas.microsoft.com/office/drawing/2014/main" id="{C07090FC-0C7C-48C2-B837-A813F8CD3D25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4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2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1" name="Freeform 1281">
            <a:extLst>
              <a:ext uri="{FF2B5EF4-FFF2-40B4-BE49-F238E27FC236}">
                <a16:creationId xmlns:a16="http://schemas.microsoft.com/office/drawing/2014/main" id="{26C31297-84E8-4A7C-82D7-DFB0D2F6B85A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2" name="Freeform 1282">
            <a:extLst>
              <a:ext uri="{FF2B5EF4-FFF2-40B4-BE49-F238E27FC236}">
                <a16:creationId xmlns:a16="http://schemas.microsoft.com/office/drawing/2014/main" id="{5958220B-4600-46CD-8CDB-41E88AB69751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3" name="Freeform 1283">
            <a:extLst>
              <a:ext uri="{FF2B5EF4-FFF2-40B4-BE49-F238E27FC236}">
                <a16:creationId xmlns:a16="http://schemas.microsoft.com/office/drawing/2014/main" id="{1A1CECEC-5DD1-409D-B0CA-0E6FF2F012A0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0190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1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5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5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6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1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6"/>
                </a:lnTo>
                <a:lnTo>
                  <a:pt x="151" y="53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4" name="Freeform 1284">
            <a:extLst>
              <a:ext uri="{FF2B5EF4-FFF2-40B4-BE49-F238E27FC236}">
                <a16:creationId xmlns:a16="http://schemas.microsoft.com/office/drawing/2014/main" id="{0E6E0255-0F22-45FA-B967-21811AC60CB7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106526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2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2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5" name="Freeform 1285">
            <a:extLst>
              <a:ext uri="{FF2B5EF4-FFF2-40B4-BE49-F238E27FC236}">
                <a16:creationId xmlns:a16="http://schemas.microsoft.com/office/drawing/2014/main" id="{EFF4A003-41FE-42AF-BDD6-E1A7E85E8C99}"/>
              </a:ext>
            </a:extLst>
          </p:cNvPr>
          <p:cNvSpPr>
            <a:spLocks/>
          </p:cNvSpPr>
          <p:nvPr userDrawn="1"/>
        </p:nvSpPr>
        <p:spPr bwMode="auto">
          <a:xfrm>
            <a:off x="4400211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6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49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6" name="Freeform 1286">
            <a:extLst>
              <a:ext uri="{FF2B5EF4-FFF2-40B4-BE49-F238E27FC236}">
                <a16:creationId xmlns:a16="http://schemas.microsoft.com/office/drawing/2014/main" id="{BAC3D7A1-E158-4CD3-9E0B-431C50BD52BF}"/>
              </a:ext>
            </a:extLst>
          </p:cNvPr>
          <p:cNvSpPr>
            <a:spLocks/>
          </p:cNvSpPr>
          <p:nvPr userDrawn="1"/>
        </p:nvSpPr>
        <p:spPr bwMode="auto">
          <a:xfrm>
            <a:off x="4400211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2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7" name="Freeform 1287">
            <a:extLst>
              <a:ext uri="{FF2B5EF4-FFF2-40B4-BE49-F238E27FC236}">
                <a16:creationId xmlns:a16="http://schemas.microsoft.com/office/drawing/2014/main" id="{B8760420-61F2-44EB-B2F9-4CA173202C57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8" name="Freeform 1288">
            <a:extLst>
              <a:ext uri="{FF2B5EF4-FFF2-40B4-BE49-F238E27FC236}">
                <a16:creationId xmlns:a16="http://schemas.microsoft.com/office/drawing/2014/main" id="{5366D92A-467C-458F-8BC5-8F0A5489BDBA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9" name="Freeform 1289">
            <a:extLst>
              <a:ext uri="{FF2B5EF4-FFF2-40B4-BE49-F238E27FC236}">
                <a16:creationId xmlns:a16="http://schemas.microsoft.com/office/drawing/2014/main" id="{92844339-6BFD-4829-BCBB-10238E15B89E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0" name="Freeform 1290">
            <a:extLst>
              <a:ext uri="{FF2B5EF4-FFF2-40B4-BE49-F238E27FC236}">
                <a16:creationId xmlns:a16="http://schemas.microsoft.com/office/drawing/2014/main" id="{ACE2EAD2-343B-4410-8E7F-29A118D97FBB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2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1" name="Freeform 1291">
            <a:extLst>
              <a:ext uri="{FF2B5EF4-FFF2-40B4-BE49-F238E27FC236}">
                <a16:creationId xmlns:a16="http://schemas.microsoft.com/office/drawing/2014/main" id="{D25ADA88-EDE7-428D-8539-985B3C944A2E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2" name="Freeform 1292">
            <a:extLst>
              <a:ext uri="{FF2B5EF4-FFF2-40B4-BE49-F238E27FC236}">
                <a16:creationId xmlns:a16="http://schemas.microsoft.com/office/drawing/2014/main" id="{C13A4EAC-BFD3-4CD1-9687-2A1389D1410E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3" name="Freeform 1293">
            <a:extLst>
              <a:ext uri="{FF2B5EF4-FFF2-40B4-BE49-F238E27FC236}">
                <a16:creationId xmlns:a16="http://schemas.microsoft.com/office/drawing/2014/main" id="{55CFED2A-B867-442F-A65E-4BEA9FA03577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4" name="Freeform 1294">
            <a:extLst>
              <a:ext uri="{FF2B5EF4-FFF2-40B4-BE49-F238E27FC236}">
                <a16:creationId xmlns:a16="http://schemas.microsoft.com/office/drawing/2014/main" id="{7820965F-63AB-4BEC-9471-959EF7373F90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5" name="Freeform 1295">
            <a:extLst>
              <a:ext uri="{FF2B5EF4-FFF2-40B4-BE49-F238E27FC236}">
                <a16:creationId xmlns:a16="http://schemas.microsoft.com/office/drawing/2014/main" id="{CBAF1979-CFD6-4E6B-B23A-E74528488BF1}"/>
              </a:ext>
            </a:extLst>
          </p:cNvPr>
          <p:cNvSpPr>
            <a:spLocks/>
          </p:cNvSpPr>
          <p:nvPr userDrawn="1"/>
        </p:nvSpPr>
        <p:spPr bwMode="auto">
          <a:xfrm>
            <a:off x="4259546" y="10190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5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6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6" name="Freeform 1296">
            <a:extLst>
              <a:ext uri="{FF2B5EF4-FFF2-40B4-BE49-F238E27FC236}">
                <a16:creationId xmlns:a16="http://schemas.microsoft.com/office/drawing/2014/main" id="{C7C50E1C-5447-4549-A369-7DC9F8C24339}"/>
              </a:ext>
            </a:extLst>
          </p:cNvPr>
          <p:cNvSpPr>
            <a:spLocks/>
          </p:cNvSpPr>
          <p:nvPr userDrawn="1"/>
        </p:nvSpPr>
        <p:spPr bwMode="auto">
          <a:xfrm>
            <a:off x="4259546" y="106526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2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2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7" name="Freeform 1297">
            <a:extLst>
              <a:ext uri="{FF2B5EF4-FFF2-40B4-BE49-F238E27FC236}">
                <a16:creationId xmlns:a16="http://schemas.microsoft.com/office/drawing/2014/main" id="{40895816-BA71-45E0-B746-6AE9A3297E99}"/>
              </a:ext>
            </a:extLst>
          </p:cNvPr>
          <p:cNvSpPr>
            <a:spLocks/>
          </p:cNvSpPr>
          <p:nvPr userDrawn="1"/>
        </p:nvSpPr>
        <p:spPr bwMode="auto">
          <a:xfrm>
            <a:off x="4305735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8" name="Freeform 1298">
            <a:extLst>
              <a:ext uri="{FF2B5EF4-FFF2-40B4-BE49-F238E27FC236}">
                <a16:creationId xmlns:a16="http://schemas.microsoft.com/office/drawing/2014/main" id="{DFEB2BA3-7B44-405B-8B6F-570000319758}"/>
              </a:ext>
            </a:extLst>
          </p:cNvPr>
          <p:cNvSpPr>
            <a:spLocks/>
          </p:cNvSpPr>
          <p:nvPr userDrawn="1"/>
        </p:nvSpPr>
        <p:spPr bwMode="auto">
          <a:xfrm>
            <a:off x="4305735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2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9" name="Freeform 1299">
            <a:extLst>
              <a:ext uri="{FF2B5EF4-FFF2-40B4-BE49-F238E27FC236}">
                <a16:creationId xmlns:a16="http://schemas.microsoft.com/office/drawing/2014/main" id="{B601C0D6-6649-4647-AC38-5F79F75E82AF}"/>
              </a:ext>
            </a:extLst>
          </p:cNvPr>
          <p:cNvSpPr>
            <a:spLocks/>
          </p:cNvSpPr>
          <p:nvPr userDrawn="1"/>
        </p:nvSpPr>
        <p:spPr bwMode="auto">
          <a:xfrm>
            <a:off x="4351923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0" name="Freeform 1300">
            <a:extLst>
              <a:ext uri="{FF2B5EF4-FFF2-40B4-BE49-F238E27FC236}">
                <a16:creationId xmlns:a16="http://schemas.microsoft.com/office/drawing/2014/main" id="{34E20847-923F-4A31-9388-CC2C89B90381}"/>
              </a:ext>
            </a:extLst>
          </p:cNvPr>
          <p:cNvSpPr>
            <a:spLocks/>
          </p:cNvSpPr>
          <p:nvPr userDrawn="1"/>
        </p:nvSpPr>
        <p:spPr bwMode="auto">
          <a:xfrm>
            <a:off x="4351923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2"/>
                </a:lnTo>
                <a:lnTo>
                  <a:pt x="93" y="153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1" name="Freeform 1301">
            <a:extLst>
              <a:ext uri="{FF2B5EF4-FFF2-40B4-BE49-F238E27FC236}">
                <a16:creationId xmlns:a16="http://schemas.microsoft.com/office/drawing/2014/main" id="{404830B0-262C-4D22-8F44-97A5473C5AB2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2" name="Freeform 1302">
            <a:extLst>
              <a:ext uri="{FF2B5EF4-FFF2-40B4-BE49-F238E27FC236}">
                <a16:creationId xmlns:a16="http://schemas.microsoft.com/office/drawing/2014/main" id="{700267E1-2519-48D1-A168-D7F83936899A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3" name="Freeform 1303">
            <a:extLst>
              <a:ext uri="{FF2B5EF4-FFF2-40B4-BE49-F238E27FC236}">
                <a16:creationId xmlns:a16="http://schemas.microsoft.com/office/drawing/2014/main" id="{FC777D1F-5431-4C65-9F45-77091024DFAB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48201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4" name="Freeform 1304">
            <a:extLst>
              <a:ext uri="{FF2B5EF4-FFF2-40B4-BE49-F238E27FC236}">
                <a16:creationId xmlns:a16="http://schemas.microsoft.com/office/drawing/2014/main" id="{18B0C1F4-4EA7-4753-B332-99CE4017A05C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528202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5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5" name="Freeform 1305">
            <a:extLst>
              <a:ext uri="{FF2B5EF4-FFF2-40B4-BE49-F238E27FC236}">
                <a16:creationId xmlns:a16="http://schemas.microsoft.com/office/drawing/2014/main" id="{4F925F0D-BF6E-45C1-8651-66E3E03E6470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575440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49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6" name="Freeform 1306">
            <a:extLst>
              <a:ext uri="{FF2B5EF4-FFF2-40B4-BE49-F238E27FC236}">
                <a16:creationId xmlns:a16="http://schemas.microsoft.com/office/drawing/2014/main" id="{11A0BA8B-5451-43AE-9036-A88CDB70148D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62162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7" name="Freeform 1307">
            <a:extLst>
              <a:ext uri="{FF2B5EF4-FFF2-40B4-BE49-F238E27FC236}">
                <a16:creationId xmlns:a16="http://schemas.microsoft.com/office/drawing/2014/main" id="{0B2D207E-159D-4762-AED7-D4CDD1FD34CB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66571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5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8" name="Freeform 1308">
            <a:extLst>
              <a:ext uri="{FF2B5EF4-FFF2-40B4-BE49-F238E27FC236}">
                <a16:creationId xmlns:a16="http://schemas.microsoft.com/office/drawing/2014/main" id="{24C04193-FD5F-4D44-B73B-A2A6D7313E09}"/>
              </a:ext>
            </a:extLst>
          </p:cNvPr>
          <p:cNvSpPr>
            <a:spLocks/>
          </p:cNvSpPr>
          <p:nvPr userDrawn="1"/>
        </p:nvSpPr>
        <p:spPr bwMode="auto">
          <a:xfrm>
            <a:off x="4028604" y="143687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9" name="Freeform 1309">
            <a:extLst>
              <a:ext uri="{FF2B5EF4-FFF2-40B4-BE49-F238E27FC236}">
                <a16:creationId xmlns:a16="http://schemas.microsoft.com/office/drawing/2014/main" id="{7092F419-FB07-401A-84AE-A8072F92BAAC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0190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6 h 153"/>
              <a:gd name="T40" fmla="*/ 13 w 155"/>
              <a:gd name="T41" fmla="*/ 33 h 153"/>
              <a:gd name="T42" fmla="*/ 23 w 155"/>
              <a:gd name="T43" fmla="*/ 21 h 153"/>
              <a:gd name="T44" fmla="*/ 33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0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0" name="Freeform 1310">
            <a:extLst>
              <a:ext uri="{FF2B5EF4-FFF2-40B4-BE49-F238E27FC236}">
                <a16:creationId xmlns:a16="http://schemas.microsoft.com/office/drawing/2014/main" id="{86008E4E-CEF7-4CDA-BE7A-0B9921CA9DAF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106526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2 h 155"/>
              <a:gd name="T22" fmla="*/ 40 w 155"/>
              <a:gd name="T23" fmla="*/ 146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3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0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1" name="Freeform 1311">
            <a:extLst>
              <a:ext uri="{FF2B5EF4-FFF2-40B4-BE49-F238E27FC236}">
                <a16:creationId xmlns:a16="http://schemas.microsoft.com/office/drawing/2014/main" id="{40DD9ABE-A17A-42BE-9DB0-75C3C51A8F8B}"/>
              </a:ext>
            </a:extLst>
          </p:cNvPr>
          <p:cNvSpPr>
            <a:spLocks/>
          </p:cNvSpPr>
          <p:nvPr userDrawn="1"/>
        </p:nvSpPr>
        <p:spPr bwMode="auto">
          <a:xfrm>
            <a:off x="4120981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2" name="Freeform 1312">
            <a:extLst>
              <a:ext uri="{FF2B5EF4-FFF2-40B4-BE49-F238E27FC236}">
                <a16:creationId xmlns:a16="http://schemas.microsoft.com/office/drawing/2014/main" id="{F8FA0136-1B37-4B3B-A8F9-FDEBD7970199}"/>
              </a:ext>
            </a:extLst>
          </p:cNvPr>
          <p:cNvSpPr>
            <a:spLocks/>
          </p:cNvSpPr>
          <p:nvPr userDrawn="1"/>
        </p:nvSpPr>
        <p:spPr bwMode="auto">
          <a:xfrm>
            <a:off x="4120981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2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3" name="Freeform 1313">
            <a:extLst>
              <a:ext uri="{FF2B5EF4-FFF2-40B4-BE49-F238E27FC236}">
                <a16:creationId xmlns:a16="http://schemas.microsoft.com/office/drawing/2014/main" id="{9C13D6AC-D557-4439-9AA5-C8EC75063508}"/>
              </a:ext>
            </a:extLst>
          </p:cNvPr>
          <p:cNvSpPr>
            <a:spLocks/>
          </p:cNvSpPr>
          <p:nvPr userDrawn="1"/>
        </p:nvSpPr>
        <p:spPr bwMode="auto">
          <a:xfrm>
            <a:off x="4167169" y="101907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6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3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6 h 153"/>
              <a:gd name="T40" fmla="*/ 13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3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4" name="Freeform 1314">
            <a:extLst>
              <a:ext uri="{FF2B5EF4-FFF2-40B4-BE49-F238E27FC236}">
                <a16:creationId xmlns:a16="http://schemas.microsoft.com/office/drawing/2014/main" id="{BBF68D16-FE33-48FB-BFF0-424255DEAA8A}"/>
              </a:ext>
            </a:extLst>
          </p:cNvPr>
          <p:cNvSpPr>
            <a:spLocks/>
          </p:cNvSpPr>
          <p:nvPr userDrawn="1"/>
        </p:nvSpPr>
        <p:spPr bwMode="auto">
          <a:xfrm>
            <a:off x="4167169" y="1065267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6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2 h 155"/>
              <a:gd name="T22" fmla="*/ 40 w 155"/>
              <a:gd name="T23" fmla="*/ 146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1 h 155"/>
              <a:gd name="T64" fmla="*/ 151 w 155"/>
              <a:gd name="T65" fmla="*/ 54 h 155"/>
              <a:gd name="T66" fmla="*/ 153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5" name="Freeform 1315">
            <a:extLst>
              <a:ext uri="{FF2B5EF4-FFF2-40B4-BE49-F238E27FC236}">
                <a16:creationId xmlns:a16="http://schemas.microsoft.com/office/drawing/2014/main" id="{15E4BDA9-C8E6-4C98-8133-8AC6CF48EF21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49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6" name="Freeform 1316">
            <a:extLst>
              <a:ext uri="{FF2B5EF4-FFF2-40B4-BE49-F238E27FC236}">
                <a16:creationId xmlns:a16="http://schemas.microsoft.com/office/drawing/2014/main" id="{8F7522C6-0571-4443-901F-1347ED08B4AC}"/>
              </a:ext>
            </a:extLst>
          </p:cNvPr>
          <p:cNvSpPr>
            <a:spLocks/>
          </p:cNvSpPr>
          <p:nvPr userDrawn="1"/>
        </p:nvSpPr>
        <p:spPr bwMode="auto">
          <a:xfrm>
            <a:off x="4213357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2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1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7" name="Freeform 1317">
            <a:extLst>
              <a:ext uri="{FF2B5EF4-FFF2-40B4-BE49-F238E27FC236}">
                <a16:creationId xmlns:a16="http://schemas.microsoft.com/office/drawing/2014/main" id="{63B1E058-B8FC-4326-9D5F-0AEDEA113694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8" name="Freeform 1318">
            <a:extLst>
              <a:ext uri="{FF2B5EF4-FFF2-40B4-BE49-F238E27FC236}">
                <a16:creationId xmlns:a16="http://schemas.microsoft.com/office/drawing/2014/main" id="{9CEBD49E-9CFA-496F-A3F6-95C94163F302}"/>
              </a:ext>
            </a:extLst>
          </p:cNvPr>
          <p:cNvSpPr>
            <a:spLocks/>
          </p:cNvSpPr>
          <p:nvPr userDrawn="1"/>
        </p:nvSpPr>
        <p:spPr bwMode="auto">
          <a:xfrm>
            <a:off x="3985564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9" name="Freeform 1319">
            <a:extLst>
              <a:ext uri="{FF2B5EF4-FFF2-40B4-BE49-F238E27FC236}">
                <a16:creationId xmlns:a16="http://schemas.microsoft.com/office/drawing/2014/main" id="{8BD5E245-0267-4028-8BF4-C2DFB637D2F4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01907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0" name="Freeform 1320">
            <a:extLst>
              <a:ext uri="{FF2B5EF4-FFF2-40B4-BE49-F238E27FC236}">
                <a16:creationId xmlns:a16="http://schemas.microsoft.com/office/drawing/2014/main" id="{DD9BB966-F2BE-4236-8AC8-A0D0EE9B267A}"/>
              </a:ext>
            </a:extLst>
          </p:cNvPr>
          <p:cNvSpPr>
            <a:spLocks/>
          </p:cNvSpPr>
          <p:nvPr userDrawn="1"/>
        </p:nvSpPr>
        <p:spPr bwMode="auto">
          <a:xfrm>
            <a:off x="4862095" y="106526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1" name="Freeform 1321">
            <a:extLst>
              <a:ext uri="{FF2B5EF4-FFF2-40B4-BE49-F238E27FC236}">
                <a16:creationId xmlns:a16="http://schemas.microsoft.com/office/drawing/2014/main" id="{927F53AA-56AA-4D55-A8EC-539F28328A93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2" name="Freeform 1322">
            <a:extLst>
              <a:ext uri="{FF2B5EF4-FFF2-40B4-BE49-F238E27FC236}">
                <a16:creationId xmlns:a16="http://schemas.microsoft.com/office/drawing/2014/main" id="{D6A5A1FA-E309-4C3D-B098-363B3AB2A423}"/>
              </a:ext>
            </a:extLst>
          </p:cNvPr>
          <p:cNvSpPr>
            <a:spLocks/>
          </p:cNvSpPr>
          <p:nvPr userDrawn="1"/>
        </p:nvSpPr>
        <p:spPr bwMode="auto">
          <a:xfrm>
            <a:off x="4907234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3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3" name="Freeform 1323">
            <a:extLst>
              <a:ext uri="{FF2B5EF4-FFF2-40B4-BE49-F238E27FC236}">
                <a16:creationId xmlns:a16="http://schemas.microsoft.com/office/drawing/2014/main" id="{124A51C0-8F25-4074-BFD7-831C5CFF31A2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4" name="Freeform 1324">
            <a:extLst>
              <a:ext uri="{FF2B5EF4-FFF2-40B4-BE49-F238E27FC236}">
                <a16:creationId xmlns:a16="http://schemas.microsoft.com/office/drawing/2014/main" id="{EF682669-0398-4974-8DF1-C8E9804EEE10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2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5" name="Freeform 1325">
            <a:extLst>
              <a:ext uri="{FF2B5EF4-FFF2-40B4-BE49-F238E27FC236}">
                <a16:creationId xmlns:a16="http://schemas.microsoft.com/office/drawing/2014/main" id="{0F18A1CB-4826-4BBB-B70A-DDE40EB02B92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01907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6" name="Freeform 1326">
            <a:extLst>
              <a:ext uri="{FF2B5EF4-FFF2-40B4-BE49-F238E27FC236}">
                <a16:creationId xmlns:a16="http://schemas.microsoft.com/office/drawing/2014/main" id="{89382A06-CAD9-49E4-AB27-C7447F96D5BD}"/>
              </a:ext>
            </a:extLst>
          </p:cNvPr>
          <p:cNvSpPr>
            <a:spLocks/>
          </p:cNvSpPr>
          <p:nvPr userDrawn="1"/>
        </p:nvSpPr>
        <p:spPr bwMode="auto">
          <a:xfrm>
            <a:off x="5000661" y="1065267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2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7" name="Freeform 1327">
            <a:extLst>
              <a:ext uri="{FF2B5EF4-FFF2-40B4-BE49-F238E27FC236}">
                <a16:creationId xmlns:a16="http://schemas.microsoft.com/office/drawing/2014/main" id="{EB47FD10-8FAF-40ED-AC36-255596C51FDB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92355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8" name="Freeform 1328">
            <a:extLst>
              <a:ext uri="{FF2B5EF4-FFF2-40B4-BE49-F238E27FC236}">
                <a16:creationId xmlns:a16="http://schemas.microsoft.com/office/drawing/2014/main" id="{F3A7164D-B6F4-4CCF-8BCE-AAFC88265843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96974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9" name="Freeform 1329">
            <a:extLst>
              <a:ext uri="{FF2B5EF4-FFF2-40B4-BE49-F238E27FC236}">
                <a16:creationId xmlns:a16="http://schemas.microsoft.com/office/drawing/2014/main" id="{FC100000-FB89-4BD6-BF30-36FE3A6FBE5B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0" name="Freeform 1330">
            <a:extLst>
              <a:ext uri="{FF2B5EF4-FFF2-40B4-BE49-F238E27FC236}">
                <a16:creationId xmlns:a16="http://schemas.microsoft.com/office/drawing/2014/main" id="{826F9A01-595E-4EF2-A590-105391FD3660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1" name="Freeform 1331">
            <a:extLst>
              <a:ext uri="{FF2B5EF4-FFF2-40B4-BE49-F238E27FC236}">
                <a16:creationId xmlns:a16="http://schemas.microsoft.com/office/drawing/2014/main" id="{05DD83F5-EFFB-43E6-BD14-EBB8EB67D827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4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2" name="Freeform 1332">
            <a:extLst>
              <a:ext uri="{FF2B5EF4-FFF2-40B4-BE49-F238E27FC236}">
                <a16:creationId xmlns:a16="http://schemas.microsoft.com/office/drawing/2014/main" id="{D18C1EF2-1B4E-440D-9376-29CB188336C0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4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3" name="Freeform 1333">
            <a:extLst>
              <a:ext uri="{FF2B5EF4-FFF2-40B4-BE49-F238E27FC236}">
                <a16:creationId xmlns:a16="http://schemas.microsoft.com/office/drawing/2014/main" id="{A6FA591C-A680-47E5-A3FE-FFE3187219B1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4" name="Freeform 1334">
            <a:extLst>
              <a:ext uri="{FF2B5EF4-FFF2-40B4-BE49-F238E27FC236}">
                <a16:creationId xmlns:a16="http://schemas.microsoft.com/office/drawing/2014/main" id="{1745E841-F17F-4066-A0EF-C6C0C0F58052}"/>
              </a:ext>
            </a:extLst>
          </p:cNvPr>
          <p:cNvSpPr>
            <a:spLocks/>
          </p:cNvSpPr>
          <p:nvPr userDrawn="1"/>
        </p:nvSpPr>
        <p:spPr bwMode="auto">
          <a:xfrm>
            <a:off x="4769719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5" name="Freeform 1335">
            <a:extLst>
              <a:ext uri="{FF2B5EF4-FFF2-40B4-BE49-F238E27FC236}">
                <a16:creationId xmlns:a16="http://schemas.microsoft.com/office/drawing/2014/main" id="{DF0EE55F-903C-4912-9B82-B3FA7B865C54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92355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2"/>
                </a:lnTo>
                <a:lnTo>
                  <a:pt x="138" y="28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6" name="Freeform 1336">
            <a:extLst>
              <a:ext uri="{FF2B5EF4-FFF2-40B4-BE49-F238E27FC236}">
                <a16:creationId xmlns:a16="http://schemas.microsoft.com/office/drawing/2014/main" id="{35AB64A9-7874-4215-8A4C-C58A73458152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96974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7" name="Freeform 1337">
            <a:extLst>
              <a:ext uri="{FF2B5EF4-FFF2-40B4-BE49-F238E27FC236}">
                <a16:creationId xmlns:a16="http://schemas.microsoft.com/office/drawing/2014/main" id="{CBFFA230-22A0-4BD2-9671-7B60636ECEB3}"/>
              </a:ext>
            </a:extLst>
          </p:cNvPr>
          <p:cNvSpPr>
            <a:spLocks/>
          </p:cNvSpPr>
          <p:nvPr userDrawn="1"/>
        </p:nvSpPr>
        <p:spPr bwMode="auto">
          <a:xfrm>
            <a:off x="4400211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8" name="Freeform 1338">
            <a:extLst>
              <a:ext uri="{FF2B5EF4-FFF2-40B4-BE49-F238E27FC236}">
                <a16:creationId xmlns:a16="http://schemas.microsoft.com/office/drawing/2014/main" id="{66A64364-B792-4227-A45C-61091C2BE5AD}"/>
              </a:ext>
            </a:extLst>
          </p:cNvPr>
          <p:cNvSpPr>
            <a:spLocks/>
          </p:cNvSpPr>
          <p:nvPr userDrawn="1"/>
        </p:nvSpPr>
        <p:spPr bwMode="auto">
          <a:xfrm>
            <a:off x="4400211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9" name="Freeform 1339">
            <a:extLst>
              <a:ext uri="{FF2B5EF4-FFF2-40B4-BE49-F238E27FC236}">
                <a16:creationId xmlns:a16="http://schemas.microsoft.com/office/drawing/2014/main" id="{A056DA19-C2B1-40CD-B4C7-203413566209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0" name="Freeform 1340">
            <a:extLst>
              <a:ext uri="{FF2B5EF4-FFF2-40B4-BE49-F238E27FC236}">
                <a16:creationId xmlns:a16="http://schemas.microsoft.com/office/drawing/2014/main" id="{A2BC1F6D-09C1-464F-91FB-EB6D5D44D6A7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1" name="Freeform 1341">
            <a:extLst>
              <a:ext uri="{FF2B5EF4-FFF2-40B4-BE49-F238E27FC236}">
                <a16:creationId xmlns:a16="http://schemas.microsoft.com/office/drawing/2014/main" id="{DC9DF35A-1517-4240-B40D-F9DF439E1933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2" name="Freeform 1342">
            <a:extLst>
              <a:ext uri="{FF2B5EF4-FFF2-40B4-BE49-F238E27FC236}">
                <a16:creationId xmlns:a16="http://schemas.microsoft.com/office/drawing/2014/main" id="{4A536A05-3FD9-43DC-BA34-BC616B6D5363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3" name="Freeform 1343">
            <a:extLst>
              <a:ext uri="{FF2B5EF4-FFF2-40B4-BE49-F238E27FC236}">
                <a16:creationId xmlns:a16="http://schemas.microsoft.com/office/drawing/2014/main" id="{87003611-8D7C-4EF4-8BC9-055937201E79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4" name="Freeform 1344">
            <a:extLst>
              <a:ext uri="{FF2B5EF4-FFF2-40B4-BE49-F238E27FC236}">
                <a16:creationId xmlns:a16="http://schemas.microsoft.com/office/drawing/2014/main" id="{74ED829C-378C-45F0-8728-0ED722CD66FE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5" name="Freeform 1345">
            <a:extLst>
              <a:ext uri="{FF2B5EF4-FFF2-40B4-BE49-F238E27FC236}">
                <a16:creationId xmlns:a16="http://schemas.microsoft.com/office/drawing/2014/main" id="{1FC9B875-D003-4A55-BABA-D76817887DD9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6" name="Freeform 1346">
            <a:extLst>
              <a:ext uri="{FF2B5EF4-FFF2-40B4-BE49-F238E27FC236}">
                <a16:creationId xmlns:a16="http://schemas.microsoft.com/office/drawing/2014/main" id="{981BBF02-5E16-43E4-A9E6-5E193D0D9A1E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7" name="Freeform 1347">
            <a:extLst>
              <a:ext uri="{FF2B5EF4-FFF2-40B4-BE49-F238E27FC236}">
                <a16:creationId xmlns:a16="http://schemas.microsoft.com/office/drawing/2014/main" id="{037E1B75-26C9-4F52-BC4F-CAC3632A8DA2}"/>
              </a:ext>
            </a:extLst>
          </p:cNvPr>
          <p:cNvSpPr>
            <a:spLocks/>
          </p:cNvSpPr>
          <p:nvPr userDrawn="1"/>
        </p:nvSpPr>
        <p:spPr bwMode="auto">
          <a:xfrm>
            <a:off x="4259546" y="92355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8" name="Freeform 1348">
            <a:extLst>
              <a:ext uri="{FF2B5EF4-FFF2-40B4-BE49-F238E27FC236}">
                <a16:creationId xmlns:a16="http://schemas.microsoft.com/office/drawing/2014/main" id="{1B405A25-DD08-4409-B440-EA9DB633EDAB}"/>
              </a:ext>
            </a:extLst>
          </p:cNvPr>
          <p:cNvSpPr>
            <a:spLocks/>
          </p:cNvSpPr>
          <p:nvPr userDrawn="1"/>
        </p:nvSpPr>
        <p:spPr bwMode="auto">
          <a:xfrm>
            <a:off x="4259546" y="96974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9" name="Freeform 1349">
            <a:extLst>
              <a:ext uri="{FF2B5EF4-FFF2-40B4-BE49-F238E27FC236}">
                <a16:creationId xmlns:a16="http://schemas.microsoft.com/office/drawing/2014/main" id="{92488335-1889-4E86-B398-5D96654EE5EC}"/>
              </a:ext>
            </a:extLst>
          </p:cNvPr>
          <p:cNvSpPr>
            <a:spLocks/>
          </p:cNvSpPr>
          <p:nvPr userDrawn="1"/>
        </p:nvSpPr>
        <p:spPr bwMode="auto">
          <a:xfrm>
            <a:off x="4305735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0" name="Freeform 1350">
            <a:extLst>
              <a:ext uri="{FF2B5EF4-FFF2-40B4-BE49-F238E27FC236}">
                <a16:creationId xmlns:a16="http://schemas.microsoft.com/office/drawing/2014/main" id="{95E9D0B9-5F11-4198-8F3D-61857A57187C}"/>
              </a:ext>
            </a:extLst>
          </p:cNvPr>
          <p:cNvSpPr>
            <a:spLocks/>
          </p:cNvSpPr>
          <p:nvPr userDrawn="1"/>
        </p:nvSpPr>
        <p:spPr bwMode="auto">
          <a:xfrm>
            <a:off x="4305735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1" name="Freeform 1351">
            <a:extLst>
              <a:ext uri="{FF2B5EF4-FFF2-40B4-BE49-F238E27FC236}">
                <a16:creationId xmlns:a16="http://schemas.microsoft.com/office/drawing/2014/main" id="{95422279-A238-48F4-BCD6-FEE83180BA1A}"/>
              </a:ext>
            </a:extLst>
          </p:cNvPr>
          <p:cNvSpPr>
            <a:spLocks/>
          </p:cNvSpPr>
          <p:nvPr userDrawn="1"/>
        </p:nvSpPr>
        <p:spPr bwMode="auto">
          <a:xfrm>
            <a:off x="4351923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2" name="Freeform 1352">
            <a:extLst>
              <a:ext uri="{FF2B5EF4-FFF2-40B4-BE49-F238E27FC236}">
                <a16:creationId xmlns:a16="http://schemas.microsoft.com/office/drawing/2014/main" id="{B43AA92D-1099-4979-B8AF-0C1EA99E6894}"/>
              </a:ext>
            </a:extLst>
          </p:cNvPr>
          <p:cNvSpPr>
            <a:spLocks/>
          </p:cNvSpPr>
          <p:nvPr userDrawn="1"/>
        </p:nvSpPr>
        <p:spPr bwMode="auto">
          <a:xfrm>
            <a:off x="4351923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3" name="Freeform 1353">
            <a:extLst>
              <a:ext uri="{FF2B5EF4-FFF2-40B4-BE49-F238E27FC236}">
                <a16:creationId xmlns:a16="http://schemas.microsoft.com/office/drawing/2014/main" id="{4E591439-F7AE-4BD6-92CD-63295EF650C8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46271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4" name="Freeform 1354">
            <a:extLst>
              <a:ext uri="{FF2B5EF4-FFF2-40B4-BE49-F238E27FC236}">
                <a16:creationId xmlns:a16="http://schemas.microsoft.com/office/drawing/2014/main" id="{A1BAAC70-8A1D-46D9-8018-41D11BE5D949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46271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5" name="Freeform 1355">
            <a:extLst>
              <a:ext uri="{FF2B5EF4-FFF2-40B4-BE49-F238E27FC236}">
                <a16:creationId xmlns:a16="http://schemas.microsoft.com/office/drawing/2014/main" id="{10FE0EC7-B88E-45B6-B10C-B7612FF71BD1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46271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6" name="Freeform 1356">
            <a:extLst>
              <a:ext uri="{FF2B5EF4-FFF2-40B4-BE49-F238E27FC236}">
                <a16:creationId xmlns:a16="http://schemas.microsoft.com/office/drawing/2014/main" id="{DAA6B091-131C-424E-8033-8D10FA60696A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46271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7" name="Freeform 1357">
            <a:extLst>
              <a:ext uri="{FF2B5EF4-FFF2-40B4-BE49-F238E27FC236}">
                <a16:creationId xmlns:a16="http://schemas.microsoft.com/office/drawing/2014/main" id="{9442FD16-0022-48A1-8C4D-450FACB9407A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46271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8" name="Freeform 1358">
            <a:extLst>
              <a:ext uri="{FF2B5EF4-FFF2-40B4-BE49-F238E27FC236}">
                <a16:creationId xmlns:a16="http://schemas.microsoft.com/office/drawing/2014/main" id="{37B10733-6F42-4C28-B9D5-CF2F49E9FF48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46271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9" name="Freeform 1359">
            <a:extLst>
              <a:ext uri="{FF2B5EF4-FFF2-40B4-BE49-F238E27FC236}">
                <a16:creationId xmlns:a16="http://schemas.microsoft.com/office/drawing/2014/main" id="{FC5EBB0F-C9D7-48AC-A8E4-E1C20CF997C7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46271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4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0" name="Freeform 1360">
            <a:extLst>
              <a:ext uri="{FF2B5EF4-FFF2-40B4-BE49-F238E27FC236}">
                <a16:creationId xmlns:a16="http://schemas.microsoft.com/office/drawing/2014/main" id="{54C522AB-DF0D-448B-A798-6314F0E3F4C9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46271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1" name="Freeform 1361">
            <a:extLst>
              <a:ext uri="{FF2B5EF4-FFF2-40B4-BE49-F238E27FC236}">
                <a16:creationId xmlns:a16="http://schemas.microsoft.com/office/drawing/2014/main" id="{CAEEF99D-24D7-40AE-BA4F-87DBCDE7B30F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4186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2" name="Freeform 1362">
            <a:extLst>
              <a:ext uri="{FF2B5EF4-FFF2-40B4-BE49-F238E27FC236}">
                <a16:creationId xmlns:a16="http://schemas.microsoft.com/office/drawing/2014/main" id="{1CA531DF-5A27-4F13-AAAD-1688144D0B08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4186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3" name="Freeform 1363">
            <a:extLst>
              <a:ext uri="{FF2B5EF4-FFF2-40B4-BE49-F238E27FC236}">
                <a16:creationId xmlns:a16="http://schemas.microsoft.com/office/drawing/2014/main" id="{28F76579-1626-4026-B5C8-9E426C046FAA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4186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4" name="Freeform 1364">
            <a:extLst>
              <a:ext uri="{FF2B5EF4-FFF2-40B4-BE49-F238E27FC236}">
                <a16:creationId xmlns:a16="http://schemas.microsoft.com/office/drawing/2014/main" id="{602DF5C2-39C7-48F7-8174-756A0B62E3D5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4186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5" name="Freeform 1365">
            <a:extLst>
              <a:ext uri="{FF2B5EF4-FFF2-40B4-BE49-F238E27FC236}">
                <a16:creationId xmlns:a16="http://schemas.microsoft.com/office/drawing/2014/main" id="{BC4877AB-0190-4C0C-85A8-54885761F0EC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4186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6" name="Freeform 1366">
            <a:extLst>
              <a:ext uri="{FF2B5EF4-FFF2-40B4-BE49-F238E27FC236}">
                <a16:creationId xmlns:a16="http://schemas.microsoft.com/office/drawing/2014/main" id="{BB4C8196-8342-45B2-9C00-F020DEB753AF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4186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7" name="Freeform 1367">
            <a:extLst>
              <a:ext uri="{FF2B5EF4-FFF2-40B4-BE49-F238E27FC236}">
                <a16:creationId xmlns:a16="http://schemas.microsoft.com/office/drawing/2014/main" id="{4C046F3A-86C1-4BB0-8249-4DFF8AED526C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4186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4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8" name="Freeform 1368">
            <a:extLst>
              <a:ext uri="{FF2B5EF4-FFF2-40B4-BE49-F238E27FC236}">
                <a16:creationId xmlns:a16="http://schemas.microsoft.com/office/drawing/2014/main" id="{4E35D3CE-582B-4E1D-A4D5-859DF9C191C1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4186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9" name="Freeform 1369">
            <a:extLst>
              <a:ext uri="{FF2B5EF4-FFF2-40B4-BE49-F238E27FC236}">
                <a16:creationId xmlns:a16="http://schemas.microsoft.com/office/drawing/2014/main" id="{A7DB9908-0F4C-45EC-9BAB-584F387491CD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37244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19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0" name="Freeform 1370">
            <a:extLst>
              <a:ext uri="{FF2B5EF4-FFF2-40B4-BE49-F238E27FC236}">
                <a16:creationId xmlns:a16="http://schemas.microsoft.com/office/drawing/2014/main" id="{D36820C7-70A7-4591-94CF-BAC4A66993EE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37244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1" name="Freeform 1371">
            <a:extLst>
              <a:ext uri="{FF2B5EF4-FFF2-40B4-BE49-F238E27FC236}">
                <a16:creationId xmlns:a16="http://schemas.microsoft.com/office/drawing/2014/main" id="{5F4111A3-6A52-45FC-8466-99E77F64FBEB}"/>
              </a:ext>
            </a:extLst>
          </p:cNvPr>
          <p:cNvSpPr>
            <a:spLocks/>
          </p:cNvSpPr>
          <p:nvPr userDrawn="1"/>
        </p:nvSpPr>
        <p:spPr bwMode="auto">
          <a:xfrm>
            <a:off x="4352972" y="2790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2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0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2" name="Freeform 1372">
            <a:extLst>
              <a:ext uri="{FF2B5EF4-FFF2-40B4-BE49-F238E27FC236}">
                <a16:creationId xmlns:a16="http://schemas.microsoft.com/office/drawing/2014/main" id="{7A65E19D-2902-4D3E-8D78-D8CCA25786EF}"/>
              </a:ext>
            </a:extLst>
          </p:cNvPr>
          <p:cNvSpPr>
            <a:spLocks/>
          </p:cNvSpPr>
          <p:nvPr userDrawn="1"/>
        </p:nvSpPr>
        <p:spPr bwMode="auto">
          <a:xfrm>
            <a:off x="4308883" y="2790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3" name="Freeform 1373">
            <a:extLst>
              <a:ext uri="{FF2B5EF4-FFF2-40B4-BE49-F238E27FC236}">
                <a16:creationId xmlns:a16="http://schemas.microsoft.com/office/drawing/2014/main" id="{0788CF2D-D2E5-41E1-9FE8-AC14B486FFA3}"/>
              </a:ext>
            </a:extLst>
          </p:cNvPr>
          <p:cNvSpPr>
            <a:spLocks/>
          </p:cNvSpPr>
          <p:nvPr userDrawn="1"/>
        </p:nvSpPr>
        <p:spPr bwMode="auto">
          <a:xfrm>
            <a:off x="4399161" y="2790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4" name="Freeform 1374">
            <a:extLst>
              <a:ext uri="{FF2B5EF4-FFF2-40B4-BE49-F238E27FC236}">
                <a16:creationId xmlns:a16="http://schemas.microsoft.com/office/drawing/2014/main" id="{A8E5B5B1-04C8-4C24-9D4A-F291DA21504E}"/>
              </a:ext>
            </a:extLst>
          </p:cNvPr>
          <p:cNvSpPr>
            <a:spLocks/>
          </p:cNvSpPr>
          <p:nvPr userDrawn="1"/>
        </p:nvSpPr>
        <p:spPr bwMode="auto">
          <a:xfrm>
            <a:off x="4261645" y="46271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1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5" name="Freeform 1375">
            <a:extLst>
              <a:ext uri="{FF2B5EF4-FFF2-40B4-BE49-F238E27FC236}">
                <a16:creationId xmlns:a16="http://schemas.microsoft.com/office/drawing/2014/main" id="{D8AA307E-3E70-48CA-B363-69CED3C6CC58}"/>
              </a:ext>
            </a:extLst>
          </p:cNvPr>
          <p:cNvSpPr>
            <a:spLocks/>
          </p:cNvSpPr>
          <p:nvPr userDrawn="1"/>
        </p:nvSpPr>
        <p:spPr bwMode="auto">
          <a:xfrm>
            <a:off x="4307834" y="46271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0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6" name="Freeform 1376">
            <a:extLst>
              <a:ext uri="{FF2B5EF4-FFF2-40B4-BE49-F238E27FC236}">
                <a16:creationId xmlns:a16="http://schemas.microsoft.com/office/drawing/2014/main" id="{86CC5646-F793-4F5C-8F84-1F3E4769B8CA}"/>
              </a:ext>
            </a:extLst>
          </p:cNvPr>
          <p:cNvSpPr>
            <a:spLocks/>
          </p:cNvSpPr>
          <p:nvPr userDrawn="1"/>
        </p:nvSpPr>
        <p:spPr bwMode="auto">
          <a:xfrm>
            <a:off x="4261645" y="4186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7" y="18"/>
                </a:lnTo>
                <a:lnTo>
                  <a:pt x="132" y="22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7" name="Freeform 1377">
            <a:extLst>
              <a:ext uri="{FF2B5EF4-FFF2-40B4-BE49-F238E27FC236}">
                <a16:creationId xmlns:a16="http://schemas.microsoft.com/office/drawing/2014/main" id="{97C8EC3A-ABA2-41C2-AAED-EBED607534AE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46271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8" name="Freeform 1378">
            <a:extLst>
              <a:ext uri="{FF2B5EF4-FFF2-40B4-BE49-F238E27FC236}">
                <a16:creationId xmlns:a16="http://schemas.microsoft.com/office/drawing/2014/main" id="{DFF68089-2BA5-4FEB-86DD-40928AA38289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4186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9" name="Freeform 1379">
            <a:extLst>
              <a:ext uri="{FF2B5EF4-FFF2-40B4-BE49-F238E27FC236}">
                <a16:creationId xmlns:a16="http://schemas.microsoft.com/office/drawing/2014/main" id="{7C75DCC3-FBCC-4323-8B13-E9FF25EB9F9E}"/>
              </a:ext>
            </a:extLst>
          </p:cNvPr>
          <p:cNvSpPr>
            <a:spLocks/>
          </p:cNvSpPr>
          <p:nvPr userDrawn="1"/>
        </p:nvSpPr>
        <p:spPr bwMode="auto">
          <a:xfrm>
            <a:off x="4124130" y="4186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0" name="Freeform 1380">
            <a:extLst>
              <a:ext uri="{FF2B5EF4-FFF2-40B4-BE49-F238E27FC236}">
                <a16:creationId xmlns:a16="http://schemas.microsoft.com/office/drawing/2014/main" id="{5429250F-38AC-4D9A-BF97-C59CA61D7B9F}"/>
              </a:ext>
            </a:extLst>
          </p:cNvPr>
          <p:cNvSpPr>
            <a:spLocks/>
          </p:cNvSpPr>
          <p:nvPr userDrawn="1"/>
        </p:nvSpPr>
        <p:spPr bwMode="auto">
          <a:xfrm>
            <a:off x="4077941" y="4186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1" name="Freeform 1381">
            <a:extLst>
              <a:ext uri="{FF2B5EF4-FFF2-40B4-BE49-F238E27FC236}">
                <a16:creationId xmlns:a16="http://schemas.microsoft.com/office/drawing/2014/main" id="{E4C8431E-8655-45FC-AD7F-219680A83051}"/>
              </a:ext>
            </a:extLst>
          </p:cNvPr>
          <p:cNvSpPr>
            <a:spLocks/>
          </p:cNvSpPr>
          <p:nvPr userDrawn="1"/>
        </p:nvSpPr>
        <p:spPr bwMode="auto">
          <a:xfrm>
            <a:off x="4307834" y="4186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19 w 153"/>
              <a:gd name="T11" fmla="*/ 141 h 154"/>
              <a:gd name="T12" fmla="*/ 107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2" name="Freeform 1382">
            <a:extLst>
              <a:ext uri="{FF2B5EF4-FFF2-40B4-BE49-F238E27FC236}">
                <a16:creationId xmlns:a16="http://schemas.microsoft.com/office/drawing/2014/main" id="{90CF9D18-46ED-47D8-88C9-62C41AE1C158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37244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3" name="Freeform 1383">
            <a:extLst>
              <a:ext uri="{FF2B5EF4-FFF2-40B4-BE49-F238E27FC236}">
                <a16:creationId xmlns:a16="http://schemas.microsoft.com/office/drawing/2014/main" id="{8E0FA073-E612-49B5-B3E8-CB2AA500CE60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37244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0" y="131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4" name="Freeform 1384">
            <a:extLst>
              <a:ext uri="{FF2B5EF4-FFF2-40B4-BE49-F238E27FC236}">
                <a16:creationId xmlns:a16="http://schemas.microsoft.com/office/drawing/2014/main" id="{B680E298-D278-41C7-AE80-3E5187AACA34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37244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5" name="Freeform 1385">
            <a:extLst>
              <a:ext uri="{FF2B5EF4-FFF2-40B4-BE49-F238E27FC236}">
                <a16:creationId xmlns:a16="http://schemas.microsoft.com/office/drawing/2014/main" id="{F522D841-4193-4D25-9E48-5D3DD34AA51D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37244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6" name="Freeform 1386">
            <a:extLst>
              <a:ext uri="{FF2B5EF4-FFF2-40B4-BE49-F238E27FC236}">
                <a16:creationId xmlns:a16="http://schemas.microsoft.com/office/drawing/2014/main" id="{FD6FF22E-0456-48F1-9F3F-955430CA958D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37244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4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7" name="Freeform 1387">
            <a:extLst>
              <a:ext uri="{FF2B5EF4-FFF2-40B4-BE49-F238E27FC236}">
                <a16:creationId xmlns:a16="http://schemas.microsoft.com/office/drawing/2014/main" id="{268CEC22-25BE-4079-9CE1-A3D522C82ED2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32415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8" name="Freeform 1388">
            <a:extLst>
              <a:ext uri="{FF2B5EF4-FFF2-40B4-BE49-F238E27FC236}">
                <a16:creationId xmlns:a16="http://schemas.microsoft.com/office/drawing/2014/main" id="{AA76557E-135E-4228-9FC4-9665C1192521}"/>
              </a:ext>
            </a:extLst>
          </p:cNvPr>
          <p:cNvSpPr>
            <a:spLocks/>
          </p:cNvSpPr>
          <p:nvPr userDrawn="1"/>
        </p:nvSpPr>
        <p:spPr bwMode="auto">
          <a:xfrm>
            <a:off x="4537726" y="32415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9" name="Freeform 1389">
            <a:extLst>
              <a:ext uri="{FF2B5EF4-FFF2-40B4-BE49-F238E27FC236}">
                <a16:creationId xmlns:a16="http://schemas.microsoft.com/office/drawing/2014/main" id="{BDAD076F-2BC4-4FF5-B9D4-6E0A80E5DCAA}"/>
              </a:ext>
            </a:extLst>
          </p:cNvPr>
          <p:cNvSpPr>
            <a:spLocks/>
          </p:cNvSpPr>
          <p:nvPr userDrawn="1"/>
        </p:nvSpPr>
        <p:spPr bwMode="auto">
          <a:xfrm>
            <a:off x="4583915" y="3241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0" name="Freeform 1390">
            <a:extLst>
              <a:ext uri="{FF2B5EF4-FFF2-40B4-BE49-F238E27FC236}">
                <a16:creationId xmlns:a16="http://schemas.microsoft.com/office/drawing/2014/main" id="{F3E6872E-A3C6-417A-9064-CCCB12593D26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32415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4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1" name="Freeform 1391">
            <a:extLst>
              <a:ext uri="{FF2B5EF4-FFF2-40B4-BE49-F238E27FC236}">
                <a16:creationId xmlns:a16="http://schemas.microsoft.com/office/drawing/2014/main" id="{789B2DD7-C26A-4B01-85C1-B085D854BC0B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69576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2" name="Freeform 1392">
            <a:extLst>
              <a:ext uri="{FF2B5EF4-FFF2-40B4-BE49-F238E27FC236}">
                <a16:creationId xmlns:a16="http://schemas.microsoft.com/office/drawing/2014/main" id="{22236B4B-F141-4898-B65C-F689CD5A56E3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7419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3" name="Freeform 1393">
            <a:extLst>
              <a:ext uri="{FF2B5EF4-FFF2-40B4-BE49-F238E27FC236}">
                <a16:creationId xmlns:a16="http://schemas.microsoft.com/office/drawing/2014/main" id="{59DE6C2D-C376-450A-B678-E1EE3130A9C8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69576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4" name="Freeform 1394">
            <a:extLst>
              <a:ext uri="{FF2B5EF4-FFF2-40B4-BE49-F238E27FC236}">
                <a16:creationId xmlns:a16="http://schemas.microsoft.com/office/drawing/2014/main" id="{045B3906-8504-40AD-9909-752EE8B1DCA7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99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5" name="Freeform 1395">
            <a:extLst>
              <a:ext uri="{FF2B5EF4-FFF2-40B4-BE49-F238E27FC236}">
                <a16:creationId xmlns:a16="http://schemas.microsoft.com/office/drawing/2014/main" id="{0C7CFE4F-37AC-4DFB-A924-F59ADA13057F}"/>
              </a:ext>
            </a:extLst>
          </p:cNvPr>
          <p:cNvSpPr>
            <a:spLocks/>
          </p:cNvSpPr>
          <p:nvPr userDrawn="1"/>
        </p:nvSpPr>
        <p:spPr bwMode="auto">
          <a:xfrm>
            <a:off x="4400211" y="69576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6" name="Freeform 1396">
            <a:extLst>
              <a:ext uri="{FF2B5EF4-FFF2-40B4-BE49-F238E27FC236}">
                <a16:creationId xmlns:a16="http://schemas.microsoft.com/office/drawing/2014/main" id="{847FC560-4881-4C9E-A5F1-F3ECB48C603D}"/>
              </a:ext>
            </a:extLst>
          </p:cNvPr>
          <p:cNvSpPr>
            <a:spLocks/>
          </p:cNvSpPr>
          <p:nvPr userDrawn="1"/>
        </p:nvSpPr>
        <p:spPr bwMode="auto">
          <a:xfrm>
            <a:off x="4400211" y="7419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0" y="132"/>
                </a:lnTo>
                <a:lnTo>
                  <a:pt x="125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6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7" name="Freeform 1397">
            <a:extLst>
              <a:ext uri="{FF2B5EF4-FFF2-40B4-BE49-F238E27FC236}">
                <a16:creationId xmlns:a16="http://schemas.microsoft.com/office/drawing/2014/main" id="{445BDC3D-6A22-43ED-821D-557FA3DD0F94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69576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8" name="Freeform 1398">
            <a:extLst>
              <a:ext uri="{FF2B5EF4-FFF2-40B4-BE49-F238E27FC236}">
                <a16:creationId xmlns:a16="http://schemas.microsoft.com/office/drawing/2014/main" id="{939329DB-F679-45ED-8D72-9B3E86F6A592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7419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2 h 155"/>
              <a:gd name="T12" fmla="*/ 107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9" name="Freeform 1399">
            <a:extLst>
              <a:ext uri="{FF2B5EF4-FFF2-40B4-BE49-F238E27FC236}">
                <a16:creationId xmlns:a16="http://schemas.microsoft.com/office/drawing/2014/main" id="{50DBD31C-ACCE-4C36-8D4A-D4164D293863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69576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0" name="Freeform 1400">
            <a:extLst>
              <a:ext uri="{FF2B5EF4-FFF2-40B4-BE49-F238E27FC236}">
                <a16:creationId xmlns:a16="http://schemas.microsoft.com/office/drawing/2014/main" id="{E62D0128-928B-4C8B-850C-38A7EEF38AEA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1" name="Freeform 1401">
            <a:extLst>
              <a:ext uri="{FF2B5EF4-FFF2-40B4-BE49-F238E27FC236}">
                <a16:creationId xmlns:a16="http://schemas.microsoft.com/office/drawing/2014/main" id="{6243F6AF-3984-47FE-B9D2-9A2337421E2D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69576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2" name="Freeform 1402">
            <a:extLst>
              <a:ext uri="{FF2B5EF4-FFF2-40B4-BE49-F238E27FC236}">
                <a16:creationId xmlns:a16="http://schemas.microsoft.com/office/drawing/2014/main" id="{4860842D-7844-4A6C-BE98-09C1455401D2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7419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3" name="Freeform 1403">
            <a:extLst>
              <a:ext uri="{FF2B5EF4-FFF2-40B4-BE49-F238E27FC236}">
                <a16:creationId xmlns:a16="http://schemas.microsoft.com/office/drawing/2014/main" id="{499F55D8-F2E3-4F6E-967F-EB3AF9749D40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69576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4" name="Freeform 1404">
            <a:extLst>
              <a:ext uri="{FF2B5EF4-FFF2-40B4-BE49-F238E27FC236}">
                <a16:creationId xmlns:a16="http://schemas.microsoft.com/office/drawing/2014/main" id="{108E76BD-A35D-48F9-BC18-90A77D40B281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7419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5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4"/>
                </a:lnTo>
                <a:lnTo>
                  <a:pt x="61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5" name="Freeform 1405">
            <a:extLst>
              <a:ext uri="{FF2B5EF4-FFF2-40B4-BE49-F238E27FC236}">
                <a16:creationId xmlns:a16="http://schemas.microsoft.com/office/drawing/2014/main" id="{E867FB1D-AF01-4C20-BB8C-F78EECDA6C46}"/>
              </a:ext>
            </a:extLst>
          </p:cNvPr>
          <p:cNvSpPr>
            <a:spLocks/>
          </p:cNvSpPr>
          <p:nvPr userDrawn="1"/>
        </p:nvSpPr>
        <p:spPr bwMode="auto">
          <a:xfrm>
            <a:off x="4259546" y="69576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6" name="Freeform 1406">
            <a:extLst>
              <a:ext uri="{FF2B5EF4-FFF2-40B4-BE49-F238E27FC236}">
                <a16:creationId xmlns:a16="http://schemas.microsoft.com/office/drawing/2014/main" id="{7DCFDD7A-E222-4A50-9B83-3B43CB52C9F7}"/>
              </a:ext>
            </a:extLst>
          </p:cNvPr>
          <p:cNvSpPr>
            <a:spLocks/>
          </p:cNvSpPr>
          <p:nvPr userDrawn="1"/>
        </p:nvSpPr>
        <p:spPr bwMode="auto">
          <a:xfrm>
            <a:off x="4259546" y="7419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2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7" name="Freeform 1407">
            <a:extLst>
              <a:ext uri="{FF2B5EF4-FFF2-40B4-BE49-F238E27FC236}">
                <a16:creationId xmlns:a16="http://schemas.microsoft.com/office/drawing/2014/main" id="{BEE5629F-3B3A-4580-871E-F86046E6D536}"/>
              </a:ext>
            </a:extLst>
          </p:cNvPr>
          <p:cNvSpPr>
            <a:spLocks/>
          </p:cNvSpPr>
          <p:nvPr userDrawn="1"/>
        </p:nvSpPr>
        <p:spPr bwMode="auto">
          <a:xfrm>
            <a:off x="4305735" y="69576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8" name="Freeform 1408">
            <a:extLst>
              <a:ext uri="{FF2B5EF4-FFF2-40B4-BE49-F238E27FC236}">
                <a16:creationId xmlns:a16="http://schemas.microsoft.com/office/drawing/2014/main" id="{346366E8-2E3C-4CA9-B831-934975117210}"/>
              </a:ext>
            </a:extLst>
          </p:cNvPr>
          <p:cNvSpPr>
            <a:spLocks/>
          </p:cNvSpPr>
          <p:nvPr userDrawn="1"/>
        </p:nvSpPr>
        <p:spPr bwMode="auto">
          <a:xfrm>
            <a:off x="4305735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9" name="Freeform 1409">
            <a:extLst>
              <a:ext uri="{FF2B5EF4-FFF2-40B4-BE49-F238E27FC236}">
                <a16:creationId xmlns:a16="http://schemas.microsoft.com/office/drawing/2014/main" id="{72E3824C-CA29-4A15-9982-4BFA66460E16}"/>
              </a:ext>
            </a:extLst>
          </p:cNvPr>
          <p:cNvSpPr>
            <a:spLocks/>
          </p:cNvSpPr>
          <p:nvPr userDrawn="1"/>
        </p:nvSpPr>
        <p:spPr bwMode="auto">
          <a:xfrm>
            <a:off x="4351923" y="69576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0" name="Freeform 1410">
            <a:extLst>
              <a:ext uri="{FF2B5EF4-FFF2-40B4-BE49-F238E27FC236}">
                <a16:creationId xmlns:a16="http://schemas.microsoft.com/office/drawing/2014/main" id="{5D964D83-0C31-4D48-8087-BA7DA123BC58}"/>
              </a:ext>
            </a:extLst>
          </p:cNvPr>
          <p:cNvSpPr>
            <a:spLocks/>
          </p:cNvSpPr>
          <p:nvPr userDrawn="1"/>
        </p:nvSpPr>
        <p:spPr bwMode="auto">
          <a:xfrm>
            <a:off x="4351923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6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5 w 154"/>
              <a:gd name="T53" fmla="*/ 2 h 155"/>
              <a:gd name="T54" fmla="*/ 99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6" y="155"/>
                </a:lnTo>
                <a:lnTo>
                  <a:pt x="76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6" y="0"/>
                </a:lnTo>
                <a:lnTo>
                  <a:pt x="76" y="0"/>
                </a:lnTo>
                <a:lnTo>
                  <a:pt x="85" y="2"/>
                </a:lnTo>
                <a:lnTo>
                  <a:pt x="93" y="3"/>
                </a:lnTo>
                <a:lnTo>
                  <a:pt x="99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1" name="Freeform 1412">
            <a:extLst>
              <a:ext uri="{FF2B5EF4-FFF2-40B4-BE49-F238E27FC236}">
                <a16:creationId xmlns:a16="http://schemas.microsoft.com/office/drawing/2014/main" id="{60F10BF4-BBB9-423E-A126-8570EFEE7138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2" name="Freeform 1413">
            <a:extLst>
              <a:ext uri="{FF2B5EF4-FFF2-40B4-BE49-F238E27FC236}">
                <a16:creationId xmlns:a16="http://schemas.microsoft.com/office/drawing/2014/main" id="{31CE6D42-20A7-4B0B-BEFE-460C76B9C338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3" name="Freeform 1414">
            <a:extLst>
              <a:ext uri="{FF2B5EF4-FFF2-40B4-BE49-F238E27FC236}">
                <a16:creationId xmlns:a16="http://schemas.microsoft.com/office/drawing/2014/main" id="{D8B644AA-ABB3-4AB6-8797-AAD997E6E47A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4" name="Freeform 1415">
            <a:extLst>
              <a:ext uri="{FF2B5EF4-FFF2-40B4-BE49-F238E27FC236}">
                <a16:creationId xmlns:a16="http://schemas.microsoft.com/office/drawing/2014/main" id="{9EFB9727-501E-4A01-848C-746EF3F3A997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5" name="Freeform 1416">
            <a:extLst>
              <a:ext uri="{FF2B5EF4-FFF2-40B4-BE49-F238E27FC236}">
                <a16:creationId xmlns:a16="http://schemas.microsoft.com/office/drawing/2014/main" id="{3DE4E2E7-DB9A-4152-8403-10C939F23B03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6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6" name="Freeform 1417">
            <a:extLst>
              <a:ext uri="{FF2B5EF4-FFF2-40B4-BE49-F238E27FC236}">
                <a16:creationId xmlns:a16="http://schemas.microsoft.com/office/drawing/2014/main" id="{3454A734-C80F-4B01-811C-9E43778D8753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7" name="Freeform 1418">
            <a:extLst>
              <a:ext uri="{FF2B5EF4-FFF2-40B4-BE49-F238E27FC236}">
                <a16:creationId xmlns:a16="http://schemas.microsoft.com/office/drawing/2014/main" id="{09B9802A-0B13-454A-9C87-C389E74D51BC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8" name="Freeform 1419">
            <a:extLst>
              <a:ext uri="{FF2B5EF4-FFF2-40B4-BE49-F238E27FC236}">
                <a16:creationId xmlns:a16="http://schemas.microsoft.com/office/drawing/2014/main" id="{301C7FAE-618A-47D1-9ABA-EB8D345DFC10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7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9" name="Freeform 1420">
            <a:extLst>
              <a:ext uri="{FF2B5EF4-FFF2-40B4-BE49-F238E27FC236}">
                <a16:creationId xmlns:a16="http://schemas.microsoft.com/office/drawing/2014/main" id="{31497422-DDF8-4364-82BF-52454760DEA8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0" name="Freeform 1421">
            <a:extLst>
              <a:ext uri="{FF2B5EF4-FFF2-40B4-BE49-F238E27FC236}">
                <a16:creationId xmlns:a16="http://schemas.microsoft.com/office/drawing/2014/main" id="{895EE585-1383-44B2-A9FC-75BD67EF8A1F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1" name="Freeform 1422">
            <a:extLst>
              <a:ext uri="{FF2B5EF4-FFF2-40B4-BE49-F238E27FC236}">
                <a16:creationId xmlns:a16="http://schemas.microsoft.com/office/drawing/2014/main" id="{BC6C068C-926E-4A7A-968C-9460BF6A5257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2" name="Freeform 1423">
            <a:extLst>
              <a:ext uri="{FF2B5EF4-FFF2-40B4-BE49-F238E27FC236}">
                <a16:creationId xmlns:a16="http://schemas.microsoft.com/office/drawing/2014/main" id="{BFA07F95-D4A5-404A-BD41-DCC232D30B5B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3" name="Freeform 1424">
            <a:extLst>
              <a:ext uri="{FF2B5EF4-FFF2-40B4-BE49-F238E27FC236}">
                <a16:creationId xmlns:a16="http://schemas.microsoft.com/office/drawing/2014/main" id="{94C08368-6F2A-49CC-9F31-B8EDB16CE7D6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4" name="Freeform 1425">
            <a:extLst>
              <a:ext uri="{FF2B5EF4-FFF2-40B4-BE49-F238E27FC236}">
                <a16:creationId xmlns:a16="http://schemas.microsoft.com/office/drawing/2014/main" id="{49D524F6-1610-4489-A4B5-83C8A6931E54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5" name="Freeform 1426">
            <a:extLst>
              <a:ext uri="{FF2B5EF4-FFF2-40B4-BE49-F238E27FC236}">
                <a16:creationId xmlns:a16="http://schemas.microsoft.com/office/drawing/2014/main" id="{D22B1C18-1E63-4389-8E77-10E02E09F276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6" name="Freeform 1427">
            <a:extLst>
              <a:ext uri="{FF2B5EF4-FFF2-40B4-BE49-F238E27FC236}">
                <a16:creationId xmlns:a16="http://schemas.microsoft.com/office/drawing/2014/main" id="{8E888CF0-9E46-440F-993C-435C9A4E0E27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7" name="Freeform 1428">
            <a:extLst>
              <a:ext uri="{FF2B5EF4-FFF2-40B4-BE49-F238E27FC236}">
                <a16:creationId xmlns:a16="http://schemas.microsoft.com/office/drawing/2014/main" id="{3AD19A2B-98EC-4D09-92FC-7354D064667F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8" name="Freeform 1429">
            <a:extLst>
              <a:ext uri="{FF2B5EF4-FFF2-40B4-BE49-F238E27FC236}">
                <a16:creationId xmlns:a16="http://schemas.microsoft.com/office/drawing/2014/main" id="{7734FE5E-C995-4825-AFE5-B207F83C24F0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9" name="Freeform 1430">
            <a:extLst>
              <a:ext uri="{FF2B5EF4-FFF2-40B4-BE49-F238E27FC236}">
                <a16:creationId xmlns:a16="http://schemas.microsoft.com/office/drawing/2014/main" id="{09C976A6-668E-4D08-9EEA-414B226DFE5A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0" name="Freeform 1431">
            <a:extLst>
              <a:ext uri="{FF2B5EF4-FFF2-40B4-BE49-F238E27FC236}">
                <a16:creationId xmlns:a16="http://schemas.microsoft.com/office/drawing/2014/main" id="{51DF16A8-3ED0-41EF-BF7F-E2ED45A2C895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6" y="154"/>
                </a:lnTo>
                <a:lnTo>
                  <a:pt x="76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1" name="Freeform 1432">
            <a:extLst>
              <a:ext uri="{FF2B5EF4-FFF2-40B4-BE49-F238E27FC236}">
                <a16:creationId xmlns:a16="http://schemas.microsoft.com/office/drawing/2014/main" id="{028D8329-EC56-46C0-8EDF-EA0DFEA17692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2" name="Freeform 1433">
            <a:extLst>
              <a:ext uri="{FF2B5EF4-FFF2-40B4-BE49-F238E27FC236}">
                <a16:creationId xmlns:a16="http://schemas.microsoft.com/office/drawing/2014/main" id="{AA485EF4-28DD-4F1B-9810-314C5A085873}"/>
              </a:ext>
            </a:extLst>
          </p:cNvPr>
          <p:cNvSpPr>
            <a:spLocks/>
          </p:cNvSpPr>
          <p:nvPr userDrawn="1"/>
        </p:nvSpPr>
        <p:spPr bwMode="auto">
          <a:xfrm>
            <a:off x="4630103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3" name="Freeform 1434">
            <a:extLst>
              <a:ext uri="{FF2B5EF4-FFF2-40B4-BE49-F238E27FC236}">
                <a16:creationId xmlns:a16="http://schemas.microsoft.com/office/drawing/2014/main" id="{2A085D5B-259C-429C-829E-7C559959911F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4" name="Freeform 1435">
            <a:extLst>
              <a:ext uri="{FF2B5EF4-FFF2-40B4-BE49-F238E27FC236}">
                <a16:creationId xmlns:a16="http://schemas.microsoft.com/office/drawing/2014/main" id="{C4505748-B637-4ABC-87B4-0B764ED57F29}"/>
              </a:ext>
            </a:extLst>
          </p:cNvPr>
          <p:cNvSpPr>
            <a:spLocks/>
          </p:cNvSpPr>
          <p:nvPr userDrawn="1"/>
        </p:nvSpPr>
        <p:spPr bwMode="auto">
          <a:xfrm>
            <a:off x="4676291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5" name="Freeform 1436">
            <a:extLst>
              <a:ext uri="{FF2B5EF4-FFF2-40B4-BE49-F238E27FC236}">
                <a16:creationId xmlns:a16="http://schemas.microsoft.com/office/drawing/2014/main" id="{19AF20DE-7396-4867-BF20-FB7C5302409F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6" name="Freeform 1437">
            <a:extLst>
              <a:ext uri="{FF2B5EF4-FFF2-40B4-BE49-F238E27FC236}">
                <a16:creationId xmlns:a16="http://schemas.microsoft.com/office/drawing/2014/main" id="{ED8602D4-2936-4B11-A6D8-881353B9FFDB}"/>
              </a:ext>
            </a:extLst>
          </p:cNvPr>
          <p:cNvSpPr>
            <a:spLocks/>
          </p:cNvSpPr>
          <p:nvPr userDrawn="1"/>
        </p:nvSpPr>
        <p:spPr bwMode="auto">
          <a:xfrm>
            <a:off x="4400210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7" name="Freeform 1438">
            <a:extLst>
              <a:ext uri="{FF2B5EF4-FFF2-40B4-BE49-F238E27FC236}">
                <a16:creationId xmlns:a16="http://schemas.microsoft.com/office/drawing/2014/main" id="{2BAA2D70-ABD2-4E7C-ADF6-1944F44DC992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8" name="Freeform 1439">
            <a:extLst>
              <a:ext uri="{FF2B5EF4-FFF2-40B4-BE49-F238E27FC236}">
                <a16:creationId xmlns:a16="http://schemas.microsoft.com/office/drawing/2014/main" id="{89F957E9-DDDD-4B0F-9B9A-ABF6B35B9632}"/>
              </a:ext>
            </a:extLst>
          </p:cNvPr>
          <p:cNvSpPr>
            <a:spLocks/>
          </p:cNvSpPr>
          <p:nvPr userDrawn="1"/>
        </p:nvSpPr>
        <p:spPr bwMode="auto">
          <a:xfrm>
            <a:off x="4445349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9" name="Freeform 1440">
            <a:extLst>
              <a:ext uri="{FF2B5EF4-FFF2-40B4-BE49-F238E27FC236}">
                <a16:creationId xmlns:a16="http://schemas.microsoft.com/office/drawing/2014/main" id="{E509C74E-E319-4601-8CCF-7079B02B2B83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0" name="Freeform 1441">
            <a:extLst>
              <a:ext uri="{FF2B5EF4-FFF2-40B4-BE49-F238E27FC236}">
                <a16:creationId xmlns:a16="http://schemas.microsoft.com/office/drawing/2014/main" id="{DCD7D8F0-9474-454F-8D8C-E1B78835F922}"/>
              </a:ext>
            </a:extLst>
          </p:cNvPr>
          <p:cNvSpPr>
            <a:spLocks/>
          </p:cNvSpPr>
          <p:nvPr userDrawn="1"/>
        </p:nvSpPr>
        <p:spPr bwMode="auto">
          <a:xfrm>
            <a:off x="4491538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1" name="Freeform 1442">
            <a:extLst>
              <a:ext uri="{FF2B5EF4-FFF2-40B4-BE49-F238E27FC236}">
                <a16:creationId xmlns:a16="http://schemas.microsoft.com/office/drawing/2014/main" id="{5E786C23-CAA3-4DDA-A09D-7B2302F1F6D4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2" name="Freeform 1443">
            <a:extLst>
              <a:ext uri="{FF2B5EF4-FFF2-40B4-BE49-F238E27FC236}">
                <a16:creationId xmlns:a16="http://schemas.microsoft.com/office/drawing/2014/main" id="{CF4206DD-4170-4EF3-B2EC-A3DEDB3BEF03}"/>
              </a:ext>
            </a:extLst>
          </p:cNvPr>
          <p:cNvSpPr>
            <a:spLocks/>
          </p:cNvSpPr>
          <p:nvPr userDrawn="1"/>
        </p:nvSpPr>
        <p:spPr bwMode="auto">
          <a:xfrm>
            <a:off x="4538776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3" name="Freeform 1444">
            <a:extLst>
              <a:ext uri="{FF2B5EF4-FFF2-40B4-BE49-F238E27FC236}">
                <a16:creationId xmlns:a16="http://schemas.microsoft.com/office/drawing/2014/main" id="{CAE2D100-6DC7-4FC3-8FD6-AF04FEA19292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4" name="Freeform 1445">
            <a:extLst>
              <a:ext uri="{FF2B5EF4-FFF2-40B4-BE49-F238E27FC236}">
                <a16:creationId xmlns:a16="http://schemas.microsoft.com/office/drawing/2014/main" id="{E9F1C2D5-87A9-454F-AC11-AD4FF2332984}"/>
              </a:ext>
            </a:extLst>
          </p:cNvPr>
          <p:cNvSpPr>
            <a:spLocks/>
          </p:cNvSpPr>
          <p:nvPr userDrawn="1"/>
        </p:nvSpPr>
        <p:spPr bwMode="auto">
          <a:xfrm>
            <a:off x="4584964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5" name="Freeform 1446">
            <a:extLst>
              <a:ext uri="{FF2B5EF4-FFF2-40B4-BE49-F238E27FC236}">
                <a16:creationId xmlns:a16="http://schemas.microsoft.com/office/drawing/2014/main" id="{D40F3451-D646-4D74-9DFA-5A8D1937B27D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6" name="Freeform 1447">
            <a:extLst>
              <a:ext uri="{FF2B5EF4-FFF2-40B4-BE49-F238E27FC236}">
                <a16:creationId xmlns:a16="http://schemas.microsoft.com/office/drawing/2014/main" id="{3C032FC8-9578-4EE1-A540-3EB81012CA6A}"/>
              </a:ext>
            </a:extLst>
          </p:cNvPr>
          <p:cNvSpPr>
            <a:spLocks/>
          </p:cNvSpPr>
          <p:nvPr userDrawn="1"/>
        </p:nvSpPr>
        <p:spPr bwMode="auto">
          <a:xfrm>
            <a:off x="4259545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7" name="Freeform 1448">
            <a:extLst>
              <a:ext uri="{FF2B5EF4-FFF2-40B4-BE49-F238E27FC236}">
                <a16:creationId xmlns:a16="http://schemas.microsoft.com/office/drawing/2014/main" id="{EDF5CDDF-781F-492D-BE09-3DDC12C50C3A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69575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8" name="Freeform 1449">
            <a:extLst>
              <a:ext uri="{FF2B5EF4-FFF2-40B4-BE49-F238E27FC236}">
                <a16:creationId xmlns:a16="http://schemas.microsoft.com/office/drawing/2014/main" id="{CBE09EB2-05F0-48EC-8256-C05783D70A5B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9" name="Freeform 1450">
            <a:extLst>
              <a:ext uri="{FF2B5EF4-FFF2-40B4-BE49-F238E27FC236}">
                <a16:creationId xmlns:a16="http://schemas.microsoft.com/office/drawing/2014/main" id="{17F945A4-EA74-41EE-BBDD-13CA428890DF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7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0" name="Freeform 1451">
            <a:extLst>
              <a:ext uri="{FF2B5EF4-FFF2-40B4-BE49-F238E27FC236}">
                <a16:creationId xmlns:a16="http://schemas.microsoft.com/office/drawing/2014/main" id="{5EB97C5D-9EAE-400F-BFA1-4DB91D4E7541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1" name="Freeform 1452">
            <a:extLst>
              <a:ext uri="{FF2B5EF4-FFF2-40B4-BE49-F238E27FC236}">
                <a16:creationId xmlns:a16="http://schemas.microsoft.com/office/drawing/2014/main" id="{352C1003-3CDE-4F91-93E2-6D0832BFC659}"/>
              </a:ext>
            </a:extLst>
          </p:cNvPr>
          <p:cNvSpPr>
            <a:spLocks/>
          </p:cNvSpPr>
          <p:nvPr userDrawn="1"/>
        </p:nvSpPr>
        <p:spPr bwMode="auto">
          <a:xfrm>
            <a:off x="4215457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2" name="Freeform 1453">
            <a:extLst>
              <a:ext uri="{FF2B5EF4-FFF2-40B4-BE49-F238E27FC236}">
                <a16:creationId xmlns:a16="http://schemas.microsoft.com/office/drawing/2014/main" id="{E9ED7154-FE86-4BC2-ACA9-77D6C79F7518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3" name="Freeform 1454">
            <a:extLst>
              <a:ext uri="{FF2B5EF4-FFF2-40B4-BE49-F238E27FC236}">
                <a16:creationId xmlns:a16="http://schemas.microsoft.com/office/drawing/2014/main" id="{20248FC6-43BD-4350-B623-441A26FAF90A}"/>
              </a:ext>
            </a:extLst>
          </p:cNvPr>
          <p:cNvSpPr>
            <a:spLocks/>
          </p:cNvSpPr>
          <p:nvPr userDrawn="1"/>
        </p:nvSpPr>
        <p:spPr bwMode="auto">
          <a:xfrm>
            <a:off x="4305734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4" name="Freeform 1455">
            <a:extLst>
              <a:ext uri="{FF2B5EF4-FFF2-40B4-BE49-F238E27FC236}">
                <a16:creationId xmlns:a16="http://schemas.microsoft.com/office/drawing/2014/main" id="{369E15EE-5371-4152-843F-27CF4B2C54E7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5" name="Freeform 1456">
            <a:extLst>
              <a:ext uri="{FF2B5EF4-FFF2-40B4-BE49-F238E27FC236}">
                <a16:creationId xmlns:a16="http://schemas.microsoft.com/office/drawing/2014/main" id="{159F7F77-A490-433C-8E15-00CC6324459B}"/>
              </a:ext>
            </a:extLst>
          </p:cNvPr>
          <p:cNvSpPr>
            <a:spLocks/>
          </p:cNvSpPr>
          <p:nvPr userDrawn="1"/>
        </p:nvSpPr>
        <p:spPr bwMode="auto">
          <a:xfrm>
            <a:off x="4351922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6" name="Freeform 1457">
            <a:extLst>
              <a:ext uri="{FF2B5EF4-FFF2-40B4-BE49-F238E27FC236}">
                <a16:creationId xmlns:a16="http://schemas.microsoft.com/office/drawing/2014/main" id="{AA4BBA53-6230-4282-842D-1D4BBB61F38B}"/>
              </a:ext>
            </a:extLst>
          </p:cNvPr>
          <p:cNvSpPr>
            <a:spLocks/>
          </p:cNvSpPr>
          <p:nvPr userDrawn="1"/>
        </p:nvSpPr>
        <p:spPr bwMode="auto">
          <a:xfrm>
            <a:off x="4815907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7" name="Freeform 1458">
            <a:extLst>
              <a:ext uri="{FF2B5EF4-FFF2-40B4-BE49-F238E27FC236}">
                <a16:creationId xmlns:a16="http://schemas.microsoft.com/office/drawing/2014/main" id="{8A6269CE-FDEF-4C1B-B3D5-04052862A2C7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19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8" name="Freeform 1459">
            <a:extLst>
              <a:ext uri="{FF2B5EF4-FFF2-40B4-BE49-F238E27FC236}">
                <a16:creationId xmlns:a16="http://schemas.microsoft.com/office/drawing/2014/main" id="{7F49C51E-8F55-4256-93EC-0AE264413312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9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9" name="Freeform 1460">
            <a:extLst>
              <a:ext uri="{FF2B5EF4-FFF2-40B4-BE49-F238E27FC236}">
                <a16:creationId xmlns:a16="http://schemas.microsoft.com/office/drawing/2014/main" id="{76331297-59AC-4E57-983F-04394B529A1B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8 w 153"/>
              <a:gd name="T5" fmla="*/ 107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7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0" name="Freeform 1461">
            <a:extLst>
              <a:ext uri="{FF2B5EF4-FFF2-40B4-BE49-F238E27FC236}">
                <a16:creationId xmlns:a16="http://schemas.microsoft.com/office/drawing/2014/main" id="{4A04676A-EDBA-4B06-B5AF-E2604308586D}"/>
              </a:ext>
            </a:extLst>
          </p:cNvPr>
          <p:cNvSpPr>
            <a:spLocks/>
          </p:cNvSpPr>
          <p:nvPr userDrawn="1"/>
        </p:nvSpPr>
        <p:spPr bwMode="auto">
          <a:xfrm>
            <a:off x="5000660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1" name="Freeform 1462">
            <a:extLst>
              <a:ext uri="{FF2B5EF4-FFF2-40B4-BE49-F238E27FC236}">
                <a16:creationId xmlns:a16="http://schemas.microsoft.com/office/drawing/2014/main" id="{F1F58EC6-4F17-46AE-8B49-F16F731972E3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2" name="Freeform 1463">
            <a:extLst>
              <a:ext uri="{FF2B5EF4-FFF2-40B4-BE49-F238E27FC236}">
                <a16:creationId xmlns:a16="http://schemas.microsoft.com/office/drawing/2014/main" id="{98F83BA1-2EFF-4CB1-8EFF-6AF4514046FD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3" name="Freeform 1464">
            <a:extLst>
              <a:ext uri="{FF2B5EF4-FFF2-40B4-BE49-F238E27FC236}">
                <a16:creationId xmlns:a16="http://schemas.microsoft.com/office/drawing/2014/main" id="{4318A106-A025-4CCE-B555-BDC077B0D3F5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4" name="Freeform 1465">
            <a:extLst>
              <a:ext uri="{FF2B5EF4-FFF2-40B4-BE49-F238E27FC236}">
                <a16:creationId xmlns:a16="http://schemas.microsoft.com/office/drawing/2014/main" id="{8CF8E6A4-9219-41A1-974E-A7B820DBEB09}"/>
              </a:ext>
            </a:extLst>
          </p:cNvPr>
          <p:cNvSpPr>
            <a:spLocks/>
          </p:cNvSpPr>
          <p:nvPr userDrawn="1"/>
        </p:nvSpPr>
        <p:spPr bwMode="auto">
          <a:xfrm>
            <a:off x="4815907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5" name="Freeform 1466">
            <a:extLst>
              <a:ext uri="{FF2B5EF4-FFF2-40B4-BE49-F238E27FC236}">
                <a16:creationId xmlns:a16="http://schemas.microsoft.com/office/drawing/2014/main" id="{56498E44-17DD-40FD-A270-6F543630C746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6" name="Freeform 1467">
            <a:extLst>
              <a:ext uri="{FF2B5EF4-FFF2-40B4-BE49-F238E27FC236}">
                <a16:creationId xmlns:a16="http://schemas.microsoft.com/office/drawing/2014/main" id="{2DC685D4-3F0C-45B2-A2CA-FC2DDEBFD33F}"/>
              </a:ext>
            </a:extLst>
          </p:cNvPr>
          <p:cNvSpPr>
            <a:spLocks/>
          </p:cNvSpPr>
          <p:nvPr userDrawn="1"/>
        </p:nvSpPr>
        <p:spPr bwMode="auto">
          <a:xfrm>
            <a:off x="4724580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7" name="Freeform 1468">
            <a:extLst>
              <a:ext uri="{FF2B5EF4-FFF2-40B4-BE49-F238E27FC236}">
                <a16:creationId xmlns:a16="http://schemas.microsoft.com/office/drawing/2014/main" id="{F1F5CE4E-F5B5-46E7-9B9D-06813B2E46AB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8" name="Freeform 1469">
            <a:extLst>
              <a:ext uri="{FF2B5EF4-FFF2-40B4-BE49-F238E27FC236}">
                <a16:creationId xmlns:a16="http://schemas.microsoft.com/office/drawing/2014/main" id="{3A6DD8E2-8271-4B48-8A22-00A91D83E45E}"/>
              </a:ext>
            </a:extLst>
          </p:cNvPr>
          <p:cNvSpPr>
            <a:spLocks/>
          </p:cNvSpPr>
          <p:nvPr userDrawn="1"/>
        </p:nvSpPr>
        <p:spPr bwMode="auto">
          <a:xfrm>
            <a:off x="4815907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9" name="Freeform 1470">
            <a:extLst>
              <a:ext uri="{FF2B5EF4-FFF2-40B4-BE49-F238E27FC236}">
                <a16:creationId xmlns:a16="http://schemas.microsoft.com/office/drawing/2014/main" id="{C1ECB27D-8F42-4E71-A0E4-D60F08DAE22B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19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0" name="Freeform 1471">
            <a:extLst>
              <a:ext uri="{FF2B5EF4-FFF2-40B4-BE49-F238E27FC236}">
                <a16:creationId xmlns:a16="http://schemas.microsoft.com/office/drawing/2014/main" id="{FC5C8807-59A9-4F18-AAF6-B8999D557797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9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1" name="Freeform 1472">
            <a:extLst>
              <a:ext uri="{FF2B5EF4-FFF2-40B4-BE49-F238E27FC236}">
                <a16:creationId xmlns:a16="http://schemas.microsoft.com/office/drawing/2014/main" id="{54B21D76-3CF8-43C3-B1FC-B1DF41793C57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8 w 153"/>
              <a:gd name="T5" fmla="*/ 107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7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2" name="Freeform 1473">
            <a:extLst>
              <a:ext uri="{FF2B5EF4-FFF2-40B4-BE49-F238E27FC236}">
                <a16:creationId xmlns:a16="http://schemas.microsoft.com/office/drawing/2014/main" id="{7EEA53A8-B5BF-42DB-B321-B9B9B2193657}"/>
              </a:ext>
            </a:extLst>
          </p:cNvPr>
          <p:cNvSpPr>
            <a:spLocks/>
          </p:cNvSpPr>
          <p:nvPr userDrawn="1"/>
        </p:nvSpPr>
        <p:spPr bwMode="auto">
          <a:xfrm>
            <a:off x="5000660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3" name="Freeform 1474">
            <a:extLst>
              <a:ext uri="{FF2B5EF4-FFF2-40B4-BE49-F238E27FC236}">
                <a16:creationId xmlns:a16="http://schemas.microsoft.com/office/drawing/2014/main" id="{D357ACD9-C153-47A0-9EBA-9D813FACC433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4" name="Freeform 1475">
            <a:extLst>
              <a:ext uri="{FF2B5EF4-FFF2-40B4-BE49-F238E27FC236}">
                <a16:creationId xmlns:a16="http://schemas.microsoft.com/office/drawing/2014/main" id="{AA608673-DFF6-4C0A-AEB2-6572960F65E6}"/>
              </a:ext>
            </a:extLst>
          </p:cNvPr>
          <p:cNvSpPr>
            <a:spLocks/>
          </p:cNvSpPr>
          <p:nvPr userDrawn="1"/>
        </p:nvSpPr>
        <p:spPr bwMode="auto">
          <a:xfrm>
            <a:off x="4724580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5" name="Freeform 1476">
            <a:extLst>
              <a:ext uri="{FF2B5EF4-FFF2-40B4-BE49-F238E27FC236}">
                <a16:creationId xmlns:a16="http://schemas.microsoft.com/office/drawing/2014/main" id="{A49081E0-574E-49BB-85F8-EEEBCC3A1815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6" name="Freeform 1477">
            <a:extLst>
              <a:ext uri="{FF2B5EF4-FFF2-40B4-BE49-F238E27FC236}">
                <a16:creationId xmlns:a16="http://schemas.microsoft.com/office/drawing/2014/main" id="{B4294EA8-C4E8-436D-992E-CB3F485006AD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7" name="Freeform 1478">
            <a:extLst>
              <a:ext uri="{FF2B5EF4-FFF2-40B4-BE49-F238E27FC236}">
                <a16:creationId xmlns:a16="http://schemas.microsoft.com/office/drawing/2014/main" id="{45C53ED7-A3D8-4022-9FE8-10A883B260A8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19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8" name="Freeform 1479">
            <a:extLst>
              <a:ext uri="{FF2B5EF4-FFF2-40B4-BE49-F238E27FC236}">
                <a16:creationId xmlns:a16="http://schemas.microsoft.com/office/drawing/2014/main" id="{F4B40E0A-6A28-41B8-ABE3-6A7D22EF9B53}"/>
              </a:ext>
            </a:extLst>
          </p:cNvPr>
          <p:cNvSpPr>
            <a:spLocks/>
          </p:cNvSpPr>
          <p:nvPr userDrawn="1"/>
        </p:nvSpPr>
        <p:spPr bwMode="auto">
          <a:xfrm>
            <a:off x="5000660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9" name="Freeform 1480">
            <a:extLst>
              <a:ext uri="{FF2B5EF4-FFF2-40B4-BE49-F238E27FC236}">
                <a16:creationId xmlns:a16="http://schemas.microsoft.com/office/drawing/2014/main" id="{EBA027DB-03A6-4877-8515-CE757E0A36C7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0" name="Freeform 1481">
            <a:extLst>
              <a:ext uri="{FF2B5EF4-FFF2-40B4-BE49-F238E27FC236}">
                <a16:creationId xmlns:a16="http://schemas.microsoft.com/office/drawing/2014/main" id="{F6CBF484-860B-4218-A827-4F57176FEB5D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1" name="Freeform 1482">
            <a:extLst>
              <a:ext uri="{FF2B5EF4-FFF2-40B4-BE49-F238E27FC236}">
                <a16:creationId xmlns:a16="http://schemas.microsoft.com/office/drawing/2014/main" id="{525C30DF-4D2C-4D9F-BE9D-2DF5A4CF740A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2" name="Freeform 1483">
            <a:extLst>
              <a:ext uri="{FF2B5EF4-FFF2-40B4-BE49-F238E27FC236}">
                <a16:creationId xmlns:a16="http://schemas.microsoft.com/office/drawing/2014/main" id="{5B41F955-DFFD-4545-B8A0-EE50E278FD51}"/>
              </a:ext>
            </a:extLst>
          </p:cNvPr>
          <p:cNvSpPr>
            <a:spLocks/>
          </p:cNvSpPr>
          <p:nvPr userDrawn="1"/>
        </p:nvSpPr>
        <p:spPr bwMode="auto">
          <a:xfrm>
            <a:off x="4815907" y="46271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3" name="Freeform 1484">
            <a:extLst>
              <a:ext uri="{FF2B5EF4-FFF2-40B4-BE49-F238E27FC236}">
                <a16:creationId xmlns:a16="http://schemas.microsoft.com/office/drawing/2014/main" id="{2CE83963-BD9A-4E1E-84E3-A3D48BE1289D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19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4" name="Freeform 1485">
            <a:extLst>
              <a:ext uri="{FF2B5EF4-FFF2-40B4-BE49-F238E27FC236}">
                <a16:creationId xmlns:a16="http://schemas.microsoft.com/office/drawing/2014/main" id="{E98403B7-78C5-403F-8DD2-76DD9F950C89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5" name="Freeform 1486">
            <a:extLst>
              <a:ext uri="{FF2B5EF4-FFF2-40B4-BE49-F238E27FC236}">
                <a16:creationId xmlns:a16="http://schemas.microsoft.com/office/drawing/2014/main" id="{E2AC5958-4011-4DA3-9BEB-AF5A066037E5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46271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6" name="Freeform 1487">
            <a:extLst>
              <a:ext uri="{FF2B5EF4-FFF2-40B4-BE49-F238E27FC236}">
                <a16:creationId xmlns:a16="http://schemas.microsoft.com/office/drawing/2014/main" id="{44AEC72C-9837-40B8-AD71-F7BEC3198FC0}"/>
              </a:ext>
            </a:extLst>
          </p:cNvPr>
          <p:cNvSpPr>
            <a:spLocks/>
          </p:cNvSpPr>
          <p:nvPr userDrawn="1"/>
        </p:nvSpPr>
        <p:spPr bwMode="auto">
          <a:xfrm>
            <a:off x="5000660" y="46271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7" name="Freeform 1488">
            <a:extLst>
              <a:ext uri="{FF2B5EF4-FFF2-40B4-BE49-F238E27FC236}">
                <a16:creationId xmlns:a16="http://schemas.microsoft.com/office/drawing/2014/main" id="{A36471BA-F420-4288-9B7E-0D8BFFBA7DBB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8" name="Freeform 1489">
            <a:extLst>
              <a:ext uri="{FF2B5EF4-FFF2-40B4-BE49-F238E27FC236}">
                <a16:creationId xmlns:a16="http://schemas.microsoft.com/office/drawing/2014/main" id="{89573DC8-B47D-445A-A0E3-2614591E628B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9" name="Freeform 1490">
            <a:extLst>
              <a:ext uri="{FF2B5EF4-FFF2-40B4-BE49-F238E27FC236}">
                <a16:creationId xmlns:a16="http://schemas.microsoft.com/office/drawing/2014/main" id="{5BFBEF95-0B10-4107-8760-873F88F1A923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46271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0" name="Freeform 1491">
            <a:extLst>
              <a:ext uri="{FF2B5EF4-FFF2-40B4-BE49-F238E27FC236}">
                <a16:creationId xmlns:a16="http://schemas.microsoft.com/office/drawing/2014/main" id="{BA6B8A4E-03D7-4DA3-BEC7-7B3DAF4E78DA}"/>
              </a:ext>
            </a:extLst>
          </p:cNvPr>
          <p:cNvSpPr>
            <a:spLocks/>
          </p:cNvSpPr>
          <p:nvPr userDrawn="1"/>
        </p:nvSpPr>
        <p:spPr bwMode="auto">
          <a:xfrm>
            <a:off x="4815907" y="41862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1" name="Freeform 1492">
            <a:extLst>
              <a:ext uri="{FF2B5EF4-FFF2-40B4-BE49-F238E27FC236}">
                <a16:creationId xmlns:a16="http://schemas.microsoft.com/office/drawing/2014/main" id="{CBD2474A-285C-4CD3-9BE5-75359E7EEEBC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41862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2" name="Freeform 1493">
            <a:extLst>
              <a:ext uri="{FF2B5EF4-FFF2-40B4-BE49-F238E27FC236}">
                <a16:creationId xmlns:a16="http://schemas.microsoft.com/office/drawing/2014/main" id="{225EFA95-5B9A-4B2D-B0C0-191CBF496C6F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41862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3" name="Freeform 1494">
            <a:extLst>
              <a:ext uri="{FF2B5EF4-FFF2-40B4-BE49-F238E27FC236}">
                <a16:creationId xmlns:a16="http://schemas.microsoft.com/office/drawing/2014/main" id="{844D8993-94ED-4721-A917-30B15D872919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41862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4" name="Freeform 1495">
            <a:extLst>
              <a:ext uri="{FF2B5EF4-FFF2-40B4-BE49-F238E27FC236}">
                <a16:creationId xmlns:a16="http://schemas.microsoft.com/office/drawing/2014/main" id="{CFB9F39F-2A76-4960-8790-3113A5CEED05}"/>
              </a:ext>
            </a:extLst>
          </p:cNvPr>
          <p:cNvSpPr>
            <a:spLocks/>
          </p:cNvSpPr>
          <p:nvPr userDrawn="1"/>
        </p:nvSpPr>
        <p:spPr bwMode="auto">
          <a:xfrm>
            <a:off x="5000660" y="41862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5" name="Freeform 1496">
            <a:extLst>
              <a:ext uri="{FF2B5EF4-FFF2-40B4-BE49-F238E27FC236}">
                <a16:creationId xmlns:a16="http://schemas.microsoft.com/office/drawing/2014/main" id="{28BF87AE-6CC4-4710-9A48-DE70A468C25F}"/>
              </a:ext>
            </a:extLst>
          </p:cNvPr>
          <p:cNvSpPr>
            <a:spLocks/>
          </p:cNvSpPr>
          <p:nvPr userDrawn="1"/>
        </p:nvSpPr>
        <p:spPr bwMode="auto">
          <a:xfrm>
            <a:off x="4724580" y="46271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6" name="Freeform 1497">
            <a:extLst>
              <a:ext uri="{FF2B5EF4-FFF2-40B4-BE49-F238E27FC236}">
                <a16:creationId xmlns:a16="http://schemas.microsoft.com/office/drawing/2014/main" id="{146A7380-B4EC-4EB7-BCA3-3433B76F566D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7" name="Freeform 1498">
            <a:extLst>
              <a:ext uri="{FF2B5EF4-FFF2-40B4-BE49-F238E27FC236}">
                <a16:creationId xmlns:a16="http://schemas.microsoft.com/office/drawing/2014/main" id="{8933FCCE-6DC5-42D8-8BD2-4E82E4A81BA7}"/>
              </a:ext>
            </a:extLst>
          </p:cNvPr>
          <p:cNvSpPr>
            <a:spLocks/>
          </p:cNvSpPr>
          <p:nvPr userDrawn="1"/>
        </p:nvSpPr>
        <p:spPr bwMode="auto">
          <a:xfrm>
            <a:off x="4724580" y="41862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8" name="Freeform 1499">
            <a:extLst>
              <a:ext uri="{FF2B5EF4-FFF2-40B4-BE49-F238E27FC236}">
                <a16:creationId xmlns:a16="http://schemas.microsoft.com/office/drawing/2014/main" id="{D03FC522-55B6-4E27-85C6-CBD8250BE79F}"/>
              </a:ext>
            </a:extLst>
          </p:cNvPr>
          <p:cNvSpPr>
            <a:spLocks/>
          </p:cNvSpPr>
          <p:nvPr userDrawn="1"/>
        </p:nvSpPr>
        <p:spPr bwMode="auto">
          <a:xfrm>
            <a:off x="4769718" y="41862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9" name="Freeform 1500">
            <a:extLst>
              <a:ext uri="{FF2B5EF4-FFF2-40B4-BE49-F238E27FC236}">
                <a16:creationId xmlns:a16="http://schemas.microsoft.com/office/drawing/2014/main" id="{0ADB89AB-F298-4E2D-81C1-2EBC25943DEC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8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0" name="Freeform 1501">
            <a:extLst>
              <a:ext uri="{FF2B5EF4-FFF2-40B4-BE49-F238E27FC236}">
                <a16:creationId xmlns:a16="http://schemas.microsoft.com/office/drawing/2014/main" id="{04953DF2-F6F1-4356-AD21-FF27488CBE34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7419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8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0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1" name="Freeform 1502">
            <a:extLst>
              <a:ext uri="{FF2B5EF4-FFF2-40B4-BE49-F238E27FC236}">
                <a16:creationId xmlns:a16="http://schemas.microsoft.com/office/drawing/2014/main" id="{5C379370-7DA5-46C9-848D-032753BCE3F8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4 w 155"/>
              <a:gd name="T57" fmla="*/ 10 h 155"/>
              <a:gd name="T58" fmla="*/ 127 w 155"/>
              <a:gd name="T59" fmla="*/ 18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2" name="Freeform 1503">
            <a:extLst>
              <a:ext uri="{FF2B5EF4-FFF2-40B4-BE49-F238E27FC236}">
                <a16:creationId xmlns:a16="http://schemas.microsoft.com/office/drawing/2014/main" id="{EA57D7CF-680A-479E-AC42-13AD1F1373B4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7419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4 w 155"/>
              <a:gd name="T57" fmla="*/ 11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7"/>
                </a:lnTo>
                <a:lnTo>
                  <a:pt x="132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3" name="Freeform 1504">
            <a:extLst>
              <a:ext uri="{FF2B5EF4-FFF2-40B4-BE49-F238E27FC236}">
                <a16:creationId xmlns:a16="http://schemas.microsoft.com/office/drawing/2014/main" id="{D43F06FE-25D1-4CD2-8418-876E19698B99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69575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4" name="Freeform 1505">
            <a:extLst>
              <a:ext uri="{FF2B5EF4-FFF2-40B4-BE49-F238E27FC236}">
                <a16:creationId xmlns:a16="http://schemas.microsoft.com/office/drawing/2014/main" id="{CBC5EB8D-3783-47D7-86DE-F854066FBDD0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7419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5" name="Freeform 1506">
            <a:extLst>
              <a:ext uri="{FF2B5EF4-FFF2-40B4-BE49-F238E27FC236}">
                <a16:creationId xmlns:a16="http://schemas.microsoft.com/office/drawing/2014/main" id="{99E5C54A-3084-4D29-BB26-0FEE01712A5B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6" name="Freeform 1507">
            <a:extLst>
              <a:ext uri="{FF2B5EF4-FFF2-40B4-BE49-F238E27FC236}">
                <a16:creationId xmlns:a16="http://schemas.microsoft.com/office/drawing/2014/main" id="{87F4FE72-4659-4880-A9A0-D4B371D9A099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7" name="Freeform 1508">
            <a:extLst>
              <a:ext uri="{FF2B5EF4-FFF2-40B4-BE49-F238E27FC236}">
                <a16:creationId xmlns:a16="http://schemas.microsoft.com/office/drawing/2014/main" id="{CBA91F06-8972-4CEB-9543-5F2E964C0BD0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69575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7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8" name="Freeform 1509">
            <a:extLst>
              <a:ext uri="{FF2B5EF4-FFF2-40B4-BE49-F238E27FC236}">
                <a16:creationId xmlns:a16="http://schemas.microsoft.com/office/drawing/2014/main" id="{93F37A45-0DDC-44DD-B749-2F3ED35D956E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7419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7 w 153"/>
              <a:gd name="T13" fmla="*/ 149 h 155"/>
              <a:gd name="T14" fmla="*/ 92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9" name="Freeform 1510">
            <a:extLst>
              <a:ext uri="{FF2B5EF4-FFF2-40B4-BE49-F238E27FC236}">
                <a16:creationId xmlns:a16="http://schemas.microsoft.com/office/drawing/2014/main" id="{7102FDAD-ED60-4150-9645-09B4D10A9F8A}"/>
              </a:ext>
            </a:extLst>
          </p:cNvPr>
          <p:cNvSpPr>
            <a:spLocks/>
          </p:cNvSpPr>
          <p:nvPr userDrawn="1"/>
        </p:nvSpPr>
        <p:spPr bwMode="auto">
          <a:xfrm>
            <a:off x="5001710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10 h 155"/>
              <a:gd name="T58" fmla="*/ 126 w 155"/>
              <a:gd name="T59" fmla="*/ 18 h 155"/>
              <a:gd name="T60" fmla="*/ 136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3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0" name="Freeform 1511">
            <a:extLst>
              <a:ext uri="{FF2B5EF4-FFF2-40B4-BE49-F238E27FC236}">
                <a16:creationId xmlns:a16="http://schemas.microsoft.com/office/drawing/2014/main" id="{1C71AED3-F67C-4026-96AA-D0C7F1236F40}"/>
              </a:ext>
            </a:extLst>
          </p:cNvPr>
          <p:cNvSpPr>
            <a:spLocks/>
          </p:cNvSpPr>
          <p:nvPr userDrawn="1"/>
        </p:nvSpPr>
        <p:spPr bwMode="auto">
          <a:xfrm>
            <a:off x="5001710" y="7419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3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3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1" name="Freeform 1512">
            <a:extLst>
              <a:ext uri="{FF2B5EF4-FFF2-40B4-BE49-F238E27FC236}">
                <a16:creationId xmlns:a16="http://schemas.microsoft.com/office/drawing/2014/main" id="{7B483086-D60A-4339-9810-53AB17DA4B51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2" name="Freeform 1513">
            <a:extLst>
              <a:ext uri="{FF2B5EF4-FFF2-40B4-BE49-F238E27FC236}">
                <a16:creationId xmlns:a16="http://schemas.microsoft.com/office/drawing/2014/main" id="{2A4C0C99-4139-41B3-B955-3B3ACC2AF726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70 w 154"/>
              <a:gd name="T19" fmla="*/ 155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70" y="155"/>
                </a:lnTo>
                <a:lnTo>
                  <a:pt x="62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3" y="4"/>
                </a:lnTo>
                <a:lnTo>
                  <a:pt x="62" y="3"/>
                </a:lnTo>
                <a:lnTo>
                  <a:pt x="70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3" name="Freeform 1514">
            <a:extLst>
              <a:ext uri="{FF2B5EF4-FFF2-40B4-BE49-F238E27FC236}">
                <a16:creationId xmlns:a16="http://schemas.microsoft.com/office/drawing/2014/main" id="{0C2BA639-270B-4C45-A551-9B001B929302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7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9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8 w 155"/>
              <a:gd name="T59" fmla="*/ 18 h 155"/>
              <a:gd name="T60" fmla="*/ 138 w 155"/>
              <a:gd name="T61" fmla="*/ 28 h 155"/>
              <a:gd name="T62" fmla="*/ 146 w 155"/>
              <a:gd name="T63" fmla="*/ 40 h 155"/>
              <a:gd name="T64" fmla="*/ 152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2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8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9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9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8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4" name="Freeform 1515">
            <a:extLst>
              <a:ext uri="{FF2B5EF4-FFF2-40B4-BE49-F238E27FC236}">
                <a16:creationId xmlns:a16="http://schemas.microsoft.com/office/drawing/2014/main" id="{F19EDD14-4BD6-45D6-8FE0-D28B0C4A57AC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7419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9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1 h 155"/>
              <a:gd name="T58" fmla="*/ 128 w 155"/>
              <a:gd name="T59" fmla="*/ 19 h 155"/>
              <a:gd name="T60" fmla="*/ 138 w 155"/>
              <a:gd name="T61" fmla="*/ 29 h 155"/>
              <a:gd name="T62" fmla="*/ 146 w 155"/>
              <a:gd name="T63" fmla="*/ 42 h 155"/>
              <a:gd name="T64" fmla="*/ 152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2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1"/>
                </a:lnTo>
                <a:lnTo>
                  <a:pt x="138" y="127"/>
                </a:lnTo>
                <a:lnTo>
                  <a:pt x="132" y="132"/>
                </a:lnTo>
                <a:lnTo>
                  <a:pt x="128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9" y="149"/>
                </a:lnTo>
                <a:lnTo>
                  <a:pt x="42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11"/>
                </a:lnTo>
                <a:lnTo>
                  <a:pt x="49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8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2"/>
                </a:lnTo>
                <a:lnTo>
                  <a:pt x="149" y="48"/>
                </a:lnTo>
                <a:lnTo>
                  <a:pt x="152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5" name="Freeform 1516">
            <a:extLst>
              <a:ext uri="{FF2B5EF4-FFF2-40B4-BE49-F238E27FC236}">
                <a16:creationId xmlns:a16="http://schemas.microsoft.com/office/drawing/2014/main" id="{97C727DD-5E12-4442-9C0E-3CE8D47EA640}"/>
              </a:ext>
            </a:extLst>
          </p:cNvPr>
          <p:cNvSpPr>
            <a:spLocks/>
          </p:cNvSpPr>
          <p:nvPr userDrawn="1"/>
        </p:nvSpPr>
        <p:spPr bwMode="auto">
          <a:xfrm>
            <a:off x="4768668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6" name="Freeform 1517">
            <a:extLst>
              <a:ext uri="{FF2B5EF4-FFF2-40B4-BE49-F238E27FC236}">
                <a16:creationId xmlns:a16="http://schemas.microsoft.com/office/drawing/2014/main" id="{DD0D7891-3020-4B62-AFAB-B6AA2B00E8CA}"/>
              </a:ext>
            </a:extLst>
          </p:cNvPr>
          <p:cNvSpPr>
            <a:spLocks/>
          </p:cNvSpPr>
          <p:nvPr userDrawn="1"/>
        </p:nvSpPr>
        <p:spPr bwMode="auto">
          <a:xfrm>
            <a:off x="4768668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7" name="Freeform 1518">
            <a:extLst>
              <a:ext uri="{FF2B5EF4-FFF2-40B4-BE49-F238E27FC236}">
                <a16:creationId xmlns:a16="http://schemas.microsoft.com/office/drawing/2014/main" id="{B35080D4-60A1-484E-A894-DB50AAD38C85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8" name="Freeform 1519">
            <a:extLst>
              <a:ext uri="{FF2B5EF4-FFF2-40B4-BE49-F238E27FC236}">
                <a16:creationId xmlns:a16="http://schemas.microsoft.com/office/drawing/2014/main" id="{6E037CD0-1803-42EB-9DD7-AC58BEB4EE63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7419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9" name="Freeform 1520">
            <a:extLst>
              <a:ext uri="{FF2B5EF4-FFF2-40B4-BE49-F238E27FC236}">
                <a16:creationId xmlns:a16="http://schemas.microsoft.com/office/drawing/2014/main" id="{614EFDE6-AC77-4BCD-B888-CAD75BBFEE97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1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8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0" name="Freeform 1521">
            <a:extLst>
              <a:ext uri="{FF2B5EF4-FFF2-40B4-BE49-F238E27FC236}">
                <a16:creationId xmlns:a16="http://schemas.microsoft.com/office/drawing/2014/main" id="{20EEC14D-A2B2-4A7A-AB35-84B162018E6B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4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1" name="Freeform 1522">
            <a:extLst>
              <a:ext uri="{FF2B5EF4-FFF2-40B4-BE49-F238E27FC236}">
                <a16:creationId xmlns:a16="http://schemas.microsoft.com/office/drawing/2014/main" id="{4B5085E6-DC33-45A6-BA36-F3CA88104629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2" name="Freeform 1523">
            <a:extLst>
              <a:ext uri="{FF2B5EF4-FFF2-40B4-BE49-F238E27FC236}">
                <a16:creationId xmlns:a16="http://schemas.microsoft.com/office/drawing/2014/main" id="{BB467E0F-7BA5-4C5F-BD56-D19EA8B515F8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3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4 w 155"/>
              <a:gd name="T57" fmla="*/ 9 h 154"/>
              <a:gd name="T58" fmla="*/ 127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3" name="Freeform 1524">
            <a:extLst>
              <a:ext uri="{FF2B5EF4-FFF2-40B4-BE49-F238E27FC236}">
                <a16:creationId xmlns:a16="http://schemas.microsoft.com/office/drawing/2014/main" id="{F41BE500-B152-428C-AA13-D84388AF08F5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4" name="Freeform 1525">
            <a:extLst>
              <a:ext uri="{FF2B5EF4-FFF2-40B4-BE49-F238E27FC236}">
                <a16:creationId xmlns:a16="http://schemas.microsoft.com/office/drawing/2014/main" id="{33BE06F5-603A-4A69-A9B6-D6CCC1CB591E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5" name="Freeform 1526">
            <a:extLst>
              <a:ext uri="{FF2B5EF4-FFF2-40B4-BE49-F238E27FC236}">
                <a16:creationId xmlns:a16="http://schemas.microsoft.com/office/drawing/2014/main" id="{E0E95414-AE44-4074-A3EA-07BC7EEF3B3A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6" name="Freeform 1527">
            <a:extLst>
              <a:ext uri="{FF2B5EF4-FFF2-40B4-BE49-F238E27FC236}">
                <a16:creationId xmlns:a16="http://schemas.microsoft.com/office/drawing/2014/main" id="{43136C39-0A6A-4692-A378-1C05F33CC699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7" name="Freeform 1528">
            <a:extLst>
              <a:ext uri="{FF2B5EF4-FFF2-40B4-BE49-F238E27FC236}">
                <a16:creationId xmlns:a16="http://schemas.microsoft.com/office/drawing/2014/main" id="{05C8A3E5-3EF6-4FFB-8331-D5DF2FFBF20B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8" name="Freeform 1529">
            <a:extLst>
              <a:ext uri="{FF2B5EF4-FFF2-40B4-BE49-F238E27FC236}">
                <a16:creationId xmlns:a16="http://schemas.microsoft.com/office/drawing/2014/main" id="{C8658283-195B-4384-B2A2-1AD8A4D19488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7 w 153"/>
              <a:gd name="T13" fmla="*/ 147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9" name="Freeform 1530">
            <a:extLst>
              <a:ext uri="{FF2B5EF4-FFF2-40B4-BE49-F238E27FC236}">
                <a16:creationId xmlns:a16="http://schemas.microsoft.com/office/drawing/2014/main" id="{AD60D9FD-AECA-4511-96AF-1183A8B3D363}"/>
              </a:ext>
            </a:extLst>
          </p:cNvPr>
          <p:cNvSpPr>
            <a:spLocks/>
          </p:cNvSpPr>
          <p:nvPr userDrawn="1"/>
        </p:nvSpPr>
        <p:spPr bwMode="auto">
          <a:xfrm>
            <a:off x="5001710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0" name="Freeform 1531">
            <a:extLst>
              <a:ext uri="{FF2B5EF4-FFF2-40B4-BE49-F238E27FC236}">
                <a16:creationId xmlns:a16="http://schemas.microsoft.com/office/drawing/2014/main" id="{9817A6A4-29A0-4662-A79B-1152B0438447}"/>
              </a:ext>
            </a:extLst>
          </p:cNvPr>
          <p:cNvSpPr>
            <a:spLocks/>
          </p:cNvSpPr>
          <p:nvPr userDrawn="1"/>
        </p:nvSpPr>
        <p:spPr bwMode="auto">
          <a:xfrm>
            <a:off x="5001710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3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1" name="Freeform 1532">
            <a:extLst>
              <a:ext uri="{FF2B5EF4-FFF2-40B4-BE49-F238E27FC236}">
                <a16:creationId xmlns:a16="http://schemas.microsoft.com/office/drawing/2014/main" id="{B518AC0A-CA1C-4F35-8A0D-F2C5842F3217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2" name="Freeform 1533">
            <a:extLst>
              <a:ext uri="{FF2B5EF4-FFF2-40B4-BE49-F238E27FC236}">
                <a16:creationId xmlns:a16="http://schemas.microsoft.com/office/drawing/2014/main" id="{57204AE4-052A-4554-9817-52B066DA85E5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70 w 154"/>
              <a:gd name="T19" fmla="*/ 153 h 154"/>
              <a:gd name="T20" fmla="*/ 53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70" y="153"/>
                </a:lnTo>
                <a:lnTo>
                  <a:pt x="62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3" name="Freeform 1534">
            <a:extLst>
              <a:ext uri="{FF2B5EF4-FFF2-40B4-BE49-F238E27FC236}">
                <a16:creationId xmlns:a16="http://schemas.microsoft.com/office/drawing/2014/main" id="{878A57F5-78F5-45CA-B205-BCF773D48B7E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1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9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8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2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1"/>
                </a:lnTo>
                <a:lnTo>
                  <a:pt x="152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8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9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9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8" y="17"/>
                </a:lnTo>
                <a:lnTo>
                  <a:pt x="132" y="21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2" y="53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4" name="Freeform 1535">
            <a:extLst>
              <a:ext uri="{FF2B5EF4-FFF2-40B4-BE49-F238E27FC236}">
                <a16:creationId xmlns:a16="http://schemas.microsoft.com/office/drawing/2014/main" id="{67FC6718-1FD3-4DC8-BE02-EEA357473F26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9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8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2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2" y="99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8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9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9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8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2" y="53"/>
                </a:lnTo>
                <a:lnTo>
                  <a:pt x="154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5" name="Freeform 1536">
            <a:extLst>
              <a:ext uri="{FF2B5EF4-FFF2-40B4-BE49-F238E27FC236}">
                <a16:creationId xmlns:a16="http://schemas.microsoft.com/office/drawing/2014/main" id="{15830868-E9E1-4B90-8168-93B6DD8CC5FF}"/>
              </a:ext>
            </a:extLst>
          </p:cNvPr>
          <p:cNvSpPr>
            <a:spLocks/>
          </p:cNvSpPr>
          <p:nvPr userDrawn="1"/>
        </p:nvSpPr>
        <p:spPr bwMode="auto">
          <a:xfrm>
            <a:off x="4768668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6" name="Freeform 1537">
            <a:extLst>
              <a:ext uri="{FF2B5EF4-FFF2-40B4-BE49-F238E27FC236}">
                <a16:creationId xmlns:a16="http://schemas.microsoft.com/office/drawing/2014/main" id="{C6977D98-8CAA-4DEC-9722-061F53EC8F8A}"/>
              </a:ext>
            </a:extLst>
          </p:cNvPr>
          <p:cNvSpPr>
            <a:spLocks/>
          </p:cNvSpPr>
          <p:nvPr userDrawn="1"/>
        </p:nvSpPr>
        <p:spPr bwMode="auto">
          <a:xfrm>
            <a:off x="4768668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7" name="Freeform 1538">
            <a:extLst>
              <a:ext uri="{FF2B5EF4-FFF2-40B4-BE49-F238E27FC236}">
                <a16:creationId xmlns:a16="http://schemas.microsoft.com/office/drawing/2014/main" id="{F3D94D57-0946-4E85-AF17-3C63B70F3B1D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8" name="Freeform 1539">
            <a:extLst>
              <a:ext uri="{FF2B5EF4-FFF2-40B4-BE49-F238E27FC236}">
                <a16:creationId xmlns:a16="http://schemas.microsoft.com/office/drawing/2014/main" id="{0C4A3D96-CF2C-4B69-83E7-0CECD177A481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9" name="Freeform 1540">
            <a:extLst>
              <a:ext uri="{FF2B5EF4-FFF2-40B4-BE49-F238E27FC236}">
                <a16:creationId xmlns:a16="http://schemas.microsoft.com/office/drawing/2014/main" id="{265337C7-1507-4DCB-962B-B6A4978E610E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0" name="Freeform 1541">
            <a:extLst>
              <a:ext uri="{FF2B5EF4-FFF2-40B4-BE49-F238E27FC236}">
                <a16:creationId xmlns:a16="http://schemas.microsoft.com/office/drawing/2014/main" id="{B48C2729-52A6-4845-A1E5-61E6206E5B53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1" name="Freeform 1542">
            <a:extLst>
              <a:ext uri="{FF2B5EF4-FFF2-40B4-BE49-F238E27FC236}">
                <a16:creationId xmlns:a16="http://schemas.microsoft.com/office/drawing/2014/main" id="{C9A933BF-43EF-4C33-B8F1-815A6ED64F23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4 w 155"/>
              <a:gd name="T57" fmla="*/ 10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2" name="Freeform 1543">
            <a:extLst>
              <a:ext uri="{FF2B5EF4-FFF2-40B4-BE49-F238E27FC236}">
                <a16:creationId xmlns:a16="http://schemas.microsoft.com/office/drawing/2014/main" id="{48418B83-8098-42B9-8F21-4C2513861569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4 w 155"/>
              <a:gd name="T57" fmla="*/ 10 h 155"/>
              <a:gd name="T58" fmla="*/ 127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3" name="Freeform 1544">
            <a:extLst>
              <a:ext uri="{FF2B5EF4-FFF2-40B4-BE49-F238E27FC236}">
                <a16:creationId xmlns:a16="http://schemas.microsoft.com/office/drawing/2014/main" id="{89372F21-496C-46F3-A782-1012F47BF4FD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4" name="Freeform 1545">
            <a:extLst>
              <a:ext uri="{FF2B5EF4-FFF2-40B4-BE49-F238E27FC236}">
                <a16:creationId xmlns:a16="http://schemas.microsoft.com/office/drawing/2014/main" id="{C92A99DB-D38D-4ACD-B36A-B206BDF0C3C1}"/>
              </a:ext>
            </a:extLst>
          </p:cNvPr>
          <p:cNvSpPr>
            <a:spLocks/>
          </p:cNvSpPr>
          <p:nvPr userDrawn="1"/>
        </p:nvSpPr>
        <p:spPr bwMode="auto">
          <a:xfrm>
            <a:off x="4862094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5" name="Freeform 1546">
            <a:extLst>
              <a:ext uri="{FF2B5EF4-FFF2-40B4-BE49-F238E27FC236}">
                <a16:creationId xmlns:a16="http://schemas.microsoft.com/office/drawing/2014/main" id="{B7CCE777-8E43-4FF4-B91F-8545242E9FBC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6" name="Freeform 1547">
            <a:extLst>
              <a:ext uri="{FF2B5EF4-FFF2-40B4-BE49-F238E27FC236}">
                <a16:creationId xmlns:a16="http://schemas.microsoft.com/office/drawing/2014/main" id="{51266AB7-48B8-443F-ABA7-FE75D57EDAEB}"/>
              </a:ext>
            </a:extLst>
          </p:cNvPr>
          <p:cNvSpPr>
            <a:spLocks/>
          </p:cNvSpPr>
          <p:nvPr userDrawn="1"/>
        </p:nvSpPr>
        <p:spPr bwMode="auto">
          <a:xfrm>
            <a:off x="4908283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7" name="Freeform 1548">
            <a:extLst>
              <a:ext uri="{FF2B5EF4-FFF2-40B4-BE49-F238E27FC236}">
                <a16:creationId xmlns:a16="http://schemas.microsoft.com/office/drawing/2014/main" id="{660E8CF4-50C4-4D2F-AF36-388A3542268D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8" name="Freeform 1549">
            <a:extLst>
              <a:ext uri="{FF2B5EF4-FFF2-40B4-BE49-F238E27FC236}">
                <a16:creationId xmlns:a16="http://schemas.microsoft.com/office/drawing/2014/main" id="{891E0BBD-2E3D-4E61-BD8A-B1EEB7ECEBBF}"/>
              </a:ext>
            </a:extLst>
          </p:cNvPr>
          <p:cNvSpPr>
            <a:spLocks/>
          </p:cNvSpPr>
          <p:nvPr userDrawn="1"/>
        </p:nvSpPr>
        <p:spPr bwMode="auto">
          <a:xfrm>
            <a:off x="4954472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9" name="Freeform 1550">
            <a:extLst>
              <a:ext uri="{FF2B5EF4-FFF2-40B4-BE49-F238E27FC236}">
                <a16:creationId xmlns:a16="http://schemas.microsoft.com/office/drawing/2014/main" id="{C689C225-A439-437A-B0B4-2B42D74F54E9}"/>
              </a:ext>
            </a:extLst>
          </p:cNvPr>
          <p:cNvSpPr>
            <a:spLocks/>
          </p:cNvSpPr>
          <p:nvPr userDrawn="1"/>
        </p:nvSpPr>
        <p:spPr bwMode="auto">
          <a:xfrm>
            <a:off x="5001710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0" name="Freeform 1551">
            <a:extLst>
              <a:ext uri="{FF2B5EF4-FFF2-40B4-BE49-F238E27FC236}">
                <a16:creationId xmlns:a16="http://schemas.microsoft.com/office/drawing/2014/main" id="{3AACD516-694B-4687-A0A3-6B704AC41812}"/>
              </a:ext>
            </a:extLst>
          </p:cNvPr>
          <p:cNvSpPr>
            <a:spLocks/>
          </p:cNvSpPr>
          <p:nvPr userDrawn="1"/>
        </p:nvSpPr>
        <p:spPr bwMode="auto">
          <a:xfrm>
            <a:off x="5001710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3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1" name="Freeform 1552">
            <a:extLst>
              <a:ext uri="{FF2B5EF4-FFF2-40B4-BE49-F238E27FC236}">
                <a16:creationId xmlns:a16="http://schemas.microsoft.com/office/drawing/2014/main" id="{BAA05CE3-4053-40CB-B057-9534CA5A8B0E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3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2" name="Freeform 1553">
            <a:extLst>
              <a:ext uri="{FF2B5EF4-FFF2-40B4-BE49-F238E27FC236}">
                <a16:creationId xmlns:a16="http://schemas.microsoft.com/office/drawing/2014/main" id="{5589ED0D-3AF0-49CB-966C-6657BF81C68C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70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3" name="Freeform 1554">
            <a:extLst>
              <a:ext uri="{FF2B5EF4-FFF2-40B4-BE49-F238E27FC236}">
                <a16:creationId xmlns:a16="http://schemas.microsoft.com/office/drawing/2014/main" id="{4F549BEA-7721-404B-A34E-516806919C0F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9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8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2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2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8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9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9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8" y="18"/>
                </a:lnTo>
                <a:lnTo>
                  <a:pt x="132" y="22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4" name="Freeform 1555">
            <a:extLst>
              <a:ext uri="{FF2B5EF4-FFF2-40B4-BE49-F238E27FC236}">
                <a16:creationId xmlns:a16="http://schemas.microsoft.com/office/drawing/2014/main" id="{C22B8941-7DF0-4089-8CD2-BAA192799844}"/>
              </a:ext>
            </a:extLst>
          </p:cNvPr>
          <p:cNvSpPr>
            <a:spLocks/>
          </p:cNvSpPr>
          <p:nvPr userDrawn="1"/>
        </p:nvSpPr>
        <p:spPr bwMode="auto">
          <a:xfrm>
            <a:off x="4722480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9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8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2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2" y="100"/>
                </a:lnTo>
                <a:lnTo>
                  <a:pt x="149" y="108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8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9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9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8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5" name="Freeform 1556">
            <a:extLst>
              <a:ext uri="{FF2B5EF4-FFF2-40B4-BE49-F238E27FC236}">
                <a16:creationId xmlns:a16="http://schemas.microsoft.com/office/drawing/2014/main" id="{49BBC83B-7A03-48F7-9A41-B72D7D29F258}"/>
              </a:ext>
            </a:extLst>
          </p:cNvPr>
          <p:cNvSpPr>
            <a:spLocks/>
          </p:cNvSpPr>
          <p:nvPr userDrawn="1"/>
        </p:nvSpPr>
        <p:spPr bwMode="auto">
          <a:xfrm>
            <a:off x="4768668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6" name="Freeform 1557">
            <a:extLst>
              <a:ext uri="{FF2B5EF4-FFF2-40B4-BE49-F238E27FC236}">
                <a16:creationId xmlns:a16="http://schemas.microsoft.com/office/drawing/2014/main" id="{7E677D76-2960-4A53-B599-D446AFB2DCC9}"/>
              </a:ext>
            </a:extLst>
          </p:cNvPr>
          <p:cNvSpPr>
            <a:spLocks/>
          </p:cNvSpPr>
          <p:nvPr userDrawn="1"/>
        </p:nvSpPr>
        <p:spPr bwMode="auto">
          <a:xfrm>
            <a:off x="4768668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7" name="Freeform 1558">
            <a:extLst>
              <a:ext uri="{FF2B5EF4-FFF2-40B4-BE49-F238E27FC236}">
                <a16:creationId xmlns:a16="http://schemas.microsoft.com/office/drawing/2014/main" id="{B5BF2AF1-77C7-4EBD-971E-3AC291C06F04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8" name="Freeform 1559">
            <a:extLst>
              <a:ext uri="{FF2B5EF4-FFF2-40B4-BE49-F238E27FC236}">
                <a16:creationId xmlns:a16="http://schemas.microsoft.com/office/drawing/2014/main" id="{C3EA03AC-F2F9-4D3A-AEFD-3E68E45AA126}"/>
              </a:ext>
            </a:extLst>
          </p:cNvPr>
          <p:cNvSpPr>
            <a:spLocks/>
          </p:cNvSpPr>
          <p:nvPr userDrawn="1"/>
        </p:nvSpPr>
        <p:spPr bwMode="auto">
          <a:xfrm>
            <a:off x="4814857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9" name="Freeform 1560">
            <a:extLst>
              <a:ext uri="{FF2B5EF4-FFF2-40B4-BE49-F238E27FC236}">
                <a16:creationId xmlns:a16="http://schemas.microsoft.com/office/drawing/2014/main" id="{89F011F2-CE15-4A32-9813-EBA1769CC396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83327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2 h 153"/>
              <a:gd name="T4" fmla="*/ 147 w 153"/>
              <a:gd name="T5" fmla="*/ 107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0" name="Freeform 1561">
            <a:extLst>
              <a:ext uri="{FF2B5EF4-FFF2-40B4-BE49-F238E27FC236}">
                <a16:creationId xmlns:a16="http://schemas.microsoft.com/office/drawing/2014/main" id="{67800B94-F7A9-473B-8155-899676008050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1" name="Freeform 1562">
            <a:extLst>
              <a:ext uri="{FF2B5EF4-FFF2-40B4-BE49-F238E27FC236}">
                <a16:creationId xmlns:a16="http://schemas.microsoft.com/office/drawing/2014/main" id="{911436C4-94FC-4D97-BEFD-4EB250E1A4DE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2" name="Freeform 1563">
            <a:extLst>
              <a:ext uri="{FF2B5EF4-FFF2-40B4-BE49-F238E27FC236}">
                <a16:creationId xmlns:a16="http://schemas.microsoft.com/office/drawing/2014/main" id="{65FA10D9-16EC-40B7-9F2B-EC0E2FA64618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2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3" name="Freeform 1564">
            <a:extLst>
              <a:ext uri="{FF2B5EF4-FFF2-40B4-BE49-F238E27FC236}">
                <a16:creationId xmlns:a16="http://schemas.microsoft.com/office/drawing/2014/main" id="{96352E26-79BF-4C26-80B3-0AF88986F886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4" name="Freeform 1565">
            <a:extLst>
              <a:ext uri="{FF2B5EF4-FFF2-40B4-BE49-F238E27FC236}">
                <a16:creationId xmlns:a16="http://schemas.microsoft.com/office/drawing/2014/main" id="{C0CA7D20-529F-4067-91AF-89481CF79A47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5" name="Freeform 1566">
            <a:extLst>
              <a:ext uri="{FF2B5EF4-FFF2-40B4-BE49-F238E27FC236}">
                <a16:creationId xmlns:a16="http://schemas.microsoft.com/office/drawing/2014/main" id="{F4B43EAA-E079-4AF4-8B18-ACEB49EFF7A2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1 w 154"/>
              <a:gd name="T9" fmla="*/ 131 h 153"/>
              <a:gd name="T10" fmla="*/ 119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6" name="Freeform 1567">
            <a:extLst>
              <a:ext uri="{FF2B5EF4-FFF2-40B4-BE49-F238E27FC236}">
                <a16:creationId xmlns:a16="http://schemas.microsoft.com/office/drawing/2014/main" id="{1E61D97B-1457-4A5E-8055-CB85942CF30E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9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7" name="Freeform 1568">
            <a:extLst>
              <a:ext uri="{FF2B5EF4-FFF2-40B4-BE49-F238E27FC236}">
                <a16:creationId xmlns:a16="http://schemas.microsoft.com/office/drawing/2014/main" id="{56341FE5-3123-4E2A-A0A4-01CBD90F2920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87631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8" name="Freeform 1569">
            <a:extLst>
              <a:ext uri="{FF2B5EF4-FFF2-40B4-BE49-F238E27FC236}">
                <a16:creationId xmlns:a16="http://schemas.microsoft.com/office/drawing/2014/main" id="{D38C6664-26C5-45F3-A4B0-5CC44162C31D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87631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9" name="Freeform 1570">
            <a:extLst>
              <a:ext uri="{FF2B5EF4-FFF2-40B4-BE49-F238E27FC236}">
                <a16:creationId xmlns:a16="http://schemas.microsoft.com/office/drawing/2014/main" id="{98E37D6D-F5CE-4A09-815F-FBF174CCC7F9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78708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19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0" name="Freeform 1571">
            <a:extLst>
              <a:ext uri="{FF2B5EF4-FFF2-40B4-BE49-F238E27FC236}">
                <a16:creationId xmlns:a16="http://schemas.microsoft.com/office/drawing/2014/main" id="{153EB65E-AA63-40AA-B7D8-8C7039A0E9A1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1" name="Freeform 1572">
            <a:extLst>
              <a:ext uri="{FF2B5EF4-FFF2-40B4-BE49-F238E27FC236}">
                <a16:creationId xmlns:a16="http://schemas.microsoft.com/office/drawing/2014/main" id="{82C287EA-3E1F-486A-83E0-9CCB85A37E1E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83327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2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2" name="Freeform 1573">
            <a:extLst>
              <a:ext uri="{FF2B5EF4-FFF2-40B4-BE49-F238E27FC236}">
                <a16:creationId xmlns:a16="http://schemas.microsoft.com/office/drawing/2014/main" id="{9B9CECF7-5B00-45D2-AC2E-93AC87ADAC6D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3" name="Freeform 1574">
            <a:extLst>
              <a:ext uri="{FF2B5EF4-FFF2-40B4-BE49-F238E27FC236}">
                <a16:creationId xmlns:a16="http://schemas.microsoft.com/office/drawing/2014/main" id="{63BAABD0-24D0-4650-91D4-4ABEAB9059D6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4" name="Freeform 1575">
            <a:extLst>
              <a:ext uri="{FF2B5EF4-FFF2-40B4-BE49-F238E27FC236}">
                <a16:creationId xmlns:a16="http://schemas.microsoft.com/office/drawing/2014/main" id="{BF827337-FC5F-437E-A81E-D98937248525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78708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19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5" name="Freeform 1576">
            <a:extLst>
              <a:ext uri="{FF2B5EF4-FFF2-40B4-BE49-F238E27FC236}">
                <a16:creationId xmlns:a16="http://schemas.microsoft.com/office/drawing/2014/main" id="{32C11B17-6EC7-4681-ADB9-0C31020E1654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6" name="Freeform 1577">
            <a:extLst>
              <a:ext uri="{FF2B5EF4-FFF2-40B4-BE49-F238E27FC236}">
                <a16:creationId xmlns:a16="http://schemas.microsoft.com/office/drawing/2014/main" id="{3667E07A-5D42-42D4-B19F-3E3804C3CB8D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7" name="Freeform 1578">
            <a:extLst>
              <a:ext uri="{FF2B5EF4-FFF2-40B4-BE49-F238E27FC236}">
                <a16:creationId xmlns:a16="http://schemas.microsoft.com/office/drawing/2014/main" id="{6104B2DC-3D4B-491F-8F6E-19EA121723D2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1 w 154"/>
              <a:gd name="T9" fmla="*/ 131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8" name="Freeform 1579">
            <a:extLst>
              <a:ext uri="{FF2B5EF4-FFF2-40B4-BE49-F238E27FC236}">
                <a16:creationId xmlns:a16="http://schemas.microsoft.com/office/drawing/2014/main" id="{A3A7E5BF-2271-44D2-AD56-C35BA67654C4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78708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9" name="Freeform 1580">
            <a:extLst>
              <a:ext uri="{FF2B5EF4-FFF2-40B4-BE49-F238E27FC236}">
                <a16:creationId xmlns:a16="http://schemas.microsoft.com/office/drawing/2014/main" id="{AB6B3F66-9C32-4B10-AA2E-127AEE121805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46271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0" name="Freeform 1581">
            <a:extLst>
              <a:ext uri="{FF2B5EF4-FFF2-40B4-BE49-F238E27FC236}">
                <a16:creationId xmlns:a16="http://schemas.microsoft.com/office/drawing/2014/main" id="{C259C41F-8957-4881-AF88-91A2F6A6C9E8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1" name="Freeform 1582">
            <a:extLst>
              <a:ext uri="{FF2B5EF4-FFF2-40B4-BE49-F238E27FC236}">
                <a16:creationId xmlns:a16="http://schemas.microsoft.com/office/drawing/2014/main" id="{8703C318-FA2C-40EC-B49E-C8D1810B682D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2" name="Freeform 1583">
            <a:extLst>
              <a:ext uri="{FF2B5EF4-FFF2-40B4-BE49-F238E27FC236}">
                <a16:creationId xmlns:a16="http://schemas.microsoft.com/office/drawing/2014/main" id="{09A4C700-EF5C-4CF2-B695-74CE7708EA0F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3" name="Freeform 1584">
            <a:extLst>
              <a:ext uri="{FF2B5EF4-FFF2-40B4-BE49-F238E27FC236}">
                <a16:creationId xmlns:a16="http://schemas.microsoft.com/office/drawing/2014/main" id="{23CE667F-C884-4C7A-8447-F9E834BA7175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4" name="Freeform 1585">
            <a:extLst>
              <a:ext uri="{FF2B5EF4-FFF2-40B4-BE49-F238E27FC236}">
                <a16:creationId xmlns:a16="http://schemas.microsoft.com/office/drawing/2014/main" id="{F01C711D-BB02-4F81-8AD7-B6C80A02DD9F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5" name="Freeform 1586">
            <a:extLst>
              <a:ext uri="{FF2B5EF4-FFF2-40B4-BE49-F238E27FC236}">
                <a16:creationId xmlns:a16="http://schemas.microsoft.com/office/drawing/2014/main" id="{EEF6ECC5-B311-4E9A-B3DB-74102BB3B057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19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6" name="Freeform 1587">
            <a:extLst>
              <a:ext uri="{FF2B5EF4-FFF2-40B4-BE49-F238E27FC236}">
                <a16:creationId xmlns:a16="http://schemas.microsoft.com/office/drawing/2014/main" id="{960A079C-0948-45F3-995B-F47A62D13903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7" name="Freeform 1588">
            <a:extLst>
              <a:ext uri="{FF2B5EF4-FFF2-40B4-BE49-F238E27FC236}">
                <a16:creationId xmlns:a16="http://schemas.microsoft.com/office/drawing/2014/main" id="{8D4A8AB7-BBEA-4330-8FB0-A495EE44169F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8" name="Freeform 1589">
            <a:extLst>
              <a:ext uri="{FF2B5EF4-FFF2-40B4-BE49-F238E27FC236}">
                <a16:creationId xmlns:a16="http://schemas.microsoft.com/office/drawing/2014/main" id="{73DA020E-772E-4163-B1C1-32C388207E18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417578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9" name="Freeform 1590">
            <a:extLst>
              <a:ext uri="{FF2B5EF4-FFF2-40B4-BE49-F238E27FC236}">
                <a16:creationId xmlns:a16="http://schemas.microsoft.com/office/drawing/2014/main" id="{7B3348F4-C932-48DD-8C88-CEA181A7680F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41757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1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0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0" name="Freeform 1591">
            <a:extLst>
              <a:ext uri="{FF2B5EF4-FFF2-40B4-BE49-F238E27FC236}">
                <a16:creationId xmlns:a16="http://schemas.microsoft.com/office/drawing/2014/main" id="{42538FCA-FBB9-47B8-817B-FAAB07AFC58D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417578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1" name="Freeform 1592">
            <a:extLst>
              <a:ext uri="{FF2B5EF4-FFF2-40B4-BE49-F238E27FC236}">
                <a16:creationId xmlns:a16="http://schemas.microsoft.com/office/drawing/2014/main" id="{3E99AB1E-5FE8-4B65-B0A0-A5DBBD69C913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36194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2" name="Freeform 1593">
            <a:extLst>
              <a:ext uri="{FF2B5EF4-FFF2-40B4-BE49-F238E27FC236}">
                <a16:creationId xmlns:a16="http://schemas.microsoft.com/office/drawing/2014/main" id="{A5C205E9-DF1F-4CC0-92A7-409E409D5C1E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3" name="Freeform 1594">
            <a:extLst>
              <a:ext uri="{FF2B5EF4-FFF2-40B4-BE49-F238E27FC236}">
                <a16:creationId xmlns:a16="http://schemas.microsoft.com/office/drawing/2014/main" id="{7BDE0DC9-9F14-4D26-9CF9-C6F9D271D724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4" name="Freeform 1595">
            <a:extLst>
              <a:ext uri="{FF2B5EF4-FFF2-40B4-BE49-F238E27FC236}">
                <a16:creationId xmlns:a16="http://schemas.microsoft.com/office/drawing/2014/main" id="{C4472199-4B58-4523-9D52-44A6EE16BB8B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5" name="Freeform 1596">
            <a:extLst>
              <a:ext uri="{FF2B5EF4-FFF2-40B4-BE49-F238E27FC236}">
                <a16:creationId xmlns:a16="http://schemas.microsoft.com/office/drawing/2014/main" id="{E51DE3CE-0113-4ABE-8F6D-D19732F54614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6" name="Freeform 1597">
            <a:extLst>
              <a:ext uri="{FF2B5EF4-FFF2-40B4-BE49-F238E27FC236}">
                <a16:creationId xmlns:a16="http://schemas.microsoft.com/office/drawing/2014/main" id="{84842403-AAC2-4EDF-A30A-D5350820153D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8 h 155"/>
              <a:gd name="T62" fmla="*/ 144 w 155"/>
              <a:gd name="T63" fmla="*/ 40 h 155"/>
              <a:gd name="T64" fmla="*/ 150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7" name="Freeform 1598">
            <a:extLst>
              <a:ext uri="{FF2B5EF4-FFF2-40B4-BE49-F238E27FC236}">
                <a16:creationId xmlns:a16="http://schemas.microsoft.com/office/drawing/2014/main" id="{3B2682F9-3599-4E81-B100-20414A5E28E8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2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8" name="Freeform 1599">
            <a:extLst>
              <a:ext uri="{FF2B5EF4-FFF2-40B4-BE49-F238E27FC236}">
                <a16:creationId xmlns:a16="http://schemas.microsoft.com/office/drawing/2014/main" id="{C5D9F43D-515F-4124-9543-BF5F2F9B2C60}"/>
              </a:ext>
            </a:extLst>
          </p:cNvPr>
          <p:cNvSpPr>
            <a:spLocks/>
          </p:cNvSpPr>
          <p:nvPr userDrawn="1"/>
        </p:nvSpPr>
        <p:spPr bwMode="auto">
          <a:xfrm>
            <a:off x="5419506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8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9" name="Freeform 1600">
            <a:extLst>
              <a:ext uri="{FF2B5EF4-FFF2-40B4-BE49-F238E27FC236}">
                <a16:creationId xmlns:a16="http://schemas.microsoft.com/office/drawing/2014/main" id="{6F75DD2C-12CB-476F-AAC1-14748CEC1FDE}"/>
              </a:ext>
            </a:extLst>
          </p:cNvPr>
          <p:cNvSpPr>
            <a:spLocks/>
          </p:cNvSpPr>
          <p:nvPr userDrawn="1"/>
        </p:nvSpPr>
        <p:spPr bwMode="auto">
          <a:xfrm>
            <a:off x="5419506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8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0" name="Freeform 1601">
            <a:extLst>
              <a:ext uri="{FF2B5EF4-FFF2-40B4-BE49-F238E27FC236}">
                <a16:creationId xmlns:a16="http://schemas.microsoft.com/office/drawing/2014/main" id="{F60FFF18-8CAE-49C8-87B9-D2458EE12D3E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2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1" name="Freeform 1602">
            <a:extLst>
              <a:ext uri="{FF2B5EF4-FFF2-40B4-BE49-F238E27FC236}">
                <a16:creationId xmlns:a16="http://schemas.microsoft.com/office/drawing/2014/main" id="{85BC34B8-B401-4C1F-AE36-A302B209BC53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2" name="Freeform 1603">
            <a:extLst>
              <a:ext uri="{FF2B5EF4-FFF2-40B4-BE49-F238E27FC236}">
                <a16:creationId xmlns:a16="http://schemas.microsoft.com/office/drawing/2014/main" id="{A7D3E387-4A8E-4403-8967-5F78703EAA04}"/>
              </a:ext>
            </a:extLst>
          </p:cNvPr>
          <p:cNvSpPr>
            <a:spLocks/>
          </p:cNvSpPr>
          <p:nvPr userDrawn="1"/>
        </p:nvSpPr>
        <p:spPr bwMode="auto">
          <a:xfrm>
            <a:off x="5186464" y="69575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3" name="Freeform 1604">
            <a:extLst>
              <a:ext uri="{FF2B5EF4-FFF2-40B4-BE49-F238E27FC236}">
                <a16:creationId xmlns:a16="http://schemas.microsoft.com/office/drawing/2014/main" id="{B450EDD9-290A-40EC-A93C-D276CAF40DBF}"/>
              </a:ext>
            </a:extLst>
          </p:cNvPr>
          <p:cNvSpPr>
            <a:spLocks/>
          </p:cNvSpPr>
          <p:nvPr userDrawn="1"/>
        </p:nvSpPr>
        <p:spPr bwMode="auto">
          <a:xfrm>
            <a:off x="5186464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4" name="Freeform 1605">
            <a:extLst>
              <a:ext uri="{FF2B5EF4-FFF2-40B4-BE49-F238E27FC236}">
                <a16:creationId xmlns:a16="http://schemas.microsoft.com/office/drawing/2014/main" id="{B440EF2B-869A-4D6A-992B-0D6F10F37175}"/>
              </a:ext>
            </a:extLst>
          </p:cNvPr>
          <p:cNvSpPr>
            <a:spLocks/>
          </p:cNvSpPr>
          <p:nvPr userDrawn="1"/>
        </p:nvSpPr>
        <p:spPr bwMode="auto">
          <a:xfrm>
            <a:off x="5232653" y="69575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5" name="Freeform 1606">
            <a:extLst>
              <a:ext uri="{FF2B5EF4-FFF2-40B4-BE49-F238E27FC236}">
                <a16:creationId xmlns:a16="http://schemas.microsoft.com/office/drawing/2014/main" id="{4FA8A92A-5546-4303-B88F-F1C3495CAFE7}"/>
              </a:ext>
            </a:extLst>
          </p:cNvPr>
          <p:cNvSpPr>
            <a:spLocks/>
          </p:cNvSpPr>
          <p:nvPr userDrawn="1"/>
        </p:nvSpPr>
        <p:spPr bwMode="auto">
          <a:xfrm>
            <a:off x="5232653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6" name="Freeform 1607">
            <a:extLst>
              <a:ext uri="{FF2B5EF4-FFF2-40B4-BE49-F238E27FC236}">
                <a16:creationId xmlns:a16="http://schemas.microsoft.com/office/drawing/2014/main" id="{F3FD42E5-8397-4D8E-82BE-19C0DA1253AB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96974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7" name="Freeform 1608">
            <a:extLst>
              <a:ext uri="{FF2B5EF4-FFF2-40B4-BE49-F238E27FC236}">
                <a16:creationId xmlns:a16="http://schemas.microsoft.com/office/drawing/2014/main" id="{47819FE3-3EE3-440C-98D4-49680DA77192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8" name="Freeform 1609">
            <a:extLst>
              <a:ext uri="{FF2B5EF4-FFF2-40B4-BE49-F238E27FC236}">
                <a16:creationId xmlns:a16="http://schemas.microsoft.com/office/drawing/2014/main" id="{35E467D1-C418-4E2B-99BB-D123107FC586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969741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9" name="Freeform 1610">
            <a:extLst>
              <a:ext uri="{FF2B5EF4-FFF2-40B4-BE49-F238E27FC236}">
                <a16:creationId xmlns:a16="http://schemas.microsoft.com/office/drawing/2014/main" id="{5D648D02-BBA7-42E6-BE41-D8596407B957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92250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0" name="Freeform 1611">
            <a:extLst>
              <a:ext uri="{FF2B5EF4-FFF2-40B4-BE49-F238E27FC236}">
                <a16:creationId xmlns:a16="http://schemas.microsoft.com/office/drawing/2014/main" id="{006678C6-EAAC-4455-8F7D-765B0C221E72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9225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1" name="Freeform 1613">
            <a:extLst>
              <a:ext uri="{FF2B5EF4-FFF2-40B4-BE49-F238E27FC236}">
                <a16:creationId xmlns:a16="http://schemas.microsoft.com/office/drawing/2014/main" id="{97D9A98C-BE12-4A9D-B1EC-7F3DEEE20A60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92250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2" name="Freeform 1614">
            <a:extLst>
              <a:ext uri="{FF2B5EF4-FFF2-40B4-BE49-F238E27FC236}">
                <a16:creationId xmlns:a16="http://schemas.microsoft.com/office/drawing/2014/main" id="{8DF6C264-4E16-4EF0-9417-20EB66E50C2C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8784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3" name="Freeform 1615">
            <a:extLst>
              <a:ext uri="{FF2B5EF4-FFF2-40B4-BE49-F238E27FC236}">
                <a16:creationId xmlns:a16="http://schemas.microsoft.com/office/drawing/2014/main" id="{1BDEE93D-759F-4C0C-AFB0-5CEE2A708F0E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87841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4 w 155"/>
              <a:gd name="T57" fmla="*/ 9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4" name="Freeform 1616">
            <a:extLst>
              <a:ext uri="{FF2B5EF4-FFF2-40B4-BE49-F238E27FC236}">
                <a16:creationId xmlns:a16="http://schemas.microsoft.com/office/drawing/2014/main" id="{98AEA84F-85C7-4A67-85CE-86A2905DF30B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87841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5" name="Freeform 1617">
            <a:extLst>
              <a:ext uri="{FF2B5EF4-FFF2-40B4-BE49-F238E27FC236}">
                <a16:creationId xmlns:a16="http://schemas.microsoft.com/office/drawing/2014/main" id="{94679A00-7F83-45B0-A3DF-F26C78E3B0A8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969741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6" name="Freeform 1618">
            <a:extLst>
              <a:ext uri="{FF2B5EF4-FFF2-40B4-BE49-F238E27FC236}">
                <a16:creationId xmlns:a16="http://schemas.microsoft.com/office/drawing/2014/main" id="{ED7AA93E-6EB4-4C08-B9B0-603D32AE214D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96974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0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7" name="Freeform 1619">
            <a:extLst>
              <a:ext uri="{FF2B5EF4-FFF2-40B4-BE49-F238E27FC236}">
                <a16:creationId xmlns:a16="http://schemas.microsoft.com/office/drawing/2014/main" id="{7C865625-1EC8-4BCC-B0C9-CAE248591034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8" name="Freeform 1620">
            <a:extLst>
              <a:ext uri="{FF2B5EF4-FFF2-40B4-BE49-F238E27FC236}">
                <a16:creationId xmlns:a16="http://schemas.microsoft.com/office/drawing/2014/main" id="{41091C91-2038-4E75-988A-1D96F22C655A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96974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9" name="Freeform 1621">
            <a:extLst>
              <a:ext uri="{FF2B5EF4-FFF2-40B4-BE49-F238E27FC236}">
                <a16:creationId xmlns:a16="http://schemas.microsoft.com/office/drawing/2014/main" id="{709D12B6-FEDC-4395-9C6A-D85521C895FC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0" name="Freeform 1622">
            <a:extLst>
              <a:ext uri="{FF2B5EF4-FFF2-40B4-BE49-F238E27FC236}">
                <a16:creationId xmlns:a16="http://schemas.microsoft.com/office/drawing/2014/main" id="{E8AA77E9-3D13-4759-A7F0-930543E0919E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1" name="Freeform 1623">
            <a:extLst>
              <a:ext uri="{FF2B5EF4-FFF2-40B4-BE49-F238E27FC236}">
                <a16:creationId xmlns:a16="http://schemas.microsoft.com/office/drawing/2014/main" id="{393E148C-0B81-48F5-B8B8-AEF31FD5C0BF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2" name="Freeform 1624">
            <a:extLst>
              <a:ext uri="{FF2B5EF4-FFF2-40B4-BE49-F238E27FC236}">
                <a16:creationId xmlns:a16="http://schemas.microsoft.com/office/drawing/2014/main" id="{B546E5C3-E007-41C2-BDE8-7E40E899F89C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3" name="Freeform 1625">
            <a:extLst>
              <a:ext uri="{FF2B5EF4-FFF2-40B4-BE49-F238E27FC236}">
                <a16:creationId xmlns:a16="http://schemas.microsoft.com/office/drawing/2014/main" id="{FC116491-9D45-4D0E-B863-68768A338321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92250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4" name="Freeform 1626">
            <a:extLst>
              <a:ext uri="{FF2B5EF4-FFF2-40B4-BE49-F238E27FC236}">
                <a16:creationId xmlns:a16="http://schemas.microsoft.com/office/drawing/2014/main" id="{E1C3E7BE-297B-490C-BDD4-3C2AE5FDA24E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922503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0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5" name="Freeform 1627">
            <a:extLst>
              <a:ext uri="{FF2B5EF4-FFF2-40B4-BE49-F238E27FC236}">
                <a16:creationId xmlns:a16="http://schemas.microsoft.com/office/drawing/2014/main" id="{4661A934-57DB-4C03-901B-D39585434993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96974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6" name="Freeform 1628">
            <a:extLst>
              <a:ext uri="{FF2B5EF4-FFF2-40B4-BE49-F238E27FC236}">
                <a16:creationId xmlns:a16="http://schemas.microsoft.com/office/drawing/2014/main" id="{DBC6A264-DA67-45F5-95EC-1D16FD98CE7C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922503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7" name="Freeform 1629">
            <a:extLst>
              <a:ext uri="{FF2B5EF4-FFF2-40B4-BE49-F238E27FC236}">
                <a16:creationId xmlns:a16="http://schemas.microsoft.com/office/drawing/2014/main" id="{A6565F91-9C44-477C-93D6-F04AACF07ECB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8" name="Freeform 1630">
            <a:extLst>
              <a:ext uri="{FF2B5EF4-FFF2-40B4-BE49-F238E27FC236}">
                <a16:creationId xmlns:a16="http://schemas.microsoft.com/office/drawing/2014/main" id="{5CFC1AD7-AC60-4F5D-8970-A1E08906E7EA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922503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9" name="Freeform 1631">
            <a:extLst>
              <a:ext uri="{FF2B5EF4-FFF2-40B4-BE49-F238E27FC236}">
                <a16:creationId xmlns:a16="http://schemas.microsoft.com/office/drawing/2014/main" id="{49CFB270-903B-43AA-85BC-1DC70A5F8B7D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0" name="Freeform 1632">
            <a:extLst>
              <a:ext uri="{FF2B5EF4-FFF2-40B4-BE49-F238E27FC236}">
                <a16:creationId xmlns:a16="http://schemas.microsoft.com/office/drawing/2014/main" id="{234D1DC1-6DC2-48F3-A890-ABC0AA96985A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1" name="Freeform 1633">
            <a:extLst>
              <a:ext uri="{FF2B5EF4-FFF2-40B4-BE49-F238E27FC236}">
                <a16:creationId xmlns:a16="http://schemas.microsoft.com/office/drawing/2014/main" id="{05ABE90E-86FB-49A0-95DF-58FC34E30393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2" name="Freeform 1634">
            <a:extLst>
              <a:ext uri="{FF2B5EF4-FFF2-40B4-BE49-F238E27FC236}">
                <a16:creationId xmlns:a16="http://schemas.microsoft.com/office/drawing/2014/main" id="{B02C9088-34C7-4E9A-A8F7-7B1979AAB16F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3" name="Freeform 1635">
            <a:extLst>
              <a:ext uri="{FF2B5EF4-FFF2-40B4-BE49-F238E27FC236}">
                <a16:creationId xmlns:a16="http://schemas.microsoft.com/office/drawing/2014/main" id="{427457B6-78E0-47FE-B4D9-773F354A6D78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0652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4" name="Freeform 1636">
            <a:extLst>
              <a:ext uri="{FF2B5EF4-FFF2-40B4-BE49-F238E27FC236}">
                <a16:creationId xmlns:a16="http://schemas.microsoft.com/office/drawing/2014/main" id="{63837A14-3039-4EA4-ADC6-A2182404FF96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0652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5" name="Freeform 1637">
            <a:extLst>
              <a:ext uri="{FF2B5EF4-FFF2-40B4-BE49-F238E27FC236}">
                <a16:creationId xmlns:a16="http://schemas.microsoft.com/office/drawing/2014/main" id="{DC06A7BA-BC6A-4FB7-BCE1-C0707835A165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0652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6" name="Freeform 1638">
            <a:extLst>
              <a:ext uri="{FF2B5EF4-FFF2-40B4-BE49-F238E27FC236}">
                <a16:creationId xmlns:a16="http://schemas.microsoft.com/office/drawing/2014/main" id="{E8C64495-42C3-480E-A70D-5C004EF203E1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0180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7" name="Freeform 1639">
            <a:extLst>
              <a:ext uri="{FF2B5EF4-FFF2-40B4-BE49-F238E27FC236}">
                <a16:creationId xmlns:a16="http://schemas.microsoft.com/office/drawing/2014/main" id="{89268464-6297-487B-AEBC-B825171D55E7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8" name="Freeform 1640">
            <a:extLst>
              <a:ext uri="{FF2B5EF4-FFF2-40B4-BE49-F238E27FC236}">
                <a16:creationId xmlns:a16="http://schemas.microsoft.com/office/drawing/2014/main" id="{DC37DCAE-3B1A-4F0C-B2DD-2ACEE969C8C2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0180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9" name="Freeform 1641">
            <a:extLst>
              <a:ext uri="{FF2B5EF4-FFF2-40B4-BE49-F238E27FC236}">
                <a16:creationId xmlns:a16="http://schemas.microsoft.com/office/drawing/2014/main" id="{CFC964FC-7166-4277-B286-23B37FD25195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0652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0" name="Freeform 1642">
            <a:extLst>
              <a:ext uri="{FF2B5EF4-FFF2-40B4-BE49-F238E27FC236}">
                <a16:creationId xmlns:a16="http://schemas.microsoft.com/office/drawing/2014/main" id="{92C3D059-7AA2-41A8-9306-44FA6D34E7DC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0652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1" name="Freeform 1643">
            <a:extLst>
              <a:ext uri="{FF2B5EF4-FFF2-40B4-BE49-F238E27FC236}">
                <a16:creationId xmlns:a16="http://schemas.microsoft.com/office/drawing/2014/main" id="{F02B8476-6848-4333-8A22-D1F7060EE2D7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0652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2" name="Freeform 1644">
            <a:extLst>
              <a:ext uri="{FF2B5EF4-FFF2-40B4-BE49-F238E27FC236}">
                <a16:creationId xmlns:a16="http://schemas.microsoft.com/office/drawing/2014/main" id="{806C9469-2CDB-4780-B48C-1D5F1537ACCD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0652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3" name="Freeform 1645">
            <a:extLst>
              <a:ext uri="{FF2B5EF4-FFF2-40B4-BE49-F238E27FC236}">
                <a16:creationId xmlns:a16="http://schemas.microsoft.com/office/drawing/2014/main" id="{D618BEFA-CA30-40D9-958B-115EC68CB2B1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0652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4" name="Freeform 1646">
            <a:extLst>
              <a:ext uri="{FF2B5EF4-FFF2-40B4-BE49-F238E27FC236}">
                <a16:creationId xmlns:a16="http://schemas.microsoft.com/office/drawing/2014/main" id="{9E882F72-BD20-4DBE-8CED-323F33ED166B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10652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5" name="Freeform 1647">
            <a:extLst>
              <a:ext uri="{FF2B5EF4-FFF2-40B4-BE49-F238E27FC236}">
                <a16:creationId xmlns:a16="http://schemas.microsoft.com/office/drawing/2014/main" id="{38EFD4FF-EE89-455A-94C2-32C6BD1810AB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10652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6" name="Freeform 1648">
            <a:extLst>
              <a:ext uri="{FF2B5EF4-FFF2-40B4-BE49-F238E27FC236}">
                <a16:creationId xmlns:a16="http://schemas.microsoft.com/office/drawing/2014/main" id="{D8397D71-1EFB-4FF7-9944-9617BD30642E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106526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7" name="Freeform 1649">
            <a:extLst>
              <a:ext uri="{FF2B5EF4-FFF2-40B4-BE49-F238E27FC236}">
                <a16:creationId xmlns:a16="http://schemas.microsoft.com/office/drawing/2014/main" id="{E7C9363E-331B-4FA2-B917-64329B07A2CA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01802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8" name="Freeform 1650">
            <a:extLst>
              <a:ext uri="{FF2B5EF4-FFF2-40B4-BE49-F238E27FC236}">
                <a16:creationId xmlns:a16="http://schemas.microsoft.com/office/drawing/2014/main" id="{917E807D-BB84-4453-8B0E-51440B6B91BC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0180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9" name="Freeform 1651">
            <a:extLst>
              <a:ext uri="{FF2B5EF4-FFF2-40B4-BE49-F238E27FC236}">
                <a16:creationId xmlns:a16="http://schemas.microsoft.com/office/drawing/2014/main" id="{F8518251-E00B-4D7B-B14E-6C33793E5B1E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0652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0" name="Freeform 1652">
            <a:extLst>
              <a:ext uri="{FF2B5EF4-FFF2-40B4-BE49-F238E27FC236}">
                <a16:creationId xmlns:a16="http://schemas.microsoft.com/office/drawing/2014/main" id="{D10F095A-5589-4133-A86E-93636858E96E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0180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1" name="Freeform 1653">
            <a:extLst>
              <a:ext uri="{FF2B5EF4-FFF2-40B4-BE49-F238E27FC236}">
                <a16:creationId xmlns:a16="http://schemas.microsoft.com/office/drawing/2014/main" id="{C29BB9B6-0CF5-4FA0-8286-F86F54C7D32D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2" name="Freeform 1654">
            <a:extLst>
              <a:ext uri="{FF2B5EF4-FFF2-40B4-BE49-F238E27FC236}">
                <a16:creationId xmlns:a16="http://schemas.microsoft.com/office/drawing/2014/main" id="{FEA92825-0740-46A8-AB12-0C18F564822D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0180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3" name="Freeform 1655">
            <a:extLst>
              <a:ext uri="{FF2B5EF4-FFF2-40B4-BE49-F238E27FC236}">
                <a16:creationId xmlns:a16="http://schemas.microsoft.com/office/drawing/2014/main" id="{FE1BD193-48A0-497B-A382-71AC5A9F4937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4" name="Freeform 1656">
            <a:extLst>
              <a:ext uri="{FF2B5EF4-FFF2-40B4-BE49-F238E27FC236}">
                <a16:creationId xmlns:a16="http://schemas.microsoft.com/office/drawing/2014/main" id="{BBA46874-9749-4EBE-8136-67624C8AE1E8}"/>
              </a:ext>
            </a:extLst>
          </p:cNvPr>
          <p:cNvSpPr>
            <a:spLocks/>
          </p:cNvSpPr>
          <p:nvPr userDrawn="1"/>
        </p:nvSpPr>
        <p:spPr bwMode="auto">
          <a:xfrm>
            <a:off x="5464644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5" name="Freeform 1657">
            <a:extLst>
              <a:ext uri="{FF2B5EF4-FFF2-40B4-BE49-F238E27FC236}">
                <a16:creationId xmlns:a16="http://schemas.microsoft.com/office/drawing/2014/main" id="{5F7AB82C-81E7-41FD-A340-B1F15AEA643B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6" name="Freeform 1658">
            <a:extLst>
              <a:ext uri="{FF2B5EF4-FFF2-40B4-BE49-F238E27FC236}">
                <a16:creationId xmlns:a16="http://schemas.microsoft.com/office/drawing/2014/main" id="{D67C9D7D-85B8-4326-8237-6A7E0A805569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7" name="Freeform 1659">
            <a:extLst>
              <a:ext uri="{FF2B5EF4-FFF2-40B4-BE49-F238E27FC236}">
                <a16:creationId xmlns:a16="http://schemas.microsoft.com/office/drawing/2014/main" id="{20112CC2-D30C-48C1-80BD-25626DB73347}"/>
              </a:ext>
            </a:extLst>
          </p:cNvPr>
          <p:cNvSpPr>
            <a:spLocks/>
          </p:cNvSpPr>
          <p:nvPr userDrawn="1"/>
        </p:nvSpPr>
        <p:spPr bwMode="auto">
          <a:xfrm>
            <a:off x="5602160" y="83327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2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8" name="Freeform 1660">
            <a:extLst>
              <a:ext uri="{FF2B5EF4-FFF2-40B4-BE49-F238E27FC236}">
                <a16:creationId xmlns:a16="http://schemas.microsoft.com/office/drawing/2014/main" id="{0650AEAD-1820-40FE-AE58-EFE57D6DBCE2}"/>
              </a:ext>
            </a:extLst>
          </p:cNvPr>
          <p:cNvSpPr>
            <a:spLocks/>
          </p:cNvSpPr>
          <p:nvPr userDrawn="1"/>
        </p:nvSpPr>
        <p:spPr bwMode="auto">
          <a:xfrm>
            <a:off x="5602160" y="87631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9" name="Freeform 1661">
            <a:extLst>
              <a:ext uri="{FF2B5EF4-FFF2-40B4-BE49-F238E27FC236}">
                <a16:creationId xmlns:a16="http://schemas.microsoft.com/office/drawing/2014/main" id="{A310DC34-FF31-4866-9190-D255EE083082}"/>
              </a:ext>
            </a:extLst>
          </p:cNvPr>
          <p:cNvSpPr>
            <a:spLocks/>
          </p:cNvSpPr>
          <p:nvPr userDrawn="1"/>
        </p:nvSpPr>
        <p:spPr bwMode="auto">
          <a:xfrm>
            <a:off x="5602160" y="96974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0" name="Freeform 1662">
            <a:extLst>
              <a:ext uri="{FF2B5EF4-FFF2-40B4-BE49-F238E27FC236}">
                <a16:creationId xmlns:a16="http://schemas.microsoft.com/office/drawing/2014/main" id="{5EFBD51D-A2FC-4CED-8853-13837ED448EB}"/>
              </a:ext>
            </a:extLst>
          </p:cNvPr>
          <p:cNvSpPr>
            <a:spLocks/>
          </p:cNvSpPr>
          <p:nvPr userDrawn="1"/>
        </p:nvSpPr>
        <p:spPr bwMode="auto">
          <a:xfrm>
            <a:off x="5602160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1" name="Freeform 1663">
            <a:extLst>
              <a:ext uri="{FF2B5EF4-FFF2-40B4-BE49-F238E27FC236}">
                <a16:creationId xmlns:a16="http://schemas.microsoft.com/office/drawing/2014/main" id="{20891D38-2708-4F58-8887-DC455EF03C80}"/>
              </a:ext>
            </a:extLst>
          </p:cNvPr>
          <p:cNvSpPr>
            <a:spLocks/>
          </p:cNvSpPr>
          <p:nvPr userDrawn="1"/>
        </p:nvSpPr>
        <p:spPr bwMode="auto">
          <a:xfrm>
            <a:off x="5694537" y="876314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2" name="Freeform 1664">
            <a:extLst>
              <a:ext uri="{FF2B5EF4-FFF2-40B4-BE49-F238E27FC236}">
                <a16:creationId xmlns:a16="http://schemas.microsoft.com/office/drawing/2014/main" id="{FF348C5A-4FFE-455C-AA36-B88019C3E256}"/>
              </a:ext>
            </a:extLst>
          </p:cNvPr>
          <p:cNvSpPr>
            <a:spLocks/>
          </p:cNvSpPr>
          <p:nvPr userDrawn="1"/>
        </p:nvSpPr>
        <p:spPr bwMode="auto">
          <a:xfrm>
            <a:off x="5694537" y="922503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3" name="Freeform 1665">
            <a:extLst>
              <a:ext uri="{FF2B5EF4-FFF2-40B4-BE49-F238E27FC236}">
                <a16:creationId xmlns:a16="http://schemas.microsoft.com/office/drawing/2014/main" id="{DAEC621D-F559-4FBB-8BB0-C7C12C6C4F46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83432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1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1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4" name="Freeform 1666">
            <a:extLst>
              <a:ext uri="{FF2B5EF4-FFF2-40B4-BE49-F238E27FC236}">
                <a16:creationId xmlns:a16="http://schemas.microsoft.com/office/drawing/2014/main" id="{DD46CF84-7DF6-4C98-A53F-10E53C3A0F53}"/>
              </a:ext>
            </a:extLst>
          </p:cNvPr>
          <p:cNvSpPr>
            <a:spLocks/>
          </p:cNvSpPr>
          <p:nvPr userDrawn="1"/>
        </p:nvSpPr>
        <p:spPr bwMode="auto">
          <a:xfrm>
            <a:off x="5648348" y="922503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5" name="Freeform 1667">
            <a:extLst>
              <a:ext uri="{FF2B5EF4-FFF2-40B4-BE49-F238E27FC236}">
                <a16:creationId xmlns:a16="http://schemas.microsoft.com/office/drawing/2014/main" id="{CBC354CA-8886-4A0A-AE5B-C44064D00C58}"/>
              </a:ext>
            </a:extLst>
          </p:cNvPr>
          <p:cNvSpPr>
            <a:spLocks/>
          </p:cNvSpPr>
          <p:nvPr userDrawn="1"/>
        </p:nvSpPr>
        <p:spPr bwMode="auto">
          <a:xfrm>
            <a:off x="5602160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6" name="Freeform 1668">
            <a:extLst>
              <a:ext uri="{FF2B5EF4-FFF2-40B4-BE49-F238E27FC236}">
                <a16:creationId xmlns:a16="http://schemas.microsoft.com/office/drawing/2014/main" id="{78E46CD5-8FF7-4EE7-AB84-A7BD2B89E946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7" name="Freeform 1669">
            <a:extLst>
              <a:ext uri="{FF2B5EF4-FFF2-40B4-BE49-F238E27FC236}">
                <a16:creationId xmlns:a16="http://schemas.microsoft.com/office/drawing/2014/main" id="{73A5F206-C6EF-46E4-9AD6-98C3C1ED644E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8" name="Freeform 1670">
            <a:extLst>
              <a:ext uri="{FF2B5EF4-FFF2-40B4-BE49-F238E27FC236}">
                <a16:creationId xmlns:a16="http://schemas.microsoft.com/office/drawing/2014/main" id="{AB5E7F68-7D6B-4965-8352-B4FCD086CF11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1586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9" name="Freeform 1671">
            <a:extLst>
              <a:ext uri="{FF2B5EF4-FFF2-40B4-BE49-F238E27FC236}">
                <a16:creationId xmlns:a16="http://schemas.microsoft.com/office/drawing/2014/main" id="{C2062DB7-F1A5-4C6A-9B2C-6F4D6DAFCFEA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1114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0" name="Freeform 1672">
            <a:extLst>
              <a:ext uri="{FF2B5EF4-FFF2-40B4-BE49-F238E27FC236}">
                <a16:creationId xmlns:a16="http://schemas.microsoft.com/office/drawing/2014/main" id="{87B73036-A121-4C03-8669-F1D8968F4AC5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1114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1" name="Freeform 1673">
            <a:extLst>
              <a:ext uri="{FF2B5EF4-FFF2-40B4-BE49-F238E27FC236}">
                <a16:creationId xmlns:a16="http://schemas.microsoft.com/office/drawing/2014/main" id="{E9488333-7043-439E-ACBE-801AB0B92702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11145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2" name="Freeform 1674">
            <a:extLst>
              <a:ext uri="{FF2B5EF4-FFF2-40B4-BE49-F238E27FC236}">
                <a16:creationId xmlns:a16="http://schemas.microsoft.com/office/drawing/2014/main" id="{0EDEEE01-4CC7-4EBE-A1C1-C30DE619DCAE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1586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3" name="Freeform 1675">
            <a:extLst>
              <a:ext uri="{FF2B5EF4-FFF2-40B4-BE49-F238E27FC236}">
                <a16:creationId xmlns:a16="http://schemas.microsoft.com/office/drawing/2014/main" id="{7D7405AC-10CA-4171-BD8C-5DDF29A5A3F9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4" name="Freeform 1676">
            <a:extLst>
              <a:ext uri="{FF2B5EF4-FFF2-40B4-BE49-F238E27FC236}">
                <a16:creationId xmlns:a16="http://schemas.microsoft.com/office/drawing/2014/main" id="{15C20646-1E2E-416E-B1EB-E8597BC44E1A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5" name="Freeform 1677">
            <a:extLst>
              <a:ext uri="{FF2B5EF4-FFF2-40B4-BE49-F238E27FC236}">
                <a16:creationId xmlns:a16="http://schemas.microsoft.com/office/drawing/2014/main" id="{5B352680-21A5-4077-92BC-F6E9304B7BE2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6" name="Freeform 1678">
            <a:extLst>
              <a:ext uri="{FF2B5EF4-FFF2-40B4-BE49-F238E27FC236}">
                <a16:creationId xmlns:a16="http://schemas.microsoft.com/office/drawing/2014/main" id="{3FD03A49-329B-48F8-B4FC-99080122A2B0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7" name="Freeform 1679">
            <a:extLst>
              <a:ext uri="{FF2B5EF4-FFF2-40B4-BE49-F238E27FC236}">
                <a16:creationId xmlns:a16="http://schemas.microsoft.com/office/drawing/2014/main" id="{E7C397C7-CEA3-4530-8BDC-4764A1E66E89}"/>
              </a:ext>
            </a:extLst>
          </p:cNvPr>
          <p:cNvSpPr>
            <a:spLocks/>
          </p:cNvSpPr>
          <p:nvPr userDrawn="1"/>
        </p:nvSpPr>
        <p:spPr bwMode="auto">
          <a:xfrm>
            <a:off x="5510833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8" name="Freeform 1680">
            <a:extLst>
              <a:ext uri="{FF2B5EF4-FFF2-40B4-BE49-F238E27FC236}">
                <a16:creationId xmlns:a16="http://schemas.microsoft.com/office/drawing/2014/main" id="{2F9752D3-1DD7-41B4-9FF1-E771824C380E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9" name="Freeform 1681">
            <a:extLst>
              <a:ext uri="{FF2B5EF4-FFF2-40B4-BE49-F238E27FC236}">
                <a16:creationId xmlns:a16="http://schemas.microsoft.com/office/drawing/2014/main" id="{AF048771-6ECD-4C62-A210-BA57A91C229B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0" name="Freeform 1682">
            <a:extLst>
              <a:ext uri="{FF2B5EF4-FFF2-40B4-BE49-F238E27FC236}">
                <a16:creationId xmlns:a16="http://schemas.microsoft.com/office/drawing/2014/main" id="{E77C7761-0005-4EEA-ACA4-550F5F9BC0C8}"/>
              </a:ext>
            </a:extLst>
          </p:cNvPr>
          <p:cNvSpPr>
            <a:spLocks/>
          </p:cNvSpPr>
          <p:nvPr userDrawn="1"/>
        </p:nvSpPr>
        <p:spPr bwMode="auto">
          <a:xfrm>
            <a:off x="5602160" y="12027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1" name="Freeform 1683">
            <a:extLst>
              <a:ext uri="{FF2B5EF4-FFF2-40B4-BE49-F238E27FC236}">
                <a16:creationId xmlns:a16="http://schemas.microsoft.com/office/drawing/2014/main" id="{C24A4FAD-EF1F-4175-AB43-43F4A629FA1A}"/>
              </a:ext>
            </a:extLst>
          </p:cNvPr>
          <p:cNvSpPr>
            <a:spLocks/>
          </p:cNvSpPr>
          <p:nvPr userDrawn="1"/>
        </p:nvSpPr>
        <p:spPr bwMode="auto">
          <a:xfrm>
            <a:off x="5787964" y="101802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2" name="Freeform 1684">
            <a:extLst>
              <a:ext uri="{FF2B5EF4-FFF2-40B4-BE49-F238E27FC236}">
                <a16:creationId xmlns:a16="http://schemas.microsoft.com/office/drawing/2014/main" id="{8CA56658-F102-4E4F-87CF-23D4F745BA72}"/>
              </a:ext>
            </a:extLst>
          </p:cNvPr>
          <p:cNvSpPr>
            <a:spLocks/>
          </p:cNvSpPr>
          <p:nvPr userDrawn="1"/>
        </p:nvSpPr>
        <p:spPr bwMode="auto">
          <a:xfrm>
            <a:off x="5787964" y="110620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3" name="Freeform 1685">
            <a:extLst>
              <a:ext uri="{FF2B5EF4-FFF2-40B4-BE49-F238E27FC236}">
                <a16:creationId xmlns:a16="http://schemas.microsoft.com/office/drawing/2014/main" id="{CDF76A7D-6D93-4AA6-8CF1-EC634E78DAE7}"/>
              </a:ext>
            </a:extLst>
          </p:cNvPr>
          <p:cNvSpPr>
            <a:spLocks/>
          </p:cNvSpPr>
          <p:nvPr userDrawn="1"/>
        </p:nvSpPr>
        <p:spPr bwMode="auto">
          <a:xfrm>
            <a:off x="5743874" y="101802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4" name="Freeform 1686">
            <a:extLst>
              <a:ext uri="{FF2B5EF4-FFF2-40B4-BE49-F238E27FC236}">
                <a16:creationId xmlns:a16="http://schemas.microsoft.com/office/drawing/2014/main" id="{906A6692-7DA4-4BA7-AF80-586A4E06CEDF}"/>
              </a:ext>
            </a:extLst>
          </p:cNvPr>
          <p:cNvSpPr>
            <a:spLocks/>
          </p:cNvSpPr>
          <p:nvPr userDrawn="1"/>
        </p:nvSpPr>
        <p:spPr bwMode="auto">
          <a:xfrm>
            <a:off x="5787964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5" name="Freeform 1687">
            <a:extLst>
              <a:ext uri="{FF2B5EF4-FFF2-40B4-BE49-F238E27FC236}">
                <a16:creationId xmlns:a16="http://schemas.microsoft.com/office/drawing/2014/main" id="{E8D2C9A0-A34F-4E72-B87F-C8D8E8FA0BC9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8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6" name="Freeform 1688">
            <a:extLst>
              <a:ext uri="{FF2B5EF4-FFF2-40B4-BE49-F238E27FC236}">
                <a16:creationId xmlns:a16="http://schemas.microsoft.com/office/drawing/2014/main" id="{CED7392D-1242-4FE4-8EAA-A9F37DED922A}"/>
              </a:ext>
            </a:extLst>
          </p:cNvPr>
          <p:cNvSpPr>
            <a:spLocks/>
          </p:cNvSpPr>
          <p:nvPr userDrawn="1"/>
        </p:nvSpPr>
        <p:spPr bwMode="auto">
          <a:xfrm>
            <a:off x="5744925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7" name="Freeform 1689">
            <a:extLst>
              <a:ext uri="{FF2B5EF4-FFF2-40B4-BE49-F238E27FC236}">
                <a16:creationId xmlns:a16="http://schemas.microsoft.com/office/drawing/2014/main" id="{BABDB966-00F1-4E1A-AFAD-368910096D11}"/>
              </a:ext>
            </a:extLst>
          </p:cNvPr>
          <p:cNvSpPr>
            <a:spLocks/>
          </p:cNvSpPr>
          <p:nvPr userDrawn="1"/>
        </p:nvSpPr>
        <p:spPr bwMode="auto">
          <a:xfrm>
            <a:off x="5694537" y="12027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8" name="Freeform 1690">
            <a:extLst>
              <a:ext uri="{FF2B5EF4-FFF2-40B4-BE49-F238E27FC236}">
                <a16:creationId xmlns:a16="http://schemas.microsoft.com/office/drawing/2014/main" id="{6423E8BE-2874-4430-9814-809530DA43B7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11145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9" name="Freeform 1691">
            <a:extLst>
              <a:ext uri="{FF2B5EF4-FFF2-40B4-BE49-F238E27FC236}">
                <a16:creationId xmlns:a16="http://schemas.microsoft.com/office/drawing/2014/main" id="{A7CF7B55-34CB-4B60-A461-7EB91CDB53F6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1114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0" name="Freeform 1692">
            <a:extLst>
              <a:ext uri="{FF2B5EF4-FFF2-40B4-BE49-F238E27FC236}">
                <a16:creationId xmlns:a16="http://schemas.microsoft.com/office/drawing/2014/main" id="{A84E4C2F-EBE7-42B3-8E0F-CD2E219474B0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1" name="Freeform 1693">
            <a:extLst>
              <a:ext uri="{FF2B5EF4-FFF2-40B4-BE49-F238E27FC236}">
                <a16:creationId xmlns:a16="http://schemas.microsoft.com/office/drawing/2014/main" id="{F83D87FE-8AA5-4E31-933A-5831B0B628CF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1114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2" name="Freeform 1694">
            <a:extLst>
              <a:ext uri="{FF2B5EF4-FFF2-40B4-BE49-F238E27FC236}">
                <a16:creationId xmlns:a16="http://schemas.microsoft.com/office/drawing/2014/main" id="{1117CA0A-9906-4143-BFF6-F5D84E927CF1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1114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3" name="Freeform 1695">
            <a:extLst>
              <a:ext uri="{FF2B5EF4-FFF2-40B4-BE49-F238E27FC236}">
                <a16:creationId xmlns:a16="http://schemas.microsoft.com/office/drawing/2014/main" id="{54BD2987-5D97-4759-8A64-CACEE9303E1B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1114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4" name="Freeform 1696">
            <a:extLst>
              <a:ext uri="{FF2B5EF4-FFF2-40B4-BE49-F238E27FC236}">
                <a16:creationId xmlns:a16="http://schemas.microsoft.com/office/drawing/2014/main" id="{BCE502E7-8C02-473C-A134-759BD0FF29E5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1114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6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5" name="Freeform 1697">
            <a:extLst>
              <a:ext uri="{FF2B5EF4-FFF2-40B4-BE49-F238E27FC236}">
                <a16:creationId xmlns:a16="http://schemas.microsoft.com/office/drawing/2014/main" id="{B299736F-8BC5-438D-BEDE-F727F0FB8B05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248971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6" name="Freeform 1698">
            <a:extLst>
              <a:ext uri="{FF2B5EF4-FFF2-40B4-BE49-F238E27FC236}">
                <a16:creationId xmlns:a16="http://schemas.microsoft.com/office/drawing/2014/main" id="{FFEC13CC-AA07-4B91-9853-83DFFC71043C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248971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7" name="Freeform 1699">
            <a:extLst>
              <a:ext uri="{FF2B5EF4-FFF2-40B4-BE49-F238E27FC236}">
                <a16:creationId xmlns:a16="http://schemas.microsoft.com/office/drawing/2014/main" id="{A62BFFE8-D07F-42B9-A257-6B0C51C046CF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248971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3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8" name="Freeform 1700">
            <a:extLst>
              <a:ext uri="{FF2B5EF4-FFF2-40B4-BE49-F238E27FC236}">
                <a16:creationId xmlns:a16="http://schemas.microsoft.com/office/drawing/2014/main" id="{6B9BDBAB-9C9C-4FED-981C-6505536DBE06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20278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9" name="Freeform 1701">
            <a:extLst>
              <a:ext uri="{FF2B5EF4-FFF2-40B4-BE49-F238E27FC236}">
                <a16:creationId xmlns:a16="http://schemas.microsoft.com/office/drawing/2014/main" id="{478FEC91-E554-4B2E-9418-4F4D5BF7A716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20278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0" name="Freeform 1702">
            <a:extLst>
              <a:ext uri="{FF2B5EF4-FFF2-40B4-BE49-F238E27FC236}">
                <a16:creationId xmlns:a16="http://schemas.microsoft.com/office/drawing/2014/main" id="{DF419E61-DD12-4362-807B-6584253C5A2E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202782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1" name="Freeform 1703">
            <a:extLst>
              <a:ext uri="{FF2B5EF4-FFF2-40B4-BE49-F238E27FC236}">
                <a16:creationId xmlns:a16="http://schemas.microsoft.com/office/drawing/2014/main" id="{7B9A129F-2C44-4383-ADF6-7F8A911563CA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248971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2" name="Freeform 1704">
            <a:extLst>
              <a:ext uri="{FF2B5EF4-FFF2-40B4-BE49-F238E27FC236}">
                <a16:creationId xmlns:a16="http://schemas.microsoft.com/office/drawing/2014/main" id="{E2AFE48B-5F67-4B45-8D94-6806BD052557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248971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3" name="Freeform 1705">
            <a:extLst>
              <a:ext uri="{FF2B5EF4-FFF2-40B4-BE49-F238E27FC236}">
                <a16:creationId xmlns:a16="http://schemas.microsoft.com/office/drawing/2014/main" id="{6E841194-1B02-43F6-971B-4CFB1CDB29A2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248971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4" name="Freeform 1706">
            <a:extLst>
              <a:ext uri="{FF2B5EF4-FFF2-40B4-BE49-F238E27FC236}">
                <a16:creationId xmlns:a16="http://schemas.microsoft.com/office/drawing/2014/main" id="{1486CA73-FDFC-4944-B452-A766500045F2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248971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5" name="Freeform 1707">
            <a:extLst>
              <a:ext uri="{FF2B5EF4-FFF2-40B4-BE49-F238E27FC236}">
                <a16:creationId xmlns:a16="http://schemas.microsoft.com/office/drawing/2014/main" id="{A0AE5528-CAFA-48F6-A94F-E82FFFFBB900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248971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6" name="Freeform 1708">
            <a:extLst>
              <a:ext uri="{FF2B5EF4-FFF2-40B4-BE49-F238E27FC236}">
                <a16:creationId xmlns:a16="http://schemas.microsoft.com/office/drawing/2014/main" id="{1ECB1720-58D8-4DA4-BCDA-BBCC44E6C6F4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202782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7" name="Freeform 1709">
            <a:extLst>
              <a:ext uri="{FF2B5EF4-FFF2-40B4-BE49-F238E27FC236}">
                <a16:creationId xmlns:a16="http://schemas.microsoft.com/office/drawing/2014/main" id="{C8FE8484-B7EC-466E-A531-F3464506256F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20278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8" name="Freeform 1710">
            <a:extLst>
              <a:ext uri="{FF2B5EF4-FFF2-40B4-BE49-F238E27FC236}">
                <a16:creationId xmlns:a16="http://schemas.microsoft.com/office/drawing/2014/main" id="{D2EB2987-9247-4F9B-99CA-89A1C320EFD1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248971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9" name="Freeform 1711">
            <a:extLst>
              <a:ext uri="{FF2B5EF4-FFF2-40B4-BE49-F238E27FC236}">
                <a16:creationId xmlns:a16="http://schemas.microsoft.com/office/drawing/2014/main" id="{0AB231C2-22BC-4F06-9C1C-66998CAA0792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20278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0" name="Freeform 1712">
            <a:extLst>
              <a:ext uri="{FF2B5EF4-FFF2-40B4-BE49-F238E27FC236}">
                <a16:creationId xmlns:a16="http://schemas.microsoft.com/office/drawing/2014/main" id="{EDB3C1F4-3737-421F-B28B-7F2E30755797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20278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1" name="Freeform 1713">
            <a:extLst>
              <a:ext uri="{FF2B5EF4-FFF2-40B4-BE49-F238E27FC236}">
                <a16:creationId xmlns:a16="http://schemas.microsoft.com/office/drawing/2014/main" id="{5C07C7A2-8FFF-496B-996D-B67C56748C7E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20278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2" name="Freeform 1714">
            <a:extLst>
              <a:ext uri="{FF2B5EF4-FFF2-40B4-BE49-F238E27FC236}">
                <a16:creationId xmlns:a16="http://schemas.microsoft.com/office/drawing/2014/main" id="{847316C2-77A9-4A8D-AAA2-7D860593E390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20278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rgbClr val="89057C">
              <a:alpha val="41961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3" name="Freeform 1715">
            <a:extLst>
              <a:ext uri="{FF2B5EF4-FFF2-40B4-BE49-F238E27FC236}">
                <a16:creationId xmlns:a16="http://schemas.microsoft.com/office/drawing/2014/main" id="{AFFA989C-B3DE-473B-BF61-7C8F3EAF2F94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34449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4" name="Freeform 1716">
            <a:extLst>
              <a:ext uri="{FF2B5EF4-FFF2-40B4-BE49-F238E27FC236}">
                <a16:creationId xmlns:a16="http://schemas.microsoft.com/office/drawing/2014/main" id="{1868F139-B04F-427F-B764-B73BED469582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34449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5" name="Freeform 1717">
            <a:extLst>
              <a:ext uri="{FF2B5EF4-FFF2-40B4-BE49-F238E27FC236}">
                <a16:creationId xmlns:a16="http://schemas.microsoft.com/office/drawing/2014/main" id="{497DACF4-F371-452C-828F-CCE98010E88B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34449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6" name="Freeform 1718">
            <a:extLst>
              <a:ext uri="{FF2B5EF4-FFF2-40B4-BE49-F238E27FC236}">
                <a16:creationId xmlns:a16="http://schemas.microsoft.com/office/drawing/2014/main" id="{968A32B4-D010-43AA-8391-9650B3F4736B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29830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7" name="Freeform 1719">
            <a:extLst>
              <a:ext uri="{FF2B5EF4-FFF2-40B4-BE49-F238E27FC236}">
                <a16:creationId xmlns:a16="http://schemas.microsoft.com/office/drawing/2014/main" id="{5A208521-F644-49FD-9C0B-86FD05169A27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298309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8" name="Freeform 1720">
            <a:extLst>
              <a:ext uri="{FF2B5EF4-FFF2-40B4-BE49-F238E27FC236}">
                <a16:creationId xmlns:a16="http://schemas.microsoft.com/office/drawing/2014/main" id="{78856A2D-95F2-4737-A19E-A64ED3136958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298309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9" name="Freeform 1721">
            <a:extLst>
              <a:ext uri="{FF2B5EF4-FFF2-40B4-BE49-F238E27FC236}">
                <a16:creationId xmlns:a16="http://schemas.microsoft.com/office/drawing/2014/main" id="{9CDC4F7A-F1BD-4EE6-9FAB-95D3FC879C0B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34449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0" name="Freeform 1722">
            <a:extLst>
              <a:ext uri="{FF2B5EF4-FFF2-40B4-BE49-F238E27FC236}">
                <a16:creationId xmlns:a16="http://schemas.microsoft.com/office/drawing/2014/main" id="{D7AD9CF1-A300-4404-BBFD-5EB759AADEB6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34449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1" name="Freeform 1723">
            <a:extLst>
              <a:ext uri="{FF2B5EF4-FFF2-40B4-BE49-F238E27FC236}">
                <a16:creationId xmlns:a16="http://schemas.microsoft.com/office/drawing/2014/main" id="{3E15B45C-BBB5-4C57-8EF2-F0F18007918A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34449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2" name="Freeform 1724">
            <a:extLst>
              <a:ext uri="{FF2B5EF4-FFF2-40B4-BE49-F238E27FC236}">
                <a16:creationId xmlns:a16="http://schemas.microsoft.com/office/drawing/2014/main" id="{CD41910D-4738-4731-8B34-7C7D884510BA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34449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3" name="Freeform 1725">
            <a:extLst>
              <a:ext uri="{FF2B5EF4-FFF2-40B4-BE49-F238E27FC236}">
                <a16:creationId xmlns:a16="http://schemas.microsoft.com/office/drawing/2014/main" id="{7F305C0C-DCEC-40B1-A6D2-B4462009D364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34449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4" name="Freeform 1726">
            <a:extLst>
              <a:ext uri="{FF2B5EF4-FFF2-40B4-BE49-F238E27FC236}">
                <a16:creationId xmlns:a16="http://schemas.microsoft.com/office/drawing/2014/main" id="{9CC82E1E-BC4B-4044-863F-177D9A244F58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298309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5" name="Freeform 1727">
            <a:extLst>
              <a:ext uri="{FF2B5EF4-FFF2-40B4-BE49-F238E27FC236}">
                <a16:creationId xmlns:a16="http://schemas.microsoft.com/office/drawing/2014/main" id="{D550EF58-CC77-4FFE-93EC-4D8B846CF074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29830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8 w 155"/>
              <a:gd name="T25" fmla="*/ 136 h 155"/>
              <a:gd name="T26" fmla="*/ 18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0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6" name="Freeform 1728">
            <a:extLst>
              <a:ext uri="{FF2B5EF4-FFF2-40B4-BE49-F238E27FC236}">
                <a16:creationId xmlns:a16="http://schemas.microsoft.com/office/drawing/2014/main" id="{AD50986A-56FA-4242-93A5-28A5BD7F7895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34449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7" name="Freeform 1729">
            <a:extLst>
              <a:ext uri="{FF2B5EF4-FFF2-40B4-BE49-F238E27FC236}">
                <a16:creationId xmlns:a16="http://schemas.microsoft.com/office/drawing/2014/main" id="{FCE1F044-8891-4B6F-A743-8AD7C7A93F08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29830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8" name="Freeform 1730">
            <a:extLst>
              <a:ext uri="{FF2B5EF4-FFF2-40B4-BE49-F238E27FC236}">
                <a16:creationId xmlns:a16="http://schemas.microsoft.com/office/drawing/2014/main" id="{B444D61F-D441-4E52-808B-F39611EF7D72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298309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9" name="Freeform 1731">
            <a:extLst>
              <a:ext uri="{FF2B5EF4-FFF2-40B4-BE49-F238E27FC236}">
                <a16:creationId xmlns:a16="http://schemas.microsoft.com/office/drawing/2014/main" id="{92A5CDFB-F25E-4F53-93E0-3E1063312EE1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29830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0" name="Freeform 1732">
            <a:extLst>
              <a:ext uri="{FF2B5EF4-FFF2-40B4-BE49-F238E27FC236}">
                <a16:creationId xmlns:a16="http://schemas.microsoft.com/office/drawing/2014/main" id="{7A1C4F7A-E4AB-4829-9FBF-0060EBFFBCD6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298309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3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1" name="Freeform 1733">
            <a:extLst>
              <a:ext uri="{FF2B5EF4-FFF2-40B4-BE49-F238E27FC236}">
                <a16:creationId xmlns:a16="http://schemas.microsoft.com/office/drawing/2014/main" id="{059C4AA5-0DA2-4CDD-9541-FA0A1D484B5B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43792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2" name="Freeform 1734">
            <a:extLst>
              <a:ext uri="{FF2B5EF4-FFF2-40B4-BE49-F238E27FC236}">
                <a16:creationId xmlns:a16="http://schemas.microsoft.com/office/drawing/2014/main" id="{A7A55BCE-82AE-423F-A208-C19443EED808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43792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3" name="Freeform 1735">
            <a:extLst>
              <a:ext uri="{FF2B5EF4-FFF2-40B4-BE49-F238E27FC236}">
                <a16:creationId xmlns:a16="http://schemas.microsoft.com/office/drawing/2014/main" id="{87D4F0B2-E89E-4603-B318-1FD8FA0681DE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43792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4" name="Freeform 1736">
            <a:extLst>
              <a:ext uri="{FF2B5EF4-FFF2-40B4-BE49-F238E27FC236}">
                <a16:creationId xmlns:a16="http://schemas.microsoft.com/office/drawing/2014/main" id="{8345B252-CE29-4550-BB8B-B037826C0BAE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39173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5" name="Freeform 1737">
            <a:extLst>
              <a:ext uri="{FF2B5EF4-FFF2-40B4-BE49-F238E27FC236}">
                <a16:creationId xmlns:a16="http://schemas.microsoft.com/office/drawing/2014/main" id="{F20298D4-4D0D-4523-82F0-694A17407F8E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3917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6" name="Freeform 1738">
            <a:extLst>
              <a:ext uri="{FF2B5EF4-FFF2-40B4-BE49-F238E27FC236}">
                <a16:creationId xmlns:a16="http://schemas.microsoft.com/office/drawing/2014/main" id="{12A36547-5718-4CFD-AC38-00AB4DF8318F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39173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7" name="Freeform 1739">
            <a:extLst>
              <a:ext uri="{FF2B5EF4-FFF2-40B4-BE49-F238E27FC236}">
                <a16:creationId xmlns:a16="http://schemas.microsoft.com/office/drawing/2014/main" id="{D4AB1BD1-BFFB-48DC-97B8-EC805563ECBB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43792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8" name="Freeform 1740">
            <a:extLst>
              <a:ext uri="{FF2B5EF4-FFF2-40B4-BE49-F238E27FC236}">
                <a16:creationId xmlns:a16="http://schemas.microsoft.com/office/drawing/2014/main" id="{8C0F9242-807A-4C16-A526-41C5D8AE3945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43792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0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9" name="Freeform 1741">
            <a:extLst>
              <a:ext uri="{FF2B5EF4-FFF2-40B4-BE49-F238E27FC236}">
                <a16:creationId xmlns:a16="http://schemas.microsoft.com/office/drawing/2014/main" id="{AF3E8681-9E5D-4CC5-8C18-D9F2E1CC452C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43792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0" name="Freeform 1742">
            <a:extLst>
              <a:ext uri="{FF2B5EF4-FFF2-40B4-BE49-F238E27FC236}">
                <a16:creationId xmlns:a16="http://schemas.microsoft.com/office/drawing/2014/main" id="{9E9362C9-917E-429F-A41F-CA2ECF0A2508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43792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1" name="Freeform 1743">
            <a:extLst>
              <a:ext uri="{FF2B5EF4-FFF2-40B4-BE49-F238E27FC236}">
                <a16:creationId xmlns:a16="http://schemas.microsoft.com/office/drawing/2014/main" id="{F343DE7B-922C-4029-BDDC-4FC2118216AB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43792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2" name="Freeform 1744">
            <a:extLst>
              <a:ext uri="{FF2B5EF4-FFF2-40B4-BE49-F238E27FC236}">
                <a16:creationId xmlns:a16="http://schemas.microsoft.com/office/drawing/2014/main" id="{30338D20-D09D-4C13-94C1-412618F384D3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39173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3" name="Freeform 1745">
            <a:extLst>
              <a:ext uri="{FF2B5EF4-FFF2-40B4-BE49-F238E27FC236}">
                <a16:creationId xmlns:a16="http://schemas.microsoft.com/office/drawing/2014/main" id="{62B01101-F403-4E23-AADB-AA94D9267BC5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39173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4" name="Freeform 1746">
            <a:extLst>
              <a:ext uri="{FF2B5EF4-FFF2-40B4-BE49-F238E27FC236}">
                <a16:creationId xmlns:a16="http://schemas.microsoft.com/office/drawing/2014/main" id="{FD9E2E56-DE9C-48A7-A917-5F8A80BB0522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43792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5" name="Freeform 1747">
            <a:extLst>
              <a:ext uri="{FF2B5EF4-FFF2-40B4-BE49-F238E27FC236}">
                <a16:creationId xmlns:a16="http://schemas.microsoft.com/office/drawing/2014/main" id="{414957F0-F1F6-48EF-9E6A-0CDD2F35F1C2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39173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6" name="Freeform 1748">
            <a:extLst>
              <a:ext uri="{FF2B5EF4-FFF2-40B4-BE49-F238E27FC236}">
                <a16:creationId xmlns:a16="http://schemas.microsoft.com/office/drawing/2014/main" id="{3CD29B6A-4D7C-443C-BD6E-933F84FC70E1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3917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7" name="Freeform 1749">
            <a:extLst>
              <a:ext uri="{FF2B5EF4-FFF2-40B4-BE49-F238E27FC236}">
                <a16:creationId xmlns:a16="http://schemas.microsoft.com/office/drawing/2014/main" id="{BE5D0901-D0CA-41B9-8D76-1317409435D6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39173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8" name="Freeform 1750">
            <a:extLst>
              <a:ext uri="{FF2B5EF4-FFF2-40B4-BE49-F238E27FC236}">
                <a16:creationId xmlns:a16="http://schemas.microsoft.com/office/drawing/2014/main" id="{CE011C08-A7F9-4AC4-AF9F-C0C1E7565FA4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3917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9" name="Freeform 1751">
            <a:extLst>
              <a:ext uri="{FF2B5EF4-FFF2-40B4-BE49-F238E27FC236}">
                <a16:creationId xmlns:a16="http://schemas.microsoft.com/office/drawing/2014/main" id="{9EA6EE7D-5502-44AB-8A6A-678410A23F53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134449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0" name="Freeform 1752">
            <a:extLst>
              <a:ext uri="{FF2B5EF4-FFF2-40B4-BE49-F238E27FC236}">
                <a16:creationId xmlns:a16="http://schemas.microsoft.com/office/drawing/2014/main" id="{246B9765-3F17-4C9D-8BA4-293011F4C95A}"/>
              </a:ext>
            </a:extLst>
          </p:cNvPr>
          <p:cNvSpPr>
            <a:spLocks/>
          </p:cNvSpPr>
          <p:nvPr userDrawn="1"/>
        </p:nvSpPr>
        <p:spPr bwMode="auto">
          <a:xfrm>
            <a:off x="5501385" y="134449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1" name="Freeform 1753">
            <a:extLst>
              <a:ext uri="{FF2B5EF4-FFF2-40B4-BE49-F238E27FC236}">
                <a16:creationId xmlns:a16="http://schemas.microsoft.com/office/drawing/2014/main" id="{B790901A-4238-47CA-ABF6-808E7DBFAFA9}"/>
              </a:ext>
            </a:extLst>
          </p:cNvPr>
          <p:cNvSpPr>
            <a:spLocks/>
          </p:cNvSpPr>
          <p:nvPr userDrawn="1"/>
        </p:nvSpPr>
        <p:spPr bwMode="auto">
          <a:xfrm>
            <a:off x="5523429" y="148411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2" name="Freeform 1754">
            <a:extLst>
              <a:ext uri="{FF2B5EF4-FFF2-40B4-BE49-F238E27FC236}">
                <a16:creationId xmlns:a16="http://schemas.microsoft.com/office/drawing/2014/main" id="{A27C05D7-58F7-4858-BAE6-6C2D06144049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161742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3" name="Freeform 1755">
            <a:extLst>
              <a:ext uri="{FF2B5EF4-FFF2-40B4-BE49-F238E27FC236}">
                <a16:creationId xmlns:a16="http://schemas.microsoft.com/office/drawing/2014/main" id="{8BF1B901-BA7E-4C33-B15C-5D81D0216D4A}"/>
              </a:ext>
            </a:extLst>
          </p:cNvPr>
          <p:cNvSpPr>
            <a:spLocks/>
          </p:cNvSpPr>
          <p:nvPr userDrawn="1"/>
        </p:nvSpPr>
        <p:spPr bwMode="auto">
          <a:xfrm>
            <a:off x="5557021" y="166571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4" name="Freeform 1756">
            <a:extLst>
              <a:ext uri="{FF2B5EF4-FFF2-40B4-BE49-F238E27FC236}">
                <a16:creationId xmlns:a16="http://schemas.microsoft.com/office/drawing/2014/main" id="{CBAA7746-3E16-4299-83BA-DCEF8DCCCBD8}"/>
              </a:ext>
            </a:extLst>
          </p:cNvPr>
          <p:cNvSpPr>
            <a:spLocks/>
          </p:cNvSpPr>
          <p:nvPr userDrawn="1"/>
        </p:nvSpPr>
        <p:spPr bwMode="auto">
          <a:xfrm>
            <a:off x="5601110" y="1715055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5" name="Freeform 1757">
            <a:extLst>
              <a:ext uri="{FF2B5EF4-FFF2-40B4-BE49-F238E27FC236}">
                <a16:creationId xmlns:a16="http://schemas.microsoft.com/office/drawing/2014/main" id="{C263726F-6ABF-4EE5-B0D5-AFDFD2A0B29F}"/>
              </a:ext>
            </a:extLst>
          </p:cNvPr>
          <p:cNvSpPr>
            <a:spLocks/>
          </p:cNvSpPr>
          <p:nvPr userDrawn="1"/>
        </p:nvSpPr>
        <p:spPr bwMode="auto">
          <a:xfrm>
            <a:off x="5649398" y="175599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6" name="Freeform 1758">
            <a:extLst>
              <a:ext uri="{FF2B5EF4-FFF2-40B4-BE49-F238E27FC236}">
                <a16:creationId xmlns:a16="http://schemas.microsoft.com/office/drawing/2014/main" id="{C03F4780-AB41-4611-A484-FC6E3AA1143B}"/>
              </a:ext>
            </a:extLst>
          </p:cNvPr>
          <p:cNvSpPr>
            <a:spLocks/>
          </p:cNvSpPr>
          <p:nvPr userDrawn="1"/>
        </p:nvSpPr>
        <p:spPr bwMode="auto">
          <a:xfrm>
            <a:off x="5610558" y="180218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7" name="Freeform 1759">
            <a:extLst>
              <a:ext uri="{FF2B5EF4-FFF2-40B4-BE49-F238E27FC236}">
                <a16:creationId xmlns:a16="http://schemas.microsoft.com/office/drawing/2014/main" id="{B8A304D9-2693-4EF5-B449-61AA9645DFEE}"/>
              </a:ext>
            </a:extLst>
          </p:cNvPr>
          <p:cNvSpPr>
            <a:spLocks/>
          </p:cNvSpPr>
          <p:nvPr userDrawn="1"/>
        </p:nvSpPr>
        <p:spPr bwMode="auto">
          <a:xfrm>
            <a:off x="5509783" y="180218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8" name="Freeform 1760">
            <a:extLst>
              <a:ext uri="{FF2B5EF4-FFF2-40B4-BE49-F238E27FC236}">
                <a16:creationId xmlns:a16="http://schemas.microsoft.com/office/drawing/2014/main" id="{CD1E4A52-7296-4D4C-97CF-51E45CEB2A55}"/>
              </a:ext>
            </a:extLst>
          </p:cNvPr>
          <p:cNvSpPr>
            <a:spLocks/>
          </p:cNvSpPr>
          <p:nvPr userDrawn="1"/>
        </p:nvSpPr>
        <p:spPr bwMode="auto">
          <a:xfrm>
            <a:off x="5648348" y="1849421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9" name="Freeform 1761">
            <a:extLst>
              <a:ext uri="{FF2B5EF4-FFF2-40B4-BE49-F238E27FC236}">
                <a16:creationId xmlns:a16="http://schemas.microsoft.com/office/drawing/2014/main" id="{AF27794F-CE01-4449-9938-3F0C5E9B5159}"/>
              </a:ext>
            </a:extLst>
          </p:cNvPr>
          <p:cNvSpPr>
            <a:spLocks/>
          </p:cNvSpPr>
          <p:nvPr userDrawn="1"/>
        </p:nvSpPr>
        <p:spPr bwMode="auto">
          <a:xfrm>
            <a:off x="5688239" y="1849421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0" name="Freeform 1762">
            <a:extLst>
              <a:ext uri="{FF2B5EF4-FFF2-40B4-BE49-F238E27FC236}">
                <a16:creationId xmlns:a16="http://schemas.microsoft.com/office/drawing/2014/main" id="{EAF7282E-1F3B-4447-8933-58460805EA8E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1298309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3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1" name="Freeform 1763">
            <a:extLst>
              <a:ext uri="{FF2B5EF4-FFF2-40B4-BE49-F238E27FC236}">
                <a16:creationId xmlns:a16="http://schemas.microsoft.com/office/drawing/2014/main" id="{4BACFC8C-6C0F-4A89-B147-7FC1509DEC9C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143792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2" name="Freeform 1764">
            <a:extLst>
              <a:ext uri="{FF2B5EF4-FFF2-40B4-BE49-F238E27FC236}">
                <a16:creationId xmlns:a16="http://schemas.microsoft.com/office/drawing/2014/main" id="{D4173259-4273-4079-9A21-4ED2566231DA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13917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3" name="Freeform 1765">
            <a:extLst>
              <a:ext uri="{FF2B5EF4-FFF2-40B4-BE49-F238E27FC236}">
                <a16:creationId xmlns:a16="http://schemas.microsoft.com/office/drawing/2014/main" id="{D7FD9AED-AA49-45DA-BE49-1FE7D6EDEE38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52610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4" name="Freeform 1766">
            <a:extLst>
              <a:ext uri="{FF2B5EF4-FFF2-40B4-BE49-F238E27FC236}">
                <a16:creationId xmlns:a16="http://schemas.microsoft.com/office/drawing/2014/main" id="{CD7F3AB2-67DE-402F-B6F9-0F2437C78044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52610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5" name="Freeform 1767">
            <a:extLst>
              <a:ext uri="{FF2B5EF4-FFF2-40B4-BE49-F238E27FC236}">
                <a16:creationId xmlns:a16="http://schemas.microsoft.com/office/drawing/2014/main" id="{E2EF70EC-A5A0-49D0-99E0-F306D2F3B8F4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526102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0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6" name="Freeform 1768">
            <a:extLst>
              <a:ext uri="{FF2B5EF4-FFF2-40B4-BE49-F238E27FC236}">
                <a16:creationId xmlns:a16="http://schemas.microsoft.com/office/drawing/2014/main" id="{7D88C72F-E186-42EA-8A5B-ECE67616081C}"/>
              </a:ext>
            </a:extLst>
          </p:cNvPr>
          <p:cNvSpPr>
            <a:spLocks/>
          </p:cNvSpPr>
          <p:nvPr userDrawn="1"/>
        </p:nvSpPr>
        <p:spPr bwMode="auto">
          <a:xfrm>
            <a:off x="5046849" y="147886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7" name="Freeform 1769">
            <a:extLst>
              <a:ext uri="{FF2B5EF4-FFF2-40B4-BE49-F238E27FC236}">
                <a16:creationId xmlns:a16="http://schemas.microsoft.com/office/drawing/2014/main" id="{03CFEA56-9AE0-4186-9B98-3DDC08FAD2D0}"/>
              </a:ext>
            </a:extLst>
          </p:cNvPr>
          <p:cNvSpPr>
            <a:spLocks/>
          </p:cNvSpPr>
          <p:nvPr userDrawn="1"/>
        </p:nvSpPr>
        <p:spPr bwMode="auto">
          <a:xfrm>
            <a:off x="5093037" y="147886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8" name="Freeform 1770">
            <a:extLst>
              <a:ext uri="{FF2B5EF4-FFF2-40B4-BE49-F238E27FC236}">
                <a16:creationId xmlns:a16="http://schemas.microsoft.com/office/drawing/2014/main" id="{DB2F5D3A-5C06-44B5-B23C-C6E78B781C22}"/>
              </a:ext>
            </a:extLst>
          </p:cNvPr>
          <p:cNvSpPr>
            <a:spLocks/>
          </p:cNvSpPr>
          <p:nvPr userDrawn="1"/>
        </p:nvSpPr>
        <p:spPr bwMode="auto">
          <a:xfrm>
            <a:off x="5139226" y="147886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4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9" name="Freeform 1771">
            <a:extLst>
              <a:ext uri="{FF2B5EF4-FFF2-40B4-BE49-F238E27FC236}">
                <a16:creationId xmlns:a16="http://schemas.microsoft.com/office/drawing/2014/main" id="{01088930-2D9E-4BF7-8371-AA8E177D7CF5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526102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0" name="Freeform 1772">
            <a:extLst>
              <a:ext uri="{FF2B5EF4-FFF2-40B4-BE49-F238E27FC236}">
                <a16:creationId xmlns:a16="http://schemas.microsoft.com/office/drawing/2014/main" id="{B226DA29-624C-42E7-BA11-1DDBE5E733A7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52610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1" name="Freeform 1773">
            <a:extLst>
              <a:ext uri="{FF2B5EF4-FFF2-40B4-BE49-F238E27FC236}">
                <a16:creationId xmlns:a16="http://schemas.microsoft.com/office/drawing/2014/main" id="{B8413B8D-01D4-4F65-9EB0-6F09713BD934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52610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2" name="Freeform 1774">
            <a:extLst>
              <a:ext uri="{FF2B5EF4-FFF2-40B4-BE49-F238E27FC236}">
                <a16:creationId xmlns:a16="http://schemas.microsoft.com/office/drawing/2014/main" id="{743B387B-B8B1-402C-A685-F2660FCAAC04}"/>
              </a:ext>
            </a:extLst>
          </p:cNvPr>
          <p:cNvSpPr>
            <a:spLocks/>
          </p:cNvSpPr>
          <p:nvPr userDrawn="1"/>
        </p:nvSpPr>
        <p:spPr bwMode="auto">
          <a:xfrm>
            <a:off x="5233702" y="147886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3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3" name="Freeform 1775">
            <a:extLst>
              <a:ext uri="{FF2B5EF4-FFF2-40B4-BE49-F238E27FC236}">
                <a16:creationId xmlns:a16="http://schemas.microsoft.com/office/drawing/2014/main" id="{EB6DB219-8541-4B70-89E0-CBECB944A160}"/>
              </a:ext>
            </a:extLst>
          </p:cNvPr>
          <p:cNvSpPr>
            <a:spLocks/>
          </p:cNvSpPr>
          <p:nvPr userDrawn="1"/>
        </p:nvSpPr>
        <p:spPr bwMode="auto">
          <a:xfrm>
            <a:off x="5279890" y="147886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4" name="Freeform 1776">
            <a:extLst>
              <a:ext uri="{FF2B5EF4-FFF2-40B4-BE49-F238E27FC236}">
                <a16:creationId xmlns:a16="http://schemas.microsoft.com/office/drawing/2014/main" id="{0A73298C-56A9-4364-AE6D-09E344204ADA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52610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5" name="Freeform 1777">
            <a:extLst>
              <a:ext uri="{FF2B5EF4-FFF2-40B4-BE49-F238E27FC236}">
                <a16:creationId xmlns:a16="http://schemas.microsoft.com/office/drawing/2014/main" id="{7F488CDF-F01C-4E5D-847E-0BF49613A3EE}"/>
              </a:ext>
            </a:extLst>
          </p:cNvPr>
          <p:cNvSpPr>
            <a:spLocks/>
          </p:cNvSpPr>
          <p:nvPr userDrawn="1"/>
        </p:nvSpPr>
        <p:spPr bwMode="auto">
          <a:xfrm>
            <a:off x="5187514" y="147886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6" name="Freeform 1778">
            <a:extLst>
              <a:ext uri="{FF2B5EF4-FFF2-40B4-BE49-F238E27FC236}">
                <a16:creationId xmlns:a16="http://schemas.microsoft.com/office/drawing/2014/main" id="{EA8306D0-3756-4329-B6EF-3F7C36B2D1BA}"/>
              </a:ext>
            </a:extLst>
          </p:cNvPr>
          <p:cNvSpPr>
            <a:spLocks/>
          </p:cNvSpPr>
          <p:nvPr userDrawn="1"/>
        </p:nvSpPr>
        <p:spPr bwMode="auto">
          <a:xfrm>
            <a:off x="5326079" y="147886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7" name="Freeform 1779">
            <a:extLst>
              <a:ext uri="{FF2B5EF4-FFF2-40B4-BE49-F238E27FC236}">
                <a16:creationId xmlns:a16="http://schemas.microsoft.com/office/drawing/2014/main" id="{278DC754-399A-4E9B-9272-6E5AC0BE6EC6}"/>
              </a:ext>
            </a:extLst>
          </p:cNvPr>
          <p:cNvSpPr>
            <a:spLocks/>
          </p:cNvSpPr>
          <p:nvPr userDrawn="1"/>
        </p:nvSpPr>
        <p:spPr bwMode="auto">
          <a:xfrm>
            <a:off x="5372267" y="147886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8" name="Freeform 1780">
            <a:extLst>
              <a:ext uri="{FF2B5EF4-FFF2-40B4-BE49-F238E27FC236}">
                <a16:creationId xmlns:a16="http://schemas.microsoft.com/office/drawing/2014/main" id="{0B5A593B-C5B0-415D-89C9-1A51FA6704AB}"/>
              </a:ext>
            </a:extLst>
          </p:cNvPr>
          <p:cNvSpPr>
            <a:spLocks/>
          </p:cNvSpPr>
          <p:nvPr userDrawn="1"/>
        </p:nvSpPr>
        <p:spPr bwMode="auto">
          <a:xfrm>
            <a:off x="5418456" y="147886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9" name="Freeform 1781">
            <a:extLst>
              <a:ext uri="{FF2B5EF4-FFF2-40B4-BE49-F238E27FC236}">
                <a16:creationId xmlns:a16="http://schemas.microsoft.com/office/drawing/2014/main" id="{4EA7C397-A7C7-48B2-97B5-14B7476C75BF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26511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0" name="Freeform 1782">
            <a:extLst>
              <a:ext uri="{FF2B5EF4-FFF2-40B4-BE49-F238E27FC236}">
                <a16:creationId xmlns:a16="http://schemas.microsoft.com/office/drawing/2014/main" id="{F1C36EA3-773D-4769-8C04-803FEF6A916F}"/>
              </a:ext>
            </a:extLst>
          </p:cNvPr>
          <p:cNvSpPr>
            <a:spLocks/>
          </p:cNvSpPr>
          <p:nvPr userDrawn="1"/>
        </p:nvSpPr>
        <p:spPr bwMode="auto">
          <a:xfrm>
            <a:off x="5739675" y="202472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1" name="Freeform 1783">
            <a:extLst>
              <a:ext uri="{FF2B5EF4-FFF2-40B4-BE49-F238E27FC236}">
                <a16:creationId xmlns:a16="http://schemas.microsoft.com/office/drawing/2014/main" id="{BE4BFB19-1D7A-4914-A5C7-4C9588B12E73}"/>
              </a:ext>
            </a:extLst>
          </p:cNvPr>
          <p:cNvSpPr>
            <a:spLocks/>
          </p:cNvSpPr>
          <p:nvPr userDrawn="1"/>
        </p:nvSpPr>
        <p:spPr bwMode="auto">
          <a:xfrm>
            <a:off x="5739675" y="198378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9 w 155"/>
              <a:gd name="T29" fmla="*/ 114 h 154"/>
              <a:gd name="T30" fmla="*/ 3 w 155"/>
              <a:gd name="T31" fmla="*/ 100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2" name="Freeform 1784">
            <a:extLst>
              <a:ext uri="{FF2B5EF4-FFF2-40B4-BE49-F238E27FC236}">
                <a16:creationId xmlns:a16="http://schemas.microsoft.com/office/drawing/2014/main" id="{3DF04F84-D751-4600-94DC-579A36EA4BFA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356445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2 h 155"/>
              <a:gd name="T22" fmla="*/ 41 w 155"/>
              <a:gd name="T23" fmla="*/ 145 h 155"/>
              <a:gd name="T24" fmla="*/ 28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3 w 155"/>
              <a:gd name="T41" fmla="*/ 34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5 w 155"/>
              <a:gd name="T63" fmla="*/ 41 h 155"/>
              <a:gd name="T64" fmla="*/ 152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1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3" name="Freeform 1785">
            <a:extLst>
              <a:ext uri="{FF2B5EF4-FFF2-40B4-BE49-F238E27FC236}">
                <a16:creationId xmlns:a16="http://schemas.microsoft.com/office/drawing/2014/main" id="{F765E03D-1558-49D8-8770-92FF4C40018C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35644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2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8 h 155"/>
              <a:gd name="T62" fmla="*/ 145 w 154"/>
              <a:gd name="T63" fmla="*/ 41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2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4" name="Freeform 1786">
            <a:extLst>
              <a:ext uri="{FF2B5EF4-FFF2-40B4-BE49-F238E27FC236}">
                <a16:creationId xmlns:a16="http://schemas.microsoft.com/office/drawing/2014/main" id="{0F39F7CD-F7B0-4CAC-82D6-D254DB1131FC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356445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2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6 w 155"/>
              <a:gd name="T63" fmla="*/ 41 h 155"/>
              <a:gd name="T64" fmla="*/ 152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2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2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5" name="Freeform 1787">
            <a:extLst>
              <a:ext uri="{FF2B5EF4-FFF2-40B4-BE49-F238E27FC236}">
                <a16:creationId xmlns:a16="http://schemas.microsoft.com/office/drawing/2014/main" id="{E73218CE-6BD3-4A8D-B7EB-FD8A275BB4E6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3092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6" name="Freeform 1788">
            <a:extLst>
              <a:ext uri="{FF2B5EF4-FFF2-40B4-BE49-F238E27FC236}">
                <a16:creationId xmlns:a16="http://schemas.microsoft.com/office/drawing/2014/main" id="{93302AD5-4C55-4F46-963E-881324B272D2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3092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7" name="Freeform 1789">
            <a:extLst>
              <a:ext uri="{FF2B5EF4-FFF2-40B4-BE49-F238E27FC236}">
                <a16:creationId xmlns:a16="http://schemas.microsoft.com/office/drawing/2014/main" id="{4F36D75A-071B-4F90-B71B-4C94CFD22911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4519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8" name="Freeform 1790">
            <a:extLst>
              <a:ext uri="{FF2B5EF4-FFF2-40B4-BE49-F238E27FC236}">
                <a16:creationId xmlns:a16="http://schemas.microsoft.com/office/drawing/2014/main" id="{4B98B990-529F-42C3-8E28-18B811C08A62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40473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9" name="Freeform 1791">
            <a:extLst>
              <a:ext uri="{FF2B5EF4-FFF2-40B4-BE49-F238E27FC236}">
                <a16:creationId xmlns:a16="http://schemas.microsoft.com/office/drawing/2014/main" id="{D72FA465-519D-474D-BF5E-C751C4DC690C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4519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0" name="Freeform 1792">
            <a:extLst>
              <a:ext uri="{FF2B5EF4-FFF2-40B4-BE49-F238E27FC236}">
                <a16:creationId xmlns:a16="http://schemas.microsoft.com/office/drawing/2014/main" id="{8EED5B0A-43DB-4331-9759-47D99B5F9A6A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45197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8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1" name="Freeform 1793">
            <a:extLst>
              <a:ext uri="{FF2B5EF4-FFF2-40B4-BE49-F238E27FC236}">
                <a16:creationId xmlns:a16="http://schemas.microsoft.com/office/drawing/2014/main" id="{3AB8DEFD-940D-4718-B06B-9BCC340E72A6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4519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2" name="Freeform 1794">
            <a:extLst>
              <a:ext uri="{FF2B5EF4-FFF2-40B4-BE49-F238E27FC236}">
                <a16:creationId xmlns:a16="http://schemas.microsoft.com/office/drawing/2014/main" id="{92F86CA5-24CE-4040-82F5-2146A2A7750F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45197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3" name="Freeform 1795">
            <a:extLst>
              <a:ext uri="{FF2B5EF4-FFF2-40B4-BE49-F238E27FC236}">
                <a16:creationId xmlns:a16="http://schemas.microsoft.com/office/drawing/2014/main" id="{FBA0D068-782D-4FD6-A69A-07CB4A50FC9F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07826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4" name="Freeform 1796">
            <a:extLst>
              <a:ext uri="{FF2B5EF4-FFF2-40B4-BE49-F238E27FC236}">
                <a16:creationId xmlns:a16="http://schemas.microsoft.com/office/drawing/2014/main" id="{89A58A00-D51D-45F3-BDA4-55F8FCD12586}"/>
              </a:ext>
            </a:extLst>
          </p:cNvPr>
          <p:cNvSpPr>
            <a:spLocks/>
          </p:cNvSpPr>
          <p:nvPr userDrawn="1"/>
        </p:nvSpPr>
        <p:spPr bwMode="auto">
          <a:xfrm>
            <a:off x="5834152" y="207826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5" name="Freeform 1797">
            <a:extLst>
              <a:ext uri="{FF2B5EF4-FFF2-40B4-BE49-F238E27FC236}">
                <a16:creationId xmlns:a16="http://schemas.microsoft.com/office/drawing/2014/main" id="{717E6B69-2E09-4FD0-8E90-46AC23189CF5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40473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6" name="Freeform 1798">
            <a:extLst>
              <a:ext uri="{FF2B5EF4-FFF2-40B4-BE49-F238E27FC236}">
                <a16:creationId xmlns:a16="http://schemas.microsoft.com/office/drawing/2014/main" id="{DD72904C-7091-493D-9BA5-0FEDEAD69151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404733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8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2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4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2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7" name="Freeform 1799">
            <a:extLst>
              <a:ext uri="{FF2B5EF4-FFF2-40B4-BE49-F238E27FC236}">
                <a16:creationId xmlns:a16="http://schemas.microsoft.com/office/drawing/2014/main" id="{4411C41B-884F-4B55-B5F2-F95698F20027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45197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8" name="Freeform 1800">
            <a:extLst>
              <a:ext uri="{FF2B5EF4-FFF2-40B4-BE49-F238E27FC236}">
                <a16:creationId xmlns:a16="http://schemas.microsoft.com/office/drawing/2014/main" id="{4561C0AA-B4B9-4332-9905-DB2C595133C6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404733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4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2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9" name="Freeform 1801">
            <a:extLst>
              <a:ext uri="{FF2B5EF4-FFF2-40B4-BE49-F238E27FC236}">
                <a16:creationId xmlns:a16="http://schemas.microsoft.com/office/drawing/2014/main" id="{37D81E28-7FC3-494B-B7C7-76F2A17A6B4C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40473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9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0" name="Freeform 1802">
            <a:extLst>
              <a:ext uri="{FF2B5EF4-FFF2-40B4-BE49-F238E27FC236}">
                <a16:creationId xmlns:a16="http://schemas.microsoft.com/office/drawing/2014/main" id="{EE066331-DF7D-4782-BBD0-64AA63F47E23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404733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1" name="Freeform 1803">
            <a:extLst>
              <a:ext uri="{FF2B5EF4-FFF2-40B4-BE49-F238E27FC236}">
                <a16:creationId xmlns:a16="http://schemas.microsoft.com/office/drawing/2014/main" id="{5787B8CC-22ED-4C9F-80FD-36F564DED002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2" name="Freeform 1804">
            <a:extLst>
              <a:ext uri="{FF2B5EF4-FFF2-40B4-BE49-F238E27FC236}">
                <a16:creationId xmlns:a16="http://schemas.microsoft.com/office/drawing/2014/main" id="{4236F5AE-C5F9-4358-A0AF-56504EDC74A5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3" name="Freeform 1805">
            <a:extLst>
              <a:ext uri="{FF2B5EF4-FFF2-40B4-BE49-F238E27FC236}">
                <a16:creationId xmlns:a16="http://schemas.microsoft.com/office/drawing/2014/main" id="{02E6A4A2-4D8E-483A-AA65-C2FEF69BC3B7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4" name="Freeform 1806">
            <a:extLst>
              <a:ext uri="{FF2B5EF4-FFF2-40B4-BE49-F238E27FC236}">
                <a16:creationId xmlns:a16="http://schemas.microsoft.com/office/drawing/2014/main" id="{D8185DC4-81D4-4770-9758-9CFEEDF1D94D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54434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1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2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5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1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2" y="55"/>
                </a:lnTo>
                <a:lnTo>
                  <a:pt x="153" y="61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5" name="Freeform 1807">
            <a:extLst>
              <a:ext uri="{FF2B5EF4-FFF2-40B4-BE49-F238E27FC236}">
                <a16:creationId xmlns:a16="http://schemas.microsoft.com/office/drawing/2014/main" id="{C631B1C2-B1AB-4DB4-B5A6-96B4D5F683B7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1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6" name="Freeform 1808">
            <a:extLst>
              <a:ext uri="{FF2B5EF4-FFF2-40B4-BE49-F238E27FC236}">
                <a16:creationId xmlns:a16="http://schemas.microsoft.com/office/drawing/2014/main" id="{8FF112A3-48F8-4263-AF49-1327112E20D3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54434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7" name="Freeform 1809">
            <a:extLst>
              <a:ext uri="{FF2B5EF4-FFF2-40B4-BE49-F238E27FC236}">
                <a16:creationId xmlns:a16="http://schemas.microsoft.com/office/drawing/2014/main" id="{FCEF1D47-E296-4168-A4A0-C727E7ABFD3C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8" name="Freeform 1810">
            <a:extLst>
              <a:ext uri="{FF2B5EF4-FFF2-40B4-BE49-F238E27FC236}">
                <a16:creationId xmlns:a16="http://schemas.microsoft.com/office/drawing/2014/main" id="{9A58655B-C779-474A-ADE9-AA8BE8CE8478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49815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8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9" name="Freeform 1811">
            <a:extLst>
              <a:ext uri="{FF2B5EF4-FFF2-40B4-BE49-F238E27FC236}">
                <a16:creationId xmlns:a16="http://schemas.microsoft.com/office/drawing/2014/main" id="{E694C60B-0B29-42F9-A975-778414B2DEF5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54434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2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1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2" y="55"/>
                </a:lnTo>
                <a:lnTo>
                  <a:pt x="153" y="61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0" name="Freeform 1812">
            <a:extLst>
              <a:ext uri="{FF2B5EF4-FFF2-40B4-BE49-F238E27FC236}">
                <a16:creationId xmlns:a16="http://schemas.microsoft.com/office/drawing/2014/main" id="{B8597FAB-F8D3-45F8-874D-F17A5488A2D1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49815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1" name="Freeform 1814">
            <a:extLst>
              <a:ext uri="{FF2B5EF4-FFF2-40B4-BE49-F238E27FC236}">
                <a16:creationId xmlns:a16="http://schemas.microsoft.com/office/drawing/2014/main" id="{70E880A1-40F1-4888-BEEC-DDDB3E5EE380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2" name="Freeform 1815">
            <a:extLst>
              <a:ext uri="{FF2B5EF4-FFF2-40B4-BE49-F238E27FC236}">
                <a16:creationId xmlns:a16="http://schemas.microsoft.com/office/drawing/2014/main" id="{E8A4A630-DBAC-4570-9EC0-E3882D882C38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49815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3" name="Freeform 1816">
            <a:extLst>
              <a:ext uri="{FF2B5EF4-FFF2-40B4-BE49-F238E27FC236}">
                <a16:creationId xmlns:a16="http://schemas.microsoft.com/office/drawing/2014/main" id="{C1857F7F-DB3E-4FB9-A055-634E78DF5ABF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12550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4" name="Freeform 1817">
            <a:extLst>
              <a:ext uri="{FF2B5EF4-FFF2-40B4-BE49-F238E27FC236}">
                <a16:creationId xmlns:a16="http://schemas.microsoft.com/office/drawing/2014/main" id="{4E6CB20F-A4C2-49C4-BAE3-F4BF439E456D}"/>
              </a:ext>
            </a:extLst>
          </p:cNvPr>
          <p:cNvSpPr>
            <a:spLocks/>
          </p:cNvSpPr>
          <p:nvPr userDrawn="1"/>
        </p:nvSpPr>
        <p:spPr bwMode="auto">
          <a:xfrm>
            <a:off x="5879291" y="212550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3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5" name="Freeform 1818">
            <a:extLst>
              <a:ext uri="{FF2B5EF4-FFF2-40B4-BE49-F238E27FC236}">
                <a16:creationId xmlns:a16="http://schemas.microsoft.com/office/drawing/2014/main" id="{264A5CD0-D66F-4D9F-A2C9-DE9657E7F8BF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6" name="Freeform 1819">
            <a:extLst>
              <a:ext uri="{FF2B5EF4-FFF2-40B4-BE49-F238E27FC236}">
                <a16:creationId xmlns:a16="http://schemas.microsoft.com/office/drawing/2014/main" id="{588D6AF1-366C-45C1-8A2E-F50A7D115052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7" name="Freeform 1820">
            <a:extLst>
              <a:ext uri="{FF2B5EF4-FFF2-40B4-BE49-F238E27FC236}">
                <a16:creationId xmlns:a16="http://schemas.microsoft.com/office/drawing/2014/main" id="{C0709171-031C-4914-8CE3-B29BCFF2EE6E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8" name="Freeform 1821">
            <a:extLst>
              <a:ext uri="{FF2B5EF4-FFF2-40B4-BE49-F238E27FC236}">
                <a16:creationId xmlns:a16="http://schemas.microsoft.com/office/drawing/2014/main" id="{CFFC596E-45D5-473D-9850-185A5382F9D9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63252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1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3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1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9" name="Freeform 1822">
            <a:extLst>
              <a:ext uri="{FF2B5EF4-FFF2-40B4-BE49-F238E27FC236}">
                <a16:creationId xmlns:a16="http://schemas.microsoft.com/office/drawing/2014/main" id="{A0B9CC55-C31F-4519-87EC-5AE760361FCC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0" name="Freeform 1823">
            <a:extLst>
              <a:ext uri="{FF2B5EF4-FFF2-40B4-BE49-F238E27FC236}">
                <a16:creationId xmlns:a16="http://schemas.microsoft.com/office/drawing/2014/main" id="{C9DCE26E-CF24-4D0F-99F4-5A92414543D0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1" name="Freeform 1824">
            <a:extLst>
              <a:ext uri="{FF2B5EF4-FFF2-40B4-BE49-F238E27FC236}">
                <a16:creationId xmlns:a16="http://schemas.microsoft.com/office/drawing/2014/main" id="{A51B2E2A-A62D-44EA-901C-2FA9B8F457B1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58528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1 w 155"/>
              <a:gd name="T23" fmla="*/ 145 h 154"/>
              <a:gd name="T24" fmla="*/ 28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3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1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2" name="Freeform 1825">
            <a:extLst>
              <a:ext uri="{FF2B5EF4-FFF2-40B4-BE49-F238E27FC236}">
                <a16:creationId xmlns:a16="http://schemas.microsoft.com/office/drawing/2014/main" id="{59470FEA-ED36-4033-AFBC-E6661142AECB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63252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3" name="Freeform 1826">
            <a:extLst>
              <a:ext uri="{FF2B5EF4-FFF2-40B4-BE49-F238E27FC236}">
                <a16:creationId xmlns:a16="http://schemas.microsoft.com/office/drawing/2014/main" id="{E4E6CEFF-15DE-434A-8EE5-F352EEA521F7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58528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4" name="Freeform 1827">
            <a:extLst>
              <a:ext uri="{FF2B5EF4-FFF2-40B4-BE49-F238E27FC236}">
                <a16:creationId xmlns:a16="http://schemas.microsoft.com/office/drawing/2014/main" id="{40801412-03DC-4635-926B-BF47FA400E23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5" name="Freeform 1828">
            <a:extLst>
              <a:ext uri="{FF2B5EF4-FFF2-40B4-BE49-F238E27FC236}">
                <a16:creationId xmlns:a16="http://schemas.microsoft.com/office/drawing/2014/main" id="{C7951677-E1C2-44B0-B19C-E56FE8B8154C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58528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6" name="Freeform 1829">
            <a:extLst>
              <a:ext uri="{FF2B5EF4-FFF2-40B4-BE49-F238E27FC236}">
                <a16:creationId xmlns:a16="http://schemas.microsoft.com/office/drawing/2014/main" id="{B8F6F22F-943D-45A0-B04E-9A41C8B0B457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7" name="Freeform 1830">
            <a:extLst>
              <a:ext uri="{FF2B5EF4-FFF2-40B4-BE49-F238E27FC236}">
                <a16:creationId xmlns:a16="http://schemas.microsoft.com/office/drawing/2014/main" id="{67ECAFA4-70DF-4FA1-A7B7-6FD078538EC6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8" name="Freeform 1831">
            <a:extLst>
              <a:ext uri="{FF2B5EF4-FFF2-40B4-BE49-F238E27FC236}">
                <a16:creationId xmlns:a16="http://schemas.microsoft.com/office/drawing/2014/main" id="{A063579E-41A3-480D-9442-109EBB3ED789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68081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8 w 155"/>
              <a:gd name="T25" fmla="*/ 136 h 154"/>
              <a:gd name="T26" fmla="*/ 18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3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2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9" name="Freeform 1832">
            <a:extLst>
              <a:ext uri="{FF2B5EF4-FFF2-40B4-BE49-F238E27FC236}">
                <a16:creationId xmlns:a16="http://schemas.microsoft.com/office/drawing/2014/main" id="{0358EE73-50E2-4356-8CC7-17A4DE6A4789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0" name="Freeform 1833">
            <a:extLst>
              <a:ext uri="{FF2B5EF4-FFF2-40B4-BE49-F238E27FC236}">
                <a16:creationId xmlns:a16="http://schemas.microsoft.com/office/drawing/2014/main" id="{2F0B06AE-9561-486C-BF1A-26C24A4AD494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68081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1" name="Freeform 1834">
            <a:extLst>
              <a:ext uri="{FF2B5EF4-FFF2-40B4-BE49-F238E27FC236}">
                <a16:creationId xmlns:a16="http://schemas.microsoft.com/office/drawing/2014/main" id="{3E109688-389C-4D3A-AD8C-8B9D37816934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2" name="Freeform 1835">
            <a:extLst>
              <a:ext uri="{FF2B5EF4-FFF2-40B4-BE49-F238E27FC236}">
                <a16:creationId xmlns:a16="http://schemas.microsoft.com/office/drawing/2014/main" id="{BD107229-38B4-4169-AE6E-4FE2D1D78742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68081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3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2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3" name="Freeform 1836">
            <a:extLst>
              <a:ext uri="{FF2B5EF4-FFF2-40B4-BE49-F238E27FC236}">
                <a16:creationId xmlns:a16="http://schemas.microsoft.com/office/drawing/2014/main" id="{3EFBC6FC-F5EF-472B-BABB-E0E28E1431AD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4" name="Freeform 1837">
            <a:extLst>
              <a:ext uri="{FF2B5EF4-FFF2-40B4-BE49-F238E27FC236}">
                <a16:creationId xmlns:a16="http://schemas.microsoft.com/office/drawing/2014/main" id="{9E9F719C-166E-4124-B0F8-88543968B3A7}"/>
              </a:ext>
            </a:extLst>
          </p:cNvPr>
          <p:cNvSpPr>
            <a:spLocks/>
          </p:cNvSpPr>
          <p:nvPr userDrawn="1"/>
        </p:nvSpPr>
        <p:spPr bwMode="auto">
          <a:xfrm>
            <a:off x="5646249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5" name="Freeform 1838">
            <a:extLst>
              <a:ext uri="{FF2B5EF4-FFF2-40B4-BE49-F238E27FC236}">
                <a16:creationId xmlns:a16="http://schemas.microsoft.com/office/drawing/2014/main" id="{AA7DA540-BEEC-4D96-A4E9-18EE0B596067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4519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6" name="Freeform 1839">
            <a:extLst>
              <a:ext uri="{FF2B5EF4-FFF2-40B4-BE49-F238E27FC236}">
                <a16:creationId xmlns:a16="http://schemas.microsoft.com/office/drawing/2014/main" id="{BAD32058-1B94-42EE-A66C-17275FBC8791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7" name="Freeform 1840">
            <a:extLst>
              <a:ext uri="{FF2B5EF4-FFF2-40B4-BE49-F238E27FC236}">
                <a16:creationId xmlns:a16="http://schemas.microsoft.com/office/drawing/2014/main" id="{23C10173-DA94-49B8-89CC-B20F5F60B96B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8" name="Freeform 1841">
            <a:extLst>
              <a:ext uri="{FF2B5EF4-FFF2-40B4-BE49-F238E27FC236}">
                <a16:creationId xmlns:a16="http://schemas.microsoft.com/office/drawing/2014/main" id="{E4FF830F-F636-47F8-8325-E37DE542AB90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9" name="Freeform 1842">
            <a:extLst>
              <a:ext uri="{FF2B5EF4-FFF2-40B4-BE49-F238E27FC236}">
                <a16:creationId xmlns:a16="http://schemas.microsoft.com/office/drawing/2014/main" id="{23E51F5A-3117-4E84-8B64-B85DB0C5EF70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0" name="Freeform 1843">
            <a:extLst>
              <a:ext uri="{FF2B5EF4-FFF2-40B4-BE49-F238E27FC236}">
                <a16:creationId xmlns:a16="http://schemas.microsoft.com/office/drawing/2014/main" id="{BC7D4B1F-F271-46E1-B09F-6078EBAE63F5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1" name="Freeform 1844">
            <a:extLst>
              <a:ext uri="{FF2B5EF4-FFF2-40B4-BE49-F238E27FC236}">
                <a16:creationId xmlns:a16="http://schemas.microsoft.com/office/drawing/2014/main" id="{4F33A6A5-0D1B-4B53-8908-38B4ECCE3E43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2" name="Freeform 1845">
            <a:extLst>
              <a:ext uri="{FF2B5EF4-FFF2-40B4-BE49-F238E27FC236}">
                <a16:creationId xmlns:a16="http://schemas.microsoft.com/office/drawing/2014/main" id="{6DA7C2F8-1EBB-4F2B-80A9-EA87542A0289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3" name="Freeform 1846">
            <a:extLst>
              <a:ext uri="{FF2B5EF4-FFF2-40B4-BE49-F238E27FC236}">
                <a16:creationId xmlns:a16="http://schemas.microsoft.com/office/drawing/2014/main" id="{CB2DA7C5-0484-40BC-9C79-6BC98C169251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1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4" name="Freeform 1847">
            <a:extLst>
              <a:ext uri="{FF2B5EF4-FFF2-40B4-BE49-F238E27FC236}">
                <a16:creationId xmlns:a16="http://schemas.microsoft.com/office/drawing/2014/main" id="{8DE28F9B-3CF9-42CC-B8D2-C583807B7A74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5" name="Freeform 1848">
            <a:extLst>
              <a:ext uri="{FF2B5EF4-FFF2-40B4-BE49-F238E27FC236}">
                <a16:creationId xmlns:a16="http://schemas.microsoft.com/office/drawing/2014/main" id="{0BD14E05-7371-451D-9EC2-41C8301AF291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6" name="Freeform 1849">
            <a:extLst>
              <a:ext uri="{FF2B5EF4-FFF2-40B4-BE49-F238E27FC236}">
                <a16:creationId xmlns:a16="http://schemas.microsoft.com/office/drawing/2014/main" id="{4D065301-3B2B-4D04-9001-D7996BA81FDB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7" name="Freeform 1850">
            <a:extLst>
              <a:ext uri="{FF2B5EF4-FFF2-40B4-BE49-F238E27FC236}">
                <a16:creationId xmlns:a16="http://schemas.microsoft.com/office/drawing/2014/main" id="{22B3E8AE-B558-46EE-B1BE-708651F1EDAC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8" name="Freeform 1851">
            <a:extLst>
              <a:ext uri="{FF2B5EF4-FFF2-40B4-BE49-F238E27FC236}">
                <a16:creationId xmlns:a16="http://schemas.microsoft.com/office/drawing/2014/main" id="{82D25883-28DF-4FA8-BF1D-01C7CC99A472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9" name="Freeform 1852">
            <a:extLst>
              <a:ext uri="{FF2B5EF4-FFF2-40B4-BE49-F238E27FC236}">
                <a16:creationId xmlns:a16="http://schemas.microsoft.com/office/drawing/2014/main" id="{DC1A67CB-EDAD-43D8-9177-76685811355D}"/>
              </a:ext>
            </a:extLst>
          </p:cNvPr>
          <p:cNvSpPr>
            <a:spLocks/>
          </p:cNvSpPr>
          <p:nvPr userDrawn="1"/>
        </p:nvSpPr>
        <p:spPr bwMode="auto">
          <a:xfrm>
            <a:off x="5554922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0" name="Freeform 1853">
            <a:extLst>
              <a:ext uri="{FF2B5EF4-FFF2-40B4-BE49-F238E27FC236}">
                <a16:creationId xmlns:a16="http://schemas.microsoft.com/office/drawing/2014/main" id="{919016F8-59F9-4070-A4FC-FA64D3BE7775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1" name="Freeform 1854">
            <a:extLst>
              <a:ext uri="{FF2B5EF4-FFF2-40B4-BE49-F238E27FC236}">
                <a16:creationId xmlns:a16="http://schemas.microsoft.com/office/drawing/2014/main" id="{125F1A07-886E-4A08-88AF-1CE14651D873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2" name="Freeform 1855">
            <a:extLst>
              <a:ext uri="{FF2B5EF4-FFF2-40B4-BE49-F238E27FC236}">
                <a16:creationId xmlns:a16="http://schemas.microsoft.com/office/drawing/2014/main" id="{6110DED8-2DE7-4881-BABC-694D8611C470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3" name="Freeform 1856">
            <a:extLst>
              <a:ext uri="{FF2B5EF4-FFF2-40B4-BE49-F238E27FC236}">
                <a16:creationId xmlns:a16="http://schemas.microsoft.com/office/drawing/2014/main" id="{39D4B8AB-CE3A-498F-9FA8-DD3CA9840E58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4" name="Freeform 1857">
            <a:extLst>
              <a:ext uri="{FF2B5EF4-FFF2-40B4-BE49-F238E27FC236}">
                <a16:creationId xmlns:a16="http://schemas.microsoft.com/office/drawing/2014/main" id="{08BF6666-C746-4257-B952-458E6B5E9B8C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5" name="Freeform 1858">
            <a:extLst>
              <a:ext uri="{FF2B5EF4-FFF2-40B4-BE49-F238E27FC236}">
                <a16:creationId xmlns:a16="http://schemas.microsoft.com/office/drawing/2014/main" id="{76DEAC68-39C0-4303-A6B0-FD49686A5231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6" name="Freeform 1859">
            <a:extLst>
              <a:ext uri="{FF2B5EF4-FFF2-40B4-BE49-F238E27FC236}">
                <a16:creationId xmlns:a16="http://schemas.microsoft.com/office/drawing/2014/main" id="{8015D345-20B1-4112-BEF3-2894251979B2}"/>
              </a:ext>
            </a:extLst>
          </p:cNvPr>
          <p:cNvSpPr>
            <a:spLocks/>
          </p:cNvSpPr>
          <p:nvPr userDrawn="1"/>
        </p:nvSpPr>
        <p:spPr bwMode="auto">
          <a:xfrm>
            <a:off x="5508733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7" name="Freeform 1860">
            <a:extLst>
              <a:ext uri="{FF2B5EF4-FFF2-40B4-BE49-F238E27FC236}">
                <a16:creationId xmlns:a16="http://schemas.microsoft.com/office/drawing/2014/main" id="{01CEC912-61B0-4FA5-876D-6157C5E51EE6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1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8" name="Freeform 1861">
            <a:extLst>
              <a:ext uri="{FF2B5EF4-FFF2-40B4-BE49-F238E27FC236}">
                <a16:creationId xmlns:a16="http://schemas.microsoft.com/office/drawing/2014/main" id="{16560711-B928-45CA-999E-21A24DFAD5BF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9" name="Freeform 1862">
            <a:extLst>
              <a:ext uri="{FF2B5EF4-FFF2-40B4-BE49-F238E27FC236}">
                <a16:creationId xmlns:a16="http://schemas.microsoft.com/office/drawing/2014/main" id="{4D5D520E-34D9-44D1-9069-6F97EF2BE233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0" name="Freeform 1863">
            <a:extLst>
              <a:ext uri="{FF2B5EF4-FFF2-40B4-BE49-F238E27FC236}">
                <a16:creationId xmlns:a16="http://schemas.microsoft.com/office/drawing/2014/main" id="{BBB921A3-6CF3-498C-80DD-9B8783E32215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1" name="Freeform 1864">
            <a:extLst>
              <a:ext uri="{FF2B5EF4-FFF2-40B4-BE49-F238E27FC236}">
                <a16:creationId xmlns:a16="http://schemas.microsoft.com/office/drawing/2014/main" id="{F9E5BA3C-12A2-43E9-A5A0-A81C9F7A61B7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2" name="Freeform 1865">
            <a:extLst>
              <a:ext uri="{FF2B5EF4-FFF2-40B4-BE49-F238E27FC236}">
                <a16:creationId xmlns:a16="http://schemas.microsoft.com/office/drawing/2014/main" id="{5E791794-4DF8-4ED2-8D51-2F921E42CCAA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3" name="Freeform 1866">
            <a:extLst>
              <a:ext uri="{FF2B5EF4-FFF2-40B4-BE49-F238E27FC236}">
                <a16:creationId xmlns:a16="http://schemas.microsoft.com/office/drawing/2014/main" id="{DA91DACB-1FF5-4ACA-9BC6-80040B16FD20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4" name="Freeform 1867">
            <a:extLst>
              <a:ext uri="{FF2B5EF4-FFF2-40B4-BE49-F238E27FC236}">
                <a16:creationId xmlns:a16="http://schemas.microsoft.com/office/drawing/2014/main" id="{B70D8089-D5FD-4925-97FC-ECD2A2CCD910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5" name="Freeform 1868">
            <a:extLst>
              <a:ext uri="{FF2B5EF4-FFF2-40B4-BE49-F238E27FC236}">
                <a16:creationId xmlns:a16="http://schemas.microsoft.com/office/drawing/2014/main" id="{0E3B17A4-E117-4651-B0DA-9748C83DC065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6" name="Freeform 1869">
            <a:extLst>
              <a:ext uri="{FF2B5EF4-FFF2-40B4-BE49-F238E27FC236}">
                <a16:creationId xmlns:a16="http://schemas.microsoft.com/office/drawing/2014/main" id="{3519F9E1-6640-4E34-9F53-51EAC3CB198C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7" name="Freeform 1870">
            <a:extLst>
              <a:ext uri="{FF2B5EF4-FFF2-40B4-BE49-F238E27FC236}">
                <a16:creationId xmlns:a16="http://schemas.microsoft.com/office/drawing/2014/main" id="{691F5471-9DA1-4CE8-B0D6-C2DEC3EFD6DF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8" name="Freeform 1871">
            <a:extLst>
              <a:ext uri="{FF2B5EF4-FFF2-40B4-BE49-F238E27FC236}">
                <a16:creationId xmlns:a16="http://schemas.microsoft.com/office/drawing/2014/main" id="{9481994C-CA8D-41B8-8788-BC289DC267FB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9" name="Freeform 1872">
            <a:extLst>
              <a:ext uri="{FF2B5EF4-FFF2-40B4-BE49-F238E27FC236}">
                <a16:creationId xmlns:a16="http://schemas.microsoft.com/office/drawing/2014/main" id="{0171E5AE-6A41-4BC6-B2FB-0355C5C3BD69}"/>
              </a:ext>
            </a:extLst>
          </p:cNvPr>
          <p:cNvSpPr>
            <a:spLocks/>
          </p:cNvSpPr>
          <p:nvPr userDrawn="1"/>
        </p:nvSpPr>
        <p:spPr bwMode="auto">
          <a:xfrm>
            <a:off x="5370168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0" name="Freeform 1873">
            <a:extLst>
              <a:ext uri="{FF2B5EF4-FFF2-40B4-BE49-F238E27FC236}">
                <a16:creationId xmlns:a16="http://schemas.microsoft.com/office/drawing/2014/main" id="{0802E2DD-9664-455C-B83E-9072494B19E0}"/>
              </a:ext>
            </a:extLst>
          </p:cNvPr>
          <p:cNvSpPr>
            <a:spLocks/>
          </p:cNvSpPr>
          <p:nvPr userDrawn="1"/>
        </p:nvSpPr>
        <p:spPr bwMode="auto">
          <a:xfrm>
            <a:off x="5370168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1" name="Freeform 1874">
            <a:extLst>
              <a:ext uri="{FF2B5EF4-FFF2-40B4-BE49-F238E27FC236}">
                <a16:creationId xmlns:a16="http://schemas.microsoft.com/office/drawing/2014/main" id="{9A57BB21-A0FD-46BA-AEEF-536320BB1EC0}"/>
              </a:ext>
            </a:extLst>
          </p:cNvPr>
          <p:cNvSpPr>
            <a:spLocks/>
          </p:cNvSpPr>
          <p:nvPr userDrawn="1"/>
        </p:nvSpPr>
        <p:spPr bwMode="auto">
          <a:xfrm>
            <a:off x="5370168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2" name="Freeform 1875">
            <a:extLst>
              <a:ext uri="{FF2B5EF4-FFF2-40B4-BE49-F238E27FC236}">
                <a16:creationId xmlns:a16="http://schemas.microsoft.com/office/drawing/2014/main" id="{29FC70B9-9D5E-4A58-B35B-8BAB9C9E70A1}"/>
              </a:ext>
            </a:extLst>
          </p:cNvPr>
          <p:cNvSpPr>
            <a:spLocks/>
          </p:cNvSpPr>
          <p:nvPr userDrawn="1"/>
        </p:nvSpPr>
        <p:spPr bwMode="auto">
          <a:xfrm>
            <a:off x="5370168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3" name="Freeform 1876">
            <a:extLst>
              <a:ext uri="{FF2B5EF4-FFF2-40B4-BE49-F238E27FC236}">
                <a16:creationId xmlns:a16="http://schemas.microsoft.com/office/drawing/2014/main" id="{AF5F4412-8573-4342-BF6E-3CBA50AD7FAC}"/>
              </a:ext>
            </a:extLst>
          </p:cNvPr>
          <p:cNvSpPr>
            <a:spLocks/>
          </p:cNvSpPr>
          <p:nvPr userDrawn="1"/>
        </p:nvSpPr>
        <p:spPr bwMode="auto">
          <a:xfrm>
            <a:off x="5370168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4" name="Freeform 1877">
            <a:extLst>
              <a:ext uri="{FF2B5EF4-FFF2-40B4-BE49-F238E27FC236}">
                <a16:creationId xmlns:a16="http://schemas.microsoft.com/office/drawing/2014/main" id="{B2633A6B-3347-461F-9768-9C7D072A9B82}"/>
              </a:ext>
            </a:extLst>
          </p:cNvPr>
          <p:cNvSpPr>
            <a:spLocks/>
          </p:cNvSpPr>
          <p:nvPr userDrawn="1"/>
        </p:nvSpPr>
        <p:spPr bwMode="auto">
          <a:xfrm>
            <a:off x="5463595" y="28204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5" name="Freeform 1878">
            <a:extLst>
              <a:ext uri="{FF2B5EF4-FFF2-40B4-BE49-F238E27FC236}">
                <a16:creationId xmlns:a16="http://schemas.microsoft.com/office/drawing/2014/main" id="{24585051-BAE3-487D-93AD-101D8558FC7A}"/>
              </a:ext>
            </a:extLst>
          </p:cNvPr>
          <p:cNvSpPr>
            <a:spLocks/>
          </p:cNvSpPr>
          <p:nvPr userDrawn="1"/>
        </p:nvSpPr>
        <p:spPr bwMode="auto">
          <a:xfrm>
            <a:off x="5417406" y="28204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6" name="Freeform 1879">
            <a:extLst>
              <a:ext uri="{FF2B5EF4-FFF2-40B4-BE49-F238E27FC236}">
                <a16:creationId xmlns:a16="http://schemas.microsoft.com/office/drawing/2014/main" id="{9AF531F6-BB05-493D-8625-0E62F2658981}"/>
              </a:ext>
            </a:extLst>
          </p:cNvPr>
          <p:cNvSpPr>
            <a:spLocks/>
          </p:cNvSpPr>
          <p:nvPr userDrawn="1"/>
        </p:nvSpPr>
        <p:spPr bwMode="auto">
          <a:xfrm>
            <a:off x="5370168" y="28204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7" name="Freeform 1880">
            <a:extLst>
              <a:ext uri="{FF2B5EF4-FFF2-40B4-BE49-F238E27FC236}">
                <a16:creationId xmlns:a16="http://schemas.microsoft.com/office/drawing/2014/main" id="{9C777919-B8D7-4B66-82D8-A5BC9413675B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8" name="Freeform 1881">
            <a:extLst>
              <a:ext uri="{FF2B5EF4-FFF2-40B4-BE49-F238E27FC236}">
                <a16:creationId xmlns:a16="http://schemas.microsoft.com/office/drawing/2014/main" id="{C52CF70F-BF09-4AE6-9279-7305416CB302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7721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1 w 155"/>
              <a:gd name="T23" fmla="*/ 146 h 155"/>
              <a:gd name="T24" fmla="*/ 28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2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9" name="Freeform 1882">
            <a:extLst>
              <a:ext uri="{FF2B5EF4-FFF2-40B4-BE49-F238E27FC236}">
                <a16:creationId xmlns:a16="http://schemas.microsoft.com/office/drawing/2014/main" id="{C8CE6747-6F2C-4082-8F1C-2192B8D30648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0" name="Freeform 1883">
            <a:extLst>
              <a:ext uri="{FF2B5EF4-FFF2-40B4-BE49-F238E27FC236}">
                <a16:creationId xmlns:a16="http://schemas.microsoft.com/office/drawing/2014/main" id="{3B0EE36C-B6A1-4B24-877B-7799222DAADD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7721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1" name="Freeform 1884">
            <a:extLst>
              <a:ext uri="{FF2B5EF4-FFF2-40B4-BE49-F238E27FC236}">
                <a16:creationId xmlns:a16="http://schemas.microsoft.com/office/drawing/2014/main" id="{CEB13A1E-22E0-40BF-A1C8-C8AD113DB1B1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2" name="Freeform 1885">
            <a:extLst>
              <a:ext uri="{FF2B5EF4-FFF2-40B4-BE49-F238E27FC236}">
                <a16:creationId xmlns:a16="http://schemas.microsoft.com/office/drawing/2014/main" id="{045D3546-C120-4ED2-900C-71AF9CCBB5F1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3" name="Freeform 1886">
            <a:extLst>
              <a:ext uri="{FF2B5EF4-FFF2-40B4-BE49-F238E27FC236}">
                <a16:creationId xmlns:a16="http://schemas.microsoft.com/office/drawing/2014/main" id="{CF4C6347-AF10-4425-A764-6B7401BC54C8}"/>
              </a:ext>
            </a:extLst>
          </p:cNvPr>
          <p:cNvSpPr>
            <a:spLocks/>
          </p:cNvSpPr>
          <p:nvPr userDrawn="1"/>
        </p:nvSpPr>
        <p:spPr bwMode="auto">
          <a:xfrm>
            <a:off x="5786914" y="272595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1 w 155"/>
              <a:gd name="T23" fmla="*/ 144 h 155"/>
              <a:gd name="T24" fmla="*/ 28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5 w 155"/>
              <a:gd name="T63" fmla="*/ 40 h 155"/>
              <a:gd name="T64" fmla="*/ 152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4" name="Freeform 1887">
            <a:extLst>
              <a:ext uri="{FF2B5EF4-FFF2-40B4-BE49-F238E27FC236}">
                <a16:creationId xmlns:a16="http://schemas.microsoft.com/office/drawing/2014/main" id="{C4C9C2DE-443B-4A51-AE11-38F488865B6C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7721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6 w 155"/>
              <a:gd name="T63" fmla="*/ 40 h 155"/>
              <a:gd name="T64" fmla="*/ 152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5" name="Freeform 1888">
            <a:extLst>
              <a:ext uri="{FF2B5EF4-FFF2-40B4-BE49-F238E27FC236}">
                <a16:creationId xmlns:a16="http://schemas.microsoft.com/office/drawing/2014/main" id="{2486CFC3-4E82-4CDD-B57D-54F9B7C2FD14}"/>
              </a:ext>
            </a:extLst>
          </p:cNvPr>
          <p:cNvSpPr>
            <a:spLocks/>
          </p:cNvSpPr>
          <p:nvPr userDrawn="1"/>
        </p:nvSpPr>
        <p:spPr bwMode="auto">
          <a:xfrm>
            <a:off x="5695586" y="272595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6 w 155"/>
              <a:gd name="T63" fmla="*/ 40 h 155"/>
              <a:gd name="T64" fmla="*/ 152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6" name="Freeform 1889">
            <a:extLst>
              <a:ext uri="{FF2B5EF4-FFF2-40B4-BE49-F238E27FC236}">
                <a16:creationId xmlns:a16="http://schemas.microsoft.com/office/drawing/2014/main" id="{5CE60021-279F-4ADA-B44D-78A5D00E2BCA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7" name="Freeform 1890">
            <a:extLst>
              <a:ext uri="{FF2B5EF4-FFF2-40B4-BE49-F238E27FC236}">
                <a16:creationId xmlns:a16="http://schemas.microsoft.com/office/drawing/2014/main" id="{7F7DBFB3-1662-4868-A0D7-E15864108B9B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72595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8" name="Freeform 1891">
            <a:extLst>
              <a:ext uri="{FF2B5EF4-FFF2-40B4-BE49-F238E27FC236}">
                <a16:creationId xmlns:a16="http://schemas.microsoft.com/office/drawing/2014/main" id="{45A99D42-9D04-4277-AA33-8CAFE9DE0D49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9" name="Freeform 1892">
            <a:extLst>
              <a:ext uri="{FF2B5EF4-FFF2-40B4-BE49-F238E27FC236}">
                <a16:creationId xmlns:a16="http://schemas.microsoft.com/office/drawing/2014/main" id="{8A53354C-7A1D-465E-91AB-315BB4D37C04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8676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6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0" name="Freeform 1893">
            <a:extLst>
              <a:ext uri="{FF2B5EF4-FFF2-40B4-BE49-F238E27FC236}">
                <a16:creationId xmlns:a16="http://schemas.microsoft.com/office/drawing/2014/main" id="{D317BA8E-1E93-4951-AC8A-05F4EE544B23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86766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1" name="Freeform 1894">
            <a:extLst>
              <a:ext uri="{FF2B5EF4-FFF2-40B4-BE49-F238E27FC236}">
                <a16:creationId xmlns:a16="http://schemas.microsoft.com/office/drawing/2014/main" id="{6B1D6081-63FC-44DA-88B2-3C0565A4E5E8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8676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2" name="Freeform 1895">
            <a:extLst>
              <a:ext uri="{FF2B5EF4-FFF2-40B4-BE49-F238E27FC236}">
                <a16:creationId xmlns:a16="http://schemas.microsoft.com/office/drawing/2014/main" id="{3BD45743-69CE-47A1-A1CA-7E2EB10A50DB}"/>
              </a:ext>
            </a:extLst>
          </p:cNvPr>
          <p:cNvSpPr>
            <a:spLocks/>
          </p:cNvSpPr>
          <p:nvPr userDrawn="1"/>
        </p:nvSpPr>
        <p:spPr bwMode="auto">
          <a:xfrm>
            <a:off x="5741775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6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3" name="Freeform 1896">
            <a:extLst>
              <a:ext uri="{FF2B5EF4-FFF2-40B4-BE49-F238E27FC236}">
                <a16:creationId xmlns:a16="http://schemas.microsoft.com/office/drawing/2014/main" id="{249684C9-B0A0-44FF-AD6F-E420B6DAC074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6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4" name="Freeform 1897">
            <a:extLst>
              <a:ext uri="{FF2B5EF4-FFF2-40B4-BE49-F238E27FC236}">
                <a16:creationId xmlns:a16="http://schemas.microsoft.com/office/drawing/2014/main" id="{A9D42856-4EC8-4CBE-9AED-A901A8AD508A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82147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5" name="Freeform 1898">
            <a:extLst>
              <a:ext uri="{FF2B5EF4-FFF2-40B4-BE49-F238E27FC236}">
                <a16:creationId xmlns:a16="http://schemas.microsoft.com/office/drawing/2014/main" id="{E8397610-42E9-4A58-8423-32F56863CC63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6" name="Freeform 1899">
            <a:extLst>
              <a:ext uri="{FF2B5EF4-FFF2-40B4-BE49-F238E27FC236}">
                <a16:creationId xmlns:a16="http://schemas.microsoft.com/office/drawing/2014/main" id="{9D16F21F-015B-4FAD-A164-F6A575457349}"/>
              </a:ext>
            </a:extLst>
          </p:cNvPr>
          <p:cNvSpPr>
            <a:spLocks/>
          </p:cNvSpPr>
          <p:nvPr userDrawn="1"/>
        </p:nvSpPr>
        <p:spPr bwMode="auto">
          <a:xfrm>
            <a:off x="5833103" y="29138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7" name="Freeform 1900">
            <a:extLst>
              <a:ext uri="{FF2B5EF4-FFF2-40B4-BE49-F238E27FC236}">
                <a16:creationId xmlns:a16="http://schemas.microsoft.com/office/drawing/2014/main" id="{9C5353B9-E9A5-4FD3-AD1D-A9B50BD52E51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29138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8" name="Freeform 1901">
            <a:extLst>
              <a:ext uri="{FF2B5EF4-FFF2-40B4-BE49-F238E27FC236}">
                <a16:creationId xmlns:a16="http://schemas.microsoft.com/office/drawing/2014/main" id="{1B9731AC-4EF1-4562-95AF-FBCCD3A7C39C}"/>
              </a:ext>
            </a:extLst>
          </p:cNvPr>
          <p:cNvSpPr>
            <a:spLocks/>
          </p:cNvSpPr>
          <p:nvPr userDrawn="1"/>
        </p:nvSpPr>
        <p:spPr bwMode="auto">
          <a:xfrm>
            <a:off x="5926529" y="29138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9" name="Freeform 1902">
            <a:extLst>
              <a:ext uri="{FF2B5EF4-FFF2-40B4-BE49-F238E27FC236}">
                <a16:creationId xmlns:a16="http://schemas.microsoft.com/office/drawing/2014/main" id="{D8F961FE-B133-4270-AEFE-2CC0275CA19F}"/>
              </a:ext>
            </a:extLst>
          </p:cNvPr>
          <p:cNvSpPr>
            <a:spLocks/>
          </p:cNvSpPr>
          <p:nvPr userDrawn="1"/>
        </p:nvSpPr>
        <p:spPr bwMode="auto">
          <a:xfrm>
            <a:off x="5880340" y="300203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0 h 155"/>
              <a:gd name="T22" fmla="*/ 40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0" name="Freeform 1903">
            <a:extLst>
              <a:ext uri="{FF2B5EF4-FFF2-40B4-BE49-F238E27FC236}">
                <a16:creationId xmlns:a16="http://schemas.microsoft.com/office/drawing/2014/main" id="{4FD05FB2-AE7F-4C0F-A77B-13CD7C6766C2}"/>
              </a:ext>
            </a:extLst>
          </p:cNvPr>
          <p:cNvSpPr>
            <a:spLocks/>
          </p:cNvSpPr>
          <p:nvPr userDrawn="1"/>
        </p:nvSpPr>
        <p:spPr bwMode="auto">
          <a:xfrm>
            <a:off x="6159571" y="2265117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8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1" name="Freeform 1904">
            <a:extLst>
              <a:ext uri="{FF2B5EF4-FFF2-40B4-BE49-F238E27FC236}">
                <a16:creationId xmlns:a16="http://schemas.microsoft.com/office/drawing/2014/main" id="{75706C0E-097C-4707-9E5E-AD48C34CE7FB}"/>
              </a:ext>
            </a:extLst>
          </p:cNvPr>
          <p:cNvSpPr>
            <a:spLocks/>
          </p:cNvSpPr>
          <p:nvPr userDrawn="1"/>
        </p:nvSpPr>
        <p:spPr bwMode="auto">
          <a:xfrm>
            <a:off x="6206809" y="226511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2" name="Freeform 1905">
            <a:extLst>
              <a:ext uri="{FF2B5EF4-FFF2-40B4-BE49-F238E27FC236}">
                <a16:creationId xmlns:a16="http://schemas.microsoft.com/office/drawing/2014/main" id="{5E3D09E2-8592-4392-A214-DC801CB45B1A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35644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2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2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3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8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2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2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3" name="Freeform 1906">
            <a:extLst>
              <a:ext uri="{FF2B5EF4-FFF2-40B4-BE49-F238E27FC236}">
                <a16:creationId xmlns:a16="http://schemas.microsoft.com/office/drawing/2014/main" id="{AE714FAE-3087-45B0-A585-8932E18EB8D0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356445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2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1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2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2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4" name="Freeform 1907">
            <a:extLst>
              <a:ext uri="{FF2B5EF4-FFF2-40B4-BE49-F238E27FC236}">
                <a16:creationId xmlns:a16="http://schemas.microsoft.com/office/drawing/2014/main" id="{09581092-EEEF-42CD-ADAA-EC0DD2396DA0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3092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5" name="Freeform 1908">
            <a:extLst>
              <a:ext uri="{FF2B5EF4-FFF2-40B4-BE49-F238E27FC236}">
                <a16:creationId xmlns:a16="http://schemas.microsoft.com/office/drawing/2014/main" id="{F2290E5A-0862-4D70-BDF3-4F6143497C10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07826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3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3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3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6" name="Freeform 1909">
            <a:extLst>
              <a:ext uri="{FF2B5EF4-FFF2-40B4-BE49-F238E27FC236}">
                <a16:creationId xmlns:a16="http://schemas.microsoft.com/office/drawing/2014/main" id="{F743A782-B402-4052-93A1-462033D33A37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4519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7" name="Freeform 1910">
            <a:extLst>
              <a:ext uri="{FF2B5EF4-FFF2-40B4-BE49-F238E27FC236}">
                <a16:creationId xmlns:a16="http://schemas.microsoft.com/office/drawing/2014/main" id="{687B7204-C264-48D3-9EC1-DD73C0E2411D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40473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8 w 154"/>
              <a:gd name="T13" fmla="*/ 149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8" name="Freeform 1911">
            <a:extLst>
              <a:ext uri="{FF2B5EF4-FFF2-40B4-BE49-F238E27FC236}">
                <a16:creationId xmlns:a16="http://schemas.microsoft.com/office/drawing/2014/main" id="{FA64B869-13A0-49EE-A897-0858E71EF54C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451971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9" name="Freeform 1912">
            <a:extLst>
              <a:ext uri="{FF2B5EF4-FFF2-40B4-BE49-F238E27FC236}">
                <a16:creationId xmlns:a16="http://schemas.microsoft.com/office/drawing/2014/main" id="{BFF85040-0C14-47E9-9FF5-6DE069A15219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404733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9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0" name="Freeform 1913">
            <a:extLst>
              <a:ext uri="{FF2B5EF4-FFF2-40B4-BE49-F238E27FC236}">
                <a16:creationId xmlns:a16="http://schemas.microsoft.com/office/drawing/2014/main" id="{02056020-2FDA-4A70-A5A1-38C5115C3C89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17169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3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3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3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1" name="Freeform 1914">
            <a:extLst>
              <a:ext uri="{FF2B5EF4-FFF2-40B4-BE49-F238E27FC236}">
                <a16:creationId xmlns:a16="http://schemas.microsoft.com/office/drawing/2014/main" id="{58355B44-65DC-4946-8767-6FE2601E3CED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12550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6 h 154"/>
              <a:gd name="T6" fmla="*/ 142 w 155"/>
              <a:gd name="T7" fmla="*/ 120 h 154"/>
              <a:gd name="T8" fmla="*/ 133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3 h 154"/>
              <a:gd name="T44" fmla="*/ 34 w 155"/>
              <a:gd name="T45" fmla="*/ 12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3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3" y="23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2" name="Freeform 1915">
            <a:extLst>
              <a:ext uri="{FF2B5EF4-FFF2-40B4-BE49-F238E27FC236}">
                <a16:creationId xmlns:a16="http://schemas.microsoft.com/office/drawing/2014/main" id="{EED84D51-5C62-4FBD-99F3-B8F6E0F23295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3" name="Freeform 1916">
            <a:extLst>
              <a:ext uri="{FF2B5EF4-FFF2-40B4-BE49-F238E27FC236}">
                <a16:creationId xmlns:a16="http://schemas.microsoft.com/office/drawing/2014/main" id="{69D8DFAC-9443-4E51-B70B-68CE05A16C53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54434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7"/>
                </a:lnTo>
                <a:lnTo>
                  <a:pt x="119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4" name="Freeform 1917">
            <a:extLst>
              <a:ext uri="{FF2B5EF4-FFF2-40B4-BE49-F238E27FC236}">
                <a16:creationId xmlns:a16="http://schemas.microsoft.com/office/drawing/2014/main" id="{A1C725AB-1896-4F71-BB39-52EAFA2AD54A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5" name="Freeform 1918">
            <a:extLst>
              <a:ext uri="{FF2B5EF4-FFF2-40B4-BE49-F238E27FC236}">
                <a16:creationId xmlns:a16="http://schemas.microsoft.com/office/drawing/2014/main" id="{EDA14FCA-30F2-4254-ADF3-7BF542B6D9CA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49815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6" name="Freeform 1919">
            <a:extLst>
              <a:ext uri="{FF2B5EF4-FFF2-40B4-BE49-F238E27FC236}">
                <a16:creationId xmlns:a16="http://schemas.microsoft.com/office/drawing/2014/main" id="{7F1A091C-14AE-4383-8549-0639AA5833D9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54434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7" name="Freeform 1920">
            <a:extLst>
              <a:ext uri="{FF2B5EF4-FFF2-40B4-BE49-F238E27FC236}">
                <a16:creationId xmlns:a16="http://schemas.microsoft.com/office/drawing/2014/main" id="{F5D09C9A-22C4-436D-BBEE-D1F10A843B12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49815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8" name="Freeform 1921">
            <a:extLst>
              <a:ext uri="{FF2B5EF4-FFF2-40B4-BE49-F238E27FC236}">
                <a16:creationId xmlns:a16="http://schemas.microsoft.com/office/drawing/2014/main" id="{630FDF65-D8BA-4AB2-9DAB-02F1CE72C293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21263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3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3" y="132"/>
                </a:lnTo>
                <a:lnTo>
                  <a:pt x="127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9"/>
                </a:lnTo>
                <a:lnTo>
                  <a:pt x="133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9" name="Freeform 1922">
            <a:extLst>
              <a:ext uri="{FF2B5EF4-FFF2-40B4-BE49-F238E27FC236}">
                <a16:creationId xmlns:a16="http://schemas.microsoft.com/office/drawing/2014/main" id="{7AEE8A69-5D7E-445A-9519-14E7616C464C}"/>
              </a:ext>
            </a:extLst>
          </p:cNvPr>
          <p:cNvSpPr>
            <a:spLocks/>
          </p:cNvSpPr>
          <p:nvPr userDrawn="1"/>
        </p:nvSpPr>
        <p:spPr bwMode="auto">
          <a:xfrm>
            <a:off x="6017856" y="217169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0" name="Freeform 1923">
            <a:extLst>
              <a:ext uri="{FF2B5EF4-FFF2-40B4-BE49-F238E27FC236}">
                <a16:creationId xmlns:a16="http://schemas.microsoft.com/office/drawing/2014/main" id="{95294536-898C-4D23-A9E8-0FE553CC053B}"/>
              </a:ext>
            </a:extLst>
          </p:cNvPr>
          <p:cNvSpPr>
            <a:spLocks/>
          </p:cNvSpPr>
          <p:nvPr userDrawn="1"/>
        </p:nvSpPr>
        <p:spPr bwMode="auto">
          <a:xfrm>
            <a:off x="6017856" y="212550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3 h 154"/>
              <a:gd name="T42" fmla="*/ 23 w 155"/>
              <a:gd name="T43" fmla="*/ 23 h 154"/>
              <a:gd name="T44" fmla="*/ 34 w 155"/>
              <a:gd name="T45" fmla="*/ 12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1" name="Freeform 1924">
            <a:extLst>
              <a:ext uri="{FF2B5EF4-FFF2-40B4-BE49-F238E27FC236}">
                <a16:creationId xmlns:a16="http://schemas.microsoft.com/office/drawing/2014/main" id="{1AF2CCE2-8C1C-440F-95A9-3151754E9D8D}"/>
              </a:ext>
            </a:extLst>
          </p:cNvPr>
          <p:cNvSpPr>
            <a:spLocks/>
          </p:cNvSpPr>
          <p:nvPr userDrawn="1"/>
        </p:nvSpPr>
        <p:spPr bwMode="auto">
          <a:xfrm>
            <a:off x="6017856" y="221263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8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2" name="Freeform 1925">
            <a:extLst>
              <a:ext uri="{FF2B5EF4-FFF2-40B4-BE49-F238E27FC236}">
                <a16:creationId xmlns:a16="http://schemas.microsoft.com/office/drawing/2014/main" id="{5385E236-103D-4DFB-8424-6CDC89D9FAE7}"/>
              </a:ext>
            </a:extLst>
          </p:cNvPr>
          <p:cNvSpPr>
            <a:spLocks/>
          </p:cNvSpPr>
          <p:nvPr userDrawn="1"/>
        </p:nvSpPr>
        <p:spPr bwMode="auto">
          <a:xfrm>
            <a:off x="6064045" y="21716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3" name="Freeform 1926">
            <a:extLst>
              <a:ext uri="{FF2B5EF4-FFF2-40B4-BE49-F238E27FC236}">
                <a16:creationId xmlns:a16="http://schemas.microsoft.com/office/drawing/2014/main" id="{7273CF72-4937-4F3B-96A9-963F41B4A437}"/>
              </a:ext>
            </a:extLst>
          </p:cNvPr>
          <p:cNvSpPr>
            <a:spLocks/>
          </p:cNvSpPr>
          <p:nvPr userDrawn="1"/>
        </p:nvSpPr>
        <p:spPr bwMode="auto">
          <a:xfrm>
            <a:off x="6064045" y="212550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3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4" name="Freeform 1927">
            <a:extLst>
              <a:ext uri="{FF2B5EF4-FFF2-40B4-BE49-F238E27FC236}">
                <a16:creationId xmlns:a16="http://schemas.microsoft.com/office/drawing/2014/main" id="{ABC96816-0A15-4AE1-B5F8-7F457AB17117}"/>
              </a:ext>
            </a:extLst>
          </p:cNvPr>
          <p:cNvSpPr>
            <a:spLocks/>
          </p:cNvSpPr>
          <p:nvPr userDrawn="1"/>
        </p:nvSpPr>
        <p:spPr bwMode="auto">
          <a:xfrm>
            <a:off x="6064045" y="221263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5" name="Freeform 1928">
            <a:extLst>
              <a:ext uri="{FF2B5EF4-FFF2-40B4-BE49-F238E27FC236}">
                <a16:creationId xmlns:a16="http://schemas.microsoft.com/office/drawing/2014/main" id="{EA40EAAF-61CD-4AE1-AAB8-175E8841C1B8}"/>
              </a:ext>
            </a:extLst>
          </p:cNvPr>
          <p:cNvSpPr>
            <a:spLocks/>
          </p:cNvSpPr>
          <p:nvPr userDrawn="1"/>
        </p:nvSpPr>
        <p:spPr bwMode="auto">
          <a:xfrm>
            <a:off x="6111283" y="217169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3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3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3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6" name="Freeform 1929">
            <a:extLst>
              <a:ext uri="{FF2B5EF4-FFF2-40B4-BE49-F238E27FC236}">
                <a16:creationId xmlns:a16="http://schemas.microsoft.com/office/drawing/2014/main" id="{12751525-3901-4458-AFD2-2CBB15F864D9}"/>
              </a:ext>
            </a:extLst>
          </p:cNvPr>
          <p:cNvSpPr>
            <a:spLocks/>
          </p:cNvSpPr>
          <p:nvPr userDrawn="1"/>
        </p:nvSpPr>
        <p:spPr bwMode="auto">
          <a:xfrm>
            <a:off x="6111283" y="221263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3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3" y="132"/>
                </a:lnTo>
                <a:lnTo>
                  <a:pt x="127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9"/>
                </a:lnTo>
                <a:lnTo>
                  <a:pt x="133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7" name="Freeform 1930">
            <a:extLst>
              <a:ext uri="{FF2B5EF4-FFF2-40B4-BE49-F238E27FC236}">
                <a16:creationId xmlns:a16="http://schemas.microsoft.com/office/drawing/2014/main" id="{A92A7816-E41E-4A17-8220-EBECEB2D19FD}"/>
              </a:ext>
            </a:extLst>
          </p:cNvPr>
          <p:cNvSpPr>
            <a:spLocks/>
          </p:cNvSpPr>
          <p:nvPr userDrawn="1"/>
        </p:nvSpPr>
        <p:spPr bwMode="auto">
          <a:xfrm>
            <a:off x="6156422" y="221263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8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8" name="Freeform 1931">
            <a:extLst>
              <a:ext uri="{FF2B5EF4-FFF2-40B4-BE49-F238E27FC236}">
                <a16:creationId xmlns:a16="http://schemas.microsoft.com/office/drawing/2014/main" id="{3E496BFF-1FD0-49B7-B161-7EB42CBB106D}"/>
              </a:ext>
            </a:extLst>
          </p:cNvPr>
          <p:cNvSpPr>
            <a:spLocks/>
          </p:cNvSpPr>
          <p:nvPr userDrawn="1"/>
        </p:nvSpPr>
        <p:spPr bwMode="auto">
          <a:xfrm>
            <a:off x="6202610" y="21716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9" name="Freeform 1932">
            <a:extLst>
              <a:ext uri="{FF2B5EF4-FFF2-40B4-BE49-F238E27FC236}">
                <a16:creationId xmlns:a16="http://schemas.microsoft.com/office/drawing/2014/main" id="{BA4E820B-9B5A-41C6-8BA1-5D1F406BC849}"/>
              </a:ext>
            </a:extLst>
          </p:cNvPr>
          <p:cNvSpPr>
            <a:spLocks/>
          </p:cNvSpPr>
          <p:nvPr userDrawn="1"/>
        </p:nvSpPr>
        <p:spPr bwMode="auto">
          <a:xfrm>
            <a:off x="6252997" y="212550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0" name="Freeform 1933">
            <a:extLst>
              <a:ext uri="{FF2B5EF4-FFF2-40B4-BE49-F238E27FC236}">
                <a16:creationId xmlns:a16="http://schemas.microsoft.com/office/drawing/2014/main" id="{06F298C9-328E-4C35-BED7-5F0923CE27E1}"/>
              </a:ext>
            </a:extLst>
          </p:cNvPr>
          <p:cNvSpPr>
            <a:spLocks/>
          </p:cNvSpPr>
          <p:nvPr userDrawn="1"/>
        </p:nvSpPr>
        <p:spPr bwMode="auto">
          <a:xfrm>
            <a:off x="6287638" y="2174840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1" name="Freeform 1934">
            <a:extLst>
              <a:ext uri="{FF2B5EF4-FFF2-40B4-BE49-F238E27FC236}">
                <a16:creationId xmlns:a16="http://schemas.microsoft.com/office/drawing/2014/main" id="{3B4B49B0-B516-443D-9345-3C13B1AD82A5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2" name="Freeform 1935">
            <a:extLst>
              <a:ext uri="{FF2B5EF4-FFF2-40B4-BE49-F238E27FC236}">
                <a16:creationId xmlns:a16="http://schemas.microsoft.com/office/drawing/2014/main" id="{4D63403F-06DC-45BD-BA82-0AE705509B48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63252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3" name="Freeform 1936">
            <a:extLst>
              <a:ext uri="{FF2B5EF4-FFF2-40B4-BE49-F238E27FC236}">
                <a16:creationId xmlns:a16="http://schemas.microsoft.com/office/drawing/2014/main" id="{E7515C74-E074-4690-AF86-4A1B0CA3B07B}"/>
              </a:ext>
            </a:extLst>
          </p:cNvPr>
          <p:cNvSpPr>
            <a:spLocks/>
          </p:cNvSpPr>
          <p:nvPr userDrawn="1"/>
        </p:nvSpPr>
        <p:spPr bwMode="auto">
          <a:xfrm>
            <a:off x="6159571" y="263252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8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4" name="Freeform 1937">
            <a:extLst>
              <a:ext uri="{FF2B5EF4-FFF2-40B4-BE49-F238E27FC236}">
                <a16:creationId xmlns:a16="http://schemas.microsoft.com/office/drawing/2014/main" id="{3C996EBA-DAB4-48C7-A933-B6C9D3E1AB54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1 h 154"/>
              <a:gd name="T8" fmla="*/ 132 w 154"/>
              <a:gd name="T9" fmla="*/ 132 h 154"/>
              <a:gd name="T10" fmla="*/ 121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5" name="Freeform 1938">
            <a:extLst>
              <a:ext uri="{FF2B5EF4-FFF2-40B4-BE49-F238E27FC236}">
                <a16:creationId xmlns:a16="http://schemas.microsoft.com/office/drawing/2014/main" id="{C2BC2704-ACA7-43AD-87CF-7E22958C740B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58528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6" name="Freeform 1939">
            <a:extLst>
              <a:ext uri="{FF2B5EF4-FFF2-40B4-BE49-F238E27FC236}">
                <a16:creationId xmlns:a16="http://schemas.microsoft.com/office/drawing/2014/main" id="{F7C7F5A5-A9A9-4E0B-96B1-134E8F999084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63252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7" name="Freeform 1940">
            <a:extLst>
              <a:ext uri="{FF2B5EF4-FFF2-40B4-BE49-F238E27FC236}">
                <a16:creationId xmlns:a16="http://schemas.microsoft.com/office/drawing/2014/main" id="{CB562BEA-5F3F-460A-AC27-CAB4DA7D9C60}"/>
              </a:ext>
            </a:extLst>
          </p:cNvPr>
          <p:cNvSpPr>
            <a:spLocks/>
          </p:cNvSpPr>
          <p:nvPr userDrawn="1"/>
        </p:nvSpPr>
        <p:spPr bwMode="auto">
          <a:xfrm>
            <a:off x="5878241" y="263252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8" name="Freeform 1941">
            <a:extLst>
              <a:ext uri="{FF2B5EF4-FFF2-40B4-BE49-F238E27FC236}">
                <a16:creationId xmlns:a16="http://schemas.microsoft.com/office/drawing/2014/main" id="{5AF0454A-D55C-45AA-ADD8-21CD4DD1AC53}"/>
              </a:ext>
            </a:extLst>
          </p:cNvPr>
          <p:cNvSpPr>
            <a:spLocks/>
          </p:cNvSpPr>
          <p:nvPr userDrawn="1"/>
        </p:nvSpPr>
        <p:spPr bwMode="auto">
          <a:xfrm>
            <a:off x="5925479" y="245197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9" name="Freeform 1942">
            <a:extLst>
              <a:ext uri="{FF2B5EF4-FFF2-40B4-BE49-F238E27FC236}">
                <a16:creationId xmlns:a16="http://schemas.microsoft.com/office/drawing/2014/main" id="{157A150E-5391-45CF-BB44-D72554AF657E}"/>
              </a:ext>
            </a:extLst>
          </p:cNvPr>
          <p:cNvSpPr>
            <a:spLocks/>
          </p:cNvSpPr>
          <p:nvPr userDrawn="1"/>
        </p:nvSpPr>
        <p:spPr bwMode="auto">
          <a:xfrm>
            <a:off x="5971668" y="245197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0" name="Freeform 1943">
            <a:extLst>
              <a:ext uri="{FF2B5EF4-FFF2-40B4-BE49-F238E27FC236}">
                <a16:creationId xmlns:a16="http://schemas.microsoft.com/office/drawing/2014/main" id="{94F6932A-9619-47C7-8203-91FE3D18395D}"/>
              </a:ext>
            </a:extLst>
          </p:cNvPr>
          <p:cNvSpPr>
            <a:spLocks/>
          </p:cNvSpPr>
          <p:nvPr userDrawn="1"/>
        </p:nvSpPr>
        <p:spPr bwMode="auto">
          <a:xfrm>
            <a:off x="5925479" y="254434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1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1" name="Freeform 1944">
            <a:extLst>
              <a:ext uri="{FF2B5EF4-FFF2-40B4-BE49-F238E27FC236}">
                <a16:creationId xmlns:a16="http://schemas.microsoft.com/office/drawing/2014/main" id="{D700320D-41B5-4C1F-A80E-FBEB314FC65E}"/>
              </a:ext>
            </a:extLst>
          </p:cNvPr>
          <p:cNvSpPr>
            <a:spLocks/>
          </p:cNvSpPr>
          <p:nvPr userDrawn="1"/>
        </p:nvSpPr>
        <p:spPr bwMode="auto">
          <a:xfrm>
            <a:off x="5971668" y="254434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1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2" name="Freeform 1945">
            <a:extLst>
              <a:ext uri="{FF2B5EF4-FFF2-40B4-BE49-F238E27FC236}">
                <a16:creationId xmlns:a16="http://schemas.microsoft.com/office/drawing/2014/main" id="{D656FD72-0F02-4AD4-84EB-F44871C4FFE9}"/>
              </a:ext>
            </a:extLst>
          </p:cNvPr>
          <p:cNvSpPr>
            <a:spLocks/>
          </p:cNvSpPr>
          <p:nvPr userDrawn="1"/>
        </p:nvSpPr>
        <p:spPr bwMode="auto">
          <a:xfrm>
            <a:off x="5925479" y="2498159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3" name="Freeform 1946">
            <a:extLst>
              <a:ext uri="{FF2B5EF4-FFF2-40B4-BE49-F238E27FC236}">
                <a16:creationId xmlns:a16="http://schemas.microsoft.com/office/drawing/2014/main" id="{E45401A3-F310-4C9B-98FE-D752ADF71CB3}"/>
              </a:ext>
            </a:extLst>
          </p:cNvPr>
          <p:cNvSpPr>
            <a:spLocks/>
          </p:cNvSpPr>
          <p:nvPr userDrawn="1"/>
        </p:nvSpPr>
        <p:spPr bwMode="auto">
          <a:xfrm>
            <a:off x="5971668" y="249815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4" name="Freeform 1947">
            <a:extLst>
              <a:ext uri="{FF2B5EF4-FFF2-40B4-BE49-F238E27FC236}">
                <a16:creationId xmlns:a16="http://schemas.microsoft.com/office/drawing/2014/main" id="{1DB9B2D1-67C6-4FD9-B45C-0513CC723F95}"/>
              </a:ext>
            </a:extLst>
          </p:cNvPr>
          <p:cNvSpPr>
            <a:spLocks/>
          </p:cNvSpPr>
          <p:nvPr userDrawn="1"/>
        </p:nvSpPr>
        <p:spPr bwMode="auto">
          <a:xfrm>
            <a:off x="5925479" y="263252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5" name="Freeform 1948">
            <a:extLst>
              <a:ext uri="{FF2B5EF4-FFF2-40B4-BE49-F238E27FC236}">
                <a16:creationId xmlns:a16="http://schemas.microsoft.com/office/drawing/2014/main" id="{A007670C-0188-4B0C-8030-2CC9A05487DE}"/>
              </a:ext>
            </a:extLst>
          </p:cNvPr>
          <p:cNvSpPr>
            <a:spLocks/>
          </p:cNvSpPr>
          <p:nvPr userDrawn="1"/>
        </p:nvSpPr>
        <p:spPr bwMode="auto">
          <a:xfrm>
            <a:off x="5925479" y="258528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6" name="Freeform 1949">
            <a:extLst>
              <a:ext uri="{FF2B5EF4-FFF2-40B4-BE49-F238E27FC236}">
                <a16:creationId xmlns:a16="http://schemas.microsoft.com/office/drawing/2014/main" id="{7A6AE971-D0AF-4A5B-A31C-5E8B302E8949}"/>
              </a:ext>
            </a:extLst>
          </p:cNvPr>
          <p:cNvSpPr>
            <a:spLocks/>
          </p:cNvSpPr>
          <p:nvPr userDrawn="1"/>
        </p:nvSpPr>
        <p:spPr bwMode="auto">
          <a:xfrm>
            <a:off x="5971668" y="258528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7" name="Freeform 1950">
            <a:extLst>
              <a:ext uri="{FF2B5EF4-FFF2-40B4-BE49-F238E27FC236}">
                <a16:creationId xmlns:a16="http://schemas.microsoft.com/office/drawing/2014/main" id="{09FEC029-6ACA-48E6-A698-B19834EF9E93}"/>
              </a:ext>
            </a:extLst>
          </p:cNvPr>
          <p:cNvSpPr>
            <a:spLocks/>
          </p:cNvSpPr>
          <p:nvPr userDrawn="1"/>
        </p:nvSpPr>
        <p:spPr bwMode="auto">
          <a:xfrm>
            <a:off x="5969568" y="263252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8" name="Freeform 1951">
            <a:extLst>
              <a:ext uri="{FF2B5EF4-FFF2-40B4-BE49-F238E27FC236}">
                <a16:creationId xmlns:a16="http://schemas.microsoft.com/office/drawing/2014/main" id="{8838AADF-D73C-4CC2-8FA8-0C51CB254548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58528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9" name="Freeform 1952">
            <a:extLst>
              <a:ext uri="{FF2B5EF4-FFF2-40B4-BE49-F238E27FC236}">
                <a16:creationId xmlns:a16="http://schemas.microsoft.com/office/drawing/2014/main" id="{44890DCA-0829-4AD7-B78B-8D452A2220D3}"/>
              </a:ext>
            </a:extLst>
          </p:cNvPr>
          <p:cNvSpPr>
            <a:spLocks/>
          </p:cNvSpPr>
          <p:nvPr userDrawn="1"/>
        </p:nvSpPr>
        <p:spPr bwMode="auto">
          <a:xfrm>
            <a:off x="6159571" y="258528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8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0" name="Freeform 1953">
            <a:extLst>
              <a:ext uri="{FF2B5EF4-FFF2-40B4-BE49-F238E27FC236}">
                <a16:creationId xmlns:a16="http://schemas.microsoft.com/office/drawing/2014/main" id="{D6F456EC-80FC-4EED-8EB7-6F54D8B81908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68081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3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8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3" y="131"/>
                </a:lnTo>
                <a:lnTo>
                  <a:pt x="127" y="136"/>
                </a:lnTo>
                <a:lnTo>
                  <a:pt x="121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3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1" name="Freeform 1954">
            <a:extLst>
              <a:ext uri="{FF2B5EF4-FFF2-40B4-BE49-F238E27FC236}">
                <a16:creationId xmlns:a16="http://schemas.microsoft.com/office/drawing/2014/main" id="{DF16EDA9-C50F-4801-BD27-D34C33DA4088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68081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2" name="Freeform 1955">
            <a:extLst>
              <a:ext uri="{FF2B5EF4-FFF2-40B4-BE49-F238E27FC236}">
                <a16:creationId xmlns:a16="http://schemas.microsoft.com/office/drawing/2014/main" id="{039DBB39-6BA6-469B-97EA-DDDFACEB078B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68081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3" name="Freeform 1956">
            <a:extLst>
              <a:ext uri="{FF2B5EF4-FFF2-40B4-BE49-F238E27FC236}">
                <a16:creationId xmlns:a16="http://schemas.microsoft.com/office/drawing/2014/main" id="{E4DDD01E-3ECC-4977-A540-15FC9D042C56}"/>
              </a:ext>
            </a:extLst>
          </p:cNvPr>
          <p:cNvSpPr>
            <a:spLocks/>
          </p:cNvSpPr>
          <p:nvPr userDrawn="1"/>
        </p:nvSpPr>
        <p:spPr bwMode="auto">
          <a:xfrm>
            <a:off x="6159571" y="268081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4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8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2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4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4" name="Freeform 1957">
            <a:extLst>
              <a:ext uri="{FF2B5EF4-FFF2-40B4-BE49-F238E27FC236}">
                <a16:creationId xmlns:a16="http://schemas.microsoft.com/office/drawing/2014/main" id="{64F1BED9-0F8D-4D65-9514-2CB811539E7D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68081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5" name="Freeform 1958">
            <a:extLst>
              <a:ext uri="{FF2B5EF4-FFF2-40B4-BE49-F238E27FC236}">
                <a16:creationId xmlns:a16="http://schemas.microsoft.com/office/drawing/2014/main" id="{46538AC9-1DB6-457F-8A09-503A5A89B106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77214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3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3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3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6" name="Freeform 1959">
            <a:extLst>
              <a:ext uri="{FF2B5EF4-FFF2-40B4-BE49-F238E27FC236}">
                <a16:creationId xmlns:a16="http://schemas.microsoft.com/office/drawing/2014/main" id="{8B7AE7B7-5D8A-462A-A446-550F1675AA1C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72595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2 w 155"/>
              <a:gd name="T7" fmla="*/ 120 h 155"/>
              <a:gd name="T8" fmla="*/ 133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4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3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3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7" name="Freeform 1960">
            <a:extLst>
              <a:ext uri="{FF2B5EF4-FFF2-40B4-BE49-F238E27FC236}">
                <a16:creationId xmlns:a16="http://schemas.microsoft.com/office/drawing/2014/main" id="{2CDCFFE5-D6DE-4630-8CFA-B789268E5ACC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77214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8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8" name="Freeform 1961">
            <a:extLst>
              <a:ext uri="{FF2B5EF4-FFF2-40B4-BE49-F238E27FC236}">
                <a16:creationId xmlns:a16="http://schemas.microsoft.com/office/drawing/2014/main" id="{70659977-0DE4-4745-A131-5D9D3B16F525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7721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9" name="Freeform 1962">
            <a:extLst>
              <a:ext uri="{FF2B5EF4-FFF2-40B4-BE49-F238E27FC236}">
                <a16:creationId xmlns:a16="http://schemas.microsoft.com/office/drawing/2014/main" id="{1811E17D-7064-46C1-A0D2-76D5F8CFB9AE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725953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2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4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8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0" name="Freeform 1963">
            <a:extLst>
              <a:ext uri="{FF2B5EF4-FFF2-40B4-BE49-F238E27FC236}">
                <a16:creationId xmlns:a16="http://schemas.microsoft.com/office/drawing/2014/main" id="{5CF9FF2A-9A62-40D2-8E7F-02F865CAD732}"/>
              </a:ext>
            </a:extLst>
          </p:cNvPr>
          <p:cNvSpPr>
            <a:spLocks/>
          </p:cNvSpPr>
          <p:nvPr userDrawn="1"/>
        </p:nvSpPr>
        <p:spPr bwMode="auto">
          <a:xfrm>
            <a:off x="6113382" y="272595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1" name="Freeform 1964">
            <a:extLst>
              <a:ext uri="{FF2B5EF4-FFF2-40B4-BE49-F238E27FC236}">
                <a16:creationId xmlns:a16="http://schemas.microsoft.com/office/drawing/2014/main" id="{635AB938-7E47-4ADB-BEE4-697CFD3A84AB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77214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2" name="Freeform 1965">
            <a:extLst>
              <a:ext uri="{FF2B5EF4-FFF2-40B4-BE49-F238E27FC236}">
                <a16:creationId xmlns:a16="http://schemas.microsoft.com/office/drawing/2014/main" id="{B79B7515-ED86-45F6-8D89-4452981C34D0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72595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3" name="Freeform 1966">
            <a:extLst>
              <a:ext uri="{FF2B5EF4-FFF2-40B4-BE49-F238E27FC236}">
                <a16:creationId xmlns:a16="http://schemas.microsoft.com/office/drawing/2014/main" id="{5BBD62E0-9815-493F-AA1B-B4282D4B513D}"/>
              </a:ext>
            </a:extLst>
          </p:cNvPr>
          <p:cNvSpPr>
            <a:spLocks/>
          </p:cNvSpPr>
          <p:nvPr userDrawn="1"/>
        </p:nvSpPr>
        <p:spPr bwMode="auto">
          <a:xfrm>
            <a:off x="6159571" y="272595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4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8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4" name="Freeform 1967">
            <a:extLst>
              <a:ext uri="{FF2B5EF4-FFF2-40B4-BE49-F238E27FC236}">
                <a16:creationId xmlns:a16="http://schemas.microsoft.com/office/drawing/2014/main" id="{367E0140-442D-474F-BCC0-88A94626C594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86766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3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3" y="131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6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7" y="18"/>
                </a:lnTo>
                <a:lnTo>
                  <a:pt x="133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5" name="Freeform 1968">
            <a:extLst>
              <a:ext uri="{FF2B5EF4-FFF2-40B4-BE49-F238E27FC236}">
                <a16:creationId xmlns:a16="http://schemas.microsoft.com/office/drawing/2014/main" id="{BDA7D7A9-A807-4A57-9C91-B98262E573ED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82147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3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3" y="131"/>
                </a:lnTo>
                <a:lnTo>
                  <a:pt x="127" y="137"/>
                </a:lnTo>
                <a:lnTo>
                  <a:pt x="121" y="140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6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8"/>
                </a:lnTo>
                <a:lnTo>
                  <a:pt x="133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6" name="Freeform 1969">
            <a:extLst>
              <a:ext uri="{FF2B5EF4-FFF2-40B4-BE49-F238E27FC236}">
                <a16:creationId xmlns:a16="http://schemas.microsoft.com/office/drawing/2014/main" id="{46BA2852-996A-48F3-89AC-99FAF80F5F62}"/>
              </a:ext>
            </a:extLst>
          </p:cNvPr>
          <p:cNvSpPr>
            <a:spLocks/>
          </p:cNvSpPr>
          <p:nvPr userDrawn="1"/>
        </p:nvSpPr>
        <p:spPr bwMode="auto">
          <a:xfrm>
            <a:off x="6067194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5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7" y="137"/>
                </a:lnTo>
                <a:lnTo>
                  <a:pt x="121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7" name="Freeform 1970">
            <a:extLst>
              <a:ext uri="{FF2B5EF4-FFF2-40B4-BE49-F238E27FC236}">
                <a16:creationId xmlns:a16="http://schemas.microsoft.com/office/drawing/2014/main" id="{41930CBF-1B81-4BC6-BFE5-707EE0F56D54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86766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8" name="Freeform 1971">
            <a:extLst>
              <a:ext uri="{FF2B5EF4-FFF2-40B4-BE49-F238E27FC236}">
                <a16:creationId xmlns:a16="http://schemas.microsoft.com/office/drawing/2014/main" id="{879CCF91-566D-43BD-A17A-5783DC3D0DE0}"/>
              </a:ext>
            </a:extLst>
          </p:cNvPr>
          <p:cNvSpPr>
            <a:spLocks/>
          </p:cNvSpPr>
          <p:nvPr userDrawn="1"/>
        </p:nvSpPr>
        <p:spPr bwMode="auto">
          <a:xfrm>
            <a:off x="6022055" y="28214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6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9" name="Freeform 1972">
            <a:extLst>
              <a:ext uri="{FF2B5EF4-FFF2-40B4-BE49-F238E27FC236}">
                <a16:creationId xmlns:a16="http://schemas.microsoft.com/office/drawing/2014/main" id="{AE26647C-3206-4983-84BB-36A75CA4A0CD}"/>
              </a:ext>
            </a:extLst>
          </p:cNvPr>
          <p:cNvSpPr>
            <a:spLocks/>
          </p:cNvSpPr>
          <p:nvPr userDrawn="1"/>
        </p:nvSpPr>
        <p:spPr bwMode="auto">
          <a:xfrm>
            <a:off x="5972717" y="2913855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3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3" y="131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7" y="18"/>
                </a:lnTo>
                <a:lnTo>
                  <a:pt x="133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4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0" name="Freeform 1973">
            <a:extLst>
              <a:ext uri="{FF2B5EF4-FFF2-40B4-BE49-F238E27FC236}">
                <a16:creationId xmlns:a16="http://schemas.microsoft.com/office/drawing/2014/main" id="{15D93700-7363-4401-A08B-DC09422E7A48}"/>
              </a:ext>
            </a:extLst>
          </p:cNvPr>
          <p:cNvSpPr>
            <a:spLocks/>
          </p:cNvSpPr>
          <p:nvPr userDrawn="1"/>
        </p:nvSpPr>
        <p:spPr bwMode="auto">
          <a:xfrm>
            <a:off x="6290788" y="3048222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4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1" name="Freeform 1974">
            <a:extLst>
              <a:ext uri="{FF2B5EF4-FFF2-40B4-BE49-F238E27FC236}">
                <a16:creationId xmlns:a16="http://schemas.microsoft.com/office/drawing/2014/main" id="{F590A468-2E85-41B5-87A8-9B0E40B9E78B}"/>
              </a:ext>
            </a:extLst>
          </p:cNvPr>
          <p:cNvSpPr>
            <a:spLocks/>
          </p:cNvSpPr>
          <p:nvPr userDrawn="1"/>
        </p:nvSpPr>
        <p:spPr bwMode="auto">
          <a:xfrm>
            <a:off x="6336976" y="3048222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3 w 153"/>
              <a:gd name="T43" fmla="*/ 23 h 153"/>
              <a:gd name="T44" fmla="*/ 34 w 153"/>
              <a:gd name="T45" fmla="*/ 14 h 153"/>
              <a:gd name="T46" fmla="*/ 47 w 153"/>
              <a:gd name="T47" fmla="*/ 6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2" name="Freeform 1975">
            <a:extLst>
              <a:ext uri="{FF2B5EF4-FFF2-40B4-BE49-F238E27FC236}">
                <a16:creationId xmlns:a16="http://schemas.microsoft.com/office/drawing/2014/main" id="{CE765C99-6D6C-45C3-97E3-AE096095A0C2}"/>
              </a:ext>
            </a:extLst>
          </p:cNvPr>
          <p:cNvSpPr>
            <a:spLocks/>
          </p:cNvSpPr>
          <p:nvPr userDrawn="1"/>
        </p:nvSpPr>
        <p:spPr bwMode="auto">
          <a:xfrm>
            <a:off x="6244600" y="309756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3" name="Freeform 1976">
            <a:extLst>
              <a:ext uri="{FF2B5EF4-FFF2-40B4-BE49-F238E27FC236}">
                <a16:creationId xmlns:a16="http://schemas.microsoft.com/office/drawing/2014/main" id="{9A72481D-AE87-49E5-A443-70AD65825CCD}"/>
              </a:ext>
            </a:extLst>
          </p:cNvPr>
          <p:cNvSpPr>
            <a:spLocks/>
          </p:cNvSpPr>
          <p:nvPr userDrawn="1"/>
        </p:nvSpPr>
        <p:spPr bwMode="auto">
          <a:xfrm>
            <a:off x="6204710" y="309756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8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4" name="Freeform 1977">
            <a:extLst>
              <a:ext uri="{FF2B5EF4-FFF2-40B4-BE49-F238E27FC236}">
                <a16:creationId xmlns:a16="http://schemas.microsoft.com/office/drawing/2014/main" id="{58793CBA-723F-4941-AAB4-F7B6043C8F4B}"/>
              </a:ext>
            </a:extLst>
          </p:cNvPr>
          <p:cNvSpPr>
            <a:spLocks/>
          </p:cNvSpPr>
          <p:nvPr userDrawn="1"/>
        </p:nvSpPr>
        <p:spPr bwMode="auto">
          <a:xfrm>
            <a:off x="6524879" y="290860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9 w 154"/>
              <a:gd name="T19" fmla="*/ 154 h 155"/>
              <a:gd name="T20" fmla="*/ 53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9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5" name="Freeform 1978">
            <a:extLst>
              <a:ext uri="{FF2B5EF4-FFF2-40B4-BE49-F238E27FC236}">
                <a16:creationId xmlns:a16="http://schemas.microsoft.com/office/drawing/2014/main" id="{194C86D4-5F1C-4DCE-8132-939F07946284}"/>
              </a:ext>
            </a:extLst>
          </p:cNvPr>
          <p:cNvSpPr>
            <a:spLocks/>
          </p:cNvSpPr>
          <p:nvPr userDrawn="1"/>
        </p:nvSpPr>
        <p:spPr bwMode="auto">
          <a:xfrm>
            <a:off x="6473442" y="254539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0" y="132"/>
                </a:lnTo>
                <a:lnTo>
                  <a:pt x="125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6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6" name="Freeform 1979">
            <a:extLst>
              <a:ext uri="{FF2B5EF4-FFF2-40B4-BE49-F238E27FC236}">
                <a16:creationId xmlns:a16="http://schemas.microsoft.com/office/drawing/2014/main" id="{784C0230-A692-4FF1-8EF2-134AABDF1B74}"/>
              </a:ext>
            </a:extLst>
          </p:cNvPr>
          <p:cNvSpPr>
            <a:spLocks/>
          </p:cNvSpPr>
          <p:nvPr userDrawn="1"/>
        </p:nvSpPr>
        <p:spPr bwMode="auto">
          <a:xfrm>
            <a:off x="6750573" y="244882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7" name="Freeform 1980">
            <a:extLst>
              <a:ext uri="{FF2B5EF4-FFF2-40B4-BE49-F238E27FC236}">
                <a16:creationId xmlns:a16="http://schemas.microsoft.com/office/drawing/2014/main" id="{1622EBFE-247A-41A3-AC53-800F15A14FA7}"/>
              </a:ext>
            </a:extLst>
          </p:cNvPr>
          <p:cNvSpPr>
            <a:spLocks/>
          </p:cNvSpPr>
          <p:nvPr userDrawn="1"/>
        </p:nvSpPr>
        <p:spPr bwMode="auto">
          <a:xfrm>
            <a:off x="6434600" y="2496059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39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39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39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8" name="Freeform 1981">
            <a:extLst>
              <a:ext uri="{FF2B5EF4-FFF2-40B4-BE49-F238E27FC236}">
                <a16:creationId xmlns:a16="http://schemas.microsoft.com/office/drawing/2014/main" id="{A1BBC719-32CF-4222-A270-657FB51EA4F5}"/>
              </a:ext>
            </a:extLst>
          </p:cNvPr>
          <p:cNvSpPr>
            <a:spLocks/>
          </p:cNvSpPr>
          <p:nvPr userDrawn="1"/>
        </p:nvSpPr>
        <p:spPr bwMode="auto">
          <a:xfrm>
            <a:off x="6478690" y="2957944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3 h 154"/>
              <a:gd name="T30" fmla="*/ 3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6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3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9" name="Freeform 1982">
            <a:extLst>
              <a:ext uri="{FF2B5EF4-FFF2-40B4-BE49-F238E27FC236}">
                <a16:creationId xmlns:a16="http://schemas.microsoft.com/office/drawing/2014/main" id="{38757343-E3F5-44DE-B434-5CC10A943E82}"/>
              </a:ext>
            </a:extLst>
          </p:cNvPr>
          <p:cNvSpPr>
            <a:spLocks/>
          </p:cNvSpPr>
          <p:nvPr userDrawn="1"/>
        </p:nvSpPr>
        <p:spPr bwMode="auto">
          <a:xfrm>
            <a:off x="6384214" y="3002033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4 w 155"/>
              <a:gd name="T21" fmla="*/ 150 h 155"/>
              <a:gd name="T22" fmla="*/ 40 w 155"/>
              <a:gd name="T23" fmla="*/ 144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6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0" name="Freeform 1983">
            <a:extLst>
              <a:ext uri="{FF2B5EF4-FFF2-40B4-BE49-F238E27FC236}">
                <a16:creationId xmlns:a16="http://schemas.microsoft.com/office/drawing/2014/main" id="{D1A80F42-CBA4-45F3-BFB6-5CFD04DB3C50}"/>
              </a:ext>
            </a:extLst>
          </p:cNvPr>
          <p:cNvSpPr>
            <a:spLocks/>
          </p:cNvSpPr>
          <p:nvPr userDrawn="1"/>
        </p:nvSpPr>
        <p:spPr bwMode="auto">
          <a:xfrm>
            <a:off x="5046848" y="162057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1" name="Freeform 1984">
            <a:extLst>
              <a:ext uri="{FF2B5EF4-FFF2-40B4-BE49-F238E27FC236}">
                <a16:creationId xmlns:a16="http://schemas.microsoft.com/office/drawing/2014/main" id="{65098A44-51F1-49D4-8A00-C78B52333753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62057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2" name="Freeform 1985">
            <a:extLst>
              <a:ext uri="{FF2B5EF4-FFF2-40B4-BE49-F238E27FC236}">
                <a16:creationId xmlns:a16="http://schemas.microsoft.com/office/drawing/2014/main" id="{089905BB-EC3A-459C-A852-45A4B1D6A051}"/>
              </a:ext>
            </a:extLst>
          </p:cNvPr>
          <p:cNvSpPr>
            <a:spLocks/>
          </p:cNvSpPr>
          <p:nvPr userDrawn="1"/>
        </p:nvSpPr>
        <p:spPr bwMode="auto">
          <a:xfrm>
            <a:off x="5139225" y="162057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3" name="Freeform 1986">
            <a:extLst>
              <a:ext uri="{FF2B5EF4-FFF2-40B4-BE49-F238E27FC236}">
                <a16:creationId xmlns:a16="http://schemas.microsoft.com/office/drawing/2014/main" id="{74791CDD-3185-4EE4-BE41-EA6EA1966C5D}"/>
              </a:ext>
            </a:extLst>
          </p:cNvPr>
          <p:cNvSpPr>
            <a:spLocks/>
          </p:cNvSpPr>
          <p:nvPr userDrawn="1"/>
        </p:nvSpPr>
        <p:spPr bwMode="auto">
          <a:xfrm>
            <a:off x="5046848" y="157439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4" name="Freeform 1987">
            <a:extLst>
              <a:ext uri="{FF2B5EF4-FFF2-40B4-BE49-F238E27FC236}">
                <a16:creationId xmlns:a16="http://schemas.microsoft.com/office/drawing/2014/main" id="{75C74900-13D2-4D85-9B2B-7B0430A84CF5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574390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5" name="Freeform 1988">
            <a:extLst>
              <a:ext uri="{FF2B5EF4-FFF2-40B4-BE49-F238E27FC236}">
                <a16:creationId xmlns:a16="http://schemas.microsoft.com/office/drawing/2014/main" id="{EAF0A83B-6FC6-4A94-9AF1-BE8D1AD5EC5A}"/>
              </a:ext>
            </a:extLst>
          </p:cNvPr>
          <p:cNvSpPr>
            <a:spLocks/>
          </p:cNvSpPr>
          <p:nvPr userDrawn="1"/>
        </p:nvSpPr>
        <p:spPr bwMode="auto">
          <a:xfrm>
            <a:off x="5139225" y="1574390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6" name="Freeform 1989">
            <a:extLst>
              <a:ext uri="{FF2B5EF4-FFF2-40B4-BE49-F238E27FC236}">
                <a16:creationId xmlns:a16="http://schemas.microsoft.com/office/drawing/2014/main" id="{3E762B7A-D2FA-4305-9A0E-8238454294FB}"/>
              </a:ext>
            </a:extLst>
          </p:cNvPr>
          <p:cNvSpPr>
            <a:spLocks/>
          </p:cNvSpPr>
          <p:nvPr userDrawn="1"/>
        </p:nvSpPr>
        <p:spPr bwMode="auto">
          <a:xfrm>
            <a:off x="5233701" y="162057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7" name="Freeform 1990">
            <a:extLst>
              <a:ext uri="{FF2B5EF4-FFF2-40B4-BE49-F238E27FC236}">
                <a16:creationId xmlns:a16="http://schemas.microsoft.com/office/drawing/2014/main" id="{18DBCD3A-2E32-4E33-89EA-6E73783865CA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62057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8" name="Freeform 1991">
            <a:extLst>
              <a:ext uri="{FF2B5EF4-FFF2-40B4-BE49-F238E27FC236}">
                <a16:creationId xmlns:a16="http://schemas.microsoft.com/office/drawing/2014/main" id="{5C215CD0-6BDC-459D-B4F4-C8465B7B4A51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574390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7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9" name="Freeform 1992">
            <a:extLst>
              <a:ext uri="{FF2B5EF4-FFF2-40B4-BE49-F238E27FC236}">
                <a16:creationId xmlns:a16="http://schemas.microsoft.com/office/drawing/2014/main" id="{774FD632-12C7-43EA-A9D4-C2446ADD5135}"/>
              </a:ext>
            </a:extLst>
          </p:cNvPr>
          <p:cNvSpPr>
            <a:spLocks/>
          </p:cNvSpPr>
          <p:nvPr userDrawn="1"/>
        </p:nvSpPr>
        <p:spPr bwMode="auto">
          <a:xfrm>
            <a:off x="5415306" y="194389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0" name="Freeform 1993">
            <a:extLst>
              <a:ext uri="{FF2B5EF4-FFF2-40B4-BE49-F238E27FC236}">
                <a16:creationId xmlns:a16="http://schemas.microsoft.com/office/drawing/2014/main" id="{6F64CD87-7619-4ACF-BE92-143E1B5DCE3E}"/>
              </a:ext>
            </a:extLst>
          </p:cNvPr>
          <p:cNvSpPr>
            <a:spLocks/>
          </p:cNvSpPr>
          <p:nvPr userDrawn="1"/>
        </p:nvSpPr>
        <p:spPr bwMode="auto">
          <a:xfrm>
            <a:off x="5461495" y="194389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1" name="Freeform 1994">
            <a:extLst>
              <a:ext uri="{FF2B5EF4-FFF2-40B4-BE49-F238E27FC236}">
                <a16:creationId xmlns:a16="http://schemas.microsoft.com/office/drawing/2014/main" id="{6A16C477-F876-40F5-BAAC-78C2D47B57C6}"/>
              </a:ext>
            </a:extLst>
          </p:cNvPr>
          <p:cNvSpPr>
            <a:spLocks/>
          </p:cNvSpPr>
          <p:nvPr userDrawn="1"/>
        </p:nvSpPr>
        <p:spPr bwMode="auto">
          <a:xfrm>
            <a:off x="5507682" y="194389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2" name="Freeform 1995">
            <a:extLst>
              <a:ext uri="{FF2B5EF4-FFF2-40B4-BE49-F238E27FC236}">
                <a16:creationId xmlns:a16="http://schemas.microsoft.com/office/drawing/2014/main" id="{767E2AA0-0DB8-4404-AC73-2C30CCA74519}"/>
              </a:ext>
            </a:extLst>
          </p:cNvPr>
          <p:cNvSpPr>
            <a:spLocks/>
          </p:cNvSpPr>
          <p:nvPr userDrawn="1"/>
        </p:nvSpPr>
        <p:spPr bwMode="auto">
          <a:xfrm>
            <a:off x="5507682" y="1898759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3" name="Freeform 1996">
            <a:extLst>
              <a:ext uri="{FF2B5EF4-FFF2-40B4-BE49-F238E27FC236}">
                <a16:creationId xmlns:a16="http://schemas.microsoft.com/office/drawing/2014/main" id="{1E80DD2C-8DE6-4BB7-909D-150C50499AB3}"/>
              </a:ext>
            </a:extLst>
          </p:cNvPr>
          <p:cNvSpPr>
            <a:spLocks/>
          </p:cNvSpPr>
          <p:nvPr userDrawn="1"/>
        </p:nvSpPr>
        <p:spPr bwMode="auto">
          <a:xfrm>
            <a:off x="5415306" y="203732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4" name="Freeform 1997">
            <a:extLst>
              <a:ext uri="{FF2B5EF4-FFF2-40B4-BE49-F238E27FC236}">
                <a16:creationId xmlns:a16="http://schemas.microsoft.com/office/drawing/2014/main" id="{034F12A7-2566-47EF-B229-C89B5B344353}"/>
              </a:ext>
            </a:extLst>
          </p:cNvPr>
          <p:cNvSpPr>
            <a:spLocks/>
          </p:cNvSpPr>
          <p:nvPr userDrawn="1"/>
        </p:nvSpPr>
        <p:spPr bwMode="auto">
          <a:xfrm>
            <a:off x="5461495" y="203732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7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5" name="Freeform 1998">
            <a:extLst>
              <a:ext uri="{FF2B5EF4-FFF2-40B4-BE49-F238E27FC236}">
                <a16:creationId xmlns:a16="http://schemas.microsoft.com/office/drawing/2014/main" id="{E8778F94-4B6F-4770-9BD2-B91E4FC3870C}"/>
              </a:ext>
            </a:extLst>
          </p:cNvPr>
          <p:cNvSpPr>
            <a:spLocks/>
          </p:cNvSpPr>
          <p:nvPr userDrawn="1"/>
        </p:nvSpPr>
        <p:spPr bwMode="auto">
          <a:xfrm>
            <a:off x="5507682" y="203732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6" name="Freeform 1999">
            <a:extLst>
              <a:ext uri="{FF2B5EF4-FFF2-40B4-BE49-F238E27FC236}">
                <a16:creationId xmlns:a16="http://schemas.microsoft.com/office/drawing/2014/main" id="{0AC85724-54B1-4F1B-A631-374ABA5F05A6}"/>
              </a:ext>
            </a:extLst>
          </p:cNvPr>
          <p:cNvSpPr>
            <a:spLocks/>
          </p:cNvSpPr>
          <p:nvPr userDrawn="1"/>
        </p:nvSpPr>
        <p:spPr bwMode="auto">
          <a:xfrm>
            <a:off x="5554921" y="203732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7" name="Freeform 2000">
            <a:extLst>
              <a:ext uri="{FF2B5EF4-FFF2-40B4-BE49-F238E27FC236}">
                <a16:creationId xmlns:a16="http://schemas.microsoft.com/office/drawing/2014/main" id="{4AF4D063-251D-429C-B826-742A01EF5D14}"/>
              </a:ext>
            </a:extLst>
          </p:cNvPr>
          <p:cNvSpPr>
            <a:spLocks/>
          </p:cNvSpPr>
          <p:nvPr userDrawn="1"/>
        </p:nvSpPr>
        <p:spPr bwMode="auto">
          <a:xfrm>
            <a:off x="5554921" y="208246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8" name="Freeform 2001">
            <a:extLst>
              <a:ext uri="{FF2B5EF4-FFF2-40B4-BE49-F238E27FC236}">
                <a16:creationId xmlns:a16="http://schemas.microsoft.com/office/drawing/2014/main" id="{91521E64-7948-4CDE-B48B-8B4348C970AE}"/>
              </a:ext>
            </a:extLst>
          </p:cNvPr>
          <p:cNvSpPr>
            <a:spLocks/>
          </p:cNvSpPr>
          <p:nvPr userDrawn="1"/>
        </p:nvSpPr>
        <p:spPr bwMode="auto">
          <a:xfrm>
            <a:off x="5597960" y="208246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9" name="Freeform 2002">
            <a:extLst>
              <a:ext uri="{FF2B5EF4-FFF2-40B4-BE49-F238E27FC236}">
                <a16:creationId xmlns:a16="http://schemas.microsoft.com/office/drawing/2014/main" id="{7B43CC67-B8F1-4A8C-9BD1-AE0CE4EBECB6}"/>
              </a:ext>
            </a:extLst>
          </p:cNvPr>
          <p:cNvSpPr>
            <a:spLocks/>
          </p:cNvSpPr>
          <p:nvPr userDrawn="1"/>
        </p:nvSpPr>
        <p:spPr bwMode="auto">
          <a:xfrm>
            <a:off x="5554921" y="212550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0" name="Freeform 2003">
            <a:extLst>
              <a:ext uri="{FF2B5EF4-FFF2-40B4-BE49-F238E27FC236}">
                <a16:creationId xmlns:a16="http://schemas.microsoft.com/office/drawing/2014/main" id="{CC81831C-466C-4043-B2E3-CFDA5AEDE7A7}"/>
              </a:ext>
            </a:extLst>
          </p:cNvPr>
          <p:cNvSpPr>
            <a:spLocks/>
          </p:cNvSpPr>
          <p:nvPr userDrawn="1"/>
        </p:nvSpPr>
        <p:spPr bwMode="auto">
          <a:xfrm>
            <a:off x="5601109" y="212550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1" name="Freeform 2004">
            <a:extLst>
              <a:ext uri="{FF2B5EF4-FFF2-40B4-BE49-F238E27FC236}">
                <a16:creationId xmlns:a16="http://schemas.microsoft.com/office/drawing/2014/main" id="{14E57AF8-5A58-44E9-B424-422806229364}"/>
              </a:ext>
            </a:extLst>
          </p:cNvPr>
          <p:cNvSpPr>
            <a:spLocks/>
          </p:cNvSpPr>
          <p:nvPr userDrawn="1"/>
        </p:nvSpPr>
        <p:spPr bwMode="auto">
          <a:xfrm>
            <a:off x="5415306" y="199008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3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4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2" name="Freeform 2005">
            <a:extLst>
              <a:ext uri="{FF2B5EF4-FFF2-40B4-BE49-F238E27FC236}">
                <a16:creationId xmlns:a16="http://schemas.microsoft.com/office/drawing/2014/main" id="{D787D0DD-FE30-4ED4-B286-35A9CFCCBD0C}"/>
              </a:ext>
            </a:extLst>
          </p:cNvPr>
          <p:cNvSpPr>
            <a:spLocks/>
          </p:cNvSpPr>
          <p:nvPr userDrawn="1"/>
        </p:nvSpPr>
        <p:spPr bwMode="auto">
          <a:xfrm>
            <a:off x="5461495" y="199008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3" name="Freeform 2006">
            <a:extLst>
              <a:ext uri="{FF2B5EF4-FFF2-40B4-BE49-F238E27FC236}">
                <a16:creationId xmlns:a16="http://schemas.microsoft.com/office/drawing/2014/main" id="{27727B30-D957-4EA8-A4EB-82302DC048F6}"/>
              </a:ext>
            </a:extLst>
          </p:cNvPr>
          <p:cNvSpPr>
            <a:spLocks/>
          </p:cNvSpPr>
          <p:nvPr userDrawn="1"/>
        </p:nvSpPr>
        <p:spPr bwMode="auto">
          <a:xfrm>
            <a:off x="5370167" y="203732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4" name="Freeform 2007">
            <a:extLst>
              <a:ext uri="{FF2B5EF4-FFF2-40B4-BE49-F238E27FC236}">
                <a16:creationId xmlns:a16="http://schemas.microsoft.com/office/drawing/2014/main" id="{8EF480BF-2305-4D06-A9FA-B61EEABEC075}"/>
              </a:ext>
            </a:extLst>
          </p:cNvPr>
          <p:cNvSpPr>
            <a:spLocks/>
          </p:cNvSpPr>
          <p:nvPr userDrawn="1"/>
        </p:nvSpPr>
        <p:spPr bwMode="auto">
          <a:xfrm>
            <a:off x="5370167" y="199008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5" name="Freeform 2008">
            <a:extLst>
              <a:ext uri="{FF2B5EF4-FFF2-40B4-BE49-F238E27FC236}">
                <a16:creationId xmlns:a16="http://schemas.microsoft.com/office/drawing/2014/main" id="{CB4E8DDE-1B38-44F1-A847-E2327D8FBE07}"/>
              </a:ext>
            </a:extLst>
          </p:cNvPr>
          <p:cNvSpPr>
            <a:spLocks/>
          </p:cNvSpPr>
          <p:nvPr userDrawn="1"/>
        </p:nvSpPr>
        <p:spPr bwMode="auto">
          <a:xfrm>
            <a:off x="5507682" y="199008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6" name="Freeform 2009">
            <a:extLst>
              <a:ext uri="{FF2B5EF4-FFF2-40B4-BE49-F238E27FC236}">
                <a16:creationId xmlns:a16="http://schemas.microsoft.com/office/drawing/2014/main" id="{663D9C78-29E8-4F53-8386-DD466D759FC1}"/>
              </a:ext>
            </a:extLst>
          </p:cNvPr>
          <p:cNvSpPr>
            <a:spLocks/>
          </p:cNvSpPr>
          <p:nvPr userDrawn="1"/>
        </p:nvSpPr>
        <p:spPr bwMode="auto">
          <a:xfrm>
            <a:off x="5415306" y="2078264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3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7" name="Freeform 2010">
            <a:extLst>
              <a:ext uri="{FF2B5EF4-FFF2-40B4-BE49-F238E27FC236}">
                <a16:creationId xmlns:a16="http://schemas.microsoft.com/office/drawing/2014/main" id="{76AE3D06-3924-4B3C-9079-AF6FBDD72779}"/>
              </a:ext>
            </a:extLst>
          </p:cNvPr>
          <p:cNvSpPr>
            <a:spLocks/>
          </p:cNvSpPr>
          <p:nvPr userDrawn="1"/>
        </p:nvSpPr>
        <p:spPr bwMode="auto">
          <a:xfrm>
            <a:off x="5461495" y="2078264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8" name="Freeform 2011">
            <a:extLst>
              <a:ext uri="{FF2B5EF4-FFF2-40B4-BE49-F238E27FC236}">
                <a16:creationId xmlns:a16="http://schemas.microsoft.com/office/drawing/2014/main" id="{7FAE14F3-9626-42DC-850B-F21C7FCEF95A}"/>
              </a:ext>
            </a:extLst>
          </p:cNvPr>
          <p:cNvSpPr>
            <a:spLocks/>
          </p:cNvSpPr>
          <p:nvPr userDrawn="1"/>
        </p:nvSpPr>
        <p:spPr bwMode="auto">
          <a:xfrm>
            <a:off x="5370167" y="207826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9" name="Freeform 2012">
            <a:extLst>
              <a:ext uri="{FF2B5EF4-FFF2-40B4-BE49-F238E27FC236}">
                <a16:creationId xmlns:a16="http://schemas.microsoft.com/office/drawing/2014/main" id="{7D0553CE-5B7D-4CAA-A8EE-A73B779DFC62}"/>
              </a:ext>
            </a:extLst>
          </p:cNvPr>
          <p:cNvSpPr>
            <a:spLocks/>
          </p:cNvSpPr>
          <p:nvPr userDrawn="1"/>
        </p:nvSpPr>
        <p:spPr bwMode="auto">
          <a:xfrm>
            <a:off x="5415306" y="221682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49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6 h 153"/>
              <a:gd name="T40" fmla="*/ 13 w 155"/>
              <a:gd name="T41" fmla="*/ 33 h 153"/>
              <a:gd name="T42" fmla="*/ 23 w 155"/>
              <a:gd name="T43" fmla="*/ 21 h 153"/>
              <a:gd name="T44" fmla="*/ 33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0" name="Freeform 2013">
            <a:extLst>
              <a:ext uri="{FF2B5EF4-FFF2-40B4-BE49-F238E27FC236}">
                <a16:creationId xmlns:a16="http://schemas.microsoft.com/office/drawing/2014/main" id="{894E4AE3-7782-48A0-8AC3-63322167DC18}"/>
              </a:ext>
            </a:extLst>
          </p:cNvPr>
          <p:cNvSpPr>
            <a:spLocks/>
          </p:cNvSpPr>
          <p:nvPr userDrawn="1"/>
        </p:nvSpPr>
        <p:spPr bwMode="auto">
          <a:xfrm>
            <a:off x="5370167" y="22168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1" name="Freeform 2015">
            <a:extLst>
              <a:ext uri="{FF2B5EF4-FFF2-40B4-BE49-F238E27FC236}">
                <a16:creationId xmlns:a16="http://schemas.microsoft.com/office/drawing/2014/main" id="{1FC992E9-02E2-402D-8305-7B67EF827B27}"/>
              </a:ext>
            </a:extLst>
          </p:cNvPr>
          <p:cNvSpPr>
            <a:spLocks/>
          </p:cNvSpPr>
          <p:nvPr userDrawn="1"/>
        </p:nvSpPr>
        <p:spPr bwMode="auto">
          <a:xfrm>
            <a:off x="5278840" y="2174840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6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6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2" name="Freeform 2016">
            <a:extLst>
              <a:ext uri="{FF2B5EF4-FFF2-40B4-BE49-F238E27FC236}">
                <a16:creationId xmlns:a16="http://schemas.microsoft.com/office/drawing/2014/main" id="{DEE3C8B8-84E2-485E-9A4E-B2CF109003C5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71400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3" name="Freeform 2017">
            <a:extLst>
              <a:ext uri="{FF2B5EF4-FFF2-40B4-BE49-F238E27FC236}">
                <a16:creationId xmlns:a16="http://schemas.microsoft.com/office/drawing/2014/main" id="{45362371-CF0B-41C1-95DB-DBD148AB6D8E}"/>
              </a:ext>
            </a:extLst>
          </p:cNvPr>
          <p:cNvSpPr>
            <a:spLocks/>
          </p:cNvSpPr>
          <p:nvPr userDrawn="1"/>
        </p:nvSpPr>
        <p:spPr bwMode="auto">
          <a:xfrm>
            <a:off x="5139225" y="171400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4" name="Freeform 2018">
            <a:extLst>
              <a:ext uri="{FF2B5EF4-FFF2-40B4-BE49-F238E27FC236}">
                <a16:creationId xmlns:a16="http://schemas.microsoft.com/office/drawing/2014/main" id="{5EF3C70C-D008-4E51-A105-24A01D9A367D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66781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5" name="Freeform 2019">
            <a:extLst>
              <a:ext uri="{FF2B5EF4-FFF2-40B4-BE49-F238E27FC236}">
                <a16:creationId xmlns:a16="http://schemas.microsoft.com/office/drawing/2014/main" id="{577C6723-468C-4372-A167-23A511994250}"/>
              </a:ext>
            </a:extLst>
          </p:cNvPr>
          <p:cNvSpPr>
            <a:spLocks/>
          </p:cNvSpPr>
          <p:nvPr userDrawn="1"/>
        </p:nvSpPr>
        <p:spPr bwMode="auto">
          <a:xfrm>
            <a:off x="5139225" y="166781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6" name="Freeform 2020">
            <a:extLst>
              <a:ext uri="{FF2B5EF4-FFF2-40B4-BE49-F238E27FC236}">
                <a16:creationId xmlns:a16="http://schemas.microsoft.com/office/drawing/2014/main" id="{BC5C5DAC-E842-42B1-B085-49DEBD740134}"/>
              </a:ext>
            </a:extLst>
          </p:cNvPr>
          <p:cNvSpPr>
            <a:spLocks/>
          </p:cNvSpPr>
          <p:nvPr userDrawn="1"/>
        </p:nvSpPr>
        <p:spPr bwMode="auto">
          <a:xfrm>
            <a:off x="5094086" y="199008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7" name="Freeform 2021">
            <a:extLst>
              <a:ext uri="{FF2B5EF4-FFF2-40B4-BE49-F238E27FC236}">
                <a16:creationId xmlns:a16="http://schemas.microsoft.com/office/drawing/2014/main" id="{799C9BE7-FAC7-4D08-9347-6084D371AB3D}"/>
              </a:ext>
            </a:extLst>
          </p:cNvPr>
          <p:cNvSpPr>
            <a:spLocks/>
          </p:cNvSpPr>
          <p:nvPr userDrawn="1"/>
        </p:nvSpPr>
        <p:spPr bwMode="auto">
          <a:xfrm>
            <a:off x="5140274" y="199008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7 h 154"/>
              <a:gd name="T48" fmla="*/ 62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8" name="Freeform 2022">
            <a:extLst>
              <a:ext uri="{FF2B5EF4-FFF2-40B4-BE49-F238E27FC236}">
                <a16:creationId xmlns:a16="http://schemas.microsoft.com/office/drawing/2014/main" id="{3744A226-CC85-473D-B6CF-6A55B59F0B1D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199008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9" name="Freeform 2023">
            <a:extLst>
              <a:ext uri="{FF2B5EF4-FFF2-40B4-BE49-F238E27FC236}">
                <a16:creationId xmlns:a16="http://schemas.microsoft.com/office/drawing/2014/main" id="{0068F78D-EF91-4596-B726-337AF30704DA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207721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0" name="Freeform 2024">
            <a:extLst>
              <a:ext uri="{FF2B5EF4-FFF2-40B4-BE49-F238E27FC236}">
                <a16:creationId xmlns:a16="http://schemas.microsoft.com/office/drawing/2014/main" id="{D67BC796-E749-4FC2-ACE9-32EB63962F22}"/>
              </a:ext>
            </a:extLst>
          </p:cNvPr>
          <p:cNvSpPr>
            <a:spLocks/>
          </p:cNvSpPr>
          <p:nvPr userDrawn="1"/>
        </p:nvSpPr>
        <p:spPr bwMode="auto">
          <a:xfrm>
            <a:off x="5140274" y="203102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1" name="Freeform 2025">
            <a:extLst>
              <a:ext uri="{FF2B5EF4-FFF2-40B4-BE49-F238E27FC236}">
                <a16:creationId xmlns:a16="http://schemas.microsoft.com/office/drawing/2014/main" id="{CD6C32EE-D8B6-4412-854E-D96EA021C5CE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203102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2" name="Freeform 2026">
            <a:extLst>
              <a:ext uri="{FF2B5EF4-FFF2-40B4-BE49-F238E27FC236}">
                <a16:creationId xmlns:a16="http://schemas.microsoft.com/office/drawing/2014/main" id="{BB575F95-E493-4BE9-A4CF-EC1D0A0F733E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2126552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3" name="Freeform 2027">
            <a:extLst>
              <a:ext uri="{FF2B5EF4-FFF2-40B4-BE49-F238E27FC236}">
                <a16:creationId xmlns:a16="http://schemas.microsoft.com/office/drawing/2014/main" id="{3CD706EF-E8A5-4C1B-BE68-CA2EA322CC18}"/>
              </a:ext>
            </a:extLst>
          </p:cNvPr>
          <p:cNvSpPr>
            <a:spLocks/>
          </p:cNvSpPr>
          <p:nvPr userDrawn="1"/>
        </p:nvSpPr>
        <p:spPr bwMode="auto">
          <a:xfrm>
            <a:off x="5231601" y="2077213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4" name="Freeform 2028">
            <a:extLst>
              <a:ext uri="{FF2B5EF4-FFF2-40B4-BE49-F238E27FC236}">
                <a16:creationId xmlns:a16="http://schemas.microsoft.com/office/drawing/2014/main" id="{2722207D-FFF7-4F10-B620-AC05613BF449}"/>
              </a:ext>
            </a:extLst>
          </p:cNvPr>
          <p:cNvSpPr>
            <a:spLocks/>
          </p:cNvSpPr>
          <p:nvPr userDrawn="1"/>
        </p:nvSpPr>
        <p:spPr bwMode="auto">
          <a:xfrm>
            <a:off x="5231601" y="2126552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5" name="Freeform 2029">
            <a:extLst>
              <a:ext uri="{FF2B5EF4-FFF2-40B4-BE49-F238E27FC236}">
                <a16:creationId xmlns:a16="http://schemas.microsoft.com/office/drawing/2014/main" id="{B607C6F7-94FD-4EBE-8D6F-0DB69DE238FF}"/>
              </a:ext>
            </a:extLst>
          </p:cNvPr>
          <p:cNvSpPr>
            <a:spLocks/>
          </p:cNvSpPr>
          <p:nvPr userDrawn="1"/>
        </p:nvSpPr>
        <p:spPr bwMode="auto">
          <a:xfrm>
            <a:off x="5233701" y="171400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2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6" name="Freeform 2030">
            <a:extLst>
              <a:ext uri="{FF2B5EF4-FFF2-40B4-BE49-F238E27FC236}">
                <a16:creationId xmlns:a16="http://schemas.microsoft.com/office/drawing/2014/main" id="{AD5982D0-DF3F-4A52-99AC-369AD03B4425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171400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7" name="Freeform 2031">
            <a:extLst>
              <a:ext uri="{FF2B5EF4-FFF2-40B4-BE49-F238E27FC236}">
                <a16:creationId xmlns:a16="http://schemas.microsoft.com/office/drawing/2014/main" id="{58C9C6BB-FA2F-43F2-AC46-544B7162130A}"/>
              </a:ext>
            </a:extLst>
          </p:cNvPr>
          <p:cNvSpPr>
            <a:spLocks/>
          </p:cNvSpPr>
          <p:nvPr userDrawn="1"/>
        </p:nvSpPr>
        <p:spPr bwMode="auto">
          <a:xfrm>
            <a:off x="5233701" y="166781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2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8" name="Freeform 2032">
            <a:extLst>
              <a:ext uri="{FF2B5EF4-FFF2-40B4-BE49-F238E27FC236}">
                <a16:creationId xmlns:a16="http://schemas.microsoft.com/office/drawing/2014/main" id="{2CDFF0C5-450C-497F-9F34-FDB2FE3276F0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166781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8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0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9" name="Freeform 2033">
            <a:extLst>
              <a:ext uri="{FF2B5EF4-FFF2-40B4-BE49-F238E27FC236}">
                <a16:creationId xmlns:a16="http://schemas.microsoft.com/office/drawing/2014/main" id="{832AC766-23DA-49A8-801B-7806A86AEE76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71400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0" name="Freeform 2034">
            <a:extLst>
              <a:ext uri="{FF2B5EF4-FFF2-40B4-BE49-F238E27FC236}">
                <a16:creationId xmlns:a16="http://schemas.microsoft.com/office/drawing/2014/main" id="{32D3DC57-0A2E-4445-9AF4-B5A593058877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66781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1" name="Freeform 2035">
            <a:extLst>
              <a:ext uri="{FF2B5EF4-FFF2-40B4-BE49-F238E27FC236}">
                <a16:creationId xmlns:a16="http://schemas.microsoft.com/office/drawing/2014/main" id="{FCA86BDF-78D1-495F-A227-102DF498DFB4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75704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2" name="Freeform 2036">
            <a:extLst>
              <a:ext uri="{FF2B5EF4-FFF2-40B4-BE49-F238E27FC236}">
                <a16:creationId xmlns:a16="http://schemas.microsoft.com/office/drawing/2014/main" id="{856750EA-B790-44E5-8906-0DF26B8FAD0A}"/>
              </a:ext>
            </a:extLst>
          </p:cNvPr>
          <p:cNvSpPr>
            <a:spLocks/>
          </p:cNvSpPr>
          <p:nvPr userDrawn="1"/>
        </p:nvSpPr>
        <p:spPr bwMode="auto">
          <a:xfrm>
            <a:off x="5233701" y="175704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3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2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3" name="Freeform 2037">
            <a:extLst>
              <a:ext uri="{FF2B5EF4-FFF2-40B4-BE49-F238E27FC236}">
                <a16:creationId xmlns:a16="http://schemas.microsoft.com/office/drawing/2014/main" id="{63076DB5-591E-4089-95D0-EC05CAB86BBD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175704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3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0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4" name="Freeform 2038">
            <a:extLst>
              <a:ext uri="{FF2B5EF4-FFF2-40B4-BE49-F238E27FC236}">
                <a16:creationId xmlns:a16="http://schemas.microsoft.com/office/drawing/2014/main" id="{17FE1DA3-84CA-48D1-85A3-932A31F59AF8}"/>
              </a:ext>
            </a:extLst>
          </p:cNvPr>
          <p:cNvSpPr>
            <a:spLocks/>
          </p:cNvSpPr>
          <p:nvPr userDrawn="1"/>
        </p:nvSpPr>
        <p:spPr bwMode="auto">
          <a:xfrm>
            <a:off x="5326078" y="175704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5" name="Freeform 2039">
            <a:extLst>
              <a:ext uri="{FF2B5EF4-FFF2-40B4-BE49-F238E27FC236}">
                <a16:creationId xmlns:a16="http://schemas.microsoft.com/office/drawing/2014/main" id="{6CD6F70E-41CC-434C-85F0-CEA005B7AC14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75704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6" name="Freeform 2040">
            <a:extLst>
              <a:ext uri="{FF2B5EF4-FFF2-40B4-BE49-F238E27FC236}">
                <a16:creationId xmlns:a16="http://schemas.microsoft.com/office/drawing/2014/main" id="{A0B0C3B4-1E8A-4245-8478-20A34370D2B0}"/>
              </a:ext>
            </a:extLst>
          </p:cNvPr>
          <p:cNvSpPr>
            <a:spLocks/>
          </p:cNvSpPr>
          <p:nvPr userDrawn="1"/>
        </p:nvSpPr>
        <p:spPr bwMode="auto">
          <a:xfrm>
            <a:off x="5139225" y="185257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7" name="Freeform 2041">
            <a:extLst>
              <a:ext uri="{FF2B5EF4-FFF2-40B4-BE49-F238E27FC236}">
                <a16:creationId xmlns:a16="http://schemas.microsoft.com/office/drawing/2014/main" id="{5B739C77-31E6-4AD3-AFCD-2CC62272A90D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80638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8" name="Freeform 2042">
            <a:extLst>
              <a:ext uri="{FF2B5EF4-FFF2-40B4-BE49-F238E27FC236}">
                <a16:creationId xmlns:a16="http://schemas.microsoft.com/office/drawing/2014/main" id="{543E98D5-5400-49C9-9E19-98A3E880EBDD}"/>
              </a:ext>
            </a:extLst>
          </p:cNvPr>
          <p:cNvSpPr>
            <a:spLocks/>
          </p:cNvSpPr>
          <p:nvPr userDrawn="1"/>
        </p:nvSpPr>
        <p:spPr bwMode="auto">
          <a:xfrm>
            <a:off x="5093036" y="194599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9" name="Freeform 2043">
            <a:extLst>
              <a:ext uri="{FF2B5EF4-FFF2-40B4-BE49-F238E27FC236}">
                <a16:creationId xmlns:a16="http://schemas.microsoft.com/office/drawing/2014/main" id="{7C2D5251-6520-4127-9867-11591CC5998C}"/>
              </a:ext>
            </a:extLst>
          </p:cNvPr>
          <p:cNvSpPr>
            <a:spLocks/>
          </p:cNvSpPr>
          <p:nvPr userDrawn="1"/>
        </p:nvSpPr>
        <p:spPr bwMode="auto">
          <a:xfrm>
            <a:off x="5139225" y="1899809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2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0" name="Freeform 2044">
            <a:extLst>
              <a:ext uri="{FF2B5EF4-FFF2-40B4-BE49-F238E27FC236}">
                <a16:creationId xmlns:a16="http://schemas.microsoft.com/office/drawing/2014/main" id="{B156D9CF-928C-41F0-9867-C3867DA969C0}"/>
              </a:ext>
            </a:extLst>
          </p:cNvPr>
          <p:cNvSpPr>
            <a:spLocks/>
          </p:cNvSpPr>
          <p:nvPr userDrawn="1"/>
        </p:nvSpPr>
        <p:spPr bwMode="auto">
          <a:xfrm>
            <a:off x="5233701" y="18042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1" name="Freeform 2045">
            <a:extLst>
              <a:ext uri="{FF2B5EF4-FFF2-40B4-BE49-F238E27FC236}">
                <a16:creationId xmlns:a16="http://schemas.microsoft.com/office/drawing/2014/main" id="{C9293855-9B67-45F2-BAC7-BF9586A29020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94599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2" name="Freeform 2046">
            <a:extLst>
              <a:ext uri="{FF2B5EF4-FFF2-40B4-BE49-F238E27FC236}">
                <a16:creationId xmlns:a16="http://schemas.microsoft.com/office/drawing/2014/main" id="{6800065B-57C6-4669-B02B-36A7E4F23872}"/>
              </a:ext>
            </a:extLst>
          </p:cNvPr>
          <p:cNvSpPr>
            <a:spLocks/>
          </p:cNvSpPr>
          <p:nvPr userDrawn="1"/>
        </p:nvSpPr>
        <p:spPr bwMode="auto">
          <a:xfrm>
            <a:off x="5187513" y="189980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3" name="Freeform 2047">
            <a:extLst>
              <a:ext uri="{FF2B5EF4-FFF2-40B4-BE49-F238E27FC236}">
                <a16:creationId xmlns:a16="http://schemas.microsoft.com/office/drawing/2014/main" id="{F704F65B-4A29-424D-B35D-5CC43EA6F29D}"/>
              </a:ext>
            </a:extLst>
          </p:cNvPr>
          <p:cNvSpPr>
            <a:spLocks/>
          </p:cNvSpPr>
          <p:nvPr userDrawn="1"/>
        </p:nvSpPr>
        <p:spPr bwMode="auto">
          <a:xfrm>
            <a:off x="5510832" y="111145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4" name="Freeform 2048">
            <a:extLst>
              <a:ext uri="{FF2B5EF4-FFF2-40B4-BE49-F238E27FC236}">
                <a16:creationId xmlns:a16="http://schemas.microsoft.com/office/drawing/2014/main" id="{170EE077-537E-4367-8678-1C7D241BCF90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8784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5" name="Freeform 2049">
            <a:extLst>
              <a:ext uri="{FF2B5EF4-FFF2-40B4-BE49-F238E27FC236}">
                <a16:creationId xmlns:a16="http://schemas.microsoft.com/office/drawing/2014/main" id="{A6256F2A-DAF7-4436-994A-3D7BC00A1DC2}"/>
              </a:ext>
            </a:extLst>
          </p:cNvPr>
          <p:cNvSpPr>
            <a:spLocks/>
          </p:cNvSpPr>
          <p:nvPr userDrawn="1"/>
        </p:nvSpPr>
        <p:spPr bwMode="auto">
          <a:xfrm>
            <a:off x="5326078" y="8784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6" name="Freeform 2050">
            <a:extLst>
              <a:ext uri="{FF2B5EF4-FFF2-40B4-BE49-F238E27FC236}">
                <a16:creationId xmlns:a16="http://schemas.microsoft.com/office/drawing/2014/main" id="{878BECFD-9C6C-4F08-B509-58C8D42271B6}"/>
              </a:ext>
            </a:extLst>
          </p:cNvPr>
          <p:cNvSpPr>
            <a:spLocks/>
          </p:cNvSpPr>
          <p:nvPr userDrawn="1"/>
        </p:nvSpPr>
        <p:spPr bwMode="auto">
          <a:xfrm>
            <a:off x="5372266" y="8784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4 w 155"/>
              <a:gd name="T63" fmla="*/ 40 h 155"/>
              <a:gd name="T64" fmla="*/ 150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7" name="Freeform 2051">
            <a:extLst>
              <a:ext uri="{FF2B5EF4-FFF2-40B4-BE49-F238E27FC236}">
                <a16:creationId xmlns:a16="http://schemas.microsoft.com/office/drawing/2014/main" id="{DE12E010-781F-437D-B45C-7400CAA48826}"/>
              </a:ext>
            </a:extLst>
          </p:cNvPr>
          <p:cNvSpPr>
            <a:spLocks/>
          </p:cNvSpPr>
          <p:nvPr userDrawn="1"/>
        </p:nvSpPr>
        <p:spPr bwMode="auto">
          <a:xfrm>
            <a:off x="5419505" y="8784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8" name="Freeform 2052">
            <a:extLst>
              <a:ext uri="{FF2B5EF4-FFF2-40B4-BE49-F238E27FC236}">
                <a16:creationId xmlns:a16="http://schemas.microsoft.com/office/drawing/2014/main" id="{CC95315F-A5FD-4198-8F08-8C5F58A87367}"/>
              </a:ext>
            </a:extLst>
          </p:cNvPr>
          <p:cNvSpPr>
            <a:spLocks/>
          </p:cNvSpPr>
          <p:nvPr userDrawn="1"/>
        </p:nvSpPr>
        <p:spPr bwMode="auto">
          <a:xfrm>
            <a:off x="5464643" y="8784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9" name="Freeform 2053">
            <a:extLst>
              <a:ext uri="{FF2B5EF4-FFF2-40B4-BE49-F238E27FC236}">
                <a16:creationId xmlns:a16="http://schemas.microsoft.com/office/drawing/2014/main" id="{719B7A10-40CE-4AD0-A0E2-CD5E7458E459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8784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0" name="Freeform 2054">
            <a:extLst>
              <a:ext uri="{FF2B5EF4-FFF2-40B4-BE49-F238E27FC236}">
                <a16:creationId xmlns:a16="http://schemas.microsoft.com/office/drawing/2014/main" id="{CCDA70C2-E8D4-418C-AE11-12FD2C0F10F7}"/>
              </a:ext>
            </a:extLst>
          </p:cNvPr>
          <p:cNvSpPr>
            <a:spLocks/>
          </p:cNvSpPr>
          <p:nvPr userDrawn="1"/>
        </p:nvSpPr>
        <p:spPr bwMode="auto">
          <a:xfrm>
            <a:off x="5232652" y="8784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1" name="Freeform 2055">
            <a:extLst>
              <a:ext uri="{FF2B5EF4-FFF2-40B4-BE49-F238E27FC236}">
                <a16:creationId xmlns:a16="http://schemas.microsoft.com/office/drawing/2014/main" id="{AC6D759D-5694-4569-93C6-B37FAA57EB93}"/>
              </a:ext>
            </a:extLst>
          </p:cNvPr>
          <p:cNvSpPr>
            <a:spLocks/>
          </p:cNvSpPr>
          <p:nvPr userDrawn="1"/>
        </p:nvSpPr>
        <p:spPr bwMode="auto">
          <a:xfrm>
            <a:off x="5511881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2" name="Freeform 2056">
            <a:extLst>
              <a:ext uri="{FF2B5EF4-FFF2-40B4-BE49-F238E27FC236}">
                <a16:creationId xmlns:a16="http://schemas.microsoft.com/office/drawing/2014/main" id="{DCF29357-D966-4018-B400-9D828245CF54}"/>
              </a:ext>
            </a:extLst>
          </p:cNvPr>
          <p:cNvSpPr>
            <a:spLocks/>
          </p:cNvSpPr>
          <p:nvPr userDrawn="1"/>
        </p:nvSpPr>
        <p:spPr bwMode="auto">
          <a:xfrm>
            <a:off x="5511881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3" name="Freeform 2057">
            <a:extLst>
              <a:ext uri="{FF2B5EF4-FFF2-40B4-BE49-F238E27FC236}">
                <a16:creationId xmlns:a16="http://schemas.microsoft.com/office/drawing/2014/main" id="{1A05B810-931F-42D5-A077-02620D61FF26}"/>
              </a:ext>
            </a:extLst>
          </p:cNvPr>
          <p:cNvSpPr>
            <a:spLocks/>
          </p:cNvSpPr>
          <p:nvPr userDrawn="1"/>
        </p:nvSpPr>
        <p:spPr bwMode="auto">
          <a:xfrm>
            <a:off x="5557020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4" name="Freeform 2058">
            <a:extLst>
              <a:ext uri="{FF2B5EF4-FFF2-40B4-BE49-F238E27FC236}">
                <a16:creationId xmlns:a16="http://schemas.microsoft.com/office/drawing/2014/main" id="{7F89552B-B11B-4E39-B671-6DFA0DAADBC2}"/>
              </a:ext>
            </a:extLst>
          </p:cNvPr>
          <p:cNvSpPr>
            <a:spLocks/>
          </p:cNvSpPr>
          <p:nvPr userDrawn="1"/>
        </p:nvSpPr>
        <p:spPr bwMode="auto">
          <a:xfrm>
            <a:off x="5557020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5" name="Freeform 2059">
            <a:extLst>
              <a:ext uri="{FF2B5EF4-FFF2-40B4-BE49-F238E27FC236}">
                <a16:creationId xmlns:a16="http://schemas.microsoft.com/office/drawing/2014/main" id="{188D7DD8-3902-40F1-8E29-3FCBCB304C8B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6" name="Freeform 2060">
            <a:extLst>
              <a:ext uri="{FF2B5EF4-FFF2-40B4-BE49-F238E27FC236}">
                <a16:creationId xmlns:a16="http://schemas.microsoft.com/office/drawing/2014/main" id="{8B507EAA-DA79-4DA2-AABB-08B450051B9F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7" name="Freeform 2061">
            <a:extLst>
              <a:ext uri="{FF2B5EF4-FFF2-40B4-BE49-F238E27FC236}">
                <a16:creationId xmlns:a16="http://schemas.microsoft.com/office/drawing/2014/main" id="{B03449AC-060D-4824-8394-FA0FC5E0C8BE}"/>
              </a:ext>
            </a:extLst>
          </p:cNvPr>
          <p:cNvSpPr>
            <a:spLocks/>
          </p:cNvSpPr>
          <p:nvPr userDrawn="1"/>
        </p:nvSpPr>
        <p:spPr bwMode="auto">
          <a:xfrm>
            <a:off x="5326078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8" name="Freeform 2062">
            <a:extLst>
              <a:ext uri="{FF2B5EF4-FFF2-40B4-BE49-F238E27FC236}">
                <a16:creationId xmlns:a16="http://schemas.microsoft.com/office/drawing/2014/main" id="{5FC81120-E986-4B75-9355-B969010A41D8}"/>
              </a:ext>
            </a:extLst>
          </p:cNvPr>
          <p:cNvSpPr>
            <a:spLocks/>
          </p:cNvSpPr>
          <p:nvPr userDrawn="1"/>
        </p:nvSpPr>
        <p:spPr bwMode="auto">
          <a:xfrm>
            <a:off x="5326078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9" name="Freeform 2063">
            <a:extLst>
              <a:ext uri="{FF2B5EF4-FFF2-40B4-BE49-F238E27FC236}">
                <a16:creationId xmlns:a16="http://schemas.microsoft.com/office/drawing/2014/main" id="{4FEDF9A7-3184-4FEE-AC60-4CD11F35ACF2}"/>
              </a:ext>
            </a:extLst>
          </p:cNvPr>
          <p:cNvSpPr>
            <a:spLocks/>
          </p:cNvSpPr>
          <p:nvPr userDrawn="1"/>
        </p:nvSpPr>
        <p:spPr bwMode="auto">
          <a:xfrm>
            <a:off x="5372266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0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0" name="Freeform 2064">
            <a:extLst>
              <a:ext uri="{FF2B5EF4-FFF2-40B4-BE49-F238E27FC236}">
                <a16:creationId xmlns:a16="http://schemas.microsoft.com/office/drawing/2014/main" id="{73D81847-BD4B-4DBE-B7F1-6EC2B7757369}"/>
              </a:ext>
            </a:extLst>
          </p:cNvPr>
          <p:cNvSpPr>
            <a:spLocks/>
          </p:cNvSpPr>
          <p:nvPr userDrawn="1"/>
        </p:nvSpPr>
        <p:spPr bwMode="auto">
          <a:xfrm>
            <a:off x="5372266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0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1" name="Freeform 2065">
            <a:extLst>
              <a:ext uri="{FF2B5EF4-FFF2-40B4-BE49-F238E27FC236}">
                <a16:creationId xmlns:a16="http://schemas.microsoft.com/office/drawing/2014/main" id="{550E6C9D-1909-407A-8A5F-03F3A13B9FFA}"/>
              </a:ext>
            </a:extLst>
          </p:cNvPr>
          <p:cNvSpPr>
            <a:spLocks/>
          </p:cNvSpPr>
          <p:nvPr userDrawn="1"/>
        </p:nvSpPr>
        <p:spPr bwMode="auto">
          <a:xfrm>
            <a:off x="5419505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1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0"/>
                </a:lnTo>
                <a:lnTo>
                  <a:pt x="4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8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2" name="Freeform 2066">
            <a:extLst>
              <a:ext uri="{FF2B5EF4-FFF2-40B4-BE49-F238E27FC236}">
                <a16:creationId xmlns:a16="http://schemas.microsoft.com/office/drawing/2014/main" id="{DB4A15F2-3D45-4ABE-AFE6-5B41543957C5}"/>
              </a:ext>
            </a:extLst>
          </p:cNvPr>
          <p:cNvSpPr>
            <a:spLocks/>
          </p:cNvSpPr>
          <p:nvPr userDrawn="1"/>
        </p:nvSpPr>
        <p:spPr bwMode="auto">
          <a:xfrm>
            <a:off x="5419505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4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3" name="Freeform 2067">
            <a:extLst>
              <a:ext uri="{FF2B5EF4-FFF2-40B4-BE49-F238E27FC236}">
                <a16:creationId xmlns:a16="http://schemas.microsoft.com/office/drawing/2014/main" id="{F223DC40-77B3-4658-BFAB-BD4FF2D05DFB}"/>
              </a:ext>
            </a:extLst>
          </p:cNvPr>
          <p:cNvSpPr>
            <a:spLocks/>
          </p:cNvSpPr>
          <p:nvPr userDrawn="1"/>
        </p:nvSpPr>
        <p:spPr bwMode="auto">
          <a:xfrm>
            <a:off x="5464643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2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4" name="Freeform 2068">
            <a:extLst>
              <a:ext uri="{FF2B5EF4-FFF2-40B4-BE49-F238E27FC236}">
                <a16:creationId xmlns:a16="http://schemas.microsoft.com/office/drawing/2014/main" id="{C7CB7AC9-CB96-4E8B-8E10-B0EBDEEAB96D}"/>
              </a:ext>
            </a:extLst>
          </p:cNvPr>
          <p:cNvSpPr>
            <a:spLocks/>
          </p:cNvSpPr>
          <p:nvPr userDrawn="1"/>
        </p:nvSpPr>
        <p:spPr bwMode="auto">
          <a:xfrm>
            <a:off x="5464643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5" name="Freeform 2069">
            <a:extLst>
              <a:ext uri="{FF2B5EF4-FFF2-40B4-BE49-F238E27FC236}">
                <a16:creationId xmlns:a16="http://schemas.microsoft.com/office/drawing/2014/main" id="{109AB89A-7F56-4E55-900D-556C913ED851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6" name="Freeform 2070">
            <a:extLst>
              <a:ext uri="{FF2B5EF4-FFF2-40B4-BE49-F238E27FC236}">
                <a16:creationId xmlns:a16="http://schemas.microsoft.com/office/drawing/2014/main" id="{F9F30521-825A-45D9-B54B-B5B9A8B6B1CF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7" name="Freeform 2071">
            <a:extLst>
              <a:ext uri="{FF2B5EF4-FFF2-40B4-BE49-F238E27FC236}">
                <a16:creationId xmlns:a16="http://schemas.microsoft.com/office/drawing/2014/main" id="{E1FBE370-F25B-4BFA-B079-2679751F1DDB}"/>
              </a:ext>
            </a:extLst>
          </p:cNvPr>
          <p:cNvSpPr>
            <a:spLocks/>
          </p:cNvSpPr>
          <p:nvPr userDrawn="1"/>
        </p:nvSpPr>
        <p:spPr bwMode="auto">
          <a:xfrm>
            <a:off x="5232652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8" name="Freeform 2072">
            <a:extLst>
              <a:ext uri="{FF2B5EF4-FFF2-40B4-BE49-F238E27FC236}">
                <a16:creationId xmlns:a16="http://schemas.microsoft.com/office/drawing/2014/main" id="{15258E84-8C1F-4C04-88B6-0550B859DC91}"/>
              </a:ext>
            </a:extLst>
          </p:cNvPr>
          <p:cNvSpPr>
            <a:spLocks/>
          </p:cNvSpPr>
          <p:nvPr userDrawn="1"/>
        </p:nvSpPr>
        <p:spPr bwMode="auto">
          <a:xfrm>
            <a:off x="5232652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9" name="Freeform 2073">
            <a:extLst>
              <a:ext uri="{FF2B5EF4-FFF2-40B4-BE49-F238E27FC236}">
                <a16:creationId xmlns:a16="http://schemas.microsoft.com/office/drawing/2014/main" id="{1CEFFF5E-F5D5-4EDB-96AC-F8D46BF79D1E}"/>
              </a:ext>
            </a:extLst>
          </p:cNvPr>
          <p:cNvSpPr>
            <a:spLocks/>
          </p:cNvSpPr>
          <p:nvPr userDrawn="1"/>
        </p:nvSpPr>
        <p:spPr bwMode="auto">
          <a:xfrm>
            <a:off x="5511881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0" name="Freeform 2074">
            <a:extLst>
              <a:ext uri="{FF2B5EF4-FFF2-40B4-BE49-F238E27FC236}">
                <a16:creationId xmlns:a16="http://schemas.microsoft.com/office/drawing/2014/main" id="{82D5D2DA-F176-4894-947B-4A7585649161}"/>
              </a:ext>
            </a:extLst>
          </p:cNvPr>
          <p:cNvSpPr>
            <a:spLocks/>
          </p:cNvSpPr>
          <p:nvPr userDrawn="1"/>
        </p:nvSpPr>
        <p:spPr bwMode="auto">
          <a:xfrm>
            <a:off x="5511881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1" name="Freeform 2075">
            <a:extLst>
              <a:ext uri="{FF2B5EF4-FFF2-40B4-BE49-F238E27FC236}">
                <a16:creationId xmlns:a16="http://schemas.microsoft.com/office/drawing/2014/main" id="{6C7C4306-9AF3-461B-8C6D-66D6652F5FB7}"/>
              </a:ext>
            </a:extLst>
          </p:cNvPr>
          <p:cNvSpPr>
            <a:spLocks/>
          </p:cNvSpPr>
          <p:nvPr userDrawn="1"/>
        </p:nvSpPr>
        <p:spPr bwMode="auto">
          <a:xfrm>
            <a:off x="5557020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2" name="Freeform 2076">
            <a:extLst>
              <a:ext uri="{FF2B5EF4-FFF2-40B4-BE49-F238E27FC236}">
                <a16:creationId xmlns:a16="http://schemas.microsoft.com/office/drawing/2014/main" id="{8ABFCA43-1A8B-48F6-B827-7BAA79AD2DFA}"/>
              </a:ext>
            </a:extLst>
          </p:cNvPr>
          <p:cNvSpPr>
            <a:spLocks/>
          </p:cNvSpPr>
          <p:nvPr userDrawn="1"/>
        </p:nvSpPr>
        <p:spPr bwMode="auto">
          <a:xfrm>
            <a:off x="5557020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3" name="Freeform 2077">
            <a:extLst>
              <a:ext uri="{FF2B5EF4-FFF2-40B4-BE49-F238E27FC236}">
                <a16:creationId xmlns:a16="http://schemas.microsoft.com/office/drawing/2014/main" id="{22704D99-9477-4001-A380-D131C0188FBB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4" name="Freeform 2078">
            <a:extLst>
              <a:ext uri="{FF2B5EF4-FFF2-40B4-BE49-F238E27FC236}">
                <a16:creationId xmlns:a16="http://schemas.microsoft.com/office/drawing/2014/main" id="{5F7BF8A2-E5B7-43FD-B184-F0EDB11B83FC}"/>
              </a:ext>
            </a:extLst>
          </p:cNvPr>
          <p:cNvSpPr>
            <a:spLocks/>
          </p:cNvSpPr>
          <p:nvPr userDrawn="1"/>
        </p:nvSpPr>
        <p:spPr bwMode="auto">
          <a:xfrm>
            <a:off x="5279889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5" name="Freeform 2079">
            <a:extLst>
              <a:ext uri="{FF2B5EF4-FFF2-40B4-BE49-F238E27FC236}">
                <a16:creationId xmlns:a16="http://schemas.microsoft.com/office/drawing/2014/main" id="{3B7CBE33-F143-490B-8DE8-7E0183884F8A}"/>
              </a:ext>
            </a:extLst>
          </p:cNvPr>
          <p:cNvSpPr>
            <a:spLocks/>
          </p:cNvSpPr>
          <p:nvPr userDrawn="1"/>
        </p:nvSpPr>
        <p:spPr bwMode="auto">
          <a:xfrm>
            <a:off x="5326078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6" name="Freeform 2080">
            <a:extLst>
              <a:ext uri="{FF2B5EF4-FFF2-40B4-BE49-F238E27FC236}">
                <a16:creationId xmlns:a16="http://schemas.microsoft.com/office/drawing/2014/main" id="{7A169FC7-EB8A-47C4-91EE-754447D7FDE4}"/>
              </a:ext>
            </a:extLst>
          </p:cNvPr>
          <p:cNvSpPr>
            <a:spLocks/>
          </p:cNvSpPr>
          <p:nvPr userDrawn="1"/>
        </p:nvSpPr>
        <p:spPr bwMode="auto">
          <a:xfrm>
            <a:off x="5326078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7" name="Freeform 2081">
            <a:extLst>
              <a:ext uri="{FF2B5EF4-FFF2-40B4-BE49-F238E27FC236}">
                <a16:creationId xmlns:a16="http://schemas.microsoft.com/office/drawing/2014/main" id="{BCA0E8FC-67A8-4652-80B8-D446A0AD332D}"/>
              </a:ext>
            </a:extLst>
          </p:cNvPr>
          <p:cNvSpPr>
            <a:spLocks/>
          </p:cNvSpPr>
          <p:nvPr userDrawn="1"/>
        </p:nvSpPr>
        <p:spPr bwMode="auto">
          <a:xfrm>
            <a:off x="5372266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8" name="Freeform 2082">
            <a:extLst>
              <a:ext uri="{FF2B5EF4-FFF2-40B4-BE49-F238E27FC236}">
                <a16:creationId xmlns:a16="http://schemas.microsoft.com/office/drawing/2014/main" id="{26F9187D-4654-41E5-8BED-13D8F360838D}"/>
              </a:ext>
            </a:extLst>
          </p:cNvPr>
          <p:cNvSpPr>
            <a:spLocks/>
          </p:cNvSpPr>
          <p:nvPr userDrawn="1"/>
        </p:nvSpPr>
        <p:spPr bwMode="auto">
          <a:xfrm>
            <a:off x="5372266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0 h 155"/>
              <a:gd name="T64" fmla="*/ 150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9" name="Freeform 2083">
            <a:extLst>
              <a:ext uri="{FF2B5EF4-FFF2-40B4-BE49-F238E27FC236}">
                <a16:creationId xmlns:a16="http://schemas.microsoft.com/office/drawing/2014/main" id="{8C18C9C0-4620-4EA8-B3F0-C701C2EDDA13}"/>
              </a:ext>
            </a:extLst>
          </p:cNvPr>
          <p:cNvSpPr>
            <a:spLocks/>
          </p:cNvSpPr>
          <p:nvPr userDrawn="1"/>
        </p:nvSpPr>
        <p:spPr bwMode="auto">
          <a:xfrm>
            <a:off x="5419505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0" name="Freeform 2084">
            <a:extLst>
              <a:ext uri="{FF2B5EF4-FFF2-40B4-BE49-F238E27FC236}">
                <a16:creationId xmlns:a16="http://schemas.microsoft.com/office/drawing/2014/main" id="{C97F8237-EFD0-4FA7-A607-5E730B2C129A}"/>
              </a:ext>
            </a:extLst>
          </p:cNvPr>
          <p:cNvSpPr>
            <a:spLocks/>
          </p:cNvSpPr>
          <p:nvPr userDrawn="1"/>
        </p:nvSpPr>
        <p:spPr bwMode="auto">
          <a:xfrm>
            <a:off x="5419505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1" name="Freeform 2085">
            <a:extLst>
              <a:ext uri="{FF2B5EF4-FFF2-40B4-BE49-F238E27FC236}">
                <a16:creationId xmlns:a16="http://schemas.microsoft.com/office/drawing/2014/main" id="{C9775D43-9576-4372-A58C-5BB91270B41A}"/>
              </a:ext>
            </a:extLst>
          </p:cNvPr>
          <p:cNvSpPr>
            <a:spLocks/>
          </p:cNvSpPr>
          <p:nvPr userDrawn="1"/>
        </p:nvSpPr>
        <p:spPr bwMode="auto">
          <a:xfrm>
            <a:off x="5464643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2" name="Freeform 2086">
            <a:extLst>
              <a:ext uri="{FF2B5EF4-FFF2-40B4-BE49-F238E27FC236}">
                <a16:creationId xmlns:a16="http://schemas.microsoft.com/office/drawing/2014/main" id="{DD251BEC-34AD-436A-8A6A-3D6C8A3E02E5}"/>
              </a:ext>
            </a:extLst>
          </p:cNvPr>
          <p:cNvSpPr>
            <a:spLocks/>
          </p:cNvSpPr>
          <p:nvPr userDrawn="1"/>
        </p:nvSpPr>
        <p:spPr bwMode="auto">
          <a:xfrm>
            <a:off x="5464643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3" name="Freeform 2087">
            <a:extLst>
              <a:ext uri="{FF2B5EF4-FFF2-40B4-BE49-F238E27FC236}">
                <a16:creationId xmlns:a16="http://schemas.microsoft.com/office/drawing/2014/main" id="{CC8E6B6F-D075-4DB2-A56E-9246168D08AB}"/>
              </a:ext>
            </a:extLst>
          </p:cNvPr>
          <p:cNvSpPr>
            <a:spLocks/>
          </p:cNvSpPr>
          <p:nvPr userDrawn="1"/>
        </p:nvSpPr>
        <p:spPr bwMode="auto">
          <a:xfrm>
            <a:off x="5602159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4" name="Freeform 2088">
            <a:extLst>
              <a:ext uri="{FF2B5EF4-FFF2-40B4-BE49-F238E27FC236}">
                <a16:creationId xmlns:a16="http://schemas.microsoft.com/office/drawing/2014/main" id="{CA2E9FFC-B1BA-4CBB-B93E-E0DEF1B832FC}"/>
              </a:ext>
            </a:extLst>
          </p:cNvPr>
          <p:cNvSpPr>
            <a:spLocks/>
          </p:cNvSpPr>
          <p:nvPr userDrawn="1"/>
        </p:nvSpPr>
        <p:spPr bwMode="auto">
          <a:xfrm>
            <a:off x="5648347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5" name="Freeform 2089">
            <a:extLst>
              <a:ext uri="{FF2B5EF4-FFF2-40B4-BE49-F238E27FC236}">
                <a16:creationId xmlns:a16="http://schemas.microsoft.com/office/drawing/2014/main" id="{55B1802F-2425-4322-87E3-98C06054E08C}"/>
              </a:ext>
            </a:extLst>
          </p:cNvPr>
          <p:cNvSpPr>
            <a:spLocks/>
          </p:cNvSpPr>
          <p:nvPr userDrawn="1"/>
        </p:nvSpPr>
        <p:spPr bwMode="auto">
          <a:xfrm>
            <a:off x="5695585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6" name="Freeform 2090">
            <a:extLst>
              <a:ext uri="{FF2B5EF4-FFF2-40B4-BE49-F238E27FC236}">
                <a16:creationId xmlns:a16="http://schemas.microsoft.com/office/drawing/2014/main" id="{A6250EC6-714A-4A9E-A483-4A5600F62EE3}"/>
              </a:ext>
            </a:extLst>
          </p:cNvPr>
          <p:cNvSpPr>
            <a:spLocks/>
          </p:cNvSpPr>
          <p:nvPr userDrawn="1"/>
        </p:nvSpPr>
        <p:spPr bwMode="auto">
          <a:xfrm>
            <a:off x="5741774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7" name="Freeform 2091">
            <a:extLst>
              <a:ext uri="{FF2B5EF4-FFF2-40B4-BE49-F238E27FC236}">
                <a16:creationId xmlns:a16="http://schemas.microsoft.com/office/drawing/2014/main" id="{CA8DC215-30D6-47E9-BCA4-2A8D5962C727}"/>
              </a:ext>
            </a:extLst>
          </p:cNvPr>
          <p:cNvSpPr>
            <a:spLocks/>
          </p:cNvSpPr>
          <p:nvPr userDrawn="1"/>
        </p:nvSpPr>
        <p:spPr bwMode="auto">
          <a:xfrm>
            <a:off x="5787963" y="46271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2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8" name="Freeform 2092">
            <a:extLst>
              <a:ext uri="{FF2B5EF4-FFF2-40B4-BE49-F238E27FC236}">
                <a16:creationId xmlns:a16="http://schemas.microsoft.com/office/drawing/2014/main" id="{B981963C-DBD8-40C1-888C-792390EE229B}"/>
              </a:ext>
            </a:extLst>
          </p:cNvPr>
          <p:cNvSpPr>
            <a:spLocks/>
          </p:cNvSpPr>
          <p:nvPr userDrawn="1"/>
        </p:nvSpPr>
        <p:spPr bwMode="auto">
          <a:xfrm>
            <a:off x="5833102" y="46271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1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9" name="Freeform 2093">
            <a:extLst>
              <a:ext uri="{FF2B5EF4-FFF2-40B4-BE49-F238E27FC236}">
                <a16:creationId xmlns:a16="http://schemas.microsoft.com/office/drawing/2014/main" id="{64106F74-040C-4366-8983-F709086AB1D7}"/>
              </a:ext>
            </a:extLst>
          </p:cNvPr>
          <p:cNvSpPr>
            <a:spLocks/>
          </p:cNvSpPr>
          <p:nvPr userDrawn="1"/>
        </p:nvSpPr>
        <p:spPr bwMode="auto">
          <a:xfrm>
            <a:off x="5834151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0" name="Freeform 2094">
            <a:extLst>
              <a:ext uri="{FF2B5EF4-FFF2-40B4-BE49-F238E27FC236}">
                <a16:creationId xmlns:a16="http://schemas.microsoft.com/office/drawing/2014/main" id="{5C52F33B-0AFD-49A7-9493-ACD704C008B3}"/>
              </a:ext>
            </a:extLst>
          </p:cNvPr>
          <p:cNvSpPr>
            <a:spLocks/>
          </p:cNvSpPr>
          <p:nvPr userDrawn="1"/>
        </p:nvSpPr>
        <p:spPr bwMode="auto">
          <a:xfrm>
            <a:off x="5834151" y="65062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1" name="Freeform 2095">
            <a:extLst>
              <a:ext uri="{FF2B5EF4-FFF2-40B4-BE49-F238E27FC236}">
                <a16:creationId xmlns:a16="http://schemas.microsoft.com/office/drawing/2014/main" id="{2C657953-A9CD-4694-9949-6012E22DA9C5}"/>
              </a:ext>
            </a:extLst>
          </p:cNvPr>
          <p:cNvSpPr>
            <a:spLocks/>
          </p:cNvSpPr>
          <p:nvPr userDrawn="1"/>
        </p:nvSpPr>
        <p:spPr bwMode="auto">
          <a:xfrm>
            <a:off x="5880339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2" name="Freeform 2096">
            <a:extLst>
              <a:ext uri="{FF2B5EF4-FFF2-40B4-BE49-F238E27FC236}">
                <a16:creationId xmlns:a16="http://schemas.microsoft.com/office/drawing/2014/main" id="{550AE55E-5DC0-4A6E-B572-7554764A51E0}"/>
              </a:ext>
            </a:extLst>
          </p:cNvPr>
          <p:cNvSpPr>
            <a:spLocks/>
          </p:cNvSpPr>
          <p:nvPr userDrawn="1"/>
        </p:nvSpPr>
        <p:spPr bwMode="auto">
          <a:xfrm>
            <a:off x="5880339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3" name="Freeform 2097">
            <a:extLst>
              <a:ext uri="{FF2B5EF4-FFF2-40B4-BE49-F238E27FC236}">
                <a16:creationId xmlns:a16="http://schemas.microsoft.com/office/drawing/2014/main" id="{A4127C23-B08F-4B72-A81E-4A007ACB7223}"/>
              </a:ext>
            </a:extLst>
          </p:cNvPr>
          <p:cNvSpPr>
            <a:spLocks/>
          </p:cNvSpPr>
          <p:nvPr userDrawn="1"/>
        </p:nvSpPr>
        <p:spPr bwMode="auto">
          <a:xfrm>
            <a:off x="5880339" y="744046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4" name="Freeform 2098">
            <a:extLst>
              <a:ext uri="{FF2B5EF4-FFF2-40B4-BE49-F238E27FC236}">
                <a16:creationId xmlns:a16="http://schemas.microsoft.com/office/drawing/2014/main" id="{ED4896DB-0877-43BB-83C8-27E761DCC283}"/>
              </a:ext>
            </a:extLst>
          </p:cNvPr>
          <p:cNvSpPr>
            <a:spLocks/>
          </p:cNvSpPr>
          <p:nvPr userDrawn="1"/>
        </p:nvSpPr>
        <p:spPr bwMode="auto">
          <a:xfrm>
            <a:off x="5880339" y="79128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5" name="Freeform 2099">
            <a:extLst>
              <a:ext uri="{FF2B5EF4-FFF2-40B4-BE49-F238E27FC236}">
                <a16:creationId xmlns:a16="http://schemas.microsoft.com/office/drawing/2014/main" id="{78AB54C3-F793-4106-91D6-E8F8671A1904}"/>
              </a:ext>
            </a:extLst>
          </p:cNvPr>
          <p:cNvSpPr>
            <a:spLocks/>
          </p:cNvSpPr>
          <p:nvPr userDrawn="1"/>
        </p:nvSpPr>
        <p:spPr bwMode="auto">
          <a:xfrm>
            <a:off x="5603208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6" name="Freeform 2100">
            <a:extLst>
              <a:ext uri="{FF2B5EF4-FFF2-40B4-BE49-F238E27FC236}">
                <a16:creationId xmlns:a16="http://schemas.microsoft.com/office/drawing/2014/main" id="{ADED17CD-18A7-40EF-957D-718F89161240}"/>
              </a:ext>
            </a:extLst>
          </p:cNvPr>
          <p:cNvSpPr>
            <a:spLocks/>
          </p:cNvSpPr>
          <p:nvPr userDrawn="1"/>
        </p:nvSpPr>
        <p:spPr bwMode="auto">
          <a:xfrm>
            <a:off x="5603208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7" name="Freeform 2101">
            <a:extLst>
              <a:ext uri="{FF2B5EF4-FFF2-40B4-BE49-F238E27FC236}">
                <a16:creationId xmlns:a16="http://schemas.microsoft.com/office/drawing/2014/main" id="{2851A649-037A-41CE-B316-C8279EE35013}"/>
              </a:ext>
            </a:extLst>
          </p:cNvPr>
          <p:cNvSpPr>
            <a:spLocks/>
          </p:cNvSpPr>
          <p:nvPr userDrawn="1"/>
        </p:nvSpPr>
        <p:spPr bwMode="auto">
          <a:xfrm>
            <a:off x="5649397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3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8" name="Freeform 2102">
            <a:extLst>
              <a:ext uri="{FF2B5EF4-FFF2-40B4-BE49-F238E27FC236}">
                <a16:creationId xmlns:a16="http://schemas.microsoft.com/office/drawing/2014/main" id="{F7346F68-A8D0-409D-92BC-2AC176FD9464}"/>
              </a:ext>
            </a:extLst>
          </p:cNvPr>
          <p:cNvSpPr>
            <a:spLocks/>
          </p:cNvSpPr>
          <p:nvPr userDrawn="1"/>
        </p:nvSpPr>
        <p:spPr bwMode="auto">
          <a:xfrm>
            <a:off x="5649397" y="65062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3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3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9" name="Freeform 2103">
            <a:extLst>
              <a:ext uri="{FF2B5EF4-FFF2-40B4-BE49-F238E27FC236}">
                <a16:creationId xmlns:a16="http://schemas.microsoft.com/office/drawing/2014/main" id="{974898EE-7C3C-4C20-A1C7-27D4A231020D}"/>
              </a:ext>
            </a:extLst>
          </p:cNvPr>
          <p:cNvSpPr>
            <a:spLocks/>
          </p:cNvSpPr>
          <p:nvPr userDrawn="1"/>
        </p:nvSpPr>
        <p:spPr bwMode="auto">
          <a:xfrm>
            <a:off x="5695585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0" name="Freeform 2104">
            <a:extLst>
              <a:ext uri="{FF2B5EF4-FFF2-40B4-BE49-F238E27FC236}">
                <a16:creationId xmlns:a16="http://schemas.microsoft.com/office/drawing/2014/main" id="{DA97D5F0-A9C0-4BA5-AD82-9B3D00E9F8B7}"/>
              </a:ext>
            </a:extLst>
          </p:cNvPr>
          <p:cNvSpPr>
            <a:spLocks/>
          </p:cNvSpPr>
          <p:nvPr userDrawn="1"/>
        </p:nvSpPr>
        <p:spPr bwMode="auto">
          <a:xfrm>
            <a:off x="5741774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0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8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1" name="Freeform 2105">
            <a:extLst>
              <a:ext uri="{FF2B5EF4-FFF2-40B4-BE49-F238E27FC236}">
                <a16:creationId xmlns:a16="http://schemas.microsoft.com/office/drawing/2014/main" id="{02A4E2BB-CCB5-4F7C-A743-C0F9C74BD840}"/>
              </a:ext>
            </a:extLst>
          </p:cNvPr>
          <p:cNvSpPr>
            <a:spLocks/>
          </p:cNvSpPr>
          <p:nvPr userDrawn="1"/>
        </p:nvSpPr>
        <p:spPr bwMode="auto">
          <a:xfrm>
            <a:off x="5787963" y="60443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2" name="Freeform 2106">
            <a:extLst>
              <a:ext uri="{FF2B5EF4-FFF2-40B4-BE49-F238E27FC236}">
                <a16:creationId xmlns:a16="http://schemas.microsoft.com/office/drawing/2014/main" id="{8D928FED-6F28-400B-9EE4-56E93A820155}"/>
              </a:ext>
            </a:extLst>
          </p:cNvPr>
          <p:cNvSpPr>
            <a:spLocks/>
          </p:cNvSpPr>
          <p:nvPr userDrawn="1"/>
        </p:nvSpPr>
        <p:spPr bwMode="auto">
          <a:xfrm>
            <a:off x="5834151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1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0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3" name="Freeform 2107">
            <a:extLst>
              <a:ext uri="{FF2B5EF4-FFF2-40B4-BE49-F238E27FC236}">
                <a16:creationId xmlns:a16="http://schemas.microsoft.com/office/drawing/2014/main" id="{9F318DEF-3C78-418B-866C-ACF83E29FAF9}"/>
              </a:ext>
            </a:extLst>
          </p:cNvPr>
          <p:cNvSpPr>
            <a:spLocks/>
          </p:cNvSpPr>
          <p:nvPr userDrawn="1"/>
        </p:nvSpPr>
        <p:spPr bwMode="auto">
          <a:xfrm>
            <a:off x="5834151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4" name="Freeform 2108">
            <a:extLst>
              <a:ext uri="{FF2B5EF4-FFF2-40B4-BE49-F238E27FC236}">
                <a16:creationId xmlns:a16="http://schemas.microsoft.com/office/drawing/2014/main" id="{2A6F2AF1-8788-4DA4-AD4B-5F0948873182}"/>
              </a:ext>
            </a:extLst>
          </p:cNvPr>
          <p:cNvSpPr>
            <a:spLocks/>
          </p:cNvSpPr>
          <p:nvPr userDrawn="1"/>
        </p:nvSpPr>
        <p:spPr bwMode="auto">
          <a:xfrm>
            <a:off x="5880339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5" name="Freeform 2109">
            <a:extLst>
              <a:ext uri="{FF2B5EF4-FFF2-40B4-BE49-F238E27FC236}">
                <a16:creationId xmlns:a16="http://schemas.microsoft.com/office/drawing/2014/main" id="{51BD94BA-0C18-4873-92C1-29B0FC546B64}"/>
              </a:ext>
            </a:extLst>
          </p:cNvPr>
          <p:cNvSpPr>
            <a:spLocks/>
          </p:cNvSpPr>
          <p:nvPr userDrawn="1"/>
        </p:nvSpPr>
        <p:spPr bwMode="auto">
          <a:xfrm>
            <a:off x="5880339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6" name="Freeform 2110">
            <a:extLst>
              <a:ext uri="{FF2B5EF4-FFF2-40B4-BE49-F238E27FC236}">
                <a16:creationId xmlns:a16="http://schemas.microsoft.com/office/drawing/2014/main" id="{3EA92E64-DC28-48F1-A673-76223EAB36BA}"/>
              </a:ext>
            </a:extLst>
          </p:cNvPr>
          <p:cNvSpPr>
            <a:spLocks/>
          </p:cNvSpPr>
          <p:nvPr userDrawn="1"/>
        </p:nvSpPr>
        <p:spPr bwMode="auto">
          <a:xfrm>
            <a:off x="5925478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7" name="Freeform 2111">
            <a:extLst>
              <a:ext uri="{FF2B5EF4-FFF2-40B4-BE49-F238E27FC236}">
                <a16:creationId xmlns:a16="http://schemas.microsoft.com/office/drawing/2014/main" id="{94F6AA94-EDB6-46EE-AA87-121FD02F198C}"/>
              </a:ext>
            </a:extLst>
          </p:cNvPr>
          <p:cNvSpPr>
            <a:spLocks/>
          </p:cNvSpPr>
          <p:nvPr userDrawn="1"/>
        </p:nvSpPr>
        <p:spPr bwMode="auto">
          <a:xfrm>
            <a:off x="5971667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8" name="Freeform 2112">
            <a:extLst>
              <a:ext uri="{FF2B5EF4-FFF2-40B4-BE49-F238E27FC236}">
                <a16:creationId xmlns:a16="http://schemas.microsoft.com/office/drawing/2014/main" id="{17145017-1CA0-4DB3-AEAF-5F9AC6CC6873}"/>
              </a:ext>
            </a:extLst>
          </p:cNvPr>
          <p:cNvSpPr>
            <a:spLocks/>
          </p:cNvSpPr>
          <p:nvPr userDrawn="1"/>
        </p:nvSpPr>
        <p:spPr bwMode="auto">
          <a:xfrm>
            <a:off x="6014706" y="604432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8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9" name="Freeform 2113">
            <a:extLst>
              <a:ext uri="{FF2B5EF4-FFF2-40B4-BE49-F238E27FC236}">
                <a16:creationId xmlns:a16="http://schemas.microsoft.com/office/drawing/2014/main" id="{F9C130EF-9AF6-45DE-90DA-F920219F17E6}"/>
              </a:ext>
            </a:extLst>
          </p:cNvPr>
          <p:cNvSpPr>
            <a:spLocks/>
          </p:cNvSpPr>
          <p:nvPr userDrawn="1"/>
        </p:nvSpPr>
        <p:spPr bwMode="auto">
          <a:xfrm>
            <a:off x="6064044" y="55509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4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4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3" y="1"/>
                </a:lnTo>
                <a:lnTo>
                  <a:pt x="101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0" name="Freeform 2114">
            <a:extLst>
              <a:ext uri="{FF2B5EF4-FFF2-40B4-BE49-F238E27FC236}">
                <a16:creationId xmlns:a16="http://schemas.microsoft.com/office/drawing/2014/main" id="{95CB8A43-2B58-4C8A-A302-2D10E38EF7CD}"/>
              </a:ext>
            </a:extLst>
          </p:cNvPr>
          <p:cNvSpPr>
            <a:spLocks/>
          </p:cNvSpPr>
          <p:nvPr userDrawn="1"/>
        </p:nvSpPr>
        <p:spPr bwMode="auto">
          <a:xfrm>
            <a:off x="5925478" y="65062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1" name="Freeform 2115">
            <a:extLst>
              <a:ext uri="{FF2B5EF4-FFF2-40B4-BE49-F238E27FC236}">
                <a16:creationId xmlns:a16="http://schemas.microsoft.com/office/drawing/2014/main" id="{61D4D20C-EDA9-4B55-BE74-5AB473064A52}"/>
              </a:ext>
            </a:extLst>
          </p:cNvPr>
          <p:cNvSpPr>
            <a:spLocks/>
          </p:cNvSpPr>
          <p:nvPr userDrawn="1"/>
        </p:nvSpPr>
        <p:spPr bwMode="auto">
          <a:xfrm>
            <a:off x="5789012" y="69575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2" name="Freeform 2116">
            <a:extLst>
              <a:ext uri="{FF2B5EF4-FFF2-40B4-BE49-F238E27FC236}">
                <a16:creationId xmlns:a16="http://schemas.microsoft.com/office/drawing/2014/main" id="{BD2D2DF7-5DC6-4DD2-A91C-B3EBEECFD926}"/>
              </a:ext>
            </a:extLst>
          </p:cNvPr>
          <p:cNvSpPr>
            <a:spLocks/>
          </p:cNvSpPr>
          <p:nvPr userDrawn="1"/>
        </p:nvSpPr>
        <p:spPr bwMode="auto">
          <a:xfrm>
            <a:off x="5835201" y="695758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8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3" name="Freeform 2117">
            <a:extLst>
              <a:ext uri="{FF2B5EF4-FFF2-40B4-BE49-F238E27FC236}">
                <a16:creationId xmlns:a16="http://schemas.microsoft.com/office/drawing/2014/main" id="{F8C0E1D8-6546-47E1-804D-CD5CE0CBA36B}"/>
              </a:ext>
            </a:extLst>
          </p:cNvPr>
          <p:cNvSpPr>
            <a:spLocks/>
          </p:cNvSpPr>
          <p:nvPr userDrawn="1"/>
        </p:nvSpPr>
        <p:spPr bwMode="auto">
          <a:xfrm>
            <a:off x="5834151" y="74299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0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4" name="Freeform 2118">
            <a:extLst>
              <a:ext uri="{FF2B5EF4-FFF2-40B4-BE49-F238E27FC236}">
                <a16:creationId xmlns:a16="http://schemas.microsoft.com/office/drawing/2014/main" id="{CF83F9E4-5C17-424B-9E25-D0DB39BC3B87}"/>
              </a:ext>
            </a:extLst>
          </p:cNvPr>
          <p:cNvSpPr>
            <a:spLocks/>
          </p:cNvSpPr>
          <p:nvPr userDrawn="1"/>
        </p:nvSpPr>
        <p:spPr bwMode="auto">
          <a:xfrm>
            <a:off x="5835201" y="78708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1 h 153"/>
              <a:gd name="T38" fmla="*/ 6 w 155"/>
              <a:gd name="T39" fmla="*/ 47 h 153"/>
              <a:gd name="T40" fmla="*/ 13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5" name="Freeform 2119">
            <a:extLst>
              <a:ext uri="{FF2B5EF4-FFF2-40B4-BE49-F238E27FC236}">
                <a16:creationId xmlns:a16="http://schemas.microsoft.com/office/drawing/2014/main" id="{A337F5BF-5760-48B9-8C76-DAFF58B0B754}"/>
              </a:ext>
            </a:extLst>
          </p:cNvPr>
          <p:cNvSpPr>
            <a:spLocks/>
          </p:cNvSpPr>
          <p:nvPr userDrawn="1"/>
        </p:nvSpPr>
        <p:spPr bwMode="auto">
          <a:xfrm>
            <a:off x="5925478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6" name="Freeform 2120">
            <a:extLst>
              <a:ext uri="{FF2B5EF4-FFF2-40B4-BE49-F238E27FC236}">
                <a16:creationId xmlns:a16="http://schemas.microsoft.com/office/drawing/2014/main" id="{D743C8C0-01E0-45D6-AB65-63CE733EBF7B}"/>
              </a:ext>
            </a:extLst>
          </p:cNvPr>
          <p:cNvSpPr>
            <a:spLocks/>
          </p:cNvSpPr>
          <p:nvPr userDrawn="1"/>
        </p:nvSpPr>
        <p:spPr bwMode="auto">
          <a:xfrm>
            <a:off x="5970617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7" name="Freeform 2121">
            <a:extLst>
              <a:ext uri="{FF2B5EF4-FFF2-40B4-BE49-F238E27FC236}">
                <a16:creationId xmlns:a16="http://schemas.microsoft.com/office/drawing/2014/main" id="{A357AA88-3560-427E-8A2D-9D1E022002D0}"/>
              </a:ext>
            </a:extLst>
          </p:cNvPr>
          <p:cNvSpPr>
            <a:spLocks/>
          </p:cNvSpPr>
          <p:nvPr userDrawn="1"/>
        </p:nvSpPr>
        <p:spPr bwMode="auto">
          <a:xfrm>
            <a:off x="5925478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8" name="Freeform 2122">
            <a:extLst>
              <a:ext uri="{FF2B5EF4-FFF2-40B4-BE49-F238E27FC236}">
                <a16:creationId xmlns:a16="http://schemas.microsoft.com/office/drawing/2014/main" id="{2A97341B-037C-440A-AFB6-0A11DDBB533C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9" name="Freeform 2123">
            <a:extLst>
              <a:ext uri="{FF2B5EF4-FFF2-40B4-BE49-F238E27FC236}">
                <a16:creationId xmlns:a16="http://schemas.microsoft.com/office/drawing/2014/main" id="{6FAC7BEB-5966-4FD0-9E2B-FB662A6FD207}"/>
              </a:ext>
            </a:extLst>
          </p:cNvPr>
          <p:cNvSpPr>
            <a:spLocks/>
          </p:cNvSpPr>
          <p:nvPr userDrawn="1"/>
        </p:nvSpPr>
        <p:spPr bwMode="auto">
          <a:xfrm>
            <a:off x="5603209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0" name="Freeform 2124">
            <a:extLst>
              <a:ext uri="{FF2B5EF4-FFF2-40B4-BE49-F238E27FC236}">
                <a16:creationId xmlns:a16="http://schemas.microsoft.com/office/drawing/2014/main" id="{94E26E10-4896-4280-9D9B-92DA42625D13}"/>
              </a:ext>
            </a:extLst>
          </p:cNvPr>
          <p:cNvSpPr>
            <a:spLocks/>
          </p:cNvSpPr>
          <p:nvPr userDrawn="1"/>
        </p:nvSpPr>
        <p:spPr bwMode="auto">
          <a:xfrm>
            <a:off x="5649397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1" name="Freeform 2125">
            <a:extLst>
              <a:ext uri="{FF2B5EF4-FFF2-40B4-BE49-F238E27FC236}">
                <a16:creationId xmlns:a16="http://schemas.microsoft.com/office/drawing/2014/main" id="{65843340-7C64-469B-9FB2-C7252341805A}"/>
              </a:ext>
            </a:extLst>
          </p:cNvPr>
          <p:cNvSpPr>
            <a:spLocks/>
          </p:cNvSpPr>
          <p:nvPr userDrawn="1"/>
        </p:nvSpPr>
        <p:spPr bwMode="auto">
          <a:xfrm>
            <a:off x="5649397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2" name="Freeform 2126">
            <a:extLst>
              <a:ext uri="{FF2B5EF4-FFF2-40B4-BE49-F238E27FC236}">
                <a16:creationId xmlns:a16="http://schemas.microsoft.com/office/drawing/2014/main" id="{442344D9-0343-41BF-955D-0207D037F38C}"/>
              </a:ext>
            </a:extLst>
          </p:cNvPr>
          <p:cNvSpPr>
            <a:spLocks/>
          </p:cNvSpPr>
          <p:nvPr userDrawn="1"/>
        </p:nvSpPr>
        <p:spPr bwMode="auto">
          <a:xfrm>
            <a:off x="5695585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3" name="Freeform 2127">
            <a:extLst>
              <a:ext uri="{FF2B5EF4-FFF2-40B4-BE49-F238E27FC236}">
                <a16:creationId xmlns:a16="http://schemas.microsoft.com/office/drawing/2014/main" id="{F5BAFE5A-6DE4-44B7-A403-FFDDCFD869AC}"/>
              </a:ext>
            </a:extLst>
          </p:cNvPr>
          <p:cNvSpPr>
            <a:spLocks/>
          </p:cNvSpPr>
          <p:nvPr userDrawn="1"/>
        </p:nvSpPr>
        <p:spPr bwMode="auto">
          <a:xfrm>
            <a:off x="5695585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4" name="Freeform 2128">
            <a:extLst>
              <a:ext uri="{FF2B5EF4-FFF2-40B4-BE49-F238E27FC236}">
                <a16:creationId xmlns:a16="http://schemas.microsoft.com/office/drawing/2014/main" id="{337EEE2B-3524-49DC-B8F4-FC766EDEB971}"/>
              </a:ext>
            </a:extLst>
          </p:cNvPr>
          <p:cNvSpPr>
            <a:spLocks/>
          </p:cNvSpPr>
          <p:nvPr userDrawn="1"/>
        </p:nvSpPr>
        <p:spPr bwMode="auto">
          <a:xfrm>
            <a:off x="5741774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5" name="Freeform 2129">
            <a:extLst>
              <a:ext uri="{FF2B5EF4-FFF2-40B4-BE49-F238E27FC236}">
                <a16:creationId xmlns:a16="http://schemas.microsoft.com/office/drawing/2014/main" id="{A02E31DF-55F3-46F6-A276-124996D421D2}"/>
              </a:ext>
            </a:extLst>
          </p:cNvPr>
          <p:cNvSpPr>
            <a:spLocks/>
          </p:cNvSpPr>
          <p:nvPr userDrawn="1"/>
        </p:nvSpPr>
        <p:spPr bwMode="auto">
          <a:xfrm>
            <a:off x="5741774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6" name="Freeform 2130">
            <a:extLst>
              <a:ext uri="{FF2B5EF4-FFF2-40B4-BE49-F238E27FC236}">
                <a16:creationId xmlns:a16="http://schemas.microsoft.com/office/drawing/2014/main" id="{AC61FCA7-2EF8-4130-947D-EA3946FEFF78}"/>
              </a:ext>
            </a:extLst>
          </p:cNvPr>
          <p:cNvSpPr>
            <a:spLocks/>
          </p:cNvSpPr>
          <p:nvPr userDrawn="1"/>
        </p:nvSpPr>
        <p:spPr bwMode="auto">
          <a:xfrm>
            <a:off x="5787963" y="50890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5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7" name="Freeform 2131">
            <a:extLst>
              <a:ext uri="{FF2B5EF4-FFF2-40B4-BE49-F238E27FC236}">
                <a16:creationId xmlns:a16="http://schemas.microsoft.com/office/drawing/2014/main" id="{0CB74455-F0D7-4770-A589-41764642E880}"/>
              </a:ext>
            </a:extLst>
          </p:cNvPr>
          <p:cNvSpPr>
            <a:spLocks/>
          </p:cNvSpPr>
          <p:nvPr userDrawn="1"/>
        </p:nvSpPr>
        <p:spPr bwMode="auto">
          <a:xfrm>
            <a:off x="5787963" y="55509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8" name="Freeform 2132">
            <a:extLst>
              <a:ext uri="{FF2B5EF4-FFF2-40B4-BE49-F238E27FC236}">
                <a16:creationId xmlns:a16="http://schemas.microsoft.com/office/drawing/2014/main" id="{C5B99C94-B085-4FC0-9591-2AE905B146AD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508906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9" name="Freeform 2133">
            <a:extLst>
              <a:ext uri="{FF2B5EF4-FFF2-40B4-BE49-F238E27FC236}">
                <a16:creationId xmlns:a16="http://schemas.microsoft.com/office/drawing/2014/main" id="{12B93C6A-1553-41B2-93E1-71868A09C3ED}"/>
              </a:ext>
            </a:extLst>
          </p:cNvPr>
          <p:cNvSpPr>
            <a:spLocks/>
          </p:cNvSpPr>
          <p:nvPr userDrawn="1"/>
        </p:nvSpPr>
        <p:spPr bwMode="auto">
          <a:xfrm>
            <a:off x="5186463" y="55509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7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0" name="Freeform 2134">
            <a:extLst>
              <a:ext uri="{FF2B5EF4-FFF2-40B4-BE49-F238E27FC236}">
                <a16:creationId xmlns:a16="http://schemas.microsoft.com/office/drawing/2014/main" id="{6EA158E6-0B87-4F4D-8175-04AB54400D10}"/>
              </a:ext>
            </a:extLst>
          </p:cNvPr>
          <p:cNvSpPr>
            <a:spLocks/>
          </p:cNvSpPr>
          <p:nvPr userDrawn="1"/>
        </p:nvSpPr>
        <p:spPr bwMode="auto">
          <a:xfrm>
            <a:off x="5232652" y="50890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1" name="Freeform 2135">
            <a:extLst>
              <a:ext uri="{FF2B5EF4-FFF2-40B4-BE49-F238E27FC236}">
                <a16:creationId xmlns:a16="http://schemas.microsoft.com/office/drawing/2014/main" id="{ABD8C7EF-70B0-4CF5-BAE3-3DB934920F9D}"/>
              </a:ext>
            </a:extLst>
          </p:cNvPr>
          <p:cNvSpPr>
            <a:spLocks/>
          </p:cNvSpPr>
          <p:nvPr userDrawn="1"/>
        </p:nvSpPr>
        <p:spPr bwMode="auto">
          <a:xfrm>
            <a:off x="5232652" y="55509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2" name="Freeform 2136">
            <a:extLst>
              <a:ext uri="{FF2B5EF4-FFF2-40B4-BE49-F238E27FC236}">
                <a16:creationId xmlns:a16="http://schemas.microsoft.com/office/drawing/2014/main" id="{289F6B4D-8972-4179-93FA-976F7DAEAFF1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3" name="Freeform 2137">
            <a:extLst>
              <a:ext uri="{FF2B5EF4-FFF2-40B4-BE49-F238E27FC236}">
                <a16:creationId xmlns:a16="http://schemas.microsoft.com/office/drawing/2014/main" id="{254C4793-073C-4DE1-8583-16B022B38103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4" name="Freeform 2138">
            <a:extLst>
              <a:ext uri="{FF2B5EF4-FFF2-40B4-BE49-F238E27FC236}">
                <a16:creationId xmlns:a16="http://schemas.microsoft.com/office/drawing/2014/main" id="{573E1242-3F42-431C-8B2F-8B21E3095F80}"/>
              </a:ext>
            </a:extLst>
          </p:cNvPr>
          <p:cNvSpPr>
            <a:spLocks/>
          </p:cNvSpPr>
          <p:nvPr userDrawn="1"/>
        </p:nvSpPr>
        <p:spPr bwMode="auto">
          <a:xfrm>
            <a:off x="4028603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5" name="Freeform 2139">
            <a:extLst>
              <a:ext uri="{FF2B5EF4-FFF2-40B4-BE49-F238E27FC236}">
                <a16:creationId xmlns:a16="http://schemas.microsoft.com/office/drawing/2014/main" id="{DD817743-E45B-4EA8-A775-D6559E3CF956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92355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3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0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6" name="Freeform 2140">
            <a:extLst>
              <a:ext uri="{FF2B5EF4-FFF2-40B4-BE49-F238E27FC236}">
                <a16:creationId xmlns:a16="http://schemas.microsoft.com/office/drawing/2014/main" id="{FFEDFA15-C401-4CCF-9535-289D78C1A63C}"/>
              </a:ext>
            </a:extLst>
          </p:cNvPr>
          <p:cNvSpPr>
            <a:spLocks/>
          </p:cNvSpPr>
          <p:nvPr userDrawn="1"/>
        </p:nvSpPr>
        <p:spPr bwMode="auto">
          <a:xfrm>
            <a:off x="4074792" y="96974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3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4 w 155"/>
              <a:gd name="T63" fmla="*/ 40 h 155"/>
              <a:gd name="T64" fmla="*/ 150 w 155"/>
              <a:gd name="T65" fmla="*/ 54 h 155"/>
              <a:gd name="T66" fmla="*/ 154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7" name="Freeform 2141">
            <a:extLst>
              <a:ext uri="{FF2B5EF4-FFF2-40B4-BE49-F238E27FC236}">
                <a16:creationId xmlns:a16="http://schemas.microsoft.com/office/drawing/2014/main" id="{E12611AD-EA60-407A-B93A-C68A1651CC66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8" name="Freeform 2142">
            <a:extLst>
              <a:ext uri="{FF2B5EF4-FFF2-40B4-BE49-F238E27FC236}">
                <a16:creationId xmlns:a16="http://schemas.microsoft.com/office/drawing/2014/main" id="{36282F33-E9D8-4ABD-8481-7C71066A7FAD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9" name="Freeform 2143">
            <a:extLst>
              <a:ext uri="{FF2B5EF4-FFF2-40B4-BE49-F238E27FC236}">
                <a16:creationId xmlns:a16="http://schemas.microsoft.com/office/drawing/2014/main" id="{72EAD5F7-38E5-4119-9512-3D658B8E1CCB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92355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6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3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0" name="Freeform 2144">
            <a:extLst>
              <a:ext uri="{FF2B5EF4-FFF2-40B4-BE49-F238E27FC236}">
                <a16:creationId xmlns:a16="http://schemas.microsoft.com/office/drawing/2014/main" id="{0016B580-5514-4DE4-8ABE-A34D428EDE90}"/>
              </a:ext>
            </a:extLst>
          </p:cNvPr>
          <p:cNvSpPr>
            <a:spLocks/>
          </p:cNvSpPr>
          <p:nvPr userDrawn="1"/>
        </p:nvSpPr>
        <p:spPr bwMode="auto">
          <a:xfrm>
            <a:off x="4167168" y="96974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6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8 w 155"/>
              <a:gd name="T25" fmla="*/ 136 h 155"/>
              <a:gd name="T26" fmla="*/ 17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3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3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1" name="Freeform 2145">
            <a:extLst>
              <a:ext uri="{FF2B5EF4-FFF2-40B4-BE49-F238E27FC236}">
                <a16:creationId xmlns:a16="http://schemas.microsoft.com/office/drawing/2014/main" id="{FCC0222F-752A-4A68-AE20-B7E0A90AAEDF}"/>
              </a:ext>
            </a:extLst>
          </p:cNvPr>
          <p:cNvSpPr>
            <a:spLocks/>
          </p:cNvSpPr>
          <p:nvPr userDrawn="1"/>
        </p:nvSpPr>
        <p:spPr bwMode="auto">
          <a:xfrm>
            <a:off x="4213356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3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2" name="Freeform 2146">
            <a:extLst>
              <a:ext uri="{FF2B5EF4-FFF2-40B4-BE49-F238E27FC236}">
                <a16:creationId xmlns:a16="http://schemas.microsoft.com/office/drawing/2014/main" id="{896F36A0-93E4-4F54-BA64-2B7091A09623}"/>
              </a:ext>
            </a:extLst>
          </p:cNvPr>
          <p:cNvSpPr>
            <a:spLocks/>
          </p:cNvSpPr>
          <p:nvPr userDrawn="1"/>
        </p:nvSpPr>
        <p:spPr bwMode="auto">
          <a:xfrm>
            <a:off x="4213356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3" name="Freeform 2147">
            <a:extLst>
              <a:ext uri="{FF2B5EF4-FFF2-40B4-BE49-F238E27FC236}">
                <a16:creationId xmlns:a16="http://schemas.microsoft.com/office/drawing/2014/main" id="{E7810B8C-A401-4F3B-B280-4AF15C32ECE2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4" name="Freeform 2148">
            <a:extLst>
              <a:ext uri="{FF2B5EF4-FFF2-40B4-BE49-F238E27FC236}">
                <a16:creationId xmlns:a16="http://schemas.microsoft.com/office/drawing/2014/main" id="{6343C4C4-D4F6-4D8C-A4C0-EE31B5AD0EA3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48201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5" name="Freeform 2149">
            <a:extLst>
              <a:ext uri="{FF2B5EF4-FFF2-40B4-BE49-F238E27FC236}">
                <a16:creationId xmlns:a16="http://schemas.microsoft.com/office/drawing/2014/main" id="{56AE012E-1DD6-4E5F-B589-A28201D5D5FB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52925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6" name="Freeform 2150">
            <a:extLst>
              <a:ext uri="{FF2B5EF4-FFF2-40B4-BE49-F238E27FC236}">
                <a16:creationId xmlns:a16="http://schemas.microsoft.com/office/drawing/2014/main" id="{7A3EE6FC-757D-4D97-8001-5A3AC79DB700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57543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1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7" name="Freeform 2151">
            <a:extLst>
              <a:ext uri="{FF2B5EF4-FFF2-40B4-BE49-F238E27FC236}">
                <a16:creationId xmlns:a16="http://schemas.microsoft.com/office/drawing/2014/main" id="{B6F308C7-89D0-4AF2-8FD4-A89E6E7319B5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6226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8" name="Freeform 2152">
            <a:extLst>
              <a:ext uri="{FF2B5EF4-FFF2-40B4-BE49-F238E27FC236}">
                <a16:creationId xmlns:a16="http://schemas.microsoft.com/office/drawing/2014/main" id="{6D5C39FC-3122-4D02-8F02-49719FFFB152}"/>
              </a:ext>
            </a:extLst>
          </p:cNvPr>
          <p:cNvSpPr>
            <a:spLocks/>
          </p:cNvSpPr>
          <p:nvPr userDrawn="1"/>
        </p:nvSpPr>
        <p:spPr bwMode="auto">
          <a:xfrm>
            <a:off x="3938326" y="166256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9" name="Freeform 2153">
            <a:extLst>
              <a:ext uri="{FF2B5EF4-FFF2-40B4-BE49-F238E27FC236}">
                <a16:creationId xmlns:a16="http://schemas.microsoft.com/office/drawing/2014/main" id="{2DB87F1A-17C7-41CD-9C92-E03C30C69C28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66781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8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0" name="Freeform 2154">
            <a:extLst>
              <a:ext uri="{FF2B5EF4-FFF2-40B4-BE49-F238E27FC236}">
                <a16:creationId xmlns:a16="http://schemas.microsoft.com/office/drawing/2014/main" id="{332DFB65-B06A-4016-8013-A8E2F09B0049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48201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2" y="3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1" name="Freeform 2155">
            <a:extLst>
              <a:ext uri="{FF2B5EF4-FFF2-40B4-BE49-F238E27FC236}">
                <a16:creationId xmlns:a16="http://schemas.microsoft.com/office/drawing/2014/main" id="{4E22C469-4C46-4195-A186-D634F7F8E64D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52820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3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2" name="Freeform 2156">
            <a:extLst>
              <a:ext uri="{FF2B5EF4-FFF2-40B4-BE49-F238E27FC236}">
                <a16:creationId xmlns:a16="http://schemas.microsoft.com/office/drawing/2014/main" id="{DF1E504A-2FEF-4B23-B7AC-C299548C09A4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57543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49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3" name="Freeform 2157">
            <a:extLst>
              <a:ext uri="{FF2B5EF4-FFF2-40B4-BE49-F238E27FC236}">
                <a16:creationId xmlns:a16="http://schemas.microsoft.com/office/drawing/2014/main" id="{8A409F78-BD55-4329-8A9B-3D0F57DD80D4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621627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7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9" y="41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4" name="Freeform 2158">
            <a:extLst>
              <a:ext uri="{FF2B5EF4-FFF2-40B4-BE49-F238E27FC236}">
                <a16:creationId xmlns:a16="http://schemas.microsoft.com/office/drawing/2014/main" id="{F64E9369-CC26-4C05-ACC5-A7E02FD4E4BF}"/>
              </a:ext>
            </a:extLst>
          </p:cNvPr>
          <p:cNvSpPr>
            <a:spLocks/>
          </p:cNvSpPr>
          <p:nvPr userDrawn="1"/>
        </p:nvSpPr>
        <p:spPr bwMode="auto">
          <a:xfrm>
            <a:off x="4120980" y="166571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3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5" name="Freeform 2159">
            <a:extLst>
              <a:ext uri="{FF2B5EF4-FFF2-40B4-BE49-F238E27FC236}">
                <a16:creationId xmlns:a16="http://schemas.microsoft.com/office/drawing/2014/main" id="{3B37F197-FD28-4E54-BA21-83431597DD13}"/>
              </a:ext>
            </a:extLst>
          </p:cNvPr>
          <p:cNvSpPr>
            <a:spLocks/>
          </p:cNvSpPr>
          <p:nvPr userDrawn="1"/>
        </p:nvSpPr>
        <p:spPr bwMode="auto">
          <a:xfrm>
            <a:off x="4076890" y="1482012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6" name="Freeform 2160">
            <a:extLst>
              <a:ext uri="{FF2B5EF4-FFF2-40B4-BE49-F238E27FC236}">
                <a16:creationId xmlns:a16="http://schemas.microsoft.com/office/drawing/2014/main" id="{F1D63DDF-512F-46A8-8B29-A4A080E64868}"/>
              </a:ext>
            </a:extLst>
          </p:cNvPr>
          <p:cNvSpPr>
            <a:spLocks/>
          </p:cNvSpPr>
          <p:nvPr userDrawn="1"/>
        </p:nvSpPr>
        <p:spPr bwMode="auto">
          <a:xfrm>
            <a:off x="4076890" y="152925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7" name="Freeform 2161">
            <a:extLst>
              <a:ext uri="{FF2B5EF4-FFF2-40B4-BE49-F238E27FC236}">
                <a16:creationId xmlns:a16="http://schemas.microsoft.com/office/drawing/2014/main" id="{E1ED01DE-33A2-4F50-87A5-80AC4AAB5FA4}"/>
              </a:ext>
            </a:extLst>
          </p:cNvPr>
          <p:cNvSpPr>
            <a:spLocks/>
          </p:cNvSpPr>
          <p:nvPr userDrawn="1"/>
        </p:nvSpPr>
        <p:spPr bwMode="auto">
          <a:xfrm>
            <a:off x="4076890" y="1575439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20 h 153"/>
              <a:gd name="T8" fmla="*/ 130 w 153"/>
              <a:gd name="T9" fmla="*/ 130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0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8" name="Freeform 2162">
            <a:extLst>
              <a:ext uri="{FF2B5EF4-FFF2-40B4-BE49-F238E27FC236}">
                <a16:creationId xmlns:a16="http://schemas.microsoft.com/office/drawing/2014/main" id="{35FD6693-CD84-46CF-892A-64E573736089}"/>
              </a:ext>
            </a:extLst>
          </p:cNvPr>
          <p:cNvSpPr>
            <a:spLocks/>
          </p:cNvSpPr>
          <p:nvPr userDrawn="1"/>
        </p:nvSpPr>
        <p:spPr bwMode="auto">
          <a:xfrm>
            <a:off x="4076890" y="16226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9" name="Freeform 2163">
            <a:extLst>
              <a:ext uri="{FF2B5EF4-FFF2-40B4-BE49-F238E27FC236}">
                <a16:creationId xmlns:a16="http://schemas.microsoft.com/office/drawing/2014/main" id="{D840DC87-BC88-415B-BADB-C0CB922F84BB}"/>
              </a:ext>
            </a:extLst>
          </p:cNvPr>
          <p:cNvSpPr>
            <a:spLocks/>
          </p:cNvSpPr>
          <p:nvPr userDrawn="1"/>
        </p:nvSpPr>
        <p:spPr bwMode="auto">
          <a:xfrm>
            <a:off x="4214407" y="152820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0" name="Freeform 2164">
            <a:extLst>
              <a:ext uri="{FF2B5EF4-FFF2-40B4-BE49-F238E27FC236}">
                <a16:creationId xmlns:a16="http://schemas.microsoft.com/office/drawing/2014/main" id="{48AF3BBC-641E-42CE-A33F-AD34FFF6A3DD}"/>
              </a:ext>
            </a:extLst>
          </p:cNvPr>
          <p:cNvSpPr>
            <a:spLocks/>
          </p:cNvSpPr>
          <p:nvPr userDrawn="1"/>
        </p:nvSpPr>
        <p:spPr bwMode="auto">
          <a:xfrm>
            <a:off x="4214407" y="157543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49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5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1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1" name="Freeform 2165">
            <a:extLst>
              <a:ext uri="{FF2B5EF4-FFF2-40B4-BE49-F238E27FC236}">
                <a16:creationId xmlns:a16="http://schemas.microsoft.com/office/drawing/2014/main" id="{6F18410E-987F-4674-A71E-DE15940418EE}"/>
              </a:ext>
            </a:extLst>
          </p:cNvPr>
          <p:cNvSpPr>
            <a:spLocks/>
          </p:cNvSpPr>
          <p:nvPr userDrawn="1"/>
        </p:nvSpPr>
        <p:spPr bwMode="auto">
          <a:xfrm>
            <a:off x="4171367" y="152925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2" name="Freeform 2166">
            <a:extLst>
              <a:ext uri="{FF2B5EF4-FFF2-40B4-BE49-F238E27FC236}">
                <a16:creationId xmlns:a16="http://schemas.microsoft.com/office/drawing/2014/main" id="{F13EFDE4-FA94-4B59-84CA-7CDB012FEBB4}"/>
              </a:ext>
            </a:extLst>
          </p:cNvPr>
          <p:cNvSpPr>
            <a:spLocks/>
          </p:cNvSpPr>
          <p:nvPr userDrawn="1"/>
        </p:nvSpPr>
        <p:spPr bwMode="auto">
          <a:xfrm>
            <a:off x="4214407" y="14809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3" name="Freeform 2167">
            <a:extLst>
              <a:ext uri="{FF2B5EF4-FFF2-40B4-BE49-F238E27FC236}">
                <a16:creationId xmlns:a16="http://schemas.microsoft.com/office/drawing/2014/main" id="{30389C55-3613-4F64-8393-70B6DA941403}"/>
              </a:ext>
            </a:extLst>
          </p:cNvPr>
          <p:cNvSpPr>
            <a:spLocks/>
          </p:cNvSpPr>
          <p:nvPr userDrawn="1"/>
        </p:nvSpPr>
        <p:spPr bwMode="auto">
          <a:xfrm>
            <a:off x="4171367" y="148201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19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19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19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4" name="Freeform 2168">
            <a:extLst>
              <a:ext uri="{FF2B5EF4-FFF2-40B4-BE49-F238E27FC236}">
                <a16:creationId xmlns:a16="http://schemas.microsoft.com/office/drawing/2014/main" id="{01951B94-EB6C-4A84-B0A0-8CF09F96CC73}"/>
              </a:ext>
            </a:extLst>
          </p:cNvPr>
          <p:cNvSpPr>
            <a:spLocks/>
          </p:cNvSpPr>
          <p:nvPr userDrawn="1"/>
        </p:nvSpPr>
        <p:spPr bwMode="auto">
          <a:xfrm>
            <a:off x="4171367" y="143372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9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2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9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9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5" name="Freeform 2169">
            <a:extLst>
              <a:ext uri="{FF2B5EF4-FFF2-40B4-BE49-F238E27FC236}">
                <a16:creationId xmlns:a16="http://schemas.microsoft.com/office/drawing/2014/main" id="{778DB70E-6C88-4692-8621-EDE613FAB6FE}"/>
              </a:ext>
            </a:extLst>
          </p:cNvPr>
          <p:cNvSpPr>
            <a:spLocks/>
          </p:cNvSpPr>
          <p:nvPr userDrawn="1"/>
        </p:nvSpPr>
        <p:spPr bwMode="auto">
          <a:xfrm>
            <a:off x="4171367" y="1575439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6" name="Freeform 2170">
            <a:extLst>
              <a:ext uri="{FF2B5EF4-FFF2-40B4-BE49-F238E27FC236}">
                <a16:creationId xmlns:a16="http://schemas.microsoft.com/office/drawing/2014/main" id="{F2404F3A-B4D0-4D2A-AC24-41CADD88129A}"/>
              </a:ext>
            </a:extLst>
          </p:cNvPr>
          <p:cNvSpPr>
            <a:spLocks/>
          </p:cNvSpPr>
          <p:nvPr userDrawn="1"/>
        </p:nvSpPr>
        <p:spPr bwMode="auto">
          <a:xfrm>
            <a:off x="4171367" y="16226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7" name="Freeform 2171">
            <a:extLst>
              <a:ext uri="{FF2B5EF4-FFF2-40B4-BE49-F238E27FC236}">
                <a16:creationId xmlns:a16="http://schemas.microsoft.com/office/drawing/2014/main" id="{9964D0E0-9A58-420C-A87B-B639C2815CA5}"/>
              </a:ext>
            </a:extLst>
          </p:cNvPr>
          <p:cNvSpPr>
            <a:spLocks/>
          </p:cNvSpPr>
          <p:nvPr userDrawn="1"/>
        </p:nvSpPr>
        <p:spPr bwMode="auto">
          <a:xfrm>
            <a:off x="4076890" y="166781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8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8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8" name="Freeform 2172">
            <a:extLst>
              <a:ext uri="{FF2B5EF4-FFF2-40B4-BE49-F238E27FC236}">
                <a16:creationId xmlns:a16="http://schemas.microsoft.com/office/drawing/2014/main" id="{F956B3F8-5B1C-4C3F-81E9-E37554D085D5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39068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9" name="Freeform 2173">
            <a:extLst>
              <a:ext uri="{FF2B5EF4-FFF2-40B4-BE49-F238E27FC236}">
                <a16:creationId xmlns:a16="http://schemas.microsoft.com/office/drawing/2014/main" id="{98C8441C-8B0F-4BDC-A256-341A366CBBB9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43792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0" name="Freeform 2174">
            <a:extLst>
              <a:ext uri="{FF2B5EF4-FFF2-40B4-BE49-F238E27FC236}">
                <a16:creationId xmlns:a16="http://schemas.microsoft.com/office/drawing/2014/main" id="{767963E8-D724-4D1D-8D34-0602923E8E1B}"/>
              </a:ext>
            </a:extLst>
          </p:cNvPr>
          <p:cNvSpPr>
            <a:spLocks/>
          </p:cNvSpPr>
          <p:nvPr userDrawn="1"/>
        </p:nvSpPr>
        <p:spPr bwMode="auto">
          <a:xfrm>
            <a:off x="3984514" y="129515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1" name="Freeform 2175">
            <a:extLst>
              <a:ext uri="{FF2B5EF4-FFF2-40B4-BE49-F238E27FC236}">
                <a16:creationId xmlns:a16="http://schemas.microsoft.com/office/drawing/2014/main" id="{28966E36-A4D7-4A3C-9994-B8C606C86F79}"/>
              </a:ext>
            </a:extLst>
          </p:cNvPr>
          <p:cNvSpPr>
            <a:spLocks/>
          </p:cNvSpPr>
          <p:nvPr userDrawn="1"/>
        </p:nvSpPr>
        <p:spPr bwMode="auto">
          <a:xfrm>
            <a:off x="3985563" y="134239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3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2" name="Freeform 2176">
            <a:extLst>
              <a:ext uri="{FF2B5EF4-FFF2-40B4-BE49-F238E27FC236}">
                <a16:creationId xmlns:a16="http://schemas.microsoft.com/office/drawing/2014/main" id="{624AD7C9-5892-4F6B-825A-C48D83C97D02}"/>
              </a:ext>
            </a:extLst>
          </p:cNvPr>
          <p:cNvSpPr>
            <a:spLocks/>
          </p:cNvSpPr>
          <p:nvPr userDrawn="1"/>
        </p:nvSpPr>
        <p:spPr bwMode="auto">
          <a:xfrm>
            <a:off x="4862093" y="92355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3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3" name="Freeform 2177">
            <a:extLst>
              <a:ext uri="{FF2B5EF4-FFF2-40B4-BE49-F238E27FC236}">
                <a16:creationId xmlns:a16="http://schemas.microsoft.com/office/drawing/2014/main" id="{08546616-1FF6-4B9D-A768-3EC1D919C6DF}"/>
              </a:ext>
            </a:extLst>
          </p:cNvPr>
          <p:cNvSpPr>
            <a:spLocks/>
          </p:cNvSpPr>
          <p:nvPr userDrawn="1"/>
        </p:nvSpPr>
        <p:spPr bwMode="auto">
          <a:xfrm>
            <a:off x="4862093" y="96974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4" name="Freeform 2178">
            <a:extLst>
              <a:ext uri="{FF2B5EF4-FFF2-40B4-BE49-F238E27FC236}">
                <a16:creationId xmlns:a16="http://schemas.microsoft.com/office/drawing/2014/main" id="{EE6FA1F1-DDD5-4ECE-86F0-41334542319B}"/>
              </a:ext>
            </a:extLst>
          </p:cNvPr>
          <p:cNvSpPr>
            <a:spLocks/>
          </p:cNvSpPr>
          <p:nvPr userDrawn="1"/>
        </p:nvSpPr>
        <p:spPr bwMode="auto">
          <a:xfrm>
            <a:off x="4907233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3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5" name="Freeform 2179">
            <a:extLst>
              <a:ext uri="{FF2B5EF4-FFF2-40B4-BE49-F238E27FC236}">
                <a16:creationId xmlns:a16="http://schemas.microsoft.com/office/drawing/2014/main" id="{798FA4A9-15ED-4F27-96AA-1DDE7F9AB50B}"/>
              </a:ext>
            </a:extLst>
          </p:cNvPr>
          <p:cNvSpPr>
            <a:spLocks/>
          </p:cNvSpPr>
          <p:nvPr userDrawn="1"/>
        </p:nvSpPr>
        <p:spPr bwMode="auto">
          <a:xfrm>
            <a:off x="4907233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6" name="Freeform 2180">
            <a:extLst>
              <a:ext uri="{FF2B5EF4-FFF2-40B4-BE49-F238E27FC236}">
                <a16:creationId xmlns:a16="http://schemas.microsoft.com/office/drawing/2014/main" id="{CF41C2BE-3E06-49C8-879C-533E5CF8C0CA}"/>
              </a:ext>
            </a:extLst>
          </p:cNvPr>
          <p:cNvSpPr>
            <a:spLocks/>
          </p:cNvSpPr>
          <p:nvPr userDrawn="1"/>
        </p:nvSpPr>
        <p:spPr bwMode="auto">
          <a:xfrm>
            <a:off x="4954471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7" name="Freeform 2181">
            <a:extLst>
              <a:ext uri="{FF2B5EF4-FFF2-40B4-BE49-F238E27FC236}">
                <a16:creationId xmlns:a16="http://schemas.microsoft.com/office/drawing/2014/main" id="{E9412F84-9990-4604-9E74-4E54933E9698}"/>
              </a:ext>
            </a:extLst>
          </p:cNvPr>
          <p:cNvSpPr>
            <a:spLocks/>
          </p:cNvSpPr>
          <p:nvPr userDrawn="1"/>
        </p:nvSpPr>
        <p:spPr bwMode="auto">
          <a:xfrm>
            <a:off x="4954471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8" name="Freeform 2182">
            <a:extLst>
              <a:ext uri="{FF2B5EF4-FFF2-40B4-BE49-F238E27FC236}">
                <a16:creationId xmlns:a16="http://schemas.microsoft.com/office/drawing/2014/main" id="{40AB1D82-6347-41B7-B13F-F669EE3412C6}"/>
              </a:ext>
            </a:extLst>
          </p:cNvPr>
          <p:cNvSpPr>
            <a:spLocks/>
          </p:cNvSpPr>
          <p:nvPr userDrawn="1"/>
        </p:nvSpPr>
        <p:spPr bwMode="auto">
          <a:xfrm>
            <a:off x="5000659" y="92355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3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9" name="Freeform 2183">
            <a:extLst>
              <a:ext uri="{FF2B5EF4-FFF2-40B4-BE49-F238E27FC236}">
                <a16:creationId xmlns:a16="http://schemas.microsoft.com/office/drawing/2014/main" id="{83E0890B-081A-4613-8C7A-F6F766C342F8}"/>
              </a:ext>
            </a:extLst>
          </p:cNvPr>
          <p:cNvSpPr>
            <a:spLocks/>
          </p:cNvSpPr>
          <p:nvPr userDrawn="1"/>
        </p:nvSpPr>
        <p:spPr bwMode="auto">
          <a:xfrm>
            <a:off x="5000659" y="96974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0" name="Freeform 2184">
            <a:extLst>
              <a:ext uri="{FF2B5EF4-FFF2-40B4-BE49-F238E27FC236}">
                <a16:creationId xmlns:a16="http://schemas.microsoft.com/office/drawing/2014/main" id="{EBB3E961-F9EC-496F-A9B3-B0766CD26BBF}"/>
              </a:ext>
            </a:extLst>
          </p:cNvPr>
          <p:cNvSpPr>
            <a:spLocks/>
          </p:cNvSpPr>
          <p:nvPr userDrawn="1"/>
        </p:nvSpPr>
        <p:spPr bwMode="auto">
          <a:xfrm>
            <a:off x="4583914" y="1666765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8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2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1" name="Freeform 2185">
            <a:extLst>
              <a:ext uri="{FF2B5EF4-FFF2-40B4-BE49-F238E27FC236}">
                <a16:creationId xmlns:a16="http://schemas.microsoft.com/office/drawing/2014/main" id="{C916D20E-CCF8-4F6E-B4FE-5035519845D2}"/>
              </a:ext>
            </a:extLst>
          </p:cNvPr>
          <p:cNvSpPr>
            <a:spLocks/>
          </p:cNvSpPr>
          <p:nvPr userDrawn="1"/>
        </p:nvSpPr>
        <p:spPr bwMode="auto">
          <a:xfrm>
            <a:off x="4630102" y="166676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4 w 153"/>
              <a:gd name="T41" fmla="*/ 34 h 154"/>
              <a:gd name="T42" fmla="*/ 23 w 153"/>
              <a:gd name="T43" fmla="*/ 23 h 154"/>
              <a:gd name="T44" fmla="*/ 34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2" name="Freeform 2186">
            <a:extLst>
              <a:ext uri="{FF2B5EF4-FFF2-40B4-BE49-F238E27FC236}">
                <a16:creationId xmlns:a16="http://schemas.microsoft.com/office/drawing/2014/main" id="{0EFB42C4-85C1-40D7-A8CD-37ED8473160A}"/>
              </a:ext>
            </a:extLst>
          </p:cNvPr>
          <p:cNvSpPr>
            <a:spLocks/>
          </p:cNvSpPr>
          <p:nvPr userDrawn="1"/>
        </p:nvSpPr>
        <p:spPr bwMode="auto">
          <a:xfrm>
            <a:off x="4676290" y="166676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2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4" name="Freeform 2188">
            <a:extLst>
              <a:ext uri="{FF2B5EF4-FFF2-40B4-BE49-F238E27FC236}">
                <a16:creationId xmlns:a16="http://schemas.microsoft.com/office/drawing/2014/main" id="{1E6D2D0D-2F53-46ED-BABE-15EFBD43E206}"/>
              </a:ext>
            </a:extLst>
          </p:cNvPr>
          <p:cNvSpPr>
            <a:spLocks/>
          </p:cNvSpPr>
          <p:nvPr userDrawn="1"/>
        </p:nvSpPr>
        <p:spPr bwMode="auto">
          <a:xfrm>
            <a:off x="4583914" y="171400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8 w 155"/>
              <a:gd name="T25" fmla="*/ 137 h 154"/>
              <a:gd name="T26" fmla="*/ 17 w 155"/>
              <a:gd name="T27" fmla="*/ 127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6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8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5" name="Freeform 2189">
            <a:extLst>
              <a:ext uri="{FF2B5EF4-FFF2-40B4-BE49-F238E27FC236}">
                <a16:creationId xmlns:a16="http://schemas.microsoft.com/office/drawing/2014/main" id="{3E51E07A-18E8-4759-8BEB-9577FB1C8BEF}"/>
              </a:ext>
            </a:extLst>
          </p:cNvPr>
          <p:cNvSpPr>
            <a:spLocks/>
          </p:cNvSpPr>
          <p:nvPr userDrawn="1"/>
        </p:nvSpPr>
        <p:spPr bwMode="auto">
          <a:xfrm>
            <a:off x="4630102" y="17140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1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6" name="Freeform 2190">
            <a:extLst>
              <a:ext uri="{FF2B5EF4-FFF2-40B4-BE49-F238E27FC236}">
                <a16:creationId xmlns:a16="http://schemas.microsoft.com/office/drawing/2014/main" id="{0D61C8C9-AF86-49DC-815A-5798AA2B8ECB}"/>
              </a:ext>
            </a:extLst>
          </p:cNvPr>
          <p:cNvSpPr>
            <a:spLocks/>
          </p:cNvSpPr>
          <p:nvPr userDrawn="1"/>
        </p:nvSpPr>
        <p:spPr bwMode="auto">
          <a:xfrm>
            <a:off x="4676290" y="171400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6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8 h 154"/>
              <a:gd name="T40" fmla="*/ 12 w 154"/>
              <a:gd name="T41" fmla="*/ 34 h 154"/>
              <a:gd name="T42" fmla="*/ 23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3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7" name="Freeform 2191">
            <a:extLst>
              <a:ext uri="{FF2B5EF4-FFF2-40B4-BE49-F238E27FC236}">
                <a16:creationId xmlns:a16="http://schemas.microsoft.com/office/drawing/2014/main" id="{F471F84A-3E5A-4575-8AC8-4F34C91DF245}"/>
              </a:ext>
            </a:extLst>
          </p:cNvPr>
          <p:cNvSpPr>
            <a:spLocks/>
          </p:cNvSpPr>
          <p:nvPr userDrawn="1"/>
        </p:nvSpPr>
        <p:spPr bwMode="auto">
          <a:xfrm>
            <a:off x="4630102" y="176019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8" name="Freeform 2192">
            <a:extLst>
              <a:ext uri="{FF2B5EF4-FFF2-40B4-BE49-F238E27FC236}">
                <a16:creationId xmlns:a16="http://schemas.microsoft.com/office/drawing/2014/main" id="{7E99A702-6547-4F9E-BE31-F4B007F12EBA}"/>
              </a:ext>
            </a:extLst>
          </p:cNvPr>
          <p:cNvSpPr>
            <a:spLocks/>
          </p:cNvSpPr>
          <p:nvPr userDrawn="1"/>
        </p:nvSpPr>
        <p:spPr bwMode="auto">
          <a:xfrm>
            <a:off x="4630102" y="180743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9" name="Freeform 2193">
            <a:extLst>
              <a:ext uri="{FF2B5EF4-FFF2-40B4-BE49-F238E27FC236}">
                <a16:creationId xmlns:a16="http://schemas.microsoft.com/office/drawing/2014/main" id="{070EF3D1-7293-4744-8985-6B67FD6EFF2C}"/>
              </a:ext>
            </a:extLst>
          </p:cNvPr>
          <p:cNvSpPr>
            <a:spLocks/>
          </p:cNvSpPr>
          <p:nvPr userDrawn="1"/>
        </p:nvSpPr>
        <p:spPr bwMode="auto">
          <a:xfrm>
            <a:off x="4676290" y="176019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0" name="Freeform 2194">
            <a:extLst>
              <a:ext uri="{FF2B5EF4-FFF2-40B4-BE49-F238E27FC236}">
                <a16:creationId xmlns:a16="http://schemas.microsoft.com/office/drawing/2014/main" id="{8340C5CA-91D5-4EA1-BBC2-4908B037ADEC}"/>
              </a:ext>
            </a:extLst>
          </p:cNvPr>
          <p:cNvSpPr>
            <a:spLocks/>
          </p:cNvSpPr>
          <p:nvPr userDrawn="1"/>
        </p:nvSpPr>
        <p:spPr bwMode="auto">
          <a:xfrm>
            <a:off x="4676290" y="180743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1" name="Freeform 2195">
            <a:extLst>
              <a:ext uri="{FF2B5EF4-FFF2-40B4-BE49-F238E27FC236}">
                <a16:creationId xmlns:a16="http://schemas.microsoft.com/office/drawing/2014/main" id="{1AA23099-82B3-4E88-8C79-7F911C56D693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45302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2 h 155"/>
              <a:gd name="T22" fmla="*/ 42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9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5 h 155"/>
              <a:gd name="T56" fmla="*/ 115 w 155"/>
              <a:gd name="T57" fmla="*/ 11 h 155"/>
              <a:gd name="T58" fmla="*/ 127 w 155"/>
              <a:gd name="T59" fmla="*/ 19 h 155"/>
              <a:gd name="T60" fmla="*/ 138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1"/>
                </a:lnTo>
                <a:lnTo>
                  <a:pt x="138" y="127"/>
                </a:lnTo>
                <a:lnTo>
                  <a:pt x="132" y="132"/>
                </a:lnTo>
                <a:lnTo>
                  <a:pt x="127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2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8" y="149"/>
                </a:lnTo>
                <a:lnTo>
                  <a:pt x="42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9"/>
                </a:lnTo>
                <a:lnTo>
                  <a:pt x="11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11"/>
                </a:lnTo>
                <a:lnTo>
                  <a:pt x="48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7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2"/>
                </a:lnTo>
                <a:lnTo>
                  <a:pt x="149" y="49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2" name="Freeform 2196">
            <a:extLst>
              <a:ext uri="{FF2B5EF4-FFF2-40B4-BE49-F238E27FC236}">
                <a16:creationId xmlns:a16="http://schemas.microsoft.com/office/drawing/2014/main" id="{BFDF59C6-E6A4-43B4-AB5D-1A456B5B03E9}"/>
              </a:ext>
            </a:extLst>
          </p:cNvPr>
          <p:cNvSpPr>
            <a:spLocks/>
          </p:cNvSpPr>
          <p:nvPr userDrawn="1"/>
        </p:nvSpPr>
        <p:spPr bwMode="auto">
          <a:xfrm>
            <a:off x="3291687" y="2499208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5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2 h 154"/>
              <a:gd name="T46" fmla="*/ 48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5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4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3" name="Freeform 2197">
            <a:extLst>
              <a:ext uri="{FF2B5EF4-FFF2-40B4-BE49-F238E27FC236}">
                <a16:creationId xmlns:a16="http://schemas.microsoft.com/office/drawing/2014/main" id="{19D881DF-E223-4B7F-B0F4-3902A0DFE9FD}"/>
              </a:ext>
            </a:extLst>
          </p:cNvPr>
          <p:cNvSpPr>
            <a:spLocks/>
          </p:cNvSpPr>
          <p:nvPr userDrawn="1"/>
        </p:nvSpPr>
        <p:spPr bwMode="auto">
          <a:xfrm>
            <a:off x="3337875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2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9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2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2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9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9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4" name="Freeform 2198">
            <a:extLst>
              <a:ext uri="{FF2B5EF4-FFF2-40B4-BE49-F238E27FC236}">
                <a16:creationId xmlns:a16="http://schemas.microsoft.com/office/drawing/2014/main" id="{015AACD2-C89F-400C-98FB-A0E1269FAD2F}"/>
              </a:ext>
            </a:extLst>
          </p:cNvPr>
          <p:cNvSpPr>
            <a:spLocks/>
          </p:cNvSpPr>
          <p:nvPr userDrawn="1"/>
        </p:nvSpPr>
        <p:spPr bwMode="auto">
          <a:xfrm>
            <a:off x="3337875" y="249920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5" name="Freeform 2199">
            <a:extLst>
              <a:ext uri="{FF2B5EF4-FFF2-40B4-BE49-F238E27FC236}">
                <a16:creationId xmlns:a16="http://schemas.microsoft.com/office/drawing/2014/main" id="{2E81EC13-6704-4652-8F20-4F38D4F7DEEB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453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2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2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9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9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6" name="Freeform 2200">
            <a:extLst>
              <a:ext uri="{FF2B5EF4-FFF2-40B4-BE49-F238E27FC236}">
                <a16:creationId xmlns:a16="http://schemas.microsoft.com/office/drawing/2014/main" id="{E4E12FD5-7183-4CBE-813D-8FEF285FCB60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49920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7" name="Freeform 2201">
            <a:extLst>
              <a:ext uri="{FF2B5EF4-FFF2-40B4-BE49-F238E27FC236}">
                <a16:creationId xmlns:a16="http://schemas.microsoft.com/office/drawing/2014/main" id="{DE140CC0-AF9F-4C40-875E-6570ADD770FE}"/>
              </a:ext>
            </a:extLst>
          </p:cNvPr>
          <p:cNvSpPr>
            <a:spLocks/>
          </p:cNvSpPr>
          <p:nvPr userDrawn="1"/>
        </p:nvSpPr>
        <p:spPr bwMode="auto">
          <a:xfrm>
            <a:off x="3337875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8" name="Freeform 2202">
            <a:extLst>
              <a:ext uri="{FF2B5EF4-FFF2-40B4-BE49-F238E27FC236}">
                <a16:creationId xmlns:a16="http://schemas.microsoft.com/office/drawing/2014/main" id="{22225270-41F2-4EDE-BE84-6377F1C94442}"/>
              </a:ext>
            </a:extLst>
          </p:cNvPr>
          <p:cNvSpPr>
            <a:spLocks/>
          </p:cNvSpPr>
          <p:nvPr userDrawn="1"/>
        </p:nvSpPr>
        <p:spPr bwMode="auto">
          <a:xfrm>
            <a:off x="3337875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9" name="Freeform 2203">
            <a:extLst>
              <a:ext uri="{FF2B5EF4-FFF2-40B4-BE49-F238E27FC236}">
                <a16:creationId xmlns:a16="http://schemas.microsoft.com/office/drawing/2014/main" id="{76C30BC3-119D-4839-A9D8-4CDDAB527C6E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545397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0" name="Freeform 2204">
            <a:extLst>
              <a:ext uri="{FF2B5EF4-FFF2-40B4-BE49-F238E27FC236}">
                <a16:creationId xmlns:a16="http://schemas.microsoft.com/office/drawing/2014/main" id="{DBB425D0-E8A1-49A9-9F7F-5BCF2375B254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59263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1" name="Freeform 2205">
            <a:extLst>
              <a:ext uri="{FF2B5EF4-FFF2-40B4-BE49-F238E27FC236}">
                <a16:creationId xmlns:a16="http://schemas.microsoft.com/office/drawing/2014/main" id="{65034C28-7F9B-432B-BAF9-00D82F4E4EDE}"/>
              </a:ext>
            </a:extLst>
          </p:cNvPr>
          <p:cNvSpPr>
            <a:spLocks/>
          </p:cNvSpPr>
          <p:nvPr userDrawn="1"/>
        </p:nvSpPr>
        <p:spPr bwMode="auto">
          <a:xfrm>
            <a:off x="3337875" y="263987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49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2" name="Freeform 2206">
            <a:extLst>
              <a:ext uri="{FF2B5EF4-FFF2-40B4-BE49-F238E27FC236}">
                <a16:creationId xmlns:a16="http://schemas.microsoft.com/office/drawing/2014/main" id="{8D637D6F-4B93-45CB-B7A8-D7849EB0CDC7}"/>
              </a:ext>
            </a:extLst>
          </p:cNvPr>
          <p:cNvSpPr>
            <a:spLocks/>
          </p:cNvSpPr>
          <p:nvPr userDrawn="1"/>
        </p:nvSpPr>
        <p:spPr bwMode="auto">
          <a:xfrm>
            <a:off x="3337875" y="268606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19" y="140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6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6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3" name="Freeform 2207">
            <a:extLst>
              <a:ext uri="{FF2B5EF4-FFF2-40B4-BE49-F238E27FC236}">
                <a16:creationId xmlns:a16="http://schemas.microsoft.com/office/drawing/2014/main" id="{D3FFFF70-E425-4AFB-AD2F-327FFE2E87C5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639873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49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4" name="Freeform 2208">
            <a:extLst>
              <a:ext uri="{FF2B5EF4-FFF2-40B4-BE49-F238E27FC236}">
                <a16:creationId xmlns:a16="http://schemas.microsoft.com/office/drawing/2014/main" id="{1765DB3E-B325-43B4-B827-82F82F75879F}"/>
              </a:ext>
            </a:extLst>
          </p:cNvPr>
          <p:cNvSpPr>
            <a:spLocks/>
          </p:cNvSpPr>
          <p:nvPr userDrawn="1"/>
        </p:nvSpPr>
        <p:spPr bwMode="auto">
          <a:xfrm>
            <a:off x="3384064" y="268606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6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6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5" name="Freeform 2209">
            <a:extLst>
              <a:ext uri="{FF2B5EF4-FFF2-40B4-BE49-F238E27FC236}">
                <a16:creationId xmlns:a16="http://schemas.microsoft.com/office/drawing/2014/main" id="{65088794-5867-4778-97B6-883821F3D7D4}"/>
              </a:ext>
            </a:extLst>
          </p:cNvPr>
          <p:cNvSpPr>
            <a:spLocks/>
          </p:cNvSpPr>
          <p:nvPr userDrawn="1"/>
        </p:nvSpPr>
        <p:spPr bwMode="auto">
          <a:xfrm>
            <a:off x="3568818" y="2729101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5 h 154"/>
              <a:gd name="T28" fmla="*/ 10 w 155"/>
              <a:gd name="T29" fmla="*/ 114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9"/>
                </a:lnTo>
                <a:lnTo>
                  <a:pt x="3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6" name="Freeform 2210">
            <a:extLst>
              <a:ext uri="{FF2B5EF4-FFF2-40B4-BE49-F238E27FC236}">
                <a16:creationId xmlns:a16="http://schemas.microsoft.com/office/drawing/2014/main" id="{A03DC9EF-79AE-48B7-BB6E-10AFD989D586}"/>
              </a:ext>
            </a:extLst>
          </p:cNvPr>
          <p:cNvSpPr>
            <a:spLocks/>
          </p:cNvSpPr>
          <p:nvPr userDrawn="1"/>
        </p:nvSpPr>
        <p:spPr bwMode="auto">
          <a:xfrm>
            <a:off x="3568818" y="277633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1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9" y="126"/>
                </a:lnTo>
                <a:lnTo>
                  <a:pt x="14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1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7" name="Freeform 2211">
            <a:extLst>
              <a:ext uri="{FF2B5EF4-FFF2-40B4-BE49-F238E27FC236}">
                <a16:creationId xmlns:a16="http://schemas.microsoft.com/office/drawing/2014/main" id="{19A4E26F-0D83-43DF-89F8-19D9109EA0E1}"/>
              </a:ext>
            </a:extLst>
          </p:cNvPr>
          <p:cNvSpPr>
            <a:spLocks/>
          </p:cNvSpPr>
          <p:nvPr userDrawn="1"/>
        </p:nvSpPr>
        <p:spPr bwMode="auto">
          <a:xfrm>
            <a:off x="3615006" y="272910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8" name="Freeform 2212">
            <a:extLst>
              <a:ext uri="{FF2B5EF4-FFF2-40B4-BE49-F238E27FC236}">
                <a16:creationId xmlns:a16="http://schemas.microsoft.com/office/drawing/2014/main" id="{02FD4BFE-721A-4F04-ABC3-FF0613CA878C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72910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9" name="Freeform 2213">
            <a:extLst>
              <a:ext uri="{FF2B5EF4-FFF2-40B4-BE49-F238E27FC236}">
                <a16:creationId xmlns:a16="http://schemas.microsoft.com/office/drawing/2014/main" id="{EBFC72BF-EFB0-4320-8D3D-F9740A4318C1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77633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0" name="Freeform 2214">
            <a:extLst>
              <a:ext uri="{FF2B5EF4-FFF2-40B4-BE49-F238E27FC236}">
                <a16:creationId xmlns:a16="http://schemas.microsoft.com/office/drawing/2014/main" id="{5EB6CC3D-33EB-4227-9B57-60AA745C218C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72910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1" name="Freeform 2216">
            <a:extLst>
              <a:ext uri="{FF2B5EF4-FFF2-40B4-BE49-F238E27FC236}">
                <a16:creationId xmlns:a16="http://schemas.microsoft.com/office/drawing/2014/main" id="{32C5B392-1BBC-4320-8660-51F17F4CEF20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776340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6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2" name="Freeform 2217">
            <a:extLst>
              <a:ext uri="{FF2B5EF4-FFF2-40B4-BE49-F238E27FC236}">
                <a16:creationId xmlns:a16="http://schemas.microsoft.com/office/drawing/2014/main" id="{57A41D8A-35E8-44F4-A358-DE7355E8F0A9}"/>
              </a:ext>
            </a:extLst>
          </p:cNvPr>
          <p:cNvSpPr>
            <a:spLocks/>
          </p:cNvSpPr>
          <p:nvPr userDrawn="1"/>
        </p:nvSpPr>
        <p:spPr bwMode="auto">
          <a:xfrm>
            <a:off x="3521579" y="272910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3" name="Freeform 2218">
            <a:extLst>
              <a:ext uri="{FF2B5EF4-FFF2-40B4-BE49-F238E27FC236}">
                <a16:creationId xmlns:a16="http://schemas.microsoft.com/office/drawing/2014/main" id="{27DDFE00-8C10-428D-AEAB-C0E66735527B}"/>
              </a:ext>
            </a:extLst>
          </p:cNvPr>
          <p:cNvSpPr>
            <a:spLocks/>
          </p:cNvSpPr>
          <p:nvPr userDrawn="1"/>
        </p:nvSpPr>
        <p:spPr bwMode="auto">
          <a:xfrm>
            <a:off x="3521579" y="277634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4" name="Freeform 2219">
            <a:extLst>
              <a:ext uri="{FF2B5EF4-FFF2-40B4-BE49-F238E27FC236}">
                <a16:creationId xmlns:a16="http://schemas.microsoft.com/office/drawing/2014/main" id="{3DBA5E5E-D7B5-4BE3-8B48-3E1726E9E54C}"/>
              </a:ext>
            </a:extLst>
          </p:cNvPr>
          <p:cNvSpPr>
            <a:spLocks/>
          </p:cNvSpPr>
          <p:nvPr userDrawn="1"/>
        </p:nvSpPr>
        <p:spPr bwMode="auto">
          <a:xfrm>
            <a:off x="3429203" y="282252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5" name="Freeform 2220">
            <a:extLst>
              <a:ext uri="{FF2B5EF4-FFF2-40B4-BE49-F238E27FC236}">
                <a16:creationId xmlns:a16="http://schemas.microsoft.com/office/drawing/2014/main" id="{68CD9F8A-3DD8-4011-B25B-53F775BD28D5}"/>
              </a:ext>
            </a:extLst>
          </p:cNvPr>
          <p:cNvSpPr>
            <a:spLocks/>
          </p:cNvSpPr>
          <p:nvPr userDrawn="1"/>
        </p:nvSpPr>
        <p:spPr bwMode="auto">
          <a:xfrm>
            <a:off x="3475392" y="282252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6" name="Freeform 2221">
            <a:extLst>
              <a:ext uri="{FF2B5EF4-FFF2-40B4-BE49-F238E27FC236}">
                <a16:creationId xmlns:a16="http://schemas.microsoft.com/office/drawing/2014/main" id="{3DB73E2F-0A1A-44F0-8E2B-668782AEC8FB}"/>
              </a:ext>
            </a:extLst>
          </p:cNvPr>
          <p:cNvSpPr>
            <a:spLocks/>
          </p:cNvSpPr>
          <p:nvPr userDrawn="1"/>
        </p:nvSpPr>
        <p:spPr bwMode="auto">
          <a:xfrm>
            <a:off x="3521579" y="282252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7" name="Freeform 2222">
            <a:extLst>
              <a:ext uri="{FF2B5EF4-FFF2-40B4-BE49-F238E27FC236}">
                <a16:creationId xmlns:a16="http://schemas.microsoft.com/office/drawing/2014/main" id="{27AA2D4B-B147-45AE-80C6-4BF070782EEE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729101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8" name="Freeform 2223">
            <a:extLst>
              <a:ext uri="{FF2B5EF4-FFF2-40B4-BE49-F238E27FC236}">
                <a16:creationId xmlns:a16="http://schemas.microsoft.com/office/drawing/2014/main" id="{E3F3CE6D-77C3-4527-9EDA-6BDB0936A1D9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776340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9" name="Freeform 2224">
            <a:extLst>
              <a:ext uri="{FF2B5EF4-FFF2-40B4-BE49-F238E27FC236}">
                <a16:creationId xmlns:a16="http://schemas.microsoft.com/office/drawing/2014/main" id="{C9ABF1C6-3569-4DE8-9F9C-06F7C07ABE62}"/>
              </a:ext>
            </a:extLst>
          </p:cNvPr>
          <p:cNvSpPr>
            <a:spLocks/>
          </p:cNvSpPr>
          <p:nvPr userDrawn="1"/>
        </p:nvSpPr>
        <p:spPr bwMode="auto">
          <a:xfrm>
            <a:off x="3384065" y="282252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0" name="Freeform 2225">
            <a:extLst>
              <a:ext uri="{FF2B5EF4-FFF2-40B4-BE49-F238E27FC236}">
                <a16:creationId xmlns:a16="http://schemas.microsoft.com/office/drawing/2014/main" id="{67F96062-29ED-4ADC-9AF0-24D4066EDD4B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1" name="Freeform 2226">
            <a:extLst>
              <a:ext uri="{FF2B5EF4-FFF2-40B4-BE49-F238E27FC236}">
                <a16:creationId xmlns:a16="http://schemas.microsoft.com/office/drawing/2014/main" id="{3D5FE8D7-BE99-4D63-91E3-0EEE10F5AB47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2" name="Freeform 2227">
            <a:extLst>
              <a:ext uri="{FF2B5EF4-FFF2-40B4-BE49-F238E27FC236}">
                <a16:creationId xmlns:a16="http://schemas.microsoft.com/office/drawing/2014/main" id="{71170713-7C2C-47BE-A5B0-56AF417F5B15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3" name="Freeform 2228">
            <a:extLst>
              <a:ext uri="{FF2B5EF4-FFF2-40B4-BE49-F238E27FC236}">
                <a16:creationId xmlns:a16="http://schemas.microsoft.com/office/drawing/2014/main" id="{64C90AEE-2081-41EB-B396-02E04B186FDE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4" name="Freeform 2229">
            <a:extLst>
              <a:ext uri="{FF2B5EF4-FFF2-40B4-BE49-F238E27FC236}">
                <a16:creationId xmlns:a16="http://schemas.microsoft.com/office/drawing/2014/main" id="{AA9D50C8-EF5A-4E55-9E4E-B693CD6C3261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5" name="Freeform 2230">
            <a:extLst>
              <a:ext uri="{FF2B5EF4-FFF2-40B4-BE49-F238E27FC236}">
                <a16:creationId xmlns:a16="http://schemas.microsoft.com/office/drawing/2014/main" id="{FDA5B0FB-584F-44EF-9179-4FB6ECB6FB46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26406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6" name="Freeform 2231">
            <a:extLst>
              <a:ext uri="{FF2B5EF4-FFF2-40B4-BE49-F238E27FC236}">
                <a16:creationId xmlns:a16="http://schemas.microsoft.com/office/drawing/2014/main" id="{B0AF92E5-9A0B-4E4E-ADB0-571981E7CF82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2168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7" name="Freeform 2232">
            <a:extLst>
              <a:ext uri="{FF2B5EF4-FFF2-40B4-BE49-F238E27FC236}">
                <a16:creationId xmlns:a16="http://schemas.microsoft.com/office/drawing/2014/main" id="{9441D6F5-2B5E-44F2-8EF2-F6E7647145D5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26406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8" name="Freeform 2233">
            <a:extLst>
              <a:ext uri="{FF2B5EF4-FFF2-40B4-BE49-F238E27FC236}">
                <a16:creationId xmlns:a16="http://schemas.microsoft.com/office/drawing/2014/main" id="{B30B7DE2-224B-4248-A0E1-C6D391BA54EC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2168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2 h 155"/>
              <a:gd name="T12" fmla="*/ 107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9" name="Freeform 2234">
            <a:extLst>
              <a:ext uri="{FF2B5EF4-FFF2-40B4-BE49-F238E27FC236}">
                <a16:creationId xmlns:a16="http://schemas.microsoft.com/office/drawing/2014/main" id="{0300BECA-0B3F-4985-9A9F-E3541DACE94F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26406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0" name="Freeform 2235">
            <a:extLst>
              <a:ext uri="{FF2B5EF4-FFF2-40B4-BE49-F238E27FC236}">
                <a16:creationId xmlns:a16="http://schemas.microsoft.com/office/drawing/2014/main" id="{BF58A25B-463C-4C86-A29F-D0B293F9FF0E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8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1" name="Freeform 2236">
            <a:extLst>
              <a:ext uri="{FF2B5EF4-FFF2-40B4-BE49-F238E27FC236}">
                <a16:creationId xmlns:a16="http://schemas.microsoft.com/office/drawing/2014/main" id="{5FF0CA7A-DF51-476C-90E6-8DCC00CEBA86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2" name="Freeform 2237">
            <a:extLst>
              <a:ext uri="{FF2B5EF4-FFF2-40B4-BE49-F238E27FC236}">
                <a16:creationId xmlns:a16="http://schemas.microsoft.com/office/drawing/2014/main" id="{16146053-9117-44E0-9C07-5B867C005AA8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8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3" name="Freeform 2238">
            <a:extLst>
              <a:ext uri="{FF2B5EF4-FFF2-40B4-BE49-F238E27FC236}">
                <a16:creationId xmlns:a16="http://schemas.microsoft.com/office/drawing/2014/main" id="{9C01CE77-424A-44E0-A4A7-FAF61F433997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4" name="Freeform 2239">
            <a:extLst>
              <a:ext uri="{FF2B5EF4-FFF2-40B4-BE49-F238E27FC236}">
                <a16:creationId xmlns:a16="http://schemas.microsoft.com/office/drawing/2014/main" id="{62D03C85-67F4-4EA2-988A-3C9B3259D384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3102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5" name="Freeform 2240">
            <a:extLst>
              <a:ext uri="{FF2B5EF4-FFF2-40B4-BE49-F238E27FC236}">
                <a16:creationId xmlns:a16="http://schemas.microsoft.com/office/drawing/2014/main" id="{AD42EDF1-0EB3-4E97-9582-FD44A3F2615D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3574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6" name="Freeform 2241">
            <a:extLst>
              <a:ext uri="{FF2B5EF4-FFF2-40B4-BE49-F238E27FC236}">
                <a16:creationId xmlns:a16="http://schemas.microsoft.com/office/drawing/2014/main" id="{95E9386A-6557-415A-A607-62FC5E2F048A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3102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8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7" name="Freeform 2242">
            <a:extLst>
              <a:ext uri="{FF2B5EF4-FFF2-40B4-BE49-F238E27FC236}">
                <a16:creationId xmlns:a16="http://schemas.microsoft.com/office/drawing/2014/main" id="{9398433E-6CA2-45A5-9EB3-AE3727D1AA52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3574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8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8" name="Freeform 2243">
            <a:extLst>
              <a:ext uri="{FF2B5EF4-FFF2-40B4-BE49-F238E27FC236}">
                <a16:creationId xmlns:a16="http://schemas.microsoft.com/office/drawing/2014/main" id="{0C24ABDF-AF59-4D2A-BF79-D4EF4936D3F4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3102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8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9" name="Freeform 2244">
            <a:extLst>
              <a:ext uri="{FF2B5EF4-FFF2-40B4-BE49-F238E27FC236}">
                <a16:creationId xmlns:a16="http://schemas.microsoft.com/office/drawing/2014/main" id="{ECD7F5DA-705C-4ECD-91E3-38206C881F5B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3574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0" name="Freeform 2245">
            <a:extLst>
              <a:ext uri="{FF2B5EF4-FFF2-40B4-BE49-F238E27FC236}">
                <a16:creationId xmlns:a16="http://schemas.microsoft.com/office/drawing/2014/main" id="{FC4135A9-BB53-4958-B9F3-B2815A495C48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1" name="Freeform 2246">
            <a:extLst>
              <a:ext uri="{FF2B5EF4-FFF2-40B4-BE49-F238E27FC236}">
                <a16:creationId xmlns:a16="http://schemas.microsoft.com/office/drawing/2014/main" id="{AB6342EC-A820-4767-A464-C7B199D79377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2" name="Freeform 2247">
            <a:extLst>
              <a:ext uri="{FF2B5EF4-FFF2-40B4-BE49-F238E27FC236}">
                <a16:creationId xmlns:a16="http://schemas.microsoft.com/office/drawing/2014/main" id="{13FE5A34-8C51-48C2-9027-4DBEDD048C40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3" name="Freeform 2248">
            <a:extLst>
              <a:ext uri="{FF2B5EF4-FFF2-40B4-BE49-F238E27FC236}">
                <a16:creationId xmlns:a16="http://schemas.microsoft.com/office/drawing/2014/main" id="{A75E3469-5D85-45EE-B7A8-9A97A523820F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5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4" name="Freeform 2249">
            <a:extLst>
              <a:ext uri="{FF2B5EF4-FFF2-40B4-BE49-F238E27FC236}">
                <a16:creationId xmlns:a16="http://schemas.microsoft.com/office/drawing/2014/main" id="{E0D3BBC0-29D1-4DD8-A11A-1C8FA545A8CA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4015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5" name="Freeform 2250">
            <a:extLst>
              <a:ext uri="{FF2B5EF4-FFF2-40B4-BE49-F238E27FC236}">
                <a16:creationId xmlns:a16="http://schemas.microsoft.com/office/drawing/2014/main" id="{4B5E3236-6561-4DD1-AD71-9ECBA1BC690E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44882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5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6" name="Freeform 2251">
            <a:extLst>
              <a:ext uri="{FF2B5EF4-FFF2-40B4-BE49-F238E27FC236}">
                <a16:creationId xmlns:a16="http://schemas.microsoft.com/office/drawing/2014/main" id="{382AC65B-D4DE-4067-8922-69285F936BA2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40158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7" name="Freeform 2252">
            <a:extLst>
              <a:ext uri="{FF2B5EF4-FFF2-40B4-BE49-F238E27FC236}">
                <a16:creationId xmlns:a16="http://schemas.microsoft.com/office/drawing/2014/main" id="{C3E7F86C-3661-41F0-BB5F-0F891DCFD9D0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44882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8" name="Freeform 2253">
            <a:extLst>
              <a:ext uri="{FF2B5EF4-FFF2-40B4-BE49-F238E27FC236}">
                <a16:creationId xmlns:a16="http://schemas.microsoft.com/office/drawing/2014/main" id="{0250907F-B6FD-43F1-8147-1BA0AEB3F5FD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40158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9" name="Freeform 2254">
            <a:extLst>
              <a:ext uri="{FF2B5EF4-FFF2-40B4-BE49-F238E27FC236}">
                <a16:creationId xmlns:a16="http://schemas.microsoft.com/office/drawing/2014/main" id="{378E0BCF-2E9E-47F5-8947-D308FD8D08DA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44882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9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0" name="Freeform 2255">
            <a:extLst>
              <a:ext uri="{FF2B5EF4-FFF2-40B4-BE49-F238E27FC236}">
                <a16:creationId xmlns:a16="http://schemas.microsoft.com/office/drawing/2014/main" id="{693A2EEB-A448-488E-AE88-84A8D1DBEDF6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1" name="Freeform 2256">
            <a:extLst>
              <a:ext uri="{FF2B5EF4-FFF2-40B4-BE49-F238E27FC236}">
                <a16:creationId xmlns:a16="http://schemas.microsoft.com/office/drawing/2014/main" id="{2F54A70D-D7FE-4F8A-8502-64DEF291ABE4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5422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8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2" name="Freeform 2257">
            <a:extLst>
              <a:ext uri="{FF2B5EF4-FFF2-40B4-BE49-F238E27FC236}">
                <a16:creationId xmlns:a16="http://schemas.microsoft.com/office/drawing/2014/main" id="{45F6823C-1D01-48C7-8BA7-C26153898D09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3" name="Freeform 2258">
            <a:extLst>
              <a:ext uri="{FF2B5EF4-FFF2-40B4-BE49-F238E27FC236}">
                <a16:creationId xmlns:a16="http://schemas.microsoft.com/office/drawing/2014/main" id="{2A315F1A-1A94-486A-A494-1E4B29D419C8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5422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4" name="Freeform 2259">
            <a:extLst>
              <a:ext uri="{FF2B5EF4-FFF2-40B4-BE49-F238E27FC236}">
                <a16:creationId xmlns:a16="http://schemas.microsoft.com/office/drawing/2014/main" id="{3254439F-A9A8-448E-A74A-1C19F7F56B1C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49501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5" name="Freeform 2260">
            <a:extLst>
              <a:ext uri="{FF2B5EF4-FFF2-40B4-BE49-F238E27FC236}">
                <a16:creationId xmlns:a16="http://schemas.microsoft.com/office/drawing/2014/main" id="{4F649853-6D10-40A3-A34F-053CC9D65965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5422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6" name="Freeform 2261">
            <a:extLst>
              <a:ext uri="{FF2B5EF4-FFF2-40B4-BE49-F238E27FC236}">
                <a16:creationId xmlns:a16="http://schemas.microsoft.com/office/drawing/2014/main" id="{CB95CCD8-3E7A-40BF-B45F-4CB3CDC52160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49501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7" name="Freeform 2262">
            <a:extLst>
              <a:ext uri="{FF2B5EF4-FFF2-40B4-BE49-F238E27FC236}">
                <a16:creationId xmlns:a16="http://schemas.microsoft.com/office/drawing/2014/main" id="{39B6A3EB-5486-4ACB-90FD-18C83FF636D5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5422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8" name="Freeform 2263">
            <a:extLst>
              <a:ext uri="{FF2B5EF4-FFF2-40B4-BE49-F238E27FC236}">
                <a16:creationId xmlns:a16="http://schemas.microsoft.com/office/drawing/2014/main" id="{B045F937-F45F-4612-BB7D-FCA99484504A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49501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7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9" name="Freeform 2264">
            <a:extLst>
              <a:ext uri="{FF2B5EF4-FFF2-40B4-BE49-F238E27FC236}">
                <a16:creationId xmlns:a16="http://schemas.microsoft.com/office/drawing/2014/main" id="{DF435D17-9A95-4A78-A3F5-A7996447E0B7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5422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0" name="Freeform 2265">
            <a:extLst>
              <a:ext uri="{FF2B5EF4-FFF2-40B4-BE49-F238E27FC236}">
                <a16:creationId xmlns:a16="http://schemas.microsoft.com/office/drawing/2014/main" id="{0C0DD0EE-3F53-40AD-BF92-181B94D26C5B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1" name="Freeform 2266">
            <a:extLst>
              <a:ext uri="{FF2B5EF4-FFF2-40B4-BE49-F238E27FC236}">
                <a16:creationId xmlns:a16="http://schemas.microsoft.com/office/drawing/2014/main" id="{A7A97EDD-53CD-4522-864B-CA4B538CB9AD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2" name="Freeform 2267">
            <a:extLst>
              <a:ext uri="{FF2B5EF4-FFF2-40B4-BE49-F238E27FC236}">
                <a16:creationId xmlns:a16="http://schemas.microsoft.com/office/drawing/2014/main" id="{3C1565A3-7895-4DCC-BFCD-5E081B6DD2F1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3" name="Freeform 2268">
            <a:extLst>
              <a:ext uri="{FF2B5EF4-FFF2-40B4-BE49-F238E27FC236}">
                <a16:creationId xmlns:a16="http://schemas.microsoft.com/office/drawing/2014/main" id="{8124D046-EF92-4941-9522-3D7C9D868A86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4" name="Freeform 2269">
            <a:extLst>
              <a:ext uri="{FF2B5EF4-FFF2-40B4-BE49-F238E27FC236}">
                <a16:creationId xmlns:a16="http://schemas.microsoft.com/office/drawing/2014/main" id="{08B8F263-A7BD-4046-8E7F-7DAFDDB1B006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2168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5" name="Freeform 2270">
            <a:extLst>
              <a:ext uri="{FF2B5EF4-FFF2-40B4-BE49-F238E27FC236}">
                <a16:creationId xmlns:a16="http://schemas.microsoft.com/office/drawing/2014/main" id="{152974F7-00E0-4583-868A-7D4694942679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26406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6" name="Freeform 2271">
            <a:extLst>
              <a:ext uri="{FF2B5EF4-FFF2-40B4-BE49-F238E27FC236}">
                <a16:creationId xmlns:a16="http://schemas.microsoft.com/office/drawing/2014/main" id="{F9109CA0-0DA1-4125-BE43-CFDB5E08D7DF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7" name="Freeform 2272">
            <a:extLst>
              <a:ext uri="{FF2B5EF4-FFF2-40B4-BE49-F238E27FC236}">
                <a16:creationId xmlns:a16="http://schemas.microsoft.com/office/drawing/2014/main" id="{6B60CF0E-52E3-4D7E-90EB-EA6FCE5EFF5F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8" name="Freeform 2273">
            <a:extLst>
              <a:ext uri="{FF2B5EF4-FFF2-40B4-BE49-F238E27FC236}">
                <a16:creationId xmlns:a16="http://schemas.microsoft.com/office/drawing/2014/main" id="{F24100E0-5EE4-48B3-AF6A-45A6E6E0CF8E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9" name="Freeform 2274">
            <a:extLst>
              <a:ext uri="{FF2B5EF4-FFF2-40B4-BE49-F238E27FC236}">
                <a16:creationId xmlns:a16="http://schemas.microsoft.com/office/drawing/2014/main" id="{E601CFF7-D71B-42C1-A0EF-5232F3035195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26406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0" name="Freeform 2275">
            <a:extLst>
              <a:ext uri="{FF2B5EF4-FFF2-40B4-BE49-F238E27FC236}">
                <a16:creationId xmlns:a16="http://schemas.microsoft.com/office/drawing/2014/main" id="{60B7A382-6489-4436-B409-CE33F8E123A5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8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1" name="Freeform 2276">
            <a:extLst>
              <a:ext uri="{FF2B5EF4-FFF2-40B4-BE49-F238E27FC236}">
                <a16:creationId xmlns:a16="http://schemas.microsoft.com/office/drawing/2014/main" id="{14CB7F97-7B02-4C8B-B77E-801D502441A3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2" name="Freeform 2277">
            <a:extLst>
              <a:ext uri="{FF2B5EF4-FFF2-40B4-BE49-F238E27FC236}">
                <a16:creationId xmlns:a16="http://schemas.microsoft.com/office/drawing/2014/main" id="{F328255C-CD13-4978-8878-56417EFF20D7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3" name="Freeform 2278">
            <a:extLst>
              <a:ext uri="{FF2B5EF4-FFF2-40B4-BE49-F238E27FC236}">
                <a16:creationId xmlns:a16="http://schemas.microsoft.com/office/drawing/2014/main" id="{F03F5B28-33CC-43DD-80DF-EF6F92DD8E49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4" name="Freeform 2279">
            <a:extLst>
              <a:ext uri="{FF2B5EF4-FFF2-40B4-BE49-F238E27FC236}">
                <a16:creationId xmlns:a16="http://schemas.microsoft.com/office/drawing/2014/main" id="{5A246298-4E10-4511-B424-F6B7FEA023E2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3102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8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5" name="Freeform 2280">
            <a:extLst>
              <a:ext uri="{FF2B5EF4-FFF2-40B4-BE49-F238E27FC236}">
                <a16:creationId xmlns:a16="http://schemas.microsoft.com/office/drawing/2014/main" id="{00BEFFBA-4CD8-4D50-BA1D-E38FD03CFBB2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3574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6" name="Freeform 2281">
            <a:extLst>
              <a:ext uri="{FF2B5EF4-FFF2-40B4-BE49-F238E27FC236}">
                <a16:creationId xmlns:a16="http://schemas.microsoft.com/office/drawing/2014/main" id="{AE03A4BC-8D90-4355-A164-ADE65FDAE364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8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7" name="Freeform 2282">
            <a:extLst>
              <a:ext uri="{FF2B5EF4-FFF2-40B4-BE49-F238E27FC236}">
                <a16:creationId xmlns:a16="http://schemas.microsoft.com/office/drawing/2014/main" id="{89D707A7-3E4B-45D8-A78F-11AD1FEAD242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3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8" name="Freeform 2283">
            <a:extLst>
              <a:ext uri="{FF2B5EF4-FFF2-40B4-BE49-F238E27FC236}">
                <a16:creationId xmlns:a16="http://schemas.microsoft.com/office/drawing/2014/main" id="{7CFDCE1D-EF65-4F21-9E9C-456D9604B831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3102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9" name="Freeform 2284">
            <a:extLst>
              <a:ext uri="{FF2B5EF4-FFF2-40B4-BE49-F238E27FC236}">
                <a16:creationId xmlns:a16="http://schemas.microsoft.com/office/drawing/2014/main" id="{F2B5B1EC-DC56-4386-854B-BA3A24CAA525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3574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0" name="Freeform 2285">
            <a:extLst>
              <a:ext uri="{FF2B5EF4-FFF2-40B4-BE49-F238E27FC236}">
                <a16:creationId xmlns:a16="http://schemas.microsoft.com/office/drawing/2014/main" id="{ED86753E-AD57-4B95-906E-48C5587E627B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1" name="Freeform 2286">
            <a:extLst>
              <a:ext uri="{FF2B5EF4-FFF2-40B4-BE49-F238E27FC236}">
                <a16:creationId xmlns:a16="http://schemas.microsoft.com/office/drawing/2014/main" id="{036B8C7D-2901-45B5-9839-77568C8DB3C5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2" name="Freeform 2287">
            <a:extLst>
              <a:ext uri="{FF2B5EF4-FFF2-40B4-BE49-F238E27FC236}">
                <a16:creationId xmlns:a16="http://schemas.microsoft.com/office/drawing/2014/main" id="{A3F40598-373E-4E33-9BDD-1FB384A0F60F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3" name="Freeform 2288">
            <a:extLst>
              <a:ext uri="{FF2B5EF4-FFF2-40B4-BE49-F238E27FC236}">
                <a16:creationId xmlns:a16="http://schemas.microsoft.com/office/drawing/2014/main" id="{607FEC21-2CF7-457D-9152-5FFD3B0D13F2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9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4" name="Freeform 2289">
            <a:extLst>
              <a:ext uri="{FF2B5EF4-FFF2-40B4-BE49-F238E27FC236}">
                <a16:creationId xmlns:a16="http://schemas.microsoft.com/office/drawing/2014/main" id="{A6405EDB-B573-48A7-B8FE-57D29785C6BC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40158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5" name="Freeform 2290">
            <a:extLst>
              <a:ext uri="{FF2B5EF4-FFF2-40B4-BE49-F238E27FC236}">
                <a16:creationId xmlns:a16="http://schemas.microsoft.com/office/drawing/2014/main" id="{7CE119FA-4324-4072-92ED-659955FA5AF0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44882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5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6" name="Freeform 2291">
            <a:extLst>
              <a:ext uri="{FF2B5EF4-FFF2-40B4-BE49-F238E27FC236}">
                <a16:creationId xmlns:a16="http://schemas.microsoft.com/office/drawing/2014/main" id="{B769BFA7-BCA2-492B-852B-39B1496302EC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7" name="Freeform 2292">
            <a:extLst>
              <a:ext uri="{FF2B5EF4-FFF2-40B4-BE49-F238E27FC236}">
                <a16:creationId xmlns:a16="http://schemas.microsoft.com/office/drawing/2014/main" id="{DD13BB78-BB92-45DF-9878-B4CD1DADA28F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8" name="Freeform 2293">
            <a:extLst>
              <a:ext uri="{FF2B5EF4-FFF2-40B4-BE49-F238E27FC236}">
                <a16:creationId xmlns:a16="http://schemas.microsoft.com/office/drawing/2014/main" id="{D22B93C6-B4B3-4087-A86A-7DB8E5304774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4015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9" name="Freeform 2294">
            <a:extLst>
              <a:ext uri="{FF2B5EF4-FFF2-40B4-BE49-F238E27FC236}">
                <a16:creationId xmlns:a16="http://schemas.microsoft.com/office/drawing/2014/main" id="{37CE43F9-6824-424F-903B-56C806F91DDD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44882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0" name="Freeform 2295">
            <a:extLst>
              <a:ext uri="{FF2B5EF4-FFF2-40B4-BE49-F238E27FC236}">
                <a16:creationId xmlns:a16="http://schemas.microsoft.com/office/drawing/2014/main" id="{9E76C2A1-E13F-4E91-9F88-7E221B461E91}"/>
              </a:ext>
            </a:extLst>
          </p:cNvPr>
          <p:cNvSpPr>
            <a:spLocks/>
          </p:cNvSpPr>
          <p:nvPr userDrawn="1"/>
        </p:nvSpPr>
        <p:spPr bwMode="auto">
          <a:xfrm>
            <a:off x="1396911" y="22168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2 h 155"/>
              <a:gd name="T12" fmla="*/ 107 w 153"/>
              <a:gd name="T13" fmla="*/ 149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1" name="Freeform 2296">
            <a:extLst>
              <a:ext uri="{FF2B5EF4-FFF2-40B4-BE49-F238E27FC236}">
                <a16:creationId xmlns:a16="http://schemas.microsoft.com/office/drawing/2014/main" id="{26867D65-419B-4D30-A728-6E876D217D46}"/>
              </a:ext>
            </a:extLst>
          </p:cNvPr>
          <p:cNvSpPr>
            <a:spLocks/>
          </p:cNvSpPr>
          <p:nvPr userDrawn="1"/>
        </p:nvSpPr>
        <p:spPr bwMode="auto">
          <a:xfrm>
            <a:off x="1396911" y="226406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2 h 154"/>
              <a:gd name="T10" fmla="*/ 119 w 153"/>
              <a:gd name="T11" fmla="*/ 141 h 154"/>
              <a:gd name="T12" fmla="*/ 107 w 153"/>
              <a:gd name="T13" fmla="*/ 148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2" name="Freeform 2297">
            <a:extLst>
              <a:ext uri="{FF2B5EF4-FFF2-40B4-BE49-F238E27FC236}">
                <a16:creationId xmlns:a16="http://schemas.microsoft.com/office/drawing/2014/main" id="{0F55FF06-3035-41C3-9FED-E967FF2640F9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2168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3" name="Freeform 2298">
            <a:extLst>
              <a:ext uri="{FF2B5EF4-FFF2-40B4-BE49-F238E27FC236}">
                <a16:creationId xmlns:a16="http://schemas.microsoft.com/office/drawing/2014/main" id="{F40828BF-DFAB-4144-864C-8CE0794AE074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26406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4" name="Freeform 2299">
            <a:extLst>
              <a:ext uri="{FF2B5EF4-FFF2-40B4-BE49-F238E27FC236}">
                <a16:creationId xmlns:a16="http://schemas.microsoft.com/office/drawing/2014/main" id="{194654CD-8932-4C2F-A88B-FA22FAA66060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5" name="Freeform 2300">
            <a:extLst>
              <a:ext uri="{FF2B5EF4-FFF2-40B4-BE49-F238E27FC236}">
                <a16:creationId xmlns:a16="http://schemas.microsoft.com/office/drawing/2014/main" id="{162C3F26-5BD5-4928-AFA6-292CC7188AD3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26406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6" name="Freeform 2301">
            <a:extLst>
              <a:ext uri="{FF2B5EF4-FFF2-40B4-BE49-F238E27FC236}">
                <a16:creationId xmlns:a16="http://schemas.microsoft.com/office/drawing/2014/main" id="{912D485D-4E23-49B9-BBE6-59A2C8A0099E}"/>
              </a:ext>
            </a:extLst>
          </p:cNvPr>
          <p:cNvSpPr>
            <a:spLocks/>
          </p:cNvSpPr>
          <p:nvPr userDrawn="1"/>
        </p:nvSpPr>
        <p:spPr bwMode="auto">
          <a:xfrm>
            <a:off x="1396911" y="23102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9 h 155"/>
              <a:gd name="T14" fmla="*/ 92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19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8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7" name="Freeform 2302">
            <a:extLst>
              <a:ext uri="{FF2B5EF4-FFF2-40B4-BE49-F238E27FC236}">
                <a16:creationId xmlns:a16="http://schemas.microsoft.com/office/drawing/2014/main" id="{08A575C3-7775-4B42-99E2-9CEC63767509}"/>
              </a:ext>
            </a:extLst>
          </p:cNvPr>
          <p:cNvSpPr>
            <a:spLocks/>
          </p:cNvSpPr>
          <p:nvPr userDrawn="1"/>
        </p:nvSpPr>
        <p:spPr bwMode="auto">
          <a:xfrm>
            <a:off x="1396911" y="23574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19 w 153"/>
              <a:gd name="T11" fmla="*/ 141 h 154"/>
              <a:gd name="T12" fmla="*/ 107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8" name="Freeform 2303">
            <a:extLst>
              <a:ext uri="{FF2B5EF4-FFF2-40B4-BE49-F238E27FC236}">
                <a16:creationId xmlns:a16="http://schemas.microsoft.com/office/drawing/2014/main" id="{C25E0D96-307A-4FD4-9ACB-EF87ED01B5AC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31025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8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9" name="Freeform 2304">
            <a:extLst>
              <a:ext uri="{FF2B5EF4-FFF2-40B4-BE49-F238E27FC236}">
                <a16:creationId xmlns:a16="http://schemas.microsoft.com/office/drawing/2014/main" id="{BDB30E04-0367-46E1-BB39-15C8A2025E33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3574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0" name="Freeform 2305">
            <a:extLst>
              <a:ext uri="{FF2B5EF4-FFF2-40B4-BE49-F238E27FC236}">
                <a16:creationId xmlns:a16="http://schemas.microsoft.com/office/drawing/2014/main" id="{E110606F-A926-474F-82BB-E9C4B4F473EB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3102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2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9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7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1" name="Freeform 2306">
            <a:extLst>
              <a:ext uri="{FF2B5EF4-FFF2-40B4-BE49-F238E27FC236}">
                <a16:creationId xmlns:a16="http://schemas.microsoft.com/office/drawing/2014/main" id="{A681A066-5318-4245-A1BE-19E6B78D7662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3574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2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2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2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2" name="Freeform 2307">
            <a:extLst>
              <a:ext uri="{FF2B5EF4-FFF2-40B4-BE49-F238E27FC236}">
                <a16:creationId xmlns:a16="http://schemas.microsoft.com/office/drawing/2014/main" id="{F94B78C0-069E-447E-B18B-0D383A8CB543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40158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3" name="Freeform 2308">
            <a:extLst>
              <a:ext uri="{FF2B5EF4-FFF2-40B4-BE49-F238E27FC236}">
                <a16:creationId xmlns:a16="http://schemas.microsoft.com/office/drawing/2014/main" id="{89D4CFBF-6F7E-4D6E-AF2A-3572B9CE83E6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4015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4" name="Freeform 2309">
            <a:extLst>
              <a:ext uri="{FF2B5EF4-FFF2-40B4-BE49-F238E27FC236}">
                <a16:creationId xmlns:a16="http://schemas.microsoft.com/office/drawing/2014/main" id="{60AB95A2-BC5C-47AD-B286-75C379FEC0E6}"/>
              </a:ext>
            </a:extLst>
          </p:cNvPr>
          <p:cNvSpPr>
            <a:spLocks/>
          </p:cNvSpPr>
          <p:nvPr userDrawn="1"/>
        </p:nvSpPr>
        <p:spPr bwMode="auto">
          <a:xfrm>
            <a:off x="1350723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5" name="Freeform 2310">
            <a:extLst>
              <a:ext uri="{FF2B5EF4-FFF2-40B4-BE49-F238E27FC236}">
                <a16:creationId xmlns:a16="http://schemas.microsoft.com/office/drawing/2014/main" id="{B16082B8-D9EB-40D9-ADD4-D4E09DAF5121}"/>
              </a:ext>
            </a:extLst>
          </p:cNvPr>
          <p:cNvSpPr>
            <a:spLocks/>
          </p:cNvSpPr>
          <p:nvPr userDrawn="1"/>
        </p:nvSpPr>
        <p:spPr bwMode="auto">
          <a:xfrm>
            <a:off x="1350723" y="226406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6" name="Freeform 2311">
            <a:extLst>
              <a:ext uri="{FF2B5EF4-FFF2-40B4-BE49-F238E27FC236}">
                <a16:creationId xmlns:a16="http://schemas.microsoft.com/office/drawing/2014/main" id="{2F778295-DAA4-49AC-8FA6-EEC605207D2D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7" name="Freeform 2312">
            <a:extLst>
              <a:ext uri="{FF2B5EF4-FFF2-40B4-BE49-F238E27FC236}">
                <a16:creationId xmlns:a16="http://schemas.microsoft.com/office/drawing/2014/main" id="{CA9626D3-7ED3-41D9-9A19-1857E1C22FF0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8" name="Freeform 2313">
            <a:extLst>
              <a:ext uri="{FF2B5EF4-FFF2-40B4-BE49-F238E27FC236}">
                <a16:creationId xmlns:a16="http://schemas.microsoft.com/office/drawing/2014/main" id="{3E879A5A-DA48-4240-AD62-9DBE1961D38D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49501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9" name="Freeform 2314">
            <a:extLst>
              <a:ext uri="{FF2B5EF4-FFF2-40B4-BE49-F238E27FC236}">
                <a16:creationId xmlns:a16="http://schemas.microsoft.com/office/drawing/2014/main" id="{016F7EAA-5638-4E76-9AE0-FA45EC1182D3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5422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0" name="Freeform 2315">
            <a:extLst>
              <a:ext uri="{FF2B5EF4-FFF2-40B4-BE49-F238E27FC236}">
                <a16:creationId xmlns:a16="http://schemas.microsoft.com/office/drawing/2014/main" id="{0E06F590-37E9-4F14-A4F7-6CCED749F847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1" name="Freeform 2316">
            <a:extLst>
              <a:ext uri="{FF2B5EF4-FFF2-40B4-BE49-F238E27FC236}">
                <a16:creationId xmlns:a16="http://schemas.microsoft.com/office/drawing/2014/main" id="{C92802A8-CAF9-4BB7-9D29-DC3055988F75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5422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2" name="Freeform 2317">
            <a:extLst>
              <a:ext uri="{FF2B5EF4-FFF2-40B4-BE49-F238E27FC236}">
                <a16:creationId xmlns:a16="http://schemas.microsoft.com/office/drawing/2014/main" id="{C08D842B-BF27-45F7-8921-3C66C5BD346A}"/>
              </a:ext>
            </a:extLst>
          </p:cNvPr>
          <p:cNvSpPr>
            <a:spLocks/>
          </p:cNvSpPr>
          <p:nvPr userDrawn="1"/>
        </p:nvSpPr>
        <p:spPr bwMode="auto">
          <a:xfrm>
            <a:off x="1536527" y="25422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7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3" name="Freeform 2318">
            <a:extLst>
              <a:ext uri="{FF2B5EF4-FFF2-40B4-BE49-F238E27FC236}">
                <a16:creationId xmlns:a16="http://schemas.microsoft.com/office/drawing/2014/main" id="{9762B91B-9632-4D99-B8E2-F035C24250FF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54224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4" name="Freeform 2319">
            <a:extLst>
              <a:ext uri="{FF2B5EF4-FFF2-40B4-BE49-F238E27FC236}">
                <a16:creationId xmlns:a16="http://schemas.microsoft.com/office/drawing/2014/main" id="{5FDA7CB5-ECBA-4FF4-8C58-88E94FE9ABBC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49501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5" name="Freeform 2320">
            <a:extLst>
              <a:ext uri="{FF2B5EF4-FFF2-40B4-BE49-F238E27FC236}">
                <a16:creationId xmlns:a16="http://schemas.microsoft.com/office/drawing/2014/main" id="{3BF6C9FC-8AF5-4988-A318-5AC6288C4D02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5422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6" name="Freeform 2321">
            <a:extLst>
              <a:ext uri="{FF2B5EF4-FFF2-40B4-BE49-F238E27FC236}">
                <a16:creationId xmlns:a16="http://schemas.microsoft.com/office/drawing/2014/main" id="{738DBAC0-01C8-4282-80C9-226AB274F376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5884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7" name="Freeform 2322">
            <a:extLst>
              <a:ext uri="{FF2B5EF4-FFF2-40B4-BE49-F238E27FC236}">
                <a16:creationId xmlns:a16="http://schemas.microsoft.com/office/drawing/2014/main" id="{61ADE499-A203-4473-AB96-A749F4939252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634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0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0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8" name="Freeform 2323">
            <a:extLst>
              <a:ext uri="{FF2B5EF4-FFF2-40B4-BE49-F238E27FC236}">
                <a16:creationId xmlns:a16="http://schemas.microsoft.com/office/drawing/2014/main" id="{C5271139-6D2E-40C9-8E8B-0662EBB687F9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5884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1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9" name="Freeform 2324">
            <a:extLst>
              <a:ext uri="{FF2B5EF4-FFF2-40B4-BE49-F238E27FC236}">
                <a16:creationId xmlns:a16="http://schemas.microsoft.com/office/drawing/2014/main" id="{8E94E111-AF1D-4CF7-AC8D-0276C8640A79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634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0" name="Freeform 2325">
            <a:extLst>
              <a:ext uri="{FF2B5EF4-FFF2-40B4-BE49-F238E27FC236}">
                <a16:creationId xmlns:a16="http://schemas.microsoft.com/office/drawing/2014/main" id="{7C622BF6-78BA-4F23-A341-05191C9DF5A8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58843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4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4"/>
                </a:lnTo>
                <a:lnTo>
                  <a:pt x="154" y="92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3" y="92"/>
                </a:lnTo>
                <a:lnTo>
                  <a:pt x="2" y="84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1" name="Freeform 2326">
            <a:extLst>
              <a:ext uri="{FF2B5EF4-FFF2-40B4-BE49-F238E27FC236}">
                <a16:creationId xmlns:a16="http://schemas.microsoft.com/office/drawing/2014/main" id="{374B35A5-2844-4E65-BD9F-04E4B0521A18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634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0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2" name="Freeform 2327">
            <a:extLst>
              <a:ext uri="{FF2B5EF4-FFF2-40B4-BE49-F238E27FC236}">
                <a16:creationId xmlns:a16="http://schemas.microsoft.com/office/drawing/2014/main" id="{1299E708-5EBF-4AAE-91D2-402D508B8265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5884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3" name="Freeform 2328">
            <a:extLst>
              <a:ext uri="{FF2B5EF4-FFF2-40B4-BE49-F238E27FC236}">
                <a16:creationId xmlns:a16="http://schemas.microsoft.com/office/drawing/2014/main" id="{B63CE525-90A3-437D-8253-C87ACD36CF74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634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0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4" name="Freeform 2329">
            <a:extLst>
              <a:ext uri="{FF2B5EF4-FFF2-40B4-BE49-F238E27FC236}">
                <a16:creationId xmlns:a16="http://schemas.microsoft.com/office/drawing/2014/main" id="{BAFB60E7-202C-4220-9BFB-8A64BE46A6D9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5884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1 h 154"/>
              <a:gd name="T12" fmla="*/ 107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5" name="Freeform 2330">
            <a:extLst>
              <a:ext uri="{FF2B5EF4-FFF2-40B4-BE49-F238E27FC236}">
                <a16:creationId xmlns:a16="http://schemas.microsoft.com/office/drawing/2014/main" id="{2EA6B418-139F-4012-80D2-F53D31F16BCF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634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0 h 153"/>
              <a:gd name="T10" fmla="*/ 120 w 153"/>
              <a:gd name="T11" fmla="*/ 141 h 153"/>
              <a:gd name="T12" fmla="*/ 107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6" name="Freeform 2331">
            <a:extLst>
              <a:ext uri="{FF2B5EF4-FFF2-40B4-BE49-F238E27FC236}">
                <a16:creationId xmlns:a16="http://schemas.microsoft.com/office/drawing/2014/main" id="{730851ED-6B13-4D49-A1F5-ECBC96DB7086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68186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7" name="Freeform 2332">
            <a:extLst>
              <a:ext uri="{FF2B5EF4-FFF2-40B4-BE49-F238E27FC236}">
                <a16:creationId xmlns:a16="http://schemas.microsoft.com/office/drawing/2014/main" id="{CBDB8CC1-C005-4DC7-846D-D25E41EF7738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72805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2 h 154"/>
              <a:gd name="T12" fmla="*/ 108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2" y="131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8" name="Freeform 2333">
            <a:extLst>
              <a:ext uri="{FF2B5EF4-FFF2-40B4-BE49-F238E27FC236}">
                <a16:creationId xmlns:a16="http://schemas.microsoft.com/office/drawing/2014/main" id="{2C04206B-E468-4475-8185-385F271DCB21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68186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9" name="Freeform 2334">
            <a:extLst>
              <a:ext uri="{FF2B5EF4-FFF2-40B4-BE49-F238E27FC236}">
                <a16:creationId xmlns:a16="http://schemas.microsoft.com/office/drawing/2014/main" id="{014F2A73-23BC-45A5-B5C4-2B548F4A2F37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72805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1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0" name="Freeform 2335">
            <a:extLst>
              <a:ext uri="{FF2B5EF4-FFF2-40B4-BE49-F238E27FC236}">
                <a16:creationId xmlns:a16="http://schemas.microsoft.com/office/drawing/2014/main" id="{88945C57-5C1F-457E-8068-A81EC3C2740A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68186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1" name="Freeform 2336">
            <a:extLst>
              <a:ext uri="{FF2B5EF4-FFF2-40B4-BE49-F238E27FC236}">
                <a16:creationId xmlns:a16="http://schemas.microsoft.com/office/drawing/2014/main" id="{790A1549-835F-4BE5-920A-EF008EB45EBB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72805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2" name="Freeform 2337">
            <a:extLst>
              <a:ext uri="{FF2B5EF4-FFF2-40B4-BE49-F238E27FC236}">
                <a16:creationId xmlns:a16="http://schemas.microsoft.com/office/drawing/2014/main" id="{87DDA010-B356-4DD3-9985-3CE9E6942E24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68186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3" name="Freeform 2338">
            <a:extLst>
              <a:ext uri="{FF2B5EF4-FFF2-40B4-BE49-F238E27FC236}">
                <a16:creationId xmlns:a16="http://schemas.microsoft.com/office/drawing/2014/main" id="{B30BE5F3-E510-4F49-A7B9-77A4F3E5CE65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72805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4" name="Freeform 2339">
            <a:extLst>
              <a:ext uri="{FF2B5EF4-FFF2-40B4-BE49-F238E27FC236}">
                <a16:creationId xmlns:a16="http://schemas.microsoft.com/office/drawing/2014/main" id="{676D7C5F-6889-40F5-BD37-424E3EE6FE1F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634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0 w 153"/>
              <a:gd name="T9" fmla="*/ 130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0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5" name="Freeform 2340">
            <a:extLst>
              <a:ext uri="{FF2B5EF4-FFF2-40B4-BE49-F238E27FC236}">
                <a16:creationId xmlns:a16="http://schemas.microsoft.com/office/drawing/2014/main" id="{D600C3FB-ADA1-4ED3-BDA8-A81C30151970}"/>
              </a:ext>
            </a:extLst>
          </p:cNvPr>
          <p:cNvSpPr>
            <a:spLocks/>
          </p:cNvSpPr>
          <p:nvPr userDrawn="1"/>
        </p:nvSpPr>
        <p:spPr bwMode="auto">
          <a:xfrm>
            <a:off x="1533377" y="2634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0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2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0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6" name="Freeform 2341">
            <a:extLst>
              <a:ext uri="{FF2B5EF4-FFF2-40B4-BE49-F238E27FC236}">
                <a16:creationId xmlns:a16="http://schemas.microsoft.com/office/drawing/2014/main" id="{0EE59FE1-E659-4E98-B4A7-3665420A5211}"/>
              </a:ext>
            </a:extLst>
          </p:cNvPr>
          <p:cNvSpPr>
            <a:spLocks/>
          </p:cNvSpPr>
          <p:nvPr userDrawn="1"/>
        </p:nvSpPr>
        <p:spPr bwMode="auto">
          <a:xfrm>
            <a:off x="1585864" y="2634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7" name="Freeform 2342">
            <a:extLst>
              <a:ext uri="{FF2B5EF4-FFF2-40B4-BE49-F238E27FC236}">
                <a16:creationId xmlns:a16="http://schemas.microsoft.com/office/drawing/2014/main" id="{03824E6F-28BA-4011-9961-E908C3C036A8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58843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4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4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4"/>
                </a:lnTo>
                <a:lnTo>
                  <a:pt x="154" y="92"/>
                </a:lnTo>
                <a:lnTo>
                  <a:pt x="152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1"/>
                </a:lnTo>
                <a:lnTo>
                  <a:pt x="3" y="92"/>
                </a:lnTo>
                <a:lnTo>
                  <a:pt x="2" y="84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8" name="Freeform 2343">
            <a:extLst>
              <a:ext uri="{FF2B5EF4-FFF2-40B4-BE49-F238E27FC236}">
                <a16:creationId xmlns:a16="http://schemas.microsoft.com/office/drawing/2014/main" id="{97E55758-0DE9-4128-999F-EC59575983FC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634625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0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2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2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9" name="Freeform 2344">
            <a:extLst>
              <a:ext uri="{FF2B5EF4-FFF2-40B4-BE49-F238E27FC236}">
                <a16:creationId xmlns:a16="http://schemas.microsoft.com/office/drawing/2014/main" id="{F62EA07B-EF8E-4911-B47E-EBD242164095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58843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0" name="Freeform 2345">
            <a:extLst>
              <a:ext uri="{FF2B5EF4-FFF2-40B4-BE49-F238E27FC236}">
                <a16:creationId xmlns:a16="http://schemas.microsoft.com/office/drawing/2014/main" id="{9FE23AD6-B2E7-44A4-9D00-13417F209B59}"/>
              </a:ext>
            </a:extLst>
          </p:cNvPr>
          <p:cNvSpPr>
            <a:spLocks/>
          </p:cNvSpPr>
          <p:nvPr userDrawn="1"/>
        </p:nvSpPr>
        <p:spPr bwMode="auto">
          <a:xfrm>
            <a:off x="1628904" y="258843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0 w 155"/>
              <a:gd name="T33" fmla="*/ 84 h 154"/>
              <a:gd name="T34" fmla="*/ 0 w 155"/>
              <a:gd name="T35" fmla="*/ 78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1" name="Freeform 2346">
            <a:extLst>
              <a:ext uri="{FF2B5EF4-FFF2-40B4-BE49-F238E27FC236}">
                <a16:creationId xmlns:a16="http://schemas.microsoft.com/office/drawing/2014/main" id="{20C3C71E-9274-4CDB-86D1-8E3F7730D9F2}"/>
              </a:ext>
            </a:extLst>
          </p:cNvPr>
          <p:cNvSpPr>
            <a:spLocks/>
          </p:cNvSpPr>
          <p:nvPr userDrawn="1"/>
        </p:nvSpPr>
        <p:spPr bwMode="auto">
          <a:xfrm>
            <a:off x="1536527" y="25884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2" name="Freeform 2347">
            <a:extLst>
              <a:ext uri="{FF2B5EF4-FFF2-40B4-BE49-F238E27FC236}">
                <a16:creationId xmlns:a16="http://schemas.microsoft.com/office/drawing/2014/main" id="{927516A6-8C03-434D-88C2-E7FC2035D111}"/>
              </a:ext>
            </a:extLst>
          </p:cNvPr>
          <p:cNvSpPr>
            <a:spLocks/>
          </p:cNvSpPr>
          <p:nvPr userDrawn="1"/>
        </p:nvSpPr>
        <p:spPr bwMode="auto">
          <a:xfrm>
            <a:off x="1583765" y="25884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4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4"/>
                </a:lnTo>
                <a:lnTo>
                  <a:pt x="153" y="92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3" name="Freeform 2348">
            <a:extLst>
              <a:ext uri="{FF2B5EF4-FFF2-40B4-BE49-F238E27FC236}">
                <a16:creationId xmlns:a16="http://schemas.microsoft.com/office/drawing/2014/main" id="{AFAC55C3-177A-47A7-8A0A-1EEE2B3BBBC1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63462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0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4" name="Freeform 2349">
            <a:extLst>
              <a:ext uri="{FF2B5EF4-FFF2-40B4-BE49-F238E27FC236}">
                <a16:creationId xmlns:a16="http://schemas.microsoft.com/office/drawing/2014/main" id="{DF661848-3F6C-4C0B-A334-58D53FE52BFF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68186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5" name="Freeform 2350">
            <a:extLst>
              <a:ext uri="{FF2B5EF4-FFF2-40B4-BE49-F238E27FC236}">
                <a16:creationId xmlns:a16="http://schemas.microsoft.com/office/drawing/2014/main" id="{B4B26C53-7F2E-4147-8568-6FC4268EA891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68186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9 h 154"/>
              <a:gd name="T62" fmla="*/ 146 w 155"/>
              <a:gd name="T63" fmla="*/ 40 h 154"/>
              <a:gd name="T64" fmla="*/ 152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2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2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6" name="Freeform 2351">
            <a:extLst>
              <a:ext uri="{FF2B5EF4-FFF2-40B4-BE49-F238E27FC236}">
                <a16:creationId xmlns:a16="http://schemas.microsoft.com/office/drawing/2014/main" id="{0C3AAB5A-0B90-4455-8411-CE9133B574DD}"/>
              </a:ext>
            </a:extLst>
          </p:cNvPr>
          <p:cNvSpPr>
            <a:spLocks/>
          </p:cNvSpPr>
          <p:nvPr userDrawn="1"/>
        </p:nvSpPr>
        <p:spPr bwMode="auto">
          <a:xfrm>
            <a:off x="1583765" y="268186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9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7" name="Freeform 2352">
            <a:extLst>
              <a:ext uri="{FF2B5EF4-FFF2-40B4-BE49-F238E27FC236}">
                <a16:creationId xmlns:a16="http://schemas.microsoft.com/office/drawing/2014/main" id="{5E14F106-23DA-40DD-AE6F-07B68AB92940}"/>
              </a:ext>
            </a:extLst>
          </p:cNvPr>
          <p:cNvSpPr>
            <a:spLocks/>
          </p:cNvSpPr>
          <p:nvPr userDrawn="1"/>
        </p:nvSpPr>
        <p:spPr bwMode="auto">
          <a:xfrm>
            <a:off x="1533377" y="268186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6 w 154"/>
              <a:gd name="T47" fmla="*/ 6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5 w 154"/>
              <a:gd name="T59" fmla="*/ 17 h 154"/>
              <a:gd name="T60" fmla="*/ 136 w 154"/>
              <a:gd name="T61" fmla="*/ 29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8" name="Freeform 2353">
            <a:extLst>
              <a:ext uri="{FF2B5EF4-FFF2-40B4-BE49-F238E27FC236}">
                <a16:creationId xmlns:a16="http://schemas.microsoft.com/office/drawing/2014/main" id="{CAFCE61A-735C-4D6E-8987-D8C4BC84D15D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72805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9 w 155"/>
              <a:gd name="T27" fmla="*/ 127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9 h 154"/>
              <a:gd name="T62" fmla="*/ 146 w 155"/>
              <a:gd name="T63" fmla="*/ 41 h 154"/>
              <a:gd name="T64" fmla="*/ 152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2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1"/>
                </a:lnTo>
                <a:lnTo>
                  <a:pt x="19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8"/>
                </a:lnTo>
                <a:lnTo>
                  <a:pt x="152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9" name="Freeform 2354">
            <a:extLst>
              <a:ext uri="{FF2B5EF4-FFF2-40B4-BE49-F238E27FC236}">
                <a16:creationId xmlns:a16="http://schemas.microsoft.com/office/drawing/2014/main" id="{77E90274-DBC5-49D5-9E31-22B585CACDFF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68186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0" name="Freeform 2355">
            <a:extLst>
              <a:ext uri="{FF2B5EF4-FFF2-40B4-BE49-F238E27FC236}">
                <a16:creationId xmlns:a16="http://schemas.microsoft.com/office/drawing/2014/main" id="{52A66FAF-7A6C-4265-8A91-6ECF75AADAF6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72805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1" name="Freeform 2356">
            <a:extLst>
              <a:ext uri="{FF2B5EF4-FFF2-40B4-BE49-F238E27FC236}">
                <a16:creationId xmlns:a16="http://schemas.microsoft.com/office/drawing/2014/main" id="{2773C38B-C73B-4888-BDD4-1616522ACDA3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272805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6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2" name="Freeform 2357">
            <a:extLst>
              <a:ext uri="{FF2B5EF4-FFF2-40B4-BE49-F238E27FC236}">
                <a16:creationId xmlns:a16="http://schemas.microsoft.com/office/drawing/2014/main" id="{19C0ECEB-5F53-4E9C-8D79-5C914FCAE0FB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272805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2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6" y="137"/>
                </a:lnTo>
                <a:lnTo>
                  <a:pt x="119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1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3" name="Freeform 2358">
            <a:extLst>
              <a:ext uri="{FF2B5EF4-FFF2-40B4-BE49-F238E27FC236}">
                <a16:creationId xmlns:a16="http://schemas.microsoft.com/office/drawing/2014/main" id="{9E8F341E-3039-4A1C-B7A6-B2C73C0C2469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72805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2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1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1" y="10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4" name="Freeform 2359">
            <a:extLst>
              <a:ext uri="{FF2B5EF4-FFF2-40B4-BE49-F238E27FC236}">
                <a16:creationId xmlns:a16="http://schemas.microsoft.com/office/drawing/2014/main" id="{72DBCD9B-0A5B-4C17-B0AB-57838CBCB07D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68186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7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9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5" name="Freeform 2360">
            <a:extLst>
              <a:ext uri="{FF2B5EF4-FFF2-40B4-BE49-F238E27FC236}">
                <a16:creationId xmlns:a16="http://schemas.microsoft.com/office/drawing/2014/main" id="{3E95047C-7C85-4853-8F27-D7C58837959A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72805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2 h 154"/>
              <a:gd name="T12" fmla="*/ 107 w 153"/>
              <a:gd name="T13" fmla="*/ 149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4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8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1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6" name="Freeform 2361">
            <a:extLst>
              <a:ext uri="{FF2B5EF4-FFF2-40B4-BE49-F238E27FC236}">
                <a16:creationId xmlns:a16="http://schemas.microsoft.com/office/drawing/2014/main" id="{37C77ADA-AE8B-4FB9-850B-1F7EA3EA0268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7" name="Freeform 2362">
            <a:extLst>
              <a:ext uri="{FF2B5EF4-FFF2-40B4-BE49-F238E27FC236}">
                <a16:creationId xmlns:a16="http://schemas.microsoft.com/office/drawing/2014/main" id="{1E6C1ECD-BAE1-46D7-A071-985950560DE4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8" name="Freeform 2363">
            <a:extLst>
              <a:ext uri="{FF2B5EF4-FFF2-40B4-BE49-F238E27FC236}">
                <a16:creationId xmlns:a16="http://schemas.microsoft.com/office/drawing/2014/main" id="{6F1BF353-728B-4E43-AF8D-FD0589FCD6E3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9" name="Freeform 2364">
            <a:extLst>
              <a:ext uri="{FF2B5EF4-FFF2-40B4-BE49-F238E27FC236}">
                <a16:creationId xmlns:a16="http://schemas.microsoft.com/office/drawing/2014/main" id="{4589297A-8291-4126-AC47-510F3A8549DE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26406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0" name="Freeform 2365">
            <a:extLst>
              <a:ext uri="{FF2B5EF4-FFF2-40B4-BE49-F238E27FC236}">
                <a16:creationId xmlns:a16="http://schemas.microsoft.com/office/drawing/2014/main" id="{4DCCD8ED-7CB5-4352-BC8B-A70DA96B9660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216829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1" name="Freeform 2366">
            <a:extLst>
              <a:ext uri="{FF2B5EF4-FFF2-40B4-BE49-F238E27FC236}">
                <a16:creationId xmlns:a16="http://schemas.microsoft.com/office/drawing/2014/main" id="{C29AB30D-79E8-4497-9004-A1B35F7267ED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26406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2" name="Freeform 2367">
            <a:extLst>
              <a:ext uri="{FF2B5EF4-FFF2-40B4-BE49-F238E27FC236}">
                <a16:creationId xmlns:a16="http://schemas.microsoft.com/office/drawing/2014/main" id="{3DF27AAE-49C0-4274-84FA-314DCB51377F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3" name="Freeform 2368">
            <a:extLst>
              <a:ext uri="{FF2B5EF4-FFF2-40B4-BE49-F238E27FC236}">
                <a16:creationId xmlns:a16="http://schemas.microsoft.com/office/drawing/2014/main" id="{E181B7FB-FB37-425D-93CA-196E8F2A4BD0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26406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4" name="Freeform 2369">
            <a:extLst>
              <a:ext uri="{FF2B5EF4-FFF2-40B4-BE49-F238E27FC236}">
                <a16:creationId xmlns:a16="http://schemas.microsoft.com/office/drawing/2014/main" id="{85B22682-7EF6-4DB7-A013-207DCDF3B3C3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5" name="Freeform 2370">
            <a:extLst>
              <a:ext uri="{FF2B5EF4-FFF2-40B4-BE49-F238E27FC236}">
                <a16:creationId xmlns:a16="http://schemas.microsoft.com/office/drawing/2014/main" id="{30ED9638-2EDE-4F50-8EC2-5597912CC220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6" name="Freeform 2371">
            <a:extLst>
              <a:ext uri="{FF2B5EF4-FFF2-40B4-BE49-F238E27FC236}">
                <a16:creationId xmlns:a16="http://schemas.microsoft.com/office/drawing/2014/main" id="{54700491-4E66-4395-82D5-73F888414C37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3102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7" name="Freeform 2372">
            <a:extLst>
              <a:ext uri="{FF2B5EF4-FFF2-40B4-BE49-F238E27FC236}">
                <a16:creationId xmlns:a16="http://schemas.microsoft.com/office/drawing/2014/main" id="{D7C06EBA-A3D2-4362-8558-32572A05444C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3574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8" name="Freeform 2373">
            <a:extLst>
              <a:ext uri="{FF2B5EF4-FFF2-40B4-BE49-F238E27FC236}">
                <a16:creationId xmlns:a16="http://schemas.microsoft.com/office/drawing/2014/main" id="{C0B33C5C-9A29-4B7F-BA0A-26E54665C7EC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31025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8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9" name="Freeform 2374">
            <a:extLst>
              <a:ext uri="{FF2B5EF4-FFF2-40B4-BE49-F238E27FC236}">
                <a16:creationId xmlns:a16="http://schemas.microsoft.com/office/drawing/2014/main" id="{7D01E1B0-E71C-4230-BA19-938704D5FBDE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3574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0" name="Freeform 2375">
            <a:extLst>
              <a:ext uri="{FF2B5EF4-FFF2-40B4-BE49-F238E27FC236}">
                <a16:creationId xmlns:a16="http://schemas.microsoft.com/office/drawing/2014/main" id="{A596D3A4-6BEE-493A-B66E-8B967D772089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31025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1" name="Freeform 2376">
            <a:extLst>
              <a:ext uri="{FF2B5EF4-FFF2-40B4-BE49-F238E27FC236}">
                <a16:creationId xmlns:a16="http://schemas.microsoft.com/office/drawing/2014/main" id="{255FAB60-6CF3-415C-B117-3F4B8D4FA198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3574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2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2" name="Freeform 2377">
            <a:extLst>
              <a:ext uri="{FF2B5EF4-FFF2-40B4-BE49-F238E27FC236}">
                <a16:creationId xmlns:a16="http://schemas.microsoft.com/office/drawing/2014/main" id="{4C6B12D8-B792-42AA-A294-AD078A8ED0A7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3" name="Freeform 2378">
            <a:extLst>
              <a:ext uri="{FF2B5EF4-FFF2-40B4-BE49-F238E27FC236}">
                <a16:creationId xmlns:a16="http://schemas.microsoft.com/office/drawing/2014/main" id="{F2CD42BB-9CD7-4061-B9E8-14E8FA67898D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4" name="Freeform 2379">
            <a:extLst>
              <a:ext uri="{FF2B5EF4-FFF2-40B4-BE49-F238E27FC236}">
                <a16:creationId xmlns:a16="http://schemas.microsoft.com/office/drawing/2014/main" id="{43C7B107-9551-41CE-BBA9-171D9A29AEF4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4015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5" name="Freeform 2380">
            <a:extLst>
              <a:ext uri="{FF2B5EF4-FFF2-40B4-BE49-F238E27FC236}">
                <a16:creationId xmlns:a16="http://schemas.microsoft.com/office/drawing/2014/main" id="{444DEBE8-3539-42C0-B499-BA05922D06E4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44882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7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0 w 155"/>
              <a:gd name="T33" fmla="*/ 85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6" name="Freeform 2381">
            <a:extLst>
              <a:ext uri="{FF2B5EF4-FFF2-40B4-BE49-F238E27FC236}">
                <a16:creationId xmlns:a16="http://schemas.microsoft.com/office/drawing/2014/main" id="{5058B348-AFF8-47C3-9F78-34F8CCE40A67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4015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7" name="Freeform 2382">
            <a:extLst>
              <a:ext uri="{FF2B5EF4-FFF2-40B4-BE49-F238E27FC236}">
                <a16:creationId xmlns:a16="http://schemas.microsoft.com/office/drawing/2014/main" id="{97419D9B-2DE0-4F66-A8DB-5CAF10BCC867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44882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5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8" name="Freeform 2383">
            <a:extLst>
              <a:ext uri="{FF2B5EF4-FFF2-40B4-BE49-F238E27FC236}">
                <a16:creationId xmlns:a16="http://schemas.microsoft.com/office/drawing/2014/main" id="{57AE0A1E-60F3-4621-993C-B3C99EEFA505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4015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9" name="Freeform 2384">
            <a:extLst>
              <a:ext uri="{FF2B5EF4-FFF2-40B4-BE49-F238E27FC236}">
                <a16:creationId xmlns:a16="http://schemas.microsoft.com/office/drawing/2014/main" id="{B7876723-770C-43D8-9DFC-5AEA0CAAC3E4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44882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5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0" name="Freeform 2385">
            <a:extLst>
              <a:ext uri="{FF2B5EF4-FFF2-40B4-BE49-F238E27FC236}">
                <a16:creationId xmlns:a16="http://schemas.microsoft.com/office/drawing/2014/main" id="{ED48DBD9-78AE-46FF-9A17-687C5A7364C7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1" name="Freeform 2386">
            <a:extLst>
              <a:ext uri="{FF2B5EF4-FFF2-40B4-BE49-F238E27FC236}">
                <a16:creationId xmlns:a16="http://schemas.microsoft.com/office/drawing/2014/main" id="{C66BE592-89D1-4CB6-A959-E4EFF6F46DA0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5422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2" name="Freeform 2387">
            <a:extLst>
              <a:ext uri="{FF2B5EF4-FFF2-40B4-BE49-F238E27FC236}">
                <a16:creationId xmlns:a16="http://schemas.microsoft.com/office/drawing/2014/main" id="{2CBA67A7-66F3-45A8-826E-E92B0938EE63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49501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3" name="Freeform 2388">
            <a:extLst>
              <a:ext uri="{FF2B5EF4-FFF2-40B4-BE49-F238E27FC236}">
                <a16:creationId xmlns:a16="http://schemas.microsoft.com/office/drawing/2014/main" id="{88906766-C494-4A76-80D1-DB48693C9E34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5422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4" name="Freeform 2389">
            <a:extLst>
              <a:ext uri="{FF2B5EF4-FFF2-40B4-BE49-F238E27FC236}">
                <a16:creationId xmlns:a16="http://schemas.microsoft.com/office/drawing/2014/main" id="{E481E453-CF4A-4631-96EC-DCE102B8C66E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49501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5" name="Freeform 2390">
            <a:extLst>
              <a:ext uri="{FF2B5EF4-FFF2-40B4-BE49-F238E27FC236}">
                <a16:creationId xmlns:a16="http://schemas.microsoft.com/office/drawing/2014/main" id="{03B1C930-F31A-4EA2-A4D9-DAE3D7496495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54224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6" name="Freeform 2391">
            <a:extLst>
              <a:ext uri="{FF2B5EF4-FFF2-40B4-BE49-F238E27FC236}">
                <a16:creationId xmlns:a16="http://schemas.microsoft.com/office/drawing/2014/main" id="{C6D3E1D0-975A-4FE0-9B09-A5CF8D1DED57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49501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7" name="Freeform 2392">
            <a:extLst>
              <a:ext uri="{FF2B5EF4-FFF2-40B4-BE49-F238E27FC236}">
                <a16:creationId xmlns:a16="http://schemas.microsoft.com/office/drawing/2014/main" id="{F45E48F6-37FD-4FD5-A1E6-2864DCEA6C28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54224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8" name="Freeform 2393">
            <a:extLst>
              <a:ext uri="{FF2B5EF4-FFF2-40B4-BE49-F238E27FC236}">
                <a16:creationId xmlns:a16="http://schemas.microsoft.com/office/drawing/2014/main" id="{9206B6E0-F8F5-4D75-BBED-6F8706844EB2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58843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4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9" name="Freeform 2394">
            <a:extLst>
              <a:ext uri="{FF2B5EF4-FFF2-40B4-BE49-F238E27FC236}">
                <a16:creationId xmlns:a16="http://schemas.microsoft.com/office/drawing/2014/main" id="{E3FE8500-9B59-424B-885A-18D93CCBD408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634625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0" name="Freeform 2395">
            <a:extLst>
              <a:ext uri="{FF2B5EF4-FFF2-40B4-BE49-F238E27FC236}">
                <a16:creationId xmlns:a16="http://schemas.microsoft.com/office/drawing/2014/main" id="{BCFF081F-D835-4770-B724-014753D56537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68186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9 h 154"/>
              <a:gd name="T62" fmla="*/ 144 w 154"/>
              <a:gd name="T63" fmla="*/ 40 h 154"/>
              <a:gd name="T64" fmla="*/ 150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1" name="Freeform 2396">
            <a:extLst>
              <a:ext uri="{FF2B5EF4-FFF2-40B4-BE49-F238E27FC236}">
                <a16:creationId xmlns:a16="http://schemas.microsoft.com/office/drawing/2014/main" id="{D3F514F0-B12F-4C5D-803C-06C93CAE9018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2" name="Freeform 2397">
            <a:extLst>
              <a:ext uri="{FF2B5EF4-FFF2-40B4-BE49-F238E27FC236}">
                <a16:creationId xmlns:a16="http://schemas.microsoft.com/office/drawing/2014/main" id="{B4D5FDEC-1706-44F5-B76D-65EB32C781B1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5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7"/>
                </a:lnTo>
                <a:lnTo>
                  <a:pt x="132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3" name="Freeform 2398">
            <a:extLst>
              <a:ext uri="{FF2B5EF4-FFF2-40B4-BE49-F238E27FC236}">
                <a16:creationId xmlns:a16="http://schemas.microsoft.com/office/drawing/2014/main" id="{63C0D44E-C990-4563-851F-A25323C7BC8B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4" name="Freeform 2399">
            <a:extLst>
              <a:ext uri="{FF2B5EF4-FFF2-40B4-BE49-F238E27FC236}">
                <a16:creationId xmlns:a16="http://schemas.microsoft.com/office/drawing/2014/main" id="{E8CF48DE-C4CC-4E47-8E59-0DD1267EA020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4" y="5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5" name="Freeform 2400">
            <a:extLst>
              <a:ext uri="{FF2B5EF4-FFF2-40B4-BE49-F238E27FC236}">
                <a16:creationId xmlns:a16="http://schemas.microsoft.com/office/drawing/2014/main" id="{83900F09-1404-4BF5-A3B4-84D3D9B91689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6" name="Freeform 2401">
            <a:extLst>
              <a:ext uri="{FF2B5EF4-FFF2-40B4-BE49-F238E27FC236}">
                <a16:creationId xmlns:a16="http://schemas.microsoft.com/office/drawing/2014/main" id="{AB0A5454-AE77-4713-A0A5-92E19B3CF7AB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5 h 155"/>
              <a:gd name="T56" fmla="*/ 115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7" name="Freeform 2402">
            <a:extLst>
              <a:ext uri="{FF2B5EF4-FFF2-40B4-BE49-F238E27FC236}">
                <a16:creationId xmlns:a16="http://schemas.microsoft.com/office/drawing/2014/main" id="{4E41C8CB-8B0F-4D65-9ABE-BB8721B09816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12655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8" name="Freeform 2403">
            <a:extLst>
              <a:ext uri="{FF2B5EF4-FFF2-40B4-BE49-F238E27FC236}">
                <a16:creationId xmlns:a16="http://schemas.microsoft.com/office/drawing/2014/main" id="{41D19132-A228-41FC-B1B4-05124269B5F2}"/>
              </a:ext>
            </a:extLst>
          </p:cNvPr>
          <p:cNvSpPr>
            <a:spLocks/>
          </p:cNvSpPr>
          <p:nvPr userDrawn="1"/>
        </p:nvSpPr>
        <p:spPr bwMode="auto">
          <a:xfrm>
            <a:off x="1907083" y="217274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0" y="132"/>
                </a:lnTo>
                <a:lnTo>
                  <a:pt x="125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6" y="7"/>
                </a:lnTo>
                <a:lnTo>
                  <a:pt x="53" y="5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5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9" name="Freeform 2404">
            <a:extLst>
              <a:ext uri="{FF2B5EF4-FFF2-40B4-BE49-F238E27FC236}">
                <a16:creationId xmlns:a16="http://schemas.microsoft.com/office/drawing/2014/main" id="{A06A6664-91D2-4F64-B084-E53A8B355D20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12655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0" name="Freeform 2405">
            <a:extLst>
              <a:ext uri="{FF2B5EF4-FFF2-40B4-BE49-F238E27FC236}">
                <a16:creationId xmlns:a16="http://schemas.microsoft.com/office/drawing/2014/main" id="{C38E0B5B-5195-4EE8-BE6A-68102FA4D906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17274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2 h 155"/>
              <a:gd name="T12" fmla="*/ 107 w 153"/>
              <a:gd name="T13" fmla="*/ 149 h 155"/>
              <a:gd name="T14" fmla="*/ 93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1" name="Freeform 2406">
            <a:extLst>
              <a:ext uri="{FF2B5EF4-FFF2-40B4-BE49-F238E27FC236}">
                <a16:creationId xmlns:a16="http://schemas.microsoft.com/office/drawing/2014/main" id="{4B835619-2999-414A-BDBA-AE0E3FDF0F36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2" name="Freeform 2407">
            <a:extLst>
              <a:ext uri="{FF2B5EF4-FFF2-40B4-BE49-F238E27FC236}">
                <a16:creationId xmlns:a16="http://schemas.microsoft.com/office/drawing/2014/main" id="{64D96C65-2F1D-43AF-BEA6-6AA4D70B69ED}"/>
              </a:ext>
            </a:extLst>
          </p:cNvPr>
          <p:cNvSpPr>
            <a:spLocks/>
          </p:cNvSpPr>
          <p:nvPr userDrawn="1"/>
        </p:nvSpPr>
        <p:spPr bwMode="auto">
          <a:xfrm>
            <a:off x="1537576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3" name="Freeform 2408">
            <a:extLst>
              <a:ext uri="{FF2B5EF4-FFF2-40B4-BE49-F238E27FC236}">
                <a16:creationId xmlns:a16="http://schemas.microsoft.com/office/drawing/2014/main" id="{83F817D1-1839-4D20-BAC7-815EDF993AC2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4" name="Freeform 2409">
            <a:extLst>
              <a:ext uri="{FF2B5EF4-FFF2-40B4-BE49-F238E27FC236}">
                <a16:creationId xmlns:a16="http://schemas.microsoft.com/office/drawing/2014/main" id="{6B7FC1A6-BCEC-499A-9613-468BC1B93E53}"/>
              </a:ext>
            </a:extLst>
          </p:cNvPr>
          <p:cNvSpPr>
            <a:spLocks/>
          </p:cNvSpPr>
          <p:nvPr userDrawn="1"/>
        </p:nvSpPr>
        <p:spPr bwMode="auto">
          <a:xfrm>
            <a:off x="1582715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5" name="Freeform 2410">
            <a:extLst>
              <a:ext uri="{FF2B5EF4-FFF2-40B4-BE49-F238E27FC236}">
                <a16:creationId xmlns:a16="http://schemas.microsoft.com/office/drawing/2014/main" id="{00366B78-1FF2-4F09-99D5-051156CCDDA7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12655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6" name="Freeform 2411">
            <a:extLst>
              <a:ext uri="{FF2B5EF4-FFF2-40B4-BE49-F238E27FC236}">
                <a16:creationId xmlns:a16="http://schemas.microsoft.com/office/drawing/2014/main" id="{ED22B1FC-6623-41AF-B07D-8C2FFFDD6679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17274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7" name="Freeform 2412">
            <a:extLst>
              <a:ext uri="{FF2B5EF4-FFF2-40B4-BE49-F238E27FC236}">
                <a16:creationId xmlns:a16="http://schemas.microsoft.com/office/drawing/2014/main" id="{B79C7A30-E948-47E3-9565-BB4DE24266E9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8" name="Freeform 2413">
            <a:extLst>
              <a:ext uri="{FF2B5EF4-FFF2-40B4-BE49-F238E27FC236}">
                <a16:creationId xmlns:a16="http://schemas.microsoft.com/office/drawing/2014/main" id="{FF8D9648-B1B4-4E06-87D2-72683D86DB7A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1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5"/>
                </a:lnTo>
                <a:lnTo>
                  <a:pt x="107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9" name="Freeform 2414">
            <a:extLst>
              <a:ext uri="{FF2B5EF4-FFF2-40B4-BE49-F238E27FC236}">
                <a16:creationId xmlns:a16="http://schemas.microsoft.com/office/drawing/2014/main" id="{3472FEAC-3A3F-4679-8D0F-4F4122172B75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0" name="Freeform 2415">
            <a:extLst>
              <a:ext uri="{FF2B5EF4-FFF2-40B4-BE49-F238E27FC236}">
                <a16:creationId xmlns:a16="http://schemas.microsoft.com/office/drawing/2014/main" id="{42DB6FE2-BD14-4224-8659-46C98B52C909}"/>
              </a:ext>
            </a:extLst>
          </p:cNvPr>
          <p:cNvSpPr>
            <a:spLocks/>
          </p:cNvSpPr>
          <p:nvPr userDrawn="1"/>
        </p:nvSpPr>
        <p:spPr bwMode="auto">
          <a:xfrm>
            <a:off x="1722330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1" name="Freeform 2417">
            <a:extLst>
              <a:ext uri="{FF2B5EF4-FFF2-40B4-BE49-F238E27FC236}">
                <a16:creationId xmlns:a16="http://schemas.microsoft.com/office/drawing/2014/main" id="{CEAF5C85-57E3-430A-B496-44899F27587E}"/>
              </a:ext>
            </a:extLst>
          </p:cNvPr>
          <p:cNvSpPr>
            <a:spLocks/>
          </p:cNvSpPr>
          <p:nvPr userDrawn="1"/>
        </p:nvSpPr>
        <p:spPr bwMode="auto">
          <a:xfrm>
            <a:off x="1396911" y="212655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8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2" name="Freeform 2418">
            <a:extLst>
              <a:ext uri="{FF2B5EF4-FFF2-40B4-BE49-F238E27FC236}">
                <a16:creationId xmlns:a16="http://schemas.microsoft.com/office/drawing/2014/main" id="{1FB5E895-3F6A-4082-8445-1AE9181F09EC}"/>
              </a:ext>
            </a:extLst>
          </p:cNvPr>
          <p:cNvSpPr>
            <a:spLocks/>
          </p:cNvSpPr>
          <p:nvPr userDrawn="1"/>
        </p:nvSpPr>
        <p:spPr bwMode="auto">
          <a:xfrm>
            <a:off x="1396911" y="217274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19 w 153"/>
              <a:gd name="T11" fmla="*/ 142 h 155"/>
              <a:gd name="T12" fmla="*/ 107 w 153"/>
              <a:gd name="T13" fmla="*/ 149 h 155"/>
              <a:gd name="T14" fmla="*/ 92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3" name="Freeform 2419">
            <a:extLst>
              <a:ext uri="{FF2B5EF4-FFF2-40B4-BE49-F238E27FC236}">
                <a16:creationId xmlns:a16="http://schemas.microsoft.com/office/drawing/2014/main" id="{05D06479-2C53-4CDB-90F8-CA8AC29D28DA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126552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4" name="Freeform 2420">
            <a:extLst>
              <a:ext uri="{FF2B5EF4-FFF2-40B4-BE49-F238E27FC236}">
                <a16:creationId xmlns:a16="http://schemas.microsoft.com/office/drawing/2014/main" id="{B8897552-EBF8-4DB0-BBF3-109A93D4D1B2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17274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5" name="Freeform 2421">
            <a:extLst>
              <a:ext uri="{FF2B5EF4-FFF2-40B4-BE49-F238E27FC236}">
                <a16:creationId xmlns:a16="http://schemas.microsoft.com/office/drawing/2014/main" id="{05ADD022-2149-4F72-8C4E-4B7BF8FF69A8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4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2" y="121"/>
                </a:lnTo>
                <a:lnTo>
                  <a:pt x="138" y="126"/>
                </a:lnTo>
                <a:lnTo>
                  <a:pt x="132" y="132"/>
                </a:lnTo>
                <a:lnTo>
                  <a:pt x="127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11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6" name="Freeform 2422">
            <a:extLst>
              <a:ext uri="{FF2B5EF4-FFF2-40B4-BE49-F238E27FC236}">
                <a16:creationId xmlns:a16="http://schemas.microsoft.com/office/drawing/2014/main" id="{B1EBDFE2-9D89-45A7-94FF-BD2660800CD4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5 h 155"/>
              <a:gd name="T56" fmla="*/ 115 w 155"/>
              <a:gd name="T57" fmla="*/ 11 h 155"/>
              <a:gd name="T58" fmla="*/ 127 w 155"/>
              <a:gd name="T59" fmla="*/ 19 h 155"/>
              <a:gd name="T60" fmla="*/ 138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1"/>
                </a:lnTo>
                <a:lnTo>
                  <a:pt x="138" y="127"/>
                </a:lnTo>
                <a:lnTo>
                  <a:pt x="132" y="132"/>
                </a:lnTo>
                <a:lnTo>
                  <a:pt x="127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2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11"/>
                </a:lnTo>
                <a:lnTo>
                  <a:pt x="48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7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7" name="Freeform 2423">
            <a:extLst>
              <a:ext uri="{FF2B5EF4-FFF2-40B4-BE49-F238E27FC236}">
                <a16:creationId xmlns:a16="http://schemas.microsoft.com/office/drawing/2014/main" id="{56E86DAF-B729-4E74-86B3-56E9CD1D758B}"/>
              </a:ext>
            </a:extLst>
          </p:cNvPr>
          <p:cNvSpPr>
            <a:spLocks/>
          </p:cNvSpPr>
          <p:nvPr userDrawn="1"/>
        </p:nvSpPr>
        <p:spPr bwMode="auto">
          <a:xfrm>
            <a:off x="1305584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9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9" y="154"/>
                </a:lnTo>
                <a:lnTo>
                  <a:pt x="61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1" y="2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8" name="Freeform 2424">
            <a:extLst>
              <a:ext uri="{FF2B5EF4-FFF2-40B4-BE49-F238E27FC236}">
                <a16:creationId xmlns:a16="http://schemas.microsoft.com/office/drawing/2014/main" id="{3D591D13-B6F7-4DBF-9AB4-ADBAB57F6BBC}"/>
              </a:ext>
            </a:extLst>
          </p:cNvPr>
          <p:cNvSpPr>
            <a:spLocks/>
          </p:cNvSpPr>
          <p:nvPr userDrawn="1"/>
        </p:nvSpPr>
        <p:spPr bwMode="auto">
          <a:xfrm>
            <a:off x="1305584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9 w 154"/>
              <a:gd name="T19" fmla="*/ 155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9" y="155"/>
                </a:lnTo>
                <a:lnTo>
                  <a:pt x="61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3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1" y="3"/>
                </a:lnTo>
                <a:lnTo>
                  <a:pt x="69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9" name="Freeform 2425">
            <a:extLst>
              <a:ext uri="{FF2B5EF4-FFF2-40B4-BE49-F238E27FC236}">
                <a16:creationId xmlns:a16="http://schemas.microsoft.com/office/drawing/2014/main" id="{9582AFC2-8DA9-484A-BD8D-93ED15EB7C6B}"/>
              </a:ext>
            </a:extLst>
          </p:cNvPr>
          <p:cNvSpPr>
            <a:spLocks/>
          </p:cNvSpPr>
          <p:nvPr userDrawn="1"/>
        </p:nvSpPr>
        <p:spPr bwMode="auto">
          <a:xfrm>
            <a:off x="1350723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0" name="Freeform 2426">
            <a:extLst>
              <a:ext uri="{FF2B5EF4-FFF2-40B4-BE49-F238E27FC236}">
                <a16:creationId xmlns:a16="http://schemas.microsoft.com/office/drawing/2014/main" id="{67FD9EA4-75C9-41D5-8E36-5DC85ADD471D}"/>
              </a:ext>
            </a:extLst>
          </p:cNvPr>
          <p:cNvSpPr>
            <a:spLocks/>
          </p:cNvSpPr>
          <p:nvPr userDrawn="1"/>
        </p:nvSpPr>
        <p:spPr bwMode="auto">
          <a:xfrm>
            <a:off x="1350723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5 h 155"/>
              <a:gd name="T56" fmla="*/ 115 w 155"/>
              <a:gd name="T57" fmla="*/ 11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8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1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1" name="Freeform 2427">
            <a:extLst>
              <a:ext uri="{FF2B5EF4-FFF2-40B4-BE49-F238E27FC236}">
                <a16:creationId xmlns:a16="http://schemas.microsoft.com/office/drawing/2014/main" id="{3A16BEA5-2BCD-42B0-AF4B-BFFA68D7E069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2" name="Freeform 2428">
            <a:extLst>
              <a:ext uri="{FF2B5EF4-FFF2-40B4-BE49-F238E27FC236}">
                <a16:creationId xmlns:a16="http://schemas.microsoft.com/office/drawing/2014/main" id="{318460CC-1B01-400F-9C8D-4A09FC2C6634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3" name="Freeform 2429">
            <a:extLst>
              <a:ext uri="{FF2B5EF4-FFF2-40B4-BE49-F238E27FC236}">
                <a16:creationId xmlns:a16="http://schemas.microsoft.com/office/drawing/2014/main" id="{15BB7F42-7C1F-44A0-B71D-5E4142CECF15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7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4" name="Freeform 2430">
            <a:extLst>
              <a:ext uri="{FF2B5EF4-FFF2-40B4-BE49-F238E27FC236}">
                <a16:creationId xmlns:a16="http://schemas.microsoft.com/office/drawing/2014/main" id="{09C56D07-DD57-4DA4-B1D0-3393518373ED}"/>
              </a:ext>
            </a:extLst>
          </p:cNvPr>
          <p:cNvSpPr>
            <a:spLocks/>
          </p:cNvSpPr>
          <p:nvPr userDrawn="1"/>
        </p:nvSpPr>
        <p:spPr bwMode="auto">
          <a:xfrm>
            <a:off x="2044599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7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5" name="Freeform 2431">
            <a:extLst>
              <a:ext uri="{FF2B5EF4-FFF2-40B4-BE49-F238E27FC236}">
                <a16:creationId xmlns:a16="http://schemas.microsoft.com/office/drawing/2014/main" id="{BD325F84-EEAC-479F-AFE9-2A492028F0E8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126552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6" name="Freeform 2432">
            <a:extLst>
              <a:ext uri="{FF2B5EF4-FFF2-40B4-BE49-F238E27FC236}">
                <a16:creationId xmlns:a16="http://schemas.microsoft.com/office/drawing/2014/main" id="{DED716AC-DC71-4020-A347-C0587F65B3C9}"/>
              </a:ext>
            </a:extLst>
          </p:cNvPr>
          <p:cNvSpPr>
            <a:spLocks/>
          </p:cNvSpPr>
          <p:nvPr userDrawn="1"/>
        </p:nvSpPr>
        <p:spPr bwMode="auto">
          <a:xfrm>
            <a:off x="2091838" y="217274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7" name="Freeform 2433">
            <a:extLst>
              <a:ext uri="{FF2B5EF4-FFF2-40B4-BE49-F238E27FC236}">
                <a16:creationId xmlns:a16="http://schemas.microsoft.com/office/drawing/2014/main" id="{5E66B585-45A2-43D5-B005-687DE28A25E9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8" name="Freeform 2434">
            <a:extLst>
              <a:ext uri="{FF2B5EF4-FFF2-40B4-BE49-F238E27FC236}">
                <a16:creationId xmlns:a16="http://schemas.microsoft.com/office/drawing/2014/main" id="{D8A88EAA-B0E4-4893-AF68-107537B674C6}"/>
              </a:ext>
            </a:extLst>
          </p:cNvPr>
          <p:cNvSpPr>
            <a:spLocks/>
          </p:cNvSpPr>
          <p:nvPr userDrawn="1"/>
        </p:nvSpPr>
        <p:spPr bwMode="auto">
          <a:xfrm>
            <a:off x="2138026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1 w 155"/>
              <a:gd name="T55" fmla="*/ 5 h 155"/>
              <a:gd name="T56" fmla="*/ 115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9" y="127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9" name="Freeform 2435">
            <a:extLst>
              <a:ext uri="{FF2B5EF4-FFF2-40B4-BE49-F238E27FC236}">
                <a16:creationId xmlns:a16="http://schemas.microsoft.com/office/drawing/2014/main" id="{BCED345D-A91B-4002-9ADD-BC26EDA390D0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216829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2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2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0" name="Freeform 2436">
            <a:extLst>
              <a:ext uri="{FF2B5EF4-FFF2-40B4-BE49-F238E27FC236}">
                <a16:creationId xmlns:a16="http://schemas.microsoft.com/office/drawing/2014/main" id="{F2E82F0B-83A7-4975-AC2D-CA855CD18696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264067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2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1" name="Freeform 2437">
            <a:extLst>
              <a:ext uri="{FF2B5EF4-FFF2-40B4-BE49-F238E27FC236}">
                <a16:creationId xmlns:a16="http://schemas.microsoft.com/office/drawing/2014/main" id="{8A9499E7-03CD-45FE-9308-F5F80A0F67CB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310255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0 h 155"/>
              <a:gd name="T64" fmla="*/ 152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2" name="Freeform 2438">
            <a:extLst>
              <a:ext uri="{FF2B5EF4-FFF2-40B4-BE49-F238E27FC236}">
                <a16:creationId xmlns:a16="http://schemas.microsoft.com/office/drawing/2014/main" id="{4F67968D-63F6-4CF2-A952-6263BE2378FC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126552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0 h 155"/>
              <a:gd name="T64" fmla="*/ 152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2" y="100"/>
                </a:lnTo>
                <a:lnTo>
                  <a:pt x="148" y="108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6" y="108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2" y="54"/>
                </a:lnTo>
                <a:lnTo>
                  <a:pt x="153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3" name="Freeform 2439">
            <a:extLst>
              <a:ext uri="{FF2B5EF4-FFF2-40B4-BE49-F238E27FC236}">
                <a16:creationId xmlns:a16="http://schemas.microsoft.com/office/drawing/2014/main" id="{D43BE26A-1C1A-4153-9610-14F9D9595E13}"/>
              </a:ext>
            </a:extLst>
          </p:cNvPr>
          <p:cNvSpPr>
            <a:spLocks/>
          </p:cNvSpPr>
          <p:nvPr userDrawn="1"/>
        </p:nvSpPr>
        <p:spPr bwMode="auto">
          <a:xfrm>
            <a:off x="2180016" y="217274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5 h 155"/>
              <a:gd name="T56" fmla="*/ 115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2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2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5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5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8" y="48"/>
                </a:lnTo>
                <a:lnTo>
                  <a:pt x="152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4" name="Freeform 2440">
            <a:extLst>
              <a:ext uri="{FF2B5EF4-FFF2-40B4-BE49-F238E27FC236}">
                <a16:creationId xmlns:a16="http://schemas.microsoft.com/office/drawing/2014/main" id="{B4716691-E5F1-45E1-BC65-E60B25876F55}"/>
              </a:ext>
            </a:extLst>
          </p:cNvPr>
          <p:cNvSpPr>
            <a:spLocks/>
          </p:cNvSpPr>
          <p:nvPr userDrawn="1"/>
        </p:nvSpPr>
        <p:spPr bwMode="auto">
          <a:xfrm>
            <a:off x="2230403" y="2216829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5" name="Freeform 2441">
            <a:extLst>
              <a:ext uri="{FF2B5EF4-FFF2-40B4-BE49-F238E27FC236}">
                <a16:creationId xmlns:a16="http://schemas.microsoft.com/office/drawing/2014/main" id="{C7407E69-C1CD-440E-A272-30FBE16760E4}"/>
              </a:ext>
            </a:extLst>
          </p:cNvPr>
          <p:cNvSpPr>
            <a:spLocks/>
          </p:cNvSpPr>
          <p:nvPr userDrawn="1"/>
        </p:nvSpPr>
        <p:spPr bwMode="auto">
          <a:xfrm>
            <a:off x="2230403" y="2264067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3 w 153"/>
              <a:gd name="T43" fmla="*/ 23 h 154"/>
              <a:gd name="T44" fmla="*/ 34 w 153"/>
              <a:gd name="T45" fmla="*/ 13 h 154"/>
              <a:gd name="T46" fmla="*/ 47 w 153"/>
              <a:gd name="T47" fmla="*/ 6 h 154"/>
              <a:gd name="T48" fmla="*/ 61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6" name="Freeform 2442">
            <a:extLst>
              <a:ext uri="{FF2B5EF4-FFF2-40B4-BE49-F238E27FC236}">
                <a16:creationId xmlns:a16="http://schemas.microsoft.com/office/drawing/2014/main" id="{8740B807-EBF0-4FB1-93FB-9D069C5BBB93}"/>
              </a:ext>
            </a:extLst>
          </p:cNvPr>
          <p:cNvSpPr>
            <a:spLocks/>
          </p:cNvSpPr>
          <p:nvPr userDrawn="1"/>
        </p:nvSpPr>
        <p:spPr bwMode="auto">
          <a:xfrm>
            <a:off x="2230403" y="217274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3 w 153"/>
              <a:gd name="T43" fmla="*/ 23 h 155"/>
              <a:gd name="T44" fmla="*/ 34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1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7" name="Freeform 2443">
            <a:extLst>
              <a:ext uri="{FF2B5EF4-FFF2-40B4-BE49-F238E27FC236}">
                <a16:creationId xmlns:a16="http://schemas.microsoft.com/office/drawing/2014/main" id="{3135099C-66DE-46BC-A223-DF5127D40667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03102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8" name="Freeform 2444">
            <a:extLst>
              <a:ext uri="{FF2B5EF4-FFF2-40B4-BE49-F238E27FC236}">
                <a16:creationId xmlns:a16="http://schemas.microsoft.com/office/drawing/2014/main" id="{AFA5D218-EAF2-48D5-9743-1F247547E868}"/>
              </a:ext>
            </a:extLst>
          </p:cNvPr>
          <p:cNvSpPr>
            <a:spLocks/>
          </p:cNvSpPr>
          <p:nvPr userDrawn="1"/>
        </p:nvSpPr>
        <p:spPr bwMode="auto">
          <a:xfrm>
            <a:off x="1768518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7"/>
                </a:lnTo>
                <a:lnTo>
                  <a:pt x="132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9" name="Freeform 2445">
            <a:extLst>
              <a:ext uri="{FF2B5EF4-FFF2-40B4-BE49-F238E27FC236}">
                <a16:creationId xmlns:a16="http://schemas.microsoft.com/office/drawing/2014/main" id="{4366CF11-AB83-42CE-A3F3-E6A6716A0BCB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03102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0" name="Freeform 2446">
            <a:extLst>
              <a:ext uri="{FF2B5EF4-FFF2-40B4-BE49-F238E27FC236}">
                <a16:creationId xmlns:a16="http://schemas.microsoft.com/office/drawing/2014/main" id="{7FEB2886-F0A5-41CA-9DD8-6313A433F866}"/>
              </a:ext>
            </a:extLst>
          </p:cNvPr>
          <p:cNvSpPr>
            <a:spLocks/>
          </p:cNvSpPr>
          <p:nvPr userDrawn="1"/>
        </p:nvSpPr>
        <p:spPr bwMode="auto">
          <a:xfrm>
            <a:off x="1813657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1" name="Freeform 2447">
            <a:extLst>
              <a:ext uri="{FF2B5EF4-FFF2-40B4-BE49-F238E27FC236}">
                <a16:creationId xmlns:a16="http://schemas.microsoft.com/office/drawing/2014/main" id="{9DDD0A3F-4580-4430-9664-81E868180311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03102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0 w 155"/>
              <a:gd name="T29" fmla="*/ 113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7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2" name="Freeform 2448">
            <a:extLst>
              <a:ext uri="{FF2B5EF4-FFF2-40B4-BE49-F238E27FC236}">
                <a16:creationId xmlns:a16="http://schemas.microsoft.com/office/drawing/2014/main" id="{E1C1A7EA-21D7-44E8-9AC5-1C090F56973D}"/>
              </a:ext>
            </a:extLst>
          </p:cNvPr>
          <p:cNvSpPr>
            <a:spLocks/>
          </p:cNvSpPr>
          <p:nvPr userDrawn="1"/>
        </p:nvSpPr>
        <p:spPr bwMode="auto">
          <a:xfrm>
            <a:off x="1859846" y="20772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3" name="Freeform 2449">
            <a:extLst>
              <a:ext uri="{FF2B5EF4-FFF2-40B4-BE49-F238E27FC236}">
                <a16:creationId xmlns:a16="http://schemas.microsoft.com/office/drawing/2014/main" id="{D3E43DD2-F760-43EF-A6E1-B6E2D8C03CA4}"/>
              </a:ext>
            </a:extLst>
          </p:cNvPr>
          <p:cNvSpPr>
            <a:spLocks/>
          </p:cNvSpPr>
          <p:nvPr userDrawn="1"/>
        </p:nvSpPr>
        <p:spPr bwMode="auto">
          <a:xfrm>
            <a:off x="1907082" y="203102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4" name="Freeform 2450">
            <a:extLst>
              <a:ext uri="{FF2B5EF4-FFF2-40B4-BE49-F238E27FC236}">
                <a16:creationId xmlns:a16="http://schemas.microsoft.com/office/drawing/2014/main" id="{2EE3F9CA-C35D-4386-8F30-BC013D1DE755}"/>
              </a:ext>
            </a:extLst>
          </p:cNvPr>
          <p:cNvSpPr>
            <a:spLocks/>
          </p:cNvSpPr>
          <p:nvPr userDrawn="1"/>
        </p:nvSpPr>
        <p:spPr bwMode="auto">
          <a:xfrm>
            <a:off x="1907082" y="207721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0" y="132"/>
                </a:lnTo>
                <a:lnTo>
                  <a:pt x="125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5" name="Freeform 2451">
            <a:extLst>
              <a:ext uri="{FF2B5EF4-FFF2-40B4-BE49-F238E27FC236}">
                <a16:creationId xmlns:a16="http://schemas.microsoft.com/office/drawing/2014/main" id="{4F817ABC-D8F6-450C-940F-A7572EF93675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03102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7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6" name="Freeform 2452">
            <a:extLst>
              <a:ext uri="{FF2B5EF4-FFF2-40B4-BE49-F238E27FC236}">
                <a16:creationId xmlns:a16="http://schemas.microsoft.com/office/drawing/2014/main" id="{F986E444-739A-4E07-B1AD-63E45EA52C26}"/>
              </a:ext>
            </a:extLst>
          </p:cNvPr>
          <p:cNvSpPr>
            <a:spLocks/>
          </p:cNvSpPr>
          <p:nvPr userDrawn="1"/>
        </p:nvSpPr>
        <p:spPr bwMode="auto">
          <a:xfrm>
            <a:off x="1953272" y="207721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2 h 155"/>
              <a:gd name="T12" fmla="*/ 107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7" name="Freeform 2453">
            <a:extLst>
              <a:ext uri="{FF2B5EF4-FFF2-40B4-BE49-F238E27FC236}">
                <a16:creationId xmlns:a16="http://schemas.microsoft.com/office/drawing/2014/main" id="{6EB30159-A201-4E20-82AC-319FCBE45318}"/>
              </a:ext>
            </a:extLst>
          </p:cNvPr>
          <p:cNvSpPr>
            <a:spLocks/>
          </p:cNvSpPr>
          <p:nvPr userDrawn="1"/>
        </p:nvSpPr>
        <p:spPr bwMode="auto">
          <a:xfrm>
            <a:off x="1537575" y="203102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8" name="Freeform 2454">
            <a:extLst>
              <a:ext uri="{FF2B5EF4-FFF2-40B4-BE49-F238E27FC236}">
                <a16:creationId xmlns:a16="http://schemas.microsoft.com/office/drawing/2014/main" id="{FF3F066A-CDB0-4DEB-B952-CC7237DB40B2}"/>
              </a:ext>
            </a:extLst>
          </p:cNvPr>
          <p:cNvSpPr>
            <a:spLocks/>
          </p:cNvSpPr>
          <p:nvPr userDrawn="1"/>
        </p:nvSpPr>
        <p:spPr bwMode="auto">
          <a:xfrm>
            <a:off x="1537575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9" name="Freeform 2455">
            <a:extLst>
              <a:ext uri="{FF2B5EF4-FFF2-40B4-BE49-F238E27FC236}">
                <a16:creationId xmlns:a16="http://schemas.microsoft.com/office/drawing/2014/main" id="{25BB7969-C677-49B4-BE85-F8ACE819F96A}"/>
              </a:ext>
            </a:extLst>
          </p:cNvPr>
          <p:cNvSpPr>
            <a:spLocks/>
          </p:cNvSpPr>
          <p:nvPr userDrawn="1"/>
        </p:nvSpPr>
        <p:spPr bwMode="auto">
          <a:xfrm>
            <a:off x="1582714" y="203102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0" name="Freeform 2456">
            <a:extLst>
              <a:ext uri="{FF2B5EF4-FFF2-40B4-BE49-F238E27FC236}">
                <a16:creationId xmlns:a16="http://schemas.microsoft.com/office/drawing/2014/main" id="{A6C4DE77-F86C-4249-A2F0-EB3657CBA5FE}"/>
              </a:ext>
            </a:extLst>
          </p:cNvPr>
          <p:cNvSpPr>
            <a:spLocks/>
          </p:cNvSpPr>
          <p:nvPr userDrawn="1"/>
        </p:nvSpPr>
        <p:spPr bwMode="auto">
          <a:xfrm>
            <a:off x="1582714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1" name="Freeform 2457">
            <a:extLst>
              <a:ext uri="{FF2B5EF4-FFF2-40B4-BE49-F238E27FC236}">
                <a16:creationId xmlns:a16="http://schemas.microsoft.com/office/drawing/2014/main" id="{45AFEC22-7E90-420B-BB53-D2B096A4B8F1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03102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2" name="Freeform 2458">
            <a:extLst>
              <a:ext uri="{FF2B5EF4-FFF2-40B4-BE49-F238E27FC236}">
                <a16:creationId xmlns:a16="http://schemas.microsoft.com/office/drawing/2014/main" id="{B448D033-B2A7-47D1-AAA4-C4CF7100A9E2}"/>
              </a:ext>
            </a:extLst>
          </p:cNvPr>
          <p:cNvSpPr>
            <a:spLocks/>
          </p:cNvSpPr>
          <p:nvPr userDrawn="1"/>
        </p:nvSpPr>
        <p:spPr bwMode="auto">
          <a:xfrm>
            <a:off x="1629953" y="207721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3" name="Freeform 2459">
            <a:extLst>
              <a:ext uri="{FF2B5EF4-FFF2-40B4-BE49-F238E27FC236}">
                <a16:creationId xmlns:a16="http://schemas.microsoft.com/office/drawing/2014/main" id="{07ABE906-700E-4489-8B55-7277EFCF2E60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03102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4" name="Freeform 2460">
            <a:extLst>
              <a:ext uri="{FF2B5EF4-FFF2-40B4-BE49-F238E27FC236}">
                <a16:creationId xmlns:a16="http://schemas.microsoft.com/office/drawing/2014/main" id="{9F8C1917-CE40-4A4F-8016-B7ECD8595A8B}"/>
              </a:ext>
            </a:extLst>
          </p:cNvPr>
          <p:cNvSpPr>
            <a:spLocks/>
          </p:cNvSpPr>
          <p:nvPr userDrawn="1"/>
        </p:nvSpPr>
        <p:spPr bwMode="auto">
          <a:xfrm>
            <a:off x="1676141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5" name="Freeform 2461">
            <a:extLst>
              <a:ext uri="{FF2B5EF4-FFF2-40B4-BE49-F238E27FC236}">
                <a16:creationId xmlns:a16="http://schemas.microsoft.com/office/drawing/2014/main" id="{B807F0CF-1EF8-48E3-8A9E-4108DC168E2A}"/>
              </a:ext>
            </a:extLst>
          </p:cNvPr>
          <p:cNvSpPr>
            <a:spLocks/>
          </p:cNvSpPr>
          <p:nvPr userDrawn="1"/>
        </p:nvSpPr>
        <p:spPr bwMode="auto">
          <a:xfrm>
            <a:off x="1722329" y="203102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0 w 155"/>
              <a:gd name="T33" fmla="*/ 85 h 155"/>
              <a:gd name="T34" fmla="*/ 0 w 155"/>
              <a:gd name="T35" fmla="*/ 77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7 w 155"/>
              <a:gd name="T51" fmla="*/ 0 h 155"/>
              <a:gd name="T52" fmla="*/ 85 w 155"/>
              <a:gd name="T53" fmla="*/ 0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6" name="Freeform 2462">
            <a:extLst>
              <a:ext uri="{FF2B5EF4-FFF2-40B4-BE49-F238E27FC236}">
                <a16:creationId xmlns:a16="http://schemas.microsoft.com/office/drawing/2014/main" id="{F3CD3E60-CE5F-4540-8310-220A5D92AD8F}"/>
              </a:ext>
            </a:extLst>
          </p:cNvPr>
          <p:cNvSpPr>
            <a:spLocks/>
          </p:cNvSpPr>
          <p:nvPr userDrawn="1"/>
        </p:nvSpPr>
        <p:spPr bwMode="auto">
          <a:xfrm>
            <a:off x="1722329" y="20772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7" name="Freeform 2463">
            <a:extLst>
              <a:ext uri="{FF2B5EF4-FFF2-40B4-BE49-F238E27FC236}">
                <a16:creationId xmlns:a16="http://schemas.microsoft.com/office/drawing/2014/main" id="{FA108D43-7E01-458A-8B7C-47410379BE93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203102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1 h 155"/>
              <a:gd name="T12" fmla="*/ 107 w 153"/>
              <a:gd name="T13" fmla="*/ 148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4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1 h 155"/>
              <a:gd name="T50" fmla="*/ 77 w 153"/>
              <a:gd name="T51" fmla="*/ 0 h 155"/>
              <a:gd name="T52" fmla="*/ 85 w 153"/>
              <a:gd name="T53" fmla="*/ 0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8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8" name="Freeform 2464">
            <a:extLst>
              <a:ext uri="{FF2B5EF4-FFF2-40B4-BE49-F238E27FC236}">
                <a16:creationId xmlns:a16="http://schemas.microsoft.com/office/drawing/2014/main" id="{D5CD7481-D92F-459F-8A02-7BAAA49DD6F3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207721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2 h 155"/>
              <a:gd name="T12" fmla="*/ 107 w 153"/>
              <a:gd name="T13" fmla="*/ 149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9" name="Freeform 2465">
            <a:extLst>
              <a:ext uri="{FF2B5EF4-FFF2-40B4-BE49-F238E27FC236}">
                <a16:creationId xmlns:a16="http://schemas.microsoft.com/office/drawing/2014/main" id="{DAEF467F-A0E1-4AED-9CD3-F54DA0CCADAC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031026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0" name="Freeform 2466">
            <a:extLst>
              <a:ext uri="{FF2B5EF4-FFF2-40B4-BE49-F238E27FC236}">
                <a16:creationId xmlns:a16="http://schemas.microsoft.com/office/drawing/2014/main" id="{787D5F7A-7290-417D-A26A-F5680A809329}"/>
              </a:ext>
            </a:extLst>
          </p:cNvPr>
          <p:cNvSpPr>
            <a:spLocks/>
          </p:cNvSpPr>
          <p:nvPr userDrawn="1"/>
        </p:nvSpPr>
        <p:spPr bwMode="auto">
          <a:xfrm>
            <a:off x="1443100" y="2077213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1" name="Freeform 2467">
            <a:extLst>
              <a:ext uri="{FF2B5EF4-FFF2-40B4-BE49-F238E27FC236}">
                <a16:creationId xmlns:a16="http://schemas.microsoft.com/office/drawing/2014/main" id="{B4EAF1D7-85D5-4CF2-8E6B-9586C68C5CB3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03102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3 h 155"/>
              <a:gd name="T30" fmla="*/ 4 w 155"/>
              <a:gd name="T31" fmla="*/ 100 h 155"/>
              <a:gd name="T32" fmla="*/ 2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2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2" name="Freeform 2468">
            <a:extLst>
              <a:ext uri="{FF2B5EF4-FFF2-40B4-BE49-F238E27FC236}">
                <a16:creationId xmlns:a16="http://schemas.microsoft.com/office/drawing/2014/main" id="{0F18D46A-DA9E-4777-9E7A-270CC2EF08AD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20772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7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7"/>
                </a:lnTo>
                <a:lnTo>
                  <a:pt x="132" y="132"/>
                </a:lnTo>
                <a:lnTo>
                  <a:pt x="127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3" name="Freeform 2469">
            <a:extLst>
              <a:ext uri="{FF2B5EF4-FFF2-40B4-BE49-F238E27FC236}">
                <a16:creationId xmlns:a16="http://schemas.microsoft.com/office/drawing/2014/main" id="{10F71952-A067-4B3B-8F2A-581F0B22F9EE}"/>
              </a:ext>
            </a:extLst>
          </p:cNvPr>
          <p:cNvSpPr>
            <a:spLocks/>
          </p:cNvSpPr>
          <p:nvPr userDrawn="1"/>
        </p:nvSpPr>
        <p:spPr bwMode="auto">
          <a:xfrm>
            <a:off x="1305583" y="203102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9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1 h 155"/>
              <a:gd name="T50" fmla="*/ 76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8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9" y="154"/>
                </a:lnTo>
                <a:lnTo>
                  <a:pt x="61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4" name="Freeform 2470">
            <a:extLst>
              <a:ext uri="{FF2B5EF4-FFF2-40B4-BE49-F238E27FC236}">
                <a16:creationId xmlns:a16="http://schemas.microsoft.com/office/drawing/2014/main" id="{CD71E4CB-5AFE-437D-AF67-749A4D2046B9}"/>
              </a:ext>
            </a:extLst>
          </p:cNvPr>
          <p:cNvSpPr>
            <a:spLocks/>
          </p:cNvSpPr>
          <p:nvPr userDrawn="1"/>
        </p:nvSpPr>
        <p:spPr bwMode="auto">
          <a:xfrm>
            <a:off x="1305583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9 w 154"/>
              <a:gd name="T19" fmla="*/ 155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9" y="155"/>
                </a:lnTo>
                <a:lnTo>
                  <a:pt x="61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3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5" name="Freeform 2471">
            <a:extLst>
              <a:ext uri="{FF2B5EF4-FFF2-40B4-BE49-F238E27FC236}">
                <a16:creationId xmlns:a16="http://schemas.microsoft.com/office/drawing/2014/main" id="{2EAF5438-1F7D-4393-B7C7-AEE142269B28}"/>
              </a:ext>
            </a:extLst>
          </p:cNvPr>
          <p:cNvSpPr>
            <a:spLocks/>
          </p:cNvSpPr>
          <p:nvPr userDrawn="1"/>
        </p:nvSpPr>
        <p:spPr bwMode="auto">
          <a:xfrm>
            <a:off x="1350722" y="2031026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3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7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8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8" y="29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6" name="Freeform 2472">
            <a:extLst>
              <a:ext uri="{FF2B5EF4-FFF2-40B4-BE49-F238E27FC236}">
                <a16:creationId xmlns:a16="http://schemas.microsoft.com/office/drawing/2014/main" id="{8287E767-AF8D-4A3C-A5C4-60476459BE63}"/>
              </a:ext>
            </a:extLst>
          </p:cNvPr>
          <p:cNvSpPr>
            <a:spLocks/>
          </p:cNvSpPr>
          <p:nvPr userDrawn="1"/>
        </p:nvSpPr>
        <p:spPr bwMode="auto">
          <a:xfrm>
            <a:off x="1350722" y="2077213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9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0"/>
                </a:lnTo>
                <a:lnTo>
                  <a:pt x="138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7" name="Freeform 2473">
            <a:extLst>
              <a:ext uri="{FF2B5EF4-FFF2-40B4-BE49-F238E27FC236}">
                <a16:creationId xmlns:a16="http://schemas.microsoft.com/office/drawing/2014/main" id="{B78C668A-792D-4BCF-B4E6-AFD643252181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2077213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8" name="Freeform 2474">
            <a:extLst>
              <a:ext uri="{FF2B5EF4-FFF2-40B4-BE49-F238E27FC236}">
                <a16:creationId xmlns:a16="http://schemas.microsoft.com/office/drawing/2014/main" id="{CBDAAFCA-0A78-443E-8AC5-62BC9611B79F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2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2"/>
                </a:lnTo>
                <a:lnTo>
                  <a:pt x="136" y="127"/>
                </a:lnTo>
                <a:lnTo>
                  <a:pt x="131" y="132"/>
                </a:lnTo>
                <a:lnTo>
                  <a:pt x="125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4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9" name="Freeform 2475">
            <a:extLst>
              <a:ext uri="{FF2B5EF4-FFF2-40B4-BE49-F238E27FC236}">
                <a16:creationId xmlns:a16="http://schemas.microsoft.com/office/drawing/2014/main" id="{3A7E7C02-D5BD-40E7-B2CB-23150C059486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6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4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5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4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6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0" name="Freeform 2476">
            <a:extLst>
              <a:ext uri="{FF2B5EF4-FFF2-40B4-BE49-F238E27FC236}">
                <a16:creationId xmlns:a16="http://schemas.microsoft.com/office/drawing/2014/main" id="{CBB1796D-C9AF-42D7-82C4-E2F17CF571E1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25002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2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2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1" name="Freeform 2477">
            <a:extLst>
              <a:ext uri="{FF2B5EF4-FFF2-40B4-BE49-F238E27FC236}">
                <a16:creationId xmlns:a16="http://schemas.microsoft.com/office/drawing/2014/main" id="{B0FCC8B1-DA73-4173-9C88-2AB407A817B6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29620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0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6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2" name="Freeform 2478">
            <a:extLst>
              <a:ext uri="{FF2B5EF4-FFF2-40B4-BE49-F238E27FC236}">
                <a16:creationId xmlns:a16="http://schemas.microsoft.com/office/drawing/2014/main" id="{2F22CF89-2755-49D1-9E94-AB644EFAAE1A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7" y="127"/>
                </a:lnTo>
                <a:lnTo>
                  <a:pt x="14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3" name="Freeform 2479">
            <a:extLst>
              <a:ext uri="{FF2B5EF4-FFF2-40B4-BE49-F238E27FC236}">
                <a16:creationId xmlns:a16="http://schemas.microsoft.com/office/drawing/2014/main" id="{3D087A48-7E10-4D75-B275-B16370D140CD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4" name="Freeform 2480">
            <a:extLst>
              <a:ext uri="{FF2B5EF4-FFF2-40B4-BE49-F238E27FC236}">
                <a16:creationId xmlns:a16="http://schemas.microsoft.com/office/drawing/2014/main" id="{DD541896-B16E-4162-908E-0F11E3909122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2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2"/>
                </a:lnTo>
                <a:lnTo>
                  <a:pt x="137" y="127"/>
                </a:lnTo>
                <a:lnTo>
                  <a:pt x="132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2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5" name="Freeform 2481">
            <a:extLst>
              <a:ext uri="{FF2B5EF4-FFF2-40B4-BE49-F238E27FC236}">
                <a16:creationId xmlns:a16="http://schemas.microsoft.com/office/drawing/2014/main" id="{8685931D-448F-4509-B03F-F6584A557B04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7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0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6" name="Freeform 2482">
            <a:extLst>
              <a:ext uri="{FF2B5EF4-FFF2-40B4-BE49-F238E27FC236}">
                <a16:creationId xmlns:a16="http://schemas.microsoft.com/office/drawing/2014/main" id="{BD0A3716-DCBE-4F3B-A640-3CD458AF5F67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25002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2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2"/>
                </a:lnTo>
                <a:lnTo>
                  <a:pt x="136" y="127"/>
                </a:lnTo>
                <a:lnTo>
                  <a:pt x="130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7" name="Freeform 2483">
            <a:extLst>
              <a:ext uri="{FF2B5EF4-FFF2-40B4-BE49-F238E27FC236}">
                <a16:creationId xmlns:a16="http://schemas.microsoft.com/office/drawing/2014/main" id="{F2DA1189-B4CB-4134-B0AE-17F40CE4CA32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29620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0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8" name="Freeform 2484">
            <a:extLst>
              <a:ext uri="{FF2B5EF4-FFF2-40B4-BE49-F238E27FC236}">
                <a16:creationId xmlns:a16="http://schemas.microsoft.com/office/drawing/2014/main" id="{625CA6F9-5EBB-4C45-994E-3E070B7865B2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4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4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8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4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2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9" name="Freeform 2485">
            <a:extLst>
              <a:ext uri="{FF2B5EF4-FFF2-40B4-BE49-F238E27FC236}">
                <a16:creationId xmlns:a16="http://schemas.microsoft.com/office/drawing/2014/main" id="{8A844F64-C6E7-4C04-A5AE-FAE1B47F1DBE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8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0" name="Freeform 2486">
            <a:extLst>
              <a:ext uri="{FF2B5EF4-FFF2-40B4-BE49-F238E27FC236}">
                <a16:creationId xmlns:a16="http://schemas.microsoft.com/office/drawing/2014/main" id="{2E7C17E6-C345-4424-9D9D-195F02281FC8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39068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49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5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1" name="Freeform 2487">
            <a:extLst>
              <a:ext uri="{FF2B5EF4-FFF2-40B4-BE49-F238E27FC236}">
                <a16:creationId xmlns:a16="http://schemas.microsoft.com/office/drawing/2014/main" id="{8B648364-E111-4AEA-9584-CB9D36AE26AB}"/>
              </a:ext>
            </a:extLst>
          </p:cNvPr>
          <p:cNvSpPr>
            <a:spLocks/>
          </p:cNvSpPr>
          <p:nvPr userDrawn="1"/>
        </p:nvSpPr>
        <p:spPr bwMode="auto">
          <a:xfrm>
            <a:off x="1351773" y="152505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2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2" name="Freeform 2488">
            <a:extLst>
              <a:ext uri="{FF2B5EF4-FFF2-40B4-BE49-F238E27FC236}">
                <a16:creationId xmlns:a16="http://schemas.microsoft.com/office/drawing/2014/main" id="{31347A62-2A7D-42F1-85E4-303023E1A3A9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152505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2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1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1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3" name="Freeform 2489">
            <a:extLst>
              <a:ext uri="{FF2B5EF4-FFF2-40B4-BE49-F238E27FC236}">
                <a16:creationId xmlns:a16="http://schemas.microsoft.com/office/drawing/2014/main" id="{6AF24423-6EE7-497E-B6FD-79A7FFED574C}"/>
              </a:ext>
            </a:extLst>
          </p:cNvPr>
          <p:cNvSpPr>
            <a:spLocks/>
          </p:cNvSpPr>
          <p:nvPr userDrawn="1"/>
        </p:nvSpPr>
        <p:spPr bwMode="auto">
          <a:xfrm>
            <a:off x="1487188" y="1572290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3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4" name="Freeform 2490">
            <a:extLst>
              <a:ext uri="{FF2B5EF4-FFF2-40B4-BE49-F238E27FC236}">
                <a16:creationId xmlns:a16="http://schemas.microsoft.com/office/drawing/2014/main" id="{9FBF3FD5-B739-44C1-A136-46A81169C1C4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25002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2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5" name="Freeform 2491">
            <a:extLst>
              <a:ext uri="{FF2B5EF4-FFF2-40B4-BE49-F238E27FC236}">
                <a16:creationId xmlns:a16="http://schemas.microsoft.com/office/drawing/2014/main" id="{F73A16CD-5CDD-43FC-8202-59B32D242083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29620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0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6" name="Freeform 2492">
            <a:extLst>
              <a:ext uri="{FF2B5EF4-FFF2-40B4-BE49-F238E27FC236}">
                <a16:creationId xmlns:a16="http://schemas.microsoft.com/office/drawing/2014/main" id="{35E8C4C8-EC99-4631-BCB5-24A084282F05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7" name="Freeform 2493">
            <a:extLst>
              <a:ext uri="{FF2B5EF4-FFF2-40B4-BE49-F238E27FC236}">
                <a16:creationId xmlns:a16="http://schemas.microsoft.com/office/drawing/2014/main" id="{F3C2F8A1-F3E0-4926-938B-60F3B55FAC81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8" name="Freeform 2494">
            <a:extLst>
              <a:ext uri="{FF2B5EF4-FFF2-40B4-BE49-F238E27FC236}">
                <a16:creationId xmlns:a16="http://schemas.microsoft.com/office/drawing/2014/main" id="{901B735C-DB9C-4A74-AF7E-D31710AC7141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9" name="Freeform 2495">
            <a:extLst>
              <a:ext uri="{FF2B5EF4-FFF2-40B4-BE49-F238E27FC236}">
                <a16:creationId xmlns:a16="http://schemas.microsoft.com/office/drawing/2014/main" id="{533686A1-29C5-4CA4-B279-D23C90D5587A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3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0" name="Freeform 2496">
            <a:extLst>
              <a:ext uri="{FF2B5EF4-FFF2-40B4-BE49-F238E27FC236}">
                <a16:creationId xmlns:a16="http://schemas.microsoft.com/office/drawing/2014/main" id="{743977BE-3F51-4A2F-93F0-7362AE954282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2"/>
                </a:lnTo>
                <a:lnTo>
                  <a:pt x="17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1" name="Freeform 2497">
            <a:extLst>
              <a:ext uri="{FF2B5EF4-FFF2-40B4-BE49-F238E27FC236}">
                <a16:creationId xmlns:a16="http://schemas.microsoft.com/office/drawing/2014/main" id="{3B46E647-B57B-400A-8C6D-532D5376089F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2" name="Freeform 2498">
            <a:extLst>
              <a:ext uri="{FF2B5EF4-FFF2-40B4-BE49-F238E27FC236}">
                <a16:creationId xmlns:a16="http://schemas.microsoft.com/office/drawing/2014/main" id="{44AC2CA3-C74D-4627-AB70-DCDDD692147F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2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2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3" name="Freeform 2499">
            <a:extLst>
              <a:ext uri="{FF2B5EF4-FFF2-40B4-BE49-F238E27FC236}">
                <a16:creationId xmlns:a16="http://schemas.microsoft.com/office/drawing/2014/main" id="{7D4071A3-1A19-4A10-8183-4350E1866EFB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4" name="Freeform 2500">
            <a:extLst>
              <a:ext uri="{FF2B5EF4-FFF2-40B4-BE49-F238E27FC236}">
                <a16:creationId xmlns:a16="http://schemas.microsoft.com/office/drawing/2014/main" id="{2B0A2181-F57C-492E-8C80-D0C4FE9624B0}"/>
              </a:ext>
            </a:extLst>
          </p:cNvPr>
          <p:cNvSpPr>
            <a:spLocks/>
          </p:cNvSpPr>
          <p:nvPr userDrawn="1"/>
        </p:nvSpPr>
        <p:spPr bwMode="auto">
          <a:xfrm>
            <a:off x="749223" y="134344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8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8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5" name="Freeform 2501">
            <a:extLst>
              <a:ext uri="{FF2B5EF4-FFF2-40B4-BE49-F238E27FC236}">
                <a16:creationId xmlns:a16="http://schemas.microsoft.com/office/drawing/2014/main" id="{6E7533FB-02BA-4BE0-B632-9115CD3FCFA6}"/>
              </a:ext>
            </a:extLst>
          </p:cNvPr>
          <p:cNvSpPr>
            <a:spLocks/>
          </p:cNvSpPr>
          <p:nvPr userDrawn="1"/>
        </p:nvSpPr>
        <p:spPr bwMode="auto">
          <a:xfrm>
            <a:off x="749223" y="1390684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6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6" name="Freeform 2502">
            <a:extLst>
              <a:ext uri="{FF2B5EF4-FFF2-40B4-BE49-F238E27FC236}">
                <a16:creationId xmlns:a16="http://schemas.microsoft.com/office/drawing/2014/main" id="{CEB81141-0972-40E7-B8A8-2301B04012DC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8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7" name="Freeform 2503">
            <a:extLst>
              <a:ext uri="{FF2B5EF4-FFF2-40B4-BE49-F238E27FC236}">
                <a16:creationId xmlns:a16="http://schemas.microsoft.com/office/drawing/2014/main" id="{96326F84-81D7-43F6-A3AA-CF2FBB2B2035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390684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6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8" name="Freeform 2504">
            <a:extLst>
              <a:ext uri="{FF2B5EF4-FFF2-40B4-BE49-F238E27FC236}">
                <a16:creationId xmlns:a16="http://schemas.microsoft.com/office/drawing/2014/main" id="{323D6313-172F-4EEB-B486-7F06C8CD9B52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19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8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9" name="Freeform 2505">
            <a:extLst>
              <a:ext uri="{FF2B5EF4-FFF2-40B4-BE49-F238E27FC236}">
                <a16:creationId xmlns:a16="http://schemas.microsoft.com/office/drawing/2014/main" id="{138EC6BC-2AFF-4CB6-8996-8D6229165A81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8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0" name="Freeform 2506">
            <a:extLst>
              <a:ext uri="{FF2B5EF4-FFF2-40B4-BE49-F238E27FC236}">
                <a16:creationId xmlns:a16="http://schemas.microsoft.com/office/drawing/2014/main" id="{E46DD8EB-3922-40BD-8DEA-C94E4CF55733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1" name="Freeform 2507">
            <a:extLst>
              <a:ext uri="{FF2B5EF4-FFF2-40B4-BE49-F238E27FC236}">
                <a16:creationId xmlns:a16="http://schemas.microsoft.com/office/drawing/2014/main" id="{FADCAE4B-BBE0-4794-BDAC-FCCA94059E4B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434774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4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3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1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3 h 155"/>
              <a:gd name="T56" fmla="*/ 113 w 153"/>
              <a:gd name="T57" fmla="*/ 9 h 155"/>
              <a:gd name="T58" fmla="*/ 126 w 153"/>
              <a:gd name="T59" fmla="*/ 17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8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2" name="Freeform 2508">
            <a:extLst>
              <a:ext uri="{FF2B5EF4-FFF2-40B4-BE49-F238E27FC236}">
                <a16:creationId xmlns:a16="http://schemas.microsoft.com/office/drawing/2014/main" id="{1C7F3718-140E-4BCD-BF52-366CB1B7B215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480963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2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3" name="Freeform 2509">
            <a:extLst>
              <a:ext uri="{FF2B5EF4-FFF2-40B4-BE49-F238E27FC236}">
                <a16:creationId xmlns:a16="http://schemas.microsoft.com/office/drawing/2014/main" id="{22882F92-5875-4A7C-B1B8-43CEAE990862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4" name="Freeform 2510">
            <a:extLst>
              <a:ext uri="{FF2B5EF4-FFF2-40B4-BE49-F238E27FC236}">
                <a16:creationId xmlns:a16="http://schemas.microsoft.com/office/drawing/2014/main" id="{A1A43D9F-E9FB-41EA-86F2-7579A79772BD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6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6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5" name="Freeform 2511">
            <a:extLst>
              <a:ext uri="{FF2B5EF4-FFF2-40B4-BE49-F238E27FC236}">
                <a16:creationId xmlns:a16="http://schemas.microsoft.com/office/drawing/2014/main" id="{44790207-AE88-4AD8-98C9-8638C6B81870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25002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2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1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2"/>
                </a:lnTo>
                <a:lnTo>
                  <a:pt x="137" y="127"/>
                </a:lnTo>
                <a:lnTo>
                  <a:pt x="132" y="132"/>
                </a:lnTo>
                <a:lnTo>
                  <a:pt x="127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2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6" name="Freeform 2512">
            <a:extLst>
              <a:ext uri="{FF2B5EF4-FFF2-40B4-BE49-F238E27FC236}">
                <a16:creationId xmlns:a16="http://schemas.microsoft.com/office/drawing/2014/main" id="{394A93D2-5E6F-46A4-BA8E-61EB88C7444B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29620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0 h 155"/>
              <a:gd name="T22" fmla="*/ 41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7" name="Freeform 2513">
            <a:extLst>
              <a:ext uri="{FF2B5EF4-FFF2-40B4-BE49-F238E27FC236}">
                <a16:creationId xmlns:a16="http://schemas.microsoft.com/office/drawing/2014/main" id="{66E4829B-9AE2-4F8B-83C7-CC51EAF1FF41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25002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2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2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8" name="Freeform 2514">
            <a:extLst>
              <a:ext uri="{FF2B5EF4-FFF2-40B4-BE49-F238E27FC236}">
                <a16:creationId xmlns:a16="http://schemas.microsoft.com/office/drawing/2014/main" id="{1BDF528B-8FD8-453D-8DEB-3771441A6C0F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296208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0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9" name="Freeform 2515">
            <a:extLst>
              <a:ext uri="{FF2B5EF4-FFF2-40B4-BE49-F238E27FC236}">
                <a16:creationId xmlns:a16="http://schemas.microsoft.com/office/drawing/2014/main" id="{AE9172C9-1379-41C0-841C-59FD655D4BA7}"/>
              </a:ext>
            </a:extLst>
          </p:cNvPr>
          <p:cNvSpPr>
            <a:spLocks/>
          </p:cNvSpPr>
          <p:nvPr userDrawn="1"/>
        </p:nvSpPr>
        <p:spPr bwMode="auto">
          <a:xfrm>
            <a:off x="654747" y="134344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0" name="Freeform 2516">
            <a:extLst>
              <a:ext uri="{FF2B5EF4-FFF2-40B4-BE49-F238E27FC236}">
                <a16:creationId xmlns:a16="http://schemas.microsoft.com/office/drawing/2014/main" id="{DCD2010D-7CC2-41F9-AEF8-9C6145C37EBA}"/>
              </a:ext>
            </a:extLst>
          </p:cNvPr>
          <p:cNvSpPr>
            <a:spLocks/>
          </p:cNvSpPr>
          <p:nvPr userDrawn="1"/>
        </p:nvSpPr>
        <p:spPr bwMode="auto">
          <a:xfrm>
            <a:off x="654747" y="1390684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49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5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6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49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49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3"/>
                </a:lnTo>
                <a:lnTo>
                  <a:pt x="7" y="46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1" name="Freeform 2517">
            <a:extLst>
              <a:ext uri="{FF2B5EF4-FFF2-40B4-BE49-F238E27FC236}">
                <a16:creationId xmlns:a16="http://schemas.microsoft.com/office/drawing/2014/main" id="{0B887F05-C114-4CC5-BE24-80F6BA70EFD3}"/>
              </a:ext>
            </a:extLst>
          </p:cNvPr>
          <p:cNvSpPr>
            <a:spLocks/>
          </p:cNvSpPr>
          <p:nvPr userDrawn="1"/>
        </p:nvSpPr>
        <p:spPr bwMode="auto">
          <a:xfrm>
            <a:off x="701985" y="134344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8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2" name="Freeform 2518">
            <a:extLst>
              <a:ext uri="{FF2B5EF4-FFF2-40B4-BE49-F238E27FC236}">
                <a16:creationId xmlns:a16="http://schemas.microsoft.com/office/drawing/2014/main" id="{C3FB539F-F6B7-4603-BAF3-DF51388F5D2A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434774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3 h 155"/>
              <a:gd name="T20" fmla="*/ 54 w 154"/>
              <a:gd name="T21" fmla="*/ 151 h 155"/>
              <a:gd name="T22" fmla="*/ 40 w 154"/>
              <a:gd name="T23" fmla="*/ 144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3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3 h 155"/>
              <a:gd name="T56" fmla="*/ 114 w 154"/>
              <a:gd name="T57" fmla="*/ 9 h 155"/>
              <a:gd name="T58" fmla="*/ 126 w 154"/>
              <a:gd name="T59" fmla="*/ 17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8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3" name="Freeform 2519">
            <a:extLst>
              <a:ext uri="{FF2B5EF4-FFF2-40B4-BE49-F238E27FC236}">
                <a16:creationId xmlns:a16="http://schemas.microsoft.com/office/drawing/2014/main" id="{0F65D5DE-C7C6-4E60-97A3-F7A63F341F58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434774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4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3 h 155"/>
              <a:gd name="T30" fmla="*/ 3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3 h 155"/>
              <a:gd name="T56" fmla="*/ 114 w 155"/>
              <a:gd name="T57" fmla="*/ 9 h 155"/>
              <a:gd name="T58" fmla="*/ 126 w 155"/>
              <a:gd name="T59" fmla="*/ 17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4" name="Freeform 2520">
            <a:extLst>
              <a:ext uri="{FF2B5EF4-FFF2-40B4-BE49-F238E27FC236}">
                <a16:creationId xmlns:a16="http://schemas.microsoft.com/office/drawing/2014/main" id="{3B68DE43-4F7B-429E-A12B-C3F0A7C6B037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2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5" name="Freeform 2521">
            <a:extLst>
              <a:ext uri="{FF2B5EF4-FFF2-40B4-BE49-F238E27FC236}">
                <a16:creationId xmlns:a16="http://schemas.microsoft.com/office/drawing/2014/main" id="{41FA2F64-F68D-4EF0-89F4-F825F784BCDF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6" name="Freeform 2522">
            <a:extLst>
              <a:ext uri="{FF2B5EF4-FFF2-40B4-BE49-F238E27FC236}">
                <a16:creationId xmlns:a16="http://schemas.microsoft.com/office/drawing/2014/main" id="{6938B5C0-BD6A-4DC1-92C4-7D5D8034F067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7" name="Freeform 2523">
            <a:extLst>
              <a:ext uri="{FF2B5EF4-FFF2-40B4-BE49-F238E27FC236}">
                <a16:creationId xmlns:a16="http://schemas.microsoft.com/office/drawing/2014/main" id="{93A283BF-1F5C-4E82-9072-B8683364AFAB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296208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0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8" name="Freeform 2524">
            <a:extLst>
              <a:ext uri="{FF2B5EF4-FFF2-40B4-BE49-F238E27FC236}">
                <a16:creationId xmlns:a16="http://schemas.microsoft.com/office/drawing/2014/main" id="{4D756BD2-00A2-47C5-AD57-6363FF9DCC71}"/>
              </a:ext>
            </a:extLst>
          </p:cNvPr>
          <p:cNvSpPr>
            <a:spLocks/>
          </p:cNvSpPr>
          <p:nvPr userDrawn="1"/>
        </p:nvSpPr>
        <p:spPr bwMode="auto">
          <a:xfrm>
            <a:off x="659995" y="125002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2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2"/>
                </a:lnTo>
                <a:lnTo>
                  <a:pt x="136" y="127"/>
                </a:lnTo>
                <a:lnTo>
                  <a:pt x="130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9" name="Freeform 2525">
            <a:extLst>
              <a:ext uri="{FF2B5EF4-FFF2-40B4-BE49-F238E27FC236}">
                <a16:creationId xmlns:a16="http://schemas.microsoft.com/office/drawing/2014/main" id="{2AA6D058-92BC-457D-8443-F1F023111855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2 w 154"/>
              <a:gd name="T7" fmla="*/ 122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2" y="122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0" name="Freeform 2526">
            <a:extLst>
              <a:ext uri="{FF2B5EF4-FFF2-40B4-BE49-F238E27FC236}">
                <a16:creationId xmlns:a16="http://schemas.microsoft.com/office/drawing/2014/main" id="{1BF9EB70-3D35-4EFA-A569-F8A3D3C2EE35}"/>
              </a:ext>
            </a:extLst>
          </p:cNvPr>
          <p:cNvSpPr>
            <a:spLocks/>
          </p:cNvSpPr>
          <p:nvPr userDrawn="1"/>
        </p:nvSpPr>
        <p:spPr bwMode="auto">
          <a:xfrm>
            <a:off x="659995" y="1296208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0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1" name="Freeform 2527">
            <a:extLst>
              <a:ext uri="{FF2B5EF4-FFF2-40B4-BE49-F238E27FC236}">
                <a16:creationId xmlns:a16="http://schemas.microsoft.com/office/drawing/2014/main" id="{D2A42C21-7709-4C92-9274-A117B5D1078B}"/>
              </a:ext>
            </a:extLst>
          </p:cNvPr>
          <p:cNvSpPr>
            <a:spLocks/>
          </p:cNvSpPr>
          <p:nvPr userDrawn="1"/>
        </p:nvSpPr>
        <p:spPr bwMode="auto">
          <a:xfrm>
            <a:off x="1399010" y="12500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2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2" name="Freeform 2528">
            <a:extLst>
              <a:ext uri="{FF2B5EF4-FFF2-40B4-BE49-F238E27FC236}">
                <a16:creationId xmlns:a16="http://schemas.microsoft.com/office/drawing/2014/main" id="{279A15A5-08B5-418F-86B7-1C91299CBBC7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6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3" name="Freeform 2529">
            <a:extLst>
              <a:ext uri="{FF2B5EF4-FFF2-40B4-BE49-F238E27FC236}">
                <a16:creationId xmlns:a16="http://schemas.microsoft.com/office/drawing/2014/main" id="{39D3A6FC-0CD6-428C-A072-0316FD211F07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0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6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0"/>
                </a:lnTo>
                <a:lnTo>
                  <a:pt x="125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4" name="Freeform 2530">
            <a:extLst>
              <a:ext uri="{FF2B5EF4-FFF2-40B4-BE49-F238E27FC236}">
                <a16:creationId xmlns:a16="http://schemas.microsoft.com/office/drawing/2014/main" id="{99C7827B-0F98-46D7-AC69-EA6E034BD079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2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5" name="Freeform 2531">
            <a:extLst>
              <a:ext uri="{FF2B5EF4-FFF2-40B4-BE49-F238E27FC236}">
                <a16:creationId xmlns:a16="http://schemas.microsoft.com/office/drawing/2014/main" id="{F730E7D5-D4FE-41EC-8C45-DFE5287AD1D3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20593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2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6" name="Freeform 2532">
            <a:extLst>
              <a:ext uri="{FF2B5EF4-FFF2-40B4-BE49-F238E27FC236}">
                <a16:creationId xmlns:a16="http://schemas.microsoft.com/office/drawing/2014/main" id="{40F02BB0-1E7D-47F9-A562-833578F431A2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7" name="Freeform 2533">
            <a:extLst>
              <a:ext uri="{FF2B5EF4-FFF2-40B4-BE49-F238E27FC236}">
                <a16:creationId xmlns:a16="http://schemas.microsoft.com/office/drawing/2014/main" id="{230A78FA-2BF4-4FA4-BAFB-62A139147778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8" name="Freeform 2534">
            <a:extLst>
              <a:ext uri="{FF2B5EF4-FFF2-40B4-BE49-F238E27FC236}">
                <a16:creationId xmlns:a16="http://schemas.microsoft.com/office/drawing/2014/main" id="{3A7EDDAC-1764-40AD-B829-A8280406F7F5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8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9" name="Freeform 2535">
            <a:extLst>
              <a:ext uri="{FF2B5EF4-FFF2-40B4-BE49-F238E27FC236}">
                <a16:creationId xmlns:a16="http://schemas.microsoft.com/office/drawing/2014/main" id="{CB15378F-62B5-44DE-8D17-C831375B7C6B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9 w 154"/>
              <a:gd name="T5" fmla="*/ 106 h 153"/>
              <a:gd name="T6" fmla="*/ 142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8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2" y="130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0" name="Freeform 2536">
            <a:extLst>
              <a:ext uri="{FF2B5EF4-FFF2-40B4-BE49-F238E27FC236}">
                <a16:creationId xmlns:a16="http://schemas.microsoft.com/office/drawing/2014/main" id="{6441128F-6B59-436C-968D-3862D79D57DF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1586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1" name="Freeform 2537">
            <a:extLst>
              <a:ext uri="{FF2B5EF4-FFF2-40B4-BE49-F238E27FC236}">
                <a16:creationId xmlns:a16="http://schemas.microsoft.com/office/drawing/2014/main" id="{57F19963-98EE-4E77-85DF-C7F38675D2AA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20593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19 h 153"/>
              <a:gd name="T8" fmla="*/ 130 w 153"/>
              <a:gd name="T9" fmla="*/ 130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19"/>
                </a:lnTo>
                <a:lnTo>
                  <a:pt x="136" y="126"/>
                </a:lnTo>
                <a:lnTo>
                  <a:pt x="130" y="130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2" name="Freeform 2538">
            <a:extLst>
              <a:ext uri="{FF2B5EF4-FFF2-40B4-BE49-F238E27FC236}">
                <a16:creationId xmlns:a16="http://schemas.microsoft.com/office/drawing/2014/main" id="{413BB1BE-B6EC-4EEF-B867-155A266AACE7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158694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3" name="Freeform 2539">
            <a:extLst>
              <a:ext uri="{FF2B5EF4-FFF2-40B4-BE49-F238E27FC236}">
                <a16:creationId xmlns:a16="http://schemas.microsoft.com/office/drawing/2014/main" id="{769E3618-D8C4-45D8-9731-DFB36B0B274A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20593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4" name="Freeform 2540">
            <a:extLst>
              <a:ext uri="{FF2B5EF4-FFF2-40B4-BE49-F238E27FC236}">
                <a16:creationId xmlns:a16="http://schemas.microsoft.com/office/drawing/2014/main" id="{7BBED26E-CB04-4B1C-82EE-700454B43375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5" name="Freeform 2541">
            <a:extLst>
              <a:ext uri="{FF2B5EF4-FFF2-40B4-BE49-F238E27FC236}">
                <a16:creationId xmlns:a16="http://schemas.microsoft.com/office/drawing/2014/main" id="{33916B7B-A2E3-4816-BD82-A6E27B8177C2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6" name="Freeform 2542">
            <a:extLst>
              <a:ext uri="{FF2B5EF4-FFF2-40B4-BE49-F238E27FC236}">
                <a16:creationId xmlns:a16="http://schemas.microsoft.com/office/drawing/2014/main" id="{3A05DB95-864C-4CFE-A7E6-B51146890E86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7" name="Freeform 2543">
            <a:extLst>
              <a:ext uri="{FF2B5EF4-FFF2-40B4-BE49-F238E27FC236}">
                <a16:creationId xmlns:a16="http://schemas.microsoft.com/office/drawing/2014/main" id="{8AE717A4-EBC1-4A8C-AB21-A6E57DA34D9A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8" name="Freeform 2544">
            <a:extLst>
              <a:ext uri="{FF2B5EF4-FFF2-40B4-BE49-F238E27FC236}">
                <a16:creationId xmlns:a16="http://schemas.microsoft.com/office/drawing/2014/main" id="{9A24BDAE-9855-4A77-91D8-36E04BF1487C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9" name="Freeform 2545">
            <a:extLst>
              <a:ext uri="{FF2B5EF4-FFF2-40B4-BE49-F238E27FC236}">
                <a16:creationId xmlns:a16="http://schemas.microsoft.com/office/drawing/2014/main" id="{F151B5A8-D706-40F5-BDE7-9E4429B40017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0" name="Freeform 2546">
            <a:extLst>
              <a:ext uri="{FF2B5EF4-FFF2-40B4-BE49-F238E27FC236}">
                <a16:creationId xmlns:a16="http://schemas.microsoft.com/office/drawing/2014/main" id="{F96F96B2-8E1C-4B24-B61C-672583A58B71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1" name="Freeform 2547">
            <a:extLst>
              <a:ext uri="{FF2B5EF4-FFF2-40B4-BE49-F238E27FC236}">
                <a16:creationId xmlns:a16="http://schemas.microsoft.com/office/drawing/2014/main" id="{CFC53C88-4E1D-463E-8671-27EAC8A2D347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2" name="Freeform 2548">
            <a:extLst>
              <a:ext uri="{FF2B5EF4-FFF2-40B4-BE49-F238E27FC236}">
                <a16:creationId xmlns:a16="http://schemas.microsoft.com/office/drawing/2014/main" id="{B41C39C9-B5A1-49EB-9699-B5833F4D65EF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2 h 154"/>
              <a:gd name="T44" fmla="*/ 34 w 154"/>
              <a:gd name="T45" fmla="*/ 13 h 154"/>
              <a:gd name="T46" fmla="*/ 46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6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3" name="Freeform 2549">
            <a:extLst>
              <a:ext uri="{FF2B5EF4-FFF2-40B4-BE49-F238E27FC236}">
                <a16:creationId xmlns:a16="http://schemas.microsoft.com/office/drawing/2014/main" id="{DAF85183-28EC-497F-AA00-5136E00A8BB1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6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6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4" name="Freeform 2550">
            <a:extLst>
              <a:ext uri="{FF2B5EF4-FFF2-40B4-BE49-F238E27FC236}">
                <a16:creationId xmlns:a16="http://schemas.microsoft.com/office/drawing/2014/main" id="{6EAC91DD-3DD1-48F0-A174-85FB119C5AEC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5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8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5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3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2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5" name="Freeform 2551">
            <a:extLst>
              <a:ext uri="{FF2B5EF4-FFF2-40B4-BE49-F238E27FC236}">
                <a16:creationId xmlns:a16="http://schemas.microsoft.com/office/drawing/2014/main" id="{536B38B8-5218-41A3-9BFB-E64C2363FC12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20593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2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8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2" y="130"/>
                </a:lnTo>
                <a:lnTo>
                  <a:pt x="127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1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6" name="Freeform 2552">
            <a:extLst>
              <a:ext uri="{FF2B5EF4-FFF2-40B4-BE49-F238E27FC236}">
                <a16:creationId xmlns:a16="http://schemas.microsoft.com/office/drawing/2014/main" id="{36CE3C7C-79CD-464B-BA4C-F13E163CE316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43057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2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1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8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1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6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7" name="Freeform 2553">
            <a:extLst>
              <a:ext uri="{FF2B5EF4-FFF2-40B4-BE49-F238E27FC236}">
                <a16:creationId xmlns:a16="http://schemas.microsoft.com/office/drawing/2014/main" id="{8C8DC9E9-A710-4FDE-B5F8-89C0ECCE0A08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47781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2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8" name="Freeform 2554">
            <a:extLst>
              <a:ext uri="{FF2B5EF4-FFF2-40B4-BE49-F238E27FC236}">
                <a16:creationId xmlns:a16="http://schemas.microsoft.com/office/drawing/2014/main" id="{7D4896A3-7C7F-40C0-A386-A2380A781F38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43057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10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2" y="131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9" name="Freeform 2555">
            <a:extLst>
              <a:ext uri="{FF2B5EF4-FFF2-40B4-BE49-F238E27FC236}">
                <a16:creationId xmlns:a16="http://schemas.microsoft.com/office/drawing/2014/main" id="{8FEF501C-CF41-4985-B550-AEA44BF4BA7A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477814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0" name="Freeform 2556">
            <a:extLst>
              <a:ext uri="{FF2B5EF4-FFF2-40B4-BE49-F238E27FC236}">
                <a16:creationId xmlns:a16="http://schemas.microsoft.com/office/drawing/2014/main" id="{89B14696-5978-491C-9BDD-60A82A9BAA73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339249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6 h 155"/>
              <a:gd name="T48" fmla="*/ 61 w 154"/>
              <a:gd name="T49" fmla="*/ 1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7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6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1" name="Freeform 2557">
            <a:extLst>
              <a:ext uri="{FF2B5EF4-FFF2-40B4-BE49-F238E27FC236}">
                <a16:creationId xmlns:a16="http://schemas.microsoft.com/office/drawing/2014/main" id="{0A7AC737-2B07-479F-9BEE-F48949588A7C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38648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4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6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6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2" name="Freeform 2558">
            <a:extLst>
              <a:ext uri="{FF2B5EF4-FFF2-40B4-BE49-F238E27FC236}">
                <a16:creationId xmlns:a16="http://schemas.microsoft.com/office/drawing/2014/main" id="{BF8E52EE-1862-4EFC-9FD7-2783843960D5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33924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6 h 155"/>
              <a:gd name="T48" fmla="*/ 62 w 155"/>
              <a:gd name="T49" fmla="*/ 1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7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3" name="Freeform 2559">
            <a:extLst>
              <a:ext uri="{FF2B5EF4-FFF2-40B4-BE49-F238E27FC236}">
                <a16:creationId xmlns:a16="http://schemas.microsoft.com/office/drawing/2014/main" id="{408FF4B3-934C-414B-84F9-2C392A387623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38648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8 w 155"/>
              <a:gd name="T27" fmla="*/ 127 h 155"/>
              <a:gd name="T28" fmla="*/ 10 w 155"/>
              <a:gd name="T29" fmla="*/ 114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5 h 155"/>
              <a:gd name="T56" fmla="*/ 115 w 155"/>
              <a:gd name="T57" fmla="*/ 10 h 155"/>
              <a:gd name="T58" fmla="*/ 127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2" y="132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5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4" name="Freeform 2560">
            <a:extLst>
              <a:ext uri="{FF2B5EF4-FFF2-40B4-BE49-F238E27FC236}">
                <a16:creationId xmlns:a16="http://schemas.microsoft.com/office/drawing/2014/main" id="{DAC3DD6F-067C-4325-8FE6-E15E9521BFEC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5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3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5" name="Freeform 2561">
            <a:extLst>
              <a:ext uri="{FF2B5EF4-FFF2-40B4-BE49-F238E27FC236}">
                <a16:creationId xmlns:a16="http://schemas.microsoft.com/office/drawing/2014/main" id="{1E5509B8-9A22-40FE-BEBC-E637BA24ECA7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20593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6" name="Freeform 2562">
            <a:extLst>
              <a:ext uri="{FF2B5EF4-FFF2-40B4-BE49-F238E27FC236}">
                <a16:creationId xmlns:a16="http://schemas.microsoft.com/office/drawing/2014/main" id="{F841EC34-9B6A-43B3-81B7-3F5A4B4BA9C7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15869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3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5 w 155"/>
              <a:gd name="T45" fmla="*/ 13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7" name="Freeform 2563">
            <a:extLst>
              <a:ext uri="{FF2B5EF4-FFF2-40B4-BE49-F238E27FC236}">
                <a16:creationId xmlns:a16="http://schemas.microsoft.com/office/drawing/2014/main" id="{B4BC6BC9-49E2-4CCB-8A9D-B6E76E5B2040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205931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3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8" name="Freeform 2564">
            <a:extLst>
              <a:ext uri="{FF2B5EF4-FFF2-40B4-BE49-F238E27FC236}">
                <a16:creationId xmlns:a16="http://schemas.microsoft.com/office/drawing/2014/main" id="{6589C474-B965-4F2A-A0F5-CC9783239DDC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9" name="Freeform 2565">
            <a:extLst>
              <a:ext uri="{FF2B5EF4-FFF2-40B4-BE49-F238E27FC236}">
                <a16:creationId xmlns:a16="http://schemas.microsoft.com/office/drawing/2014/main" id="{6A390A44-4A78-4129-872B-4E5DE6766F6C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0" name="Freeform 2566">
            <a:extLst>
              <a:ext uri="{FF2B5EF4-FFF2-40B4-BE49-F238E27FC236}">
                <a16:creationId xmlns:a16="http://schemas.microsoft.com/office/drawing/2014/main" id="{4C37ABAF-EA74-416D-B696-AFF8ED8AA0D9}"/>
              </a:ext>
            </a:extLst>
          </p:cNvPr>
          <p:cNvSpPr>
            <a:spLocks/>
          </p:cNvSpPr>
          <p:nvPr userDrawn="1"/>
        </p:nvSpPr>
        <p:spPr bwMode="auto">
          <a:xfrm>
            <a:off x="1399010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1" name="Freeform 2567">
            <a:extLst>
              <a:ext uri="{FF2B5EF4-FFF2-40B4-BE49-F238E27FC236}">
                <a16:creationId xmlns:a16="http://schemas.microsoft.com/office/drawing/2014/main" id="{9B801A5C-BF86-4309-8F0A-BCC876BEC415}"/>
              </a:ext>
            </a:extLst>
          </p:cNvPr>
          <p:cNvSpPr>
            <a:spLocks/>
          </p:cNvSpPr>
          <p:nvPr userDrawn="1"/>
        </p:nvSpPr>
        <p:spPr bwMode="auto">
          <a:xfrm>
            <a:off x="1399010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2" name="Freeform 2568">
            <a:extLst>
              <a:ext uri="{FF2B5EF4-FFF2-40B4-BE49-F238E27FC236}">
                <a16:creationId xmlns:a16="http://schemas.microsoft.com/office/drawing/2014/main" id="{5DE4A3D8-6212-4D46-87F3-2C407163B10D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1158694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3" name="Freeform 2569">
            <a:extLst>
              <a:ext uri="{FF2B5EF4-FFF2-40B4-BE49-F238E27FC236}">
                <a16:creationId xmlns:a16="http://schemas.microsoft.com/office/drawing/2014/main" id="{53A604F9-5DAA-4793-9E4E-BC1155164DA2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3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3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4" name="Freeform 2570">
            <a:extLst>
              <a:ext uri="{FF2B5EF4-FFF2-40B4-BE49-F238E27FC236}">
                <a16:creationId xmlns:a16="http://schemas.microsoft.com/office/drawing/2014/main" id="{B6E16AB3-2B43-4136-80E7-031235C8B133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5" name="Freeform 2571">
            <a:extLst>
              <a:ext uri="{FF2B5EF4-FFF2-40B4-BE49-F238E27FC236}">
                <a16:creationId xmlns:a16="http://schemas.microsoft.com/office/drawing/2014/main" id="{2C4307A0-C85A-4CEA-B25D-5C35B44B0119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4 h 155"/>
              <a:gd name="T4" fmla="*/ 148 w 154"/>
              <a:gd name="T5" fmla="*/ 108 h 155"/>
              <a:gd name="T6" fmla="*/ 140 w 154"/>
              <a:gd name="T7" fmla="*/ 122 h 155"/>
              <a:gd name="T8" fmla="*/ 131 w 154"/>
              <a:gd name="T9" fmla="*/ 133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4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2"/>
                </a:lnTo>
                <a:lnTo>
                  <a:pt x="136" y="127"/>
                </a:lnTo>
                <a:lnTo>
                  <a:pt x="131" y="133"/>
                </a:lnTo>
                <a:lnTo>
                  <a:pt x="125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4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3"/>
                </a:lnTo>
                <a:lnTo>
                  <a:pt x="18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6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6" name="Freeform 2572">
            <a:extLst>
              <a:ext uri="{FF2B5EF4-FFF2-40B4-BE49-F238E27FC236}">
                <a16:creationId xmlns:a16="http://schemas.microsoft.com/office/drawing/2014/main" id="{175574F0-6893-407F-91A7-B8DED87E43D8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06316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7" name="Freeform 2573">
            <a:extLst>
              <a:ext uri="{FF2B5EF4-FFF2-40B4-BE49-F238E27FC236}">
                <a16:creationId xmlns:a16="http://schemas.microsoft.com/office/drawing/2014/main" id="{9A0308E1-C2FC-4C4D-84F1-70E96A1851AE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11040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4 h 155"/>
              <a:gd name="T4" fmla="*/ 149 w 155"/>
              <a:gd name="T5" fmla="*/ 108 h 155"/>
              <a:gd name="T6" fmla="*/ 141 w 155"/>
              <a:gd name="T7" fmla="*/ 122 h 155"/>
              <a:gd name="T8" fmla="*/ 132 w 155"/>
              <a:gd name="T9" fmla="*/ 133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5 h 155"/>
              <a:gd name="T56" fmla="*/ 115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2" y="94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3"/>
                </a:lnTo>
                <a:lnTo>
                  <a:pt x="126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3"/>
                </a:lnTo>
                <a:lnTo>
                  <a:pt x="18" y="127"/>
                </a:lnTo>
                <a:lnTo>
                  <a:pt x="14" y="122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8" name="Freeform 2574">
            <a:extLst>
              <a:ext uri="{FF2B5EF4-FFF2-40B4-BE49-F238E27FC236}">
                <a16:creationId xmlns:a16="http://schemas.microsoft.com/office/drawing/2014/main" id="{3784784B-03EE-490F-ACF8-DF3C87EDBA61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9" name="Freeform 2575">
            <a:extLst>
              <a:ext uri="{FF2B5EF4-FFF2-40B4-BE49-F238E27FC236}">
                <a16:creationId xmlns:a16="http://schemas.microsoft.com/office/drawing/2014/main" id="{0657CB54-78A3-433C-8BCF-80852EFAADDB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3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4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3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3"/>
                </a:lnTo>
                <a:lnTo>
                  <a:pt x="17" y="127"/>
                </a:lnTo>
                <a:lnTo>
                  <a:pt x="14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0" name="Freeform 2576">
            <a:extLst>
              <a:ext uri="{FF2B5EF4-FFF2-40B4-BE49-F238E27FC236}">
                <a16:creationId xmlns:a16="http://schemas.microsoft.com/office/drawing/2014/main" id="{A3B3C752-6C1E-410E-B491-F239D2D95328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1" name="Freeform 2577">
            <a:extLst>
              <a:ext uri="{FF2B5EF4-FFF2-40B4-BE49-F238E27FC236}">
                <a16:creationId xmlns:a16="http://schemas.microsoft.com/office/drawing/2014/main" id="{C0806819-3905-4DAA-BC03-2704CC804EF3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4 h 155"/>
              <a:gd name="T4" fmla="*/ 149 w 154"/>
              <a:gd name="T5" fmla="*/ 108 h 155"/>
              <a:gd name="T6" fmla="*/ 142 w 154"/>
              <a:gd name="T7" fmla="*/ 122 h 155"/>
              <a:gd name="T8" fmla="*/ 132 w 154"/>
              <a:gd name="T9" fmla="*/ 133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5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4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2"/>
                </a:lnTo>
                <a:lnTo>
                  <a:pt x="137" y="127"/>
                </a:lnTo>
                <a:lnTo>
                  <a:pt x="132" y="133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3"/>
                </a:lnTo>
                <a:lnTo>
                  <a:pt x="18" y="127"/>
                </a:lnTo>
                <a:lnTo>
                  <a:pt x="14" y="122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5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2" name="Freeform 2578">
            <a:extLst>
              <a:ext uri="{FF2B5EF4-FFF2-40B4-BE49-F238E27FC236}">
                <a16:creationId xmlns:a16="http://schemas.microsoft.com/office/drawing/2014/main" id="{4A52000E-20E8-4199-B228-DE8A619181A8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06316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3" name="Freeform 2579">
            <a:extLst>
              <a:ext uri="{FF2B5EF4-FFF2-40B4-BE49-F238E27FC236}">
                <a16:creationId xmlns:a16="http://schemas.microsoft.com/office/drawing/2014/main" id="{2A970E00-01CD-44B8-B7FD-B384D997A149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11040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4 h 155"/>
              <a:gd name="T4" fmla="*/ 147 w 153"/>
              <a:gd name="T5" fmla="*/ 108 h 155"/>
              <a:gd name="T6" fmla="*/ 140 w 153"/>
              <a:gd name="T7" fmla="*/ 122 h 155"/>
              <a:gd name="T8" fmla="*/ 130 w 153"/>
              <a:gd name="T9" fmla="*/ 133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4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2"/>
                </a:lnTo>
                <a:lnTo>
                  <a:pt x="136" y="127"/>
                </a:lnTo>
                <a:lnTo>
                  <a:pt x="130" y="133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3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3" y="5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4" name="Freeform 2580">
            <a:extLst>
              <a:ext uri="{FF2B5EF4-FFF2-40B4-BE49-F238E27FC236}">
                <a16:creationId xmlns:a16="http://schemas.microsoft.com/office/drawing/2014/main" id="{76F53B65-C5C3-4599-BD2F-E89A5F53F085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06316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5" name="Freeform 2581">
            <a:extLst>
              <a:ext uri="{FF2B5EF4-FFF2-40B4-BE49-F238E27FC236}">
                <a16:creationId xmlns:a16="http://schemas.microsoft.com/office/drawing/2014/main" id="{D143106D-BC2D-4992-AE61-1F7A49BF0BED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11040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4 h 155"/>
              <a:gd name="T4" fmla="*/ 147 w 153"/>
              <a:gd name="T5" fmla="*/ 108 h 155"/>
              <a:gd name="T6" fmla="*/ 141 w 153"/>
              <a:gd name="T7" fmla="*/ 122 h 155"/>
              <a:gd name="T8" fmla="*/ 131 w 153"/>
              <a:gd name="T9" fmla="*/ 133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4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3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3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6" name="Freeform 2582">
            <a:extLst>
              <a:ext uri="{FF2B5EF4-FFF2-40B4-BE49-F238E27FC236}">
                <a16:creationId xmlns:a16="http://schemas.microsoft.com/office/drawing/2014/main" id="{728DDDC3-4BC5-4750-AAF6-D9B14F434036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7" name="Freeform 2583">
            <a:extLst>
              <a:ext uri="{FF2B5EF4-FFF2-40B4-BE49-F238E27FC236}">
                <a16:creationId xmlns:a16="http://schemas.microsoft.com/office/drawing/2014/main" id="{DF4ED128-9EED-4636-982B-16CA414E0FBD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3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4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3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3"/>
                </a:lnTo>
                <a:lnTo>
                  <a:pt x="17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8" name="Freeform 2584">
            <a:extLst>
              <a:ext uri="{FF2B5EF4-FFF2-40B4-BE49-F238E27FC236}">
                <a16:creationId xmlns:a16="http://schemas.microsoft.com/office/drawing/2014/main" id="{1868B152-2C17-460A-B3CD-179C92C14524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9" name="Freeform 2585">
            <a:extLst>
              <a:ext uri="{FF2B5EF4-FFF2-40B4-BE49-F238E27FC236}">
                <a16:creationId xmlns:a16="http://schemas.microsoft.com/office/drawing/2014/main" id="{312D4705-8D90-43F3-B4FA-C27131BCD4F3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1 w 154"/>
              <a:gd name="T9" fmla="*/ 133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4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3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3"/>
                </a:lnTo>
                <a:lnTo>
                  <a:pt x="17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0" name="Freeform 2586">
            <a:extLst>
              <a:ext uri="{FF2B5EF4-FFF2-40B4-BE49-F238E27FC236}">
                <a16:creationId xmlns:a16="http://schemas.microsoft.com/office/drawing/2014/main" id="{69064FCB-F84E-41FE-A727-82D399B3CEAD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1" name="Freeform 2587">
            <a:extLst>
              <a:ext uri="{FF2B5EF4-FFF2-40B4-BE49-F238E27FC236}">
                <a16:creationId xmlns:a16="http://schemas.microsoft.com/office/drawing/2014/main" id="{4838ACEB-C2CC-420D-91E2-41212C11ABBD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3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4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3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8" y="138"/>
                </a:lnTo>
                <a:lnTo>
                  <a:pt x="23" y="133"/>
                </a:lnTo>
                <a:lnTo>
                  <a:pt x="17" y="127"/>
                </a:lnTo>
                <a:lnTo>
                  <a:pt x="13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2" name="Freeform 2588">
            <a:extLst>
              <a:ext uri="{FF2B5EF4-FFF2-40B4-BE49-F238E27FC236}">
                <a16:creationId xmlns:a16="http://schemas.microsoft.com/office/drawing/2014/main" id="{331421D5-1D8B-4F58-B026-9430F76554F4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3" name="Freeform 2589">
            <a:extLst>
              <a:ext uri="{FF2B5EF4-FFF2-40B4-BE49-F238E27FC236}">
                <a16:creationId xmlns:a16="http://schemas.microsoft.com/office/drawing/2014/main" id="{0F71A7F0-4DB1-4DD0-A157-A9A3CDC155CB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4 h 155"/>
              <a:gd name="T4" fmla="*/ 147 w 154"/>
              <a:gd name="T5" fmla="*/ 108 h 155"/>
              <a:gd name="T6" fmla="*/ 141 w 154"/>
              <a:gd name="T7" fmla="*/ 122 h 155"/>
              <a:gd name="T8" fmla="*/ 131 w 154"/>
              <a:gd name="T9" fmla="*/ 133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4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8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5 h 155"/>
              <a:gd name="T56" fmla="*/ 113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4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3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7" y="138"/>
                </a:lnTo>
                <a:lnTo>
                  <a:pt x="23" y="133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4" name="Freeform 2590">
            <a:extLst>
              <a:ext uri="{FF2B5EF4-FFF2-40B4-BE49-F238E27FC236}">
                <a16:creationId xmlns:a16="http://schemas.microsoft.com/office/drawing/2014/main" id="{F14D49A0-3290-449D-A3D4-95D643B78CCF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8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9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5" name="Freeform 2591">
            <a:extLst>
              <a:ext uri="{FF2B5EF4-FFF2-40B4-BE49-F238E27FC236}">
                <a16:creationId xmlns:a16="http://schemas.microsoft.com/office/drawing/2014/main" id="{EAC59200-2108-43F2-BD67-B9CDD86B75FA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1 w 154"/>
              <a:gd name="T9" fmla="*/ 133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4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1" y="133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3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6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6" name="Freeform 2592">
            <a:extLst>
              <a:ext uri="{FF2B5EF4-FFF2-40B4-BE49-F238E27FC236}">
                <a16:creationId xmlns:a16="http://schemas.microsoft.com/office/drawing/2014/main" id="{F05988BE-2A4D-4DB5-BE35-07B5F8722C40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06316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7" name="Freeform 2593">
            <a:extLst>
              <a:ext uri="{FF2B5EF4-FFF2-40B4-BE49-F238E27FC236}">
                <a16:creationId xmlns:a16="http://schemas.microsoft.com/office/drawing/2014/main" id="{0F627B9D-1632-487C-B475-6F03C971DBCD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11040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4 h 155"/>
              <a:gd name="T4" fmla="*/ 149 w 155"/>
              <a:gd name="T5" fmla="*/ 108 h 155"/>
              <a:gd name="T6" fmla="*/ 142 w 155"/>
              <a:gd name="T7" fmla="*/ 122 h 155"/>
              <a:gd name="T8" fmla="*/ 132 w 155"/>
              <a:gd name="T9" fmla="*/ 133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5 h 155"/>
              <a:gd name="T56" fmla="*/ 115 w 155"/>
              <a:gd name="T57" fmla="*/ 11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4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2"/>
                </a:lnTo>
                <a:lnTo>
                  <a:pt x="137" y="127"/>
                </a:lnTo>
                <a:lnTo>
                  <a:pt x="132" y="133"/>
                </a:lnTo>
                <a:lnTo>
                  <a:pt x="127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3"/>
                </a:lnTo>
                <a:lnTo>
                  <a:pt x="18" y="127"/>
                </a:lnTo>
                <a:lnTo>
                  <a:pt x="14" y="122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5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8" name="Freeform 2594">
            <a:extLst>
              <a:ext uri="{FF2B5EF4-FFF2-40B4-BE49-F238E27FC236}">
                <a16:creationId xmlns:a16="http://schemas.microsoft.com/office/drawing/2014/main" id="{CCB18985-12F3-4567-B10B-72922FF7DF47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06316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9" name="Freeform 2595">
            <a:extLst>
              <a:ext uri="{FF2B5EF4-FFF2-40B4-BE49-F238E27FC236}">
                <a16:creationId xmlns:a16="http://schemas.microsoft.com/office/drawing/2014/main" id="{E8C1BA2A-B554-4F24-BB0B-E6F9223EA2F6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11040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4 h 155"/>
              <a:gd name="T4" fmla="*/ 149 w 155"/>
              <a:gd name="T5" fmla="*/ 108 h 155"/>
              <a:gd name="T6" fmla="*/ 141 w 155"/>
              <a:gd name="T7" fmla="*/ 122 h 155"/>
              <a:gd name="T8" fmla="*/ 132 w 155"/>
              <a:gd name="T9" fmla="*/ 133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4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3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3"/>
                </a:lnTo>
                <a:lnTo>
                  <a:pt x="18" y="127"/>
                </a:lnTo>
                <a:lnTo>
                  <a:pt x="14" y="122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0" name="Freeform 2596">
            <a:extLst>
              <a:ext uri="{FF2B5EF4-FFF2-40B4-BE49-F238E27FC236}">
                <a16:creationId xmlns:a16="http://schemas.microsoft.com/office/drawing/2014/main" id="{F1DD058B-A79E-4866-9F4B-B88C415B0D01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06316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1" name="Freeform 2597">
            <a:extLst>
              <a:ext uri="{FF2B5EF4-FFF2-40B4-BE49-F238E27FC236}">
                <a16:creationId xmlns:a16="http://schemas.microsoft.com/office/drawing/2014/main" id="{22D2B08E-5668-4AC9-81B7-0736DE06F1D7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110406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4 h 155"/>
              <a:gd name="T4" fmla="*/ 148 w 155"/>
              <a:gd name="T5" fmla="*/ 108 h 155"/>
              <a:gd name="T6" fmla="*/ 141 w 155"/>
              <a:gd name="T7" fmla="*/ 122 h 155"/>
              <a:gd name="T8" fmla="*/ 132 w 155"/>
              <a:gd name="T9" fmla="*/ 133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4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2"/>
                </a:lnTo>
                <a:lnTo>
                  <a:pt x="136" y="127"/>
                </a:lnTo>
                <a:lnTo>
                  <a:pt x="132" y="133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3"/>
                </a:lnTo>
                <a:lnTo>
                  <a:pt x="17" y="127"/>
                </a:lnTo>
                <a:lnTo>
                  <a:pt x="14" y="122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4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2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2" name="Freeform 2598">
            <a:extLst>
              <a:ext uri="{FF2B5EF4-FFF2-40B4-BE49-F238E27FC236}">
                <a16:creationId xmlns:a16="http://schemas.microsoft.com/office/drawing/2014/main" id="{1DD1DA22-8731-4A76-993B-990C60636049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06316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3" name="Freeform 2599">
            <a:extLst>
              <a:ext uri="{FF2B5EF4-FFF2-40B4-BE49-F238E27FC236}">
                <a16:creationId xmlns:a16="http://schemas.microsoft.com/office/drawing/2014/main" id="{106C9742-788E-41D2-A37D-9835F38B964E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11040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4 h 155"/>
              <a:gd name="T4" fmla="*/ 147 w 154"/>
              <a:gd name="T5" fmla="*/ 108 h 155"/>
              <a:gd name="T6" fmla="*/ 141 w 154"/>
              <a:gd name="T7" fmla="*/ 122 h 155"/>
              <a:gd name="T8" fmla="*/ 131 w 154"/>
              <a:gd name="T9" fmla="*/ 133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4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3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3"/>
                </a:lnTo>
                <a:lnTo>
                  <a:pt x="18" y="127"/>
                </a:lnTo>
                <a:lnTo>
                  <a:pt x="14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99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4" name="Freeform 2600">
            <a:extLst>
              <a:ext uri="{FF2B5EF4-FFF2-40B4-BE49-F238E27FC236}">
                <a16:creationId xmlns:a16="http://schemas.microsoft.com/office/drawing/2014/main" id="{B3AF8A20-0B04-4DB9-8E38-8CB2F00984B1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6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5" name="Freeform 2601">
            <a:extLst>
              <a:ext uri="{FF2B5EF4-FFF2-40B4-BE49-F238E27FC236}">
                <a16:creationId xmlns:a16="http://schemas.microsoft.com/office/drawing/2014/main" id="{D9252124-AA13-4CDC-9B5E-7A69CD6F198D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6" name="Freeform 2602">
            <a:extLst>
              <a:ext uri="{FF2B5EF4-FFF2-40B4-BE49-F238E27FC236}">
                <a16:creationId xmlns:a16="http://schemas.microsoft.com/office/drawing/2014/main" id="{CFD98C0E-FB8A-4CB8-9E15-FC30F5E9D95D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97079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2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7" name="Freeform 2603">
            <a:extLst>
              <a:ext uri="{FF2B5EF4-FFF2-40B4-BE49-F238E27FC236}">
                <a16:creationId xmlns:a16="http://schemas.microsoft.com/office/drawing/2014/main" id="{34297982-0519-4FE7-B557-F8C16BBD15F3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01802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8" name="Freeform 2604">
            <a:extLst>
              <a:ext uri="{FF2B5EF4-FFF2-40B4-BE49-F238E27FC236}">
                <a16:creationId xmlns:a16="http://schemas.microsoft.com/office/drawing/2014/main" id="{24167024-58E1-4B97-9593-3AA1C0BD50FD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9" name="Freeform 2605">
            <a:extLst>
              <a:ext uri="{FF2B5EF4-FFF2-40B4-BE49-F238E27FC236}">
                <a16:creationId xmlns:a16="http://schemas.microsoft.com/office/drawing/2014/main" id="{D72C64E9-36BE-4530-857F-2E661D2674C4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0" name="Freeform 2606">
            <a:extLst>
              <a:ext uri="{FF2B5EF4-FFF2-40B4-BE49-F238E27FC236}">
                <a16:creationId xmlns:a16="http://schemas.microsoft.com/office/drawing/2014/main" id="{A3FCDABB-C2E6-494F-8634-E15538A1E576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1" name="Freeform 2607">
            <a:extLst>
              <a:ext uri="{FF2B5EF4-FFF2-40B4-BE49-F238E27FC236}">
                <a16:creationId xmlns:a16="http://schemas.microsoft.com/office/drawing/2014/main" id="{AE247371-8C7E-4499-972F-0663FA92D6CC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2" name="Freeform 2608">
            <a:extLst>
              <a:ext uri="{FF2B5EF4-FFF2-40B4-BE49-F238E27FC236}">
                <a16:creationId xmlns:a16="http://schemas.microsoft.com/office/drawing/2014/main" id="{15B5AD43-07DF-41AE-BCD4-F9A75A786915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3" name="Freeform 2609">
            <a:extLst>
              <a:ext uri="{FF2B5EF4-FFF2-40B4-BE49-F238E27FC236}">
                <a16:creationId xmlns:a16="http://schemas.microsoft.com/office/drawing/2014/main" id="{0C95E4D4-D290-4C42-97F5-1754BEA50DE1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101802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4" name="Freeform 2610">
            <a:extLst>
              <a:ext uri="{FF2B5EF4-FFF2-40B4-BE49-F238E27FC236}">
                <a16:creationId xmlns:a16="http://schemas.microsoft.com/office/drawing/2014/main" id="{2F5C1FB6-4E47-4560-91EB-A88F609AD899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5" name="Freeform 2611">
            <a:extLst>
              <a:ext uri="{FF2B5EF4-FFF2-40B4-BE49-F238E27FC236}">
                <a16:creationId xmlns:a16="http://schemas.microsoft.com/office/drawing/2014/main" id="{444447E6-AFCA-42EF-AB23-795F5F9E8CCB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101802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6" name="Freeform 2612">
            <a:extLst>
              <a:ext uri="{FF2B5EF4-FFF2-40B4-BE49-F238E27FC236}">
                <a16:creationId xmlns:a16="http://schemas.microsoft.com/office/drawing/2014/main" id="{7EB38642-70C0-427F-8884-9C0409A28647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7" name="Freeform 2613">
            <a:extLst>
              <a:ext uri="{FF2B5EF4-FFF2-40B4-BE49-F238E27FC236}">
                <a16:creationId xmlns:a16="http://schemas.microsoft.com/office/drawing/2014/main" id="{C5DC97AE-9BEB-4F3B-8217-270A33E9551A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8" name="Freeform 2614">
            <a:extLst>
              <a:ext uri="{FF2B5EF4-FFF2-40B4-BE49-F238E27FC236}">
                <a16:creationId xmlns:a16="http://schemas.microsoft.com/office/drawing/2014/main" id="{61F7D31D-F707-4351-B76E-3389AB2B65A9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9" name="Freeform 2615">
            <a:extLst>
              <a:ext uri="{FF2B5EF4-FFF2-40B4-BE49-F238E27FC236}">
                <a16:creationId xmlns:a16="http://schemas.microsoft.com/office/drawing/2014/main" id="{16DEB828-FFEC-40E7-B694-6102229FCC4F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19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0" name="Freeform 2616">
            <a:extLst>
              <a:ext uri="{FF2B5EF4-FFF2-40B4-BE49-F238E27FC236}">
                <a16:creationId xmlns:a16="http://schemas.microsoft.com/office/drawing/2014/main" id="{89907013-E610-4478-88B4-9EBCAC405693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1" name="Freeform 2618">
            <a:extLst>
              <a:ext uri="{FF2B5EF4-FFF2-40B4-BE49-F238E27FC236}">
                <a16:creationId xmlns:a16="http://schemas.microsoft.com/office/drawing/2014/main" id="{F1DFB55B-51F6-4507-9D44-7071501AFB94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2" name="Freeform 2619">
            <a:extLst>
              <a:ext uri="{FF2B5EF4-FFF2-40B4-BE49-F238E27FC236}">
                <a16:creationId xmlns:a16="http://schemas.microsoft.com/office/drawing/2014/main" id="{799A641F-19CD-4265-8B2D-9C46B6C0DEC1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3" name="Freeform 2620">
            <a:extLst>
              <a:ext uri="{FF2B5EF4-FFF2-40B4-BE49-F238E27FC236}">
                <a16:creationId xmlns:a16="http://schemas.microsoft.com/office/drawing/2014/main" id="{A7E9FBFB-AB37-4B49-A3E3-0E614DD5BC12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2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4" name="Freeform 2621">
            <a:extLst>
              <a:ext uri="{FF2B5EF4-FFF2-40B4-BE49-F238E27FC236}">
                <a16:creationId xmlns:a16="http://schemas.microsoft.com/office/drawing/2014/main" id="{849A6BD1-FEA3-427F-ADEE-EA468CD062FB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6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5" name="Freeform 2622">
            <a:extLst>
              <a:ext uri="{FF2B5EF4-FFF2-40B4-BE49-F238E27FC236}">
                <a16:creationId xmlns:a16="http://schemas.microsoft.com/office/drawing/2014/main" id="{36AEAA33-EC1C-48A5-BB70-E1F4D15C2FB7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6" name="Freeform 2623">
            <a:extLst>
              <a:ext uri="{FF2B5EF4-FFF2-40B4-BE49-F238E27FC236}">
                <a16:creationId xmlns:a16="http://schemas.microsoft.com/office/drawing/2014/main" id="{103B2D46-9255-44FE-93CF-A2021A76721E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97079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8 w 155"/>
              <a:gd name="T47" fmla="*/ 5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7" name="Freeform 2624">
            <a:extLst>
              <a:ext uri="{FF2B5EF4-FFF2-40B4-BE49-F238E27FC236}">
                <a16:creationId xmlns:a16="http://schemas.microsoft.com/office/drawing/2014/main" id="{FB9460EC-101F-4B4B-95F0-1016E426FE0C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01802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8" name="Freeform 2625">
            <a:extLst>
              <a:ext uri="{FF2B5EF4-FFF2-40B4-BE49-F238E27FC236}">
                <a16:creationId xmlns:a16="http://schemas.microsoft.com/office/drawing/2014/main" id="{229585BA-4213-4CC1-994C-ED809158DA4E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97079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5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9" name="Freeform 2626">
            <a:extLst>
              <a:ext uri="{FF2B5EF4-FFF2-40B4-BE49-F238E27FC236}">
                <a16:creationId xmlns:a16="http://schemas.microsoft.com/office/drawing/2014/main" id="{CCDC61B4-B5D9-49C0-A0B7-4D5EF379C4A0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101802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0" name="Freeform 2627">
            <a:extLst>
              <a:ext uri="{FF2B5EF4-FFF2-40B4-BE49-F238E27FC236}">
                <a16:creationId xmlns:a16="http://schemas.microsoft.com/office/drawing/2014/main" id="{8B9722AF-D86C-45DA-A7CA-4808BAF29E2D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1" name="Freeform 2628">
            <a:extLst>
              <a:ext uri="{FF2B5EF4-FFF2-40B4-BE49-F238E27FC236}">
                <a16:creationId xmlns:a16="http://schemas.microsoft.com/office/drawing/2014/main" id="{A8746C35-2FF3-40B1-8D7C-8DD33826C952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2" name="Freeform 2629">
            <a:extLst>
              <a:ext uri="{FF2B5EF4-FFF2-40B4-BE49-F238E27FC236}">
                <a16:creationId xmlns:a16="http://schemas.microsoft.com/office/drawing/2014/main" id="{52840A76-F86F-4173-BAFB-6BD19F739B39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3" name="Freeform 2630">
            <a:extLst>
              <a:ext uri="{FF2B5EF4-FFF2-40B4-BE49-F238E27FC236}">
                <a16:creationId xmlns:a16="http://schemas.microsoft.com/office/drawing/2014/main" id="{3C7F8CE8-7B37-4DF9-A112-FF8B86B1A19E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4" name="Freeform 2631">
            <a:extLst>
              <a:ext uri="{FF2B5EF4-FFF2-40B4-BE49-F238E27FC236}">
                <a16:creationId xmlns:a16="http://schemas.microsoft.com/office/drawing/2014/main" id="{30D71A5C-36F5-49D2-95FE-A32B2A585216}"/>
              </a:ext>
            </a:extLst>
          </p:cNvPr>
          <p:cNvSpPr>
            <a:spLocks/>
          </p:cNvSpPr>
          <p:nvPr userDrawn="1"/>
        </p:nvSpPr>
        <p:spPr bwMode="auto">
          <a:xfrm>
            <a:off x="658946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8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5" name="Freeform 2632">
            <a:extLst>
              <a:ext uri="{FF2B5EF4-FFF2-40B4-BE49-F238E27FC236}">
                <a16:creationId xmlns:a16="http://schemas.microsoft.com/office/drawing/2014/main" id="{4F7634CC-BC0A-496D-8B08-1A58382E962E}"/>
              </a:ext>
            </a:extLst>
          </p:cNvPr>
          <p:cNvSpPr>
            <a:spLocks/>
          </p:cNvSpPr>
          <p:nvPr userDrawn="1"/>
        </p:nvSpPr>
        <p:spPr bwMode="auto">
          <a:xfrm>
            <a:off x="658946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6" name="Freeform 2633">
            <a:extLst>
              <a:ext uri="{FF2B5EF4-FFF2-40B4-BE49-F238E27FC236}">
                <a16:creationId xmlns:a16="http://schemas.microsoft.com/office/drawing/2014/main" id="{08772A6C-4E7F-4064-933C-0F1E9AF009DE}"/>
              </a:ext>
            </a:extLst>
          </p:cNvPr>
          <p:cNvSpPr>
            <a:spLocks/>
          </p:cNvSpPr>
          <p:nvPr userDrawn="1"/>
        </p:nvSpPr>
        <p:spPr bwMode="auto">
          <a:xfrm>
            <a:off x="613807" y="101802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4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7" name="Freeform 2634">
            <a:extLst>
              <a:ext uri="{FF2B5EF4-FFF2-40B4-BE49-F238E27FC236}">
                <a16:creationId xmlns:a16="http://schemas.microsoft.com/office/drawing/2014/main" id="{C3C02A10-6651-4078-A54B-2FE78939CCE9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8" name="Freeform 2635">
            <a:extLst>
              <a:ext uri="{FF2B5EF4-FFF2-40B4-BE49-F238E27FC236}">
                <a16:creationId xmlns:a16="http://schemas.microsoft.com/office/drawing/2014/main" id="{8A207A92-3DE0-4B53-B0E6-F23636FEC468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6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9" name="Freeform 2636">
            <a:extLst>
              <a:ext uri="{FF2B5EF4-FFF2-40B4-BE49-F238E27FC236}">
                <a16:creationId xmlns:a16="http://schemas.microsoft.com/office/drawing/2014/main" id="{4E0FF10A-3F0E-43BA-AEBE-69DFB9158525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8794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0" name="Freeform 2637">
            <a:extLst>
              <a:ext uri="{FF2B5EF4-FFF2-40B4-BE49-F238E27FC236}">
                <a16:creationId xmlns:a16="http://schemas.microsoft.com/office/drawing/2014/main" id="{1702C348-2567-4CB6-8652-3EBB0558C8B4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92670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9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1" name="Freeform 2638">
            <a:extLst>
              <a:ext uri="{FF2B5EF4-FFF2-40B4-BE49-F238E27FC236}">
                <a16:creationId xmlns:a16="http://schemas.microsoft.com/office/drawing/2014/main" id="{D091C5E8-A466-4013-9116-A94C1D156AD3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2" name="Freeform 2639">
            <a:extLst>
              <a:ext uri="{FF2B5EF4-FFF2-40B4-BE49-F238E27FC236}">
                <a16:creationId xmlns:a16="http://schemas.microsoft.com/office/drawing/2014/main" id="{D08AAA95-4C24-49B3-BEB1-275923E5B98F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3" name="Freeform 2640">
            <a:extLst>
              <a:ext uri="{FF2B5EF4-FFF2-40B4-BE49-F238E27FC236}">
                <a16:creationId xmlns:a16="http://schemas.microsoft.com/office/drawing/2014/main" id="{BA22B55E-910F-4B33-8705-E400CE0E99DA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4" name="Freeform 2641">
            <a:extLst>
              <a:ext uri="{FF2B5EF4-FFF2-40B4-BE49-F238E27FC236}">
                <a16:creationId xmlns:a16="http://schemas.microsoft.com/office/drawing/2014/main" id="{BB082488-E3C7-438C-B40D-8B0A1358FA64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8 h 154"/>
              <a:gd name="T6" fmla="*/ 142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5" name="Freeform 2642">
            <a:extLst>
              <a:ext uri="{FF2B5EF4-FFF2-40B4-BE49-F238E27FC236}">
                <a16:creationId xmlns:a16="http://schemas.microsoft.com/office/drawing/2014/main" id="{75C60325-2332-49E7-9E1D-BB95D9E9FCC5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6" name="Freeform 2643">
            <a:extLst>
              <a:ext uri="{FF2B5EF4-FFF2-40B4-BE49-F238E27FC236}">
                <a16:creationId xmlns:a16="http://schemas.microsoft.com/office/drawing/2014/main" id="{59E8C9A8-24EC-4EA9-90D3-6A3DA5C03B8D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92670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7" name="Freeform 2644">
            <a:extLst>
              <a:ext uri="{FF2B5EF4-FFF2-40B4-BE49-F238E27FC236}">
                <a16:creationId xmlns:a16="http://schemas.microsoft.com/office/drawing/2014/main" id="{3AEA41FD-26E9-43D2-B94A-097EC9CDBCDA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8" name="Freeform 2645">
            <a:extLst>
              <a:ext uri="{FF2B5EF4-FFF2-40B4-BE49-F238E27FC236}">
                <a16:creationId xmlns:a16="http://schemas.microsoft.com/office/drawing/2014/main" id="{75597FBB-790F-42AF-9FC3-A0CE36D47D8B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92670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8 h 154"/>
              <a:gd name="T6" fmla="*/ 141 w 153"/>
              <a:gd name="T7" fmla="*/ 120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9" name="Freeform 2646">
            <a:extLst>
              <a:ext uri="{FF2B5EF4-FFF2-40B4-BE49-F238E27FC236}">
                <a16:creationId xmlns:a16="http://schemas.microsoft.com/office/drawing/2014/main" id="{68E99BAA-2FD5-406C-B682-6F2D7DC85039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0" name="Freeform 2647">
            <a:extLst>
              <a:ext uri="{FF2B5EF4-FFF2-40B4-BE49-F238E27FC236}">
                <a16:creationId xmlns:a16="http://schemas.microsoft.com/office/drawing/2014/main" id="{1267BD46-3751-465F-8655-41554CDA1363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1" name="Freeform 2648">
            <a:extLst>
              <a:ext uri="{FF2B5EF4-FFF2-40B4-BE49-F238E27FC236}">
                <a16:creationId xmlns:a16="http://schemas.microsoft.com/office/drawing/2014/main" id="{9158D0C1-F9E3-4343-83A9-6E2F89F50545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19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2" name="Freeform 2649">
            <a:extLst>
              <a:ext uri="{FF2B5EF4-FFF2-40B4-BE49-F238E27FC236}">
                <a16:creationId xmlns:a16="http://schemas.microsoft.com/office/drawing/2014/main" id="{8FB4C994-2577-4321-A49A-AAF08128F46F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3" name="Freeform 2650">
            <a:extLst>
              <a:ext uri="{FF2B5EF4-FFF2-40B4-BE49-F238E27FC236}">
                <a16:creationId xmlns:a16="http://schemas.microsoft.com/office/drawing/2014/main" id="{CCBB74D3-F3D3-4276-AE27-7659EA3D13FE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4" name="Freeform 2651">
            <a:extLst>
              <a:ext uri="{FF2B5EF4-FFF2-40B4-BE49-F238E27FC236}">
                <a16:creationId xmlns:a16="http://schemas.microsoft.com/office/drawing/2014/main" id="{A552707E-8F63-4632-932A-F7F86DB060CE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5" name="Freeform 2652">
            <a:extLst>
              <a:ext uri="{FF2B5EF4-FFF2-40B4-BE49-F238E27FC236}">
                <a16:creationId xmlns:a16="http://schemas.microsoft.com/office/drawing/2014/main" id="{40F7654A-DC78-4DF3-9863-40839A0E1DF6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6" name="Freeform 2653">
            <a:extLst>
              <a:ext uri="{FF2B5EF4-FFF2-40B4-BE49-F238E27FC236}">
                <a16:creationId xmlns:a16="http://schemas.microsoft.com/office/drawing/2014/main" id="{5FDEF8C2-F3C4-486C-A9E4-63300A224DD9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9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7" name="Freeform 2654">
            <a:extLst>
              <a:ext uri="{FF2B5EF4-FFF2-40B4-BE49-F238E27FC236}">
                <a16:creationId xmlns:a16="http://schemas.microsoft.com/office/drawing/2014/main" id="{B4953BB9-751F-444D-8CFC-A4962BDE5292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8" name="Freeform 2655">
            <a:extLst>
              <a:ext uri="{FF2B5EF4-FFF2-40B4-BE49-F238E27FC236}">
                <a16:creationId xmlns:a16="http://schemas.microsoft.com/office/drawing/2014/main" id="{96863900-DD8E-496E-AA9D-483CD1E37B79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6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6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6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9" name="Freeform 2656">
            <a:extLst>
              <a:ext uri="{FF2B5EF4-FFF2-40B4-BE49-F238E27FC236}">
                <a16:creationId xmlns:a16="http://schemas.microsoft.com/office/drawing/2014/main" id="{8FC971A1-55B3-4BA0-BF3A-2C0F6C32DE94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8794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0" name="Freeform 2657">
            <a:extLst>
              <a:ext uri="{FF2B5EF4-FFF2-40B4-BE49-F238E27FC236}">
                <a16:creationId xmlns:a16="http://schemas.microsoft.com/office/drawing/2014/main" id="{52CFF10D-2FDE-42C8-AC09-EFC125BAD64E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92670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9 w 155"/>
              <a:gd name="T5" fmla="*/ 108 h 154"/>
              <a:gd name="T6" fmla="*/ 142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1" name="Freeform 2658">
            <a:extLst>
              <a:ext uri="{FF2B5EF4-FFF2-40B4-BE49-F238E27FC236}">
                <a16:creationId xmlns:a16="http://schemas.microsoft.com/office/drawing/2014/main" id="{07810805-DC4E-483C-B71C-0E065596C956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8794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2" name="Freeform 2659">
            <a:extLst>
              <a:ext uri="{FF2B5EF4-FFF2-40B4-BE49-F238E27FC236}">
                <a16:creationId xmlns:a16="http://schemas.microsoft.com/office/drawing/2014/main" id="{87E3F7B4-DA51-4A06-A36C-4D3614B9CD7F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92670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9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3" name="Freeform 2660">
            <a:extLst>
              <a:ext uri="{FF2B5EF4-FFF2-40B4-BE49-F238E27FC236}">
                <a16:creationId xmlns:a16="http://schemas.microsoft.com/office/drawing/2014/main" id="{EB47F14F-899E-405A-8691-0F0CB630047F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8794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4" name="Freeform 2661">
            <a:extLst>
              <a:ext uri="{FF2B5EF4-FFF2-40B4-BE49-F238E27FC236}">
                <a16:creationId xmlns:a16="http://schemas.microsoft.com/office/drawing/2014/main" id="{AF1DC24D-B69D-49EC-BF14-94583E9FB86B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92670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3 h 154"/>
              <a:gd name="T4" fmla="*/ 148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5" name="Freeform 2662">
            <a:extLst>
              <a:ext uri="{FF2B5EF4-FFF2-40B4-BE49-F238E27FC236}">
                <a16:creationId xmlns:a16="http://schemas.microsoft.com/office/drawing/2014/main" id="{34CEF7CA-311F-4768-82B8-17757F4C4ACE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6" name="Freeform 2663">
            <a:extLst>
              <a:ext uri="{FF2B5EF4-FFF2-40B4-BE49-F238E27FC236}">
                <a16:creationId xmlns:a16="http://schemas.microsoft.com/office/drawing/2014/main" id="{C4ED1B1C-84AC-4EA2-8C0A-1006261DE090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7" name="Freeform 2664">
            <a:extLst>
              <a:ext uri="{FF2B5EF4-FFF2-40B4-BE49-F238E27FC236}">
                <a16:creationId xmlns:a16="http://schemas.microsoft.com/office/drawing/2014/main" id="{EE92CD83-2176-40E4-ADF9-4757772B1CF1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6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8" name="Freeform 2665">
            <a:extLst>
              <a:ext uri="{FF2B5EF4-FFF2-40B4-BE49-F238E27FC236}">
                <a16:creationId xmlns:a16="http://schemas.microsoft.com/office/drawing/2014/main" id="{DE2D0AC4-7D07-4C38-95EC-DA9AB0F2E2DC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6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9" name="Freeform 2666">
            <a:extLst>
              <a:ext uri="{FF2B5EF4-FFF2-40B4-BE49-F238E27FC236}">
                <a16:creationId xmlns:a16="http://schemas.microsoft.com/office/drawing/2014/main" id="{5B52C24E-7C3B-478F-A329-7F444FA81B62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783938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0" name="Freeform 2667">
            <a:extLst>
              <a:ext uri="{FF2B5EF4-FFF2-40B4-BE49-F238E27FC236}">
                <a16:creationId xmlns:a16="http://schemas.microsoft.com/office/drawing/2014/main" id="{4AB3FF5D-BA3C-451E-B842-BDC97D57F6BC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83117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1" name="Freeform 2668">
            <a:extLst>
              <a:ext uri="{FF2B5EF4-FFF2-40B4-BE49-F238E27FC236}">
                <a16:creationId xmlns:a16="http://schemas.microsoft.com/office/drawing/2014/main" id="{50DB1F50-F5C6-4902-8F8C-8993ABE334F0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2" name="Freeform 2669">
            <a:extLst>
              <a:ext uri="{FF2B5EF4-FFF2-40B4-BE49-F238E27FC236}">
                <a16:creationId xmlns:a16="http://schemas.microsoft.com/office/drawing/2014/main" id="{1C1D093D-F445-4C1E-B49E-DBFB70923BA0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3" name="Freeform 2670">
            <a:extLst>
              <a:ext uri="{FF2B5EF4-FFF2-40B4-BE49-F238E27FC236}">
                <a16:creationId xmlns:a16="http://schemas.microsoft.com/office/drawing/2014/main" id="{C6E23C3D-73E8-4C31-A85A-081CC6C5F991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8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4" name="Freeform 2671">
            <a:extLst>
              <a:ext uri="{FF2B5EF4-FFF2-40B4-BE49-F238E27FC236}">
                <a16:creationId xmlns:a16="http://schemas.microsoft.com/office/drawing/2014/main" id="{2248ADE4-08D2-4749-87F7-DB13A758A699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7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5" name="Freeform 2672">
            <a:extLst>
              <a:ext uri="{FF2B5EF4-FFF2-40B4-BE49-F238E27FC236}">
                <a16:creationId xmlns:a16="http://schemas.microsoft.com/office/drawing/2014/main" id="{D428A2F4-4587-46F9-B33E-ECBD3C0B8C9E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78393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6" name="Freeform 2673">
            <a:extLst>
              <a:ext uri="{FF2B5EF4-FFF2-40B4-BE49-F238E27FC236}">
                <a16:creationId xmlns:a16="http://schemas.microsoft.com/office/drawing/2014/main" id="{3F588A16-15F3-441D-88B0-B590B9BEE3EC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83117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8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7"/>
                </a:lnTo>
                <a:lnTo>
                  <a:pt x="119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7" name="Freeform 2674">
            <a:extLst>
              <a:ext uri="{FF2B5EF4-FFF2-40B4-BE49-F238E27FC236}">
                <a16:creationId xmlns:a16="http://schemas.microsoft.com/office/drawing/2014/main" id="{D8E4ED4F-D391-4B12-97FC-034B5843D96A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78393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8" name="Freeform 2675">
            <a:extLst>
              <a:ext uri="{FF2B5EF4-FFF2-40B4-BE49-F238E27FC236}">
                <a16:creationId xmlns:a16="http://schemas.microsoft.com/office/drawing/2014/main" id="{DAA39B18-0158-4AC9-90FC-DDD7E24786B6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83117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9" name="Freeform 2676">
            <a:extLst>
              <a:ext uri="{FF2B5EF4-FFF2-40B4-BE49-F238E27FC236}">
                <a16:creationId xmlns:a16="http://schemas.microsoft.com/office/drawing/2014/main" id="{AD746374-3BFB-406A-BA19-4141368ED6CA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0" name="Freeform 2677">
            <a:extLst>
              <a:ext uri="{FF2B5EF4-FFF2-40B4-BE49-F238E27FC236}">
                <a16:creationId xmlns:a16="http://schemas.microsoft.com/office/drawing/2014/main" id="{996672EC-255F-4634-8736-E8ADFD71C7C1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1" name="Freeform 2678">
            <a:extLst>
              <a:ext uri="{FF2B5EF4-FFF2-40B4-BE49-F238E27FC236}">
                <a16:creationId xmlns:a16="http://schemas.microsoft.com/office/drawing/2014/main" id="{5033B59D-D7A1-4D70-ADEC-3CEE875F1E89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2" name="Freeform 2679">
            <a:extLst>
              <a:ext uri="{FF2B5EF4-FFF2-40B4-BE49-F238E27FC236}">
                <a16:creationId xmlns:a16="http://schemas.microsoft.com/office/drawing/2014/main" id="{6D970CDE-2DB1-44BF-B961-D985A43332B0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19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19" y="140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3" name="Freeform 2680">
            <a:extLst>
              <a:ext uri="{FF2B5EF4-FFF2-40B4-BE49-F238E27FC236}">
                <a16:creationId xmlns:a16="http://schemas.microsoft.com/office/drawing/2014/main" id="{E27FBFF5-7CA5-4CE5-8B7A-2D53DC85E17E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4" name="Freeform 2681">
            <a:extLst>
              <a:ext uri="{FF2B5EF4-FFF2-40B4-BE49-F238E27FC236}">
                <a16:creationId xmlns:a16="http://schemas.microsoft.com/office/drawing/2014/main" id="{E15B2DDA-A260-4BA2-996E-E1DFBBCCECE0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8" y="137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5" name="Freeform 2682">
            <a:extLst>
              <a:ext uri="{FF2B5EF4-FFF2-40B4-BE49-F238E27FC236}">
                <a16:creationId xmlns:a16="http://schemas.microsoft.com/office/drawing/2014/main" id="{5570208A-BED8-4F95-867B-80E519B3CA72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6" name="Freeform 2683">
            <a:extLst>
              <a:ext uri="{FF2B5EF4-FFF2-40B4-BE49-F238E27FC236}">
                <a16:creationId xmlns:a16="http://schemas.microsoft.com/office/drawing/2014/main" id="{AC34CB09-A6D3-46B5-964A-E9CE9FB082ED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7" name="Freeform 2684">
            <a:extLst>
              <a:ext uri="{FF2B5EF4-FFF2-40B4-BE49-F238E27FC236}">
                <a16:creationId xmlns:a16="http://schemas.microsoft.com/office/drawing/2014/main" id="{F38F20BA-825C-415D-BE82-037FEA7A4FC6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6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6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8" name="Freeform 2685">
            <a:extLst>
              <a:ext uri="{FF2B5EF4-FFF2-40B4-BE49-F238E27FC236}">
                <a16:creationId xmlns:a16="http://schemas.microsoft.com/office/drawing/2014/main" id="{3466BBCD-0EB4-410F-B0E8-424966E0E746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8"/>
                </a:lnTo>
                <a:lnTo>
                  <a:pt x="41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6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9" name="Freeform 2686">
            <a:extLst>
              <a:ext uri="{FF2B5EF4-FFF2-40B4-BE49-F238E27FC236}">
                <a16:creationId xmlns:a16="http://schemas.microsoft.com/office/drawing/2014/main" id="{E52B76AC-AC64-4C78-B8A1-AEFBA7CEFB1A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783938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2 h 154"/>
              <a:gd name="T46" fmla="*/ 48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7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0" name="Freeform 2687">
            <a:extLst>
              <a:ext uri="{FF2B5EF4-FFF2-40B4-BE49-F238E27FC236}">
                <a16:creationId xmlns:a16="http://schemas.microsoft.com/office/drawing/2014/main" id="{F3A29ADE-81D0-4CA3-A25D-C325466AAC6A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83117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7"/>
                </a:lnTo>
                <a:lnTo>
                  <a:pt x="120" y="140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1" name="Freeform 2688">
            <a:extLst>
              <a:ext uri="{FF2B5EF4-FFF2-40B4-BE49-F238E27FC236}">
                <a16:creationId xmlns:a16="http://schemas.microsoft.com/office/drawing/2014/main" id="{0C3F04F8-277F-4E52-A4D6-9F30094C9832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783938"/>
            <a:ext cx="34350" cy="34350"/>
          </a:xfrm>
          <a:custGeom>
            <a:avLst/>
            <a:gdLst>
              <a:gd name="T0" fmla="*/ 155 w 155"/>
              <a:gd name="T1" fmla="*/ 76 h 154"/>
              <a:gd name="T2" fmla="*/ 153 w 155"/>
              <a:gd name="T3" fmla="*/ 92 h 154"/>
              <a:gd name="T4" fmla="*/ 149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9 w 155"/>
              <a:gd name="T29" fmla="*/ 113 h 154"/>
              <a:gd name="T30" fmla="*/ 3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2" name="Freeform 2689">
            <a:extLst>
              <a:ext uri="{FF2B5EF4-FFF2-40B4-BE49-F238E27FC236}">
                <a16:creationId xmlns:a16="http://schemas.microsoft.com/office/drawing/2014/main" id="{F3BC0495-5AE3-46DB-83AE-1CB67045894D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83117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3" name="Freeform 2690">
            <a:extLst>
              <a:ext uri="{FF2B5EF4-FFF2-40B4-BE49-F238E27FC236}">
                <a16:creationId xmlns:a16="http://schemas.microsoft.com/office/drawing/2014/main" id="{FBCF6408-0753-461F-AC99-DB52A0C04837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783938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0 h 154"/>
              <a:gd name="T22" fmla="*/ 40 w 155"/>
              <a:gd name="T23" fmla="*/ 144 h 154"/>
              <a:gd name="T24" fmla="*/ 29 w 155"/>
              <a:gd name="T25" fmla="*/ 136 h 154"/>
              <a:gd name="T26" fmla="*/ 17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5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4" name="Freeform 2691">
            <a:extLst>
              <a:ext uri="{FF2B5EF4-FFF2-40B4-BE49-F238E27FC236}">
                <a16:creationId xmlns:a16="http://schemas.microsoft.com/office/drawing/2014/main" id="{483FFC34-92D9-44A3-8095-8397887BD45D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83117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3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5" name="Freeform 2692">
            <a:extLst>
              <a:ext uri="{FF2B5EF4-FFF2-40B4-BE49-F238E27FC236}">
                <a16:creationId xmlns:a16="http://schemas.microsoft.com/office/drawing/2014/main" id="{1589E523-B8C6-4481-AEFB-1C301CD50266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6" name="Freeform 2693">
            <a:extLst>
              <a:ext uri="{FF2B5EF4-FFF2-40B4-BE49-F238E27FC236}">
                <a16:creationId xmlns:a16="http://schemas.microsoft.com/office/drawing/2014/main" id="{C020580B-8E8C-49EC-B2B1-00EA1F84F97B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70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7" name="Freeform 2694">
            <a:extLst>
              <a:ext uri="{FF2B5EF4-FFF2-40B4-BE49-F238E27FC236}">
                <a16:creationId xmlns:a16="http://schemas.microsoft.com/office/drawing/2014/main" id="{54CBBE23-8A42-4FCC-8088-EE23A36DB39A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8" name="Freeform 2695">
            <a:extLst>
              <a:ext uri="{FF2B5EF4-FFF2-40B4-BE49-F238E27FC236}">
                <a16:creationId xmlns:a16="http://schemas.microsoft.com/office/drawing/2014/main" id="{F93001C4-42E6-4F59-9E93-6DFF1764AE7D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4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5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6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9" name="Freeform 2696">
            <a:extLst>
              <a:ext uri="{FF2B5EF4-FFF2-40B4-BE49-F238E27FC236}">
                <a16:creationId xmlns:a16="http://schemas.microsoft.com/office/drawing/2014/main" id="{A0C7669B-C585-487D-870E-88A042689E78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69471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0" name="Freeform 2697">
            <a:extLst>
              <a:ext uri="{FF2B5EF4-FFF2-40B4-BE49-F238E27FC236}">
                <a16:creationId xmlns:a16="http://schemas.microsoft.com/office/drawing/2014/main" id="{96506903-6A34-4517-AC7A-8D1ECBD28EB8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7 h 155"/>
              <a:gd name="T28" fmla="*/ 9 w 155"/>
              <a:gd name="T29" fmla="*/ 114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5 h 155"/>
              <a:gd name="T56" fmla="*/ 115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5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1" name="Freeform 2698">
            <a:extLst>
              <a:ext uri="{FF2B5EF4-FFF2-40B4-BE49-F238E27FC236}">
                <a16:creationId xmlns:a16="http://schemas.microsoft.com/office/drawing/2014/main" id="{1F424501-D7B9-4D83-A3D4-113A346FF04F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2" name="Freeform 2699">
            <a:extLst>
              <a:ext uri="{FF2B5EF4-FFF2-40B4-BE49-F238E27FC236}">
                <a16:creationId xmlns:a16="http://schemas.microsoft.com/office/drawing/2014/main" id="{9AC86C9D-6728-4266-82DF-0BC612E19598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3" name="Freeform 2700">
            <a:extLst>
              <a:ext uri="{FF2B5EF4-FFF2-40B4-BE49-F238E27FC236}">
                <a16:creationId xmlns:a16="http://schemas.microsoft.com/office/drawing/2014/main" id="{8DD5B325-BB4E-4029-93C0-78C3BFA1DA2C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4" name="Freeform 2701">
            <a:extLst>
              <a:ext uri="{FF2B5EF4-FFF2-40B4-BE49-F238E27FC236}">
                <a16:creationId xmlns:a16="http://schemas.microsoft.com/office/drawing/2014/main" id="{E1C3D52E-EDB5-4A5D-8EB9-7ADC10194BB5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7 h 155"/>
              <a:gd name="T26" fmla="*/ 18 w 154"/>
              <a:gd name="T27" fmla="*/ 127 h 155"/>
              <a:gd name="T28" fmla="*/ 10 w 154"/>
              <a:gd name="T29" fmla="*/ 114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5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2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5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5" name="Freeform 2702">
            <a:extLst>
              <a:ext uri="{FF2B5EF4-FFF2-40B4-BE49-F238E27FC236}">
                <a16:creationId xmlns:a16="http://schemas.microsoft.com/office/drawing/2014/main" id="{56CDB176-68A2-41B1-A19E-D6505F8F6712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69471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6" name="Freeform 2703">
            <a:extLst>
              <a:ext uri="{FF2B5EF4-FFF2-40B4-BE49-F238E27FC236}">
                <a16:creationId xmlns:a16="http://schemas.microsoft.com/office/drawing/2014/main" id="{DC966DC3-8989-43EA-A02B-41C70B5B2FF9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74194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4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5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7" name="Freeform 2704">
            <a:extLst>
              <a:ext uri="{FF2B5EF4-FFF2-40B4-BE49-F238E27FC236}">
                <a16:creationId xmlns:a16="http://schemas.microsoft.com/office/drawing/2014/main" id="{EC408958-6631-4DDE-9F78-FEBBF962D6A7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69471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8" name="Freeform 2705">
            <a:extLst>
              <a:ext uri="{FF2B5EF4-FFF2-40B4-BE49-F238E27FC236}">
                <a16:creationId xmlns:a16="http://schemas.microsoft.com/office/drawing/2014/main" id="{E9703CFD-3E72-4983-9A64-D8400F60303C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74194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4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9" name="Freeform 2706">
            <a:extLst>
              <a:ext uri="{FF2B5EF4-FFF2-40B4-BE49-F238E27FC236}">
                <a16:creationId xmlns:a16="http://schemas.microsoft.com/office/drawing/2014/main" id="{A1F4A96B-7542-426F-84B0-8AC58BE6370D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0" name="Freeform 2707">
            <a:extLst>
              <a:ext uri="{FF2B5EF4-FFF2-40B4-BE49-F238E27FC236}">
                <a16:creationId xmlns:a16="http://schemas.microsoft.com/office/drawing/2014/main" id="{5292E1DF-2E30-4BD5-B91C-64AB6F75DC5E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1" name="Freeform 2708">
            <a:extLst>
              <a:ext uri="{FF2B5EF4-FFF2-40B4-BE49-F238E27FC236}">
                <a16:creationId xmlns:a16="http://schemas.microsoft.com/office/drawing/2014/main" id="{6330B84B-100B-4D49-9C9C-6BE928D7059F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2" name="Freeform 2709">
            <a:extLst>
              <a:ext uri="{FF2B5EF4-FFF2-40B4-BE49-F238E27FC236}">
                <a16:creationId xmlns:a16="http://schemas.microsoft.com/office/drawing/2014/main" id="{0AC300A6-A296-4D57-89C8-AD54923EF160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3" name="Freeform 2710">
            <a:extLst>
              <a:ext uri="{FF2B5EF4-FFF2-40B4-BE49-F238E27FC236}">
                <a16:creationId xmlns:a16="http://schemas.microsoft.com/office/drawing/2014/main" id="{9A524710-8F18-4270-BFB7-F3F5E65164E9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4" name="Freeform 2711">
            <a:extLst>
              <a:ext uri="{FF2B5EF4-FFF2-40B4-BE49-F238E27FC236}">
                <a16:creationId xmlns:a16="http://schemas.microsoft.com/office/drawing/2014/main" id="{22CDC03E-6821-4F01-BE99-2A5D8BC26535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5" name="Freeform 2712">
            <a:extLst>
              <a:ext uri="{FF2B5EF4-FFF2-40B4-BE49-F238E27FC236}">
                <a16:creationId xmlns:a16="http://schemas.microsoft.com/office/drawing/2014/main" id="{113B29A2-3007-447B-991E-559F6F71EDA3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8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6" name="Freeform 2713">
            <a:extLst>
              <a:ext uri="{FF2B5EF4-FFF2-40B4-BE49-F238E27FC236}">
                <a16:creationId xmlns:a16="http://schemas.microsoft.com/office/drawing/2014/main" id="{86DEC522-938D-44E7-BF11-61B3FED9875C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7" name="Freeform 2714">
            <a:extLst>
              <a:ext uri="{FF2B5EF4-FFF2-40B4-BE49-F238E27FC236}">
                <a16:creationId xmlns:a16="http://schemas.microsoft.com/office/drawing/2014/main" id="{C0153B98-E5D9-4004-9E5B-824DD67B46AD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8" name="Freeform 2715">
            <a:extLst>
              <a:ext uri="{FF2B5EF4-FFF2-40B4-BE49-F238E27FC236}">
                <a16:creationId xmlns:a16="http://schemas.microsoft.com/office/drawing/2014/main" id="{B8EAF30E-2228-4451-B651-DE41B33C346A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4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6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6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9" name="Freeform 2716">
            <a:extLst>
              <a:ext uri="{FF2B5EF4-FFF2-40B4-BE49-F238E27FC236}">
                <a16:creationId xmlns:a16="http://schemas.microsoft.com/office/drawing/2014/main" id="{31BDD057-CB2D-4531-BA33-6182DA80CFE1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69471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0" name="Freeform 2717">
            <a:extLst>
              <a:ext uri="{FF2B5EF4-FFF2-40B4-BE49-F238E27FC236}">
                <a16:creationId xmlns:a16="http://schemas.microsoft.com/office/drawing/2014/main" id="{B250128E-A378-4360-804C-B1C985BD1B38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8 w 155"/>
              <a:gd name="T27" fmla="*/ 127 h 155"/>
              <a:gd name="T28" fmla="*/ 10 w 155"/>
              <a:gd name="T29" fmla="*/ 114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5 h 155"/>
              <a:gd name="T56" fmla="*/ 115 w 155"/>
              <a:gd name="T57" fmla="*/ 10 h 155"/>
              <a:gd name="T58" fmla="*/ 127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7"/>
                </a:lnTo>
                <a:lnTo>
                  <a:pt x="132" y="132"/>
                </a:lnTo>
                <a:lnTo>
                  <a:pt x="127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5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1" name="Freeform 2718">
            <a:extLst>
              <a:ext uri="{FF2B5EF4-FFF2-40B4-BE49-F238E27FC236}">
                <a16:creationId xmlns:a16="http://schemas.microsoft.com/office/drawing/2014/main" id="{2F522928-7373-40BA-873A-2DC4895FEFB0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69471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2" name="Freeform 2719">
            <a:extLst>
              <a:ext uri="{FF2B5EF4-FFF2-40B4-BE49-F238E27FC236}">
                <a16:creationId xmlns:a16="http://schemas.microsoft.com/office/drawing/2014/main" id="{2F1B9C57-AD4C-4CC9-AED0-5200EC18484F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74194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7 h 155"/>
              <a:gd name="T28" fmla="*/ 9 w 155"/>
              <a:gd name="T29" fmla="*/ 114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5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5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5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3" name="Freeform 2720">
            <a:extLst>
              <a:ext uri="{FF2B5EF4-FFF2-40B4-BE49-F238E27FC236}">
                <a16:creationId xmlns:a16="http://schemas.microsoft.com/office/drawing/2014/main" id="{5ED1001C-BA75-44B1-80DA-5F438E1C2274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4" name="Freeform 2721">
            <a:extLst>
              <a:ext uri="{FF2B5EF4-FFF2-40B4-BE49-F238E27FC236}">
                <a16:creationId xmlns:a16="http://schemas.microsoft.com/office/drawing/2014/main" id="{F635D673-1DDB-4F96-95D8-E5B5FCA3B447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9 w 154"/>
              <a:gd name="T29" fmla="*/ 114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5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5" name="Freeform 2722">
            <a:extLst>
              <a:ext uri="{FF2B5EF4-FFF2-40B4-BE49-F238E27FC236}">
                <a16:creationId xmlns:a16="http://schemas.microsoft.com/office/drawing/2014/main" id="{1DECA8E6-C179-42A4-A552-7CC26FB970F3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6" name="Freeform 2723">
            <a:extLst>
              <a:ext uri="{FF2B5EF4-FFF2-40B4-BE49-F238E27FC236}">
                <a16:creationId xmlns:a16="http://schemas.microsoft.com/office/drawing/2014/main" id="{7041762F-01CA-4EA0-BB4D-A1CDE0D061FE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4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7" name="Freeform 2724">
            <a:extLst>
              <a:ext uri="{FF2B5EF4-FFF2-40B4-BE49-F238E27FC236}">
                <a16:creationId xmlns:a16="http://schemas.microsoft.com/office/drawing/2014/main" id="{ED1659C3-78AD-427A-B1BC-53B1449C62CD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4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6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8" name="Freeform 2725">
            <a:extLst>
              <a:ext uri="{FF2B5EF4-FFF2-40B4-BE49-F238E27FC236}">
                <a16:creationId xmlns:a16="http://schemas.microsoft.com/office/drawing/2014/main" id="{A5718FFA-7D03-485C-843F-A032242CFEA6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4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4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4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9" name="Freeform 2726">
            <a:extLst>
              <a:ext uri="{FF2B5EF4-FFF2-40B4-BE49-F238E27FC236}">
                <a16:creationId xmlns:a16="http://schemas.microsoft.com/office/drawing/2014/main" id="{A69AF74F-6D6F-40C3-AF0E-7096BB9DA689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6033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0" name="Freeform 2727">
            <a:extLst>
              <a:ext uri="{FF2B5EF4-FFF2-40B4-BE49-F238E27FC236}">
                <a16:creationId xmlns:a16="http://schemas.microsoft.com/office/drawing/2014/main" id="{5EDFC8B9-9C89-434D-AAE7-47E9A872ACCE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65062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1" name="Freeform 2728">
            <a:extLst>
              <a:ext uri="{FF2B5EF4-FFF2-40B4-BE49-F238E27FC236}">
                <a16:creationId xmlns:a16="http://schemas.microsoft.com/office/drawing/2014/main" id="{E253B804-F672-43A1-AFFB-E8F2D0B45747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2" name="Freeform 2729">
            <a:extLst>
              <a:ext uri="{FF2B5EF4-FFF2-40B4-BE49-F238E27FC236}">
                <a16:creationId xmlns:a16="http://schemas.microsoft.com/office/drawing/2014/main" id="{D8555814-3D78-49DA-802B-2DFFEC81F98C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3" name="Freeform 2730">
            <a:extLst>
              <a:ext uri="{FF2B5EF4-FFF2-40B4-BE49-F238E27FC236}">
                <a16:creationId xmlns:a16="http://schemas.microsoft.com/office/drawing/2014/main" id="{9D14AB5E-DA31-4717-A8D6-CFDFC61DE130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4" name="Freeform 2731">
            <a:extLst>
              <a:ext uri="{FF2B5EF4-FFF2-40B4-BE49-F238E27FC236}">
                <a16:creationId xmlns:a16="http://schemas.microsoft.com/office/drawing/2014/main" id="{8FBCF178-E96D-49A7-8AB5-E54C856D4FBE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1 w 154"/>
              <a:gd name="T55" fmla="*/ 4 h 155"/>
              <a:gd name="T56" fmla="*/ 114 w 154"/>
              <a:gd name="T57" fmla="*/ 10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5" name="Freeform 2732">
            <a:extLst>
              <a:ext uri="{FF2B5EF4-FFF2-40B4-BE49-F238E27FC236}">
                <a16:creationId xmlns:a16="http://schemas.microsoft.com/office/drawing/2014/main" id="{286AC02F-B7D3-48EB-BDDE-065894DAD865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60338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6" name="Freeform 2733">
            <a:extLst>
              <a:ext uri="{FF2B5EF4-FFF2-40B4-BE49-F238E27FC236}">
                <a16:creationId xmlns:a16="http://schemas.microsoft.com/office/drawing/2014/main" id="{3A816201-C6BC-492D-8174-167B11E50183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65062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1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7" name="Freeform 2734">
            <a:extLst>
              <a:ext uri="{FF2B5EF4-FFF2-40B4-BE49-F238E27FC236}">
                <a16:creationId xmlns:a16="http://schemas.microsoft.com/office/drawing/2014/main" id="{1D646C52-114F-4026-B41A-C1D840112CD7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60338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8" name="Freeform 2735">
            <a:extLst>
              <a:ext uri="{FF2B5EF4-FFF2-40B4-BE49-F238E27FC236}">
                <a16:creationId xmlns:a16="http://schemas.microsoft.com/office/drawing/2014/main" id="{861A975C-CD4D-4792-A325-24B2B7E7EDFF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65062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9" name="Freeform 2736">
            <a:extLst>
              <a:ext uri="{FF2B5EF4-FFF2-40B4-BE49-F238E27FC236}">
                <a16:creationId xmlns:a16="http://schemas.microsoft.com/office/drawing/2014/main" id="{99F35A14-A850-4ADD-A262-811B78F70DA6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0" name="Freeform 2737">
            <a:extLst>
              <a:ext uri="{FF2B5EF4-FFF2-40B4-BE49-F238E27FC236}">
                <a16:creationId xmlns:a16="http://schemas.microsoft.com/office/drawing/2014/main" id="{5AE1BABB-5940-48D2-9A60-B5C50A9C99FC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1" name="Freeform 2738">
            <a:extLst>
              <a:ext uri="{FF2B5EF4-FFF2-40B4-BE49-F238E27FC236}">
                <a16:creationId xmlns:a16="http://schemas.microsoft.com/office/drawing/2014/main" id="{362F38E6-3B7A-4623-93EC-7670021FF1C6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2" name="Freeform 2739">
            <a:extLst>
              <a:ext uri="{FF2B5EF4-FFF2-40B4-BE49-F238E27FC236}">
                <a16:creationId xmlns:a16="http://schemas.microsoft.com/office/drawing/2014/main" id="{6448482B-AB2C-44EE-BD15-CC1802169CBF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3" name="Freeform 2740">
            <a:extLst>
              <a:ext uri="{FF2B5EF4-FFF2-40B4-BE49-F238E27FC236}">
                <a16:creationId xmlns:a16="http://schemas.microsoft.com/office/drawing/2014/main" id="{2AEDC546-667B-4808-8168-65F57B219367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4" name="Freeform 2741">
            <a:extLst>
              <a:ext uri="{FF2B5EF4-FFF2-40B4-BE49-F238E27FC236}">
                <a16:creationId xmlns:a16="http://schemas.microsoft.com/office/drawing/2014/main" id="{D6409EF1-01C2-4CCB-AF87-A094EDE8C778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5" name="Freeform 2742">
            <a:extLst>
              <a:ext uri="{FF2B5EF4-FFF2-40B4-BE49-F238E27FC236}">
                <a16:creationId xmlns:a16="http://schemas.microsoft.com/office/drawing/2014/main" id="{82B1D514-6B34-4173-ACAD-3EBFFCF037F0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6" name="Freeform 2743">
            <a:extLst>
              <a:ext uri="{FF2B5EF4-FFF2-40B4-BE49-F238E27FC236}">
                <a16:creationId xmlns:a16="http://schemas.microsoft.com/office/drawing/2014/main" id="{A344382D-D390-4098-AF6F-94FFA7A73646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7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6 w 154"/>
              <a:gd name="T51" fmla="*/ 0 h 155"/>
              <a:gd name="T52" fmla="*/ 84 w 154"/>
              <a:gd name="T53" fmla="*/ 2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3" y="23"/>
                </a:lnTo>
                <a:lnTo>
                  <a:pt x="27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7" name="Freeform 2744">
            <a:extLst>
              <a:ext uri="{FF2B5EF4-FFF2-40B4-BE49-F238E27FC236}">
                <a16:creationId xmlns:a16="http://schemas.microsoft.com/office/drawing/2014/main" id="{C08B3786-AE5E-497D-B346-32686B76E36A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6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8" name="Freeform 2745">
            <a:extLst>
              <a:ext uri="{FF2B5EF4-FFF2-40B4-BE49-F238E27FC236}">
                <a16:creationId xmlns:a16="http://schemas.microsoft.com/office/drawing/2014/main" id="{96FA57AF-0F05-4BCC-9178-06B66EF8ED06}"/>
              </a:ext>
            </a:extLst>
          </p:cNvPr>
          <p:cNvSpPr>
            <a:spLocks/>
          </p:cNvSpPr>
          <p:nvPr userDrawn="1"/>
        </p:nvSpPr>
        <p:spPr bwMode="auto">
          <a:xfrm>
            <a:off x="797512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9" name="Freeform 2746">
            <a:extLst>
              <a:ext uri="{FF2B5EF4-FFF2-40B4-BE49-F238E27FC236}">
                <a16:creationId xmlns:a16="http://schemas.microsoft.com/office/drawing/2014/main" id="{87F4795C-6B61-497B-939E-8A58E02ACBCD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6033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2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8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7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0" name="Freeform 2747">
            <a:extLst>
              <a:ext uri="{FF2B5EF4-FFF2-40B4-BE49-F238E27FC236}">
                <a16:creationId xmlns:a16="http://schemas.microsoft.com/office/drawing/2014/main" id="{D7ECFAD2-1FAE-4CF6-B405-4DAE2C310074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65062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1" name="Freeform 2748">
            <a:extLst>
              <a:ext uri="{FF2B5EF4-FFF2-40B4-BE49-F238E27FC236}">
                <a16:creationId xmlns:a16="http://schemas.microsoft.com/office/drawing/2014/main" id="{F9ED748A-D86F-4C85-8A53-CFB417AE162C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6033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2" name="Freeform 2749">
            <a:extLst>
              <a:ext uri="{FF2B5EF4-FFF2-40B4-BE49-F238E27FC236}">
                <a16:creationId xmlns:a16="http://schemas.microsoft.com/office/drawing/2014/main" id="{24C3BB91-00CC-47CB-A5F3-F2B2D58F997A}"/>
              </a:ext>
            </a:extLst>
          </p:cNvPr>
          <p:cNvSpPr>
            <a:spLocks/>
          </p:cNvSpPr>
          <p:nvPr userDrawn="1"/>
        </p:nvSpPr>
        <p:spPr bwMode="auto">
          <a:xfrm>
            <a:off x="889888" y="65062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3" name="Freeform 2750">
            <a:extLst>
              <a:ext uri="{FF2B5EF4-FFF2-40B4-BE49-F238E27FC236}">
                <a16:creationId xmlns:a16="http://schemas.microsoft.com/office/drawing/2014/main" id="{9D9E6F8E-1908-4A7A-B1B4-9A97F4B3D0F3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603383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4" name="Freeform 2751">
            <a:extLst>
              <a:ext uri="{FF2B5EF4-FFF2-40B4-BE49-F238E27FC236}">
                <a16:creationId xmlns:a16="http://schemas.microsoft.com/office/drawing/2014/main" id="{9F261A87-D992-48CE-8DD8-5551AF7A33F8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650621"/>
            <a:ext cx="34350" cy="34350"/>
          </a:xfrm>
          <a:custGeom>
            <a:avLst/>
            <a:gdLst>
              <a:gd name="T0" fmla="*/ 155 w 155"/>
              <a:gd name="T1" fmla="*/ 77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5" name="Freeform 2752">
            <a:extLst>
              <a:ext uri="{FF2B5EF4-FFF2-40B4-BE49-F238E27FC236}">
                <a16:creationId xmlns:a16="http://schemas.microsoft.com/office/drawing/2014/main" id="{D720124B-B150-4625-8A98-B14FE6BCD700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60338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6" name="Freeform 2753">
            <a:extLst>
              <a:ext uri="{FF2B5EF4-FFF2-40B4-BE49-F238E27FC236}">
                <a16:creationId xmlns:a16="http://schemas.microsoft.com/office/drawing/2014/main" id="{02FD1607-FDDE-4ADD-90D2-CFF0EFA24A9E}"/>
              </a:ext>
            </a:extLst>
          </p:cNvPr>
          <p:cNvSpPr>
            <a:spLocks/>
          </p:cNvSpPr>
          <p:nvPr userDrawn="1"/>
        </p:nvSpPr>
        <p:spPr bwMode="auto">
          <a:xfrm>
            <a:off x="751323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99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7" name="Freeform 2754">
            <a:extLst>
              <a:ext uri="{FF2B5EF4-FFF2-40B4-BE49-F238E27FC236}">
                <a16:creationId xmlns:a16="http://schemas.microsoft.com/office/drawing/2014/main" id="{AF7354F9-69C5-4E81-AE23-559FF97C5522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8" name="Freeform 2755">
            <a:extLst>
              <a:ext uri="{FF2B5EF4-FFF2-40B4-BE49-F238E27FC236}">
                <a16:creationId xmlns:a16="http://schemas.microsoft.com/office/drawing/2014/main" id="{9E8C2E43-0556-466E-9429-73E85C0D7627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4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9" name="Freeform 2756">
            <a:extLst>
              <a:ext uri="{FF2B5EF4-FFF2-40B4-BE49-F238E27FC236}">
                <a16:creationId xmlns:a16="http://schemas.microsoft.com/office/drawing/2014/main" id="{C8EB0307-6BAB-4485-B8C2-6F3D86C5D54D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9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0" name="Freeform 2757">
            <a:extLst>
              <a:ext uri="{FF2B5EF4-FFF2-40B4-BE49-F238E27FC236}">
                <a16:creationId xmlns:a16="http://schemas.microsoft.com/office/drawing/2014/main" id="{8FC22AEB-5E74-4F53-A3E2-E9D84227E4FF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1" name="Freeform 2758">
            <a:extLst>
              <a:ext uri="{FF2B5EF4-FFF2-40B4-BE49-F238E27FC236}">
                <a16:creationId xmlns:a16="http://schemas.microsoft.com/office/drawing/2014/main" id="{530580F9-5E5F-4236-8E64-4EFB84E5E5AC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2" name="Freeform 2759">
            <a:extLst>
              <a:ext uri="{FF2B5EF4-FFF2-40B4-BE49-F238E27FC236}">
                <a16:creationId xmlns:a16="http://schemas.microsoft.com/office/drawing/2014/main" id="{F64F4838-7871-45CD-9AD7-5F6D5E8CA3C9}"/>
              </a:ext>
            </a:extLst>
          </p:cNvPr>
          <p:cNvSpPr>
            <a:spLocks/>
          </p:cNvSpPr>
          <p:nvPr userDrawn="1"/>
        </p:nvSpPr>
        <p:spPr bwMode="auto">
          <a:xfrm>
            <a:off x="1260444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3" name="Freeform 2760">
            <a:extLst>
              <a:ext uri="{FF2B5EF4-FFF2-40B4-BE49-F238E27FC236}">
                <a16:creationId xmlns:a16="http://schemas.microsoft.com/office/drawing/2014/main" id="{517EB5D8-7996-4E73-8BDC-262A7E34DF71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7 h 153"/>
              <a:gd name="T6" fmla="*/ 142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4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4" name="Freeform 2761">
            <a:extLst>
              <a:ext uri="{FF2B5EF4-FFF2-40B4-BE49-F238E27FC236}">
                <a16:creationId xmlns:a16="http://schemas.microsoft.com/office/drawing/2014/main" id="{8E8FBEF5-E595-416C-B9FD-EF4AA4EDE6CA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9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2 h 155"/>
              <a:gd name="T50" fmla="*/ 78 w 154"/>
              <a:gd name="T51" fmla="*/ 0 h 155"/>
              <a:gd name="T52" fmla="*/ 86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5" name="Freeform 2762">
            <a:extLst>
              <a:ext uri="{FF2B5EF4-FFF2-40B4-BE49-F238E27FC236}">
                <a16:creationId xmlns:a16="http://schemas.microsoft.com/office/drawing/2014/main" id="{55D06BCD-D7F1-456F-8037-F1CBB0D2C61E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50890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6" name="Freeform 2763">
            <a:extLst>
              <a:ext uri="{FF2B5EF4-FFF2-40B4-BE49-F238E27FC236}">
                <a16:creationId xmlns:a16="http://schemas.microsoft.com/office/drawing/2014/main" id="{2F9326D8-61A6-48B7-97FF-3977D3DBC6CA}"/>
              </a:ext>
            </a:extLst>
          </p:cNvPr>
          <p:cNvSpPr>
            <a:spLocks/>
          </p:cNvSpPr>
          <p:nvPr userDrawn="1"/>
        </p:nvSpPr>
        <p:spPr bwMode="auto">
          <a:xfrm>
            <a:off x="1353872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1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7" name="Freeform 2764">
            <a:extLst>
              <a:ext uri="{FF2B5EF4-FFF2-40B4-BE49-F238E27FC236}">
                <a16:creationId xmlns:a16="http://schemas.microsoft.com/office/drawing/2014/main" id="{0E36761F-86D4-4D89-ABEE-01354D6CC4CF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50890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8" name="Freeform 2765">
            <a:extLst>
              <a:ext uri="{FF2B5EF4-FFF2-40B4-BE49-F238E27FC236}">
                <a16:creationId xmlns:a16="http://schemas.microsoft.com/office/drawing/2014/main" id="{7CEBFD27-48FA-430B-A175-6306E5D3A6F6}"/>
              </a:ext>
            </a:extLst>
          </p:cNvPr>
          <p:cNvSpPr>
            <a:spLocks/>
          </p:cNvSpPr>
          <p:nvPr userDrawn="1"/>
        </p:nvSpPr>
        <p:spPr bwMode="auto">
          <a:xfrm>
            <a:off x="937126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9" name="Freeform 2766">
            <a:extLst>
              <a:ext uri="{FF2B5EF4-FFF2-40B4-BE49-F238E27FC236}">
                <a16:creationId xmlns:a16="http://schemas.microsoft.com/office/drawing/2014/main" id="{A1192ACE-40CF-4666-8C95-7BEA278A1F03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0" name="Freeform 2767">
            <a:extLst>
              <a:ext uri="{FF2B5EF4-FFF2-40B4-BE49-F238E27FC236}">
                <a16:creationId xmlns:a16="http://schemas.microsoft.com/office/drawing/2014/main" id="{7F91F30C-79A4-445E-A876-6A1C8CAA2A99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1" name="Freeform 2768">
            <a:extLst>
              <a:ext uri="{FF2B5EF4-FFF2-40B4-BE49-F238E27FC236}">
                <a16:creationId xmlns:a16="http://schemas.microsoft.com/office/drawing/2014/main" id="{47784B0E-EDC1-44A4-AF73-905ECD4C88CE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19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3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2" name="Freeform 2769">
            <a:extLst>
              <a:ext uri="{FF2B5EF4-FFF2-40B4-BE49-F238E27FC236}">
                <a16:creationId xmlns:a16="http://schemas.microsoft.com/office/drawing/2014/main" id="{E50CEDC2-B9D6-41BE-A73A-5A49D8BBA3E4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3" name="Freeform 2770">
            <a:extLst>
              <a:ext uri="{FF2B5EF4-FFF2-40B4-BE49-F238E27FC236}">
                <a16:creationId xmlns:a16="http://schemas.microsoft.com/office/drawing/2014/main" id="{A89EBB06-9F85-427C-8F20-87D6A41E5C36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4" name="Freeform 2771">
            <a:extLst>
              <a:ext uri="{FF2B5EF4-FFF2-40B4-BE49-F238E27FC236}">
                <a16:creationId xmlns:a16="http://schemas.microsoft.com/office/drawing/2014/main" id="{8FF9A873-92C8-4D4E-935E-01919E8507DF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5" name="Freeform 2772">
            <a:extLst>
              <a:ext uri="{FF2B5EF4-FFF2-40B4-BE49-F238E27FC236}">
                <a16:creationId xmlns:a16="http://schemas.microsoft.com/office/drawing/2014/main" id="{EF2EDFA6-8418-4576-B596-96EBD619786F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6" name="Freeform 2773">
            <a:extLst>
              <a:ext uri="{FF2B5EF4-FFF2-40B4-BE49-F238E27FC236}">
                <a16:creationId xmlns:a16="http://schemas.microsoft.com/office/drawing/2014/main" id="{44071ECF-6EA0-47E6-84A4-08A25AC7845A}"/>
              </a:ext>
            </a:extLst>
          </p:cNvPr>
          <p:cNvSpPr>
            <a:spLocks/>
          </p:cNvSpPr>
          <p:nvPr userDrawn="1"/>
        </p:nvSpPr>
        <p:spPr bwMode="auto">
          <a:xfrm>
            <a:off x="1168068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0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4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6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5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7" name="Freeform 2774">
            <a:extLst>
              <a:ext uri="{FF2B5EF4-FFF2-40B4-BE49-F238E27FC236}">
                <a16:creationId xmlns:a16="http://schemas.microsoft.com/office/drawing/2014/main" id="{4EF8F667-4133-40EE-8CCE-0A07F17B504D}"/>
              </a:ext>
            </a:extLst>
          </p:cNvPr>
          <p:cNvSpPr>
            <a:spLocks/>
          </p:cNvSpPr>
          <p:nvPr userDrawn="1"/>
        </p:nvSpPr>
        <p:spPr bwMode="auto">
          <a:xfrm>
            <a:off x="983315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1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8" name="Freeform 2775">
            <a:extLst>
              <a:ext uri="{FF2B5EF4-FFF2-40B4-BE49-F238E27FC236}">
                <a16:creationId xmlns:a16="http://schemas.microsoft.com/office/drawing/2014/main" id="{AED7454B-9391-48C7-9C1D-732E0539434B}"/>
              </a:ext>
            </a:extLst>
          </p:cNvPr>
          <p:cNvSpPr>
            <a:spLocks/>
          </p:cNvSpPr>
          <p:nvPr userDrawn="1"/>
        </p:nvSpPr>
        <p:spPr bwMode="auto">
          <a:xfrm>
            <a:off x="1029503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19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2 w 154"/>
              <a:gd name="T43" fmla="*/ 23 h 154"/>
              <a:gd name="T44" fmla="*/ 33 w 154"/>
              <a:gd name="T45" fmla="*/ 13 h 154"/>
              <a:gd name="T46" fmla="*/ 47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9" name="Freeform 2776">
            <a:extLst>
              <a:ext uri="{FF2B5EF4-FFF2-40B4-BE49-F238E27FC236}">
                <a16:creationId xmlns:a16="http://schemas.microsoft.com/office/drawing/2014/main" id="{D8AF33D4-08C5-47F2-B276-63312DEA4EED}"/>
              </a:ext>
            </a:extLst>
          </p:cNvPr>
          <p:cNvSpPr>
            <a:spLocks/>
          </p:cNvSpPr>
          <p:nvPr userDrawn="1"/>
        </p:nvSpPr>
        <p:spPr bwMode="auto">
          <a:xfrm>
            <a:off x="1076741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5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1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0" name="Freeform 2777">
            <a:extLst>
              <a:ext uri="{FF2B5EF4-FFF2-40B4-BE49-F238E27FC236}">
                <a16:creationId xmlns:a16="http://schemas.microsoft.com/office/drawing/2014/main" id="{86836A4F-73D3-45AA-A456-B316B4929C08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7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6 w 154"/>
              <a:gd name="T13" fmla="*/ 148 h 154"/>
              <a:gd name="T14" fmla="*/ 92 w 154"/>
              <a:gd name="T15" fmla="*/ 153 h 154"/>
              <a:gd name="T16" fmla="*/ 76 w 154"/>
              <a:gd name="T17" fmla="*/ 154 h 154"/>
              <a:gd name="T18" fmla="*/ 68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7" y="137"/>
                </a:lnTo>
                <a:lnTo>
                  <a:pt x="23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2" y="35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1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1" name="Freeform 2778">
            <a:extLst>
              <a:ext uri="{FF2B5EF4-FFF2-40B4-BE49-F238E27FC236}">
                <a16:creationId xmlns:a16="http://schemas.microsoft.com/office/drawing/2014/main" id="{63FDF7D6-AE1C-48A3-AAD0-074D672AFE28}"/>
              </a:ext>
            </a:extLst>
          </p:cNvPr>
          <p:cNvSpPr>
            <a:spLocks/>
          </p:cNvSpPr>
          <p:nvPr userDrawn="1"/>
        </p:nvSpPr>
        <p:spPr bwMode="auto">
          <a:xfrm>
            <a:off x="1121880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6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2" name="Freeform 2779">
            <a:extLst>
              <a:ext uri="{FF2B5EF4-FFF2-40B4-BE49-F238E27FC236}">
                <a16:creationId xmlns:a16="http://schemas.microsoft.com/office/drawing/2014/main" id="{9D572D01-BBEE-4061-950C-D088D364654D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10631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2 w 155"/>
              <a:gd name="T23" fmla="*/ 146 h 155"/>
              <a:gd name="T24" fmla="*/ 29 w 155"/>
              <a:gd name="T25" fmla="*/ 137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9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6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2" y="146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2" y="9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8" y="29"/>
                </a:lnTo>
                <a:lnTo>
                  <a:pt x="142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3" name="Freeform 2780">
            <a:extLst>
              <a:ext uri="{FF2B5EF4-FFF2-40B4-BE49-F238E27FC236}">
                <a16:creationId xmlns:a16="http://schemas.microsoft.com/office/drawing/2014/main" id="{E1E8C1F6-1AF2-4ABF-9F8B-3E49D3E87801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106316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9"/>
                </a:lnTo>
                <a:lnTo>
                  <a:pt x="130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4" name="Freeform 2781">
            <a:extLst>
              <a:ext uri="{FF2B5EF4-FFF2-40B4-BE49-F238E27FC236}">
                <a16:creationId xmlns:a16="http://schemas.microsoft.com/office/drawing/2014/main" id="{2489E15F-2BFB-4A12-8253-074664C37892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106316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5" name="Freeform 2782">
            <a:extLst>
              <a:ext uri="{FF2B5EF4-FFF2-40B4-BE49-F238E27FC236}">
                <a16:creationId xmlns:a16="http://schemas.microsoft.com/office/drawing/2014/main" id="{251BDB99-3744-48BE-B5C2-E7E2335E8C33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10631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8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6" name="Freeform 2783">
            <a:extLst>
              <a:ext uri="{FF2B5EF4-FFF2-40B4-BE49-F238E27FC236}">
                <a16:creationId xmlns:a16="http://schemas.microsoft.com/office/drawing/2014/main" id="{0413D61C-5095-4AA0-BC3C-093BB4AA1586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10631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6 w 154"/>
              <a:gd name="T17" fmla="*/ 155 h 155"/>
              <a:gd name="T18" fmla="*/ 69 w 154"/>
              <a:gd name="T19" fmla="*/ 154 h 155"/>
              <a:gd name="T20" fmla="*/ 53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5 w 154"/>
              <a:gd name="T59" fmla="*/ 19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9" y="154"/>
                </a:lnTo>
                <a:lnTo>
                  <a:pt x="61" y="153"/>
                </a:lnTo>
                <a:lnTo>
                  <a:pt x="53" y="151"/>
                </a:lnTo>
                <a:lnTo>
                  <a:pt x="46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1" y="3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7" name="Freeform 2784">
            <a:extLst>
              <a:ext uri="{FF2B5EF4-FFF2-40B4-BE49-F238E27FC236}">
                <a16:creationId xmlns:a16="http://schemas.microsoft.com/office/drawing/2014/main" id="{0536145E-43FC-4F3A-A100-8F5A52B87DAF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1110406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5 h 154"/>
              <a:gd name="T28" fmla="*/ 11 w 155"/>
              <a:gd name="T29" fmla="*/ 113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8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3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5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1"/>
                </a:lnTo>
                <a:lnTo>
                  <a:pt x="4" y="53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3"/>
                </a:lnTo>
                <a:lnTo>
                  <a:pt x="154" y="61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8" name="Freeform 2785">
            <a:extLst>
              <a:ext uri="{FF2B5EF4-FFF2-40B4-BE49-F238E27FC236}">
                <a16:creationId xmlns:a16="http://schemas.microsoft.com/office/drawing/2014/main" id="{0FD6BE18-32E7-42FC-B87A-8AA9D9505197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11104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9" name="Freeform 2786">
            <a:extLst>
              <a:ext uri="{FF2B5EF4-FFF2-40B4-BE49-F238E27FC236}">
                <a16:creationId xmlns:a16="http://schemas.microsoft.com/office/drawing/2014/main" id="{1CAF6080-7C80-46F6-AEFB-EA1D1FA9E6F3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111040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9 w 154"/>
              <a:gd name="T19" fmla="*/ 153 h 154"/>
              <a:gd name="T20" fmla="*/ 53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6 w 154"/>
              <a:gd name="T47" fmla="*/ 5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5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3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9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3"/>
                </a:lnTo>
                <a:lnTo>
                  <a:pt x="152" y="61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0" name="Freeform 2787">
            <a:extLst>
              <a:ext uri="{FF2B5EF4-FFF2-40B4-BE49-F238E27FC236}">
                <a16:creationId xmlns:a16="http://schemas.microsoft.com/office/drawing/2014/main" id="{F045DD03-7D7C-49B8-B408-99CCC90568A5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97079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3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8 w 155"/>
              <a:gd name="T47" fmla="*/ 5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5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2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5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1" name="Freeform 2788">
            <a:extLst>
              <a:ext uri="{FF2B5EF4-FFF2-40B4-BE49-F238E27FC236}">
                <a16:creationId xmlns:a16="http://schemas.microsoft.com/office/drawing/2014/main" id="{4DDEA66A-E813-42D0-B495-F147A6133AC8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1018029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3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0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8" y="27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2" name="Freeform 2789">
            <a:extLst>
              <a:ext uri="{FF2B5EF4-FFF2-40B4-BE49-F238E27FC236}">
                <a16:creationId xmlns:a16="http://schemas.microsoft.com/office/drawing/2014/main" id="{E7EB8070-C432-406E-9B09-0A435D0CCB82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3" name="Freeform 2790">
            <a:extLst>
              <a:ext uri="{FF2B5EF4-FFF2-40B4-BE49-F238E27FC236}">
                <a16:creationId xmlns:a16="http://schemas.microsoft.com/office/drawing/2014/main" id="{78D9FAD6-0214-49BD-9624-B9EA4657E15F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101802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1 h 153"/>
              <a:gd name="T10" fmla="*/ 119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4" name="Freeform 2791">
            <a:extLst>
              <a:ext uri="{FF2B5EF4-FFF2-40B4-BE49-F238E27FC236}">
                <a16:creationId xmlns:a16="http://schemas.microsoft.com/office/drawing/2014/main" id="{F318DBCF-0A74-46DF-82F5-D46F6ED505BF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5" name="Freeform 2792">
            <a:extLst>
              <a:ext uri="{FF2B5EF4-FFF2-40B4-BE49-F238E27FC236}">
                <a16:creationId xmlns:a16="http://schemas.microsoft.com/office/drawing/2014/main" id="{54D29FF8-3D4E-45F7-8C69-9409D5644E97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6" name="Freeform 2793">
            <a:extLst>
              <a:ext uri="{FF2B5EF4-FFF2-40B4-BE49-F238E27FC236}">
                <a16:creationId xmlns:a16="http://schemas.microsoft.com/office/drawing/2014/main" id="{BD585582-57CA-4D7A-A709-D2C44080ACF5}"/>
              </a:ext>
            </a:extLst>
          </p:cNvPr>
          <p:cNvSpPr>
            <a:spLocks/>
          </p:cNvSpPr>
          <p:nvPr userDrawn="1"/>
        </p:nvSpPr>
        <p:spPr bwMode="auto">
          <a:xfrm>
            <a:off x="1675092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7" name="Freeform 2794">
            <a:extLst>
              <a:ext uri="{FF2B5EF4-FFF2-40B4-BE49-F238E27FC236}">
                <a16:creationId xmlns:a16="http://schemas.microsoft.com/office/drawing/2014/main" id="{84F7B338-CE3A-4FA8-A2C7-7EC9BE0AA33D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5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8" name="Freeform 2795">
            <a:extLst>
              <a:ext uri="{FF2B5EF4-FFF2-40B4-BE49-F238E27FC236}">
                <a16:creationId xmlns:a16="http://schemas.microsoft.com/office/drawing/2014/main" id="{0C6D3F71-555A-4EAB-8DD2-60D3051B2CBC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9" name="Freeform 2796">
            <a:extLst>
              <a:ext uri="{FF2B5EF4-FFF2-40B4-BE49-F238E27FC236}">
                <a16:creationId xmlns:a16="http://schemas.microsoft.com/office/drawing/2014/main" id="{3C95BCD2-966F-4DDF-8FF6-13D982AB3746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101802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0" name="Freeform 2797">
            <a:extLst>
              <a:ext uri="{FF2B5EF4-FFF2-40B4-BE49-F238E27FC236}">
                <a16:creationId xmlns:a16="http://schemas.microsoft.com/office/drawing/2014/main" id="{4172AF1F-06AB-4875-A987-A2362E88BE89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1" name="Freeform 2798">
            <a:extLst>
              <a:ext uri="{FF2B5EF4-FFF2-40B4-BE49-F238E27FC236}">
                <a16:creationId xmlns:a16="http://schemas.microsoft.com/office/drawing/2014/main" id="{F268AF18-EE11-43D3-BB1B-32B4CE306D28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2" name="Freeform 2799">
            <a:extLst>
              <a:ext uri="{FF2B5EF4-FFF2-40B4-BE49-F238E27FC236}">
                <a16:creationId xmlns:a16="http://schemas.microsoft.com/office/drawing/2014/main" id="{FDA3FCD0-B920-4FA7-87B2-161ED4A56665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9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5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9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2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3" name="Freeform 2800">
            <a:extLst>
              <a:ext uri="{FF2B5EF4-FFF2-40B4-BE49-F238E27FC236}">
                <a16:creationId xmlns:a16="http://schemas.microsoft.com/office/drawing/2014/main" id="{332F195E-236C-472C-9AA1-3FC323CB484F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101802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9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5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9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4" name="Freeform 2801">
            <a:extLst>
              <a:ext uri="{FF2B5EF4-FFF2-40B4-BE49-F238E27FC236}">
                <a16:creationId xmlns:a16="http://schemas.microsoft.com/office/drawing/2014/main" id="{927A0AA5-AFDF-49B4-BBF7-FDB0EA4649FB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87946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5" name="Freeform 2802">
            <a:extLst>
              <a:ext uri="{FF2B5EF4-FFF2-40B4-BE49-F238E27FC236}">
                <a16:creationId xmlns:a16="http://schemas.microsoft.com/office/drawing/2014/main" id="{BC8E0430-B1D5-4501-8661-22DB2F562AE6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926702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8 h 154"/>
              <a:gd name="T6" fmla="*/ 142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8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6" name="Freeform 2803">
            <a:extLst>
              <a:ext uri="{FF2B5EF4-FFF2-40B4-BE49-F238E27FC236}">
                <a16:creationId xmlns:a16="http://schemas.microsoft.com/office/drawing/2014/main" id="{8514CA77-1D5C-4727-BD49-8E0F5C461218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7" name="Freeform 2804">
            <a:extLst>
              <a:ext uri="{FF2B5EF4-FFF2-40B4-BE49-F238E27FC236}">
                <a16:creationId xmlns:a16="http://schemas.microsoft.com/office/drawing/2014/main" id="{3763E0AE-38C0-4566-9085-13CF5400F2D5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92670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9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8" name="Freeform 2805">
            <a:extLst>
              <a:ext uri="{FF2B5EF4-FFF2-40B4-BE49-F238E27FC236}">
                <a16:creationId xmlns:a16="http://schemas.microsoft.com/office/drawing/2014/main" id="{AD53A63C-4C35-44A6-8664-5E9A6952958D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9" name="Freeform 2806">
            <a:extLst>
              <a:ext uri="{FF2B5EF4-FFF2-40B4-BE49-F238E27FC236}">
                <a16:creationId xmlns:a16="http://schemas.microsoft.com/office/drawing/2014/main" id="{48569465-3EB5-4E73-B99D-AE47BD2E24E6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9 w 154"/>
              <a:gd name="T5" fmla="*/ 108 h 154"/>
              <a:gd name="T6" fmla="*/ 141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0" name="Freeform 2807">
            <a:extLst>
              <a:ext uri="{FF2B5EF4-FFF2-40B4-BE49-F238E27FC236}">
                <a16:creationId xmlns:a16="http://schemas.microsoft.com/office/drawing/2014/main" id="{0208A77B-B4DE-4168-8C75-A122D94810BE}"/>
              </a:ext>
            </a:extLst>
          </p:cNvPr>
          <p:cNvSpPr>
            <a:spLocks/>
          </p:cNvSpPr>
          <p:nvPr userDrawn="1"/>
        </p:nvSpPr>
        <p:spPr bwMode="auto">
          <a:xfrm>
            <a:off x="1675092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1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1" name="Freeform 2808">
            <a:extLst>
              <a:ext uri="{FF2B5EF4-FFF2-40B4-BE49-F238E27FC236}">
                <a16:creationId xmlns:a16="http://schemas.microsoft.com/office/drawing/2014/main" id="{F9AF0BE4-59F7-4840-8F89-7A0ABFCBBDF4}"/>
              </a:ext>
            </a:extLst>
          </p:cNvPr>
          <p:cNvSpPr>
            <a:spLocks/>
          </p:cNvSpPr>
          <p:nvPr userDrawn="1"/>
        </p:nvSpPr>
        <p:spPr bwMode="auto">
          <a:xfrm>
            <a:off x="1675092" y="92670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2" name="Freeform 2809">
            <a:extLst>
              <a:ext uri="{FF2B5EF4-FFF2-40B4-BE49-F238E27FC236}">
                <a16:creationId xmlns:a16="http://schemas.microsoft.com/office/drawing/2014/main" id="{18F396F9-E811-44BF-914D-BFF9A0E27AC3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3" name="Freeform 2810">
            <a:extLst>
              <a:ext uri="{FF2B5EF4-FFF2-40B4-BE49-F238E27FC236}">
                <a16:creationId xmlns:a16="http://schemas.microsoft.com/office/drawing/2014/main" id="{04970251-44DD-486E-BA9D-8134B66999AF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4" name="Freeform 2811">
            <a:extLst>
              <a:ext uri="{FF2B5EF4-FFF2-40B4-BE49-F238E27FC236}">
                <a16:creationId xmlns:a16="http://schemas.microsoft.com/office/drawing/2014/main" id="{D1083D87-BC22-4A40-92D3-812F3B7D74DD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87946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5" name="Freeform 2812">
            <a:extLst>
              <a:ext uri="{FF2B5EF4-FFF2-40B4-BE49-F238E27FC236}">
                <a16:creationId xmlns:a16="http://schemas.microsoft.com/office/drawing/2014/main" id="{604F178F-EA1F-4B37-A3E1-ECBE0C538DF0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92670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8 h 154"/>
              <a:gd name="T6" fmla="*/ 141 w 153"/>
              <a:gd name="T7" fmla="*/ 120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6" name="Freeform 2813">
            <a:extLst>
              <a:ext uri="{FF2B5EF4-FFF2-40B4-BE49-F238E27FC236}">
                <a16:creationId xmlns:a16="http://schemas.microsoft.com/office/drawing/2014/main" id="{6DB8D4D6-1318-435A-B38A-E0E892218338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7" name="Freeform 2814">
            <a:extLst>
              <a:ext uri="{FF2B5EF4-FFF2-40B4-BE49-F238E27FC236}">
                <a16:creationId xmlns:a16="http://schemas.microsoft.com/office/drawing/2014/main" id="{7E139E06-86C6-487F-8AFB-D743BF27AEB7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1 w 154"/>
              <a:gd name="T7" fmla="*/ 120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9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8" name="Freeform 2815">
            <a:extLst>
              <a:ext uri="{FF2B5EF4-FFF2-40B4-BE49-F238E27FC236}">
                <a16:creationId xmlns:a16="http://schemas.microsoft.com/office/drawing/2014/main" id="{2FEF199E-3422-4013-A222-1D261D86F1EB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9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9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9" name="Freeform 2816">
            <a:extLst>
              <a:ext uri="{FF2B5EF4-FFF2-40B4-BE49-F238E27FC236}">
                <a16:creationId xmlns:a16="http://schemas.microsoft.com/office/drawing/2014/main" id="{D29D690F-9F72-4A74-A50F-8784AE6CB562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92670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6 w 154"/>
              <a:gd name="T17" fmla="*/ 154 h 154"/>
              <a:gd name="T18" fmla="*/ 69 w 154"/>
              <a:gd name="T19" fmla="*/ 154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6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9" y="154"/>
                </a:lnTo>
                <a:lnTo>
                  <a:pt x="61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1" y="2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0" name="Freeform 2817">
            <a:extLst>
              <a:ext uri="{FF2B5EF4-FFF2-40B4-BE49-F238E27FC236}">
                <a16:creationId xmlns:a16="http://schemas.microsoft.com/office/drawing/2014/main" id="{4432BF8C-CB50-46BA-91E6-68844BAF6E17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78393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4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1" name="Freeform 2819">
            <a:extLst>
              <a:ext uri="{FF2B5EF4-FFF2-40B4-BE49-F238E27FC236}">
                <a16:creationId xmlns:a16="http://schemas.microsoft.com/office/drawing/2014/main" id="{3F5D1050-FE86-4517-BF87-ADDAABBD17A3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2" name="Freeform 2820">
            <a:extLst>
              <a:ext uri="{FF2B5EF4-FFF2-40B4-BE49-F238E27FC236}">
                <a16:creationId xmlns:a16="http://schemas.microsoft.com/office/drawing/2014/main" id="{CBB0A570-9565-4D19-B056-EE6AB0414545}"/>
              </a:ext>
            </a:extLst>
          </p:cNvPr>
          <p:cNvSpPr>
            <a:spLocks/>
          </p:cNvSpPr>
          <p:nvPr userDrawn="1"/>
        </p:nvSpPr>
        <p:spPr bwMode="auto">
          <a:xfrm>
            <a:off x="1675092" y="78393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3" name="Freeform 2821">
            <a:extLst>
              <a:ext uri="{FF2B5EF4-FFF2-40B4-BE49-F238E27FC236}">
                <a16:creationId xmlns:a16="http://schemas.microsoft.com/office/drawing/2014/main" id="{EA1E9ECB-1AF5-409D-932A-CDB3D8D448FD}"/>
              </a:ext>
            </a:extLst>
          </p:cNvPr>
          <p:cNvSpPr>
            <a:spLocks/>
          </p:cNvSpPr>
          <p:nvPr userDrawn="1"/>
        </p:nvSpPr>
        <p:spPr bwMode="auto">
          <a:xfrm>
            <a:off x="1675092" y="83117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4" name="Freeform 2822">
            <a:extLst>
              <a:ext uri="{FF2B5EF4-FFF2-40B4-BE49-F238E27FC236}">
                <a16:creationId xmlns:a16="http://schemas.microsoft.com/office/drawing/2014/main" id="{F29DB33C-132C-43E2-B449-3C47419939C8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5" name="Freeform 2823">
            <a:extLst>
              <a:ext uri="{FF2B5EF4-FFF2-40B4-BE49-F238E27FC236}">
                <a16:creationId xmlns:a16="http://schemas.microsoft.com/office/drawing/2014/main" id="{14BE6232-13E7-47F2-9675-1CC51A43024F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6" name="Freeform 2824">
            <a:extLst>
              <a:ext uri="{FF2B5EF4-FFF2-40B4-BE49-F238E27FC236}">
                <a16:creationId xmlns:a16="http://schemas.microsoft.com/office/drawing/2014/main" id="{4A95B2B4-FE97-46DA-8C74-384C0331C7C6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970791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5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5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7" name="Freeform 2825">
            <a:extLst>
              <a:ext uri="{FF2B5EF4-FFF2-40B4-BE49-F238E27FC236}">
                <a16:creationId xmlns:a16="http://schemas.microsoft.com/office/drawing/2014/main" id="{262BBD88-8BBD-425A-9677-1A04B3646808}"/>
              </a:ext>
            </a:extLst>
          </p:cNvPr>
          <p:cNvSpPr>
            <a:spLocks/>
          </p:cNvSpPr>
          <p:nvPr userDrawn="1"/>
        </p:nvSpPr>
        <p:spPr bwMode="auto">
          <a:xfrm>
            <a:off x="1812607" y="970791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8" name="Freeform 2826">
            <a:extLst>
              <a:ext uri="{FF2B5EF4-FFF2-40B4-BE49-F238E27FC236}">
                <a16:creationId xmlns:a16="http://schemas.microsoft.com/office/drawing/2014/main" id="{FEBAACF8-1CEC-48FB-9220-ED13A467C6A9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9" name="Freeform 2827">
            <a:extLst>
              <a:ext uri="{FF2B5EF4-FFF2-40B4-BE49-F238E27FC236}">
                <a16:creationId xmlns:a16="http://schemas.microsoft.com/office/drawing/2014/main" id="{45617F41-1111-41F6-8EBF-8FEA820B73EC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92670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8 w 154"/>
              <a:gd name="T5" fmla="*/ 108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4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0" name="Freeform 2828">
            <a:extLst>
              <a:ext uri="{FF2B5EF4-FFF2-40B4-BE49-F238E27FC236}">
                <a16:creationId xmlns:a16="http://schemas.microsoft.com/office/drawing/2014/main" id="{0EA140B3-CC39-48B2-A016-D1C78317636E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5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4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1" name="Freeform 2829">
            <a:extLst>
              <a:ext uri="{FF2B5EF4-FFF2-40B4-BE49-F238E27FC236}">
                <a16:creationId xmlns:a16="http://schemas.microsoft.com/office/drawing/2014/main" id="{415D6C6B-9D22-4812-84AE-17B6829C7FC9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5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4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4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2" name="Freeform 2830">
            <a:extLst>
              <a:ext uri="{FF2B5EF4-FFF2-40B4-BE49-F238E27FC236}">
                <a16:creationId xmlns:a16="http://schemas.microsoft.com/office/drawing/2014/main" id="{1172F43D-F7E4-4DFA-85A0-3AA2FE840473}"/>
              </a:ext>
            </a:extLst>
          </p:cNvPr>
          <p:cNvSpPr>
            <a:spLocks/>
          </p:cNvSpPr>
          <p:nvPr userDrawn="1"/>
        </p:nvSpPr>
        <p:spPr bwMode="auto">
          <a:xfrm>
            <a:off x="1812607" y="78393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3" name="Freeform 2831">
            <a:extLst>
              <a:ext uri="{FF2B5EF4-FFF2-40B4-BE49-F238E27FC236}">
                <a16:creationId xmlns:a16="http://schemas.microsoft.com/office/drawing/2014/main" id="{2E15BDC4-E43F-4155-93F0-E77E90DADD59}"/>
              </a:ext>
            </a:extLst>
          </p:cNvPr>
          <p:cNvSpPr>
            <a:spLocks/>
          </p:cNvSpPr>
          <p:nvPr userDrawn="1"/>
        </p:nvSpPr>
        <p:spPr bwMode="auto">
          <a:xfrm>
            <a:off x="1812607" y="83117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4" name="Freeform 2832">
            <a:extLst>
              <a:ext uri="{FF2B5EF4-FFF2-40B4-BE49-F238E27FC236}">
                <a16:creationId xmlns:a16="http://schemas.microsoft.com/office/drawing/2014/main" id="{08E5373A-ECDB-435A-8873-917F98ED9BD7}"/>
              </a:ext>
            </a:extLst>
          </p:cNvPr>
          <p:cNvSpPr>
            <a:spLocks/>
          </p:cNvSpPr>
          <p:nvPr userDrawn="1"/>
        </p:nvSpPr>
        <p:spPr bwMode="auto">
          <a:xfrm>
            <a:off x="1858794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5" name="Freeform 2833">
            <a:extLst>
              <a:ext uri="{FF2B5EF4-FFF2-40B4-BE49-F238E27FC236}">
                <a16:creationId xmlns:a16="http://schemas.microsoft.com/office/drawing/2014/main" id="{D6327606-D71F-4BD8-AF5F-408AB88C38FA}"/>
              </a:ext>
            </a:extLst>
          </p:cNvPr>
          <p:cNvSpPr>
            <a:spLocks/>
          </p:cNvSpPr>
          <p:nvPr userDrawn="1"/>
        </p:nvSpPr>
        <p:spPr bwMode="auto">
          <a:xfrm>
            <a:off x="1858794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6" name="Freeform 2834">
            <a:extLst>
              <a:ext uri="{FF2B5EF4-FFF2-40B4-BE49-F238E27FC236}">
                <a16:creationId xmlns:a16="http://schemas.microsoft.com/office/drawing/2014/main" id="{DD28DCAC-3E65-44E8-83E8-A1CBEA3DDFBC}"/>
              </a:ext>
            </a:extLst>
          </p:cNvPr>
          <p:cNvSpPr>
            <a:spLocks/>
          </p:cNvSpPr>
          <p:nvPr userDrawn="1"/>
        </p:nvSpPr>
        <p:spPr bwMode="auto">
          <a:xfrm>
            <a:off x="1952221" y="87946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7" name="Freeform 2835">
            <a:extLst>
              <a:ext uri="{FF2B5EF4-FFF2-40B4-BE49-F238E27FC236}">
                <a16:creationId xmlns:a16="http://schemas.microsoft.com/office/drawing/2014/main" id="{0E1F24F8-933B-41F4-A70F-CFF4C6F044FE}"/>
              </a:ext>
            </a:extLst>
          </p:cNvPr>
          <p:cNvSpPr>
            <a:spLocks/>
          </p:cNvSpPr>
          <p:nvPr userDrawn="1"/>
        </p:nvSpPr>
        <p:spPr bwMode="auto">
          <a:xfrm>
            <a:off x="1952221" y="926701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8 h 154"/>
              <a:gd name="T6" fmla="*/ 142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8" name="Freeform 2836">
            <a:extLst>
              <a:ext uri="{FF2B5EF4-FFF2-40B4-BE49-F238E27FC236}">
                <a16:creationId xmlns:a16="http://schemas.microsoft.com/office/drawing/2014/main" id="{648BB4AB-DEEE-411F-98E4-A69E9CC9E3C9}"/>
              </a:ext>
            </a:extLst>
          </p:cNvPr>
          <p:cNvSpPr>
            <a:spLocks/>
          </p:cNvSpPr>
          <p:nvPr userDrawn="1"/>
        </p:nvSpPr>
        <p:spPr bwMode="auto">
          <a:xfrm>
            <a:off x="1998409" y="926701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8 h 154"/>
              <a:gd name="T6" fmla="*/ 142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9" name="Freeform 2837">
            <a:extLst>
              <a:ext uri="{FF2B5EF4-FFF2-40B4-BE49-F238E27FC236}">
                <a16:creationId xmlns:a16="http://schemas.microsoft.com/office/drawing/2014/main" id="{120C950B-EB75-4214-A05D-77C7E1D64E6D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7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6 w 154"/>
              <a:gd name="T51" fmla="*/ 0 h 154"/>
              <a:gd name="T52" fmla="*/ 85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0" name="Freeform 2838">
            <a:extLst>
              <a:ext uri="{FF2B5EF4-FFF2-40B4-BE49-F238E27FC236}">
                <a16:creationId xmlns:a16="http://schemas.microsoft.com/office/drawing/2014/main" id="{397A726E-0D79-490A-9ACA-45F6419CD3F0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6 w 154"/>
              <a:gd name="T13" fmla="*/ 148 h 154"/>
              <a:gd name="T14" fmla="*/ 93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6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1" name="Freeform 2839">
            <a:extLst>
              <a:ext uri="{FF2B5EF4-FFF2-40B4-BE49-F238E27FC236}">
                <a16:creationId xmlns:a16="http://schemas.microsoft.com/office/drawing/2014/main" id="{530EBEB0-705D-4250-913F-0F4A6C6BF44F}"/>
              </a:ext>
            </a:extLst>
          </p:cNvPr>
          <p:cNvSpPr>
            <a:spLocks/>
          </p:cNvSpPr>
          <p:nvPr userDrawn="1"/>
        </p:nvSpPr>
        <p:spPr bwMode="auto">
          <a:xfrm>
            <a:off x="1952221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2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0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2" name="Freeform 2840">
            <a:extLst>
              <a:ext uri="{FF2B5EF4-FFF2-40B4-BE49-F238E27FC236}">
                <a16:creationId xmlns:a16="http://schemas.microsoft.com/office/drawing/2014/main" id="{A1A1CF0C-4212-491D-BD0B-56EC3097D251}"/>
              </a:ext>
            </a:extLst>
          </p:cNvPr>
          <p:cNvSpPr>
            <a:spLocks/>
          </p:cNvSpPr>
          <p:nvPr userDrawn="1"/>
        </p:nvSpPr>
        <p:spPr bwMode="auto">
          <a:xfrm>
            <a:off x="1952221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8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3" name="Freeform 2841">
            <a:extLst>
              <a:ext uri="{FF2B5EF4-FFF2-40B4-BE49-F238E27FC236}">
                <a16:creationId xmlns:a16="http://schemas.microsoft.com/office/drawing/2014/main" id="{CB073597-96C8-404D-8D77-2835DEB58202}"/>
              </a:ext>
            </a:extLst>
          </p:cNvPr>
          <p:cNvSpPr>
            <a:spLocks/>
          </p:cNvSpPr>
          <p:nvPr userDrawn="1"/>
        </p:nvSpPr>
        <p:spPr bwMode="auto">
          <a:xfrm>
            <a:off x="1998409" y="783937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0 h 154"/>
              <a:gd name="T22" fmla="*/ 42 w 155"/>
              <a:gd name="T23" fmla="*/ 144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8 w 155"/>
              <a:gd name="T47" fmla="*/ 5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8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0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4" name="Freeform 2842">
            <a:extLst>
              <a:ext uri="{FF2B5EF4-FFF2-40B4-BE49-F238E27FC236}">
                <a16:creationId xmlns:a16="http://schemas.microsoft.com/office/drawing/2014/main" id="{CCAD5D40-F3F1-43E9-A667-60B1500F8454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73984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5" name="Freeform 2843">
            <a:extLst>
              <a:ext uri="{FF2B5EF4-FFF2-40B4-BE49-F238E27FC236}">
                <a16:creationId xmlns:a16="http://schemas.microsoft.com/office/drawing/2014/main" id="{40C09AAD-B054-43D4-B1AA-749292272F70}"/>
              </a:ext>
            </a:extLst>
          </p:cNvPr>
          <p:cNvSpPr>
            <a:spLocks/>
          </p:cNvSpPr>
          <p:nvPr userDrawn="1"/>
        </p:nvSpPr>
        <p:spPr bwMode="auto">
          <a:xfrm>
            <a:off x="1812607" y="73984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6" name="Freeform 2844">
            <a:extLst>
              <a:ext uri="{FF2B5EF4-FFF2-40B4-BE49-F238E27FC236}">
                <a16:creationId xmlns:a16="http://schemas.microsoft.com/office/drawing/2014/main" id="{D19CEAEE-A946-4574-AC2D-31767859CD40}"/>
              </a:ext>
            </a:extLst>
          </p:cNvPr>
          <p:cNvSpPr>
            <a:spLocks/>
          </p:cNvSpPr>
          <p:nvPr userDrawn="1"/>
        </p:nvSpPr>
        <p:spPr bwMode="auto">
          <a:xfrm>
            <a:off x="1858794" y="73984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7" name="Freeform 2845">
            <a:extLst>
              <a:ext uri="{FF2B5EF4-FFF2-40B4-BE49-F238E27FC236}">
                <a16:creationId xmlns:a16="http://schemas.microsoft.com/office/drawing/2014/main" id="{D7E58201-7187-450E-A37B-C4A2AF701E27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73984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8" name="Freeform 2846">
            <a:extLst>
              <a:ext uri="{FF2B5EF4-FFF2-40B4-BE49-F238E27FC236}">
                <a16:creationId xmlns:a16="http://schemas.microsoft.com/office/drawing/2014/main" id="{C4F998B4-1DD0-4156-B6A5-5A761185476D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69365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6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5"/>
                </a:lnTo>
                <a:lnTo>
                  <a:pt x="13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9" name="Freeform 2847">
            <a:extLst>
              <a:ext uri="{FF2B5EF4-FFF2-40B4-BE49-F238E27FC236}">
                <a16:creationId xmlns:a16="http://schemas.microsoft.com/office/drawing/2014/main" id="{3F2CAC38-89B2-4B6F-892A-586ED12C2729}"/>
              </a:ext>
            </a:extLst>
          </p:cNvPr>
          <p:cNvSpPr>
            <a:spLocks/>
          </p:cNvSpPr>
          <p:nvPr userDrawn="1"/>
        </p:nvSpPr>
        <p:spPr bwMode="auto">
          <a:xfrm>
            <a:off x="1812607" y="69365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49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6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0" name="Freeform 2848">
            <a:extLst>
              <a:ext uri="{FF2B5EF4-FFF2-40B4-BE49-F238E27FC236}">
                <a16:creationId xmlns:a16="http://schemas.microsoft.com/office/drawing/2014/main" id="{4CD1C99D-F6C6-451B-AAE1-0B9068ADBF0D}"/>
              </a:ext>
            </a:extLst>
          </p:cNvPr>
          <p:cNvSpPr>
            <a:spLocks/>
          </p:cNvSpPr>
          <p:nvPr userDrawn="1"/>
        </p:nvSpPr>
        <p:spPr bwMode="auto">
          <a:xfrm>
            <a:off x="1858794" y="69365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0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49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0"/>
                </a:lnTo>
                <a:lnTo>
                  <a:pt x="18" y="125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1" name="Freeform 2849">
            <a:extLst>
              <a:ext uri="{FF2B5EF4-FFF2-40B4-BE49-F238E27FC236}">
                <a16:creationId xmlns:a16="http://schemas.microsoft.com/office/drawing/2014/main" id="{F7AD73DD-3A12-4222-93FB-718BCC6A5747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693659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0 h 153"/>
              <a:gd name="T10" fmla="*/ 120 w 154"/>
              <a:gd name="T11" fmla="*/ 140 h 153"/>
              <a:gd name="T12" fmla="*/ 106 w 154"/>
              <a:gd name="T13" fmla="*/ 147 h 153"/>
              <a:gd name="T14" fmla="*/ 93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49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6 h 153"/>
              <a:gd name="T40" fmla="*/ 12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6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49"/>
                </a:lnTo>
                <a:lnTo>
                  <a:pt x="93" y="152"/>
                </a:lnTo>
                <a:lnTo>
                  <a:pt x="85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49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0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2" name="Freeform 2850">
            <a:extLst>
              <a:ext uri="{FF2B5EF4-FFF2-40B4-BE49-F238E27FC236}">
                <a16:creationId xmlns:a16="http://schemas.microsoft.com/office/drawing/2014/main" id="{6BBD5F08-6293-4626-BCC1-21D7B2A7E07B}"/>
              </a:ext>
            </a:extLst>
          </p:cNvPr>
          <p:cNvSpPr>
            <a:spLocks/>
          </p:cNvSpPr>
          <p:nvPr userDrawn="1"/>
        </p:nvSpPr>
        <p:spPr bwMode="auto">
          <a:xfrm>
            <a:off x="1766418" y="64957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3" name="Freeform 2851">
            <a:extLst>
              <a:ext uri="{FF2B5EF4-FFF2-40B4-BE49-F238E27FC236}">
                <a16:creationId xmlns:a16="http://schemas.microsoft.com/office/drawing/2014/main" id="{83E58BE4-7C18-433F-BA52-5BE482B3A2ED}"/>
              </a:ext>
            </a:extLst>
          </p:cNvPr>
          <p:cNvSpPr>
            <a:spLocks/>
          </p:cNvSpPr>
          <p:nvPr userDrawn="1"/>
        </p:nvSpPr>
        <p:spPr bwMode="auto">
          <a:xfrm>
            <a:off x="1812607" y="64957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4" name="Freeform 2852">
            <a:extLst>
              <a:ext uri="{FF2B5EF4-FFF2-40B4-BE49-F238E27FC236}">
                <a16:creationId xmlns:a16="http://schemas.microsoft.com/office/drawing/2014/main" id="{422A1CEF-D697-43A8-B08F-FEE80C400724}"/>
              </a:ext>
            </a:extLst>
          </p:cNvPr>
          <p:cNvSpPr>
            <a:spLocks/>
          </p:cNvSpPr>
          <p:nvPr userDrawn="1"/>
        </p:nvSpPr>
        <p:spPr bwMode="auto">
          <a:xfrm>
            <a:off x="1998409" y="83117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8 w 155"/>
              <a:gd name="T13" fmla="*/ 148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1 w 155"/>
              <a:gd name="T29" fmla="*/ 114 h 154"/>
              <a:gd name="T30" fmla="*/ 4 w 155"/>
              <a:gd name="T31" fmla="*/ 100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2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7"/>
                </a:lnTo>
                <a:lnTo>
                  <a:pt x="121" y="140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8"/>
                </a:lnTo>
                <a:lnTo>
                  <a:pt x="42" y="145"/>
                </a:lnTo>
                <a:lnTo>
                  <a:pt x="35" y="140"/>
                </a:lnTo>
                <a:lnTo>
                  <a:pt x="29" y="137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4"/>
                </a:lnTo>
                <a:lnTo>
                  <a:pt x="7" y="107"/>
                </a:lnTo>
                <a:lnTo>
                  <a:pt x="4" y="100"/>
                </a:lnTo>
                <a:lnTo>
                  <a:pt x="3" y="92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1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2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3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5" name="Freeform 2853">
            <a:extLst>
              <a:ext uri="{FF2B5EF4-FFF2-40B4-BE49-F238E27FC236}">
                <a16:creationId xmlns:a16="http://schemas.microsoft.com/office/drawing/2014/main" id="{37431AF1-819C-4B4A-9DCF-D51B07B5F52E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78393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6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0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5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6" name="Freeform 2854">
            <a:extLst>
              <a:ext uri="{FF2B5EF4-FFF2-40B4-BE49-F238E27FC236}">
                <a16:creationId xmlns:a16="http://schemas.microsoft.com/office/drawing/2014/main" id="{976751BF-ECAC-440B-B268-6FF76A44F21E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83117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2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3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6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7" name="Freeform 2855">
            <a:extLst>
              <a:ext uri="{FF2B5EF4-FFF2-40B4-BE49-F238E27FC236}">
                <a16:creationId xmlns:a16="http://schemas.microsoft.com/office/drawing/2014/main" id="{874DEBF5-45FD-46CB-8B21-1B079C2C8C61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0 h 154"/>
              <a:gd name="T22" fmla="*/ 40 w 154"/>
              <a:gd name="T23" fmla="*/ 144 h 154"/>
              <a:gd name="T24" fmla="*/ 29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7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8" name="Freeform 2856">
            <a:extLst>
              <a:ext uri="{FF2B5EF4-FFF2-40B4-BE49-F238E27FC236}">
                <a16:creationId xmlns:a16="http://schemas.microsoft.com/office/drawing/2014/main" id="{918BE73C-EB44-48A4-9787-1C888E8D2D48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8 w 154"/>
              <a:gd name="T13" fmla="*/ 148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8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9" name="Freeform 2857">
            <a:extLst>
              <a:ext uri="{FF2B5EF4-FFF2-40B4-BE49-F238E27FC236}">
                <a16:creationId xmlns:a16="http://schemas.microsoft.com/office/drawing/2014/main" id="{30B80FCA-EDB0-4A90-A5CF-BAFB21440235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78393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9 w 154"/>
              <a:gd name="T19" fmla="*/ 153 h 154"/>
              <a:gd name="T20" fmla="*/ 53 w 154"/>
              <a:gd name="T21" fmla="*/ 150 h 154"/>
              <a:gd name="T22" fmla="*/ 40 w 154"/>
              <a:gd name="T23" fmla="*/ 144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6 w 154"/>
              <a:gd name="T47" fmla="*/ 5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4 w 154"/>
              <a:gd name="T57" fmla="*/ 9 h 154"/>
              <a:gd name="T58" fmla="*/ 125 w 154"/>
              <a:gd name="T59" fmla="*/ 17 h 154"/>
              <a:gd name="T60" fmla="*/ 136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9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0" name="Freeform 2858">
            <a:extLst>
              <a:ext uri="{FF2B5EF4-FFF2-40B4-BE49-F238E27FC236}">
                <a16:creationId xmlns:a16="http://schemas.microsoft.com/office/drawing/2014/main" id="{DC041FF1-E393-419E-A51F-86BA5670C430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831175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2 w 154"/>
              <a:gd name="T15" fmla="*/ 152 h 154"/>
              <a:gd name="T16" fmla="*/ 76 w 154"/>
              <a:gd name="T17" fmla="*/ 154 h 154"/>
              <a:gd name="T18" fmla="*/ 69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6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2"/>
                </a:lnTo>
                <a:lnTo>
                  <a:pt x="151" y="100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9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8"/>
                </a:lnTo>
                <a:lnTo>
                  <a:pt x="40" y="145"/>
                </a:lnTo>
                <a:lnTo>
                  <a:pt x="34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1" y="2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1" name="Freeform 2859">
            <a:extLst>
              <a:ext uri="{FF2B5EF4-FFF2-40B4-BE49-F238E27FC236}">
                <a16:creationId xmlns:a16="http://schemas.microsoft.com/office/drawing/2014/main" id="{AD8BFA13-FEC7-4636-AF32-9FA471EA04C8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69471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2" name="Freeform 2860">
            <a:extLst>
              <a:ext uri="{FF2B5EF4-FFF2-40B4-BE49-F238E27FC236}">
                <a16:creationId xmlns:a16="http://schemas.microsoft.com/office/drawing/2014/main" id="{96D42581-8715-48F4-9488-642099740792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7 h 155"/>
              <a:gd name="T28" fmla="*/ 10 w 154"/>
              <a:gd name="T29" fmla="*/ 114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3" name="Freeform 2861">
            <a:extLst>
              <a:ext uri="{FF2B5EF4-FFF2-40B4-BE49-F238E27FC236}">
                <a16:creationId xmlns:a16="http://schemas.microsoft.com/office/drawing/2014/main" id="{45B8FBBE-76E9-4E70-9112-56B61AC8D74E}"/>
              </a:ext>
            </a:extLst>
          </p:cNvPr>
          <p:cNvSpPr>
            <a:spLocks/>
          </p:cNvSpPr>
          <p:nvPr userDrawn="1"/>
        </p:nvSpPr>
        <p:spPr bwMode="auto">
          <a:xfrm>
            <a:off x="1858794" y="560343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4" name="Freeform 2862">
            <a:extLst>
              <a:ext uri="{FF2B5EF4-FFF2-40B4-BE49-F238E27FC236}">
                <a16:creationId xmlns:a16="http://schemas.microsoft.com/office/drawing/2014/main" id="{CDE707DE-A018-40E3-870A-5E7A307078C9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560343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9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5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9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5" name="Freeform 2863">
            <a:extLst>
              <a:ext uri="{FF2B5EF4-FFF2-40B4-BE49-F238E27FC236}">
                <a16:creationId xmlns:a16="http://schemas.microsoft.com/office/drawing/2014/main" id="{59033D51-135D-4F95-8091-93C994BF6E84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604432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1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9 w 154"/>
              <a:gd name="T19" fmla="*/ 153 h 153"/>
              <a:gd name="T20" fmla="*/ 53 w 154"/>
              <a:gd name="T21" fmla="*/ 149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5 w 154"/>
              <a:gd name="T39" fmla="*/ 46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6 w 154"/>
              <a:gd name="T47" fmla="*/ 5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7" y="106"/>
                </a:lnTo>
                <a:lnTo>
                  <a:pt x="145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99" y="149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9" y="153"/>
                </a:lnTo>
                <a:lnTo>
                  <a:pt x="61" y="152"/>
                </a:lnTo>
                <a:lnTo>
                  <a:pt x="53" y="149"/>
                </a:lnTo>
                <a:lnTo>
                  <a:pt x="46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8" y="125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7" y="46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6" name="Freeform 2864">
            <a:extLst>
              <a:ext uri="{FF2B5EF4-FFF2-40B4-BE49-F238E27FC236}">
                <a16:creationId xmlns:a16="http://schemas.microsoft.com/office/drawing/2014/main" id="{0A724949-C23C-4ED2-8F50-72BDB5D236AD}"/>
              </a:ext>
            </a:extLst>
          </p:cNvPr>
          <p:cNvSpPr>
            <a:spLocks/>
          </p:cNvSpPr>
          <p:nvPr userDrawn="1"/>
        </p:nvSpPr>
        <p:spPr bwMode="auto">
          <a:xfrm>
            <a:off x="1951173" y="560343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7" name="Freeform 2865">
            <a:extLst>
              <a:ext uri="{FF2B5EF4-FFF2-40B4-BE49-F238E27FC236}">
                <a16:creationId xmlns:a16="http://schemas.microsoft.com/office/drawing/2014/main" id="{AF2B61F0-01B1-4218-A42A-3A28ED8BF93E}"/>
              </a:ext>
            </a:extLst>
          </p:cNvPr>
          <p:cNvSpPr>
            <a:spLocks/>
          </p:cNvSpPr>
          <p:nvPr userDrawn="1"/>
        </p:nvSpPr>
        <p:spPr bwMode="auto">
          <a:xfrm>
            <a:off x="1951173" y="513105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2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7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8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7"/>
                </a:lnTo>
                <a:lnTo>
                  <a:pt x="132" y="131"/>
                </a:lnTo>
                <a:lnTo>
                  <a:pt x="126" y="137"/>
                </a:lnTo>
                <a:lnTo>
                  <a:pt x="120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1"/>
                </a:lnTo>
                <a:lnTo>
                  <a:pt x="18" y="127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8" name="Freeform 2866">
            <a:extLst>
              <a:ext uri="{FF2B5EF4-FFF2-40B4-BE49-F238E27FC236}">
                <a16:creationId xmlns:a16="http://schemas.microsoft.com/office/drawing/2014/main" id="{179E9347-AE54-432F-B898-03DC6898357C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513105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19 w 153"/>
              <a:gd name="T11" fmla="*/ 142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7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8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7"/>
                </a:lnTo>
                <a:lnTo>
                  <a:pt x="130" y="131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1"/>
                </a:lnTo>
                <a:lnTo>
                  <a:pt x="17" y="127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9" name="Freeform 2867">
            <a:extLst>
              <a:ext uri="{FF2B5EF4-FFF2-40B4-BE49-F238E27FC236}">
                <a16:creationId xmlns:a16="http://schemas.microsoft.com/office/drawing/2014/main" id="{6471C577-A3A3-4615-BDD8-90A3385EF84C}"/>
              </a:ext>
            </a:extLst>
          </p:cNvPr>
          <p:cNvSpPr>
            <a:spLocks/>
          </p:cNvSpPr>
          <p:nvPr userDrawn="1"/>
        </p:nvSpPr>
        <p:spPr bwMode="auto">
          <a:xfrm>
            <a:off x="1951173" y="46796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5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0" name="Freeform 2868">
            <a:extLst>
              <a:ext uri="{FF2B5EF4-FFF2-40B4-BE49-F238E27FC236}">
                <a16:creationId xmlns:a16="http://schemas.microsoft.com/office/drawing/2014/main" id="{DD4E49F6-13E2-4EF3-A5DA-BD39A4E7CD99}"/>
              </a:ext>
            </a:extLst>
          </p:cNvPr>
          <p:cNvSpPr>
            <a:spLocks/>
          </p:cNvSpPr>
          <p:nvPr userDrawn="1"/>
        </p:nvSpPr>
        <p:spPr bwMode="auto">
          <a:xfrm>
            <a:off x="1999460" y="46796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9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1" name="Freeform 2869">
            <a:extLst>
              <a:ext uri="{FF2B5EF4-FFF2-40B4-BE49-F238E27FC236}">
                <a16:creationId xmlns:a16="http://schemas.microsoft.com/office/drawing/2014/main" id="{D4E0C22A-AD4C-4088-9C88-3E43C0F87631}"/>
              </a:ext>
            </a:extLst>
          </p:cNvPr>
          <p:cNvSpPr>
            <a:spLocks/>
          </p:cNvSpPr>
          <p:nvPr userDrawn="1"/>
        </p:nvSpPr>
        <p:spPr bwMode="auto">
          <a:xfrm>
            <a:off x="1906033" y="467967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3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6 w 154"/>
              <a:gd name="T17" fmla="*/ 154 h 154"/>
              <a:gd name="T18" fmla="*/ 69 w 154"/>
              <a:gd name="T19" fmla="*/ 154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6 w 154"/>
              <a:gd name="T47" fmla="*/ 7 h 154"/>
              <a:gd name="T48" fmla="*/ 61 w 154"/>
              <a:gd name="T49" fmla="*/ 2 h 154"/>
              <a:gd name="T50" fmla="*/ 76 w 154"/>
              <a:gd name="T51" fmla="*/ 0 h 154"/>
              <a:gd name="T52" fmla="*/ 84 w 154"/>
              <a:gd name="T53" fmla="*/ 1 h 154"/>
              <a:gd name="T54" fmla="*/ 99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6 w 154"/>
              <a:gd name="T61" fmla="*/ 29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7"/>
                </a:lnTo>
                <a:lnTo>
                  <a:pt x="145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9" y="154"/>
                </a:lnTo>
                <a:lnTo>
                  <a:pt x="61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5"/>
                </a:lnTo>
                <a:lnTo>
                  <a:pt x="5" y="47"/>
                </a:lnTo>
                <a:lnTo>
                  <a:pt x="9" y="41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3" y="3"/>
                </a:lnTo>
                <a:lnTo>
                  <a:pt x="61" y="2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1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2" name="Freeform 2870">
            <a:extLst>
              <a:ext uri="{FF2B5EF4-FFF2-40B4-BE49-F238E27FC236}">
                <a16:creationId xmlns:a16="http://schemas.microsoft.com/office/drawing/2014/main" id="{EC010C4D-079F-40D1-BCEA-1B4E119560E7}"/>
              </a:ext>
            </a:extLst>
          </p:cNvPr>
          <p:cNvSpPr>
            <a:spLocks/>
          </p:cNvSpPr>
          <p:nvPr userDrawn="1"/>
        </p:nvSpPr>
        <p:spPr bwMode="auto">
          <a:xfrm>
            <a:off x="1908133" y="419677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2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0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0" y="2"/>
                </a:lnTo>
                <a:lnTo>
                  <a:pt x="68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3" name="Freeform 2871">
            <a:extLst>
              <a:ext uri="{FF2B5EF4-FFF2-40B4-BE49-F238E27FC236}">
                <a16:creationId xmlns:a16="http://schemas.microsoft.com/office/drawing/2014/main" id="{E6A76D28-01A3-433B-B479-E9972E1CDF77}"/>
              </a:ext>
            </a:extLst>
          </p:cNvPr>
          <p:cNvSpPr>
            <a:spLocks/>
          </p:cNvSpPr>
          <p:nvPr userDrawn="1"/>
        </p:nvSpPr>
        <p:spPr bwMode="auto">
          <a:xfrm>
            <a:off x="1814707" y="419677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7 w 155"/>
              <a:gd name="T27" fmla="*/ 127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10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3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4" name="Freeform 2872">
            <a:extLst>
              <a:ext uri="{FF2B5EF4-FFF2-40B4-BE49-F238E27FC236}">
                <a16:creationId xmlns:a16="http://schemas.microsoft.com/office/drawing/2014/main" id="{662C3B1B-2677-470B-8063-E34E0CF5134C}"/>
              </a:ext>
            </a:extLst>
          </p:cNvPr>
          <p:cNvSpPr>
            <a:spLocks/>
          </p:cNvSpPr>
          <p:nvPr userDrawn="1"/>
        </p:nvSpPr>
        <p:spPr bwMode="auto">
          <a:xfrm>
            <a:off x="1861943" y="41967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19 w 154"/>
              <a:gd name="T11" fmla="*/ 142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2 w 154"/>
              <a:gd name="T43" fmla="*/ 23 h 155"/>
              <a:gd name="T44" fmla="*/ 33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19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5" name="Freeform 2873">
            <a:extLst>
              <a:ext uri="{FF2B5EF4-FFF2-40B4-BE49-F238E27FC236}">
                <a16:creationId xmlns:a16="http://schemas.microsoft.com/office/drawing/2014/main" id="{E0A206DA-D487-427A-A00E-5526CB6A025E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694710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6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6" name="Freeform 2874">
            <a:extLst>
              <a:ext uri="{FF2B5EF4-FFF2-40B4-BE49-F238E27FC236}">
                <a16:creationId xmlns:a16="http://schemas.microsoft.com/office/drawing/2014/main" id="{A6CF71D9-2C40-4525-B7F8-B1BB139FFBD5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74194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4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5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7" name="Freeform 2875">
            <a:extLst>
              <a:ext uri="{FF2B5EF4-FFF2-40B4-BE49-F238E27FC236}">
                <a16:creationId xmlns:a16="http://schemas.microsoft.com/office/drawing/2014/main" id="{04304429-8529-49A3-B48C-CD0179DB3FBE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74194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8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7 h 155"/>
              <a:gd name="T26" fmla="*/ 17 w 154"/>
              <a:gd name="T27" fmla="*/ 127 h 155"/>
              <a:gd name="T28" fmla="*/ 9 w 154"/>
              <a:gd name="T29" fmla="*/ 114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4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7" y="127"/>
                </a:lnTo>
                <a:lnTo>
                  <a:pt x="14" y="120"/>
                </a:lnTo>
                <a:lnTo>
                  <a:pt x="9" y="114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5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5"/>
                </a:lnTo>
                <a:lnTo>
                  <a:pt x="108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8" name="Freeform 2876">
            <a:extLst>
              <a:ext uri="{FF2B5EF4-FFF2-40B4-BE49-F238E27FC236}">
                <a16:creationId xmlns:a16="http://schemas.microsoft.com/office/drawing/2014/main" id="{336DC059-6968-4A7E-AEDA-0395751A5E23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6033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9" name="Freeform 2877">
            <a:extLst>
              <a:ext uri="{FF2B5EF4-FFF2-40B4-BE49-F238E27FC236}">
                <a16:creationId xmlns:a16="http://schemas.microsoft.com/office/drawing/2014/main" id="{441BA688-DE2B-4BB8-93B8-3E4051978E6F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65062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1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3 h 155"/>
              <a:gd name="T16" fmla="*/ 77 w 153"/>
              <a:gd name="T17" fmla="*/ 155 h 155"/>
              <a:gd name="T18" fmla="*/ 69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2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0" name="Freeform 2878">
            <a:extLst>
              <a:ext uri="{FF2B5EF4-FFF2-40B4-BE49-F238E27FC236}">
                <a16:creationId xmlns:a16="http://schemas.microsoft.com/office/drawing/2014/main" id="{40399243-CD10-4F8D-ACF4-ECF737650B14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6033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1" name="Freeform 2879">
            <a:extLst>
              <a:ext uri="{FF2B5EF4-FFF2-40B4-BE49-F238E27FC236}">
                <a16:creationId xmlns:a16="http://schemas.microsoft.com/office/drawing/2014/main" id="{AC51F5D9-9DE4-47E5-B8D3-753365119A68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7 h 153"/>
              <a:gd name="T6" fmla="*/ 142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2" name="Freeform 2880">
            <a:extLst>
              <a:ext uri="{FF2B5EF4-FFF2-40B4-BE49-F238E27FC236}">
                <a16:creationId xmlns:a16="http://schemas.microsoft.com/office/drawing/2014/main" id="{D2B44D7A-3217-4B7E-B285-9E4DD7BB7568}"/>
              </a:ext>
            </a:extLst>
          </p:cNvPr>
          <p:cNvSpPr>
            <a:spLocks/>
          </p:cNvSpPr>
          <p:nvPr userDrawn="1"/>
        </p:nvSpPr>
        <p:spPr bwMode="auto">
          <a:xfrm>
            <a:off x="1535476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6 h 155"/>
              <a:gd name="T26" fmla="*/ 19 w 155"/>
              <a:gd name="T27" fmla="*/ 126 h 155"/>
              <a:gd name="T28" fmla="*/ 11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8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9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3" name="Freeform 2881">
            <a:extLst>
              <a:ext uri="{FF2B5EF4-FFF2-40B4-BE49-F238E27FC236}">
                <a16:creationId xmlns:a16="http://schemas.microsoft.com/office/drawing/2014/main" id="{E9DD4B81-FBBB-4388-AF7E-1AD050284694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50890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0 w 153"/>
              <a:gd name="T9" fmla="*/ 132 h 153"/>
              <a:gd name="T10" fmla="*/ 119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4" name="Freeform 2882">
            <a:extLst>
              <a:ext uri="{FF2B5EF4-FFF2-40B4-BE49-F238E27FC236}">
                <a16:creationId xmlns:a16="http://schemas.microsoft.com/office/drawing/2014/main" id="{4403DCF2-AE54-43A7-84E5-59B23835E6A2}"/>
              </a:ext>
            </a:extLst>
          </p:cNvPr>
          <p:cNvSpPr>
            <a:spLocks/>
          </p:cNvSpPr>
          <p:nvPr userDrawn="1"/>
        </p:nvSpPr>
        <p:spPr bwMode="auto">
          <a:xfrm>
            <a:off x="1581665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19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0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5" name="Freeform 2883">
            <a:extLst>
              <a:ext uri="{FF2B5EF4-FFF2-40B4-BE49-F238E27FC236}">
                <a16:creationId xmlns:a16="http://schemas.microsoft.com/office/drawing/2014/main" id="{4D57CB33-8E56-4A3A-9DEF-A67848705D52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9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4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6" name="Freeform 2884">
            <a:extLst>
              <a:ext uri="{FF2B5EF4-FFF2-40B4-BE49-F238E27FC236}">
                <a16:creationId xmlns:a16="http://schemas.microsoft.com/office/drawing/2014/main" id="{B40C8AEA-B9E1-48E9-B450-EF44E26FAFB0}"/>
              </a:ext>
            </a:extLst>
          </p:cNvPr>
          <p:cNvSpPr>
            <a:spLocks/>
          </p:cNvSpPr>
          <p:nvPr userDrawn="1"/>
        </p:nvSpPr>
        <p:spPr bwMode="auto">
          <a:xfrm>
            <a:off x="1720231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7" name="Freeform 2885">
            <a:extLst>
              <a:ext uri="{FF2B5EF4-FFF2-40B4-BE49-F238E27FC236}">
                <a16:creationId xmlns:a16="http://schemas.microsoft.com/office/drawing/2014/main" id="{CC05B5F9-2FC3-4598-8987-A230B4B15E46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50890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2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8" name="Freeform 2886">
            <a:extLst>
              <a:ext uri="{FF2B5EF4-FFF2-40B4-BE49-F238E27FC236}">
                <a16:creationId xmlns:a16="http://schemas.microsoft.com/office/drawing/2014/main" id="{6AE2AFB8-C4EC-4457-8371-97610D32B10F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2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9" name="Freeform 2887">
            <a:extLst>
              <a:ext uri="{FF2B5EF4-FFF2-40B4-BE49-F238E27FC236}">
                <a16:creationId xmlns:a16="http://schemas.microsoft.com/office/drawing/2014/main" id="{7663B2C5-B603-4937-A9DA-45BF68603925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8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0" name="Freeform 2888">
            <a:extLst>
              <a:ext uri="{FF2B5EF4-FFF2-40B4-BE49-F238E27FC236}">
                <a16:creationId xmlns:a16="http://schemas.microsoft.com/office/drawing/2014/main" id="{08CDC4A0-730B-42AA-9B16-B646E10E3F1C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8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1" name="Freeform 2889">
            <a:extLst>
              <a:ext uri="{FF2B5EF4-FFF2-40B4-BE49-F238E27FC236}">
                <a16:creationId xmlns:a16="http://schemas.microsoft.com/office/drawing/2014/main" id="{49B61A7D-31BE-4386-B722-C3A71DCD9BAA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9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9" y="153"/>
                </a:lnTo>
                <a:lnTo>
                  <a:pt x="61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2" name="Freeform 2890">
            <a:extLst>
              <a:ext uri="{FF2B5EF4-FFF2-40B4-BE49-F238E27FC236}">
                <a16:creationId xmlns:a16="http://schemas.microsoft.com/office/drawing/2014/main" id="{B53BAB5A-301F-401E-BA2F-73125E87D170}"/>
              </a:ext>
            </a:extLst>
          </p:cNvPr>
          <p:cNvSpPr>
            <a:spLocks/>
          </p:cNvSpPr>
          <p:nvPr userDrawn="1"/>
        </p:nvSpPr>
        <p:spPr bwMode="auto">
          <a:xfrm>
            <a:off x="1307683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7 h 154"/>
              <a:gd name="T6" fmla="*/ 142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1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3" name="Freeform 2891">
            <a:extLst>
              <a:ext uri="{FF2B5EF4-FFF2-40B4-BE49-F238E27FC236}">
                <a16:creationId xmlns:a16="http://schemas.microsoft.com/office/drawing/2014/main" id="{BE0CD49A-2D1E-4F60-8C8A-4149C66CC94F}"/>
              </a:ext>
            </a:extLst>
          </p:cNvPr>
          <p:cNvSpPr>
            <a:spLocks/>
          </p:cNvSpPr>
          <p:nvPr userDrawn="1"/>
        </p:nvSpPr>
        <p:spPr bwMode="auto">
          <a:xfrm>
            <a:off x="1353870" y="463766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0 w 153"/>
              <a:gd name="T9" fmla="*/ 132 h 154"/>
              <a:gd name="T10" fmla="*/ 119 w 153"/>
              <a:gd name="T11" fmla="*/ 141 h 154"/>
              <a:gd name="T12" fmla="*/ 106 w 153"/>
              <a:gd name="T13" fmla="*/ 148 h 154"/>
              <a:gd name="T14" fmla="*/ 91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0" y="132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1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1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19" y="13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1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4" name="Freeform 2892">
            <a:extLst>
              <a:ext uri="{FF2B5EF4-FFF2-40B4-BE49-F238E27FC236}">
                <a16:creationId xmlns:a16="http://schemas.microsoft.com/office/drawing/2014/main" id="{B9C5F236-077A-4C73-80D2-F2CFA67BFC02}"/>
              </a:ext>
            </a:extLst>
          </p:cNvPr>
          <p:cNvSpPr>
            <a:spLocks/>
          </p:cNvSpPr>
          <p:nvPr userDrawn="1"/>
        </p:nvSpPr>
        <p:spPr bwMode="auto">
          <a:xfrm>
            <a:off x="1627853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9 w 154"/>
              <a:gd name="T5" fmla="*/ 107 h 154"/>
              <a:gd name="T6" fmla="*/ 141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0 h 154"/>
              <a:gd name="T22" fmla="*/ 40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4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4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1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5" name="Freeform 2893">
            <a:extLst>
              <a:ext uri="{FF2B5EF4-FFF2-40B4-BE49-F238E27FC236}">
                <a16:creationId xmlns:a16="http://schemas.microsoft.com/office/drawing/2014/main" id="{2A1A1FFF-D2AA-409E-A684-BF0AA3B45212}"/>
              </a:ext>
            </a:extLst>
          </p:cNvPr>
          <p:cNvSpPr>
            <a:spLocks/>
          </p:cNvSpPr>
          <p:nvPr userDrawn="1"/>
        </p:nvSpPr>
        <p:spPr bwMode="auto">
          <a:xfrm>
            <a:off x="1444149" y="463766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1 h 154"/>
              <a:gd name="T12" fmla="*/ 108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6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1 w 154"/>
              <a:gd name="T37" fmla="*/ 62 h 154"/>
              <a:gd name="T38" fmla="*/ 6 w 154"/>
              <a:gd name="T39" fmla="*/ 47 h 154"/>
              <a:gd name="T40" fmla="*/ 14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3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4 w 154"/>
              <a:gd name="T63" fmla="*/ 41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8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1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1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6" name="Freeform 2894">
            <a:extLst>
              <a:ext uri="{FF2B5EF4-FFF2-40B4-BE49-F238E27FC236}">
                <a16:creationId xmlns:a16="http://schemas.microsoft.com/office/drawing/2014/main" id="{317EBE2D-C353-4E1A-B894-FA0AAA797BC6}"/>
              </a:ext>
            </a:extLst>
          </p:cNvPr>
          <p:cNvSpPr>
            <a:spLocks/>
          </p:cNvSpPr>
          <p:nvPr userDrawn="1"/>
        </p:nvSpPr>
        <p:spPr bwMode="auto">
          <a:xfrm>
            <a:off x="1353870" y="41652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19 w 153"/>
              <a:gd name="T11" fmla="*/ 140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7" name="Freeform 2895">
            <a:extLst>
              <a:ext uri="{FF2B5EF4-FFF2-40B4-BE49-F238E27FC236}">
                <a16:creationId xmlns:a16="http://schemas.microsoft.com/office/drawing/2014/main" id="{461E2387-2178-4B53-9D9A-BFA79A55010E}"/>
              </a:ext>
            </a:extLst>
          </p:cNvPr>
          <p:cNvSpPr>
            <a:spLocks/>
          </p:cNvSpPr>
          <p:nvPr userDrawn="1"/>
        </p:nvSpPr>
        <p:spPr bwMode="auto">
          <a:xfrm>
            <a:off x="1396910" y="416529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2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5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8" name="Freeform 2896">
            <a:extLst>
              <a:ext uri="{FF2B5EF4-FFF2-40B4-BE49-F238E27FC236}">
                <a16:creationId xmlns:a16="http://schemas.microsoft.com/office/drawing/2014/main" id="{6E832F65-857F-48A2-A626-44FA4F604C95}"/>
              </a:ext>
            </a:extLst>
          </p:cNvPr>
          <p:cNvSpPr>
            <a:spLocks/>
          </p:cNvSpPr>
          <p:nvPr userDrawn="1"/>
        </p:nvSpPr>
        <p:spPr bwMode="auto">
          <a:xfrm>
            <a:off x="1489288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69 w 154"/>
              <a:gd name="T19" fmla="*/ 153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5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9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1" y="2"/>
                </a:lnTo>
                <a:lnTo>
                  <a:pt x="69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9" name="Freeform 2897">
            <a:extLst>
              <a:ext uri="{FF2B5EF4-FFF2-40B4-BE49-F238E27FC236}">
                <a16:creationId xmlns:a16="http://schemas.microsoft.com/office/drawing/2014/main" id="{1C83A92A-A8A1-45D9-A06B-69D3866B056F}"/>
              </a:ext>
            </a:extLst>
          </p:cNvPr>
          <p:cNvSpPr>
            <a:spLocks/>
          </p:cNvSpPr>
          <p:nvPr userDrawn="1"/>
        </p:nvSpPr>
        <p:spPr bwMode="auto">
          <a:xfrm>
            <a:off x="797511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6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0" name="Freeform 2898">
            <a:extLst>
              <a:ext uri="{FF2B5EF4-FFF2-40B4-BE49-F238E27FC236}">
                <a16:creationId xmlns:a16="http://schemas.microsoft.com/office/drawing/2014/main" id="{6FE215E6-7DA3-46B0-BF88-B62854DD07A1}"/>
              </a:ext>
            </a:extLst>
          </p:cNvPr>
          <p:cNvSpPr>
            <a:spLocks/>
          </p:cNvSpPr>
          <p:nvPr userDrawn="1"/>
        </p:nvSpPr>
        <p:spPr bwMode="auto">
          <a:xfrm>
            <a:off x="797511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6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1" name="Freeform 2899">
            <a:extLst>
              <a:ext uri="{FF2B5EF4-FFF2-40B4-BE49-F238E27FC236}">
                <a16:creationId xmlns:a16="http://schemas.microsoft.com/office/drawing/2014/main" id="{DABD514A-825E-47A5-A011-FF7ED5D05C00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7 h 153"/>
              <a:gd name="T6" fmla="*/ 142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2" name="Freeform 2900">
            <a:extLst>
              <a:ext uri="{FF2B5EF4-FFF2-40B4-BE49-F238E27FC236}">
                <a16:creationId xmlns:a16="http://schemas.microsoft.com/office/drawing/2014/main" id="{CAAF8B01-9483-44B8-A4DF-173F24F59831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3" name="Freeform 2901">
            <a:extLst>
              <a:ext uri="{FF2B5EF4-FFF2-40B4-BE49-F238E27FC236}">
                <a16:creationId xmlns:a16="http://schemas.microsoft.com/office/drawing/2014/main" id="{3DA2BDF0-78D4-42EF-AC02-8AE96A943455}"/>
              </a:ext>
            </a:extLst>
          </p:cNvPr>
          <p:cNvSpPr>
            <a:spLocks/>
          </p:cNvSpPr>
          <p:nvPr userDrawn="1"/>
        </p:nvSpPr>
        <p:spPr bwMode="auto">
          <a:xfrm>
            <a:off x="889887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4" name="Freeform 2902">
            <a:extLst>
              <a:ext uri="{FF2B5EF4-FFF2-40B4-BE49-F238E27FC236}">
                <a16:creationId xmlns:a16="http://schemas.microsoft.com/office/drawing/2014/main" id="{8CECBDEC-253B-49AF-8941-09CDF650BBDE}"/>
              </a:ext>
            </a:extLst>
          </p:cNvPr>
          <p:cNvSpPr>
            <a:spLocks/>
          </p:cNvSpPr>
          <p:nvPr userDrawn="1"/>
        </p:nvSpPr>
        <p:spPr bwMode="auto">
          <a:xfrm>
            <a:off x="889887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5" name="Freeform 2903">
            <a:extLst>
              <a:ext uri="{FF2B5EF4-FFF2-40B4-BE49-F238E27FC236}">
                <a16:creationId xmlns:a16="http://schemas.microsoft.com/office/drawing/2014/main" id="{FA9969EF-0F56-46A7-A2C2-6986A125DE00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6" name="Freeform 2904">
            <a:extLst>
              <a:ext uri="{FF2B5EF4-FFF2-40B4-BE49-F238E27FC236}">
                <a16:creationId xmlns:a16="http://schemas.microsoft.com/office/drawing/2014/main" id="{8AB6FE54-267F-45CC-A05D-95DEB06D2836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7" name="Freeform 2905">
            <a:extLst>
              <a:ext uri="{FF2B5EF4-FFF2-40B4-BE49-F238E27FC236}">
                <a16:creationId xmlns:a16="http://schemas.microsoft.com/office/drawing/2014/main" id="{4D136462-0658-41BF-B9E7-811C060B74F0}"/>
              </a:ext>
            </a:extLst>
          </p:cNvPr>
          <p:cNvSpPr>
            <a:spLocks/>
          </p:cNvSpPr>
          <p:nvPr userDrawn="1"/>
        </p:nvSpPr>
        <p:spPr bwMode="auto">
          <a:xfrm>
            <a:off x="751322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8" name="Freeform 2906">
            <a:extLst>
              <a:ext uri="{FF2B5EF4-FFF2-40B4-BE49-F238E27FC236}">
                <a16:creationId xmlns:a16="http://schemas.microsoft.com/office/drawing/2014/main" id="{23C7B68B-09DF-4FAD-AB30-A7362AE31E52}"/>
              </a:ext>
            </a:extLst>
          </p:cNvPr>
          <p:cNvSpPr>
            <a:spLocks/>
          </p:cNvSpPr>
          <p:nvPr userDrawn="1"/>
        </p:nvSpPr>
        <p:spPr bwMode="auto">
          <a:xfrm>
            <a:off x="751322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3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5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9" name="Freeform 2907">
            <a:extLst>
              <a:ext uri="{FF2B5EF4-FFF2-40B4-BE49-F238E27FC236}">
                <a16:creationId xmlns:a16="http://schemas.microsoft.com/office/drawing/2014/main" id="{B8117278-18D6-490C-AF5F-EBB92AF893C0}"/>
              </a:ext>
            </a:extLst>
          </p:cNvPr>
          <p:cNvSpPr>
            <a:spLocks/>
          </p:cNvSpPr>
          <p:nvPr userDrawn="1"/>
        </p:nvSpPr>
        <p:spPr bwMode="auto">
          <a:xfrm>
            <a:off x="657895" y="6033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6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6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0" name="Freeform 2908">
            <a:extLst>
              <a:ext uri="{FF2B5EF4-FFF2-40B4-BE49-F238E27FC236}">
                <a16:creationId xmlns:a16="http://schemas.microsoft.com/office/drawing/2014/main" id="{5BC98357-91C2-4CC0-B246-BD3F6556AD29}"/>
              </a:ext>
            </a:extLst>
          </p:cNvPr>
          <p:cNvSpPr>
            <a:spLocks/>
          </p:cNvSpPr>
          <p:nvPr userDrawn="1"/>
        </p:nvSpPr>
        <p:spPr bwMode="auto">
          <a:xfrm>
            <a:off x="657895" y="650621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3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5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3" y="151"/>
                </a:lnTo>
                <a:lnTo>
                  <a:pt x="46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6" y="7"/>
                </a:lnTo>
                <a:lnTo>
                  <a:pt x="53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1" name="Freeform 2909">
            <a:extLst>
              <a:ext uri="{FF2B5EF4-FFF2-40B4-BE49-F238E27FC236}">
                <a16:creationId xmlns:a16="http://schemas.microsoft.com/office/drawing/2014/main" id="{B0DCF3CF-3E16-427F-AD18-5DFF465C7F4C}"/>
              </a:ext>
            </a:extLst>
          </p:cNvPr>
          <p:cNvSpPr>
            <a:spLocks/>
          </p:cNvSpPr>
          <p:nvPr userDrawn="1"/>
        </p:nvSpPr>
        <p:spPr bwMode="auto">
          <a:xfrm>
            <a:off x="565519" y="6033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9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8 w 155"/>
              <a:gd name="T13" fmla="*/ 148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0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4 h 154"/>
              <a:gd name="T56" fmla="*/ 115 w 155"/>
              <a:gd name="T57" fmla="*/ 10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0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2" name="Freeform 2910">
            <a:extLst>
              <a:ext uri="{FF2B5EF4-FFF2-40B4-BE49-F238E27FC236}">
                <a16:creationId xmlns:a16="http://schemas.microsoft.com/office/drawing/2014/main" id="{B793AA39-FA71-48B6-B35E-0AECE0AB0DEC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6033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2 w 154"/>
              <a:gd name="T7" fmla="*/ 121 h 154"/>
              <a:gd name="T8" fmla="*/ 131 w 154"/>
              <a:gd name="T9" fmla="*/ 132 h 154"/>
              <a:gd name="T10" fmla="*/ 120 w 154"/>
              <a:gd name="T11" fmla="*/ 141 h 154"/>
              <a:gd name="T12" fmla="*/ 107 w 154"/>
              <a:gd name="T13" fmla="*/ 148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5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8 w 154"/>
              <a:gd name="T47" fmla="*/ 6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7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5" y="150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3" name="Freeform 2911">
            <a:extLst>
              <a:ext uri="{FF2B5EF4-FFF2-40B4-BE49-F238E27FC236}">
                <a16:creationId xmlns:a16="http://schemas.microsoft.com/office/drawing/2014/main" id="{3722A582-72C6-4C7A-B424-6B4287E971D1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650621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8 h 155"/>
              <a:gd name="T6" fmla="*/ 142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8" y="7"/>
                </a:lnTo>
                <a:lnTo>
                  <a:pt x="55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4" name="Freeform 2912">
            <a:extLst>
              <a:ext uri="{FF2B5EF4-FFF2-40B4-BE49-F238E27FC236}">
                <a16:creationId xmlns:a16="http://schemas.microsoft.com/office/drawing/2014/main" id="{0CD5C99E-D252-46C1-B4CC-0A201702E506}"/>
              </a:ext>
            </a:extLst>
          </p:cNvPr>
          <p:cNvSpPr>
            <a:spLocks/>
          </p:cNvSpPr>
          <p:nvPr userDrawn="1"/>
        </p:nvSpPr>
        <p:spPr bwMode="auto">
          <a:xfrm>
            <a:off x="657895" y="508906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3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5" name="Freeform 2913">
            <a:extLst>
              <a:ext uri="{FF2B5EF4-FFF2-40B4-BE49-F238E27FC236}">
                <a16:creationId xmlns:a16="http://schemas.microsoft.com/office/drawing/2014/main" id="{788A7A06-F0D4-40CA-A7A8-BD00462F3CC4}"/>
              </a:ext>
            </a:extLst>
          </p:cNvPr>
          <p:cNvSpPr>
            <a:spLocks/>
          </p:cNvSpPr>
          <p:nvPr userDrawn="1"/>
        </p:nvSpPr>
        <p:spPr bwMode="auto">
          <a:xfrm>
            <a:off x="657895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3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6" name="Freeform 2914">
            <a:extLst>
              <a:ext uri="{FF2B5EF4-FFF2-40B4-BE49-F238E27FC236}">
                <a16:creationId xmlns:a16="http://schemas.microsoft.com/office/drawing/2014/main" id="{66A7C067-C488-4A25-8DFF-8361C208D6FE}"/>
              </a:ext>
            </a:extLst>
          </p:cNvPr>
          <p:cNvSpPr>
            <a:spLocks/>
          </p:cNvSpPr>
          <p:nvPr userDrawn="1"/>
        </p:nvSpPr>
        <p:spPr bwMode="auto">
          <a:xfrm>
            <a:off x="565519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8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7" name="Freeform 2915">
            <a:extLst>
              <a:ext uri="{FF2B5EF4-FFF2-40B4-BE49-F238E27FC236}">
                <a16:creationId xmlns:a16="http://schemas.microsoft.com/office/drawing/2014/main" id="{2D0CFF3C-C23F-45E8-A6AF-C13D40A72141}"/>
              </a:ext>
            </a:extLst>
          </p:cNvPr>
          <p:cNvSpPr>
            <a:spLocks/>
          </p:cNvSpPr>
          <p:nvPr userDrawn="1"/>
        </p:nvSpPr>
        <p:spPr bwMode="auto">
          <a:xfrm>
            <a:off x="565519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3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5"/>
                </a:lnTo>
                <a:lnTo>
                  <a:pt x="78" y="155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8" name="Freeform 2916">
            <a:extLst>
              <a:ext uri="{FF2B5EF4-FFF2-40B4-BE49-F238E27FC236}">
                <a16:creationId xmlns:a16="http://schemas.microsoft.com/office/drawing/2014/main" id="{BFEC401F-FA65-4D4E-938D-4C7993612B7F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2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7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5" y="150"/>
                </a:lnTo>
                <a:lnTo>
                  <a:pt x="48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9" name="Freeform 2917">
            <a:extLst>
              <a:ext uri="{FF2B5EF4-FFF2-40B4-BE49-F238E27FC236}">
                <a16:creationId xmlns:a16="http://schemas.microsoft.com/office/drawing/2014/main" id="{CD6B6BAF-DBF3-4862-A55A-FCB61905196B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2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7"/>
                </a:lnTo>
                <a:lnTo>
                  <a:pt x="55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2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0" name="Freeform 2918">
            <a:extLst>
              <a:ext uri="{FF2B5EF4-FFF2-40B4-BE49-F238E27FC236}">
                <a16:creationId xmlns:a16="http://schemas.microsoft.com/office/drawing/2014/main" id="{5ED9AF9F-6C78-427C-A6F0-F18959182012}"/>
              </a:ext>
            </a:extLst>
          </p:cNvPr>
          <p:cNvSpPr>
            <a:spLocks/>
          </p:cNvSpPr>
          <p:nvPr userDrawn="1"/>
        </p:nvSpPr>
        <p:spPr bwMode="auto">
          <a:xfrm>
            <a:off x="517231" y="6033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3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1" name="Freeform 2919">
            <a:extLst>
              <a:ext uri="{FF2B5EF4-FFF2-40B4-BE49-F238E27FC236}">
                <a16:creationId xmlns:a16="http://schemas.microsoft.com/office/drawing/2014/main" id="{82A0F39A-819D-4665-90CC-A834209F59ED}"/>
              </a:ext>
            </a:extLst>
          </p:cNvPr>
          <p:cNvSpPr>
            <a:spLocks/>
          </p:cNvSpPr>
          <p:nvPr userDrawn="1"/>
        </p:nvSpPr>
        <p:spPr bwMode="auto">
          <a:xfrm>
            <a:off x="424854" y="6033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2" name="Freeform 2920">
            <a:extLst>
              <a:ext uri="{FF2B5EF4-FFF2-40B4-BE49-F238E27FC236}">
                <a16:creationId xmlns:a16="http://schemas.microsoft.com/office/drawing/2014/main" id="{F292DFED-EC30-4EE5-A9CC-E936F6ABC71A}"/>
              </a:ext>
            </a:extLst>
          </p:cNvPr>
          <p:cNvSpPr>
            <a:spLocks/>
          </p:cNvSpPr>
          <p:nvPr userDrawn="1"/>
        </p:nvSpPr>
        <p:spPr bwMode="auto">
          <a:xfrm>
            <a:off x="471043" y="60338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1 w 154"/>
              <a:gd name="T11" fmla="*/ 141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0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5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3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3" name="Freeform 2921">
            <a:extLst>
              <a:ext uri="{FF2B5EF4-FFF2-40B4-BE49-F238E27FC236}">
                <a16:creationId xmlns:a16="http://schemas.microsoft.com/office/drawing/2014/main" id="{C358C856-0BF2-4B44-A462-F3C618785F5B}"/>
              </a:ext>
            </a:extLst>
          </p:cNvPr>
          <p:cNvSpPr>
            <a:spLocks/>
          </p:cNvSpPr>
          <p:nvPr userDrawn="1"/>
        </p:nvSpPr>
        <p:spPr bwMode="auto">
          <a:xfrm>
            <a:off x="517231" y="508906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7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4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3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4" name="Freeform 2922">
            <a:extLst>
              <a:ext uri="{FF2B5EF4-FFF2-40B4-BE49-F238E27FC236}">
                <a16:creationId xmlns:a16="http://schemas.microsoft.com/office/drawing/2014/main" id="{DC6B82FB-D597-4944-AAE8-B0139396678B}"/>
              </a:ext>
            </a:extLst>
          </p:cNvPr>
          <p:cNvSpPr>
            <a:spLocks/>
          </p:cNvSpPr>
          <p:nvPr userDrawn="1"/>
        </p:nvSpPr>
        <p:spPr bwMode="auto">
          <a:xfrm>
            <a:off x="517231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5" name="Freeform 2923">
            <a:extLst>
              <a:ext uri="{FF2B5EF4-FFF2-40B4-BE49-F238E27FC236}">
                <a16:creationId xmlns:a16="http://schemas.microsoft.com/office/drawing/2014/main" id="{E654FBED-E5E7-43B0-A375-09463800B2AB}"/>
              </a:ext>
            </a:extLst>
          </p:cNvPr>
          <p:cNvSpPr>
            <a:spLocks/>
          </p:cNvSpPr>
          <p:nvPr userDrawn="1"/>
        </p:nvSpPr>
        <p:spPr bwMode="auto">
          <a:xfrm>
            <a:off x="424854" y="55509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2 h 155"/>
              <a:gd name="T16" fmla="*/ 77 w 153"/>
              <a:gd name="T17" fmla="*/ 155 h 155"/>
              <a:gd name="T18" fmla="*/ 69 w 153"/>
              <a:gd name="T19" fmla="*/ 153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9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6" name="Freeform 2924">
            <a:extLst>
              <a:ext uri="{FF2B5EF4-FFF2-40B4-BE49-F238E27FC236}">
                <a16:creationId xmlns:a16="http://schemas.microsoft.com/office/drawing/2014/main" id="{C3525541-2CD1-479A-A95B-DA19FB802727}"/>
              </a:ext>
            </a:extLst>
          </p:cNvPr>
          <p:cNvSpPr>
            <a:spLocks/>
          </p:cNvSpPr>
          <p:nvPr userDrawn="1"/>
        </p:nvSpPr>
        <p:spPr bwMode="auto">
          <a:xfrm>
            <a:off x="471043" y="508906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8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7" name="Freeform 2925">
            <a:extLst>
              <a:ext uri="{FF2B5EF4-FFF2-40B4-BE49-F238E27FC236}">
                <a16:creationId xmlns:a16="http://schemas.microsoft.com/office/drawing/2014/main" id="{D86F062C-7C79-4369-AB72-FAE30C018132}"/>
              </a:ext>
            </a:extLst>
          </p:cNvPr>
          <p:cNvSpPr>
            <a:spLocks/>
          </p:cNvSpPr>
          <p:nvPr userDrawn="1"/>
        </p:nvSpPr>
        <p:spPr bwMode="auto">
          <a:xfrm>
            <a:off x="797511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2"/>
                </a:lnTo>
                <a:lnTo>
                  <a:pt x="54" y="151"/>
                </a:lnTo>
                <a:lnTo>
                  <a:pt x="46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8" name="Freeform 2926">
            <a:extLst>
              <a:ext uri="{FF2B5EF4-FFF2-40B4-BE49-F238E27FC236}">
                <a16:creationId xmlns:a16="http://schemas.microsoft.com/office/drawing/2014/main" id="{64572651-6366-4062-89B5-94C5CF7443EA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7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2" y="132"/>
                </a:lnTo>
                <a:lnTo>
                  <a:pt x="127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9" name="Freeform 2927">
            <a:extLst>
              <a:ext uri="{FF2B5EF4-FFF2-40B4-BE49-F238E27FC236}">
                <a16:creationId xmlns:a16="http://schemas.microsoft.com/office/drawing/2014/main" id="{034DDA45-AC92-4F8A-8573-C414A69AE026}"/>
              </a:ext>
            </a:extLst>
          </p:cNvPr>
          <p:cNvSpPr>
            <a:spLocks/>
          </p:cNvSpPr>
          <p:nvPr userDrawn="1"/>
        </p:nvSpPr>
        <p:spPr bwMode="auto">
          <a:xfrm>
            <a:off x="889887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0" name="Freeform 2928">
            <a:extLst>
              <a:ext uri="{FF2B5EF4-FFF2-40B4-BE49-F238E27FC236}">
                <a16:creationId xmlns:a16="http://schemas.microsoft.com/office/drawing/2014/main" id="{C4A5C60E-0A11-440A-9B34-2F52D6CF35DB}"/>
              </a:ext>
            </a:extLst>
          </p:cNvPr>
          <p:cNvSpPr>
            <a:spLocks/>
          </p:cNvSpPr>
          <p:nvPr userDrawn="1"/>
        </p:nvSpPr>
        <p:spPr bwMode="auto">
          <a:xfrm>
            <a:off x="705134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1" name="Freeform 2929">
            <a:extLst>
              <a:ext uri="{FF2B5EF4-FFF2-40B4-BE49-F238E27FC236}">
                <a16:creationId xmlns:a16="http://schemas.microsoft.com/office/drawing/2014/main" id="{D03112C1-E784-4DA2-8903-F583B695CE82}"/>
              </a:ext>
            </a:extLst>
          </p:cNvPr>
          <p:cNvSpPr>
            <a:spLocks/>
          </p:cNvSpPr>
          <p:nvPr userDrawn="1"/>
        </p:nvSpPr>
        <p:spPr bwMode="auto">
          <a:xfrm>
            <a:off x="751322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99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99" y="151"/>
                </a:lnTo>
                <a:lnTo>
                  <a:pt x="93" y="152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2" name="Freeform 2930">
            <a:extLst>
              <a:ext uri="{FF2B5EF4-FFF2-40B4-BE49-F238E27FC236}">
                <a16:creationId xmlns:a16="http://schemas.microsoft.com/office/drawing/2014/main" id="{EABBD6DC-7BBF-4A8B-A920-704168A0392E}"/>
              </a:ext>
            </a:extLst>
          </p:cNvPr>
          <p:cNvSpPr>
            <a:spLocks/>
          </p:cNvSpPr>
          <p:nvPr userDrawn="1"/>
        </p:nvSpPr>
        <p:spPr bwMode="auto">
          <a:xfrm>
            <a:off x="657895" y="461668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2 w 153"/>
              <a:gd name="T15" fmla="*/ 152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6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6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5 w 153"/>
              <a:gd name="T59" fmla="*/ 18 h 155"/>
              <a:gd name="T60" fmla="*/ 136 w 153"/>
              <a:gd name="T61" fmla="*/ 29 h 155"/>
              <a:gd name="T62" fmla="*/ 144 w 153"/>
              <a:gd name="T63" fmla="*/ 40 h 155"/>
              <a:gd name="T64" fmla="*/ 149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49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2"/>
                </a:lnTo>
                <a:lnTo>
                  <a:pt x="53" y="151"/>
                </a:lnTo>
                <a:lnTo>
                  <a:pt x="46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3" name="Freeform 2931">
            <a:extLst>
              <a:ext uri="{FF2B5EF4-FFF2-40B4-BE49-F238E27FC236}">
                <a16:creationId xmlns:a16="http://schemas.microsoft.com/office/drawing/2014/main" id="{AF6949A0-84C0-49DB-B53A-B6EF0458D2C0}"/>
              </a:ext>
            </a:extLst>
          </p:cNvPr>
          <p:cNvSpPr>
            <a:spLocks/>
          </p:cNvSpPr>
          <p:nvPr userDrawn="1"/>
        </p:nvSpPr>
        <p:spPr bwMode="auto">
          <a:xfrm>
            <a:off x="565519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6 h 155"/>
              <a:gd name="T26" fmla="*/ 18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9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2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4" name="Freeform 2932">
            <a:extLst>
              <a:ext uri="{FF2B5EF4-FFF2-40B4-BE49-F238E27FC236}">
                <a16:creationId xmlns:a16="http://schemas.microsoft.com/office/drawing/2014/main" id="{F7684729-D5BB-4050-9F72-8FAB9629A6BF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461668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2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7 w 154"/>
              <a:gd name="T17" fmla="*/ 155 h 155"/>
              <a:gd name="T18" fmla="*/ 69 w 154"/>
              <a:gd name="T19" fmla="*/ 155 h 155"/>
              <a:gd name="T20" fmla="*/ 55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7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6"/>
                </a:lnTo>
                <a:lnTo>
                  <a:pt x="131" y="132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2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2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5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8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5" name="Freeform 2933">
            <a:extLst>
              <a:ext uri="{FF2B5EF4-FFF2-40B4-BE49-F238E27FC236}">
                <a16:creationId xmlns:a16="http://schemas.microsoft.com/office/drawing/2014/main" id="{56193DA3-79CE-4F70-A191-74C7CCCEC19F}"/>
              </a:ext>
            </a:extLst>
          </p:cNvPr>
          <p:cNvSpPr>
            <a:spLocks/>
          </p:cNvSpPr>
          <p:nvPr userDrawn="1"/>
        </p:nvSpPr>
        <p:spPr bwMode="auto">
          <a:xfrm>
            <a:off x="517231" y="461668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3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4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6" name="Freeform 2934">
            <a:extLst>
              <a:ext uri="{FF2B5EF4-FFF2-40B4-BE49-F238E27FC236}">
                <a16:creationId xmlns:a16="http://schemas.microsoft.com/office/drawing/2014/main" id="{E5F329F1-C734-406C-8F1D-F3F1A65BB5E6}"/>
              </a:ext>
            </a:extLst>
          </p:cNvPr>
          <p:cNvSpPr>
            <a:spLocks/>
          </p:cNvSpPr>
          <p:nvPr userDrawn="1"/>
        </p:nvSpPr>
        <p:spPr bwMode="auto">
          <a:xfrm>
            <a:off x="471043" y="55509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7 w 154"/>
              <a:gd name="T17" fmla="*/ 155 h 155"/>
              <a:gd name="T18" fmla="*/ 69 w 154"/>
              <a:gd name="T19" fmla="*/ 153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6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7" name="Freeform 2935">
            <a:extLst>
              <a:ext uri="{FF2B5EF4-FFF2-40B4-BE49-F238E27FC236}">
                <a16:creationId xmlns:a16="http://schemas.microsoft.com/office/drawing/2014/main" id="{0C4DF3AE-2CB5-4B74-9ABD-CA26E7543791}"/>
              </a:ext>
            </a:extLst>
          </p:cNvPr>
          <p:cNvSpPr>
            <a:spLocks/>
          </p:cNvSpPr>
          <p:nvPr userDrawn="1"/>
        </p:nvSpPr>
        <p:spPr bwMode="auto">
          <a:xfrm>
            <a:off x="379715" y="603382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1 h 154"/>
              <a:gd name="T8" fmla="*/ 132 w 155"/>
              <a:gd name="T9" fmla="*/ 132 h 154"/>
              <a:gd name="T10" fmla="*/ 120 w 155"/>
              <a:gd name="T11" fmla="*/ 141 h 154"/>
              <a:gd name="T12" fmla="*/ 107 w 155"/>
              <a:gd name="T13" fmla="*/ 148 h 154"/>
              <a:gd name="T14" fmla="*/ 93 w 155"/>
              <a:gd name="T15" fmla="*/ 153 h 154"/>
              <a:gd name="T16" fmla="*/ 77 w 155"/>
              <a:gd name="T17" fmla="*/ 154 h 154"/>
              <a:gd name="T18" fmla="*/ 69 w 155"/>
              <a:gd name="T19" fmla="*/ 154 h 154"/>
              <a:gd name="T20" fmla="*/ 54 w 155"/>
              <a:gd name="T21" fmla="*/ 150 h 154"/>
              <a:gd name="T22" fmla="*/ 40 w 155"/>
              <a:gd name="T23" fmla="*/ 145 h 154"/>
              <a:gd name="T24" fmla="*/ 29 w 155"/>
              <a:gd name="T25" fmla="*/ 137 h 154"/>
              <a:gd name="T26" fmla="*/ 17 w 155"/>
              <a:gd name="T27" fmla="*/ 126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5 h 154"/>
              <a:gd name="T34" fmla="*/ 0 w 155"/>
              <a:gd name="T35" fmla="*/ 77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5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4 h 154"/>
              <a:gd name="T56" fmla="*/ 114 w 155"/>
              <a:gd name="T57" fmla="*/ 10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8" name="Freeform 2936">
            <a:extLst>
              <a:ext uri="{FF2B5EF4-FFF2-40B4-BE49-F238E27FC236}">
                <a16:creationId xmlns:a16="http://schemas.microsoft.com/office/drawing/2014/main" id="{2A050AA5-4E70-440A-A8D7-3A00CAD863C4}"/>
              </a:ext>
            </a:extLst>
          </p:cNvPr>
          <p:cNvSpPr>
            <a:spLocks/>
          </p:cNvSpPr>
          <p:nvPr userDrawn="1"/>
        </p:nvSpPr>
        <p:spPr bwMode="auto">
          <a:xfrm>
            <a:off x="287338" y="6033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1 h 154"/>
              <a:gd name="T8" fmla="*/ 132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5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4 h 154"/>
              <a:gd name="T56" fmla="*/ 113 w 153"/>
              <a:gd name="T57" fmla="*/ 10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100" y="150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9" name="Freeform 2937">
            <a:extLst>
              <a:ext uri="{FF2B5EF4-FFF2-40B4-BE49-F238E27FC236}">
                <a16:creationId xmlns:a16="http://schemas.microsoft.com/office/drawing/2014/main" id="{EFDBC96A-0476-46E1-B00B-3A85FF2C6195}"/>
              </a:ext>
            </a:extLst>
          </p:cNvPr>
          <p:cNvSpPr>
            <a:spLocks/>
          </p:cNvSpPr>
          <p:nvPr userDrawn="1"/>
        </p:nvSpPr>
        <p:spPr bwMode="auto">
          <a:xfrm>
            <a:off x="333527" y="603382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1 h 154"/>
              <a:gd name="T8" fmla="*/ 131 w 153"/>
              <a:gd name="T9" fmla="*/ 132 h 154"/>
              <a:gd name="T10" fmla="*/ 120 w 153"/>
              <a:gd name="T11" fmla="*/ 141 h 154"/>
              <a:gd name="T12" fmla="*/ 106 w 153"/>
              <a:gd name="T13" fmla="*/ 148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3 w 153"/>
              <a:gd name="T21" fmla="*/ 150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5 h 154"/>
              <a:gd name="T42" fmla="*/ 21 w 153"/>
              <a:gd name="T43" fmla="*/ 23 h 154"/>
              <a:gd name="T44" fmla="*/ 33 w 153"/>
              <a:gd name="T45" fmla="*/ 13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4 h 154"/>
              <a:gd name="T56" fmla="*/ 113 w 153"/>
              <a:gd name="T57" fmla="*/ 10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49" y="100"/>
                </a:lnTo>
                <a:lnTo>
                  <a:pt x="147" y="107"/>
                </a:lnTo>
                <a:lnTo>
                  <a:pt x="144" y="114"/>
                </a:lnTo>
                <a:lnTo>
                  <a:pt x="140" y="121"/>
                </a:lnTo>
                <a:lnTo>
                  <a:pt x="136" y="126"/>
                </a:lnTo>
                <a:lnTo>
                  <a:pt x="131" y="132"/>
                </a:lnTo>
                <a:lnTo>
                  <a:pt x="125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0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3" y="150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3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5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0" name="Freeform 2938">
            <a:extLst>
              <a:ext uri="{FF2B5EF4-FFF2-40B4-BE49-F238E27FC236}">
                <a16:creationId xmlns:a16="http://schemas.microsoft.com/office/drawing/2014/main" id="{2A197E2B-F53B-4149-AA79-B806853B12DB}"/>
              </a:ext>
            </a:extLst>
          </p:cNvPr>
          <p:cNvSpPr>
            <a:spLocks/>
          </p:cNvSpPr>
          <p:nvPr userDrawn="1"/>
        </p:nvSpPr>
        <p:spPr bwMode="auto">
          <a:xfrm>
            <a:off x="379715" y="55509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7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69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7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4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7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1" name="Freeform 2939">
            <a:extLst>
              <a:ext uri="{FF2B5EF4-FFF2-40B4-BE49-F238E27FC236}">
                <a16:creationId xmlns:a16="http://schemas.microsoft.com/office/drawing/2014/main" id="{9FCDBC5F-1DAD-4E7B-A336-F33CB425EAE7}"/>
              </a:ext>
            </a:extLst>
          </p:cNvPr>
          <p:cNvSpPr>
            <a:spLocks/>
          </p:cNvSpPr>
          <p:nvPr userDrawn="1"/>
        </p:nvSpPr>
        <p:spPr bwMode="auto">
          <a:xfrm>
            <a:off x="424854" y="64957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2" name="Freeform 2940">
            <a:extLst>
              <a:ext uri="{FF2B5EF4-FFF2-40B4-BE49-F238E27FC236}">
                <a16:creationId xmlns:a16="http://schemas.microsoft.com/office/drawing/2014/main" id="{1782B0F9-8D18-4A1F-8815-43FCE6EC937A}"/>
              </a:ext>
            </a:extLst>
          </p:cNvPr>
          <p:cNvSpPr>
            <a:spLocks/>
          </p:cNvSpPr>
          <p:nvPr userDrawn="1"/>
        </p:nvSpPr>
        <p:spPr bwMode="auto">
          <a:xfrm>
            <a:off x="471043" y="649570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4" name="Freeform 2942">
            <a:extLst>
              <a:ext uri="{FF2B5EF4-FFF2-40B4-BE49-F238E27FC236}">
                <a16:creationId xmlns:a16="http://schemas.microsoft.com/office/drawing/2014/main" id="{06CDE350-F28C-46F8-BE70-D582B6C79AE6}"/>
              </a:ext>
            </a:extLst>
          </p:cNvPr>
          <p:cNvSpPr>
            <a:spLocks/>
          </p:cNvSpPr>
          <p:nvPr userDrawn="1"/>
        </p:nvSpPr>
        <p:spPr bwMode="auto">
          <a:xfrm>
            <a:off x="333527" y="697858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3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5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3"/>
                </a:lnTo>
                <a:lnTo>
                  <a:pt x="149" y="101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1"/>
                </a:lnTo>
                <a:lnTo>
                  <a:pt x="1" y="93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5" name="Freeform 2943">
            <a:extLst>
              <a:ext uri="{FF2B5EF4-FFF2-40B4-BE49-F238E27FC236}">
                <a16:creationId xmlns:a16="http://schemas.microsoft.com/office/drawing/2014/main" id="{4E8328CC-C893-4BBF-9330-8820AE40D51F}"/>
              </a:ext>
            </a:extLst>
          </p:cNvPr>
          <p:cNvSpPr>
            <a:spLocks/>
          </p:cNvSpPr>
          <p:nvPr userDrawn="1"/>
        </p:nvSpPr>
        <p:spPr bwMode="auto">
          <a:xfrm>
            <a:off x="379715" y="649570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6" name="Freeform 2944">
            <a:extLst>
              <a:ext uri="{FF2B5EF4-FFF2-40B4-BE49-F238E27FC236}">
                <a16:creationId xmlns:a16="http://schemas.microsoft.com/office/drawing/2014/main" id="{055301DE-439C-4C93-A103-AB395ECCD6BE}"/>
              </a:ext>
            </a:extLst>
          </p:cNvPr>
          <p:cNvSpPr>
            <a:spLocks/>
          </p:cNvSpPr>
          <p:nvPr userDrawn="1"/>
        </p:nvSpPr>
        <p:spPr bwMode="auto">
          <a:xfrm>
            <a:off x="333527" y="649570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7" name="Freeform 2945">
            <a:extLst>
              <a:ext uri="{FF2B5EF4-FFF2-40B4-BE49-F238E27FC236}">
                <a16:creationId xmlns:a16="http://schemas.microsoft.com/office/drawing/2014/main" id="{65B2E36C-09A7-4F36-BEBE-28B43112F1F5}"/>
              </a:ext>
            </a:extLst>
          </p:cNvPr>
          <p:cNvSpPr>
            <a:spLocks/>
          </p:cNvSpPr>
          <p:nvPr userDrawn="1"/>
        </p:nvSpPr>
        <p:spPr bwMode="auto">
          <a:xfrm>
            <a:off x="287338" y="649570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1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4 w 155"/>
              <a:gd name="T63" fmla="*/ 40 h 153"/>
              <a:gd name="T64" fmla="*/ 151 w 155"/>
              <a:gd name="T65" fmla="*/ 53 h 153"/>
              <a:gd name="T66" fmla="*/ 153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3" y="84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8" name="Freeform 2946">
            <a:extLst>
              <a:ext uri="{FF2B5EF4-FFF2-40B4-BE49-F238E27FC236}">
                <a16:creationId xmlns:a16="http://schemas.microsoft.com/office/drawing/2014/main" id="{12B148B4-4166-473C-950D-A5AADA15C19C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1158693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9" name="Freeform 2947">
            <a:extLst>
              <a:ext uri="{FF2B5EF4-FFF2-40B4-BE49-F238E27FC236}">
                <a16:creationId xmlns:a16="http://schemas.microsoft.com/office/drawing/2014/main" id="{76A3A979-B9CD-4E04-8982-ABD75AC99F1D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1205931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0" name="Freeform 2948">
            <a:extLst>
              <a:ext uri="{FF2B5EF4-FFF2-40B4-BE49-F238E27FC236}">
                <a16:creationId xmlns:a16="http://schemas.microsoft.com/office/drawing/2014/main" id="{AB3C2DC8-4767-4E6D-B076-B9442BA74E39}"/>
              </a:ext>
            </a:extLst>
          </p:cNvPr>
          <p:cNvSpPr>
            <a:spLocks/>
          </p:cNvSpPr>
          <p:nvPr userDrawn="1"/>
        </p:nvSpPr>
        <p:spPr bwMode="auto">
          <a:xfrm>
            <a:off x="656846" y="1158693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5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2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1" name="Freeform 2949">
            <a:extLst>
              <a:ext uri="{FF2B5EF4-FFF2-40B4-BE49-F238E27FC236}">
                <a16:creationId xmlns:a16="http://schemas.microsoft.com/office/drawing/2014/main" id="{5AB00E51-D1A2-462F-8CC7-82C263E3BF16}"/>
              </a:ext>
            </a:extLst>
          </p:cNvPr>
          <p:cNvSpPr>
            <a:spLocks/>
          </p:cNvSpPr>
          <p:nvPr userDrawn="1"/>
        </p:nvSpPr>
        <p:spPr bwMode="auto">
          <a:xfrm>
            <a:off x="656846" y="1205931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1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2" name="Freeform 2950">
            <a:extLst>
              <a:ext uri="{FF2B5EF4-FFF2-40B4-BE49-F238E27FC236}">
                <a16:creationId xmlns:a16="http://schemas.microsoft.com/office/drawing/2014/main" id="{15E405F8-7516-4FF0-9F26-5E19880C0DB5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1063166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9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6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4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3" name="Freeform 2951">
            <a:extLst>
              <a:ext uri="{FF2B5EF4-FFF2-40B4-BE49-F238E27FC236}">
                <a16:creationId xmlns:a16="http://schemas.microsoft.com/office/drawing/2014/main" id="{5824F472-C736-450B-B447-ED4AED11E770}"/>
              </a:ext>
            </a:extLst>
          </p:cNvPr>
          <p:cNvSpPr>
            <a:spLocks/>
          </p:cNvSpPr>
          <p:nvPr userDrawn="1"/>
        </p:nvSpPr>
        <p:spPr bwMode="auto">
          <a:xfrm>
            <a:off x="611708" y="1110405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4 h 155"/>
              <a:gd name="T4" fmla="*/ 147 w 153"/>
              <a:gd name="T5" fmla="*/ 108 h 155"/>
              <a:gd name="T6" fmla="*/ 141 w 153"/>
              <a:gd name="T7" fmla="*/ 122 h 155"/>
              <a:gd name="T8" fmla="*/ 131 w 153"/>
              <a:gd name="T9" fmla="*/ 133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4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2"/>
                </a:lnTo>
                <a:lnTo>
                  <a:pt x="136" y="127"/>
                </a:lnTo>
                <a:lnTo>
                  <a:pt x="131" y="133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2" y="133"/>
                </a:lnTo>
                <a:lnTo>
                  <a:pt x="17" y="127"/>
                </a:lnTo>
                <a:lnTo>
                  <a:pt x="12" y="122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4" name="Freeform 2952">
            <a:extLst>
              <a:ext uri="{FF2B5EF4-FFF2-40B4-BE49-F238E27FC236}">
                <a16:creationId xmlns:a16="http://schemas.microsoft.com/office/drawing/2014/main" id="{7BD9C434-190D-49B9-96DF-3F2374762635}"/>
              </a:ext>
            </a:extLst>
          </p:cNvPr>
          <p:cNvSpPr>
            <a:spLocks/>
          </p:cNvSpPr>
          <p:nvPr userDrawn="1"/>
        </p:nvSpPr>
        <p:spPr bwMode="auto">
          <a:xfrm>
            <a:off x="567618" y="111040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4 h 155"/>
              <a:gd name="T4" fmla="*/ 148 w 155"/>
              <a:gd name="T5" fmla="*/ 108 h 155"/>
              <a:gd name="T6" fmla="*/ 141 w 155"/>
              <a:gd name="T7" fmla="*/ 122 h 155"/>
              <a:gd name="T8" fmla="*/ 132 w 155"/>
              <a:gd name="T9" fmla="*/ 133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7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4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3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8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2"/>
                </a:lnTo>
                <a:lnTo>
                  <a:pt x="29" y="138"/>
                </a:lnTo>
                <a:lnTo>
                  <a:pt x="23" y="133"/>
                </a:lnTo>
                <a:lnTo>
                  <a:pt x="18" y="127"/>
                </a:lnTo>
                <a:lnTo>
                  <a:pt x="14" y="122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8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5" name="Freeform 2953">
            <a:extLst>
              <a:ext uri="{FF2B5EF4-FFF2-40B4-BE49-F238E27FC236}">
                <a16:creationId xmlns:a16="http://schemas.microsoft.com/office/drawing/2014/main" id="{2A9AC1E4-7FA6-4DD4-9BE8-60F8AE0AF079}"/>
              </a:ext>
            </a:extLst>
          </p:cNvPr>
          <p:cNvSpPr>
            <a:spLocks/>
          </p:cNvSpPr>
          <p:nvPr userDrawn="1"/>
        </p:nvSpPr>
        <p:spPr bwMode="auto">
          <a:xfrm>
            <a:off x="656846" y="106316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0 h 155"/>
              <a:gd name="T64" fmla="*/ 150 w 154"/>
              <a:gd name="T65" fmla="*/ 54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6"/>
                </a:lnTo>
                <a:lnTo>
                  <a:pt x="34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6" name="Freeform 2954">
            <a:extLst>
              <a:ext uri="{FF2B5EF4-FFF2-40B4-BE49-F238E27FC236}">
                <a16:creationId xmlns:a16="http://schemas.microsoft.com/office/drawing/2014/main" id="{3BB99087-6DE6-4F07-B16D-53910FA59E95}"/>
              </a:ext>
            </a:extLst>
          </p:cNvPr>
          <p:cNvSpPr>
            <a:spLocks/>
          </p:cNvSpPr>
          <p:nvPr userDrawn="1"/>
        </p:nvSpPr>
        <p:spPr bwMode="auto">
          <a:xfrm>
            <a:off x="656846" y="111040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3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4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3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3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7" name="Freeform 2955">
            <a:extLst>
              <a:ext uri="{FF2B5EF4-FFF2-40B4-BE49-F238E27FC236}">
                <a16:creationId xmlns:a16="http://schemas.microsoft.com/office/drawing/2014/main" id="{452A04EF-6FFC-48B4-8361-F6780C59F0DB}"/>
              </a:ext>
            </a:extLst>
          </p:cNvPr>
          <p:cNvSpPr>
            <a:spLocks/>
          </p:cNvSpPr>
          <p:nvPr userDrawn="1"/>
        </p:nvSpPr>
        <p:spPr bwMode="auto">
          <a:xfrm>
            <a:off x="937125" y="1621626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0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1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1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8" name="Freeform 2956">
            <a:extLst>
              <a:ext uri="{FF2B5EF4-FFF2-40B4-BE49-F238E27FC236}">
                <a16:creationId xmlns:a16="http://schemas.microsoft.com/office/drawing/2014/main" id="{A760CB13-6937-4862-A621-37FD54609323}"/>
              </a:ext>
            </a:extLst>
          </p:cNvPr>
          <p:cNvSpPr>
            <a:spLocks/>
          </p:cNvSpPr>
          <p:nvPr userDrawn="1"/>
        </p:nvSpPr>
        <p:spPr bwMode="auto">
          <a:xfrm>
            <a:off x="889886" y="1621626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0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3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1 h 153"/>
              <a:gd name="T44" fmla="*/ 34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3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0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9" name="Freeform 2957">
            <a:extLst>
              <a:ext uri="{FF2B5EF4-FFF2-40B4-BE49-F238E27FC236}">
                <a16:creationId xmlns:a16="http://schemas.microsoft.com/office/drawing/2014/main" id="{7C54000E-003C-404A-A3AC-5473DEF3FA2C}"/>
              </a:ext>
            </a:extLst>
          </p:cNvPr>
          <p:cNvSpPr>
            <a:spLocks/>
          </p:cNvSpPr>
          <p:nvPr userDrawn="1"/>
        </p:nvSpPr>
        <p:spPr bwMode="auto">
          <a:xfrm>
            <a:off x="937125" y="1526101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20" y="142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2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7" y="138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5"/>
                </a:lnTo>
                <a:lnTo>
                  <a:pt x="17" y="29"/>
                </a:lnTo>
                <a:lnTo>
                  <a:pt x="21" y="23"/>
                </a:lnTo>
                <a:lnTo>
                  <a:pt x="27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0" y="3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3"/>
                </a:lnTo>
                <a:lnTo>
                  <a:pt x="99" y="5"/>
                </a:lnTo>
                <a:lnTo>
                  <a:pt x="106" y="7"/>
                </a:lnTo>
                <a:lnTo>
                  <a:pt x="113" y="11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0" name="Freeform 2958">
            <a:extLst>
              <a:ext uri="{FF2B5EF4-FFF2-40B4-BE49-F238E27FC236}">
                <a16:creationId xmlns:a16="http://schemas.microsoft.com/office/drawing/2014/main" id="{C317104F-4919-47AF-B3F2-042075C69CC3}"/>
              </a:ext>
            </a:extLst>
          </p:cNvPr>
          <p:cNvSpPr>
            <a:spLocks/>
          </p:cNvSpPr>
          <p:nvPr userDrawn="1"/>
        </p:nvSpPr>
        <p:spPr bwMode="auto">
          <a:xfrm>
            <a:off x="937125" y="1573339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5 w 153"/>
              <a:gd name="T39" fmla="*/ 47 h 155"/>
              <a:gd name="T40" fmla="*/ 12 w 153"/>
              <a:gd name="T41" fmla="*/ 35 h 155"/>
              <a:gd name="T42" fmla="*/ 21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1" name="Freeform 2959">
            <a:extLst>
              <a:ext uri="{FF2B5EF4-FFF2-40B4-BE49-F238E27FC236}">
                <a16:creationId xmlns:a16="http://schemas.microsoft.com/office/drawing/2014/main" id="{3E57606F-6127-41F2-AD80-E29AE33CE1C1}"/>
              </a:ext>
            </a:extLst>
          </p:cNvPr>
          <p:cNvSpPr>
            <a:spLocks/>
          </p:cNvSpPr>
          <p:nvPr userDrawn="1"/>
        </p:nvSpPr>
        <p:spPr bwMode="auto">
          <a:xfrm>
            <a:off x="797511" y="1526101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0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1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6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2" name="Freeform 2960">
            <a:extLst>
              <a:ext uri="{FF2B5EF4-FFF2-40B4-BE49-F238E27FC236}">
                <a16:creationId xmlns:a16="http://schemas.microsoft.com/office/drawing/2014/main" id="{6713E471-DF5D-4055-9918-0FD8ECBCEEFF}"/>
              </a:ext>
            </a:extLst>
          </p:cNvPr>
          <p:cNvSpPr>
            <a:spLocks/>
          </p:cNvSpPr>
          <p:nvPr userDrawn="1"/>
        </p:nvSpPr>
        <p:spPr bwMode="auto">
          <a:xfrm>
            <a:off x="797511" y="1573339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2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5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3 h 155"/>
              <a:gd name="T46" fmla="*/ 46 w 154"/>
              <a:gd name="T47" fmla="*/ 6 h 155"/>
              <a:gd name="T48" fmla="*/ 61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7 w 154"/>
              <a:gd name="T59" fmla="*/ 18 h 155"/>
              <a:gd name="T60" fmla="*/ 137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1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8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6" y="6"/>
                </a:lnTo>
                <a:lnTo>
                  <a:pt x="54" y="4"/>
                </a:lnTo>
                <a:lnTo>
                  <a:pt x="61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1" y="23"/>
                </a:lnTo>
                <a:lnTo>
                  <a:pt x="137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3" name="Freeform 2961">
            <a:extLst>
              <a:ext uri="{FF2B5EF4-FFF2-40B4-BE49-F238E27FC236}">
                <a16:creationId xmlns:a16="http://schemas.microsoft.com/office/drawing/2014/main" id="{267CAE18-7EF1-4C8B-AAAD-814AC3B1DF94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526101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1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8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5 h 155"/>
              <a:gd name="T56" fmla="*/ 115 w 155"/>
              <a:gd name="T57" fmla="*/ 11 h 155"/>
              <a:gd name="T58" fmla="*/ 127 w 155"/>
              <a:gd name="T59" fmla="*/ 19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0"/>
                </a:lnTo>
                <a:lnTo>
                  <a:pt x="137" y="127"/>
                </a:lnTo>
                <a:lnTo>
                  <a:pt x="132" y="132"/>
                </a:lnTo>
                <a:lnTo>
                  <a:pt x="127" y="138"/>
                </a:lnTo>
                <a:lnTo>
                  <a:pt x="120" y="142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10" y="115"/>
                </a:lnTo>
                <a:lnTo>
                  <a:pt x="7" y="108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8"/>
                </a:lnTo>
                <a:lnTo>
                  <a:pt x="10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5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5" y="11"/>
                </a:lnTo>
                <a:lnTo>
                  <a:pt x="120" y="14"/>
                </a:lnTo>
                <a:lnTo>
                  <a:pt x="127" y="19"/>
                </a:lnTo>
                <a:lnTo>
                  <a:pt x="132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4" name="Freeform 2962">
            <a:extLst>
              <a:ext uri="{FF2B5EF4-FFF2-40B4-BE49-F238E27FC236}">
                <a16:creationId xmlns:a16="http://schemas.microsoft.com/office/drawing/2014/main" id="{0B63B977-0486-457B-959D-8C9DFDCAB2B9}"/>
              </a:ext>
            </a:extLst>
          </p:cNvPr>
          <p:cNvSpPr>
            <a:spLocks/>
          </p:cNvSpPr>
          <p:nvPr userDrawn="1"/>
        </p:nvSpPr>
        <p:spPr bwMode="auto">
          <a:xfrm>
            <a:off x="843699" y="157333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4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5" name="Freeform 2963">
            <a:extLst>
              <a:ext uri="{FF2B5EF4-FFF2-40B4-BE49-F238E27FC236}">
                <a16:creationId xmlns:a16="http://schemas.microsoft.com/office/drawing/2014/main" id="{C000D252-A7D9-46D0-8376-A580872039C8}"/>
              </a:ext>
            </a:extLst>
          </p:cNvPr>
          <p:cNvSpPr>
            <a:spLocks/>
          </p:cNvSpPr>
          <p:nvPr userDrawn="1"/>
        </p:nvSpPr>
        <p:spPr bwMode="auto">
          <a:xfrm>
            <a:off x="889886" y="1526101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1 h 155"/>
              <a:gd name="T54" fmla="*/ 101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6" name="Freeform 2964">
            <a:extLst>
              <a:ext uri="{FF2B5EF4-FFF2-40B4-BE49-F238E27FC236}">
                <a16:creationId xmlns:a16="http://schemas.microsoft.com/office/drawing/2014/main" id="{462BBDC2-DD52-400D-8699-5E7A2E74E605}"/>
              </a:ext>
            </a:extLst>
          </p:cNvPr>
          <p:cNvSpPr>
            <a:spLocks/>
          </p:cNvSpPr>
          <p:nvPr userDrawn="1"/>
        </p:nvSpPr>
        <p:spPr bwMode="auto">
          <a:xfrm>
            <a:off x="703033" y="148411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7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1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4 w 155"/>
              <a:gd name="T63" fmla="*/ 40 h 154"/>
              <a:gd name="T64" fmla="*/ 151 w 155"/>
              <a:gd name="T65" fmla="*/ 55 h 154"/>
              <a:gd name="T66" fmla="*/ 153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7" name="Freeform 2965">
            <a:extLst>
              <a:ext uri="{FF2B5EF4-FFF2-40B4-BE49-F238E27FC236}">
                <a16:creationId xmlns:a16="http://schemas.microsoft.com/office/drawing/2014/main" id="{55815B7E-859C-4F07-8E7C-FCA8C409305E}"/>
              </a:ext>
            </a:extLst>
          </p:cNvPr>
          <p:cNvSpPr>
            <a:spLocks/>
          </p:cNvSpPr>
          <p:nvPr userDrawn="1"/>
        </p:nvSpPr>
        <p:spPr bwMode="auto">
          <a:xfrm>
            <a:off x="889886" y="1484111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8 w 155"/>
              <a:gd name="T27" fmla="*/ 125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2 h 154"/>
              <a:gd name="T44" fmla="*/ 34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8" name="Freeform 2966">
            <a:extLst>
              <a:ext uri="{FF2B5EF4-FFF2-40B4-BE49-F238E27FC236}">
                <a16:creationId xmlns:a16="http://schemas.microsoft.com/office/drawing/2014/main" id="{19EEDCBC-4085-4DBD-9DBE-F63ED856201C}"/>
              </a:ext>
            </a:extLst>
          </p:cNvPr>
          <p:cNvSpPr>
            <a:spLocks/>
          </p:cNvSpPr>
          <p:nvPr userDrawn="1"/>
        </p:nvSpPr>
        <p:spPr bwMode="auto">
          <a:xfrm>
            <a:off x="937125" y="1342397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2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8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9" name="Freeform 2967">
            <a:extLst>
              <a:ext uri="{FF2B5EF4-FFF2-40B4-BE49-F238E27FC236}">
                <a16:creationId xmlns:a16="http://schemas.microsoft.com/office/drawing/2014/main" id="{0F4DA46A-775F-41AA-8735-5BDC20E4C4F6}"/>
              </a:ext>
            </a:extLst>
          </p:cNvPr>
          <p:cNvSpPr>
            <a:spLocks/>
          </p:cNvSpPr>
          <p:nvPr userDrawn="1"/>
        </p:nvSpPr>
        <p:spPr bwMode="auto">
          <a:xfrm>
            <a:off x="937125" y="1389635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0" name="Freeform 2968">
            <a:extLst>
              <a:ext uri="{FF2B5EF4-FFF2-40B4-BE49-F238E27FC236}">
                <a16:creationId xmlns:a16="http://schemas.microsoft.com/office/drawing/2014/main" id="{70C74039-F308-4456-8059-AA0FC8E9E106}"/>
              </a:ext>
            </a:extLst>
          </p:cNvPr>
          <p:cNvSpPr>
            <a:spLocks/>
          </p:cNvSpPr>
          <p:nvPr userDrawn="1"/>
        </p:nvSpPr>
        <p:spPr bwMode="auto">
          <a:xfrm>
            <a:off x="889886" y="1342397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9 w 155"/>
              <a:gd name="T29" fmla="*/ 114 h 154"/>
              <a:gd name="T30" fmla="*/ 3 w 155"/>
              <a:gd name="T31" fmla="*/ 100 h 154"/>
              <a:gd name="T32" fmla="*/ 1 w 155"/>
              <a:gd name="T33" fmla="*/ 84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4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5 w 155"/>
              <a:gd name="T63" fmla="*/ 40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1" name="Freeform 2969">
            <a:extLst>
              <a:ext uri="{FF2B5EF4-FFF2-40B4-BE49-F238E27FC236}">
                <a16:creationId xmlns:a16="http://schemas.microsoft.com/office/drawing/2014/main" id="{389EB945-863A-4009-9292-63E70176417F}"/>
              </a:ext>
            </a:extLst>
          </p:cNvPr>
          <p:cNvSpPr>
            <a:spLocks/>
          </p:cNvSpPr>
          <p:nvPr userDrawn="1"/>
        </p:nvSpPr>
        <p:spPr bwMode="auto">
          <a:xfrm>
            <a:off x="889886" y="1391735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2 h 155"/>
              <a:gd name="T12" fmla="*/ 108 w 155"/>
              <a:gd name="T13" fmla="*/ 149 h 155"/>
              <a:gd name="T14" fmla="*/ 93 w 155"/>
              <a:gd name="T15" fmla="*/ 154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8 w 155"/>
              <a:gd name="T27" fmla="*/ 127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7 w 155"/>
              <a:gd name="T39" fmla="*/ 48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5 h 155"/>
              <a:gd name="T56" fmla="*/ 114 w 155"/>
              <a:gd name="T57" fmla="*/ 11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8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5" y="5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5"/>
                </a:lnTo>
                <a:lnTo>
                  <a:pt x="108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8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2" name="Freeform 2970">
            <a:extLst>
              <a:ext uri="{FF2B5EF4-FFF2-40B4-BE49-F238E27FC236}">
                <a16:creationId xmlns:a16="http://schemas.microsoft.com/office/drawing/2014/main" id="{717246E6-F6A2-4607-A5C6-B640558DD176}"/>
              </a:ext>
            </a:extLst>
          </p:cNvPr>
          <p:cNvSpPr>
            <a:spLocks/>
          </p:cNvSpPr>
          <p:nvPr userDrawn="1"/>
        </p:nvSpPr>
        <p:spPr bwMode="auto">
          <a:xfrm>
            <a:off x="889886" y="1573339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4 h 155"/>
              <a:gd name="T30" fmla="*/ 3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6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3" name="Freeform 2971">
            <a:extLst>
              <a:ext uri="{FF2B5EF4-FFF2-40B4-BE49-F238E27FC236}">
                <a16:creationId xmlns:a16="http://schemas.microsoft.com/office/drawing/2014/main" id="{C67FEB35-650F-4413-B66A-5369316878BB}"/>
              </a:ext>
            </a:extLst>
          </p:cNvPr>
          <p:cNvSpPr>
            <a:spLocks/>
          </p:cNvSpPr>
          <p:nvPr userDrawn="1"/>
        </p:nvSpPr>
        <p:spPr bwMode="auto">
          <a:xfrm>
            <a:off x="1120830" y="1573339"/>
            <a:ext cx="34350" cy="34350"/>
          </a:xfrm>
          <a:custGeom>
            <a:avLst/>
            <a:gdLst>
              <a:gd name="T0" fmla="*/ 154 w 154"/>
              <a:gd name="T1" fmla="*/ 77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7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4 h 154"/>
              <a:gd name="T34" fmla="*/ 0 w 154"/>
              <a:gd name="T35" fmla="*/ 77 h 154"/>
              <a:gd name="T36" fmla="*/ 1 w 154"/>
              <a:gd name="T37" fmla="*/ 61 h 154"/>
              <a:gd name="T38" fmla="*/ 6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3" y="84"/>
                </a:lnTo>
                <a:lnTo>
                  <a:pt x="152" y="92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7" y="125"/>
                </a:lnTo>
                <a:lnTo>
                  <a:pt x="14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0"/>
                </a:lnTo>
                <a:lnTo>
                  <a:pt x="14" y="34"/>
                </a:lnTo>
                <a:lnTo>
                  <a:pt x="17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4" name="Freeform 2972">
            <a:extLst>
              <a:ext uri="{FF2B5EF4-FFF2-40B4-BE49-F238E27FC236}">
                <a16:creationId xmlns:a16="http://schemas.microsoft.com/office/drawing/2014/main" id="{312EA7D8-BB72-4E94-B99D-F298BD63838C}"/>
              </a:ext>
            </a:extLst>
          </p:cNvPr>
          <p:cNvSpPr>
            <a:spLocks/>
          </p:cNvSpPr>
          <p:nvPr userDrawn="1"/>
        </p:nvSpPr>
        <p:spPr bwMode="auto">
          <a:xfrm>
            <a:off x="1160719" y="157333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19 w 153"/>
              <a:gd name="T11" fmla="*/ 140 h 154"/>
              <a:gd name="T12" fmla="*/ 106 w 153"/>
              <a:gd name="T13" fmla="*/ 148 h 154"/>
              <a:gd name="T14" fmla="*/ 92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6 h 154"/>
              <a:gd name="T40" fmla="*/ 13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6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19" y="140"/>
                </a:lnTo>
                <a:lnTo>
                  <a:pt x="113" y="145"/>
                </a:lnTo>
                <a:lnTo>
                  <a:pt x="106" y="148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0"/>
                </a:lnTo>
                <a:lnTo>
                  <a:pt x="28" y="137"/>
                </a:lnTo>
                <a:lnTo>
                  <a:pt x="22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2"/>
                </a:lnTo>
                <a:lnTo>
                  <a:pt x="28" y="18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5" name="Freeform 2973">
            <a:extLst>
              <a:ext uri="{FF2B5EF4-FFF2-40B4-BE49-F238E27FC236}">
                <a16:creationId xmlns:a16="http://schemas.microsoft.com/office/drawing/2014/main" id="{4CB1BF91-133F-4DF9-9EB6-B42520ED5048}"/>
              </a:ext>
            </a:extLst>
          </p:cNvPr>
          <p:cNvSpPr>
            <a:spLocks/>
          </p:cNvSpPr>
          <p:nvPr userDrawn="1"/>
        </p:nvSpPr>
        <p:spPr bwMode="auto">
          <a:xfrm>
            <a:off x="1160719" y="1526101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2 h 155"/>
              <a:gd name="T12" fmla="*/ 106 w 153"/>
              <a:gd name="T13" fmla="*/ 149 h 155"/>
              <a:gd name="T14" fmla="*/ 92 w 153"/>
              <a:gd name="T15" fmla="*/ 154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8 w 153"/>
              <a:gd name="T25" fmla="*/ 138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3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5 h 155"/>
              <a:gd name="T56" fmla="*/ 113 w 153"/>
              <a:gd name="T57" fmla="*/ 11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8"/>
                </a:lnTo>
                <a:lnTo>
                  <a:pt x="119" y="142"/>
                </a:lnTo>
                <a:lnTo>
                  <a:pt x="113" y="146"/>
                </a:lnTo>
                <a:lnTo>
                  <a:pt x="106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2"/>
                </a:lnTo>
                <a:lnTo>
                  <a:pt x="28" y="138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7" y="29"/>
                </a:lnTo>
                <a:lnTo>
                  <a:pt x="22" y="23"/>
                </a:lnTo>
                <a:lnTo>
                  <a:pt x="28" y="19"/>
                </a:lnTo>
                <a:lnTo>
                  <a:pt x="33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1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3"/>
                </a:lnTo>
                <a:lnTo>
                  <a:pt x="100" y="5"/>
                </a:lnTo>
                <a:lnTo>
                  <a:pt x="106" y="7"/>
                </a:lnTo>
                <a:lnTo>
                  <a:pt x="113" y="11"/>
                </a:lnTo>
                <a:lnTo>
                  <a:pt x="119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6" name="Freeform 2974">
            <a:extLst>
              <a:ext uri="{FF2B5EF4-FFF2-40B4-BE49-F238E27FC236}">
                <a16:creationId xmlns:a16="http://schemas.microsoft.com/office/drawing/2014/main" id="{9CCDBB7E-BCE4-4C5A-A4A2-EF071DF2FEB9}"/>
              </a:ext>
            </a:extLst>
          </p:cNvPr>
          <p:cNvSpPr>
            <a:spLocks/>
          </p:cNvSpPr>
          <p:nvPr userDrawn="1"/>
        </p:nvSpPr>
        <p:spPr bwMode="auto">
          <a:xfrm>
            <a:off x="1120830" y="162057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1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0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7" name="Freeform 2975">
            <a:extLst>
              <a:ext uri="{FF2B5EF4-FFF2-40B4-BE49-F238E27FC236}">
                <a16:creationId xmlns:a16="http://schemas.microsoft.com/office/drawing/2014/main" id="{C7F46170-1A85-4612-9497-E571E28A2F2F}"/>
              </a:ext>
            </a:extLst>
          </p:cNvPr>
          <p:cNvSpPr>
            <a:spLocks/>
          </p:cNvSpPr>
          <p:nvPr userDrawn="1"/>
        </p:nvSpPr>
        <p:spPr bwMode="auto">
          <a:xfrm>
            <a:off x="1120830" y="166676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70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9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5 w 154"/>
              <a:gd name="T63" fmla="*/ 40 h 155"/>
              <a:gd name="T64" fmla="*/ 151 w 154"/>
              <a:gd name="T65" fmla="*/ 54 h 155"/>
              <a:gd name="T66" fmla="*/ 153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5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99" y="4"/>
                </a:lnTo>
                <a:lnTo>
                  <a:pt x="107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8" name="Freeform 2976">
            <a:extLst>
              <a:ext uri="{FF2B5EF4-FFF2-40B4-BE49-F238E27FC236}">
                <a16:creationId xmlns:a16="http://schemas.microsoft.com/office/drawing/2014/main" id="{E4992998-FE6A-4C20-9432-E253CB310CE3}"/>
              </a:ext>
            </a:extLst>
          </p:cNvPr>
          <p:cNvSpPr>
            <a:spLocks/>
          </p:cNvSpPr>
          <p:nvPr userDrawn="1"/>
        </p:nvSpPr>
        <p:spPr bwMode="auto">
          <a:xfrm>
            <a:off x="1120830" y="171295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70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9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7" y="149"/>
                </a:lnTo>
                <a:lnTo>
                  <a:pt x="99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8"/>
                </a:lnTo>
                <a:lnTo>
                  <a:pt x="23" y="132"/>
                </a:lnTo>
                <a:lnTo>
                  <a:pt x="17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2"/>
                </a:lnTo>
                <a:lnTo>
                  <a:pt x="14" y="35"/>
                </a:lnTo>
                <a:lnTo>
                  <a:pt x="17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99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9" name="Freeform 2977">
            <a:extLst>
              <a:ext uri="{FF2B5EF4-FFF2-40B4-BE49-F238E27FC236}">
                <a16:creationId xmlns:a16="http://schemas.microsoft.com/office/drawing/2014/main" id="{33C323E4-43AB-4E8A-97A5-4673FB309EF4}"/>
              </a:ext>
            </a:extLst>
          </p:cNvPr>
          <p:cNvSpPr>
            <a:spLocks/>
          </p:cNvSpPr>
          <p:nvPr userDrawn="1"/>
        </p:nvSpPr>
        <p:spPr bwMode="auto">
          <a:xfrm>
            <a:off x="1074640" y="1666765"/>
            <a:ext cx="34350" cy="34350"/>
          </a:xfrm>
          <a:custGeom>
            <a:avLst/>
            <a:gdLst>
              <a:gd name="T0" fmla="*/ 155 w 155"/>
              <a:gd name="T1" fmla="*/ 77 h 155"/>
              <a:gd name="T2" fmla="*/ 154 w 155"/>
              <a:gd name="T3" fmla="*/ 93 h 155"/>
              <a:gd name="T4" fmla="*/ 149 w 155"/>
              <a:gd name="T5" fmla="*/ 107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7 w 155"/>
              <a:gd name="T17" fmla="*/ 155 h 155"/>
              <a:gd name="T18" fmla="*/ 70 w 155"/>
              <a:gd name="T19" fmla="*/ 154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9 w 155"/>
              <a:gd name="T27" fmla="*/ 126 h 155"/>
              <a:gd name="T28" fmla="*/ 9 w 155"/>
              <a:gd name="T29" fmla="*/ 114 h 155"/>
              <a:gd name="T30" fmla="*/ 4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3 h 155"/>
              <a:gd name="T46" fmla="*/ 47 w 155"/>
              <a:gd name="T47" fmla="*/ 6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0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8 h 155"/>
              <a:gd name="T60" fmla="*/ 137 w 155"/>
              <a:gd name="T61" fmla="*/ 28 h 155"/>
              <a:gd name="T62" fmla="*/ 146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9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5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5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0" name="Freeform 2978">
            <a:extLst>
              <a:ext uri="{FF2B5EF4-FFF2-40B4-BE49-F238E27FC236}">
                <a16:creationId xmlns:a16="http://schemas.microsoft.com/office/drawing/2014/main" id="{7C4C2A9B-A556-4030-BB58-F8E182BC456B}"/>
              </a:ext>
            </a:extLst>
          </p:cNvPr>
          <p:cNvSpPr>
            <a:spLocks/>
          </p:cNvSpPr>
          <p:nvPr userDrawn="1"/>
        </p:nvSpPr>
        <p:spPr bwMode="auto">
          <a:xfrm>
            <a:off x="1027402" y="1666765"/>
            <a:ext cx="34350" cy="34350"/>
          </a:xfrm>
          <a:custGeom>
            <a:avLst/>
            <a:gdLst>
              <a:gd name="T0" fmla="*/ 155 w 155"/>
              <a:gd name="T1" fmla="*/ 77 h 155"/>
              <a:gd name="T2" fmla="*/ 153 w 155"/>
              <a:gd name="T3" fmla="*/ 93 h 155"/>
              <a:gd name="T4" fmla="*/ 149 w 155"/>
              <a:gd name="T5" fmla="*/ 107 h 155"/>
              <a:gd name="T6" fmla="*/ 142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8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1 w 155"/>
              <a:gd name="T23" fmla="*/ 145 h 155"/>
              <a:gd name="T24" fmla="*/ 29 w 155"/>
              <a:gd name="T25" fmla="*/ 137 h 155"/>
              <a:gd name="T26" fmla="*/ 18 w 155"/>
              <a:gd name="T27" fmla="*/ 126 h 155"/>
              <a:gd name="T28" fmla="*/ 10 w 155"/>
              <a:gd name="T29" fmla="*/ 114 h 155"/>
              <a:gd name="T30" fmla="*/ 3 w 155"/>
              <a:gd name="T31" fmla="*/ 100 h 155"/>
              <a:gd name="T32" fmla="*/ 1 w 155"/>
              <a:gd name="T33" fmla="*/ 85 h 155"/>
              <a:gd name="T34" fmla="*/ 0 w 155"/>
              <a:gd name="T35" fmla="*/ 77 h 155"/>
              <a:gd name="T36" fmla="*/ 2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3 h 155"/>
              <a:gd name="T46" fmla="*/ 48 w 155"/>
              <a:gd name="T47" fmla="*/ 6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0 h 155"/>
              <a:gd name="T54" fmla="*/ 101 w 155"/>
              <a:gd name="T55" fmla="*/ 4 h 155"/>
              <a:gd name="T56" fmla="*/ 114 w 155"/>
              <a:gd name="T57" fmla="*/ 10 h 155"/>
              <a:gd name="T58" fmla="*/ 127 w 155"/>
              <a:gd name="T59" fmla="*/ 18 h 155"/>
              <a:gd name="T60" fmla="*/ 137 w 155"/>
              <a:gd name="T61" fmla="*/ 28 h 155"/>
              <a:gd name="T62" fmla="*/ 145 w 155"/>
              <a:gd name="T63" fmla="*/ 40 h 155"/>
              <a:gd name="T64" fmla="*/ 151 w 155"/>
              <a:gd name="T65" fmla="*/ 54 h 155"/>
              <a:gd name="T66" fmla="*/ 155 w 155"/>
              <a:gd name="T67" fmla="*/ 69 h 155"/>
              <a:gd name="T68" fmla="*/ 155 w 155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2" y="121"/>
                </a:lnTo>
                <a:lnTo>
                  <a:pt x="137" y="126"/>
                </a:lnTo>
                <a:lnTo>
                  <a:pt x="132" y="132"/>
                </a:lnTo>
                <a:lnTo>
                  <a:pt x="127" y="137"/>
                </a:lnTo>
                <a:lnTo>
                  <a:pt x="120" y="141"/>
                </a:lnTo>
                <a:lnTo>
                  <a:pt x="114" y="145"/>
                </a:lnTo>
                <a:lnTo>
                  <a:pt x="108" y="148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8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10" y="114"/>
                </a:lnTo>
                <a:lnTo>
                  <a:pt x="7" y="107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4" y="35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1" y="10"/>
                </a:lnTo>
                <a:lnTo>
                  <a:pt x="48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2"/>
                </a:lnTo>
                <a:lnTo>
                  <a:pt x="101" y="4"/>
                </a:lnTo>
                <a:lnTo>
                  <a:pt x="108" y="6"/>
                </a:lnTo>
                <a:lnTo>
                  <a:pt x="114" y="10"/>
                </a:lnTo>
                <a:lnTo>
                  <a:pt x="120" y="13"/>
                </a:lnTo>
                <a:lnTo>
                  <a:pt x="127" y="18"/>
                </a:lnTo>
                <a:lnTo>
                  <a:pt x="132" y="23"/>
                </a:lnTo>
                <a:lnTo>
                  <a:pt x="137" y="28"/>
                </a:lnTo>
                <a:lnTo>
                  <a:pt x="142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1" name="Freeform 2979">
            <a:extLst>
              <a:ext uri="{FF2B5EF4-FFF2-40B4-BE49-F238E27FC236}">
                <a16:creationId xmlns:a16="http://schemas.microsoft.com/office/drawing/2014/main" id="{80361873-9B4E-4680-A2B4-151FFD672BE0}"/>
              </a:ext>
            </a:extLst>
          </p:cNvPr>
          <p:cNvSpPr>
            <a:spLocks/>
          </p:cNvSpPr>
          <p:nvPr userDrawn="1"/>
        </p:nvSpPr>
        <p:spPr bwMode="auto">
          <a:xfrm>
            <a:off x="1074640" y="1712954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1 w 155"/>
              <a:gd name="T11" fmla="*/ 141 h 155"/>
              <a:gd name="T12" fmla="*/ 108 w 155"/>
              <a:gd name="T13" fmla="*/ 149 h 155"/>
              <a:gd name="T14" fmla="*/ 93 w 155"/>
              <a:gd name="T15" fmla="*/ 154 h 155"/>
              <a:gd name="T16" fmla="*/ 77 w 155"/>
              <a:gd name="T17" fmla="*/ 155 h 155"/>
              <a:gd name="T18" fmla="*/ 70 w 155"/>
              <a:gd name="T19" fmla="*/ 155 h 155"/>
              <a:gd name="T20" fmla="*/ 54 w 155"/>
              <a:gd name="T21" fmla="*/ 151 h 155"/>
              <a:gd name="T22" fmla="*/ 40 w 155"/>
              <a:gd name="T23" fmla="*/ 146 h 155"/>
              <a:gd name="T24" fmla="*/ 29 w 155"/>
              <a:gd name="T25" fmla="*/ 138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7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5 w 155"/>
              <a:gd name="T57" fmla="*/ 10 h 155"/>
              <a:gd name="T58" fmla="*/ 126 w 155"/>
              <a:gd name="T59" fmla="*/ 19 h 155"/>
              <a:gd name="T60" fmla="*/ 137 w 155"/>
              <a:gd name="T61" fmla="*/ 29 h 155"/>
              <a:gd name="T62" fmla="*/ 146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8"/>
                </a:lnTo>
                <a:lnTo>
                  <a:pt x="121" y="141"/>
                </a:lnTo>
                <a:lnTo>
                  <a:pt x="115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70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9" y="138"/>
                </a:lnTo>
                <a:lnTo>
                  <a:pt x="23" y="132"/>
                </a:lnTo>
                <a:lnTo>
                  <a:pt x="19" y="126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3" y="62"/>
                </a:lnTo>
                <a:lnTo>
                  <a:pt x="4" y="55"/>
                </a:lnTo>
                <a:lnTo>
                  <a:pt x="7" y="47"/>
                </a:lnTo>
                <a:lnTo>
                  <a:pt x="9" y="42"/>
                </a:lnTo>
                <a:lnTo>
                  <a:pt x="14" y="35"/>
                </a:lnTo>
                <a:lnTo>
                  <a:pt x="19" y="29"/>
                </a:lnTo>
                <a:lnTo>
                  <a:pt x="23" y="23"/>
                </a:lnTo>
                <a:lnTo>
                  <a:pt x="29" y="19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70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6" y="42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2" name="Freeform 2980">
            <a:extLst>
              <a:ext uri="{FF2B5EF4-FFF2-40B4-BE49-F238E27FC236}">
                <a16:creationId xmlns:a16="http://schemas.microsoft.com/office/drawing/2014/main" id="{67ACE963-BEE5-49E6-BFEE-8DAD243B6364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666765"/>
            <a:ext cx="34350" cy="34350"/>
          </a:xfrm>
          <a:custGeom>
            <a:avLst/>
            <a:gdLst>
              <a:gd name="T0" fmla="*/ 153 w 153"/>
              <a:gd name="T1" fmla="*/ 77 h 155"/>
              <a:gd name="T2" fmla="*/ 152 w 153"/>
              <a:gd name="T3" fmla="*/ 93 h 155"/>
              <a:gd name="T4" fmla="*/ 147 w 153"/>
              <a:gd name="T5" fmla="*/ 107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8 h 155"/>
              <a:gd name="T14" fmla="*/ 93 w 153"/>
              <a:gd name="T15" fmla="*/ 153 h 155"/>
              <a:gd name="T16" fmla="*/ 76 w 153"/>
              <a:gd name="T17" fmla="*/ 155 h 155"/>
              <a:gd name="T18" fmla="*/ 68 w 153"/>
              <a:gd name="T19" fmla="*/ 154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6 h 155"/>
              <a:gd name="T28" fmla="*/ 9 w 153"/>
              <a:gd name="T29" fmla="*/ 114 h 155"/>
              <a:gd name="T30" fmla="*/ 3 w 153"/>
              <a:gd name="T31" fmla="*/ 100 h 155"/>
              <a:gd name="T32" fmla="*/ 0 w 153"/>
              <a:gd name="T33" fmla="*/ 85 h 155"/>
              <a:gd name="T34" fmla="*/ 0 w 153"/>
              <a:gd name="T35" fmla="*/ 77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3 h 155"/>
              <a:gd name="T46" fmla="*/ 47 w 153"/>
              <a:gd name="T47" fmla="*/ 6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0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8 h 155"/>
              <a:gd name="T62" fmla="*/ 144 w 153"/>
              <a:gd name="T63" fmla="*/ 40 h 155"/>
              <a:gd name="T64" fmla="*/ 150 w 153"/>
              <a:gd name="T65" fmla="*/ 54 h 155"/>
              <a:gd name="T66" fmla="*/ 153 w 153"/>
              <a:gd name="T67" fmla="*/ 69 h 155"/>
              <a:gd name="T68" fmla="*/ 153 w 153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5"/>
                </a:lnTo>
                <a:lnTo>
                  <a:pt x="76" y="155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5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0" y="2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2"/>
                </a:lnTo>
                <a:lnTo>
                  <a:pt x="99" y="4"/>
                </a:lnTo>
                <a:lnTo>
                  <a:pt x="106" y="6"/>
                </a:lnTo>
                <a:lnTo>
                  <a:pt x="113" y="10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3" name="Freeform 2981">
            <a:extLst>
              <a:ext uri="{FF2B5EF4-FFF2-40B4-BE49-F238E27FC236}">
                <a16:creationId xmlns:a16="http://schemas.microsoft.com/office/drawing/2014/main" id="{E7EF563A-040F-4752-BFDD-CCE5D9965FDD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712954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1 h 155"/>
              <a:gd name="T8" fmla="*/ 131 w 153"/>
              <a:gd name="T9" fmla="*/ 132 h 155"/>
              <a:gd name="T10" fmla="*/ 120 w 153"/>
              <a:gd name="T11" fmla="*/ 141 h 155"/>
              <a:gd name="T12" fmla="*/ 106 w 153"/>
              <a:gd name="T13" fmla="*/ 149 h 155"/>
              <a:gd name="T14" fmla="*/ 93 w 153"/>
              <a:gd name="T15" fmla="*/ 154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6 h 155"/>
              <a:gd name="T24" fmla="*/ 27 w 153"/>
              <a:gd name="T25" fmla="*/ 138 h 155"/>
              <a:gd name="T26" fmla="*/ 17 w 153"/>
              <a:gd name="T27" fmla="*/ 126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5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7 h 155"/>
              <a:gd name="T40" fmla="*/ 12 w 153"/>
              <a:gd name="T41" fmla="*/ 35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3 h 155"/>
              <a:gd name="T50" fmla="*/ 76 w 153"/>
              <a:gd name="T51" fmla="*/ 0 h 155"/>
              <a:gd name="T52" fmla="*/ 84 w 153"/>
              <a:gd name="T53" fmla="*/ 2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9 h 155"/>
              <a:gd name="T60" fmla="*/ 136 w 153"/>
              <a:gd name="T61" fmla="*/ 29 h 155"/>
              <a:gd name="T62" fmla="*/ 144 w 153"/>
              <a:gd name="T63" fmla="*/ 42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5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1" y="132"/>
                </a:lnTo>
                <a:lnTo>
                  <a:pt x="126" y="138"/>
                </a:lnTo>
                <a:lnTo>
                  <a:pt x="120" y="141"/>
                </a:lnTo>
                <a:lnTo>
                  <a:pt x="113" y="146"/>
                </a:lnTo>
                <a:lnTo>
                  <a:pt x="106" y="149"/>
                </a:lnTo>
                <a:lnTo>
                  <a:pt x="99" y="151"/>
                </a:lnTo>
                <a:lnTo>
                  <a:pt x="93" y="154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3" y="141"/>
                </a:lnTo>
                <a:lnTo>
                  <a:pt x="27" y="138"/>
                </a:lnTo>
                <a:lnTo>
                  <a:pt x="22" y="132"/>
                </a:lnTo>
                <a:lnTo>
                  <a:pt x="17" y="126"/>
                </a:lnTo>
                <a:lnTo>
                  <a:pt x="12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2"/>
                </a:lnTo>
                <a:lnTo>
                  <a:pt x="12" y="35"/>
                </a:lnTo>
                <a:lnTo>
                  <a:pt x="17" y="29"/>
                </a:lnTo>
                <a:lnTo>
                  <a:pt x="22" y="23"/>
                </a:lnTo>
                <a:lnTo>
                  <a:pt x="27" y="19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0" y="3"/>
                </a:lnTo>
                <a:lnTo>
                  <a:pt x="68" y="2"/>
                </a:lnTo>
                <a:lnTo>
                  <a:pt x="76" y="0"/>
                </a:lnTo>
                <a:lnTo>
                  <a:pt x="76" y="0"/>
                </a:lnTo>
                <a:lnTo>
                  <a:pt x="84" y="2"/>
                </a:lnTo>
                <a:lnTo>
                  <a:pt x="93" y="3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9"/>
                </a:lnTo>
                <a:lnTo>
                  <a:pt x="131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4" name="Freeform 2982">
            <a:extLst>
              <a:ext uri="{FF2B5EF4-FFF2-40B4-BE49-F238E27FC236}">
                <a16:creationId xmlns:a16="http://schemas.microsoft.com/office/drawing/2014/main" id="{CB1CDBD0-BA60-4DD3-835F-4BF7193871C5}"/>
              </a:ext>
            </a:extLst>
          </p:cNvPr>
          <p:cNvSpPr>
            <a:spLocks/>
          </p:cNvSpPr>
          <p:nvPr userDrawn="1"/>
        </p:nvSpPr>
        <p:spPr bwMode="auto">
          <a:xfrm>
            <a:off x="1168067" y="1666765"/>
            <a:ext cx="34350" cy="34350"/>
          </a:xfrm>
          <a:custGeom>
            <a:avLst/>
            <a:gdLst>
              <a:gd name="T0" fmla="*/ 154 w 154"/>
              <a:gd name="T1" fmla="*/ 77 h 155"/>
              <a:gd name="T2" fmla="*/ 152 w 154"/>
              <a:gd name="T3" fmla="*/ 93 h 155"/>
              <a:gd name="T4" fmla="*/ 148 w 154"/>
              <a:gd name="T5" fmla="*/ 107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6 h 155"/>
              <a:gd name="T28" fmla="*/ 9 w 154"/>
              <a:gd name="T29" fmla="*/ 114 h 155"/>
              <a:gd name="T30" fmla="*/ 4 w 154"/>
              <a:gd name="T31" fmla="*/ 100 h 155"/>
              <a:gd name="T32" fmla="*/ 0 w 154"/>
              <a:gd name="T33" fmla="*/ 85 h 155"/>
              <a:gd name="T34" fmla="*/ 0 w 154"/>
              <a:gd name="T35" fmla="*/ 77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3 h 155"/>
              <a:gd name="T46" fmla="*/ 47 w 154"/>
              <a:gd name="T47" fmla="*/ 6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0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6 w 154"/>
              <a:gd name="T61" fmla="*/ 28 h 155"/>
              <a:gd name="T62" fmla="*/ 144 w 154"/>
              <a:gd name="T63" fmla="*/ 40 h 155"/>
              <a:gd name="T64" fmla="*/ 150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4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5"/>
                </a:lnTo>
                <a:lnTo>
                  <a:pt x="17" y="28"/>
                </a:lnTo>
                <a:lnTo>
                  <a:pt x="23" y="23"/>
                </a:lnTo>
                <a:lnTo>
                  <a:pt x="28" y="18"/>
                </a:lnTo>
                <a:lnTo>
                  <a:pt x="35" y="13"/>
                </a:lnTo>
                <a:lnTo>
                  <a:pt x="40" y="10"/>
                </a:lnTo>
                <a:lnTo>
                  <a:pt x="47" y="6"/>
                </a:lnTo>
                <a:lnTo>
                  <a:pt x="54" y="4"/>
                </a:lnTo>
                <a:lnTo>
                  <a:pt x="62" y="2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2"/>
                </a:lnTo>
                <a:lnTo>
                  <a:pt x="100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5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5" name="Freeform 2983">
            <a:extLst>
              <a:ext uri="{FF2B5EF4-FFF2-40B4-BE49-F238E27FC236}">
                <a16:creationId xmlns:a16="http://schemas.microsoft.com/office/drawing/2014/main" id="{9460847E-6826-4C83-818F-2E42BC4F0EE4}"/>
              </a:ext>
            </a:extLst>
          </p:cNvPr>
          <p:cNvSpPr>
            <a:spLocks/>
          </p:cNvSpPr>
          <p:nvPr userDrawn="1"/>
        </p:nvSpPr>
        <p:spPr bwMode="auto">
          <a:xfrm>
            <a:off x="1168067" y="1712954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7 w 154"/>
              <a:gd name="T27" fmla="*/ 126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6 w 154"/>
              <a:gd name="T61" fmla="*/ 29 h 155"/>
              <a:gd name="T62" fmla="*/ 144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8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5" y="141"/>
                </a:lnTo>
                <a:lnTo>
                  <a:pt x="28" y="138"/>
                </a:lnTo>
                <a:lnTo>
                  <a:pt x="23" y="132"/>
                </a:lnTo>
                <a:lnTo>
                  <a:pt x="17" y="126"/>
                </a:lnTo>
                <a:lnTo>
                  <a:pt x="13" y="121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2"/>
                </a:lnTo>
                <a:lnTo>
                  <a:pt x="13" y="35"/>
                </a:lnTo>
                <a:lnTo>
                  <a:pt x="17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4" y="42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6" name="Freeform 2984">
            <a:extLst>
              <a:ext uri="{FF2B5EF4-FFF2-40B4-BE49-F238E27FC236}">
                <a16:creationId xmlns:a16="http://schemas.microsoft.com/office/drawing/2014/main" id="{5F471319-A67A-496F-9F87-5DD6C4B98289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757043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1 h 153"/>
              <a:gd name="T44" fmla="*/ 33 w 153"/>
              <a:gd name="T45" fmla="*/ 12 h 153"/>
              <a:gd name="T46" fmla="*/ 47 w 153"/>
              <a:gd name="T47" fmla="*/ 5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1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7" name="Freeform 2985">
            <a:extLst>
              <a:ext uri="{FF2B5EF4-FFF2-40B4-BE49-F238E27FC236}">
                <a16:creationId xmlns:a16="http://schemas.microsoft.com/office/drawing/2014/main" id="{F95AF117-8B34-4D95-9E86-E19FEC58137A}"/>
              </a:ext>
            </a:extLst>
          </p:cNvPr>
          <p:cNvSpPr>
            <a:spLocks/>
          </p:cNvSpPr>
          <p:nvPr userDrawn="1"/>
        </p:nvSpPr>
        <p:spPr bwMode="auto">
          <a:xfrm>
            <a:off x="1214256" y="1803231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8" name="Freeform 2986">
            <a:extLst>
              <a:ext uri="{FF2B5EF4-FFF2-40B4-BE49-F238E27FC236}">
                <a16:creationId xmlns:a16="http://schemas.microsoft.com/office/drawing/2014/main" id="{88FCD8CC-ABFE-4778-BBF3-199CFD74CE16}"/>
              </a:ext>
            </a:extLst>
          </p:cNvPr>
          <p:cNvSpPr>
            <a:spLocks/>
          </p:cNvSpPr>
          <p:nvPr userDrawn="1"/>
        </p:nvSpPr>
        <p:spPr bwMode="auto">
          <a:xfrm>
            <a:off x="1168067" y="1757043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1 h 153"/>
              <a:gd name="T44" fmla="*/ 35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9" name="Freeform 2987">
            <a:extLst>
              <a:ext uri="{FF2B5EF4-FFF2-40B4-BE49-F238E27FC236}">
                <a16:creationId xmlns:a16="http://schemas.microsoft.com/office/drawing/2014/main" id="{27C31165-0AB1-4435-8E6F-5A9E662F8633}"/>
              </a:ext>
            </a:extLst>
          </p:cNvPr>
          <p:cNvSpPr>
            <a:spLocks/>
          </p:cNvSpPr>
          <p:nvPr userDrawn="1"/>
        </p:nvSpPr>
        <p:spPr bwMode="auto">
          <a:xfrm>
            <a:off x="981214" y="1573339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8 h 154"/>
              <a:gd name="T14" fmla="*/ 93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100 h 154"/>
              <a:gd name="T32" fmla="*/ 0 w 153"/>
              <a:gd name="T33" fmla="*/ 84 h 154"/>
              <a:gd name="T34" fmla="*/ 0 w 153"/>
              <a:gd name="T35" fmla="*/ 77 h 154"/>
              <a:gd name="T36" fmla="*/ 1 w 153"/>
              <a:gd name="T37" fmla="*/ 61 h 154"/>
              <a:gd name="T38" fmla="*/ 6 w 153"/>
              <a:gd name="T39" fmla="*/ 46 h 154"/>
              <a:gd name="T40" fmla="*/ 12 w 153"/>
              <a:gd name="T41" fmla="*/ 34 h 154"/>
              <a:gd name="T42" fmla="*/ 23 w 153"/>
              <a:gd name="T43" fmla="*/ 22 h 154"/>
              <a:gd name="T44" fmla="*/ 34 w 153"/>
              <a:gd name="T45" fmla="*/ 13 h 154"/>
              <a:gd name="T46" fmla="*/ 47 w 153"/>
              <a:gd name="T47" fmla="*/ 6 h 154"/>
              <a:gd name="T48" fmla="*/ 62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4"/>
                </a:lnTo>
                <a:lnTo>
                  <a:pt x="152" y="92"/>
                </a:lnTo>
                <a:lnTo>
                  <a:pt x="150" y="100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7"/>
                </a:lnTo>
                <a:lnTo>
                  <a:pt x="120" y="140"/>
                </a:lnTo>
                <a:lnTo>
                  <a:pt x="113" y="145"/>
                </a:lnTo>
                <a:lnTo>
                  <a:pt x="106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0"/>
                </a:lnTo>
                <a:lnTo>
                  <a:pt x="27" y="137"/>
                </a:lnTo>
                <a:lnTo>
                  <a:pt x="23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1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2"/>
                </a:lnTo>
                <a:lnTo>
                  <a:pt x="27" y="18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1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0" name="Freeform 2988">
            <a:extLst>
              <a:ext uri="{FF2B5EF4-FFF2-40B4-BE49-F238E27FC236}">
                <a16:creationId xmlns:a16="http://schemas.microsoft.com/office/drawing/2014/main" id="{13E76B86-16B9-44CE-BE87-94CB772E1948}"/>
              </a:ext>
            </a:extLst>
          </p:cNvPr>
          <p:cNvSpPr>
            <a:spLocks/>
          </p:cNvSpPr>
          <p:nvPr userDrawn="1"/>
        </p:nvSpPr>
        <p:spPr bwMode="auto">
          <a:xfrm>
            <a:off x="981213" y="162057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20 w 153"/>
              <a:gd name="T11" fmla="*/ 140 h 153"/>
              <a:gd name="T12" fmla="*/ 106 w 153"/>
              <a:gd name="T13" fmla="*/ 147 h 153"/>
              <a:gd name="T14" fmla="*/ 93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0 h 153"/>
              <a:gd name="T38" fmla="*/ 6 w 153"/>
              <a:gd name="T39" fmla="*/ 47 h 153"/>
              <a:gd name="T40" fmla="*/ 12 w 153"/>
              <a:gd name="T41" fmla="*/ 33 h 153"/>
              <a:gd name="T42" fmla="*/ 23 w 153"/>
              <a:gd name="T43" fmla="*/ 21 h 153"/>
              <a:gd name="T44" fmla="*/ 34 w 153"/>
              <a:gd name="T45" fmla="*/ 12 h 153"/>
              <a:gd name="T46" fmla="*/ 47 w 153"/>
              <a:gd name="T47" fmla="*/ 5 h 153"/>
              <a:gd name="T48" fmla="*/ 62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3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3" y="53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3" y="21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1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0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1" name="Freeform 2989">
            <a:extLst>
              <a:ext uri="{FF2B5EF4-FFF2-40B4-BE49-F238E27FC236}">
                <a16:creationId xmlns:a16="http://schemas.microsoft.com/office/drawing/2014/main" id="{46B0DADD-E6B8-47BF-8904-999044007954}"/>
              </a:ext>
            </a:extLst>
          </p:cNvPr>
          <p:cNvSpPr>
            <a:spLocks/>
          </p:cNvSpPr>
          <p:nvPr userDrawn="1"/>
        </p:nvSpPr>
        <p:spPr bwMode="auto">
          <a:xfrm>
            <a:off x="1026352" y="162057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3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0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1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2 w 155"/>
              <a:gd name="T37" fmla="*/ 60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1 h 153"/>
              <a:gd name="T44" fmla="*/ 35 w 155"/>
              <a:gd name="T45" fmla="*/ 12 h 153"/>
              <a:gd name="T46" fmla="*/ 47 w 155"/>
              <a:gd name="T47" fmla="*/ 5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2 w 155"/>
              <a:gd name="T65" fmla="*/ 53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3" y="92"/>
                </a:lnTo>
                <a:lnTo>
                  <a:pt x="152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0"/>
                </a:lnTo>
                <a:lnTo>
                  <a:pt x="4" y="53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1"/>
                </a:lnTo>
                <a:lnTo>
                  <a:pt x="28" y="17"/>
                </a:lnTo>
                <a:lnTo>
                  <a:pt x="35" y="12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2" y="53"/>
                </a:lnTo>
                <a:lnTo>
                  <a:pt x="153" y="60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2" name="Freeform 2990">
            <a:extLst>
              <a:ext uri="{FF2B5EF4-FFF2-40B4-BE49-F238E27FC236}">
                <a16:creationId xmlns:a16="http://schemas.microsoft.com/office/drawing/2014/main" id="{8E712C65-CBF0-4932-91DB-E45EC6A4A4B0}"/>
              </a:ext>
            </a:extLst>
          </p:cNvPr>
          <p:cNvSpPr>
            <a:spLocks/>
          </p:cNvSpPr>
          <p:nvPr userDrawn="1"/>
        </p:nvSpPr>
        <p:spPr bwMode="auto">
          <a:xfrm>
            <a:off x="1073591" y="162057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1 h 153"/>
              <a:gd name="T44" fmla="*/ 34 w 154"/>
              <a:gd name="T45" fmla="*/ 12 h 153"/>
              <a:gd name="T46" fmla="*/ 47 w 154"/>
              <a:gd name="T47" fmla="*/ 5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0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0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1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1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3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3" name="Freeform 2991">
            <a:extLst>
              <a:ext uri="{FF2B5EF4-FFF2-40B4-BE49-F238E27FC236}">
                <a16:creationId xmlns:a16="http://schemas.microsoft.com/office/drawing/2014/main" id="{D34AEFDF-19A4-4C08-A9C5-0D1B9A68CABE}"/>
              </a:ext>
            </a:extLst>
          </p:cNvPr>
          <p:cNvSpPr>
            <a:spLocks/>
          </p:cNvSpPr>
          <p:nvPr userDrawn="1"/>
        </p:nvSpPr>
        <p:spPr bwMode="auto">
          <a:xfrm>
            <a:off x="1399009" y="1110405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4 h 155"/>
              <a:gd name="T4" fmla="*/ 148 w 154"/>
              <a:gd name="T5" fmla="*/ 108 h 155"/>
              <a:gd name="T6" fmla="*/ 141 w 154"/>
              <a:gd name="T7" fmla="*/ 122 h 155"/>
              <a:gd name="T8" fmla="*/ 132 w 154"/>
              <a:gd name="T9" fmla="*/ 133 h 155"/>
              <a:gd name="T10" fmla="*/ 121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5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4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2"/>
                </a:lnTo>
                <a:lnTo>
                  <a:pt x="137" y="127"/>
                </a:lnTo>
                <a:lnTo>
                  <a:pt x="132" y="133"/>
                </a:lnTo>
                <a:lnTo>
                  <a:pt x="126" y="138"/>
                </a:lnTo>
                <a:lnTo>
                  <a:pt x="121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4"/>
                </a:lnTo>
                <a:lnTo>
                  <a:pt x="54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3"/>
                </a:lnTo>
                <a:lnTo>
                  <a:pt x="18" y="127"/>
                </a:lnTo>
                <a:lnTo>
                  <a:pt x="13" y="122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0" y="11"/>
                </a:lnTo>
                <a:lnTo>
                  <a:pt x="47" y="7"/>
                </a:lnTo>
                <a:lnTo>
                  <a:pt x="54" y="5"/>
                </a:lnTo>
                <a:lnTo>
                  <a:pt x="62" y="3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3"/>
                </a:lnTo>
                <a:lnTo>
                  <a:pt x="100" y="5"/>
                </a:lnTo>
                <a:lnTo>
                  <a:pt x="107" y="7"/>
                </a:lnTo>
                <a:lnTo>
                  <a:pt x="114" y="11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4" name="Freeform 2992">
            <a:extLst>
              <a:ext uri="{FF2B5EF4-FFF2-40B4-BE49-F238E27FC236}">
                <a16:creationId xmlns:a16="http://schemas.microsoft.com/office/drawing/2014/main" id="{269ECAE7-36D8-4D2C-B307-7B22073BEBB0}"/>
              </a:ext>
            </a:extLst>
          </p:cNvPr>
          <p:cNvSpPr>
            <a:spLocks/>
          </p:cNvSpPr>
          <p:nvPr userDrawn="1"/>
        </p:nvSpPr>
        <p:spPr bwMode="auto">
          <a:xfrm>
            <a:off x="2044596" y="2077212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7 w 155"/>
              <a:gd name="T13" fmla="*/ 149 h 155"/>
              <a:gd name="T14" fmla="*/ 93 w 155"/>
              <a:gd name="T15" fmla="*/ 153 h 155"/>
              <a:gd name="T16" fmla="*/ 77 w 155"/>
              <a:gd name="T17" fmla="*/ 155 h 155"/>
              <a:gd name="T18" fmla="*/ 69 w 155"/>
              <a:gd name="T19" fmla="*/ 155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7 h 155"/>
              <a:gd name="T26" fmla="*/ 18 w 155"/>
              <a:gd name="T27" fmla="*/ 127 h 155"/>
              <a:gd name="T28" fmla="*/ 10 w 155"/>
              <a:gd name="T29" fmla="*/ 115 h 155"/>
              <a:gd name="T30" fmla="*/ 4 w 155"/>
              <a:gd name="T31" fmla="*/ 101 h 155"/>
              <a:gd name="T32" fmla="*/ 0 w 155"/>
              <a:gd name="T33" fmla="*/ 86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10 h 155"/>
              <a:gd name="T58" fmla="*/ 126 w 155"/>
              <a:gd name="T59" fmla="*/ 18 h 155"/>
              <a:gd name="T60" fmla="*/ 137 w 155"/>
              <a:gd name="T61" fmla="*/ 29 h 155"/>
              <a:gd name="T62" fmla="*/ 145 w 155"/>
              <a:gd name="T63" fmla="*/ 41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0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4" y="34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5" name="Freeform 2993">
            <a:extLst>
              <a:ext uri="{FF2B5EF4-FFF2-40B4-BE49-F238E27FC236}">
                <a16:creationId xmlns:a16="http://schemas.microsoft.com/office/drawing/2014/main" id="{8F2D36A9-5D76-46A5-AFE8-001B8349B51C}"/>
              </a:ext>
            </a:extLst>
          </p:cNvPr>
          <p:cNvSpPr>
            <a:spLocks/>
          </p:cNvSpPr>
          <p:nvPr userDrawn="1"/>
        </p:nvSpPr>
        <p:spPr bwMode="auto">
          <a:xfrm>
            <a:off x="1768516" y="198693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2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8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2" y="23"/>
                </a:lnTo>
                <a:lnTo>
                  <a:pt x="137" y="28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6" name="Freeform 2994">
            <a:extLst>
              <a:ext uri="{FF2B5EF4-FFF2-40B4-BE49-F238E27FC236}">
                <a16:creationId xmlns:a16="http://schemas.microsoft.com/office/drawing/2014/main" id="{06C90FEB-290E-4F9F-87F6-760B6855DB0F}"/>
              </a:ext>
            </a:extLst>
          </p:cNvPr>
          <p:cNvSpPr>
            <a:spLocks/>
          </p:cNvSpPr>
          <p:nvPr userDrawn="1"/>
        </p:nvSpPr>
        <p:spPr bwMode="auto">
          <a:xfrm>
            <a:off x="1813653" y="198693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8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7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8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7"/>
                </a:lnTo>
                <a:lnTo>
                  <a:pt x="34" y="14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7" y="17"/>
                </a:lnTo>
                <a:lnTo>
                  <a:pt x="131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7" name="Freeform 2995">
            <a:extLst>
              <a:ext uri="{FF2B5EF4-FFF2-40B4-BE49-F238E27FC236}">
                <a16:creationId xmlns:a16="http://schemas.microsoft.com/office/drawing/2014/main" id="{1FDFB929-82FE-494F-AC5C-720E1DFEC5F5}"/>
              </a:ext>
            </a:extLst>
          </p:cNvPr>
          <p:cNvSpPr>
            <a:spLocks/>
          </p:cNvSpPr>
          <p:nvPr userDrawn="1"/>
        </p:nvSpPr>
        <p:spPr bwMode="auto">
          <a:xfrm>
            <a:off x="1859843" y="1986935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5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8" name="Freeform 2996">
            <a:extLst>
              <a:ext uri="{FF2B5EF4-FFF2-40B4-BE49-F238E27FC236}">
                <a16:creationId xmlns:a16="http://schemas.microsoft.com/office/drawing/2014/main" id="{6DAEE4F5-9F21-4548-ADE6-6371FC81F60B}"/>
              </a:ext>
            </a:extLst>
          </p:cNvPr>
          <p:cNvSpPr>
            <a:spLocks/>
          </p:cNvSpPr>
          <p:nvPr userDrawn="1"/>
        </p:nvSpPr>
        <p:spPr bwMode="auto">
          <a:xfrm>
            <a:off x="1907080" y="198693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0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6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5" y="17"/>
                </a:lnTo>
                <a:lnTo>
                  <a:pt x="130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9" name="Freeform 2997">
            <a:extLst>
              <a:ext uri="{FF2B5EF4-FFF2-40B4-BE49-F238E27FC236}">
                <a16:creationId xmlns:a16="http://schemas.microsoft.com/office/drawing/2014/main" id="{A8957CD0-8FA3-4E94-8962-5D99301CC9CB}"/>
              </a:ext>
            </a:extLst>
          </p:cNvPr>
          <p:cNvSpPr>
            <a:spLocks/>
          </p:cNvSpPr>
          <p:nvPr userDrawn="1"/>
        </p:nvSpPr>
        <p:spPr bwMode="auto">
          <a:xfrm>
            <a:off x="1537573" y="198693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0" name="Freeform 2998">
            <a:extLst>
              <a:ext uri="{FF2B5EF4-FFF2-40B4-BE49-F238E27FC236}">
                <a16:creationId xmlns:a16="http://schemas.microsoft.com/office/drawing/2014/main" id="{910B74D4-A028-4F8B-A026-D590B4E53A31}"/>
              </a:ext>
            </a:extLst>
          </p:cNvPr>
          <p:cNvSpPr>
            <a:spLocks/>
          </p:cNvSpPr>
          <p:nvPr userDrawn="1"/>
        </p:nvSpPr>
        <p:spPr bwMode="auto">
          <a:xfrm>
            <a:off x="1582711" y="198693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1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6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7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5 w 154"/>
              <a:gd name="T39" fmla="*/ 47 h 154"/>
              <a:gd name="T40" fmla="*/ 12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2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3" y="23"/>
                </a:lnTo>
                <a:lnTo>
                  <a:pt x="27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1" name="Freeform 2999">
            <a:extLst>
              <a:ext uri="{FF2B5EF4-FFF2-40B4-BE49-F238E27FC236}">
                <a16:creationId xmlns:a16="http://schemas.microsoft.com/office/drawing/2014/main" id="{858C14C8-A288-4750-A759-3DE97DB0651A}"/>
              </a:ext>
            </a:extLst>
          </p:cNvPr>
          <p:cNvSpPr>
            <a:spLocks/>
          </p:cNvSpPr>
          <p:nvPr userDrawn="1"/>
        </p:nvSpPr>
        <p:spPr bwMode="auto">
          <a:xfrm>
            <a:off x="1629950" y="198693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2" name="Freeform 3000">
            <a:extLst>
              <a:ext uri="{FF2B5EF4-FFF2-40B4-BE49-F238E27FC236}">
                <a16:creationId xmlns:a16="http://schemas.microsoft.com/office/drawing/2014/main" id="{EE445480-CF87-401B-B5C2-DC46AA73FA1D}"/>
              </a:ext>
            </a:extLst>
          </p:cNvPr>
          <p:cNvSpPr>
            <a:spLocks/>
          </p:cNvSpPr>
          <p:nvPr userDrawn="1"/>
        </p:nvSpPr>
        <p:spPr bwMode="auto">
          <a:xfrm>
            <a:off x="1676138" y="198693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7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8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2 h 154"/>
              <a:gd name="T38" fmla="*/ 5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99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3" name="Freeform 3001">
            <a:extLst>
              <a:ext uri="{FF2B5EF4-FFF2-40B4-BE49-F238E27FC236}">
                <a16:creationId xmlns:a16="http://schemas.microsoft.com/office/drawing/2014/main" id="{51CD3D47-330F-4D75-8E95-68E86CF5CCEA}"/>
              </a:ext>
            </a:extLst>
          </p:cNvPr>
          <p:cNvSpPr>
            <a:spLocks/>
          </p:cNvSpPr>
          <p:nvPr userDrawn="1"/>
        </p:nvSpPr>
        <p:spPr bwMode="auto">
          <a:xfrm>
            <a:off x="1722327" y="1986935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7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4" name="Freeform 3002">
            <a:extLst>
              <a:ext uri="{FF2B5EF4-FFF2-40B4-BE49-F238E27FC236}">
                <a16:creationId xmlns:a16="http://schemas.microsoft.com/office/drawing/2014/main" id="{0B850CDD-3DF8-4BE7-B34F-0D97961C2D14}"/>
              </a:ext>
            </a:extLst>
          </p:cNvPr>
          <p:cNvSpPr>
            <a:spLocks/>
          </p:cNvSpPr>
          <p:nvPr userDrawn="1"/>
        </p:nvSpPr>
        <p:spPr bwMode="auto">
          <a:xfrm>
            <a:off x="1396909" y="198693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19 w 153"/>
              <a:gd name="T11" fmla="*/ 141 h 154"/>
              <a:gd name="T12" fmla="*/ 107 w 153"/>
              <a:gd name="T13" fmla="*/ 147 h 154"/>
              <a:gd name="T14" fmla="*/ 92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5 h 154"/>
              <a:gd name="T24" fmla="*/ 28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4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6 w 153"/>
              <a:gd name="T39" fmla="*/ 47 h 154"/>
              <a:gd name="T40" fmla="*/ 13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100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5" name="Freeform 3003">
            <a:extLst>
              <a:ext uri="{FF2B5EF4-FFF2-40B4-BE49-F238E27FC236}">
                <a16:creationId xmlns:a16="http://schemas.microsoft.com/office/drawing/2014/main" id="{DB7CA690-3F14-4C3D-84D5-836721D00EE8}"/>
              </a:ext>
            </a:extLst>
          </p:cNvPr>
          <p:cNvSpPr>
            <a:spLocks/>
          </p:cNvSpPr>
          <p:nvPr userDrawn="1"/>
        </p:nvSpPr>
        <p:spPr bwMode="auto">
          <a:xfrm>
            <a:off x="1443097" y="1986935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2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3 h 154"/>
              <a:gd name="T44" fmla="*/ 33 w 153"/>
              <a:gd name="T45" fmla="*/ 14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70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3"/>
                </a:lnTo>
                <a:lnTo>
                  <a:pt x="27" y="17"/>
                </a:lnTo>
                <a:lnTo>
                  <a:pt x="33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70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6" name="Freeform 3004">
            <a:extLst>
              <a:ext uri="{FF2B5EF4-FFF2-40B4-BE49-F238E27FC236}">
                <a16:creationId xmlns:a16="http://schemas.microsoft.com/office/drawing/2014/main" id="{D4129340-DA98-4153-835E-4CA54C2ADBF2}"/>
              </a:ext>
            </a:extLst>
          </p:cNvPr>
          <p:cNvSpPr>
            <a:spLocks/>
          </p:cNvSpPr>
          <p:nvPr userDrawn="1"/>
        </p:nvSpPr>
        <p:spPr bwMode="auto">
          <a:xfrm>
            <a:off x="1489285" y="1986935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2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11 w 155"/>
              <a:gd name="T29" fmla="*/ 113 h 154"/>
              <a:gd name="T30" fmla="*/ 4 w 155"/>
              <a:gd name="T31" fmla="*/ 99 h 154"/>
              <a:gd name="T32" fmla="*/ 2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2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4"/>
                </a:lnTo>
                <a:lnTo>
                  <a:pt x="127" y="17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7" name="Freeform 3005">
            <a:extLst>
              <a:ext uri="{FF2B5EF4-FFF2-40B4-BE49-F238E27FC236}">
                <a16:creationId xmlns:a16="http://schemas.microsoft.com/office/drawing/2014/main" id="{DA757952-D581-4DC9-856C-469695BDD3F7}"/>
              </a:ext>
            </a:extLst>
          </p:cNvPr>
          <p:cNvSpPr>
            <a:spLocks/>
          </p:cNvSpPr>
          <p:nvPr userDrawn="1"/>
        </p:nvSpPr>
        <p:spPr bwMode="auto">
          <a:xfrm>
            <a:off x="1305582" y="1986935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6 w 154"/>
              <a:gd name="T17" fmla="*/ 154 h 154"/>
              <a:gd name="T18" fmla="*/ 69 w 154"/>
              <a:gd name="T19" fmla="*/ 153 h 154"/>
              <a:gd name="T20" fmla="*/ 53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7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6 h 154"/>
              <a:gd name="T48" fmla="*/ 61 w 154"/>
              <a:gd name="T49" fmla="*/ 1 h 154"/>
              <a:gd name="T50" fmla="*/ 76 w 154"/>
              <a:gd name="T51" fmla="*/ 0 h 154"/>
              <a:gd name="T52" fmla="*/ 84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5 w 154"/>
              <a:gd name="T63" fmla="*/ 40 h 154"/>
              <a:gd name="T64" fmla="*/ 151 w 154"/>
              <a:gd name="T65" fmla="*/ 54 h 154"/>
              <a:gd name="T66" fmla="*/ 153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5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9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3" y="34"/>
                </a:lnTo>
                <a:lnTo>
                  <a:pt x="18" y="28"/>
                </a:lnTo>
                <a:lnTo>
                  <a:pt x="23" y="23"/>
                </a:lnTo>
                <a:lnTo>
                  <a:pt x="28" y="17"/>
                </a:lnTo>
                <a:lnTo>
                  <a:pt x="34" y="14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9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4"/>
                </a:lnTo>
                <a:lnTo>
                  <a:pt x="126" y="17"/>
                </a:lnTo>
                <a:lnTo>
                  <a:pt x="131" y="23"/>
                </a:lnTo>
                <a:lnTo>
                  <a:pt x="136" y="28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8" name="Freeform 3006">
            <a:extLst>
              <a:ext uri="{FF2B5EF4-FFF2-40B4-BE49-F238E27FC236}">
                <a16:creationId xmlns:a16="http://schemas.microsoft.com/office/drawing/2014/main" id="{B75DF8E0-604C-4887-BC58-6D272CE8494E}"/>
              </a:ext>
            </a:extLst>
          </p:cNvPr>
          <p:cNvSpPr>
            <a:spLocks/>
          </p:cNvSpPr>
          <p:nvPr userDrawn="1"/>
        </p:nvSpPr>
        <p:spPr bwMode="auto">
          <a:xfrm>
            <a:off x="1350721" y="1986935"/>
            <a:ext cx="34350" cy="34350"/>
          </a:xfrm>
          <a:custGeom>
            <a:avLst/>
            <a:gdLst>
              <a:gd name="T0" fmla="*/ 155 w 155"/>
              <a:gd name="T1" fmla="*/ 76 h 154"/>
              <a:gd name="T2" fmla="*/ 154 w 155"/>
              <a:gd name="T3" fmla="*/ 92 h 154"/>
              <a:gd name="T4" fmla="*/ 149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9 w 155"/>
              <a:gd name="T27" fmla="*/ 126 h 154"/>
              <a:gd name="T28" fmla="*/ 9 w 155"/>
              <a:gd name="T29" fmla="*/ 113 h 154"/>
              <a:gd name="T30" fmla="*/ 4 w 155"/>
              <a:gd name="T31" fmla="*/ 99 h 154"/>
              <a:gd name="T32" fmla="*/ 1 w 155"/>
              <a:gd name="T33" fmla="*/ 84 h 154"/>
              <a:gd name="T34" fmla="*/ 0 w 155"/>
              <a:gd name="T35" fmla="*/ 76 h 154"/>
              <a:gd name="T36" fmla="*/ 3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8 w 155"/>
              <a:gd name="T61" fmla="*/ 28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70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5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8"/>
                </a:lnTo>
                <a:lnTo>
                  <a:pt x="23" y="23"/>
                </a:lnTo>
                <a:lnTo>
                  <a:pt x="29" y="17"/>
                </a:lnTo>
                <a:lnTo>
                  <a:pt x="35" y="14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4"/>
                </a:lnTo>
                <a:lnTo>
                  <a:pt x="126" y="17"/>
                </a:lnTo>
                <a:lnTo>
                  <a:pt x="132" y="23"/>
                </a:lnTo>
                <a:lnTo>
                  <a:pt x="138" y="28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70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9" name="Freeform 3007">
            <a:extLst>
              <a:ext uri="{FF2B5EF4-FFF2-40B4-BE49-F238E27FC236}">
                <a16:creationId xmlns:a16="http://schemas.microsoft.com/office/drawing/2014/main" id="{6CBA740D-FA2D-4227-8D3D-78E78D7F8861}"/>
              </a:ext>
            </a:extLst>
          </p:cNvPr>
          <p:cNvSpPr>
            <a:spLocks/>
          </p:cNvSpPr>
          <p:nvPr userDrawn="1"/>
        </p:nvSpPr>
        <p:spPr bwMode="auto">
          <a:xfrm>
            <a:off x="1768516" y="194074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2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0" name="Freeform 3008">
            <a:extLst>
              <a:ext uri="{FF2B5EF4-FFF2-40B4-BE49-F238E27FC236}">
                <a16:creationId xmlns:a16="http://schemas.microsoft.com/office/drawing/2014/main" id="{5941E4FE-3BB6-4029-9CE3-2C2C2839B610}"/>
              </a:ext>
            </a:extLst>
          </p:cNvPr>
          <p:cNvSpPr>
            <a:spLocks/>
          </p:cNvSpPr>
          <p:nvPr userDrawn="1"/>
        </p:nvSpPr>
        <p:spPr bwMode="auto">
          <a:xfrm>
            <a:off x="1813653" y="194074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2 w 154"/>
              <a:gd name="T43" fmla="*/ 23 h 153"/>
              <a:gd name="T44" fmla="*/ 34 w 154"/>
              <a:gd name="T45" fmla="*/ 12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1" name="Freeform 3009">
            <a:extLst>
              <a:ext uri="{FF2B5EF4-FFF2-40B4-BE49-F238E27FC236}">
                <a16:creationId xmlns:a16="http://schemas.microsoft.com/office/drawing/2014/main" id="{2D365EEB-F454-421C-9A5E-A01388651C20}"/>
              </a:ext>
            </a:extLst>
          </p:cNvPr>
          <p:cNvSpPr>
            <a:spLocks/>
          </p:cNvSpPr>
          <p:nvPr userDrawn="1"/>
        </p:nvSpPr>
        <p:spPr bwMode="auto">
          <a:xfrm>
            <a:off x="1768516" y="189560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3 h 153"/>
              <a:gd name="T4" fmla="*/ 149 w 154"/>
              <a:gd name="T5" fmla="*/ 106 h 153"/>
              <a:gd name="T6" fmla="*/ 142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8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6 h 153"/>
              <a:gd name="T36" fmla="*/ 2 w 154"/>
              <a:gd name="T37" fmla="*/ 60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2" name="Freeform 3010">
            <a:extLst>
              <a:ext uri="{FF2B5EF4-FFF2-40B4-BE49-F238E27FC236}">
                <a16:creationId xmlns:a16="http://schemas.microsoft.com/office/drawing/2014/main" id="{6187CD85-F7D4-4C57-8A64-D40E41A93931}"/>
              </a:ext>
            </a:extLst>
          </p:cNvPr>
          <p:cNvSpPr>
            <a:spLocks/>
          </p:cNvSpPr>
          <p:nvPr userDrawn="1"/>
        </p:nvSpPr>
        <p:spPr bwMode="auto">
          <a:xfrm>
            <a:off x="1813653" y="1895608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6 h 153"/>
              <a:gd name="T36" fmla="*/ 2 w 154"/>
              <a:gd name="T37" fmla="*/ 60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1" y="131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0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0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3" name="Freeform 3011">
            <a:extLst>
              <a:ext uri="{FF2B5EF4-FFF2-40B4-BE49-F238E27FC236}">
                <a16:creationId xmlns:a16="http://schemas.microsoft.com/office/drawing/2014/main" id="{090FD52B-4231-4D4A-90FC-B62DE3739105}"/>
              </a:ext>
            </a:extLst>
          </p:cNvPr>
          <p:cNvSpPr>
            <a:spLocks/>
          </p:cNvSpPr>
          <p:nvPr userDrawn="1"/>
        </p:nvSpPr>
        <p:spPr bwMode="auto">
          <a:xfrm>
            <a:off x="1859843" y="194074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4" name="Freeform 3012">
            <a:extLst>
              <a:ext uri="{FF2B5EF4-FFF2-40B4-BE49-F238E27FC236}">
                <a16:creationId xmlns:a16="http://schemas.microsoft.com/office/drawing/2014/main" id="{17075CF4-47F6-4BA7-BA87-9A25D6E84C36}"/>
              </a:ext>
            </a:extLst>
          </p:cNvPr>
          <p:cNvSpPr>
            <a:spLocks/>
          </p:cNvSpPr>
          <p:nvPr userDrawn="1"/>
        </p:nvSpPr>
        <p:spPr bwMode="auto">
          <a:xfrm>
            <a:off x="1907080" y="194074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0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1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6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5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49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0" y="131"/>
                </a:lnTo>
                <a:lnTo>
                  <a:pt x="125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1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6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6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5" y="17"/>
                </a:lnTo>
                <a:lnTo>
                  <a:pt x="130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49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5" name="Freeform 3013">
            <a:extLst>
              <a:ext uri="{FF2B5EF4-FFF2-40B4-BE49-F238E27FC236}">
                <a16:creationId xmlns:a16="http://schemas.microsoft.com/office/drawing/2014/main" id="{436D9C60-8DE7-46FC-BDDA-CF64F705DA78}"/>
              </a:ext>
            </a:extLst>
          </p:cNvPr>
          <p:cNvSpPr>
            <a:spLocks/>
          </p:cNvSpPr>
          <p:nvPr userDrawn="1"/>
        </p:nvSpPr>
        <p:spPr bwMode="auto">
          <a:xfrm>
            <a:off x="1537573" y="194074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6" name="Freeform 3014">
            <a:extLst>
              <a:ext uri="{FF2B5EF4-FFF2-40B4-BE49-F238E27FC236}">
                <a16:creationId xmlns:a16="http://schemas.microsoft.com/office/drawing/2014/main" id="{0D9DCC02-767D-459E-AAC8-608C7842FFF1}"/>
              </a:ext>
            </a:extLst>
          </p:cNvPr>
          <p:cNvSpPr>
            <a:spLocks/>
          </p:cNvSpPr>
          <p:nvPr userDrawn="1"/>
        </p:nvSpPr>
        <p:spPr bwMode="auto">
          <a:xfrm>
            <a:off x="1582711" y="194074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5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7" name="Freeform 3015">
            <a:extLst>
              <a:ext uri="{FF2B5EF4-FFF2-40B4-BE49-F238E27FC236}">
                <a16:creationId xmlns:a16="http://schemas.microsoft.com/office/drawing/2014/main" id="{41A72A15-1261-4CC0-8553-A0D3A20729F1}"/>
              </a:ext>
            </a:extLst>
          </p:cNvPr>
          <p:cNvSpPr>
            <a:spLocks/>
          </p:cNvSpPr>
          <p:nvPr userDrawn="1"/>
        </p:nvSpPr>
        <p:spPr bwMode="auto">
          <a:xfrm>
            <a:off x="1629950" y="194074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8" name="Freeform 3016">
            <a:extLst>
              <a:ext uri="{FF2B5EF4-FFF2-40B4-BE49-F238E27FC236}">
                <a16:creationId xmlns:a16="http://schemas.microsoft.com/office/drawing/2014/main" id="{B79258D0-6A9A-4E1B-8947-2CF814DFA922}"/>
              </a:ext>
            </a:extLst>
          </p:cNvPr>
          <p:cNvSpPr>
            <a:spLocks/>
          </p:cNvSpPr>
          <p:nvPr userDrawn="1"/>
        </p:nvSpPr>
        <p:spPr bwMode="auto">
          <a:xfrm>
            <a:off x="1676138" y="1940747"/>
            <a:ext cx="34350" cy="34350"/>
          </a:xfrm>
          <a:custGeom>
            <a:avLst/>
            <a:gdLst>
              <a:gd name="T0" fmla="*/ 154 w 154"/>
              <a:gd name="T1" fmla="*/ 76 h 153"/>
              <a:gd name="T2" fmla="*/ 152 w 154"/>
              <a:gd name="T3" fmla="*/ 92 h 153"/>
              <a:gd name="T4" fmla="*/ 147 w 154"/>
              <a:gd name="T5" fmla="*/ 106 h 153"/>
              <a:gd name="T6" fmla="*/ 140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4 h 153"/>
              <a:gd name="T34" fmla="*/ 0 w 154"/>
              <a:gd name="T35" fmla="*/ 76 h 153"/>
              <a:gd name="T36" fmla="*/ 1 w 154"/>
              <a:gd name="T37" fmla="*/ 62 h 153"/>
              <a:gd name="T38" fmla="*/ 5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3" y="84"/>
                </a:lnTo>
                <a:lnTo>
                  <a:pt x="152" y="92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9" name="Freeform 3017">
            <a:extLst>
              <a:ext uri="{FF2B5EF4-FFF2-40B4-BE49-F238E27FC236}">
                <a16:creationId xmlns:a16="http://schemas.microsoft.com/office/drawing/2014/main" id="{A9AAD6ED-594F-40A3-BD74-B196D11BA35C}"/>
              </a:ext>
            </a:extLst>
          </p:cNvPr>
          <p:cNvSpPr>
            <a:spLocks/>
          </p:cNvSpPr>
          <p:nvPr userDrawn="1"/>
        </p:nvSpPr>
        <p:spPr bwMode="auto">
          <a:xfrm>
            <a:off x="1722327" y="194074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2 w 155"/>
              <a:gd name="T3" fmla="*/ 92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0 w 155"/>
              <a:gd name="T33" fmla="*/ 84 h 153"/>
              <a:gd name="T34" fmla="*/ 0 w 155"/>
              <a:gd name="T35" fmla="*/ 76 h 153"/>
              <a:gd name="T36" fmla="*/ 1 w 155"/>
              <a:gd name="T37" fmla="*/ 62 h 153"/>
              <a:gd name="T38" fmla="*/ 6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2"/>
                </a:lnTo>
                <a:lnTo>
                  <a:pt x="154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0" name="Freeform 3018">
            <a:extLst>
              <a:ext uri="{FF2B5EF4-FFF2-40B4-BE49-F238E27FC236}">
                <a16:creationId xmlns:a16="http://schemas.microsoft.com/office/drawing/2014/main" id="{F6B7ED48-3D57-49A6-99E9-1299FEE36B58}"/>
              </a:ext>
            </a:extLst>
          </p:cNvPr>
          <p:cNvSpPr>
            <a:spLocks/>
          </p:cNvSpPr>
          <p:nvPr userDrawn="1"/>
        </p:nvSpPr>
        <p:spPr bwMode="auto">
          <a:xfrm>
            <a:off x="1396909" y="194074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1" name="Freeform 3020">
            <a:extLst>
              <a:ext uri="{FF2B5EF4-FFF2-40B4-BE49-F238E27FC236}">
                <a16:creationId xmlns:a16="http://schemas.microsoft.com/office/drawing/2014/main" id="{63145042-4303-4AA7-98C0-FAC652C30DA6}"/>
              </a:ext>
            </a:extLst>
          </p:cNvPr>
          <p:cNvSpPr>
            <a:spLocks/>
          </p:cNvSpPr>
          <p:nvPr userDrawn="1"/>
        </p:nvSpPr>
        <p:spPr bwMode="auto">
          <a:xfrm>
            <a:off x="1443097" y="1940747"/>
            <a:ext cx="34350" cy="34350"/>
          </a:xfrm>
          <a:custGeom>
            <a:avLst/>
            <a:gdLst>
              <a:gd name="T0" fmla="*/ 153 w 153"/>
              <a:gd name="T1" fmla="*/ 76 h 153"/>
              <a:gd name="T2" fmla="*/ 152 w 153"/>
              <a:gd name="T3" fmla="*/ 92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4 h 153"/>
              <a:gd name="T34" fmla="*/ 0 w 153"/>
              <a:gd name="T35" fmla="*/ 76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2" name="Freeform 3021">
            <a:extLst>
              <a:ext uri="{FF2B5EF4-FFF2-40B4-BE49-F238E27FC236}">
                <a16:creationId xmlns:a16="http://schemas.microsoft.com/office/drawing/2014/main" id="{23B5DDCE-0FD2-422B-9EF9-864E7A5328A3}"/>
              </a:ext>
            </a:extLst>
          </p:cNvPr>
          <p:cNvSpPr>
            <a:spLocks/>
          </p:cNvSpPr>
          <p:nvPr userDrawn="1"/>
        </p:nvSpPr>
        <p:spPr bwMode="auto">
          <a:xfrm>
            <a:off x="1489285" y="194074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4 h 153"/>
              <a:gd name="T34" fmla="*/ 0 w 155"/>
              <a:gd name="T35" fmla="*/ 76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2" y="84"/>
                </a:lnTo>
                <a:lnTo>
                  <a:pt x="0" y="76"/>
                </a:lnTo>
                <a:lnTo>
                  <a:pt x="0" y="76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3" name="Freeform 3022">
            <a:extLst>
              <a:ext uri="{FF2B5EF4-FFF2-40B4-BE49-F238E27FC236}">
                <a16:creationId xmlns:a16="http://schemas.microsoft.com/office/drawing/2014/main" id="{CDB3091E-7776-43C4-9015-6E8280021223}"/>
              </a:ext>
            </a:extLst>
          </p:cNvPr>
          <p:cNvSpPr>
            <a:spLocks/>
          </p:cNvSpPr>
          <p:nvPr userDrawn="1"/>
        </p:nvSpPr>
        <p:spPr bwMode="auto">
          <a:xfrm>
            <a:off x="1350721" y="1940747"/>
            <a:ext cx="34350" cy="34350"/>
          </a:xfrm>
          <a:custGeom>
            <a:avLst/>
            <a:gdLst>
              <a:gd name="T0" fmla="*/ 155 w 155"/>
              <a:gd name="T1" fmla="*/ 76 h 153"/>
              <a:gd name="T2" fmla="*/ 154 w 155"/>
              <a:gd name="T3" fmla="*/ 92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4 h 153"/>
              <a:gd name="T34" fmla="*/ 0 w 155"/>
              <a:gd name="T35" fmla="*/ 76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6"/>
                </a:moveTo>
                <a:lnTo>
                  <a:pt x="155" y="76"/>
                </a:lnTo>
                <a:lnTo>
                  <a:pt x="155" y="84"/>
                </a:lnTo>
                <a:lnTo>
                  <a:pt x="154" y="92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8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4" name="Freeform 3023">
            <a:extLst>
              <a:ext uri="{FF2B5EF4-FFF2-40B4-BE49-F238E27FC236}">
                <a16:creationId xmlns:a16="http://schemas.microsoft.com/office/drawing/2014/main" id="{08B55E38-A5D4-47BC-AF75-161337EC9D2F}"/>
              </a:ext>
            </a:extLst>
          </p:cNvPr>
          <p:cNvSpPr>
            <a:spLocks/>
          </p:cNvSpPr>
          <p:nvPr userDrawn="1"/>
        </p:nvSpPr>
        <p:spPr bwMode="auto">
          <a:xfrm>
            <a:off x="1537573" y="189560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7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5" name="Freeform 3024">
            <a:extLst>
              <a:ext uri="{FF2B5EF4-FFF2-40B4-BE49-F238E27FC236}">
                <a16:creationId xmlns:a16="http://schemas.microsoft.com/office/drawing/2014/main" id="{97B7CC34-D2AB-461B-93F9-F6D3828372FB}"/>
              </a:ext>
            </a:extLst>
          </p:cNvPr>
          <p:cNvSpPr>
            <a:spLocks/>
          </p:cNvSpPr>
          <p:nvPr userDrawn="1"/>
        </p:nvSpPr>
        <p:spPr bwMode="auto">
          <a:xfrm>
            <a:off x="1582711" y="189560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1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6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2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3" y="22"/>
                </a:lnTo>
                <a:lnTo>
                  <a:pt x="27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6" name="Freeform 3025">
            <a:extLst>
              <a:ext uri="{FF2B5EF4-FFF2-40B4-BE49-F238E27FC236}">
                <a16:creationId xmlns:a16="http://schemas.microsoft.com/office/drawing/2014/main" id="{7B7D30F4-7774-4D47-967E-7675A5E9F5A7}"/>
              </a:ext>
            </a:extLst>
          </p:cNvPr>
          <p:cNvSpPr>
            <a:spLocks/>
          </p:cNvSpPr>
          <p:nvPr userDrawn="1"/>
        </p:nvSpPr>
        <p:spPr bwMode="auto">
          <a:xfrm>
            <a:off x="1629950" y="189560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7" name="Freeform 3026">
            <a:extLst>
              <a:ext uri="{FF2B5EF4-FFF2-40B4-BE49-F238E27FC236}">
                <a16:creationId xmlns:a16="http://schemas.microsoft.com/office/drawing/2014/main" id="{CD28CE76-A366-4EB7-AACB-A6568988DDEA}"/>
              </a:ext>
            </a:extLst>
          </p:cNvPr>
          <p:cNvSpPr>
            <a:spLocks/>
          </p:cNvSpPr>
          <p:nvPr userDrawn="1"/>
        </p:nvSpPr>
        <p:spPr bwMode="auto">
          <a:xfrm>
            <a:off x="1676138" y="189560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7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3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1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4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8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1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1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7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8" name="Freeform 3027">
            <a:extLst>
              <a:ext uri="{FF2B5EF4-FFF2-40B4-BE49-F238E27FC236}">
                <a16:creationId xmlns:a16="http://schemas.microsoft.com/office/drawing/2014/main" id="{2F684DBE-BD30-4D19-B4BA-A61754EF2AC8}"/>
              </a:ext>
            </a:extLst>
          </p:cNvPr>
          <p:cNvSpPr>
            <a:spLocks/>
          </p:cNvSpPr>
          <p:nvPr userDrawn="1"/>
        </p:nvSpPr>
        <p:spPr bwMode="auto">
          <a:xfrm>
            <a:off x="1722327" y="189560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4 h 153"/>
              <a:gd name="T56" fmla="*/ 114 w 155"/>
              <a:gd name="T57" fmla="*/ 9 h 153"/>
              <a:gd name="T58" fmla="*/ 126 w 155"/>
              <a:gd name="T59" fmla="*/ 17 h 153"/>
              <a:gd name="T60" fmla="*/ 136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7"/>
                </a:lnTo>
                <a:lnTo>
                  <a:pt x="146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4"/>
                </a:lnTo>
                <a:lnTo>
                  <a:pt x="108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9" name="Freeform 3028">
            <a:extLst>
              <a:ext uri="{FF2B5EF4-FFF2-40B4-BE49-F238E27FC236}">
                <a16:creationId xmlns:a16="http://schemas.microsoft.com/office/drawing/2014/main" id="{31858200-8247-446D-8B40-B0F7D0A522DA}"/>
              </a:ext>
            </a:extLst>
          </p:cNvPr>
          <p:cNvSpPr>
            <a:spLocks/>
          </p:cNvSpPr>
          <p:nvPr userDrawn="1"/>
        </p:nvSpPr>
        <p:spPr bwMode="auto">
          <a:xfrm>
            <a:off x="1676138" y="1849420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0 w 154"/>
              <a:gd name="T7" fmla="*/ 120 h 155"/>
              <a:gd name="T8" fmla="*/ 131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2 w 154"/>
              <a:gd name="T15" fmla="*/ 152 h 155"/>
              <a:gd name="T16" fmla="*/ 76 w 154"/>
              <a:gd name="T17" fmla="*/ 155 h 155"/>
              <a:gd name="T18" fmla="*/ 68 w 154"/>
              <a:gd name="T19" fmla="*/ 153 h 155"/>
              <a:gd name="T20" fmla="*/ 53 w 154"/>
              <a:gd name="T21" fmla="*/ 151 h 155"/>
              <a:gd name="T22" fmla="*/ 40 w 154"/>
              <a:gd name="T23" fmla="*/ 145 h 155"/>
              <a:gd name="T24" fmla="*/ 28 w 154"/>
              <a:gd name="T25" fmla="*/ 136 h 155"/>
              <a:gd name="T26" fmla="*/ 17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7 h 155"/>
              <a:gd name="T40" fmla="*/ 13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1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9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0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5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5"/>
                </a:lnTo>
                <a:lnTo>
                  <a:pt x="107" y="149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5"/>
                </a:lnTo>
                <a:lnTo>
                  <a:pt x="76" y="155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7"/>
                </a:lnTo>
                <a:lnTo>
                  <a:pt x="9" y="40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4" y="14"/>
                </a:lnTo>
                <a:lnTo>
                  <a:pt x="40" y="9"/>
                </a:lnTo>
                <a:lnTo>
                  <a:pt x="47" y="7"/>
                </a:lnTo>
                <a:lnTo>
                  <a:pt x="53" y="4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7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0" name="Freeform 3029">
            <a:extLst>
              <a:ext uri="{FF2B5EF4-FFF2-40B4-BE49-F238E27FC236}">
                <a16:creationId xmlns:a16="http://schemas.microsoft.com/office/drawing/2014/main" id="{CBA07349-A903-4C72-A233-26183733546B}"/>
              </a:ext>
            </a:extLst>
          </p:cNvPr>
          <p:cNvSpPr>
            <a:spLocks/>
          </p:cNvSpPr>
          <p:nvPr userDrawn="1"/>
        </p:nvSpPr>
        <p:spPr bwMode="auto">
          <a:xfrm>
            <a:off x="1722327" y="1849420"/>
            <a:ext cx="34350" cy="34350"/>
          </a:xfrm>
          <a:custGeom>
            <a:avLst/>
            <a:gdLst>
              <a:gd name="T0" fmla="*/ 155 w 155"/>
              <a:gd name="T1" fmla="*/ 78 h 155"/>
              <a:gd name="T2" fmla="*/ 152 w 155"/>
              <a:gd name="T3" fmla="*/ 93 h 155"/>
              <a:gd name="T4" fmla="*/ 148 w 155"/>
              <a:gd name="T5" fmla="*/ 108 h 155"/>
              <a:gd name="T6" fmla="*/ 141 w 155"/>
              <a:gd name="T7" fmla="*/ 120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2 h 155"/>
              <a:gd name="T16" fmla="*/ 77 w 155"/>
              <a:gd name="T17" fmla="*/ 155 h 155"/>
              <a:gd name="T18" fmla="*/ 70 w 155"/>
              <a:gd name="T19" fmla="*/ 153 h 155"/>
              <a:gd name="T20" fmla="*/ 54 w 155"/>
              <a:gd name="T21" fmla="*/ 151 h 155"/>
              <a:gd name="T22" fmla="*/ 40 w 155"/>
              <a:gd name="T23" fmla="*/ 145 h 155"/>
              <a:gd name="T24" fmla="*/ 29 w 155"/>
              <a:gd name="T25" fmla="*/ 136 h 155"/>
              <a:gd name="T26" fmla="*/ 19 w 155"/>
              <a:gd name="T27" fmla="*/ 126 h 155"/>
              <a:gd name="T28" fmla="*/ 9 w 155"/>
              <a:gd name="T29" fmla="*/ 115 h 155"/>
              <a:gd name="T30" fmla="*/ 4 w 155"/>
              <a:gd name="T31" fmla="*/ 101 h 155"/>
              <a:gd name="T32" fmla="*/ 0 w 155"/>
              <a:gd name="T33" fmla="*/ 85 h 155"/>
              <a:gd name="T34" fmla="*/ 0 w 155"/>
              <a:gd name="T35" fmla="*/ 78 h 155"/>
              <a:gd name="T36" fmla="*/ 1 w 155"/>
              <a:gd name="T37" fmla="*/ 62 h 155"/>
              <a:gd name="T38" fmla="*/ 6 w 155"/>
              <a:gd name="T39" fmla="*/ 47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7 w 155"/>
              <a:gd name="T47" fmla="*/ 7 h 155"/>
              <a:gd name="T48" fmla="*/ 62 w 155"/>
              <a:gd name="T49" fmla="*/ 2 h 155"/>
              <a:gd name="T50" fmla="*/ 77 w 155"/>
              <a:gd name="T51" fmla="*/ 0 h 155"/>
              <a:gd name="T52" fmla="*/ 85 w 155"/>
              <a:gd name="T53" fmla="*/ 1 h 155"/>
              <a:gd name="T54" fmla="*/ 100 w 155"/>
              <a:gd name="T55" fmla="*/ 4 h 155"/>
              <a:gd name="T56" fmla="*/ 114 w 155"/>
              <a:gd name="T57" fmla="*/ 9 h 155"/>
              <a:gd name="T58" fmla="*/ 126 w 155"/>
              <a:gd name="T59" fmla="*/ 18 h 155"/>
              <a:gd name="T60" fmla="*/ 136 w 155"/>
              <a:gd name="T61" fmla="*/ 29 h 155"/>
              <a:gd name="T62" fmla="*/ 146 w 155"/>
              <a:gd name="T63" fmla="*/ 40 h 155"/>
              <a:gd name="T64" fmla="*/ 151 w 155"/>
              <a:gd name="T65" fmla="*/ 55 h 155"/>
              <a:gd name="T66" fmla="*/ 154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4" y="85"/>
                </a:lnTo>
                <a:lnTo>
                  <a:pt x="152" y="93"/>
                </a:lnTo>
                <a:lnTo>
                  <a:pt x="151" y="101"/>
                </a:lnTo>
                <a:lnTo>
                  <a:pt x="148" y="108"/>
                </a:lnTo>
                <a:lnTo>
                  <a:pt x="146" y="115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5"/>
                </a:lnTo>
                <a:lnTo>
                  <a:pt x="77" y="155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7"/>
                </a:lnTo>
                <a:lnTo>
                  <a:pt x="9" y="40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8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5"/>
                </a:lnTo>
                <a:lnTo>
                  <a:pt x="152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1" name="Freeform 3030">
            <a:extLst>
              <a:ext uri="{FF2B5EF4-FFF2-40B4-BE49-F238E27FC236}">
                <a16:creationId xmlns:a16="http://schemas.microsoft.com/office/drawing/2014/main" id="{E7DA9440-8A80-4A14-80F0-EBDE85F1DF46}"/>
              </a:ext>
            </a:extLst>
          </p:cNvPr>
          <p:cNvSpPr>
            <a:spLocks/>
          </p:cNvSpPr>
          <p:nvPr userDrawn="1"/>
        </p:nvSpPr>
        <p:spPr bwMode="auto">
          <a:xfrm>
            <a:off x="1396909" y="189560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7 h 153"/>
              <a:gd name="T6" fmla="*/ 141 w 153"/>
              <a:gd name="T7" fmla="*/ 120 h 153"/>
              <a:gd name="T8" fmla="*/ 131 w 153"/>
              <a:gd name="T9" fmla="*/ 132 h 153"/>
              <a:gd name="T10" fmla="*/ 119 w 153"/>
              <a:gd name="T11" fmla="*/ 141 h 153"/>
              <a:gd name="T12" fmla="*/ 107 w 153"/>
              <a:gd name="T13" fmla="*/ 148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3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8" y="107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7"/>
                </a:lnTo>
                <a:lnTo>
                  <a:pt x="4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8"/>
                </a:lnTo>
                <a:lnTo>
                  <a:pt x="22" y="22"/>
                </a:lnTo>
                <a:lnTo>
                  <a:pt x="28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4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4"/>
                </a:lnTo>
                <a:lnTo>
                  <a:pt x="107" y="6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2" name="Freeform 3031">
            <a:extLst>
              <a:ext uri="{FF2B5EF4-FFF2-40B4-BE49-F238E27FC236}">
                <a16:creationId xmlns:a16="http://schemas.microsoft.com/office/drawing/2014/main" id="{4DC2567E-014C-450B-99B2-35C96AA26838}"/>
              </a:ext>
            </a:extLst>
          </p:cNvPr>
          <p:cNvSpPr>
            <a:spLocks/>
          </p:cNvSpPr>
          <p:nvPr userDrawn="1"/>
        </p:nvSpPr>
        <p:spPr bwMode="auto">
          <a:xfrm>
            <a:off x="1443097" y="1895608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7 h 153"/>
              <a:gd name="T6" fmla="*/ 140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5 w 153"/>
              <a:gd name="T39" fmla="*/ 47 h 153"/>
              <a:gd name="T40" fmla="*/ 12 w 153"/>
              <a:gd name="T41" fmla="*/ 33 h 153"/>
              <a:gd name="T42" fmla="*/ 21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4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8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7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7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3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3" y="4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4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3" name="Freeform 3032">
            <a:extLst>
              <a:ext uri="{FF2B5EF4-FFF2-40B4-BE49-F238E27FC236}">
                <a16:creationId xmlns:a16="http://schemas.microsoft.com/office/drawing/2014/main" id="{503EDE49-2898-4DFF-88AA-2242029808C8}"/>
              </a:ext>
            </a:extLst>
          </p:cNvPr>
          <p:cNvSpPr>
            <a:spLocks/>
          </p:cNvSpPr>
          <p:nvPr userDrawn="1"/>
        </p:nvSpPr>
        <p:spPr bwMode="auto">
          <a:xfrm>
            <a:off x="1489285" y="189560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7 h 153"/>
              <a:gd name="T6" fmla="*/ 142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100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2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8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2" y="9"/>
                </a:lnTo>
                <a:lnTo>
                  <a:pt x="48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7" y="17"/>
                </a:lnTo>
                <a:lnTo>
                  <a:pt x="132" y="22"/>
                </a:lnTo>
                <a:lnTo>
                  <a:pt x="138" y="28"/>
                </a:lnTo>
                <a:lnTo>
                  <a:pt x="142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4" name="Freeform 3033">
            <a:extLst>
              <a:ext uri="{FF2B5EF4-FFF2-40B4-BE49-F238E27FC236}">
                <a16:creationId xmlns:a16="http://schemas.microsoft.com/office/drawing/2014/main" id="{024C34BF-A6C2-42DA-B780-018CF2618AF2}"/>
              </a:ext>
            </a:extLst>
          </p:cNvPr>
          <p:cNvSpPr>
            <a:spLocks/>
          </p:cNvSpPr>
          <p:nvPr userDrawn="1"/>
        </p:nvSpPr>
        <p:spPr bwMode="auto">
          <a:xfrm>
            <a:off x="1350721" y="189560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7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100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4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8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100"/>
                </a:lnTo>
                <a:lnTo>
                  <a:pt x="149" y="107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8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4" y="100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3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9" y="28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7" y="6"/>
                </a:lnTo>
                <a:lnTo>
                  <a:pt x="55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4"/>
                </a:lnTo>
                <a:lnTo>
                  <a:pt x="108" y="6"/>
                </a:lnTo>
                <a:lnTo>
                  <a:pt x="115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8" y="28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1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5" name="Freeform 3034">
            <a:extLst>
              <a:ext uri="{FF2B5EF4-FFF2-40B4-BE49-F238E27FC236}">
                <a16:creationId xmlns:a16="http://schemas.microsoft.com/office/drawing/2014/main" id="{E54E4D1B-4B23-4F23-8A91-F998C6486AB0}"/>
              </a:ext>
            </a:extLst>
          </p:cNvPr>
          <p:cNvSpPr>
            <a:spLocks/>
          </p:cNvSpPr>
          <p:nvPr userDrawn="1"/>
        </p:nvSpPr>
        <p:spPr bwMode="auto">
          <a:xfrm>
            <a:off x="1537573" y="1847321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6 w 154"/>
              <a:gd name="T39" fmla="*/ 47 h 153"/>
              <a:gd name="T40" fmla="*/ 13 w 154"/>
              <a:gd name="T41" fmla="*/ 34 h 153"/>
              <a:gd name="T42" fmla="*/ 23 w 154"/>
              <a:gd name="T43" fmla="*/ 23 h 153"/>
              <a:gd name="T44" fmla="*/ 35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8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4" y="68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6" name="Freeform 3035">
            <a:extLst>
              <a:ext uri="{FF2B5EF4-FFF2-40B4-BE49-F238E27FC236}">
                <a16:creationId xmlns:a16="http://schemas.microsoft.com/office/drawing/2014/main" id="{B03E4676-7658-4338-A643-69A470EFAC89}"/>
              </a:ext>
            </a:extLst>
          </p:cNvPr>
          <p:cNvSpPr>
            <a:spLocks/>
          </p:cNvSpPr>
          <p:nvPr userDrawn="1"/>
        </p:nvSpPr>
        <p:spPr bwMode="auto">
          <a:xfrm>
            <a:off x="1582711" y="1847321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3 h 153"/>
              <a:gd name="T4" fmla="*/ 147 w 154"/>
              <a:gd name="T5" fmla="*/ 106 h 153"/>
              <a:gd name="T6" fmla="*/ 141 w 154"/>
              <a:gd name="T7" fmla="*/ 120 h 153"/>
              <a:gd name="T8" fmla="*/ 131 w 154"/>
              <a:gd name="T9" fmla="*/ 131 h 153"/>
              <a:gd name="T10" fmla="*/ 120 w 154"/>
              <a:gd name="T11" fmla="*/ 141 h 153"/>
              <a:gd name="T12" fmla="*/ 106 w 154"/>
              <a:gd name="T13" fmla="*/ 147 h 153"/>
              <a:gd name="T14" fmla="*/ 92 w 154"/>
              <a:gd name="T15" fmla="*/ 152 h 153"/>
              <a:gd name="T16" fmla="*/ 76 w 154"/>
              <a:gd name="T17" fmla="*/ 153 h 153"/>
              <a:gd name="T18" fmla="*/ 68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7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2 h 153"/>
              <a:gd name="T38" fmla="*/ 5 w 154"/>
              <a:gd name="T39" fmla="*/ 47 h 153"/>
              <a:gd name="T40" fmla="*/ 12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6 w 154"/>
              <a:gd name="T51" fmla="*/ 0 h 153"/>
              <a:gd name="T52" fmla="*/ 84 w 154"/>
              <a:gd name="T53" fmla="*/ 0 h 153"/>
              <a:gd name="T54" fmla="*/ 99 w 154"/>
              <a:gd name="T55" fmla="*/ 3 h 153"/>
              <a:gd name="T56" fmla="*/ 113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1 w 154"/>
              <a:gd name="T65" fmla="*/ 54 h 153"/>
              <a:gd name="T66" fmla="*/ 153 w 154"/>
              <a:gd name="T67" fmla="*/ 68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7" y="136"/>
                </a:lnTo>
                <a:lnTo>
                  <a:pt x="23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3" y="23"/>
                </a:lnTo>
                <a:lnTo>
                  <a:pt x="27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1" y="54"/>
                </a:lnTo>
                <a:lnTo>
                  <a:pt x="152" y="62"/>
                </a:lnTo>
                <a:lnTo>
                  <a:pt x="153" y="68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7" name="Freeform 3036">
            <a:extLst>
              <a:ext uri="{FF2B5EF4-FFF2-40B4-BE49-F238E27FC236}">
                <a16:creationId xmlns:a16="http://schemas.microsoft.com/office/drawing/2014/main" id="{4D8C4FBF-BC18-4307-8E90-24CC63979407}"/>
              </a:ext>
            </a:extLst>
          </p:cNvPr>
          <p:cNvSpPr>
            <a:spLocks/>
          </p:cNvSpPr>
          <p:nvPr userDrawn="1"/>
        </p:nvSpPr>
        <p:spPr bwMode="auto">
          <a:xfrm>
            <a:off x="1629950" y="1847321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8" name="Freeform 3037">
            <a:extLst>
              <a:ext uri="{FF2B5EF4-FFF2-40B4-BE49-F238E27FC236}">
                <a16:creationId xmlns:a16="http://schemas.microsoft.com/office/drawing/2014/main" id="{87969A06-3664-4435-A072-377728A3A1A8}"/>
              </a:ext>
            </a:extLst>
          </p:cNvPr>
          <p:cNvSpPr>
            <a:spLocks/>
          </p:cNvSpPr>
          <p:nvPr userDrawn="1"/>
        </p:nvSpPr>
        <p:spPr bwMode="auto">
          <a:xfrm>
            <a:off x="1396909" y="1847321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8 w 153"/>
              <a:gd name="T5" fmla="*/ 106 h 153"/>
              <a:gd name="T6" fmla="*/ 141 w 153"/>
              <a:gd name="T7" fmla="*/ 120 h 153"/>
              <a:gd name="T8" fmla="*/ 131 w 153"/>
              <a:gd name="T9" fmla="*/ 131 h 153"/>
              <a:gd name="T10" fmla="*/ 119 w 153"/>
              <a:gd name="T11" fmla="*/ 141 h 153"/>
              <a:gd name="T12" fmla="*/ 107 w 153"/>
              <a:gd name="T13" fmla="*/ 147 h 153"/>
              <a:gd name="T14" fmla="*/ 92 w 153"/>
              <a:gd name="T15" fmla="*/ 152 h 153"/>
              <a:gd name="T16" fmla="*/ 77 w 153"/>
              <a:gd name="T17" fmla="*/ 153 h 153"/>
              <a:gd name="T18" fmla="*/ 69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8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4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6 w 153"/>
              <a:gd name="T39" fmla="*/ 47 h 153"/>
              <a:gd name="T40" fmla="*/ 13 w 153"/>
              <a:gd name="T41" fmla="*/ 34 h 153"/>
              <a:gd name="T42" fmla="*/ 22 w 153"/>
              <a:gd name="T43" fmla="*/ 23 h 153"/>
              <a:gd name="T44" fmla="*/ 33 w 153"/>
              <a:gd name="T45" fmla="*/ 12 h 153"/>
              <a:gd name="T46" fmla="*/ 47 w 153"/>
              <a:gd name="T47" fmla="*/ 6 h 153"/>
              <a:gd name="T48" fmla="*/ 61 w 153"/>
              <a:gd name="T49" fmla="*/ 1 h 153"/>
              <a:gd name="T50" fmla="*/ 77 w 153"/>
              <a:gd name="T51" fmla="*/ 0 h 153"/>
              <a:gd name="T52" fmla="*/ 85 w 153"/>
              <a:gd name="T53" fmla="*/ 0 h 153"/>
              <a:gd name="T54" fmla="*/ 100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1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7"/>
                </a:lnTo>
                <a:lnTo>
                  <a:pt x="22" y="23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9" name="Freeform 3038">
            <a:extLst>
              <a:ext uri="{FF2B5EF4-FFF2-40B4-BE49-F238E27FC236}">
                <a16:creationId xmlns:a16="http://schemas.microsoft.com/office/drawing/2014/main" id="{712F419C-81FF-42B3-A8B3-9212E42D27D4}"/>
              </a:ext>
            </a:extLst>
          </p:cNvPr>
          <p:cNvSpPr>
            <a:spLocks/>
          </p:cNvSpPr>
          <p:nvPr userDrawn="1"/>
        </p:nvSpPr>
        <p:spPr bwMode="auto">
          <a:xfrm>
            <a:off x="1443097" y="1847321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0 w 153"/>
              <a:gd name="T7" fmla="*/ 120 h 153"/>
              <a:gd name="T8" fmla="*/ 131 w 153"/>
              <a:gd name="T9" fmla="*/ 131 h 153"/>
              <a:gd name="T10" fmla="*/ 120 w 153"/>
              <a:gd name="T11" fmla="*/ 141 h 153"/>
              <a:gd name="T12" fmla="*/ 106 w 153"/>
              <a:gd name="T13" fmla="*/ 147 h 153"/>
              <a:gd name="T14" fmla="*/ 92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3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2 h 153"/>
              <a:gd name="T38" fmla="*/ 5 w 153"/>
              <a:gd name="T39" fmla="*/ 47 h 153"/>
              <a:gd name="T40" fmla="*/ 12 w 153"/>
              <a:gd name="T41" fmla="*/ 34 h 153"/>
              <a:gd name="T42" fmla="*/ 21 w 153"/>
              <a:gd name="T43" fmla="*/ 23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8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2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3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1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8"/>
                </a:lnTo>
                <a:lnTo>
                  <a:pt x="1" y="62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1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8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0" name="Freeform 3039">
            <a:extLst>
              <a:ext uri="{FF2B5EF4-FFF2-40B4-BE49-F238E27FC236}">
                <a16:creationId xmlns:a16="http://schemas.microsoft.com/office/drawing/2014/main" id="{387EABD3-0095-4331-AC30-EEB62AE3A82E}"/>
              </a:ext>
            </a:extLst>
          </p:cNvPr>
          <p:cNvSpPr>
            <a:spLocks/>
          </p:cNvSpPr>
          <p:nvPr userDrawn="1"/>
        </p:nvSpPr>
        <p:spPr bwMode="auto">
          <a:xfrm>
            <a:off x="1489285" y="1847321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1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2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11 w 155"/>
              <a:gd name="T29" fmla="*/ 113 h 153"/>
              <a:gd name="T30" fmla="*/ 4 w 155"/>
              <a:gd name="T31" fmla="*/ 99 h 153"/>
              <a:gd name="T32" fmla="*/ 2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8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2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11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2" y="85"/>
                </a:lnTo>
                <a:lnTo>
                  <a:pt x="0" y="77"/>
                </a:lnTo>
                <a:lnTo>
                  <a:pt x="0" y="77"/>
                </a:lnTo>
                <a:lnTo>
                  <a:pt x="2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11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2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7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1" name="Freeform 3040">
            <a:extLst>
              <a:ext uri="{FF2B5EF4-FFF2-40B4-BE49-F238E27FC236}">
                <a16:creationId xmlns:a16="http://schemas.microsoft.com/office/drawing/2014/main" id="{EF192D7A-909E-46B0-BBEA-5C07DC619E0E}"/>
              </a:ext>
            </a:extLst>
          </p:cNvPr>
          <p:cNvSpPr>
            <a:spLocks/>
          </p:cNvSpPr>
          <p:nvPr userDrawn="1"/>
        </p:nvSpPr>
        <p:spPr bwMode="auto">
          <a:xfrm>
            <a:off x="1537573" y="180113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8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8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4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6 w 154"/>
              <a:gd name="T39" fmla="*/ 48 h 155"/>
              <a:gd name="T40" fmla="*/ 13 w 154"/>
              <a:gd name="T41" fmla="*/ 34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7 w 154"/>
              <a:gd name="T51" fmla="*/ 0 h 155"/>
              <a:gd name="T52" fmla="*/ 85 w 154"/>
              <a:gd name="T53" fmla="*/ 1 h 155"/>
              <a:gd name="T54" fmla="*/ 100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2"/>
                </a:lnTo>
                <a:lnTo>
                  <a:pt x="28" y="137"/>
                </a:lnTo>
                <a:lnTo>
                  <a:pt x="23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3" y="23"/>
                </a:lnTo>
                <a:lnTo>
                  <a:pt x="28" y="18"/>
                </a:lnTo>
                <a:lnTo>
                  <a:pt x="35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2" name="Freeform 3041">
            <a:extLst>
              <a:ext uri="{FF2B5EF4-FFF2-40B4-BE49-F238E27FC236}">
                <a16:creationId xmlns:a16="http://schemas.microsoft.com/office/drawing/2014/main" id="{0C8F164C-97C7-42F1-9BB9-D32DB78BDBCF}"/>
              </a:ext>
            </a:extLst>
          </p:cNvPr>
          <p:cNvSpPr>
            <a:spLocks/>
          </p:cNvSpPr>
          <p:nvPr userDrawn="1"/>
        </p:nvSpPr>
        <p:spPr bwMode="auto">
          <a:xfrm>
            <a:off x="1537573" y="1754944"/>
            <a:ext cx="34350" cy="34350"/>
          </a:xfrm>
          <a:custGeom>
            <a:avLst/>
            <a:gdLst>
              <a:gd name="T0" fmla="*/ 154 w 154"/>
              <a:gd name="T1" fmla="*/ 76 h 154"/>
              <a:gd name="T2" fmla="*/ 152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5 h 154"/>
              <a:gd name="T24" fmla="*/ 28 w 154"/>
              <a:gd name="T25" fmla="*/ 136 h 154"/>
              <a:gd name="T26" fmla="*/ 17 w 154"/>
              <a:gd name="T27" fmla="*/ 125 h 154"/>
              <a:gd name="T28" fmla="*/ 9 w 154"/>
              <a:gd name="T29" fmla="*/ 114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1 w 154"/>
              <a:gd name="T37" fmla="*/ 61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3 w 154"/>
              <a:gd name="T57" fmla="*/ 9 h 154"/>
              <a:gd name="T58" fmla="*/ 126 w 154"/>
              <a:gd name="T59" fmla="*/ 17 h 154"/>
              <a:gd name="T60" fmla="*/ 136 w 154"/>
              <a:gd name="T61" fmla="*/ 28 h 154"/>
              <a:gd name="T62" fmla="*/ 144 w 154"/>
              <a:gd name="T63" fmla="*/ 40 h 154"/>
              <a:gd name="T64" fmla="*/ 150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3"/>
                </a:lnTo>
                <a:lnTo>
                  <a:pt x="152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3" name="Freeform 3042">
            <a:extLst>
              <a:ext uri="{FF2B5EF4-FFF2-40B4-BE49-F238E27FC236}">
                <a16:creationId xmlns:a16="http://schemas.microsoft.com/office/drawing/2014/main" id="{F44A6202-FEC2-499B-8DEE-2CDAE96AA910}"/>
              </a:ext>
            </a:extLst>
          </p:cNvPr>
          <p:cNvSpPr>
            <a:spLocks/>
          </p:cNvSpPr>
          <p:nvPr userDrawn="1"/>
        </p:nvSpPr>
        <p:spPr bwMode="auto">
          <a:xfrm>
            <a:off x="1582711" y="180113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2 w 154"/>
              <a:gd name="T3" fmla="*/ 93 h 155"/>
              <a:gd name="T4" fmla="*/ 147 w 154"/>
              <a:gd name="T5" fmla="*/ 108 h 155"/>
              <a:gd name="T6" fmla="*/ 141 w 154"/>
              <a:gd name="T7" fmla="*/ 120 h 155"/>
              <a:gd name="T8" fmla="*/ 131 w 154"/>
              <a:gd name="T9" fmla="*/ 132 h 155"/>
              <a:gd name="T10" fmla="*/ 120 w 154"/>
              <a:gd name="T11" fmla="*/ 142 h 155"/>
              <a:gd name="T12" fmla="*/ 106 w 154"/>
              <a:gd name="T13" fmla="*/ 149 h 155"/>
              <a:gd name="T14" fmla="*/ 92 w 154"/>
              <a:gd name="T15" fmla="*/ 153 h 155"/>
              <a:gd name="T16" fmla="*/ 76 w 154"/>
              <a:gd name="T17" fmla="*/ 155 h 155"/>
              <a:gd name="T18" fmla="*/ 68 w 154"/>
              <a:gd name="T19" fmla="*/ 155 h 155"/>
              <a:gd name="T20" fmla="*/ 54 w 154"/>
              <a:gd name="T21" fmla="*/ 151 h 155"/>
              <a:gd name="T22" fmla="*/ 40 w 154"/>
              <a:gd name="T23" fmla="*/ 145 h 155"/>
              <a:gd name="T24" fmla="*/ 27 w 154"/>
              <a:gd name="T25" fmla="*/ 137 h 155"/>
              <a:gd name="T26" fmla="*/ 17 w 154"/>
              <a:gd name="T27" fmla="*/ 127 h 155"/>
              <a:gd name="T28" fmla="*/ 9 w 154"/>
              <a:gd name="T29" fmla="*/ 115 h 155"/>
              <a:gd name="T30" fmla="*/ 3 w 154"/>
              <a:gd name="T31" fmla="*/ 101 h 155"/>
              <a:gd name="T32" fmla="*/ 0 w 154"/>
              <a:gd name="T33" fmla="*/ 86 h 155"/>
              <a:gd name="T34" fmla="*/ 0 w 154"/>
              <a:gd name="T35" fmla="*/ 78 h 155"/>
              <a:gd name="T36" fmla="*/ 1 w 154"/>
              <a:gd name="T37" fmla="*/ 62 h 155"/>
              <a:gd name="T38" fmla="*/ 5 w 154"/>
              <a:gd name="T39" fmla="*/ 48 h 155"/>
              <a:gd name="T40" fmla="*/ 12 w 154"/>
              <a:gd name="T41" fmla="*/ 34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2 h 155"/>
              <a:gd name="T50" fmla="*/ 76 w 154"/>
              <a:gd name="T51" fmla="*/ 0 h 155"/>
              <a:gd name="T52" fmla="*/ 84 w 154"/>
              <a:gd name="T53" fmla="*/ 1 h 155"/>
              <a:gd name="T54" fmla="*/ 99 w 154"/>
              <a:gd name="T55" fmla="*/ 4 h 155"/>
              <a:gd name="T56" fmla="*/ 113 w 154"/>
              <a:gd name="T57" fmla="*/ 10 h 155"/>
              <a:gd name="T58" fmla="*/ 126 w 154"/>
              <a:gd name="T59" fmla="*/ 18 h 155"/>
              <a:gd name="T60" fmla="*/ 136 w 154"/>
              <a:gd name="T61" fmla="*/ 29 h 155"/>
              <a:gd name="T62" fmla="*/ 144 w 154"/>
              <a:gd name="T63" fmla="*/ 41 h 155"/>
              <a:gd name="T64" fmla="*/ 151 w 154"/>
              <a:gd name="T65" fmla="*/ 55 h 155"/>
              <a:gd name="T66" fmla="*/ 153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3"/>
                </a:lnTo>
                <a:lnTo>
                  <a:pt x="151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4" y="142"/>
                </a:lnTo>
                <a:lnTo>
                  <a:pt x="27" y="137"/>
                </a:lnTo>
                <a:lnTo>
                  <a:pt x="23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3" y="23"/>
                </a:lnTo>
                <a:lnTo>
                  <a:pt x="27" y="18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4" name="Freeform 3043">
            <a:extLst>
              <a:ext uri="{FF2B5EF4-FFF2-40B4-BE49-F238E27FC236}">
                <a16:creationId xmlns:a16="http://schemas.microsoft.com/office/drawing/2014/main" id="{A076D528-6D88-43B5-A8AA-022C64E5E967}"/>
              </a:ext>
            </a:extLst>
          </p:cNvPr>
          <p:cNvSpPr>
            <a:spLocks/>
          </p:cNvSpPr>
          <p:nvPr userDrawn="1"/>
        </p:nvSpPr>
        <p:spPr bwMode="auto">
          <a:xfrm>
            <a:off x="1629950" y="1801132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5" name="Freeform 3044">
            <a:extLst>
              <a:ext uri="{FF2B5EF4-FFF2-40B4-BE49-F238E27FC236}">
                <a16:creationId xmlns:a16="http://schemas.microsoft.com/office/drawing/2014/main" id="{B5F417BD-D1BE-4868-902C-FCFDAE0D97DF}"/>
              </a:ext>
            </a:extLst>
          </p:cNvPr>
          <p:cNvSpPr>
            <a:spLocks/>
          </p:cNvSpPr>
          <p:nvPr userDrawn="1"/>
        </p:nvSpPr>
        <p:spPr bwMode="auto">
          <a:xfrm>
            <a:off x="1670890" y="1801132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1 w 153"/>
              <a:gd name="T7" fmla="*/ 120 h 155"/>
              <a:gd name="T8" fmla="*/ 130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1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0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1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6" name="Freeform 3045">
            <a:extLst>
              <a:ext uri="{FF2B5EF4-FFF2-40B4-BE49-F238E27FC236}">
                <a16:creationId xmlns:a16="http://schemas.microsoft.com/office/drawing/2014/main" id="{4C0955D2-3778-4338-A547-060D4A8041CB}"/>
              </a:ext>
            </a:extLst>
          </p:cNvPr>
          <p:cNvSpPr>
            <a:spLocks/>
          </p:cNvSpPr>
          <p:nvPr userDrawn="1"/>
        </p:nvSpPr>
        <p:spPr bwMode="auto">
          <a:xfrm>
            <a:off x="1396909" y="1801132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8 w 153"/>
              <a:gd name="T5" fmla="*/ 108 h 155"/>
              <a:gd name="T6" fmla="*/ 141 w 153"/>
              <a:gd name="T7" fmla="*/ 120 h 155"/>
              <a:gd name="T8" fmla="*/ 131 w 153"/>
              <a:gd name="T9" fmla="*/ 132 h 155"/>
              <a:gd name="T10" fmla="*/ 119 w 153"/>
              <a:gd name="T11" fmla="*/ 142 h 155"/>
              <a:gd name="T12" fmla="*/ 107 w 153"/>
              <a:gd name="T13" fmla="*/ 149 h 155"/>
              <a:gd name="T14" fmla="*/ 92 w 153"/>
              <a:gd name="T15" fmla="*/ 153 h 155"/>
              <a:gd name="T16" fmla="*/ 77 w 153"/>
              <a:gd name="T17" fmla="*/ 155 h 155"/>
              <a:gd name="T18" fmla="*/ 69 w 153"/>
              <a:gd name="T19" fmla="*/ 155 h 155"/>
              <a:gd name="T20" fmla="*/ 54 w 153"/>
              <a:gd name="T21" fmla="*/ 151 h 155"/>
              <a:gd name="T22" fmla="*/ 40 w 153"/>
              <a:gd name="T23" fmla="*/ 145 h 155"/>
              <a:gd name="T24" fmla="*/ 28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4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6 w 153"/>
              <a:gd name="T39" fmla="*/ 48 h 155"/>
              <a:gd name="T40" fmla="*/ 13 w 153"/>
              <a:gd name="T41" fmla="*/ 34 h 155"/>
              <a:gd name="T42" fmla="*/ 22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1 w 153"/>
              <a:gd name="T49" fmla="*/ 2 h 155"/>
              <a:gd name="T50" fmla="*/ 77 w 153"/>
              <a:gd name="T51" fmla="*/ 0 h 155"/>
              <a:gd name="T52" fmla="*/ 85 w 153"/>
              <a:gd name="T53" fmla="*/ 1 h 155"/>
              <a:gd name="T54" fmla="*/ 100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8"/>
                </a:lnTo>
                <a:lnTo>
                  <a:pt x="144" y="115"/>
                </a:lnTo>
                <a:lnTo>
                  <a:pt x="141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19" y="142"/>
                </a:lnTo>
                <a:lnTo>
                  <a:pt x="113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8" y="137"/>
                </a:lnTo>
                <a:lnTo>
                  <a:pt x="22" y="132"/>
                </a:lnTo>
                <a:lnTo>
                  <a:pt x="17" y="127"/>
                </a:lnTo>
                <a:lnTo>
                  <a:pt x="13" y="120"/>
                </a:lnTo>
                <a:lnTo>
                  <a:pt x="9" y="115"/>
                </a:lnTo>
                <a:lnTo>
                  <a:pt x="6" y="108"/>
                </a:lnTo>
                <a:lnTo>
                  <a:pt x="4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5"/>
                </a:lnTo>
                <a:lnTo>
                  <a:pt x="6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3"/>
                </a:lnTo>
                <a:lnTo>
                  <a:pt x="28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4"/>
                </a:lnTo>
                <a:lnTo>
                  <a:pt x="107" y="7"/>
                </a:lnTo>
                <a:lnTo>
                  <a:pt x="113" y="10"/>
                </a:lnTo>
                <a:lnTo>
                  <a:pt x="119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1" y="34"/>
                </a:lnTo>
                <a:lnTo>
                  <a:pt x="144" y="41"/>
                </a:lnTo>
                <a:lnTo>
                  <a:pt x="148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7" name="Freeform 3046">
            <a:extLst>
              <a:ext uri="{FF2B5EF4-FFF2-40B4-BE49-F238E27FC236}">
                <a16:creationId xmlns:a16="http://schemas.microsoft.com/office/drawing/2014/main" id="{C66B07B1-4339-4CFD-8EA9-115226B65FE5}"/>
              </a:ext>
            </a:extLst>
          </p:cNvPr>
          <p:cNvSpPr>
            <a:spLocks/>
          </p:cNvSpPr>
          <p:nvPr userDrawn="1"/>
        </p:nvSpPr>
        <p:spPr bwMode="auto">
          <a:xfrm>
            <a:off x="1443097" y="1801132"/>
            <a:ext cx="34350" cy="34350"/>
          </a:xfrm>
          <a:custGeom>
            <a:avLst/>
            <a:gdLst>
              <a:gd name="T0" fmla="*/ 153 w 153"/>
              <a:gd name="T1" fmla="*/ 78 h 155"/>
              <a:gd name="T2" fmla="*/ 152 w 153"/>
              <a:gd name="T3" fmla="*/ 93 h 155"/>
              <a:gd name="T4" fmla="*/ 147 w 153"/>
              <a:gd name="T5" fmla="*/ 108 h 155"/>
              <a:gd name="T6" fmla="*/ 140 w 153"/>
              <a:gd name="T7" fmla="*/ 120 h 155"/>
              <a:gd name="T8" fmla="*/ 131 w 153"/>
              <a:gd name="T9" fmla="*/ 132 h 155"/>
              <a:gd name="T10" fmla="*/ 120 w 153"/>
              <a:gd name="T11" fmla="*/ 142 h 155"/>
              <a:gd name="T12" fmla="*/ 106 w 153"/>
              <a:gd name="T13" fmla="*/ 149 h 155"/>
              <a:gd name="T14" fmla="*/ 92 w 153"/>
              <a:gd name="T15" fmla="*/ 153 h 155"/>
              <a:gd name="T16" fmla="*/ 76 w 153"/>
              <a:gd name="T17" fmla="*/ 155 h 155"/>
              <a:gd name="T18" fmla="*/ 68 w 153"/>
              <a:gd name="T19" fmla="*/ 155 h 155"/>
              <a:gd name="T20" fmla="*/ 53 w 153"/>
              <a:gd name="T21" fmla="*/ 151 h 155"/>
              <a:gd name="T22" fmla="*/ 40 w 153"/>
              <a:gd name="T23" fmla="*/ 145 h 155"/>
              <a:gd name="T24" fmla="*/ 27 w 153"/>
              <a:gd name="T25" fmla="*/ 137 h 155"/>
              <a:gd name="T26" fmla="*/ 17 w 153"/>
              <a:gd name="T27" fmla="*/ 127 h 155"/>
              <a:gd name="T28" fmla="*/ 9 w 153"/>
              <a:gd name="T29" fmla="*/ 115 h 155"/>
              <a:gd name="T30" fmla="*/ 3 w 153"/>
              <a:gd name="T31" fmla="*/ 101 h 155"/>
              <a:gd name="T32" fmla="*/ 0 w 153"/>
              <a:gd name="T33" fmla="*/ 86 h 155"/>
              <a:gd name="T34" fmla="*/ 0 w 153"/>
              <a:gd name="T35" fmla="*/ 78 h 155"/>
              <a:gd name="T36" fmla="*/ 1 w 153"/>
              <a:gd name="T37" fmla="*/ 62 h 155"/>
              <a:gd name="T38" fmla="*/ 5 w 153"/>
              <a:gd name="T39" fmla="*/ 48 h 155"/>
              <a:gd name="T40" fmla="*/ 12 w 153"/>
              <a:gd name="T41" fmla="*/ 34 h 155"/>
              <a:gd name="T42" fmla="*/ 21 w 153"/>
              <a:gd name="T43" fmla="*/ 23 h 155"/>
              <a:gd name="T44" fmla="*/ 33 w 153"/>
              <a:gd name="T45" fmla="*/ 14 h 155"/>
              <a:gd name="T46" fmla="*/ 47 w 153"/>
              <a:gd name="T47" fmla="*/ 7 h 155"/>
              <a:gd name="T48" fmla="*/ 60 w 153"/>
              <a:gd name="T49" fmla="*/ 2 h 155"/>
              <a:gd name="T50" fmla="*/ 76 w 153"/>
              <a:gd name="T51" fmla="*/ 0 h 155"/>
              <a:gd name="T52" fmla="*/ 84 w 153"/>
              <a:gd name="T53" fmla="*/ 1 h 155"/>
              <a:gd name="T54" fmla="*/ 99 w 153"/>
              <a:gd name="T55" fmla="*/ 4 h 155"/>
              <a:gd name="T56" fmla="*/ 113 w 153"/>
              <a:gd name="T57" fmla="*/ 10 h 155"/>
              <a:gd name="T58" fmla="*/ 126 w 153"/>
              <a:gd name="T59" fmla="*/ 18 h 155"/>
              <a:gd name="T60" fmla="*/ 136 w 153"/>
              <a:gd name="T61" fmla="*/ 29 h 155"/>
              <a:gd name="T62" fmla="*/ 144 w 153"/>
              <a:gd name="T63" fmla="*/ 41 h 155"/>
              <a:gd name="T64" fmla="*/ 150 w 153"/>
              <a:gd name="T65" fmla="*/ 55 h 155"/>
              <a:gd name="T66" fmla="*/ 153 w 153"/>
              <a:gd name="T67" fmla="*/ 70 h 155"/>
              <a:gd name="T68" fmla="*/ 153 w 153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5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8"/>
                </a:lnTo>
                <a:lnTo>
                  <a:pt x="144" y="115"/>
                </a:lnTo>
                <a:lnTo>
                  <a:pt x="140" y="120"/>
                </a:lnTo>
                <a:lnTo>
                  <a:pt x="136" y="127"/>
                </a:lnTo>
                <a:lnTo>
                  <a:pt x="131" y="132"/>
                </a:lnTo>
                <a:lnTo>
                  <a:pt x="126" y="137"/>
                </a:lnTo>
                <a:lnTo>
                  <a:pt x="120" y="142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2" y="153"/>
                </a:lnTo>
                <a:lnTo>
                  <a:pt x="84" y="155"/>
                </a:lnTo>
                <a:lnTo>
                  <a:pt x="76" y="155"/>
                </a:lnTo>
                <a:lnTo>
                  <a:pt x="76" y="155"/>
                </a:lnTo>
                <a:lnTo>
                  <a:pt x="68" y="155"/>
                </a:lnTo>
                <a:lnTo>
                  <a:pt x="60" y="153"/>
                </a:lnTo>
                <a:lnTo>
                  <a:pt x="53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2"/>
                </a:lnTo>
                <a:lnTo>
                  <a:pt x="27" y="137"/>
                </a:lnTo>
                <a:lnTo>
                  <a:pt x="21" y="132"/>
                </a:lnTo>
                <a:lnTo>
                  <a:pt x="17" y="127"/>
                </a:lnTo>
                <a:lnTo>
                  <a:pt x="12" y="120"/>
                </a:lnTo>
                <a:lnTo>
                  <a:pt x="9" y="115"/>
                </a:lnTo>
                <a:lnTo>
                  <a:pt x="5" y="108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5" y="48"/>
                </a:lnTo>
                <a:lnTo>
                  <a:pt x="9" y="41"/>
                </a:lnTo>
                <a:lnTo>
                  <a:pt x="12" y="34"/>
                </a:lnTo>
                <a:lnTo>
                  <a:pt x="17" y="29"/>
                </a:lnTo>
                <a:lnTo>
                  <a:pt x="21" y="23"/>
                </a:lnTo>
                <a:lnTo>
                  <a:pt x="27" y="18"/>
                </a:lnTo>
                <a:lnTo>
                  <a:pt x="33" y="14"/>
                </a:lnTo>
                <a:lnTo>
                  <a:pt x="40" y="10"/>
                </a:lnTo>
                <a:lnTo>
                  <a:pt x="47" y="7"/>
                </a:lnTo>
                <a:lnTo>
                  <a:pt x="53" y="4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4"/>
                </a:lnTo>
                <a:lnTo>
                  <a:pt x="106" y="7"/>
                </a:lnTo>
                <a:lnTo>
                  <a:pt x="113" y="10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9"/>
                </a:lnTo>
                <a:lnTo>
                  <a:pt x="140" y="34"/>
                </a:lnTo>
                <a:lnTo>
                  <a:pt x="144" y="41"/>
                </a:lnTo>
                <a:lnTo>
                  <a:pt x="147" y="48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8" name="Freeform 3047">
            <a:extLst>
              <a:ext uri="{FF2B5EF4-FFF2-40B4-BE49-F238E27FC236}">
                <a16:creationId xmlns:a16="http://schemas.microsoft.com/office/drawing/2014/main" id="{5400B083-ECB8-4C54-A882-55F1D0637F31}"/>
              </a:ext>
            </a:extLst>
          </p:cNvPr>
          <p:cNvSpPr>
            <a:spLocks/>
          </p:cNvSpPr>
          <p:nvPr userDrawn="1"/>
        </p:nvSpPr>
        <p:spPr bwMode="auto">
          <a:xfrm>
            <a:off x="1443097" y="1754943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7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5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4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7 h 154"/>
              <a:gd name="T40" fmla="*/ 12 w 153"/>
              <a:gd name="T41" fmla="*/ 34 h 154"/>
              <a:gd name="T42" fmla="*/ 21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9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7" y="107"/>
                </a:lnTo>
                <a:lnTo>
                  <a:pt x="144" y="114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3" y="151"/>
                </a:lnTo>
                <a:lnTo>
                  <a:pt x="47" y="147"/>
                </a:lnTo>
                <a:lnTo>
                  <a:pt x="40" y="145"/>
                </a:lnTo>
                <a:lnTo>
                  <a:pt x="33" y="140"/>
                </a:lnTo>
                <a:lnTo>
                  <a:pt x="27" y="136"/>
                </a:lnTo>
                <a:lnTo>
                  <a:pt x="21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4"/>
                </a:lnTo>
                <a:lnTo>
                  <a:pt x="5" y="107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3" y="53"/>
                </a:lnTo>
                <a:lnTo>
                  <a:pt x="5" y="47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1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3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2" y="1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3"/>
                </a:lnTo>
                <a:lnTo>
                  <a:pt x="152" y="61"/>
                </a:lnTo>
                <a:lnTo>
                  <a:pt x="153" y="69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9" name="Freeform 3048">
            <a:extLst>
              <a:ext uri="{FF2B5EF4-FFF2-40B4-BE49-F238E27FC236}">
                <a16:creationId xmlns:a16="http://schemas.microsoft.com/office/drawing/2014/main" id="{47B5A7D2-3B5A-4ED5-B0AE-6F0A196FD467}"/>
              </a:ext>
            </a:extLst>
          </p:cNvPr>
          <p:cNvSpPr>
            <a:spLocks/>
          </p:cNvSpPr>
          <p:nvPr userDrawn="1"/>
        </p:nvSpPr>
        <p:spPr bwMode="auto">
          <a:xfrm>
            <a:off x="1489285" y="1801131"/>
            <a:ext cx="34350" cy="34350"/>
          </a:xfrm>
          <a:custGeom>
            <a:avLst/>
            <a:gdLst>
              <a:gd name="T0" fmla="*/ 155 w 155"/>
              <a:gd name="T1" fmla="*/ 78 h 155"/>
              <a:gd name="T2" fmla="*/ 154 w 155"/>
              <a:gd name="T3" fmla="*/ 93 h 155"/>
              <a:gd name="T4" fmla="*/ 149 w 155"/>
              <a:gd name="T5" fmla="*/ 108 h 155"/>
              <a:gd name="T6" fmla="*/ 142 w 155"/>
              <a:gd name="T7" fmla="*/ 120 h 155"/>
              <a:gd name="T8" fmla="*/ 132 w 155"/>
              <a:gd name="T9" fmla="*/ 132 h 155"/>
              <a:gd name="T10" fmla="*/ 121 w 155"/>
              <a:gd name="T11" fmla="*/ 142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5 h 155"/>
              <a:gd name="T20" fmla="*/ 55 w 155"/>
              <a:gd name="T21" fmla="*/ 151 h 155"/>
              <a:gd name="T22" fmla="*/ 42 w 155"/>
              <a:gd name="T23" fmla="*/ 145 h 155"/>
              <a:gd name="T24" fmla="*/ 29 w 155"/>
              <a:gd name="T25" fmla="*/ 137 h 155"/>
              <a:gd name="T26" fmla="*/ 19 w 155"/>
              <a:gd name="T27" fmla="*/ 127 h 155"/>
              <a:gd name="T28" fmla="*/ 11 w 155"/>
              <a:gd name="T29" fmla="*/ 115 h 155"/>
              <a:gd name="T30" fmla="*/ 4 w 155"/>
              <a:gd name="T31" fmla="*/ 101 h 155"/>
              <a:gd name="T32" fmla="*/ 2 w 155"/>
              <a:gd name="T33" fmla="*/ 86 h 155"/>
              <a:gd name="T34" fmla="*/ 0 w 155"/>
              <a:gd name="T35" fmla="*/ 78 h 155"/>
              <a:gd name="T36" fmla="*/ 3 w 155"/>
              <a:gd name="T37" fmla="*/ 62 h 155"/>
              <a:gd name="T38" fmla="*/ 7 w 155"/>
              <a:gd name="T39" fmla="*/ 48 h 155"/>
              <a:gd name="T40" fmla="*/ 14 w 155"/>
              <a:gd name="T41" fmla="*/ 34 h 155"/>
              <a:gd name="T42" fmla="*/ 23 w 155"/>
              <a:gd name="T43" fmla="*/ 23 h 155"/>
              <a:gd name="T44" fmla="*/ 35 w 155"/>
              <a:gd name="T45" fmla="*/ 14 h 155"/>
              <a:gd name="T46" fmla="*/ 48 w 155"/>
              <a:gd name="T47" fmla="*/ 7 h 155"/>
              <a:gd name="T48" fmla="*/ 62 w 155"/>
              <a:gd name="T49" fmla="*/ 2 h 155"/>
              <a:gd name="T50" fmla="*/ 78 w 155"/>
              <a:gd name="T51" fmla="*/ 0 h 155"/>
              <a:gd name="T52" fmla="*/ 86 w 155"/>
              <a:gd name="T53" fmla="*/ 1 h 155"/>
              <a:gd name="T54" fmla="*/ 101 w 155"/>
              <a:gd name="T55" fmla="*/ 4 h 155"/>
              <a:gd name="T56" fmla="*/ 115 w 155"/>
              <a:gd name="T57" fmla="*/ 10 h 155"/>
              <a:gd name="T58" fmla="*/ 127 w 155"/>
              <a:gd name="T59" fmla="*/ 18 h 155"/>
              <a:gd name="T60" fmla="*/ 138 w 155"/>
              <a:gd name="T61" fmla="*/ 29 h 155"/>
              <a:gd name="T62" fmla="*/ 146 w 155"/>
              <a:gd name="T63" fmla="*/ 41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5"/>
                </a:lnTo>
                <a:lnTo>
                  <a:pt x="142" y="120"/>
                </a:lnTo>
                <a:lnTo>
                  <a:pt x="138" y="127"/>
                </a:lnTo>
                <a:lnTo>
                  <a:pt x="132" y="132"/>
                </a:lnTo>
                <a:lnTo>
                  <a:pt x="127" y="137"/>
                </a:lnTo>
                <a:lnTo>
                  <a:pt x="121" y="142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2" y="145"/>
                </a:lnTo>
                <a:lnTo>
                  <a:pt x="35" y="142"/>
                </a:lnTo>
                <a:lnTo>
                  <a:pt x="29" y="137"/>
                </a:lnTo>
                <a:lnTo>
                  <a:pt x="23" y="132"/>
                </a:lnTo>
                <a:lnTo>
                  <a:pt x="19" y="127"/>
                </a:lnTo>
                <a:lnTo>
                  <a:pt x="14" y="120"/>
                </a:lnTo>
                <a:lnTo>
                  <a:pt x="11" y="115"/>
                </a:lnTo>
                <a:lnTo>
                  <a:pt x="7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7" y="48"/>
                </a:lnTo>
                <a:lnTo>
                  <a:pt x="11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2" y="10"/>
                </a:lnTo>
                <a:lnTo>
                  <a:pt x="48" y="7"/>
                </a:lnTo>
                <a:lnTo>
                  <a:pt x="55" y="4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4"/>
                </a:lnTo>
                <a:lnTo>
                  <a:pt x="108" y="7"/>
                </a:lnTo>
                <a:lnTo>
                  <a:pt x="115" y="10"/>
                </a:lnTo>
                <a:lnTo>
                  <a:pt x="121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9"/>
                </a:lnTo>
                <a:lnTo>
                  <a:pt x="142" y="34"/>
                </a:lnTo>
                <a:lnTo>
                  <a:pt x="146" y="41"/>
                </a:lnTo>
                <a:lnTo>
                  <a:pt x="149" y="48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0" name="Freeform 3049">
            <a:extLst>
              <a:ext uri="{FF2B5EF4-FFF2-40B4-BE49-F238E27FC236}">
                <a16:creationId xmlns:a16="http://schemas.microsoft.com/office/drawing/2014/main" id="{64267DA8-EEE0-4D80-B6C5-C3849E4A22B5}"/>
              </a:ext>
            </a:extLst>
          </p:cNvPr>
          <p:cNvSpPr>
            <a:spLocks/>
          </p:cNvSpPr>
          <p:nvPr userDrawn="1"/>
        </p:nvSpPr>
        <p:spPr bwMode="auto">
          <a:xfrm>
            <a:off x="1350721" y="1847321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8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1" name="Freeform 3050">
            <a:extLst>
              <a:ext uri="{FF2B5EF4-FFF2-40B4-BE49-F238E27FC236}">
                <a16:creationId xmlns:a16="http://schemas.microsoft.com/office/drawing/2014/main" id="{375D16B5-4A60-4E10-BC59-05F431E88A4A}"/>
              </a:ext>
            </a:extLst>
          </p:cNvPr>
          <p:cNvSpPr>
            <a:spLocks/>
          </p:cNvSpPr>
          <p:nvPr userDrawn="1"/>
        </p:nvSpPr>
        <p:spPr bwMode="auto">
          <a:xfrm>
            <a:off x="1308731" y="184732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9 w 155"/>
              <a:gd name="T5" fmla="*/ 106 h 153"/>
              <a:gd name="T6" fmla="*/ 142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4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7 w 155"/>
              <a:gd name="T59" fmla="*/ 17 h 153"/>
              <a:gd name="T60" fmla="*/ 137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20"/>
                </a:lnTo>
                <a:lnTo>
                  <a:pt x="137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8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7" y="27"/>
                </a:lnTo>
                <a:lnTo>
                  <a:pt x="142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5" y="68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2" name="Freeform 3051">
            <a:extLst>
              <a:ext uri="{FF2B5EF4-FFF2-40B4-BE49-F238E27FC236}">
                <a16:creationId xmlns:a16="http://schemas.microsoft.com/office/drawing/2014/main" id="{9108BB3F-9A7B-4B38-AA59-3B2ED3525C8A}"/>
              </a:ext>
            </a:extLst>
          </p:cNvPr>
          <p:cNvSpPr>
            <a:spLocks/>
          </p:cNvSpPr>
          <p:nvPr userDrawn="1"/>
        </p:nvSpPr>
        <p:spPr bwMode="auto">
          <a:xfrm>
            <a:off x="1261492" y="1847322"/>
            <a:ext cx="34350" cy="34350"/>
          </a:xfrm>
          <a:custGeom>
            <a:avLst/>
            <a:gdLst>
              <a:gd name="T0" fmla="*/ 155 w 155"/>
              <a:gd name="T1" fmla="*/ 77 h 153"/>
              <a:gd name="T2" fmla="*/ 154 w 155"/>
              <a:gd name="T3" fmla="*/ 93 h 153"/>
              <a:gd name="T4" fmla="*/ 149 w 155"/>
              <a:gd name="T5" fmla="*/ 106 h 153"/>
              <a:gd name="T6" fmla="*/ 141 w 155"/>
              <a:gd name="T7" fmla="*/ 120 h 153"/>
              <a:gd name="T8" fmla="*/ 132 w 155"/>
              <a:gd name="T9" fmla="*/ 131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1 w 155"/>
              <a:gd name="T23" fmla="*/ 144 h 153"/>
              <a:gd name="T24" fmla="*/ 29 w 155"/>
              <a:gd name="T25" fmla="*/ 136 h 153"/>
              <a:gd name="T26" fmla="*/ 19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3 w 155"/>
              <a:gd name="T37" fmla="*/ 62 h 153"/>
              <a:gd name="T38" fmla="*/ 7 w 155"/>
              <a:gd name="T39" fmla="*/ 47 h 153"/>
              <a:gd name="T40" fmla="*/ 14 w 155"/>
              <a:gd name="T41" fmla="*/ 34 h 153"/>
              <a:gd name="T42" fmla="*/ 23 w 155"/>
              <a:gd name="T43" fmla="*/ 23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6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8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5 w 155"/>
              <a:gd name="T67" fmla="*/ 68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20"/>
                </a:lnTo>
                <a:lnTo>
                  <a:pt x="138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9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3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8"/>
                </a:lnTo>
                <a:lnTo>
                  <a:pt x="3" y="62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9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8" y="27"/>
                </a:lnTo>
                <a:lnTo>
                  <a:pt x="141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8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3" name="Freeform 3052">
            <a:extLst>
              <a:ext uri="{FF2B5EF4-FFF2-40B4-BE49-F238E27FC236}">
                <a16:creationId xmlns:a16="http://schemas.microsoft.com/office/drawing/2014/main" id="{96DB135E-A649-4FAB-875A-A72B58C919C7}"/>
              </a:ext>
            </a:extLst>
          </p:cNvPr>
          <p:cNvSpPr>
            <a:spLocks/>
          </p:cNvSpPr>
          <p:nvPr userDrawn="1"/>
        </p:nvSpPr>
        <p:spPr bwMode="auto">
          <a:xfrm>
            <a:off x="1859843" y="1892460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8 h 154"/>
              <a:gd name="T6" fmla="*/ 141 w 155"/>
              <a:gd name="T7" fmla="*/ 120 h 154"/>
              <a:gd name="T8" fmla="*/ 132 w 155"/>
              <a:gd name="T9" fmla="*/ 132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9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2 w 155"/>
              <a:gd name="T33" fmla="*/ 86 h 154"/>
              <a:gd name="T34" fmla="*/ 0 w 155"/>
              <a:gd name="T35" fmla="*/ 78 h 154"/>
              <a:gd name="T36" fmla="*/ 3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5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9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8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2"/>
                </a:lnTo>
                <a:lnTo>
                  <a:pt x="19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8"/>
                </a:lnTo>
                <a:lnTo>
                  <a:pt x="4" y="101"/>
                </a:lnTo>
                <a:lnTo>
                  <a:pt x="3" y="93"/>
                </a:lnTo>
                <a:lnTo>
                  <a:pt x="2" y="86"/>
                </a:lnTo>
                <a:lnTo>
                  <a:pt x="0" y="78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9" y="29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4" name="Freeform 3053">
            <a:extLst>
              <a:ext uri="{FF2B5EF4-FFF2-40B4-BE49-F238E27FC236}">
                <a16:creationId xmlns:a16="http://schemas.microsoft.com/office/drawing/2014/main" id="{D2CFAC45-9B20-4D4E-9683-DBA7EA7F8F59}"/>
              </a:ext>
            </a:extLst>
          </p:cNvPr>
          <p:cNvSpPr>
            <a:spLocks/>
          </p:cNvSpPr>
          <p:nvPr userDrawn="1"/>
        </p:nvSpPr>
        <p:spPr bwMode="auto">
          <a:xfrm>
            <a:off x="1859843" y="2775290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1 h 153"/>
              <a:gd name="T4" fmla="*/ 147 w 153"/>
              <a:gd name="T5" fmla="*/ 106 h 153"/>
              <a:gd name="T6" fmla="*/ 141 w 153"/>
              <a:gd name="T7" fmla="*/ 119 h 153"/>
              <a:gd name="T8" fmla="*/ 131 w 153"/>
              <a:gd name="T9" fmla="*/ 130 h 153"/>
              <a:gd name="T10" fmla="*/ 120 w 153"/>
              <a:gd name="T11" fmla="*/ 141 h 153"/>
              <a:gd name="T12" fmla="*/ 106 w 153"/>
              <a:gd name="T13" fmla="*/ 147 h 153"/>
              <a:gd name="T14" fmla="*/ 93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99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2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1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0"/>
                </a:lnTo>
                <a:lnTo>
                  <a:pt x="17" y="126"/>
                </a:lnTo>
                <a:lnTo>
                  <a:pt x="12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5" name="Freeform 3054">
            <a:extLst>
              <a:ext uri="{FF2B5EF4-FFF2-40B4-BE49-F238E27FC236}">
                <a16:creationId xmlns:a16="http://schemas.microsoft.com/office/drawing/2014/main" id="{D8D4B3A2-CEA4-44E7-B56C-2802D7FAA163}"/>
              </a:ext>
            </a:extLst>
          </p:cNvPr>
          <p:cNvSpPr>
            <a:spLocks/>
          </p:cNvSpPr>
          <p:nvPr userDrawn="1"/>
        </p:nvSpPr>
        <p:spPr bwMode="auto">
          <a:xfrm>
            <a:off x="1859843" y="2821478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7 w 153"/>
              <a:gd name="T5" fmla="*/ 106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7 h 154"/>
              <a:gd name="T14" fmla="*/ 93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0 w 153"/>
              <a:gd name="T49" fmla="*/ 1 h 154"/>
              <a:gd name="T50" fmla="*/ 76 w 153"/>
              <a:gd name="T51" fmla="*/ 0 h 154"/>
              <a:gd name="T52" fmla="*/ 84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3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0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2"/>
                </a:lnTo>
                <a:lnTo>
                  <a:pt x="126" y="17"/>
                </a:lnTo>
                <a:lnTo>
                  <a:pt x="131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6" name="Freeform 3055">
            <a:extLst>
              <a:ext uri="{FF2B5EF4-FFF2-40B4-BE49-F238E27FC236}">
                <a16:creationId xmlns:a16="http://schemas.microsoft.com/office/drawing/2014/main" id="{F693B26A-5BA3-4067-B263-76AD5AB6B416}"/>
              </a:ext>
            </a:extLst>
          </p:cNvPr>
          <p:cNvSpPr>
            <a:spLocks/>
          </p:cNvSpPr>
          <p:nvPr userDrawn="1"/>
        </p:nvSpPr>
        <p:spPr bwMode="auto">
          <a:xfrm>
            <a:off x="1904981" y="27752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1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7" name="Freeform 3056">
            <a:extLst>
              <a:ext uri="{FF2B5EF4-FFF2-40B4-BE49-F238E27FC236}">
                <a16:creationId xmlns:a16="http://schemas.microsoft.com/office/drawing/2014/main" id="{6EA41A45-693D-4EBC-9799-DED6CC879B3D}"/>
              </a:ext>
            </a:extLst>
          </p:cNvPr>
          <p:cNvSpPr>
            <a:spLocks/>
          </p:cNvSpPr>
          <p:nvPr userDrawn="1"/>
        </p:nvSpPr>
        <p:spPr bwMode="auto">
          <a:xfrm>
            <a:off x="1904981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0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8" name="Freeform 3057">
            <a:extLst>
              <a:ext uri="{FF2B5EF4-FFF2-40B4-BE49-F238E27FC236}">
                <a16:creationId xmlns:a16="http://schemas.microsoft.com/office/drawing/2014/main" id="{5390650F-EB85-4107-8303-3CA6F905435A}"/>
              </a:ext>
            </a:extLst>
          </p:cNvPr>
          <p:cNvSpPr>
            <a:spLocks/>
          </p:cNvSpPr>
          <p:nvPr userDrawn="1"/>
        </p:nvSpPr>
        <p:spPr bwMode="auto">
          <a:xfrm>
            <a:off x="1951168" y="27752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3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4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1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19"/>
                </a:lnTo>
                <a:lnTo>
                  <a:pt x="136" y="126"/>
                </a:lnTo>
                <a:lnTo>
                  <a:pt x="131" y="130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8" y="136"/>
                </a:lnTo>
                <a:lnTo>
                  <a:pt x="22" y="130"/>
                </a:lnTo>
                <a:lnTo>
                  <a:pt x="17" y="126"/>
                </a:lnTo>
                <a:lnTo>
                  <a:pt x="13" y="119"/>
                </a:lnTo>
                <a:lnTo>
                  <a:pt x="9" y="113"/>
                </a:lnTo>
                <a:lnTo>
                  <a:pt x="6" y="106"/>
                </a:lnTo>
                <a:lnTo>
                  <a:pt x="4" y="99"/>
                </a:lnTo>
                <a:lnTo>
                  <a:pt x="1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4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2" y="22"/>
                </a:lnTo>
                <a:lnTo>
                  <a:pt x="28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9" name="Freeform 3058">
            <a:extLst>
              <a:ext uri="{FF2B5EF4-FFF2-40B4-BE49-F238E27FC236}">
                <a16:creationId xmlns:a16="http://schemas.microsoft.com/office/drawing/2014/main" id="{BFBF4276-6D7D-4393-9FBE-033BAEE7A12F}"/>
              </a:ext>
            </a:extLst>
          </p:cNvPr>
          <p:cNvSpPr>
            <a:spLocks/>
          </p:cNvSpPr>
          <p:nvPr userDrawn="1"/>
        </p:nvSpPr>
        <p:spPr bwMode="auto">
          <a:xfrm>
            <a:off x="1721274" y="27752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2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3 w 154"/>
              <a:gd name="T15" fmla="*/ 152 h 153"/>
              <a:gd name="T16" fmla="*/ 77 w 154"/>
              <a:gd name="T17" fmla="*/ 153 h 153"/>
              <a:gd name="T18" fmla="*/ 70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9 w 154"/>
              <a:gd name="T25" fmla="*/ 136 h 153"/>
              <a:gd name="T26" fmla="*/ 17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1 w 154"/>
              <a:gd name="T37" fmla="*/ 61 h 153"/>
              <a:gd name="T38" fmla="*/ 6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99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3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3" y="85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99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0"/>
                </a:lnTo>
                <a:lnTo>
                  <a:pt x="17" y="126"/>
                </a:lnTo>
                <a:lnTo>
                  <a:pt x="14" y="119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4" y="33"/>
                </a:lnTo>
                <a:lnTo>
                  <a:pt x="17" y="27"/>
                </a:lnTo>
                <a:lnTo>
                  <a:pt x="23" y="22"/>
                </a:lnTo>
                <a:lnTo>
                  <a:pt x="29" y="17"/>
                </a:lnTo>
                <a:lnTo>
                  <a:pt x="34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99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0" name="Freeform 3059">
            <a:extLst>
              <a:ext uri="{FF2B5EF4-FFF2-40B4-BE49-F238E27FC236}">
                <a16:creationId xmlns:a16="http://schemas.microsoft.com/office/drawing/2014/main" id="{2C9102DE-97E4-474B-B2E7-8C243728D120}"/>
              </a:ext>
            </a:extLst>
          </p:cNvPr>
          <p:cNvSpPr>
            <a:spLocks/>
          </p:cNvSpPr>
          <p:nvPr userDrawn="1"/>
        </p:nvSpPr>
        <p:spPr bwMode="auto">
          <a:xfrm>
            <a:off x="1767463" y="27752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2 w 154"/>
              <a:gd name="T3" fmla="*/ 91 h 153"/>
              <a:gd name="T4" fmla="*/ 148 w 154"/>
              <a:gd name="T5" fmla="*/ 106 h 153"/>
              <a:gd name="T6" fmla="*/ 140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0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5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4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6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2" y="91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19"/>
                </a:lnTo>
                <a:lnTo>
                  <a:pt x="136" y="126"/>
                </a:lnTo>
                <a:lnTo>
                  <a:pt x="131" y="130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4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7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2" y="91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5" y="47"/>
                </a:lnTo>
                <a:lnTo>
                  <a:pt x="9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0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4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2"/>
                </a:lnTo>
                <a:lnTo>
                  <a:pt x="136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1" name="Freeform 3060">
            <a:extLst>
              <a:ext uri="{FF2B5EF4-FFF2-40B4-BE49-F238E27FC236}">
                <a16:creationId xmlns:a16="http://schemas.microsoft.com/office/drawing/2014/main" id="{EA9871A7-AD1F-446B-8732-57F6289178F6}"/>
              </a:ext>
            </a:extLst>
          </p:cNvPr>
          <p:cNvSpPr>
            <a:spLocks/>
          </p:cNvSpPr>
          <p:nvPr userDrawn="1"/>
        </p:nvSpPr>
        <p:spPr bwMode="auto">
          <a:xfrm>
            <a:off x="1813651" y="2775290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1 h 153"/>
              <a:gd name="T4" fmla="*/ 148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1 w 155"/>
              <a:gd name="T11" fmla="*/ 141 h 153"/>
              <a:gd name="T12" fmla="*/ 107 w 155"/>
              <a:gd name="T13" fmla="*/ 147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99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4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1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19"/>
                </a:lnTo>
                <a:lnTo>
                  <a:pt x="137" y="126"/>
                </a:lnTo>
                <a:lnTo>
                  <a:pt x="132" y="130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2" name="Freeform 3061">
            <a:extLst>
              <a:ext uri="{FF2B5EF4-FFF2-40B4-BE49-F238E27FC236}">
                <a16:creationId xmlns:a16="http://schemas.microsoft.com/office/drawing/2014/main" id="{086C7DC9-CBAE-4008-A488-BC22BA0E6F38}"/>
              </a:ext>
            </a:extLst>
          </p:cNvPr>
          <p:cNvSpPr>
            <a:spLocks/>
          </p:cNvSpPr>
          <p:nvPr userDrawn="1"/>
        </p:nvSpPr>
        <p:spPr bwMode="auto">
          <a:xfrm>
            <a:off x="1859840" y="2867666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7 w 153"/>
              <a:gd name="T5" fmla="*/ 107 h 154"/>
              <a:gd name="T6" fmla="*/ 141 w 153"/>
              <a:gd name="T7" fmla="*/ 120 h 154"/>
              <a:gd name="T8" fmla="*/ 131 w 153"/>
              <a:gd name="T9" fmla="*/ 131 h 154"/>
              <a:gd name="T10" fmla="*/ 120 w 153"/>
              <a:gd name="T11" fmla="*/ 141 h 154"/>
              <a:gd name="T12" fmla="*/ 106 w 153"/>
              <a:gd name="T13" fmla="*/ 149 h 154"/>
              <a:gd name="T14" fmla="*/ 93 w 153"/>
              <a:gd name="T15" fmla="*/ 153 h 154"/>
              <a:gd name="T16" fmla="*/ 76 w 153"/>
              <a:gd name="T17" fmla="*/ 154 h 154"/>
              <a:gd name="T18" fmla="*/ 68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0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7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1" y="131"/>
                </a:lnTo>
                <a:lnTo>
                  <a:pt x="126" y="137"/>
                </a:lnTo>
                <a:lnTo>
                  <a:pt x="120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3" y="153"/>
                </a:lnTo>
                <a:lnTo>
                  <a:pt x="84" y="154"/>
                </a:lnTo>
                <a:lnTo>
                  <a:pt x="76" y="154"/>
                </a:lnTo>
                <a:lnTo>
                  <a:pt x="76" y="154"/>
                </a:lnTo>
                <a:lnTo>
                  <a:pt x="68" y="154"/>
                </a:lnTo>
                <a:lnTo>
                  <a:pt x="60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0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3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20" y="14"/>
                </a:lnTo>
                <a:lnTo>
                  <a:pt x="126" y="18"/>
                </a:lnTo>
                <a:lnTo>
                  <a:pt x="131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7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3" name="Freeform 3062">
            <a:extLst>
              <a:ext uri="{FF2B5EF4-FFF2-40B4-BE49-F238E27FC236}">
                <a16:creationId xmlns:a16="http://schemas.microsoft.com/office/drawing/2014/main" id="{BCF5B6F9-2D9C-4C18-94DF-529C0E33FEA9}"/>
              </a:ext>
            </a:extLst>
          </p:cNvPr>
          <p:cNvSpPr>
            <a:spLocks/>
          </p:cNvSpPr>
          <p:nvPr userDrawn="1"/>
        </p:nvSpPr>
        <p:spPr bwMode="auto">
          <a:xfrm>
            <a:off x="1859840" y="2914904"/>
            <a:ext cx="34350" cy="34350"/>
          </a:xfrm>
          <a:custGeom>
            <a:avLst/>
            <a:gdLst>
              <a:gd name="T0" fmla="*/ 153 w 153"/>
              <a:gd name="T1" fmla="*/ 77 h 153"/>
              <a:gd name="T2" fmla="*/ 152 w 153"/>
              <a:gd name="T3" fmla="*/ 93 h 153"/>
              <a:gd name="T4" fmla="*/ 147 w 153"/>
              <a:gd name="T5" fmla="*/ 106 h 153"/>
              <a:gd name="T6" fmla="*/ 141 w 153"/>
              <a:gd name="T7" fmla="*/ 120 h 153"/>
              <a:gd name="T8" fmla="*/ 131 w 153"/>
              <a:gd name="T9" fmla="*/ 132 h 153"/>
              <a:gd name="T10" fmla="*/ 120 w 153"/>
              <a:gd name="T11" fmla="*/ 141 h 153"/>
              <a:gd name="T12" fmla="*/ 106 w 153"/>
              <a:gd name="T13" fmla="*/ 148 h 153"/>
              <a:gd name="T14" fmla="*/ 93 w 153"/>
              <a:gd name="T15" fmla="*/ 152 h 153"/>
              <a:gd name="T16" fmla="*/ 76 w 153"/>
              <a:gd name="T17" fmla="*/ 153 h 153"/>
              <a:gd name="T18" fmla="*/ 68 w 153"/>
              <a:gd name="T19" fmla="*/ 153 h 153"/>
              <a:gd name="T20" fmla="*/ 54 w 153"/>
              <a:gd name="T21" fmla="*/ 150 h 153"/>
              <a:gd name="T22" fmla="*/ 40 w 153"/>
              <a:gd name="T23" fmla="*/ 144 h 153"/>
              <a:gd name="T24" fmla="*/ 27 w 153"/>
              <a:gd name="T25" fmla="*/ 136 h 153"/>
              <a:gd name="T26" fmla="*/ 17 w 153"/>
              <a:gd name="T27" fmla="*/ 126 h 153"/>
              <a:gd name="T28" fmla="*/ 9 w 153"/>
              <a:gd name="T29" fmla="*/ 113 h 153"/>
              <a:gd name="T30" fmla="*/ 3 w 153"/>
              <a:gd name="T31" fmla="*/ 100 h 153"/>
              <a:gd name="T32" fmla="*/ 0 w 153"/>
              <a:gd name="T33" fmla="*/ 85 h 153"/>
              <a:gd name="T34" fmla="*/ 0 w 153"/>
              <a:gd name="T35" fmla="*/ 77 h 153"/>
              <a:gd name="T36" fmla="*/ 1 w 153"/>
              <a:gd name="T37" fmla="*/ 61 h 153"/>
              <a:gd name="T38" fmla="*/ 6 w 153"/>
              <a:gd name="T39" fmla="*/ 47 h 153"/>
              <a:gd name="T40" fmla="*/ 12 w 153"/>
              <a:gd name="T41" fmla="*/ 33 h 153"/>
              <a:gd name="T42" fmla="*/ 22 w 153"/>
              <a:gd name="T43" fmla="*/ 22 h 153"/>
              <a:gd name="T44" fmla="*/ 33 w 153"/>
              <a:gd name="T45" fmla="*/ 13 h 153"/>
              <a:gd name="T46" fmla="*/ 47 w 153"/>
              <a:gd name="T47" fmla="*/ 6 h 153"/>
              <a:gd name="T48" fmla="*/ 60 w 153"/>
              <a:gd name="T49" fmla="*/ 1 h 153"/>
              <a:gd name="T50" fmla="*/ 76 w 153"/>
              <a:gd name="T51" fmla="*/ 0 h 153"/>
              <a:gd name="T52" fmla="*/ 84 w 153"/>
              <a:gd name="T53" fmla="*/ 0 h 153"/>
              <a:gd name="T54" fmla="*/ 99 w 153"/>
              <a:gd name="T55" fmla="*/ 3 h 153"/>
              <a:gd name="T56" fmla="*/ 113 w 153"/>
              <a:gd name="T57" fmla="*/ 9 h 153"/>
              <a:gd name="T58" fmla="*/ 126 w 153"/>
              <a:gd name="T59" fmla="*/ 17 h 153"/>
              <a:gd name="T60" fmla="*/ 136 w 153"/>
              <a:gd name="T61" fmla="*/ 27 h 153"/>
              <a:gd name="T62" fmla="*/ 144 w 153"/>
              <a:gd name="T63" fmla="*/ 40 h 153"/>
              <a:gd name="T64" fmla="*/ 150 w 153"/>
              <a:gd name="T65" fmla="*/ 54 h 153"/>
              <a:gd name="T66" fmla="*/ 153 w 153"/>
              <a:gd name="T67" fmla="*/ 69 h 153"/>
              <a:gd name="T68" fmla="*/ 153 w 153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3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100"/>
                </a:lnTo>
                <a:lnTo>
                  <a:pt x="147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1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99" y="150"/>
                </a:lnTo>
                <a:lnTo>
                  <a:pt x="93" y="152"/>
                </a:lnTo>
                <a:lnTo>
                  <a:pt x="84" y="153"/>
                </a:lnTo>
                <a:lnTo>
                  <a:pt x="76" y="153"/>
                </a:lnTo>
                <a:lnTo>
                  <a:pt x="76" y="153"/>
                </a:lnTo>
                <a:lnTo>
                  <a:pt x="68" y="153"/>
                </a:lnTo>
                <a:lnTo>
                  <a:pt x="60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2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3"/>
                </a:lnTo>
                <a:lnTo>
                  <a:pt x="17" y="27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0" y="1"/>
                </a:lnTo>
                <a:lnTo>
                  <a:pt x="68" y="0"/>
                </a:lnTo>
                <a:lnTo>
                  <a:pt x="76" y="0"/>
                </a:lnTo>
                <a:lnTo>
                  <a:pt x="76" y="0"/>
                </a:lnTo>
                <a:lnTo>
                  <a:pt x="84" y="0"/>
                </a:lnTo>
                <a:lnTo>
                  <a:pt x="93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1" y="22"/>
                </a:lnTo>
                <a:lnTo>
                  <a:pt x="136" y="27"/>
                </a:lnTo>
                <a:lnTo>
                  <a:pt x="141" y="33"/>
                </a:lnTo>
                <a:lnTo>
                  <a:pt x="144" y="40"/>
                </a:lnTo>
                <a:lnTo>
                  <a:pt x="147" y="47"/>
                </a:lnTo>
                <a:lnTo>
                  <a:pt x="150" y="54"/>
                </a:lnTo>
                <a:lnTo>
                  <a:pt x="152" y="61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4" name="Freeform 3063">
            <a:extLst>
              <a:ext uri="{FF2B5EF4-FFF2-40B4-BE49-F238E27FC236}">
                <a16:creationId xmlns:a16="http://schemas.microsoft.com/office/drawing/2014/main" id="{3086BF45-C3F1-489D-84B3-AC62A247F4B7}"/>
              </a:ext>
            </a:extLst>
          </p:cNvPr>
          <p:cNvSpPr>
            <a:spLocks/>
          </p:cNvSpPr>
          <p:nvPr userDrawn="1"/>
        </p:nvSpPr>
        <p:spPr bwMode="auto">
          <a:xfrm>
            <a:off x="1769563" y="2958993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7 w 153"/>
              <a:gd name="T5" fmla="*/ 106 h 154"/>
              <a:gd name="T6" fmla="*/ 140 w 153"/>
              <a:gd name="T7" fmla="*/ 120 h 154"/>
              <a:gd name="T8" fmla="*/ 131 w 153"/>
              <a:gd name="T9" fmla="*/ 131 h 154"/>
              <a:gd name="T10" fmla="*/ 120 w 153"/>
              <a:gd name="T11" fmla="*/ 140 h 154"/>
              <a:gd name="T12" fmla="*/ 106 w 153"/>
              <a:gd name="T13" fmla="*/ 147 h 154"/>
              <a:gd name="T14" fmla="*/ 92 w 153"/>
              <a:gd name="T15" fmla="*/ 152 h 154"/>
              <a:gd name="T16" fmla="*/ 76 w 153"/>
              <a:gd name="T17" fmla="*/ 154 h 154"/>
              <a:gd name="T18" fmla="*/ 68 w 153"/>
              <a:gd name="T19" fmla="*/ 153 h 154"/>
              <a:gd name="T20" fmla="*/ 53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5 w 153"/>
              <a:gd name="T39" fmla="*/ 46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6 w 153"/>
              <a:gd name="T47" fmla="*/ 5 h 154"/>
              <a:gd name="T48" fmla="*/ 61 w 153"/>
              <a:gd name="T49" fmla="*/ 2 h 154"/>
              <a:gd name="T50" fmla="*/ 76 w 153"/>
              <a:gd name="T51" fmla="*/ 0 h 154"/>
              <a:gd name="T52" fmla="*/ 84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5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49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49" y="99"/>
                </a:lnTo>
                <a:lnTo>
                  <a:pt x="147" y="106"/>
                </a:lnTo>
                <a:lnTo>
                  <a:pt x="144" y="113"/>
                </a:lnTo>
                <a:lnTo>
                  <a:pt x="140" y="120"/>
                </a:lnTo>
                <a:lnTo>
                  <a:pt x="136" y="125"/>
                </a:lnTo>
                <a:lnTo>
                  <a:pt x="131" y="131"/>
                </a:lnTo>
                <a:lnTo>
                  <a:pt x="125" y="136"/>
                </a:lnTo>
                <a:lnTo>
                  <a:pt x="120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2" y="152"/>
                </a:lnTo>
                <a:lnTo>
                  <a:pt x="84" y="153"/>
                </a:lnTo>
                <a:lnTo>
                  <a:pt x="76" y="154"/>
                </a:lnTo>
                <a:lnTo>
                  <a:pt x="76" y="154"/>
                </a:lnTo>
                <a:lnTo>
                  <a:pt x="68" y="153"/>
                </a:lnTo>
                <a:lnTo>
                  <a:pt x="61" y="152"/>
                </a:lnTo>
                <a:lnTo>
                  <a:pt x="53" y="151"/>
                </a:lnTo>
                <a:lnTo>
                  <a:pt x="46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5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5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6" y="5"/>
                </a:lnTo>
                <a:lnTo>
                  <a:pt x="53" y="3"/>
                </a:lnTo>
                <a:lnTo>
                  <a:pt x="61" y="2"/>
                </a:lnTo>
                <a:lnTo>
                  <a:pt x="68" y="1"/>
                </a:lnTo>
                <a:lnTo>
                  <a:pt x="76" y="0"/>
                </a:lnTo>
                <a:lnTo>
                  <a:pt x="76" y="0"/>
                </a:lnTo>
                <a:lnTo>
                  <a:pt x="84" y="1"/>
                </a:lnTo>
                <a:lnTo>
                  <a:pt x="92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6" y="28"/>
                </a:lnTo>
                <a:lnTo>
                  <a:pt x="140" y="34"/>
                </a:lnTo>
                <a:lnTo>
                  <a:pt x="144" y="40"/>
                </a:lnTo>
                <a:lnTo>
                  <a:pt x="147" y="46"/>
                </a:lnTo>
                <a:lnTo>
                  <a:pt x="149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6" name="Freeform 3065">
            <a:extLst>
              <a:ext uri="{FF2B5EF4-FFF2-40B4-BE49-F238E27FC236}">
                <a16:creationId xmlns:a16="http://schemas.microsoft.com/office/drawing/2014/main" id="{6D1F7A6F-AC7C-4724-82FF-967CF2824279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7" name="Freeform 3066">
            <a:extLst>
              <a:ext uri="{FF2B5EF4-FFF2-40B4-BE49-F238E27FC236}">
                <a16:creationId xmlns:a16="http://schemas.microsoft.com/office/drawing/2014/main" id="{FE953EAE-EF3E-48B0-A628-ACB2A108C23C}"/>
              </a:ext>
            </a:extLst>
          </p:cNvPr>
          <p:cNvSpPr>
            <a:spLocks/>
          </p:cNvSpPr>
          <p:nvPr userDrawn="1"/>
        </p:nvSpPr>
        <p:spPr bwMode="auto">
          <a:xfrm>
            <a:off x="1767465" y="2821478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2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6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2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6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5" y="17"/>
                </a:lnTo>
                <a:lnTo>
                  <a:pt x="131" y="23"/>
                </a:lnTo>
                <a:lnTo>
                  <a:pt x="137" y="27"/>
                </a:lnTo>
                <a:lnTo>
                  <a:pt x="140" y="34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8" name="Freeform 3067">
            <a:extLst>
              <a:ext uri="{FF2B5EF4-FFF2-40B4-BE49-F238E27FC236}">
                <a16:creationId xmlns:a16="http://schemas.microsoft.com/office/drawing/2014/main" id="{68A0CAFF-7578-4552-BE8F-5E964BD4211F}"/>
              </a:ext>
            </a:extLst>
          </p:cNvPr>
          <p:cNvSpPr>
            <a:spLocks/>
          </p:cNvSpPr>
          <p:nvPr userDrawn="1"/>
        </p:nvSpPr>
        <p:spPr bwMode="auto">
          <a:xfrm>
            <a:off x="1813653" y="2821478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3 h 154"/>
              <a:gd name="T4" fmla="*/ 148 w 155"/>
              <a:gd name="T5" fmla="*/ 106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70 w 155"/>
              <a:gd name="T19" fmla="*/ 153 h 154"/>
              <a:gd name="T20" fmla="*/ 54 w 155"/>
              <a:gd name="T21" fmla="*/ 151 h 154"/>
              <a:gd name="T22" fmla="*/ 40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0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7 w 155"/>
              <a:gd name="T47" fmla="*/ 6 h 154"/>
              <a:gd name="T48" fmla="*/ 62 w 155"/>
              <a:gd name="T49" fmla="*/ 1 h 154"/>
              <a:gd name="T50" fmla="*/ 77 w 155"/>
              <a:gd name="T51" fmla="*/ 0 h 154"/>
              <a:gd name="T52" fmla="*/ 85 w 155"/>
              <a:gd name="T53" fmla="*/ 0 h 154"/>
              <a:gd name="T54" fmla="*/ 100 w 155"/>
              <a:gd name="T55" fmla="*/ 3 h 154"/>
              <a:gd name="T56" fmla="*/ 115 w 155"/>
              <a:gd name="T57" fmla="*/ 9 h 154"/>
              <a:gd name="T58" fmla="*/ 126 w 155"/>
              <a:gd name="T59" fmla="*/ 17 h 154"/>
              <a:gd name="T60" fmla="*/ 137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70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9" name="Freeform 3068">
            <a:extLst>
              <a:ext uri="{FF2B5EF4-FFF2-40B4-BE49-F238E27FC236}">
                <a16:creationId xmlns:a16="http://schemas.microsoft.com/office/drawing/2014/main" id="{B3C5A024-EE86-47A4-89AC-3FC4554A14AC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286766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6 h 154"/>
              <a:gd name="T28" fmla="*/ 9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0" name="Freeform 3069">
            <a:extLst>
              <a:ext uri="{FF2B5EF4-FFF2-40B4-BE49-F238E27FC236}">
                <a16:creationId xmlns:a16="http://schemas.microsoft.com/office/drawing/2014/main" id="{B5A7EDDB-D5D7-4153-ACF6-116D09545B86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291490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6 h 153"/>
              <a:gd name="T28" fmla="*/ 9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3 h 153"/>
              <a:gd name="T42" fmla="*/ 23 w 154"/>
              <a:gd name="T43" fmla="*/ 22 h 153"/>
              <a:gd name="T44" fmla="*/ 34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8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1" name="Freeform 3070">
            <a:extLst>
              <a:ext uri="{FF2B5EF4-FFF2-40B4-BE49-F238E27FC236}">
                <a16:creationId xmlns:a16="http://schemas.microsoft.com/office/drawing/2014/main" id="{E32C2C89-8D58-493B-AD20-09C1939276CC}"/>
              </a:ext>
            </a:extLst>
          </p:cNvPr>
          <p:cNvSpPr>
            <a:spLocks/>
          </p:cNvSpPr>
          <p:nvPr userDrawn="1"/>
        </p:nvSpPr>
        <p:spPr bwMode="auto">
          <a:xfrm>
            <a:off x="1767465" y="2867666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0 w 154"/>
              <a:gd name="T7" fmla="*/ 120 h 154"/>
              <a:gd name="T8" fmla="*/ 131 w 154"/>
              <a:gd name="T9" fmla="*/ 131 h 154"/>
              <a:gd name="T10" fmla="*/ 120 w 154"/>
              <a:gd name="T11" fmla="*/ 141 h 154"/>
              <a:gd name="T12" fmla="*/ 107 w 154"/>
              <a:gd name="T13" fmla="*/ 149 h 154"/>
              <a:gd name="T14" fmla="*/ 92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3 w 154"/>
              <a:gd name="T31" fmla="*/ 101 h 154"/>
              <a:gd name="T32" fmla="*/ 1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6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5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5" y="114"/>
                </a:lnTo>
                <a:lnTo>
                  <a:pt x="140" y="120"/>
                </a:lnTo>
                <a:lnTo>
                  <a:pt x="137" y="126"/>
                </a:lnTo>
                <a:lnTo>
                  <a:pt x="131" y="131"/>
                </a:lnTo>
                <a:lnTo>
                  <a:pt x="125" y="137"/>
                </a:lnTo>
                <a:lnTo>
                  <a:pt x="120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2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6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6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2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5" y="18"/>
                </a:lnTo>
                <a:lnTo>
                  <a:pt x="131" y="23"/>
                </a:lnTo>
                <a:lnTo>
                  <a:pt x="137" y="28"/>
                </a:lnTo>
                <a:lnTo>
                  <a:pt x="140" y="34"/>
                </a:lnTo>
                <a:lnTo>
                  <a:pt x="145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2" name="Freeform 3071">
            <a:extLst>
              <a:ext uri="{FF2B5EF4-FFF2-40B4-BE49-F238E27FC236}">
                <a16:creationId xmlns:a16="http://schemas.microsoft.com/office/drawing/2014/main" id="{D78C8A5E-E19D-439A-A6CB-7C43AC27DEBD}"/>
              </a:ext>
            </a:extLst>
          </p:cNvPr>
          <p:cNvSpPr>
            <a:spLocks/>
          </p:cNvSpPr>
          <p:nvPr userDrawn="1"/>
        </p:nvSpPr>
        <p:spPr bwMode="auto">
          <a:xfrm>
            <a:off x="1767465" y="2914904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0 w 154"/>
              <a:gd name="T7" fmla="*/ 120 h 153"/>
              <a:gd name="T8" fmla="*/ 131 w 154"/>
              <a:gd name="T9" fmla="*/ 132 h 153"/>
              <a:gd name="T10" fmla="*/ 120 w 154"/>
              <a:gd name="T11" fmla="*/ 141 h 153"/>
              <a:gd name="T12" fmla="*/ 107 w 154"/>
              <a:gd name="T13" fmla="*/ 148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100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3 h 153"/>
              <a:gd name="T46" fmla="*/ 46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5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0" y="120"/>
                </a:lnTo>
                <a:lnTo>
                  <a:pt x="137" y="126"/>
                </a:lnTo>
                <a:lnTo>
                  <a:pt x="131" y="132"/>
                </a:lnTo>
                <a:lnTo>
                  <a:pt x="125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6" y="148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6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5" y="17"/>
                </a:lnTo>
                <a:lnTo>
                  <a:pt x="131" y="22"/>
                </a:lnTo>
                <a:lnTo>
                  <a:pt x="137" y="27"/>
                </a:lnTo>
                <a:lnTo>
                  <a:pt x="140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3" name="Freeform 3072">
            <a:extLst>
              <a:ext uri="{FF2B5EF4-FFF2-40B4-BE49-F238E27FC236}">
                <a16:creationId xmlns:a16="http://schemas.microsoft.com/office/drawing/2014/main" id="{60A1A397-4E41-4F97-A774-7B9F4C0A6184}"/>
              </a:ext>
            </a:extLst>
          </p:cNvPr>
          <p:cNvSpPr>
            <a:spLocks/>
          </p:cNvSpPr>
          <p:nvPr userDrawn="1"/>
        </p:nvSpPr>
        <p:spPr bwMode="auto">
          <a:xfrm>
            <a:off x="1813653" y="2867666"/>
            <a:ext cx="34350" cy="34350"/>
          </a:xfrm>
          <a:custGeom>
            <a:avLst/>
            <a:gdLst>
              <a:gd name="T0" fmla="*/ 155 w 155"/>
              <a:gd name="T1" fmla="*/ 78 h 154"/>
              <a:gd name="T2" fmla="*/ 153 w 155"/>
              <a:gd name="T3" fmla="*/ 93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7 w 155"/>
              <a:gd name="T17" fmla="*/ 154 h 154"/>
              <a:gd name="T18" fmla="*/ 70 w 155"/>
              <a:gd name="T19" fmla="*/ 154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0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5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4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5" y="145"/>
                </a:lnTo>
                <a:lnTo>
                  <a:pt x="108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7"/>
                </a:lnTo>
                <a:lnTo>
                  <a:pt x="115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6" y="41"/>
                </a:lnTo>
                <a:lnTo>
                  <a:pt x="148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4" name="Freeform 3073">
            <a:extLst>
              <a:ext uri="{FF2B5EF4-FFF2-40B4-BE49-F238E27FC236}">
                <a16:creationId xmlns:a16="http://schemas.microsoft.com/office/drawing/2014/main" id="{D7BCAA50-40AB-4615-8F73-AF949436DDB2}"/>
              </a:ext>
            </a:extLst>
          </p:cNvPr>
          <p:cNvSpPr>
            <a:spLocks/>
          </p:cNvSpPr>
          <p:nvPr userDrawn="1"/>
        </p:nvSpPr>
        <p:spPr bwMode="auto">
          <a:xfrm>
            <a:off x="1581663" y="27752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1 h 153"/>
              <a:gd name="T4" fmla="*/ 149 w 154"/>
              <a:gd name="T5" fmla="*/ 106 h 153"/>
              <a:gd name="T6" fmla="*/ 142 w 154"/>
              <a:gd name="T7" fmla="*/ 119 h 153"/>
              <a:gd name="T8" fmla="*/ 131 w 154"/>
              <a:gd name="T9" fmla="*/ 130 h 153"/>
              <a:gd name="T10" fmla="*/ 120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3 w 154"/>
              <a:gd name="T31" fmla="*/ 99 h 153"/>
              <a:gd name="T32" fmla="*/ 1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7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4 w 154"/>
              <a:gd name="T45" fmla="*/ 12 h 153"/>
              <a:gd name="T46" fmla="*/ 48 w 154"/>
              <a:gd name="T47" fmla="*/ 6 h 153"/>
              <a:gd name="T48" fmla="*/ 62 w 154"/>
              <a:gd name="T49" fmla="*/ 1 h 153"/>
              <a:gd name="T50" fmla="*/ 78 w 154"/>
              <a:gd name="T51" fmla="*/ 0 h 153"/>
              <a:gd name="T52" fmla="*/ 86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7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1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2" y="119"/>
                </a:lnTo>
                <a:lnTo>
                  <a:pt x="137" y="126"/>
                </a:lnTo>
                <a:lnTo>
                  <a:pt x="131" y="130"/>
                </a:lnTo>
                <a:lnTo>
                  <a:pt x="127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6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8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7" y="106"/>
                </a:lnTo>
                <a:lnTo>
                  <a:pt x="3" y="99"/>
                </a:lnTo>
                <a:lnTo>
                  <a:pt x="2" y="91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3" y="54"/>
                </a:lnTo>
                <a:lnTo>
                  <a:pt x="7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7" y="17"/>
                </a:lnTo>
                <a:lnTo>
                  <a:pt x="131" y="22"/>
                </a:lnTo>
                <a:lnTo>
                  <a:pt x="137" y="27"/>
                </a:lnTo>
                <a:lnTo>
                  <a:pt x="142" y="33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5" name="Freeform 3074">
            <a:extLst>
              <a:ext uri="{FF2B5EF4-FFF2-40B4-BE49-F238E27FC236}">
                <a16:creationId xmlns:a16="http://schemas.microsoft.com/office/drawing/2014/main" id="{608061FD-E531-4A27-B206-3DFE665882A3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2775290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1 h 153"/>
              <a:gd name="T4" fmla="*/ 148 w 154"/>
              <a:gd name="T5" fmla="*/ 106 h 153"/>
              <a:gd name="T6" fmla="*/ 141 w 154"/>
              <a:gd name="T7" fmla="*/ 119 h 153"/>
              <a:gd name="T8" fmla="*/ 131 w 154"/>
              <a:gd name="T9" fmla="*/ 130 h 153"/>
              <a:gd name="T10" fmla="*/ 119 w 154"/>
              <a:gd name="T11" fmla="*/ 141 h 153"/>
              <a:gd name="T12" fmla="*/ 107 w 154"/>
              <a:gd name="T13" fmla="*/ 147 h 153"/>
              <a:gd name="T14" fmla="*/ 92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99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2 w 154"/>
              <a:gd name="T43" fmla="*/ 22 h 153"/>
              <a:gd name="T44" fmla="*/ 34 w 154"/>
              <a:gd name="T45" fmla="*/ 12 h 153"/>
              <a:gd name="T46" fmla="*/ 47 w 154"/>
              <a:gd name="T47" fmla="*/ 6 h 153"/>
              <a:gd name="T48" fmla="*/ 61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1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19"/>
                </a:lnTo>
                <a:lnTo>
                  <a:pt x="137" y="126"/>
                </a:lnTo>
                <a:lnTo>
                  <a:pt x="131" y="130"/>
                </a:lnTo>
                <a:lnTo>
                  <a:pt x="126" y="136"/>
                </a:lnTo>
                <a:lnTo>
                  <a:pt x="119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0"/>
                </a:lnTo>
                <a:lnTo>
                  <a:pt x="92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1" y="152"/>
                </a:lnTo>
                <a:lnTo>
                  <a:pt x="54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0"/>
                </a:lnTo>
                <a:lnTo>
                  <a:pt x="18" y="126"/>
                </a:lnTo>
                <a:lnTo>
                  <a:pt x="13" y="119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1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2" y="22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2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19" y="12"/>
                </a:lnTo>
                <a:lnTo>
                  <a:pt x="126" y="17"/>
                </a:lnTo>
                <a:lnTo>
                  <a:pt x="131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6" name="Freeform 3075">
            <a:extLst>
              <a:ext uri="{FF2B5EF4-FFF2-40B4-BE49-F238E27FC236}">
                <a16:creationId xmlns:a16="http://schemas.microsoft.com/office/drawing/2014/main" id="{B106985C-4995-416F-B804-17D1B26F12A8}"/>
              </a:ext>
            </a:extLst>
          </p:cNvPr>
          <p:cNvSpPr>
            <a:spLocks/>
          </p:cNvSpPr>
          <p:nvPr userDrawn="1"/>
        </p:nvSpPr>
        <p:spPr bwMode="auto">
          <a:xfrm>
            <a:off x="1674039" y="2775287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1 h 153"/>
              <a:gd name="T4" fmla="*/ 149 w 155"/>
              <a:gd name="T5" fmla="*/ 106 h 153"/>
              <a:gd name="T6" fmla="*/ 141 w 155"/>
              <a:gd name="T7" fmla="*/ 119 h 153"/>
              <a:gd name="T8" fmla="*/ 132 w 155"/>
              <a:gd name="T9" fmla="*/ 130 h 153"/>
              <a:gd name="T10" fmla="*/ 120 w 155"/>
              <a:gd name="T11" fmla="*/ 141 h 153"/>
              <a:gd name="T12" fmla="*/ 108 w 155"/>
              <a:gd name="T13" fmla="*/ 147 h 153"/>
              <a:gd name="T14" fmla="*/ 93 w 155"/>
              <a:gd name="T15" fmla="*/ 152 h 153"/>
              <a:gd name="T16" fmla="*/ 78 w 155"/>
              <a:gd name="T17" fmla="*/ 153 h 153"/>
              <a:gd name="T18" fmla="*/ 70 w 155"/>
              <a:gd name="T19" fmla="*/ 153 h 153"/>
              <a:gd name="T20" fmla="*/ 55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9 w 155"/>
              <a:gd name="T29" fmla="*/ 113 h 153"/>
              <a:gd name="T30" fmla="*/ 4 w 155"/>
              <a:gd name="T31" fmla="*/ 99 h 153"/>
              <a:gd name="T32" fmla="*/ 1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7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2 h 153"/>
              <a:gd name="T46" fmla="*/ 47 w 155"/>
              <a:gd name="T47" fmla="*/ 6 h 153"/>
              <a:gd name="T48" fmla="*/ 62 w 155"/>
              <a:gd name="T49" fmla="*/ 1 h 153"/>
              <a:gd name="T50" fmla="*/ 78 w 155"/>
              <a:gd name="T51" fmla="*/ 0 h 153"/>
              <a:gd name="T52" fmla="*/ 85 w 155"/>
              <a:gd name="T53" fmla="*/ 0 h 153"/>
              <a:gd name="T54" fmla="*/ 101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2" y="91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1" y="119"/>
                </a:lnTo>
                <a:lnTo>
                  <a:pt x="136" y="126"/>
                </a:lnTo>
                <a:lnTo>
                  <a:pt x="132" y="130"/>
                </a:lnTo>
                <a:lnTo>
                  <a:pt x="126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0"/>
                </a:lnTo>
                <a:lnTo>
                  <a:pt x="18" y="126"/>
                </a:lnTo>
                <a:lnTo>
                  <a:pt x="14" y="119"/>
                </a:lnTo>
                <a:lnTo>
                  <a:pt x="9" y="113"/>
                </a:lnTo>
                <a:lnTo>
                  <a:pt x="7" y="106"/>
                </a:lnTo>
                <a:lnTo>
                  <a:pt x="4" y="99"/>
                </a:lnTo>
                <a:lnTo>
                  <a:pt x="2" y="91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1"/>
                </a:lnTo>
                <a:lnTo>
                  <a:pt x="4" y="54"/>
                </a:lnTo>
                <a:lnTo>
                  <a:pt x="7" y="47"/>
                </a:lnTo>
                <a:lnTo>
                  <a:pt x="9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2"/>
                </a:lnTo>
                <a:lnTo>
                  <a:pt x="40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2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7" name="Freeform 3076">
            <a:extLst>
              <a:ext uri="{FF2B5EF4-FFF2-40B4-BE49-F238E27FC236}">
                <a16:creationId xmlns:a16="http://schemas.microsoft.com/office/drawing/2014/main" id="{FF3174F5-77C7-4502-A073-C1B899FF88B0}"/>
              </a:ext>
            </a:extLst>
          </p:cNvPr>
          <p:cNvSpPr>
            <a:spLocks/>
          </p:cNvSpPr>
          <p:nvPr userDrawn="1"/>
        </p:nvSpPr>
        <p:spPr bwMode="auto">
          <a:xfrm>
            <a:off x="1581663" y="2821475"/>
            <a:ext cx="34350" cy="34350"/>
          </a:xfrm>
          <a:custGeom>
            <a:avLst/>
            <a:gdLst>
              <a:gd name="T0" fmla="*/ 153 w 153"/>
              <a:gd name="T1" fmla="*/ 77 h 154"/>
              <a:gd name="T2" fmla="*/ 152 w 153"/>
              <a:gd name="T3" fmla="*/ 93 h 154"/>
              <a:gd name="T4" fmla="*/ 148 w 153"/>
              <a:gd name="T5" fmla="*/ 106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6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5 h 154"/>
              <a:gd name="T34" fmla="*/ 0 w 153"/>
              <a:gd name="T35" fmla="*/ 77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2 h 154"/>
              <a:gd name="T46" fmla="*/ 47 w 153"/>
              <a:gd name="T47" fmla="*/ 6 h 154"/>
              <a:gd name="T48" fmla="*/ 61 w 153"/>
              <a:gd name="T49" fmla="*/ 1 h 154"/>
              <a:gd name="T50" fmla="*/ 77 w 153"/>
              <a:gd name="T51" fmla="*/ 0 h 154"/>
              <a:gd name="T52" fmla="*/ 85 w 153"/>
              <a:gd name="T53" fmla="*/ 0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7 h 154"/>
              <a:gd name="T62" fmla="*/ 144 w 153"/>
              <a:gd name="T63" fmla="*/ 40 h 154"/>
              <a:gd name="T64" fmla="*/ 150 w 153"/>
              <a:gd name="T65" fmla="*/ 54 h 154"/>
              <a:gd name="T66" fmla="*/ 153 w 153"/>
              <a:gd name="T67" fmla="*/ 69 h 154"/>
              <a:gd name="T68" fmla="*/ 153 w 153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7"/>
                </a:moveTo>
                <a:lnTo>
                  <a:pt x="153" y="77"/>
                </a:lnTo>
                <a:lnTo>
                  <a:pt x="153" y="85"/>
                </a:lnTo>
                <a:lnTo>
                  <a:pt x="152" y="93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6"/>
                </a:lnTo>
                <a:lnTo>
                  <a:pt x="119" y="141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1"/>
                </a:lnTo>
                <a:lnTo>
                  <a:pt x="27" y="136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2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2" y="34"/>
                </a:lnTo>
                <a:lnTo>
                  <a:pt x="17" y="27"/>
                </a:lnTo>
                <a:lnTo>
                  <a:pt x="22" y="23"/>
                </a:lnTo>
                <a:lnTo>
                  <a:pt x="27" y="17"/>
                </a:lnTo>
                <a:lnTo>
                  <a:pt x="33" y="12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1" y="1"/>
                </a:lnTo>
                <a:lnTo>
                  <a:pt x="99" y="3"/>
                </a:lnTo>
                <a:lnTo>
                  <a:pt x="106" y="6"/>
                </a:lnTo>
                <a:lnTo>
                  <a:pt x="113" y="9"/>
                </a:lnTo>
                <a:lnTo>
                  <a:pt x="119" y="12"/>
                </a:lnTo>
                <a:lnTo>
                  <a:pt x="126" y="17"/>
                </a:lnTo>
                <a:lnTo>
                  <a:pt x="130" y="23"/>
                </a:lnTo>
                <a:lnTo>
                  <a:pt x="136" y="27"/>
                </a:lnTo>
                <a:lnTo>
                  <a:pt x="141" y="34"/>
                </a:lnTo>
                <a:lnTo>
                  <a:pt x="144" y="40"/>
                </a:lnTo>
                <a:lnTo>
                  <a:pt x="148" y="47"/>
                </a:lnTo>
                <a:lnTo>
                  <a:pt x="150" y="54"/>
                </a:lnTo>
                <a:lnTo>
                  <a:pt x="152" y="62"/>
                </a:lnTo>
                <a:lnTo>
                  <a:pt x="153" y="69"/>
                </a:lnTo>
                <a:lnTo>
                  <a:pt x="153" y="77"/>
                </a:lnTo>
                <a:lnTo>
                  <a:pt x="153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8" name="Freeform 3077">
            <a:extLst>
              <a:ext uri="{FF2B5EF4-FFF2-40B4-BE49-F238E27FC236}">
                <a16:creationId xmlns:a16="http://schemas.microsoft.com/office/drawing/2014/main" id="{C02ECC0F-4B3D-4131-AB5E-5C1FEDE6F07A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2821475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1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2" y="23"/>
                </a:lnTo>
                <a:lnTo>
                  <a:pt x="28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1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9" name="Freeform 3078">
            <a:extLst>
              <a:ext uri="{FF2B5EF4-FFF2-40B4-BE49-F238E27FC236}">
                <a16:creationId xmlns:a16="http://schemas.microsoft.com/office/drawing/2014/main" id="{FD3D2332-EB67-486C-BC46-1F75452C1236}"/>
              </a:ext>
            </a:extLst>
          </p:cNvPr>
          <p:cNvSpPr>
            <a:spLocks/>
          </p:cNvSpPr>
          <p:nvPr userDrawn="1"/>
        </p:nvSpPr>
        <p:spPr bwMode="auto">
          <a:xfrm>
            <a:off x="1674039" y="2821474"/>
            <a:ext cx="34350" cy="34350"/>
          </a:xfrm>
          <a:custGeom>
            <a:avLst/>
            <a:gdLst>
              <a:gd name="T0" fmla="*/ 155 w 155"/>
              <a:gd name="T1" fmla="*/ 77 h 154"/>
              <a:gd name="T2" fmla="*/ 154 w 155"/>
              <a:gd name="T3" fmla="*/ 93 h 154"/>
              <a:gd name="T4" fmla="*/ 149 w 155"/>
              <a:gd name="T5" fmla="*/ 106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7 h 154"/>
              <a:gd name="T14" fmla="*/ 93 w 155"/>
              <a:gd name="T15" fmla="*/ 152 h 154"/>
              <a:gd name="T16" fmla="*/ 78 w 155"/>
              <a:gd name="T17" fmla="*/ 154 h 154"/>
              <a:gd name="T18" fmla="*/ 70 w 155"/>
              <a:gd name="T19" fmla="*/ 153 h 154"/>
              <a:gd name="T20" fmla="*/ 55 w 155"/>
              <a:gd name="T21" fmla="*/ 151 h 154"/>
              <a:gd name="T22" fmla="*/ 41 w 155"/>
              <a:gd name="T23" fmla="*/ 144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3 h 154"/>
              <a:gd name="T30" fmla="*/ 4 w 155"/>
              <a:gd name="T31" fmla="*/ 99 h 154"/>
              <a:gd name="T32" fmla="*/ 1 w 155"/>
              <a:gd name="T33" fmla="*/ 85 h 154"/>
              <a:gd name="T34" fmla="*/ 0 w 155"/>
              <a:gd name="T35" fmla="*/ 77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2 h 154"/>
              <a:gd name="T46" fmla="*/ 48 w 155"/>
              <a:gd name="T47" fmla="*/ 6 h 154"/>
              <a:gd name="T48" fmla="*/ 62 w 155"/>
              <a:gd name="T49" fmla="*/ 1 h 154"/>
              <a:gd name="T50" fmla="*/ 78 w 155"/>
              <a:gd name="T51" fmla="*/ 0 h 154"/>
              <a:gd name="T52" fmla="*/ 86 w 155"/>
              <a:gd name="T53" fmla="*/ 0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7 h 154"/>
              <a:gd name="T60" fmla="*/ 138 w 155"/>
              <a:gd name="T61" fmla="*/ 27 h 154"/>
              <a:gd name="T62" fmla="*/ 146 w 155"/>
              <a:gd name="T63" fmla="*/ 40 h 154"/>
              <a:gd name="T64" fmla="*/ 151 w 155"/>
              <a:gd name="T65" fmla="*/ 54 h 154"/>
              <a:gd name="T66" fmla="*/ 155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5" y="85"/>
                </a:lnTo>
                <a:lnTo>
                  <a:pt x="154" y="93"/>
                </a:lnTo>
                <a:lnTo>
                  <a:pt x="151" y="99"/>
                </a:lnTo>
                <a:lnTo>
                  <a:pt x="149" y="106"/>
                </a:lnTo>
                <a:lnTo>
                  <a:pt x="146" y="113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6"/>
                </a:lnTo>
                <a:lnTo>
                  <a:pt x="120" y="141"/>
                </a:lnTo>
                <a:lnTo>
                  <a:pt x="115" y="144"/>
                </a:lnTo>
                <a:lnTo>
                  <a:pt x="108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8" y="147"/>
                </a:lnTo>
                <a:lnTo>
                  <a:pt x="41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7" y="106"/>
                </a:lnTo>
                <a:lnTo>
                  <a:pt x="4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4" y="54"/>
                </a:lnTo>
                <a:lnTo>
                  <a:pt x="7" y="47"/>
                </a:lnTo>
                <a:lnTo>
                  <a:pt x="10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5" y="12"/>
                </a:lnTo>
                <a:lnTo>
                  <a:pt x="41" y="9"/>
                </a:lnTo>
                <a:lnTo>
                  <a:pt x="48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8" y="6"/>
                </a:lnTo>
                <a:lnTo>
                  <a:pt x="115" y="9"/>
                </a:lnTo>
                <a:lnTo>
                  <a:pt x="120" y="12"/>
                </a:lnTo>
                <a:lnTo>
                  <a:pt x="127" y="17"/>
                </a:lnTo>
                <a:lnTo>
                  <a:pt x="132" y="23"/>
                </a:lnTo>
                <a:lnTo>
                  <a:pt x="138" y="27"/>
                </a:lnTo>
                <a:lnTo>
                  <a:pt x="142" y="34"/>
                </a:lnTo>
                <a:lnTo>
                  <a:pt x="146" y="40"/>
                </a:lnTo>
                <a:lnTo>
                  <a:pt x="149" y="47"/>
                </a:lnTo>
                <a:lnTo>
                  <a:pt x="151" y="54"/>
                </a:lnTo>
                <a:lnTo>
                  <a:pt x="154" y="62"/>
                </a:lnTo>
                <a:lnTo>
                  <a:pt x="155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0" name="Freeform 3079">
            <a:extLst>
              <a:ext uri="{FF2B5EF4-FFF2-40B4-BE49-F238E27FC236}">
                <a16:creationId xmlns:a16="http://schemas.microsoft.com/office/drawing/2014/main" id="{B41E7D36-B078-44A3-8240-377F38076E1C}"/>
              </a:ext>
            </a:extLst>
          </p:cNvPr>
          <p:cNvSpPr>
            <a:spLocks/>
          </p:cNvSpPr>
          <p:nvPr userDrawn="1"/>
        </p:nvSpPr>
        <p:spPr bwMode="auto">
          <a:xfrm>
            <a:off x="1581663" y="2867662"/>
            <a:ext cx="34350" cy="34350"/>
          </a:xfrm>
          <a:custGeom>
            <a:avLst/>
            <a:gdLst>
              <a:gd name="T0" fmla="*/ 153 w 153"/>
              <a:gd name="T1" fmla="*/ 78 h 154"/>
              <a:gd name="T2" fmla="*/ 152 w 153"/>
              <a:gd name="T3" fmla="*/ 93 h 154"/>
              <a:gd name="T4" fmla="*/ 148 w 153"/>
              <a:gd name="T5" fmla="*/ 107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1 h 154"/>
              <a:gd name="T12" fmla="*/ 106 w 153"/>
              <a:gd name="T13" fmla="*/ 149 h 154"/>
              <a:gd name="T14" fmla="*/ 91 w 153"/>
              <a:gd name="T15" fmla="*/ 153 h 154"/>
              <a:gd name="T16" fmla="*/ 77 w 153"/>
              <a:gd name="T17" fmla="*/ 154 h 154"/>
              <a:gd name="T18" fmla="*/ 69 w 153"/>
              <a:gd name="T19" fmla="*/ 154 h 154"/>
              <a:gd name="T20" fmla="*/ 54 w 153"/>
              <a:gd name="T21" fmla="*/ 151 h 154"/>
              <a:gd name="T22" fmla="*/ 40 w 153"/>
              <a:gd name="T23" fmla="*/ 145 h 154"/>
              <a:gd name="T24" fmla="*/ 27 w 153"/>
              <a:gd name="T25" fmla="*/ 137 h 154"/>
              <a:gd name="T26" fmla="*/ 17 w 153"/>
              <a:gd name="T27" fmla="*/ 126 h 154"/>
              <a:gd name="T28" fmla="*/ 9 w 153"/>
              <a:gd name="T29" fmla="*/ 114 h 154"/>
              <a:gd name="T30" fmla="*/ 3 w 153"/>
              <a:gd name="T31" fmla="*/ 101 h 154"/>
              <a:gd name="T32" fmla="*/ 0 w 153"/>
              <a:gd name="T33" fmla="*/ 86 h 154"/>
              <a:gd name="T34" fmla="*/ 0 w 153"/>
              <a:gd name="T35" fmla="*/ 78 h 154"/>
              <a:gd name="T36" fmla="*/ 1 w 153"/>
              <a:gd name="T37" fmla="*/ 62 h 154"/>
              <a:gd name="T38" fmla="*/ 6 w 153"/>
              <a:gd name="T39" fmla="*/ 47 h 154"/>
              <a:gd name="T40" fmla="*/ 12 w 153"/>
              <a:gd name="T41" fmla="*/ 34 h 154"/>
              <a:gd name="T42" fmla="*/ 22 w 153"/>
              <a:gd name="T43" fmla="*/ 23 h 154"/>
              <a:gd name="T44" fmla="*/ 33 w 153"/>
              <a:gd name="T45" fmla="*/ 14 h 154"/>
              <a:gd name="T46" fmla="*/ 47 w 153"/>
              <a:gd name="T47" fmla="*/ 7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8 h 154"/>
              <a:gd name="T60" fmla="*/ 136 w 153"/>
              <a:gd name="T61" fmla="*/ 28 h 154"/>
              <a:gd name="T62" fmla="*/ 144 w 153"/>
              <a:gd name="T63" fmla="*/ 41 h 154"/>
              <a:gd name="T64" fmla="*/ 150 w 153"/>
              <a:gd name="T65" fmla="*/ 55 h 154"/>
              <a:gd name="T66" fmla="*/ 153 w 153"/>
              <a:gd name="T67" fmla="*/ 70 h 154"/>
              <a:gd name="T68" fmla="*/ 153 w 153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8"/>
                </a:moveTo>
                <a:lnTo>
                  <a:pt x="153" y="78"/>
                </a:lnTo>
                <a:lnTo>
                  <a:pt x="153" y="86"/>
                </a:lnTo>
                <a:lnTo>
                  <a:pt x="152" y="93"/>
                </a:lnTo>
                <a:lnTo>
                  <a:pt x="150" y="101"/>
                </a:lnTo>
                <a:lnTo>
                  <a:pt x="148" y="107"/>
                </a:lnTo>
                <a:lnTo>
                  <a:pt x="144" y="114"/>
                </a:lnTo>
                <a:lnTo>
                  <a:pt x="141" y="120"/>
                </a:lnTo>
                <a:lnTo>
                  <a:pt x="136" y="126"/>
                </a:lnTo>
                <a:lnTo>
                  <a:pt x="130" y="131"/>
                </a:lnTo>
                <a:lnTo>
                  <a:pt x="126" y="137"/>
                </a:lnTo>
                <a:lnTo>
                  <a:pt x="119" y="141"/>
                </a:lnTo>
                <a:lnTo>
                  <a:pt x="113" y="145"/>
                </a:lnTo>
                <a:lnTo>
                  <a:pt x="106" y="149"/>
                </a:lnTo>
                <a:lnTo>
                  <a:pt x="99" y="151"/>
                </a:lnTo>
                <a:lnTo>
                  <a:pt x="91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0" y="145"/>
                </a:lnTo>
                <a:lnTo>
                  <a:pt x="33" y="141"/>
                </a:lnTo>
                <a:lnTo>
                  <a:pt x="27" y="137"/>
                </a:lnTo>
                <a:lnTo>
                  <a:pt x="22" y="131"/>
                </a:lnTo>
                <a:lnTo>
                  <a:pt x="17" y="126"/>
                </a:lnTo>
                <a:lnTo>
                  <a:pt x="12" y="120"/>
                </a:lnTo>
                <a:lnTo>
                  <a:pt x="9" y="114"/>
                </a:lnTo>
                <a:lnTo>
                  <a:pt x="6" y="107"/>
                </a:lnTo>
                <a:lnTo>
                  <a:pt x="3" y="101"/>
                </a:lnTo>
                <a:lnTo>
                  <a:pt x="1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3" y="55"/>
                </a:lnTo>
                <a:lnTo>
                  <a:pt x="6" y="47"/>
                </a:lnTo>
                <a:lnTo>
                  <a:pt x="9" y="41"/>
                </a:lnTo>
                <a:lnTo>
                  <a:pt x="12" y="34"/>
                </a:lnTo>
                <a:lnTo>
                  <a:pt x="17" y="28"/>
                </a:lnTo>
                <a:lnTo>
                  <a:pt x="22" y="23"/>
                </a:lnTo>
                <a:lnTo>
                  <a:pt x="27" y="18"/>
                </a:lnTo>
                <a:lnTo>
                  <a:pt x="33" y="14"/>
                </a:lnTo>
                <a:lnTo>
                  <a:pt x="40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7"/>
                </a:lnTo>
                <a:lnTo>
                  <a:pt x="113" y="9"/>
                </a:lnTo>
                <a:lnTo>
                  <a:pt x="119" y="14"/>
                </a:lnTo>
                <a:lnTo>
                  <a:pt x="126" y="18"/>
                </a:lnTo>
                <a:lnTo>
                  <a:pt x="130" y="23"/>
                </a:lnTo>
                <a:lnTo>
                  <a:pt x="136" y="28"/>
                </a:lnTo>
                <a:lnTo>
                  <a:pt x="141" y="34"/>
                </a:lnTo>
                <a:lnTo>
                  <a:pt x="144" y="41"/>
                </a:lnTo>
                <a:lnTo>
                  <a:pt x="148" y="47"/>
                </a:lnTo>
                <a:lnTo>
                  <a:pt x="150" y="55"/>
                </a:lnTo>
                <a:lnTo>
                  <a:pt x="152" y="62"/>
                </a:lnTo>
                <a:lnTo>
                  <a:pt x="153" y="70"/>
                </a:lnTo>
                <a:lnTo>
                  <a:pt x="153" y="78"/>
                </a:lnTo>
                <a:lnTo>
                  <a:pt x="153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1" name="Freeform 3080">
            <a:extLst>
              <a:ext uri="{FF2B5EF4-FFF2-40B4-BE49-F238E27FC236}">
                <a16:creationId xmlns:a16="http://schemas.microsoft.com/office/drawing/2014/main" id="{58814129-DF6C-47D6-AB3C-4273C78DAAFA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2867662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3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9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1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4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0" y="101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7"/>
                </a:lnTo>
                <a:lnTo>
                  <a:pt x="121" y="141"/>
                </a:lnTo>
                <a:lnTo>
                  <a:pt x="114" y="145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5"/>
                </a:lnTo>
                <a:lnTo>
                  <a:pt x="34" y="141"/>
                </a:lnTo>
                <a:lnTo>
                  <a:pt x="28" y="137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1"/>
                </a:lnTo>
                <a:lnTo>
                  <a:pt x="2" y="93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2" name="Freeform 3081">
            <a:extLst>
              <a:ext uri="{FF2B5EF4-FFF2-40B4-BE49-F238E27FC236}">
                <a16:creationId xmlns:a16="http://schemas.microsoft.com/office/drawing/2014/main" id="{A80F2D06-4A79-4F21-8427-839114065E8C}"/>
              </a:ext>
            </a:extLst>
          </p:cNvPr>
          <p:cNvSpPr>
            <a:spLocks/>
          </p:cNvSpPr>
          <p:nvPr userDrawn="1"/>
        </p:nvSpPr>
        <p:spPr bwMode="auto">
          <a:xfrm>
            <a:off x="1674039" y="2867659"/>
            <a:ext cx="34350" cy="34350"/>
          </a:xfrm>
          <a:custGeom>
            <a:avLst/>
            <a:gdLst>
              <a:gd name="T0" fmla="*/ 155 w 155"/>
              <a:gd name="T1" fmla="*/ 78 h 154"/>
              <a:gd name="T2" fmla="*/ 154 w 155"/>
              <a:gd name="T3" fmla="*/ 93 h 154"/>
              <a:gd name="T4" fmla="*/ 149 w 155"/>
              <a:gd name="T5" fmla="*/ 107 h 154"/>
              <a:gd name="T6" fmla="*/ 142 w 155"/>
              <a:gd name="T7" fmla="*/ 120 h 154"/>
              <a:gd name="T8" fmla="*/ 132 w 155"/>
              <a:gd name="T9" fmla="*/ 131 h 154"/>
              <a:gd name="T10" fmla="*/ 120 w 155"/>
              <a:gd name="T11" fmla="*/ 141 h 154"/>
              <a:gd name="T12" fmla="*/ 108 w 155"/>
              <a:gd name="T13" fmla="*/ 149 h 154"/>
              <a:gd name="T14" fmla="*/ 93 w 155"/>
              <a:gd name="T15" fmla="*/ 153 h 154"/>
              <a:gd name="T16" fmla="*/ 78 w 155"/>
              <a:gd name="T17" fmla="*/ 154 h 154"/>
              <a:gd name="T18" fmla="*/ 70 w 155"/>
              <a:gd name="T19" fmla="*/ 154 h 154"/>
              <a:gd name="T20" fmla="*/ 55 w 155"/>
              <a:gd name="T21" fmla="*/ 151 h 154"/>
              <a:gd name="T22" fmla="*/ 41 w 155"/>
              <a:gd name="T23" fmla="*/ 145 h 154"/>
              <a:gd name="T24" fmla="*/ 29 w 155"/>
              <a:gd name="T25" fmla="*/ 137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1 h 154"/>
              <a:gd name="T32" fmla="*/ 1 w 155"/>
              <a:gd name="T33" fmla="*/ 86 h 154"/>
              <a:gd name="T34" fmla="*/ 0 w 155"/>
              <a:gd name="T35" fmla="*/ 78 h 154"/>
              <a:gd name="T36" fmla="*/ 2 w 155"/>
              <a:gd name="T37" fmla="*/ 62 h 154"/>
              <a:gd name="T38" fmla="*/ 7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4 h 154"/>
              <a:gd name="T46" fmla="*/ 48 w 155"/>
              <a:gd name="T47" fmla="*/ 7 h 154"/>
              <a:gd name="T48" fmla="*/ 62 w 155"/>
              <a:gd name="T49" fmla="*/ 2 h 154"/>
              <a:gd name="T50" fmla="*/ 78 w 155"/>
              <a:gd name="T51" fmla="*/ 0 h 154"/>
              <a:gd name="T52" fmla="*/ 86 w 155"/>
              <a:gd name="T53" fmla="*/ 1 h 154"/>
              <a:gd name="T54" fmla="*/ 101 w 155"/>
              <a:gd name="T55" fmla="*/ 3 h 154"/>
              <a:gd name="T56" fmla="*/ 115 w 155"/>
              <a:gd name="T57" fmla="*/ 9 h 154"/>
              <a:gd name="T58" fmla="*/ 127 w 155"/>
              <a:gd name="T59" fmla="*/ 18 h 154"/>
              <a:gd name="T60" fmla="*/ 138 w 155"/>
              <a:gd name="T61" fmla="*/ 28 h 154"/>
              <a:gd name="T62" fmla="*/ 146 w 155"/>
              <a:gd name="T63" fmla="*/ 41 h 154"/>
              <a:gd name="T64" fmla="*/ 151 w 155"/>
              <a:gd name="T65" fmla="*/ 55 h 154"/>
              <a:gd name="T66" fmla="*/ 155 w 155"/>
              <a:gd name="T67" fmla="*/ 70 h 154"/>
              <a:gd name="T68" fmla="*/ 155 w 155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8"/>
                </a:moveTo>
                <a:lnTo>
                  <a:pt x="155" y="78"/>
                </a:lnTo>
                <a:lnTo>
                  <a:pt x="155" y="86"/>
                </a:lnTo>
                <a:lnTo>
                  <a:pt x="154" y="93"/>
                </a:lnTo>
                <a:lnTo>
                  <a:pt x="151" y="101"/>
                </a:lnTo>
                <a:lnTo>
                  <a:pt x="149" y="107"/>
                </a:lnTo>
                <a:lnTo>
                  <a:pt x="146" y="114"/>
                </a:lnTo>
                <a:lnTo>
                  <a:pt x="142" y="120"/>
                </a:lnTo>
                <a:lnTo>
                  <a:pt x="138" y="126"/>
                </a:lnTo>
                <a:lnTo>
                  <a:pt x="132" y="131"/>
                </a:lnTo>
                <a:lnTo>
                  <a:pt x="127" y="137"/>
                </a:lnTo>
                <a:lnTo>
                  <a:pt x="120" y="141"/>
                </a:lnTo>
                <a:lnTo>
                  <a:pt x="115" y="145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6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8" y="149"/>
                </a:lnTo>
                <a:lnTo>
                  <a:pt x="41" y="145"/>
                </a:lnTo>
                <a:lnTo>
                  <a:pt x="35" y="141"/>
                </a:lnTo>
                <a:lnTo>
                  <a:pt x="29" y="137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7" y="107"/>
                </a:lnTo>
                <a:lnTo>
                  <a:pt x="4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5"/>
                </a:lnTo>
                <a:lnTo>
                  <a:pt x="7" y="47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4"/>
                </a:lnTo>
                <a:lnTo>
                  <a:pt x="41" y="9"/>
                </a:lnTo>
                <a:lnTo>
                  <a:pt x="48" y="7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8" y="7"/>
                </a:lnTo>
                <a:lnTo>
                  <a:pt x="115" y="9"/>
                </a:lnTo>
                <a:lnTo>
                  <a:pt x="120" y="14"/>
                </a:lnTo>
                <a:lnTo>
                  <a:pt x="127" y="18"/>
                </a:lnTo>
                <a:lnTo>
                  <a:pt x="132" y="23"/>
                </a:lnTo>
                <a:lnTo>
                  <a:pt x="138" y="28"/>
                </a:lnTo>
                <a:lnTo>
                  <a:pt x="142" y="34"/>
                </a:lnTo>
                <a:lnTo>
                  <a:pt x="146" y="41"/>
                </a:lnTo>
                <a:lnTo>
                  <a:pt x="149" y="47"/>
                </a:lnTo>
                <a:lnTo>
                  <a:pt x="151" y="55"/>
                </a:lnTo>
                <a:lnTo>
                  <a:pt x="154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3" name="Freeform 3082">
            <a:extLst>
              <a:ext uri="{FF2B5EF4-FFF2-40B4-BE49-F238E27FC236}">
                <a16:creationId xmlns:a16="http://schemas.microsoft.com/office/drawing/2014/main" id="{2C4E1F51-A037-42C6-8A47-CCE55E8C37C2}"/>
              </a:ext>
            </a:extLst>
          </p:cNvPr>
          <p:cNvSpPr>
            <a:spLocks/>
          </p:cNvSpPr>
          <p:nvPr userDrawn="1"/>
        </p:nvSpPr>
        <p:spPr bwMode="auto">
          <a:xfrm>
            <a:off x="1813653" y="291489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3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1 w 155"/>
              <a:gd name="T11" fmla="*/ 141 h 153"/>
              <a:gd name="T12" fmla="*/ 108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70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9 w 155"/>
              <a:gd name="T25" fmla="*/ 136 h 153"/>
              <a:gd name="T26" fmla="*/ 18 w 155"/>
              <a:gd name="T27" fmla="*/ 126 h 153"/>
              <a:gd name="T28" fmla="*/ 10 w 155"/>
              <a:gd name="T29" fmla="*/ 113 h 153"/>
              <a:gd name="T30" fmla="*/ 4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2 w 155"/>
              <a:gd name="T37" fmla="*/ 61 h 153"/>
              <a:gd name="T38" fmla="*/ 6 w 155"/>
              <a:gd name="T39" fmla="*/ 47 h 153"/>
              <a:gd name="T40" fmla="*/ 14 w 155"/>
              <a:gd name="T41" fmla="*/ 33 h 153"/>
              <a:gd name="T42" fmla="*/ 23 w 155"/>
              <a:gd name="T43" fmla="*/ 22 h 153"/>
              <a:gd name="T44" fmla="*/ 35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5 w 155"/>
              <a:gd name="T57" fmla="*/ 9 h 153"/>
              <a:gd name="T58" fmla="*/ 126 w 155"/>
              <a:gd name="T59" fmla="*/ 17 h 153"/>
              <a:gd name="T60" fmla="*/ 137 w 155"/>
              <a:gd name="T61" fmla="*/ 27 h 153"/>
              <a:gd name="T62" fmla="*/ 146 w 155"/>
              <a:gd name="T63" fmla="*/ 40 h 153"/>
              <a:gd name="T64" fmla="*/ 151 w 155"/>
              <a:gd name="T65" fmla="*/ 54 h 153"/>
              <a:gd name="T66" fmla="*/ 154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8" y="106"/>
                </a:lnTo>
                <a:lnTo>
                  <a:pt x="146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5" y="144"/>
                </a:lnTo>
                <a:lnTo>
                  <a:pt x="108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70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5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4" y="33"/>
                </a:lnTo>
                <a:lnTo>
                  <a:pt x="18" y="27"/>
                </a:lnTo>
                <a:lnTo>
                  <a:pt x="23" y="22"/>
                </a:lnTo>
                <a:lnTo>
                  <a:pt x="29" y="17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8" y="6"/>
                </a:lnTo>
                <a:lnTo>
                  <a:pt x="115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6" y="40"/>
                </a:lnTo>
                <a:lnTo>
                  <a:pt x="148" y="47"/>
                </a:lnTo>
                <a:lnTo>
                  <a:pt x="151" y="54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4" name="Freeform 3083">
            <a:extLst>
              <a:ext uri="{FF2B5EF4-FFF2-40B4-BE49-F238E27FC236}">
                <a16:creationId xmlns:a16="http://schemas.microsoft.com/office/drawing/2014/main" id="{8B4F36E5-78E8-4E75-98C0-58FE30023667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295898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5" name="Freeform 3084">
            <a:extLst>
              <a:ext uri="{FF2B5EF4-FFF2-40B4-BE49-F238E27FC236}">
                <a16:creationId xmlns:a16="http://schemas.microsoft.com/office/drawing/2014/main" id="{2F9D85D8-372C-4231-A113-A079CFEB2945}"/>
              </a:ext>
            </a:extLst>
          </p:cNvPr>
          <p:cNvSpPr>
            <a:spLocks/>
          </p:cNvSpPr>
          <p:nvPr userDrawn="1"/>
        </p:nvSpPr>
        <p:spPr bwMode="auto">
          <a:xfrm>
            <a:off x="1675090" y="295898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8 w 154"/>
              <a:gd name="T51" fmla="*/ 0 h 154"/>
              <a:gd name="T52" fmla="*/ 86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6" y="1"/>
                </a:lnTo>
                <a:lnTo>
                  <a:pt x="93" y="2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6" name="Freeform 3085">
            <a:extLst>
              <a:ext uri="{FF2B5EF4-FFF2-40B4-BE49-F238E27FC236}">
                <a16:creationId xmlns:a16="http://schemas.microsoft.com/office/drawing/2014/main" id="{A3A65262-A9E5-405C-8247-741A6015FFB8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2914898"/>
            <a:ext cx="34350" cy="34350"/>
          </a:xfrm>
          <a:custGeom>
            <a:avLst/>
            <a:gdLst>
              <a:gd name="T0" fmla="*/ 154 w 154"/>
              <a:gd name="T1" fmla="*/ 77 h 153"/>
              <a:gd name="T2" fmla="*/ 153 w 154"/>
              <a:gd name="T3" fmla="*/ 93 h 153"/>
              <a:gd name="T4" fmla="*/ 148 w 154"/>
              <a:gd name="T5" fmla="*/ 106 h 153"/>
              <a:gd name="T6" fmla="*/ 141 w 154"/>
              <a:gd name="T7" fmla="*/ 120 h 153"/>
              <a:gd name="T8" fmla="*/ 132 w 154"/>
              <a:gd name="T9" fmla="*/ 132 h 153"/>
              <a:gd name="T10" fmla="*/ 121 w 154"/>
              <a:gd name="T11" fmla="*/ 141 h 153"/>
              <a:gd name="T12" fmla="*/ 107 w 154"/>
              <a:gd name="T13" fmla="*/ 148 h 153"/>
              <a:gd name="T14" fmla="*/ 93 w 154"/>
              <a:gd name="T15" fmla="*/ 152 h 153"/>
              <a:gd name="T16" fmla="*/ 77 w 154"/>
              <a:gd name="T17" fmla="*/ 153 h 153"/>
              <a:gd name="T18" fmla="*/ 69 w 154"/>
              <a:gd name="T19" fmla="*/ 153 h 153"/>
              <a:gd name="T20" fmla="*/ 54 w 154"/>
              <a:gd name="T21" fmla="*/ 150 h 153"/>
              <a:gd name="T22" fmla="*/ 41 w 154"/>
              <a:gd name="T23" fmla="*/ 144 h 153"/>
              <a:gd name="T24" fmla="*/ 28 w 154"/>
              <a:gd name="T25" fmla="*/ 136 h 153"/>
              <a:gd name="T26" fmla="*/ 18 w 154"/>
              <a:gd name="T27" fmla="*/ 126 h 153"/>
              <a:gd name="T28" fmla="*/ 10 w 154"/>
              <a:gd name="T29" fmla="*/ 113 h 153"/>
              <a:gd name="T30" fmla="*/ 4 w 154"/>
              <a:gd name="T31" fmla="*/ 100 h 153"/>
              <a:gd name="T32" fmla="*/ 0 w 154"/>
              <a:gd name="T33" fmla="*/ 85 h 153"/>
              <a:gd name="T34" fmla="*/ 0 w 154"/>
              <a:gd name="T35" fmla="*/ 77 h 153"/>
              <a:gd name="T36" fmla="*/ 2 w 154"/>
              <a:gd name="T37" fmla="*/ 61 h 153"/>
              <a:gd name="T38" fmla="*/ 6 w 154"/>
              <a:gd name="T39" fmla="*/ 47 h 153"/>
              <a:gd name="T40" fmla="*/ 13 w 154"/>
              <a:gd name="T41" fmla="*/ 33 h 153"/>
              <a:gd name="T42" fmla="*/ 23 w 154"/>
              <a:gd name="T43" fmla="*/ 22 h 153"/>
              <a:gd name="T44" fmla="*/ 35 w 154"/>
              <a:gd name="T45" fmla="*/ 13 h 153"/>
              <a:gd name="T46" fmla="*/ 47 w 154"/>
              <a:gd name="T47" fmla="*/ 6 h 153"/>
              <a:gd name="T48" fmla="*/ 62 w 154"/>
              <a:gd name="T49" fmla="*/ 1 h 153"/>
              <a:gd name="T50" fmla="*/ 77 w 154"/>
              <a:gd name="T51" fmla="*/ 0 h 153"/>
              <a:gd name="T52" fmla="*/ 85 w 154"/>
              <a:gd name="T53" fmla="*/ 0 h 153"/>
              <a:gd name="T54" fmla="*/ 100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0 w 154"/>
              <a:gd name="T65" fmla="*/ 54 h 153"/>
              <a:gd name="T66" fmla="*/ 154 w 154"/>
              <a:gd name="T67" fmla="*/ 69 h 153"/>
              <a:gd name="T68" fmla="*/ 154 w 154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1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2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100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3"/>
                </a:lnTo>
                <a:lnTo>
                  <a:pt x="18" y="27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1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7" name="Freeform 3086">
            <a:extLst>
              <a:ext uri="{FF2B5EF4-FFF2-40B4-BE49-F238E27FC236}">
                <a16:creationId xmlns:a16="http://schemas.microsoft.com/office/drawing/2014/main" id="{5E83DF2F-B361-4439-9493-275B12A4455E}"/>
              </a:ext>
            </a:extLst>
          </p:cNvPr>
          <p:cNvSpPr>
            <a:spLocks/>
          </p:cNvSpPr>
          <p:nvPr userDrawn="1"/>
        </p:nvSpPr>
        <p:spPr bwMode="auto">
          <a:xfrm>
            <a:off x="1672990" y="2914898"/>
            <a:ext cx="34350" cy="34350"/>
          </a:xfrm>
          <a:custGeom>
            <a:avLst/>
            <a:gdLst>
              <a:gd name="T0" fmla="*/ 155 w 155"/>
              <a:gd name="T1" fmla="*/ 77 h 153"/>
              <a:gd name="T2" fmla="*/ 152 w 155"/>
              <a:gd name="T3" fmla="*/ 93 h 153"/>
              <a:gd name="T4" fmla="*/ 148 w 155"/>
              <a:gd name="T5" fmla="*/ 106 h 153"/>
              <a:gd name="T6" fmla="*/ 141 w 155"/>
              <a:gd name="T7" fmla="*/ 120 h 153"/>
              <a:gd name="T8" fmla="*/ 132 w 155"/>
              <a:gd name="T9" fmla="*/ 132 h 153"/>
              <a:gd name="T10" fmla="*/ 120 w 155"/>
              <a:gd name="T11" fmla="*/ 141 h 153"/>
              <a:gd name="T12" fmla="*/ 106 w 155"/>
              <a:gd name="T13" fmla="*/ 148 h 153"/>
              <a:gd name="T14" fmla="*/ 93 w 155"/>
              <a:gd name="T15" fmla="*/ 152 h 153"/>
              <a:gd name="T16" fmla="*/ 77 w 155"/>
              <a:gd name="T17" fmla="*/ 153 h 153"/>
              <a:gd name="T18" fmla="*/ 69 w 155"/>
              <a:gd name="T19" fmla="*/ 153 h 153"/>
              <a:gd name="T20" fmla="*/ 54 w 155"/>
              <a:gd name="T21" fmla="*/ 150 h 153"/>
              <a:gd name="T22" fmla="*/ 40 w 155"/>
              <a:gd name="T23" fmla="*/ 144 h 153"/>
              <a:gd name="T24" fmla="*/ 28 w 155"/>
              <a:gd name="T25" fmla="*/ 136 h 153"/>
              <a:gd name="T26" fmla="*/ 17 w 155"/>
              <a:gd name="T27" fmla="*/ 126 h 153"/>
              <a:gd name="T28" fmla="*/ 9 w 155"/>
              <a:gd name="T29" fmla="*/ 113 h 153"/>
              <a:gd name="T30" fmla="*/ 3 w 155"/>
              <a:gd name="T31" fmla="*/ 100 h 153"/>
              <a:gd name="T32" fmla="*/ 0 w 155"/>
              <a:gd name="T33" fmla="*/ 85 h 153"/>
              <a:gd name="T34" fmla="*/ 0 w 155"/>
              <a:gd name="T35" fmla="*/ 77 h 153"/>
              <a:gd name="T36" fmla="*/ 1 w 155"/>
              <a:gd name="T37" fmla="*/ 61 h 153"/>
              <a:gd name="T38" fmla="*/ 6 w 155"/>
              <a:gd name="T39" fmla="*/ 47 h 153"/>
              <a:gd name="T40" fmla="*/ 13 w 155"/>
              <a:gd name="T41" fmla="*/ 33 h 153"/>
              <a:gd name="T42" fmla="*/ 23 w 155"/>
              <a:gd name="T43" fmla="*/ 22 h 153"/>
              <a:gd name="T44" fmla="*/ 34 w 155"/>
              <a:gd name="T45" fmla="*/ 13 h 153"/>
              <a:gd name="T46" fmla="*/ 47 w 155"/>
              <a:gd name="T47" fmla="*/ 6 h 153"/>
              <a:gd name="T48" fmla="*/ 62 w 155"/>
              <a:gd name="T49" fmla="*/ 1 h 153"/>
              <a:gd name="T50" fmla="*/ 77 w 155"/>
              <a:gd name="T51" fmla="*/ 0 h 153"/>
              <a:gd name="T52" fmla="*/ 85 w 155"/>
              <a:gd name="T53" fmla="*/ 0 h 153"/>
              <a:gd name="T54" fmla="*/ 100 w 155"/>
              <a:gd name="T55" fmla="*/ 3 h 153"/>
              <a:gd name="T56" fmla="*/ 113 w 155"/>
              <a:gd name="T57" fmla="*/ 9 h 153"/>
              <a:gd name="T58" fmla="*/ 126 w 155"/>
              <a:gd name="T59" fmla="*/ 17 h 153"/>
              <a:gd name="T60" fmla="*/ 136 w 155"/>
              <a:gd name="T61" fmla="*/ 27 h 153"/>
              <a:gd name="T62" fmla="*/ 145 w 155"/>
              <a:gd name="T63" fmla="*/ 40 h 153"/>
              <a:gd name="T64" fmla="*/ 151 w 155"/>
              <a:gd name="T65" fmla="*/ 54 h 153"/>
              <a:gd name="T66" fmla="*/ 153 w 155"/>
              <a:gd name="T67" fmla="*/ 69 h 153"/>
              <a:gd name="T68" fmla="*/ 155 w 155"/>
              <a:gd name="T69" fmla="*/ 7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3">
                <a:moveTo>
                  <a:pt x="155" y="77"/>
                </a:moveTo>
                <a:lnTo>
                  <a:pt x="155" y="77"/>
                </a:lnTo>
                <a:lnTo>
                  <a:pt x="153" y="85"/>
                </a:lnTo>
                <a:lnTo>
                  <a:pt x="152" y="93"/>
                </a:lnTo>
                <a:lnTo>
                  <a:pt x="151" y="100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6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3" y="144"/>
                </a:lnTo>
                <a:lnTo>
                  <a:pt x="106" y="148"/>
                </a:lnTo>
                <a:lnTo>
                  <a:pt x="100" y="150"/>
                </a:lnTo>
                <a:lnTo>
                  <a:pt x="93" y="152"/>
                </a:lnTo>
                <a:lnTo>
                  <a:pt x="85" y="153"/>
                </a:lnTo>
                <a:lnTo>
                  <a:pt x="77" y="153"/>
                </a:lnTo>
                <a:lnTo>
                  <a:pt x="77" y="153"/>
                </a:lnTo>
                <a:lnTo>
                  <a:pt x="69" y="153"/>
                </a:lnTo>
                <a:lnTo>
                  <a:pt x="62" y="152"/>
                </a:lnTo>
                <a:lnTo>
                  <a:pt x="54" y="150"/>
                </a:lnTo>
                <a:lnTo>
                  <a:pt x="47" y="148"/>
                </a:lnTo>
                <a:lnTo>
                  <a:pt x="40" y="144"/>
                </a:lnTo>
                <a:lnTo>
                  <a:pt x="34" y="141"/>
                </a:lnTo>
                <a:lnTo>
                  <a:pt x="28" y="136"/>
                </a:lnTo>
                <a:lnTo>
                  <a:pt x="23" y="132"/>
                </a:lnTo>
                <a:lnTo>
                  <a:pt x="17" y="126"/>
                </a:lnTo>
                <a:lnTo>
                  <a:pt x="13" y="120"/>
                </a:lnTo>
                <a:lnTo>
                  <a:pt x="9" y="113"/>
                </a:lnTo>
                <a:lnTo>
                  <a:pt x="6" y="106"/>
                </a:lnTo>
                <a:lnTo>
                  <a:pt x="3" y="100"/>
                </a:lnTo>
                <a:lnTo>
                  <a:pt x="1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1" y="61"/>
                </a:lnTo>
                <a:lnTo>
                  <a:pt x="3" y="54"/>
                </a:lnTo>
                <a:lnTo>
                  <a:pt x="6" y="47"/>
                </a:lnTo>
                <a:lnTo>
                  <a:pt x="9" y="40"/>
                </a:lnTo>
                <a:lnTo>
                  <a:pt x="13" y="33"/>
                </a:lnTo>
                <a:lnTo>
                  <a:pt x="17" y="27"/>
                </a:lnTo>
                <a:lnTo>
                  <a:pt x="23" y="22"/>
                </a:lnTo>
                <a:lnTo>
                  <a:pt x="28" y="17"/>
                </a:lnTo>
                <a:lnTo>
                  <a:pt x="34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6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6" y="27"/>
                </a:lnTo>
                <a:lnTo>
                  <a:pt x="141" y="33"/>
                </a:lnTo>
                <a:lnTo>
                  <a:pt x="145" y="40"/>
                </a:lnTo>
                <a:lnTo>
                  <a:pt x="148" y="47"/>
                </a:lnTo>
                <a:lnTo>
                  <a:pt x="151" y="54"/>
                </a:lnTo>
                <a:lnTo>
                  <a:pt x="152" y="61"/>
                </a:lnTo>
                <a:lnTo>
                  <a:pt x="153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8" name="Freeform 3087">
            <a:extLst>
              <a:ext uri="{FF2B5EF4-FFF2-40B4-BE49-F238E27FC236}">
                <a16:creationId xmlns:a16="http://schemas.microsoft.com/office/drawing/2014/main" id="{C242AA19-5555-45D7-A6FA-4756A08E6905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2958987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5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6 w 154"/>
              <a:gd name="T39" fmla="*/ 46 h 154"/>
              <a:gd name="T40" fmla="*/ 13 w 154"/>
              <a:gd name="T41" fmla="*/ 34 h 154"/>
              <a:gd name="T42" fmla="*/ 23 w 154"/>
              <a:gd name="T43" fmla="*/ 22 h 154"/>
              <a:gd name="T44" fmla="*/ 35 w 154"/>
              <a:gd name="T45" fmla="*/ 13 h 154"/>
              <a:gd name="T46" fmla="*/ 47 w 154"/>
              <a:gd name="T47" fmla="*/ 5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4"/>
                </a:lnTo>
                <a:lnTo>
                  <a:pt x="35" y="140"/>
                </a:lnTo>
                <a:lnTo>
                  <a:pt x="28" y="136"/>
                </a:lnTo>
                <a:lnTo>
                  <a:pt x="23" y="131"/>
                </a:lnTo>
                <a:lnTo>
                  <a:pt x="18" y="125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2" y="61"/>
                </a:lnTo>
                <a:lnTo>
                  <a:pt x="4" y="53"/>
                </a:lnTo>
                <a:lnTo>
                  <a:pt x="6" y="46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1" y="9"/>
                </a:lnTo>
                <a:lnTo>
                  <a:pt x="47" y="5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5"/>
                </a:lnTo>
                <a:lnTo>
                  <a:pt x="114" y="9"/>
                </a:lnTo>
                <a:lnTo>
                  <a:pt x="121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6"/>
                </a:lnTo>
                <a:lnTo>
                  <a:pt x="150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9" name="Freeform 3088">
            <a:extLst>
              <a:ext uri="{FF2B5EF4-FFF2-40B4-BE49-F238E27FC236}">
                <a16:creationId xmlns:a16="http://schemas.microsoft.com/office/drawing/2014/main" id="{87D27102-DFD5-4693-A0D1-8AB9E4541F0D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3003076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8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4 h 154"/>
              <a:gd name="T34" fmla="*/ 0 w 154"/>
              <a:gd name="T35" fmla="*/ 76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5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1"/>
                </a:lnTo>
                <a:lnTo>
                  <a:pt x="28" y="136"/>
                </a:lnTo>
                <a:lnTo>
                  <a:pt x="22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70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0" name="Freeform 3089">
            <a:extLst>
              <a:ext uri="{FF2B5EF4-FFF2-40B4-BE49-F238E27FC236}">
                <a16:creationId xmlns:a16="http://schemas.microsoft.com/office/drawing/2014/main" id="{513C3895-91F8-4BD2-B0FA-E20EBA8E5197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304926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3 w 154"/>
              <a:gd name="T3" fmla="*/ 94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1 w 154"/>
              <a:gd name="T11" fmla="*/ 142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69 w 154"/>
              <a:gd name="T19" fmla="*/ 154 h 154"/>
              <a:gd name="T20" fmla="*/ 54 w 154"/>
              <a:gd name="T21" fmla="*/ 151 h 154"/>
              <a:gd name="T22" fmla="*/ 41 w 154"/>
              <a:gd name="T23" fmla="*/ 145 h 154"/>
              <a:gd name="T24" fmla="*/ 28 w 154"/>
              <a:gd name="T25" fmla="*/ 137 h 154"/>
              <a:gd name="T26" fmla="*/ 18 w 154"/>
              <a:gd name="T27" fmla="*/ 127 h 154"/>
              <a:gd name="T28" fmla="*/ 10 w 154"/>
              <a:gd name="T29" fmla="*/ 114 h 154"/>
              <a:gd name="T30" fmla="*/ 4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3 w 154"/>
              <a:gd name="T41" fmla="*/ 34 h 154"/>
              <a:gd name="T42" fmla="*/ 22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1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100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1 h 154"/>
              <a:gd name="T64" fmla="*/ 150 w 154"/>
              <a:gd name="T65" fmla="*/ 55 h 154"/>
              <a:gd name="T66" fmla="*/ 154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4"/>
                </a:lnTo>
                <a:lnTo>
                  <a:pt x="150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7" y="127"/>
                </a:lnTo>
                <a:lnTo>
                  <a:pt x="132" y="132"/>
                </a:lnTo>
                <a:lnTo>
                  <a:pt x="126" y="137"/>
                </a:lnTo>
                <a:lnTo>
                  <a:pt x="121" y="142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69" y="154"/>
                </a:lnTo>
                <a:lnTo>
                  <a:pt x="61" y="153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2"/>
                </a:lnTo>
                <a:lnTo>
                  <a:pt x="28" y="137"/>
                </a:lnTo>
                <a:lnTo>
                  <a:pt x="22" y="132"/>
                </a:lnTo>
                <a:lnTo>
                  <a:pt x="18" y="127"/>
                </a:lnTo>
                <a:lnTo>
                  <a:pt x="13" y="121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8"/>
                </a:lnTo>
                <a:lnTo>
                  <a:pt x="10" y="41"/>
                </a:lnTo>
                <a:lnTo>
                  <a:pt x="13" y="34"/>
                </a:lnTo>
                <a:lnTo>
                  <a:pt x="18" y="28"/>
                </a:lnTo>
                <a:lnTo>
                  <a:pt x="22" y="23"/>
                </a:lnTo>
                <a:lnTo>
                  <a:pt x="28" y="18"/>
                </a:lnTo>
                <a:lnTo>
                  <a:pt x="34" y="13"/>
                </a:lnTo>
                <a:lnTo>
                  <a:pt x="41" y="10"/>
                </a:lnTo>
                <a:lnTo>
                  <a:pt x="47" y="7"/>
                </a:lnTo>
                <a:lnTo>
                  <a:pt x="54" y="4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1" name="Freeform 3090">
            <a:extLst>
              <a:ext uri="{FF2B5EF4-FFF2-40B4-BE49-F238E27FC236}">
                <a16:creationId xmlns:a16="http://schemas.microsoft.com/office/drawing/2014/main" id="{237FFFD2-D013-42FE-86C2-6A2308184090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30965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8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1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7 w 154"/>
              <a:gd name="T17" fmla="*/ 154 h 154"/>
              <a:gd name="T18" fmla="*/ 69 w 154"/>
              <a:gd name="T19" fmla="*/ 153 h 154"/>
              <a:gd name="T20" fmla="*/ 54 w 154"/>
              <a:gd name="T21" fmla="*/ 151 h 154"/>
              <a:gd name="T22" fmla="*/ 41 w 154"/>
              <a:gd name="T23" fmla="*/ 144 h 154"/>
              <a:gd name="T24" fmla="*/ 28 w 154"/>
              <a:gd name="T25" fmla="*/ 136 h 154"/>
              <a:gd name="T26" fmla="*/ 18 w 154"/>
              <a:gd name="T27" fmla="*/ 126 h 154"/>
              <a:gd name="T28" fmla="*/ 10 w 154"/>
              <a:gd name="T29" fmla="*/ 113 h 154"/>
              <a:gd name="T30" fmla="*/ 4 w 154"/>
              <a:gd name="T31" fmla="*/ 99 h 154"/>
              <a:gd name="T32" fmla="*/ 0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6 w 154"/>
              <a:gd name="T39" fmla="*/ 47 h 154"/>
              <a:gd name="T40" fmla="*/ 13 w 154"/>
              <a:gd name="T41" fmla="*/ 34 h 154"/>
              <a:gd name="T42" fmla="*/ 23 w 154"/>
              <a:gd name="T43" fmla="*/ 23 h 154"/>
              <a:gd name="T44" fmla="*/ 35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7 w 154"/>
              <a:gd name="T51" fmla="*/ 0 h 154"/>
              <a:gd name="T52" fmla="*/ 85 w 154"/>
              <a:gd name="T53" fmla="*/ 0 h 154"/>
              <a:gd name="T54" fmla="*/ 100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0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0" y="99"/>
                </a:lnTo>
                <a:lnTo>
                  <a:pt x="148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1"/>
                </a:lnTo>
                <a:lnTo>
                  <a:pt x="114" y="144"/>
                </a:lnTo>
                <a:lnTo>
                  <a:pt x="107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1" y="144"/>
                </a:lnTo>
                <a:lnTo>
                  <a:pt x="35" y="141"/>
                </a:lnTo>
                <a:lnTo>
                  <a:pt x="28" y="136"/>
                </a:lnTo>
                <a:lnTo>
                  <a:pt x="23" y="131"/>
                </a:lnTo>
                <a:lnTo>
                  <a:pt x="18" y="126"/>
                </a:lnTo>
                <a:lnTo>
                  <a:pt x="13" y="120"/>
                </a:lnTo>
                <a:lnTo>
                  <a:pt x="10" y="113"/>
                </a:lnTo>
                <a:lnTo>
                  <a:pt x="6" y="106"/>
                </a:lnTo>
                <a:lnTo>
                  <a:pt x="4" y="99"/>
                </a:lnTo>
                <a:lnTo>
                  <a:pt x="2" y="93"/>
                </a:lnTo>
                <a:lnTo>
                  <a:pt x="0" y="85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2"/>
                </a:lnTo>
                <a:lnTo>
                  <a:pt x="4" y="54"/>
                </a:lnTo>
                <a:lnTo>
                  <a:pt x="6" y="47"/>
                </a:lnTo>
                <a:lnTo>
                  <a:pt x="10" y="40"/>
                </a:lnTo>
                <a:lnTo>
                  <a:pt x="13" y="34"/>
                </a:lnTo>
                <a:lnTo>
                  <a:pt x="18" y="27"/>
                </a:lnTo>
                <a:lnTo>
                  <a:pt x="23" y="23"/>
                </a:lnTo>
                <a:lnTo>
                  <a:pt x="28" y="17"/>
                </a:lnTo>
                <a:lnTo>
                  <a:pt x="35" y="12"/>
                </a:lnTo>
                <a:lnTo>
                  <a:pt x="41" y="9"/>
                </a:lnTo>
                <a:lnTo>
                  <a:pt x="47" y="6"/>
                </a:lnTo>
                <a:lnTo>
                  <a:pt x="54" y="3"/>
                </a:lnTo>
                <a:lnTo>
                  <a:pt x="62" y="1"/>
                </a:lnTo>
                <a:lnTo>
                  <a:pt x="69" y="0"/>
                </a:lnTo>
                <a:lnTo>
                  <a:pt x="77" y="0"/>
                </a:lnTo>
                <a:lnTo>
                  <a:pt x="77" y="0"/>
                </a:lnTo>
                <a:lnTo>
                  <a:pt x="85" y="0"/>
                </a:lnTo>
                <a:lnTo>
                  <a:pt x="93" y="1"/>
                </a:lnTo>
                <a:lnTo>
                  <a:pt x="100" y="3"/>
                </a:lnTo>
                <a:lnTo>
                  <a:pt x="107" y="6"/>
                </a:lnTo>
                <a:lnTo>
                  <a:pt x="114" y="9"/>
                </a:lnTo>
                <a:lnTo>
                  <a:pt x="121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0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2" name="Freeform 3091">
            <a:extLst>
              <a:ext uri="{FF2B5EF4-FFF2-40B4-BE49-F238E27FC236}">
                <a16:creationId xmlns:a16="http://schemas.microsoft.com/office/drawing/2014/main" id="{CB91BBA3-417E-4322-A4F0-DEDC476DDBE2}"/>
              </a:ext>
            </a:extLst>
          </p:cNvPr>
          <p:cNvSpPr>
            <a:spLocks/>
          </p:cNvSpPr>
          <p:nvPr userDrawn="1"/>
        </p:nvSpPr>
        <p:spPr bwMode="auto">
          <a:xfrm>
            <a:off x="1675090" y="3049264"/>
            <a:ext cx="34350" cy="34350"/>
          </a:xfrm>
          <a:custGeom>
            <a:avLst/>
            <a:gdLst>
              <a:gd name="T0" fmla="*/ 154 w 154"/>
              <a:gd name="T1" fmla="*/ 78 h 154"/>
              <a:gd name="T2" fmla="*/ 152 w 154"/>
              <a:gd name="T3" fmla="*/ 94 h 154"/>
              <a:gd name="T4" fmla="*/ 148 w 154"/>
              <a:gd name="T5" fmla="*/ 107 h 154"/>
              <a:gd name="T6" fmla="*/ 141 w 154"/>
              <a:gd name="T7" fmla="*/ 121 h 154"/>
              <a:gd name="T8" fmla="*/ 132 w 154"/>
              <a:gd name="T9" fmla="*/ 132 h 154"/>
              <a:gd name="T10" fmla="*/ 120 w 154"/>
              <a:gd name="T11" fmla="*/ 142 h 154"/>
              <a:gd name="T12" fmla="*/ 107 w 154"/>
              <a:gd name="T13" fmla="*/ 148 h 154"/>
              <a:gd name="T14" fmla="*/ 93 w 154"/>
              <a:gd name="T15" fmla="*/ 153 h 154"/>
              <a:gd name="T16" fmla="*/ 77 w 154"/>
              <a:gd name="T17" fmla="*/ 154 h 154"/>
              <a:gd name="T18" fmla="*/ 70 w 154"/>
              <a:gd name="T19" fmla="*/ 154 h 154"/>
              <a:gd name="T20" fmla="*/ 54 w 154"/>
              <a:gd name="T21" fmla="*/ 151 h 154"/>
              <a:gd name="T22" fmla="*/ 40 w 154"/>
              <a:gd name="T23" fmla="*/ 145 h 154"/>
              <a:gd name="T24" fmla="*/ 29 w 154"/>
              <a:gd name="T25" fmla="*/ 137 h 154"/>
              <a:gd name="T26" fmla="*/ 18 w 154"/>
              <a:gd name="T27" fmla="*/ 127 h 154"/>
              <a:gd name="T28" fmla="*/ 9 w 154"/>
              <a:gd name="T29" fmla="*/ 114 h 154"/>
              <a:gd name="T30" fmla="*/ 3 w 154"/>
              <a:gd name="T31" fmla="*/ 100 h 154"/>
              <a:gd name="T32" fmla="*/ 0 w 154"/>
              <a:gd name="T33" fmla="*/ 86 h 154"/>
              <a:gd name="T34" fmla="*/ 0 w 154"/>
              <a:gd name="T35" fmla="*/ 78 h 154"/>
              <a:gd name="T36" fmla="*/ 2 w 154"/>
              <a:gd name="T37" fmla="*/ 62 h 154"/>
              <a:gd name="T38" fmla="*/ 6 w 154"/>
              <a:gd name="T39" fmla="*/ 48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3 h 154"/>
              <a:gd name="T46" fmla="*/ 47 w 154"/>
              <a:gd name="T47" fmla="*/ 7 h 154"/>
              <a:gd name="T48" fmla="*/ 62 w 154"/>
              <a:gd name="T49" fmla="*/ 2 h 154"/>
              <a:gd name="T50" fmla="*/ 77 w 154"/>
              <a:gd name="T51" fmla="*/ 0 h 154"/>
              <a:gd name="T52" fmla="*/ 85 w 154"/>
              <a:gd name="T53" fmla="*/ 1 h 154"/>
              <a:gd name="T54" fmla="*/ 99 w 154"/>
              <a:gd name="T55" fmla="*/ 4 h 154"/>
              <a:gd name="T56" fmla="*/ 114 w 154"/>
              <a:gd name="T57" fmla="*/ 10 h 154"/>
              <a:gd name="T58" fmla="*/ 126 w 154"/>
              <a:gd name="T59" fmla="*/ 18 h 154"/>
              <a:gd name="T60" fmla="*/ 136 w 154"/>
              <a:gd name="T61" fmla="*/ 28 h 154"/>
              <a:gd name="T62" fmla="*/ 145 w 154"/>
              <a:gd name="T63" fmla="*/ 41 h 154"/>
              <a:gd name="T64" fmla="*/ 151 w 154"/>
              <a:gd name="T65" fmla="*/ 55 h 154"/>
              <a:gd name="T66" fmla="*/ 153 w 154"/>
              <a:gd name="T67" fmla="*/ 70 h 154"/>
              <a:gd name="T68" fmla="*/ 154 w 154"/>
              <a:gd name="T69" fmla="*/ 7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8"/>
                </a:moveTo>
                <a:lnTo>
                  <a:pt x="154" y="78"/>
                </a:lnTo>
                <a:lnTo>
                  <a:pt x="153" y="86"/>
                </a:lnTo>
                <a:lnTo>
                  <a:pt x="152" y="94"/>
                </a:lnTo>
                <a:lnTo>
                  <a:pt x="151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1"/>
                </a:lnTo>
                <a:lnTo>
                  <a:pt x="136" y="127"/>
                </a:lnTo>
                <a:lnTo>
                  <a:pt x="132" y="132"/>
                </a:lnTo>
                <a:lnTo>
                  <a:pt x="126" y="137"/>
                </a:lnTo>
                <a:lnTo>
                  <a:pt x="120" y="142"/>
                </a:lnTo>
                <a:lnTo>
                  <a:pt x="114" y="145"/>
                </a:lnTo>
                <a:lnTo>
                  <a:pt x="107" y="148"/>
                </a:lnTo>
                <a:lnTo>
                  <a:pt x="99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4"/>
                </a:lnTo>
                <a:lnTo>
                  <a:pt x="77" y="154"/>
                </a:lnTo>
                <a:lnTo>
                  <a:pt x="70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8"/>
                </a:lnTo>
                <a:lnTo>
                  <a:pt x="40" y="145"/>
                </a:lnTo>
                <a:lnTo>
                  <a:pt x="34" y="142"/>
                </a:lnTo>
                <a:lnTo>
                  <a:pt x="29" y="137"/>
                </a:lnTo>
                <a:lnTo>
                  <a:pt x="23" y="132"/>
                </a:lnTo>
                <a:lnTo>
                  <a:pt x="18" y="127"/>
                </a:lnTo>
                <a:lnTo>
                  <a:pt x="14" y="121"/>
                </a:lnTo>
                <a:lnTo>
                  <a:pt x="9" y="114"/>
                </a:lnTo>
                <a:lnTo>
                  <a:pt x="6" y="107"/>
                </a:lnTo>
                <a:lnTo>
                  <a:pt x="3" y="100"/>
                </a:lnTo>
                <a:lnTo>
                  <a:pt x="2" y="94"/>
                </a:lnTo>
                <a:lnTo>
                  <a:pt x="0" y="86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9" y="41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4" y="13"/>
                </a:lnTo>
                <a:lnTo>
                  <a:pt x="40" y="10"/>
                </a:lnTo>
                <a:lnTo>
                  <a:pt x="47" y="7"/>
                </a:lnTo>
                <a:lnTo>
                  <a:pt x="54" y="4"/>
                </a:lnTo>
                <a:lnTo>
                  <a:pt x="62" y="2"/>
                </a:lnTo>
                <a:lnTo>
                  <a:pt x="70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99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5" y="41"/>
                </a:lnTo>
                <a:lnTo>
                  <a:pt x="148" y="48"/>
                </a:lnTo>
                <a:lnTo>
                  <a:pt x="151" y="55"/>
                </a:lnTo>
                <a:lnTo>
                  <a:pt x="152" y="62"/>
                </a:lnTo>
                <a:lnTo>
                  <a:pt x="153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3" name="Freeform 3092">
            <a:extLst>
              <a:ext uri="{FF2B5EF4-FFF2-40B4-BE49-F238E27FC236}">
                <a16:creationId xmlns:a16="http://schemas.microsoft.com/office/drawing/2014/main" id="{67DC76A1-84FC-4EA7-9F10-63C90B3081B3}"/>
              </a:ext>
            </a:extLst>
          </p:cNvPr>
          <p:cNvSpPr>
            <a:spLocks/>
          </p:cNvSpPr>
          <p:nvPr userDrawn="1"/>
        </p:nvSpPr>
        <p:spPr bwMode="auto">
          <a:xfrm>
            <a:off x="1675090" y="3096502"/>
            <a:ext cx="34350" cy="34350"/>
          </a:xfrm>
          <a:custGeom>
            <a:avLst/>
            <a:gdLst>
              <a:gd name="T0" fmla="*/ 154 w 154"/>
              <a:gd name="T1" fmla="*/ 77 h 154"/>
              <a:gd name="T2" fmla="*/ 153 w 154"/>
              <a:gd name="T3" fmla="*/ 93 h 154"/>
              <a:gd name="T4" fmla="*/ 149 w 154"/>
              <a:gd name="T5" fmla="*/ 106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1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5 h 154"/>
              <a:gd name="T34" fmla="*/ 0 w 154"/>
              <a:gd name="T35" fmla="*/ 77 h 154"/>
              <a:gd name="T36" fmla="*/ 2 w 154"/>
              <a:gd name="T37" fmla="*/ 62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6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7 h 154"/>
              <a:gd name="T62" fmla="*/ 145 w 154"/>
              <a:gd name="T63" fmla="*/ 40 h 154"/>
              <a:gd name="T64" fmla="*/ 151 w 154"/>
              <a:gd name="T65" fmla="*/ 54 h 154"/>
              <a:gd name="T66" fmla="*/ 154 w 154"/>
              <a:gd name="T67" fmla="*/ 69 h 154"/>
              <a:gd name="T68" fmla="*/ 154 w 154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1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1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4" name="Freeform 3093">
            <a:extLst>
              <a:ext uri="{FF2B5EF4-FFF2-40B4-BE49-F238E27FC236}">
                <a16:creationId xmlns:a16="http://schemas.microsoft.com/office/drawing/2014/main" id="{14A28DD8-D7AB-4B20-B9DD-1E8DBE2704F3}"/>
              </a:ext>
            </a:extLst>
          </p:cNvPr>
          <p:cNvSpPr>
            <a:spLocks/>
          </p:cNvSpPr>
          <p:nvPr userDrawn="1"/>
        </p:nvSpPr>
        <p:spPr bwMode="auto">
          <a:xfrm>
            <a:off x="1627851" y="3140592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1 w 154"/>
              <a:gd name="T11" fmla="*/ 141 h 155"/>
              <a:gd name="T12" fmla="*/ 107 w 154"/>
              <a:gd name="T13" fmla="*/ 149 h 155"/>
              <a:gd name="T14" fmla="*/ 93 w 154"/>
              <a:gd name="T15" fmla="*/ 153 h 155"/>
              <a:gd name="T16" fmla="*/ 77 w 154"/>
              <a:gd name="T17" fmla="*/ 155 h 155"/>
              <a:gd name="T18" fmla="*/ 69 w 154"/>
              <a:gd name="T19" fmla="*/ 154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7 h 155"/>
              <a:gd name="T26" fmla="*/ 18 w 154"/>
              <a:gd name="T27" fmla="*/ 126 h 155"/>
              <a:gd name="T28" fmla="*/ 10 w 154"/>
              <a:gd name="T29" fmla="*/ 115 h 155"/>
              <a:gd name="T30" fmla="*/ 4 w 154"/>
              <a:gd name="T31" fmla="*/ 101 h 155"/>
              <a:gd name="T32" fmla="*/ 0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7 h 155"/>
              <a:gd name="T40" fmla="*/ 13 w 154"/>
              <a:gd name="T41" fmla="*/ 35 h 155"/>
              <a:gd name="T42" fmla="*/ 23 w 154"/>
              <a:gd name="T43" fmla="*/ 23 h 155"/>
              <a:gd name="T44" fmla="*/ 35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0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0" y="101"/>
                </a:lnTo>
                <a:lnTo>
                  <a:pt x="148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1" y="141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3" y="153"/>
                </a:lnTo>
                <a:lnTo>
                  <a:pt x="85" y="154"/>
                </a:lnTo>
                <a:lnTo>
                  <a:pt x="77" y="155"/>
                </a:lnTo>
                <a:lnTo>
                  <a:pt x="77" y="155"/>
                </a:lnTo>
                <a:lnTo>
                  <a:pt x="69" y="154"/>
                </a:lnTo>
                <a:lnTo>
                  <a:pt x="62" y="153"/>
                </a:lnTo>
                <a:lnTo>
                  <a:pt x="54" y="151"/>
                </a:lnTo>
                <a:lnTo>
                  <a:pt x="47" y="149"/>
                </a:lnTo>
                <a:lnTo>
                  <a:pt x="41" y="146"/>
                </a:lnTo>
                <a:lnTo>
                  <a:pt x="35" y="141"/>
                </a:lnTo>
                <a:lnTo>
                  <a:pt x="28" y="137"/>
                </a:lnTo>
                <a:lnTo>
                  <a:pt x="23" y="132"/>
                </a:lnTo>
                <a:lnTo>
                  <a:pt x="18" y="126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4" y="101"/>
                </a:lnTo>
                <a:lnTo>
                  <a:pt x="2" y="93"/>
                </a:lnTo>
                <a:lnTo>
                  <a:pt x="0" y="85"/>
                </a:lnTo>
                <a:lnTo>
                  <a:pt x="0" y="78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4" y="55"/>
                </a:lnTo>
                <a:lnTo>
                  <a:pt x="6" y="47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5" y="14"/>
                </a:lnTo>
                <a:lnTo>
                  <a:pt x="41" y="10"/>
                </a:lnTo>
                <a:lnTo>
                  <a:pt x="47" y="7"/>
                </a:lnTo>
                <a:lnTo>
                  <a:pt x="54" y="4"/>
                </a:lnTo>
                <a:lnTo>
                  <a:pt x="62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3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1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8" y="47"/>
                </a:lnTo>
                <a:lnTo>
                  <a:pt x="150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5" name="Freeform 3094">
            <a:extLst>
              <a:ext uri="{FF2B5EF4-FFF2-40B4-BE49-F238E27FC236}">
                <a16:creationId xmlns:a16="http://schemas.microsoft.com/office/drawing/2014/main" id="{044284B2-3D7A-405F-A05B-AA1158F8BFF8}"/>
              </a:ext>
            </a:extLst>
          </p:cNvPr>
          <p:cNvSpPr>
            <a:spLocks/>
          </p:cNvSpPr>
          <p:nvPr userDrawn="1"/>
        </p:nvSpPr>
        <p:spPr bwMode="auto">
          <a:xfrm>
            <a:off x="1672990" y="3140592"/>
            <a:ext cx="34350" cy="34350"/>
          </a:xfrm>
          <a:custGeom>
            <a:avLst/>
            <a:gdLst>
              <a:gd name="T0" fmla="*/ 155 w 155"/>
              <a:gd name="T1" fmla="*/ 78 h 155"/>
              <a:gd name="T2" fmla="*/ 153 w 155"/>
              <a:gd name="T3" fmla="*/ 93 h 155"/>
              <a:gd name="T4" fmla="*/ 149 w 155"/>
              <a:gd name="T5" fmla="*/ 108 h 155"/>
              <a:gd name="T6" fmla="*/ 141 w 155"/>
              <a:gd name="T7" fmla="*/ 121 h 155"/>
              <a:gd name="T8" fmla="*/ 132 w 155"/>
              <a:gd name="T9" fmla="*/ 132 h 155"/>
              <a:gd name="T10" fmla="*/ 120 w 155"/>
              <a:gd name="T11" fmla="*/ 141 h 155"/>
              <a:gd name="T12" fmla="*/ 108 w 155"/>
              <a:gd name="T13" fmla="*/ 149 h 155"/>
              <a:gd name="T14" fmla="*/ 93 w 155"/>
              <a:gd name="T15" fmla="*/ 153 h 155"/>
              <a:gd name="T16" fmla="*/ 78 w 155"/>
              <a:gd name="T17" fmla="*/ 155 h 155"/>
              <a:gd name="T18" fmla="*/ 70 w 155"/>
              <a:gd name="T19" fmla="*/ 154 h 155"/>
              <a:gd name="T20" fmla="*/ 55 w 155"/>
              <a:gd name="T21" fmla="*/ 151 h 155"/>
              <a:gd name="T22" fmla="*/ 40 w 155"/>
              <a:gd name="T23" fmla="*/ 146 h 155"/>
              <a:gd name="T24" fmla="*/ 29 w 155"/>
              <a:gd name="T25" fmla="*/ 137 h 155"/>
              <a:gd name="T26" fmla="*/ 18 w 155"/>
              <a:gd name="T27" fmla="*/ 126 h 155"/>
              <a:gd name="T28" fmla="*/ 9 w 155"/>
              <a:gd name="T29" fmla="*/ 115 h 155"/>
              <a:gd name="T30" fmla="*/ 3 w 155"/>
              <a:gd name="T31" fmla="*/ 101 h 155"/>
              <a:gd name="T32" fmla="*/ 1 w 155"/>
              <a:gd name="T33" fmla="*/ 85 h 155"/>
              <a:gd name="T34" fmla="*/ 0 w 155"/>
              <a:gd name="T35" fmla="*/ 78 h 155"/>
              <a:gd name="T36" fmla="*/ 2 w 155"/>
              <a:gd name="T37" fmla="*/ 62 h 155"/>
              <a:gd name="T38" fmla="*/ 6 w 155"/>
              <a:gd name="T39" fmla="*/ 47 h 155"/>
              <a:gd name="T40" fmla="*/ 14 w 155"/>
              <a:gd name="T41" fmla="*/ 35 h 155"/>
              <a:gd name="T42" fmla="*/ 23 w 155"/>
              <a:gd name="T43" fmla="*/ 23 h 155"/>
              <a:gd name="T44" fmla="*/ 34 w 155"/>
              <a:gd name="T45" fmla="*/ 14 h 155"/>
              <a:gd name="T46" fmla="*/ 47 w 155"/>
              <a:gd name="T47" fmla="*/ 7 h 155"/>
              <a:gd name="T48" fmla="*/ 62 w 155"/>
              <a:gd name="T49" fmla="*/ 3 h 155"/>
              <a:gd name="T50" fmla="*/ 78 w 155"/>
              <a:gd name="T51" fmla="*/ 0 h 155"/>
              <a:gd name="T52" fmla="*/ 85 w 155"/>
              <a:gd name="T53" fmla="*/ 2 h 155"/>
              <a:gd name="T54" fmla="*/ 101 w 155"/>
              <a:gd name="T55" fmla="*/ 4 h 155"/>
              <a:gd name="T56" fmla="*/ 114 w 155"/>
              <a:gd name="T57" fmla="*/ 10 h 155"/>
              <a:gd name="T58" fmla="*/ 126 w 155"/>
              <a:gd name="T59" fmla="*/ 19 h 155"/>
              <a:gd name="T60" fmla="*/ 136 w 155"/>
              <a:gd name="T61" fmla="*/ 29 h 155"/>
              <a:gd name="T62" fmla="*/ 145 w 155"/>
              <a:gd name="T63" fmla="*/ 42 h 155"/>
              <a:gd name="T64" fmla="*/ 151 w 155"/>
              <a:gd name="T65" fmla="*/ 55 h 155"/>
              <a:gd name="T66" fmla="*/ 155 w 155"/>
              <a:gd name="T67" fmla="*/ 70 h 155"/>
              <a:gd name="T68" fmla="*/ 155 w 155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78"/>
                </a:moveTo>
                <a:lnTo>
                  <a:pt x="155" y="78"/>
                </a:lnTo>
                <a:lnTo>
                  <a:pt x="155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6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8" y="149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9"/>
                </a:lnTo>
                <a:lnTo>
                  <a:pt x="40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7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0" y="10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8" y="7"/>
                </a:lnTo>
                <a:lnTo>
                  <a:pt x="114" y="10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6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5" y="70"/>
                </a:lnTo>
                <a:lnTo>
                  <a:pt x="155" y="78"/>
                </a:lnTo>
                <a:lnTo>
                  <a:pt x="155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6" name="Freeform 3095">
            <a:extLst>
              <a:ext uri="{FF2B5EF4-FFF2-40B4-BE49-F238E27FC236}">
                <a16:creationId xmlns:a16="http://schemas.microsoft.com/office/drawing/2014/main" id="{C082CDA8-51B5-473D-86A2-44E62BDB7609}"/>
              </a:ext>
            </a:extLst>
          </p:cNvPr>
          <p:cNvSpPr>
            <a:spLocks/>
          </p:cNvSpPr>
          <p:nvPr userDrawn="1"/>
        </p:nvSpPr>
        <p:spPr bwMode="auto">
          <a:xfrm>
            <a:off x="1581663" y="2958987"/>
            <a:ext cx="34350" cy="34350"/>
          </a:xfrm>
          <a:custGeom>
            <a:avLst/>
            <a:gdLst>
              <a:gd name="T0" fmla="*/ 153 w 153"/>
              <a:gd name="T1" fmla="*/ 76 h 154"/>
              <a:gd name="T2" fmla="*/ 152 w 153"/>
              <a:gd name="T3" fmla="*/ 92 h 154"/>
              <a:gd name="T4" fmla="*/ 148 w 153"/>
              <a:gd name="T5" fmla="*/ 106 h 154"/>
              <a:gd name="T6" fmla="*/ 141 w 153"/>
              <a:gd name="T7" fmla="*/ 120 h 154"/>
              <a:gd name="T8" fmla="*/ 130 w 153"/>
              <a:gd name="T9" fmla="*/ 131 h 154"/>
              <a:gd name="T10" fmla="*/ 119 w 153"/>
              <a:gd name="T11" fmla="*/ 140 h 154"/>
              <a:gd name="T12" fmla="*/ 106 w 153"/>
              <a:gd name="T13" fmla="*/ 147 h 154"/>
              <a:gd name="T14" fmla="*/ 91 w 153"/>
              <a:gd name="T15" fmla="*/ 152 h 154"/>
              <a:gd name="T16" fmla="*/ 77 w 153"/>
              <a:gd name="T17" fmla="*/ 154 h 154"/>
              <a:gd name="T18" fmla="*/ 69 w 153"/>
              <a:gd name="T19" fmla="*/ 153 h 154"/>
              <a:gd name="T20" fmla="*/ 54 w 153"/>
              <a:gd name="T21" fmla="*/ 151 h 154"/>
              <a:gd name="T22" fmla="*/ 40 w 153"/>
              <a:gd name="T23" fmla="*/ 144 h 154"/>
              <a:gd name="T24" fmla="*/ 27 w 153"/>
              <a:gd name="T25" fmla="*/ 136 h 154"/>
              <a:gd name="T26" fmla="*/ 17 w 153"/>
              <a:gd name="T27" fmla="*/ 125 h 154"/>
              <a:gd name="T28" fmla="*/ 9 w 153"/>
              <a:gd name="T29" fmla="*/ 113 h 154"/>
              <a:gd name="T30" fmla="*/ 3 w 153"/>
              <a:gd name="T31" fmla="*/ 99 h 154"/>
              <a:gd name="T32" fmla="*/ 0 w 153"/>
              <a:gd name="T33" fmla="*/ 84 h 154"/>
              <a:gd name="T34" fmla="*/ 0 w 153"/>
              <a:gd name="T35" fmla="*/ 76 h 154"/>
              <a:gd name="T36" fmla="*/ 1 w 153"/>
              <a:gd name="T37" fmla="*/ 61 h 154"/>
              <a:gd name="T38" fmla="*/ 6 w 153"/>
              <a:gd name="T39" fmla="*/ 46 h 154"/>
              <a:gd name="T40" fmla="*/ 12 w 153"/>
              <a:gd name="T41" fmla="*/ 34 h 154"/>
              <a:gd name="T42" fmla="*/ 22 w 153"/>
              <a:gd name="T43" fmla="*/ 22 h 154"/>
              <a:gd name="T44" fmla="*/ 33 w 153"/>
              <a:gd name="T45" fmla="*/ 13 h 154"/>
              <a:gd name="T46" fmla="*/ 47 w 153"/>
              <a:gd name="T47" fmla="*/ 5 h 154"/>
              <a:gd name="T48" fmla="*/ 61 w 153"/>
              <a:gd name="T49" fmla="*/ 2 h 154"/>
              <a:gd name="T50" fmla="*/ 77 w 153"/>
              <a:gd name="T51" fmla="*/ 0 h 154"/>
              <a:gd name="T52" fmla="*/ 85 w 153"/>
              <a:gd name="T53" fmla="*/ 1 h 154"/>
              <a:gd name="T54" fmla="*/ 99 w 153"/>
              <a:gd name="T55" fmla="*/ 3 h 154"/>
              <a:gd name="T56" fmla="*/ 113 w 153"/>
              <a:gd name="T57" fmla="*/ 9 h 154"/>
              <a:gd name="T58" fmla="*/ 126 w 153"/>
              <a:gd name="T59" fmla="*/ 17 h 154"/>
              <a:gd name="T60" fmla="*/ 136 w 153"/>
              <a:gd name="T61" fmla="*/ 28 h 154"/>
              <a:gd name="T62" fmla="*/ 144 w 153"/>
              <a:gd name="T63" fmla="*/ 40 h 154"/>
              <a:gd name="T64" fmla="*/ 150 w 153"/>
              <a:gd name="T65" fmla="*/ 53 h 154"/>
              <a:gd name="T66" fmla="*/ 153 w 153"/>
              <a:gd name="T67" fmla="*/ 68 h 154"/>
              <a:gd name="T68" fmla="*/ 153 w 153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" h="154">
                <a:moveTo>
                  <a:pt x="153" y="76"/>
                </a:moveTo>
                <a:lnTo>
                  <a:pt x="153" y="76"/>
                </a:lnTo>
                <a:lnTo>
                  <a:pt x="153" y="84"/>
                </a:lnTo>
                <a:lnTo>
                  <a:pt x="152" y="92"/>
                </a:lnTo>
                <a:lnTo>
                  <a:pt x="150" y="99"/>
                </a:lnTo>
                <a:lnTo>
                  <a:pt x="148" y="106"/>
                </a:lnTo>
                <a:lnTo>
                  <a:pt x="144" y="113"/>
                </a:lnTo>
                <a:lnTo>
                  <a:pt x="141" y="120"/>
                </a:lnTo>
                <a:lnTo>
                  <a:pt x="136" y="125"/>
                </a:lnTo>
                <a:lnTo>
                  <a:pt x="130" y="131"/>
                </a:lnTo>
                <a:lnTo>
                  <a:pt x="126" y="136"/>
                </a:lnTo>
                <a:lnTo>
                  <a:pt x="119" y="140"/>
                </a:lnTo>
                <a:lnTo>
                  <a:pt x="113" y="144"/>
                </a:lnTo>
                <a:lnTo>
                  <a:pt x="106" y="147"/>
                </a:lnTo>
                <a:lnTo>
                  <a:pt x="99" y="151"/>
                </a:lnTo>
                <a:lnTo>
                  <a:pt x="91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1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4"/>
                </a:lnTo>
                <a:lnTo>
                  <a:pt x="33" y="140"/>
                </a:lnTo>
                <a:lnTo>
                  <a:pt x="27" y="136"/>
                </a:lnTo>
                <a:lnTo>
                  <a:pt x="22" y="131"/>
                </a:lnTo>
                <a:lnTo>
                  <a:pt x="17" y="125"/>
                </a:lnTo>
                <a:lnTo>
                  <a:pt x="12" y="120"/>
                </a:lnTo>
                <a:lnTo>
                  <a:pt x="9" y="113"/>
                </a:lnTo>
                <a:lnTo>
                  <a:pt x="6" y="106"/>
                </a:lnTo>
                <a:lnTo>
                  <a:pt x="3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8"/>
                </a:lnTo>
                <a:lnTo>
                  <a:pt x="1" y="61"/>
                </a:lnTo>
                <a:lnTo>
                  <a:pt x="3" y="53"/>
                </a:lnTo>
                <a:lnTo>
                  <a:pt x="6" y="46"/>
                </a:lnTo>
                <a:lnTo>
                  <a:pt x="9" y="40"/>
                </a:lnTo>
                <a:lnTo>
                  <a:pt x="12" y="34"/>
                </a:lnTo>
                <a:lnTo>
                  <a:pt x="17" y="28"/>
                </a:lnTo>
                <a:lnTo>
                  <a:pt x="22" y="22"/>
                </a:lnTo>
                <a:lnTo>
                  <a:pt x="27" y="17"/>
                </a:lnTo>
                <a:lnTo>
                  <a:pt x="33" y="13"/>
                </a:lnTo>
                <a:lnTo>
                  <a:pt x="40" y="9"/>
                </a:lnTo>
                <a:lnTo>
                  <a:pt x="47" y="5"/>
                </a:lnTo>
                <a:lnTo>
                  <a:pt x="54" y="3"/>
                </a:lnTo>
                <a:lnTo>
                  <a:pt x="61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1" y="2"/>
                </a:lnTo>
                <a:lnTo>
                  <a:pt x="99" y="3"/>
                </a:lnTo>
                <a:lnTo>
                  <a:pt x="106" y="5"/>
                </a:lnTo>
                <a:lnTo>
                  <a:pt x="113" y="9"/>
                </a:lnTo>
                <a:lnTo>
                  <a:pt x="119" y="13"/>
                </a:lnTo>
                <a:lnTo>
                  <a:pt x="126" y="17"/>
                </a:lnTo>
                <a:lnTo>
                  <a:pt x="130" y="22"/>
                </a:lnTo>
                <a:lnTo>
                  <a:pt x="136" y="28"/>
                </a:lnTo>
                <a:lnTo>
                  <a:pt x="141" y="34"/>
                </a:lnTo>
                <a:lnTo>
                  <a:pt x="144" y="40"/>
                </a:lnTo>
                <a:lnTo>
                  <a:pt x="148" y="46"/>
                </a:lnTo>
                <a:lnTo>
                  <a:pt x="150" y="53"/>
                </a:lnTo>
                <a:lnTo>
                  <a:pt x="152" y="61"/>
                </a:lnTo>
                <a:lnTo>
                  <a:pt x="153" y="68"/>
                </a:lnTo>
                <a:lnTo>
                  <a:pt x="153" y="76"/>
                </a:lnTo>
                <a:lnTo>
                  <a:pt x="153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7" name="Freeform 3096">
            <a:extLst>
              <a:ext uri="{FF2B5EF4-FFF2-40B4-BE49-F238E27FC236}">
                <a16:creationId xmlns:a16="http://schemas.microsoft.com/office/drawing/2014/main" id="{4457D7C3-8A42-4422-8184-AB24367E3094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300517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3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2 h 155"/>
              <a:gd name="T22" fmla="*/ 41 w 154"/>
              <a:gd name="T23" fmla="*/ 146 h 155"/>
              <a:gd name="T24" fmla="*/ 29 w 154"/>
              <a:gd name="T25" fmla="*/ 138 h 155"/>
              <a:gd name="T26" fmla="*/ 18 w 154"/>
              <a:gd name="T27" fmla="*/ 128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2 h 155"/>
              <a:gd name="T54" fmla="*/ 101 w 154"/>
              <a:gd name="T55" fmla="*/ 4 h 155"/>
              <a:gd name="T56" fmla="*/ 114 w 154"/>
              <a:gd name="T57" fmla="*/ 11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1"/>
                </a:lnTo>
                <a:lnTo>
                  <a:pt x="137" y="128"/>
                </a:lnTo>
                <a:lnTo>
                  <a:pt x="132" y="132"/>
                </a:lnTo>
                <a:lnTo>
                  <a:pt x="126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1" y="152"/>
                </a:lnTo>
                <a:lnTo>
                  <a:pt x="93" y="154"/>
                </a:lnTo>
                <a:lnTo>
                  <a:pt x="85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7" y="149"/>
                </a:lnTo>
                <a:lnTo>
                  <a:pt x="41" y="146"/>
                </a:lnTo>
                <a:lnTo>
                  <a:pt x="34" y="142"/>
                </a:lnTo>
                <a:lnTo>
                  <a:pt x="29" y="138"/>
                </a:lnTo>
                <a:lnTo>
                  <a:pt x="23" y="132"/>
                </a:lnTo>
                <a:lnTo>
                  <a:pt x="18" y="128"/>
                </a:lnTo>
                <a:lnTo>
                  <a:pt x="14" y="121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9"/>
                </a:lnTo>
                <a:lnTo>
                  <a:pt x="9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11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5" y="2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2"/>
                </a:lnTo>
                <a:lnTo>
                  <a:pt x="149" y="49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8" name="Freeform 3097">
            <a:extLst>
              <a:ext uri="{FF2B5EF4-FFF2-40B4-BE49-F238E27FC236}">
                <a16:creationId xmlns:a16="http://schemas.microsoft.com/office/drawing/2014/main" id="{5F40760B-7FC6-428F-8083-ECCE43AED37F}"/>
              </a:ext>
            </a:extLst>
          </p:cNvPr>
          <p:cNvSpPr>
            <a:spLocks/>
          </p:cNvSpPr>
          <p:nvPr userDrawn="1"/>
        </p:nvSpPr>
        <p:spPr bwMode="auto">
          <a:xfrm>
            <a:off x="1678238" y="300517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2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8 w 154"/>
              <a:gd name="T17" fmla="*/ 155 h 155"/>
              <a:gd name="T18" fmla="*/ 70 w 154"/>
              <a:gd name="T19" fmla="*/ 155 h 155"/>
              <a:gd name="T20" fmla="*/ 55 w 154"/>
              <a:gd name="T21" fmla="*/ 152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8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9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8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6 w 154"/>
              <a:gd name="T53" fmla="*/ 2 h 155"/>
              <a:gd name="T54" fmla="*/ 100 w 154"/>
              <a:gd name="T55" fmla="*/ 4 h 155"/>
              <a:gd name="T56" fmla="*/ 114 w 154"/>
              <a:gd name="T57" fmla="*/ 11 h 155"/>
              <a:gd name="T58" fmla="*/ 127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2" y="121"/>
                </a:lnTo>
                <a:lnTo>
                  <a:pt x="137" y="128"/>
                </a:lnTo>
                <a:lnTo>
                  <a:pt x="131" y="132"/>
                </a:lnTo>
                <a:lnTo>
                  <a:pt x="127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2"/>
                </a:lnTo>
                <a:lnTo>
                  <a:pt x="92" y="154"/>
                </a:lnTo>
                <a:lnTo>
                  <a:pt x="86" y="155"/>
                </a:lnTo>
                <a:lnTo>
                  <a:pt x="78" y="155"/>
                </a:lnTo>
                <a:lnTo>
                  <a:pt x="78" y="155"/>
                </a:lnTo>
                <a:lnTo>
                  <a:pt x="70" y="155"/>
                </a:lnTo>
                <a:lnTo>
                  <a:pt x="62" y="154"/>
                </a:lnTo>
                <a:lnTo>
                  <a:pt x="55" y="152"/>
                </a:lnTo>
                <a:lnTo>
                  <a:pt x="48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3" y="132"/>
                </a:lnTo>
                <a:lnTo>
                  <a:pt x="18" y="128"/>
                </a:lnTo>
                <a:lnTo>
                  <a:pt x="14" y="121"/>
                </a:lnTo>
                <a:lnTo>
                  <a:pt x="10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9"/>
                </a:lnTo>
                <a:lnTo>
                  <a:pt x="10" y="42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8" y="19"/>
                </a:lnTo>
                <a:lnTo>
                  <a:pt x="34" y="14"/>
                </a:lnTo>
                <a:lnTo>
                  <a:pt x="41" y="11"/>
                </a:lnTo>
                <a:lnTo>
                  <a:pt x="48" y="7"/>
                </a:lnTo>
                <a:lnTo>
                  <a:pt x="55" y="4"/>
                </a:lnTo>
                <a:lnTo>
                  <a:pt x="62" y="3"/>
                </a:lnTo>
                <a:lnTo>
                  <a:pt x="70" y="2"/>
                </a:lnTo>
                <a:lnTo>
                  <a:pt x="78" y="0"/>
                </a:lnTo>
                <a:lnTo>
                  <a:pt x="78" y="0"/>
                </a:lnTo>
                <a:lnTo>
                  <a:pt x="86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1"/>
                </a:lnTo>
                <a:lnTo>
                  <a:pt x="120" y="14"/>
                </a:lnTo>
                <a:lnTo>
                  <a:pt x="127" y="19"/>
                </a:lnTo>
                <a:lnTo>
                  <a:pt x="131" y="23"/>
                </a:lnTo>
                <a:lnTo>
                  <a:pt x="137" y="29"/>
                </a:lnTo>
                <a:lnTo>
                  <a:pt x="142" y="35"/>
                </a:lnTo>
                <a:lnTo>
                  <a:pt x="145" y="42"/>
                </a:lnTo>
                <a:lnTo>
                  <a:pt x="149" y="49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9" name="Freeform 3098">
            <a:extLst>
              <a:ext uri="{FF2B5EF4-FFF2-40B4-BE49-F238E27FC236}">
                <a16:creationId xmlns:a16="http://schemas.microsoft.com/office/drawing/2014/main" id="{A408D3D9-1C04-42CD-B51E-D13ABA4A072C}"/>
              </a:ext>
            </a:extLst>
          </p:cNvPr>
          <p:cNvSpPr>
            <a:spLocks/>
          </p:cNvSpPr>
          <p:nvPr userDrawn="1"/>
        </p:nvSpPr>
        <p:spPr bwMode="auto">
          <a:xfrm>
            <a:off x="1580612" y="2912799"/>
            <a:ext cx="34350" cy="34350"/>
          </a:xfrm>
          <a:custGeom>
            <a:avLst/>
            <a:gdLst>
              <a:gd name="T0" fmla="*/ 155 w 155"/>
              <a:gd name="T1" fmla="*/ 77 h 154"/>
              <a:gd name="T2" fmla="*/ 153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1 w 155"/>
              <a:gd name="T11" fmla="*/ 140 h 154"/>
              <a:gd name="T12" fmla="*/ 107 w 155"/>
              <a:gd name="T13" fmla="*/ 148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1 w 155"/>
              <a:gd name="T23" fmla="*/ 145 h 154"/>
              <a:gd name="T24" fmla="*/ 29 w 155"/>
              <a:gd name="T25" fmla="*/ 136 h 154"/>
              <a:gd name="T26" fmla="*/ 18 w 155"/>
              <a:gd name="T27" fmla="*/ 126 h 154"/>
              <a:gd name="T28" fmla="*/ 10 w 155"/>
              <a:gd name="T29" fmla="*/ 114 h 154"/>
              <a:gd name="T30" fmla="*/ 4 w 155"/>
              <a:gd name="T31" fmla="*/ 100 h 154"/>
              <a:gd name="T32" fmla="*/ 0 w 155"/>
              <a:gd name="T33" fmla="*/ 84 h 154"/>
              <a:gd name="T34" fmla="*/ 0 w 155"/>
              <a:gd name="T35" fmla="*/ 77 h 154"/>
              <a:gd name="T36" fmla="*/ 2 w 155"/>
              <a:gd name="T37" fmla="*/ 61 h 154"/>
              <a:gd name="T38" fmla="*/ 6 w 155"/>
              <a:gd name="T39" fmla="*/ 47 h 154"/>
              <a:gd name="T40" fmla="*/ 14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7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4 w 155"/>
              <a:gd name="T57" fmla="*/ 9 h 154"/>
              <a:gd name="T58" fmla="*/ 126 w 155"/>
              <a:gd name="T59" fmla="*/ 18 h 154"/>
              <a:gd name="T60" fmla="*/ 137 w 155"/>
              <a:gd name="T61" fmla="*/ 28 h 154"/>
              <a:gd name="T62" fmla="*/ 145 w 155"/>
              <a:gd name="T63" fmla="*/ 40 h 154"/>
              <a:gd name="T64" fmla="*/ 152 w 155"/>
              <a:gd name="T65" fmla="*/ 55 h 154"/>
              <a:gd name="T66" fmla="*/ 154 w 155"/>
              <a:gd name="T67" fmla="*/ 69 h 154"/>
              <a:gd name="T68" fmla="*/ 155 w 155"/>
              <a:gd name="T6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7"/>
                </a:moveTo>
                <a:lnTo>
                  <a:pt x="155" y="77"/>
                </a:lnTo>
                <a:lnTo>
                  <a:pt x="154" y="84"/>
                </a:lnTo>
                <a:lnTo>
                  <a:pt x="153" y="92"/>
                </a:lnTo>
                <a:lnTo>
                  <a:pt x="152" y="100"/>
                </a:lnTo>
                <a:lnTo>
                  <a:pt x="148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1" y="140"/>
                </a:lnTo>
                <a:lnTo>
                  <a:pt x="114" y="145"/>
                </a:lnTo>
                <a:lnTo>
                  <a:pt x="107" y="148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8"/>
                </a:lnTo>
                <a:lnTo>
                  <a:pt x="41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10" y="114"/>
                </a:lnTo>
                <a:lnTo>
                  <a:pt x="6" y="107"/>
                </a:lnTo>
                <a:lnTo>
                  <a:pt x="4" y="100"/>
                </a:lnTo>
                <a:lnTo>
                  <a:pt x="2" y="92"/>
                </a:lnTo>
                <a:lnTo>
                  <a:pt x="0" y="84"/>
                </a:lnTo>
                <a:lnTo>
                  <a:pt x="0" y="77"/>
                </a:lnTo>
                <a:lnTo>
                  <a:pt x="0" y="77"/>
                </a:lnTo>
                <a:lnTo>
                  <a:pt x="0" y="69"/>
                </a:lnTo>
                <a:lnTo>
                  <a:pt x="2" y="61"/>
                </a:lnTo>
                <a:lnTo>
                  <a:pt x="4" y="55"/>
                </a:lnTo>
                <a:lnTo>
                  <a:pt x="6" y="47"/>
                </a:lnTo>
                <a:lnTo>
                  <a:pt x="10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1" y="9"/>
                </a:lnTo>
                <a:lnTo>
                  <a:pt x="47" y="7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7" y="7"/>
                </a:lnTo>
                <a:lnTo>
                  <a:pt x="114" y="9"/>
                </a:lnTo>
                <a:lnTo>
                  <a:pt x="121" y="13"/>
                </a:lnTo>
                <a:lnTo>
                  <a:pt x="126" y="18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8" y="47"/>
                </a:lnTo>
                <a:lnTo>
                  <a:pt x="152" y="55"/>
                </a:lnTo>
                <a:lnTo>
                  <a:pt x="153" y="61"/>
                </a:lnTo>
                <a:lnTo>
                  <a:pt x="154" y="69"/>
                </a:lnTo>
                <a:lnTo>
                  <a:pt x="155" y="77"/>
                </a:lnTo>
                <a:lnTo>
                  <a:pt x="155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0" name="Freeform 3099">
            <a:extLst>
              <a:ext uri="{FF2B5EF4-FFF2-40B4-BE49-F238E27FC236}">
                <a16:creationId xmlns:a16="http://schemas.microsoft.com/office/drawing/2014/main" id="{25C11123-C06A-4586-A581-AC686D14F5D0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3052415"/>
            <a:ext cx="34350" cy="34350"/>
          </a:xfrm>
          <a:custGeom>
            <a:avLst/>
            <a:gdLst>
              <a:gd name="T0" fmla="*/ 154 w 154"/>
              <a:gd name="T1" fmla="*/ 76 h 153"/>
              <a:gd name="T2" fmla="*/ 153 w 154"/>
              <a:gd name="T3" fmla="*/ 92 h 153"/>
              <a:gd name="T4" fmla="*/ 149 w 154"/>
              <a:gd name="T5" fmla="*/ 106 h 153"/>
              <a:gd name="T6" fmla="*/ 141 w 154"/>
              <a:gd name="T7" fmla="*/ 120 h 153"/>
              <a:gd name="T8" fmla="*/ 132 w 154"/>
              <a:gd name="T9" fmla="*/ 131 h 153"/>
              <a:gd name="T10" fmla="*/ 120 w 154"/>
              <a:gd name="T11" fmla="*/ 140 h 153"/>
              <a:gd name="T12" fmla="*/ 107 w 154"/>
              <a:gd name="T13" fmla="*/ 147 h 153"/>
              <a:gd name="T14" fmla="*/ 93 w 154"/>
              <a:gd name="T15" fmla="*/ 152 h 153"/>
              <a:gd name="T16" fmla="*/ 78 w 154"/>
              <a:gd name="T17" fmla="*/ 153 h 153"/>
              <a:gd name="T18" fmla="*/ 70 w 154"/>
              <a:gd name="T19" fmla="*/ 153 h 153"/>
              <a:gd name="T20" fmla="*/ 55 w 154"/>
              <a:gd name="T21" fmla="*/ 150 h 153"/>
              <a:gd name="T22" fmla="*/ 41 w 154"/>
              <a:gd name="T23" fmla="*/ 144 h 153"/>
              <a:gd name="T24" fmla="*/ 29 w 154"/>
              <a:gd name="T25" fmla="*/ 136 h 153"/>
              <a:gd name="T26" fmla="*/ 18 w 154"/>
              <a:gd name="T27" fmla="*/ 125 h 153"/>
              <a:gd name="T28" fmla="*/ 9 w 154"/>
              <a:gd name="T29" fmla="*/ 113 h 153"/>
              <a:gd name="T30" fmla="*/ 3 w 154"/>
              <a:gd name="T31" fmla="*/ 99 h 153"/>
              <a:gd name="T32" fmla="*/ 1 w 154"/>
              <a:gd name="T33" fmla="*/ 84 h 153"/>
              <a:gd name="T34" fmla="*/ 0 w 154"/>
              <a:gd name="T35" fmla="*/ 76 h 153"/>
              <a:gd name="T36" fmla="*/ 2 w 154"/>
              <a:gd name="T37" fmla="*/ 61 h 153"/>
              <a:gd name="T38" fmla="*/ 7 w 154"/>
              <a:gd name="T39" fmla="*/ 47 h 153"/>
              <a:gd name="T40" fmla="*/ 14 w 154"/>
              <a:gd name="T41" fmla="*/ 34 h 153"/>
              <a:gd name="T42" fmla="*/ 23 w 154"/>
              <a:gd name="T43" fmla="*/ 23 h 153"/>
              <a:gd name="T44" fmla="*/ 34 w 154"/>
              <a:gd name="T45" fmla="*/ 12 h 153"/>
              <a:gd name="T46" fmla="*/ 47 w 154"/>
              <a:gd name="T47" fmla="*/ 5 h 153"/>
              <a:gd name="T48" fmla="*/ 62 w 154"/>
              <a:gd name="T49" fmla="*/ 1 h 153"/>
              <a:gd name="T50" fmla="*/ 78 w 154"/>
              <a:gd name="T51" fmla="*/ 0 h 153"/>
              <a:gd name="T52" fmla="*/ 85 w 154"/>
              <a:gd name="T53" fmla="*/ 0 h 153"/>
              <a:gd name="T54" fmla="*/ 101 w 154"/>
              <a:gd name="T55" fmla="*/ 3 h 153"/>
              <a:gd name="T56" fmla="*/ 114 w 154"/>
              <a:gd name="T57" fmla="*/ 9 h 153"/>
              <a:gd name="T58" fmla="*/ 126 w 154"/>
              <a:gd name="T59" fmla="*/ 17 h 153"/>
              <a:gd name="T60" fmla="*/ 137 w 154"/>
              <a:gd name="T61" fmla="*/ 27 h 153"/>
              <a:gd name="T62" fmla="*/ 145 w 154"/>
              <a:gd name="T63" fmla="*/ 40 h 153"/>
              <a:gd name="T64" fmla="*/ 151 w 154"/>
              <a:gd name="T65" fmla="*/ 53 h 153"/>
              <a:gd name="T66" fmla="*/ 154 w 154"/>
              <a:gd name="T67" fmla="*/ 68 h 153"/>
              <a:gd name="T68" fmla="*/ 154 w 154"/>
              <a:gd name="T69" fmla="*/ 7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3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6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0"/>
                </a:lnTo>
                <a:lnTo>
                  <a:pt x="93" y="152"/>
                </a:lnTo>
                <a:lnTo>
                  <a:pt x="85" y="153"/>
                </a:lnTo>
                <a:lnTo>
                  <a:pt x="78" y="153"/>
                </a:lnTo>
                <a:lnTo>
                  <a:pt x="78" y="153"/>
                </a:lnTo>
                <a:lnTo>
                  <a:pt x="70" y="153"/>
                </a:lnTo>
                <a:lnTo>
                  <a:pt x="62" y="152"/>
                </a:lnTo>
                <a:lnTo>
                  <a:pt x="55" y="150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6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7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7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1" name="Freeform 3100">
            <a:extLst>
              <a:ext uri="{FF2B5EF4-FFF2-40B4-BE49-F238E27FC236}">
                <a16:creationId xmlns:a16="http://schemas.microsoft.com/office/drawing/2014/main" id="{B0B9A70D-E866-447C-8FFF-654D643D4EEF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309964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8 h 154"/>
              <a:gd name="T14" fmla="*/ 93 w 154"/>
              <a:gd name="T15" fmla="*/ 153 h 154"/>
              <a:gd name="T16" fmla="*/ 78 w 154"/>
              <a:gd name="T17" fmla="*/ 154 h 154"/>
              <a:gd name="T18" fmla="*/ 70 w 154"/>
              <a:gd name="T19" fmla="*/ 154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7 h 154"/>
              <a:gd name="T26" fmla="*/ 18 w 154"/>
              <a:gd name="T27" fmla="*/ 125 h 154"/>
              <a:gd name="T28" fmla="*/ 9 w 154"/>
              <a:gd name="T29" fmla="*/ 114 h 154"/>
              <a:gd name="T30" fmla="*/ 3 w 154"/>
              <a:gd name="T31" fmla="*/ 100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6 h 154"/>
              <a:gd name="T48" fmla="*/ 62 w 154"/>
              <a:gd name="T49" fmla="*/ 2 h 154"/>
              <a:gd name="T50" fmla="*/ 78 w 154"/>
              <a:gd name="T51" fmla="*/ 0 h 154"/>
              <a:gd name="T52" fmla="*/ 85 w 154"/>
              <a:gd name="T53" fmla="*/ 1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8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9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100"/>
                </a:lnTo>
                <a:lnTo>
                  <a:pt x="149" y="107"/>
                </a:lnTo>
                <a:lnTo>
                  <a:pt x="145" y="114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7"/>
                </a:lnTo>
                <a:lnTo>
                  <a:pt x="120" y="140"/>
                </a:lnTo>
                <a:lnTo>
                  <a:pt x="114" y="145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4"/>
                </a:lnTo>
                <a:lnTo>
                  <a:pt x="78" y="154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5"/>
                </a:lnTo>
                <a:lnTo>
                  <a:pt x="34" y="140"/>
                </a:lnTo>
                <a:lnTo>
                  <a:pt x="29" y="137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4"/>
                </a:lnTo>
                <a:lnTo>
                  <a:pt x="7" y="107"/>
                </a:lnTo>
                <a:lnTo>
                  <a:pt x="3" y="100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9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8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5" y="3"/>
                </a:lnTo>
                <a:lnTo>
                  <a:pt x="62" y="2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2"/>
                </a:lnTo>
                <a:lnTo>
                  <a:pt x="101" y="3"/>
                </a:lnTo>
                <a:lnTo>
                  <a:pt x="107" y="6"/>
                </a:lnTo>
                <a:lnTo>
                  <a:pt x="114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69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2" name="Freeform 3101">
            <a:extLst>
              <a:ext uri="{FF2B5EF4-FFF2-40B4-BE49-F238E27FC236}">
                <a16:creationId xmlns:a16="http://schemas.microsoft.com/office/drawing/2014/main" id="{5CE4DEAE-B146-4371-BEA7-470FF3BE6352}"/>
              </a:ext>
            </a:extLst>
          </p:cNvPr>
          <p:cNvSpPr>
            <a:spLocks/>
          </p:cNvSpPr>
          <p:nvPr userDrawn="1"/>
        </p:nvSpPr>
        <p:spPr bwMode="auto">
          <a:xfrm>
            <a:off x="1721277" y="3142689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4 h 154"/>
              <a:gd name="T24" fmla="*/ 29 w 154"/>
              <a:gd name="T25" fmla="*/ 136 h 154"/>
              <a:gd name="T26" fmla="*/ 18 w 154"/>
              <a:gd name="T27" fmla="*/ 126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7 h 154"/>
              <a:gd name="T40" fmla="*/ 14 w 154"/>
              <a:gd name="T41" fmla="*/ 34 h 154"/>
              <a:gd name="T42" fmla="*/ 23 w 154"/>
              <a:gd name="T43" fmla="*/ 23 h 154"/>
              <a:gd name="T44" fmla="*/ 34 w 154"/>
              <a:gd name="T45" fmla="*/ 12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5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70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6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4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5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4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6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70"/>
                </a:lnTo>
                <a:lnTo>
                  <a:pt x="2" y="61"/>
                </a:lnTo>
                <a:lnTo>
                  <a:pt x="3" y="53"/>
                </a:lnTo>
                <a:lnTo>
                  <a:pt x="7" y="47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3"/>
                </a:lnTo>
                <a:lnTo>
                  <a:pt x="29" y="17"/>
                </a:lnTo>
                <a:lnTo>
                  <a:pt x="34" y="12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2"/>
                </a:lnTo>
                <a:lnTo>
                  <a:pt x="126" y="17"/>
                </a:lnTo>
                <a:lnTo>
                  <a:pt x="132" y="23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7"/>
                </a:lnTo>
                <a:lnTo>
                  <a:pt x="151" y="53"/>
                </a:lnTo>
                <a:lnTo>
                  <a:pt x="153" y="61"/>
                </a:lnTo>
                <a:lnTo>
                  <a:pt x="154" y="70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3" name="Freeform 3102">
            <a:extLst>
              <a:ext uri="{FF2B5EF4-FFF2-40B4-BE49-F238E27FC236}">
                <a16:creationId xmlns:a16="http://schemas.microsoft.com/office/drawing/2014/main" id="{7BD6333B-C407-4040-940E-F812F3EC095C}"/>
              </a:ext>
            </a:extLst>
          </p:cNvPr>
          <p:cNvSpPr>
            <a:spLocks/>
          </p:cNvSpPr>
          <p:nvPr userDrawn="1"/>
        </p:nvSpPr>
        <p:spPr bwMode="auto">
          <a:xfrm>
            <a:off x="1675087" y="3185728"/>
            <a:ext cx="34350" cy="34350"/>
          </a:xfrm>
          <a:custGeom>
            <a:avLst/>
            <a:gdLst>
              <a:gd name="T0" fmla="*/ 154 w 154"/>
              <a:gd name="T1" fmla="*/ 76 h 154"/>
              <a:gd name="T2" fmla="*/ 153 w 154"/>
              <a:gd name="T3" fmla="*/ 92 h 154"/>
              <a:gd name="T4" fmla="*/ 149 w 154"/>
              <a:gd name="T5" fmla="*/ 107 h 154"/>
              <a:gd name="T6" fmla="*/ 141 w 154"/>
              <a:gd name="T7" fmla="*/ 120 h 154"/>
              <a:gd name="T8" fmla="*/ 132 w 154"/>
              <a:gd name="T9" fmla="*/ 131 h 154"/>
              <a:gd name="T10" fmla="*/ 120 w 154"/>
              <a:gd name="T11" fmla="*/ 140 h 154"/>
              <a:gd name="T12" fmla="*/ 107 w 154"/>
              <a:gd name="T13" fmla="*/ 147 h 154"/>
              <a:gd name="T14" fmla="*/ 93 w 154"/>
              <a:gd name="T15" fmla="*/ 152 h 154"/>
              <a:gd name="T16" fmla="*/ 78 w 154"/>
              <a:gd name="T17" fmla="*/ 154 h 154"/>
              <a:gd name="T18" fmla="*/ 70 w 154"/>
              <a:gd name="T19" fmla="*/ 153 h 154"/>
              <a:gd name="T20" fmla="*/ 55 w 154"/>
              <a:gd name="T21" fmla="*/ 151 h 154"/>
              <a:gd name="T22" fmla="*/ 41 w 154"/>
              <a:gd name="T23" fmla="*/ 145 h 154"/>
              <a:gd name="T24" fmla="*/ 29 w 154"/>
              <a:gd name="T25" fmla="*/ 136 h 154"/>
              <a:gd name="T26" fmla="*/ 18 w 154"/>
              <a:gd name="T27" fmla="*/ 125 h 154"/>
              <a:gd name="T28" fmla="*/ 9 w 154"/>
              <a:gd name="T29" fmla="*/ 113 h 154"/>
              <a:gd name="T30" fmla="*/ 3 w 154"/>
              <a:gd name="T31" fmla="*/ 99 h 154"/>
              <a:gd name="T32" fmla="*/ 1 w 154"/>
              <a:gd name="T33" fmla="*/ 84 h 154"/>
              <a:gd name="T34" fmla="*/ 0 w 154"/>
              <a:gd name="T35" fmla="*/ 76 h 154"/>
              <a:gd name="T36" fmla="*/ 2 w 154"/>
              <a:gd name="T37" fmla="*/ 61 h 154"/>
              <a:gd name="T38" fmla="*/ 7 w 154"/>
              <a:gd name="T39" fmla="*/ 46 h 154"/>
              <a:gd name="T40" fmla="*/ 14 w 154"/>
              <a:gd name="T41" fmla="*/ 34 h 154"/>
              <a:gd name="T42" fmla="*/ 23 w 154"/>
              <a:gd name="T43" fmla="*/ 22 h 154"/>
              <a:gd name="T44" fmla="*/ 34 w 154"/>
              <a:gd name="T45" fmla="*/ 13 h 154"/>
              <a:gd name="T46" fmla="*/ 47 w 154"/>
              <a:gd name="T47" fmla="*/ 5 h 154"/>
              <a:gd name="T48" fmla="*/ 62 w 154"/>
              <a:gd name="T49" fmla="*/ 1 h 154"/>
              <a:gd name="T50" fmla="*/ 78 w 154"/>
              <a:gd name="T51" fmla="*/ 0 h 154"/>
              <a:gd name="T52" fmla="*/ 86 w 154"/>
              <a:gd name="T53" fmla="*/ 0 h 154"/>
              <a:gd name="T54" fmla="*/ 101 w 154"/>
              <a:gd name="T55" fmla="*/ 3 h 154"/>
              <a:gd name="T56" fmla="*/ 114 w 154"/>
              <a:gd name="T57" fmla="*/ 9 h 154"/>
              <a:gd name="T58" fmla="*/ 126 w 154"/>
              <a:gd name="T59" fmla="*/ 17 h 154"/>
              <a:gd name="T60" fmla="*/ 137 w 154"/>
              <a:gd name="T61" fmla="*/ 28 h 154"/>
              <a:gd name="T62" fmla="*/ 145 w 154"/>
              <a:gd name="T63" fmla="*/ 40 h 154"/>
              <a:gd name="T64" fmla="*/ 151 w 154"/>
              <a:gd name="T65" fmla="*/ 53 h 154"/>
              <a:gd name="T66" fmla="*/ 154 w 154"/>
              <a:gd name="T67" fmla="*/ 68 h 154"/>
              <a:gd name="T68" fmla="*/ 154 w 154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4">
                <a:moveTo>
                  <a:pt x="154" y="76"/>
                </a:moveTo>
                <a:lnTo>
                  <a:pt x="154" y="76"/>
                </a:lnTo>
                <a:lnTo>
                  <a:pt x="154" y="84"/>
                </a:lnTo>
                <a:lnTo>
                  <a:pt x="153" y="92"/>
                </a:lnTo>
                <a:lnTo>
                  <a:pt x="151" y="99"/>
                </a:lnTo>
                <a:lnTo>
                  <a:pt x="149" y="107"/>
                </a:lnTo>
                <a:lnTo>
                  <a:pt x="145" y="113"/>
                </a:lnTo>
                <a:lnTo>
                  <a:pt x="141" y="120"/>
                </a:lnTo>
                <a:lnTo>
                  <a:pt x="137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4" y="145"/>
                </a:lnTo>
                <a:lnTo>
                  <a:pt x="107" y="147"/>
                </a:lnTo>
                <a:lnTo>
                  <a:pt x="101" y="151"/>
                </a:lnTo>
                <a:lnTo>
                  <a:pt x="93" y="152"/>
                </a:lnTo>
                <a:lnTo>
                  <a:pt x="86" y="153"/>
                </a:lnTo>
                <a:lnTo>
                  <a:pt x="78" y="154"/>
                </a:lnTo>
                <a:lnTo>
                  <a:pt x="78" y="154"/>
                </a:lnTo>
                <a:lnTo>
                  <a:pt x="70" y="153"/>
                </a:lnTo>
                <a:lnTo>
                  <a:pt x="62" y="152"/>
                </a:lnTo>
                <a:lnTo>
                  <a:pt x="55" y="151"/>
                </a:lnTo>
                <a:lnTo>
                  <a:pt x="47" y="147"/>
                </a:lnTo>
                <a:lnTo>
                  <a:pt x="41" y="145"/>
                </a:lnTo>
                <a:lnTo>
                  <a:pt x="34" y="140"/>
                </a:lnTo>
                <a:lnTo>
                  <a:pt x="29" y="136"/>
                </a:lnTo>
                <a:lnTo>
                  <a:pt x="23" y="131"/>
                </a:lnTo>
                <a:lnTo>
                  <a:pt x="18" y="125"/>
                </a:lnTo>
                <a:lnTo>
                  <a:pt x="14" y="120"/>
                </a:lnTo>
                <a:lnTo>
                  <a:pt x="9" y="113"/>
                </a:lnTo>
                <a:lnTo>
                  <a:pt x="7" y="107"/>
                </a:lnTo>
                <a:lnTo>
                  <a:pt x="3" y="99"/>
                </a:lnTo>
                <a:lnTo>
                  <a:pt x="2" y="92"/>
                </a:lnTo>
                <a:lnTo>
                  <a:pt x="1" y="84"/>
                </a:lnTo>
                <a:lnTo>
                  <a:pt x="0" y="76"/>
                </a:lnTo>
                <a:lnTo>
                  <a:pt x="0" y="76"/>
                </a:lnTo>
                <a:lnTo>
                  <a:pt x="1" y="68"/>
                </a:lnTo>
                <a:lnTo>
                  <a:pt x="2" y="61"/>
                </a:lnTo>
                <a:lnTo>
                  <a:pt x="3" y="53"/>
                </a:lnTo>
                <a:lnTo>
                  <a:pt x="7" y="46"/>
                </a:lnTo>
                <a:lnTo>
                  <a:pt x="9" y="40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6" y="0"/>
                </a:lnTo>
                <a:lnTo>
                  <a:pt x="93" y="1"/>
                </a:lnTo>
                <a:lnTo>
                  <a:pt x="101" y="3"/>
                </a:lnTo>
                <a:lnTo>
                  <a:pt x="107" y="5"/>
                </a:lnTo>
                <a:lnTo>
                  <a:pt x="114" y="9"/>
                </a:lnTo>
                <a:lnTo>
                  <a:pt x="120" y="13"/>
                </a:lnTo>
                <a:lnTo>
                  <a:pt x="126" y="17"/>
                </a:lnTo>
                <a:lnTo>
                  <a:pt x="132" y="22"/>
                </a:lnTo>
                <a:lnTo>
                  <a:pt x="137" y="28"/>
                </a:lnTo>
                <a:lnTo>
                  <a:pt x="141" y="34"/>
                </a:lnTo>
                <a:lnTo>
                  <a:pt x="145" y="40"/>
                </a:lnTo>
                <a:lnTo>
                  <a:pt x="149" y="46"/>
                </a:lnTo>
                <a:lnTo>
                  <a:pt x="151" y="53"/>
                </a:lnTo>
                <a:lnTo>
                  <a:pt x="153" y="61"/>
                </a:lnTo>
                <a:lnTo>
                  <a:pt x="154" y="68"/>
                </a:lnTo>
                <a:lnTo>
                  <a:pt x="154" y="76"/>
                </a:lnTo>
                <a:lnTo>
                  <a:pt x="154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4" name="Freeform 3103">
            <a:extLst>
              <a:ext uri="{FF2B5EF4-FFF2-40B4-BE49-F238E27FC236}">
                <a16:creationId xmlns:a16="http://schemas.microsoft.com/office/drawing/2014/main" id="{3033A18B-3631-4A9B-A78C-E861E41C42E6}"/>
              </a:ext>
            </a:extLst>
          </p:cNvPr>
          <p:cNvSpPr>
            <a:spLocks/>
          </p:cNvSpPr>
          <p:nvPr userDrawn="1"/>
        </p:nvSpPr>
        <p:spPr bwMode="auto">
          <a:xfrm>
            <a:off x="1721274" y="3188877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0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9 h 155"/>
              <a:gd name="T14" fmla="*/ 93 w 154"/>
              <a:gd name="T15" fmla="*/ 152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6 h 155"/>
              <a:gd name="T26" fmla="*/ 18 w 154"/>
              <a:gd name="T27" fmla="*/ 126 h 155"/>
              <a:gd name="T28" fmla="*/ 9 w 154"/>
              <a:gd name="T29" fmla="*/ 115 h 155"/>
              <a:gd name="T30" fmla="*/ 3 w 154"/>
              <a:gd name="T31" fmla="*/ 101 h 155"/>
              <a:gd name="T32" fmla="*/ 1 w 154"/>
              <a:gd name="T33" fmla="*/ 85 h 155"/>
              <a:gd name="T34" fmla="*/ 0 w 154"/>
              <a:gd name="T35" fmla="*/ 78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7 h 155"/>
              <a:gd name="T48" fmla="*/ 62 w 154"/>
              <a:gd name="T49" fmla="*/ 3 h 155"/>
              <a:gd name="T50" fmla="*/ 78 w 154"/>
              <a:gd name="T51" fmla="*/ 0 h 155"/>
              <a:gd name="T52" fmla="*/ 85 w 154"/>
              <a:gd name="T53" fmla="*/ 1 h 155"/>
              <a:gd name="T54" fmla="*/ 101 w 154"/>
              <a:gd name="T55" fmla="*/ 4 h 155"/>
              <a:gd name="T56" fmla="*/ 114 w 154"/>
              <a:gd name="T57" fmla="*/ 9 h 155"/>
              <a:gd name="T58" fmla="*/ 126 w 154"/>
              <a:gd name="T59" fmla="*/ 19 h 155"/>
              <a:gd name="T60" fmla="*/ 137 w 154"/>
              <a:gd name="T61" fmla="*/ 29 h 155"/>
              <a:gd name="T62" fmla="*/ 145 w 154"/>
              <a:gd name="T63" fmla="*/ 41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5"/>
                </a:lnTo>
                <a:lnTo>
                  <a:pt x="153" y="93"/>
                </a:lnTo>
                <a:lnTo>
                  <a:pt x="151" y="101"/>
                </a:lnTo>
                <a:lnTo>
                  <a:pt x="149" y="108"/>
                </a:lnTo>
                <a:lnTo>
                  <a:pt x="145" y="115"/>
                </a:lnTo>
                <a:lnTo>
                  <a:pt x="141" y="120"/>
                </a:lnTo>
                <a:lnTo>
                  <a:pt x="137" y="126"/>
                </a:lnTo>
                <a:lnTo>
                  <a:pt x="132" y="132"/>
                </a:lnTo>
                <a:lnTo>
                  <a:pt x="126" y="136"/>
                </a:lnTo>
                <a:lnTo>
                  <a:pt x="120" y="141"/>
                </a:lnTo>
                <a:lnTo>
                  <a:pt x="114" y="146"/>
                </a:lnTo>
                <a:lnTo>
                  <a:pt x="107" y="149"/>
                </a:lnTo>
                <a:lnTo>
                  <a:pt x="101" y="151"/>
                </a:lnTo>
                <a:lnTo>
                  <a:pt x="93" y="152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2"/>
                </a:lnTo>
                <a:lnTo>
                  <a:pt x="55" y="151"/>
                </a:lnTo>
                <a:lnTo>
                  <a:pt x="47" y="149"/>
                </a:lnTo>
                <a:lnTo>
                  <a:pt x="41" y="146"/>
                </a:lnTo>
                <a:lnTo>
                  <a:pt x="34" y="141"/>
                </a:lnTo>
                <a:lnTo>
                  <a:pt x="29" y="136"/>
                </a:lnTo>
                <a:lnTo>
                  <a:pt x="23" y="132"/>
                </a:lnTo>
                <a:lnTo>
                  <a:pt x="18" y="126"/>
                </a:lnTo>
                <a:lnTo>
                  <a:pt x="14" y="120"/>
                </a:lnTo>
                <a:lnTo>
                  <a:pt x="9" y="115"/>
                </a:lnTo>
                <a:lnTo>
                  <a:pt x="7" y="108"/>
                </a:lnTo>
                <a:lnTo>
                  <a:pt x="3" y="101"/>
                </a:lnTo>
                <a:lnTo>
                  <a:pt x="2" y="93"/>
                </a:lnTo>
                <a:lnTo>
                  <a:pt x="1" y="85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7" y="47"/>
                </a:lnTo>
                <a:lnTo>
                  <a:pt x="9" y="41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9"/>
                </a:lnTo>
                <a:lnTo>
                  <a:pt x="34" y="14"/>
                </a:lnTo>
                <a:lnTo>
                  <a:pt x="41" y="9"/>
                </a:lnTo>
                <a:lnTo>
                  <a:pt x="47" y="7"/>
                </a:lnTo>
                <a:lnTo>
                  <a:pt x="55" y="4"/>
                </a:lnTo>
                <a:lnTo>
                  <a:pt x="62" y="3"/>
                </a:lnTo>
                <a:lnTo>
                  <a:pt x="70" y="1"/>
                </a:lnTo>
                <a:lnTo>
                  <a:pt x="78" y="0"/>
                </a:lnTo>
                <a:lnTo>
                  <a:pt x="78" y="0"/>
                </a:lnTo>
                <a:lnTo>
                  <a:pt x="85" y="1"/>
                </a:lnTo>
                <a:lnTo>
                  <a:pt x="93" y="3"/>
                </a:lnTo>
                <a:lnTo>
                  <a:pt x="101" y="4"/>
                </a:lnTo>
                <a:lnTo>
                  <a:pt x="107" y="7"/>
                </a:lnTo>
                <a:lnTo>
                  <a:pt x="114" y="9"/>
                </a:lnTo>
                <a:lnTo>
                  <a:pt x="120" y="14"/>
                </a:lnTo>
                <a:lnTo>
                  <a:pt x="126" y="19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1"/>
                </a:lnTo>
                <a:lnTo>
                  <a:pt x="149" y="47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5" name="Freeform 3104">
            <a:extLst>
              <a:ext uri="{FF2B5EF4-FFF2-40B4-BE49-F238E27FC236}">
                <a16:creationId xmlns:a16="http://schemas.microsoft.com/office/drawing/2014/main" id="{B95DCF48-277A-420C-A10F-9AD1A1B24946}"/>
              </a:ext>
            </a:extLst>
          </p:cNvPr>
          <p:cNvSpPr>
            <a:spLocks/>
          </p:cNvSpPr>
          <p:nvPr userDrawn="1"/>
        </p:nvSpPr>
        <p:spPr bwMode="auto">
          <a:xfrm>
            <a:off x="1721274" y="3231916"/>
            <a:ext cx="34350" cy="34350"/>
          </a:xfrm>
          <a:custGeom>
            <a:avLst/>
            <a:gdLst>
              <a:gd name="T0" fmla="*/ 154 w 154"/>
              <a:gd name="T1" fmla="*/ 77 h 155"/>
              <a:gd name="T2" fmla="*/ 153 w 154"/>
              <a:gd name="T3" fmla="*/ 93 h 155"/>
              <a:gd name="T4" fmla="*/ 149 w 154"/>
              <a:gd name="T5" fmla="*/ 108 h 155"/>
              <a:gd name="T6" fmla="*/ 141 w 154"/>
              <a:gd name="T7" fmla="*/ 121 h 155"/>
              <a:gd name="T8" fmla="*/ 132 w 154"/>
              <a:gd name="T9" fmla="*/ 132 h 155"/>
              <a:gd name="T10" fmla="*/ 120 w 154"/>
              <a:gd name="T11" fmla="*/ 141 h 155"/>
              <a:gd name="T12" fmla="*/ 107 w 154"/>
              <a:gd name="T13" fmla="*/ 148 h 155"/>
              <a:gd name="T14" fmla="*/ 93 w 154"/>
              <a:gd name="T15" fmla="*/ 153 h 155"/>
              <a:gd name="T16" fmla="*/ 78 w 154"/>
              <a:gd name="T17" fmla="*/ 155 h 155"/>
              <a:gd name="T18" fmla="*/ 70 w 154"/>
              <a:gd name="T19" fmla="*/ 154 h 155"/>
              <a:gd name="T20" fmla="*/ 55 w 154"/>
              <a:gd name="T21" fmla="*/ 151 h 155"/>
              <a:gd name="T22" fmla="*/ 41 w 154"/>
              <a:gd name="T23" fmla="*/ 146 h 155"/>
              <a:gd name="T24" fmla="*/ 29 w 154"/>
              <a:gd name="T25" fmla="*/ 137 h 155"/>
              <a:gd name="T26" fmla="*/ 18 w 154"/>
              <a:gd name="T27" fmla="*/ 126 h 155"/>
              <a:gd name="T28" fmla="*/ 9 w 154"/>
              <a:gd name="T29" fmla="*/ 114 h 155"/>
              <a:gd name="T30" fmla="*/ 3 w 154"/>
              <a:gd name="T31" fmla="*/ 100 h 155"/>
              <a:gd name="T32" fmla="*/ 1 w 154"/>
              <a:gd name="T33" fmla="*/ 85 h 155"/>
              <a:gd name="T34" fmla="*/ 0 w 154"/>
              <a:gd name="T35" fmla="*/ 77 h 155"/>
              <a:gd name="T36" fmla="*/ 2 w 154"/>
              <a:gd name="T37" fmla="*/ 62 h 155"/>
              <a:gd name="T38" fmla="*/ 7 w 154"/>
              <a:gd name="T39" fmla="*/ 47 h 155"/>
              <a:gd name="T40" fmla="*/ 14 w 154"/>
              <a:gd name="T41" fmla="*/ 35 h 155"/>
              <a:gd name="T42" fmla="*/ 23 w 154"/>
              <a:gd name="T43" fmla="*/ 23 h 155"/>
              <a:gd name="T44" fmla="*/ 34 w 154"/>
              <a:gd name="T45" fmla="*/ 14 h 155"/>
              <a:gd name="T46" fmla="*/ 47 w 154"/>
              <a:gd name="T47" fmla="*/ 6 h 155"/>
              <a:gd name="T48" fmla="*/ 62 w 154"/>
              <a:gd name="T49" fmla="*/ 2 h 155"/>
              <a:gd name="T50" fmla="*/ 78 w 154"/>
              <a:gd name="T51" fmla="*/ 0 h 155"/>
              <a:gd name="T52" fmla="*/ 85 w 154"/>
              <a:gd name="T53" fmla="*/ 0 h 155"/>
              <a:gd name="T54" fmla="*/ 101 w 154"/>
              <a:gd name="T55" fmla="*/ 4 h 155"/>
              <a:gd name="T56" fmla="*/ 114 w 154"/>
              <a:gd name="T57" fmla="*/ 10 h 155"/>
              <a:gd name="T58" fmla="*/ 126 w 154"/>
              <a:gd name="T59" fmla="*/ 18 h 155"/>
              <a:gd name="T60" fmla="*/ 137 w 154"/>
              <a:gd name="T61" fmla="*/ 29 h 155"/>
              <a:gd name="T62" fmla="*/ 145 w 154"/>
              <a:gd name="T63" fmla="*/ 40 h 155"/>
              <a:gd name="T64" fmla="*/ 151 w 154"/>
              <a:gd name="T65" fmla="*/ 54 h 155"/>
              <a:gd name="T66" fmla="*/ 154 w 154"/>
              <a:gd name="T67" fmla="*/ 69 h 155"/>
              <a:gd name="T68" fmla="*/ 154 w 154"/>
              <a:gd name="T69" fmla="*/ 7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7"/>
                </a:moveTo>
                <a:lnTo>
                  <a:pt x="154" y="77"/>
                </a:lnTo>
                <a:lnTo>
                  <a:pt x="154" y="85"/>
                </a:lnTo>
                <a:lnTo>
                  <a:pt x="153" y="93"/>
                </a:lnTo>
                <a:lnTo>
                  <a:pt x="151" y="100"/>
                </a:lnTo>
                <a:lnTo>
                  <a:pt x="149" y="108"/>
                </a:lnTo>
                <a:lnTo>
                  <a:pt x="145" y="114"/>
                </a:lnTo>
                <a:lnTo>
                  <a:pt x="141" y="121"/>
                </a:lnTo>
                <a:lnTo>
                  <a:pt x="137" y="126"/>
                </a:lnTo>
                <a:lnTo>
                  <a:pt x="132" y="132"/>
                </a:lnTo>
                <a:lnTo>
                  <a:pt x="126" y="137"/>
                </a:lnTo>
                <a:lnTo>
                  <a:pt x="120" y="141"/>
                </a:lnTo>
                <a:lnTo>
                  <a:pt x="114" y="146"/>
                </a:lnTo>
                <a:lnTo>
                  <a:pt x="107" y="148"/>
                </a:lnTo>
                <a:lnTo>
                  <a:pt x="101" y="151"/>
                </a:lnTo>
                <a:lnTo>
                  <a:pt x="93" y="153"/>
                </a:lnTo>
                <a:lnTo>
                  <a:pt x="85" y="154"/>
                </a:lnTo>
                <a:lnTo>
                  <a:pt x="78" y="155"/>
                </a:lnTo>
                <a:lnTo>
                  <a:pt x="78" y="155"/>
                </a:lnTo>
                <a:lnTo>
                  <a:pt x="70" y="154"/>
                </a:lnTo>
                <a:lnTo>
                  <a:pt x="62" y="153"/>
                </a:lnTo>
                <a:lnTo>
                  <a:pt x="55" y="151"/>
                </a:lnTo>
                <a:lnTo>
                  <a:pt x="47" y="148"/>
                </a:lnTo>
                <a:lnTo>
                  <a:pt x="41" y="146"/>
                </a:lnTo>
                <a:lnTo>
                  <a:pt x="34" y="141"/>
                </a:lnTo>
                <a:lnTo>
                  <a:pt x="29" y="137"/>
                </a:lnTo>
                <a:lnTo>
                  <a:pt x="23" y="132"/>
                </a:lnTo>
                <a:lnTo>
                  <a:pt x="18" y="126"/>
                </a:lnTo>
                <a:lnTo>
                  <a:pt x="14" y="121"/>
                </a:lnTo>
                <a:lnTo>
                  <a:pt x="9" y="114"/>
                </a:lnTo>
                <a:lnTo>
                  <a:pt x="7" y="108"/>
                </a:lnTo>
                <a:lnTo>
                  <a:pt x="3" y="100"/>
                </a:lnTo>
                <a:lnTo>
                  <a:pt x="2" y="93"/>
                </a:lnTo>
                <a:lnTo>
                  <a:pt x="1" y="85"/>
                </a:lnTo>
                <a:lnTo>
                  <a:pt x="0" y="77"/>
                </a:lnTo>
                <a:lnTo>
                  <a:pt x="0" y="77"/>
                </a:lnTo>
                <a:lnTo>
                  <a:pt x="1" y="69"/>
                </a:lnTo>
                <a:lnTo>
                  <a:pt x="2" y="62"/>
                </a:lnTo>
                <a:lnTo>
                  <a:pt x="3" y="54"/>
                </a:lnTo>
                <a:lnTo>
                  <a:pt x="7" y="47"/>
                </a:lnTo>
                <a:lnTo>
                  <a:pt x="9" y="40"/>
                </a:lnTo>
                <a:lnTo>
                  <a:pt x="14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2" y="2"/>
                </a:lnTo>
                <a:lnTo>
                  <a:pt x="70" y="0"/>
                </a:lnTo>
                <a:lnTo>
                  <a:pt x="78" y="0"/>
                </a:lnTo>
                <a:lnTo>
                  <a:pt x="78" y="0"/>
                </a:lnTo>
                <a:lnTo>
                  <a:pt x="85" y="0"/>
                </a:lnTo>
                <a:lnTo>
                  <a:pt x="93" y="2"/>
                </a:lnTo>
                <a:lnTo>
                  <a:pt x="101" y="4"/>
                </a:lnTo>
                <a:lnTo>
                  <a:pt x="107" y="6"/>
                </a:lnTo>
                <a:lnTo>
                  <a:pt x="114" y="10"/>
                </a:lnTo>
                <a:lnTo>
                  <a:pt x="120" y="14"/>
                </a:lnTo>
                <a:lnTo>
                  <a:pt x="126" y="18"/>
                </a:lnTo>
                <a:lnTo>
                  <a:pt x="132" y="23"/>
                </a:lnTo>
                <a:lnTo>
                  <a:pt x="137" y="29"/>
                </a:lnTo>
                <a:lnTo>
                  <a:pt x="141" y="35"/>
                </a:lnTo>
                <a:lnTo>
                  <a:pt x="145" y="40"/>
                </a:lnTo>
                <a:lnTo>
                  <a:pt x="149" y="47"/>
                </a:lnTo>
                <a:lnTo>
                  <a:pt x="151" y="54"/>
                </a:lnTo>
                <a:lnTo>
                  <a:pt x="153" y="62"/>
                </a:lnTo>
                <a:lnTo>
                  <a:pt x="154" y="69"/>
                </a:lnTo>
                <a:lnTo>
                  <a:pt x="154" y="77"/>
                </a:lnTo>
                <a:lnTo>
                  <a:pt x="154" y="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6" name="Freeform 3105">
            <a:extLst>
              <a:ext uri="{FF2B5EF4-FFF2-40B4-BE49-F238E27FC236}">
                <a16:creationId xmlns:a16="http://schemas.microsoft.com/office/drawing/2014/main" id="{F80C103D-23BD-46AA-81E0-3DFE42D69592}"/>
              </a:ext>
            </a:extLst>
          </p:cNvPr>
          <p:cNvSpPr>
            <a:spLocks/>
          </p:cNvSpPr>
          <p:nvPr userDrawn="1"/>
        </p:nvSpPr>
        <p:spPr bwMode="auto">
          <a:xfrm>
            <a:off x="1767468" y="3145846"/>
            <a:ext cx="34350" cy="34350"/>
          </a:xfrm>
          <a:custGeom>
            <a:avLst/>
            <a:gdLst>
              <a:gd name="T0" fmla="*/ 154 w 154"/>
              <a:gd name="T1" fmla="*/ 78 h 155"/>
              <a:gd name="T2" fmla="*/ 153 w 154"/>
              <a:gd name="T3" fmla="*/ 93 h 155"/>
              <a:gd name="T4" fmla="*/ 148 w 154"/>
              <a:gd name="T5" fmla="*/ 108 h 155"/>
              <a:gd name="T6" fmla="*/ 140 w 154"/>
              <a:gd name="T7" fmla="*/ 121 h 155"/>
              <a:gd name="T8" fmla="*/ 131 w 154"/>
              <a:gd name="T9" fmla="*/ 132 h 155"/>
              <a:gd name="T10" fmla="*/ 120 w 154"/>
              <a:gd name="T11" fmla="*/ 142 h 155"/>
              <a:gd name="T12" fmla="*/ 107 w 154"/>
              <a:gd name="T13" fmla="*/ 149 h 155"/>
              <a:gd name="T14" fmla="*/ 92 w 154"/>
              <a:gd name="T15" fmla="*/ 154 h 155"/>
              <a:gd name="T16" fmla="*/ 77 w 154"/>
              <a:gd name="T17" fmla="*/ 155 h 155"/>
              <a:gd name="T18" fmla="*/ 69 w 154"/>
              <a:gd name="T19" fmla="*/ 155 h 155"/>
              <a:gd name="T20" fmla="*/ 54 w 154"/>
              <a:gd name="T21" fmla="*/ 151 h 155"/>
              <a:gd name="T22" fmla="*/ 41 w 154"/>
              <a:gd name="T23" fmla="*/ 146 h 155"/>
              <a:gd name="T24" fmla="*/ 28 w 154"/>
              <a:gd name="T25" fmla="*/ 138 h 155"/>
              <a:gd name="T26" fmla="*/ 18 w 154"/>
              <a:gd name="T27" fmla="*/ 127 h 155"/>
              <a:gd name="T28" fmla="*/ 10 w 154"/>
              <a:gd name="T29" fmla="*/ 115 h 155"/>
              <a:gd name="T30" fmla="*/ 3 w 154"/>
              <a:gd name="T31" fmla="*/ 101 h 155"/>
              <a:gd name="T32" fmla="*/ 1 w 154"/>
              <a:gd name="T33" fmla="*/ 86 h 155"/>
              <a:gd name="T34" fmla="*/ 0 w 154"/>
              <a:gd name="T35" fmla="*/ 78 h 155"/>
              <a:gd name="T36" fmla="*/ 2 w 154"/>
              <a:gd name="T37" fmla="*/ 62 h 155"/>
              <a:gd name="T38" fmla="*/ 6 w 154"/>
              <a:gd name="T39" fmla="*/ 48 h 155"/>
              <a:gd name="T40" fmla="*/ 13 w 154"/>
              <a:gd name="T41" fmla="*/ 35 h 155"/>
              <a:gd name="T42" fmla="*/ 22 w 154"/>
              <a:gd name="T43" fmla="*/ 23 h 155"/>
              <a:gd name="T44" fmla="*/ 34 w 154"/>
              <a:gd name="T45" fmla="*/ 14 h 155"/>
              <a:gd name="T46" fmla="*/ 46 w 154"/>
              <a:gd name="T47" fmla="*/ 7 h 155"/>
              <a:gd name="T48" fmla="*/ 61 w 154"/>
              <a:gd name="T49" fmla="*/ 3 h 155"/>
              <a:gd name="T50" fmla="*/ 77 w 154"/>
              <a:gd name="T51" fmla="*/ 0 h 155"/>
              <a:gd name="T52" fmla="*/ 85 w 154"/>
              <a:gd name="T53" fmla="*/ 2 h 155"/>
              <a:gd name="T54" fmla="*/ 100 w 154"/>
              <a:gd name="T55" fmla="*/ 4 h 155"/>
              <a:gd name="T56" fmla="*/ 114 w 154"/>
              <a:gd name="T57" fmla="*/ 10 h 155"/>
              <a:gd name="T58" fmla="*/ 125 w 154"/>
              <a:gd name="T59" fmla="*/ 19 h 155"/>
              <a:gd name="T60" fmla="*/ 137 w 154"/>
              <a:gd name="T61" fmla="*/ 29 h 155"/>
              <a:gd name="T62" fmla="*/ 145 w 154"/>
              <a:gd name="T63" fmla="*/ 42 h 155"/>
              <a:gd name="T64" fmla="*/ 151 w 154"/>
              <a:gd name="T65" fmla="*/ 55 h 155"/>
              <a:gd name="T66" fmla="*/ 154 w 154"/>
              <a:gd name="T67" fmla="*/ 70 h 155"/>
              <a:gd name="T68" fmla="*/ 154 w 154"/>
              <a:gd name="T69" fmla="*/ 7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4" h="155">
                <a:moveTo>
                  <a:pt x="154" y="78"/>
                </a:moveTo>
                <a:lnTo>
                  <a:pt x="154" y="78"/>
                </a:lnTo>
                <a:lnTo>
                  <a:pt x="154" y="86"/>
                </a:lnTo>
                <a:lnTo>
                  <a:pt x="153" y="93"/>
                </a:lnTo>
                <a:lnTo>
                  <a:pt x="151" y="101"/>
                </a:lnTo>
                <a:lnTo>
                  <a:pt x="148" y="108"/>
                </a:lnTo>
                <a:lnTo>
                  <a:pt x="145" y="115"/>
                </a:lnTo>
                <a:lnTo>
                  <a:pt x="140" y="121"/>
                </a:lnTo>
                <a:lnTo>
                  <a:pt x="137" y="127"/>
                </a:lnTo>
                <a:lnTo>
                  <a:pt x="131" y="132"/>
                </a:lnTo>
                <a:lnTo>
                  <a:pt x="125" y="138"/>
                </a:lnTo>
                <a:lnTo>
                  <a:pt x="120" y="142"/>
                </a:lnTo>
                <a:lnTo>
                  <a:pt x="114" y="146"/>
                </a:lnTo>
                <a:lnTo>
                  <a:pt x="107" y="149"/>
                </a:lnTo>
                <a:lnTo>
                  <a:pt x="100" y="151"/>
                </a:lnTo>
                <a:lnTo>
                  <a:pt x="92" y="154"/>
                </a:lnTo>
                <a:lnTo>
                  <a:pt x="85" y="155"/>
                </a:lnTo>
                <a:lnTo>
                  <a:pt x="77" y="155"/>
                </a:lnTo>
                <a:lnTo>
                  <a:pt x="77" y="155"/>
                </a:lnTo>
                <a:lnTo>
                  <a:pt x="69" y="155"/>
                </a:lnTo>
                <a:lnTo>
                  <a:pt x="61" y="154"/>
                </a:lnTo>
                <a:lnTo>
                  <a:pt x="54" y="151"/>
                </a:lnTo>
                <a:lnTo>
                  <a:pt x="46" y="149"/>
                </a:lnTo>
                <a:lnTo>
                  <a:pt x="41" y="146"/>
                </a:lnTo>
                <a:lnTo>
                  <a:pt x="34" y="142"/>
                </a:lnTo>
                <a:lnTo>
                  <a:pt x="28" y="138"/>
                </a:lnTo>
                <a:lnTo>
                  <a:pt x="22" y="132"/>
                </a:lnTo>
                <a:lnTo>
                  <a:pt x="18" y="127"/>
                </a:lnTo>
                <a:lnTo>
                  <a:pt x="13" y="121"/>
                </a:lnTo>
                <a:lnTo>
                  <a:pt x="10" y="115"/>
                </a:lnTo>
                <a:lnTo>
                  <a:pt x="6" y="108"/>
                </a:lnTo>
                <a:lnTo>
                  <a:pt x="3" y="101"/>
                </a:lnTo>
                <a:lnTo>
                  <a:pt x="2" y="93"/>
                </a:lnTo>
                <a:lnTo>
                  <a:pt x="1" y="86"/>
                </a:lnTo>
                <a:lnTo>
                  <a:pt x="0" y="78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3" y="55"/>
                </a:lnTo>
                <a:lnTo>
                  <a:pt x="6" y="48"/>
                </a:lnTo>
                <a:lnTo>
                  <a:pt x="10" y="42"/>
                </a:lnTo>
                <a:lnTo>
                  <a:pt x="13" y="35"/>
                </a:lnTo>
                <a:lnTo>
                  <a:pt x="18" y="29"/>
                </a:lnTo>
                <a:lnTo>
                  <a:pt x="22" y="23"/>
                </a:lnTo>
                <a:lnTo>
                  <a:pt x="28" y="19"/>
                </a:lnTo>
                <a:lnTo>
                  <a:pt x="34" y="14"/>
                </a:lnTo>
                <a:lnTo>
                  <a:pt x="41" y="10"/>
                </a:lnTo>
                <a:lnTo>
                  <a:pt x="46" y="7"/>
                </a:lnTo>
                <a:lnTo>
                  <a:pt x="54" y="4"/>
                </a:lnTo>
                <a:lnTo>
                  <a:pt x="61" y="3"/>
                </a:lnTo>
                <a:lnTo>
                  <a:pt x="69" y="2"/>
                </a:lnTo>
                <a:lnTo>
                  <a:pt x="77" y="0"/>
                </a:lnTo>
                <a:lnTo>
                  <a:pt x="77" y="0"/>
                </a:lnTo>
                <a:lnTo>
                  <a:pt x="85" y="2"/>
                </a:lnTo>
                <a:lnTo>
                  <a:pt x="92" y="3"/>
                </a:lnTo>
                <a:lnTo>
                  <a:pt x="100" y="4"/>
                </a:lnTo>
                <a:lnTo>
                  <a:pt x="107" y="7"/>
                </a:lnTo>
                <a:lnTo>
                  <a:pt x="114" y="10"/>
                </a:lnTo>
                <a:lnTo>
                  <a:pt x="120" y="14"/>
                </a:lnTo>
                <a:lnTo>
                  <a:pt x="125" y="19"/>
                </a:lnTo>
                <a:lnTo>
                  <a:pt x="131" y="23"/>
                </a:lnTo>
                <a:lnTo>
                  <a:pt x="137" y="29"/>
                </a:lnTo>
                <a:lnTo>
                  <a:pt x="140" y="35"/>
                </a:lnTo>
                <a:lnTo>
                  <a:pt x="145" y="42"/>
                </a:lnTo>
                <a:lnTo>
                  <a:pt x="148" y="48"/>
                </a:lnTo>
                <a:lnTo>
                  <a:pt x="151" y="55"/>
                </a:lnTo>
                <a:lnTo>
                  <a:pt x="153" y="62"/>
                </a:lnTo>
                <a:lnTo>
                  <a:pt x="154" y="70"/>
                </a:lnTo>
                <a:lnTo>
                  <a:pt x="154" y="78"/>
                </a:lnTo>
                <a:lnTo>
                  <a:pt x="154" y="7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80" name="Freeform 538">
            <a:extLst>
              <a:ext uri="{FF2B5EF4-FFF2-40B4-BE49-F238E27FC236}">
                <a16:creationId xmlns:a16="http://schemas.microsoft.com/office/drawing/2014/main" id="{6F5CDAFB-6424-4143-A078-9BE8C8BD3780}"/>
              </a:ext>
            </a:extLst>
          </p:cNvPr>
          <p:cNvSpPr>
            <a:spLocks/>
          </p:cNvSpPr>
          <p:nvPr userDrawn="1"/>
        </p:nvSpPr>
        <p:spPr bwMode="auto">
          <a:xfrm>
            <a:off x="2971282" y="787087"/>
            <a:ext cx="34350" cy="34350"/>
          </a:xfrm>
          <a:custGeom>
            <a:avLst/>
            <a:gdLst>
              <a:gd name="T0" fmla="*/ 155 w 155"/>
              <a:gd name="T1" fmla="*/ 76 h 154"/>
              <a:gd name="T2" fmla="*/ 152 w 155"/>
              <a:gd name="T3" fmla="*/ 92 h 154"/>
              <a:gd name="T4" fmla="*/ 148 w 155"/>
              <a:gd name="T5" fmla="*/ 107 h 154"/>
              <a:gd name="T6" fmla="*/ 141 w 155"/>
              <a:gd name="T7" fmla="*/ 120 h 154"/>
              <a:gd name="T8" fmla="*/ 132 w 155"/>
              <a:gd name="T9" fmla="*/ 131 h 154"/>
              <a:gd name="T10" fmla="*/ 120 w 155"/>
              <a:gd name="T11" fmla="*/ 140 h 154"/>
              <a:gd name="T12" fmla="*/ 108 w 155"/>
              <a:gd name="T13" fmla="*/ 147 h 154"/>
              <a:gd name="T14" fmla="*/ 93 w 155"/>
              <a:gd name="T15" fmla="*/ 152 h 154"/>
              <a:gd name="T16" fmla="*/ 77 w 155"/>
              <a:gd name="T17" fmla="*/ 154 h 154"/>
              <a:gd name="T18" fmla="*/ 69 w 155"/>
              <a:gd name="T19" fmla="*/ 153 h 154"/>
              <a:gd name="T20" fmla="*/ 54 w 155"/>
              <a:gd name="T21" fmla="*/ 151 h 154"/>
              <a:gd name="T22" fmla="*/ 40 w 155"/>
              <a:gd name="T23" fmla="*/ 145 h 154"/>
              <a:gd name="T24" fmla="*/ 29 w 155"/>
              <a:gd name="T25" fmla="*/ 136 h 154"/>
              <a:gd name="T26" fmla="*/ 17 w 155"/>
              <a:gd name="T27" fmla="*/ 125 h 154"/>
              <a:gd name="T28" fmla="*/ 9 w 155"/>
              <a:gd name="T29" fmla="*/ 114 h 154"/>
              <a:gd name="T30" fmla="*/ 4 w 155"/>
              <a:gd name="T31" fmla="*/ 99 h 154"/>
              <a:gd name="T32" fmla="*/ 0 w 155"/>
              <a:gd name="T33" fmla="*/ 84 h 154"/>
              <a:gd name="T34" fmla="*/ 0 w 155"/>
              <a:gd name="T35" fmla="*/ 76 h 154"/>
              <a:gd name="T36" fmla="*/ 1 w 155"/>
              <a:gd name="T37" fmla="*/ 61 h 154"/>
              <a:gd name="T38" fmla="*/ 6 w 155"/>
              <a:gd name="T39" fmla="*/ 47 h 154"/>
              <a:gd name="T40" fmla="*/ 13 w 155"/>
              <a:gd name="T41" fmla="*/ 34 h 154"/>
              <a:gd name="T42" fmla="*/ 23 w 155"/>
              <a:gd name="T43" fmla="*/ 23 h 154"/>
              <a:gd name="T44" fmla="*/ 35 w 155"/>
              <a:gd name="T45" fmla="*/ 13 h 154"/>
              <a:gd name="T46" fmla="*/ 47 w 155"/>
              <a:gd name="T47" fmla="*/ 6 h 154"/>
              <a:gd name="T48" fmla="*/ 62 w 155"/>
              <a:gd name="T49" fmla="*/ 2 h 154"/>
              <a:gd name="T50" fmla="*/ 77 w 155"/>
              <a:gd name="T51" fmla="*/ 0 h 154"/>
              <a:gd name="T52" fmla="*/ 85 w 155"/>
              <a:gd name="T53" fmla="*/ 1 h 154"/>
              <a:gd name="T54" fmla="*/ 100 w 155"/>
              <a:gd name="T55" fmla="*/ 3 h 154"/>
              <a:gd name="T56" fmla="*/ 113 w 155"/>
              <a:gd name="T57" fmla="*/ 9 h 154"/>
              <a:gd name="T58" fmla="*/ 126 w 155"/>
              <a:gd name="T59" fmla="*/ 18 h 154"/>
              <a:gd name="T60" fmla="*/ 136 w 155"/>
              <a:gd name="T61" fmla="*/ 28 h 154"/>
              <a:gd name="T62" fmla="*/ 146 w 155"/>
              <a:gd name="T63" fmla="*/ 40 h 154"/>
              <a:gd name="T64" fmla="*/ 151 w 155"/>
              <a:gd name="T65" fmla="*/ 53 h 154"/>
              <a:gd name="T66" fmla="*/ 154 w 155"/>
              <a:gd name="T67" fmla="*/ 69 h 154"/>
              <a:gd name="T68" fmla="*/ 155 w 155"/>
              <a:gd name="T69" fmla="*/ 7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4">
                <a:moveTo>
                  <a:pt x="155" y="76"/>
                </a:moveTo>
                <a:lnTo>
                  <a:pt x="155" y="76"/>
                </a:lnTo>
                <a:lnTo>
                  <a:pt x="154" y="84"/>
                </a:lnTo>
                <a:lnTo>
                  <a:pt x="152" y="92"/>
                </a:lnTo>
                <a:lnTo>
                  <a:pt x="151" y="99"/>
                </a:lnTo>
                <a:lnTo>
                  <a:pt x="148" y="107"/>
                </a:lnTo>
                <a:lnTo>
                  <a:pt x="146" y="114"/>
                </a:lnTo>
                <a:lnTo>
                  <a:pt x="141" y="120"/>
                </a:lnTo>
                <a:lnTo>
                  <a:pt x="136" y="125"/>
                </a:lnTo>
                <a:lnTo>
                  <a:pt x="132" y="131"/>
                </a:lnTo>
                <a:lnTo>
                  <a:pt x="126" y="136"/>
                </a:lnTo>
                <a:lnTo>
                  <a:pt x="120" y="140"/>
                </a:lnTo>
                <a:lnTo>
                  <a:pt x="113" y="145"/>
                </a:lnTo>
                <a:lnTo>
                  <a:pt x="108" y="147"/>
                </a:lnTo>
                <a:lnTo>
                  <a:pt x="100" y="151"/>
                </a:lnTo>
                <a:lnTo>
                  <a:pt x="93" y="152"/>
                </a:lnTo>
                <a:lnTo>
                  <a:pt x="85" y="153"/>
                </a:lnTo>
                <a:lnTo>
                  <a:pt x="77" y="154"/>
                </a:lnTo>
                <a:lnTo>
                  <a:pt x="77" y="154"/>
                </a:lnTo>
                <a:lnTo>
                  <a:pt x="69" y="153"/>
                </a:lnTo>
                <a:lnTo>
                  <a:pt x="62" y="152"/>
                </a:lnTo>
                <a:lnTo>
                  <a:pt x="54" y="151"/>
                </a:lnTo>
                <a:lnTo>
                  <a:pt x="47" y="147"/>
                </a:lnTo>
                <a:lnTo>
                  <a:pt x="40" y="145"/>
                </a:lnTo>
                <a:lnTo>
                  <a:pt x="35" y="140"/>
                </a:lnTo>
                <a:lnTo>
                  <a:pt x="29" y="136"/>
                </a:lnTo>
                <a:lnTo>
                  <a:pt x="23" y="131"/>
                </a:lnTo>
                <a:lnTo>
                  <a:pt x="17" y="125"/>
                </a:lnTo>
                <a:lnTo>
                  <a:pt x="13" y="120"/>
                </a:lnTo>
                <a:lnTo>
                  <a:pt x="9" y="114"/>
                </a:lnTo>
                <a:lnTo>
                  <a:pt x="6" y="107"/>
                </a:lnTo>
                <a:lnTo>
                  <a:pt x="4" y="99"/>
                </a:lnTo>
                <a:lnTo>
                  <a:pt x="1" y="92"/>
                </a:lnTo>
                <a:lnTo>
                  <a:pt x="0" y="84"/>
                </a:lnTo>
                <a:lnTo>
                  <a:pt x="0" y="76"/>
                </a:lnTo>
                <a:lnTo>
                  <a:pt x="0" y="76"/>
                </a:lnTo>
                <a:lnTo>
                  <a:pt x="0" y="69"/>
                </a:lnTo>
                <a:lnTo>
                  <a:pt x="1" y="61"/>
                </a:lnTo>
                <a:lnTo>
                  <a:pt x="4" y="53"/>
                </a:lnTo>
                <a:lnTo>
                  <a:pt x="6" y="47"/>
                </a:lnTo>
                <a:lnTo>
                  <a:pt x="9" y="40"/>
                </a:lnTo>
                <a:lnTo>
                  <a:pt x="13" y="34"/>
                </a:lnTo>
                <a:lnTo>
                  <a:pt x="17" y="28"/>
                </a:lnTo>
                <a:lnTo>
                  <a:pt x="23" y="23"/>
                </a:lnTo>
                <a:lnTo>
                  <a:pt x="29" y="18"/>
                </a:lnTo>
                <a:lnTo>
                  <a:pt x="35" y="13"/>
                </a:lnTo>
                <a:lnTo>
                  <a:pt x="40" y="9"/>
                </a:lnTo>
                <a:lnTo>
                  <a:pt x="47" y="6"/>
                </a:lnTo>
                <a:lnTo>
                  <a:pt x="54" y="3"/>
                </a:lnTo>
                <a:lnTo>
                  <a:pt x="62" y="2"/>
                </a:lnTo>
                <a:lnTo>
                  <a:pt x="69" y="1"/>
                </a:lnTo>
                <a:lnTo>
                  <a:pt x="77" y="0"/>
                </a:lnTo>
                <a:lnTo>
                  <a:pt x="77" y="0"/>
                </a:lnTo>
                <a:lnTo>
                  <a:pt x="85" y="1"/>
                </a:lnTo>
                <a:lnTo>
                  <a:pt x="93" y="2"/>
                </a:lnTo>
                <a:lnTo>
                  <a:pt x="100" y="3"/>
                </a:lnTo>
                <a:lnTo>
                  <a:pt x="108" y="6"/>
                </a:lnTo>
                <a:lnTo>
                  <a:pt x="113" y="9"/>
                </a:lnTo>
                <a:lnTo>
                  <a:pt x="120" y="13"/>
                </a:lnTo>
                <a:lnTo>
                  <a:pt x="126" y="18"/>
                </a:lnTo>
                <a:lnTo>
                  <a:pt x="132" y="23"/>
                </a:lnTo>
                <a:lnTo>
                  <a:pt x="136" y="28"/>
                </a:lnTo>
                <a:lnTo>
                  <a:pt x="141" y="34"/>
                </a:lnTo>
                <a:lnTo>
                  <a:pt x="146" y="40"/>
                </a:lnTo>
                <a:lnTo>
                  <a:pt x="148" y="47"/>
                </a:lnTo>
                <a:lnTo>
                  <a:pt x="151" y="53"/>
                </a:lnTo>
                <a:lnTo>
                  <a:pt x="152" y="61"/>
                </a:lnTo>
                <a:lnTo>
                  <a:pt x="154" y="69"/>
                </a:lnTo>
                <a:lnTo>
                  <a:pt x="155" y="76"/>
                </a:lnTo>
                <a:lnTo>
                  <a:pt x="155" y="7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D2071956-7DBE-65C5-980D-7A25F7863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664" y="296943"/>
            <a:ext cx="1480130" cy="1480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68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146">
          <p15:clr>
            <a:srgbClr val="FBAE40"/>
          </p15:clr>
        </p15:guide>
        <p15:guide id="6" orient="horz" pos="80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D4BCA7E-C501-4DE8-982C-270C949E35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2"/>
            <a:ext cx="4206540" cy="2868006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8D334381-15A2-4A37-9C9F-86F3CD03BF3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43438" y="1276351"/>
            <a:ext cx="4213226" cy="2860984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35A91C-BFC7-4C4A-95B8-864FB7F3C956}"/>
              </a:ext>
            </a:extLst>
          </p:cNvPr>
          <p:cNvSpPr/>
          <p:nvPr userDrawn="1"/>
        </p:nvSpPr>
        <p:spPr>
          <a:xfrm>
            <a:off x="294024" y="4264396"/>
            <a:ext cx="8569325" cy="5028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3BAD62-1045-4628-81D0-6F99D4BDC61B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EFF23378-DF51-40FE-8D86-5479B87FD9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4264025"/>
            <a:ext cx="8562975" cy="5032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Conclusion</a:t>
            </a:r>
            <a:endParaRPr lang="de-D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6B2DC1-6072-C7FA-A58B-00F9A9265C34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4" name="Picture 3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615F50CE-C154-D985-CEF5-0A47E5EC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54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 userDrawn="1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  <p15:guide id="7" pos="2835">
          <p15:clr>
            <a:srgbClr val="FBAE40"/>
          </p15:clr>
        </p15:guide>
        <p15:guide id="8" pos="29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D4BCA7E-C501-4DE8-982C-270C949E35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2"/>
            <a:ext cx="4206540" cy="2868006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8D334381-15A2-4A37-9C9F-86F3CD03BF3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43438" y="1276351"/>
            <a:ext cx="4213226" cy="2860984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35A91C-BFC7-4C4A-95B8-864FB7F3C956}"/>
              </a:ext>
            </a:extLst>
          </p:cNvPr>
          <p:cNvSpPr/>
          <p:nvPr userDrawn="1"/>
        </p:nvSpPr>
        <p:spPr>
          <a:xfrm>
            <a:off x="294024" y="4264396"/>
            <a:ext cx="8569325" cy="5028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3BAD62-1045-4628-81D0-6F99D4BDC61B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6003E12-EEC0-4BD9-AA35-6C94CDD598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3688" y="4264025"/>
            <a:ext cx="8562975" cy="5032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onclus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00EAF68-B5E2-E409-1928-5171B5AC0925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6" name="Picture 5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2863FDB3-65C8-033D-4E9E-9A096FBBB4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  <p15:guide id="7" pos="2835">
          <p15:clr>
            <a:srgbClr val="FBAE40"/>
          </p15:clr>
        </p15:guide>
        <p15:guide id="8" pos="292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31777"/>
            <a:ext cx="4213226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hort action Title goes her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D4BCA7E-C501-4DE8-982C-270C949E35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1"/>
            <a:ext cx="4206540" cy="3499482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1E753A3-B20C-41AE-B3A8-4F930A3B83B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0"/>
            <a:ext cx="4500562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Insert Pictur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0FECC3-86EE-4CDA-8CB8-CD75CC68831E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3AB110-7733-E164-9974-27652D4935B0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6" name="Picture 5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23969C35-9ED7-80B3-1B0B-B98475983C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16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  <p15:guide id="7" pos="2835">
          <p15:clr>
            <a:srgbClr val="FBAE40"/>
          </p15:clr>
        </p15:guide>
        <p15:guide id="8" pos="292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FCF0442-8ADF-4024-A42B-0C8C0E200F99}"/>
              </a:ext>
            </a:extLst>
          </p:cNvPr>
          <p:cNvCxnSpPr/>
          <p:nvPr userDrawn="1"/>
        </p:nvCxnSpPr>
        <p:spPr>
          <a:xfrm>
            <a:off x="4032000" y="1323558"/>
            <a:ext cx="1080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B838B1E-47C6-42C8-BEA3-204CBC7F0F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4883" y="1671639"/>
            <a:ext cx="7954231" cy="2159792"/>
          </a:xfrm>
          <a:prstGeom prst="rect">
            <a:avLst/>
          </a:prstGeom>
        </p:spPr>
        <p:txBody>
          <a:bodyPr lIns="0" tIns="36000" rIns="0" bIns="36000" anchor="ctr" anchorCtr="0"/>
          <a:lstStyle>
            <a:lvl1pPr marL="0" indent="0" algn="ctr">
              <a:buNone/>
              <a:defRPr sz="2400" b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Use this slide to present your final statement, maximum of 4 lines, feel free to use white and/or grey</a:t>
            </a:r>
          </a:p>
        </p:txBody>
      </p:sp>
    </p:spTree>
    <p:extLst>
      <p:ext uri="{BB962C8B-B14F-4D97-AF65-F5344CB8AC3E}">
        <p14:creationId xmlns:p14="http://schemas.microsoft.com/office/powerpoint/2010/main" val="14909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1053">
          <p15:clr>
            <a:srgbClr val="FBAE40"/>
          </p15:clr>
        </p15:guide>
        <p15:guide id="2" orient="horz" pos="241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"/>
            <a:ext cx="9144000" cy="5143499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kern="1200" baseline="0" noProof="0" dirty="0" err="1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AT">
                <a:latin typeface="+mj-lt"/>
              </a:rPr>
              <a:t>Insert </a:t>
            </a:r>
            <a:r>
              <a:rPr lang="de-AT" err="1">
                <a:latin typeface="+mj-lt"/>
              </a:rPr>
              <a:t>picture</a:t>
            </a:r>
            <a:r>
              <a:rPr lang="de-AT">
                <a:latin typeface="+mj-lt"/>
              </a:rPr>
              <a:t> </a:t>
            </a:r>
            <a:r>
              <a:rPr lang="de-AT" err="1">
                <a:latin typeface="+mj-lt"/>
              </a:rPr>
              <a:t>here</a:t>
            </a:r>
            <a:endParaRPr lang="de-AT">
              <a:latin typeface="+mj-lt"/>
            </a:endParaRPr>
          </a:p>
          <a:p>
            <a:endParaRPr lang="de-DE" noProof="0">
              <a:latin typeface="+mj-lt"/>
            </a:endParaRPr>
          </a:p>
        </p:txBody>
      </p:sp>
      <p:cxnSp>
        <p:nvCxnSpPr>
          <p:cNvPr id="6" name="Straight Connector 3"/>
          <p:cNvCxnSpPr/>
          <p:nvPr userDrawn="1"/>
        </p:nvCxnSpPr>
        <p:spPr>
          <a:xfrm>
            <a:off x="417635" y="2086314"/>
            <a:ext cx="99692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14"/>
          <p:cNvSpPr/>
          <p:nvPr userDrawn="1"/>
        </p:nvSpPr>
        <p:spPr>
          <a:xfrm>
            <a:off x="0" y="1491750"/>
            <a:ext cx="4486154" cy="2160000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87"/>
          </a:p>
        </p:txBody>
      </p:sp>
      <p:cxnSp>
        <p:nvCxnSpPr>
          <p:cNvPr id="7" name="Straight Connector 3"/>
          <p:cNvCxnSpPr/>
          <p:nvPr userDrawn="1"/>
        </p:nvCxnSpPr>
        <p:spPr>
          <a:xfrm>
            <a:off x="417635" y="2086314"/>
            <a:ext cx="99692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15701" y="2086314"/>
            <a:ext cx="3323077" cy="7290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AT" sz="2400" b="0" kern="1200" cap="all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/>
              <a:t>Shor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15701" y="2815314"/>
            <a:ext cx="3323077" cy="594000"/>
          </a:xfrm>
          <a:prstGeom prst="rect">
            <a:avLst/>
          </a:prstGeom>
        </p:spPr>
        <p:txBody>
          <a:bodyPr/>
          <a:lstStyle>
            <a:lvl1pPr>
              <a:defRPr lang="de-AT" sz="1200" kern="120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AT"/>
              <a:t>(Optional) Short </a:t>
            </a:r>
            <a:r>
              <a:rPr lang="de-AT" err="1"/>
              <a:t>description</a:t>
            </a:r>
            <a:r>
              <a:rPr lang="de-AT"/>
              <a:t> </a:t>
            </a:r>
            <a:r>
              <a:rPr lang="de-AT" err="1"/>
              <a:t>of</a:t>
            </a:r>
            <a:r>
              <a:rPr lang="de-AT"/>
              <a:t> </a:t>
            </a:r>
            <a:r>
              <a:rPr lang="de-AT" err="1"/>
              <a:t>the</a:t>
            </a:r>
            <a:r>
              <a:rPr lang="de-AT"/>
              <a:t> </a:t>
            </a:r>
            <a:r>
              <a:rPr lang="de-AT" err="1"/>
              <a:t>following</a:t>
            </a:r>
            <a:r>
              <a:rPr lang="de-AT"/>
              <a:t> </a:t>
            </a:r>
            <a:r>
              <a:rPr lang="de-AT" err="1"/>
              <a:t>here</a:t>
            </a:r>
            <a:r>
              <a:rPr lang="de-AT"/>
              <a:t>, </a:t>
            </a:r>
            <a:r>
              <a:rPr lang="de-AT" err="1"/>
              <a:t>max</a:t>
            </a:r>
            <a:r>
              <a:rPr lang="de-AT"/>
              <a:t> 3 </a:t>
            </a:r>
            <a:r>
              <a:rPr lang="de-AT" err="1"/>
              <a:t>lines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01543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073539" y="1332720"/>
            <a:ext cx="99692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7" y="1491853"/>
            <a:ext cx="8308731" cy="1889522"/>
          </a:xfrm>
          <a:prstGeom prst="rect">
            <a:avLst/>
          </a:prstGeom>
        </p:spPr>
        <p:txBody>
          <a:bodyPr lIns="0" tIns="36000" rIns="0" bIns="36000" anchor="ctr" anchorCtr="0"/>
          <a:lstStyle>
            <a:lvl1pPr marL="0" indent="0" algn="ctr">
              <a:buNone/>
              <a:defRPr sz="27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Use this slide to present your final statement, maximum of 4 lines, feel free to use white and/or grey</a:t>
            </a:r>
          </a:p>
        </p:txBody>
      </p:sp>
    </p:spTree>
    <p:extLst>
      <p:ext uri="{BB962C8B-B14F-4D97-AF65-F5344CB8AC3E}">
        <p14:creationId xmlns:p14="http://schemas.microsoft.com/office/powerpoint/2010/main" val="208117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940">
          <p15:clr>
            <a:srgbClr val="FBAE40"/>
          </p15:clr>
        </p15:guide>
        <p15:guide id="4" orient="horz" pos="213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etail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417635" y="1486121"/>
            <a:ext cx="99692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417637" y="3142183"/>
            <a:ext cx="7975385" cy="239193"/>
          </a:xfrm>
          <a:prstGeom prst="rect">
            <a:avLst/>
          </a:prstGeom>
          <a:noFill/>
        </p:spPr>
        <p:txBody>
          <a:bodyPr wrap="square" lIns="0" tIns="27000" rIns="0" bIns="27000" rtlCol="0">
            <a:spAutoFit/>
          </a:bodyPr>
          <a:lstStyle/>
          <a:p>
            <a:r>
              <a:rPr lang="en-US" sz="1200" b="1" cap="all" baseline="0">
                <a:solidFill>
                  <a:schemeClr val="bg1"/>
                </a:solidFill>
                <a:latin typeface="+mj-lt"/>
              </a:rPr>
              <a:t>180 Degrees Consulting Munich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16871" y="3794820"/>
            <a:ext cx="432000" cy="432000"/>
            <a:chOff x="685909" y="4475163"/>
            <a:chExt cx="150813" cy="150813"/>
          </a:xfrm>
        </p:grpSpPr>
        <p:sp>
          <p:nvSpPr>
            <p:cNvPr id="11" name="Oval 1128"/>
            <p:cNvSpPr>
              <a:spLocks noChangeArrowheads="1"/>
            </p:cNvSpPr>
            <p:nvPr/>
          </p:nvSpPr>
          <p:spPr bwMode="auto">
            <a:xfrm>
              <a:off x="685909" y="4475163"/>
              <a:ext cx="150813" cy="1508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287"/>
            </a:p>
          </p:txBody>
        </p:sp>
        <p:sp>
          <p:nvSpPr>
            <p:cNvPr id="12" name="Freeform 1141"/>
            <p:cNvSpPr>
              <a:spLocks noEditPoints="1"/>
            </p:cNvSpPr>
            <p:nvPr/>
          </p:nvSpPr>
          <p:spPr bwMode="auto">
            <a:xfrm>
              <a:off x="719703" y="4524377"/>
              <a:ext cx="82692" cy="52386"/>
            </a:xfrm>
            <a:custGeom>
              <a:avLst/>
              <a:gdLst>
                <a:gd name="T0" fmla="*/ 532 w 543"/>
                <a:gd name="T1" fmla="*/ 91 h 344"/>
                <a:gd name="T2" fmla="*/ 532 w 543"/>
                <a:gd name="T3" fmla="*/ 91 h 344"/>
                <a:gd name="T4" fmla="*/ 297 w 543"/>
                <a:gd name="T5" fmla="*/ 211 h 344"/>
                <a:gd name="T6" fmla="*/ 284 w 543"/>
                <a:gd name="T7" fmla="*/ 217 h 344"/>
                <a:gd name="T8" fmla="*/ 271 w 543"/>
                <a:gd name="T9" fmla="*/ 217 h 344"/>
                <a:gd name="T10" fmla="*/ 257 w 543"/>
                <a:gd name="T11" fmla="*/ 217 h 344"/>
                <a:gd name="T12" fmla="*/ 244 w 543"/>
                <a:gd name="T13" fmla="*/ 211 h 344"/>
                <a:gd name="T14" fmla="*/ 11 w 543"/>
                <a:gd name="T15" fmla="*/ 91 h 344"/>
                <a:gd name="T16" fmla="*/ 4 w 543"/>
                <a:gd name="T17" fmla="*/ 89 h 344"/>
                <a:gd name="T18" fmla="*/ 0 w 543"/>
                <a:gd name="T19" fmla="*/ 91 h 344"/>
                <a:gd name="T20" fmla="*/ 0 w 543"/>
                <a:gd name="T21" fmla="*/ 93 h 344"/>
                <a:gd name="T22" fmla="*/ 0 w 543"/>
                <a:gd name="T23" fmla="*/ 99 h 344"/>
                <a:gd name="T24" fmla="*/ 0 w 543"/>
                <a:gd name="T25" fmla="*/ 317 h 344"/>
                <a:gd name="T26" fmla="*/ 0 w 543"/>
                <a:gd name="T27" fmla="*/ 321 h 344"/>
                <a:gd name="T28" fmla="*/ 2 w 543"/>
                <a:gd name="T29" fmla="*/ 327 h 344"/>
                <a:gd name="T30" fmla="*/ 9 w 543"/>
                <a:gd name="T31" fmla="*/ 334 h 344"/>
                <a:gd name="T32" fmla="*/ 21 w 543"/>
                <a:gd name="T33" fmla="*/ 342 h 344"/>
                <a:gd name="T34" fmla="*/ 24 w 543"/>
                <a:gd name="T35" fmla="*/ 344 h 344"/>
                <a:gd name="T36" fmla="*/ 30 w 543"/>
                <a:gd name="T37" fmla="*/ 344 h 344"/>
                <a:gd name="T38" fmla="*/ 513 w 543"/>
                <a:gd name="T39" fmla="*/ 344 h 344"/>
                <a:gd name="T40" fmla="*/ 517 w 543"/>
                <a:gd name="T41" fmla="*/ 344 h 344"/>
                <a:gd name="T42" fmla="*/ 522 w 543"/>
                <a:gd name="T43" fmla="*/ 342 h 344"/>
                <a:gd name="T44" fmla="*/ 534 w 543"/>
                <a:gd name="T45" fmla="*/ 334 h 344"/>
                <a:gd name="T46" fmla="*/ 539 w 543"/>
                <a:gd name="T47" fmla="*/ 327 h 344"/>
                <a:gd name="T48" fmla="*/ 541 w 543"/>
                <a:gd name="T49" fmla="*/ 321 h 344"/>
                <a:gd name="T50" fmla="*/ 543 w 543"/>
                <a:gd name="T51" fmla="*/ 317 h 344"/>
                <a:gd name="T52" fmla="*/ 543 w 543"/>
                <a:gd name="T53" fmla="*/ 99 h 344"/>
                <a:gd name="T54" fmla="*/ 543 w 543"/>
                <a:gd name="T55" fmla="*/ 93 h 344"/>
                <a:gd name="T56" fmla="*/ 541 w 543"/>
                <a:gd name="T57" fmla="*/ 91 h 344"/>
                <a:gd name="T58" fmla="*/ 537 w 543"/>
                <a:gd name="T59" fmla="*/ 89 h 344"/>
                <a:gd name="T60" fmla="*/ 532 w 543"/>
                <a:gd name="T61" fmla="*/ 91 h 344"/>
                <a:gd name="T62" fmla="*/ 19 w 543"/>
                <a:gd name="T63" fmla="*/ 31 h 344"/>
                <a:gd name="T64" fmla="*/ 19 w 543"/>
                <a:gd name="T65" fmla="*/ 31 h 344"/>
                <a:gd name="T66" fmla="*/ 244 w 543"/>
                <a:gd name="T67" fmla="*/ 153 h 344"/>
                <a:gd name="T68" fmla="*/ 257 w 543"/>
                <a:gd name="T69" fmla="*/ 156 h 344"/>
                <a:gd name="T70" fmla="*/ 271 w 543"/>
                <a:gd name="T71" fmla="*/ 158 h 344"/>
                <a:gd name="T72" fmla="*/ 286 w 543"/>
                <a:gd name="T73" fmla="*/ 156 h 344"/>
                <a:gd name="T74" fmla="*/ 297 w 543"/>
                <a:gd name="T75" fmla="*/ 153 h 344"/>
                <a:gd name="T76" fmla="*/ 524 w 543"/>
                <a:gd name="T77" fmla="*/ 31 h 344"/>
                <a:gd name="T78" fmla="*/ 530 w 543"/>
                <a:gd name="T79" fmla="*/ 29 h 344"/>
                <a:gd name="T80" fmla="*/ 535 w 543"/>
                <a:gd name="T81" fmla="*/ 24 h 344"/>
                <a:gd name="T82" fmla="*/ 539 w 543"/>
                <a:gd name="T83" fmla="*/ 18 h 344"/>
                <a:gd name="T84" fmla="*/ 541 w 543"/>
                <a:gd name="T85" fmla="*/ 14 h 344"/>
                <a:gd name="T86" fmla="*/ 541 w 543"/>
                <a:gd name="T87" fmla="*/ 10 h 344"/>
                <a:gd name="T88" fmla="*/ 539 w 543"/>
                <a:gd name="T89" fmla="*/ 4 h 344"/>
                <a:gd name="T90" fmla="*/ 535 w 543"/>
                <a:gd name="T91" fmla="*/ 0 h 344"/>
                <a:gd name="T92" fmla="*/ 524 w 543"/>
                <a:gd name="T93" fmla="*/ 0 h 344"/>
                <a:gd name="T94" fmla="*/ 17 w 543"/>
                <a:gd name="T95" fmla="*/ 0 h 344"/>
                <a:gd name="T96" fmla="*/ 8 w 543"/>
                <a:gd name="T97" fmla="*/ 0 h 344"/>
                <a:gd name="T98" fmla="*/ 2 w 543"/>
                <a:gd name="T99" fmla="*/ 4 h 344"/>
                <a:gd name="T100" fmla="*/ 0 w 543"/>
                <a:gd name="T101" fmla="*/ 10 h 344"/>
                <a:gd name="T102" fmla="*/ 0 w 543"/>
                <a:gd name="T103" fmla="*/ 14 h 344"/>
                <a:gd name="T104" fmla="*/ 4 w 543"/>
                <a:gd name="T105" fmla="*/ 18 h 344"/>
                <a:gd name="T106" fmla="*/ 6 w 543"/>
                <a:gd name="T107" fmla="*/ 24 h 344"/>
                <a:gd name="T108" fmla="*/ 11 w 543"/>
                <a:gd name="T109" fmla="*/ 29 h 344"/>
                <a:gd name="T110" fmla="*/ 19 w 543"/>
                <a:gd name="T111" fmla="*/ 31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43" h="344">
                  <a:moveTo>
                    <a:pt x="532" y="91"/>
                  </a:moveTo>
                  <a:lnTo>
                    <a:pt x="532" y="91"/>
                  </a:lnTo>
                  <a:lnTo>
                    <a:pt x="297" y="211"/>
                  </a:lnTo>
                  <a:lnTo>
                    <a:pt x="284" y="217"/>
                  </a:lnTo>
                  <a:lnTo>
                    <a:pt x="271" y="217"/>
                  </a:lnTo>
                  <a:lnTo>
                    <a:pt x="257" y="217"/>
                  </a:lnTo>
                  <a:lnTo>
                    <a:pt x="244" y="211"/>
                  </a:lnTo>
                  <a:lnTo>
                    <a:pt x="11" y="91"/>
                  </a:lnTo>
                  <a:lnTo>
                    <a:pt x="4" y="89"/>
                  </a:lnTo>
                  <a:lnTo>
                    <a:pt x="0" y="91"/>
                  </a:lnTo>
                  <a:lnTo>
                    <a:pt x="0" y="93"/>
                  </a:lnTo>
                  <a:lnTo>
                    <a:pt x="0" y="99"/>
                  </a:lnTo>
                  <a:lnTo>
                    <a:pt x="0" y="317"/>
                  </a:lnTo>
                  <a:lnTo>
                    <a:pt x="0" y="321"/>
                  </a:lnTo>
                  <a:lnTo>
                    <a:pt x="2" y="327"/>
                  </a:lnTo>
                  <a:lnTo>
                    <a:pt x="9" y="334"/>
                  </a:lnTo>
                  <a:lnTo>
                    <a:pt x="21" y="342"/>
                  </a:lnTo>
                  <a:lnTo>
                    <a:pt x="24" y="344"/>
                  </a:lnTo>
                  <a:lnTo>
                    <a:pt x="30" y="344"/>
                  </a:lnTo>
                  <a:lnTo>
                    <a:pt x="513" y="344"/>
                  </a:lnTo>
                  <a:lnTo>
                    <a:pt x="517" y="344"/>
                  </a:lnTo>
                  <a:lnTo>
                    <a:pt x="522" y="342"/>
                  </a:lnTo>
                  <a:lnTo>
                    <a:pt x="534" y="334"/>
                  </a:lnTo>
                  <a:lnTo>
                    <a:pt x="539" y="327"/>
                  </a:lnTo>
                  <a:lnTo>
                    <a:pt x="541" y="321"/>
                  </a:lnTo>
                  <a:lnTo>
                    <a:pt x="543" y="317"/>
                  </a:lnTo>
                  <a:lnTo>
                    <a:pt x="543" y="99"/>
                  </a:lnTo>
                  <a:lnTo>
                    <a:pt x="543" y="93"/>
                  </a:lnTo>
                  <a:lnTo>
                    <a:pt x="541" y="91"/>
                  </a:lnTo>
                  <a:lnTo>
                    <a:pt x="537" y="89"/>
                  </a:lnTo>
                  <a:lnTo>
                    <a:pt x="532" y="91"/>
                  </a:lnTo>
                  <a:close/>
                  <a:moveTo>
                    <a:pt x="19" y="31"/>
                  </a:moveTo>
                  <a:lnTo>
                    <a:pt x="19" y="31"/>
                  </a:lnTo>
                  <a:lnTo>
                    <a:pt x="244" y="153"/>
                  </a:lnTo>
                  <a:lnTo>
                    <a:pt x="257" y="156"/>
                  </a:lnTo>
                  <a:lnTo>
                    <a:pt x="271" y="158"/>
                  </a:lnTo>
                  <a:lnTo>
                    <a:pt x="286" y="156"/>
                  </a:lnTo>
                  <a:lnTo>
                    <a:pt x="297" y="153"/>
                  </a:lnTo>
                  <a:lnTo>
                    <a:pt x="524" y="31"/>
                  </a:lnTo>
                  <a:lnTo>
                    <a:pt x="530" y="29"/>
                  </a:lnTo>
                  <a:lnTo>
                    <a:pt x="535" y="24"/>
                  </a:lnTo>
                  <a:lnTo>
                    <a:pt x="539" y="18"/>
                  </a:lnTo>
                  <a:lnTo>
                    <a:pt x="541" y="14"/>
                  </a:lnTo>
                  <a:lnTo>
                    <a:pt x="541" y="10"/>
                  </a:lnTo>
                  <a:lnTo>
                    <a:pt x="539" y="4"/>
                  </a:lnTo>
                  <a:lnTo>
                    <a:pt x="535" y="0"/>
                  </a:lnTo>
                  <a:lnTo>
                    <a:pt x="524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6" y="24"/>
                  </a:lnTo>
                  <a:lnTo>
                    <a:pt x="11" y="29"/>
                  </a:lnTo>
                  <a:lnTo>
                    <a:pt x="19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287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416871" y="3542638"/>
            <a:ext cx="531692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Contact us				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3995909" y="3807456"/>
            <a:ext cx="432000" cy="432000"/>
            <a:chOff x="3395432" y="4075113"/>
            <a:chExt cx="150813" cy="150813"/>
          </a:xfrm>
        </p:grpSpPr>
        <p:sp>
          <p:nvSpPr>
            <p:cNvPr id="16" name="Oval 1131"/>
            <p:cNvSpPr>
              <a:spLocks noChangeArrowheads="1"/>
            </p:cNvSpPr>
            <p:nvPr/>
          </p:nvSpPr>
          <p:spPr bwMode="auto">
            <a:xfrm>
              <a:off x="3395432" y="4075113"/>
              <a:ext cx="150813" cy="1508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287"/>
            </a:p>
          </p:txBody>
        </p:sp>
        <p:sp>
          <p:nvSpPr>
            <p:cNvPr id="17" name="Freeform 1134"/>
            <p:cNvSpPr>
              <a:spLocks/>
            </p:cNvSpPr>
            <p:nvPr/>
          </p:nvSpPr>
          <p:spPr bwMode="auto">
            <a:xfrm>
              <a:off x="3450994" y="4108450"/>
              <a:ext cx="41275" cy="82550"/>
            </a:xfrm>
            <a:custGeom>
              <a:avLst/>
              <a:gdLst>
                <a:gd name="T0" fmla="*/ 17 w 17"/>
                <a:gd name="T1" fmla="*/ 0 h 34"/>
                <a:gd name="T2" fmla="*/ 17 w 17"/>
                <a:gd name="T3" fmla="*/ 6 h 34"/>
                <a:gd name="T4" fmla="*/ 14 w 17"/>
                <a:gd name="T5" fmla="*/ 6 h 34"/>
                <a:gd name="T6" fmla="*/ 12 w 17"/>
                <a:gd name="T7" fmla="*/ 6 h 34"/>
                <a:gd name="T8" fmla="*/ 11 w 17"/>
                <a:gd name="T9" fmla="*/ 9 h 34"/>
                <a:gd name="T10" fmla="*/ 11 w 17"/>
                <a:gd name="T11" fmla="*/ 13 h 34"/>
                <a:gd name="T12" fmla="*/ 17 w 17"/>
                <a:gd name="T13" fmla="*/ 13 h 34"/>
                <a:gd name="T14" fmla="*/ 16 w 17"/>
                <a:gd name="T15" fmla="*/ 19 h 34"/>
                <a:gd name="T16" fmla="*/ 11 w 17"/>
                <a:gd name="T17" fmla="*/ 19 h 34"/>
                <a:gd name="T18" fmla="*/ 11 w 17"/>
                <a:gd name="T19" fmla="*/ 34 h 34"/>
                <a:gd name="T20" fmla="*/ 5 w 17"/>
                <a:gd name="T21" fmla="*/ 34 h 34"/>
                <a:gd name="T22" fmla="*/ 5 w 17"/>
                <a:gd name="T23" fmla="*/ 19 h 34"/>
                <a:gd name="T24" fmla="*/ 0 w 17"/>
                <a:gd name="T25" fmla="*/ 19 h 34"/>
                <a:gd name="T26" fmla="*/ 0 w 17"/>
                <a:gd name="T27" fmla="*/ 13 h 34"/>
                <a:gd name="T28" fmla="*/ 5 w 17"/>
                <a:gd name="T29" fmla="*/ 13 h 34"/>
                <a:gd name="T30" fmla="*/ 5 w 17"/>
                <a:gd name="T31" fmla="*/ 8 h 34"/>
                <a:gd name="T32" fmla="*/ 7 w 17"/>
                <a:gd name="T33" fmla="*/ 2 h 34"/>
                <a:gd name="T34" fmla="*/ 13 w 17"/>
                <a:gd name="T35" fmla="*/ 0 h 34"/>
                <a:gd name="T36" fmla="*/ 17 w 17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" h="34">
                  <a:moveTo>
                    <a:pt x="17" y="0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2" y="6"/>
                    <a:pt x="12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5"/>
                    <a:pt x="6" y="3"/>
                    <a:pt x="7" y="2"/>
                  </a:cubicBezTo>
                  <a:cubicBezTo>
                    <a:pt x="8" y="1"/>
                    <a:pt x="10" y="0"/>
                    <a:pt x="13" y="0"/>
                  </a:cubicBezTo>
                  <a:cubicBezTo>
                    <a:pt x="15" y="0"/>
                    <a:pt x="16" y="0"/>
                    <a:pt x="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287"/>
            </a:p>
          </p:txBody>
        </p:sp>
      </p:grpSp>
      <p:sp>
        <p:nvSpPr>
          <p:cNvPr id="21" name="TextBox 20"/>
          <p:cNvSpPr txBox="1"/>
          <p:nvPr userDrawn="1"/>
        </p:nvSpPr>
        <p:spPr>
          <a:xfrm>
            <a:off x="4521080" y="3874746"/>
            <a:ext cx="2990769" cy="216110"/>
          </a:xfrm>
          <a:prstGeom prst="rect">
            <a:avLst/>
          </a:prstGeom>
          <a:noFill/>
        </p:spPr>
        <p:txBody>
          <a:bodyPr wrap="square" lIns="0" tIns="27000" rIns="0" bIns="27000" rtlCol="0" anchor="ctr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180DCMunich</a:t>
            </a:r>
          </a:p>
        </p:txBody>
      </p:sp>
      <p:sp>
        <p:nvSpPr>
          <p:cNvPr id="24" name="Freeform 26"/>
          <p:cNvSpPr>
            <a:spLocks noChangeAspect="1" noEditPoints="1"/>
          </p:cNvSpPr>
          <p:nvPr userDrawn="1"/>
        </p:nvSpPr>
        <p:spPr bwMode="auto">
          <a:xfrm>
            <a:off x="3988693" y="4430991"/>
            <a:ext cx="450973" cy="305163"/>
          </a:xfrm>
          <a:custGeom>
            <a:avLst/>
            <a:gdLst>
              <a:gd name="T0" fmla="*/ 20 w 228"/>
              <a:gd name="T1" fmla="*/ 125 h 156"/>
              <a:gd name="T2" fmla="*/ 20 w 228"/>
              <a:gd name="T3" fmla="*/ 10 h 156"/>
              <a:gd name="T4" fmla="*/ 24 w 228"/>
              <a:gd name="T5" fmla="*/ 3 h 156"/>
              <a:gd name="T6" fmla="*/ 31 w 228"/>
              <a:gd name="T7" fmla="*/ 0 h 156"/>
              <a:gd name="T8" fmla="*/ 197 w 228"/>
              <a:gd name="T9" fmla="*/ 0 h 156"/>
              <a:gd name="T10" fmla="*/ 204 w 228"/>
              <a:gd name="T11" fmla="*/ 3 h 156"/>
              <a:gd name="T12" fmla="*/ 207 w 228"/>
              <a:gd name="T13" fmla="*/ 10 h 156"/>
              <a:gd name="T14" fmla="*/ 207 w 228"/>
              <a:gd name="T15" fmla="*/ 125 h 156"/>
              <a:gd name="T16" fmla="*/ 228 w 228"/>
              <a:gd name="T17" fmla="*/ 145 h 156"/>
              <a:gd name="T18" fmla="*/ 225 w 228"/>
              <a:gd name="T19" fmla="*/ 153 h 156"/>
              <a:gd name="T20" fmla="*/ 218 w 228"/>
              <a:gd name="T21" fmla="*/ 156 h 156"/>
              <a:gd name="T22" fmla="*/ 10 w 228"/>
              <a:gd name="T23" fmla="*/ 156 h 156"/>
              <a:gd name="T24" fmla="*/ 2 w 228"/>
              <a:gd name="T25" fmla="*/ 153 h 156"/>
              <a:gd name="T26" fmla="*/ 0 w 228"/>
              <a:gd name="T27" fmla="*/ 145 h 156"/>
              <a:gd name="T28" fmla="*/ 20 w 228"/>
              <a:gd name="T29" fmla="*/ 125 h 156"/>
              <a:gd name="T30" fmla="*/ 31 w 228"/>
              <a:gd name="T31" fmla="*/ 125 h 156"/>
              <a:gd name="T32" fmla="*/ 197 w 228"/>
              <a:gd name="T33" fmla="*/ 125 h 156"/>
              <a:gd name="T34" fmla="*/ 197 w 228"/>
              <a:gd name="T35" fmla="*/ 10 h 156"/>
              <a:gd name="T36" fmla="*/ 31 w 228"/>
              <a:gd name="T37" fmla="*/ 10 h 156"/>
              <a:gd name="T38" fmla="*/ 31 w 228"/>
              <a:gd name="T39" fmla="*/ 125 h 156"/>
              <a:gd name="T40" fmla="*/ 85 w 228"/>
              <a:gd name="T41" fmla="*/ 144 h 156"/>
              <a:gd name="T42" fmla="*/ 88 w 228"/>
              <a:gd name="T43" fmla="*/ 145 h 156"/>
              <a:gd name="T44" fmla="*/ 140 w 228"/>
              <a:gd name="T45" fmla="*/ 145 h 156"/>
              <a:gd name="T46" fmla="*/ 143 w 228"/>
              <a:gd name="T47" fmla="*/ 144 h 156"/>
              <a:gd name="T48" fmla="*/ 143 w 228"/>
              <a:gd name="T49" fmla="*/ 144 h 156"/>
              <a:gd name="T50" fmla="*/ 136 w 228"/>
              <a:gd name="T51" fmla="*/ 137 h 156"/>
              <a:gd name="T52" fmla="*/ 132 w 228"/>
              <a:gd name="T53" fmla="*/ 136 h 156"/>
              <a:gd name="T54" fmla="*/ 95 w 228"/>
              <a:gd name="T55" fmla="*/ 136 h 156"/>
              <a:gd name="T56" fmla="*/ 92 w 228"/>
              <a:gd name="T57" fmla="*/ 137 h 156"/>
              <a:gd name="T58" fmla="*/ 85 w 228"/>
              <a:gd name="T59" fmla="*/ 14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8" h="156">
                <a:moveTo>
                  <a:pt x="20" y="125"/>
                </a:moveTo>
                <a:cubicBezTo>
                  <a:pt x="20" y="10"/>
                  <a:pt x="20" y="10"/>
                  <a:pt x="20" y="10"/>
                </a:cubicBezTo>
                <a:cubicBezTo>
                  <a:pt x="20" y="7"/>
                  <a:pt x="21" y="5"/>
                  <a:pt x="24" y="3"/>
                </a:cubicBezTo>
                <a:cubicBezTo>
                  <a:pt x="26" y="1"/>
                  <a:pt x="28" y="0"/>
                  <a:pt x="31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99" y="0"/>
                  <a:pt x="202" y="1"/>
                  <a:pt x="204" y="3"/>
                </a:cubicBezTo>
                <a:cubicBezTo>
                  <a:pt x="206" y="5"/>
                  <a:pt x="207" y="7"/>
                  <a:pt x="207" y="10"/>
                </a:cubicBezTo>
                <a:cubicBezTo>
                  <a:pt x="207" y="125"/>
                  <a:pt x="207" y="125"/>
                  <a:pt x="207" y="125"/>
                </a:cubicBezTo>
                <a:cubicBezTo>
                  <a:pt x="228" y="145"/>
                  <a:pt x="228" y="145"/>
                  <a:pt x="228" y="145"/>
                </a:cubicBezTo>
                <a:cubicBezTo>
                  <a:pt x="228" y="148"/>
                  <a:pt x="227" y="151"/>
                  <a:pt x="225" y="153"/>
                </a:cubicBezTo>
                <a:cubicBezTo>
                  <a:pt x="223" y="155"/>
                  <a:pt x="221" y="156"/>
                  <a:pt x="218" y="156"/>
                </a:cubicBezTo>
                <a:cubicBezTo>
                  <a:pt x="10" y="156"/>
                  <a:pt x="10" y="156"/>
                  <a:pt x="10" y="156"/>
                </a:cubicBezTo>
                <a:cubicBezTo>
                  <a:pt x="7" y="156"/>
                  <a:pt x="4" y="155"/>
                  <a:pt x="2" y="153"/>
                </a:cubicBezTo>
                <a:cubicBezTo>
                  <a:pt x="0" y="151"/>
                  <a:pt x="0" y="148"/>
                  <a:pt x="0" y="145"/>
                </a:cubicBezTo>
                <a:lnTo>
                  <a:pt x="20" y="125"/>
                </a:lnTo>
                <a:close/>
                <a:moveTo>
                  <a:pt x="31" y="125"/>
                </a:moveTo>
                <a:cubicBezTo>
                  <a:pt x="197" y="125"/>
                  <a:pt x="197" y="125"/>
                  <a:pt x="197" y="125"/>
                </a:cubicBezTo>
                <a:cubicBezTo>
                  <a:pt x="197" y="10"/>
                  <a:pt x="197" y="10"/>
                  <a:pt x="197" y="10"/>
                </a:cubicBezTo>
                <a:cubicBezTo>
                  <a:pt x="31" y="10"/>
                  <a:pt x="31" y="10"/>
                  <a:pt x="31" y="10"/>
                </a:cubicBezTo>
                <a:lnTo>
                  <a:pt x="31" y="125"/>
                </a:lnTo>
                <a:close/>
                <a:moveTo>
                  <a:pt x="85" y="144"/>
                </a:moveTo>
                <a:cubicBezTo>
                  <a:pt x="85" y="145"/>
                  <a:pt x="86" y="145"/>
                  <a:pt x="88" y="145"/>
                </a:cubicBezTo>
                <a:cubicBezTo>
                  <a:pt x="140" y="145"/>
                  <a:pt x="140" y="145"/>
                  <a:pt x="140" y="145"/>
                </a:cubicBezTo>
                <a:cubicBezTo>
                  <a:pt x="142" y="145"/>
                  <a:pt x="143" y="145"/>
                  <a:pt x="143" y="144"/>
                </a:cubicBezTo>
                <a:cubicBezTo>
                  <a:pt x="143" y="144"/>
                  <a:pt x="143" y="144"/>
                  <a:pt x="143" y="144"/>
                </a:cubicBezTo>
                <a:cubicBezTo>
                  <a:pt x="136" y="137"/>
                  <a:pt x="136" y="137"/>
                  <a:pt x="136" y="137"/>
                </a:cubicBezTo>
                <a:cubicBezTo>
                  <a:pt x="136" y="137"/>
                  <a:pt x="134" y="136"/>
                  <a:pt x="132" y="136"/>
                </a:cubicBezTo>
                <a:cubicBezTo>
                  <a:pt x="95" y="136"/>
                  <a:pt x="95" y="136"/>
                  <a:pt x="95" y="136"/>
                </a:cubicBezTo>
                <a:cubicBezTo>
                  <a:pt x="93" y="136"/>
                  <a:pt x="92" y="137"/>
                  <a:pt x="92" y="137"/>
                </a:cubicBezTo>
                <a:cubicBezTo>
                  <a:pt x="85" y="144"/>
                  <a:pt x="85" y="144"/>
                  <a:pt x="85" y="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287"/>
          </a:p>
        </p:txBody>
      </p:sp>
      <p:sp>
        <p:nvSpPr>
          <p:cNvPr id="25" name="TextBox 24"/>
          <p:cNvSpPr txBox="1"/>
          <p:nvPr userDrawn="1"/>
        </p:nvSpPr>
        <p:spPr>
          <a:xfrm>
            <a:off x="4521080" y="4475517"/>
            <a:ext cx="1661538" cy="216110"/>
          </a:xfrm>
          <a:prstGeom prst="rect">
            <a:avLst/>
          </a:prstGeom>
          <a:noFill/>
        </p:spPr>
        <p:txBody>
          <a:bodyPr wrap="square" lIns="0" tIns="27000" rIns="0" bIns="27000" rtlCol="0" anchor="ctr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www.180dcmunich.org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17635" y="1487458"/>
            <a:ext cx="5316923" cy="1301022"/>
          </a:xfrm>
          <a:prstGeom prst="rect">
            <a:avLst/>
          </a:prstGeom>
          <a:noFill/>
        </p:spPr>
        <p:txBody>
          <a:bodyPr wrap="square" lIns="0" tIns="27000" rIns="0" bIns="27000" rtlCol="0">
            <a:spAutoFit/>
          </a:bodyPr>
          <a:lstStyle/>
          <a:p>
            <a:pPr marL="0" marR="0" lvl="0" indent="0" algn="l" defTabSz="603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70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Open-</a:t>
            </a:r>
            <a:r>
              <a:rPr lang="de-DE" sz="2700" kern="1200" cap="all" baseline="0" err="1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minded</a:t>
            </a:r>
            <a:r>
              <a:rPr lang="de-DE" sz="270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.</a:t>
            </a:r>
            <a:endParaRPr lang="de-DE" sz="2700" kern="1200" cap="all" baseline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r>
              <a:rPr lang="de-DE" sz="2700" cap="all" baseline="0" err="1">
                <a:solidFill>
                  <a:schemeClr val="bg1"/>
                </a:solidFill>
                <a:latin typeface="+mj-lt"/>
              </a:rPr>
              <a:t>ambitious</a:t>
            </a:r>
            <a:r>
              <a:rPr lang="de-DE" sz="2700" cap="all" baseline="0">
                <a:solidFill>
                  <a:schemeClr val="bg1"/>
                </a:solidFill>
                <a:latin typeface="+mj-lt"/>
              </a:rPr>
              <a:t>.</a:t>
            </a:r>
          </a:p>
          <a:p>
            <a:r>
              <a:rPr lang="de-DE" sz="2700" cap="all" baseline="0">
                <a:solidFill>
                  <a:schemeClr val="accent1"/>
                </a:solidFill>
                <a:latin typeface="+mj-lt"/>
              </a:rPr>
              <a:t>Original.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998946" y="3851688"/>
            <a:ext cx="1509460" cy="270000"/>
          </a:xfrm>
          <a:prstGeom prst="rect">
            <a:avLst/>
          </a:prstGeom>
        </p:spPr>
        <p:txBody>
          <a:bodyPr lIns="0" tIns="36000" rIns="0" bIns="36000" anchor="ctr"/>
          <a:lstStyle>
            <a:lvl1pPr marL="0" indent="0">
              <a:lnSpc>
                <a:spcPct val="100000"/>
              </a:lnSpc>
              <a:spcBef>
                <a:spcPts val="450"/>
              </a:spcBef>
              <a:buNone/>
              <a:defRPr sz="105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info@180dcmunich.org</a:t>
            </a:r>
            <a:endParaRPr lang="de-DE"/>
          </a:p>
        </p:txBody>
      </p:sp>
      <p:sp>
        <p:nvSpPr>
          <p:cNvPr id="18" name="Rectangle 17">
            <a:hlinkClick r:id="rId2"/>
            <a:extLst>
              <a:ext uri="{FF2B5EF4-FFF2-40B4-BE49-F238E27FC236}">
                <a16:creationId xmlns:a16="http://schemas.microsoft.com/office/drawing/2014/main" id="{79F8FB7F-AF43-4187-9266-35D4FD8B415F}"/>
              </a:ext>
            </a:extLst>
          </p:cNvPr>
          <p:cNvSpPr/>
          <p:nvPr userDrawn="1"/>
        </p:nvSpPr>
        <p:spPr>
          <a:xfrm>
            <a:off x="4572000" y="2002969"/>
            <a:ext cx="2450123" cy="27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9" name="Rectangle 18">
            <a:hlinkClick r:id="rId3"/>
            <a:extLst>
              <a:ext uri="{FF2B5EF4-FFF2-40B4-BE49-F238E27FC236}">
                <a16:creationId xmlns:a16="http://schemas.microsoft.com/office/drawing/2014/main" id="{0D4D5D98-5174-4161-BF79-06DAD690331D}"/>
              </a:ext>
            </a:extLst>
          </p:cNvPr>
          <p:cNvSpPr/>
          <p:nvPr userDrawn="1"/>
        </p:nvSpPr>
        <p:spPr>
          <a:xfrm>
            <a:off x="1246879" y="4503926"/>
            <a:ext cx="2010508" cy="27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22" name="Rectangle 18">
            <a:hlinkClick r:id="rId3"/>
            <a:extLst>
              <a:ext uri="{FF2B5EF4-FFF2-40B4-BE49-F238E27FC236}">
                <a16:creationId xmlns:a16="http://schemas.microsoft.com/office/drawing/2014/main" id="{0D4D5D98-5174-4161-BF79-06DAD690331D}"/>
              </a:ext>
            </a:extLst>
          </p:cNvPr>
          <p:cNvSpPr/>
          <p:nvPr userDrawn="1"/>
        </p:nvSpPr>
        <p:spPr>
          <a:xfrm>
            <a:off x="6765192" y="3888456"/>
            <a:ext cx="2010508" cy="27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23" name="Freeform 137"/>
          <p:cNvSpPr>
            <a:spLocks noChangeAspect="1" noEditPoints="1"/>
          </p:cNvSpPr>
          <p:nvPr userDrawn="1"/>
        </p:nvSpPr>
        <p:spPr bwMode="auto">
          <a:xfrm>
            <a:off x="6477650" y="3807456"/>
            <a:ext cx="432000" cy="432000"/>
          </a:xfrm>
          <a:custGeom>
            <a:avLst/>
            <a:gdLst>
              <a:gd name="T0" fmla="*/ 146 w 146"/>
              <a:gd name="T1" fmla="*/ 28 h 146"/>
              <a:gd name="T2" fmla="*/ 146 w 146"/>
              <a:gd name="T3" fmla="*/ 118 h 146"/>
              <a:gd name="T4" fmla="*/ 138 w 146"/>
              <a:gd name="T5" fmla="*/ 138 h 146"/>
              <a:gd name="T6" fmla="*/ 118 w 146"/>
              <a:gd name="T7" fmla="*/ 146 h 146"/>
              <a:gd name="T8" fmla="*/ 28 w 146"/>
              <a:gd name="T9" fmla="*/ 146 h 146"/>
              <a:gd name="T10" fmla="*/ 8 w 146"/>
              <a:gd name="T11" fmla="*/ 138 h 146"/>
              <a:gd name="T12" fmla="*/ 0 w 146"/>
              <a:gd name="T13" fmla="*/ 118 h 146"/>
              <a:gd name="T14" fmla="*/ 0 w 146"/>
              <a:gd name="T15" fmla="*/ 28 h 146"/>
              <a:gd name="T16" fmla="*/ 8 w 146"/>
              <a:gd name="T17" fmla="*/ 8 h 146"/>
              <a:gd name="T18" fmla="*/ 28 w 146"/>
              <a:gd name="T19" fmla="*/ 0 h 146"/>
              <a:gd name="T20" fmla="*/ 118 w 146"/>
              <a:gd name="T21" fmla="*/ 0 h 146"/>
              <a:gd name="T22" fmla="*/ 138 w 146"/>
              <a:gd name="T23" fmla="*/ 8 h 146"/>
              <a:gd name="T24" fmla="*/ 146 w 146"/>
              <a:gd name="T25" fmla="*/ 28 h 146"/>
              <a:gd name="T26" fmla="*/ 46 w 146"/>
              <a:gd name="T27" fmla="*/ 36 h 146"/>
              <a:gd name="T28" fmla="*/ 43 w 146"/>
              <a:gd name="T29" fmla="*/ 28 h 146"/>
              <a:gd name="T30" fmla="*/ 34 w 146"/>
              <a:gd name="T31" fmla="*/ 25 h 146"/>
              <a:gd name="T32" fmla="*/ 25 w 146"/>
              <a:gd name="T33" fmla="*/ 28 h 146"/>
              <a:gd name="T34" fmla="*/ 21 w 146"/>
              <a:gd name="T35" fmla="*/ 36 h 146"/>
              <a:gd name="T36" fmla="*/ 25 w 146"/>
              <a:gd name="T37" fmla="*/ 44 h 146"/>
              <a:gd name="T38" fmla="*/ 33 w 146"/>
              <a:gd name="T39" fmla="*/ 47 h 146"/>
              <a:gd name="T40" fmla="*/ 34 w 146"/>
              <a:gd name="T41" fmla="*/ 47 h 146"/>
              <a:gd name="T42" fmla="*/ 43 w 146"/>
              <a:gd name="T43" fmla="*/ 44 h 146"/>
              <a:gd name="T44" fmla="*/ 46 w 146"/>
              <a:gd name="T45" fmla="*/ 36 h 146"/>
              <a:gd name="T46" fmla="*/ 23 w 146"/>
              <a:gd name="T47" fmla="*/ 122 h 146"/>
              <a:gd name="T48" fmla="*/ 45 w 146"/>
              <a:gd name="T49" fmla="*/ 122 h 146"/>
              <a:gd name="T50" fmla="*/ 45 w 146"/>
              <a:gd name="T51" fmla="*/ 56 h 146"/>
              <a:gd name="T52" fmla="*/ 23 w 146"/>
              <a:gd name="T53" fmla="*/ 56 h 146"/>
              <a:gd name="T54" fmla="*/ 23 w 146"/>
              <a:gd name="T55" fmla="*/ 122 h 146"/>
              <a:gd name="T56" fmla="*/ 101 w 146"/>
              <a:gd name="T57" fmla="*/ 122 h 146"/>
              <a:gd name="T58" fmla="*/ 123 w 146"/>
              <a:gd name="T59" fmla="*/ 122 h 146"/>
              <a:gd name="T60" fmla="*/ 123 w 146"/>
              <a:gd name="T61" fmla="*/ 84 h 146"/>
              <a:gd name="T62" fmla="*/ 116 w 146"/>
              <a:gd name="T63" fmla="*/ 62 h 146"/>
              <a:gd name="T64" fmla="*/ 98 w 146"/>
              <a:gd name="T65" fmla="*/ 55 h 146"/>
              <a:gd name="T66" fmla="*/ 78 w 146"/>
              <a:gd name="T67" fmla="*/ 66 h 146"/>
              <a:gd name="T68" fmla="*/ 78 w 146"/>
              <a:gd name="T69" fmla="*/ 66 h 146"/>
              <a:gd name="T70" fmla="*/ 78 w 146"/>
              <a:gd name="T71" fmla="*/ 56 h 146"/>
              <a:gd name="T72" fmla="*/ 57 w 146"/>
              <a:gd name="T73" fmla="*/ 56 h 146"/>
              <a:gd name="T74" fmla="*/ 57 w 146"/>
              <a:gd name="T75" fmla="*/ 122 h 146"/>
              <a:gd name="T76" fmla="*/ 78 w 146"/>
              <a:gd name="T77" fmla="*/ 122 h 146"/>
              <a:gd name="T78" fmla="*/ 78 w 146"/>
              <a:gd name="T79" fmla="*/ 85 h 146"/>
              <a:gd name="T80" fmla="*/ 79 w 146"/>
              <a:gd name="T81" fmla="*/ 80 h 146"/>
              <a:gd name="T82" fmla="*/ 83 w 146"/>
              <a:gd name="T83" fmla="*/ 74 h 146"/>
              <a:gd name="T84" fmla="*/ 90 w 146"/>
              <a:gd name="T85" fmla="*/ 72 h 146"/>
              <a:gd name="T86" fmla="*/ 101 w 146"/>
              <a:gd name="T87" fmla="*/ 87 h 146"/>
              <a:gd name="T88" fmla="*/ 101 w 146"/>
              <a:gd name="T89" fmla="*/ 12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6" h="146">
                <a:moveTo>
                  <a:pt x="146" y="28"/>
                </a:moveTo>
                <a:cubicBezTo>
                  <a:pt x="146" y="118"/>
                  <a:pt x="146" y="118"/>
                  <a:pt x="146" y="118"/>
                </a:cubicBezTo>
                <a:cubicBezTo>
                  <a:pt x="146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6" y="20"/>
                  <a:pt x="146" y="28"/>
                </a:cubicBezTo>
                <a:close/>
                <a:moveTo>
                  <a:pt x="46" y="36"/>
                </a:moveTo>
                <a:cubicBezTo>
                  <a:pt x="46" y="33"/>
                  <a:pt x="45" y="30"/>
                  <a:pt x="43" y="28"/>
                </a:cubicBezTo>
                <a:cubicBezTo>
                  <a:pt x="40" y="26"/>
                  <a:pt x="37" y="25"/>
                  <a:pt x="34" y="25"/>
                </a:cubicBezTo>
                <a:cubicBezTo>
                  <a:pt x="30" y="25"/>
                  <a:pt x="27" y="26"/>
                  <a:pt x="25" y="28"/>
                </a:cubicBezTo>
                <a:cubicBezTo>
                  <a:pt x="23" y="30"/>
                  <a:pt x="21" y="33"/>
                  <a:pt x="21" y="36"/>
                </a:cubicBezTo>
                <a:cubicBezTo>
                  <a:pt x="21" y="39"/>
                  <a:pt x="22" y="42"/>
                  <a:pt x="25" y="44"/>
                </a:cubicBezTo>
                <a:cubicBezTo>
                  <a:pt x="27" y="46"/>
                  <a:pt x="30" y="47"/>
                  <a:pt x="33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7" y="47"/>
                  <a:pt x="40" y="46"/>
                  <a:pt x="43" y="44"/>
                </a:cubicBezTo>
                <a:cubicBezTo>
                  <a:pt x="45" y="42"/>
                  <a:pt x="46" y="39"/>
                  <a:pt x="46" y="36"/>
                </a:cubicBezTo>
                <a:close/>
                <a:moveTo>
                  <a:pt x="23" y="122"/>
                </a:moveTo>
                <a:cubicBezTo>
                  <a:pt x="45" y="122"/>
                  <a:pt x="45" y="122"/>
                  <a:pt x="45" y="122"/>
                </a:cubicBezTo>
                <a:cubicBezTo>
                  <a:pt x="45" y="56"/>
                  <a:pt x="45" y="56"/>
                  <a:pt x="45" y="56"/>
                </a:cubicBezTo>
                <a:cubicBezTo>
                  <a:pt x="23" y="56"/>
                  <a:pt x="23" y="56"/>
                  <a:pt x="23" y="56"/>
                </a:cubicBezTo>
                <a:lnTo>
                  <a:pt x="23" y="122"/>
                </a:lnTo>
                <a:close/>
                <a:moveTo>
                  <a:pt x="101" y="122"/>
                </a:moveTo>
                <a:cubicBezTo>
                  <a:pt x="123" y="122"/>
                  <a:pt x="123" y="122"/>
                  <a:pt x="123" y="122"/>
                </a:cubicBezTo>
                <a:cubicBezTo>
                  <a:pt x="123" y="84"/>
                  <a:pt x="123" y="84"/>
                  <a:pt x="123" y="84"/>
                </a:cubicBezTo>
                <a:cubicBezTo>
                  <a:pt x="123" y="75"/>
                  <a:pt x="121" y="67"/>
                  <a:pt x="116" y="62"/>
                </a:cubicBezTo>
                <a:cubicBezTo>
                  <a:pt x="112" y="57"/>
                  <a:pt x="106" y="55"/>
                  <a:pt x="98" y="55"/>
                </a:cubicBezTo>
                <a:cubicBezTo>
                  <a:pt x="89" y="55"/>
                  <a:pt x="83" y="58"/>
                  <a:pt x="78" y="66"/>
                </a:cubicBezTo>
                <a:cubicBezTo>
                  <a:pt x="78" y="66"/>
                  <a:pt x="78" y="66"/>
                  <a:pt x="78" y="66"/>
                </a:cubicBezTo>
                <a:cubicBezTo>
                  <a:pt x="78" y="56"/>
                  <a:pt x="78" y="56"/>
                  <a:pt x="78" y="56"/>
                </a:cubicBezTo>
                <a:cubicBezTo>
                  <a:pt x="57" y="56"/>
                  <a:pt x="57" y="56"/>
                  <a:pt x="57" y="56"/>
                </a:cubicBezTo>
                <a:cubicBezTo>
                  <a:pt x="57" y="60"/>
                  <a:pt x="57" y="82"/>
                  <a:pt x="57" y="122"/>
                </a:cubicBezTo>
                <a:cubicBezTo>
                  <a:pt x="78" y="122"/>
                  <a:pt x="78" y="122"/>
                  <a:pt x="78" y="122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83"/>
                  <a:pt x="79" y="81"/>
                  <a:pt x="79" y="80"/>
                </a:cubicBezTo>
                <a:cubicBezTo>
                  <a:pt x="80" y="78"/>
                  <a:pt x="81" y="76"/>
                  <a:pt x="83" y="74"/>
                </a:cubicBezTo>
                <a:cubicBezTo>
                  <a:pt x="85" y="73"/>
                  <a:pt x="88" y="72"/>
                  <a:pt x="90" y="72"/>
                </a:cubicBezTo>
                <a:cubicBezTo>
                  <a:pt x="98" y="72"/>
                  <a:pt x="101" y="77"/>
                  <a:pt x="101" y="87"/>
                </a:cubicBezTo>
                <a:lnTo>
                  <a:pt x="101" y="1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" name="TextBox 20"/>
          <p:cNvSpPr txBox="1"/>
          <p:nvPr userDrawn="1"/>
        </p:nvSpPr>
        <p:spPr>
          <a:xfrm>
            <a:off x="7022123" y="3902765"/>
            <a:ext cx="2990769" cy="216110"/>
          </a:xfrm>
          <a:prstGeom prst="rect">
            <a:avLst/>
          </a:prstGeom>
          <a:noFill/>
        </p:spPr>
        <p:txBody>
          <a:bodyPr wrap="square" lIns="0" tIns="27000" rIns="0" bIns="27000" rtlCol="0" anchor="ctr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180 Degrees</a:t>
            </a:r>
            <a:r>
              <a:rPr lang="en-US" sz="1050" baseline="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 Consulting </a:t>
            </a:r>
            <a:r>
              <a:rPr lang="en-US" sz="105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Munich</a:t>
            </a:r>
          </a:p>
        </p:txBody>
      </p:sp>
      <p:sp>
        <p:nvSpPr>
          <p:cNvPr id="3" name="AutoShape 2" descr="Instagram symbol free icon"/>
          <p:cNvSpPr>
            <a:spLocks noChangeAspect="1" noChangeArrowheads="1"/>
          </p:cNvSpPr>
          <p:nvPr userDrawn="1"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" name="AutoShape 4" descr="Instagram symbol free icon"/>
          <p:cNvSpPr>
            <a:spLocks noChangeAspect="1" noChangeArrowheads="1"/>
          </p:cNvSpPr>
          <p:nvPr userDrawn="1"/>
        </p:nvSpPr>
        <p:spPr bwMode="auto">
          <a:xfrm>
            <a:off x="307975" y="-868363"/>
            <a:ext cx="21336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" name="AutoShape 6" descr="Instagram symbol free icon"/>
          <p:cNvSpPr>
            <a:spLocks noChangeAspect="1" noChangeArrowheads="1"/>
          </p:cNvSpPr>
          <p:nvPr userDrawn="1"/>
        </p:nvSpPr>
        <p:spPr bwMode="auto">
          <a:xfrm>
            <a:off x="460375" y="-715963"/>
            <a:ext cx="21336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34824" name="Picture 8" descr="Ähnliches Foto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650" y="4313572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0"/>
          <p:cNvSpPr txBox="1"/>
          <p:nvPr userDrawn="1"/>
        </p:nvSpPr>
        <p:spPr>
          <a:xfrm>
            <a:off x="7022123" y="4475517"/>
            <a:ext cx="2990769" cy="216110"/>
          </a:xfrm>
          <a:prstGeom prst="rect">
            <a:avLst/>
          </a:prstGeom>
          <a:noFill/>
        </p:spPr>
        <p:txBody>
          <a:bodyPr wrap="square" lIns="0" tIns="27000" rIns="0" bIns="27000" rtlCol="0" anchor="ctr">
            <a:spAutoFit/>
          </a:bodyPr>
          <a:lstStyle/>
          <a:p>
            <a:r>
              <a:rPr lang="en-US" sz="105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180dcmuni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B8182F-DFDF-F94D-A0F1-8B264AFB546D}"/>
              </a:ext>
            </a:extLst>
          </p:cNvPr>
          <p:cNvSpPr txBox="1"/>
          <p:nvPr userDrawn="1"/>
        </p:nvSpPr>
        <p:spPr>
          <a:xfrm>
            <a:off x="3988693" y="3542221"/>
            <a:ext cx="1363156" cy="162000"/>
          </a:xfrm>
          <a:prstGeom prst="rect">
            <a:avLst/>
          </a:prstGeom>
          <a:noFill/>
        </p:spPr>
        <p:txBody>
          <a:bodyPr wrap="square" lIns="0" rtlCol="0" anchor="ctr">
            <a:no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4B5050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+mn-cs"/>
              </a:rPr>
              <a:t>Follow us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40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940">
          <p15:clr>
            <a:srgbClr val="FBAE40"/>
          </p15:clr>
        </p15:guide>
        <p15:guide id="4" orient="horz" pos="213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Insp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BEFDCFF9-6CE4-D84F-B84F-890D016B52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17" b="1826"/>
          <a:stretch/>
        </p:blipFill>
        <p:spPr>
          <a:xfrm>
            <a:off x="0" y="-545783"/>
            <a:ext cx="9144000" cy="5689283"/>
          </a:xfrm>
          <a:prstGeom prst="rect">
            <a:avLst/>
          </a:prstGeom>
        </p:spPr>
      </p:pic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B667CA0F-C0EB-1449-9DB6-ACC6C884F986}"/>
              </a:ext>
            </a:extLst>
          </p:cNvPr>
          <p:cNvSpPr txBox="1">
            <a:spLocks/>
          </p:cNvSpPr>
          <p:nvPr userDrawn="1"/>
        </p:nvSpPr>
        <p:spPr>
          <a:xfrm>
            <a:off x="4167962" y="0"/>
            <a:ext cx="4465675" cy="5143500"/>
          </a:xfrm>
          <a:prstGeom prst="rect">
            <a:avLst/>
          </a:prstGeom>
          <a:solidFill>
            <a:srgbClr val="91969B">
              <a:alpha val="50000"/>
            </a:srgbClr>
          </a:solidFill>
        </p:spPr>
        <p:txBody>
          <a:bodyPr lIns="360000" tIns="0" rIns="360000" bIns="0" anchor="ctr" anchorCtr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spc="46">
                <a:solidFill>
                  <a:schemeClr val="accent6"/>
                </a:solidFill>
              </a:rPr>
              <a:t>“There are enough charities to solve the world’s problems. </a:t>
            </a:r>
            <a:br>
              <a:rPr lang="en-US" spc="46"/>
            </a:br>
            <a:r>
              <a:rPr lang="en-US" spc="46"/>
              <a:t>They just need a hand to reach their potential.”</a:t>
            </a:r>
          </a:p>
          <a:p>
            <a:pPr algn="ctr">
              <a:lnSpc>
                <a:spcPct val="120000"/>
              </a:lnSpc>
            </a:pPr>
            <a:endParaRPr lang="en-US" sz="400" spc="46"/>
          </a:p>
          <a:p>
            <a:pPr algn="r">
              <a:lnSpc>
                <a:spcPct val="120000"/>
              </a:lnSpc>
            </a:pPr>
            <a:r>
              <a:rPr lang="en-US" sz="1100" spc="46">
                <a:solidFill>
                  <a:schemeClr val="accent6"/>
                </a:solidFill>
              </a:rPr>
              <a:t>- Nat ware, founder 180DC</a:t>
            </a:r>
            <a:endParaRPr lang="en-US" sz="1600" spc="46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080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6_Insp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5">
            <a:extLst>
              <a:ext uri="{FF2B5EF4-FFF2-40B4-BE49-F238E27FC236}">
                <a16:creationId xmlns:a16="http://schemas.microsoft.com/office/drawing/2014/main" id="{D76C7BC1-B610-9E4E-A39C-54E272EA3D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3257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>
  <p:cSld name="3_Title &amp; Content">
    <p:spTree>
      <p:nvGrpSpPr>
        <p:cNvPr id="1" name="Shape 3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8" name="Google Shape;3148;p17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49" name="Google Shape;3149;p17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38" cy="141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150" name="Google Shape;3150;p17"/>
          <p:cNvCxnSpPr/>
          <p:nvPr/>
        </p:nvCxnSpPr>
        <p:spPr>
          <a:xfrm>
            <a:off x="287337" y="1204132"/>
            <a:ext cx="914400" cy="0"/>
          </a:xfrm>
          <a:prstGeom prst="straightConnector1">
            <a:avLst/>
          </a:prstGeom>
          <a:noFill/>
          <a:ln w="2857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1" name="Google Shape;3151;p17"/>
          <p:cNvSpPr txBox="1">
            <a:spLocks noGrp="1"/>
          </p:cNvSpPr>
          <p:nvPr>
            <p:ph type="body" idx="3"/>
          </p:nvPr>
        </p:nvSpPr>
        <p:spPr>
          <a:xfrm>
            <a:off x="294024" y="1276351"/>
            <a:ext cx="8569325" cy="3490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52" name="Google Shape;3152;p17"/>
          <p:cNvSpPr txBox="1"/>
          <p:nvPr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b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b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3" name="Google Shape;3153;p17"/>
          <p:cNvSpPr txBox="1"/>
          <p:nvPr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SINGHUA </a:t>
            </a:r>
            <a:r>
              <a:rPr lang="en" sz="8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UNIVERSITY</a:t>
            </a:r>
            <a:endParaRPr/>
          </a:p>
        </p:txBody>
      </p:sp>
      <p:pic>
        <p:nvPicPr>
          <p:cNvPr id="3154" name="Google Shape;3154;p17" descr="A purple logo with text and a sta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4838" y="4883202"/>
            <a:ext cx="129600" cy="129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2817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4" orient="horz" pos="804">
          <p15:clr>
            <a:srgbClr val="FBAE40"/>
          </p15:clr>
        </p15:guide>
        <p15:guide id="5" orient="horz" pos="14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5FE4187-0BF7-437D-87C3-7BC2371AE7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de-DE"/>
              <a:t>Insert Picture </a:t>
            </a:r>
            <a:r>
              <a:rPr lang="de-DE" err="1"/>
              <a:t>he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880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&amp; Content">
  <p:cSld name="3_Title &amp; Content">
    <p:spTree>
      <p:nvGrpSpPr>
        <p:cNvPr id="1" name="Shape 3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6" name="Google Shape;3156;p18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57" name="Google Shape;3157;p18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38" cy="141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158" name="Google Shape;3158;p18"/>
          <p:cNvCxnSpPr/>
          <p:nvPr/>
        </p:nvCxnSpPr>
        <p:spPr>
          <a:xfrm>
            <a:off x="287337" y="1204132"/>
            <a:ext cx="914400" cy="0"/>
          </a:xfrm>
          <a:prstGeom prst="straightConnector1">
            <a:avLst/>
          </a:prstGeom>
          <a:noFill/>
          <a:ln w="2857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9" name="Google Shape;3159;p18"/>
          <p:cNvSpPr txBox="1">
            <a:spLocks noGrp="1"/>
          </p:cNvSpPr>
          <p:nvPr>
            <p:ph type="body" idx="3"/>
          </p:nvPr>
        </p:nvSpPr>
        <p:spPr>
          <a:xfrm>
            <a:off x="294024" y="1276351"/>
            <a:ext cx="8569325" cy="2915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60" name="Google Shape;3160;p18"/>
          <p:cNvSpPr/>
          <p:nvPr/>
        </p:nvSpPr>
        <p:spPr>
          <a:xfrm>
            <a:off x="294024" y="4264396"/>
            <a:ext cx="8569325" cy="50286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61" name="Google Shape;3161;p18"/>
          <p:cNvSpPr txBox="1"/>
          <p:nvPr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b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b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62" name="Google Shape;3162;p18"/>
          <p:cNvSpPr txBox="1">
            <a:spLocks noGrp="1"/>
          </p:cNvSpPr>
          <p:nvPr>
            <p:ph type="body" idx="4"/>
          </p:nvPr>
        </p:nvSpPr>
        <p:spPr>
          <a:xfrm>
            <a:off x="287338" y="4264025"/>
            <a:ext cx="8562975" cy="503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63" name="Google Shape;3163;p18"/>
          <p:cNvSpPr txBox="1"/>
          <p:nvPr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SINGHUA </a:t>
            </a:r>
            <a:r>
              <a:rPr lang="en" sz="8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UNIVERSITY</a:t>
            </a:r>
            <a:endParaRPr/>
          </a:p>
        </p:txBody>
      </p:sp>
      <p:pic>
        <p:nvPicPr>
          <p:cNvPr id="3164" name="Google Shape;3164;p18" descr="A purple logo with text and a sta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4838" y="4883202"/>
            <a:ext cx="129600" cy="129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2447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4" orient="horz" pos="804">
          <p15:clr>
            <a:srgbClr val="FBAE40"/>
          </p15:clr>
        </p15:guide>
        <p15:guide id="5" orient="horz" pos="14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 only">
  <p:cSld name="5_Titel only">
    <p:spTree>
      <p:nvGrpSpPr>
        <p:cNvPr id="1" name="Shape 3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6" name="Google Shape;3166;p19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67" name="Google Shape;3167;p19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38" cy="141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168" name="Google Shape;3168;p19"/>
          <p:cNvCxnSpPr/>
          <p:nvPr/>
        </p:nvCxnSpPr>
        <p:spPr>
          <a:xfrm>
            <a:off x="287337" y="1204132"/>
            <a:ext cx="914400" cy="0"/>
          </a:xfrm>
          <a:prstGeom prst="straightConnector1">
            <a:avLst/>
          </a:prstGeom>
          <a:noFill/>
          <a:ln w="28575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69" name="Google Shape;3169;p19"/>
          <p:cNvSpPr txBox="1">
            <a:spLocks noGrp="1"/>
          </p:cNvSpPr>
          <p:nvPr>
            <p:ph type="body" idx="3"/>
          </p:nvPr>
        </p:nvSpPr>
        <p:spPr>
          <a:xfrm>
            <a:off x="294024" y="1276351"/>
            <a:ext cx="4206540" cy="3499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5275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050"/>
              <a:buFont typeface="Noto Sans Symbols"/>
              <a:buChar char="▪"/>
              <a:defRPr sz="105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70" name="Google Shape;3170;p19"/>
          <p:cNvSpPr txBox="1">
            <a:spLocks noGrp="1"/>
          </p:cNvSpPr>
          <p:nvPr>
            <p:ph type="body" idx="4"/>
          </p:nvPr>
        </p:nvSpPr>
        <p:spPr>
          <a:xfrm>
            <a:off x="4643438" y="1276350"/>
            <a:ext cx="4213226" cy="3490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Char char="▪"/>
              <a:defRPr sz="1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5275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1"/>
              </a:buClr>
              <a:buSzPts val="1050"/>
              <a:buFont typeface="Noto Sans Symbols"/>
              <a:buChar char="▪"/>
              <a:defRPr sz="105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71" name="Google Shape;3171;p19"/>
          <p:cNvSpPr txBox="1"/>
          <p:nvPr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 b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b="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72" name="Google Shape;3172;p19"/>
          <p:cNvSpPr txBox="1"/>
          <p:nvPr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SINGHUA </a:t>
            </a:r>
            <a:r>
              <a:rPr lang="en" sz="800" b="1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UNIVERSITY</a:t>
            </a:r>
            <a:endParaRPr/>
          </a:p>
        </p:txBody>
      </p:sp>
      <p:pic>
        <p:nvPicPr>
          <p:cNvPr id="3173" name="Google Shape;3173;p19" descr="A purple logo with text and a sta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4838" y="4883202"/>
            <a:ext cx="129600" cy="129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9106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4" orient="horz" pos="804">
          <p15:clr>
            <a:srgbClr val="FBAE40"/>
          </p15:clr>
        </p15:guide>
        <p15:guide id="5" orient="horz" pos="146">
          <p15:clr>
            <a:srgbClr val="FBAE40"/>
          </p15:clr>
        </p15:guide>
        <p15:guide id="6" pos="2835">
          <p15:clr>
            <a:srgbClr val="FBAE40"/>
          </p15:clr>
        </p15:guide>
        <p15:guide id="7" pos="292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287337" y="7723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114A9FC8-EF0D-4B3D-AC24-B982862946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1276350"/>
            <a:ext cx="8569325" cy="3490913"/>
          </a:xfrm>
          <a:prstGeom prst="rect">
            <a:avLst/>
          </a:prstGeom>
        </p:spPr>
        <p:txBody>
          <a:bodyPr wrap="square" lIns="0" tIns="396000" rIns="0" bIns="36000"/>
          <a:lstStyle>
            <a:lvl1pPr marL="228606" indent="-228606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cap="all" baseline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defRPr>
            </a:lvl1pPr>
            <a:lvl2pPr marL="446088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 b="0">
                <a:solidFill>
                  <a:schemeClr val="accent1"/>
                </a:solidFill>
                <a:latin typeface="+mj-lt"/>
              </a:defRPr>
            </a:lvl2pPr>
            <a:lvl3pPr marL="71596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  <a:latin typeface="+mj-lt"/>
              </a:defRPr>
            </a:lvl3pPr>
            <a:lvl4pPr marL="1371634" indent="0">
              <a:buNone/>
              <a:defRPr/>
            </a:lvl4pPr>
          </a:lstStyle>
          <a:p>
            <a:pPr lvl="0"/>
            <a:r>
              <a:rPr lang="en-US"/>
              <a:t>No more than 6 Agenda points, do not use with less than 3 agenda points, use common template for </a:t>
            </a:r>
            <a:r>
              <a:rPr lang="en-US" err="1"/>
              <a:t>AGEnda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166C0E-A1E8-4AC8-AFCC-D8339230B1F2}"/>
              </a:ext>
            </a:extLst>
          </p:cNvPr>
          <p:cNvSpPr txBox="1"/>
          <p:nvPr userDrawn="1"/>
        </p:nvSpPr>
        <p:spPr>
          <a:xfrm>
            <a:off x="287338" y="892372"/>
            <a:ext cx="85693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00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4BE34D-101F-452E-98BA-8A1EADE3FE8C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3" name="Picture 2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744F7592-CCC5-26B7-5F2E-71B3D092B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65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  <p15:guide id="7" pos="2880">
          <p15:clr>
            <a:srgbClr val="FBAE40"/>
          </p15:clr>
        </p15:guide>
        <p15:guide id="8" orient="horz" pos="16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47740C48-385C-DA46-833F-F8D5500A7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2186" y="2632771"/>
            <a:ext cx="2286000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None/>
              <a:defRPr lang="en-GB" sz="1000" b="1" cap="all" spc="2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lvl="0">
              <a:lnSpc>
                <a:spcPts val="1700"/>
              </a:lnSpc>
              <a:spcAft>
                <a:spcPts val="600"/>
              </a:spcAft>
            </a:pPr>
            <a:r>
              <a:rPr lang="en-GB"/>
              <a:t>Name of Agenda PT 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B8CDDC-3C95-7F45-871C-19576561B6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2186" y="1745628"/>
            <a:ext cx="2286000" cy="19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None/>
              <a:defRPr lang="en-GB" sz="1000" b="1" cap="all" spc="2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lvl="0">
              <a:lnSpc>
                <a:spcPts val="1700"/>
              </a:lnSpc>
              <a:spcAft>
                <a:spcPts val="600"/>
              </a:spcAft>
            </a:pPr>
            <a:r>
              <a:rPr lang="en-GB"/>
              <a:t>Name of Agenda PT 1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7723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166C0E-A1E8-4AC8-AFCC-D8339230B1F2}"/>
              </a:ext>
            </a:extLst>
          </p:cNvPr>
          <p:cNvSpPr txBox="1"/>
          <p:nvPr userDrawn="1"/>
        </p:nvSpPr>
        <p:spPr>
          <a:xfrm>
            <a:off x="287338" y="892372"/>
            <a:ext cx="85693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00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6510AE4-AD57-A548-B9DD-9F7DC4F807BA}"/>
              </a:ext>
            </a:extLst>
          </p:cNvPr>
          <p:cNvGrpSpPr/>
          <p:nvPr userDrawn="1"/>
        </p:nvGrpSpPr>
        <p:grpSpPr>
          <a:xfrm>
            <a:off x="4572000" y="1851535"/>
            <a:ext cx="357790" cy="357790"/>
            <a:chOff x="5570868" y="1680332"/>
            <a:chExt cx="357790" cy="35779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6B999E7-F6CA-6043-BD5C-3374F238CF1A}"/>
                </a:ext>
              </a:extLst>
            </p:cNvPr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1850336-63FF-8D44-800B-BC9050D7BCD0}"/>
                </a:ext>
              </a:extLst>
            </p:cNvPr>
            <p:cNvSpPr txBox="1"/>
            <p:nvPr/>
          </p:nvSpPr>
          <p:spPr>
            <a:xfrm>
              <a:off x="5606168" y="1761087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82D62-9597-3443-B21C-786B56457957}"/>
              </a:ext>
            </a:extLst>
          </p:cNvPr>
          <p:cNvGrpSpPr/>
          <p:nvPr userDrawn="1"/>
        </p:nvGrpSpPr>
        <p:grpSpPr>
          <a:xfrm>
            <a:off x="4572000" y="2744221"/>
            <a:ext cx="357790" cy="357790"/>
            <a:chOff x="5570868" y="2573018"/>
            <a:chExt cx="357790" cy="35779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2D015DA-6B95-104C-A552-78D50FB7D88E}"/>
                </a:ext>
              </a:extLst>
            </p:cNvPr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3A13789-3A4F-4742-A89D-159E75E3DC3B}"/>
                </a:ext>
              </a:extLst>
            </p:cNvPr>
            <p:cNvSpPr txBox="1"/>
            <p:nvPr/>
          </p:nvSpPr>
          <p:spPr>
            <a:xfrm>
              <a:off x="5606168" y="2653773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8691B49-0359-B541-A18F-B6C420280935}"/>
              </a:ext>
            </a:extLst>
          </p:cNvPr>
          <p:cNvGrpSpPr/>
          <p:nvPr userDrawn="1"/>
        </p:nvGrpSpPr>
        <p:grpSpPr>
          <a:xfrm>
            <a:off x="4572000" y="3617094"/>
            <a:ext cx="357790" cy="357790"/>
            <a:chOff x="5570868" y="3445891"/>
            <a:chExt cx="357790" cy="35779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A799CFC-86E9-C340-88C8-89CCFD4D1104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15182F-EF6A-734C-B367-69192F4FB5BC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6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6610351-F378-E947-9D7D-9A969A01FF29}"/>
              </a:ext>
            </a:extLst>
          </p:cNvPr>
          <p:cNvGrpSpPr/>
          <p:nvPr userDrawn="1"/>
        </p:nvGrpSpPr>
        <p:grpSpPr>
          <a:xfrm>
            <a:off x="282284" y="1851535"/>
            <a:ext cx="357790" cy="357790"/>
            <a:chOff x="5570868" y="1680332"/>
            <a:chExt cx="357790" cy="35779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347A0A3-B1A0-5F48-88DD-47240E8FBBF3}"/>
                </a:ext>
              </a:extLst>
            </p:cNvPr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A97F034-4DC6-5D4B-981D-165D4DB7E08A}"/>
                </a:ext>
              </a:extLst>
            </p:cNvPr>
            <p:cNvSpPr txBox="1"/>
            <p:nvPr/>
          </p:nvSpPr>
          <p:spPr>
            <a:xfrm>
              <a:off x="5606168" y="1761087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B9C7889-9AE2-A04D-9603-79208FD72AFB}"/>
              </a:ext>
            </a:extLst>
          </p:cNvPr>
          <p:cNvGrpSpPr/>
          <p:nvPr userDrawn="1"/>
        </p:nvGrpSpPr>
        <p:grpSpPr>
          <a:xfrm>
            <a:off x="282284" y="2744221"/>
            <a:ext cx="357790" cy="357790"/>
            <a:chOff x="5570868" y="2573018"/>
            <a:chExt cx="357790" cy="35779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C97254F-F436-EF4F-BA1D-38890BEC4690}"/>
                </a:ext>
              </a:extLst>
            </p:cNvPr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5DF4842-400C-074F-9D6A-4FD794095954}"/>
                </a:ext>
              </a:extLst>
            </p:cNvPr>
            <p:cNvSpPr txBox="1"/>
            <p:nvPr/>
          </p:nvSpPr>
          <p:spPr>
            <a:xfrm>
              <a:off x="5606168" y="2653773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07687D6-2042-0E43-9D94-607504500C98}"/>
              </a:ext>
            </a:extLst>
          </p:cNvPr>
          <p:cNvGrpSpPr/>
          <p:nvPr userDrawn="1"/>
        </p:nvGrpSpPr>
        <p:grpSpPr>
          <a:xfrm>
            <a:off x="282284" y="3617094"/>
            <a:ext cx="357790" cy="357790"/>
            <a:chOff x="5570868" y="3445891"/>
            <a:chExt cx="357790" cy="35779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57D4936-6912-2640-A163-A094AA894076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634C1DB-E081-644C-8E31-3B62DADBA85C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3</a:t>
              </a:r>
            </a:p>
          </p:txBody>
        </p:sp>
      </p:grp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ED099F30-1EAD-6444-87F6-4B1E113246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4868" y="3505516"/>
            <a:ext cx="2286000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None/>
              <a:defRPr lang="en-GB" sz="1000" b="1" cap="all" spc="2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lvl="0">
              <a:lnSpc>
                <a:spcPts val="1700"/>
              </a:lnSpc>
              <a:spcAft>
                <a:spcPts val="600"/>
              </a:spcAft>
            </a:pPr>
            <a:r>
              <a:rPr lang="en-GB"/>
              <a:t>Name of Agenda PT 3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58E3BB11-A875-644B-A4CE-AAB901B38C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72383" y="3505516"/>
            <a:ext cx="2286000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None/>
              <a:defRPr lang="en-GB" sz="1000" b="1" cap="all" spc="2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lvl="0">
              <a:lnSpc>
                <a:spcPts val="1700"/>
              </a:lnSpc>
              <a:spcAft>
                <a:spcPts val="600"/>
              </a:spcAft>
            </a:pPr>
            <a:r>
              <a:rPr lang="en-GB"/>
              <a:t>Name of Agenda PT 6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35142257-2C42-F84C-9178-8188CE0DD7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72383" y="2632070"/>
            <a:ext cx="2286000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None/>
              <a:defRPr lang="en-GB" sz="1000" b="1" cap="all" spc="2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lvl="0">
              <a:lnSpc>
                <a:spcPts val="1700"/>
              </a:lnSpc>
              <a:spcAft>
                <a:spcPts val="600"/>
              </a:spcAft>
            </a:pPr>
            <a:r>
              <a:rPr lang="en-GB"/>
              <a:t>Name of Agenda PT 5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67D2016-7599-394C-88E9-0AE878416E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72383" y="1745628"/>
            <a:ext cx="2286000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buNone/>
              <a:defRPr lang="en-GB" sz="1000" b="1" cap="all" spc="2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lvl="0">
              <a:lnSpc>
                <a:spcPts val="1700"/>
              </a:lnSpc>
              <a:spcAft>
                <a:spcPts val="600"/>
              </a:spcAft>
            </a:pPr>
            <a:r>
              <a:rPr lang="en-GB"/>
              <a:t>Name of Agenda PT 4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4D938E49-F3BF-A143-9D5C-AF8F3C0CFF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4868" y="1938498"/>
            <a:ext cx="228600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marR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0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marR="0" lvl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50" name="Text Placeholder 48">
            <a:extLst>
              <a:ext uri="{FF2B5EF4-FFF2-40B4-BE49-F238E27FC236}">
                <a16:creationId xmlns:a16="http://schemas.microsoft.com/office/drawing/2014/main" id="{C51C0948-6939-6B40-87FB-8E4AA8BD8E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4868" y="2843992"/>
            <a:ext cx="228600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marR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0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marR="0" lvl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51" name="Text Placeholder 48">
            <a:extLst>
              <a:ext uri="{FF2B5EF4-FFF2-40B4-BE49-F238E27FC236}">
                <a16:creationId xmlns:a16="http://schemas.microsoft.com/office/drawing/2014/main" id="{0C8BD9F2-A687-2A4D-9B80-171FC6515B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868" y="3716865"/>
            <a:ext cx="228600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marR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0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marR="0" lvl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C3B79D64-C72C-F74E-8B73-E183276804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74584" y="3716865"/>
            <a:ext cx="228600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marR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0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marR="0" lvl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53" name="Text Placeholder 48">
            <a:extLst>
              <a:ext uri="{FF2B5EF4-FFF2-40B4-BE49-F238E27FC236}">
                <a16:creationId xmlns:a16="http://schemas.microsoft.com/office/drawing/2014/main" id="{88F67470-9226-9141-ACD4-77AF3FDFBD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74584" y="2843992"/>
            <a:ext cx="228600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marR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0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marR="0" lvl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1B109416-56D4-6248-86C7-9422121078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74584" y="1938498"/>
            <a:ext cx="228600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marR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00" smtClean="0">
                <a:solidFill>
                  <a:schemeClr val="accent1"/>
                </a:solidFill>
              </a:defRPr>
            </a:lvl1pPr>
            <a:lvl2pPr>
              <a:defRPr lang="en-GB" sz="1350" smtClean="0"/>
            </a:lvl2pPr>
            <a:lvl3pPr>
              <a:defRPr lang="en-GB" sz="1350" smtClean="0"/>
            </a:lvl3pPr>
            <a:lvl4pPr>
              <a:defRPr lang="en-GB" smtClean="0"/>
            </a:lvl4pPr>
            <a:lvl5pPr>
              <a:defRPr lang="en-DE"/>
            </a:lvl5pPr>
          </a:lstStyle>
          <a:p>
            <a:pPr marL="0" marR="0" lvl="0" indent="-171450" algn="l" defTabSz="685800" rtl="0" eaLnBrk="1" fontAlgn="auto" latinLnBrk="0" hangingPunct="1">
              <a:lnSpc>
                <a:spcPts val="13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AF2324-83BC-6B31-E5AD-B6C2DCA68127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4" name="Picture 3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D491EDDE-127B-6C29-2969-7727673FBD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16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  <p15:guide id="7" pos="2880">
          <p15:clr>
            <a:srgbClr val="FBAE40"/>
          </p15:clr>
        </p15:guide>
        <p15:guide id="8" orient="horz" pos="1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249F654-A3DD-4211-A7A9-5E12D96F26B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1"/>
            <a:ext cx="8569325" cy="3490912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3608E3-88CD-4F0B-8D9A-6F7533FFFB41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D4CAFF-02F9-D6DF-5BBA-81A894AE39B4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4" name="Picture 3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FF2D604A-8AEE-3FF6-2520-F9E5468076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61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249F654-A3DD-4211-A7A9-5E12D96F26B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1"/>
            <a:ext cx="8569325" cy="2915827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74CD53-F6A9-4DB1-AE15-3D52DF5182F3}"/>
              </a:ext>
            </a:extLst>
          </p:cNvPr>
          <p:cNvSpPr/>
          <p:nvPr userDrawn="1"/>
        </p:nvSpPr>
        <p:spPr>
          <a:xfrm>
            <a:off x="294024" y="4264396"/>
            <a:ext cx="8569325" cy="5028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43E776-B4A6-42BF-9A33-A2D10767116C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401DFE-FF4F-43B0-82C2-05B078C252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264025"/>
            <a:ext cx="8562975" cy="5032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Conclusion</a:t>
            </a:r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F57553-AF12-11EF-70D3-8CEE2969AA17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7" name="Picture 6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565BFED0-4B04-B528-69D0-2F16E5D9CF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7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249F654-A3DD-4211-A7A9-5E12D96F26B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1"/>
            <a:ext cx="8569325" cy="2915827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74CD53-F6A9-4DB1-AE15-3D52DF5182F3}"/>
              </a:ext>
            </a:extLst>
          </p:cNvPr>
          <p:cNvSpPr/>
          <p:nvPr userDrawn="1"/>
        </p:nvSpPr>
        <p:spPr>
          <a:xfrm>
            <a:off x="294024" y="4264396"/>
            <a:ext cx="8569325" cy="5028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43E776-B4A6-42BF-9A33-A2D10767116C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DB2F6E1-1653-4AB5-B0B1-61354D8646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264025"/>
            <a:ext cx="8575675" cy="5032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onclus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DC91C0-3747-09AE-65C3-6A75CC944DD9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7" name="Picture 6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CD11A7B4-9130-A910-7DDB-0D02B4921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33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AFF4BBB-F739-4A90-85C9-0675BC7476EC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497EF9-A1B7-BCAC-5312-F99C7EA382D3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4" name="Picture 3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C16884E3-7C71-05B6-C204-5CAF559A3D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799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all" spc="5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 goes here – short description of the core message of the slide – MAX 2 lin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94024" y="951319"/>
            <a:ext cx="8562638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000" b="0" cap="none" spc="0" baseline="0">
                <a:solidFill>
                  <a:schemeClr val="accent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itle goes here – 1 line only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7337" y="1204132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D4BCA7E-C501-4DE8-982C-270C949E35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94024" y="1276351"/>
            <a:ext cx="4206540" cy="3499482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8D334381-15A2-4A37-9C9F-86F3CD03BF3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43438" y="1276350"/>
            <a:ext cx="4213226" cy="3490913"/>
          </a:xfrm>
          <a:prstGeom prst="rect">
            <a:avLst/>
          </a:prstGeom>
        </p:spPr>
        <p:txBody>
          <a:bodyPr lIns="0" tIns="36000" rIns="0" bIns="36000"/>
          <a:lstStyle>
            <a:lvl1pPr marL="228606" indent="-228606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4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08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2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717550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105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Normal text is to be written in grey. Font size either 10, 12 or 14. Keep font size consistent through out the slides</a:t>
            </a:r>
          </a:p>
          <a:p>
            <a:pPr lvl="1"/>
            <a:r>
              <a:rPr lang="en-US"/>
              <a:t>To highlight words, bold and green should be used</a:t>
            </a:r>
          </a:p>
          <a:p>
            <a:pPr lvl="2"/>
            <a:r>
              <a:rPr lang="en-US"/>
              <a:t>No more than 3 levels of bullet poi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C33284-7C54-405B-8C59-4BB6AF0E61A9}"/>
              </a:ext>
            </a:extLst>
          </p:cNvPr>
          <p:cNvSpPr txBox="1"/>
          <p:nvPr userDrawn="1"/>
        </p:nvSpPr>
        <p:spPr>
          <a:xfrm>
            <a:off x="8649474" y="4887302"/>
            <a:ext cx="20699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00" b="0" spc="30" baseline="0" smtClean="0">
                <a:solidFill>
                  <a:schemeClr val="accent4"/>
                </a:solidFill>
                <a:latin typeface="+mj-lt"/>
              </a:rPr>
              <a:pPr algn="r"/>
              <a:t>‹#›</a:t>
            </a:fld>
            <a:endParaRPr lang="en-US" sz="800" b="0" spc="30" baseline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9AB9A5-332E-CEBD-27AA-2961B579D62A}"/>
              </a:ext>
            </a:extLst>
          </p:cNvPr>
          <p:cNvSpPr txBox="1"/>
          <p:nvPr userDrawn="1"/>
        </p:nvSpPr>
        <p:spPr>
          <a:xfrm>
            <a:off x="468768" y="4886447"/>
            <a:ext cx="17835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b="1" spc="30" baseline="0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SINGHUA </a:t>
            </a:r>
            <a:r>
              <a:rPr lang="en-US" sz="800" b="1" spc="3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NIVERSITY</a:t>
            </a:r>
          </a:p>
        </p:txBody>
      </p:sp>
      <p:pic>
        <p:nvPicPr>
          <p:cNvPr id="4" name="Picture 3" descr="A purple logo with text and a star&#10;&#10;Description automatically generated">
            <a:extLst>
              <a:ext uri="{FF2B5EF4-FFF2-40B4-BE49-F238E27FC236}">
                <a16:creationId xmlns:a16="http://schemas.microsoft.com/office/drawing/2014/main" id="{1011681B-6DA3-29D3-A52F-91811E8A37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38" y="4883202"/>
            <a:ext cx="12960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2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5579">
          <p15:clr>
            <a:srgbClr val="FBAE40"/>
          </p15:clr>
        </p15:guide>
        <p15:guide id="3" pos="181">
          <p15:clr>
            <a:srgbClr val="FBAE40"/>
          </p15:clr>
        </p15:guide>
        <p15:guide id="5" orient="horz" pos="804">
          <p15:clr>
            <a:srgbClr val="FBAE40"/>
          </p15:clr>
        </p15:guide>
        <p15:guide id="6" orient="horz" pos="146">
          <p15:clr>
            <a:srgbClr val="FBAE40"/>
          </p15:clr>
        </p15:guide>
        <p15:guide id="7" pos="2835">
          <p15:clr>
            <a:srgbClr val="FBAE40"/>
          </p15:clr>
        </p15:guide>
        <p15:guide id="8" pos="29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BD5669-254F-4CDF-B203-FE62ADFC4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03" imgH="503" progId="TCLayout.ActiveDocument.1">
                  <p:embed/>
                </p:oleObj>
              </mc:Choice>
              <mc:Fallback>
                <p:oleObj name="think-cell Slide" r:id="rId24" imgW="503" imgH="5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BD5669-254F-4CDF-B203-FE62ADFC4F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48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</p:sldLayoutIdLst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jp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6.jpg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5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5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5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microsoft.com/office/2007/relationships/hdphoto" Target="../media/hdphoto4.wdp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5.xml"/><Relationship Id="rId6" Type="http://schemas.microsoft.com/office/2007/relationships/hdphoto" Target="../media/hdphoto3.wdp"/><Relationship Id="rId5" Type="http://schemas.microsoft.com/office/2007/relationships/hdphoto" Target="../media/hdphoto2.wdp"/><Relationship Id="rId4" Type="http://schemas.microsoft.com/office/2007/relationships/hdphoto" Target="../media/hdphoto1.wdp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png"/><Relationship Id="rId5" Type="http://schemas.openxmlformats.org/officeDocument/2006/relationships/image" Target="../media/image28.jp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8.jp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8.jpg"/><Relationship Id="rId4" Type="http://schemas.openxmlformats.org/officeDocument/2006/relationships/image" Target="../media/image2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8.jpg"/><Relationship Id="rId4" Type="http://schemas.openxmlformats.org/officeDocument/2006/relationships/image" Target="../media/image3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jpg"/><Relationship Id="rId5" Type="http://schemas.openxmlformats.org/officeDocument/2006/relationships/image" Target="../media/image28.jpg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7" Type="http://schemas.openxmlformats.org/officeDocument/2006/relationships/image" Target="../media/image1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jpg"/><Relationship Id="rId5" Type="http://schemas.openxmlformats.org/officeDocument/2006/relationships/image" Target="../media/image15.jpeg"/><Relationship Id="rId4" Type="http://schemas.openxmlformats.org/officeDocument/2006/relationships/image" Target="../media/image14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jp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8.jpg"/><Relationship Id="rId4" Type="http://schemas.openxmlformats.org/officeDocument/2006/relationships/image" Target="../media/image2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jp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8.jpg"/><Relationship Id="rId4" Type="http://schemas.openxmlformats.org/officeDocument/2006/relationships/image" Target="../media/image3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jpg"/><Relationship Id="rId5" Type="http://schemas.openxmlformats.org/officeDocument/2006/relationships/image" Target="../media/image28.jpg"/><Relationship Id="rId4" Type="http://schemas.openxmlformats.org/officeDocument/2006/relationships/image" Target="../media/image30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jp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jp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jp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jp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55892F-4CD9-41F9-8BE9-C88CD10286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’m something of a painter myself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94D28A-8BCF-4C58-A954-208F87332A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eijing, 2024.12.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679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09A1D4-B35C-7BEF-B8B4-08348DC3F3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33585F-CF0D-0D0A-69C2-2F461094AB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What is a </a:t>
            </a:r>
            <a:r>
              <a:rPr lang="en-US" dirty="0">
                <a:solidFill>
                  <a:schemeClr val="accent2"/>
                </a:solidFill>
              </a:rPr>
              <a:t>DCGAN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1023AB-1FDD-DF4F-51EE-A2E287386E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CGA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2B1A29-55FA-5AFD-54E1-1745834955F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4024" y="1276351"/>
            <a:ext cx="3945468" cy="3499482"/>
          </a:xfrm>
        </p:spPr>
        <p:txBody>
          <a:bodyPr/>
          <a:lstStyle/>
          <a:p>
            <a:r>
              <a:rPr lang="en-GB" dirty="0"/>
              <a:t>DCGAN is a specific type of GAN that uses </a:t>
            </a:r>
            <a:r>
              <a:rPr lang="en-GB" b="1" dirty="0"/>
              <a:t>convolutional layers</a:t>
            </a:r>
            <a:r>
              <a:rPr lang="en-GB" dirty="0"/>
              <a:t> in both the generator and discriminator networks</a:t>
            </a:r>
          </a:p>
          <a:p>
            <a:r>
              <a:rPr lang="en-GB" b="1" dirty="0"/>
              <a:t>Generator: </a:t>
            </a:r>
            <a:r>
              <a:rPr lang="en-GB" dirty="0"/>
              <a:t>Instead of fully connected layers, transposed convolutions to </a:t>
            </a:r>
            <a:r>
              <a:rPr lang="en-GB" dirty="0" err="1"/>
              <a:t>upsample</a:t>
            </a:r>
            <a:r>
              <a:rPr lang="en-GB" dirty="0"/>
              <a:t> the input noise into a higher-dimensional output</a:t>
            </a:r>
          </a:p>
          <a:p>
            <a:r>
              <a:rPr lang="en-GB" b="1" dirty="0"/>
              <a:t>Discriminator: </a:t>
            </a:r>
            <a:r>
              <a:rPr lang="en-GB" dirty="0"/>
              <a:t>Uses convolutional layers to classify images as real or fake which allows network to capture spatial hierarchies in images and improves the model's performance in tasks like image generation.</a:t>
            </a:r>
          </a:p>
          <a:p>
            <a:r>
              <a:rPr lang="en-GB" dirty="0"/>
              <a:t>DCGANs are </a:t>
            </a:r>
            <a:r>
              <a:rPr lang="en-GB" b="1" dirty="0"/>
              <a:t>more effective </a:t>
            </a:r>
            <a:r>
              <a:rPr lang="en-GB" dirty="0"/>
              <a:t>at generating high-quality, realistic images compared to the original GANs</a:t>
            </a:r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0375546-2955-9A3E-8324-9A24D811DF23}"/>
              </a:ext>
            </a:extLst>
          </p:cNvPr>
          <p:cNvGrpSpPr/>
          <p:nvPr/>
        </p:nvGrpSpPr>
        <p:grpSpPr>
          <a:xfrm>
            <a:off x="4328756" y="1276351"/>
            <a:ext cx="4686633" cy="3149345"/>
            <a:chOff x="2392998" y="1294642"/>
            <a:chExt cx="4958778" cy="3332222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EA9F428-B666-55E0-08F7-2E2829402096}"/>
                </a:ext>
              </a:extLst>
            </p:cNvPr>
            <p:cNvSpPr/>
            <p:nvPr/>
          </p:nvSpPr>
          <p:spPr>
            <a:xfrm>
              <a:off x="2392998" y="1815393"/>
              <a:ext cx="823331" cy="70381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ndom </a:t>
              </a:r>
              <a:r>
                <a:rPr lang="de-DE" sz="11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ise</a:t>
              </a:r>
              <a:endPara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8" name="Right Arrow 47">
              <a:extLst>
                <a:ext uri="{FF2B5EF4-FFF2-40B4-BE49-F238E27FC236}">
                  <a16:creationId xmlns:a16="http://schemas.microsoft.com/office/drawing/2014/main" id="{C0F26747-6946-F6BF-3EF0-44C3F87F5BB0}"/>
                </a:ext>
              </a:extLst>
            </p:cNvPr>
            <p:cNvSpPr/>
            <p:nvPr/>
          </p:nvSpPr>
          <p:spPr>
            <a:xfrm>
              <a:off x="3296196" y="2088773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9" name="Right Arrow 48">
              <a:extLst>
                <a:ext uri="{FF2B5EF4-FFF2-40B4-BE49-F238E27FC236}">
                  <a16:creationId xmlns:a16="http://schemas.microsoft.com/office/drawing/2014/main" id="{25D3B744-9BF0-99CF-8ECD-D669657AF958}"/>
                </a:ext>
              </a:extLst>
            </p:cNvPr>
            <p:cNvSpPr/>
            <p:nvPr/>
          </p:nvSpPr>
          <p:spPr>
            <a:xfrm>
              <a:off x="3954184" y="2082147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1EC8611-7558-6A72-885E-D2025D5219A6}"/>
                </a:ext>
              </a:extLst>
            </p:cNvPr>
            <p:cNvGrpSpPr/>
            <p:nvPr/>
          </p:nvGrpSpPr>
          <p:grpSpPr>
            <a:xfrm>
              <a:off x="5411772" y="3180381"/>
              <a:ext cx="336438" cy="954334"/>
              <a:chOff x="1335024" y="1657350"/>
              <a:chExt cx="560832" cy="91440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39788877-B845-BADA-3F04-240FBBAAC0EF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024" name="Rectangle 1023">
                <a:extLst>
                  <a:ext uri="{FF2B5EF4-FFF2-40B4-BE49-F238E27FC236}">
                    <a16:creationId xmlns:a16="http://schemas.microsoft.com/office/drawing/2014/main" id="{8794E111-E4B4-C1C0-2340-7F3F2082C5C1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025" name="Rectangle 1024">
                <a:extLst>
                  <a:ext uri="{FF2B5EF4-FFF2-40B4-BE49-F238E27FC236}">
                    <a16:creationId xmlns:a16="http://schemas.microsoft.com/office/drawing/2014/main" id="{AE128F83-3310-D7DD-8321-B175D4626578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51" name="Right Arrow 50">
              <a:extLst>
                <a:ext uri="{FF2B5EF4-FFF2-40B4-BE49-F238E27FC236}">
                  <a16:creationId xmlns:a16="http://schemas.microsoft.com/office/drawing/2014/main" id="{36A8964E-D581-80BE-0166-E6154DD84B39}"/>
                </a:ext>
              </a:extLst>
            </p:cNvPr>
            <p:cNvSpPr/>
            <p:nvPr/>
          </p:nvSpPr>
          <p:spPr>
            <a:xfrm>
              <a:off x="5965348" y="3583788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2" name="Right Arrow 51">
              <a:extLst>
                <a:ext uri="{FF2B5EF4-FFF2-40B4-BE49-F238E27FC236}">
                  <a16:creationId xmlns:a16="http://schemas.microsoft.com/office/drawing/2014/main" id="{0D7BC808-5E6E-0011-3F1B-6ACA798AB5D9}"/>
                </a:ext>
              </a:extLst>
            </p:cNvPr>
            <p:cNvSpPr/>
            <p:nvPr/>
          </p:nvSpPr>
          <p:spPr>
            <a:xfrm rot="3456229">
              <a:off x="4542761" y="3053493"/>
              <a:ext cx="844779" cy="13457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3" name="Right Arrow 52">
              <a:extLst>
                <a:ext uri="{FF2B5EF4-FFF2-40B4-BE49-F238E27FC236}">
                  <a16:creationId xmlns:a16="http://schemas.microsoft.com/office/drawing/2014/main" id="{ACD85394-A942-9B17-5F0C-B34B84AE0C62}"/>
                </a:ext>
              </a:extLst>
            </p:cNvPr>
            <p:cNvSpPr/>
            <p:nvPr/>
          </p:nvSpPr>
          <p:spPr>
            <a:xfrm rot="20303528">
              <a:off x="4662147" y="3885665"/>
              <a:ext cx="523348" cy="149042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1299639-C2CD-CBA2-E559-52E4AC8A38C6}"/>
                </a:ext>
              </a:extLst>
            </p:cNvPr>
            <p:cNvSpPr txBox="1"/>
            <p:nvPr/>
          </p:nvSpPr>
          <p:spPr>
            <a:xfrm>
              <a:off x="3266812" y="1294642"/>
              <a:ext cx="1152233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erator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C86F2B6-1B4C-306A-9990-13D8857CFBE5}"/>
                </a:ext>
              </a:extLst>
            </p:cNvPr>
            <p:cNvSpPr txBox="1"/>
            <p:nvPr/>
          </p:nvSpPr>
          <p:spPr>
            <a:xfrm>
              <a:off x="6207279" y="3282986"/>
              <a:ext cx="1144497" cy="822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ke/Real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et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mag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6A9E5F4-EDC8-879D-5E98-B572A0CEE6D9}"/>
                </a:ext>
              </a:extLst>
            </p:cNvPr>
            <p:cNvSpPr txBox="1"/>
            <p:nvPr/>
          </p:nvSpPr>
          <p:spPr>
            <a:xfrm>
              <a:off x="5060629" y="2790728"/>
              <a:ext cx="1304922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criminator</a:t>
              </a: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57" name="Picture 56" descr="A painting of a landscape with trees&#10;&#10;Description automatically generated">
              <a:extLst>
                <a:ext uri="{FF2B5EF4-FFF2-40B4-BE49-F238E27FC236}">
                  <a16:creationId xmlns:a16="http://schemas.microsoft.com/office/drawing/2014/main" id="{843A7947-8997-7C7F-2618-F49B708FFCEF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4568" y="3633248"/>
              <a:ext cx="951900" cy="993616"/>
            </a:xfrm>
            <a:prstGeom prst="rect">
              <a:avLst/>
            </a:prstGeom>
          </p:spPr>
        </p:pic>
        <p:pic>
          <p:nvPicPr>
            <p:cNvPr id="58" name="Picture 57" descr="A close-up of a flower field&#10;&#10;Description automatically generated">
              <a:extLst>
                <a:ext uri="{FF2B5EF4-FFF2-40B4-BE49-F238E27FC236}">
                  <a16:creationId xmlns:a16="http://schemas.microsoft.com/office/drawing/2014/main" id="{AD175CAF-0D0A-6263-B46B-1E863818417D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7861" y="1656047"/>
              <a:ext cx="951900" cy="993616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3FCEF5E-94D1-8596-FF77-1DA23F7AF052}"/>
                </a:ext>
              </a:extLst>
            </p:cNvPr>
            <p:cNvGrpSpPr/>
            <p:nvPr/>
          </p:nvGrpSpPr>
          <p:grpSpPr>
            <a:xfrm rot="10800000">
              <a:off x="3551949" y="1695329"/>
              <a:ext cx="336438" cy="954334"/>
              <a:chOff x="1335024" y="1657350"/>
              <a:chExt cx="560832" cy="914400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A28DAE31-4BBF-388D-CFA2-853D8A3432E0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EBF4A6A3-1E8E-03B8-FAF8-FE4A0C0F94B2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F22AF555-A3C6-5F73-FE14-01A6968DABD2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52250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Users comparison </a:t>
            </a:r>
            <a:r>
              <a:rPr lang="en-US">
                <a:solidFill>
                  <a:schemeClr val="accent2"/>
                </a:solidFill>
              </a:rPr>
              <a:t>char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4367213" y="2115117"/>
            <a:ext cx="409576" cy="884200"/>
            <a:chOff x="4367213" y="2115117"/>
            <a:chExt cx="409576" cy="884200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4572001" y="2115117"/>
              <a:ext cx="0" cy="8842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Oval 4"/>
            <p:cNvSpPr/>
            <p:nvPr/>
          </p:nvSpPr>
          <p:spPr>
            <a:xfrm>
              <a:off x="4367213" y="2352430"/>
              <a:ext cx="409576" cy="409576"/>
            </a:xfrm>
            <a:prstGeom prst="ellipse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390633" y="2449495"/>
              <a:ext cx="3627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+mj-lt"/>
                </a:rPr>
                <a:t>VS</a:t>
              </a:r>
            </a:p>
          </p:txBody>
        </p:sp>
      </p:grp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550875316"/>
              </p:ext>
            </p:extLst>
          </p:nvPr>
        </p:nvGraphicFramePr>
        <p:xfrm>
          <a:off x="660400" y="1458384"/>
          <a:ext cx="3369733" cy="188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78933" y="3781509"/>
            <a:ext cx="3132667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9016" y="3554189"/>
            <a:ext cx="3132501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Users subscription in 2013</a:t>
            </a: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678509400"/>
              </p:ext>
            </p:extLst>
          </p:nvPr>
        </p:nvGraphicFramePr>
        <p:xfrm>
          <a:off x="5177367" y="1458384"/>
          <a:ext cx="3369733" cy="188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295900" y="3781509"/>
            <a:ext cx="3132667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95983" y="3554189"/>
            <a:ext cx="3132501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Users subscription in 2014</a:t>
            </a:r>
          </a:p>
        </p:txBody>
      </p:sp>
    </p:spTree>
    <p:extLst>
      <p:ext uri="{BB962C8B-B14F-4D97-AF65-F5344CB8AC3E}">
        <p14:creationId xmlns:p14="http://schemas.microsoft.com/office/powerpoint/2010/main" val="7607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Growth rate </a:t>
            </a:r>
            <a:r>
              <a:rPr lang="en-US">
                <a:solidFill>
                  <a:schemeClr val="accent2"/>
                </a:solidFill>
              </a:rPr>
              <a:t>in 4 month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138868312"/>
              </p:ext>
            </p:extLst>
          </p:nvPr>
        </p:nvGraphicFramePr>
        <p:xfrm>
          <a:off x="2389599" y="1591106"/>
          <a:ext cx="6167023" cy="2300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ight Arrow 8"/>
          <p:cNvSpPr/>
          <p:nvPr/>
        </p:nvSpPr>
        <p:spPr>
          <a:xfrm>
            <a:off x="1553669" y="2916500"/>
            <a:ext cx="6134063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1553671" y="2459225"/>
            <a:ext cx="4803312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1553669" y="2001950"/>
            <a:ext cx="3987974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1553669" y="1544675"/>
            <a:ext cx="2654474" cy="614191"/>
          </a:xfrm>
          <a:prstGeom prst="rightArrow">
            <a:avLst>
              <a:gd name="adj1" fmla="val 69500"/>
              <a:gd name="adj2" fmla="val 5075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65383" y="1790215"/>
            <a:ext cx="6410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Januar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58250" y="1728660"/>
            <a:ext cx="4670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bg1"/>
                </a:solidFill>
                <a:latin typeface="+mj-lt"/>
              </a:rPr>
              <a:t>13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665382" y="2247490"/>
            <a:ext cx="949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Februa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77137" y="2185935"/>
            <a:ext cx="4670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bg1"/>
                </a:solidFill>
                <a:latin typeface="+mj-lt"/>
              </a:rPr>
              <a:t>22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65383" y="2704765"/>
            <a:ext cx="6410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march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613811" y="2643210"/>
            <a:ext cx="4670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bg1"/>
                </a:solidFill>
                <a:latin typeface="+mj-lt"/>
              </a:rPr>
              <a:t>27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665383" y="3162040"/>
            <a:ext cx="6410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April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65342" y="3100485"/>
            <a:ext cx="4670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bg1"/>
                </a:solidFill>
                <a:latin typeface="+mj-lt"/>
              </a:rPr>
              <a:t>36%</a:t>
            </a:r>
          </a:p>
        </p:txBody>
      </p:sp>
      <p:sp>
        <p:nvSpPr>
          <p:cNvPr id="44" name="Oval 43"/>
          <p:cNvSpPr/>
          <p:nvPr/>
        </p:nvSpPr>
        <p:spPr>
          <a:xfrm>
            <a:off x="593725" y="1555415"/>
            <a:ext cx="1919885" cy="1919885"/>
          </a:xfrm>
          <a:prstGeom prst="ellips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13700" y="1837747"/>
            <a:ext cx="14799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>
                <a:solidFill>
                  <a:schemeClr val="bg1"/>
                </a:solidFill>
                <a:latin typeface="+mj-lt"/>
              </a:rPr>
              <a:t>6.7%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11809" y="2447586"/>
            <a:ext cx="1483716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endParaRPr lang="en-US" sz="1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11848" y="2186398"/>
            <a:ext cx="1483638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Growth in 2015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93726" y="3891923"/>
            <a:ext cx="794385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e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er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t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.</a:t>
            </a:r>
          </a:p>
        </p:txBody>
      </p:sp>
    </p:spTree>
    <p:extLst>
      <p:ext uri="{BB962C8B-B14F-4D97-AF65-F5344CB8AC3E}">
        <p14:creationId xmlns:p14="http://schemas.microsoft.com/office/powerpoint/2010/main" val="310918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Key points for </a:t>
            </a:r>
            <a:r>
              <a:rPr lang="en-US">
                <a:solidFill>
                  <a:schemeClr val="accent2"/>
                </a:solidFill>
              </a:rPr>
              <a:t>increasing sa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ight Arrow 13"/>
          <p:cNvSpPr/>
          <p:nvPr/>
        </p:nvSpPr>
        <p:spPr>
          <a:xfrm rot="16200000">
            <a:off x="1657060" y="2497180"/>
            <a:ext cx="606198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5" name="Right Arrow 14"/>
          <p:cNvSpPr/>
          <p:nvPr/>
        </p:nvSpPr>
        <p:spPr>
          <a:xfrm rot="16200000">
            <a:off x="2017136" y="2361619"/>
            <a:ext cx="877318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6" name="Right Arrow 15"/>
          <p:cNvSpPr/>
          <p:nvPr/>
        </p:nvSpPr>
        <p:spPr>
          <a:xfrm rot="16200000">
            <a:off x="2376870" y="2225717"/>
            <a:ext cx="1149123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7" name="Right Arrow 16"/>
          <p:cNvSpPr/>
          <p:nvPr/>
        </p:nvSpPr>
        <p:spPr>
          <a:xfrm rot="16200000">
            <a:off x="2705819" y="2059029"/>
            <a:ext cx="1482497" cy="614191"/>
          </a:xfrm>
          <a:prstGeom prst="rightArrow">
            <a:avLst>
              <a:gd name="adj1" fmla="val 69500"/>
              <a:gd name="adj2" fmla="val 5075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" name="Freeform 5"/>
          <p:cNvSpPr>
            <a:spLocks noEditPoints="1"/>
          </p:cNvSpPr>
          <p:nvPr/>
        </p:nvSpPr>
        <p:spPr bwMode="auto">
          <a:xfrm>
            <a:off x="593725" y="2701887"/>
            <a:ext cx="3213100" cy="941388"/>
          </a:xfrm>
          <a:custGeom>
            <a:avLst/>
            <a:gdLst>
              <a:gd name="T0" fmla="*/ 5123 w 5292"/>
              <a:gd name="T1" fmla="*/ 605 h 1548"/>
              <a:gd name="T2" fmla="*/ 1810 w 5292"/>
              <a:gd name="T3" fmla="*/ 605 h 1548"/>
              <a:gd name="T4" fmla="*/ 1695 w 5292"/>
              <a:gd name="T5" fmla="*/ 492 h 1548"/>
              <a:gd name="T6" fmla="*/ 1495 w 5292"/>
              <a:gd name="T7" fmla="*/ 492 h 1548"/>
              <a:gd name="T8" fmla="*/ 775 w 5292"/>
              <a:gd name="T9" fmla="*/ 0 h 1548"/>
              <a:gd name="T10" fmla="*/ 0 w 5292"/>
              <a:gd name="T11" fmla="*/ 774 h 1548"/>
              <a:gd name="T12" fmla="*/ 775 w 5292"/>
              <a:gd name="T13" fmla="*/ 1548 h 1548"/>
              <a:gd name="T14" fmla="*/ 1495 w 5292"/>
              <a:gd name="T15" fmla="*/ 1057 h 1548"/>
              <a:gd name="T16" fmla="*/ 1695 w 5292"/>
              <a:gd name="T17" fmla="*/ 1057 h 1548"/>
              <a:gd name="T18" fmla="*/ 1810 w 5292"/>
              <a:gd name="T19" fmla="*/ 944 h 1548"/>
              <a:gd name="T20" fmla="*/ 5123 w 5292"/>
              <a:gd name="T21" fmla="*/ 944 h 1548"/>
              <a:gd name="T22" fmla="*/ 5292 w 5292"/>
              <a:gd name="T23" fmla="*/ 774 h 1548"/>
              <a:gd name="T24" fmla="*/ 5123 w 5292"/>
              <a:gd name="T25" fmla="*/ 605 h 1548"/>
              <a:gd name="T26" fmla="*/ 461 w 5292"/>
              <a:gd name="T27" fmla="*/ 970 h 1548"/>
              <a:gd name="T28" fmla="*/ 266 w 5292"/>
              <a:gd name="T29" fmla="*/ 774 h 1548"/>
              <a:gd name="T30" fmla="*/ 461 w 5292"/>
              <a:gd name="T31" fmla="*/ 579 h 1548"/>
              <a:gd name="T32" fmla="*/ 657 w 5292"/>
              <a:gd name="T33" fmla="*/ 774 h 1548"/>
              <a:gd name="T34" fmla="*/ 461 w 5292"/>
              <a:gd name="T35" fmla="*/ 970 h 1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292" h="1548">
                <a:moveTo>
                  <a:pt x="5123" y="605"/>
                </a:moveTo>
                <a:cubicBezTo>
                  <a:pt x="1810" y="605"/>
                  <a:pt x="1810" y="605"/>
                  <a:pt x="1810" y="605"/>
                </a:cubicBezTo>
                <a:cubicBezTo>
                  <a:pt x="1809" y="542"/>
                  <a:pt x="1758" y="492"/>
                  <a:pt x="1695" y="492"/>
                </a:cubicBezTo>
                <a:cubicBezTo>
                  <a:pt x="1495" y="492"/>
                  <a:pt x="1495" y="492"/>
                  <a:pt x="1495" y="492"/>
                </a:cubicBezTo>
                <a:cubicBezTo>
                  <a:pt x="1383" y="204"/>
                  <a:pt x="1102" y="0"/>
                  <a:pt x="775" y="0"/>
                </a:cubicBezTo>
                <a:cubicBezTo>
                  <a:pt x="347" y="0"/>
                  <a:pt x="0" y="347"/>
                  <a:pt x="0" y="774"/>
                </a:cubicBezTo>
                <a:cubicBezTo>
                  <a:pt x="0" y="1202"/>
                  <a:pt x="347" y="1548"/>
                  <a:pt x="775" y="1548"/>
                </a:cubicBezTo>
                <a:cubicBezTo>
                  <a:pt x="1102" y="1548"/>
                  <a:pt x="1383" y="1345"/>
                  <a:pt x="1495" y="1057"/>
                </a:cubicBezTo>
                <a:cubicBezTo>
                  <a:pt x="1695" y="1057"/>
                  <a:pt x="1695" y="1057"/>
                  <a:pt x="1695" y="1057"/>
                </a:cubicBezTo>
                <a:cubicBezTo>
                  <a:pt x="1758" y="1057"/>
                  <a:pt x="1809" y="1006"/>
                  <a:pt x="1810" y="944"/>
                </a:cubicBezTo>
                <a:cubicBezTo>
                  <a:pt x="5123" y="944"/>
                  <a:pt x="5123" y="944"/>
                  <a:pt x="5123" y="944"/>
                </a:cubicBezTo>
                <a:cubicBezTo>
                  <a:pt x="5217" y="944"/>
                  <a:pt x="5292" y="868"/>
                  <a:pt x="5292" y="774"/>
                </a:cubicBezTo>
                <a:cubicBezTo>
                  <a:pt x="5292" y="681"/>
                  <a:pt x="5217" y="605"/>
                  <a:pt x="5123" y="605"/>
                </a:cubicBezTo>
                <a:close/>
                <a:moveTo>
                  <a:pt x="461" y="970"/>
                </a:moveTo>
                <a:cubicBezTo>
                  <a:pt x="353" y="970"/>
                  <a:pt x="266" y="882"/>
                  <a:pt x="266" y="774"/>
                </a:cubicBezTo>
                <a:cubicBezTo>
                  <a:pt x="266" y="666"/>
                  <a:pt x="353" y="579"/>
                  <a:pt x="461" y="579"/>
                </a:cubicBezTo>
                <a:cubicBezTo>
                  <a:pt x="569" y="579"/>
                  <a:pt x="657" y="666"/>
                  <a:pt x="657" y="774"/>
                </a:cubicBezTo>
                <a:cubicBezTo>
                  <a:pt x="657" y="882"/>
                  <a:pt x="569" y="970"/>
                  <a:pt x="461" y="970"/>
                </a:cubicBez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21097" y="2770588"/>
            <a:ext cx="274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10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16733" y="2495427"/>
            <a:ext cx="274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20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812369" y="2214819"/>
            <a:ext cx="274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30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09597" y="1881638"/>
            <a:ext cx="274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40%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572000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5722647" y="1485443"/>
            <a:ext cx="2817595" cy="532143"/>
            <a:chOff x="5722647" y="1485443"/>
            <a:chExt cx="2817595" cy="532143"/>
          </a:xfrm>
        </p:grpSpPr>
        <p:sp>
          <p:nvSpPr>
            <p:cNvPr id="24" name="TextBox 23"/>
            <p:cNvSpPr txBox="1"/>
            <p:nvPr/>
          </p:nvSpPr>
          <p:spPr>
            <a:xfrm>
              <a:off x="5726033" y="1696664"/>
              <a:ext cx="2811543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722647" y="1485443"/>
              <a:ext cx="2817595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Good social marketing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061629" y="1546310"/>
            <a:ext cx="357790" cy="357790"/>
            <a:chOff x="5061629" y="1546310"/>
            <a:chExt cx="357790" cy="357790"/>
          </a:xfrm>
        </p:grpSpPr>
        <p:sp>
          <p:nvSpPr>
            <p:cNvPr id="26" name="Oval 25"/>
            <p:cNvSpPr/>
            <p:nvPr/>
          </p:nvSpPr>
          <p:spPr>
            <a:xfrm>
              <a:off x="5061629" y="1546310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096929" y="1627065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722647" y="2249160"/>
            <a:ext cx="2817595" cy="532143"/>
            <a:chOff x="5722647" y="2249160"/>
            <a:chExt cx="2817595" cy="532143"/>
          </a:xfrm>
        </p:grpSpPr>
        <p:sp>
          <p:nvSpPr>
            <p:cNvPr id="29" name="TextBox 28"/>
            <p:cNvSpPr txBox="1"/>
            <p:nvPr/>
          </p:nvSpPr>
          <p:spPr>
            <a:xfrm>
              <a:off x="5726033" y="2460381"/>
              <a:ext cx="2811543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722647" y="2249160"/>
              <a:ext cx="2817595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Awareness of risk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061629" y="2310027"/>
            <a:ext cx="357790" cy="357790"/>
            <a:chOff x="5061629" y="2310027"/>
            <a:chExt cx="357790" cy="357790"/>
          </a:xfrm>
        </p:grpSpPr>
        <p:sp>
          <p:nvSpPr>
            <p:cNvPr id="31" name="Oval 30"/>
            <p:cNvSpPr/>
            <p:nvPr/>
          </p:nvSpPr>
          <p:spPr>
            <a:xfrm>
              <a:off x="5061629" y="2310027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096929" y="2390782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22647" y="3776593"/>
            <a:ext cx="2817595" cy="532143"/>
            <a:chOff x="5722647" y="3776593"/>
            <a:chExt cx="2817595" cy="532143"/>
          </a:xfrm>
        </p:grpSpPr>
        <p:sp>
          <p:nvSpPr>
            <p:cNvPr id="34" name="TextBox 33"/>
            <p:cNvSpPr txBox="1"/>
            <p:nvPr/>
          </p:nvSpPr>
          <p:spPr>
            <a:xfrm>
              <a:off x="5726033" y="3987814"/>
              <a:ext cx="2811543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722647" y="3776593"/>
              <a:ext cx="2817595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Good services &amp; product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061629" y="3837460"/>
            <a:ext cx="357790" cy="357790"/>
            <a:chOff x="5061629" y="3837460"/>
            <a:chExt cx="357790" cy="357790"/>
          </a:xfrm>
        </p:grpSpPr>
        <p:sp>
          <p:nvSpPr>
            <p:cNvPr id="36" name="Oval 35"/>
            <p:cNvSpPr/>
            <p:nvPr/>
          </p:nvSpPr>
          <p:spPr>
            <a:xfrm>
              <a:off x="5061629" y="3837460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096929" y="3918215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722647" y="3012877"/>
            <a:ext cx="2817595" cy="532143"/>
            <a:chOff x="5722647" y="3012877"/>
            <a:chExt cx="2817595" cy="532143"/>
          </a:xfrm>
        </p:grpSpPr>
        <p:sp>
          <p:nvSpPr>
            <p:cNvPr id="39" name="TextBox 38"/>
            <p:cNvSpPr txBox="1"/>
            <p:nvPr/>
          </p:nvSpPr>
          <p:spPr>
            <a:xfrm>
              <a:off x="5726033" y="3224098"/>
              <a:ext cx="2811543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722647" y="3012877"/>
              <a:ext cx="2817595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Good business plan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061629" y="3073744"/>
            <a:ext cx="357790" cy="357790"/>
            <a:chOff x="5061629" y="3073744"/>
            <a:chExt cx="357790" cy="357790"/>
          </a:xfrm>
        </p:grpSpPr>
        <p:sp>
          <p:nvSpPr>
            <p:cNvPr id="41" name="Oval 40"/>
            <p:cNvSpPr/>
            <p:nvPr/>
          </p:nvSpPr>
          <p:spPr>
            <a:xfrm>
              <a:off x="5061629" y="3073744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096929" y="3154499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593725" y="3864811"/>
            <a:ext cx="3488647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d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193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Key achievement </a:t>
            </a:r>
            <a:r>
              <a:rPr lang="en-US">
                <a:solidFill>
                  <a:schemeClr val="accent2"/>
                </a:solidFill>
              </a:rPr>
              <a:t>2009-14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180513"/>
              </p:ext>
            </p:extLst>
          </p:nvPr>
        </p:nvGraphicFramePr>
        <p:xfrm>
          <a:off x="584202" y="1543050"/>
          <a:ext cx="7962896" cy="1962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5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53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53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53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53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53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7025">
                <a:tc>
                  <a:txBody>
                    <a:bodyPr/>
                    <a:lstStyle/>
                    <a:p>
                      <a:endParaRPr lang="en-US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0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Total Revenue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67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7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863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92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96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993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Total Income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Expenditures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Cash in Bank at year end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Balance</a:t>
                      </a:r>
                      <a:r>
                        <a:rPr lang="en-US" sz="1000" baseline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 at fund at year end</a:t>
                      </a:r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93726" y="3891923"/>
            <a:ext cx="794385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e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er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t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.</a:t>
            </a:r>
          </a:p>
        </p:txBody>
      </p:sp>
    </p:spTree>
    <p:extLst>
      <p:ext uri="{BB962C8B-B14F-4D97-AF65-F5344CB8AC3E}">
        <p14:creationId xmlns:p14="http://schemas.microsoft.com/office/powerpoint/2010/main" val="405857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err="1"/>
              <a:t>Infographic</a:t>
            </a:r>
            <a:r>
              <a:rPr lang="en-US"/>
              <a:t> </a:t>
            </a:r>
            <a:r>
              <a:rPr lang="en-US">
                <a:solidFill>
                  <a:schemeClr val="accent2"/>
                </a:solidFill>
              </a:rPr>
              <a:t>Pie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63814151"/>
              </p:ext>
            </p:extLst>
          </p:nvPr>
        </p:nvGraphicFramePr>
        <p:xfrm>
          <a:off x="3032109" y="1681431"/>
          <a:ext cx="3079782" cy="2630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5384801" y="2041724"/>
            <a:ext cx="1077774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645284" y="2124724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45338" y="1925882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ocial Marke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45338" y="1664906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25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84148" y="3288269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84202" y="3089427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Web Developmen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4202" y="2828451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accent2"/>
                </a:solidFill>
                <a:latin typeface="+mj-lt"/>
              </a:rPr>
              <a:t>16%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2676526" y="3203052"/>
            <a:ext cx="61674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5715000" y="3542530"/>
            <a:ext cx="74757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645284" y="3625530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645338" y="3426688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Mobile App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645338" y="3165712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44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84148" y="2084082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84202" y="1885240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Web Desig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84202" y="1624264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accent2"/>
                </a:solidFill>
                <a:latin typeface="+mj-lt"/>
              </a:rPr>
              <a:t>15%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2676526" y="1998865"/>
            <a:ext cx="110966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81393" y="3032562"/>
            <a:ext cx="137640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i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95667" y="2592455"/>
            <a:ext cx="1547860" cy="3941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200" b="1">
                <a:solidFill>
                  <a:schemeClr val="accent3"/>
                </a:solidFill>
                <a:latin typeface="+mj-lt"/>
              </a:rPr>
              <a:t>Project Phase II</a:t>
            </a:r>
          </a:p>
          <a:p>
            <a:pPr algn="ctr">
              <a:lnSpc>
                <a:spcPts val="1600"/>
              </a:lnSpc>
            </a:pPr>
            <a:r>
              <a:rPr lang="en-US" sz="1200" b="1">
                <a:solidFill>
                  <a:schemeClr val="accent3"/>
                </a:solidFill>
                <a:latin typeface="+mj-lt"/>
              </a:rPr>
              <a:t>Pre-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82698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Our customer </a:t>
            </a:r>
            <a:r>
              <a:rPr lang="en-US">
                <a:solidFill>
                  <a:schemeClr val="accent2"/>
                </a:solidFill>
              </a:rPr>
              <a:t>analyt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872158479"/>
              </p:ext>
            </p:extLst>
          </p:nvPr>
        </p:nvGraphicFramePr>
        <p:xfrm>
          <a:off x="4875408" y="1253066"/>
          <a:ext cx="3560568" cy="3040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102265" y="2353676"/>
            <a:ext cx="1106854" cy="4088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</a:pPr>
            <a:r>
              <a:rPr lang="en-US" sz="1000" b="1" u="sng" cap="all">
                <a:solidFill>
                  <a:schemeClr val="accent1"/>
                </a:solidFill>
                <a:latin typeface="+mj-lt"/>
              </a:rPr>
              <a:t>2015</a:t>
            </a:r>
          </a:p>
          <a:p>
            <a:pPr algn="ctr">
              <a:lnSpc>
                <a:spcPts val="1700"/>
              </a:lnSpc>
            </a:pPr>
            <a:r>
              <a:rPr lang="en-US" sz="1000" b="1" cap="all">
                <a:solidFill>
                  <a:schemeClr val="accent1"/>
                </a:solidFill>
                <a:latin typeface="+mj-lt"/>
              </a:rPr>
              <a:t>CUSTOMERS</a:t>
            </a: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576483665"/>
              </p:ext>
            </p:extLst>
          </p:nvPr>
        </p:nvGraphicFramePr>
        <p:xfrm>
          <a:off x="528637" y="1458384"/>
          <a:ext cx="4186237" cy="2072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93725" y="3919463"/>
            <a:ext cx="4031615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hem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ak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84202" y="3816350"/>
            <a:ext cx="404341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60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383788" y="1737233"/>
            <a:ext cx="2376424" cy="2376424"/>
            <a:chOff x="3383788" y="1737233"/>
            <a:chExt cx="2376424" cy="2376424"/>
          </a:xfrm>
        </p:grpSpPr>
        <p:sp>
          <p:nvSpPr>
            <p:cNvPr id="9" name="Arc 8"/>
            <p:cNvSpPr/>
            <p:nvPr/>
          </p:nvSpPr>
          <p:spPr>
            <a:xfrm flipH="1">
              <a:off x="3383788" y="1737233"/>
              <a:ext cx="2376424" cy="2376424"/>
            </a:xfrm>
            <a:prstGeom prst="arc">
              <a:avLst>
                <a:gd name="adj1" fmla="val 2234615"/>
                <a:gd name="adj2" fmla="val 16205489"/>
              </a:avLst>
            </a:prstGeom>
            <a:ln w="1143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0" name="Arc 9"/>
            <p:cNvSpPr/>
            <p:nvPr/>
          </p:nvSpPr>
          <p:spPr>
            <a:xfrm flipH="1">
              <a:off x="3520889" y="1874334"/>
              <a:ext cx="2102221" cy="2102221"/>
            </a:xfrm>
            <a:prstGeom prst="arc">
              <a:avLst>
                <a:gd name="adj1" fmla="val 257462"/>
                <a:gd name="adj2" fmla="val 16211266"/>
              </a:avLst>
            </a:prstGeom>
            <a:ln w="1143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1" name="Arc 10"/>
            <p:cNvSpPr/>
            <p:nvPr/>
          </p:nvSpPr>
          <p:spPr>
            <a:xfrm flipH="1">
              <a:off x="3657991" y="2011436"/>
              <a:ext cx="1828018" cy="1828018"/>
            </a:xfrm>
            <a:prstGeom prst="arc">
              <a:avLst>
                <a:gd name="adj1" fmla="val 20772198"/>
                <a:gd name="adj2" fmla="val 16207222"/>
              </a:avLst>
            </a:prstGeom>
            <a:ln w="1143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2" name="Arc 11"/>
            <p:cNvSpPr/>
            <p:nvPr/>
          </p:nvSpPr>
          <p:spPr>
            <a:xfrm flipH="1">
              <a:off x="3795092" y="2148537"/>
              <a:ext cx="1553816" cy="1553816"/>
            </a:xfrm>
            <a:prstGeom prst="arc">
              <a:avLst>
                <a:gd name="adj1" fmla="val 19074847"/>
                <a:gd name="adj2" fmla="val 16231484"/>
              </a:avLst>
            </a:prstGeom>
            <a:ln w="1143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Creative </a:t>
            </a:r>
            <a:r>
              <a:rPr lang="en-US">
                <a:solidFill>
                  <a:schemeClr val="accent2"/>
                </a:solidFill>
              </a:rPr>
              <a:t>circle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extBox 46"/>
          <p:cNvSpPr txBox="1"/>
          <p:nvPr/>
        </p:nvSpPr>
        <p:spPr>
          <a:xfrm>
            <a:off x="584148" y="2498211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84202" y="2299369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Incensement 2011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4202" y="2038393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accent2"/>
                </a:solidFill>
                <a:latin typeface="+mj-lt"/>
              </a:rPr>
              <a:t>67%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2728913" y="2412994"/>
            <a:ext cx="126201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990931" y="2664924"/>
            <a:ext cx="1157332" cy="5563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Phase IV</a:t>
            </a:r>
          </a:p>
          <a:p>
            <a:pPr algn="ctr">
              <a:lnSpc>
                <a:spcPts val="1500"/>
              </a:lnSpc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Development</a:t>
            </a:r>
          </a:p>
          <a:p>
            <a:pPr algn="ctr">
              <a:lnSpc>
                <a:spcPts val="1500"/>
              </a:lnSpc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ectio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84148" y="3585334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84202" y="3386492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Incensement 2012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84202" y="3125516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accent2"/>
                </a:solidFill>
                <a:latin typeface="+mj-lt"/>
              </a:rPr>
              <a:t>46%</a:t>
            </a:r>
          </a:p>
        </p:txBody>
      </p:sp>
      <p:cxnSp>
        <p:nvCxnSpPr>
          <p:cNvPr id="56" name="Straight Connector 55"/>
          <p:cNvCxnSpPr/>
          <p:nvPr/>
        </p:nvCxnSpPr>
        <p:spPr>
          <a:xfrm>
            <a:off x="2728913" y="3500117"/>
            <a:ext cx="96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6637338" y="2498211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637392" y="2299369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Incensement 2013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637392" y="2038393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41%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5623110" y="2412994"/>
            <a:ext cx="77917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6637338" y="3585334"/>
            <a:ext cx="190976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637392" y="3386492"/>
            <a:ext cx="19096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Incensement 2014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637392" y="3125516"/>
            <a:ext cx="19096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62%</a:t>
            </a:r>
          </a:p>
        </p:txBody>
      </p:sp>
      <p:cxnSp>
        <p:nvCxnSpPr>
          <p:cNvPr id="70" name="Straight Connector 69"/>
          <p:cNvCxnSpPr/>
          <p:nvPr/>
        </p:nvCxnSpPr>
        <p:spPr>
          <a:xfrm>
            <a:off x="5281613" y="3500117"/>
            <a:ext cx="112067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4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906780" y="1634016"/>
            <a:ext cx="2421094" cy="2426809"/>
            <a:chOff x="906780" y="1634016"/>
            <a:chExt cx="2421094" cy="2426809"/>
          </a:xfrm>
        </p:grpSpPr>
        <p:sp>
          <p:nvSpPr>
            <p:cNvPr id="4" name="Teardrop 3"/>
            <p:cNvSpPr/>
            <p:nvPr/>
          </p:nvSpPr>
          <p:spPr>
            <a:xfrm>
              <a:off x="906780" y="2872105"/>
              <a:ext cx="1188720" cy="1188720"/>
            </a:xfrm>
            <a:prstGeom prst="teardrop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1" name="Teardrop 20"/>
            <p:cNvSpPr/>
            <p:nvPr/>
          </p:nvSpPr>
          <p:spPr>
            <a:xfrm flipH="1">
              <a:off x="2139154" y="2872105"/>
              <a:ext cx="1188720" cy="1188720"/>
            </a:xfrm>
            <a:prstGeom prst="teardrop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4" name="Teardrop 23"/>
            <p:cNvSpPr/>
            <p:nvPr/>
          </p:nvSpPr>
          <p:spPr>
            <a:xfrm rot="10800000">
              <a:off x="2139154" y="1634016"/>
              <a:ext cx="1188720" cy="1188720"/>
            </a:xfrm>
            <a:prstGeom prst="teardrop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7" name="Teardrop 26"/>
            <p:cNvSpPr/>
            <p:nvPr/>
          </p:nvSpPr>
          <p:spPr>
            <a:xfrm rot="10800000" flipH="1">
              <a:off x="906780" y="1634016"/>
              <a:ext cx="1188720" cy="1188720"/>
            </a:xfrm>
            <a:prstGeom prst="teardrop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Flower </a:t>
            </a:r>
            <a:r>
              <a:rPr lang="en-US">
                <a:solidFill>
                  <a:schemeClr val="accent2"/>
                </a:solidFill>
              </a:rPr>
              <a:t>SWOT Analysi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1672587" y="2407443"/>
            <a:ext cx="361951" cy="361951"/>
            <a:chOff x="1672587" y="2407443"/>
            <a:chExt cx="361951" cy="361951"/>
          </a:xfrm>
        </p:grpSpPr>
        <p:sp>
          <p:nvSpPr>
            <p:cNvPr id="28" name="Teardrop 27"/>
            <p:cNvSpPr/>
            <p:nvPr/>
          </p:nvSpPr>
          <p:spPr>
            <a:xfrm rot="10800000" flipH="1">
              <a:off x="1672587" y="2407443"/>
              <a:ext cx="361951" cy="361951"/>
            </a:xfrm>
            <a:prstGeom prst="teardrop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793953" y="2489539"/>
              <a:ext cx="1349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+mj-lt"/>
                </a:rPr>
                <a:t>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200115" y="2403635"/>
            <a:ext cx="365760" cy="365760"/>
            <a:chOff x="2200115" y="2403635"/>
            <a:chExt cx="365760" cy="365760"/>
          </a:xfrm>
        </p:grpSpPr>
        <p:sp>
          <p:nvSpPr>
            <p:cNvPr id="25" name="Teardrop 24"/>
            <p:cNvSpPr/>
            <p:nvPr/>
          </p:nvSpPr>
          <p:spPr>
            <a:xfrm rot="10800000">
              <a:off x="2200115" y="2403635"/>
              <a:ext cx="365760" cy="365760"/>
            </a:xfrm>
            <a:prstGeom prst="teardrop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315526" y="2489539"/>
              <a:ext cx="1349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+mj-lt"/>
                </a:rPr>
                <a:t>W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668778" y="2925446"/>
            <a:ext cx="365760" cy="365760"/>
            <a:chOff x="1668778" y="2925446"/>
            <a:chExt cx="365760" cy="365760"/>
          </a:xfrm>
        </p:grpSpPr>
        <p:sp>
          <p:nvSpPr>
            <p:cNvPr id="5" name="Teardrop 4"/>
            <p:cNvSpPr/>
            <p:nvPr/>
          </p:nvSpPr>
          <p:spPr>
            <a:xfrm>
              <a:off x="1668778" y="2925446"/>
              <a:ext cx="365760" cy="365760"/>
            </a:xfrm>
            <a:prstGeom prst="teardrop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797761" y="2992101"/>
              <a:ext cx="1349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+mj-lt"/>
                </a:rPr>
                <a:t>O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200115" y="2925446"/>
            <a:ext cx="365760" cy="365760"/>
            <a:chOff x="2200115" y="2925446"/>
            <a:chExt cx="365760" cy="365760"/>
          </a:xfrm>
        </p:grpSpPr>
        <p:sp>
          <p:nvSpPr>
            <p:cNvPr id="22" name="Teardrop 21"/>
            <p:cNvSpPr/>
            <p:nvPr/>
          </p:nvSpPr>
          <p:spPr>
            <a:xfrm flipH="1">
              <a:off x="2200115" y="2925446"/>
              <a:ext cx="365760" cy="365760"/>
            </a:xfrm>
            <a:prstGeom prst="teardrop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285920" y="2971208"/>
              <a:ext cx="1349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+mj-lt"/>
                </a:rPr>
                <a:t>T</a:t>
              </a: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1065280" y="2016261"/>
            <a:ext cx="8159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Strength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323776" y="2016261"/>
            <a:ext cx="819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Weaknesse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065280" y="3467627"/>
            <a:ext cx="8892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Opportunitie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323776" y="3467627"/>
            <a:ext cx="819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Threat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65280" y="4159850"/>
            <a:ext cx="8159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accent1"/>
                </a:solidFill>
                <a:latin typeface="+mj-lt"/>
              </a:rPr>
              <a:t>Positiv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323776" y="4159850"/>
            <a:ext cx="8159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accent1"/>
                </a:solidFill>
                <a:latin typeface="+mj-lt"/>
              </a:rPr>
              <a:t>Negative</a:t>
            </a:r>
          </a:p>
        </p:txBody>
      </p:sp>
      <p:sp>
        <p:nvSpPr>
          <p:cNvPr id="42" name="TextBox 41"/>
          <p:cNvSpPr txBox="1"/>
          <p:nvPr/>
        </p:nvSpPr>
        <p:spPr>
          <a:xfrm rot="16200000">
            <a:off x="292407" y="2094534"/>
            <a:ext cx="81590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accent1"/>
                </a:solidFill>
                <a:latin typeface="+mj-lt"/>
              </a:rPr>
              <a:t>Internal Factors</a:t>
            </a:r>
          </a:p>
        </p:txBody>
      </p:sp>
      <p:sp>
        <p:nvSpPr>
          <p:cNvPr id="43" name="TextBox 42"/>
          <p:cNvSpPr txBox="1"/>
          <p:nvPr/>
        </p:nvSpPr>
        <p:spPr>
          <a:xfrm rot="16200000">
            <a:off x="292407" y="3312578"/>
            <a:ext cx="81590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accent1"/>
                </a:solidFill>
                <a:latin typeface="+mj-lt"/>
              </a:rPr>
              <a:t>External Factor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012248" y="1765914"/>
            <a:ext cx="1954212" cy="1064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hem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.</a:t>
            </a:r>
            <a:endParaRPr lang="en-US" sz="1000">
              <a:solidFill>
                <a:schemeClr val="accent1"/>
              </a:solidFill>
              <a:latin typeface="+mj-lt"/>
            </a:endParaRP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008733" y="1543051"/>
            <a:ext cx="1958418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trengths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582673" y="1765914"/>
            <a:ext cx="1954212" cy="1064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hem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.</a:t>
            </a:r>
            <a:endParaRPr lang="en-US" sz="1000">
              <a:solidFill>
                <a:schemeClr val="accent1"/>
              </a:solidFill>
              <a:latin typeface="+mj-lt"/>
            </a:endParaRP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579158" y="1543051"/>
            <a:ext cx="1958418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Weakness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12248" y="3358810"/>
            <a:ext cx="1954212" cy="1064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hem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.</a:t>
            </a:r>
            <a:endParaRPr lang="en-US" sz="1000">
              <a:solidFill>
                <a:schemeClr val="accent1"/>
              </a:solidFill>
              <a:latin typeface="+mj-lt"/>
            </a:endParaRP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008733" y="3135947"/>
            <a:ext cx="1958418" cy="193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Opportunities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582673" y="3358810"/>
            <a:ext cx="1954212" cy="1064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hem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.</a:t>
            </a:r>
            <a:endParaRPr lang="en-US" sz="1000">
              <a:solidFill>
                <a:schemeClr val="accent1"/>
              </a:solidFill>
              <a:latin typeface="+mj-lt"/>
            </a:endParaRP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579158" y="3135947"/>
            <a:ext cx="1958418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17304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Our web design </a:t>
            </a:r>
            <a:r>
              <a:rPr lang="en-US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1" name="TextBox 90"/>
          <p:cNvSpPr txBox="1"/>
          <p:nvPr/>
        </p:nvSpPr>
        <p:spPr>
          <a:xfrm>
            <a:off x="593726" y="3891923"/>
            <a:ext cx="794385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ei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ker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t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.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93725" y="3423927"/>
            <a:ext cx="7953375" cy="254847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5" name="Isosceles Triangle 24"/>
          <p:cNvSpPr/>
          <p:nvPr/>
        </p:nvSpPr>
        <p:spPr>
          <a:xfrm>
            <a:off x="726360" y="3018841"/>
            <a:ext cx="469900" cy="405086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7" name="Isosceles Triangle 26"/>
          <p:cNvSpPr/>
          <p:nvPr/>
        </p:nvSpPr>
        <p:spPr>
          <a:xfrm>
            <a:off x="1158877" y="2897724"/>
            <a:ext cx="610396" cy="526203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Isosceles Triangle 27"/>
          <p:cNvSpPr/>
          <p:nvPr/>
        </p:nvSpPr>
        <p:spPr>
          <a:xfrm>
            <a:off x="1628776" y="2564350"/>
            <a:ext cx="997111" cy="859578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06596" y="2383474"/>
            <a:ext cx="50943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Initial Meet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797967" y="1951747"/>
            <a:ext cx="6587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>
                <a:solidFill>
                  <a:schemeClr val="accent1"/>
                </a:solidFill>
                <a:latin typeface="+mj-lt"/>
              </a:rPr>
              <a:t>research</a:t>
            </a:r>
          </a:p>
        </p:txBody>
      </p:sp>
      <p:cxnSp>
        <p:nvCxnSpPr>
          <p:cNvPr id="37" name="Straight Connector 36"/>
          <p:cNvCxnSpPr/>
          <p:nvPr/>
        </p:nvCxnSpPr>
        <p:spPr>
          <a:xfrm flipV="1">
            <a:off x="961310" y="2675706"/>
            <a:ext cx="1" cy="3272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204254" y="2221064"/>
            <a:ext cx="509430" cy="2477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Customer Feedback</a:t>
            </a:r>
          </a:p>
        </p:txBody>
      </p:sp>
      <p:cxnSp>
        <p:nvCxnSpPr>
          <p:cNvPr id="42" name="Straight Connector 41"/>
          <p:cNvCxnSpPr/>
          <p:nvPr/>
        </p:nvCxnSpPr>
        <p:spPr>
          <a:xfrm flipH="1" flipV="1">
            <a:off x="1458969" y="2560938"/>
            <a:ext cx="5106" cy="32726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2127330" y="2113499"/>
            <a:ext cx="0" cy="42131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Isosceles Triangle 45"/>
          <p:cNvSpPr/>
          <p:nvPr/>
        </p:nvSpPr>
        <p:spPr>
          <a:xfrm>
            <a:off x="2494278" y="3018841"/>
            <a:ext cx="469900" cy="405086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7" name="Isosceles Triangle 46"/>
          <p:cNvSpPr/>
          <p:nvPr/>
        </p:nvSpPr>
        <p:spPr>
          <a:xfrm>
            <a:off x="2926795" y="2897724"/>
            <a:ext cx="610396" cy="526203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474514" y="2383474"/>
            <a:ext cx="50943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Site </a:t>
            </a:r>
          </a:p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Outline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2729228" y="2675706"/>
            <a:ext cx="1" cy="3272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2972172" y="2221064"/>
            <a:ext cx="50943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Site</a:t>
            </a:r>
          </a:p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Map</a:t>
            </a:r>
          </a:p>
        </p:txBody>
      </p:sp>
      <p:cxnSp>
        <p:nvCxnSpPr>
          <p:cNvPr id="51" name="Straight Connector 50"/>
          <p:cNvCxnSpPr/>
          <p:nvPr/>
        </p:nvCxnSpPr>
        <p:spPr>
          <a:xfrm flipH="1" flipV="1">
            <a:off x="3226887" y="2560938"/>
            <a:ext cx="5106" cy="32726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Isosceles Triangle 51"/>
          <p:cNvSpPr/>
          <p:nvPr/>
        </p:nvSpPr>
        <p:spPr>
          <a:xfrm>
            <a:off x="3411515" y="2564350"/>
            <a:ext cx="997111" cy="859578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543413" y="1951747"/>
            <a:ext cx="73331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>
                <a:solidFill>
                  <a:schemeClr val="accent1"/>
                </a:solidFill>
                <a:latin typeface="+mj-lt"/>
              </a:rPr>
              <a:t>wireframes</a:t>
            </a:r>
          </a:p>
        </p:txBody>
      </p:sp>
      <p:cxnSp>
        <p:nvCxnSpPr>
          <p:cNvPr id="54" name="Straight Connector 53"/>
          <p:cNvCxnSpPr/>
          <p:nvPr/>
        </p:nvCxnSpPr>
        <p:spPr>
          <a:xfrm flipV="1">
            <a:off x="3910069" y="2113499"/>
            <a:ext cx="0" cy="42131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Isosceles Triangle 54"/>
          <p:cNvSpPr/>
          <p:nvPr/>
        </p:nvSpPr>
        <p:spPr>
          <a:xfrm>
            <a:off x="4282950" y="2897724"/>
            <a:ext cx="610396" cy="526203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328327" y="2221064"/>
            <a:ext cx="50943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Content Outline</a:t>
            </a:r>
          </a:p>
        </p:txBody>
      </p:sp>
      <p:cxnSp>
        <p:nvCxnSpPr>
          <p:cNvPr id="57" name="Straight Connector 56"/>
          <p:cNvCxnSpPr/>
          <p:nvPr/>
        </p:nvCxnSpPr>
        <p:spPr>
          <a:xfrm flipH="1" flipV="1">
            <a:off x="4583042" y="2560938"/>
            <a:ext cx="5106" cy="32726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Isosceles Triangle 60"/>
          <p:cNvSpPr/>
          <p:nvPr/>
        </p:nvSpPr>
        <p:spPr>
          <a:xfrm>
            <a:off x="4805623" y="3018841"/>
            <a:ext cx="469900" cy="405086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2" name="Isosceles Triangle 61"/>
          <p:cNvSpPr/>
          <p:nvPr/>
        </p:nvSpPr>
        <p:spPr>
          <a:xfrm>
            <a:off x="5238140" y="2897724"/>
            <a:ext cx="610396" cy="526203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785859" y="248058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Coding</a:t>
            </a:r>
          </a:p>
        </p:txBody>
      </p:sp>
      <p:cxnSp>
        <p:nvCxnSpPr>
          <p:cNvPr id="64" name="Straight Connector 63"/>
          <p:cNvCxnSpPr/>
          <p:nvPr/>
        </p:nvCxnSpPr>
        <p:spPr>
          <a:xfrm flipV="1">
            <a:off x="5040573" y="2675706"/>
            <a:ext cx="1" cy="3272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5283517" y="2221064"/>
            <a:ext cx="509430" cy="2477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Coding Validation</a:t>
            </a:r>
          </a:p>
        </p:txBody>
      </p:sp>
      <p:cxnSp>
        <p:nvCxnSpPr>
          <p:cNvPr id="66" name="Straight Connector 65"/>
          <p:cNvCxnSpPr/>
          <p:nvPr/>
        </p:nvCxnSpPr>
        <p:spPr>
          <a:xfrm flipH="1" flipV="1">
            <a:off x="5538232" y="2560938"/>
            <a:ext cx="5106" cy="32726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Isosceles Triangle 69"/>
          <p:cNvSpPr/>
          <p:nvPr/>
        </p:nvSpPr>
        <p:spPr>
          <a:xfrm>
            <a:off x="6527606" y="3018841"/>
            <a:ext cx="469900" cy="405086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507842" y="248058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Review</a:t>
            </a: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6762556" y="2675706"/>
            <a:ext cx="1" cy="3272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Isosceles Triangle 76"/>
          <p:cNvSpPr/>
          <p:nvPr/>
        </p:nvSpPr>
        <p:spPr>
          <a:xfrm>
            <a:off x="7401797" y="2564350"/>
            <a:ext cx="997111" cy="859578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7533695" y="1901016"/>
            <a:ext cx="73331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>
                <a:solidFill>
                  <a:schemeClr val="accent1"/>
                </a:solidFill>
                <a:latin typeface="+mj-lt"/>
              </a:rPr>
              <a:t>launch</a:t>
            </a:r>
          </a:p>
        </p:txBody>
      </p:sp>
      <p:cxnSp>
        <p:nvCxnSpPr>
          <p:cNvPr id="79" name="Straight Connector 78"/>
          <p:cNvCxnSpPr/>
          <p:nvPr/>
        </p:nvCxnSpPr>
        <p:spPr>
          <a:xfrm flipV="1">
            <a:off x="7900351" y="2113499"/>
            <a:ext cx="0" cy="42131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Isosceles Triangle 79"/>
          <p:cNvSpPr/>
          <p:nvPr/>
        </p:nvSpPr>
        <p:spPr>
          <a:xfrm>
            <a:off x="6932072" y="2897724"/>
            <a:ext cx="610396" cy="526203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941525" y="2376998"/>
            <a:ext cx="610396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accent1"/>
                </a:solidFill>
                <a:latin typeface="+mj-lt"/>
              </a:rPr>
              <a:t>Refinement</a:t>
            </a:r>
          </a:p>
        </p:txBody>
      </p:sp>
      <p:cxnSp>
        <p:nvCxnSpPr>
          <p:cNvPr id="82" name="Straight Connector 81"/>
          <p:cNvCxnSpPr/>
          <p:nvPr/>
        </p:nvCxnSpPr>
        <p:spPr>
          <a:xfrm flipH="1" flipV="1">
            <a:off x="7232164" y="2560938"/>
            <a:ext cx="5106" cy="32726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941545" y="349485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bg1"/>
                </a:solidFill>
                <a:latin typeface="+mj-lt"/>
              </a:rPr>
              <a:t>1</a:t>
            </a:r>
            <a:r>
              <a:rPr lang="en-US" sz="800" baseline="30000">
                <a:solidFill>
                  <a:schemeClr val="bg1"/>
                </a:solidFill>
                <a:latin typeface="+mj-lt"/>
              </a:rPr>
              <a:t>st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Step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474514" y="349485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bg1"/>
                </a:solidFill>
                <a:latin typeface="+mj-lt"/>
              </a:rPr>
              <a:t>2</a:t>
            </a:r>
            <a:r>
              <a:rPr lang="en-US" sz="800" baseline="30000">
                <a:solidFill>
                  <a:schemeClr val="bg1"/>
                </a:solidFill>
                <a:latin typeface="+mj-lt"/>
              </a:rPr>
              <a:t>nd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Step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690557" y="349485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bg1"/>
                </a:solidFill>
                <a:latin typeface="+mj-lt"/>
              </a:rPr>
              <a:t>3</a:t>
            </a:r>
            <a:r>
              <a:rPr lang="en-US" sz="800" baseline="30000">
                <a:solidFill>
                  <a:schemeClr val="bg1"/>
                </a:solidFill>
                <a:latin typeface="+mj-lt"/>
              </a:rPr>
              <a:t>rd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Step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4837757" y="349485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bg1"/>
                </a:solidFill>
                <a:latin typeface="+mj-lt"/>
              </a:rPr>
              <a:t>4</a:t>
            </a:r>
            <a:r>
              <a:rPr lang="en-US" sz="800" baseline="30000">
                <a:solidFill>
                  <a:schemeClr val="bg1"/>
                </a:solidFill>
                <a:latin typeface="+mj-lt"/>
              </a:rPr>
              <a:t>th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Step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6809046" y="349485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bg1"/>
                </a:solidFill>
                <a:latin typeface="+mj-lt"/>
              </a:rPr>
              <a:t>5</a:t>
            </a:r>
            <a:r>
              <a:rPr lang="en-US" sz="800" baseline="30000">
                <a:solidFill>
                  <a:schemeClr val="bg1"/>
                </a:solidFill>
                <a:latin typeface="+mj-lt"/>
              </a:rPr>
              <a:t>th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Step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7675821" y="3494850"/>
            <a:ext cx="509430" cy="119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n-US" sz="800">
                <a:solidFill>
                  <a:schemeClr val="bg1"/>
                </a:solidFill>
                <a:latin typeface="+mj-lt"/>
              </a:rPr>
              <a:t>6</a:t>
            </a:r>
            <a:r>
              <a:rPr lang="en-US" sz="800" baseline="30000">
                <a:solidFill>
                  <a:schemeClr val="bg1"/>
                </a:solidFill>
                <a:latin typeface="+mj-lt"/>
              </a:rPr>
              <a:t>th</a:t>
            </a:r>
            <a:r>
              <a:rPr lang="en-US" sz="800">
                <a:solidFill>
                  <a:schemeClr val="bg1"/>
                </a:solidFill>
                <a:latin typeface="+mj-lt"/>
              </a:rPr>
              <a:t> Step</a:t>
            </a:r>
          </a:p>
        </p:txBody>
      </p:sp>
      <p:sp>
        <p:nvSpPr>
          <p:cNvPr id="117" name="Isosceles Triangle 116"/>
          <p:cNvSpPr/>
          <p:nvPr/>
        </p:nvSpPr>
        <p:spPr>
          <a:xfrm>
            <a:off x="5680788" y="2564350"/>
            <a:ext cx="997111" cy="859578"/>
          </a:xfrm>
          <a:prstGeom prst="triangle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5773734" y="1951747"/>
            <a:ext cx="81121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>
                <a:solidFill>
                  <a:schemeClr val="accent1"/>
                </a:solidFill>
                <a:latin typeface="+mj-lt"/>
              </a:rPr>
              <a:t>Development</a:t>
            </a:r>
          </a:p>
        </p:txBody>
      </p:sp>
      <p:cxnSp>
        <p:nvCxnSpPr>
          <p:cNvPr id="119" name="Straight Connector 118"/>
          <p:cNvCxnSpPr/>
          <p:nvPr/>
        </p:nvCxnSpPr>
        <p:spPr>
          <a:xfrm flipV="1">
            <a:off x="6179342" y="2113499"/>
            <a:ext cx="0" cy="42131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reeform 7">
            <a:extLst>
              <a:ext uri="{FF2B5EF4-FFF2-40B4-BE49-F238E27FC236}">
                <a16:creationId xmlns:a16="http://schemas.microsoft.com/office/drawing/2014/main" id="{929A97E8-4BA1-4DAC-8B0B-2FBFF16240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16460" y="1630021"/>
            <a:ext cx="221739" cy="223870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8" name="Freeform 23">
            <a:extLst>
              <a:ext uri="{FF2B5EF4-FFF2-40B4-BE49-F238E27FC236}">
                <a16:creationId xmlns:a16="http://schemas.microsoft.com/office/drawing/2014/main" id="{0D959E19-C74A-4BFD-824E-444A5168D46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00345" y="1643047"/>
            <a:ext cx="219447" cy="221734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9" name="Freeform 213">
            <a:extLst>
              <a:ext uri="{FF2B5EF4-FFF2-40B4-BE49-F238E27FC236}">
                <a16:creationId xmlns:a16="http://schemas.microsoft.com/office/drawing/2014/main" id="{BBCDB96E-BCCB-40BB-B5CC-25FA4FF8CBE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06192" y="1634964"/>
            <a:ext cx="146299" cy="221734"/>
          </a:xfrm>
          <a:custGeom>
            <a:avLst/>
            <a:gdLst>
              <a:gd name="T0" fmla="*/ 87 w 97"/>
              <a:gd name="T1" fmla="*/ 68 h 146"/>
              <a:gd name="T2" fmla="*/ 75 w 97"/>
              <a:gd name="T3" fmla="*/ 85 h 146"/>
              <a:gd name="T4" fmla="*/ 76 w 97"/>
              <a:gd name="T5" fmla="*/ 103 h 146"/>
              <a:gd name="T6" fmla="*/ 76 w 97"/>
              <a:gd name="T7" fmla="*/ 115 h 146"/>
              <a:gd name="T8" fmla="*/ 73 w 97"/>
              <a:gd name="T9" fmla="*/ 127 h 146"/>
              <a:gd name="T10" fmla="*/ 63 w 97"/>
              <a:gd name="T11" fmla="*/ 136 h 146"/>
              <a:gd name="T12" fmla="*/ 49 w 97"/>
              <a:gd name="T13" fmla="*/ 146 h 146"/>
              <a:gd name="T14" fmla="*/ 35 w 97"/>
              <a:gd name="T15" fmla="*/ 136 h 146"/>
              <a:gd name="T16" fmla="*/ 25 w 97"/>
              <a:gd name="T17" fmla="*/ 127 h 146"/>
              <a:gd name="T18" fmla="*/ 22 w 97"/>
              <a:gd name="T19" fmla="*/ 115 h 146"/>
              <a:gd name="T20" fmla="*/ 22 w 97"/>
              <a:gd name="T21" fmla="*/ 103 h 146"/>
              <a:gd name="T22" fmla="*/ 23 w 97"/>
              <a:gd name="T23" fmla="*/ 85 h 146"/>
              <a:gd name="T24" fmla="*/ 10 w 97"/>
              <a:gd name="T25" fmla="*/ 68 h 146"/>
              <a:gd name="T26" fmla="*/ 5 w 97"/>
              <a:gd name="T27" fmla="*/ 25 h 146"/>
              <a:gd name="T28" fmla="*/ 31 w 97"/>
              <a:gd name="T29" fmla="*/ 3 h 146"/>
              <a:gd name="T30" fmla="*/ 66 w 97"/>
              <a:gd name="T31" fmla="*/ 3 h 146"/>
              <a:gd name="T32" fmla="*/ 93 w 97"/>
              <a:gd name="T33" fmla="*/ 25 h 146"/>
              <a:gd name="T34" fmla="*/ 85 w 97"/>
              <a:gd name="T35" fmla="*/ 43 h 146"/>
              <a:gd name="T36" fmla="*/ 73 w 97"/>
              <a:gd name="T37" fmla="*/ 20 h 146"/>
              <a:gd name="T38" fmla="*/ 49 w 97"/>
              <a:gd name="T39" fmla="*/ 12 h 146"/>
              <a:gd name="T40" fmla="*/ 24 w 97"/>
              <a:gd name="T41" fmla="*/ 20 h 146"/>
              <a:gd name="T42" fmla="*/ 13 w 97"/>
              <a:gd name="T43" fmla="*/ 43 h 146"/>
              <a:gd name="T44" fmla="*/ 22 w 97"/>
              <a:gd name="T45" fmla="*/ 63 h 146"/>
              <a:gd name="T46" fmla="*/ 38 w 97"/>
              <a:gd name="T47" fmla="*/ 94 h 146"/>
              <a:gd name="T48" fmla="*/ 73 w 97"/>
              <a:gd name="T49" fmla="*/ 66 h 146"/>
              <a:gd name="T50" fmla="*/ 79 w 97"/>
              <a:gd name="T51" fmla="*/ 60 h 146"/>
              <a:gd name="T52" fmla="*/ 70 w 97"/>
              <a:gd name="T53" fmla="*/ 43 h 146"/>
              <a:gd name="T54" fmla="*/ 67 w 97"/>
              <a:gd name="T55" fmla="*/ 46 h 146"/>
              <a:gd name="T56" fmla="*/ 64 w 97"/>
              <a:gd name="T57" fmla="*/ 43 h 146"/>
              <a:gd name="T58" fmla="*/ 49 w 97"/>
              <a:gd name="T59" fmla="*/ 34 h 146"/>
              <a:gd name="T60" fmla="*/ 46 w 97"/>
              <a:gd name="T61" fmla="*/ 31 h 146"/>
              <a:gd name="T62" fmla="*/ 49 w 97"/>
              <a:gd name="T63" fmla="*/ 28 h 146"/>
              <a:gd name="T64" fmla="*/ 66 w 97"/>
              <a:gd name="T6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43"/>
                </a:moveTo>
                <a:cubicBezTo>
                  <a:pt x="97" y="52"/>
                  <a:pt x="94" y="61"/>
                  <a:pt x="87" y="68"/>
                </a:cubicBezTo>
                <a:cubicBezTo>
                  <a:pt x="85" y="71"/>
                  <a:pt x="82" y="74"/>
                  <a:pt x="80" y="76"/>
                </a:cubicBezTo>
                <a:cubicBezTo>
                  <a:pt x="79" y="79"/>
                  <a:pt x="77" y="82"/>
                  <a:pt x="75" y="85"/>
                </a:cubicBezTo>
                <a:cubicBezTo>
                  <a:pt x="73" y="89"/>
                  <a:pt x="72" y="92"/>
                  <a:pt x="72" y="95"/>
                </a:cubicBezTo>
                <a:cubicBezTo>
                  <a:pt x="75" y="97"/>
                  <a:pt x="76" y="100"/>
                  <a:pt x="76" y="103"/>
                </a:cubicBezTo>
                <a:cubicBezTo>
                  <a:pt x="76" y="106"/>
                  <a:pt x="75" y="108"/>
                  <a:pt x="74" y="109"/>
                </a:cubicBezTo>
                <a:cubicBezTo>
                  <a:pt x="75" y="111"/>
                  <a:pt x="76" y="113"/>
                  <a:pt x="76" y="115"/>
                </a:cubicBezTo>
                <a:cubicBezTo>
                  <a:pt x="76" y="119"/>
                  <a:pt x="75" y="121"/>
                  <a:pt x="72" y="123"/>
                </a:cubicBezTo>
                <a:cubicBezTo>
                  <a:pt x="73" y="124"/>
                  <a:pt x="73" y="126"/>
                  <a:pt x="73" y="127"/>
                </a:cubicBezTo>
                <a:cubicBezTo>
                  <a:pt x="73" y="130"/>
                  <a:pt x="72" y="133"/>
                  <a:pt x="70" y="134"/>
                </a:cubicBezTo>
                <a:cubicBezTo>
                  <a:pt x="68" y="136"/>
                  <a:pt x="66" y="136"/>
                  <a:pt x="63" y="136"/>
                </a:cubicBezTo>
                <a:cubicBezTo>
                  <a:pt x="61" y="139"/>
                  <a:pt x="60" y="141"/>
                  <a:pt x="57" y="143"/>
                </a:cubicBezTo>
                <a:cubicBezTo>
                  <a:pt x="55" y="145"/>
                  <a:pt x="52" y="146"/>
                  <a:pt x="49" y="146"/>
                </a:cubicBezTo>
                <a:cubicBezTo>
                  <a:pt x="46" y="146"/>
                  <a:pt x="43" y="145"/>
                  <a:pt x="41" y="143"/>
                </a:cubicBezTo>
                <a:cubicBezTo>
                  <a:pt x="38" y="141"/>
                  <a:pt x="36" y="139"/>
                  <a:pt x="35" y="136"/>
                </a:cubicBezTo>
                <a:cubicBezTo>
                  <a:pt x="32" y="136"/>
                  <a:pt x="30" y="136"/>
                  <a:pt x="28" y="134"/>
                </a:cubicBezTo>
                <a:cubicBezTo>
                  <a:pt x="26" y="133"/>
                  <a:pt x="25" y="130"/>
                  <a:pt x="25" y="127"/>
                </a:cubicBezTo>
                <a:cubicBezTo>
                  <a:pt x="25" y="126"/>
                  <a:pt x="25" y="124"/>
                  <a:pt x="26" y="123"/>
                </a:cubicBezTo>
                <a:cubicBezTo>
                  <a:pt x="23" y="121"/>
                  <a:pt x="22" y="119"/>
                  <a:pt x="22" y="115"/>
                </a:cubicBezTo>
                <a:cubicBezTo>
                  <a:pt x="22" y="113"/>
                  <a:pt x="22" y="111"/>
                  <a:pt x="24" y="109"/>
                </a:cubicBezTo>
                <a:cubicBezTo>
                  <a:pt x="22" y="108"/>
                  <a:pt x="22" y="106"/>
                  <a:pt x="22" y="103"/>
                </a:cubicBezTo>
                <a:cubicBezTo>
                  <a:pt x="22" y="100"/>
                  <a:pt x="23" y="97"/>
                  <a:pt x="26" y="95"/>
                </a:cubicBezTo>
                <a:cubicBezTo>
                  <a:pt x="26" y="92"/>
                  <a:pt x="25" y="89"/>
                  <a:pt x="23" y="85"/>
                </a:cubicBezTo>
                <a:cubicBezTo>
                  <a:pt x="21" y="82"/>
                  <a:pt x="19" y="79"/>
                  <a:pt x="17" y="76"/>
                </a:cubicBezTo>
                <a:cubicBezTo>
                  <a:pt x="15" y="74"/>
                  <a:pt x="13" y="71"/>
                  <a:pt x="10" y="68"/>
                </a:cubicBezTo>
                <a:cubicBezTo>
                  <a:pt x="4" y="61"/>
                  <a:pt x="0" y="52"/>
                  <a:pt x="0" y="43"/>
                </a:cubicBezTo>
                <a:cubicBezTo>
                  <a:pt x="0" y="36"/>
                  <a:pt x="2" y="31"/>
                  <a:pt x="5" y="25"/>
                </a:cubicBezTo>
                <a:cubicBezTo>
                  <a:pt x="7" y="20"/>
                  <a:pt x="11" y="15"/>
                  <a:pt x="16" y="12"/>
                </a:cubicBezTo>
                <a:cubicBezTo>
                  <a:pt x="20" y="8"/>
                  <a:pt x="25" y="5"/>
                  <a:pt x="31" y="3"/>
                </a:cubicBezTo>
                <a:cubicBezTo>
                  <a:pt x="37" y="1"/>
                  <a:pt x="43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2" y="5"/>
                  <a:pt x="77" y="8"/>
                  <a:pt x="82" y="12"/>
                </a:cubicBezTo>
                <a:cubicBezTo>
                  <a:pt x="87" y="15"/>
                  <a:pt x="90" y="20"/>
                  <a:pt x="93" y="25"/>
                </a:cubicBezTo>
                <a:cubicBezTo>
                  <a:pt x="96" y="31"/>
                  <a:pt x="97" y="36"/>
                  <a:pt x="97" y="43"/>
                </a:cubicBezTo>
                <a:close/>
                <a:moveTo>
                  <a:pt x="85" y="43"/>
                </a:moveTo>
                <a:cubicBezTo>
                  <a:pt x="85" y="38"/>
                  <a:pt x="84" y="34"/>
                  <a:pt x="82" y="30"/>
                </a:cubicBezTo>
                <a:cubicBezTo>
                  <a:pt x="80" y="26"/>
                  <a:pt x="77" y="23"/>
                  <a:pt x="73" y="20"/>
                </a:cubicBezTo>
                <a:cubicBezTo>
                  <a:pt x="70" y="18"/>
                  <a:pt x="66" y="16"/>
                  <a:pt x="62" y="15"/>
                </a:cubicBezTo>
                <a:cubicBezTo>
                  <a:pt x="57" y="13"/>
                  <a:pt x="53" y="12"/>
                  <a:pt x="49" y="12"/>
                </a:cubicBezTo>
                <a:cubicBezTo>
                  <a:pt x="44" y="12"/>
                  <a:pt x="40" y="13"/>
                  <a:pt x="36" y="15"/>
                </a:cubicBezTo>
                <a:cubicBezTo>
                  <a:pt x="32" y="16"/>
                  <a:pt x="28" y="18"/>
                  <a:pt x="24" y="20"/>
                </a:cubicBezTo>
                <a:cubicBezTo>
                  <a:pt x="21" y="23"/>
                  <a:pt x="18" y="26"/>
                  <a:pt x="16" y="30"/>
                </a:cubicBezTo>
                <a:cubicBezTo>
                  <a:pt x="14" y="34"/>
                  <a:pt x="13" y="38"/>
                  <a:pt x="13" y="43"/>
                </a:cubicBezTo>
                <a:cubicBezTo>
                  <a:pt x="13" y="49"/>
                  <a:pt x="15" y="55"/>
                  <a:pt x="19" y="60"/>
                </a:cubicBezTo>
                <a:cubicBezTo>
                  <a:pt x="20" y="60"/>
                  <a:pt x="21" y="61"/>
                  <a:pt x="22" y="63"/>
                </a:cubicBezTo>
                <a:cubicBezTo>
                  <a:pt x="23" y="64"/>
                  <a:pt x="24" y="65"/>
                  <a:pt x="25" y="66"/>
                </a:cubicBezTo>
                <a:cubicBezTo>
                  <a:pt x="33" y="76"/>
                  <a:pt x="37" y="85"/>
                  <a:pt x="38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60" y="85"/>
                  <a:pt x="65" y="76"/>
                  <a:pt x="73" y="66"/>
                </a:cubicBezTo>
                <a:cubicBezTo>
                  <a:pt x="74" y="65"/>
                  <a:pt x="75" y="64"/>
                  <a:pt x="76" y="63"/>
                </a:cubicBezTo>
                <a:cubicBezTo>
                  <a:pt x="77" y="61"/>
                  <a:pt x="78" y="60"/>
                  <a:pt x="79" y="60"/>
                </a:cubicBezTo>
                <a:cubicBezTo>
                  <a:pt x="83" y="55"/>
                  <a:pt x="85" y="49"/>
                  <a:pt x="85" y="43"/>
                </a:cubicBezTo>
                <a:close/>
                <a:moveTo>
                  <a:pt x="70" y="43"/>
                </a:moveTo>
                <a:cubicBezTo>
                  <a:pt x="70" y="43"/>
                  <a:pt x="70" y="44"/>
                  <a:pt x="69" y="45"/>
                </a:cubicBezTo>
                <a:cubicBezTo>
                  <a:pt x="68" y="45"/>
                  <a:pt x="68" y="46"/>
                  <a:pt x="67" y="46"/>
                </a:cubicBezTo>
                <a:cubicBezTo>
                  <a:pt x="66" y="46"/>
                  <a:pt x="65" y="45"/>
                  <a:pt x="65" y="45"/>
                </a:cubicBezTo>
                <a:cubicBezTo>
                  <a:pt x="64" y="44"/>
                  <a:pt x="64" y="43"/>
                  <a:pt x="64" y="43"/>
                </a:cubicBezTo>
                <a:cubicBezTo>
                  <a:pt x="64" y="40"/>
                  <a:pt x="62" y="38"/>
                  <a:pt x="59" y="36"/>
                </a:cubicBezTo>
                <a:cubicBezTo>
                  <a:pt x="55" y="34"/>
                  <a:pt x="52" y="34"/>
                  <a:pt x="49" y="34"/>
                </a:cubicBezTo>
                <a:cubicBezTo>
                  <a:pt x="48" y="34"/>
                  <a:pt x="47" y="33"/>
                  <a:pt x="47" y="33"/>
                </a:cubicBezTo>
                <a:cubicBezTo>
                  <a:pt x="46" y="32"/>
                  <a:pt x="46" y="31"/>
                  <a:pt x="46" y="31"/>
                </a:cubicBezTo>
                <a:cubicBezTo>
                  <a:pt x="46" y="30"/>
                  <a:pt x="46" y="29"/>
                  <a:pt x="47" y="28"/>
                </a:cubicBezTo>
                <a:cubicBezTo>
                  <a:pt x="47" y="28"/>
                  <a:pt x="48" y="28"/>
                  <a:pt x="49" y="28"/>
                </a:cubicBezTo>
                <a:cubicBezTo>
                  <a:pt x="52" y="28"/>
                  <a:pt x="55" y="28"/>
                  <a:pt x="58" y="29"/>
                </a:cubicBezTo>
                <a:cubicBezTo>
                  <a:pt x="61" y="30"/>
                  <a:pt x="64" y="32"/>
                  <a:pt x="66" y="34"/>
                </a:cubicBezTo>
                <a:cubicBezTo>
                  <a:pt x="69" y="37"/>
                  <a:pt x="70" y="39"/>
                  <a:pt x="70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3" name="Freeform 281">
            <a:extLst>
              <a:ext uri="{FF2B5EF4-FFF2-40B4-BE49-F238E27FC236}">
                <a16:creationId xmlns:a16="http://schemas.microsoft.com/office/drawing/2014/main" id="{30610BDC-B129-4F13-A1E3-F5FAF3C602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63001" y="1578663"/>
            <a:ext cx="235451" cy="235451"/>
          </a:xfrm>
          <a:custGeom>
            <a:avLst/>
            <a:gdLst>
              <a:gd name="T0" fmla="*/ 155 w 155"/>
              <a:gd name="T1" fmla="*/ 3 h 155"/>
              <a:gd name="T2" fmla="*/ 148 w 155"/>
              <a:gd name="T3" fmla="*/ 44 h 155"/>
              <a:gd name="T4" fmla="*/ 124 w 155"/>
              <a:gd name="T5" fmla="*/ 78 h 155"/>
              <a:gd name="T6" fmla="*/ 105 w 155"/>
              <a:gd name="T7" fmla="*/ 95 h 155"/>
              <a:gd name="T8" fmla="*/ 103 w 155"/>
              <a:gd name="T9" fmla="*/ 131 h 155"/>
              <a:gd name="T10" fmla="*/ 102 w 155"/>
              <a:gd name="T11" fmla="*/ 133 h 155"/>
              <a:gd name="T12" fmla="*/ 66 w 155"/>
              <a:gd name="T13" fmla="*/ 154 h 155"/>
              <a:gd name="T14" fmla="*/ 64 w 155"/>
              <a:gd name="T15" fmla="*/ 155 h 155"/>
              <a:gd name="T16" fmla="*/ 62 w 155"/>
              <a:gd name="T17" fmla="*/ 154 h 155"/>
              <a:gd name="T18" fmla="*/ 56 w 155"/>
              <a:gd name="T19" fmla="*/ 148 h 155"/>
              <a:gd name="T20" fmla="*/ 55 w 155"/>
              <a:gd name="T21" fmla="*/ 145 h 155"/>
              <a:gd name="T22" fmla="*/ 63 w 155"/>
              <a:gd name="T23" fmla="*/ 119 h 155"/>
              <a:gd name="T24" fmla="*/ 37 w 155"/>
              <a:gd name="T25" fmla="*/ 92 h 155"/>
              <a:gd name="T26" fmla="*/ 10 w 155"/>
              <a:gd name="T27" fmla="*/ 100 h 155"/>
              <a:gd name="T28" fmla="*/ 10 w 155"/>
              <a:gd name="T29" fmla="*/ 100 h 155"/>
              <a:gd name="T30" fmla="*/ 7 w 155"/>
              <a:gd name="T31" fmla="*/ 99 h 155"/>
              <a:gd name="T32" fmla="*/ 1 w 155"/>
              <a:gd name="T33" fmla="*/ 93 h 155"/>
              <a:gd name="T34" fmla="*/ 1 w 155"/>
              <a:gd name="T35" fmla="*/ 90 h 155"/>
              <a:gd name="T36" fmla="*/ 22 w 155"/>
              <a:gd name="T37" fmla="*/ 53 h 155"/>
              <a:gd name="T38" fmla="*/ 25 w 155"/>
              <a:gd name="T39" fmla="*/ 52 h 155"/>
              <a:gd name="T40" fmla="*/ 60 w 155"/>
              <a:gd name="T41" fmla="*/ 50 h 155"/>
              <a:gd name="T42" fmla="*/ 77 w 155"/>
              <a:gd name="T43" fmla="*/ 31 h 155"/>
              <a:gd name="T44" fmla="*/ 111 w 155"/>
              <a:gd name="T45" fmla="*/ 7 h 155"/>
              <a:gd name="T46" fmla="*/ 152 w 155"/>
              <a:gd name="T47" fmla="*/ 0 h 155"/>
              <a:gd name="T48" fmla="*/ 154 w 155"/>
              <a:gd name="T49" fmla="*/ 1 h 155"/>
              <a:gd name="T50" fmla="*/ 155 w 155"/>
              <a:gd name="T51" fmla="*/ 3 h 155"/>
              <a:gd name="T52" fmla="*/ 131 w 155"/>
              <a:gd name="T53" fmla="*/ 37 h 155"/>
              <a:gd name="T54" fmla="*/ 134 w 155"/>
              <a:gd name="T55" fmla="*/ 31 h 155"/>
              <a:gd name="T56" fmla="*/ 131 w 155"/>
              <a:gd name="T57" fmla="*/ 24 h 155"/>
              <a:gd name="T58" fmla="*/ 125 w 155"/>
              <a:gd name="T59" fmla="*/ 21 h 155"/>
              <a:gd name="T60" fmla="*/ 118 w 155"/>
              <a:gd name="T61" fmla="*/ 24 h 155"/>
              <a:gd name="T62" fmla="*/ 115 w 155"/>
              <a:gd name="T63" fmla="*/ 31 h 155"/>
              <a:gd name="T64" fmla="*/ 118 w 155"/>
              <a:gd name="T65" fmla="*/ 37 h 155"/>
              <a:gd name="T66" fmla="*/ 125 w 155"/>
              <a:gd name="T67" fmla="*/ 40 h 155"/>
              <a:gd name="T68" fmla="*/ 131 w 155"/>
              <a:gd name="T69" fmla="*/ 3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3"/>
                </a:moveTo>
                <a:cubicBezTo>
                  <a:pt x="155" y="19"/>
                  <a:pt x="152" y="33"/>
                  <a:pt x="148" y="44"/>
                </a:cubicBezTo>
                <a:cubicBezTo>
                  <a:pt x="143" y="55"/>
                  <a:pt x="135" y="67"/>
                  <a:pt x="124" y="78"/>
                </a:cubicBezTo>
                <a:cubicBezTo>
                  <a:pt x="119" y="83"/>
                  <a:pt x="112" y="89"/>
                  <a:pt x="105" y="95"/>
                </a:cubicBezTo>
                <a:cubicBezTo>
                  <a:pt x="103" y="131"/>
                  <a:pt x="103" y="131"/>
                  <a:pt x="103" y="131"/>
                </a:cubicBezTo>
                <a:cubicBezTo>
                  <a:pt x="103" y="132"/>
                  <a:pt x="103" y="132"/>
                  <a:pt x="102" y="133"/>
                </a:cubicBezTo>
                <a:cubicBezTo>
                  <a:pt x="66" y="154"/>
                  <a:pt x="66" y="154"/>
                  <a:pt x="66" y="154"/>
                </a:cubicBezTo>
                <a:cubicBezTo>
                  <a:pt x="65" y="154"/>
                  <a:pt x="65" y="155"/>
                  <a:pt x="64" y="155"/>
                </a:cubicBezTo>
                <a:cubicBezTo>
                  <a:pt x="63" y="155"/>
                  <a:pt x="63" y="154"/>
                  <a:pt x="62" y="154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5" y="147"/>
                  <a:pt x="55" y="146"/>
                  <a:pt x="55" y="145"/>
                </a:cubicBezTo>
                <a:cubicBezTo>
                  <a:pt x="63" y="119"/>
                  <a:pt x="63" y="119"/>
                  <a:pt x="63" y="119"/>
                </a:cubicBezTo>
                <a:cubicBezTo>
                  <a:pt x="37" y="92"/>
                  <a:pt x="37" y="92"/>
                  <a:pt x="37" y="9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9" y="100"/>
                  <a:pt x="8" y="100"/>
                  <a:pt x="7" y="99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2"/>
                  <a:pt x="0" y="91"/>
                  <a:pt x="1" y="90"/>
                </a:cubicBezTo>
                <a:cubicBezTo>
                  <a:pt x="22" y="53"/>
                  <a:pt x="22" y="53"/>
                  <a:pt x="22" y="53"/>
                </a:cubicBezTo>
                <a:cubicBezTo>
                  <a:pt x="23" y="52"/>
                  <a:pt x="24" y="52"/>
                  <a:pt x="25" y="52"/>
                </a:cubicBezTo>
                <a:cubicBezTo>
                  <a:pt x="60" y="50"/>
                  <a:pt x="60" y="50"/>
                  <a:pt x="60" y="50"/>
                </a:cubicBezTo>
                <a:cubicBezTo>
                  <a:pt x="66" y="43"/>
                  <a:pt x="72" y="37"/>
                  <a:pt x="77" y="31"/>
                </a:cubicBezTo>
                <a:cubicBezTo>
                  <a:pt x="89" y="20"/>
                  <a:pt x="100" y="11"/>
                  <a:pt x="111" y="7"/>
                </a:cubicBezTo>
                <a:cubicBezTo>
                  <a:pt x="122" y="3"/>
                  <a:pt x="135" y="0"/>
                  <a:pt x="152" y="0"/>
                </a:cubicBezTo>
                <a:cubicBezTo>
                  <a:pt x="152" y="0"/>
                  <a:pt x="153" y="1"/>
                  <a:pt x="154" y="1"/>
                </a:cubicBezTo>
                <a:cubicBezTo>
                  <a:pt x="154" y="2"/>
                  <a:pt x="155" y="3"/>
                  <a:pt x="155" y="3"/>
                </a:cubicBezTo>
                <a:close/>
                <a:moveTo>
                  <a:pt x="131" y="37"/>
                </a:moveTo>
                <a:cubicBezTo>
                  <a:pt x="133" y="35"/>
                  <a:pt x="134" y="33"/>
                  <a:pt x="134" y="31"/>
                </a:cubicBezTo>
                <a:cubicBezTo>
                  <a:pt x="134" y="28"/>
                  <a:pt x="133" y="26"/>
                  <a:pt x="131" y="24"/>
                </a:cubicBezTo>
                <a:cubicBezTo>
                  <a:pt x="129" y="22"/>
                  <a:pt x="127" y="21"/>
                  <a:pt x="125" y="21"/>
                </a:cubicBezTo>
                <a:cubicBezTo>
                  <a:pt x="122" y="21"/>
                  <a:pt x="120" y="22"/>
                  <a:pt x="118" y="24"/>
                </a:cubicBezTo>
                <a:cubicBezTo>
                  <a:pt x="116" y="26"/>
                  <a:pt x="115" y="28"/>
                  <a:pt x="115" y="31"/>
                </a:cubicBezTo>
                <a:cubicBezTo>
                  <a:pt x="115" y="33"/>
                  <a:pt x="116" y="35"/>
                  <a:pt x="118" y="37"/>
                </a:cubicBezTo>
                <a:cubicBezTo>
                  <a:pt x="120" y="39"/>
                  <a:pt x="122" y="40"/>
                  <a:pt x="125" y="40"/>
                </a:cubicBezTo>
                <a:cubicBezTo>
                  <a:pt x="127" y="40"/>
                  <a:pt x="129" y="39"/>
                  <a:pt x="131" y="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0388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Gear design &amp; dev. </a:t>
            </a:r>
            <a:r>
              <a:rPr lang="en-US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825801" y="2334704"/>
            <a:ext cx="1459016" cy="504524"/>
            <a:chOff x="825801" y="2334704"/>
            <a:chExt cx="1459016" cy="504524"/>
          </a:xfrm>
        </p:grpSpPr>
        <p:sp>
          <p:nvSpPr>
            <p:cNvPr id="60" name="TextBox 59"/>
            <p:cNvSpPr txBox="1"/>
            <p:nvPr/>
          </p:nvSpPr>
          <p:spPr>
            <a:xfrm>
              <a:off x="825801" y="2518306"/>
              <a:ext cx="145901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825849" y="2334704"/>
              <a:ext cx="145894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research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937916" y="3753983"/>
            <a:ext cx="1459016" cy="504524"/>
            <a:chOff x="2937916" y="3753983"/>
            <a:chExt cx="1459016" cy="504524"/>
          </a:xfrm>
        </p:grpSpPr>
        <p:sp>
          <p:nvSpPr>
            <p:cNvPr id="86" name="TextBox 85"/>
            <p:cNvSpPr txBox="1"/>
            <p:nvPr/>
          </p:nvSpPr>
          <p:spPr>
            <a:xfrm>
              <a:off x="2937916" y="3937585"/>
              <a:ext cx="145901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2937964" y="3753983"/>
              <a:ext cx="145894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plan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243285" y="1598982"/>
            <a:ext cx="1459016" cy="504524"/>
            <a:chOff x="5243285" y="1598982"/>
            <a:chExt cx="1459016" cy="504524"/>
          </a:xfrm>
        </p:grpSpPr>
        <p:sp>
          <p:nvSpPr>
            <p:cNvPr id="88" name="TextBox 87"/>
            <p:cNvSpPr txBox="1"/>
            <p:nvPr/>
          </p:nvSpPr>
          <p:spPr>
            <a:xfrm>
              <a:off x="5243285" y="1782584"/>
              <a:ext cx="145901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5243333" y="1598982"/>
              <a:ext cx="145894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Design &amp; layout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741316" y="3753983"/>
            <a:ext cx="1459016" cy="504524"/>
            <a:chOff x="4741316" y="3753983"/>
            <a:chExt cx="1459016" cy="504524"/>
          </a:xfrm>
        </p:grpSpPr>
        <p:sp>
          <p:nvSpPr>
            <p:cNvPr id="90" name="TextBox 89"/>
            <p:cNvSpPr txBox="1"/>
            <p:nvPr/>
          </p:nvSpPr>
          <p:spPr>
            <a:xfrm>
              <a:off x="4741316" y="3937585"/>
              <a:ext cx="145901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4741364" y="3753983"/>
              <a:ext cx="145894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developmen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769024" y="2405517"/>
            <a:ext cx="1459016" cy="504524"/>
            <a:chOff x="6769024" y="2405517"/>
            <a:chExt cx="1459016" cy="504524"/>
          </a:xfrm>
        </p:grpSpPr>
        <p:sp>
          <p:nvSpPr>
            <p:cNvPr id="92" name="TextBox 91"/>
            <p:cNvSpPr txBox="1"/>
            <p:nvPr/>
          </p:nvSpPr>
          <p:spPr>
            <a:xfrm>
              <a:off x="6769024" y="2589119"/>
              <a:ext cx="145901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6769072" y="2405517"/>
              <a:ext cx="145894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test &amp; launch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2367863" y="1760671"/>
            <a:ext cx="4125242" cy="1851968"/>
            <a:chOff x="2208176" y="1810143"/>
            <a:chExt cx="4444616" cy="1995346"/>
          </a:xfrm>
        </p:grpSpPr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3817787" y="1810143"/>
              <a:ext cx="572308" cy="636301"/>
            </a:xfrm>
            <a:custGeom>
              <a:avLst/>
              <a:gdLst>
                <a:gd name="T0" fmla="*/ 1724 w 2505"/>
                <a:gd name="T1" fmla="*/ 18 h 2784"/>
                <a:gd name="T2" fmla="*/ 1519 w 2505"/>
                <a:gd name="T3" fmla="*/ 2 h 2784"/>
                <a:gd name="T4" fmla="*/ 1307 w 2505"/>
                <a:gd name="T5" fmla="*/ 4 h 2784"/>
                <a:gd name="T6" fmla="*/ 1140 w 2505"/>
                <a:gd name="T7" fmla="*/ 18 h 2784"/>
                <a:gd name="T8" fmla="*/ 1027 w 2505"/>
                <a:gd name="T9" fmla="*/ 36 h 2784"/>
                <a:gd name="T10" fmla="*/ 969 w 2505"/>
                <a:gd name="T11" fmla="*/ 49 h 2784"/>
                <a:gd name="T12" fmla="*/ 1097 w 2505"/>
                <a:gd name="T13" fmla="*/ 49 h 2784"/>
                <a:gd name="T14" fmla="*/ 1218 w 2505"/>
                <a:gd name="T15" fmla="*/ 59 h 2784"/>
                <a:gd name="T16" fmla="*/ 1311 w 2505"/>
                <a:gd name="T17" fmla="*/ 76 h 2784"/>
                <a:gd name="T18" fmla="*/ 1380 w 2505"/>
                <a:gd name="T19" fmla="*/ 97 h 2784"/>
                <a:gd name="T20" fmla="*/ 1472 w 2505"/>
                <a:gd name="T21" fmla="*/ 140 h 2784"/>
                <a:gd name="T22" fmla="*/ 1526 w 2505"/>
                <a:gd name="T23" fmla="*/ 181 h 2784"/>
                <a:gd name="T24" fmla="*/ 1552 w 2505"/>
                <a:gd name="T25" fmla="*/ 217 h 2784"/>
                <a:gd name="T26" fmla="*/ 1561 w 2505"/>
                <a:gd name="T27" fmla="*/ 241 h 2784"/>
                <a:gd name="T28" fmla="*/ 1561 w 2505"/>
                <a:gd name="T29" fmla="*/ 253 h 2784"/>
                <a:gd name="T30" fmla="*/ 1416 w 2505"/>
                <a:gd name="T31" fmla="*/ 333 h 2784"/>
                <a:gd name="T32" fmla="*/ 1210 w 2505"/>
                <a:gd name="T33" fmla="*/ 468 h 2784"/>
                <a:gd name="T34" fmla="*/ 1016 w 2505"/>
                <a:gd name="T35" fmla="*/ 619 h 2784"/>
                <a:gd name="T36" fmla="*/ 834 w 2505"/>
                <a:gd name="T37" fmla="*/ 785 h 2784"/>
                <a:gd name="T38" fmla="*/ 666 w 2505"/>
                <a:gd name="T39" fmla="*/ 964 h 2784"/>
                <a:gd name="T40" fmla="*/ 512 w 2505"/>
                <a:gd name="T41" fmla="*/ 1157 h 2784"/>
                <a:gd name="T42" fmla="*/ 375 w 2505"/>
                <a:gd name="T43" fmla="*/ 1362 h 2784"/>
                <a:gd name="T44" fmla="*/ 255 w 2505"/>
                <a:gd name="T45" fmla="*/ 1578 h 2784"/>
                <a:gd name="T46" fmla="*/ 151 w 2505"/>
                <a:gd name="T47" fmla="*/ 1804 h 2784"/>
                <a:gd name="T48" fmla="*/ 67 w 2505"/>
                <a:gd name="T49" fmla="*/ 2040 h 2784"/>
                <a:gd name="T50" fmla="*/ 0 w 2505"/>
                <a:gd name="T51" fmla="*/ 2285 h 2784"/>
                <a:gd name="T52" fmla="*/ 229 w 2505"/>
                <a:gd name="T53" fmla="*/ 2724 h 2784"/>
                <a:gd name="T54" fmla="*/ 250 w 2505"/>
                <a:gd name="T55" fmla="*/ 2546 h 2784"/>
                <a:gd name="T56" fmla="*/ 281 w 2505"/>
                <a:gd name="T57" fmla="*/ 2371 h 2784"/>
                <a:gd name="T58" fmla="*/ 323 w 2505"/>
                <a:gd name="T59" fmla="*/ 2201 h 2784"/>
                <a:gd name="T60" fmla="*/ 376 w 2505"/>
                <a:gd name="T61" fmla="*/ 2035 h 2784"/>
                <a:gd name="T62" fmla="*/ 439 w 2505"/>
                <a:gd name="T63" fmla="*/ 1874 h 2784"/>
                <a:gd name="T64" fmla="*/ 512 w 2505"/>
                <a:gd name="T65" fmla="*/ 1718 h 2784"/>
                <a:gd name="T66" fmla="*/ 594 w 2505"/>
                <a:gd name="T67" fmla="*/ 1567 h 2784"/>
                <a:gd name="T68" fmla="*/ 684 w 2505"/>
                <a:gd name="T69" fmla="*/ 1421 h 2784"/>
                <a:gd name="T70" fmla="*/ 783 w 2505"/>
                <a:gd name="T71" fmla="*/ 1283 h 2784"/>
                <a:gd name="T72" fmla="*/ 891 w 2505"/>
                <a:gd name="T73" fmla="*/ 1151 h 2784"/>
                <a:gd name="T74" fmla="*/ 1006 w 2505"/>
                <a:gd name="T75" fmla="*/ 1026 h 2784"/>
                <a:gd name="T76" fmla="*/ 1128 w 2505"/>
                <a:gd name="T77" fmla="*/ 907 h 2784"/>
                <a:gd name="T78" fmla="*/ 1258 w 2505"/>
                <a:gd name="T79" fmla="*/ 797 h 2784"/>
                <a:gd name="T80" fmla="*/ 1395 w 2505"/>
                <a:gd name="T81" fmla="*/ 695 h 2784"/>
                <a:gd name="T82" fmla="*/ 1537 w 2505"/>
                <a:gd name="T83" fmla="*/ 601 h 2784"/>
                <a:gd name="T84" fmla="*/ 1686 w 2505"/>
                <a:gd name="T85" fmla="*/ 516 h 2784"/>
                <a:gd name="T86" fmla="*/ 1840 w 2505"/>
                <a:gd name="T87" fmla="*/ 440 h 2784"/>
                <a:gd name="T88" fmla="*/ 2000 w 2505"/>
                <a:gd name="T89" fmla="*/ 374 h 2784"/>
                <a:gd name="T90" fmla="*/ 2164 w 2505"/>
                <a:gd name="T91" fmla="*/ 317 h 2784"/>
                <a:gd name="T92" fmla="*/ 2333 w 2505"/>
                <a:gd name="T93" fmla="*/ 271 h 2784"/>
                <a:gd name="T94" fmla="*/ 2505 w 2505"/>
                <a:gd name="T95" fmla="*/ 235 h 2784"/>
                <a:gd name="T96" fmla="*/ 2450 w 2505"/>
                <a:gd name="T97" fmla="*/ 209 h 2784"/>
                <a:gd name="T98" fmla="*/ 2294 w 2505"/>
                <a:gd name="T99" fmla="*/ 149 h 2784"/>
                <a:gd name="T100" fmla="*/ 2125 w 2505"/>
                <a:gd name="T101" fmla="*/ 96 h 2784"/>
                <a:gd name="T102" fmla="*/ 1919 w 2505"/>
                <a:gd name="T103" fmla="*/ 47 h 2784"/>
                <a:gd name="T104" fmla="*/ 1768 w 2505"/>
                <a:gd name="T105" fmla="*/ 23 h 2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5" h="2784">
                  <a:moveTo>
                    <a:pt x="1768" y="23"/>
                  </a:moveTo>
                  <a:lnTo>
                    <a:pt x="1768" y="23"/>
                  </a:lnTo>
                  <a:lnTo>
                    <a:pt x="1724" y="18"/>
                  </a:lnTo>
                  <a:lnTo>
                    <a:pt x="1682" y="13"/>
                  </a:lnTo>
                  <a:lnTo>
                    <a:pt x="1598" y="7"/>
                  </a:lnTo>
                  <a:lnTo>
                    <a:pt x="1519" y="2"/>
                  </a:lnTo>
                  <a:lnTo>
                    <a:pt x="1445" y="0"/>
                  </a:lnTo>
                  <a:lnTo>
                    <a:pt x="1373" y="2"/>
                  </a:lnTo>
                  <a:lnTo>
                    <a:pt x="1307" y="4"/>
                  </a:lnTo>
                  <a:lnTo>
                    <a:pt x="1247" y="8"/>
                  </a:lnTo>
                  <a:lnTo>
                    <a:pt x="1191" y="13"/>
                  </a:lnTo>
                  <a:lnTo>
                    <a:pt x="1140" y="18"/>
                  </a:lnTo>
                  <a:lnTo>
                    <a:pt x="1097" y="24"/>
                  </a:lnTo>
                  <a:lnTo>
                    <a:pt x="1059" y="30"/>
                  </a:lnTo>
                  <a:lnTo>
                    <a:pt x="1027" y="36"/>
                  </a:lnTo>
                  <a:lnTo>
                    <a:pt x="983" y="45"/>
                  </a:lnTo>
                  <a:lnTo>
                    <a:pt x="969" y="49"/>
                  </a:lnTo>
                  <a:lnTo>
                    <a:pt x="969" y="49"/>
                  </a:lnTo>
                  <a:lnTo>
                    <a:pt x="1004" y="47"/>
                  </a:lnTo>
                  <a:lnTo>
                    <a:pt x="1045" y="47"/>
                  </a:lnTo>
                  <a:lnTo>
                    <a:pt x="1097" y="49"/>
                  </a:lnTo>
                  <a:lnTo>
                    <a:pt x="1155" y="52"/>
                  </a:lnTo>
                  <a:lnTo>
                    <a:pt x="1186" y="55"/>
                  </a:lnTo>
                  <a:lnTo>
                    <a:pt x="1218" y="59"/>
                  </a:lnTo>
                  <a:lnTo>
                    <a:pt x="1249" y="63"/>
                  </a:lnTo>
                  <a:lnTo>
                    <a:pt x="1280" y="68"/>
                  </a:lnTo>
                  <a:lnTo>
                    <a:pt x="1311" y="76"/>
                  </a:lnTo>
                  <a:lnTo>
                    <a:pt x="1341" y="83"/>
                  </a:lnTo>
                  <a:lnTo>
                    <a:pt x="1341" y="83"/>
                  </a:lnTo>
                  <a:lnTo>
                    <a:pt x="1380" y="97"/>
                  </a:lnTo>
                  <a:lnTo>
                    <a:pt x="1416" y="112"/>
                  </a:lnTo>
                  <a:lnTo>
                    <a:pt x="1446" y="125"/>
                  </a:lnTo>
                  <a:lnTo>
                    <a:pt x="1472" y="140"/>
                  </a:lnTo>
                  <a:lnTo>
                    <a:pt x="1494" y="154"/>
                  </a:lnTo>
                  <a:lnTo>
                    <a:pt x="1511" y="167"/>
                  </a:lnTo>
                  <a:lnTo>
                    <a:pt x="1526" y="181"/>
                  </a:lnTo>
                  <a:lnTo>
                    <a:pt x="1537" y="193"/>
                  </a:lnTo>
                  <a:lnTo>
                    <a:pt x="1546" y="206"/>
                  </a:lnTo>
                  <a:lnTo>
                    <a:pt x="1552" y="217"/>
                  </a:lnTo>
                  <a:lnTo>
                    <a:pt x="1557" y="227"/>
                  </a:lnTo>
                  <a:lnTo>
                    <a:pt x="1560" y="235"/>
                  </a:lnTo>
                  <a:lnTo>
                    <a:pt x="1561" y="241"/>
                  </a:lnTo>
                  <a:lnTo>
                    <a:pt x="1562" y="248"/>
                  </a:lnTo>
                  <a:lnTo>
                    <a:pt x="1561" y="251"/>
                  </a:lnTo>
                  <a:lnTo>
                    <a:pt x="1561" y="253"/>
                  </a:lnTo>
                  <a:lnTo>
                    <a:pt x="1561" y="253"/>
                  </a:lnTo>
                  <a:lnTo>
                    <a:pt x="1488" y="292"/>
                  </a:lnTo>
                  <a:lnTo>
                    <a:pt x="1416" y="333"/>
                  </a:lnTo>
                  <a:lnTo>
                    <a:pt x="1347" y="376"/>
                  </a:lnTo>
                  <a:lnTo>
                    <a:pt x="1278" y="422"/>
                  </a:lnTo>
                  <a:lnTo>
                    <a:pt x="1210" y="468"/>
                  </a:lnTo>
                  <a:lnTo>
                    <a:pt x="1144" y="517"/>
                  </a:lnTo>
                  <a:lnTo>
                    <a:pt x="1079" y="566"/>
                  </a:lnTo>
                  <a:lnTo>
                    <a:pt x="1016" y="619"/>
                  </a:lnTo>
                  <a:lnTo>
                    <a:pt x="954" y="673"/>
                  </a:lnTo>
                  <a:lnTo>
                    <a:pt x="893" y="728"/>
                  </a:lnTo>
                  <a:lnTo>
                    <a:pt x="834" y="785"/>
                  </a:lnTo>
                  <a:lnTo>
                    <a:pt x="776" y="843"/>
                  </a:lnTo>
                  <a:lnTo>
                    <a:pt x="720" y="902"/>
                  </a:lnTo>
                  <a:lnTo>
                    <a:pt x="666" y="964"/>
                  </a:lnTo>
                  <a:lnTo>
                    <a:pt x="614" y="1027"/>
                  </a:lnTo>
                  <a:lnTo>
                    <a:pt x="562" y="1091"/>
                  </a:lnTo>
                  <a:lnTo>
                    <a:pt x="512" y="1157"/>
                  </a:lnTo>
                  <a:lnTo>
                    <a:pt x="465" y="1224"/>
                  </a:lnTo>
                  <a:lnTo>
                    <a:pt x="420" y="1293"/>
                  </a:lnTo>
                  <a:lnTo>
                    <a:pt x="375" y="1362"/>
                  </a:lnTo>
                  <a:lnTo>
                    <a:pt x="333" y="1432"/>
                  </a:lnTo>
                  <a:lnTo>
                    <a:pt x="293" y="1505"/>
                  </a:lnTo>
                  <a:lnTo>
                    <a:pt x="255" y="1578"/>
                  </a:lnTo>
                  <a:lnTo>
                    <a:pt x="218" y="1652"/>
                  </a:lnTo>
                  <a:lnTo>
                    <a:pt x="183" y="1728"/>
                  </a:lnTo>
                  <a:lnTo>
                    <a:pt x="151" y="1804"/>
                  </a:lnTo>
                  <a:lnTo>
                    <a:pt x="122" y="1882"/>
                  </a:lnTo>
                  <a:lnTo>
                    <a:pt x="93" y="1961"/>
                  </a:lnTo>
                  <a:lnTo>
                    <a:pt x="67" y="2040"/>
                  </a:lnTo>
                  <a:lnTo>
                    <a:pt x="43" y="2122"/>
                  </a:lnTo>
                  <a:lnTo>
                    <a:pt x="20" y="2203"/>
                  </a:lnTo>
                  <a:lnTo>
                    <a:pt x="0" y="2285"/>
                  </a:lnTo>
                  <a:lnTo>
                    <a:pt x="224" y="2784"/>
                  </a:lnTo>
                  <a:lnTo>
                    <a:pt x="224" y="2784"/>
                  </a:lnTo>
                  <a:lnTo>
                    <a:pt x="229" y="2724"/>
                  </a:lnTo>
                  <a:lnTo>
                    <a:pt x="234" y="2664"/>
                  </a:lnTo>
                  <a:lnTo>
                    <a:pt x="242" y="2605"/>
                  </a:lnTo>
                  <a:lnTo>
                    <a:pt x="250" y="2546"/>
                  </a:lnTo>
                  <a:lnTo>
                    <a:pt x="259" y="2488"/>
                  </a:lnTo>
                  <a:lnTo>
                    <a:pt x="270" y="2430"/>
                  </a:lnTo>
                  <a:lnTo>
                    <a:pt x="281" y="2371"/>
                  </a:lnTo>
                  <a:lnTo>
                    <a:pt x="295" y="2315"/>
                  </a:lnTo>
                  <a:lnTo>
                    <a:pt x="308" y="2258"/>
                  </a:lnTo>
                  <a:lnTo>
                    <a:pt x="323" y="2201"/>
                  </a:lnTo>
                  <a:lnTo>
                    <a:pt x="340" y="2145"/>
                  </a:lnTo>
                  <a:lnTo>
                    <a:pt x="358" y="2090"/>
                  </a:lnTo>
                  <a:lnTo>
                    <a:pt x="376" y="2035"/>
                  </a:lnTo>
                  <a:lnTo>
                    <a:pt x="396" y="1981"/>
                  </a:lnTo>
                  <a:lnTo>
                    <a:pt x="417" y="1927"/>
                  </a:lnTo>
                  <a:lnTo>
                    <a:pt x="439" y="1874"/>
                  </a:lnTo>
                  <a:lnTo>
                    <a:pt x="463" y="1820"/>
                  </a:lnTo>
                  <a:lnTo>
                    <a:pt x="486" y="1769"/>
                  </a:lnTo>
                  <a:lnTo>
                    <a:pt x="512" y="1718"/>
                  </a:lnTo>
                  <a:lnTo>
                    <a:pt x="538" y="1666"/>
                  </a:lnTo>
                  <a:lnTo>
                    <a:pt x="565" y="1617"/>
                  </a:lnTo>
                  <a:lnTo>
                    <a:pt x="594" y="1567"/>
                  </a:lnTo>
                  <a:lnTo>
                    <a:pt x="622" y="1518"/>
                  </a:lnTo>
                  <a:lnTo>
                    <a:pt x="653" y="1470"/>
                  </a:lnTo>
                  <a:lnTo>
                    <a:pt x="684" y="1421"/>
                  </a:lnTo>
                  <a:lnTo>
                    <a:pt x="716" y="1374"/>
                  </a:lnTo>
                  <a:lnTo>
                    <a:pt x="750" y="1329"/>
                  </a:lnTo>
                  <a:lnTo>
                    <a:pt x="783" y="1283"/>
                  </a:lnTo>
                  <a:lnTo>
                    <a:pt x="818" y="1238"/>
                  </a:lnTo>
                  <a:lnTo>
                    <a:pt x="854" y="1194"/>
                  </a:lnTo>
                  <a:lnTo>
                    <a:pt x="891" y="1151"/>
                  </a:lnTo>
                  <a:lnTo>
                    <a:pt x="928" y="1109"/>
                  </a:lnTo>
                  <a:lnTo>
                    <a:pt x="966" y="1067"/>
                  </a:lnTo>
                  <a:lnTo>
                    <a:pt x="1006" y="1026"/>
                  </a:lnTo>
                  <a:lnTo>
                    <a:pt x="1046" y="985"/>
                  </a:lnTo>
                  <a:lnTo>
                    <a:pt x="1087" y="946"/>
                  </a:lnTo>
                  <a:lnTo>
                    <a:pt x="1128" y="907"/>
                  </a:lnTo>
                  <a:lnTo>
                    <a:pt x="1171" y="870"/>
                  </a:lnTo>
                  <a:lnTo>
                    <a:pt x="1215" y="833"/>
                  </a:lnTo>
                  <a:lnTo>
                    <a:pt x="1258" y="797"/>
                  </a:lnTo>
                  <a:lnTo>
                    <a:pt x="1302" y="763"/>
                  </a:lnTo>
                  <a:lnTo>
                    <a:pt x="1348" y="728"/>
                  </a:lnTo>
                  <a:lnTo>
                    <a:pt x="1395" y="695"/>
                  </a:lnTo>
                  <a:lnTo>
                    <a:pt x="1441" y="663"/>
                  </a:lnTo>
                  <a:lnTo>
                    <a:pt x="1489" y="632"/>
                  </a:lnTo>
                  <a:lnTo>
                    <a:pt x="1537" y="601"/>
                  </a:lnTo>
                  <a:lnTo>
                    <a:pt x="1587" y="571"/>
                  </a:lnTo>
                  <a:lnTo>
                    <a:pt x="1636" y="544"/>
                  </a:lnTo>
                  <a:lnTo>
                    <a:pt x="1686" y="516"/>
                  </a:lnTo>
                  <a:lnTo>
                    <a:pt x="1736" y="490"/>
                  </a:lnTo>
                  <a:lnTo>
                    <a:pt x="1788" y="465"/>
                  </a:lnTo>
                  <a:lnTo>
                    <a:pt x="1840" y="440"/>
                  </a:lnTo>
                  <a:lnTo>
                    <a:pt x="1893" y="417"/>
                  </a:lnTo>
                  <a:lnTo>
                    <a:pt x="1947" y="395"/>
                  </a:lnTo>
                  <a:lnTo>
                    <a:pt x="2000" y="374"/>
                  </a:lnTo>
                  <a:lnTo>
                    <a:pt x="2054" y="354"/>
                  </a:lnTo>
                  <a:lnTo>
                    <a:pt x="2108" y="335"/>
                  </a:lnTo>
                  <a:lnTo>
                    <a:pt x="2164" y="317"/>
                  </a:lnTo>
                  <a:lnTo>
                    <a:pt x="2220" y="301"/>
                  </a:lnTo>
                  <a:lnTo>
                    <a:pt x="2277" y="285"/>
                  </a:lnTo>
                  <a:lnTo>
                    <a:pt x="2333" y="271"/>
                  </a:lnTo>
                  <a:lnTo>
                    <a:pt x="2390" y="257"/>
                  </a:lnTo>
                  <a:lnTo>
                    <a:pt x="2447" y="245"/>
                  </a:lnTo>
                  <a:lnTo>
                    <a:pt x="2505" y="235"/>
                  </a:lnTo>
                  <a:lnTo>
                    <a:pt x="2505" y="235"/>
                  </a:lnTo>
                  <a:lnTo>
                    <a:pt x="2492" y="228"/>
                  </a:lnTo>
                  <a:lnTo>
                    <a:pt x="2450" y="209"/>
                  </a:lnTo>
                  <a:lnTo>
                    <a:pt x="2383" y="182"/>
                  </a:lnTo>
                  <a:lnTo>
                    <a:pt x="2341" y="166"/>
                  </a:lnTo>
                  <a:lnTo>
                    <a:pt x="2294" y="149"/>
                  </a:lnTo>
                  <a:lnTo>
                    <a:pt x="2242" y="131"/>
                  </a:lnTo>
                  <a:lnTo>
                    <a:pt x="2185" y="114"/>
                  </a:lnTo>
                  <a:lnTo>
                    <a:pt x="2125" y="96"/>
                  </a:lnTo>
                  <a:lnTo>
                    <a:pt x="2059" y="78"/>
                  </a:lnTo>
                  <a:lnTo>
                    <a:pt x="1991" y="62"/>
                  </a:lnTo>
                  <a:lnTo>
                    <a:pt x="1919" y="47"/>
                  </a:lnTo>
                  <a:lnTo>
                    <a:pt x="1845" y="34"/>
                  </a:lnTo>
                  <a:lnTo>
                    <a:pt x="1768" y="23"/>
                  </a:lnTo>
                  <a:lnTo>
                    <a:pt x="1768" y="23"/>
                  </a:lnTo>
                  <a:close/>
                </a:path>
              </a:pathLst>
            </a:custGeom>
            <a:solidFill>
              <a:schemeClr val="accent5"/>
            </a:solidFill>
            <a:ln w="1588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2289022" y="2249470"/>
              <a:ext cx="959786" cy="957555"/>
              <a:chOff x="3366319" y="2012677"/>
              <a:chExt cx="959786" cy="957555"/>
            </a:xfrm>
          </p:grpSpPr>
          <p:sp>
            <p:nvSpPr>
              <p:cNvPr id="38" name="Freeform 8"/>
              <p:cNvSpPr>
                <a:spLocks noEditPoints="1"/>
              </p:cNvSpPr>
              <p:nvPr/>
            </p:nvSpPr>
            <p:spPr bwMode="auto">
              <a:xfrm>
                <a:off x="3366319" y="2012677"/>
                <a:ext cx="959786" cy="957555"/>
              </a:xfrm>
              <a:custGeom>
                <a:avLst/>
                <a:gdLst>
                  <a:gd name="T0" fmla="*/ 1487 w 1607"/>
                  <a:gd name="T1" fmla="*/ 924 h 1599"/>
                  <a:gd name="T2" fmla="*/ 1604 w 1607"/>
                  <a:gd name="T3" fmla="*/ 865 h 1599"/>
                  <a:gd name="T4" fmla="*/ 1495 w 1607"/>
                  <a:gd name="T5" fmla="*/ 724 h 1599"/>
                  <a:gd name="T6" fmla="*/ 1578 w 1607"/>
                  <a:gd name="T7" fmla="*/ 587 h 1599"/>
                  <a:gd name="T8" fmla="*/ 1427 w 1607"/>
                  <a:gd name="T9" fmla="*/ 492 h 1599"/>
                  <a:gd name="T10" fmla="*/ 1459 w 1607"/>
                  <a:gd name="T11" fmla="*/ 335 h 1599"/>
                  <a:gd name="T12" fmla="*/ 1284 w 1607"/>
                  <a:gd name="T13" fmla="*/ 297 h 1599"/>
                  <a:gd name="T14" fmla="*/ 1260 w 1607"/>
                  <a:gd name="T15" fmla="*/ 139 h 1599"/>
                  <a:gd name="T16" fmla="*/ 1084 w 1607"/>
                  <a:gd name="T17" fmla="*/ 163 h 1599"/>
                  <a:gd name="T18" fmla="*/ 1007 w 1607"/>
                  <a:gd name="T19" fmla="*/ 23 h 1599"/>
                  <a:gd name="T20" fmla="*/ 886 w 1607"/>
                  <a:gd name="T21" fmla="*/ 1 h 1599"/>
                  <a:gd name="T22" fmla="*/ 765 w 1607"/>
                  <a:gd name="T23" fmla="*/ 105 h 1599"/>
                  <a:gd name="T24" fmla="*/ 608 w 1607"/>
                  <a:gd name="T25" fmla="*/ 20 h 1599"/>
                  <a:gd name="T26" fmla="*/ 530 w 1607"/>
                  <a:gd name="T27" fmla="*/ 160 h 1599"/>
                  <a:gd name="T28" fmla="*/ 353 w 1607"/>
                  <a:gd name="T29" fmla="*/ 134 h 1599"/>
                  <a:gd name="T30" fmla="*/ 328 w 1607"/>
                  <a:gd name="T31" fmla="*/ 292 h 1599"/>
                  <a:gd name="T32" fmla="*/ 153 w 1607"/>
                  <a:gd name="T33" fmla="*/ 328 h 1599"/>
                  <a:gd name="T34" fmla="*/ 183 w 1607"/>
                  <a:gd name="T35" fmla="*/ 486 h 1599"/>
                  <a:gd name="T36" fmla="*/ 31 w 1607"/>
                  <a:gd name="T37" fmla="*/ 579 h 1599"/>
                  <a:gd name="T38" fmla="*/ 119 w 1607"/>
                  <a:gd name="T39" fmla="*/ 675 h 1599"/>
                  <a:gd name="T40" fmla="*/ 3 w 1607"/>
                  <a:gd name="T41" fmla="*/ 734 h 1599"/>
                  <a:gd name="T42" fmla="*/ 112 w 1607"/>
                  <a:gd name="T43" fmla="*/ 875 h 1599"/>
                  <a:gd name="T44" fmla="*/ 29 w 1607"/>
                  <a:gd name="T45" fmla="*/ 1011 h 1599"/>
                  <a:gd name="T46" fmla="*/ 180 w 1607"/>
                  <a:gd name="T47" fmla="*/ 1107 h 1599"/>
                  <a:gd name="T48" fmla="*/ 148 w 1607"/>
                  <a:gd name="T49" fmla="*/ 1263 h 1599"/>
                  <a:gd name="T50" fmla="*/ 322 w 1607"/>
                  <a:gd name="T51" fmla="*/ 1301 h 1599"/>
                  <a:gd name="T52" fmla="*/ 346 w 1607"/>
                  <a:gd name="T53" fmla="*/ 1460 h 1599"/>
                  <a:gd name="T54" fmla="*/ 523 w 1607"/>
                  <a:gd name="T55" fmla="*/ 1436 h 1599"/>
                  <a:gd name="T56" fmla="*/ 600 w 1607"/>
                  <a:gd name="T57" fmla="*/ 1576 h 1599"/>
                  <a:gd name="T58" fmla="*/ 721 w 1607"/>
                  <a:gd name="T59" fmla="*/ 1598 h 1599"/>
                  <a:gd name="T60" fmla="*/ 842 w 1607"/>
                  <a:gd name="T61" fmla="*/ 1494 h 1599"/>
                  <a:gd name="T62" fmla="*/ 999 w 1607"/>
                  <a:gd name="T63" fmla="*/ 1578 h 1599"/>
                  <a:gd name="T64" fmla="*/ 1077 w 1607"/>
                  <a:gd name="T65" fmla="*/ 1439 h 1599"/>
                  <a:gd name="T66" fmla="*/ 1253 w 1607"/>
                  <a:gd name="T67" fmla="*/ 1464 h 1599"/>
                  <a:gd name="T68" fmla="*/ 1279 w 1607"/>
                  <a:gd name="T69" fmla="*/ 1306 h 1599"/>
                  <a:gd name="T70" fmla="*/ 1454 w 1607"/>
                  <a:gd name="T71" fmla="*/ 1270 h 1599"/>
                  <a:gd name="T72" fmla="*/ 1424 w 1607"/>
                  <a:gd name="T73" fmla="*/ 1113 h 1599"/>
                  <a:gd name="T74" fmla="*/ 1576 w 1607"/>
                  <a:gd name="T75" fmla="*/ 1019 h 1599"/>
                  <a:gd name="T76" fmla="*/ 700 w 1607"/>
                  <a:gd name="T77" fmla="*/ 1370 h 1599"/>
                  <a:gd name="T78" fmla="*/ 907 w 1607"/>
                  <a:gd name="T79" fmla="*/ 228 h 1599"/>
                  <a:gd name="T80" fmla="*/ 700 w 1607"/>
                  <a:gd name="T81" fmla="*/ 1370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7" h="1599">
                    <a:moveTo>
                      <a:pt x="1479" y="965"/>
                    </a:moveTo>
                    <a:cubicBezTo>
                      <a:pt x="1482" y="951"/>
                      <a:pt x="1485" y="937"/>
                      <a:pt x="1487" y="924"/>
                    </a:cubicBezTo>
                    <a:cubicBezTo>
                      <a:pt x="1490" y="910"/>
                      <a:pt x="1492" y="896"/>
                      <a:pt x="1494" y="882"/>
                    </a:cubicBezTo>
                    <a:cubicBezTo>
                      <a:pt x="1535" y="881"/>
                      <a:pt x="1573" y="875"/>
                      <a:pt x="1604" y="865"/>
                    </a:cubicBezTo>
                    <a:cubicBezTo>
                      <a:pt x="1607" y="824"/>
                      <a:pt x="1607" y="782"/>
                      <a:pt x="1604" y="742"/>
                    </a:cubicBezTo>
                    <a:cubicBezTo>
                      <a:pt x="1574" y="731"/>
                      <a:pt x="1536" y="725"/>
                      <a:pt x="1495" y="724"/>
                    </a:cubicBezTo>
                    <a:cubicBezTo>
                      <a:pt x="1492" y="696"/>
                      <a:pt x="1487" y="668"/>
                      <a:pt x="1481" y="641"/>
                    </a:cubicBezTo>
                    <a:cubicBezTo>
                      <a:pt x="1519" y="626"/>
                      <a:pt x="1553" y="607"/>
                      <a:pt x="1578" y="587"/>
                    </a:cubicBezTo>
                    <a:cubicBezTo>
                      <a:pt x="1567" y="547"/>
                      <a:pt x="1553" y="509"/>
                      <a:pt x="1536" y="472"/>
                    </a:cubicBezTo>
                    <a:cubicBezTo>
                      <a:pt x="1504" y="472"/>
                      <a:pt x="1466" y="479"/>
                      <a:pt x="1427" y="492"/>
                    </a:cubicBezTo>
                    <a:cubicBezTo>
                      <a:pt x="1415" y="467"/>
                      <a:pt x="1401" y="442"/>
                      <a:pt x="1385" y="419"/>
                    </a:cubicBezTo>
                    <a:cubicBezTo>
                      <a:pt x="1417" y="392"/>
                      <a:pt x="1442" y="362"/>
                      <a:pt x="1459" y="335"/>
                    </a:cubicBezTo>
                    <a:cubicBezTo>
                      <a:pt x="1435" y="302"/>
                      <a:pt x="1409" y="270"/>
                      <a:pt x="1380" y="241"/>
                    </a:cubicBezTo>
                    <a:cubicBezTo>
                      <a:pt x="1350" y="252"/>
                      <a:pt x="1317" y="271"/>
                      <a:pt x="1284" y="297"/>
                    </a:cubicBezTo>
                    <a:cubicBezTo>
                      <a:pt x="1264" y="278"/>
                      <a:pt x="1243" y="260"/>
                      <a:pt x="1220" y="243"/>
                    </a:cubicBezTo>
                    <a:cubicBezTo>
                      <a:pt x="1240" y="206"/>
                      <a:pt x="1254" y="170"/>
                      <a:pt x="1260" y="139"/>
                    </a:cubicBezTo>
                    <a:cubicBezTo>
                      <a:pt x="1227" y="116"/>
                      <a:pt x="1192" y="95"/>
                      <a:pt x="1154" y="77"/>
                    </a:cubicBezTo>
                    <a:cubicBezTo>
                      <a:pt x="1130" y="98"/>
                      <a:pt x="1105" y="127"/>
                      <a:pt x="1084" y="163"/>
                    </a:cubicBezTo>
                    <a:cubicBezTo>
                      <a:pt x="1058" y="152"/>
                      <a:pt x="1032" y="142"/>
                      <a:pt x="1005" y="134"/>
                    </a:cubicBezTo>
                    <a:cubicBezTo>
                      <a:pt x="1011" y="93"/>
                      <a:pt x="1012" y="54"/>
                      <a:pt x="1007" y="23"/>
                    </a:cubicBezTo>
                    <a:cubicBezTo>
                      <a:pt x="987" y="17"/>
                      <a:pt x="967" y="13"/>
                      <a:pt x="947" y="9"/>
                    </a:cubicBezTo>
                    <a:cubicBezTo>
                      <a:pt x="927" y="6"/>
                      <a:pt x="906" y="3"/>
                      <a:pt x="886" y="1"/>
                    </a:cubicBezTo>
                    <a:cubicBezTo>
                      <a:pt x="870" y="29"/>
                      <a:pt x="857" y="65"/>
                      <a:pt x="849" y="106"/>
                    </a:cubicBezTo>
                    <a:cubicBezTo>
                      <a:pt x="821" y="104"/>
                      <a:pt x="793" y="103"/>
                      <a:pt x="765" y="105"/>
                    </a:cubicBezTo>
                    <a:cubicBezTo>
                      <a:pt x="757" y="64"/>
                      <a:pt x="744" y="28"/>
                      <a:pt x="729" y="0"/>
                    </a:cubicBezTo>
                    <a:cubicBezTo>
                      <a:pt x="688" y="3"/>
                      <a:pt x="647" y="10"/>
                      <a:pt x="608" y="20"/>
                    </a:cubicBezTo>
                    <a:cubicBezTo>
                      <a:pt x="603" y="52"/>
                      <a:pt x="603" y="91"/>
                      <a:pt x="609" y="132"/>
                    </a:cubicBezTo>
                    <a:cubicBezTo>
                      <a:pt x="582" y="140"/>
                      <a:pt x="556" y="149"/>
                      <a:pt x="530" y="160"/>
                    </a:cubicBezTo>
                    <a:cubicBezTo>
                      <a:pt x="509" y="124"/>
                      <a:pt x="484" y="95"/>
                      <a:pt x="460" y="73"/>
                    </a:cubicBezTo>
                    <a:cubicBezTo>
                      <a:pt x="423" y="91"/>
                      <a:pt x="387" y="111"/>
                      <a:pt x="353" y="134"/>
                    </a:cubicBezTo>
                    <a:cubicBezTo>
                      <a:pt x="359" y="166"/>
                      <a:pt x="373" y="202"/>
                      <a:pt x="392" y="239"/>
                    </a:cubicBezTo>
                    <a:cubicBezTo>
                      <a:pt x="370" y="255"/>
                      <a:pt x="348" y="273"/>
                      <a:pt x="328" y="292"/>
                    </a:cubicBezTo>
                    <a:cubicBezTo>
                      <a:pt x="295" y="266"/>
                      <a:pt x="262" y="246"/>
                      <a:pt x="233" y="235"/>
                    </a:cubicBezTo>
                    <a:cubicBezTo>
                      <a:pt x="204" y="264"/>
                      <a:pt x="177" y="295"/>
                      <a:pt x="153" y="328"/>
                    </a:cubicBezTo>
                    <a:cubicBezTo>
                      <a:pt x="169" y="356"/>
                      <a:pt x="194" y="385"/>
                      <a:pt x="225" y="413"/>
                    </a:cubicBezTo>
                    <a:cubicBezTo>
                      <a:pt x="210" y="436"/>
                      <a:pt x="196" y="460"/>
                      <a:pt x="183" y="486"/>
                    </a:cubicBezTo>
                    <a:cubicBezTo>
                      <a:pt x="144" y="472"/>
                      <a:pt x="106" y="465"/>
                      <a:pt x="74" y="464"/>
                    </a:cubicBezTo>
                    <a:cubicBezTo>
                      <a:pt x="57" y="501"/>
                      <a:pt x="43" y="539"/>
                      <a:pt x="31" y="579"/>
                    </a:cubicBezTo>
                    <a:cubicBezTo>
                      <a:pt x="56" y="599"/>
                      <a:pt x="89" y="619"/>
                      <a:pt x="128" y="634"/>
                    </a:cubicBezTo>
                    <a:cubicBezTo>
                      <a:pt x="125" y="647"/>
                      <a:pt x="122" y="661"/>
                      <a:pt x="119" y="675"/>
                    </a:cubicBezTo>
                    <a:cubicBezTo>
                      <a:pt x="117" y="689"/>
                      <a:pt x="115" y="703"/>
                      <a:pt x="113" y="717"/>
                    </a:cubicBezTo>
                    <a:cubicBezTo>
                      <a:pt x="72" y="717"/>
                      <a:pt x="33" y="724"/>
                      <a:pt x="3" y="734"/>
                    </a:cubicBezTo>
                    <a:cubicBezTo>
                      <a:pt x="0" y="775"/>
                      <a:pt x="0" y="816"/>
                      <a:pt x="2" y="857"/>
                    </a:cubicBezTo>
                    <a:cubicBezTo>
                      <a:pt x="33" y="867"/>
                      <a:pt x="71" y="874"/>
                      <a:pt x="112" y="875"/>
                    </a:cubicBezTo>
                    <a:cubicBezTo>
                      <a:pt x="115" y="903"/>
                      <a:pt x="120" y="931"/>
                      <a:pt x="126" y="958"/>
                    </a:cubicBezTo>
                    <a:cubicBezTo>
                      <a:pt x="87" y="973"/>
                      <a:pt x="54" y="992"/>
                      <a:pt x="29" y="1011"/>
                    </a:cubicBezTo>
                    <a:cubicBezTo>
                      <a:pt x="40" y="1051"/>
                      <a:pt x="54" y="1090"/>
                      <a:pt x="70" y="1127"/>
                    </a:cubicBezTo>
                    <a:cubicBezTo>
                      <a:pt x="102" y="1127"/>
                      <a:pt x="140" y="1120"/>
                      <a:pt x="180" y="1107"/>
                    </a:cubicBezTo>
                    <a:cubicBezTo>
                      <a:pt x="192" y="1132"/>
                      <a:pt x="206" y="1156"/>
                      <a:pt x="221" y="1180"/>
                    </a:cubicBezTo>
                    <a:cubicBezTo>
                      <a:pt x="190" y="1207"/>
                      <a:pt x="165" y="1236"/>
                      <a:pt x="148" y="1263"/>
                    </a:cubicBezTo>
                    <a:cubicBezTo>
                      <a:pt x="172" y="1297"/>
                      <a:pt x="198" y="1329"/>
                      <a:pt x="227" y="1358"/>
                    </a:cubicBezTo>
                    <a:cubicBezTo>
                      <a:pt x="257" y="1347"/>
                      <a:pt x="290" y="1327"/>
                      <a:pt x="322" y="1301"/>
                    </a:cubicBezTo>
                    <a:cubicBezTo>
                      <a:pt x="343" y="1321"/>
                      <a:pt x="364" y="1339"/>
                      <a:pt x="387" y="1356"/>
                    </a:cubicBezTo>
                    <a:cubicBezTo>
                      <a:pt x="366" y="1392"/>
                      <a:pt x="353" y="1428"/>
                      <a:pt x="346" y="1460"/>
                    </a:cubicBezTo>
                    <a:cubicBezTo>
                      <a:pt x="380" y="1483"/>
                      <a:pt x="415" y="1504"/>
                      <a:pt x="452" y="1522"/>
                    </a:cubicBezTo>
                    <a:cubicBezTo>
                      <a:pt x="477" y="1501"/>
                      <a:pt x="502" y="1471"/>
                      <a:pt x="523" y="1436"/>
                    </a:cubicBezTo>
                    <a:cubicBezTo>
                      <a:pt x="549" y="1447"/>
                      <a:pt x="575" y="1457"/>
                      <a:pt x="602" y="1465"/>
                    </a:cubicBezTo>
                    <a:cubicBezTo>
                      <a:pt x="596" y="1506"/>
                      <a:pt x="595" y="1544"/>
                      <a:pt x="600" y="1576"/>
                    </a:cubicBezTo>
                    <a:cubicBezTo>
                      <a:pt x="620" y="1581"/>
                      <a:pt x="640" y="1586"/>
                      <a:pt x="660" y="1589"/>
                    </a:cubicBezTo>
                    <a:cubicBezTo>
                      <a:pt x="680" y="1593"/>
                      <a:pt x="701" y="1596"/>
                      <a:pt x="721" y="1598"/>
                    </a:cubicBezTo>
                    <a:cubicBezTo>
                      <a:pt x="736" y="1570"/>
                      <a:pt x="750" y="1534"/>
                      <a:pt x="758" y="1493"/>
                    </a:cubicBezTo>
                    <a:cubicBezTo>
                      <a:pt x="786" y="1495"/>
                      <a:pt x="814" y="1495"/>
                      <a:pt x="842" y="1494"/>
                    </a:cubicBezTo>
                    <a:cubicBezTo>
                      <a:pt x="850" y="1534"/>
                      <a:pt x="863" y="1571"/>
                      <a:pt x="878" y="1599"/>
                    </a:cubicBezTo>
                    <a:cubicBezTo>
                      <a:pt x="919" y="1595"/>
                      <a:pt x="959" y="1588"/>
                      <a:pt x="999" y="1578"/>
                    </a:cubicBezTo>
                    <a:cubicBezTo>
                      <a:pt x="1004" y="1547"/>
                      <a:pt x="1004" y="1508"/>
                      <a:pt x="998" y="1467"/>
                    </a:cubicBezTo>
                    <a:cubicBezTo>
                      <a:pt x="1025" y="1459"/>
                      <a:pt x="1051" y="1450"/>
                      <a:pt x="1077" y="1439"/>
                    </a:cubicBezTo>
                    <a:cubicBezTo>
                      <a:pt x="1098" y="1474"/>
                      <a:pt x="1123" y="1504"/>
                      <a:pt x="1147" y="1525"/>
                    </a:cubicBezTo>
                    <a:cubicBezTo>
                      <a:pt x="1184" y="1508"/>
                      <a:pt x="1220" y="1487"/>
                      <a:pt x="1253" y="1464"/>
                    </a:cubicBezTo>
                    <a:cubicBezTo>
                      <a:pt x="1248" y="1433"/>
                      <a:pt x="1234" y="1397"/>
                      <a:pt x="1214" y="1360"/>
                    </a:cubicBezTo>
                    <a:cubicBezTo>
                      <a:pt x="1237" y="1344"/>
                      <a:pt x="1259" y="1326"/>
                      <a:pt x="1279" y="1306"/>
                    </a:cubicBezTo>
                    <a:cubicBezTo>
                      <a:pt x="1311" y="1333"/>
                      <a:pt x="1345" y="1352"/>
                      <a:pt x="1374" y="1364"/>
                    </a:cubicBezTo>
                    <a:cubicBezTo>
                      <a:pt x="1403" y="1335"/>
                      <a:pt x="1430" y="1304"/>
                      <a:pt x="1454" y="1270"/>
                    </a:cubicBezTo>
                    <a:cubicBezTo>
                      <a:pt x="1438" y="1243"/>
                      <a:pt x="1413" y="1213"/>
                      <a:pt x="1382" y="1186"/>
                    </a:cubicBezTo>
                    <a:cubicBezTo>
                      <a:pt x="1397" y="1163"/>
                      <a:pt x="1411" y="1138"/>
                      <a:pt x="1424" y="1113"/>
                    </a:cubicBezTo>
                    <a:cubicBezTo>
                      <a:pt x="1463" y="1127"/>
                      <a:pt x="1501" y="1134"/>
                      <a:pt x="1533" y="1135"/>
                    </a:cubicBezTo>
                    <a:cubicBezTo>
                      <a:pt x="1550" y="1098"/>
                      <a:pt x="1564" y="1059"/>
                      <a:pt x="1576" y="1019"/>
                    </a:cubicBezTo>
                    <a:cubicBezTo>
                      <a:pt x="1551" y="999"/>
                      <a:pt x="1517" y="980"/>
                      <a:pt x="1479" y="965"/>
                    </a:cubicBezTo>
                    <a:close/>
                    <a:moveTo>
                      <a:pt x="700" y="1370"/>
                    </a:moveTo>
                    <a:cubicBezTo>
                      <a:pt x="384" y="1313"/>
                      <a:pt x="175" y="1011"/>
                      <a:pt x="232" y="696"/>
                    </a:cubicBezTo>
                    <a:cubicBezTo>
                      <a:pt x="290" y="380"/>
                      <a:pt x="592" y="171"/>
                      <a:pt x="907" y="228"/>
                    </a:cubicBezTo>
                    <a:cubicBezTo>
                      <a:pt x="1223" y="286"/>
                      <a:pt x="1432" y="588"/>
                      <a:pt x="1374" y="903"/>
                    </a:cubicBezTo>
                    <a:cubicBezTo>
                      <a:pt x="1317" y="1218"/>
                      <a:pt x="1015" y="1428"/>
                      <a:pt x="700" y="13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3573292" y="2217611"/>
                <a:ext cx="547690" cy="5476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 rot="21110908">
              <a:off x="3127222" y="2765937"/>
              <a:ext cx="959786" cy="957555"/>
              <a:chOff x="3366319" y="2012677"/>
              <a:chExt cx="959786" cy="957555"/>
            </a:xfrm>
          </p:grpSpPr>
          <p:sp>
            <p:nvSpPr>
              <p:cNvPr id="65" name="Freeform 8"/>
              <p:cNvSpPr>
                <a:spLocks noEditPoints="1"/>
              </p:cNvSpPr>
              <p:nvPr/>
            </p:nvSpPr>
            <p:spPr bwMode="auto">
              <a:xfrm>
                <a:off x="3366319" y="2012677"/>
                <a:ext cx="959786" cy="957555"/>
              </a:xfrm>
              <a:custGeom>
                <a:avLst/>
                <a:gdLst>
                  <a:gd name="T0" fmla="*/ 1487 w 1607"/>
                  <a:gd name="T1" fmla="*/ 924 h 1599"/>
                  <a:gd name="T2" fmla="*/ 1604 w 1607"/>
                  <a:gd name="T3" fmla="*/ 865 h 1599"/>
                  <a:gd name="T4" fmla="*/ 1495 w 1607"/>
                  <a:gd name="T5" fmla="*/ 724 h 1599"/>
                  <a:gd name="T6" fmla="*/ 1578 w 1607"/>
                  <a:gd name="T7" fmla="*/ 587 h 1599"/>
                  <a:gd name="T8" fmla="*/ 1427 w 1607"/>
                  <a:gd name="T9" fmla="*/ 492 h 1599"/>
                  <a:gd name="T10" fmla="*/ 1459 w 1607"/>
                  <a:gd name="T11" fmla="*/ 335 h 1599"/>
                  <a:gd name="T12" fmla="*/ 1284 w 1607"/>
                  <a:gd name="T13" fmla="*/ 297 h 1599"/>
                  <a:gd name="T14" fmla="*/ 1260 w 1607"/>
                  <a:gd name="T15" fmla="*/ 139 h 1599"/>
                  <a:gd name="T16" fmla="*/ 1084 w 1607"/>
                  <a:gd name="T17" fmla="*/ 163 h 1599"/>
                  <a:gd name="T18" fmla="*/ 1007 w 1607"/>
                  <a:gd name="T19" fmla="*/ 23 h 1599"/>
                  <a:gd name="T20" fmla="*/ 886 w 1607"/>
                  <a:gd name="T21" fmla="*/ 1 h 1599"/>
                  <a:gd name="T22" fmla="*/ 765 w 1607"/>
                  <a:gd name="T23" fmla="*/ 105 h 1599"/>
                  <a:gd name="T24" fmla="*/ 608 w 1607"/>
                  <a:gd name="T25" fmla="*/ 20 h 1599"/>
                  <a:gd name="T26" fmla="*/ 530 w 1607"/>
                  <a:gd name="T27" fmla="*/ 160 h 1599"/>
                  <a:gd name="T28" fmla="*/ 353 w 1607"/>
                  <a:gd name="T29" fmla="*/ 134 h 1599"/>
                  <a:gd name="T30" fmla="*/ 328 w 1607"/>
                  <a:gd name="T31" fmla="*/ 292 h 1599"/>
                  <a:gd name="T32" fmla="*/ 153 w 1607"/>
                  <a:gd name="T33" fmla="*/ 328 h 1599"/>
                  <a:gd name="T34" fmla="*/ 183 w 1607"/>
                  <a:gd name="T35" fmla="*/ 486 h 1599"/>
                  <a:gd name="T36" fmla="*/ 31 w 1607"/>
                  <a:gd name="T37" fmla="*/ 579 h 1599"/>
                  <a:gd name="T38" fmla="*/ 119 w 1607"/>
                  <a:gd name="T39" fmla="*/ 675 h 1599"/>
                  <a:gd name="T40" fmla="*/ 3 w 1607"/>
                  <a:gd name="T41" fmla="*/ 734 h 1599"/>
                  <a:gd name="T42" fmla="*/ 112 w 1607"/>
                  <a:gd name="T43" fmla="*/ 875 h 1599"/>
                  <a:gd name="T44" fmla="*/ 29 w 1607"/>
                  <a:gd name="T45" fmla="*/ 1011 h 1599"/>
                  <a:gd name="T46" fmla="*/ 180 w 1607"/>
                  <a:gd name="T47" fmla="*/ 1107 h 1599"/>
                  <a:gd name="T48" fmla="*/ 148 w 1607"/>
                  <a:gd name="T49" fmla="*/ 1263 h 1599"/>
                  <a:gd name="T50" fmla="*/ 322 w 1607"/>
                  <a:gd name="T51" fmla="*/ 1301 h 1599"/>
                  <a:gd name="T52" fmla="*/ 346 w 1607"/>
                  <a:gd name="T53" fmla="*/ 1460 h 1599"/>
                  <a:gd name="T54" fmla="*/ 523 w 1607"/>
                  <a:gd name="T55" fmla="*/ 1436 h 1599"/>
                  <a:gd name="T56" fmla="*/ 600 w 1607"/>
                  <a:gd name="T57" fmla="*/ 1576 h 1599"/>
                  <a:gd name="T58" fmla="*/ 721 w 1607"/>
                  <a:gd name="T59" fmla="*/ 1598 h 1599"/>
                  <a:gd name="T60" fmla="*/ 842 w 1607"/>
                  <a:gd name="T61" fmla="*/ 1494 h 1599"/>
                  <a:gd name="T62" fmla="*/ 999 w 1607"/>
                  <a:gd name="T63" fmla="*/ 1578 h 1599"/>
                  <a:gd name="T64" fmla="*/ 1077 w 1607"/>
                  <a:gd name="T65" fmla="*/ 1439 h 1599"/>
                  <a:gd name="T66" fmla="*/ 1253 w 1607"/>
                  <a:gd name="T67" fmla="*/ 1464 h 1599"/>
                  <a:gd name="T68" fmla="*/ 1279 w 1607"/>
                  <a:gd name="T69" fmla="*/ 1306 h 1599"/>
                  <a:gd name="T70" fmla="*/ 1454 w 1607"/>
                  <a:gd name="T71" fmla="*/ 1270 h 1599"/>
                  <a:gd name="T72" fmla="*/ 1424 w 1607"/>
                  <a:gd name="T73" fmla="*/ 1113 h 1599"/>
                  <a:gd name="T74" fmla="*/ 1576 w 1607"/>
                  <a:gd name="T75" fmla="*/ 1019 h 1599"/>
                  <a:gd name="T76" fmla="*/ 700 w 1607"/>
                  <a:gd name="T77" fmla="*/ 1370 h 1599"/>
                  <a:gd name="T78" fmla="*/ 907 w 1607"/>
                  <a:gd name="T79" fmla="*/ 228 h 1599"/>
                  <a:gd name="T80" fmla="*/ 700 w 1607"/>
                  <a:gd name="T81" fmla="*/ 1370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7" h="1599">
                    <a:moveTo>
                      <a:pt x="1479" y="965"/>
                    </a:moveTo>
                    <a:cubicBezTo>
                      <a:pt x="1482" y="951"/>
                      <a:pt x="1485" y="937"/>
                      <a:pt x="1487" y="924"/>
                    </a:cubicBezTo>
                    <a:cubicBezTo>
                      <a:pt x="1490" y="910"/>
                      <a:pt x="1492" y="896"/>
                      <a:pt x="1494" y="882"/>
                    </a:cubicBezTo>
                    <a:cubicBezTo>
                      <a:pt x="1535" y="881"/>
                      <a:pt x="1573" y="875"/>
                      <a:pt x="1604" y="865"/>
                    </a:cubicBezTo>
                    <a:cubicBezTo>
                      <a:pt x="1607" y="824"/>
                      <a:pt x="1607" y="782"/>
                      <a:pt x="1604" y="742"/>
                    </a:cubicBezTo>
                    <a:cubicBezTo>
                      <a:pt x="1574" y="731"/>
                      <a:pt x="1536" y="725"/>
                      <a:pt x="1495" y="724"/>
                    </a:cubicBezTo>
                    <a:cubicBezTo>
                      <a:pt x="1492" y="696"/>
                      <a:pt x="1487" y="668"/>
                      <a:pt x="1481" y="641"/>
                    </a:cubicBezTo>
                    <a:cubicBezTo>
                      <a:pt x="1519" y="626"/>
                      <a:pt x="1553" y="607"/>
                      <a:pt x="1578" y="587"/>
                    </a:cubicBezTo>
                    <a:cubicBezTo>
                      <a:pt x="1567" y="547"/>
                      <a:pt x="1553" y="509"/>
                      <a:pt x="1536" y="472"/>
                    </a:cubicBezTo>
                    <a:cubicBezTo>
                      <a:pt x="1504" y="472"/>
                      <a:pt x="1466" y="479"/>
                      <a:pt x="1427" y="492"/>
                    </a:cubicBezTo>
                    <a:cubicBezTo>
                      <a:pt x="1415" y="467"/>
                      <a:pt x="1401" y="442"/>
                      <a:pt x="1385" y="419"/>
                    </a:cubicBezTo>
                    <a:cubicBezTo>
                      <a:pt x="1417" y="392"/>
                      <a:pt x="1442" y="362"/>
                      <a:pt x="1459" y="335"/>
                    </a:cubicBezTo>
                    <a:cubicBezTo>
                      <a:pt x="1435" y="302"/>
                      <a:pt x="1409" y="270"/>
                      <a:pt x="1380" y="241"/>
                    </a:cubicBezTo>
                    <a:cubicBezTo>
                      <a:pt x="1350" y="252"/>
                      <a:pt x="1317" y="271"/>
                      <a:pt x="1284" y="297"/>
                    </a:cubicBezTo>
                    <a:cubicBezTo>
                      <a:pt x="1264" y="278"/>
                      <a:pt x="1243" y="260"/>
                      <a:pt x="1220" y="243"/>
                    </a:cubicBezTo>
                    <a:cubicBezTo>
                      <a:pt x="1240" y="206"/>
                      <a:pt x="1254" y="170"/>
                      <a:pt x="1260" y="139"/>
                    </a:cubicBezTo>
                    <a:cubicBezTo>
                      <a:pt x="1227" y="116"/>
                      <a:pt x="1192" y="95"/>
                      <a:pt x="1154" y="77"/>
                    </a:cubicBezTo>
                    <a:cubicBezTo>
                      <a:pt x="1130" y="98"/>
                      <a:pt x="1105" y="127"/>
                      <a:pt x="1084" y="163"/>
                    </a:cubicBezTo>
                    <a:cubicBezTo>
                      <a:pt x="1058" y="152"/>
                      <a:pt x="1032" y="142"/>
                      <a:pt x="1005" y="134"/>
                    </a:cubicBezTo>
                    <a:cubicBezTo>
                      <a:pt x="1011" y="93"/>
                      <a:pt x="1012" y="54"/>
                      <a:pt x="1007" y="23"/>
                    </a:cubicBezTo>
                    <a:cubicBezTo>
                      <a:pt x="987" y="17"/>
                      <a:pt x="967" y="13"/>
                      <a:pt x="947" y="9"/>
                    </a:cubicBezTo>
                    <a:cubicBezTo>
                      <a:pt x="927" y="6"/>
                      <a:pt x="906" y="3"/>
                      <a:pt x="886" y="1"/>
                    </a:cubicBezTo>
                    <a:cubicBezTo>
                      <a:pt x="870" y="29"/>
                      <a:pt x="857" y="65"/>
                      <a:pt x="849" y="106"/>
                    </a:cubicBezTo>
                    <a:cubicBezTo>
                      <a:pt x="821" y="104"/>
                      <a:pt x="793" y="103"/>
                      <a:pt x="765" y="105"/>
                    </a:cubicBezTo>
                    <a:cubicBezTo>
                      <a:pt x="757" y="64"/>
                      <a:pt x="744" y="28"/>
                      <a:pt x="729" y="0"/>
                    </a:cubicBezTo>
                    <a:cubicBezTo>
                      <a:pt x="688" y="3"/>
                      <a:pt x="647" y="10"/>
                      <a:pt x="608" y="20"/>
                    </a:cubicBezTo>
                    <a:cubicBezTo>
                      <a:pt x="603" y="52"/>
                      <a:pt x="603" y="91"/>
                      <a:pt x="609" y="132"/>
                    </a:cubicBezTo>
                    <a:cubicBezTo>
                      <a:pt x="582" y="140"/>
                      <a:pt x="556" y="149"/>
                      <a:pt x="530" y="160"/>
                    </a:cubicBezTo>
                    <a:cubicBezTo>
                      <a:pt x="509" y="124"/>
                      <a:pt x="484" y="95"/>
                      <a:pt x="460" y="73"/>
                    </a:cubicBezTo>
                    <a:cubicBezTo>
                      <a:pt x="423" y="91"/>
                      <a:pt x="387" y="111"/>
                      <a:pt x="353" y="134"/>
                    </a:cubicBezTo>
                    <a:cubicBezTo>
                      <a:pt x="359" y="166"/>
                      <a:pt x="373" y="202"/>
                      <a:pt x="392" y="239"/>
                    </a:cubicBezTo>
                    <a:cubicBezTo>
                      <a:pt x="370" y="255"/>
                      <a:pt x="348" y="273"/>
                      <a:pt x="328" y="292"/>
                    </a:cubicBezTo>
                    <a:cubicBezTo>
                      <a:pt x="295" y="266"/>
                      <a:pt x="262" y="246"/>
                      <a:pt x="233" y="235"/>
                    </a:cubicBezTo>
                    <a:cubicBezTo>
                      <a:pt x="204" y="264"/>
                      <a:pt x="177" y="295"/>
                      <a:pt x="153" y="328"/>
                    </a:cubicBezTo>
                    <a:cubicBezTo>
                      <a:pt x="169" y="356"/>
                      <a:pt x="194" y="385"/>
                      <a:pt x="225" y="413"/>
                    </a:cubicBezTo>
                    <a:cubicBezTo>
                      <a:pt x="210" y="436"/>
                      <a:pt x="196" y="460"/>
                      <a:pt x="183" y="486"/>
                    </a:cubicBezTo>
                    <a:cubicBezTo>
                      <a:pt x="144" y="472"/>
                      <a:pt x="106" y="465"/>
                      <a:pt x="74" y="464"/>
                    </a:cubicBezTo>
                    <a:cubicBezTo>
                      <a:pt x="57" y="501"/>
                      <a:pt x="43" y="539"/>
                      <a:pt x="31" y="579"/>
                    </a:cubicBezTo>
                    <a:cubicBezTo>
                      <a:pt x="56" y="599"/>
                      <a:pt x="89" y="619"/>
                      <a:pt x="128" y="634"/>
                    </a:cubicBezTo>
                    <a:cubicBezTo>
                      <a:pt x="125" y="647"/>
                      <a:pt x="122" y="661"/>
                      <a:pt x="119" y="675"/>
                    </a:cubicBezTo>
                    <a:cubicBezTo>
                      <a:pt x="117" y="689"/>
                      <a:pt x="115" y="703"/>
                      <a:pt x="113" y="717"/>
                    </a:cubicBezTo>
                    <a:cubicBezTo>
                      <a:pt x="72" y="717"/>
                      <a:pt x="33" y="724"/>
                      <a:pt x="3" y="734"/>
                    </a:cubicBezTo>
                    <a:cubicBezTo>
                      <a:pt x="0" y="775"/>
                      <a:pt x="0" y="816"/>
                      <a:pt x="2" y="857"/>
                    </a:cubicBezTo>
                    <a:cubicBezTo>
                      <a:pt x="33" y="867"/>
                      <a:pt x="71" y="874"/>
                      <a:pt x="112" y="875"/>
                    </a:cubicBezTo>
                    <a:cubicBezTo>
                      <a:pt x="115" y="903"/>
                      <a:pt x="120" y="931"/>
                      <a:pt x="126" y="958"/>
                    </a:cubicBezTo>
                    <a:cubicBezTo>
                      <a:pt x="87" y="973"/>
                      <a:pt x="54" y="992"/>
                      <a:pt x="29" y="1011"/>
                    </a:cubicBezTo>
                    <a:cubicBezTo>
                      <a:pt x="40" y="1051"/>
                      <a:pt x="54" y="1090"/>
                      <a:pt x="70" y="1127"/>
                    </a:cubicBezTo>
                    <a:cubicBezTo>
                      <a:pt x="102" y="1127"/>
                      <a:pt x="140" y="1120"/>
                      <a:pt x="180" y="1107"/>
                    </a:cubicBezTo>
                    <a:cubicBezTo>
                      <a:pt x="192" y="1132"/>
                      <a:pt x="206" y="1156"/>
                      <a:pt x="221" y="1180"/>
                    </a:cubicBezTo>
                    <a:cubicBezTo>
                      <a:pt x="190" y="1207"/>
                      <a:pt x="165" y="1236"/>
                      <a:pt x="148" y="1263"/>
                    </a:cubicBezTo>
                    <a:cubicBezTo>
                      <a:pt x="172" y="1297"/>
                      <a:pt x="198" y="1329"/>
                      <a:pt x="227" y="1358"/>
                    </a:cubicBezTo>
                    <a:cubicBezTo>
                      <a:pt x="257" y="1347"/>
                      <a:pt x="290" y="1327"/>
                      <a:pt x="322" y="1301"/>
                    </a:cubicBezTo>
                    <a:cubicBezTo>
                      <a:pt x="343" y="1321"/>
                      <a:pt x="364" y="1339"/>
                      <a:pt x="387" y="1356"/>
                    </a:cubicBezTo>
                    <a:cubicBezTo>
                      <a:pt x="366" y="1392"/>
                      <a:pt x="353" y="1428"/>
                      <a:pt x="346" y="1460"/>
                    </a:cubicBezTo>
                    <a:cubicBezTo>
                      <a:pt x="380" y="1483"/>
                      <a:pt x="415" y="1504"/>
                      <a:pt x="452" y="1522"/>
                    </a:cubicBezTo>
                    <a:cubicBezTo>
                      <a:pt x="477" y="1501"/>
                      <a:pt x="502" y="1471"/>
                      <a:pt x="523" y="1436"/>
                    </a:cubicBezTo>
                    <a:cubicBezTo>
                      <a:pt x="549" y="1447"/>
                      <a:pt x="575" y="1457"/>
                      <a:pt x="602" y="1465"/>
                    </a:cubicBezTo>
                    <a:cubicBezTo>
                      <a:pt x="596" y="1506"/>
                      <a:pt x="595" y="1544"/>
                      <a:pt x="600" y="1576"/>
                    </a:cubicBezTo>
                    <a:cubicBezTo>
                      <a:pt x="620" y="1581"/>
                      <a:pt x="640" y="1586"/>
                      <a:pt x="660" y="1589"/>
                    </a:cubicBezTo>
                    <a:cubicBezTo>
                      <a:pt x="680" y="1593"/>
                      <a:pt x="701" y="1596"/>
                      <a:pt x="721" y="1598"/>
                    </a:cubicBezTo>
                    <a:cubicBezTo>
                      <a:pt x="736" y="1570"/>
                      <a:pt x="750" y="1534"/>
                      <a:pt x="758" y="1493"/>
                    </a:cubicBezTo>
                    <a:cubicBezTo>
                      <a:pt x="786" y="1495"/>
                      <a:pt x="814" y="1495"/>
                      <a:pt x="842" y="1494"/>
                    </a:cubicBezTo>
                    <a:cubicBezTo>
                      <a:pt x="850" y="1534"/>
                      <a:pt x="863" y="1571"/>
                      <a:pt x="878" y="1599"/>
                    </a:cubicBezTo>
                    <a:cubicBezTo>
                      <a:pt x="919" y="1595"/>
                      <a:pt x="959" y="1588"/>
                      <a:pt x="999" y="1578"/>
                    </a:cubicBezTo>
                    <a:cubicBezTo>
                      <a:pt x="1004" y="1547"/>
                      <a:pt x="1004" y="1508"/>
                      <a:pt x="998" y="1467"/>
                    </a:cubicBezTo>
                    <a:cubicBezTo>
                      <a:pt x="1025" y="1459"/>
                      <a:pt x="1051" y="1450"/>
                      <a:pt x="1077" y="1439"/>
                    </a:cubicBezTo>
                    <a:cubicBezTo>
                      <a:pt x="1098" y="1474"/>
                      <a:pt x="1123" y="1504"/>
                      <a:pt x="1147" y="1525"/>
                    </a:cubicBezTo>
                    <a:cubicBezTo>
                      <a:pt x="1184" y="1508"/>
                      <a:pt x="1220" y="1487"/>
                      <a:pt x="1253" y="1464"/>
                    </a:cubicBezTo>
                    <a:cubicBezTo>
                      <a:pt x="1248" y="1433"/>
                      <a:pt x="1234" y="1397"/>
                      <a:pt x="1214" y="1360"/>
                    </a:cubicBezTo>
                    <a:cubicBezTo>
                      <a:pt x="1237" y="1344"/>
                      <a:pt x="1259" y="1326"/>
                      <a:pt x="1279" y="1306"/>
                    </a:cubicBezTo>
                    <a:cubicBezTo>
                      <a:pt x="1311" y="1333"/>
                      <a:pt x="1345" y="1352"/>
                      <a:pt x="1374" y="1364"/>
                    </a:cubicBezTo>
                    <a:cubicBezTo>
                      <a:pt x="1403" y="1335"/>
                      <a:pt x="1430" y="1304"/>
                      <a:pt x="1454" y="1270"/>
                    </a:cubicBezTo>
                    <a:cubicBezTo>
                      <a:pt x="1438" y="1243"/>
                      <a:pt x="1413" y="1213"/>
                      <a:pt x="1382" y="1186"/>
                    </a:cubicBezTo>
                    <a:cubicBezTo>
                      <a:pt x="1397" y="1163"/>
                      <a:pt x="1411" y="1138"/>
                      <a:pt x="1424" y="1113"/>
                    </a:cubicBezTo>
                    <a:cubicBezTo>
                      <a:pt x="1463" y="1127"/>
                      <a:pt x="1501" y="1134"/>
                      <a:pt x="1533" y="1135"/>
                    </a:cubicBezTo>
                    <a:cubicBezTo>
                      <a:pt x="1550" y="1098"/>
                      <a:pt x="1564" y="1059"/>
                      <a:pt x="1576" y="1019"/>
                    </a:cubicBezTo>
                    <a:cubicBezTo>
                      <a:pt x="1551" y="999"/>
                      <a:pt x="1517" y="980"/>
                      <a:pt x="1479" y="965"/>
                    </a:cubicBezTo>
                    <a:close/>
                    <a:moveTo>
                      <a:pt x="700" y="1370"/>
                    </a:moveTo>
                    <a:cubicBezTo>
                      <a:pt x="384" y="1313"/>
                      <a:pt x="175" y="1011"/>
                      <a:pt x="232" y="696"/>
                    </a:cubicBezTo>
                    <a:cubicBezTo>
                      <a:pt x="290" y="380"/>
                      <a:pt x="592" y="171"/>
                      <a:pt x="907" y="228"/>
                    </a:cubicBezTo>
                    <a:cubicBezTo>
                      <a:pt x="1223" y="286"/>
                      <a:pt x="1432" y="588"/>
                      <a:pt x="1374" y="903"/>
                    </a:cubicBezTo>
                    <a:cubicBezTo>
                      <a:pt x="1317" y="1218"/>
                      <a:pt x="1015" y="1428"/>
                      <a:pt x="700" y="13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3573292" y="2217611"/>
                <a:ext cx="547690" cy="5476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3920972" y="1930322"/>
              <a:ext cx="1279678" cy="1276703"/>
              <a:chOff x="3366319" y="2012677"/>
              <a:chExt cx="959786" cy="957555"/>
            </a:xfrm>
          </p:grpSpPr>
          <p:sp>
            <p:nvSpPr>
              <p:cNvPr id="68" name="Freeform 8"/>
              <p:cNvSpPr>
                <a:spLocks noEditPoints="1"/>
              </p:cNvSpPr>
              <p:nvPr/>
            </p:nvSpPr>
            <p:spPr bwMode="auto">
              <a:xfrm>
                <a:off x="3366319" y="2012677"/>
                <a:ext cx="959786" cy="957555"/>
              </a:xfrm>
              <a:custGeom>
                <a:avLst/>
                <a:gdLst>
                  <a:gd name="T0" fmla="*/ 1487 w 1607"/>
                  <a:gd name="T1" fmla="*/ 924 h 1599"/>
                  <a:gd name="T2" fmla="*/ 1604 w 1607"/>
                  <a:gd name="T3" fmla="*/ 865 h 1599"/>
                  <a:gd name="T4" fmla="*/ 1495 w 1607"/>
                  <a:gd name="T5" fmla="*/ 724 h 1599"/>
                  <a:gd name="T6" fmla="*/ 1578 w 1607"/>
                  <a:gd name="T7" fmla="*/ 587 h 1599"/>
                  <a:gd name="T8" fmla="*/ 1427 w 1607"/>
                  <a:gd name="T9" fmla="*/ 492 h 1599"/>
                  <a:gd name="T10" fmla="*/ 1459 w 1607"/>
                  <a:gd name="T11" fmla="*/ 335 h 1599"/>
                  <a:gd name="T12" fmla="*/ 1284 w 1607"/>
                  <a:gd name="T13" fmla="*/ 297 h 1599"/>
                  <a:gd name="T14" fmla="*/ 1260 w 1607"/>
                  <a:gd name="T15" fmla="*/ 139 h 1599"/>
                  <a:gd name="T16" fmla="*/ 1084 w 1607"/>
                  <a:gd name="T17" fmla="*/ 163 h 1599"/>
                  <a:gd name="T18" fmla="*/ 1007 w 1607"/>
                  <a:gd name="T19" fmla="*/ 23 h 1599"/>
                  <a:gd name="T20" fmla="*/ 886 w 1607"/>
                  <a:gd name="T21" fmla="*/ 1 h 1599"/>
                  <a:gd name="T22" fmla="*/ 765 w 1607"/>
                  <a:gd name="T23" fmla="*/ 105 h 1599"/>
                  <a:gd name="T24" fmla="*/ 608 w 1607"/>
                  <a:gd name="T25" fmla="*/ 20 h 1599"/>
                  <a:gd name="T26" fmla="*/ 530 w 1607"/>
                  <a:gd name="T27" fmla="*/ 160 h 1599"/>
                  <a:gd name="T28" fmla="*/ 353 w 1607"/>
                  <a:gd name="T29" fmla="*/ 134 h 1599"/>
                  <a:gd name="T30" fmla="*/ 328 w 1607"/>
                  <a:gd name="T31" fmla="*/ 292 h 1599"/>
                  <a:gd name="T32" fmla="*/ 153 w 1607"/>
                  <a:gd name="T33" fmla="*/ 328 h 1599"/>
                  <a:gd name="T34" fmla="*/ 183 w 1607"/>
                  <a:gd name="T35" fmla="*/ 486 h 1599"/>
                  <a:gd name="T36" fmla="*/ 31 w 1607"/>
                  <a:gd name="T37" fmla="*/ 579 h 1599"/>
                  <a:gd name="T38" fmla="*/ 119 w 1607"/>
                  <a:gd name="T39" fmla="*/ 675 h 1599"/>
                  <a:gd name="T40" fmla="*/ 3 w 1607"/>
                  <a:gd name="T41" fmla="*/ 734 h 1599"/>
                  <a:gd name="T42" fmla="*/ 112 w 1607"/>
                  <a:gd name="T43" fmla="*/ 875 h 1599"/>
                  <a:gd name="T44" fmla="*/ 29 w 1607"/>
                  <a:gd name="T45" fmla="*/ 1011 h 1599"/>
                  <a:gd name="T46" fmla="*/ 180 w 1607"/>
                  <a:gd name="T47" fmla="*/ 1107 h 1599"/>
                  <a:gd name="T48" fmla="*/ 148 w 1607"/>
                  <a:gd name="T49" fmla="*/ 1263 h 1599"/>
                  <a:gd name="T50" fmla="*/ 322 w 1607"/>
                  <a:gd name="T51" fmla="*/ 1301 h 1599"/>
                  <a:gd name="T52" fmla="*/ 346 w 1607"/>
                  <a:gd name="T53" fmla="*/ 1460 h 1599"/>
                  <a:gd name="T54" fmla="*/ 523 w 1607"/>
                  <a:gd name="T55" fmla="*/ 1436 h 1599"/>
                  <a:gd name="T56" fmla="*/ 600 w 1607"/>
                  <a:gd name="T57" fmla="*/ 1576 h 1599"/>
                  <a:gd name="T58" fmla="*/ 721 w 1607"/>
                  <a:gd name="T59" fmla="*/ 1598 h 1599"/>
                  <a:gd name="T60" fmla="*/ 842 w 1607"/>
                  <a:gd name="T61" fmla="*/ 1494 h 1599"/>
                  <a:gd name="T62" fmla="*/ 999 w 1607"/>
                  <a:gd name="T63" fmla="*/ 1578 h 1599"/>
                  <a:gd name="T64" fmla="*/ 1077 w 1607"/>
                  <a:gd name="T65" fmla="*/ 1439 h 1599"/>
                  <a:gd name="T66" fmla="*/ 1253 w 1607"/>
                  <a:gd name="T67" fmla="*/ 1464 h 1599"/>
                  <a:gd name="T68" fmla="*/ 1279 w 1607"/>
                  <a:gd name="T69" fmla="*/ 1306 h 1599"/>
                  <a:gd name="T70" fmla="*/ 1454 w 1607"/>
                  <a:gd name="T71" fmla="*/ 1270 h 1599"/>
                  <a:gd name="T72" fmla="*/ 1424 w 1607"/>
                  <a:gd name="T73" fmla="*/ 1113 h 1599"/>
                  <a:gd name="T74" fmla="*/ 1576 w 1607"/>
                  <a:gd name="T75" fmla="*/ 1019 h 1599"/>
                  <a:gd name="T76" fmla="*/ 700 w 1607"/>
                  <a:gd name="T77" fmla="*/ 1370 h 1599"/>
                  <a:gd name="T78" fmla="*/ 907 w 1607"/>
                  <a:gd name="T79" fmla="*/ 228 h 1599"/>
                  <a:gd name="T80" fmla="*/ 700 w 1607"/>
                  <a:gd name="T81" fmla="*/ 1370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7" h="1599">
                    <a:moveTo>
                      <a:pt x="1479" y="965"/>
                    </a:moveTo>
                    <a:cubicBezTo>
                      <a:pt x="1482" y="951"/>
                      <a:pt x="1485" y="937"/>
                      <a:pt x="1487" y="924"/>
                    </a:cubicBezTo>
                    <a:cubicBezTo>
                      <a:pt x="1490" y="910"/>
                      <a:pt x="1492" y="896"/>
                      <a:pt x="1494" y="882"/>
                    </a:cubicBezTo>
                    <a:cubicBezTo>
                      <a:pt x="1535" y="881"/>
                      <a:pt x="1573" y="875"/>
                      <a:pt x="1604" y="865"/>
                    </a:cubicBezTo>
                    <a:cubicBezTo>
                      <a:pt x="1607" y="824"/>
                      <a:pt x="1607" y="782"/>
                      <a:pt x="1604" y="742"/>
                    </a:cubicBezTo>
                    <a:cubicBezTo>
                      <a:pt x="1574" y="731"/>
                      <a:pt x="1536" y="725"/>
                      <a:pt x="1495" y="724"/>
                    </a:cubicBezTo>
                    <a:cubicBezTo>
                      <a:pt x="1492" y="696"/>
                      <a:pt x="1487" y="668"/>
                      <a:pt x="1481" y="641"/>
                    </a:cubicBezTo>
                    <a:cubicBezTo>
                      <a:pt x="1519" y="626"/>
                      <a:pt x="1553" y="607"/>
                      <a:pt x="1578" y="587"/>
                    </a:cubicBezTo>
                    <a:cubicBezTo>
                      <a:pt x="1567" y="547"/>
                      <a:pt x="1553" y="509"/>
                      <a:pt x="1536" y="472"/>
                    </a:cubicBezTo>
                    <a:cubicBezTo>
                      <a:pt x="1504" y="472"/>
                      <a:pt x="1466" y="479"/>
                      <a:pt x="1427" y="492"/>
                    </a:cubicBezTo>
                    <a:cubicBezTo>
                      <a:pt x="1415" y="467"/>
                      <a:pt x="1401" y="442"/>
                      <a:pt x="1385" y="419"/>
                    </a:cubicBezTo>
                    <a:cubicBezTo>
                      <a:pt x="1417" y="392"/>
                      <a:pt x="1442" y="362"/>
                      <a:pt x="1459" y="335"/>
                    </a:cubicBezTo>
                    <a:cubicBezTo>
                      <a:pt x="1435" y="302"/>
                      <a:pt x="1409" y="270"/>
                      <a:pt x="1380" y="241"/>
                    </a:cubicBezTo>
                    <a:cubicBezTo>
                      <a:pt x="1350" y="252"/>
                      <a:pt x="1317" y="271"/>
                      <a:pt x="1284" y="297"/>
                    </a:cubicBezTo>
                    <a:cubicBezTo>
                      <a:pt x="1264" y="278"/>
                      <a:pt x="1243" y="260"/>
                      <a:pt x="1220" y="243"/>
                    </a:cubicBezTo>
                    <a:cubicBezTo>
                      <a:pt x="1240" y="206"/>
                      <a:pt x="1254" y="170"/>
                      <a:pt x="1260" y="139"/>
                    </a:cubicBezTo>
                    <a:cubicBezTo>
                      <a:pt x="1227" y="116"/>
                      <a:pt x="1192" y="95"/>
                      <a:pt x="1154" y="77"/>
                    </a:cubicBezTo>
                    <a:cubicBezTo>
                      <a:pt x="1130" y="98"/>
                      <a:pt x="1105" y="127"/>
                      <a:pt x="1084" y="163"/>
                    </a:cubicBezTo>
                    <a:cubicBezTo>
                      <a:pt x="1058" y="152"/>
                      <a:pt x="1032" y="142"/>
                      <a:pt x="1005" y="134"/>
                    </a:cubicBezTo>
                    <a:cubicBezTo>
                      <a:pt x="1011" y="93"/>
                      <a:pt x="1012" y="54"/>
                      <a:pt x="1007" y="23"/>
                    </a:cubicBezTo>
                    <a:cubicBezTo>
                      <a:pt x="987" y="17"/>
                      <a:pt x="967" y="13"/>
                      <a:pt x="947" y="9"/>
                    </a:cubicBezTo>
                    <a:cubicBezTo>
                      <a:pt x="927" y="6"/>
                      <a:pt x="906" y="3"/>
                      <a:pt x="886" y="1"/>
                    </a:cubicBezTo>
                    <a:cubicBezTo>
                      <a:pt x="870" y="29"/>
                      <a:pt x="857" y="65"/>
                      <a:pt x="849" y="106"/>
                    </a:cubicBezTo>
                    <a:cubicBezTo>
                      <a:pt x="821" y="104"/>
                      <a:pt x="793" y="103"/>
                      <a:pt x="765" y="105"/>
                    </a:cubicBezTo>
                    <a:cubicBezTo>
                      <a:pt x="757" y="64"/>
                      <a:pt x="744" y="28"/>
                      <a:pt x="729" y="0"/>
                    </a:cubicBezTo>
                    <a:cubicBezTo>
                      <a:pt x="688" y="3"/>
                      <a:pt x="647" y="10"/>
                      <a:pt x="608" y="20"/>
                    </a:cubicBezTo>
                    <a:cubicBezTo>
                      <a:pt x="603" y="52"/>
                      <a:pt x="603" y="91"/>
                      <a:pt x="609" y="132"/>
                    </a:cubicBezTo>
                    <a:cubicBezTo>
                      <a:pt x="582" y="140"/>
                      <a:pt x="556" y="149"/>
                      <a:pt x="530" y="160"/>
                    </a:cubicBezTo>
                    <a:cubicBezTo>
                      <a:pt x="509" y="124"/>
                      <a:pt x="484" y="95"/>
                      <a:pt x="460" y="73"/>
                    </a:cubicBezTo>
                    <a:cubicBezTo>
                      <a:pt x="423" y="91"/>
                      <a:pt x="387" y="111"/>
                      <a:pt x="353" y="134"/>
                    </a:cubicBezTo>
                    <a:cubicBezTo>
                      <a:pt x="359" y="166"/>
                      <a:pt x="373" y="202"/>
                      <a:pt x="392" y="239"/>
                    </a:cubicBezTo>
                    <a:cubicBezTo>
                      <a:pt x="370" y="255"/>
                      <a:pt x="348" y="273"/>
                      <a:pt x="328" y="292"/>
                    </a:cubicBezTo>
                    <a:cubicBezTo>
                      <a:pt x="295" y="266"/>
                      <a:pt x="262" y="246"/>
                      <a:pt x="233" y="235"/>
                    </a:cubicBezTo>
                    <a:cubicBezTo>
                      <a:pt x="204" y="264"/>
                      <a:pt x="177" y="295"/>
                      <a:pt x="153" y="328"/>
                    </a:cubicBezTo>
                    <a:cubicBezTo>
                      <a:pt x="169" y="356"/>
                      <a:pt x="194" y="385"/>
                      <a:pt x="225" y="413"/>
                    </a:cubicBezTo>
                    <a:cubicBezTo>
                      <a:pt x="210" y="436"/>
                      <a:pt x="196" y="460"/>
                      <a:pt x="183" y="486"/>
                    </a:cubicBezTo>
                    <a:cubicBezTo>
                      <a:pt x="144" y="472"/>
                      <a:pt x="106" y="465"/>
                      <a:pt x="74" y="464"/>
                    </a:cubicBezTo>
                    <a:cubicBezTo>
                      <a:pt x="57" y="501"/>
                      <a:pt x="43" y="539"/>
                      <a:pt x="31" y="579"/>
                    </a:cubicBezTo>
                    <a:cubicBezTo>
                      <a:pt x="56" y="599"/>
                      <a:pt x="89" y="619"/>
                      <a:pt x="128" y="634"/>
                    </a:cubicBezTo>
                    <a:cubicBezTo>
                      <a:pt x="125" y="647"/>
                      <a:pt x="122" y="661"/>
                      <a:pt x="119" y="675"/>
                    </a:cubicBezTo>
                    <a:cubicBezTo>
                      <a:pt x="117" y="689"/>
                      <a:pt x="115" y="703"/>
                      <a:pt x="113" y="717"/>
                    </a:cubicBezTo>
                    <a:cubicBezTo>
                      <a:pt x="72" y="717"/>
                      <a:pt x="33" y="724"/>
                      <a:pt x="3" y="734"/>
                    </a:cubicBezTo>
                    <a:cubicBezTo>
                      <a:pt x="0" y="775"/>
                      <a:pt x="0" y="816"/>
                      <a:pt x="2" y="857"/>
                    </a:cubicBezTo>
                    <a:cubicBezTo>
                      <a:pt x="33" y="867"/>
                      <a:pt x="71" y="874"/>
                      <a:pt x="112" y="875"/>
                    </a:cubicBezTo>
                    <a:cubicBezTo>
                      <a:pt x="115" y="903"/>
                      <a:pt x="120" y="931"/>
                      <a:pt x="126" y="958"/>
                    </a:cubicBezTo>
                    <a:cubicBezTo>
                      <a:pt x="87" y="973"/>
                      <a:pt x="54" y="992"/>
                      <a:pt x="29" y="1011"/>
                    </a:cubicBezTo>
                    <a:cubicBezTo>
                      <a:pt x="40" y="1051"/>
                      <a:pt x="54" y="1090"/>
                      <a:pt x="70" y="1127"/>
                    </a:cubicBezTo>
                    <a:cubicBezTo>
                      <a:pt x="102" y="1127"/>
                      <a:pt x="140" y="1120"/>
                      <a:pt x="180" y="1107"/>
                    </a:cubicBezTo>
                    <a:cubicBezTo>
                      <a:pt x="192" y="1132"/>
                      <a:pt x="206" y="1156"/>
                      <a:pt x="221" y="1180"/>
                    </a:cubicBezTo>
                    <a:cubicBezTo>
                      <a:pt x="190" y="1207"/>
                      <a:pt x="165" y="1236"/>
                      <a:pt x="148" y="1263"/>
                    </a:cubicBezTo>
                    <a:cubicBezTo>
                      <a:pt x="172" y="1297"/>
                      <a:pt x="198" y="1329"/>
                      <a:pt x="227" y="1358"/>
                    </a:cubicBezTo>
                    <a:cubicBezTo>
                      <a:pt x="257" y="1347"/>
                      <a:pt x="290" y="1327"/>
                      <a:pt x="322" y="1301"/>
                    </a:cubicBezTo>
                    <a:cubicBezTo>
                      <a:pt x="343" y="1321"/>
                      <a:pt x="364" y="1339"/>
                      <a:pt x="387" y="1356"/>
                    </a:cubicBezTo>
                    <a:cubicBezTo>
                      <a:pt x="366" y="1392"/>
                      <a:pt x="353" y="1428"/>
                      <a:pt x="346" y="1460"/>
                    </a:cubicBezTo>
                    <a:cubicBezTo>
                      <a:pt x="380" y="1483"/>
                      <a:pt x="415" y="1504"/>
                      <a:pt x="452" y="1522"/>
                    </a:cubicBezTo>
                    <a:cubicBezTo>
                      <a:pt x="477" y="1501"/>
                      <a:pt x="502" y="1471"/>
                      <a:pt x="523" y="1436"/>
                    </a:cubicBezTo>
                    <a:cubicBezTo>
                      <a:pt x="549" y="1447"/>
                      <a:pt x="575" y="1457"/>
                      <a:pt x="602" y="1465"/>
                    </a:cubicBezTo>
                    <a:cubicBezTo>
                      <a:pt x="596" y="1506"/>
                      <a:pt x="595" y="1544"/>
                      <a:pt x="600" y="1576"/>
                    </a:cubicBezTo>
                    <a:cubicBezTo>
                      <a:pt x="620" y="1581"/>
                      <a:pt x="640" y="1586"/>
                      <a:pt x="660" y="1589"/>
                    </a:cubicBezTo>
                    <a:cubicBezTo>
                      <a:pt x="680" y="1593"/>
                      <a:pt x="701" y="1596"/>
                      <a:pt x="721" y="1598"/>
                    </a:cubicBezTo>
                    <a:cubicBezTo>
                      <a:pt x="736" y="1570"/>
                      <a:pt x="750" y="1534"/>
                      <a:pt x="758" y="1493"/>
                    </a:cubicBezTo>
                    <a:cubicBezTo>
                      <a:pt x="786" y="1495"/>
                      <a:pt x="814" y="1495"/>
                      <a:pt x="842" y="1494"/>
                    </a:cubicBezTo>
                    <a:cubicBezTo>
                      <a:pt x="850" y="1534"/>
                      <a:pt x="863" y="1571"/>
                      <a:pt x="878" y="1599"/>
                    </a:cubicBezTo>
                    <a:cubicBezTo>
                      <a:pt x="919" y="1595"/>
                      <a:pt x="959" y="1588"/>
                      <a:pt x="999" y="1578"/>
                    </a:cubicBezTo>
                    <a:cubicBezTo>
                      <a:pt x="1004" y="1547"/>
                      <a:pt x="1004" y="1508"/>
                      <a:pt x="998" y="1467"/>
                    </a:cubicBezTo>
                    <a:cubicBezTo>
                      <a:pt x="1025" y="1459"/>
                      <a:pt x="1051" y="1450"/>
                      <a:pt x="1077" y="1439"/>
                    </a:cubicBezTo>
                    <a:cubicBezTo>
                      <a:pt x="1098" y="1474"/>
                      <a:pt x="1123" y="1504"/>
                      <a:pt x="1147" y="1525"/>
                    </a:cubicBezTo>
                    <a:cubicBezTo>
                      <a:pt x="1184" y="1508"/>
                      <a:pt x="1220" y="1487"/>
                      <a:pt x="1253" y="1464"/>
                    </a:cubicBezTo>
                    <a:cubicBezTo>
                      <a:pt x="1248" y="1433"/>
                      <a:pt x="1234" y="1397"/>
                      <a:pt x="1214" y="1360"/>
                    </a:cubicBezTo>
                    <a:cubicBezTo>
                      <a:pt x="1237" y="1344"/>
                      <a:pt x="1259" y="1326"/>
                      <a:pt x="1279" y="1306"/>
                    </a:cubicBezTo>
                    <a:cubicBezTo>
                      <a:pt x="1311" y="1333"/>
                      <a:pt x="1345" y="1352"/>
                      <a:pt x="1374" y="1364"/>
                    </a:cubicBezTo>
                    <a:cubicBezTo>
                      <a:pt x="1403" y="1335"/>
                      <a:pt x="1430" y="1304"/>
                      <a:pt x="1454" y="1270"/>
                    </a:cubicBezTo>
                    <a:cubicBezTo>
                      <a:pt x="1438" y="1243"/>
                      <a:pt x="1413" y="1213"/>
                      <a:pt x="1382" y="1186"/>
                    </a:cubicBezTo>
                    <a:cubicBezTo>
                      <a:pt x="1397" y="1163"/>
                      <a:pt x="1411" y="1138"/>
                      <a:pt x="1424" y="1113"/>
                    </a:cubicBezTo>
                    <a:cubicBezTo>
                      <a:pt x="1463" y="1127"/>
                      <a:pt x="1501" y="1134"/>
                      <a:pt x="1533" y="1135"/>
                    </a:cubicBezTo>
                    <a:cubicBezTo>
                      <a:pt x="1550" y="1098"/>
                      <a:pt x="1564" y="1059"/>
                      <a:pt x="1576" y="1019"/>
                    </a:cubicBezTo>
                    <a:cubicBezTo>
                      <a:pt x="1551" y="999"/>
                      <a:pt x="1517" y="980"/>
                      <a:pt x="1479" y="965"/>
                    </a:cubicBezTo>
                    <a:close/>
                    <a:moveTo>
                      <a:pt x="700" y="1370"/>
                    </a:moveTo>
                    <a:cubicBezTo>
                      <a:pt x="384" y="1313"/>
                      <a:pt x="175" y="1011"/>
                      <a:pt x="232" y="696"/>
                    </a:cubicBezTo>
                    <a:cubicBezTo>
                      <a:pt x="290" y="380"/>
                      <a:pt x="592" y="171"/>
                      <a:pt x="907" y="228"/>
                    </a:cubicBezTo>
                    <a:cubicBezTo>
                      <a:pt x="1223" y="286"/>
                      <a:pt x="1432" y="588"/>
                      <a:pt x="1374" y="903"/>
                    </a:cubicBezTo>
                    <a:cubicBezTo>
                      <a:pt x="1317" y="1218"/>
                      <a:pt x="1015" y="1428"/>
                      <a:pt x="700" y="13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3573292" y="2217611"/>
                <a:ext cx="547690" cy="5476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 rot="21110908">
              <a:off x="5013647" y="2765937"/>
              <a:ext cx="959786" cy="957555"/>
              <a:chOff x="3366319" y="2012677"/>
              <a:chExt cx="959786" cy="957555"/>
            </a:xfrm>
          </p:grpSpPr>
          <p:sp>
            <p:nvSpPr>
              <p:cNvPr id="77" name="Freeform 8"/>
              <p:cNvSpPr>
                <a:spLocks noEditPoints="1"/>
              </p:cNvSpPr>
              <p:nvPr/>
            </p:nvSpPr>
            <p:spPr bwMode="auto">
              <a:xfrm>
                <a:off x="3366319" y="2012677"/>
                <a:ext cx="959786" cy="957555"/>
              </a:xfrm>
              <a:custGeom>
                <a:avLst/>
                <a:gdLst>
                  <a:gd name="T0" fmla="*/ 1487 w 1607"/>
                  <a:gd name="T1" fmla="*/ 924 h 1599"/>
                  <a:gd name="T2" fmla="*/ 1604 w 1607"/>
                  <a:gd name="T3" fmla="*/ 865 h 1599"/>
                  <a:gd name="T4" fmla="*/ 1495 w 1607"/>
                  <a:gd name="T5" fmla="*/ 724 h 1599"/>
                  <a:gd name="T6" fmla="*/ 1578 w 1607"/>
                  <a:gd name="T7" fmla="*/ 587 h 1599"/>
                  <a:gd name="T8" fmla="*/ 1427 w 1607"/>
                  <a:gd name="T9" fmla="*/ 492 h 1599"/>
                  <a:gd name="T10" fmla="*/ 1459 w 1607"/>
                  <a:gd name="T11" fmla="*/ 335 h 1599"/>
                  <a:gd name="T12" fmla="*/ 1284 w 1607"/>
                  <a:gd name="T13" fmla="*/ 297 h 1599"/>
                  <a:gd name="T14" fmla="*/ 1260 w 1607"/>
                  <a:gd name="T15" fmla="*/ 139 h 1599"/>
                  <a:gd name="T16" fmla="*/ 1084 w 1607"/>
                  <a:gd name="T17" fmla="*/ 163 h 1599"/>
                  <a:gd name="T18" fmla="*/ 1007 w 1607"/>
                  <a:gd name="T19" fmla="*/ 23 h 1599"/>
                  <a:gd name="T20" fmla="*/ 886 w 1607"/>
                  <a:gd name="T21" fmla="*/ 1 h 1599"/>
                  <a:gd name="T22" fmla="*/ 765 w 1607"/>
                  <a:gd name="T23" fmla="*/ 105 h 1599"/>
                  <a:gd name="T24" fmla="*/ 608 w 1607"/>
                  <a:gd name="T25" fmla="*/ 20 h 1599"/>
                  <a:gd name="T26" fmla="*/ 530 w 1607"/>
                  <a:gd name="T27" fmla="*/ 160 h 1599"/>
                  <a:gd name="T28" fmla="*/ 353 w 1607"/>
                  <a:gd name="T29" fmla="*/ 134 h 1599"/>
                  <a:gd name="T30" fmla="*/ 328 w 1607"/>
                  <a:gd name="T31" fmla="*/ 292 h 1599"/>
                  <a:gd name="T32" fmla="*/ 153 w 1607"/>
                  <a:gd name="T33" fmla="*/ 328 h 1599"/>
                  <a:gd name="T34" fmla="*/ 183 w 1607"/>
                  <a:gd name="T35" fmla="*/ 486 h 1599"/>
                  <a:gd name="T36" fmla="*/ 31 w 1607"/>
                  <a:gd name="T37" fmla="*/ 579 h 1599"/>
                  <a:gd name="T38" fmla="*/ 119 w 1607"/>
                  <a:gd name="T39" fmla="*/ 675 h 1599"/>
                  <a:gd name="T40" fmla="*/ 3 w 1607"/>
                  <a:gd name="T41" fmla="*/ 734 h 1599"/>
                  <a:gd name="T42" fmla="*/ 112 w 1607"/>
                  <a:gd name="T43" fmla="*/ 875 h 1599"/>
                  <a:gd name="T44" fmla="*/ 29 w 1607"/>
                  <a:gd name="T45" fmla="*/ 1011 h 1599"/>
                  <a:gd name="T46" fmla="*/ 180 w 1607"/>
                  <a:gd name="T47" fmla="*/ 1107 h 1599"/>
                  <a:gd name="T48" fmla="*/ 148 w 1607"/>
                  <a:gd name="T49" fmla="*/ 1263 h 1599"/>
                  <a:gd name="T50" fmla="*/ 322 w 1607"/>
                  <a:gd name="T51" fmla="*/ 1301 h 1599"/>
                  <a:gd name="T52" fmla="*/ 346 w 1607"/>
                  <a:gd name="T53" fmla="*/ 1460 h 1599"/>
                  <a:gd name="T54" fmla="*/ 523 w 1607"/>
                  <a:gd name="T55" fmla="*/ 1436 h 1599"/>
                  <a:gd name="T56" fmla="*/ 600 w 1607"/>
                  <a:gd name="T57" fmla="*/ 1576 h 1599"/>
                  <a:gd name="T58" fmla="*/ 721 w 1607"/>
                  <a:gd name="T59" fmla="*/ 1598 h 1599"/>
                  <a:gd name="T60" fmla="*/ 842 w 1607"/>
                  <a:gd name="T61" fmla="*/ 1494 h 1599"/>
                  <a:gd name="T62" fmla="*/ 999 w 1607"/>
                  <a:gd name="T63" fmla="*/ 1578 h 1599"/>
                  <a:gd name="T64" fmla="*/ 1077 w 1607"/>
                  <a:gd name="T65" fmla="*/ 1439 h 1599"/>
                  <a:gd name="T66" fmla="*/ 1253 w 1607"/>
                  <a:gd name="T67" fmla="*/ 1464 h 1599"/>
                  <a:gd name="T68" fmla="*/ 1279 w 1607"/>
                  <a:gd name="T69" fmla="*/ 1306 h 1599"/>
                  <a:gd name="T70" fmla="*/ 1454 w 1607"/>
                  <a:gd name="T71" fmla="*/ 1270 h 1599"/>
                  <a:gd name="T72" fmla="*/ 1424 w 1607"/>
                  <a:gd name="T73" fmla="*/ 1113 h 1599"/>
                  <a:gd name="T74" fmla="*/ 1576 w 1607"/>
                  <a:gd name="T75" fmla="*/ 1019 h 1599"/>
                  <a:gd name="T76" fmla="*/ 700 w 1607"/>
                  <a:gd name="T77" fmla="*/ 1370 h 1599"/>
                  <a:gd name="T78" fmla="*/ 907 w 1607"/>
                  <a:gd name="T79" fmla="*/ 228 h 1599"/>
                  <a:gd name="T80" fmla="*/ 700 w 1607"/>
                  <a:gd name="T81" fmla="*/ 1370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7" h="1599">
                    <a:moveTo>
                      <a:pt x="1479" y="965"/>
                    </a:moveTo>
                    <a:cubicBezTo>
                      <a:pt x="1482" y="951"/>
                      <a:pt x="1485" y="937"/>
                      <a:pt x="1487" y="924"/>
                    </a:cubicBezTo>
                    <a:cubicBezTo>
                      <a:pt x="1490" y="910"/>
                      <a:pt x="1492" y="896"/>
                      <a:pt x="1494" y="882"/>
                    </a:cubicBezTo>
                    <a:cubicBezTo>
                      <a:pt x="1535" y="881"/>
                      <a:pt x="1573" y="875"/>
                      <a:pt x="1604" y="865"/>
                    </a:cubicBezTo>
                    <a:cubicBezTo>
                      <a:pt x="1607" y="824"/>
                      <a:pt x="1607" y="782"/>
                      <a:pt x="1604" y="742"/>
                    </a:cubicBezTo>
                    <a:cubicBezTo>
                      <a:pt x="1574" y="731"/>
                      <a:pt x="1536" y="725"/>
                      <a:pt x="1495" y="724"/>
                    </a:cubicBezTo>
                    <a:cubicBezTo>
                      <a:pt x="1492" y="696"/>
                      <a:pt x="1487" y="668"/>
                      <a:pt x="1481" y="641"/>
                    </a:cubicBezTo>
                    <a:cubicBezTo>
                      <a:pt x="1519" y="626"/>
                      <a:pt x="1553" y="607"/>
                      <a:pt x="1578" y="587"/>
                    </a:cubicBezTo>
                    <a:cubicBezTo>
                      <a:pt x="1567" y="547"/>
                      <a:pt x="1553" y="509"/>
                      <a:pt x="1536" y="472"/>
                    </a:cubicBezTo>
                    <a:cubicBezTo>
                      <a:pt x="1504" y="472"/>
                      <a:pt x="1466" y="479"/>
                      <a:pt x="1427" y="492"/>
                    </a:cubicBezTo>
                    <a:cubicBezTo>
                      <a:pt x="1415" y="467"/>
                      <a:pt x="1401" y="442"/>
                      <a:pt x="1385" y="419"/>
                    </a:cubicBezTo>
                    <a:cubicBezTo>
                      <a:pt x="1417" y="392"/>
                      <a:pt x="1442" y="362"/>
                      <a:pt x="1459" y="335"/>
                    </a:cubicBezTo>
                    <a:cubicBezTo>
                      <a:pt x="1435" y="302"/>
                      <a:pt x="1409" y="270"/>
                      <a:pt x="1380" y="241"/>
                    </a:cubicBezTo>
                    <a:cubicBezTo>
                      <a:pt x="1350" y="252"/>
                      <a:pt x="1317" y="271"/>
                      <a:pt x="1284" y="297"/>
                    </a:cubicBezTo>
                    <a:cubicBezTo>
                      <a:pt x="1264" y="278"/>
                      <a:pt x="1243" y="260"/>
                      <a:pt x="1220" y="243"/>
                    </a:cubicBezTo>
                    <a:cubicBezTo>
                      <a:pt x="1240" y="206"/>
                      <a:pt x="1254" y="170"/>
                      <a:pt x="1260" y="139"/>
                    </a:cubicBezTo>
                    <a:cubicBezTo>
                      <a:pt x="1227" y="116"/>
                      <a:pt x="1192" y="95"/>
                      <a:pt x="1154" y="77"/>
                    </a:cubicBezTo>
                    <a:cubicBezTo>
                      <a:pt x="1130" y="98"/>
                      <a:pt x="1105" y="127"/>
                      <a:pt x="1084" y="163"/>
                    </a:cubicBezTo>
                    <a:cubicBezTo>
                      <a:pt x="1058" y="152"/>
                      <a:pt x="1032" y="142"/>
                      <a:pt x="1005" y="134"/>
                    </a:cubicBezTo>
                    <a:cubicBezTo>
                      <a:pt x="1011" y="93"/>
                      <a:pt x="1012" y="54"/>
                      <a:pt x="1007" y="23"/>
                    </a:cubicBezTo>
                    <a:cubicBezTo>
                      <a:pt x="987" y="17"/>
                      <a:pt x="967" y="13"/>
                      <a:pt x="947" y="9"/>
                    </a:cubicBezTo>
                    <a:cubicBezTo>
                      <a:pt x="927" y="6"/>
                      <a:pt x="906" y="3"/>
                      <a:pt x="886" y="1"/>
                    </a:cubicBezTo>
                    <a:cubicBezTo>
                      <a:pt x="870" y="29"/>
                      <a:pt x="857" y="65"/>
                      <a:pt x="849" y="106"/>
                    </a:cubicBezTo>
                    <a:cubicBezTo>
                      <a:pt x="821" y="104"/>
                      <a:pt x="793" y="103"/>
                      <a:pt x="765" y="105"/>
                    </a:cubicBezTo>
                    <a:cubicBezTo>
                      <a:pt x="757" y="64"/>
                      <a:pt x="744" y="28"/>
                      <a:pt x="729" y="0"/>
                    </a:cubicBezTo>
                    <a:cubicBezTo>
                      <a:pt x="688" y="3"/>
                      <a:pt x="647" y="10"/>
                      <a:pt x="608" y="20"/>
                    </a:cubicBezTo>
                    <a:cubicBezTo>
                      <a:pt x="603" y="52"/>
                      <a:pt x="603" y="91"/>
                      <a:pt x="609" y="132"/>
                    </a:cubicBezTo>
                    <a:cubicBezTo>
                      <a:pt x="582" y="140"/>
                      <a:pt x="556" y="149"/>
                      <a:pt x="530" y="160"/>
                    </a:cubicBezTo>
                    <a:cubicBezTo>
                      <a:pt x="509" y="124"/>
                      <a:pt x="484" y="95"/>
                      <a:pt x="460" y="73"/>
                    </a:cubicBezTo>
                    <a:cubicBezTo>
                      <a:pt x="423" y="91"/>
                      <a:pt x="387" y="111"/>
                      <a:pt x="353" y="134"/>
                    </a:cubicBezTo>
                    <a:cubicBezTo>
                      <a:pt x="359" y="166"/>
                      <a:pt x="373" y="202"/>
                      <a:pt x="392" y="239"/>
                    </a:cubicBezTo>
                    <a:cubicBezTo>
                      <a:pt x="370" y="255"/>
                      <a:pt x="348" y="273"/>
                      <a:pt x="328" y="292"/>
                    </a:cubicBezTo>
                    <a:cubicBezTo>
                      <a:pt x="295" y="266"/>
                      <a:pt x="262" y="246"/>
                      <a:pt x="233" y="235"/>
                    </a:cubicBezTo>
                    <a:cubicBezTo>
                      <a:pt x="204" y="264"/>
                      <a:pt x="177" y="295"/>
                      <a:pt x="153" y="328"/>
                    </a:cubicBezTo>
                    <a:cubicBezTo>
                      <a:pt x="169" y="356"/>
                      <a:pt x="194" y="385"/>
                      <a:pt x="225" y="413"/>
                    </a:cubicBezTo>
                    <a:cubicBezTo>
                      <a:pt x="210" y="436"/>
                      <a:pt x="196" y="460"/>
                      <a:pt x="183" y="486"/>
                    </a:cubicBezTo>
                    <a:cubicBezTo>
                      <a:pt x="144" y="472"/>
                      <a:pt x="106" y="465"/>
                      <a:pt x="74" y="464"/>
                    </a:cubicBezTo>
                    <a:cubicBezTo>
                      <a:pt x="57" y="501"/>
                      <a:pt x="43" y="539"/>
                      <a:pt x="31" y="579"/>
                    </a:cubicBezTo>
                    <a:cubicBezTo>
                      <a:pt x="56" y="599"/>
                      <a:pt x="89" y="619"/>
                      <a:pt x="128" y="634"/>
                    </a:cubicBezTo>
                    <a:cubicBezTo>
                      <a:pt x="125" y="647"/>
                      <a:pt x="122" y="661"/>
                      <a:pt x="119" y="675"/>
                    </a:cubicBezTo>
                    <a:cubicBezTo>
                      <a:pt x="117" y="689"/>
                      <a:pt x="115" y="703"/>
                      <a:pt x="113" y="717"/>
                    </a:cubicBezTo>
                    <a:cubicBezTo>
                      <a:pt x="72" y="717"/>
                      <a:pt x="33" y="724"/>
                      <a:pt x="3" y="734"/>
                    </a:cubicBezTo>
                    <a:cubicBezTo>
                      <a:pt x="0" y="775"/>
                      <a:pt x="0" y="816"/>
                      <a:pt x="2" y="857"/>
                    </a:cubicBezTo>
                    <a:cubicBezTo>
                      <a:pt x="33" y="867"/>
                      <a:pt x="71" y="874"/>
                      <a:pt x="112" y="875"/>
                    </a:cubicBezTo>
                    <a:cubicBezTo>
                      <a:pt x="115" y="903"/>
                      <a:pt x="120" y="931"/>
                      <a:pt x="126" y="958"/>
                    </a:cubicBezTo>
                    <a:cubicBezTo>
                      <a:pt x="87" y="973"/>
                      <a:pt x="54" y="992"/>
                      <a:pt x="29" y="1011"/>
                    </a:cubicBezTo>
                    <a:cubicBezTo>
                      <a:pt x="40" y="1051"/>
                      <a:pt x="54" y="1090"/>
                      <a:pt x="70" y="1127"/>
                    </a:cubicBezTo>
                    <a:cubicBezTo>
                      <a:pt x="102" y="1127"/>
                      <a:pt x="140" y="1120"/>
                      <a:pt x="180" y="1107"/>
                    </a:cubicBezTo>
                    <a:cubicBezTo>
                      <a:pt x="192" y="1132"/>
                      <a:pt x="206" y="1156"/>
                      <a:pt x="221" y="1180"/>
                    </a:cubicBezTo>
                    <a:cubicBezTo>
                      <a:pt x="190" y="1207"/>
                      <a:pt x="165" y="1236"/>
                      <a:pt x="148" y="1263"/>
                    </a:cubicBezTo>
                    <a:cubicBezTo>
                      <a:pt x="172" y="1297"/>
                      <a:pt x="198" y="1329"/>
                      <a:pt x="227" y="1358"/>
                    </a:cubicBezTo>
                    <a:cubicBezTo>
                      <a:pt x="257" y="1347"/>
                      <a:pt x="290" y="1327"/>
                      <a:pt x="322" y="1301"/>
                    </a:cubicBezTo>
                    <a:cubicBezTo>
                      <a:pt x="343" y="1321"/>
                      <a:pt x="364" y="1339"/>
                      <a:pt x="387" y="1356"/>
                    </a:cubicBezTo>
                    <a:cubicBezTo>
                      <a:pt x="366" y="1392"/>
                      <a:pt x="353" y="1428"/>
                      <a:pt x="346" y="1460"/>
                    </a:cubicBezTo>
                    <a:cubicBezTo>
                      <a:pt x="380" y="1483"/>
                      <a:pt x="415" y="1504"/>
                      <a:pt x="452" y="1522"/>
                    </a:cubicBezTo>
                    <a:cubicBezTo>
                      <a:pt x="477" y="1501"/>
                      <a:pt x="502" y="1471"/>
                      <a:pt x="523" y="1436"/>
                    </a:cubicBezTo>
                    <a:cubicBezTo>
                      <a:pt x="549" y="1447"/>
                      <a:pt x="575" y="1457"/>
                      <a:pt x="602" y="1465"/>
                    </a:cubicBezTo>
                    <a:cubicBezTo>
                      <a:pt x="596" y="1506"/>
                      <a:pt x="595" y="1544"/>
                      <a:pt x="600" y="1576"/>
                    </a:cubicBezTo>
                    <a:cubicBezTo>
                      <a:pt x="620" y="1581"/>
                      <a:pt x="640" y="1586"/>
                      <a:pt x="660" y="1589"/>
                    </a:cubicBezTo>
                    <a:cubicBezTo>
                      <a:pt x="680" y="1593"/>
                      <a:pt x="701" y="1596"/>
                      <a:pt x="721" y="1598"/>
                    </a:cubicBezTo>
                    <a:cubicBezTo>
                      <a:pt x="736" y="1570"/>
                      <a:pt x="750" y="1534"/>
                      <a:pt x="758" y="1493"/>
                    </a:cubicBezTo>
                    <a:cubicBezTo>
                      <a:pt x="786" y="1495"/>
                      <a:pt x="814" y="1495"/>
                      <a:pt x="842" y="1494"/>
                    </a:cubicBezTo>
                    <a:cubicBezTo>
                      <a:pt x="850" y="1534"/>
                      <a:pt x="863" y="1571"/>
                      <a:pt x="878" y="1599"/>
                    </a:cubicBezTo>
                    <a:cubicBezTo>
                      <a:pt x="919" y="1595"/>
                      <a:pt x="959" y="1588"/>
                      <a:pt x="999" y="1578"/>
                    </a:cubicBezTo>
                    <a:cubicBezTo>
                      <a:pt x="1004" y="1547"/>
                      <a:pt x="1004" y="1508"/>
                      <a:pt x="998" y="1467"/>
                    </a:cubicBezTo>
                    <a:cubicBezTo>
                      <a:pt x="1025" y="1459"/>
                      <a:pt x="1051" y="1450"/>
                      <a:pt x="1077" y="1439"/>
                    </a:cubicBezTo>
                    <a:cubicBezTo>
                      <a:pt x="1098" y="1474"/>
                      <a:pt x="1123" y="1504"/>
                      <a:pt x="1147" y="1525"/>
                    </a:cubicBezTo>
                    <a:cubicBezTo>
                      <a:pt x="1184" y="1508"/>
                      <a:pt x="1220" y="1487"/>
                      <a:pt x="1253" y="1464"/>
                    </a:cubicBezTo>
                    <a:cubicBezTo>
                      <a:pt x="1248" y="1433"/>
                      <a:pt x="1234" y="1397"/>
                      <a:pt x="1214" y="1360"/>
                    </a:cubicBezTo>
                    <a:cubicBezTo>
                      <a:pt x="1237" y="1344"/>
                      <a:pt x="1259" y="1326"/>
                      <a:pt x="1279" y="1306"/>
                    </a:cubicBezTo>
                    <a:cubicBezTo>
                      <a:pt x="1311" y="1333"/>
                      <a:pt x="1345" y="1352"/>
                      <a:pt x="1374" y="1364"/>
                    </a:cubicBezTo>
                    <a:cubicBezTo>
                      <a:pt x="1403" y="1335"/>
                      <a:pt x="1430" y="1304"/>
                      <a:pt x="1454" y="1270"/>
                    </a:cubicBezTo>
                    <a:cubicBezTo>
                      <a:pt x="1438" y="1243"/>
                      <a:pt x="1413" y="1213"/>
                      <a:pt x="1382" y="1186"/>
                    </a:cubicBezTo>
                    <a:cubicBezTo>
                      <a:pt x="1397" y="1163"/>
                      <a:pt x="1411" y="1138"/>
                      <a:pt x="1424" y="1113"/>
                    </a:cubicBezTo>
                    <a:cubicBezTo>
                      <a:pt x="1463" y="1127"/>
                      <a:pt x="1501" y="1134"/>
                      <a:pt x="1533" y="1135"/>
                    </a:cubicBezTo>
                    <a:cubicBezTo>
                      <a:pt x="1550" y="1098"/>
                      <a:pt x="1564" y="1059"/>
                      <a:pt x="1576" y="1019"/>
                    </a:cubicBezTo>
                    <a:cubicBezTo>
                      <a:pt x="1551" y="999"/>
                      <a:pt x="1517" y="980"/>
                      <a:pt x="1479" y="965"/>
                    </a:cubicBezTo>
                    <a:close/>
                    <a:moveTo>
                      <a:pt x="700" y="1370"/>
                    </a:moveTo>
                    <a:cubicBezTo>
                      <a:pt x="384" y="1313"/>
                      <a:pt x="175" y="1011"/>
                      <a:pt x="232" y="696"/>
                    </a:cubicBezTo>
                    <a:cubicBezTo>
                      <a:pt x="290" y="380"/>
                      <a:pt x="592" y="171"/>
                      <a:pt x="907" y="228"/>
                    </a:cubicBezTo>
                    <a:cubicBezTo>
                      <a:pt x="1223" y="286"/>
                      <a:pt x="1432" y="588"/>
                      <a:pt x="1374" y="903"/>
                    </a:cubicBezTo>
                    <a:cubicBezTo>
                      <a:pt x="1317" y="1218"/>
                      <a:pt x="1015" y="1428"/>
                      <a:pt x="700" y="13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3573292" y="2217611"/>
                <a:ext cx="547690" cy="5476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79" name="Group 78"/>
            <p:cNvGrpSpPr/>
            <p:nvPr/>
          </p:nvGrpSpPr>
          <p:grpSpPr>
            <a:xfrm>
              <a:off x="5898417" y="2454404"/>
              <a:ext cx="754375" cy="752621"/>
              <a:chOff x="3366319" y="2012677"/>
              <a:chExt cx="959786" cy="957555"/>
            </a:xfrm>
          </p:grpSpPr>
          <p:sp>
            <p:nvSpPr>
              <p:cNvPr id="80" name="Freeform 8"/>
              <p:cNvSpPr>
                <a:spLocks noEditPoints="1"/>
              </p:cNvSpPr>
              <p:nvPr/>
            </p:nvSpPr>
            <p:spPr bwMode="auto">
              <a:xfrm>
                <a:off x="3366319" y="2012677"/>
                <a:ext cx="959786" cy="957555"/>
              </a:xfrm>
              <a:custGeom>
                <a:avLst/>
                <a:gdLst>
                  <a:gd name="T0" fmla="*/ 1487 w 1607"/>
                  <a:gd name="T1" fmla="*/ 924 h 1599"/>
                  <a:gd name="T2" fmla="*/ 1604 w 1607"/>
                  <a:gd name="T3" fmla="*/ 865 h 1599"/>
                  <a:gd name="T4" fmla="*/ 1495 w 1607"/>
                  <a:gd name="T5" fmla="*/ 724 h 1599"/>
                  <a:gd name="T6" fmla="*/ 1578 w 1607"/>
                  <a:gd name="T7" fmla="*/ 587 h 1599"/>
                  <a:gd name="T8" fmla="*/ 1427 w 1607"/>
                  <a:gd name="T9" fmla="*/ 492 h 1599"/>
                  <a:gd name="T10" fmla="*/ 1459 w 1607"/>
                  <a:gd name="T11" fmla="*/ 335 h 1599"/>
                  <a:gd name="T12" fmla="*/ 1284 w 1607"/>
                  <a:gd name="T13" fmla="*/ 297 h 1599"/>
                  <a:gd name="T14" fmla="*/ 1260 w 1607"/>
                  <a:gd name="T15" fmla="*/ 139 h 1599"/>
                  <a:gd name="T16" fmla="*/ 1084 w 1607"/>
                  <a:gd name="T17" fmla="*/ 163 h 1599"/>
                  <a:gd name="T18" fmla="*/ 1007 w 1607"/>
                  <a:gd name="T19" fmla="*/ 23 h 1599"/>
                  <a:gd name="T20" fmla="*/ 886 w 1607"/>
                  <a:gd name="T21" fmla="*/ 1 h 1599"/>
                  <a:gd name="T22" fmla="*/ 765 w 1607"/>
                  <a:gd name="T23" fmla="*/ 105 h 1599"/>
                  <a:gd name="T24" fmla="*/ 608 w 1607"/>
                  <a:gd name="T25" fmla="*/ 20 h 1599"/>
                  <a:gd name="T26" fmla="*/ 530 w 1607"/>
                  <a:gd name="T27" fmla="*/ 160 h 1599"/>
                  <a:gd name="T28" fmla="*/ 353 w 1607"/>
                  <a:gd name="T29" fmla="*/ 134 h 1599"/>
                  <a:gd name="T30" fmla="*/ 328 w 1607"/>
                  <a:gd name="T31" fmla="*/ 292 h 1599"/>
                  <a:gd name="T32" fmla="*/ 153 w 1607"/>
                  <a:gd name="T33" fmla="*/ 328 h 1599"/>
                  <a:gd name="T34" fmla="*/ 183 w 1607"/>
                  <a:gd name="T35" fmla="*/ 486 h 1599"/>
                  <a:gd name="T36" fmla="*/ 31 w 1607"/>
                  <a:gd name="T37" fmla="*/ 579 h 1599"/>
                  <a:gd name="T38" fmla="*/ 119 w 1607"/>
                  <a:gd name="T39" fmla="*/ 675 h 1599"/>
                  <a:gd name="T40" fmla="*/ 3 w 1607"/>
                  <a:gd name="T41" fmla="*/ 734 h 1599"/>
                  <a:gd name="T42" fmla="*/ 112 w 1607"/>
                  <a:gd name="T43" fmla="*/ 875 h 1599"/>
                  <a:gd name="T44" fmla="*/ 29 w 1607"/>
                  <a:gd name="T45" fmla="*/ 1011 h 1599"/>
                  <a:gd name="T46" fmla="*/ 180 w 1607"/>
                  <a:gd name="T47" fmla="*/ 1107 h 1599"/>
                  <a:gd name="T48" fmla="*/ 148 w 1607"/>
                  <a:gd name="T49" fmla="*/ 1263 h 1599"/>
                  <a:gd name="T50" fmla="*/ 322 w 1607"/>
                  <a:gd name="T51" fmla="*/ 1301 h 1599"/>
                  <a:gd name="T52" fmla="*/ 346 w 1607"/>
                  <a:gd name="T53" fmla="*/ 1460 h 1599"/>
                  <a:gd name="T54" fmla="*/ 523 w 1607"/>
                  <a:gd name="T55" fmla="*/ 1436 h 1599"/>
                  <a:gd name="T56" fmla="*/ 600 w 1607"/>
                  <a:gd name="T57" fmla="*/ 1576 h 1599"/>
                  <a:gd name="T58" fmla="*/ 721 w 1607"/>
                  <a:gd name="T59" fmla="*/ 1598 h 1599"/>
                  <a:gd name="T60" fmla="*/ 842 w 1607"/>
                  <a:gd name="T61" fmla="*/ 1494 h 1599"/>
                  <a:gd name="T62" fmla="*/ 999 w 1607"/>
                  <a:gd name="T63" fmla="*/ 1578 h 1599"/>
                  <a:gd name="T64" fmla="*/ 1077 w 1607"/>
                  <a:gd name="T65" fmla="*/ 1439 h 1599"/>
                  <a:gd name="T66" fmla="*/ 1253 w 1607"/>
                  <a:gd name="T67" fmla="*/ 1464 h 1599"/>
                  <a:gd name="T68" fmla="*/ 1279 w 1607"/>
                  <a:gd name="T69" fmla="*/ 1306 h 1599"/>
                  <a:gd name="T70" fmla="*/ 1454 w 1607"/>
                  <a:gd name="T71" fmla="*/ 1270 h 1599"/>
                  <a:gd name="T72" fmla="*/ 1424 w 1607"/>
                  <a:gd name="T73" fmla="*/ 1113 h 1599"/>
                  <a:gd name="T74" fmla="*/ 1576 w 1607"/>
                  <a:gd name="T75" fmla="*/ 1019 h 1599"/>
                  <a:gd name="T76" fmla="*/ 700 w 1607"/>
                  <a:gd name="T77" fmla="*/ 1370 h 1599"/>
                  <a:gd name="T78" fmla="*/ 907 w 1607"/>
                  <a:gd name="T79" fmla="*/ 228 h 1599"/>
                  <a:gd name="T80" fmla="*/ 700 w 1607"/>
                  <a:gd name="T81" fmla="*/ 1370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7" h="1599">
                    <a:moveTo>
                      <a:pt x="1479" y="965"/>
                    </a:moveTo>
                    <a:cubicBezTo>
                      <a:pt x="1482" y="951"/>
                      <a:pt x="1485" y="937"/>
                      <a:pt x="1487" y="924"/>
                    </a:cubicBezTo>
                    <a:cubicBezTo>
                      <a:pt x="1490" y="910"/>
                      <a:pt x="1492" y="896"/>
                      <a:pt x="1494" y="882"/>
                    </a:cubicBezTo>
                    <a:cubicBezTo>
                      <a:pt x="1535" y="881"/>
                      <a:pt x="1573" y="875"/>
                      <a:pt x="1604" y="865"/>
                    </a:cubicBezTo>
                    <a:cubicBezTo>
                      <a:pt x="1607" y="824"/>
                      <a:pt x="1607" y="782"/>
                      <a:pt x="1604" y="742"/>
                    </a:cubicBezTo>
                    <a:cubicBezTo>
                      <a:pt x="1574" y="731"/>
                      <a:pt x="1536" y="725"/>
                      <a:pt x="1495" y="724"/>
                    </a:cubicBezTo>
                    <a:cubicBezTo>
                      <a:pt x="1492" y="696"/>
                      <a:pt x="1487" y="668"/>
                      <a:pt x="1481" y="641"/>
                    </a:cubicBezTo>
                    <a:cubicBezTo>
                      <a:pt x="1519" y="626"/>
                      <a:pt x="1553" y="607"/>
                      <a:pt x="1578" y="587"/>
                    </a:cubicBezTo>
                    <a:cubicBezTo>
                      <a:pt x="1567" y="547"/>
                      <a:pt x="1553" y="509"/>
                      <a:pt x="1536" y="472"/>
                    </a:cubicBezTo>
                    <a:cubicBezTo>
                      <a:pt x="1504" y="472"/>
                      <a:pt x="1466" y="479"/>
                      <a:pt x="1427" y="492"/>
                    </a:cubicBezTo>
                    <a:cubicBezTo>
                      <a:pt x="1415" y="467"/>
                      <a:pt x="1401" y="442"/>
                      <a:pt x="1385" y="419"/>
                    </a:cubicBezTo>
                    <a:cubicBezTo>
                      <a:pt x="1417" y="392"/>
                      <a:pt x="1442" y="362"/>
                      <a:pt x="1459" y="335"/>
                    </a:cubicBezTo>
                    <a:cubicBezTo>
                      <a:pt x="1435" y="302"/>
                      <a:pt x="1409" y="270"/>
                      <a:pt x="1380" y="241"/>
                    </a:cubicBezTo>
                    <a:cubicBezTo>
                      <a:pt x="1350" y="252"/>
                      <a:pt x="1317" y="271"/>
                      <a:pt x="1284" y="297"/>
                    </a:cubicBezTo>
                    <a:cubicBezTo>
                      <a:pt x="1264" y="278"/>
                      <a:pt x="1243" y="260"/>
                      <a:pt x="1220" y="243"/>
                    </a:cubicBezTo>
                    <a:cubicBezTo>
                      <a:pt x="1240" y="206"/>
                      <a:pt x="1254" y="170"/>
                      <a:pt x="1260" y="139"/>
                    </a:cubicBezTo>
                    <a:cubicBezTo>
                      <a:pt x="1227" y="116"/>
                      <a:pt x="1192" y="95"/>
                      <a:pt x="1154" y="77"/>
                    </a:cubicBezTo>
                    <a:cubicBezTo>
                      <a:pt x="1130" y="98"/>
                      <a:pt x="1105" y="127"/>
                      <a:pt x="1084" y="163"/>
                    </a:cubicBezTo>
                    <a:cubicBezTo>
                      <a:pt x="1058" y="152"/>
                      <a:pt x="1032" y="142"/>
                      <a:pt x="1005" y="134"/>
                    </a:cubicBezTo>
                    <a:cubicBezTo>
                      <a:pt x="1011" y="93"/>
                      <a:pt x="1012" y="54"/>
                      <a:pt x="1007" y="23"/>
                    </a:cubicBezTo>
                    <a:cubicBezTo>
                      <a:pt x="987" y="17"/>
                      <a:pt x="967" y="13"/>
                      <a:pt x="947" y="9"/>
                    </a:cubicBezTo>
                    <a:cubicBezTo>
                      <a:pt x="927" y="6"/>
                      <a:pt x="906" y="3"/>
                      <a:pt x="886" y="1"/>
                    </a:cubicBezTo>
                    <a:cubicBezTo>
                      <a:pt x="870" y="29"/>
                      <a:pt x="857" y="65"/>
                      <a:pt x="849" y="106"/>
                    </a:cubicBezTo>
                    <a:cubicBezTo>
                      <a:pt x="821" y="104"/>
                      <a:pt x="793" y="103"/>
                      <a:pt x="765" y="105"/>
                    </a:cubicBezTo>
                    <a:cubicBezTo>
                      <a:pt x="757" y="64"/>
                      <a:pt x="744" y="28"/>
                      <a:pt x="729" y="0"/>
                    </a:cubicBezTo>
                    <a:cubicBezTo>
                      <a:pt x="688" y="3"/>
                      <a:pt x="647" y="10"/>
                      <a:pt x="608" y="20"/>
                    </a:cubicBezTo>
                    <a:cubicBezTo>
                      <a:pt x="603" y="52"/>
                      <a:pt x="603" y="91"/>
                      <a:pt x="609" y="132"/>
                    </a:cubicBezTo>
                    <a:cubicBezTo>
                      <a:pt x="582" y="140"/>
                      <a:pt x="556" y="149"/>
                      <a:pt x="530" y="160"/>
                    </a:cubicBezTo>
                    <a:cubicBezTo>
                      <a:pt x="509" y="124"/>
                      <a:pt x="484" y="95"/>
                      <a:pt x="460" y="73"/>
                    </a:cubicBezTo>
                    <a:cubicBezTo>
                      <a:pt x="423" y="91"/>
                      <a:pt x="387" y="111"/>
                      <a:pt x="353" y="134"/>
                    </a:cubicBezTo>
                    <a:cubicBezTo>
                      <a:pt x="359" y="166"/>
                      <a:pt x="373" y="202"/>
                      <a:pt x="392" y="239"/>
                    </a:cubicBezTo>
                    <a:cubicBezTo>
                      <a:pt x="370" y="255"/>
                      <a:pt x="348" y="273"/>
                      <a:pt x="328" y="292"/>
                    </a:cubicBezTo>
                    <a:cubicBezTo>
                      <a:pt x="295" y="266"/>
                      <a:pt x="262" y="246"/>
                      <a:pt x="233" y="235"/>
                    </a:cubicBezTo>
                    <a:cubicBezTo>
                      <a:pt x="204" y="264"/>
                      <a:pt x="177" y="295"/>
                      <a:pt x="153" y="328"/>
                    </a:cubicBezTo>
                    <a:cubicBezTo>
                      <a:pt x="169" y="356"/>
                      <a:pt x="194" y="385"/>
                      <a:pt x="225" y="413"/>
                    </a:cubicBezTo>
                    <a:cubicBezTo>
                      <a:pt x="210" y="436"/>
                      <a:pt x="196" y="460"/>
                      <a:pt x="183" y="486"/>
                    </a:cubicBezTo>
                    <a:cubicBezTo>
                      <a:pt x="144" y="472"/>
                      <a:pt x="106" y="465"/>
                      <a:pt x="74" y="464"/>
                    </a:cubicBezTo>
                    <a:cubicBezTo>
                      <a:pt x="57" y="501"/>
                      <a:pt x="43" y="539"/>
                      <a:pt x="31" y="579"/>
                    </a:cubicBezTo>
                    <a:cubicBezTo>
                      <a:pt x="56" y="599"/>
                      <a:pt x="89" y="619"/>
                      <a:pt x="128" y="634"/>
                    </a:cubicBezTo>
                    <a:cubicBezTo>
                      <a:pt x="125" y="647"/>
                      <a:pt x="122" y="661"/>
                      <a:pt x="119" y="675"/>
                    </a:cubicBezTo>
                    <a:cubicBezTo>
                      <a:pt x="117" y="689"/>
                      <a:pt x="115" y="703"/>
                      <a:pt x="113" y="717"/>
                    </a:cubicBezTo>
                    <a:cubicBezTo>
                      <a:pt x="72" y="717"/>
                      <a:pt x="33" y="724"/>
                      <a:pt x="3" y="734"/>
                    </a:cubicBezTo>
                    <a:cubicBezTo>
                      <a:pt x="0" y="775"/>
                      <a:pt x="0" y="816"/>
                      <a:pt x="2" y="857"/>
                    </a:cubicBezTo>
                    <a:cubicBezTo>
                      <a:pt x="33" y="867"/>
                      <a:pt x="71" y="874"/>
                      <a:pt x="112" y="875"/>
                    </a:cubicBezTo>
                    <a:cubicBezTo>
                      <a:pt x="115" y="903"/>
                      <a:pt x="120" y="931"/>
                      <a:pt x="126" y="958"/>
                    </a:cubicBezTo>
                    <a:cubicBezTo>
                      <a:pt x="87" y="973"/>
                      <a:pt x="54" y="992"/>
                      <a:pt x="29" y="1011"/>
                    </a:cubicBezTo>
                    <a:cubicBezTo>
                      <a:pt x="40" y="1051"/>
                      <a:pt x="54" y="1090"/>
                      <a:pt x="70" y="1127"/>
                    </a:cubicBezTo>
                    <a:cubicBezTo>
                      <a:pt x="102" y="1127"/>
                      <a:pt x="140" y="1120"/>
                      <a:pt x="180" y="1107"/>
                    </a:cubicBezTo>
                    <a:cubicBezTo>
                      <a:pt x="192" y="1132"/>
                      <a:pt x="206" y="1156"/>
                      <a:pt x="221" y="1180"/>
                    </a:cubicBezTo>
                    <a:cubicBezTo>
                      <a:pt x="190" y="1207"/>
                      <a:pt x="165" y="1236"/>
                      <a:pt x="148" y="1263"/>
                    </a:cubicBezTo>
                    <a:cubicBezTo>
                      <a:pt x="172" y="1297"/>
                      <a:pt x="198" y="1329"/>
                      <a:pt x="227" y="1358"/>
                    </a:cubicBezTo>
                    <a:cubicBezTo>
                      <a:pt x="257" y="1347"/>
                      <a:pt x="290" y="1327"/>
                      <a:pt x="322" y="1301"/>
                    </a:cubicBezTo>
                    <a:cubicBezTo>
                      <a:pt x="343" y="1321"/>
                      <a:pt x="364" y="1339"/>
                      <a:pt x="387" y="1356"/>
                    </a:cubicBezTo>
                    <a:cubicBezTo>
                      <a:pt x="366" y="1392"/>
                      <a:pt x="353" y="1428"/>
                      <a:pt x="346" y="1460"/>
                    </a:cubicBezTo>
                    <a:cubicBezTo>
                      <a:pt x="380" y="1483"/>
                      <a:pt x="415" y="1504"/>
                      <a:pt x="452" y="1522"/>
                    </a:cubicBezTo>
                    <a:cubicBezTo>
                      <a:pt x="477" y="1501"/>
                      <a:pt x="502" y="1471"/>
                      <a:pt x="523" y="1436"/>
                    </a:cubicBezTo>
                    <a:cubicBezTo>
                      <a:pt x="549" y="1447"/>
                      <a:pt x="575" y="1457"/>
                      <a:pt x="602" y="1465"/>
                    </a:cubicBezTo>
                    <a:cubicBezTo>
                      <a:pt x="596" y="1506"/>
                      <a:pt x="595" y="1544"/>
                      <a:pt x="600" y="1576"/>
                    </a:cubicBezTo>
                    <a:cubicBezTo>
                      <a:pt x="620" y="1581"/>
                      <a:pt x="640" y="1586"/>
                      <a:pt x="660" y="1589"/>
                    </a:cubicBezTo>
                    <a:cubicBezTo>
                      <a:pt x="680" y="1593"/>
                      <a:pt x="701" y="1596"/>
                      <a:pt x="721" y="1598"/>
                    </a:cubicBezTo>
                    <a:cubicBezTo>
                      <a:pt x="736" y="1570"/>
                      <a:pt x="750" y="1534"/>
                      <a:pt x="758" y="1493"/>
                    </a:cubicBezTo>
                    <a:cubicBezTo>
                      <a:pt x="786" y="1495"/>
                      <a:pt x="814" y="1495"/>
                      <a:pt x="842" y="1494"/>
                    </a:cubicBezTo>
                    <a:cubicBezTo>
                      <a:pt x="850" y="1534"/>
                      <a:pt x="863" y="1571"/>
                      <a:pt x="878" y="1599"/>
                    </a:cubicBezTo>
                    <a:cubicBezTo>
                      <a:pt x="919" y="1595"/>
                      <a:pt x="959" y="1588"/>
                      <a:pt x="999" y="1578"/>
                    </a:cubicBezTo>
                    <a:cubicBezTo>
                      <a:pt x="1004" y="1547"/>
                      <a:pt x="1004" y="1508"/>
                      <a:pt x="998" y="1467"/>
                    </a:cubicBezTo>
                    <a:cubicBezTo>
                      <a:pt x="1025" y="1459"/>
                      <a:pt x="1051" y="1450"/>
                      <a:pt x="1077" y="1439"/>
                    </a:cubicBezTo>
                    <a:cubicBezTo>
                      <a:pt x="1098" y="1474"/>
                      <a:pt x="1123" y="1504"/>
                      <a:pt x="1147" y="1525"/>
                    </a:cubicBezTo>
                    <a:cubicBezTo>
                      <a:pt x="1184" y="1508"/>
                      <a:pt x="1220" y="1487"/>
                      <a:pt x="1253" y="1464"/>
                    </a:cubicBezTo>
                    <a:cubicBezTo>
                      <a:pt x="1248" y="1433"/>
                      <a:pt x="1234" y="1397"/>
                      <a:pt x="1214" y="1360"/>
                    </a:cubicBezTo>
                    <a:cubicBezTo>
                      <a:pt x="1237" y="1344"/>
                      <a:pt x="1259" y="1326"/>
                      <a:pt x="1279" y="1306"/>
                    </a:cubicBezTo>
                    <a:cubicBezTo>
                      <a:pt x="1311" y="1333"/>
                      <a:pt x="1345" y="1352"/>
                      <a:pt x="1374" y="1364"/>
                    </a:cubicBezTo>
                    <a:cubicBezTo>
                      <a:pt x="1403" y="1335"/>
                      <a:pt x="1430" y="1304"/>
                      <a:pt x="1454" y="1270"/>
                    </a:cubicBezTo>
                    <a:cubicBezTo>
                      <a:pt x="1438" y="1243"/>
                      <a:pt x="1413" y="1213"/>
                      <a:pt x="1382" y="1186"/>
                    </a:cubicBezTo>
                    <a:cubicBezTo>
                      <a:pt x="1397" y="1163"/>
                      <a:pt x="1411" y="1138"/>
                      <a:pt x="1424" y="1113"/>
                    </a:cubicBezTo>
                    <a:cubicBezTo>
                      <a:pt x="1463" y="1127"/>
                      <a:pt x="1501" y="1134"/>
                      <a:pt x="1533" y="1135"/>
                    </a:cubicBezTo>
                    <a:cubicBezTo>
                      <a:pt x="1550" y="1098"/>
                      <a:pt x="1564" y="1059"/>
                      <a:pt x="1576" y="1019"/>
                    </a:cubicBezTo>
                    <a:cubicBezTo>
                      <a:pt x="1551" y="999"/>
                      <a:pt x="1517" y="980"/>
                      <a:pt x="1479" y="965"/>
                    </a:cubicBezTo>
                    <a:close/>
                    <a:moveTo>
                      <a:pt x="700" y="1370"/>
                    </a:moveTo>
                    <a:cubicBezTo>
                      <a:pt x="384" y="1313"/>
                      <a:pt x="175" y="1011"/>
                      <a:pt x="232" y="696"/>
                    </a:cubicBezTo>
                    <a:cubicBezTo>
                      <a:pt x="290" y="380"/>
                      <a:pt x="592" y="171"/>
                      <a:pt x="907" y="228"/>
                    </a:cubicBezTo>
                    <a:cubicBezTo>
                      <a:pt x="1223" y="286"/>
                      <a:pt x="1432" y="588"/>
                      <a:pt x="1374" y="903"/>
                    </a:cubicBezTo>
                    <a:cubicBezTo>
                      <a:pt x="1317" y="1218"/>
                      <a:pt x="1015" y="1428"/>
                      <a:pt x="700" y="13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3573292" y="2217611"/>
                <a:ext cx="547690" cy="5476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82" name="Freeform 5"/>
            <p:cNvSpPr>
              <a:spLocks/>
            </p:cNvSpPr>
            <p:nvPr/>
          </p:nvSpPr>
          <p:spPr bwMode="auto">
            <a:xfrm rot="10800000">
              <a:off x="5634635" y="3346962"/>
              <a:ext cx="397865" cy="442353"/>
            </a:xfrm>
            <a:custGeom>
              <a:avLst/>
              <a:gdLst>
                <a:gd name="T0" fmla="*/ 1724 w 2505"/>
                <a:gd name="T1" fmla="*/ 18 h 2784"/>
                <a:gd name="T2" fmla="*/ 1519 w 2505"/>
                <a:gd name="T3" fmla="*/ 2 h 2784"/>
                <a:gd name="T4" fmla="*/ 1307 w 2505"/>
                <a:gd name="T5" fmla="*/ 4 h 2784"/>
                <a:gd name="T6" fmla="*/ 1140 w 2505"/>
                <a:gd name="T7" fmla="*/ 18 h 2784"/>
                <a:gd name="T8" fmla="*/ 1027 w 2505"/>
                <a:gd name="T9" fmla="*/ 36 h 2784"/>
                <a:gd name="T10" fmla="*/ 969 w 2505"/>
                <a:gd name="T11" fmla="*/ 49 h 2784"/>
                <a:gd name="T12" fmla="*/ 1097 w 2505"/>
                <a:gd name="T13" fmla="*/ 49 h 2784"/>
                <a:gd name="T14" fmla="*/ 1218 w 2505"/>
                <a:gd name="T15" fmla="*/ 59 h 2784"/>
                <a:gd name="T16" fmla="*/ 1311 w 2505"/>
                <a:gd name="T17" fmla="*/ 76 h 2784"/>
                <a:gd name="T18" fmla="*/ 1380 w 2505"/>
                <a:gd name="T19" fmla="*/ 97 h 2784"/>
                <a:gd name="T20" fmla="*/ 1472 w 2505"/>
                <a:gd name="T21" fmla="*/ 140 h 2784"/>
                <a:gd name="T22" fmla="*/ 1526 w 2505"/>
                <a:gd name="T23" fmla="*/ 181 h 2784"/>
                <a:gd name="T24" fmla="*/ 1552 w 2505"/>
                <a:gd name="T25" fmla="*/ 217 h 2784"/>
                <a:gd name="T26" fmla="*/ 1561 w 2505"/>
                <a:gd name="T27" fmla="*/ 241 h 2784"/>
                <a:gd name="T28" fmla="*/ 1561 w 2505"/>
                <a:gd name="T29" fmla="*/ 253 h 2784"/>
                <a:gd name="T30" fmla="*/ 1416 w 2505"/>
                <a:gd name="T31" fmla="*/ 333 h 2784"/>
                <a:gd name="T32" fmla="*/ 1210 w 2505"/>
                <a:gd name="T33" fmla="*/ 468 h 2784"/>
                <a:gd name="T34" fmla="*/ 1016 w 2505"/>
                <a:gd name="T35" fmla="*/ 619 h 2784"/>
                <a:gd name="T36" fmla="*/ 834 w 2505"/>
                <a:gd name="T37" fmla="*/ 785 h 2784"/>
                <a:gd name="T38" fmla="*/ 666 w 2505"/>
                <a:gd name="T39" fmla="*/ 964 h 2784"/>
                <a:gd name="T40" fmla="*/ 512 w 2505"/>
                <a:gd name="T41" fmla="*/ 1157 h 2784"/>
                <a:gd name="T42" fmla="*/ 375 w 2505"/>
                <a:gd name="T43" fmla="*/ 1362 h 2784"/>
                <a:gd name="T44" fmla="*/ 255 w 2505"/>
                <a:gd name="T45" fmla="*/ 1578 h 2784"/>
                <a:gd name="T46" fmla="*/ 151 w 2505"/>
                <a:gd name="T47" fmla="*/ 1804 h 2784"/>
                <a:gd name="T48" fmla="*/ 67 w 2505"/>
                <a:gd name="T49" fmla="*/ 2040 h 2784"/>
                <a:gd name="T50" fmla="*/ 0 w 2505"/>
                <a:gd name="T51" fmla="*/ 2285 h 2784"/>
                <a:gd name="T52" fmla="*/ 229 w 2505"/>
                <a:gd name="T53" fmla="*/ 2724 h 2784"/>
                <a:gd name="T54" fmla="*/ 250 w 2505"/>
                <a:gd name="T55" fmla="*/ 2546 h 2784"/>
                <a:gd name="T56" fmla="*/ 281 w 2505"/>
                <a:gd name="T57" fmla="*/ 2371 h 2784"/>
                <a:gd name="T58" fmla="*/ 323 w 2505"/>
                <a:gd name="T59" fmla="*/ 2201 h 2784"/>
                <a:gd name="T60" fmla="*/ 376 w 2505"/>
                <a:gd name="T61" fmla="*/ 2035 h 2784"/>
                <a:gd name="T62" fmla="*/ 439 w 2505"/>
                <a:gd name="T63" fmla="*/ 1874 h 2784"/>
                <a:gd name="T64" fmla="*/ 512 w 2505"/>
                <a:gd name="T65" fmla="*/ 1718 h 2784"/>
                <a:gd name="T66" fmla="*/ 594 w 2505"/>
                <a:gd name="T67" fmla="*/ 1567 h 2784"/>
                <a:gd name="T68" fmla="*/ 684 w 2505"/>
                <a:gd name="T69" fmla="*/ 1421 h 2784"/>
                <a:gd name="T70" fmla="*/ 783 w 2505"/>
                <a:gd name="T71" fmla="*/ 1283 h 2784"/>
                <a:gd name="T72" fmla="*/ 891 w 2505"/>
                <a:gd name="T73" fmla="*/ 1151 h 2784"/>
                <a:gd name="T74" fmla="*/ 1006 w 2505"/>
                <a:gd name="T75" fmla="*/ 1026 h 2784"/>
                <a:gd name="T76" fmla="*/ 1128 w 2505"/>
                <a:gd name="T77" fmla="*/ 907 h 2784"/>
                <a:gd name="T78" fmla="*/ 1258 w 2505"/>
                <a:gd name="T79" fmla="*/ 797 h 2784"/>
                <a:gd name="T80" fmla="*/ 1395 w 2505"/>
                <a:gd name="T81" fmla="*/ 695 h 2784"/>
                <a:gd name="T82" fmla="*/ 1537 w 2505"/>
                <a:gd name="T83" fmla="*/ 601 h 2784"/>
                <a:gd name="T84" fmla="*/ 1686 w 2505"/>
                <a:gd name="T85" fmla="*/ 516 h 2784"/>
                <a:gd name="T86" fmla="*/ 1840 w 2505"/>
                <a:gd name="T87" fmla="*/ 440 h 2784"/>
                <a:gd name="T88" fmla="*/ 2000 w 2505"/>
                <a:gd name="T89" fmla="*/ 374 h 2784"/>
                <a:gd name="T90" fmla="*/ 2164 w 2505"/>
                <a:gd name="T91" fmla="*/ 317 h 2784"/>
                <a:gd name="T92" fmla="*/ 2333 w 2505"/>
                <a:gd name="T93" fmla="*/ 271 h 2784"/>
                <a:gd name="T94" fmla="*/ 2505 w 2505"/>
                <a:gd name="T95" fmla="*/ 235 h 2784"/>
                <a:gd name="T96" fmla="*/ 2450 w 2505"/>
                <a:gd name="T97" fmla="*/ 209 h 2784"/>
                <a:gd name="T98" fmla="*/ 2294 w 2505"/>
                <a:gd name="T99" fmla="*/ 149 h 2784"/>
                <a:gd name="T100" fmla="*/ 2125 w 2505"/>
                <a:gd name="T101" fmla="*/ 96 h 2784"/>
                <a:gd name="T102" fmla="*/ 1919 w 2505"/>
                <a:gd name="T103" fmla="*/ 47 h 2784"/>
                <a:gd name="T104" fmla="*/ 1768 w 2505"/>
                <a:gd name="T105" fmla="*/ 23 h 2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5" h="2784">
                  <a:moveTo>
                    <a:pt x="1768" y="23"/>
                  </a:moveTo>
                  <a:lnTo>
                    <a:pt x="1768" y="23"/>
                  </a:lnTo>
                  <a:lnTo>
                    <a:pt x="1724" y="18"/>
                  </a:lnTo>
                  <a:lnTo>
                    <a:pt x="1682" y="13"/>
                  </a:lnTo>
                  <a:lnTo>
                    <a:pt x="1598" y="7"/>
                  </a:lnTo>
                  <a:lnTo>
                    <a:pt x="1519" y="2"/>
                  </a:lnTo>
                  <a:lnTo>
                    <a:pt x="1445" y="0"/>
                  </a:lnTo>
                  <a:lnTo>
                    <a:pt x="1373" y="2"/>
                  </a:lnTo>
                  <a:lnTo>
                    <a:pt x="1307" y="4"/>
                  </a:lnTo>
                  <a:lnTo>
                    <a:pt x="1247" y="8"/>
                  </a:lnTo>
                  <a:lnTo>
                    <a:pt x="1191" y="13"/>
                  </a:lnTo>
                  <a:lnTo>
                    <a:pt x="1140" y="18"/>
                  </a:lnTo>
                  <a:lnTo>
                    <a:pt x="1097" y="24"/>
                  </a:lnTo>
                  <a:lnTo>
                    <a:pt x="1059" y="30"/>
                  </a:lnTo>
                  <a:lnTo>
                    <a:pt x="1027" y="36"/>
                  </a:lnTo>
                  <a:lnTo>
                    <a:pt x="983" y="45"/>
                  </a:lnTo>
                  <a:lnTo>
                    <a:pt x="969" y="49"/>
                  </a:lnTo>
                  <a:lnTo>
                    <a:pt x="969" y="49"/>
                  </a:lnTo>
                  <a:lnTo>
                    <a:pt x="1004" y="47"/>
                  </a:lnTo>
                  <a:lnTo>
                    <a:pt x="1045" y="47"/>
                  </a:lnTo>
                  <a:lnTo>
                    <a:pt x="1097" y="49"/>
                  </a:lnTo>
                  <a:lnTo>
                    <a:pt x="1155" y="52"/>
                  </a:lnTo>
                  <a:lnTo>
                    <a:pt x="1186" y="55"/>
                  </a:lnTo>
                  <a:lnTo>
                    <a:pt x="1218" y="59"/>
                  </a:lnTo>
                  <a:lnTo>
                    <a:pt x="1249" y="63"/>
                  </a:lnTo>
                  <a:lnTo>
                    <a:pt x="1280" y="68"/>
                  </a:lnTo>
                  <a:lnTo>
                    <a:pt x="1311" y="76"/>
                  </a:lnTo>
                  <a:lnTo>
                    <a:pt x="1341" y="83"/>
                  </a:lnTo>
                  <a:lnTo>
                    <a:pt x="1341" y="83"/>
                  </a:lnTo>
                  <a:lnTo>
                    <a:pt x="1380" y="97"/>
                  </a:lnTo>
                  <a:lnTo>
                    <a:pt x="1416" y="112"/>
                  </a:lnTo>
                  <a:lnTo>
                    <a:pt x="1446" y="125"/>
                  </a:lnTo>
                  <a:lnTo>
                    <a:pt x="1472" y="140"/>
                  </a:lnTo>
                  <a:lnTo>
                    <a:pt x="1494" y="154"/>
                  </a:lnTo>
                  <a:lnTo>
                    <a:pt x="1511" y="167"/>
                  </a:lnTo>
                  <a:lnTo>
                    <a:pt x="1526" y="181"/>
                  </a:lnTo>
                  <a:lnTo>
                    <a:pt x="1537" y="193"/>
                  </a:lnTo>
                  <a:lnTo>
                    <a:pt x="1546" y="206"/>
                  </a:lnTo>
                  <a:lnTo>
                    <a:pt x="1552" y="217"/>
                  </a:lnTo>
                  <a:lnTo>
                    <a:pt x="1557" y="227"/>
                  </a:lnTo>
                  <a:lnTo>
                    <a:pt x="1560" y="235"/>
                  </a:lnTo>
                  <a:lnTo>
                    <a:pt x="1561" y="241"/>
                  </a:lnTo>
                  <a:lnTo>
                    <a:pt x="1562" y="248"/>
                  </a:lnTo>
                  <a:lnTo>
                    <a:pt x="1561" y="251"/>
                  </a:lnTo>
                  <a:lnTo>
                    <a:pt x="1561" y="253"/>
                  </a:lnTo>
                  <a:lnTo>
                    <a:pt x="1561" y="253"/>
                  </a:lnTo>
                  <a:lnTo>
                    <a:pt x="1488" y="292"/>
                  </a:lnTo>
                  <a:lnTo>
                    <a:pt x="1416" y="333"/>
                  </a:lnTo>
                  <a:lnTo>
                    <a:pt x="1347" y="376"/>
                  </a:lnTo>
                  <a:lnTo>
                    <a:pt x="1278" y="422"/>
                  </a:lnTo>
                  <a:lnTo>
                    <a:pt x="1210" y="468"/>
                  </a:lnTo>
                  <a:lnTo>
                    <a:pt x="1144" y="517"/>
                  </a:lnTo>
                  <a:lnTo>
                    <a:pt x="1079" y="566"/>
                  </a:lnTo>
                  <a:lnTo>
                    <a:pt x="1016" y="619"/>
                  </a:lnTo>
                  <a:lnTo>
                    <a:pt x="954" y="673"/>
                  </a:lnTo>
                  <a:lnTo>
                    <a:pt x="893" y="728"/>
                  </a:lnTo>
                  <a:lnTo>
                    <a:pt x="834" y="785"/>
                  </a:lnTo>
                  <a:lnTo>
                    <a:pt x="776" y="843"/>
                  </a:lnTo>
                  <a:lnTo>
                    <a:pt x="720" y="902"/>
                  </a:lnTo>
                  <a:lnTo>
                    <a:pt x="666" y="964"/>
                  </a:lnTo>
                  <a:lnTo>
                    <a:pt x="614" y="1027"/>
                  </a:lnTo>
                  <a:lnTo>
                    <a:pt x="562" y="1091"/>
                  </a:lnTo>
                  <a:lnTo>
                    <a:pt x="512" y="1157"/>
                  </a:lnTo>
                  <a:lnTo>
                    <a:pt x="465" y="1224"/>
                  </a:lnTo>
                  <a:lnTo>
                    <a:pt x="420" y="1293"/>
                  </a:lnTo>
                  <a:lnTo>
                    <a:pt x="375" y="1362"/>
                  </a:lnTo>
                  <a:lnTo>
                    <a:pt x="333" y="1432"/>
                  </a:lnTo>
                  <a:lnTo>
                    <a:pt x="293" y="1505"/>
                  </a:lnTo>
                  <a:lnTo>
                    <a:pt x="255" y="1578"/>
                  </a:lnTo>
                  <a:lnTo>
                    <a:pt x="218" y="1652"/>
                  </a:lnTo>
                  <a:lnTo>
                    <a:pt x="183" y="1728"/>
                  </a:lnTo>
                  <a:lnTo>
                    <a:pt x="151" y="1804"/>
                  </a:lnTo>
                  <a:lnTo>
                    <a:pt x="122" y="1882"/>
                  </a:lnTo>
                  <a:lnTo>
                    <a:pt x="93" y="1961"/>
                  </a:lnTo>
                  <a:lnTo>
                    <a:pt x="67" y="2040"/>
                  </a:lnTo>
                  <a:lnTo>
                    <a:pt x="43" y="2122"/>
                  </a:lnTo>
                  <a:lnTo>
                    <a:pt x="20" y="2203"/>
                  </a:lnTo>
                  <a:lnTo>
                    <a:pt x="0" y="2285"/>
                  </a:lnTo>
                  <a:lnTo>
                    <a:pt x="224" y="2784"/>
                  </a:lnTo>
                  <a:lnTo>
                    <a:pt x="224" y="2784"/>
                  </a:lnTo>
                  <a:lnTo>
                    <a:pt x="229" y="2724"/>
                  </a:lnTo>
                  <a:lnTo>
                    <a:pt x="234" y="2664"/>
                  </a:lnTo>
                  <a:lnTo>
                    <a:pt x="242" y="2605"/>
                  </a:lnTo>
                  <a:lnTo>
                    <a:pt x="250" y="2546"/>
                  </a:lnTo>
                  <a:lnTo>
                    <a:pt x="259" y="2488"/>
                  </a:lnTo>
                  <a:lnTo>
                    <a:pt x="270" y="2430"/>
                  </a:lnTo>
                  <a:lnTo>
                    <a:pt x="281" y="2371"/>
                  </a:lnTo>
                  <a:lnTo>
                    <a:pt x="295" y="2315"/>
                  </a:lnTo>
                  <a:lnTo>
                    <a:pt x="308" y="2258"/>
                  </a:lnTo>
                  <a:lnTo>
                    <a:pt x="323" y="2201"/>
                  </a:lnTo>
                  <a:lnTo>
                    <a:pt x="340" y="2145"/>
                  </a:lnTo>
                  <a:lnTo>
                    <a:pt x="358" y="2090"/>
                  </a:lnTo>
                  <a:lnTo>
                    <a:pt x="376" y="2035"/>
                  </a:lnTo>
                  <a:lnTo>
                    <a:pt x="396" y="1981"/>
                  </a:lnTo>
                  <a:lnTo>
                    <a:pt x="417" y="1927"/>
                  </a:lnTo>
                  <a:lnTo>
                    <a:pt x="439" y="1874"/>
                  </a:lnTo>
                  <a:lnTo>
                    <a:pt x="463" y="1820"/>
                  </a:lnTo>
                  <a:lnTo>
                    <a:pt x="486" y="1769"/>
                  </a:lnTo>
                  <a:lnTo>
                    <a:pt x="512" y="1718"/>
                  </a:lnTo>
                  <a:lnTo>
                    <a:pt x="538" y="1666"/>
                  </a:lnTo>
                  <a:lnTo>
                    <a:pt x="565" y="1617"/>
                  </a:lnTo>
                  <a:lnTo>
                    <a:pt x="594" y="1567"/>
                  </a:lnTo>
                  <a:lnTo>
                    <a:pt x="622" y="1518"/>
                  </a:lnTo>
                  <a:lnTo>
                    <a:pt x="653" y="1470"/>
                  </a:lnTo>
                  <a:lnTo>
                    <a:pt x="684" y="1421"/>
                  </a:lnTo>
                  <a:lnTo>
                    <a:pt x="716" y="1374"/>
                  </a:lnTo>
                  <a:lnTo>
                    <a:pt x="750" y="1329"/>
                  </a:lnTo>
                  <a:lnTo>
                    <a:pt x="783" y="1283"/>
                  </a:lnTo>
                  <a:lnTo>
                    <a:pt x="818" y="1238"/>
                  </a:lnTo>
                  <a:lnTo>
                    <a:pt x="854" y="1194"/>
                  </a:lnTo>
                  <a:lnTo>
                    <a:pt x="891" y="1151"/>
                  </a:lnTo>
                  <a:lnTo>
                    <a:pt x="928" y="1109"/>
                  </a:lnTo>
                  <a:lnTo>
                    <a:pt x="966" y="1067"/>
                  </a:lnTo>
                  <a:lnTo>
                    <a:pt x="1006" y="1026"/>
                  </a:lnTo>
                  <a:lnTo>
                    <a:pt x="1046" y="985"/>
                  </a:lnTo>
                  <a:lnTo>
                    <a:pt x="1087" y="946"/>
                  </a:lnTo>
                  <a:lnTo>
                    <a:pt x="1128" y="907"/>
                  </a:lnTo>
                  <a:lnTo>
                    <a:pt x="1171" y="870"/>
                  </a:lnTo>
                  <a:lnTo>
                    <a:pt x="1215" y="833"/>
                  </a:lnTo>
                  <a:lnTo>
                    <a:pt x="1258" y="797"/>
                  </a:lnTo>
                  <a:lnTo>
                    <a:pt x="1302" y="763"/>
                  </a:lnTo>
                  <a:lnTo>
                    <a:pt x="1348" y="728"/>
                  </a:lnTo>
                  <a:lnTo>
                    <a:pt x="1395" y="695"/>
                  </a:lnTo>
                  <a:lnTo>
                    <a:pt x="1441" y="663"/>
                  </a:lnTo>
                  <a:lnTo>
                    <a:pt x="1489" y="632"/>
                  </a:lnTo>
                  <a:lnTo>
                    <a:pt x="1537" y="601"/>
                  </a:lnTo>
                  <a:lnTo>
                    <a:pt x="1587" y="571"/>
                  </a:lnTo>
                  <a:lnTo>
                    <a:pt x="1636" y="544"/>
                  </a:lnTo>
                  <a:lnTo>
                    <a:pt x="1686" y="516"/>
                  </a:lnTo>
                  <a:lnTo>
                    <a:pt x="1736" y="490"/>
                  </a:lnTo>
                  <a:lnTo>
                    <a:pt x="1788" y="465"/>
                  </a:lnTo>
                  <a:lnTo>
                    <a:pt x="1840" y="440"/>
                  </a:lnTo>
                  <a:lnTo>
                    <a:pt x="1893" y="417"/>
                  </a:lnTo>
                  <a:lnTo>
                    <a:pt x="1947" y="395"/>
                  </a:lnTo>
                  <a:lnTo>
                    <a:pt x="2000" y="374"/>
                  </a:lnTo>
                  <a:lnTo>
                    <a:pt x="2054" y="354"/>
                  </a:lnTo>
                  <a:lnTo>
                    <a:pt x="2108" y="335"/>
                  </a:lnTo>
                  <a:lnTo>
                    <a:pt x="2164" y="317"/>
                  </a:lnTo>
                  <a:lnTo>
                    <a:pt x="2220" y="301"/>
                  </a:lnTo>
                  <a:lnTo>
                    <a:pt x="2277" y="285"/>
                  </a:lnTo>
                  <a:lnTo>
                    <a:pt x="2333" y="271"/>
                  </a:lnTo>
                  <a:lnTo>
                    <a:pt x="2390" y="257"/>
                  </a:lnTo>
                  <a:lnTo>
                    <a:pt x="2447" y="245"/>
                  </a:lnTo>
                  <a:lnTo>
                    <a:pt x="2505" y="235"/>
                  </a:lnTo>
                  <a:lnTo>
                    <a:pt x="2505" y="235"/>
                  </a:lnTo>
                  <a:lnTo>
                    <a:pt x="2492" y="228"/>
                  </a:lnTo>
                  <a:lnTo>
                    <a:pt x="2450" y="209"/>
                  </a:lnTo>
                  <a:lnTo>
                    <a:pt x="2383" y="182"/>
                  </a:lnTo>
                  <a:lnTo>
                    <a:pt x="2341" y="166"/>
                  </a:lnTo>
                  <a:lnTo>
                    <a:pt x="2294" y="149"/>
                  </a:lnTo>
                  <a:lnTo>
                    <a:pt x="2242" y="131"/>
                  </a:lnTo>
                  <a:lnTo>
                    <a:pt x="2185" y="114"/>
                  </a:lnTo>
                  <a:lnTo>
                    <a:pt x="2125" y="96"/>
                  </a:lnTo>
                  <a:lnTo>
                    <a:pt x="2059" y="78"/>
                  </a:lnTo>
                  <a:lnTo>
                    <a:pt x="1991" y="62"/>
                  </a:lnTo>
                  <a:lnTo>
                    <a:pt x="1919" y="47"/>
                  </a:lnTo>
                  <a:lnTo>
                    <a:pt x="1845" y="34"/>
                  </a:lnTo>
                  <a:lnTo>
                    <a:pt x="1768" y="23"/>
                  </a:lnTo>
                  <a:lnTo>
                    <a:pt x="1768" y="23"/>
                  </a:lnTo>
                  <a:close/>
                </a:path>
              </a:pathLst>
            </a:custGeom>
            <a:solidFill>
              <a:schemeClr val="accent5"/>
            </a:solidFill>
            <a:ln w="1588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83" name="Freeform 5"/>
            <p:cNvSpPr>
              <a:spLocks/>
            </p:cNvSpPr>
            <p:nvPr/>
          </p:nvSpPr>
          <p:spPr bwMode="auto">
            <a:xfrm rot="10800000">
              <a:off x="3753698" y="3363136"/>
              <a:ext cx="397865" cy="442353"/>
            </a:xfrm>
            <a:custGeom>
              <a:avLst/>
              <a:gdLst>
                <a:gd name="T0" fmla="*/ 1724 w 2505"/>
                <a:gd name="T1" fmla="*/ 18 h 2784"/>
                <a:gd name="T2" fmla="*/ 1519 w 2505"/>
                <a:gd name="T3" fmla="*/ 2 h 2784"/>
                <a:gd name="T4" fmla="*/ 1307 w 2505"/>
                <a:gd name="T5" fmla="*/ 4 h 2784"/>
                <a:gd name="T6" fmla="*/ 1140 w 2505"/>
                <a:gd name="T7" fmla="*/ 18 h 2784"/>
                <a:gd name="T8" fmla="*/ 1027 w 2505"/>
                <a:gd name="T9" fmla="*/ 36 h 2784"/>
                <a:gd name="T10" fmla="*/ 969 w 2505"/>
                <a:gd name="T11" fmla="*/ 49 h 2784"/>
                <a:gd name="T12" fmla="*/ 1097 w 2505"/>
                <a:gd name="T13" fmla="*/ 49 h 2784"/>
                <a:gd name="T14" fmla="*/ 1218 w 2505"/>
                <a:gd name="T15" fmla="*/ 59 h 2784"/>
                <a:gd name="T16" fmla="*/ 1311 w 2505"/>
                <a:gd name="T17" fmla="*/ 76 h 2784"/>
                <a:gd name="T18" fmla="*/ 1380 w 2505"/>
                <a:gd name="T19" fmla="*/ 97 h 2784"/>
                <a:gd name="T20" fmla="*/ 1472 w 2505"/>
                <a:gd name="T21" fmla="*/ 140 h 2784"/>
                <a:gd name="T22" fmla="*/ 1526 w 2505"/>
                <a:gd name="T23" fmla="*/ 181 h 2784"/>
                <a:gd name="T24" fmla="*/ 1552 w 2505"/>
                <a:gd name="T25" fmla="*/ 217 h 2784"/>
                <a:gd name="T26" fmla="*/ 1561 w 2505"/>
                <a:gd name="T27" fmla="*/ 241 h 2784"/>
                <a:gd name="T28" fmla="*/ 1561 w 2505"/>
                <a:gd name="T29" fmla="*/ 253 h 2784"/>
                <a:gd name="T30" fmla="*/ 1416 w 2505"/>
                <a:gd name="T31" fmla="*/ 333 h 2784"/>
                <a:gd name="T32" fmla="*/ 1210 w 2505"/>
                <a:gd name="T33" fmla="*/ 468 h 2784"/>
                <a:gd name="T34" fmla="*/ 1016 w 2505"/>
                <a:gd name="T35" fmla="*/ 619 h 2784"/>
                <a:gd name="T36" fmla="*/ 834 w 2505"/>
                <a:gd name="T37" fmla="*/ 785 h 2784"/>
                <a:gd name="T38" fmla="*/ 666 w 2505"/>
                <a:gd name="T39" fmla="*/ 964 h 2784"/>
                <a:gd name="T40" fmla="*/ 512 w 2505"/>
                <a:gd name="T41" fmla="*/ 1157 h 2784"/>
                <a:gd name="T42" fmla="*/ 375 w 2505"/>
                <a:gd name="T43" fmla="*/ 1362 h 2784"/>
                <a:gd name="T44" fmla="*/ 255 w 2505"/>
                <a:gd name="T45" fmla="*/ 1578 h 2784"/>
                <a:gd name="T46" fmla="*/ 151 w 2505"/>
                <a:gd name="T47" fmla="*/ 1804 h 2784"/>
                <a:gd name="T48" fmla="*/ 67 w 2505"/>
                <a:gd name="T49" fmla="*/ 2040 h 2784"/>
                <a:gd name="T50" fmla="*/ 0 w 2505"/>
                <a:gd name="T51" fmla="*/ 2285 h 2784"/>
                <a:gd name="T52" fmla="*/ 229 w 2505"/>
                <a:gd name="T53" fmla="*/ 2724 h 2784"/>
                <a:gd name="T54" fmla="*/ 250 w 2505"/>
                <a:gd name="T55" fmla="*/ 2546 h 2784"/>
                <a:gd name="T56" fmla="*/ 281 w 2505"/>
                <a:gd name="T57" fmla="*/ 2371 h 2784"/>
                <a:gd name="T58" fmla="*/ 323 w 2505"/>
                <a:gd name="T59" fmla="*/ 2201 h 2784"/>
                <a:gd name="T60" fmla="*/ 376 w 2505"/>
                <a:gd name="T61" fmla="*/ 2035 h 2784"/>
                <a:gd name="T62" fmla="*/ 439 w 2505"/>
                <a:gd name="T63" fmla="*/ 1874 h 2784"/>
                <a:gd name="T64" fmla="*/ 512 w 2505"/>
                <a:gd name="T65" fmla="*/ 1718 h 2784"/>
                <a:gd name="T66" fmla="*/ 594 w 2505"/>
                <a:gd name="T67" fmla="*/ 1567 h 2784"/>
                <a:gd name="T68" fmla="*/ 684 w 2505"/>
                <a:gd name="T69" fmla="*/ 1421 h 2784"/>
                <a:gd name="T70" fmla="*/ 783 w 2505"/>
                <a:gd name="T71" fmla="*/ 1283 h 2784"/>
                <a:gd name="T72" fmla="*/ 891 w 2505"/>
                <a:gd name="T73" fmla="*/ 1151 h 2784"/>
                <a:gd name="T74" fmla="*/ 1006 w 2505"/>
                <a:gd name="T75" fmla="*/ 1026 h 2784"/>
                <a:gd name="T76" fmla="*/ 1128 w 2505"/>
                <a:gd name="T77" fmla="*/ 907 h 2784"/>
                <a:gd name="T78" fmla="*/ 1258 w 2505"/>
                <a:gd name="T79" fmla="*/ 797 h 2784"/>
                <a:gd name="T80" fmla="*/ 1395 w 2505"/>
                <a:gd name="T81" fmla="*/ 695 h 2784"/>
                <a:gd name="T82" fmla="*/ 1537 w 2505"/>
                <a:gd name="T83" fmla="*/ 601 h 2784"/>
                <a:gd name="T84" fmla="*/ 1686 w 2505"/>
                <a:gd name="T85" fmla="*/ 516 h 2784"/>
                <a:gd name="T86" fmla="*/ 1840 w 2505"/>
                <a:gd name="T87" fmla="*/ 440 h 2784"/>
                <a:gd name="T88" fmla="*/ 2000 w 2505"/>
                <a:gd name="T89" fmla="*/ 374 h 2784"/>
                <a:gd name="T90" fmla="*/ 2164 w 2505"/>
                <a:gd name="T91" fmla="*/ 317 h 2784"/>
                <a:gd name="T92" fmla="*/ 2333 w 2505"/>
                <a:gd name="T93" fmla="*/ 271 h 2784"/>
                <a:gd name="T94" fmla="*/ 2505 w 2505"/>
                <a:gd name="T95" fmla="*/ 235 h 2784"/>
                <a:gd name="T96" fmla="*/ 2450 w 2505"/>
                <a:gd name="T97" fmla="*/ 209 h 2784"/>
                <a:gd name="T98" fmla="*/ 2294 w 2505"/>
                <a:gd name="T99" fmla="*/ 149 h 2784"/>
                <a:gd name="T100" fmla="*/ 2125 w 2505"/>
                <a:gd name="T101" fmla="*/ 96 h 2784"/>
                <a:gd name="T102" fmla="*/ 1919 w 2505"/>
                <a:gd name="T103" fmla="*/ 47 h 2784"/>
                <a:gd name="T104" fmla="*/ 1768 w 2505"/>
                <a:gd name="T105" fmla="*/ 23 h 2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5" h="2784">
                  <a:moveTo>
                    <a:pt x="1768" y="23"/>
                  </a:moveTo>
                  <a:lnTo>
                    <a:pt x="1768" y="23"/>
                  </a:lnTo>
                  <a:lnTo>
                    <a:pt x="1724" y="18"/>
                  </a:lnTo>
                  <a:lnTo>
                    <a:pt x="1682" y="13"/>
                  </a:lnTo>
                  <a:lnTo>
                    <a:pt x="1598" y="7"/>
                  </a:lnTo>
                  <a:lnTo>
                    <a:pt x="1519" y="2"/>
                  </a:lnTo>
                  <a:lnTo>
                    <a:pt x="1445" y="0"/>
                  </a:lnTo>
                  <a:lnTo>
                    <a:pt x="1373" y="2"/>
                  </a:lnTo>
                  <a:lnTo>
                    <a:pt x="1307" y="4"/>
                  </a:lnTo>
                  <a:lnTo>
                    <a:pt x="1247" y="8"/>
                  </a:lnTo>
                  <a:lnTo>
                    <a:pt x="1191" y="13"/>
                  </a:lnTo>
                  <a:lnTo>
                    <a:pt x="1140" y="18"/>
                  </a:lnTo>
                  <a:lnTo>
                    <a:pt x="1097" y="24"/>
                  </a:lnTo>
                  <a:lnTo>
                    <a:pt x="1059" y="30"/>
                  </a:lnTo>
                  <a:lnTo>
                    <a:pt x="1027" y="36"/>
                  </a:lnTo>
                  <a:lnTo>
                    <a:pt x="983" y="45"/>
                  </a:lnTo>
                  <a:lnTo>
                    <a:pt x="969" y="49"/>
                  </a:lnTo>
                  <a:lnTo>
                    <a:pt x="969" y="49"/>
                  </a:lnTo>
                  <a:lnTo>
                    <a:pt x="1004" y="47"/>
                  </a:lnTo>
                  <a:lnTo>
                    <a:pt x="1045" y="47"/>
                  </a:lnTo>
                  <a:lnTo>
                    <a:pt x="1097" y="49"/>
                  </a:lnTo>
                  <a:lnTo>
                    <a:pt x="1155" y="52"/>
                  </a:lnTo>
                  <a:lnTo>
                    <a:pt x="1186" y="55"/>
                  </a:lnTo>
                  <a:lnTo>
                    <a:pt x="1218" y="59"/>
                  </a:lnTo>
                  <a:lnTo>
                    <a:pt x="1249" y="63"/>
                  </a:lnTo>
                  <a:lnTo>
                    <a:pt x="1280" y="68"/>
                  </a:lnTo>
                  <a:lnTo>
                    <a:pt x="1311" y="76"/>
                  </a:lnTo>
                  <a:lnTo>
                    <a:pt x="1341" y="83"/>
                  </a:lnTo>
                  <a:lnTo>
                    <a:pt x="1341" y="83"/>
                  </a:lnTo>
                  <a:lnTo>
                    <a:pt x="1380" y="97"/>
                  </a:lnTo>
                  <a:lnTo>
                    <a:pt x="1416" y="112"/>
                  </a:lnTo>
                  <a:lnTo>
                    <a:pt x="1446" y="125"/>
                  </a:lnTo>
                  <a:lnTo>
                    <a:pt x="1472" y="140"/>
                  </a:lnTo>
                  <a:lnTo>
                    <a:pt x="1494" y="154"/>
                  </a:lnTo>
                  <a:lnTo>
                    <a:pt x="1511" y="167"/>
                  </a:lnTo>
                  <a:lnTo>
                    <a:pt x="1526" y="181"/>
                  </a:lnTo>
                  <a:lnTo>
                    <a:pt x="1537" y="193"/>
                  </a:lnTo>
                  <a:lnTo>
                    <a:pt x="1546" y="206"/>
                  </a:lnTo>
                  <a:lnTo>
                    <a:pt x="1552" y="217"/>
                  </a:lnTo>
                  <a:lnTo>
                    <a:pt x="1557" y="227"/>
                  </a:lnTo>
                  <a:lnTo>
                    <a:pt x="1560" y="235"/>
                  </a:lnTo>
                  <a:lnTo>
                    <a:pt x="1561" y="241"/>
                  </a:lnTo>
                  <a:lnTo>
                    <a:pt x="1562" y="248"/>
                  </a:lnTo>
                  <a:lnTo>
                    <a:pt x="1561" y="251"/>
                  </a:lnTo>
                  <a:lnTo>
                    <a:pt x="1561" y="253"/>
                  </a:lnTo>
                  <a:lnTo>
                    <a:pt x="1561" y="253"/>
                  </a:lnTo>
                  <a:lnTo>
                    <a:pt x="1488" y="292"/>
                  </a:lnTo>
                  <a:lnTo>
                    <a:pt x="1416" y="333"/>
                  </a:lnTo>
                  <a:lnTo>
                    <a:pt x="1347" y="376"/>
                  </a:lnTo>
                  <a:lnTo>
                    <a:pt x="1278" y="422"/>
                  </a:lnTo>
                  <a:lnTo>
                    <a:pt x="1210" y="468"/>
                  </a:lnTo>
                  <a:lnTo>
                    <a:pt x="1144" y="517"/>
                  </a:lnTo>
                  <a:lnTo>
                    <a:pt x="1079" y="566"/>
                  </a:lnTo>
                  <a:lnTo>
                    <a:pt x="1016" y="619"/>
                  </a:lnTo>
                  <a:lnTo>
                    <a:pt x="954" y="673"/>
                  </a:lnTo>
                  <a:lnTo>
                    <a:pt x="893" y="728"/>
                  </a:lnTo>
                  <a:lnTo>
                    <a:pt x="834" y="785"/>
                  </a:lnTo>
                  <a:lnTo>
                    <a:pt x="776" y="843"/>
                  </a:lnTo>
                  <a:lnTo>
                    <a:pt x="720" y="902"/>
                  </a:lnTo>
                  <a:lnTo>
                    <a:pt x="666" y="964"/>
                  </a:lnTo>
                  <a:lnTo>
                    <a:pt x="614" y="1027"/>
                  </a:lnTo>
                  <a:lnTo>
                    <a:pt x="562" y="1091"/>
                  </a:lnTo>
                  <a:lnTo>
                    <a:pt x="512" y="1157"/>
                  </a:lnTo>
                  <a:lnTo>
                    <a:pt x="465" y="1224"/>
                  </a:lnTo>
                  <a:lnTo>
                    <a:pt x="420" y="1293"/>
                  </a:lnTo>
                  <a:lnTo>
                    <a:pt x="375" y="1362"/>
                  </a:lnTo>
                  <a:lnTo>
                    <a:pt x="333" y="1432"/>
                  </a:lnTo>
                  <a:lnTo>
                    <a:pt x="293" y="1505"/>
                  </a:lnTo>
                  <a:lnTo>
                    <a:pt x="255" y="1578"/>
                  </a:lnTo>
                  <a:lnTo>
                    <a:pt x="218" y="1652"/>
                  </a:lnTo>
                  <a:lnTo>
                    <a:pt x="183" y="1728"/>
                  </a:lnTo>
                  <a:lnTo>
                    <a:pt x="151" y="1804"/>
                  </a:lnTo>
                  <a:lnTo>
                    <a:pt x="122" y="1882"/>
                  </a:lnTo>
                  <a:lnTo>
                    <a:pt x="93" y="1961"/>
                  </a:lnTo>
                  <a:lnTo>
                    <a:pt x="67" y="2040"/>
                  </a:lnTo>
                  <a:lnTo>
                    <a:pt x="43" y="2122"/>
                  </a:lnTo>
                  <a:lnTo>
                    <a:pt x="20" y="2203"/>
                  </a:lnTo>
                  <a:lnTo>
                    <a:pt x="0" y="2285"/>
                  </a:lnTo>
                  <a:lnTo>
                    <a:pt x="224" y="2784"/>
                  </a:lnTo>
                  <a:lnTo>
                    <a:pt x="224" y="2784"/>
                  </a:lnTo>
                  <a:lnTo>
                    <a:pt x="229" y="2724"/>
                  </a:lnTo>
                  <a:lnTo>
                    <a:pt x="234" y="2664"/>
                  </a:lnTo>
                  <a:lnTo>
                    <a:pt x="242" y="2605"/>
                  </a:lnTo>
                  <a:lnTo>
                    <a:pt x="250" y="2546"/>
                  </a:lnTo>
                  <a:lnTo>
                    <a:pt x="259" y="2488"/>
                  </a:lnTo>
                  <a:lnTo>
                    <a:pt x="270" y="2430"/>
                  </a:lnTo>
                  <a:lnTo>
                    <a:pt x="281" y="2371"/>
                  </a:lnTo>
                  <a:lnTo>
                    <a:pt x="295" y="2315"/>
                  </a:lnTo>
                  <a:lnTo>
                    <a:pt x="308" y="2258"/>
                  </a:lnTo>
                  <a:lnTo>
                    <a:pt x="323" y="2201"/>
                  </a:lnTo>
                  <a:lnTo>
                    <a:pt x="340" y="2145"/>
                  </a:lnTo>
                  <a:lnTo>
                    <a:pt x="358" y="2090"/>
                  </a:lnTo>
                  <a:lnTo>
                    <a:pt x="376" y="2035"/>
                  </a:lnTo>
                  <a:lnTo>
                    <a:pt x="396" y="1981"/>
                  </a:lnTo>
                  <a:lnTo>
                    <a:pt x="417" y="1927"/>
                  </a:lnTo>
                  <a:lnTo>
                    <a:pt x="439" y="1874"/>
                  </a:lnTo>
                  <a:lnTo>
                    <a:pt x="463" y="1820"/>
                  </a:lnTo>
                  <a:lnTo>
                    <a:pt x="486" y="1769"/>
                  </a:lnTo>
                  <a:lnTo>
                    <a:pt x="512" y="1718"/>
                  </a:lnTo>
                  <a:lnTo>
                    <a:pt x="538" y="1666"/>
                  </a:lnTo>
                  <a:lnTo>
                    <a:pt x="565" y="1617"/>
                  </a:lnTo>
                  <a:lnTo>
                    <a:pt x="594" y="1567"/>
                  </a:lnTo>
                  <a:lnTo>
                    <a:pt x="622" y="1518"/>
                  </a:lnTo>
                  <a:lnTo>
                    <a:pt x="653" y="1470"/>
                  </a:lnTo>
                  <a:lnTo>
                    <a:pt x="684" y="1421"/>
                  </a:lnTo>
                  <a:lnTo>
                    <a:pt x="716" y="1374"/>
                  </a:lnTo>
                  <a:lnTo>
                    <a:pt x="750" y="1329"/>
                  </a:lnTo>
                  <a:lnTo>
                    <a:pt x="783" y="1283"/>
                  </a:lnTo>
                  <a:lnTo>
                    <a:pt x="818" y="1238"/>
                  </a:lnTo>
                  <a:lnTo>
                    <a:pt x="854" y="1194"/>
                  </a:lnTo>
                  <a:lnTo>
                    <a:pt x="891" y="1151"/>
                  </a:lnTo>
                  <a:lnTo>
                    <a:pt x="928" y="1109"/>
                  </a:lnTo>
                  <a:lnTo>
                    <a:pt x="966" y="1067"/>
                  </a:lnTo>
                  <a:lnTo>
                    <a:pt x="1006" y="1026"/>
                  </a:lnTo>
                  <a:lnTo>
                    <a:pt x="1046" y="985"/>
                  </a:lnTo>
                  <a:lnTo>
                    <a:pt x="1087" y="946"/>
                  </a:lnTo>
                  <a:lnTo>
                    <a:pt x="1128" y="907"/>
                  </a:lnTo>
                  <a:lnTo>
                    <a:pt x="1171" y="870"/>
                  </a:lnTo>
                  <a:lnTo>
                    <a:pt x="1215" y="833"/>
                  </a:lnTo>
                  <a:lnTo>
                    <a:pt x="1258" y="797"/>
                  </a:lnTo>
                  <a:lnTo>
                    <a:pt x="1302" y="763"/>
                  </a:lnTo>
                  <a:lnTo>
                    <a:pt x="1348" y="728"/>
                  </a:lnTo>
                  <a:lnTo>
                    <a:pt x="1395" y="695"/>
                  </a:lnTo>
                  <a:lnTo>
                    <a:pt x="1441" y="663"/>
                  </a:lnTo>
                  <a:lnTo>
                    <a:pt x="1489" y="632"/>
                  </a:lnTo>
                  <a:lnTo>
                    <a:pt x="1537" y="601"/>
                  </a:lnTo>
                  <a:lnTo>
                    <a:pt x="1587" y="571"/>
                  </a:lnTo>
                  <a:lnTo>
                    <a:pt x="1636" y="544"/>
                  </a:lnTo>
                  <a:lnTo>
                    <a:pt x="1686" y="516"/>
                  </a:lnTo>
                  <a:lnTo>
                    <a:pt x="1736" y="490"/>
                  </a:lnTo>
                  <a:lnTo>
                    <a:pt x="1788" y="465"/>
                  </a:lnTo>
                  <a:lnTo>
                    <a:pt x="1840" y="440"/>
                  </a:lnTo>
                  <a:lnTo>
                    <a:pt x="1893" y="417"/>
                  </a:lnTo>
                  <a:lnTo>
                    <a:pt x="1947" y="395"/>
                  </a:lnTo>
                  <a:lnTo>
                    <a:pt x="2000" y="374"/>
                  </a:lnTo>
                  <a:lnTo>
                    <a:pt x="2054" y="354"/>
                  </a:lnTo>
                  <a:lnTo>
                    <a:pt x="2108" y="335"/>
                  </a:lnTo>
                  <a:lnTo>
                    <a:pt x="2164" y="317"/>
                  </a:lnTo>
                  <a:lnTo>
                    <a:pt x="2220" y="301"/>
                  </a:lnTo>
                  <a:lnTo>
                    <a:pt x="2277" y="285"/>
                  </a:lnTo>
                  <a:lnTo>
                    <a:pt x="2333" y="271"/>
                  </a:lnTo>
                  <a:lnTo>
                    <a:pt x="2390" y="257"/>
                  </a:lnTo>
                  <a:lnTo>
                    <a:pt x="2447" y="245"/>
                  </a:lnTo>
                  <a:lnTo>
                    <a:pt x="2505" y="235"/>
                  </a:lnTo>
                  <a:lnTo>
                    <a:pt x="2505" y="235"/>
                  </a:lnTo>
                  <a:lnTo>
                    <a:pt x="2492" y="228"/>
                  </a:lnTo>
                  <a:lnTo>
                    <a:pt x="2450" y="209"/>
                  </a:lnTo>
                  <a:lnTo>
                    <a:pt x="2383" y="182"/>
                  </a:lnTo>
                  <a:lnTo>
                    <a:pt x="2341" y="166"/>
                  </a:lnTo>
                  <a:lnTo>
                    <a:pt x="2294" y="149"/>
                  </a:lnTo>
                  <a:lnTo>
                    <a:pt x="2242" y="131"/>
                  </a:lnTo>
                  <a:lnTo>
                    <a:pt x="2185" y="114"/>
                  </a:lnTo>
                  <a:lnTo>
                    <a:pt x="2125" y="96"/>
                  </a:lnTo>
                  <a:lnTo>
                    <a:pt x="2059" y="78"/>
                  </a:lnTo>
                  <a:lnTo>
                    <a:pt x="1991" y="62"/>
                  </a:lnTo>
                  <a:lnTo>
                    <a:pt x="1919" y="47"/>
                  </a:lnTo>
                  <a:lnTo>
                    <a:pt x="1845" y="34"/>
                  </a:lnTo>
                  <a:lnTo>
                    <a:pt x="1768" y="23"/>
                  </a:lnTo>
                  <a:lnTo>
                    <a:pt x="1768" y="23"/>
                  </a:lnTo>
                  <a:close/>
                </a:path>
              </a:pathLst>
            </a:custGeom>
            <a:solidFill>
              <a:schemeClr val="accent5"/>
            </a:solidFill>
            <a:ln w="1588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84" name="Freeform 5"/>
            <p:cNvSpPr>
              <a:spLocks/>
            </p:cNvSpPr>
            <p:nvPr/>
          </p:nvSpPr>
          <p:spPr bwMode="auto">
            <a:xfrm>
              <a:off x="2208176" y="2188369"/>
              <a:ext cx="388206" cy="431614"/>
            </a:xfrm>
            <a:custGeom>
              <a:avLst/>
              <a:gdLst>
                <a:gd name="T0" fmla="*/ 1724 w 2505"/>
                <a:gd name="T1" fmla="*/ 18 h 2784"/>
                <a:gd name="T2" fmla="*/ 1519 w 2505"/>
                <a:gd name="T3" fmla="*/ 2 h 2784"/>
                <a:gd name="T4" fmla="*/ 1307 w 2505"/>
                <a:gd name="T5" fmla="*/ 4 h 2784"/>
                <a:gd name="T6" fmla="*/ 1140 w 2505"/>
                <a:gd name="T7" fmla="*/ 18 h 2784"/>
                <a:gd name="T8" fmla="*/ 1027 w 2505"/>
                <a:gd name="T9" fmla="*/ 36 h 2784"/>
                <a:gd name="T10" fmla="*/ 969 w 2505"/>
                <a:gd name="T11" fmla="*/ 49 h 2784"/>
                <a:gd name="T12" fmla="*/ 1097 w 2505"/>
                <a:gd name="T13" fmla="*/ 49 h 2784"/>
                <a:gd name="T14" fmla="*/ 1218 w 2505"/>
                <a:gd name="T15" fmla="*/ 59 h 2784"/>
                <a:gd name="T16" fmla="*/ 1311 w 2505"/>
                <a:gd name="T17" fmla="*/ 76 h 2784"/>
                <a:gd name="T18" fmla="*/ 1380 w 2505"/>
                <a:gd name="T19" fmla="*/ 97 h 2784"/>
                <a:gd name="T20" fmla="*/ 1472 w 2505"/>
                <a:gd name="T21" fmla="*/ 140 h 2784"/>
                <a:gd name="T22" fmla="*/ 1526 w 2505"/>
                <a:gd name="T23" fmla="*/ 181 h 2784"/>
                <a:gd name="T24" fmla="*/ 1552 w 2505"/>
                <a:gd name="T25" fmla="*/ 217 h 2784"/>
                <a:gd name="T26" fmla="*/ 1561 w 2505"/>
                <a:gd name="T27" fmla="*/ 241 h 2784"/>
                <a:gd name="T28" fmla="*/ 1561 w 2505"/>
                <a:gd name="T29" fmla="*/ 253 h 2784"/>
                <a:gd name="T30" fmla="*/ 1416 w 2505"/>
                <a:gd name="T31" fmla="*/ 333 h 2784"/>
                <a:gd name="T32" fmla="*/ 1210 w 2505"/>
                <a:gd name="T33" fmla="*/ 468 h 2784"/>
                <a:gd name="T34" fmla="*/ 1016 w 2505"/>
                <a:gd name="T35" fmla="*/ 619 h 2784"/>
                <a:gd name="T36" fmla="*/ 834 w 2505"/>
                <a:gd name="T37" fmla="*/ 785 h 2784"/>
                <a:gd name="T38" fmla="*/ 666 w 2505"/>
                <a:gd name="T39" fmla="*/ 964 h 2784"/>
                <a:gd name="T40" fmla="*/ 512 w 2505"/>
                <a:gd name="T41" fmla="*/ 1157 h 2784"/>
                <a:gd name="T42" fmla="*/ 375 w 2505"/>
                <a:gd name="T43" fmla="*/ 1362 h 2784"/>
                <a:gd name="T44" fmla="*/ 255 w 2505"/>
                <a:gd name="T45" fmla="*/ 1578 h 2784"/>
                <a:gd name="T46" fmla="*/ 151 w 2505"/>
                <a:gd name="T47" fmla="*/ 1804 h 2784"/>
                <a:gd name="T48" fmla="*/ 67 w 2505"/>
                <a:gd name="T49" fmla="*/ 2040 h 2784"/>
                <a:gd name="T50" fmla="*/ 0 w 2505"/>
                <a:gd name="T51" fmla="*/ 2285 h 2784"/>
                <a:gd name="T52" fmla="*/ 229 w 2505"/>
                <a:gd name="T53" fmla="*/ 2724 h 2784"/>
                <a:gd name="T54" fmla="*/ 250 w 2505"/>
                <a:gd name="T55" fmla="*/ 2546 h 2784"/>
                <a:gd name="T56" fmla="*/ 281 w 2505"/>
                <a:gd name="T57" fmla="*/ 2371 h 2784"/>
                <a:gd name="T58" fmla="*/ 323 w 2505"/>
                <a:gd name="T59" fmla="*/ 2201 h 2784"/>
                <a:gd name="T60" fmla="*/ 376 w 2505"/>
                <a:gd name="T61" fmla="*/ 2035 h 2784"/>
                <a:gd name="T62" fmla="*/ 439 w 2505"/>
                <a:gd name="T63" fmla="*/ 1874 h 2784"/>
                <a:gd name="T64" fmla="*/ 512 w 2505"/>
                <a:gd name="T65" fmla="*/ 1718 h 2784"/>
                <a:gd name="T66" fmla="*/ 594 w 2505"/>
                <a:gd name="T67" fmla="*/ 1567 h 2784"/>
                <a:gd name="T68" fmla="*/ 684 w 2505"/>
                <a:gd name="T69" fmla="*/ 1421 h 2784"/>
                <a:gd name="T70" fmla="*/ 783 w 2505"/>
                <a:gd name="T71" fmla="*/ 1283 h 2784"/>
                <a:gd name="T72" fmla="*/ 891 w 2505"/>
                <a:gd name="T73" fmla="*/ 1151 h 2784"/>
                <a:gd name="T74" fmla="*/ 1006 w 2505"/>
                <a:gd name="T75" fmla="*/ 1026 h 2784"/>
                <a:gd name="T76" fmla="*/ 1128 w 2505"/>
                <a:gd name="T77" fmla="*/ 907 h 2784"/>
                <a:gd name="T78" fmla="*/ 1258 w 2505"/>
                <a:gd name="T79" fmla="*/ 797 h 2784"/>
                <a:gd name="T80" fmla="*/ 1395 w 2505"/>
                <a:gd name="T81" fmla="*/ 695 h 2784"/>
                <a:gd name="T82" fmla="*/ 1537 w 2505"/>
                <a:gd name="T83" fmla="*/ 601 h 2784"/>
                <a:gd name="T84" fmla="*/ 1686 w 2505"/>
                <a:gd name="T85" fmla="*/ 516 h 2784"/>
                <a:gd name="T86" fmla="*/ 1840 w 2505"/>
                <a:gd name="T87" fmla="*/ 440 h 2784"/>
                <a:gd name="T88" fmla="*/ 2000 w 2505"/>
                <a:gd name="T89" fmla="*/ 374 h 2784"/>
                <a:gd name="T90" fmla="*/ 2164 w 2505"/>
                <a:gd name="T91" fmla="*/ 317 h 2784"/>
                <a:gd name="T92" fmla="*/ 2333 w 2505"/>
                <a:gd name="T93" fmla="*/ 271 h 2784"/>
                <a:gd name="T94" fmla="*/ 2505 w 2505"/>
                <a:gd name="T95" fmla="*/ 235 h 2784"/>
                <a:gd name="T96" fmla="*/ 2450 w 2505"/>
                <a:gd name="T97" fmla="*/ 209 h 2784"/>
                <a:gd name="T98" fmla="*/ 2294 w 2505"/>
                <a:gd name="T99" fmla="*/ 149 h 2784"/>
                <a:gd name="T100" fmla="*/ 2125 w 2505"/>
                <a:gd name="T101" fmla="*/ 96 h 2784"/>
                <a:gd name="T102" fmla="*/ 1919 w 2505"/>
                <a:gd name="T103" fmla="*/ 47 h 2784"/>
                <a:gd name="T104" fmla="*/ 1768 w 2505"/>
                <a:gd name="T105" fmla="*/ 23 h 2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5" h="2784">
                  <a:moveTo>
                    <a:pt x="1768" y="23"/>
                  </a:moveTo>
                  <a:lnTo>
                    <a:pt x="1768" y="23"/>
                  </a:lnTo>
                  <a:lnTo>
                    <a:pt x="1724" y="18"/>
                  </a:lnTo>
                  <a:lnTo>
                    <a:pt x="1682" y="13"/>
                  </a:lnTo>
                  <a:lnTo>
                    <a:pt x="1598" y="7"/>
                  </a:lnTo>
                  <a:lnTo>
                    <a:pt x="1519" y="2"/>
                  </a:lnTo>
                  <a:lnTo>
                    <a:pt x="1445" y="0"/>
                  </a:lnTo>
                  <a:lnTo>
                    <a:pt x="1373" y="2"/>
                  </a:lnTo>
                  <a:lnTo>
                    <a:pt x="1307" y="4"/>
                  </a:lnTo>
                  <a:lnTo>
                    <a:pt x="1247" y="8"/>
                  </a:lnTo>
                  <a:lnTo>
                    <a:pt x="1191" y="13"/>
                  </a:lnTo>
                  <a:lnTo>
                    <a:pt x="1140" y="18"/>
                  </a:lnTo>
                  <a:lnTo>
                    <a:pt x="1097" y="24"/>
                  </a:lnTo>
                  <a:lnTo>
                    <a:pt x="1059" y="30"/>
                  </a:lnTo>
                  <a:lnTo>
                    <a:pt x="1027" y="36"/>
                  </a:lnTo>
                  <a:lnTo>
                    <a:pt x="983" y="45"/>
                  </a:lnTo>
                  <a:lnTo>
                    <a:pt x="969" y="49"/>
                  </a:lnTo>
                  <a:lnTo>
                    <a:pt x="969" y="49"/>
                  </a:lnTo>
                  <a:lnTo>
                    <a:pt x="1004" y="47"/>
                  </a:lnTo>
                  <a:lnTo>
                    <a:pt x="1045" y="47"/>
                  </a:lnTo>
                  <a:lnTo>
                    <a:pt x="1097" y="49"/>
                  </a:lnTo>
                  <a:lnTo>
                    <a:pt x="1155" y="52"/>
                  </a:lnTo>
                  <a:lnTo>
                    <a:pt x="1186" y="55"/>
                  </a:lnTo>
                  <a:lnTo>
                    <a:pt x="1218" y="59"/>
                  </a:lnTo>
                  <a:lnTo>
                    <a:pt x="1249" y="63"/>
                  </a:lnTo>
                  <a:lnTo>
                    <a:pt x="1280" y="68"/>
                  </a:lnTo>
                  <a:lnTo>
                    <a:pt x="1311" y="76"/>
                  </a:lnTo>
                  <a:lnTo>
                    <a:pt x="1341" y="83"/>
                  </a:lnTo>
                  <a:lnTo>
                    <a:pt x="1341" y="83"/>
                  </a:lnTo>
                  <a:lnTo>
                    <a:pt x="1380" y="97"/>
                  </a:lnTo>
                  <a:lnTo>
                    <a:pt x="1416" y="112"/>
                  </a:lnTo>
                  <a:lnTo>
                    <a:pt x="1446" y="125"/>
                  </a:lnTo>
                  <a:lnTo>
                    <a:pt x="1472" y="140"/>
                  </a:lnTo>
                  <a:lnTo>
                    <a:pt x="1494" y="154"/>
                  </a:lnTo>
                  <a:lnTo>
                    <a:pt x="1511" y="167"/>
                  </a:lnTo>
                  <a:lnTo>
                    <a:pt x="1526" y="181"/>
                  </a:lnTo>
                  <a:lnTo>
                    <a:pt x="1537" y="193"/>
                  </a:lnTo>
                  <a:lnTo>
                    <a:pt x="1546" y="206"/>
                  </a:lnTo>
                  <a:lnTo>
                    <a:pt x="1552" y="217"/>
                  </a:lnTo>
                  <a:lnTo>
                    <a:pt x="1557" y="227"/>
                  </a:lnTo>
                  <a:lnTo>
                    <a:pt x="1560" y="235"/>
                  </a:lnTo>
                  <a:lnTo>
                    <a:pt x="1561" y="241"/>
                  </a:lnTo>
                  <a:lnTo>
                    <a:pt x="1562" y="248"/>
                  </a:lnTo>
                  <a:lnTo>
                    <a:pt x="1561" y="251"/>
                  </a:lnTo>
                  <a:lnTo>
                    <a:pt x="1561" y="253"/>
                  </a:lnTo>
                  <a:lnTo>
                    <a:pt x="1561" y="253"/>
                  </a:lnTo>
                  <a:lnTo>
                    <a:pt x="1488" y="292"/>
                  </a:lnTo>
                  <a:lnTo>
                    <a:pt x="1416" y="333"/>
                  </a:lnTo>
                  <a:lnTo>
                    <a:pt x="1347" y="376"/>
                  </a:lnTo>
                  <a:lnTo>
                    <a:pt x="1278" y="422"/>
                  </a:lnTo>
                  <a:lnTo>
                    <a:pt x="1210" y="468"/>
                  </a:lnTo>
                  <a:lnTo>
                    <a:pt x="1144" y="517"/>
                  </a:lnTo>
                  <a:lnTo>
                    <a:pt x="1079" y="566"/>
                  </a:lnTo>
                  <a:lnTo>
                    <a:pt x="1016" y="619"/>
                  </a:lnTo>
                  <a:lnTo>
                    <a:pt x="954" y="673"/>
                  </a:lnTo>
                  <a:lnTo>
                    <a:pt x="893" y="728"/>
                  </a:lnTo>
                  <a:lnTo>
                    <a:pt x="834" y="785"/>
                  </a:lnTo>
                  <a:lnTo>
                    <a:pt x="776" y="843"/>
                  </a:lnTo>
                  <a:lnTo>
                    <a:pt x="720" y="902"/>
                  </a:lnTo>
                  <a:lnTo>
                    <a:pt x="666" y="964"/>
                  </a:lnTo>
                  <a:lnTo>
                    <a:pt x="614" y="1027"/>
                  </a:lnTo>
                  <a:lnTo>
                    <a:pt x="562" y="1091"/>
                  </a:lnTo>
                  <a:lnTo>
                    <a:pt x="512" y="1157"/>
                  </a:lnTo>
                  <a:lnTo>
                    <a:pt x="465" y="1224"/>
                  </a:lnTo>
                  <a:lnTo>
                    <a:pt x="420" y="1293"/>
                  </a:lnTo>
                  <a:lnTo>
                    <a:pt x="375" y="1362"/>
                  </a:lnTo>
                  <a:lnTo>
                    <a:pt x="333" y="1432"/>
                  </a:lnTo>
                  <a:lnTo>
                    <a:pt x="293" y="1505"/>
                  </a:lnTo>
                  <a:lnTo>
                    <a:pt x="255" y="1578"/>
                  </a:lnTo>
                  <a:lnTo>
                    <a:pt x="218" y="1652"/>
                  </a:lnTo>
                  <a:lnTo>
                    <a:pt x="183" y="1728"/>
                  </a:lnTo>
                  <a:lnTo>
                    <a:pt x="151" y="1804"/>
                  </a:lnTo>
                  <a:lnTo>
                    <a:pt x="122" y="1882"/>
                  </a:lnTo>
                  <a:lnTo>
                    <a:pt x="93" y="1961"/>
                  </a:lnTo>
                  <a:lnTo>
                    <a:pt x="67" y="2040"/>
                  </a:lnTo>
                  <a:lnTo>
                    <a:pt x="43" y="2122"/>
                  </a:lnTo>
                  <a:lnTo>
                    <a:pt x="20" y="2203"/>
                  </a:lnTo>
                  <a:lnTo>
                    <a:pt x="0" y="2285"/>
                  </a:lnTo>
                  <a:lnTo>
                    <a:pt x="224" y="2784"/>
                  </a:lnTo>
                  <a:lnTo>
                    <a:pt x="224" y="2784"/>
                  </a:lnTo>
                  <a:lnTo>
                    <a:pt x="229" y="2724"/>
                  </a:lnTo>
                  <a:lnTo>
                    <a:pt x="234" y="2664"/>
                  </a:lnTo>
                  <a:lnTo>
                    <a:pt x="242" y="2605"/>
                  </a:lnTo>
                  <a:lnTo>
                    <a:pt x="250" y="2546"/>
                  </a:lnTo>
                  <a:lnTo>
                    <a:pt x="259" y="2488"/>
                  </a:lnTo>
                  <a:lnTo>
                    <a:pt x="270" y="2430"/>
                  </a:lnTo>
                  <a:lnTo>
                    <a:pt x="281" y="2371"/>
                  </a:lnTo>
                  <a:lnTo>
                    <a:pt x="295" y="2315"/>
                  </a:lnTo>
                  <a:lnTo>
                    <a:pt x="308" y="2258"/>
                  </a:lnTo>
                  <a:lnTo>
                    <a:pt x="323" y="2201"/>
                  </a:lnTo>
                  <a:lnTo>
                    <a:pt x="340" y="2145"/>
                  </a:lnTo>
                  <a:lnTo>
                    <a:pt x="358" y="2090"/>
                  </a:lnTo>
                  <a:lnTo>
                    <a:pt x="376" y="2035"/>
                  </a:lnTo>
                  <a:lnTo>
                    <a:pt x="396" y="1981"/>
                  </a:lnTo>
                  <a:lnTo>
                    <a:pt x="417" y="1927"/>
                  </a:lnTo>
                  <a:lnTo>
                    <a:pt x="439" y="1874"/>
                  </a:lnTo>
                  <a:lnTo>
                    <a:pt x="463" y="1820"/>
                  </a:lnTo>
                  <a:lnTo>
                    <a:pt x="486" y="1769"/>
                  </a:lnTo>
                  <a:lnTo>
                    <a:pt x="512" y="1718"/>
                  </a:lnTo>
                  <a:lnTo>
                    <a:pt x="538" y="1666"/>
                  </a:lnTo>
                  <a:lnTo>
                    <a:pt x="565" y="1617"/>
                  </a:lnTo>
                  <a:lnTo>
                    <a:pt x="594" y="1567"/>
                  </a:lnTo>
                  <a:lnTo>
                    <a:pt x="622" y="1518"/>
                  </a:lnTo>
                  <a:lnTo>
                    <a:pt x="653" y="1470"/>
                  </a:lnTo>
                  <a:lnTo>
                    <a:pt x="684" y="1421"/>
                  </a:lnTo>
                  <a:lnTo>
                    <a:pt x="716" y="1374"/>
                  </a:lnTo>
                  <a:lnTo>
                    <a:pt x="750" y="1329"/>
                  </a:lnTo>
                  <a:lnTo>
                    <a:pt x="783" y="1283"/>
                  </a:lnTo>
                  <a:lnTo>
                    <a:pt x="818" y="1238"/>
                  </a:lnTo>
                  <a:lnTo>
                    <a:pt x="854" y="1194"/>
                  </a:lnTo>
                  <a:lnTo>
                    <a:pt x="891" y="1151"/>
                  </a:lnTo>
                  <a:lnTo>
                    <a:pt x="928" y="1109"/>
                  </a:lnTo>
                  <a:lnTo>
                    <a:pt x="966" y="1067"/>
                  </a:lnTo>
                  <a:lnTo>
                    <a:pt x="1006" y="1026"/>
                  </a:lnTo>
                  <a:lnTo>
                    <a:pt x="1046" y="985"/>
                  </a:lnTo>
                  <a:lnTo>
                    <a:pt x="1087" y="946"/>
                  </a:lnTo>
                  <a:lnTo>
                    <a:pt x="1128" y="907"/>
                  </a:lnTo>
                  <a:lnTo>
                    <a:pt x="1171" y="870"/>
                  </a:lnTo>
                  <a:lnTo>
                    <a:pt x="1215" y="833"/>
                  </a:lnTo>
                  <a:lnTo>
                    <a:pt x="1258" y="797"/>
                  </a:lnTo>
                  <a:lnTo>
                    <a:pt x="1302" y="763"/>
                  </a:lnTo>
                  <a:lnTo>
                    <a:pt x="1348" y="728"/>
                  </a:lnTo>
                  <a:lnTo>
                    <a:pt x="1395" y="695"/>
                  </a:lnTo>
                  <a:lnTo>
                    <a:pt x="1441" y="663"/>
                  </a:lnTo>
                  <a:lnTo>
                    <a:pt x="1489" y="632"/>
                  </a:lnTo>
                  <a:lnTo>
                    <a:pt x="1537" y="601"/>
                  </a:lnTo>
                  <a:lnTo>
                    <a:pt x="1587" y="571"/>
                  </a:lnTo>
                  <a:lnTo>
                    <a:pt x="1636" y="544"/>
                  </a:lnTo>
                  <a:lnTo>
                    <a:pt x="1686" y="516"/>
                  </a:lnTo>
                  <a:lnTo>
                    <a:pt x="1736" y="490"/>
                  </a:lnTo>
                  <a:lnTo>
                    <a:pt x="1788" y="465"/>
                  </a:lnTo>
                  <a:lnTo>
                    <a:pt x="1840" y="440"/>
                  </a:lnTo>
                  <a:lnTo>
                    <a:pt x="1893" y="417"/>
                  </a:lnTo>
                  <a:lnTo>
                    <a:pt x="1947" y="395"/>
                  </a:lnTo>
                  <a:lnTo>
                    <a:pt x="2000" y="374"/>
                  </a:lnTo>
                  <a:lnTo>
                    <a:pt x="2054" y="354"/>
                  </a:lnTo>
                  <a:lnTo>
                    <a:pt x="2108" y="335"/>
                  </a:lnTo>
                  <a:lnTo>
                    <a:pt x="2164" y="317"/>
                  </a:lnTo>
                  <a:lnTo>
                    <a:pt x="2220" y="301"/>
                  </a:lnTo>
                  <a:lnTo>
                    <a:pt x="2277" y="285"/>
                  </a:lnTo>
                  <a:lnTo>
                    <a:pt x="2333" y="271"/>
                  </a:lnTo>
                  <a:lnTo>
                    <a:pt x="2390" y="257"/>
                  </a:lnTo>
                  <a:lnTo>
                    <a:pt x="2447" y="245"/>
                  </a:lnTo>
                  <a:lnTo>
                    <a:pt x="2505" y="235"/>
                  </a:lnTo>
                  <a:lnTo>
                    <a:pt x="2505" y="235"/>
                  </a:lnTo>
                  <a:lnTo>
                    <a:pt x="2492" y="228"/>
                  </a:lnTo>
                  <a:lnTo>
                    <a:pt x="2450" y="209"/>
                  </a:lnTo>
                  <a:lnTo>
                    <a:pt x="2383" y="182"/>
                  </a:lnTo>
                  <a:lnTo>
                    <a:pt x="2341" y="166"/>
                  </a:lnTo>
                  <a:lnTo>
                    <a:pt x="2294" y="149"/>
                  </a:lnTo>
                  <a:lnTo>
                    <a:pt x="2242" y="131"/>
                  </a:lnTo>
                  <a:lnTo>
                    <a:pt x="2185" y="114"/>
                  </a:lnTo>
                  <a:lnTo>
                    <a:pt x="2125" y="96"/>
                  </a:lnTo>
                  <a:lnTo>
                    <a:pt x="2059" y="78"/>
                  </a:lnTo>
                  <a:lnTo>
                    <a:pt x="1991" y="62"/>
                  </a:lnTo>
                  <a:lnTo>
                    <a:pt x="1919" y="47"/>
                  </a:lnTo>
                  <a:lnTo>
                    <a:pt x="1845" y="34"/>
                  </a:lnTo>
                  <a:lnTo>
                    <a:pt x="1768" y="23"/>
                  </a:lnTo>
                  <a:lnTo>
                    <a:pt x="1768" y="23"/>
                  </a:lnTo>
                  <a:close/>
                </a:path>
              </a:pathLst>
            </a:custGeom>
            <a:solidFill>
              <a:schemeClr val="accent5"/>
            </a:solidFill>
            <a:ln w="1588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56" name="Freeform 7">
            <a:extLst>
              <a:ext uri="{FF2B5EF4-FFF2-40B4-BE49-F238E27FC236}">
                <a16:creationId xmlns:a16="http://schemas.microsoft.com/office/drawing/2014/main" id="{40BE56D9-9405-4847-9F07-C5C7F299761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68178" y="2489708"/>
            <a:ext cx="216123" cy="218200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7" name="Freeform 213">
            <a:extLst>
              <a:ext uri="{FF2B5EF4-FFF2-40B4-BE49-F238E27FC236}">
                <a16:creationId xmlns:a16="http://schemas.microsoft.com/office/drawing/2014/main" id="{B621C8A1-CBC3-421F-BE5E-F46C4D75105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85141" y="2970084"/>
            <a:ext cx="160929" cy="243907"/>
          </a:xfrm>
          <a:custGeom>
            <a:avLst/>
            <a:gdLst>
              <a:gd name="T0" fmla="*/ 87 w 97"/>
              <a:gd name="T1" fmla="*/ 68 h 146"/>
              <a:gd name="T2" fmla="*/ 75 w 97"/>
              <a:gd name="T3" fmla="*/ 85 h 146"/>
              <a:gd name="T4" fmla="*/ 76 w 97"/>
              <a:gd name="T5" fmla="*/ 103 h 146"/>
              <a:gd name="T6" fmla="*/ 76 w 97"/>
              <a:gd name="T7" fmla="*/ 115 h 146"/>
              <a:gd name="T8" fmla="*/ 73 w 97"/>
              <a:gd name="T9" fmla="*/ 127 h 146"/>
              <a:gd name="T10" fmla="*/ 63 w 97"/>
              <a:gd name="T11" fmla="*/ 136 h 146"/>
              <a:gd name="T12" fmla="*/ 49 w 97"/>
              <a:gd name="T13" fmla="*/ 146 h 146"/>
              <a:gd name="T14" fmla="*/ 35 w 97"/>
              <a:gd name="T15" fmla="*/ 136 h 146"/>
              <a:gd name="T16" fmla="*/ 25 w 97"/>
              <a:gd name="T17" fmla="*/ 127 h 146"/>
              <a:gd name="T18" fmla="*/ 22 w 97"/>
              <a:gd name="T19" fmla="*/ 115 h 146"/>
              <a:gd name="T20" fmla="*/ 22 w 97"/>
              <a:gd name="T21" fmla="*/ 103 h 146"/>
              <a:gd name="T22" fmla="*/ 23 w 97"/>
              <a:gd name="T23" fmla="*/ 85 h 146"/>
              <a:gd name="T24" fmla="*/ 10 w 97"/>
              <a:gd name="T25" fmla="*/ 68 h 146"/>
              <a:gd name="T26" fmla="*/ 5 w 97"/>
              <a:gd name="T27" fmla="*/ 25 h 146"/>
              <a:gd name="T28" fmla="*/ 31 w 97"/>
              <a:gd name="T29" fmla="*/ 3 h 146"/>
              <a:gd name="T30" fmla="*/ 66 w 97"/>
              <a:gd name="T31" fmla="*/ 3 h 146"/>
              <a:gd name="T32" fmla="*/ 93 w 97"/>
              <a:gd name="T33" fmla="*/ 25 h 146"/>
              <a:gd name="T34" fmla="*/ 85 w 97"/>
              <a:gd name="T35" fmla="*/ 43 h 146"/>
              <a:gd name="T36" fmla="*/ 73 w 97"/>
              <a:gd name="T37" fmla="*/ 20 h 146"/>
              <a:gd name="T38" fmla="*/ 49 w 97"/>
              <a:gd name="T39" fmla="*/ 12 h 146"/>
              <a:gd name="T40" fmla="*/ 24 w 97"/>
              <a:gd name="T41" fmla="*/ 20 h 146"/>
              <a:gd name="T42" fmla="*/ 13 w 97"/>
              <a:gd name="T43" fmla="*/ 43 h 146"/>
              <a:gd name="T44" fmla="*/ 22 w 97"/>
              <a:gd name="T45" fmla="*/ 63 h 146"/>
              <a:gd name="T46" fmla="*/ 38 w 97"/>
              <a:gd name="T47" fmla="*/ 94 h 146"/>
              <a:gd name="T48" fmla="*/ 73 w 97"/>
              <a:gd name="T49" fmla="*/ 66 h 146"/>
              <a:gd name="T50" fmla="*/ 79 w 97"/>
              <a:gd name="T51" fmla="*/ 60 h 146"/>
              <a:gd name="T52" fmla="*/ 70 w 97"/>
              <a:gd name="T53" fmla="*/ 43 h 146"/>
              <a:gd name="T54" fmla="*/ 67 w 97"/>
              <a:gd name="T55" fmla="*/ 46 h 146"/>
              <a:gd name="T56" fmla="*/ 64 w 97"/>
              <a:gd name="T57" fmla="*/ 43 h 146"/>
              <a:gd name="T58" fmla="*/ 49 w 97"/>
              <a:gd name="T59" fmla="*/ 34 h 146"/>
              <a:gd name="T60" fmla="*/ 46 w 97"/>
              <a:gd name="T61" fmla="*/ 31 h 146"/>
              <a:gd name="T62" fmla="*/ 49 w 97"/>
              <a:gd name="T63" fmla="*/ 28 h 146"/>
              <a:gd name="T64" fmla="*/ 66 w 97"/>
              <a:gd name="T6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43"/>
                </a:moveTo>
                <a:cubicBezTo>
                  <a:pt x="97" y="52"/>
                  <a:pt x="94" y="61"/>
                  <a:pt x="87" y="68"/>
                </a:cubicBezTo>
                <a:cubicBezTo>
                  <a:pt x="85" y="71"/>
                  <a:pt x="82" y="74"/>
                  <a:pt x="80" y="76"/>
                </a:cubicBezTo>
                <a:cubicBezTo>
                  <a:pt x="79" y="79"/>
                  <a:pt x="77" y="82"/>
                  <a:pt x="75" y="85"/>
                </a:cubicBezTo>
                <a:cubicBezTo>
                  <a:pt x="73" y="89"/>
                  <a:pt x="72" y="92"/>
                  <a:pt x="72" y="95"/>
                </a:cubicBezTo>
                <a:cubicBezTo>
                  <a:pt x="75" y="97"/>
                  <a:pt x="76" y="100"/>
                  <a:pt x="76" y="103"/>
                </a:cubicBezTo>
                <a:cubicBezTo>
                  <a:pt x="76" y="106"/>
                  <a:pt x="75" y="108"/>
                  <a:pt x="74" y="109"/>
                </a:cubicBezTo>
                <a:cubicBezTo>
                  <a:pt x="75" y="111"/>
                  <a:pt x="76" y="113"/>
                  <a:pt x="76" y="115"/>
                </a:cubicBezTo>
                <a:cubicBezTo>
                  <a:pt x="76" y="119"/>
                  <a:pt x="75" y="121"/>
                  <a:pt x="72" y="123"/>
                </a:cubicBezTo>
                <a:cubicBezTo>
                  <a:pt x="73" y="124"/>
                  <a:pt x="73" y="126"/>
                  <a:pt x="73" y="127"/>
                </a:cubicBezTo>
                <a:cubicBezTo>
                  <a:pt x="73" y="130"/>
                  <a:pt x="72" y="133"/>
                  <a:pt x="70" y="134"/>
                </a:cubicBezTo>
                <a:cubicBezTo>
                  <a:pt x="68" y="136"/>
                  <a:pt x="66" y="136"/>
                  <a:pt x="63" y="136"/>
                </a:cubicBezTo>
                <a:cubicBezTo>
                  <a:pt x="61" y="139"/>
                  <a:pt x="60" y="141"/>
                  <a:pt x="57" y="143"/>
                </a:cubicBezTo>
                <a:cubicBezTo>
                  <a:pt x="55" y="145"/>
                  <a:pt x="52" y="146"/>
                  <a:pt x="49" y="146"/>
                </a:cubicBezTo>
                <a:cubicBezTo>
                  <a:pt x="46" y="146"/>
                  <a:pt x="43" y="145"/>
                  <a:pt x="41" y="143"/>
                </a:cubicBezTo>
                <a:cubicBezTo>
                  <a:pt x="38" y="141"/>
                  <a:pt x="36" y="139"/>
                  <a:pt x="35" y="136"/>
                </a:cubicBezTo>
                <a:cubicBezTo>
                  <a:pt x="32" y="136"/>
                  <a:pt x="30" y="136"/>
                  <a:pt x="28" y="134"/>
                </a:cubicBezTo>
                <a:cubicBezTo>
                  <a:pt x="26" y="133"/>
                  <a:pt x="25" y="130"/>
                  <a:pt x="25" y="127"/>
                </a:cubicBezTo>
                <a:cubicBezTo>
                  <a:pt x="25" y="126"/>
                  <a:pt x="25" y="124"/>
                  <a:pt x="26" y="123"/>
                </a:cubicBezTo>
                <a:cubicBezTo>
                  <a:pt x="23" y="121"/>
                  <a:pt x="22" y="119"/>
                  <a:pt x="22" y="115"/>
                </a:cubicBezTo>
                <a:cubicBezTo>
                  <a:pt x="22" y="113"/>
                  <a:pt x="22" y="111"/>
                  <a:pt x="24" y="109"/>
                </a:cubicBezTo>
                <a:cubicBezTo>
                  <a:pt x="22" y="108"/>
                  <a:pt x="22" y="106"/>
                  <a:pt x="22" y="103"/>
                </a:cubicBezTo>
                <a:cubicBezTo>
                  <a:pt x="22" y="100"/>
                  <a:pt x="23" y="97"/>
                  <a:pt x="26" y="95"/>
                </a:cubicBezTo>
                <a:cubicBezTo>
                  <a:pt x="26" y="92"/>
                  <a:pt x="25" y="89"/>
                  <a:pt x="23" y="85"/>
                </a:cubicBezTo>
                <a:cubicBezTo>
                  <a:pt x="21" y="82"/>
                  <a:pt x="19" y="79"/>
                  <a:pt x="17" y="76"/>
                </a:cubicBezTo>
                <a:cubicBezTo>
                  <a:pt x="15" y="74"/>
                  <a:pt x="13" y="71"/>
                  <a:pt x="10" y="68"/>
                </a:cubicBezTo>
                <a:cubicBezTo>
                  <a:pt x="4" y="61"/>
                  <a:pt x="0" y="52"/>
                  <a:pt x="0" y="43"/>
                </a:cubicBezTo>
                <a:cubicBezTo>
                  <a:pt x="0" y="36"/>
                  <a:pt x="2" y="31"/>
                  <a:pt x="5" y="25"/>
                </a:cubicBezTo>
                <a:cubicBezTo>
                  <a:pt x="7" y="20"/>
                  <a:pt x="11" y="15"/>
                  <a:pt x="16" y="12"/>
                </a:cubicBezTo>
                <a:cubicBezTo>
                  <a:pt x="20" y="8"/>
                  <a:pt x="25" y="5"/>
                  <a:pt x="31" y="3"/>
                </a:cubicBezTo>
                <a:cubicBezTo>
                  <a:pt x="37" y="1"/>
                  <a:pt x="43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2" y="5"/>
                  <a:pt x="77" y="8"/>
                  <a:pt x="82" y="12"/>
                </a:cubicBezTo>
                <a:cubicBezTo>
                  <a:pt x="87" y="15"/>
                  <a:pt x="90" y="20"/>
                  <a:pt x="93" y="25"/>
                </a:cubicBezTo>
                <a:cubicBezTo>
                  <a:pt x="96" y="31"/>
                  <a:pt x="97" y="36"/>
                  <a:pt x="97" y="43"/>
                </a:cubicBezTo>
                <a:close/>
                <a:moveTo>
                  <a:pt x="85" y="43"/>
                </a:moveTo>
                <a:cubicBezTo>
                  <a:pt x="85" y="38"/>
                  <a:pt x="84" y="34"/>
                  <a:pt x="82" y="30"/>
                </a:cubicBezTo>
                <a:cubicBezTo>
                  <a:pt x="80" y="26"/>
                  <a:pt x="77" y="23"/>
                  <a:pt x="73" y="20"/>
                </a:cubicBezTo>
                <a:cubicBezTo>
                  <a:pt x="70" y="18"/>
                  <a:pt x="66" y="16"/>
                  <a:pt x="62" y="15"/>
                </a:cubicBezTo>
                <a:cubicBezTo>
                  <a:pt x="57" y="13"/>
                  <a:pt x="53" y="12"/>
                  <a:pt x="49" y="12"/>
                </a:cubicBezTo>
                <a:cubicBezTo>
                  <a:pt x="44" y="12"/>
                  <a:pt x="40" y="13"/>
                  <a:pt x="36" y="15"/>
                </a:cubicBezTo>
                <a:cubicBezTo>
                  <a:pt x="32" y="16"/>
                  <a:pt x="28" y="18"/>
                  <a:pt x="24" y="20"/>
                </a:cubicBezTo>
                <a:cubicBezTo>
                  <a:pt x="21" y="23"/>
                  <a:pt x="18" y="26"/>
                  <a:pt x="16" y="30"/>
                </a:cubicBezTo>
                <a:cubicBezTo>
                  <a:pt x="14" y="34"/>
                  <a:pt x="13" y="38"/>
                  <a:pt x="13" y="43"/>
                </a:cubicBezTo>
                <a:cubicBezTo>
                  <a:pt x="13" y="49"/>
                  <a:pt x="15" y="55"/>
                  <a:pt x="19" y="60"/>
                </a:cubicBezTo>
                <a:cubicBezTo>
                  <a:pt x="20" y="60"/>
                  <a:pt x="21" y="61"/>
                  <a:pt x="22" y="63"/>
                </a:cubicBezTo>
                <a:cubicBezTo>
                  <a:pt x="23" y="64"/>
                  <a:pt x="24" y="65"/>
                  <a:pt x="25" y="66"/>
                </a:cubicBezTo>
                <a:cubicBezTo>
                  <a:pt x="33" y="76"/>
                  <a:pt x="37" y="85"/>
                  <a:pt x="38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60" y="85"/>
                  <a:pt x="65" y="76"/>
                  <a:pt x="73" y="66"/>
                </a:cubicBezTo>
                <a:cubicBezTo>
                  <a:pt x="74" y="65"/>
                  <a:pt x="75" y="64"/>
                  <a:pt x="76" y="63"/>
                </a:cubicBezTo>
                <a:cubicBezTo>
                  <a:pt x="77" y="61"/>
                  <a:pt x="78" y="60"/>
                  <a:pt x="79" y="60"/>
                </a:cubicBezTo>
                <a:cubicBezTo>
                  <a:pt x="83" y="55"/>
                  <a:pt x="85" y="49"/>
                  <a:pt x="85" y="43"/>
                </a:cubicBezTo>
                <a:close/>
                <a:moveTo>
                  <a:pt x="70" y="43"/>
                </a:moveTo>
                <a:cubicBezTo>
                  <a:pt x="70" y="43"/>
                  <a:pt x="70" y="44"/>
                  <a:pt x="69" y="45"/>
                </a:cubicBezTo>
                <a:cubicBezTo>
                  <a:pt x="68" y="45"/>
                  <a:pt x="68" y="46"/>
                  <a:pt x="67" y="46"/>
                </a:cubicBezTo>
                <a:cubicBezTo>
                  <a:pt x="66" y="46"/>
                  <a:pt x="65" y="45"/>
                  <a:pt x="65" y="45"/>
                </a:cubicBezTo>
                <a:cubicBezTo>
                  <a:pt x="64" y="44"/>
                  <a:pt x="64" y="43"/>
                  <a:pt x="64" y="43"/>
                </a:cubicBezTo>
                <a:cubicBezTo>
                  <a:pt x="64" y="40"/>
                  <a:pt x="62" y="38"/>
                  <a:pt x="59" y="36"/>
                </a:cubicBezTo>
                <a:cubicBezTo>
                  <a:pt x="55" y="34"/>
                  <a:pt x="52" y="34"/>
                  <a:pt x="49" y="34"/>
                </a:cubicBezTo>
                <a:cubicBezTo>
                  <a:pt x="48" y="34"/>
                  <a:pt x="47" y="33"/>
                  <a:pt x="47" y="33"/>
                </a:cubicBezTo>
                <a:cubicBezTo>
                  <a:pt x="46" y="32"/>
                  <a:pt x="46" y="31"/>
                  <a:pt x="46" y="31"/>
                </a:cubicBezTo>
                <a:cubicBezTo>
                  <a:pt x="46" y="30"/>
                  <a:pt x="46" y="29"/>
                  <a:pt x="47" y="28"/>
                </a:cubicBezTo>
                <a:cubicBezTo>
                  <a:pt x="47" y="28"/>
                  <a:pt x="48" y="28"/>
                  <a:pt x="49" y="28"/>
                </a:cubicBezTo>
                <a:cubicBezTo>
                  <a:pt x="52" y="28"/>
                  <a:pt x="55" y="28"/>
                  <a:pt x="58" y="29"/>
                </a:cubicBezTo>
                <a:cubicBezTo>
                  <a:pt x="61" y="30"/>
                  <a:pt x="64" y="32"/>
                  <a:pt x="66" y="34"/>
                </a:cubicBezTo>
                <a:cubicBezTo>
                  <a:pt x="69" y="37"/>
                  <a:pt x="70" y="39"/>
                  <a:pt x="70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8" name="Freeform 240">
            <a:extLst>
              <a:ext uri="{FF2B5EF4-FFF2-40B4-BE49-F238E27FC236}">
                <a16:creationId xmlns:a16="http://schemas.microsoft.com/office/drawing/2014/main" id="{5BAD0418-E945-4D3C-A3BC-245F5F9601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14291" y="2362450"/>
            <a:ext cx="274309" cy="240022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9" name="Freeform 23">
            <a:extLst>
              <a:ext uri="{FF2B5EF4-FFF2-40B4-BE49-F238E27FC236}">
                <a16:creationId xmlns:a16="http://schemas.microsoft.com/office/drawing/2014/main" id="{56FEF91D-3428-4A58-9777-0D4E4DCB07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90691" y="2970084"/>
            <a:ext cx="241392" cy="243907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2" name="Freeform 281">
            <a:extLst>
              <a:ext uri="{FF2B5EF4-FFF2-40B4-BE49-F238E27FC236}">
                <a16:creationId xmlns:a16="http://schemas.microsoft.com/office/drawing/2014/main" id="{ADDC72A1-6E8E-4ECF-BBB7-7FA2BFA15BB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46486" y="2619459"/>
            <a:ext cx="176897" cy="176897"/>
          </a:xfrm>
          <a:custGeom>
            <a:avLst/>
            <a:gdLst>
              <a:gd name="T0" fmla="*/ 155 w 155"/>
              <a:gd name="T1" fmla="*/ 3 h 155"/>
              <a:gd name="T2" fmla="*/ 148 w 155"/>
              <a:gd name="T3" fmla="*/ 44 h 155"/>
              <a:gd name="T4" fmla="*/ 124 w 155"/>
              <a:gd name="T5" fmla="*/ 78 h 155"/>
              <a:gd name="T6" fmla="*/ 105 w 155"/>
              <a:gd name="T7" fmla="*/ 95 h 155"/>
              <a:gd name="T8" fmla="*/ 103 w 155"/>
              <a:gd name="T9" fmla="*/ 131 h 155"/>
              <a:gd name="T10" fmla="*/ 102 w 155"/>
              <a:gd name="T11" fmla="*/ 133 h 155"/>
              <a:gd name="T12" fmla="*/ 66 w 155"/>
              <a:gd name="T13" fmla="*/ 154 h 155"/>
              <a:gd name="T14" fmla="*/ 64 w 155"/>
              <a:gd name="T15" fmla="*/ 155 h 155"/>
              <a:gd name="T16" fmla="*/ 62 w 155"/>
              <a:gd name="T17" fmla="*/ 154 h 155"/>
              <a:gd name="T18" fmla="*/ 56 w 155"/>
              <a:gd name="T19" fmla="*/ 148 h 155"/>
              <a:gd name="T20" fmla="*/ 55 w 155"/>
              <a:gd name="T21" fmla="*/ 145 h 155"/>
              <a:gd name="T22" fmla="*/ 63 w 155"/>
              <a:gd name="T23" fmla="*/ 119 h 155"/>
              <a:gd name="T24" fmla="*/ 37 w 155"/>
              <a:gd name="T25" fmla="*/ 92 h 155"/>
              <a:gd name="T26" fmla="*/ 10 w 155"/>
              <a:gd name="T27" fmla="*/ 100 h 155"/>
              <a:gd name="T28" fmla="*/ 10 w 155"/>
              <a:gd name="T29" fmla="*/ 100 h 155"/>
              <a:gd name="T30" fmla="*/ 7 w 155"/>
              <a:gd name="T31" fmla="*/ 99 h 155"/>
              <a:gd name="T32" fmla="*/ 1 w 155"/>
              <a:gd name="T33" fmla="*/ 93 h 155"/>
              <a:gd name="T34" fmla="*/ 1 w 155"/>
              <a:gd name="T35" fmla="*/ 90 h 155"/>
              <a:gd name="T36" fmla="*/ 22 w 155"/>
              <a:gd name="T37" fmla="*/ 53 h 155"/>
              <a:gd name="T38" fmla="*/ 25 w 155"/>
              <a:gd name="T39" fmla="*/ 52 h 155"/>
              <a:gd name="T40" fmla="*/ 60 w 155"/>
              <a:gd name="T41" fmla="*/ 50 h 155"/>
              <a:gd name="T42" fmla="*/ 77 w 155"/>
              <a:gd name="T43" fmla="*/ 31 h 155"/>
              <a:gd name="T44" fmla="*/ 111 w 155"/>
              <a:gd name="T45" fmla="*/ 7 h 155"/>
              <a:gd name="T46" fmla="*/ 152 w 155"/>
              <a:gd name="T47" fmla="*/ 0 h 155"/>
              <a:gd name="T48" fmla="*/ 154 w 155"/>
              <a:gd name="T49" fmla="*/ 1 h 155"/>
              <a:gd name="T50" fmla="*/ 155 w 155"/>
              <a:gd name="T51" fmla="*/ 3 h 155"/>
              <a:gd name="T52" fmla="*/ 131 w 155"/>
              <a:gd name="T53" fmla="*/ 37 h 155"/>
              <a:gd name="T54" fmla="*/ 134 w 155"/>
              <a:gd name="T55" fmla="*/ 31 h 155"/>
              <a:gd name="T56" fmla="*/ 131 w 155"/>
              <a:gd name="T57" fmla="*/ 24 h 155"/>
              <a:gd name="T58" fmla="*/ 125 w 155"/>
              <a:gd name="T59" fmla="*/ 21 h 155"/>
              <a:gd name="T60" fmla="*/ 118 w 155"/>
              <a:gd name="T61" fmla="*/ 24 h 155"/>
              <a:gd name="T62" fmla="*/ 115 w 155"/>
              <a:gd name="T63" fmla="*/ 31 h 155"/>
              <a:gd name="T64" fmla="*/ 118 w 155"/>
              <a:gd name="T65" fmla="*/ 37 h 155"/>
              <a:gd name="T66" fmla="*/ 125 w 155"/>
              <a:gd name="T67" fmla="*/ 40 h 155"/>
              <a:gd name="T68" fmla="*/ 131 w 155"/>
              <a:gd name="T69" fmla="*/ 3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3"/>
                </a:moveTo>
                <a:cubicBezTo>
                  <a:pt x="155" y="19"/>
                  <a:pt x="152" y="33"/>
                  <a:pt x="148" y="44"/>
                </a:cubicBezTo>
                <a:cubicBezTo>
                  <a:pt x="143" y="55"/>
                  <a:pt x="135" y="67"/>
                  <a:pt x="124" y="78"/>
                </a:cubicBezTo>
                <a:cubicBezTo>
                  <a:pt x="119" y="83"/>
                  <a:pt x="112" y="89"/>
                  <a:pt x="105" y="95"/>
                </a:cubicBezTo>
                <a:cubicBezTo>
                  <a:pt x="103" y="131"/>
                  <a:pt x="103" y="131"/>
                  <a:pt x="103" y="131"/>
                </a:cubicBezTo>
                <a:cubicBezTo>
                  <a:pt x="103" y="132"/>
                  <a:pt x="103" y="132"/>
                  <a:pt x="102" y="133"/>
                </a:cubicBezTo>
                <a:cubicBezTo>
                  <a:pt x="66" y="154"/>
                  <a:pt x="66" y="154"/>
                  <a:pt x="66" y="154"/>
                </a:cubicBezTo>
                <a:cubicBezTo>
                  <a:pt x="65" y="154"/>
                  <a:pt x="65" y="155"/>
                  <a:pt x="64" y="155"/>
                </a:cubicBezTo>
                <a:cubicBezTo>
                  <a:pt x="63" y="155"/>
                  <a:pt x="63" y="154"/>
                  <a:pt x="62" y="154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5" y="147"/>
                  <a:pt x="55" y="146"/>
                  <a:pt x="55" y="145"/>
                </a:cubicBezTo>
                <a:cubicBezTo>
                  <a:pt x="63" y="119"/>
                  <a:pt x="63" y="119"/>
                  <a:pt x="63" y="119"/>
                </a:cubicBezTo>
                <a:cubicBezTo>
                  <a:pt x="37" y="92"/>
                  <a:pt x="37" y="92"/>
                  <a:pt x="37" y="9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9" y="100"/>
                  <a:pt x="8" y="100"/>
                  <a:pt x="7" y="99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2"/>
                  <a:pt x="0" y="91"/>
                  <a:pt x="1" y="90"/>
                </a:cubicBezTo>
                <a:cubicBezTo>
                  <a:pt x="22" y="53"/>
                  <a:pt x="22" y="53"/>
                  <a:pt x="22" y="53"/>
                </a:cubicBezTo>
                <a:cubicBezTo>
                  <a:pt x="23" y="52"/>
                  <a:pt x="24" y="52"/>
                  <a:pt x="25" y="52"/>
                </a:cubicBezTo>
                <a:cubicBezTo>
                  <a:pt x="60" y="50"/>
                  <a:pt x="60" y="50"/>
                  <a:pt x="60" y="50"/>
                </a:cubicBezTo>
                <a:cubicBezTo>
                  <a:pt x="66" y="43"/>
                  <a:pt x="72" y="37"/>
                  <a:pt x="77" y="31"/>
                </a:cubicBezTo>
                <a:cubicBezTo>
                  <a:pt x="89" y="20"/>
                  <a:pt x="100" y="11"/>
                  <a:pt x="111" y="7"/>
                </a:cubicBezTo>
                <a:cubicBezTo>
                  <a:pt x="122" y="3"/>
                  <a:pt x="135" y="0"/>
                  <a:pt x="152" y="0"/>
                </a:cubicBezTo>
                <a:cubicBezTo>
                  <a:pt x="152" y="0"/>
                  <a:pt x="153" y="1"/>
                  <a:pt x="154" y="1"/>
                </a:cubicBezTo>
                <a:cubicBezTo>
                  <a:pt x="154" y="2"/>
                  <a:pt x="155" y="3"/>
                  <a:pt x="155" y="3"/>
                </a:cubicBezTo>
                <a:close/>
                <a:moveTo>
                  <a:pt x="131" y="37"/>
                </a:moveTo>
                <a:cubicBezTo>
                  <a:pt x="133" y="35"/>
                  <a:pt x="134" y="33"/>
                  <a:pt x="134" y="31"/>
                </a:cubicBezTo>
                <a:cubicBezTo>
                  <a:pt x="134" y="28"/>
                  <a:pt x="133" y="26"/>
                  <a:pt x="131" y="24"/>
                </a:cubicBezTo>
                <a:cubicBezTo>
                  <a:pt x="129" y="22"/>
                  <a:pt x="127" y="21"/>
                  <a:pt x="125" y="21"/>
                </a:cubicBezTo>
                <a:cubicBezTo>
                  <a:pt x="122" y="21"/>
                  <a:pt x="120" y="22"/>
                  <a:pt x="118" y="24"/>
                </a:cubicBezTo>
                <a:cubicBezTo>
                  <a:pt x="116" y="26"/>
                  <a:pt x="115" y="28"/>
                  <a:pt x="115" y="31"/>
                </a:cubicBezTo>
                <a:cubicBezTo>
                  <a:pt x="115" y="33"/>
                  <a:pt x="116" y="35"/>
                  <a:pt x="118" y="37"/>
                </a:cubicBezTo>
                <a:cubicBezTo>
                  <a:pt x="120" y="39"/>
                  <a:pt x="122" y="40"/>
                  <a:pt x="125" y="40"/>
                </a:cubicBezTo>
                <a:cubicBezTo>
                  <a:pt x="127" y="40"/>
                  <a:pt x="129" y="39"/>
                  <a:pt x="131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550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BE369-BFDD-FA94-8C24-4E701944C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5BF13F-1F68-9FA3-6E45-3EE092537B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How did this model </a:t>
            </a:r>
            <a:r>
              <a:rPr lang="en-US" dirty="0">
                <a:solidFill>
                  <a:schemeClr val="accent2"/>
                </a:solidFill>
              </a:rPr>
              <a:t>perform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545392-7BEF-E5CB-6B67-A5B42F01A9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CGAN</a:t>
            </a:r>
          </a:p>
        </p:txBody>
      </p:sp>
      <p:pic>
        <p:nvPicPr>
          <p:cNvPr id="5" name="Content Placeholder 4" descr="A graph of a person with blue and orange lines&#10;&#10;Description automatically generated">
            <a:extLst>
              <a:ext uri="{FF2B5EF4-FFF2-40B4-BE49-F238E27FC236}">
                <a16:creationId xmlns:a16="http://schemas.microsoft.com/office/drawing/2014/main" id="{26937F83-8ED7-4780-CA48-03747E94AA3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24" y="1276350"/>
            <a:ext cx="6224660" cy="3477579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280F7DB-F843-3FD0-A552-6B1E554AC85B}"/>
              </a:ext>
            </a:extLst>
          </p:cNvPr>
          <p:cNvSpPr txBox="1"/>
          <p:nvPr/>
        </p:nvSpPr>
        <p:spPr>
          <a:xfrm>
            <a:off x="6718907" y="1672463"/>
            <a:ext cx="2197930" cy="26853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n-GB" sz="1400" b="0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Competition</a:t>
            </a:r>
            <a:r>
              <a:rPr lang="en-GB" sz="1200" b="0" i="0" u="none" strike="noStrike" dirty="0">
                <a:solidFill>
                  <a:srgbClr val="4B5050"/>
                </a:solidFill>
                <a:effectLst/>
                <a:latin typeface="Arial" panose="020B0604020202020204" pitchFamily="34" charset="0"/>
              </a:rPr>
              <a:t>: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ctr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600" b="1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84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l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400" b="1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Score: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ctr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600" b="1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37</a:t>
            </a:r>
            <a:r>
              <a:rPr lang="en-GB" sz="700" b="0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/170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l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400" b="1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Position</a:t>
            </a:r>
            <a:r>
              <a:rPr lang="en-GB" sz="1200" b="1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: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br>
              <a:rPr lang="en-GB" dirty="0"/>
            </a:br>
            <a:br>
              <a:rPr lang="en-GB" dirty="0"/>
            </a:br>
            <a:endParaRPr lang="de-DE" dirty="0"/>
          </a:p>
        </p:txBody>
      </p:sp>
      <p:sp>
        <p:nvSpPr>
          <p:cNvPr id="14" name="Google Shape;3463;p43">
            <a:extLst>
              <a:ext uri="{FF2B5EF4-FFF2-40B4-BE49-F238E27FC236}">
                <a16:creationId xmlns:a16="http://schemas.microsoft.com/office/drawing/2014/main" id="{EDE03C66-5C51-33D1-5E48-342BDEFBA626}"/>
              </a:ext>
            </a:extLst>
          </p:cNvPr>
          <p:cNvSpPr/>
          <p:nvPr/>
        </p:nvSpPr>
        <p:spPr>
          <a:xfrm>
            <a:off x="7758645" y="2479752"/>
            <a:ext cx="695399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142</a:t>
            </a:r>
            <a:endParaRPr sz="1700" b="1" dirty="0">
              <a:solidFill>
                <a:schemeClr val="lt1"/>
              </a:solidFill>
            </a:endParaRPr>
          </a:p>
        </p:txBody>
      </p:sp>
      <p:sp>
        <p:nvSpPr>
          <p:cNvPr id="15" name="Google Shape;3464;p43">
            <a:extLst>
              <a:ext uri="{FF2B5EF4-FFF2-40B4-BE49-F238E27FC236}">
                <a16:creationId xmlns:a16="http://schemas.microsoft.com/office/drawing/2014/main" id="{E73B289C-B865-C6A9-2621-DE76F7B4D42E}"/>
              </a:ext>
            </a:extLst>
          </p:cNvPr>
          <p:cNvSpPr/>
          <p:nvPr/>
        </p:nvSpPr>
        <p:spPr>
          <a:xfrm>
            <a:off x="7758645" y="3327345"/>
            <a:ext cx="982687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126</a:t>
            </a:r>
            <a:r>
              <a:rPr lang="en" sz="800" dirty="0">
                <a:solidFill>
                  <a:schemeClr val="lt1"/>
                </a:solidFill>
              </a:rPr>
              <a:t>/170</a:t>
            </a:r>
            <a:endParaRPr sz="800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29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Gear </a:t>
            </a:r>
            <a:r>
              <a:rPr lang="en-US">
                <a:solidFill>
                  <a:schemeClr val="accent2"/>
                </a:solidFill>
              </a:rPr>
              <a:t>development 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Freeform 8"/>
          <p:cNvSpPr>
            <a:spLocks noEditPoints="1"/>
          </p:cNvSpPr>
          <p:nvPr/>
        </p:nvSpPr>
        <p:spPr bwMode="auto">
          <a:xfrm>
            <a:off x="3998855" y="2665970"/>
            <a:ext cx="1272765" cy="1269804"/>
          </a:xfrm>
          <a:custGeom>
            <a:avLst/>
            <a:gdLst>
              <a:gd name="T0" fmla="*/ 1487 w 1607"/>
              <a:gd name="T1" fmla="*/ 924 h 1599"/>
              <a:gd name="T2" fmla="*/ 1604 w 1607"/>
              <a:gd name="T3" fmla="*/ 865 h 1599"/>
              <a:gd name="T4" fmla="*/ 1495 w 1607"/>
              <a:gd name="T5" fmla="*/ 724 h 1599"/>
              <a:gd name="T6" fmla="*/ 1578 w 1607"/>
              <a:gd name="T7" fmla="*/ 587 h 1599"/>
              <a:gd name="T8" fmla="*/ 1427 w 1607"/>
              <a:gd name="T9" fmla="*/ 492 h 1599"/>
              <a:gd name="T10" fmla="*/ 1459 w 1607"/>
              <a:gd name="T11" fmla="*/ 335 h 1599"/>
              <a:gd name="T12" fmla="*/ 1284 w 1607"/>
              <a:gd name="T13" fmla="*/ 297 h 1599"/>
              <a:gd name="T14" fmla="*/ 1260 w 1607"/>
              <a:gd name="T15" fmla="*/ 139 h 1599"/>
              <a:gd name="T16" fmla="*/ 1084 w 1607"/>
              <a:gd name="T17" fmla="*/ 163 h 1599"/>
              <a:gd name="T18" fmla="*/ 1007 w 1607"/>
              <a:gd name="T19" fmla="*/ 23 h 1599"/>
              <a:gd name="T20" fmla="*/ 886 w 1607"/>
              <a:gd name="T21" fmla="*/ 1 h 1599"/>
              <a:gd name="T22" fmla="*/ 765 w 1607"/>
              <a:gd name="T23" fmla="*/ 105 h 1599"/>
              <a:gd name="T24" fmla="*/ 608 w 1607"/>
              <a:gd name="T25" fmla="*/ 20 h 1599"/>
              <a:gd name="T26" fmla="*/ 530 w 1607"/>
              <a:gd name="T27" fmla="*/ 160 h 1599"/>
              <a:gd name="T28" fmla="*/ 353 w 1607"/>
              <a:gd name="T29" fmla="*/ 134 h 1599"/>
              <a:gd name="T30" fmla="*/ 328 w 1607"/>
              <a:gd name="T31" fmla="*/ 292 h 1599"/>
              <a:gd name="T32" fmla="*/ 153 w 1607"/>
              <a:gd name="T33" fmla="*/ 328 h 1599"/>
              <a:gd name="T34" fmla="*/ 183 w 1607"/>
              <a:gd name="T35" fmla="*/ 486 h 1599"/>
              <a:gd name="T36" fmla="*/ 31 w 1607"/>
              <a:gd name="T37" fmla="*/ 579 h 1599"/>
              <a:gd name="T38" fmla="*/ 119 w 1607"/>
              <a:gd name="T39" fmla="*/ 675 h 1599"/>
              <a:gd name="T40" fmla="*/ 3 w 1607"/>
              <a:gd name="T41" fmla="*/ 734 h 1599"/>
              <a:gd name="T42" fmla="*/ 112 w 1607"/>
              <a:gd name="T43" fmla="*/ 875 h 1599"/>
              <a:gd name="T44" fmla="*/ 29 w 1607"/>
              <a:gd name="T45" fmla="*/ 1011 h 1599"/>
              <a:gd name="T46" fmla="*/ 180 w 1607"/>
              <a:gd name="T47" fmla="*/ 1107 h 1599"/>
              <a:gd name="T48" fmla="*/ 148 w 1607"/>
              <a:gd name="T49" fmla="*/ 1263 h 1599"/>
              <a:gd name="T50" fmla="*/ 322 w 1607"/>
              <a:gd name="T51" fmla="*/ 1301 h 1599"/>
              <a:gd name="T52" fmla="*/ 346 w 1607"/>
              <a:gd name="T53" fmla="*/ 1460 h 1599"/>
              <a:gd name="T54" fmla="*/ 523 w 1607"/>
              <a:gd name="T55" fmla="*/ 1436 h 1599"/>
              <a:gd name="T56" fmla="*/ 600 w 1607"/>
              <a:gd name="T57" fmla="*/ 1576 h 1599"/>
              <a:gd name="T58" fmla="*/ 721 w 1607"/>
              <a:gd name="T59" fmla="*/ 1598 h 1599"/>
              <a:gd name="T60" fmla="*/ 842 w 1607"/>
              <a:gd name="T61" fmla="*/ 1494 h 1599"/>
              <a:gd name="T62" fmla="*/ 999 w 1607"/>
              <a:gd name="T63" fmla="*/ 1578 h 1599"/>
              <a:gd name="T64" fmla="*/ 1077 w 1607"/>
              <a:gd name="T65" fmla="*/ 1439 h 1599"/>
              <a:gd name="T66" fmla="*/ 1253 w 1607"/>
              <a:gd name="T67" fmla="*/ 1464 h 1599"/>
              <a:gd name="T68" fmla="*/ 1279 w 1607"/>
              <a:gd name="T69" fmla="*/ 1306 h 1599"/>
              <a:gd name="T70" fmla="*/ 1454 w 1607"/>
              <a:gd name="T71" fmla="*/ 1270 h 1599"/>
              <a:gd name="T72" fmla="*/ 1424 w 1607"/>
              <a:gd name="T73" fmla="*/ 1113 h 1599"/>
              <a:gd name="T74" fmla="*/ 1576 w 1607"/>
              <a:gd name="T75" fmla="*/ 1019 h 1599"/>
              <a:gd name="T76" fmla="*/ 700 w 1607"/>
              <a:gd name="T77" fmla="*/ 1370 h 1599"/>
              <a:gd name="T78" fmla="*/ 907 w 1607"/>
              <a:gd name="T79" fmla="*/ 228 h 1599"/>
              <a:gd name="T80" fmla="*/ 700 w 1607"/>
              <a:gd name="T81" fmla="*/ 1370 h 1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7" h="1599">
                <a:moveTo>
                  <a:pt x="1479" y="965"/>
                </a:moveTo>
                <a:cubicBezTo>
                  <a:pt x="1482" y="951"/>
                  <a:pt x="1485" y="937"/>
                  <a:pt x="1487" y="924"/>
                </a:cubicBezTo>
                <a:cubicBezTo>
                  <a:pt x="1490" y="910"/>
                  <a:pt x="1492" y="896"/>
                  <a:pt x="1494" y="882"/>
                </a:cubicBezTo>
                <a:cubicBezTo>
                  <a:pt x="1535" y="881"/>
                  <a:pt x="1573" y="875"/>
                  <a:pt x="1604" y="865"/>
                </a:cubicBezTo>
                <a:cubicBezTo>
                  <a:pt x="1607" y="824"/>
                  <a:pt x="1607" y="782"/>
                  <a:pt x="1604" y="742"/>
                </a:cubicBezTo>
                <a:cubicBezTo>
                  <a:pt x="1574" y="731"/>
                  <a:pt x="1536" y="725"/>
                  <a:pt x="1495" y="724"/>
                </a:cubicBezTo>
                <a:cubicBezTo>
                  <a:pt x="1492" y="696"/>
                  <a:pt x="1487" y="668"/>
                  <a:pt x="1481" y="641"/>
                </a:cubicBezTo>
                <a:cubicBezTo>
                  <a:pt x="1519" y="626"/>
                  <a:pt x="1553" y="607"/>
                  <a:pt x="1578" y="587"/>
                </a:cubicBezTo>
                <a:cubicBezTo>
                  <a:pt x="1567" y="547"/>
                  <a:pt x="1553" y="509"/>
                  <a:pt x="1536" y="472"/>
                </a:cubicBezTo>
                <a:cubicBezTo>
                  <a:pt x="1504" y="472"/>
                  <a:pt x="1466" y="479"/>
                  <a:pt x="1427" y="492"/>
                </a:cubicBezTo>
                <a:cubicBezTo>
                  <a:pt x="1415" y="467"/>
                  <a:pt x="1401" y="442"/>
                  <a:pt x="1385" y="419"/>
                </a:cubicBezTo>
                <a:cubicBezTo>
                  <a:pt x="1417" y="392"/>
                  <a:pt x="1442" y="362"/>
                  <a:pt x="1459" y="335"/>
                </a:cubicBezTo>
                <a:cubicBezTo>
                  <a:pt x="1435" y="302"/>
                  <a:pt x="1409" y="270"/>
                  <a:pt x="1380" y="241"/>
                </a:cubicBezTo>
                <a:cubicBezTo>
                  <a:pt x="1350" y="252"/>
                  <a:pt x="1317" y="271"/>
                  <a:pt x="1284" y="297"/>
                </a:cubicBezTo>
                <a:cubicBezTo>
                  <a:pt x="1264" y="278"/>
                  <a:pt x="1243" y="260"/>
                  <a:pt x="1220" y="243"/>
                </a:cubicBezTo>
                <a:cubicBezTo>
                  <a:pt x="1240" y="206"/>
                  <a:pt x="1254" y="170"/>
                  <a:pt x="1260" y="139"/>
                </a:cubicBezTo>
                <a:cubicBezTo>
                  <a:pt x="1227" y="116"/>
                  <a:pt x="1192" y="95"/>
                  <a:pt x="1154" y="77"/>
                </a:cubicBezTo>
                <a:cubicBezTo>
                  <a:pt x="1130" y="98"/>
                  <a:pt x="1105" y="127"/>
                  <a:pt x="1084" y="163"/>
                </a:cubicBezTo>
                <a:cubicBezTo>
                  <a:pt x="1058" y="152"/>
                  <a:pt x="1032" y="142"/>
                  <a:pt x="1005" y="134"/>
                </a:cubicBezTo>
                <a:cubicBezTo>
                  <a:pt x="1011" y="93"/>
                  <a:pt x="1012" y="54"/>
                  <a:pt x="1007" y="23"/>
                </a:cubicBezTo>
                <a:cubicBezTo>
                  <a:pt x="987" y="17"/>
                  <a:pt x="967" y="13"/>
                  <a:pt x="947" y="9"/>
                </a:cubicBezTo>
                <a:cubicBezTo>
                  <a:pt x="927" y="6"/>
                  <a:pt x="906" y="3"/>
                  <a:pt x="886" y="1"/>
                </a:cubicBezTo>
                <a:cubicBezTo>
                  <a:pt x="870" y="29"/>
                  <a:pt x="857" y="65"/>
                  <a:pt x="849" y="106"/>
                </a:cubicBezTo>
                <a:cubicBezTo>
                  <a:pt x="821" y="104"/>
                  <a:pt x="793" y="103"/>
                  <a:pt x="765" y="105"/>
                </a:cubicBezTo>
                <a:cubicBezTo>
                  <a:pt x="757" y="64"/>
                  <a:pt x="744" y="28"/>
                  <a:pt x="729" y="0"/>
                </a:cubicBezTo>
                <a:cubicBezTo>
                  <a:pt x="688" y="3"/>
                  <a:pt x="647" y="10"/>
                  <a:pt x="608" y="20"/>
                </a:cubicBezTo>
                <a:cubicBezTo>
                  <a:pt x="603" y="52"/>
                  <a:pt x="603" y="91"/>
                  <a:pt x="609" y="132"/>
                </a:cubicBezTo>
                <a:cubicBezTo>
                  <a:pt x="582" y="140"/>
                  <a:pt x="556" y="149"/>
                  <a:pt x="530" y="160"/>
                </a:cubicBezTo>
                <a:cubicBezTo>
                  <a:pt x="509" y="124"/>
                  <a:pt x="484" y="95"/>
                  <a:pt x="460" y="73"/>
                </a:cubicBezTo>
                <a:cubicBezTo>
                  <a:pt x="423" y="91"/>
                  <a:pt x="387" y="111"/>
                  <a:pt x="353" y="134"/>
                </a:cubicBezTo>
                <a:cubicBezTo>
                  <a:pt x="359" y="166"/>
                  <a:pt x="373" y="202"/>
                  <a:pt x="392" y="239"/>
                </a:cubicBezTo>
                <a:cubicBezTo>
                  <a:pt x="370" y="255"/>
                  <a:pt x="348" y="273"/>
                  <a:pt x="328" y="292"/>
                </a:cubicBezTo>
                <a:cubicBezTo>
                  <a:pt x="295" y="266"/>
                  <a:pt x="262" y="246"/>
                  <a:pt x="233" y="235"/>
                </a:cubicBezTo>
                <a:cubicBezTo>
                  <a:pt x="204" y="264"/>
                  <a:pt x="177" y="295"/>
                  <a:pt x="153" y="328"/>
                </a:cubicBezTo>
                <a:cubicBezTo>
                  <a:pt x="169" y="356"/>
                  <a:pt x="194" y="385"/>
                  <a:pt x="225" y="413"/>
                </a:cubicBezTo>
                <a:cubicBezTo>
                  <a:pt x="210" y="436"/>
                  <a:pt x="196" y="460"/>
                  <a:pt x="183" y="486"/>
                </a:cubicBezTo>
                <a:cubicBezTo>
                  <a:pt x="144" y="472"/>
                  <a:pt x="106" y="465"/>
                  <a:pt x="74" y="464"/>
                </a:cubicBezTo>
                <a:cubicBezTo>
                  <a:pt x="57" y="501"/>
                  <a:pt x="43" y="539"/>
                  <a:pt x="31" y="579"/>
                </a:cubicBezTo>
                <a:cubicBezTo>
                  <a:pt x="56" y="599"/>
                  <a:pt x="89" y="619"/>
                  <a:pt x="128" y="634"/>
                </a:cubicBezTo>
                <a:cubicBezTo>
                  <a:pt x="125" y="647"/>
                  <a:pt x="122" y="661"/>
                  <a:pt x="119" y="675"/>
                </a:cubicBezTo>
                <a:cubicBezTo>
                  <a:pt x="117" y="689"/>
                  <a:pt x="115" y="703"/>
                  <a:pt x="113" y="717"/>
                </a:cubicBezTo>
                <a:cubicBezTo>
                  <a:pt x="72" y="717"/>
                  <a:pt x="33" y="724"/>
                  <a:pt x="3" y="734"/>
                </a:cubicBezTo>
                <a:cubicBezTo>
                  <a:pt x="0" y="775"/>
                  <a:pt x="0" y="816"/>
                  <a:pt x="2" y="857"/>
                </a:cubicBezTo>
                <a:cubicBezTo>
                  <a:pt x="33" y="867"/>
                  <a:pt x="71" y="874"/>
                  <a:pt x="112" y="875"/>
                </a:cubicBezTo>
                <a:cubicBezTo>
                  <a:pt x="115" y="903"/>
                  <a:pt x="120" y="931"/>
                  <a:pt x="126" y="958"/>
                </a:cubicBezTo>
                <a:cubicBezTo>
                  <a:pt x="87" y="973"/>
                  <a:pt x="54" y="992"/>
                  <a:pt x="29" y="1011"/>
                </a:cubicBezTo>
                <a:cubicBezTo>
                  <a:pt x="40" y="1051"/>
                  <a:pt x="54" y="1090"/>
                  <a:pt x="70" y="1127"/>
                </a:cubicBezTo>
                <a:cubicBezTo>
                  <a:pt x="102" y="1127"/>
                  <a:pt x="140" y="1120"/>
                  <a:pt x="180" y="1107"/>
                </a:cubicBezTo>
                <a:cubicBezTo>
                  <a:pt x="192" y="1132"/>
                  <a:pt x="206" y="1156"/>
                  <a:pt x="221" y="1180"/>
                </a:cubicBezTo>
                <a:cubicBezTo>
                  <a:pt x="190" y="1207"/>
                  <a:pt x="165" y="1236"/>
                  <a:pt x="148" y="1263"/>
                </a:cubicBezTo>
                <a:cubicBezTo>
                  <a:pt x="172" y="1297"/>
                  <a:pt x="198" y="1329"/>
                  <a:pt x="227" y="1358"/>
                </a:cubicBezTo>
                <a:cubicBezTo>
                  <a:pt x="257" y="1347"/>
                  <a:pt x="290" y="1327"/>
                  <a:pt x="322" y="1301"/>
                </a:cubicBezTo>
                <a:cubicBezTo>
                  <a:pt x="343" y="1321"/>
                  <a:pt x="364" y="1339"/>
                  <a:pt x="387" y="1356"/>
                </a:cubicBezTo>
                <a:cubicBezTo>
                  <a:pt x="366" y="1392"/>
                  <a:pt x="353" y="1428"/>
                  <a:pt x="346" y="1460"/>
                </a:cubicBezTo>
                <a:cubicBezTo>
                  <a:pt x="380" y="1483"/>
                  <a:pt x="415" y="1504"/>
                  <a:pt x="452" y="1522"/>
                </a:cubicBezTo>
                <a:cubicBezTo>
                  <a:pt x="477" y="1501"/>
                  <a:pt x="502" y="1471"/>
                  <a:pt x="523" y="1436"/>
                </a:cubicBezTo>
                <a:cubicBezTo>
                  <a:pt x="549" y="1447"/>
                  <a:pt x="575" y="1457"/>
                  <a:pt x="602" y="1465"/>
                </a:cubicBezTo>
                <a:cubicBezTo>
                  <a:pt x="596" y="1506"/>
                  <a:pt x="595" y="1544"/>
                  <a:pt x="600" y="1576"/>
                </a:cubicBezTo>
                <a:cubicBezTo>
                  <a:pt x="620" y="1581"/>
                  <a:pt x="640" y="1586"/>
                  <a:pt x="660" y="1589"/>
                </a:cubicBezTo>
                <a:cubicBezTo>
                  <a:pt x="680" y="1593"/>
                  <a:pt x="701" y="1596"/>
                  <a:pt x="721" y="1598"/>
                </a:cubicBezTo>
                <a:cubicBezTo>
                  <a:pt x="736" y="1570"/>
                  <a:pt x="750" y="1534"/>
                  <a:pt x="758" y="1493"/>
                </a:cubicBezTo>
                <a:cubicBezTo>
                  <a:pt x="786" y="1495"/>
                  <a:pt x="814" y="1495"/>
                  <a:pt x="842" y="1494"/>
                </a:cubicBezTo>
                <a:cubicBezTo>
                  <a:pt x="850" y="1534"/>
                  <a:pt x="863" y="1571"/>
                  <a:pt x="878" y="1599"/>
                </a:cubicBezTo>
                <a:cubicBezTo>
                  <a:pt x="919" y="1595"/>
                  <a:pt x="959" y="1588"/>
                  <a:pt x="999" y="1578"/>
                </a:cubicBezTo>
                <a:cubicBezTo>
                  <a:pt x="1004" y="1547"/>
                  <a:pt x="1004" y="1508"/>
                  <a:pt x="998" y="1467"/>
                </a:cubicBezTo>
                <a:cubicBezTo>
                  <a:pt x="1025" y="1459"/>
                  <a:pt x="1051" y="1450"/>
                  <a:pt x="1077" y="1439"/>
                </a:cubicBezTo>
                <a:cubicBezTo>
                  <a:pt x="1098" y="1474"/>
                  <a:pt x="1123" y="1504"/>
                  <a:pt x="1147" y="1525"/>
                </a:cubicBezTo>
                <a:cubicBezTo>
                  <a:pt x="1184" y="1508"/>
                  <a:pt x="1220" y="1487"/>
                  <a:pt x="1253" y="1464"/>
                </a:cubicBezTo>
                <a:cubicBezTo>
                  <a:pt x="1248" y="1433"/>
                  <a:pt x="1234" y="1397"/>
                  <a:pt x="1214" y="1360"/>
                </a:cubicBezTo>
                <a:cubicBezTo>
                  <a:pt x="1237" y="1344"/>
                  <a:pt x="1259" y="1326"/>
                  <a:pt x="1279" y="1306"/>
                </a:cubicBezTo>
                <a:cubicBezTo>
                  <a:pt x="1311" y="1333"/>
                  <a:pt x="1345" y="1352"/>
                  <a:pt x="1374" y="1364"/>
                </a:cubicBezTo>
                <a:cubicBezTo>
                  <a:pt x="1403" y="1335"/>
                  <a:pt x="1430" y="1304"/>
                  <a:pt x="1454" y="1270"/>
                </a:cubicBezTo>
                <a:cubicBezTo>
                  <a:pt x="1438" y="1243"/>
                  <a:pt x="1413" y="1213"/>
                  <a:pt x="1382" y="1186"/>
                </a:cubicBezTo>
                <a:cubicBezTo>
                  <a:pt x="1397" y="1163"/>
                  <a:pt x="1411" y="1138"/>
                  <a:pt x="1424" y="1113"/>
                </a:cubicBezTo>
                <a:cubicBezTo>
                  <a:pt x="1463" y="1127"/>
                  <a:pt x="1501" y="1134"/>
                  <a:pt x="1533" y="1135"/>
                </a:cubicBezTo>
                <a:cubicBezTo>
                  <a:pt x="1550" y="1098"/>
                  <a:pt x="1564" y="1059"/>
                  <a:pt x="1576" y="1019"/>
                </a:cubicBezTo>
                <a:cubicBezTo>
                  <a:pt x="1551" y="999"/>
                  <a:pt x="1517" y="980"/>
                  <a:pt x="1479" y="965"/>
                </a:cubicBezTo>
                <a:close/>
                <a:moveTo>
                  <a:pt x="700" y="1370"/>
                </a:moveTo>
                <a:cubicBezTo>
                  <a:pt x="384" y="1313"/>
                  <a:pt x="175" y="1011"/>
                  <a:pt x="232" y="696"/>
                </a:cubicBezTo>
                <a:cubicBezTo>
                  <a:pt x="290" y="380"/>
                  <a:pt x="592" y="171"/>
                  <a:pt x="907" y="228"/>
                </a:cubicBezTo>
                <a:cubicBezTo>
                  <a:pt x="1223" y="286"/>
                  <a:pt x="1432" y="588"/>
                  <a:pt x="1374" y="903"/>
                </a:cubicBezTo>
                <a:cubicBezTo>
                  <a:pt x="1317" y="1218"/>
                  <a:pt x="1015" y="1428"/>
                  <a:pt x="700" y="1370"/>
                </a:cubicBezTo>
                <a:close/>
              </a:path>
            </a:pathLst>
          </a:custGeom>
          <a:solidFill>
            <a:schemeClr val="accent1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8"/>
          <p:cNvSpPr>
            <a:spLocks noEditPoints="1"/>
          </p:cNvSpPr>
          <p:nvPr/>
        </p:nvSpPr>
        <p:spPr bwMode="auto">
          <a:xfrm>
            <a:off x="3366319" y="2012677"/>
            <a:ext cx="959786" cy="957555"/>
          </a:xfrm>
          <a:custGeom>
            <a:avLst/>
            <a:gdLst>
              <a:gd name="T0" fmla="*/ 1487 w 1607"/>
              <a:gd name="T1" fmla="*/ 924 h 1599"/>
              <a:gd name="T2" fmla="*/ 1604 w 1607"/>
              <a:gd name="T3" fmla="*/ 865 h 1599"/>
              <a:gd name="T4" fmla="*/ 1495 w 1607"/>
              <a:gd name="T5" fmla="*/ 724 h 1599"/>
              <a:gd name="T6" fmla="*/ 1578 w 1607"/>
              <a:gd name="T7" fmla="*/ 587 h 1599"/>
              <a:gd name="T8" fmla="*/ 1427 w 1607"/>
              <a:gd name="T9" fmla="*/ 492 h 1599"/>
              <a:gd name="T10" fmla="*/ 1459 w 1607"/>
              <a:gd name="T11" fmla="*/ 335 h 1599"/>
              <a:gd name="T12" fmla="*/ 1284 w 1607"/>
              <a:gd name="T13" fmla="*/ 297 h 1599"/>
              <a:gd name="T14" fmla="*/ 1260 w 1607"/>
              <a:gd name="T15" fmla="*/ 139 h 1599"/>
              <a:gd name="T16" fmla="*/ 1084 w 1607"/>
              <a:gd name="T17" fmla="*/ 163 h 1599"/>
              <a:gd name="T18" fmla="*/ 1007 w 1607"/>
              <a:gd name="T19" fmla="*/ 23 h 1599"/>
              <a:gd name="T20" fmla="*/ 886 w 1607"/>
              <a:gd name="T21" fmla="*/ 1 h 1599"/>
              <a:gd name="T22" fmla="*/ 765 w 1607"/>
              <a:gd name="T23" fmla="*/ 105 h 1599"/>
              <a:gd name="T24" fmla="*/ 608 w 1607"/>
              <a:gd name="T25" fmla="*/ 20 h 1599"/>
              <a:gd name="T26" fmla="*/ 530 w 1607"/>
              <a:gd name="T27" fmla="*/ 160 h 1599"/>
              <a:gd name="T28" fmla="*/ 353 w 1607"/>
              <a:gd name="T29" fmla="*/ 134 h 1599"/>
              <a:gd name="T30" fmla="*/ 328 w 1607"/>
              <a:gd name="T31" fmla="*/ 292 h 1599"/>
              <a:gd name="T32" fmla="*/ 153 w 1607"/>
              <a:gd name="T33" fmla="*/ 328 h 1599"/>
              <a:gd name="T34" fmla="*/ 183 w 1607"/>
              <a:gd name="T35" fmla="*/ 486 h 1599"/>
              <a:gd name="T36" fmla="*/ 31 w 1607"/>
              <a:gd name="T37" fmla="*/ 579 h 1599"/>
              <a:gd name="T38" fmla="*/ 119 w 1607"/>
              <a:gd name="T39" fmla="*/ 675 h 1599"/>
              <a:gd name="T40" fmla="*/ 3 w 1607"/>
              <a:gd name="T41" fmla="*/ 734 h 1599"/>
              <a:gd name="T42" fmla="*/ 112 w 1607"/>
              <a:gd name="T43" fmla="*/ 875 h 1599"/>
              <a:gd name="T44" fmla="*/ 29 w 1607"/>
              <a:gd name="T45" fmla="*/ 1011 h 1599"/>
              <a:gd name="T46" fmla="*/ 180 w 1607"/>
              <a:gd name="T47" fmla="*/ 1107 h 1599"/>
              <a:gd name="T48" fmla="*/ 148 w 1607"/>
              <a:gd name="T49" fmla="*/ 1263 h 1599"/>
              <a:gd name="T50" fmla="*/ 322 w 1607"/>
              <a:gd name="T51" fmla="*/ 1301 h 1599"/>
              <a:gd name="T52" fmla="*/ 346 w 1607"/>
              <a:gd name="T53" fmla="*/ 1460 h 1599"/>
              <a:gd name="T54" fmla="*/ 523 w 1607"/>
              <a:gd name="T55" fmla="*/ 1436 h 1599"/>
              <a:gd name="T56" fmla="*/ 600 w 1607"/>
              <a:gd name="T57" fmla="*/ 1576 h 1599"/>
              <a:gd name="T58" fmla="*/ 721 w 1607"/>
              <a:gd name="T59" fmla="*/ 1598 h 1599"/>
              <a:gd name="T60" fmla="*/ 842 w 1607"/>
              <a:gd name="T61" fmla="*/ 1494 h 1599"/>
              <a:gd name="T62" fmla="*/ 999 w 1607"/>
              <a:gd name="T63" fmla="*/ 1578 h 1599"/>
              <a:gd name="T64" fmla="*/ 1077 w 1607"/>
              <a:gd name="T65" fmla="*/ 1439 h 1599"/>
              <a:gd name="T66" fmla="*/ 1253 w 1607"/>
              <a:gd name="T67" fmla="*/ 1464 h 1599"/>
              <a:gd name="T68" fmla="*/ 1279 w 1607"/>
              <a:gd name="T69" fmla="*/ 1306 h 1599"/>
              <a:gd name="T70" fmla="*/ 1454 w 1607"/>
              <a:gd name="T71" fmla="*/ 1270 h 1599"/>
              <a:gd name="T72" fmla="*/ 1424 w 1607"/>
              <a:gd name="T73" fmla="*/ 1113 h 1599"/>
              <a:gd name="T74" fmla="*/ 1576 w 1607"/>
              <a:gd name="T75" fmla="*/ 1019 h 1599"/>
              <a:gd name="T76" fmla="*/ 700 w 1607"/>
              <a:gd name="T77" fmla="*/ 1370 h 1599"/>
              <a:gd name="T78" fmla="*/ 907 w 1607"/>
              <a:gd name="T79" fmla="*/ 228 h 1599"/>
              <a:gd name="T80" fmla="*/ 700 w 1607"/>
              <a:gd name="T81" fmla="*/ 1370 h 1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7" h="1599">
                <a:moveTo>
                  <a:pt x="1479" y="965"/>
                </a:moveTo>
                <a:cubicBezTo>
                  <a:pt x="1482" y="951"/>
                  <a:pt x="1485" y="937"/>
                  <a:pt x="1487" y="924"/>
                </a:cubicBezTo>
                <a:cubicBezTo>
                  <a:pt x="1490" y="910"/>
                  <a:pt x="1492" y="896"/>
                  <a:pt x="1494" y="882"/>
                </a:cubicBezTo>
                <a:cubicBezTo>
                  <a:pt x="1535" y="881"/>
                  <a:pt x="1573" y="875"/>
                  <a:pt x="1604" y="865"/>
                </a:cubicBezTo>
                <a:cubicBezTo>
                  <a:pt x="1607" y="824"/>
                  <a:pt x="1607" y="782"/>
                  <a:pt x="1604" y="742"/>
                </a:cubicBezTo>
                <a:cubicBezTo>
                  <a:pt x="1574" y="731"/>
                  <a:pt x="1536" y="725"/>
                  <a:pt x="1495" y="724"/>
                </a:cubicBezTo>
                <a:cubicBezTo>
                  <a:pt x="1492" y="696"/>
                  <a:pt x="1487" y="668"/>
                  <a:pt x="1481" y="641"/>
                </a:cubicBezTo>
                <a:cubicBezTo>
                  <a:pt x="1519" y="626"/>
                  <a:pt x="1553" y="607"/>
                  <a:pt x="1578" y="587"/>
                </a:cubicBezTo>
                <a:cubicBezTo>
                  <a:pt x="1567" y="547"/>
                  <a:pt x="1553" y="509"/>
                  <a:pt x="1536" y="472"/>
                </a:cubicBezTo>
                <a:cubicBezTo>
                  <a:pt x="1504" y="472"/>
                  <a:pt x="1466" y="479"/>
                  <a:pt x="1427" y="492"/>
                </a:cubicBezTo>
                <a:cubicBezTo>
                  <a:pt x="1415" y="467"/>
                  <a:pt x="1401" y="442"/>
                  <a:pt x="1385" y="419"/>
                </a:cubicBezTo>
                <a:cubicBezTo>
                  <a:pt x="1417" y="392"/>
                  <a:pt x="1442" y="362"/>
                  <a:pt x="1459" y="335"/>
                </a:cubicBezTo>
                <a:cubicBezTo>
                  <a:pt x="1435" y="302"/>
                  <a:pt x="1409" y="270"/>
                  <a:pt x="1380" y="241"/>
                </a:cubicBezTo>
                <a:cubicBezTo>
                  <a:pt x="1350" y="252"/>
                  <a:pt x="1317" y="271"/>
                  <a:pt x="1284" y="297"/>
                </a:cubicBezTo>
                <a:cubicBezTo>
                  <a:pt x="1264" y="278"/>
                  <a:pt x="1243" y="260"/>
                  <a:pt x="1220" y="243"/>
                </a:cubicBezTo>
                <a:cubicBezTo>
                  <a:pt x="1240" y="206"/>
                  <a:pt x="1254" y="170"/>
                  <a:pt x="1260" y="139"/>
                </a:cubicBezTo>
                <a:cubicBezTo>
                  <a:pt x="1227" y="116"/>
                  <a:pt x="1192" y="95"/>
                  <a:pt x="1154" y="77"/>
                </a:cubicBezTo>
                <a:cubicBezTo>
                  <a:pt x="1130" y="98"/>
                  <a:pt x="1105" y="127"/>
                  <a:pt x="1084" y="163"/>
                </a:cubicBezTo>
                <a:cubicBezTo>
                  <a:pt x="1058" y="152"/>
                  <a:pt x="1032" y="142"/>
                  <a:pt x="1005" y="134"/>
                </a:cubicBezTo>
                <a:cubicBezTo>
                  <a:pt x="1011" y="93"/>
                  <a:pt x="1012" y="54"/>
                  <a:pt x="1007" y="23"/>
                </a:cubicBezTo>
                <a:cubicBezTo>
                  <a:pt x="987" y="17"/>
                  <a:pt x="967" y="13"/>
                  <a:pt x="947" y="9"/>
                </a:cubicBezTo>
                <a:cubicBezTo>
                  <a:pt x="927" y="6"/>
                  <a:pt x="906" y="3"/>
                  <a:pt x="886" y="1"/>
                </a:cubicBezTo>
                <a:cubicBezTo>
                  <a:pt x="870" y="29"/>
                  <a:pt x="857" y="65"/>
                  <a:pt x="849" y="106"/>
                </a:cubicBezTo>
                <a:cubicBezTo>
                  <a:pt x="821" y="104"/>
                  <a:pt x="793" y="103"/>
                  <a:pt x="765" y="105"/>
                </a:cubicBezTo>
                <a:cubicBezTo>
                  <a:pt x="757" y="64"/>
                  <a:pt x="744" y="28"/>
                  <a:pt x="729" y="0"/>
                </a:cubicBezTo>
                <a:cubicBezTo>
                  <a:pt x="688" y="3"/>
                  <a:pt x="647" y="10"/>
                  <a:pt x="608" y="20"/>
                </a:cubicBezTo>
                <a:cubicBezTo>
                  <a:pt x="603" y="52"/>
                  <a:pt x="603" y="91"/>
                  <a:pt x="609" y="132"/>
                </a:cubicBezTo>
                <a:cubicBezTo>
                  <a:pt x="582" y="140"/>
                  <a:pt x="556" y="149"/>
                  <a:pt x="530" y="160"/>
                </a:cubicBezTo>
                <a:cubicBezTo>
                  <a:pt x="509" y="124"/>
                  <a:pt x="484" y="95"/>
                  <a:pt x="460" y="73"/>
                </a:cubicBezTo>
                <a:cubicBezTo>
                  <a:pt x="423" y="91"/>
                  <a:pt x="387" y="111"/>
                  <a:pt x="353" y="134"/>
                </a:cubicBezTo>
                <a:cubicBezTo>
                  <a:pt x="359" y="166"/>
                  <a:pt x="373" y="202"/>
                  <a:pt x="392" y="239"/>
                </a:cubicBezTo>
                <a:cubicBezTo>
                  <a:pt x="370" y="255"/>
                  <a:pt x="348" y="273"/>
                  <a:pt x="328" y="292"/>
                </a:cubicBezTo>
                <a:cubicBezTo>
                  <a:pt x="295" y="266"/>
                  <a:pt x="262" y="246"/>
                  <a:pt x="233" y="235"/>
                </a:cubicBezTo>
                <a:cubicBezTo>
                  <a:pt x="204" y="264"/>
                  <a:pt x="177" y="295"/>
                  <a:pt x="153" y="328"/>
                </a:cubicBezTo>
                <a:cubicBezTo>
                  <a:pt x="169" y="356"/>
                  <a:pt x="194" y="385"/>
                  <a:pt x="225" y="413"/>
                </a:cubicBezTo>
                <a:cubicBezTo>
                  <a:pt x="210" y="436"/>
                  <a:pt x="196" y="460"/>
                  <a:pt x="183" y="486"/>
                </a:cubicBezTo>
                <a:cubicBezTo>
                  <a:pt x="144" y="472"/>
                  <a:pt x="106" y="465"/>
                  <a:pt x="74" y="464"/>
                </a:cubicBezTo>
                <a:cubicBezTo>
                  <a:pt x="57" y="501"/>
                  <a:pt x="43" y="539"/>
                  <a:pt x="31" y="579"/>
                </a:cubicBezTo>
                <a:cubicBezTo>
                  <a:pt x="56" y="599"/>
                  <a:pt x="89" y="619"/>
                  <a:pt x="128" y="634"/>
                </a:cubicBezTo>
                <a:cubicBezTo>
                  <a:pt x="125" y="647"/>
                  <a:pt x="122" y="661"/>
                  <a:pt x="119" y="675"/>
                </a:cubicBezTo>
                <a:cubicBezTo>
                  <a:pt x="117" y="689"/>
                  <a:pt x="115" y="703"/>
                  <a:pt x="113" y="717"/>
                </a:cubicBezTo>
                <a:cubicBezTo>
                  <a:pt x="72" y="717"/>
                  <a:pt x="33" y="724"/>
                  <a:pt x="3" y="734"/>
                </a:cubicBezTo>
                <a:cubicBezTo>
                  <a:pt x="0" y="775"/>
                  <a:pt x="0" y="816"/>
                  <a:pt x="2" y="857"/>
                </a:cubicBezTo>
                <a:cubicBezTo>
                  <a:pt x="33" y="867"/>
                  <a:pt x="71" y="874"/>
                  <a:pt x="112" y="875"/>
                </a:cubicBezTo>
                <a:cubicBezTo>
                  <a:pt x="115" y="903"/>
                  <a:pt x="120" y="931"/>
                  <a:pt x="126" y="958"/>
                </a:cubicBezTo>
                <a:cubicBezTo>
                  <a:pt x="87" y="973"/>
                  <a:pt x="54" y="992"/>
                  <a:pt x="29" y="1011"/>
                </a:cubicBezTo>
                <a:cubicBezTo>
                  <a:pt x="40" y="1051"/>
                  <a:pt x="54" y="1090"/>
                  <a:pt x="70" y="1127"/>
                </a:cubicBezTo>
                <a:cubicBezTo>
                  <a:pt x="102" y="1127"/>
                  <a:pt x="140" y="1120"/>
                  <a:pt x="180" y="1107"/>
                </a:cubicBezTo>
                <a:cubicBezTo>
                  <a:pt x="192" y="1132"/>
                  <a:pt x="206" y="1156"/>
                  <a:pt x="221" y="1180"/>
                </a:cubicBezTo>
                <a:cubicBezTo>
                  <a:pt x="190" y="1207"/>
                  <a:pt x="165" y="1236"/>
                  <a:pt x="148" y="1263"/>
                </a:cubicBezTo>
                <a:cubicBezTo>
                  <a:pt x="172" y="1297"/>
                  <a:pt x="198" y="1329"/>
                  <a:pt x="227" y="1358"/>
                </a:cubicBezTo>
                <a:cubicBezTo>
                  <a:pt x="257" y="1347"/>
                  <a:pt x="290" y="1327"/>
                  <a:pt x="322" y="1301"/>
                </a:cubicBezTo>
                <a:cubicBezTo>
                  <a:pt x="343" y="1321"/>
                  <a:pt x="364" y="1339"/>
                  <a:pt x="387" y="1356"/>
                </a:cubicBezTo>
                <a:cubicBezTo>
                  <a:pt x="366" y="1392"/>
                  <a:pt x="353" y="1428"/>
                  <a:pt x="346" y="1460"/>
                </a:cubicBezTo>
                <a:cubicBezTo>
                  <a:pt x="380" y="1483"/>
                  <a:pt x="415" y="1504"/>
                  <a:pt x="452" y="1522"/>
                </a:cubicBezTo>
                <a:cubicBezTo>
                  <a:pt x="477" y="1501"/>
                  <a:pt x="502" y="1471"/>
                  <a:pt x="523" y="1436"/>
                </a:cubicBezTo>
                <a:cubicBezTo>
                  <a:pt x="549" y="1447"/>
                  <a:pt x="575" y="1457"/>
                  <a:pt x="602" y="1465"/>
                </a:cubicBezTo>
                <a:cubicBezTo>
                  <a:pt x="596" y="1506"/>
                  <a:pt x="595" y="1544"/>
                  <a:pt x="600" y="1576"/>
                </a:cubicBezTo>
                <a:cubicBezTo>
                  <a:pt x="620" y="1581"/>
                  <a:pt x="640" y="1586"/>
                  <a:pt x="660" y="1589"/>
                </a:cubicBezTo>
                <a:cubicBezTo>
                  <a:pt x="680" y="1593"/>
                  <a:pt x="701" y="1596"/>
                  <a:pt x="721" y="1598"/>
                </a:cubicBezTo>
                <a:cubicBezTo>
                  <a:pt x="736" y="1570"/>
                  <a:pt x="750" y="1534"/>
                  <a:pt x="758" y="1493"/>
                </a:cubicBezTo>
                <a:cubicBezTo>
                  <a:pt x="786" y="1495"/>
                  <a:pt x="814" y="1495"/>
                  <a:pt x="842" y="1494"/>
                </a:cubicBezTo>
                <a:cubicBezTo>
                  <a:pt x="850" y="1534"/>
                  <a:pt x="863" y="1571"/>
                  <a:pt x="878" y="1599"/>
                </a:cubicBezTo>
                <a:cubicBezTo>
                  <a:pt x="919" y="1595"/>
                  <a:pt x="959" y="1588"/>
                  <a:pt x="999" y="1578"/>
                </a:cubicBezTo>
                <a:cubicBezTo>
                  <a:pt x="1004" y="1547"/>
                  <a:pt x="1004" y="1508"/>
                  <a:pt x="998" y="1467"/>
                </a:cubicBezTo>
                <a:cubicBezTo>
                  <a:pt x="1025" y="1459"/>
                  <a:pt x="1051" y="1450"/>
                  <a:pt x="1077" y="1439"/>
                </a:cubicBezTo>
                <a:cubicBezTo>
                  <a:pt x="1098" y="1474"/>
                  <a:pt x="1123" y="1504"/>
                  <a:pt x="1147" y="1525"/>
                </a:cubicBezTo>
                <a:cubicBezTo>
                  <a:pt x="1184" y="1508"/>
                  <a:pt x="1220" y="1487"/>
                  <a:pt x="1253" y="1464"/>
                </a:cubicBezTo>
                <a:cubicBezTo>
                  <a:pt x="1248" y="1433"/>
                  <a:pt x="1234" y="1397"/>
                  <a:pt x="1214" y="1360"/>
                </a:cubicBezTo>
                <a:cubicBezTo>
                  <a:pt x="1237" y="1344"/>
                  <a:pt x="1259" y="1326"/>
                  <a:pt x="1279" y="1306"/>
                </a:cubicBezTo>
                <a:cubicBezTo>
                  <a:pt x="1311" y="1333"/>
                  <a:pt x="1345" y="1352"/>
                  <a:pt x="1374" y="1364"/>
                </a:cubicBezTo>
                <a:cubicBezTo>
                  <a:pt x="1403" y="1335"/>
                  <a:pt x="1430" y="1304"/>
                  <a:pt x="1454" y="1270"/>
                </a:cubicBezTo>
                <a:cubicBezTo>
                  <a:pt x="1438" y="1243"/>
                  <a:pt x="1413" y="1213"/>
                  <a:pt x="1382" y="1186"/>
                </a:cubicBezTo>
                <a:cubicBezTo>
                  <a:pt x="1397" y="1163"/>
                  <a:pt x="1411" y="1138"/>
                  <a:pt x="1424" y="1113"/>
                </a:cubicBezTo>
                <a:cubicBezTo>
                  <a:pt x="1463" y="1127"/>
                  <a:pt x="1501" y="1134"/>
                  <a:pt x="1533" y="1135"/>
                </a:cubicBezTo>
                <a:cubicBezTo>
                  <a:pt x="1550" y="1098"/>
                  <a:pt x="1564" y="1059"/>
                  <a:pt x="1576" y="1019"/>
                </a:cubicBezTo>
                <a:cubicBezTo>
                  <a:pt x="1551" y="999"/>
                  <a:pt x="1517" y="980"/>
                  <a:pt x="1479" y="965"/>
                </a:cubicBezTo>
                <a:close/>
                <a:moveTo>
                  <a:pt x="700" y="1370"/>
                </a:moveTo>
                <a:cubicBezTo>
                  <a:pt x="384" y="1313"/>
                  <a:pt x="175" y="1011"/>
                  <a:pt x="232" y="696"/>
                </a:cubicBezTo>
                <a:cubicBezTo>
                  <a:pt x="290" y="380"/>
                  <a:pt x="592" y="171"/>
                  <a:pt x="907" y="228"/>
                </a:cubicBezTo>
                <a:cubicBezTo>
                  <a:pt x="1223" y="286"/>
                  <a:pt x="1432" y="588"/>
                  <a:pt x="1374" y="903"/>
                </a:cubicBezTo>
                <a:cubicBezTo>
                  <a:pt x="1317" y="1218"/>
                  <a:pt x="1015" y="1428"/>
                  <a:pt x="700" y="1370"/>
                </a:cubicBezTo>
                <a:close/>
              </a:path>
            </a:pathLst>
          </a:custGeom>
          <a:solidFill>
            <a:schemeClr val="accent1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Freeform 6"/>
          <p:cNvSpPr>
            <a:spLocks noEditPoints="1"/>
          </p:cNvSpPr>
          <p:nvPr/>
        </p:nvSpPr>
        <p:spPr bwMode="auto">
          <a:xfrm>
            <a:off x="4335778" y="1676400"/>
            <a:ext cx="965888" cy="970397"/>
          </a:xfrm>
          <a:custGeom>
            <a:avLst/>
            <a:gdLst>
              <a:gd name="T0" fmla="*/ 1495 w 1600"/>
              <a:gd name="T1" fmla="*/ 797 h 1606"/>
              <a:gd name="T2" fmla="*/ 1599 w 1600"/>
              <a:gd name="T3" fmla="*/ 717 h 1606"/>
              <a:gd name="T4" fmla="*/ 1465 w 1600"/>
              <a:gd name="T5" fmla="*/ 599 h 1606"/>
              <a:gd name="T6" fmla="*/ 1521 w 1600"/>
              <a:gd name="T7" fmla="*/ 449 h 1606"/>
              <a:gd name="T8" fmla="*/ 1355 w 1600"/>
              <a:gd name="T9" fmla="*/ 384 h 1606"/>
              <a:gd name="T10" fmla="*/ 1357 w 1600"/>
              <a:gd name="T11" fmla="*/ 224 h 1606"/>
              <a:gd name="T12" fmla="*/ 1179 w 1600"/>
              <a:gd name="T13" fmla="*/ 219 h 1606"/>
              <a:gd name="T14" fmla="*/ 1125 w 1600"/>
              <a:gd name="T15" fmla="*/ 68 h 1606"/>
              <a:gd name="T16" fmla="*/ 956 w 1600"/>
              <a:gd name="T17" fmla="*/ 125 h 1606"/>
              <a:gd name="T18" fmla="*/ 855 w 1600"/>
              <a:gd name="T19" fmla="*/ 1 h 1606"/>
              <a:gd name="T20" fmla="*/ 732 w 1600"/>
              <a:gd name="T21" fmla="*/ 3 h 1606"/>
              <a:gd name="T22" fmla="*/ 632 w 1600"/>
              <a:gd name="T23" fmla="*/ 128 h 1606"/>
              <a:gd name="T24" fmla="*/ 462 w 1600"/>
              <a:gd name="T25" fmla="*/ 74 h 1606"/>
              <a:gd name="T26" fmla="*/ 412 w 1600"/>
              <a:gd name="T27" fmla="*/ 226 h 1606"/>
              <a:gd name="T28" fmla="*/ 234 w 1600"/>
              <a:gd name="T29" fmla="*/ 234 h 1606"/>
              <a:gd name="T30" fmla="*/ 238 w 1600"/>
              <a:gd name="T31" fmla="*/ 394 h 1606"/>
              <a:gd name="T32" fmla="*/ 73 w 1600"/>
              <a:gd name="T33" fmla="*/ 462 h 1606"/>
              <a:gd name="T34" fmla="*/ 132 w 1600"/>
              <a:gd name="T35" fmla="*/ 610 h 1606"/>
              <a:gd name="T36" fmla="*/ 0 w 1600"/>
              <a:gd name="T37" fmla="*/ 731 h 1606"/>
              <a:gd name="T38" fmla="*/ 105 w 1600"/>
              <a:gd name="T39" fmla="*/ 809 h 1606"/>
              <a:gd name="T40" fmla="*/ 2 w 1600"/>
              <a:gd name="T41" fmla="*/ 888 h 1606"/>
              <a:gd name="T42" fmla="*/ 135 w 1600"/>
              <a:gd name="T43" fmla="*/ 1006 h 1606"/>
              <a:gd name="T44" fmla="*/ 79 w 1600"/>
              <a:gd name="T45" fmla="*/ 1156 h 1606"/>
              <a:gd name="T46" fmla="*/ 245 w 1600"/>
              <a:gd name="T47" fmla="*/ 1221 h 1606"/>
              <a:gd name="T48" fmla="*/ 243 w 1600"/>
              <a:gd name="T49" fmla="*/ 1381 h 1606"/>
              <a:gd name="T50" fmla="*/ 422 w 1600"/>
              <a:gd name="T51" fmla="*/ 1386 h 1606"/>
              <a:gd name="T52" fmla="*/ 475 w 1600"/>
              <a:gd name="T53" fmla="*/ 1537 h 1606"/>
              <a:gd name="T54" fmla="*/ 644 w 1600"/>
              <a:gd name="T55" fmla="*/ 1480 h 1606"/>
              <a:gd name="T56" fmla="*/ 746 w 1600"/>
              <a:gd name="T57" fmla="*/ 1604 h 1606"/>
              <a:gd name="T58" fmla="*/ 868 w 1600"/>
              <a:gd name="T59" fmla="*/ 1603 h 1606"/>
              <a:gd name="T60" fmla="*/ 968 w 1600"/>
              <a:gd name="T61" fmla="*/ 1477 h 1606"/>
              <a:gd name="T62" fmla="*/ 1138 w 1600"/>
              <a:gd name="T63" fmla="*/ 1531 h 1606"/>
              <a:gd name="T64" fmla="*/ 1189 w 1600"/>
              <a:gd name="T65" fmla="*/ 1379 h 1606"/>
              <a:gd name="T66" fmla="*/ 1367 w 1600"/>
              <a:gd name="T67" fmla="*/ 1371 h 1606"/>
              <a:gd name="T68" fmla="*/ 1362 w 1600"/>
              <a:gd name="T69" fmla="*/ 1212 h 1606"/>
              <a:gd name="T70" fmla="*/ 1527 w 1600"/>
              <a:gd name="T71" fmla="*/ 1144 h 1606"/>
              <a:gd name="T72" fmla="*/ 1469 w 1600"/>
              <a:gd name="T73" fmla="*/ 995 h 1606"/>
              <a:gd name="T74" fmla="*/ 1600 w 1600"/>
              <a:gd name="T75" fmla="*/ 874 h 1606"/>
              <a:gd name="T76" fmla="*/ 805 w 1600"/>
              <a:gd name="T77" fmla="*/ 1383 h 1606"/>
              <a:gd name="T78" fmla="*/ 795 w 1600"/>
              <a:gd name="T79" fmla="*/ 222 h 1606"/>
              <a:gd name="T80" fmla="*/ 805 w 1600"/>
              <a:gd name="T81" fmla="*/ 1383 h 1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0" h="1606">
                <a:moveTo>
                  <a:pt x="1494" y="839"/>
                </a:moveTo>
                <a:cubicBezTo>
                  <a:pt x="1495" y="825"/>
                  <a:pt x="1496" y="811"/>
                  <a:pt x="1495" y="797"/>
                </a:cubicBezTo>
                <a:cubicBezTo>
                  <a:pt x="1495" y="782"/>
                  <a:pt x="1495" y="768"/>
                  <a:pt x="1494" y="755"/>
                </a:cubicBezTo>
                <a:cubicBezTo>
                  <a:pt x="1534" y="746"/>
                  <a:pt x="1571" y="733"/>
                  <a:pt x="1599" y="717"/>
                </a:cubicBezTo>
                <a:cubicBezTo>
                  <a:pt x="1594" y="676"/>
                  <a:pt x="1587" y="636"/>
                  <a:pt x="1576" y="596"/>
                </a:cubicBezTo>
                <a:cubicBezTo>
                  <a:pt x="1545" y="592"/>
                  <a:pt x="1506" y="592"/>
                  <a:pt x="1465" y="599"/>
                </a:cubicBezTo>
                <a:cubicBezTo>
                  <a:pt x="1457" y="572"/>
                  <a:pt x="1447" y="546"/>
                  <a:pt x="1436" y="520"/>
                </a:cubicBezTo>
                <a:cubicBezTo>
                  <a:pt x="1471" y="498"/>
                  <a:pt x="1501" y="473"/>
                  <a:pt x="1521" y="449"/>
                </a:cubicBezTo>
                <a:cubicBezTo>
                  <a:pt x="1503" y="412"/>
                  <a:pt x="1482" y="377"/>
                  <a:pt x="1459" y="343"/>
                </a:cubicBezTo>
                <a:cubicBezTo>
                  <a:pt x="1428" y="350"/>
                  <a:pt x="1392" y="364"/>
                  <a:pt x="1355" y="384"/>
                </a:cubicBezTo>
                <a:cubicBezTo>
                  <a:pt x="1338" y="362"/>
                  <a:pt x="1320" y="340"/>
                  <a:pt x="1301" y="320"/>
                </a:cubicBezTo>
                <a:cubicBezTo>
                  <a:pt x="1326" y="287"/>
                  <a:pt x="1346" y="254"/>
                  <a:pt x="1357" y="224"/>
                </a:cubicBezTo>
                <a:cubicBezTo>
                  <a:pt x="1327" y="196"/>
                  <a:pt x="1296" y="169"/>
                  <a:pt x="1262" y="146"/>
                </a:cubicBezTo>
                <a:cubicBezTo>
                  <a:pt x="1235" y="163"/>
                  <a:pt x="1206" y="188"/>
                  <a:pt x="1179" y="219"/>
                </a:cubicBezTo>
                <a:cubicBezTo>
                  <a:pt x="1155" y="204"/>
                  <a:pt x="1131" y="190"/>
                  <a:pt x="1105" y="178"/>
                </a:cubicBezTo>
                <a:cubicBezTo>
                  <a:pt x="1119" y="138"/>
                  <a:pt x="1125" y="100"/>
                  <a:pt x="1125" y="68"/>
                </a:cubicBezTo>
                <a:cubicBezTo>
                  <a:pt x="1088" y="52"/>
                  <a:pt x="1050" y="38"/>
                  <a:pt x="1010" y="27"/>
                </a:cubicBezTo>
                <a:cubicBezTo>
                  <a:pt x="990" y="52"/>
                  <a:pt x="971" y="86"/>
                  <a:pt x="956" y="125"/>
                </a:cubicBezTo>
                <a:cubicBezTo>
                  <a:pt x="929" y="119"/>
                  <a:pt x="902" y="114"/>
                  <a:pt x="873" y="111"/>
                </a:cubicBezTo>
                <a:cubicBezTo>
                  <a:pt x="872" y="70"/>
                  <a:pt x="865" y="32"/>
                  <a:pt x="855" y="1"/>
                </a:cubicBezTo>
                <a:cubicBezTo>
                  <a:pt x="834" y="0"/>
                  <a:pt x="814" y="0"/>
                  <a:pt x="793" y="0"/>
                </a:cubicBezTo>
                <a:cubicBezTo>
                  <a:pt x="773" y="0"/>
                  <a:pt x="752" y="1"/>
                  <a:pt x="732" y="3"/>
                </a:cubicBezTo>
                <a:cubicBezTo>
                  <a:pt x="722" y="33"/>
                  <a:pt x="716" y="71"/>
                  <a:pt x="715" y="112"/>
                </a:cubicBezTo>
                <a:cubicBezTo>
                  <a:pt x="687" y="116"/>
                  <a:pt x="659" y="121"/>
                  <a:pt x="632" y="128"/>
                </a:cubicBezTo>
                <a:cubicBezTo>
                  <a:pt x="617" y="89"/>
                  <a:pt x="598" y="56"/>
                  <a:pt x="577" y="31"/>
                </a:cubicBezTo>
                <a:cubicBezTo>
                  <a:pt x="538" y="42"/>
                  <a:pt x="499" y="57"/>
                  <a:pt x="462" y="74"/>
                </a:cubicBezTo>
                <a:cubicBezTo>
                  <a:pt x="463" y="106"/>
                  <a:pt x="470" y="144"/>
                  <a:pt x="484" y="183"/>
                </a:cubicBezTo>
                <a:cubicBezTo>
                  <a:pt x="459" y="196"/>
                  <a:pt x="435" y="210"/>
                  <a:pt x="412" y="226"/>
                </a:cubicBezTo>
                <a:cubicBezTo>
                  <a:pt x="384" y="195"/>
                  <a:pt x="355" y="170"/>
                  <a:pt x="327" y="154"/>
                </a:cubicBezTo>
                <a:cubicBezTo>
                  <a:pt x="294" y="178"/>
                  <a:pt x="263" y="205"/>
                  <a:pt x="234" y="234"/>
                </a:cubicBezTo>
                <a:cubicBezTo>
                  <a:pt x="245" y="263"/>
                  <a:pt x="265" y="297"/>
                  <a:pt x="292" y="329"/>
                </a:cubicBezTo>
                <a:cubicBezTo>
                  <a:pt x="272" y="349"/>
                  <a:pt x="255" y="371"/>
                  <a:pt x="238" y="394"/>
                </a:cubicBezTo>
                <a:cubicBezTo>
                  <a:pt x="201" y="374"/>
                  <a:pt x="165" y="361"/>
                  <a:pt x="134" y="355"/>
                </a:cubicBezTo>
                <a:cubicBezTo>
                  <a:pt x="111" y="389"/>
                  <a:pt x="91" y="424"/>
                  <a:pt x="73" y="462"/>
                </a:cubicBezTo>
                <a:cubicBezTo>
                  <a:pt x="94" y="486"/>
                  <a:pt x="124" y="510"/>
                  <a:pt x="160" y="531"/>
                </a:cubicBezTo>
                <a:cubicBezTo>
                  <a:pt x="149" y="557"/>
                  <a:pt x="140" y="583"/>
                  <a:pt x="132" y="610"/>
                </a:cubicBezTo>
                <a:cubicBezTo>
                  <a:pt x="91" y="604"/>
                  <a:pt x="52" y="604"/>
                  <a:pt x="21" y="610"/>
                </a:cubicBezTo>
                <a:cubicBezTo>
                  <a:pt x="11" y="649"/>
                  <a:pt x="4" y="690"/>
                  <a:pt x="0" y="731"/>
                </a:cubicBezTo>
                <a:cubicBezTo>
                  <a:pt x="29" y="746"/>
                  <a:pt x="65" y="759"/>
                  <a:pt x="106" y="766"/>
                </a:cubicBezTo>
                <a:cubicBezTo>
                  <a:pt x="105" y="780"/>
                  <a:pt x="105" y="794"/>
                  <a:pt x="105" y="809"/>
                </a:cubicBezTo>
                <a:cubicBezTo>
                  <a:pt x="105" y="823"/>
                  <a:pt x="106" y="837"/>
                  <a:pt x="107" y="851"/>
                </a:cubicBezTo>
                <a:cubicBezTo>
                  <a:pt x="66" y="859"/>
                  <a:pt x="30" y="872"/>
                  <a:pt x="2" y="888"/>
                </a:cubicBezTo>
                <a:cubicBezTo>
                  <a:pt x="6" y="929"/>
                  <a:pt x="14" y="970"/>
                  <a:pt x="24" y="1009"/>
                </a:cubicBezTo>
                <a:cubicBezTo>
                  <a:pt x="56" y="1013"/>
                  <a:pt x="94" y="1013"/>
                  <a:pt x="135" y="1006"/>
                </a:cubicBezTo>
                <a:cubicBezTo>
                  <a:pt x="143" y="1033"/>
                  <a:pt x="153" y="1059"/>
                  <a:pt x="165" y="1085"/>
                </a:cubicBezTo>
                <a:cubicBezTo>
                  <a:pt x="129" y="1107"/>
                  <a:pt x="100" y="1132"/>
                  <a:pt x="79" y="1156"/>
                </a:cubicBezTo>
                <a:cubicBezTo>
                  <a:pt x="97" y="1193"/>
                  <a:pt x="118" y="1228"/>
                  <a:pt x="141" y="1262"/>
                </a:cubicBezTo>
                <a:cubicBezTo>
                  <a:pt x="173" y="1255"/>
                  <a:pt x="209" y="1242"/>
                  <a:pt x="245" y="1221"/>
                </a:cubicBezTo>
                <a:cubicBezTo>
                  <a:pt x="262" y="1244"/>
                  <a:pt x="280" y="1265"/>
                  <a:pt x="300" y="1285"/>
                </a:cubicBezTo>
                <a:cubicBezTo>
                  <a:pt x="274" y="1318"/>
                  <a:pt x="255" y="1351"/>
                  <a:pt x="243" y="1381"/>
                </a:cubicBezTo>
                <a:cubicBezTo>
                  <a:pt x="273" y="1410"/>
                  <a:pt x="305" y="1436"/>
                  <a:pt x="338" y="1459"/>
                </a:cubicBezTo>
                <a:cubicBezTo>
                  <a:pt x="365" y="1443"/>
                  <a:pt x="395" y="1417"/>
                  <a:pt x="422" y="1386"/>
                </a:cubicBezTo>
                <a:cubicBezTo>
                  <a:pt x="445" y="1401"/>
                  <a:pt x="470" y="1415"/>
                  <a:pt x="495" y="1427"/>
                </a:cubicBezTo>
                <a:cubicBezTo>
                  <a:pt x="482" y="1467"/>
                  <a:pt x="475" y="1505"/>
                  <a:pt x="475" y="1537"/>
                </a:cubicBezTo>
                <a:cubicBezTo>
                  <a:pt x="512" y="1553"/>
                  <a:pt x="551" y="1567"/>
                  <a:pt x="591" y="1578"/>
                </a:cubicBezTo>
                <a:cubicBezTo>
                  <a:pt x="611" y="1553"/>
                  <a:pt x="629" y="1519"/>
                  <a:pt x="644" y="1480"/>
                </a:cubicBezTo>
                <a:cubicBezTo>
                  <a:pt x="671" y="1486"/>
                  <a:pt x="699" y="1491"/>
                  <a:pt x="727" y="1494"/>
                </a:cubicBezTo>
                <a:cubicBezTo>
                  <a:pt x="728" y="1536"/>
                  <a:pt x="735" y="1574"/>
                  <a:pt x="746" y="1604"/>
                </a:cubicBezTo>
                <a:cubicBezTo>
                  <a:pt x="766" y="1605"/>
                  <a:pt x="786" y="1606"/>
                  <a:pt x="807" y="1605"/>
                </a:cubicBezTo>
                <a:cubicBezTo>
                  <a:pt x="828" y="1605"/>
                  <a:pt x="848" y="1604"/>
                  <a:pt x="868" y="1603"/>
                </a:cubicBezTo>
                <a:cubicBezTo>
                  <a:pt x="879" y="1572"/>
                  <a:pt x="885" y="1534"/>
                  <a:pt x="885" y="1493"/>
                </a:cubicBezTo>
                <a:cubicBezTo>
                  <a:pt x="913" y="1489"/>
                  <a:pt x="941" y="1484"/>
                  <a:pt x="968" y="1477"/>
                </a:cubicBezTo>
                <a:cubicBezTo>
                  <a:pt x="983" y="1516"/>
                  <a:pt x="1003" y="1549"/>
                  <a:pt x="1023" y="1574"/>
                </a:cubicBezTo>
                <a:cubicBezTo>
                  <a:pt x="1063" y="1563"/>
                  <a:pt x="1101" y="1548"/>
                  <a:pt x="1138" y="1531"/>
                </a:cubicBezTo>
                <a:cubicBezTo>
                  <a:pt x="1137" y="1499"/>
                  <a:pt x="1130" y="1461"/>
                  <a:pt x="1116" y="1422"/>
                </a:cubicBezTo>
                <a:cubicBezTo>
                  <a:pt x="1141" y="1409"/>
                  <a:pt x="1165" y="1395"/>
                  <a:pt x="1189" y="1379"/>
                </a:cubicBezTo>
                <a:cubicBezTo>
                  <a:pt x="1216" y="1410"/>
                  <a:pt x="1246" y="1435"/>
                  <a:pt x="1273" y="1451"/>
                </a:cubicBezTo>
                <a:cubicBezTo>
                  <a:pt x="1306" y="1427"/>
                  <a:pt x="1338" y="1400"/>
                  <a:pt x="1367" y="1371"/>
                </a:cubicBezTo>
                <a:cubicBezTo>
                  <a:pt x="1355" y="1342"/>
                  <a:pt x="1335" y="1309"/>
                  <a:pt x="1309" y="1277"/>
                </a:cubicBezTo>
                <a:cubicBezTo>
                  <a:pt x="1328" y="1256"/>
                  <a:pt x="1346" y="1234"/>
                  <a:pt x="1362" y="1212"/>
                </a:cubicBezTo>
                <a:cubicBezTo>
                  <a:pt x="1399" y="1231"/>
                  <a:pt x="1435" y="1245"/>
                  <a:pt x="1467" y="1250"/>
                </a:cubicBezTo>
                <a:cubicBezTo>
                  <a:pt x="1489" y="1217"/>
                  <a:pt x="1510" y="1181"/>
                  <a:pt x="1527" y="1144"/>
                </a:cubicBezTo>
                <a:cubicBezTo>
                  <a:pt x="1506" y="1120"/>
                  <a:pt x="1476" y="1095"/>
                  <a:pt x="1440" y="1074"/>
                </a:cubicBezTo>
                <a:cubicBezTo>
                  <a:pt x="1451" y="1048"/>
                  <a:pt x="1461" y="1022"/>
                  <a:pt x="1469" y="995"/>
                </a:cubicBezTo>
                <a:cubicBezTo>
                  <a:pt x="1510" y="1001"/>
                  <a:pt x="1548" y="1001"/>
                  <a:pt x="1580" y="995"/>
                </a:cubicBezTo>
                <a:cubicBezTo>
                  <a:pt x="1589" y="956"/>
                  <a:pt x="1596" y="916"/>
                  <a:pt x="1600" y="874"/>
                </a:cubicBezTo>
                <a:cubicBezTo>
                  <a:pt x="1572" y="859"/>
                  <a:pt x="1535" y="846"/>
                  <a:pt x="1494" y="839"/>
                </a:cubicBezTo>
                <a:close/>
                <a:moveTo>
                  <a:pt x="805" y="1383"/>
                </a:moveTo>
                <a:cubicBezTo>
                  <a:pt x="485" y="1386"/>
                  <a:pt x="223" y="1128"/>
                  <a:pt x="220" y="808"/>
                </a:cubicBezTo>
                <a:cubicBezTo>
                  <a:pt x="217" y="487"/>
                  <a:pt x="475" y="225"/>
                  <a:pt x="795" y="222"/>
                </a:cubicBezTo>
                <a:cubicBezTo>
                  <a:pt x="1116" y="219"/>
                  <a:pt x="1378" y="477"/>
                  <a:pt x="1381" y="798"/>
                </a:cubicBezTo>
                <a:cubicBezTo>
                  <a:pt x="1383" y="1118"/>
                  <a:pt x="1126" y="1380"/>
                  <a:pt x="805" y="1383"/>
                </a:cubicBezTo>
                <a:close/>
              </a:path>
            </a:pathLst>
          </a:custGeom>
          <a:solidFill>
            <a:schemeClr val="accent1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0" name="Freeform 39"/>
          <p:cNvSpPr>
            <a:spLocks noEditPoints="1"/>
          </p:cNvSpPr>
          <p:nvPr/>
        </p:nvSpPr>
        <p:spPr bwMode="auto">
          <a:xfrm>
            <a:off x="5098265" y="2428580"/>
            <a:ext cx="595882" cy="594496"/>
          </a:xfrm>
          <a:custGeom>
            <a:avLst/>
            <a:gdLst>
              <a:gd name="T0" fmla="*/ 1487 w 1607"/>
              <a:gd name="T1" fmla="*/ 924 h 1599"/>
              <a:gd name="T2" fmla="*/ 1604 w 1607"/>
              <a:gd name="T3" fmla="*/ 865 h 1599"/>
              <a:gd name="T4" fmla="*/ 1495 w 1607"/>
              <a:gd name="T5" fmla="*/ 724 h 1599"/>
              <a:gd name="T6" fmla="*/ 1578 w 1607"/>
              <a:gd name="T7" fmla="*/ 587 h 1599"/>
              <a:gd name="T8" fmla="*/ 1427 w 1607"/>
              <a:gd name="T9" fmla="*/ 492 h 1599"/>
              <a:gd name="T10" fmla="*/ 1459 w 1607"/>
              <a:gd name="T11" fmla="*/ 335 h 1599"/>
              <a:gd name="T12" fmla="*/ 1284 w 1607"/>
              <a:gd name="T13" fmla="*/ 297 h 1599"/>
              <a:gd name="T14" fmla="*/ 1260 w 1607"/>
              <a:gd name="T15" fmla="*/ 139 h 1599"/>
              <a:gd name="T16" fmla="*/ 1084 w 1607"/>
              <a:gd name="T17" fmla="*/ 163 h 1599"/>
              <a:gd name="T18" fmla="*/ 1007 w 1607"/>
              <a:gd name="T19" fmla="*/ 23 h 1599"/>
              <a:gd name="T20" fmla="*/ 886 w 1607"/>
              <a:gd name="T21" fmla="*/ 1 h 1599"/>
              <a:gd name="T22" fmla="*/ 765 w 1607"/>
              <a:gd name="T23" fmla="*/ 105 h 1599"/>
              <a:gd name="T24" fmla="*/ 608 w 1607"/>
              <a:gd name="T25" fmla="*/ 20 h 1599"/>
              <a:gd name="T26" fmla="*/ 530 w 1607"/>
              <a:gd name="T27" fmla="*/ 160 h 1599"/>
              <a:gd name="T28" fmla="*/ 353 w 1607"/>
              <a:gd name="T29" fmla="*/ 134 h 1599"/>
              <a:gd name="T30" fmla="*/ 328 w 1607"/>
              <a:gd name="T31" fmla="*/ 292 h 1599"/>
              <a:gd name="T32" fmla="*/ 153 w 1607"/>
              <a:gd name="T33" fmla="*/ 328 h 1599"/>
              <a:gd name="T34" fmla="*/ 183 w 1607"/>
              <a:gd name="T35" fmla="*/ 486 h 1599"/>
              <a:gd name="T36" fmla="*/ 31 w 1607"/>
              <a:gd name="T37" fmla="*/ 579 h 1599"/>
              <a:gd name="T38" fmla="*/ 119 w 1607"/>
              <a:gd name="T39" fmla="*/ 675 h 1599"/>
              <a:gd name="T40" fmla="*/ 3 w 1607"/>
              <a:gd name="T41" fmla="*/ 734 h 1599"/>
              <a:gd name="T42" fmla="*/ 112 w 1607"/>
              <a:gd name="T43" fmla="*/ 875 h 1599"/>
              <a:gd name="T44" fmla="*/ 29 w 1607"/>
              <a:gd name="T45" fmla="*/ 1011 h 1599"/>
              <a:gd name="T46" fmla="*/ 180 w 1607"/>
              <a:gd name="T47" fmla="*/ 1107 h 1599"/>
              <a:gd name="T48" fmla="*/ 148 w 1607"/>
              <a:gd name="T49" fmla="*/ 1263 h 1599"/>
              <a:gd name="T50" fmla="*/ 322 w 1607"/>
              <a:gd name="T51" fmla="*/ 1301 h 1599"/>
              <a:gd name="T52" fmla="*/ 346 w 1607"/>
              <a:gd name="T53" fmla="*/ 1460 h 1599"/>
              <a:gd name="T54" fmla="*/ 523 w 1607"/>
              <a:gd name="T55" fmla="*/ 1436 h 1599"/>
              <a:gd name="T56" fmla="*/ 600 w 1607"/>
              <a:gd name="T57" fmla="*/ 1576 h 1599"/>
              <a:gd name="T58" fmla="*/ 721 w 1607"/>
              <a:gd name="T59" fmla="*/ 1598 h 1599"/>
              <a:gd name="T60" fmla="*/ 842 w 1607"/>
              <a:gd name="T61" fmla="*/ 1494 h 1599"/>
              <a:gd name="T62" fmla="*/ 999 w 1607"/>
              <a:gd name="T63" fmla="*/ 1578 h 1599"/>
              <a:gd name="T64" fmla="*/ 1077 w 1607"/>
              <a:gd name="T65" fmla="*/ 1439 h 1599"/>
              <a:gd name="T66" fmla="*/ 1253 w 1607"/>
              <a:gd name="T67" fmla="*/ 1464 h 1599"/>
              <a:gd name="T68" fmla="*/ 1279 w 1607"/>
              <a:gd name="T69" fmla="*/ 1306 h 1599"/>
              <a:gd name="T70" fmla="*/ 1454 w 1607"/>
              <a:gd name="T71" fmla="*/ 1270 h 1599"/>
              <a:gd name="T72" fmla="*/ 1424 w 1607"/>
              <a:gd name="T73" fmla="*/ 1113 h 1599"/>
              <a:gd name="T74" fmla="*/ 1576 w 1607"/>
              <a:gd name="T75" fmla="*/ 1019 h 1599"/>
              <a:gd name="T76" fmla="*/ 700 w 1607"/>
              <a:gd name="T77" fmla="*/ 1370 h 1599"/>
              <a:gd name="T78" fmla="*/ 907 w 1607"/>
              <a:gd name="T79" fmla="*/ 228 h 1599"/>
              <a:gd name="T80" fmla="*/ 700 w 1607"/>
              <a:gd name="T81" fmla="*/ 1370 h 1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7" h="1599">
                <a:moveTo>
                  <a:pt x="1479" y="965"/>
                </a:moveTo>
                <a:cubicBezTo>
                  <a:pt x="1482" y="951"/>
                  <a:pt x="1485" y="937"/>
                  <a:pt x="1487" y="924"/>
                </a:cubicBezTo>
                <a:cubicBezTo>
                  <a:pt x="1490" y="910"/>
                  <a:pt x="1492" y="896"/>
                  <a:pt x="1494" y="882"/>
                </a:cubicBezTo>
                <a:cubicBezTo>
                  <a:pt x="1535" y="881"/>
                  <a:pt x="1573" y="875"/>
                  <a:pt x="1604" y="865"/>
                </a:cubicBezTo>
                <a:cubicBezTo>
                  <a:pt x="1607" y="824"/>
                  <a:pt x="1607" y="782"/>
                  <a:pt x="1604" y="742"/>
                </a:cubicBezTo>
                <a:cubicBezTo>
                  <a:pt x="1574" y="731"/>
                  <a:pt x="1536" y="725"/>
                  <a:pt x="1495" y="724"/>
                </a:cubicBezTo>
                <a:cubicBezTo>
                  <a:pt x="1492" y="696"/>
                  <a:pt x="1487" y="668"/>
                  <a:pt x="1481" y="641"/>
                </a:cubicBezTo>
                <a:cubicBezTo>
                  <a:pt x="1519" y="626"/>
                  <a:pt x="1553" y="607"/>
                  <a:pt x="1578" y="587"/>
                </a:cubicBezTo>
                <a:cubicBezTo>
                  <a:pt x="1567" y="547"/>
                  <a:pt x="1553" y="509"/>
                  <a:pt x="1536" y="472"/>
                </a:cubicBezTo>
                <a:cubicBezTo>
                  <a:pt x="1504" y="472"/>
                  <a:pt x="1466" y="479"/>
                  <a:pt x="1427" y="492"/>
                </a:cubicBezTo>
                <a:cubicBezTo>
                  <a:pt x="1415" y="467"/>
                  <a:pt x="1401" y="442"/>
                  <a:pt x="1385" y="419"/>
                </a:cubicBezTo>
                <a:cubicBezTo>
                  <a:pt x="1417" y="392"/>
                  <a:pt x="1442" y="362"/>
                  <a:pt x="1459" y="335"/>
                </a:cubicBezTo>
                <a:cubicBezTo>
                  <a:pt x="1435" y="302"/>
                  <a:pt x="1409" y="270"/>
                  <a:pt x="1380" y="241"/>
                </a:cubicBezTo>
                <a:cubicBezTo>
                  <a:pt x="1350" y="252"/>
                  <a:pt x="1317" y="271"/>
                  <a:pt x="1284" y="297"/>
                </a:cubicBezTo>
                <a:cubicBezTo>
                  <a:pt x="1264" y="278"/>
                  <a:pt x="1243" y="260"/>
                  <a:pt x="1220" y="243"/>
                </a:cubicBezTo>
                <a:cubicBezTo>
                  <a:pt x="1240" y="206"/>
                  <a:pt x="1254" y="170"/>
                  <a:pt x="1260" y="139"/>
                </a:cubicBezTo>
                <a:cubicBezTo>
                  <a:pt x="1227" y="116"/>
                  <a:pt x="1192" y="95"/>
                  <a:pt x="1154" y="77"/>
                </a:cubicBezTo>
                <a:cubicBezTo>
                  <a:pt x="1130" y="98"/>
                  <a:pt x="1105" y="127"/>
                  <a:pt x="1084" y="163"/>
                </a:cubicBezTo>
                <a:cubicBezTo>
                  <a:pt x="1058" y="152"/>
                  <a:pt x="1032" y="142"/>
                  <a:pt x="1005" y="134"/>
                </a:cubicBezTo>
                <a:cubicBezTo>
                  <a:pt x="1011" y="93"/>
                  <a:pt x="1012" y="54"/>
                  <a:pt x="1007" y="23"/>
                </a:cubicBezTo>
                <a:cubicBezTo>
                  <a:pt x="987" y="17"/>
                  <a:pt x="967" y="13"/>
                  <a:pt x="947" y="9"/>
                </a:cubicBezTo>
                <a:cubicBezTo>
                  <a:pt x="927" y="6"/>
                  <a:pt x="906" y="3"/>
                  <a:pt x="886" y="1"/>
                </a:cubicBezTo>
                <a:cubicBezTo>
                  <a:pt x="870" y="29"/>
                  <a:pt x="857" y="65"/>
                  <a:pt x="849" y="106"/>
                </a:cubicBezTo>
                <a:cubicBezTo>
                  <a:pt x="821" y="104"/>
                  <a:pt x="793" y="103"/>
                  <a:pt x="765" y="105"/>
                </a:cubicBezTo>
                <a:cubicBezTo>
                  <a:pt x="757" y="64"/>
                  <a:pt x="744" y="28"/>
                  <a:pt x="729" y="0"/>
                </a:cubicBezTo>
                <a:cubicBezTo>
                  <a:pt x="688" y="3"/>
                  <a:pt x="647" y="10"/>
                  <a:pt x="608" y="20"/>
                </a:cubicBezTo>
                <a:cubicBezTo>
                  <a:pt x="603" y="52"/>
                  <a:pt x="603" y="91"/>
                  <a:pt x="609" y="132"/>
                </a:cubicBezTo>
                <a:cubicBezTo>
                  <a:pt x="582" y="140"/>
                  <a:pt x="556" y="149"/>
                  <a:pt x="530" y="160"/>
                </a:cubicBezTo>
                <a:cubicBezTo>
                  <a:pt x="509" y="124"/>
                  <a:pt x="484" y="95"/>
                  <a:pt x="460" y="73"/>
                </a:cubicBezTo>
                <a:cubicBezTo>
                  <a:pt x="423" y="91"/>
                  <a:pt x="387" y="111"/>
                  <a:pt x="353" y="134"/>
                </a:cubicBezTo>
                <a:cubicBezTo>
                  <a:pt x="359" y="166"/>
                  <a:pt x="373" y="202"/>
                  <a:pt x="392" y="239"/>
                </a:cubicBezTo>
                <a:cubicBezTo>
                  <a:pt x="370" y="255"/>
                  <a:pt x="348" y="273"/>
                  <a:pt x="328" y="292"/>
                </a:cubicBezTo>
                <a:cubicBezTo>
                  <a:pt x="295" y="266"/>
                  <a:pt x="262" y="246"/>
                  <a:pt x="233" y="235"/>
                </a:cubicBezTo>
                <a:cubicBezTo>
                  <a:pt x="204" y="264"/>
                  <a:pt x="177" y="295"/>
                  <a:pt x="153" y="328"/>
                </a:cubicBezTo>
                <a:cubicBezTo>
                  <a:pt x="169" y="356"/>
                  <a:pt x="194" y="385"/>
                  <a:pt x="225" y="413"/>
                </a:cubicBezTo>
                <a:cubicBezTo>
                  <a:pt x="210" y="436"/>
                  <a:pt x="196" y="460"/>
                  <a:pt x="183" y="486"/>
                </a:cubicBezTo>
                <a:cubicBezTo>
                  <a:pt x="144" y="472"/>
                  <a:pt x="106" y="465"/>
                  <a:pt x="74" y="464"/>
                </a:cubicBezTo>
                <a:cubicBezTo>
                  <a:pt x="57" y="501"/>
                  <a:pt x="43" y="539"/>
                  <a:pt x="31" y="579"/>
                </a:cubicBezTo>
                <a:cubicBezTo>
                  <a:pt x="56" y="599"/>
                  <a:pt x="89" y="619"/>
                  <a:pt x="128" y="634"/>
                </a:cubicBezTo>
                <a:cubicBezTo>
                  <a:pt x="125" y="647"/>
                  <a:pt x="122" y="661"/>
                  <a:pt x="119" y="675"/>
                </a:cubicBezTo>
                <a:cubicBezTo>
                  <a:pt x="117" y="689"/>
                  <a:pt x="115" y="703"/>
                  <a:pt x="113" y="717"/>
                </a:cubicBezTo>
                <a:cubicBezTo>
                  <a:pt x="72" y="717"/>
                  <a:pt x="33" y="724"/>
                  <a:pt x="3" y="734"/>
                </a:cubicBezTo>
                <a:cubicBezTo>
                  <a:pt x="0" y="775"/>
                  <a:pt x="0" y="816"/>
                  <a:pt x="2" y="857"/>
                </a:cubicBezTo>
                <a:cubicBezTo>
                  <a:pt x="33" y="867"/>
                  <a:pt x="71" y="874"/>
                  <a:pt x="112" y="875"/>
                </a:cubicBezTo>
                <a:cubicBezTo>
                  <a:pt x="115" y="903"/>
                  <a:pt x="120" y="931"/>
                  <a:pt x="126" y="958"/>
                </a:cubicBezTo>
                <a:cubicBezTo>
                  <a:pt x="87" y="973"/>
                  <a:pt x="54" y="992"/>
                  <a:pt x="29" y="1011"/>
                </a:cubicBezTo>
                <a:cubicBezTo>
                  <a:pt x="40" y="1051"/>
                  <a:pt x="54" y="1090"/>
                  <a:pt x="70" y="1127"/>
                </a:cubicBezTo>
                <a:cubicBezTo>
                  <a:pt x="102" y="1127"/>
                  <a:pt x="140" y="1120"/>
                  <a:pt x="180" y="1107"/>
                </a:cubicBezTo>
                <a:cubicBezTo>
                  <a:pt x="192" y="1132"/>
                  <a:pt x="206" y="1156"/>
                  <a:pt x="221" y="1180"/>
                </a:cubicBezTo>
                <a:cubicBezTo>
                  <a:pt x="190" y="1207"/>
                  <a:pt x="165" y="1236"/>
                  <a:pt x="148" y="1263"/>
                </a:cubicBezTo>
                <a:cubicBezTo>
                  <a:pt x="172" y="1297"/>
                  <a:pt x="198" y="1329"/>
                  <a:pt x="227" y="1358"/>
                </a:cubicBezTo>
                <a:cubicBezTo>
                  <a:pt x="257" y="1347"/>
                  <a:pt x="290" y="1327"/>
                  <a:pt x="322" y="1301"/>
                </a:cubicBezTo>
                <a:cubicBezTo>
                  <a:pt x="343" y="1321"/>
                  <a:pt x="364" y="1339"/>
                  <a:pt x="387" y="1356"/>
                </a:cubicBezTo>
                <a:cubicBezTo>
                  <a:pt x="366" y="1392"/>
                  <a:pt x="353" y="1428"/>
                  <a:pt x="346" y="1460"/>
                </a:cubicBezTo>
                <a:cubicBezTo>
                  <a:pt x="380" y="1483"/>
                  <a:pt x="415" y="1504"/>
                  <a:pt x="452" y="1522"/>
                </a:cubicBezTo>
                <a:cubicBezTo>
                  <a:pt x="477" y="1501"/>
                  <a:pt x="502" y="1471"/>
                  <a:pt x="523" y="1436"/>
                </a:cubicBezTo>
                <a:cubicBezTo>
                  <a:pt x="549" y="1447"/>
                  <a:pt x="575" y="1457"/>
                  <a:pt x="602" y="1465"/>
                </a:cubicBezTo>
                <a:cubicBezTo>
                  <a:pt x="596" y="1506"/>
                  <a:pt x="595" y="1544"/>
                  <a:pt x="600" y="1576"/>
                </a:cubicBezTo>
                <a:cubicBezTo>
                  <a:pt x="620" y="1581"/>
                  <a:pt x="640" y="1586"/>
                  <a:pt x="660" y="1589"/>
                </a:cubicBezTo>
                <a:cubicBezTo>
                  <a:pt x="680" y="1593"/>
                  <a:pt x="701" y="1596"/>
                  <a:pt x="721" y="1598"/>
                </a:cubicBezTo>
                <a:cubicBezTo>
                  <a:pt x="736" y="1570"/>
                  <a:pt x="750" y="1534"/>
                  <a:pt x="758" y="1493"/>
                </a:cubicBezTo>
                <a:cubicBezTo>
                  <a:pt x="786" y="1495"/>
                  <a:pt x="814" y="1495"/>
                  <a:pt x="842" y="1494"/>
                </a:cubicBezTo>
                <a:cubicBezTo>
                  <a:pt x="850" y="1534"/>
                  <a:pt x="863" y="1571"/>
                  <a:pt x="878" y="1599"/>
                </a:cubicBezTo>
                <a:cubicBezTo>
                  <a:pt x="919" y="1595"/>
                  <a:pt x="959" y="1588"/>
                  <a:pt x="999" y="1578"/>
                </a:cubicBezTo>
                <a:cubicBezTo>
                  <a:pt x="1004" y="1547"/>
                  <a:pt x="1004" y="1508"/>
                  <a:pt x="998" y="1467"/>
                </a:cubicBezTo>
                <a:cubicBezTo>
                  <a:pt x="1025" y="1459"/>
                  <a:pt x="1051" y="1450"/>
                  <a:pt x="1077" y="1439"/>
                </a:cubicBezTo>
                <a:cubicBezTo>
                  <a:pt x="1098" y="1474"/>
                  <a:pt x="1123" y="1504"/>
                  <a:pt x="1147" y="1525"/>
                </a:cubicBezTo>
                <a:cubicBezTo>
                  <a:pt x="1184" y="1508"/>
                  <a:pt x="1220" y="1487"/>
                  <a:pt x="1253" y="1464"/>
                </a:cubicBezTo>
                <a:cubicBezTo>
                  <a:pt x="1248" y="1433"/>
                  <a:pt x="1234" y="1397"/>
                  <a:pt x="1214" y="1360"/>
                </a:cubicBezTo>
                <a:cubicBezTo>
                  <a:pt x="1237" y="1344"/>
                  <a:pt x="1259" y="1326"/>
                  <a:pt x="1279" y="1306"/>
                </a:cubicBezTo>
                <a:cubicBezTo>
                  <a:pt x="1311" y="1333"/>
                  <a:pt x="1345" y="1352"/>
                  <a:pt x="1374" y="1364"/>
                </a:cubicBezTo>
                <a:cubicBezTo>
                  <a:pt x="1403" y="1335"/>
                  <a:pt x="1430" y="1304"/>
                  <a:pt x="1454" y="1270"/>
                </a:cubicBezTo>
                <a:cubicBezTo>
                  <a:pt x="1438" y="1243"/>
                  <a:pt x="1413" y="1213"/>
                  <a:pt x="1382" y="1186"/>
                </a:cubicBezTo>
                <a:cubicBezTo>
                  <a:pt x="1397" y="1163"/>
                  <a:pt x="1411" y="1138"/>
                  <a:pt x="1424" y="1113"/>
                </a:cubicBezTo>
                <a:cubicBezTo>
                  <a:pt x="1463" y="1127"/>
                  <a:pt x="1501" y="1134"/>
                  <a:pt x="1533" y="1135"/>
                </a:cubicBezTo>
                <a:cubicBezTo>
                  <a:pt x="1550" y="1098"/>
                  <a:pt x="1564" y="1059"/>
                  <a:pt x="1576" y="1019"/>
                </a:cubicBezTo>
                <a:cubicBezTo>
                  <a:pt x="1551" y="999"/>
                  <a:pt x="1517" y="980"/>
                  <a:pt x="1479" y="965"/>
                </a:cubicBezTo>
                <a:close/>
                <a:moveTo>
                  <a:pt x="700" y="1370"/>
                </a:moveTo>
                <a:cubicBezTo>
                  <a:pt x="384" y="1313"/>
                  <a:pt x="175" y="1011"/>
                  <a:pt x="232" y="696"/>
                </a:cubicBezTo>
                <a:cubicBezTo>
                  <a:pt x="290" y="380"/>
                  <a:pt x="592" y="171"/>
                  <a:pt x="907" y="228"/>
                </a:cubicBezTo>
                <a:cubicBezTo>
                  <a:pt x="1223" y="286"/>
                  <a:pt x="1432" y="588"/>
                  <a:pt x="1374" y="903"/>
                </a:cubicBezTo>
                <a:cubicBezTo>
                  <a:pt x="1317" y="1218"/>
                  <a:pt x="1015" y="1428"/>
                  <a:pt x="700" y="1370"/>
                </a:cubicBezTo>
                <a:close/>
              </a:path>
            </a:pathLst>
          </a:custGeom>
          <a:solidFill>
            <a:schemeClr val="accent1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1" name="Freeform 40"/>
          <p:cNvSpPr>
            <a:spLocks noEditPoints="1"/>
          </p:cNvSpPr>
          <p:nvPr/>
        </p:nvSpPr>
        <p:spPr bwMode="auto">
          <a:xfrm>
            <a:off x="3372374" y="3018084"/>
            <a:ext cx="595882" cy="594496"/>
          </a:xfrm>
          <a:custGeom>
            <a:avLst/>
            <a:gdLst>
              <a:gd name="T0" fmla="*/ 1487 w 1607"/>
              <a:gd name="T1" fmla="*/ 924 h 1599"/>
              <a:gd name="T2" fmla="*/ 1604 w 1607"/>
              <a:gd name="T3" fmla="*/ 865 h 1599"/>
              <a:gd name="T4" fmla="*/ 1495 w 1607"/>
              <a:gd name="T5" fmla="*/ 724 h 1599"/>
              <a:gd name="T6" fmla="*/ 1578 w 1607"/>
              <a:gd name="T7" fmla="*/ 587 h 1599"/>
              <a:gd name="T8" fmla="*/ 1427 w 1607"/>
              <a:gd name="T9" fmla="*/ 492 h 1599"/>
              <a:gd name="T10" fmla="*/ 1459 w 1607"/>
              <a:gd name="T11" fmla="*/ 335 h 1599"/>
              <a:gd name="T12" fmla="*/ 1284 w 1607"/>
              <a:gd name="T13" fmla="*/ 297 h 1599"/>
              <a:gd name="T14" fmla="*/ 1260 w 1607"/>
              <a:gd name="T15" fmla="*/ 139 h 1599"/>
              <a:gd name="T16" fmla="*/ 1084 w 1607"/>
              <a:gd name="T17" fmla="*/ 163 h 1599"/>
              <a:gd name="T18" fmla="*/ 1007 w 1607"/>
              <a:gd name="T19" fmla="*/ 23 h 1599"/>
              <a:gd name="T20" fmla="*/ 886 w 1607"/>
              <a:gd name="T21" fmla="*/ 1 h 1599"/>
              <a:gd name="T22" fmla="*/ 765 w 1607"/>
              <a:gd name="T23" fmla="*/ 105 h 1599"/>
              <a:gd name="T24" fmla="*/ 608 w 1607"/>
              <a:gd name="T25" fmla="*/ 20 h 1599"/>
              <a:gd name="T26" fmla="*/ 530 w 1607"/>
              <a:gd name="T27" fmla="*/ 160 h 1599"/>
              <a:gd name="T28" fmla="*/ 353 w 1607"/>
              <a:gd name="T29" fmla="*/ 134 h 1599"/>
              <a:gd name="T30" fmla="*/ 328 w 1607"/>
              <a:gd name="T31" fmla="*/ 292 h 1599"/>
              <a:gd name="T32" fmla="*/ 153 w 1607"/>
              <a:gd name="T33" fmla="*/ 328 h 1599"/>
              <a:gd name="T34" fmla="*/ 183 w 1607"/>
              <a:gd name="T35" fmla="*/ 486 h 1599"/>
              <a:gd name="T36" fmla="*/ 31 w 1607"/>
              <a:gd name="T37" fmla="*/ 579 h 1599"/>
              <a:gd name="T38" fmla="*/ 119 w 1607"/>
              <a:gd name="T39" fmla="*/ 675 h 1599"/>
              <a:gd name="T40" fmla="*/ 3 w 1607"/>
              <a:gd name="T41" fmla="*/ 734 h 1599"/>
              <a:gd name="T42" fmla="*/ 112 w 1607"/>
              <a:gd name="T43" fmla="*/ 875 h 1599"/>
              <a:gd name="T44" fmla="*/ 29 w 1607"/>
              <a:gd name="T45" fmla="*/ 1011 h 1599"/>
              <a:gd name="T46" fmla="*/ 180 w 1607"/>
              <a:gd name="T47" fmla="*/ 1107 h 1599"/>
              <a:gd name="T48" fmla="*/ 148 w 1607"/>
              <a:gd name="T49" fmla="*/ 1263 h 1599"/>
              <a:gd name="T50" fmla="*/ 322 w 1607"/>
              <a:gd name="T51" fmla="*/ 1301 h 1599"/>
              <a:gd name="T52" fmla="*/ 346 w 1607"/>
              <a:gd name="T53" fmla="*/ 1460 h 1599"/>
              <a:gd name="T54" fmla="*/ 523 w 1607"/>
              <a:gd name="T55" fmla="*/ 1436 h 1599"/>
              <a:gd name="T56" fmla="*/ 600 w 1607"/>
              <a:gd name="T57" fmla="*/ 1576 h 1599"/>
              <a:gd name="T58" fmla="*/ 721 w 1607"/>
              <a:gd name="T59" fmla="*/ 1598 h 1599"/>
              <a:gd name="T60" fmla="*/ 842 w 1607"/>
              <a:gd name="T61" fmla="*/ 1494 h 1599"/>
              <a:gd name="T62" fmla="*/ 999 w 1607"/>
              <a:gd name="T63" fmla="*/ 1578 h 1599"/>
              <a:gd name="T64" fmla="*/ 1077 w 1607"/>
              <a:gd name="T65" fmla="*/ 1439 h 1599"/>
              <a:gd name="T66" fmla="*/ 1253 w 1607"/>
              <a:gd name="T67" fmla="*/ 1464 h 1599"/>
              <a:gd name="T68" fmla="*/ 1279 w 1607"/>
              <a:gd name="T69" fmla="*/ 1306 h 1599"/>
              <a:gd name="T70" fmla="*/ 1454 w 1607"/>
              <a:gd name="T71" fmla="*/ 1270 h 1599"/>
              <a:gd name="T72" fmla="*/ 1424 w 1607"/>
              <a:gd name="T73" fmla="*/ 1113 h 1599"/>
              <a:gd name="T74" fmla="*/ 1576 w 1607"/>
              <a:gd name="T75" fmla="*/ 1019 h 1599"/>
              <a:gd name="T76" fmla="*/ 700 w 1607"/>
              <a:gd name="T77" fmla="*/ 1370 h 1599"/>
              <a:gd name="T78" fmla="*/ 907 w 1607"/>
              <a:gd name="T79" fmla="*/ 228 h 1599"/>
              <a:gd name="T80" fmla="*/ 700 w 1607"/>
              <a:gd name="T81" fmla="*/ 1370 h 1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7" h="1599">
                <a:moveTo>
                  <a:pt x="1479" y="965"/>
                </a:moveTo>
                <a:cubicBezTo>
                  <a:pt x="1482" y="951"/>
                  <a:pt x="1485" y="937"/>
                  <a:pt x="1487" y="924"/>
                </a:cubicBezTo>
                <a:cubicBezTo>
                  <a:pt x="1490" y="910"/>
                  <a:pt x="1492" y="896"/>
                  <a:pt x="1494" y="882"/>
                </a:cubicBezTo>
                <a:cubicBezTo>
                  <a:pt x="1535" y="881"/>
                  <a:pt x="1573" y="875"/>
                  <a:pt x="1604" y="865"/>
                </a:cubicBezTo>
                <a:cubicBezTo>
                  <a:pt x="1607" y="824"/>
                  <a:pt x="1607" y="782"/>
                  <a:pt x="1604" y="742"/>
                </a:cubicBezTo>
                <a:cubicBezTo>
                  <a:pt x="1574" y="731"/>
                  <a:pt x="1536" y="725"/>
                  <a:pt x="1495" y="724"/>
                </a:cubicBezTo>
                <a:cubicBezTo>
                  <a:pt x="1492" y="696"/>
                  <a:pt x="1487" y="668"/>
                  <a:pt x="1481" y="641"/>
                </a:cubicBezTo>
                <a:cubicBezTo>
                  <a:pt x="1519" y="626"/>
                  <a:pt x="1553" y="607"/>
                  <a:pt x="1578" y="587"/>
                </a:cubicBezTo>
                <a:cubicBezTo>
                  <a:pt x="1567" y="547"/>
                  <a:pt x="1553" y="509"/>
                  <a:pt x="1536" y="472"/>
                </a:cubicBezTo>
                <a:cubicBezTo>
                  <a:pt x="1504" y="472"/>
                  <a:pt x="1466" y="479"/>
                  <a:pt x="1427" y="492"/>
                </a:cubicBezTo>
                <a:cubicBezTo>
                  <a:pt x="1415" y="467"/>
                  <a:pt x="1401" y="442"/>
                  <a:pt x="1385" y="419"/>
                </a:cubicBezTo>
                <a:cubicBezTo>
                  <a:pt x="1417" y="392"/>
                  <a:pt x="1442" y="362"/>
                  <a:pt x="1459" y="335"/>
                </a:cubicBezTo>
                <a:cubicBezTo>
                  <a:pt x="1435" y="302"/>
                  <a:pt x="1409" y="270"/>
                  <a:pt x="1380" y="241"/>
                </a:cubicBezTo>
                <a:cubicBezTo>
                  <a:pt x="1350" y="252"/>
                  <a:pt x="1317" y="271"/>
                  <a:pt x="1284" y="297"/>
                </a:cubicBezTo>
                <a:cubicBezTo>
                  <a:pt x="1264" y="278"/>
                  <a:pt x="1243" y="260"/>
                  <a:pt x="1220" y="243"/>
                </a:cubicBezTo>
                <a:cubicBezTo>
                  <a:pt x="1240" y="206"/>
                  <a:pt x="1254" y="170"/>
                  <a:pt x="1260" y="139"/>
                </a:cubicBezTo>
                <a:cubicBezTo>
                  <a:pt x="1227" y="116"/>
                  <a:pt x="1192" y="95"/>
                  <a:pt x="1154" y="77"/>
                </a:cubicBezTo>
                <a:cubicBezTo>
                  <a:pt x="1130" y="98"/>
                  <a:pt x="1105" y="127"/>
                  <a:pt x="1084" y="163"/>
                </a:cubicBezTo>
                <a:cubicBezTo>
                  <a:pt x="1058" y="152"/>
                  <a:pt x="1032" y="142"/>
                  <a:pt x="1005" y="134"/>
                </a:cubicBezTo>
                <a:cubicBezTo>
                  <a:pt x="1011" y="93"/>
                  <a:pt x="1012" y="54"/>
                  <a:pt x="1007" y="23"/>
                </a:cubicBezTo>
                <a:cubicBezTo>
                  <a:pt x="987" y="17"/>
                  <a:pt x="967" y="13"/>
                  <a:pt x="947" y="9"/>
                </a:cubicBezTo>
                <a:cubicBezTo>
                  <a:pt x="927" y="6"/>
                  <a:pt x="906" y="3"/>
                  <a:pt x="886" y="1"/>
                </a:cubicBezTo>
                <a:cubicBezTo>
                  <a:pt x="870" y="29"/>
                  <a:pt x="857" y="65"/>
                  <a:pt x="849" y="106"/>
                </a:cubicBezTo>
                <a:cubicBezTo>
                  <a:pt x="821" y="104"/>
                  <a:pt x="793" y="103"/>
                  <a:pt x="765" y="105"/>
                </a:cubicBezTo>
                <a:cubicBezTo>
                  <a:pt x="757" y="64"/>
                  <a:pt x="744" y="28"/>
                  <a:pt x="729" y="0"/>
                </a:cubicBezTo>
                <a:cubicBezTo>
                  <a:pt x="688" y="3"/>
                  <a:pt x="647" y="10"/>
                  <a:pt x="608" y="20"/>
                </a:cubicBezTo>
                <a:cubicBezTo>
                  <a:pt x="603" y="52"/>
                  <a:pt x="603" y="91"/>
                  <a:pt x="609" y="132"/>
                </a:cubicBezTo>
                <a:cubicBezTo>
                  <a:pt x="582" y="140"/>
                  <a:pt x="556" y="149"/>
                  <a:pt x="530" y="160"/>
                </a:cubicBezTo>
                <a:cubicBezTo>
                  <a:pt x="509" y="124"/>
                  <a:pt x="484" y="95"/>
                  <a:pt x="460" y="73"/>
                </a:cubicBezTo>
                <a:cubicBezTo>
                  <a:pt x="423" y="91"/>
                  <a:pt x="387" y="111"/>
                  <a:pt x="353" y="134"/>
                </a:cubicBezTo>
                <a:cubicBezTo>
                  <a:pt x="359" y="166"/>
                  <a:pt x="373" y="202"/>
                  <a:pt x="392" y="239"/>
                </a:cubicBezTo>
                <a:cubicBezTo>
                  <a:pt x="370" y="255"/>
                  <a:pt x="348" y="273"/>
                  <a:pt x="328" y="292"/>
                </a:cubicBezTo>
                <a:cubicBezTo>
                  <a:pt x="295" y="266"/>
                  <a:pt x="262" y="246"/>
                  <a:pt x="233" y="235"/>
                </a:cubicBezTo>
                <a:cubicBezTo>
                  <a:pt x="204" y="264"/>
                  <a:pt x="177" y="295"/>
                  <a:pt x="153" y="328"/>
                </a:cubicBezTo>
                <a:cubicBezTo>
                  <a:pt x="169" y="356"/>
                  <a:pt x="194" y="385"/>
                  <a:pt x="225" y="413"/>
                </a:cubicBezTo>
                <a:cubicBezTo>
                  <a:pt x="210" y="436"/>
                  <a:pt x="196" y="460"/>
                  <a:pt x="183" y="486"/>
                </a:cubicBezTo>
                <a:cubicBezTo>
                  <a:pt x="144" y="472"/>
                  <a:pt x="106" y="465"/>
                  <a:pt x="74" y="464"/>
                </a:cubicBezTo>
                <a:cubicBezTo>
                  <a:pt x="57" y="501"/>
                  <a:pt x="43" y="539"/>
                  <a:pt x="31" y="579"/>
                </a:cubicBezTo>
                <a:cubicBezTo>
                  <a:pt x="56" y="599"/>
                  <a:pt x="89" y="619"/>
                  <a:pt x="128" y="634"/>
                </a:cubicBezTo>
                <a:cubicBezTo>
                  <a:pt x="125" y="647"/>
                  <a:pt x="122" y="661"/>
                  <a:pt x="119" y="675"/>
                </a:cubicBezTo>
                <a:cubicBezTo>
                  <a:pt x="117" y="689"/>
                  <a:pt x="115" y="703"/>
                  <a:pt x="113" y="717"/>
                </a:cubicBezTo>
                <a:cubicBezTo>
                  <a:pt x="72" y="717"/>
                  <a:pt x="33" y="724"/>
                  <a:pt x="3" y="734"/>
                </a:cubicBezTo>
                <a:cubicBezTo>
                  <a:pt x="0" y="775"/>
                  <a:pt x="0" y="816"/>
                  <a:pt x="2" y="857"/>
                </a:cubicBezTo>
                <a:cubicBezTo>
                  <a:pt x="33" y="867"/>
                  <a:pt x="71" y="874"/>
                  <a:pt x="112" y="875"/>
                </a:cubicBezTo>
                <a:cubicBezTo>
                  <a:pt x="115" y="903"/>
                  <a:pt x="120" y="931"/>
                  <a:pt x="126" y="958"/>
                </a:cubicBezTo>
                <a:cubicBezTo>
                  <a:pt x="87" y="973"/>
                  <a:pt x="54" y="992"/>
                  <a:pt x="29" y="1011"/>
                </a:cubicBezTo>
                <a:cubicBezTo>
                  <a:pt x="40" y="1051"/>
                  <a:pt x="54" y="1090"/>
                  <a:pt x="70" y="1127"/>
                </a:cubicBezTo>
                <a:cubicBezTo>
                  <a:pt x="102" y="1127"/>
                  <a:pt x="140" y="1120"/>
                  <a:pt x="180" y="1107"/>
                </a:cubicBezTo>
                <a:cubicBezTo>
                  <a:pt x="192" y="1132"/>
                  <a:pt x="206" y="1156"/>
                  <a:pt x="221" y="1180"/>
                </a:cubicBezTo>
                <a:cubicBezTo>
                  <a:pt x="190" y="1207"/>
                  <a:pt x="165" y="1236"/>
                  <a:pt x="148" y="1263"/>
                </a:cubicBezTo>
                <a:cubicBezTo>
                  <a:pt x="172" y="1297"/>
                  <a:pt x="198" y="1329"/>
                  <a:pt x="227" y="1358"/>
                </a:cubicBezTo>
                <a:cubicBezTo>
                  <a:pt x="257" y="1347"/>
                  <a:pt x="290" y="1327"/>
                  <a:pt x="322" y="1301"/>
                </a:cubicBezTo>
                <a:cubicBezTo>
                  <a:pt x="343" y="1321"/>
                  <a:pt x="364" y="1339"/>
                  <a:pt x="387" y="1356"/>
                </a:cubicBezTo>
                <a:cubicBezTo>
                  <a:pt x="366" y="1392"/>
                  <a:pt x="353" y="1428"/>
                  <a:pt x="346" y="1460"/>
                </a:cubicBezTo>
                <a:cubicBezTo>
                  <a:pt x="380" y="1483"/>
                  <a:pt x="415" y="1504"/>
                  <a:pt x="452" y="1522"/>
                </a:cubicBezTo>
                <a:cubicBezTo>
                  <a:pt x="477" y="1501"/>
                  <a:pt x="502" y="1471"/>
                  <a:pt x="523" y="1436"/>
                </a:cubicBezTo>
                <a:cubicBezTo>
                  <a:pt x="549" y="1447"/>
                  <a:pt x="575" y="1457"/>
                  <a:pt x="602" y="1465"/>
                </a:cubicBezTo>
                <a:cubicBezTo>
                  <a:pt x="596" y="1506"/>
                  <a:pt x="595" y="1544"/>
                  <a:pt x="600" y="1576"/>
                </a:cubicBezTo>
                <a:cubicBezTo>
                  <a:pt x="620" y="1581"/>
                  <a:pt x="640" y="1586"/>
                  <a:pt x="660" y="1589"/>
                </a:cubicBezTo>
                <a:cubicBezTo>
                  <a:pt x="680" y="1593"/>
                  <a:pt x="701" y="1596"/>
                  <a:pt x="721" y="1598"/>
                </a:cubicBezTo>
                <a:cubicBezTo>
                  <a:pt x="736" y="1570"/>
                  <a:pt x="750" y="1534"/>
                  <a:pt x="758" y="1493"/>
                </a:cubicBezTo>
                <a:cubicBezTo>
                  <a:pt x="786" y="1495"/>
                  <a:pt x="814" y="1495"/>
                  <a:pt x="842" y="1494"/>
                </a:cubicBezTo>
                <a:cubicBezTo>
                  <a:pt x="850" y="1534"/>
                  <a:pt x="863" y="1571"/>
                  <a:pt x="878" y="1599"/>
                </a:cubicBezTo>
                <a:cubicBezTo>
                  <a:pt x="919" y="1595"/>
                  <a:pt x="959" y="1588"/>
                  <a:pt x="999" y="1578"/>
                </a:cubicBezTo>
                <a:cubicBezTo>
                  <a:pt x="1004" y="1547"/>
                  <a:pt x="1004" y="1508"/>
                  <a:pt x="998" y="1467"/>
                </a:cubicBezTo>
                <a:cubicBezTo>
                  <a:pt x="1025" y="1459"/>
                  <a:pt x="1051" y="1450"/>
                  <a:pt x="1077" y="1439"/>
                </a:cubicBezTo>
                <a:cubicBezTo>
                  <a:pt x="1098" y="1474"/>
                  <a:pt x="1123" y="1504"/>
                  <a:pt x="1147" y="1525"/>
                </a:cubicBezTo>
                <a:cubicBezTo>
                  <a:pt x="1184" y="1508"/>
                  <a:pt x="1220" y="1487"/>
                  <a:pt x="1253" y="1464"/>
                </a:cubicBezTo>
                <a:cubicBezTo>
                  <a:pt x="1248" y="1433"/>
                  <a:pt x="1234" y="1397"/>
                  <a:pt x="1214" y="1360"/>
                </a:cubicBezTo>
                <a:cubicBezTo>
                  <a:pt x="1237" y="1344"/>
                  <a:pt x="1259" y="1326"/>
                  <a:pt x="1279" y="1306"/>
                </a:cubicBezTo>
                <a:cubicBezTo>
                  <a:pt x="1311" y="1333"/>
                  <a:pt x="1345" y="1352"/>
                  <a:pt x="1374" y="1364"/>
                </a:cubicBezTo>
                <a:cubicBezTo>
                  <a:pt x="1403" y="1335"/>
                  <a:pt x="1430" y="1304"/>
                  <a:pt x="1454" y="1270"/>
                </a:cubicBezTo>
                <a:cubicBezTo>
                  <a:pt x="1438" y="1243"/>
                  <a:pt x="1413" y="1213"/>
                  <a:pt x="1382" y="1186"/>
                </a:cubicBezTo>
                <a:cubicBezTo>
                  <a:pt x="1397" y="1163"/>
                  <a:pt x="1411" y="1138"/>
                  <a:pt x="1424" y="1113"/>
                </a:cubicBezTo>
                <a:cubicBezTo>
                  <a:pt x="1463" y="1127"/>
                  <a:pt x="1501" y="1134"/>
                  <a:pt x="1533" y="1135"/>
                </a:cubicBezTo>
                <a:cubicBezTo>
                  <a:pt x="1550" y="1098"/>
                  <a:pt x="1564" y="1059"/>
                  <a:pt x="1576" y="1019"/>
                </a:cubicBezTo>
                <a:cubicBezTo>
                  <a:pt x="1551" y="999"/>
                  <a:pt x="1517" y="980"/>
                  <a:pt x="1479" y="965"/>
                </a:cubicBezTo>
                <a:close/>
                <a:moveTo>
                  <a:pt x="700" y="1370"/>
                </a:moveTo>
                <a:cubicBezTo>
                  <a:pt x="384" y="1313"/>
                  <a:pt x="175" y="1011"/>
                  <a:pt x="232" y="696"/>
                </a:cubicBezTo>
                <a:cubicBezTo>
                  <a:pt x="290" y="380"/>
                  <a:pt x="592" y="171"/>
                  <a:pt x="907" y="228"/>
                </a:cubicBezTo>
                <a:cubicBezTo>
                  <a:pt x="1223" y="286"/>
                  <a:pt x="1432" y="588"/>
                  <a:pt x="1374" y="903"/>
                </a:cubicBezTo>
                <a:cubicBezTo>
                  <a:pt x="1317" y="1218"/>
                  <a:pt x="1015" y="1428"/>
                  <a:pt x="700" y="1370"/>
                </a:cubicBezTo>
                <a:close/>
              </a:path>
            </a:pathLst>
          </a:custGeom>
          <a:solidFill>
            <a:schemeClr val="accent1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3213765" y="1877145"/>
            <a:ext cx="572308" cy="636301"/>
          </a:xfrm>
          <a:custGeom>
            <a:avLst/>
            <a:gdLst>
              <a:gd name="T0" fmla="*/ 1724 w 2505"/>
              <a:gd name="T1" fmla="*/ 18 h 2784"/>
              <a:gd name="T2" fmla="*/ 1519 w 2505"/>
              <a:gd name="T3" fmla="*/ 2 h 2784"/>
              <a:gd name="T4" fmla="*/ 1307 w 2505"/>
              <a:gd name="T5" fmla="*/ 4 h 2784"/>
              <a:gd name="T6" fmla="*/ 1140 w 2505"/>
              <a:gd name="T7" fmla="*/ 18 h 2784"/>
              <a:gd name="T8" fmla="*/ 1027 w 2505"/>
              <a:gd name="T9" fmla="*/ 36 h 2784"/>
              <a:gd name="T10" fmla="*/ 969 w 2505"/>
              <a:gd name="T11" fmla="*/ 49 h 2784"/>
              <a:gd name="T12" fmla="*/ 1097 w 2505"/>
              <a:gd name="T13" fmla="*/ 49 h 2784"/>
              <a:gd name="T14" fmla="*/ 1218 w 2505"/>
              <a:gd name="T15" fmla="*/ 59 h 2784"/>
              <a:gd name="T16" fmla="*/ 1311 w 2505"/>
              <a:gd name="T17" fmla="*/ 76 h 2784"/>
              <a:gd name="T18" fmla="*/ 1380 w 2505"/>
              <a:gd name="T19" fmla="*/ 97 h 2784"/>
              <a:gd name="T20" fmla="*/ 1472 w 2505"/>
              <a:gd name="T21" fmla="*/ 140 h 2784"/>
              <a:gd name="T22" fmla="*/ 1526 w 2505"/>
              <a:gd name="T23" fmla="*/ 181 h 2784"/>
              <a:gd name="T24" fmla="*/ 1552 w 2505"/>
              <a:gd name="T25" fmla="*/ 217 h 2784"/>
              <a:gd name="T26" fmla="*/ 1561 w 2505"/>
              <a:gd name="T27" fmla="*/ 241 h 2784"/>
              <a:gd name="T28" fmla="*/ 1561 w 2505"/>
              <a:gd name="T29" fmla="*/ 253 h 2784"/>
              <a:gd name="T30" fmla="*/ 1416 w 2505"/>
              <a:gd name="T31" fmla="*/ 333 h 2784"/>
              <a:gd name="T32" fmla="*/ 1210 w 2505"/>
              <a:gd name="T33" fmla="*/ 468 h 2784"/>
              <a:gd name="T34" fmla="*/ 1016 w 2505"/>
              <a:gd name="T35" fmla="*/ 619 h 2784"/>
              <a:gd name="T36" fmla="*/ 834 w 2505"/>
              <a:gd name="T37" fmla="*/ 785 h 2784"/>
              <a:gd name="T38" fmla="*/ 666 w 2505"/>
              <a:gd name="T39" fmla="*/ 964 h 2784"/>
              <a:gd name="T40" fmla="*/ 512 w 2505"/>
              <a:gd name="T41" fmla="*/ 1157 h 2784"/>
              <a:gd name="T42" fmla="*/ 375 w 2505"/>
              <a:gd name="T43" fmla="*/ 1362 h 2784"/>
              <a:gd name="T44" fmla="*/ 255 w 2505"/>
              <a:gd name="T45" fmla="*/ 1578 h 2784"/>
              <a:gd name="T46" fmla="*/ 151 w 2505"/>
              <a:gd name="T47" fmla="*/ 1804 h 2784"/>
              <a:gd name="T48" fmla="*/ 67 w 2505"/>
              <a:gd name="T49" fmla="*/ 2040 h 2784"/>
              <a:gd name="T50" fmla="*/ 0 w 2505"/>
              <a:gd name="T51" fmla="*/ 2285 h 2784"/>
              <a:gd name="T52" fmla="*/ 229 w 2505"/>
              <a:gd name="T53" fmla="*/ 2724 h 2784"/>
              <a:gd name="T54" fmla="*/ 250 w 2505"/>
              <a:gd name="T55" fmla="*/ 2546 h 2784"/>
              <a:gd name="T56" fmla="*/ 281 w 2505"/>
              <a:gd name="T57" fmla="*/ 2371 h 2784"/>
              <a:gd name="T58" fmla="*/ 323 w 2505"/>
              <a:gd name="T59" fmla="*/ 2201 h 2784"/>
              <a:gd name="T60" fmla="*/ 376 w 2505"/>
              <a:gd name="T61" fmla="*/ 2035 h 2784"/>
              <a:gd name="T62" fmla="*/ 439 w 2505"/>
              <a:gd name="T63" fmla="*/ 1874 h 2784"/>
              <a:gd name="T64" fmla="*/ 512 w 2505"/>
              <a:gd name="T65" fmla="*/ 1718 h 2784"/>
              <a:gd name="T66" fmla="*/ 594 w 2505"/>
              <a:gd name="T67" fmla="*/ 1567 h 2784"/>
              <a:gd name="T68" fmla="*/ 684 w 2505"/>
              <a:gd name="T69" fmla="*/ 1421 h 2784"/>
              <a:gd name="T70" fmla="*/ 783 w 2505"/>
              <a:gd name="T71" fmla="*/ 1283 h 2784"/>
              <a:gd name="T72" fmla="*/ 891 w 2505"/>
              <a:gd name="T73" fmla="*/ 1151 h 2784"/>
              <a:gd name="T74" fmla="*/ 1006 w 2505"/>
              <a:gd name="T75" fmla="*/ 1026 h 2784"/>
              <a:gd name="T76" fmla="*/ 1128 w 2505"/>
              <a:gd name="T77" fmla="*/ 907 h 2784"/>
              <a:gd name="T78" fmla="*/ 1258 w 2505"/>
              <a:gd name="T79" fmla="*/ 797 h 2784"/>
              <a:gd name="T80" fmla="*/ 1395 w 2505"/>
              <a:gd name="T81" fmla="*/ 695 h 2784"/>
              <a:gd name="T82" fmla="*/ 1537 w 2505"/>
              <a:gd name="T83" fmla="*/ 601 h 2784"/>
              <a:gd name="T84" fmla="*/ 1686 w 2505"/>
              <a:gd name="T85" fmla="*/ 516 h 2784"/>
              <a:gd name="T86" fmla="*/ 1840 w 2505"/>
              <a:gd name="T87" fmla="*/ 440 h 2784"/>
              <a:gd name="T88" fmla="*/ 2000 w 2505"/>
              <a:gd name="T89" fmla="*/ 374 h 2784"/>
              <a:gd name="T90" fmla="*/ 2164 w 2505"/>
              <a:gd name="T91" fmla="*/ 317 h 2784"/>
              <a:gd name="T92" fmla="*/ 2333 w 2505"/>
              <a:gd name="T93" fmla="*/ 271 h 2784"/>
              <a:gd name="T94" fmla="*/ 2505 w 2505"/>
              <a:gd name="T95" fmla="*/ 235 h 2784"/>
              <a:gd name="T96" fmla="*/ 2450 w 2505"/>
              <a:gd name="T97" fmla="*/ 209 h 2784"/>
              <a:gd name="T98" fmla="*/ 2294 w 2505"/>
              <a:gd name="T99" fmla="*/ 149 h 2784"/>
              <a:gd name="T100" fmla="*/ 2125 w 2505"/>
              <a:gd name="T101" fmla="*/ 96 h 2784"/>
              <a:gd name="T102" fmla="*/ 1919 w 2505"/>
              <a:gd name="T103" fmla="*/ 47 h 2784"/>
              <a:gd name="T104" fmla="*/ 1768 w 2505"/>
              <a:gd name="T105" fmla="*/ 23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505" h="2784">
                <a:moveTo>
                  <a:pt x="1768" y="23"/>
                </a:moveTo>
                <a:lnTo>
                  <a:pt x="1768" y="23"/>
                </a:lnTo>
                <a:lnTo>
                  <a:pt x="1724" y="18"/>
                </a:lnTo>
                <a:lnTo>
                  <a:pt x="1682" y="13"/>
                </a:lnTo>
                <a:lnTo>
                  <a:pt x="1598" y="7"/>
                </a:lnTo>
                <a:lnTo>
                  <a:pt x="1519" y="2"/>
                </a:lnTo>
                <a:lnTo>
                  <a:pt x="1445" y="0"/>
                </a:lnTo>
                <a:lnTo>
                  <a:pt x="1373" y="2"/>
                </a:lnTo>
                <a:lnTo>
                  <a:pt x="1307" y="4"/>
                </a:lnTo>
                <a:lnTo>
                  <a:pt x="1247" y="8"/>
                </a:lnTo>
                <a:lnTo>
                  <a:pt x="1191" y="13"/>
                </a:lnTo>
                <a:lnTo>
                  <a:pt x="1140" y="18"/>
                </a:lnTo>
                <a:lnTo>
                  <a:pt x="1097" y="24"/>
                </a:lnTo>
                <a:lnTo>
                  <a:pt x="1059" y="30"/>
                </a:lnTo>
                <a:lnTo>
                  <a:pt x="1027" y="36"/>
                </a:lnTo>
                <a:lnTo>
                  <a:pt x="983" y="45"/>
                </a:lnTo>
                <a:lnTo>
                  <a:pt x="969" y="49"/>
                </a:lnTo>
                <a:lnTo>
                  <a:pt x="969" y="49"/>
                </a:lnTo>
                <a:lnTo>
                  <a:pt x="1004" y="47"/>
                </a:lnTo>
                <a:lnTo>
                  <a:pt x="1045" y="47"/>
                </a:lnTo>
                <a:lnTo>
                  <a:pt x="1097" y="49"/>
                </a:lnTo>
                <a:lnTo>
                  <a:pt x="1155" y="52"/>
                </a:lnTo>
                <a:lnTo>
                  <a:pt x="1186" y="55"/>
                </a:lnTo>
                <a:lnTo>
                  <a:pt x="1218" y="59"/>
                </a:lnTo>
                <a:lnTo>
                  <a:pt x="1249" y="63"/>
                </a:lnTo>
                <a:lnTo>
                  <a:pt x="1280" y="68"/>
                </a:lnTo>
                <a:lnTo>
                  <a:pt x="1311" y="76"/>
                </a:lnTo>
                <a:lnTo>
                  <a:pt x="1341" y="83"/>
                </a:lnTo>
                <a:lnTo>
                  <a:pt x="1341" y="83"/>
                </a:lnTo>
                <a:lnTo>
                  <a:pt x="1380" y="97"/>
                </a:lnTo>
                <a:lnTo>
                  <a:pt x="1416" y="112"/>
                </a:lnTo>
                <a:lnTo>
                  <a:pt x="1446" y="125"/>
                </a:lnTo>
                <a:lnTo>
                  <a:pt x="1472" y="140"/>
                </a:lnTo>
                <a:lnTo>
                  <a:pt x="1494" y="154"/>
                </a:lnTo>
                <a:lnTo>
                  <a:pt x="1511" y="167"/>
                </a:lnTo>
                <a:lnTo>
                  <a:pt x="1526" y="181"/>
                </a:lnTo>
                <a:lnTo>
                  <a:pt x="1537" y="193"/>
                </a:lnTo>
                <a:lnTo>
                  <a:pt x="1546" y="206"/>
                </a:lnTo>
                <a:lnTo>
                  <a:pt x="1552" y="217"/>
                </a:lnTo>
                <a:lnTo>
                  <a:pt x="1557" y="227"/>
                </a:lnTo>
                <a:lnTo>
                  <a:pt x="1560" y="235"/>
                </a:lnTo>
                <a:lnTo>
                  <a:pt x="1561" y="241"/>
                </a:lnTo>
                <a:lnTo>
                  <a:pt x="1562" y="248"/>
                </a:lnTo>
                <a:lnTo>
                  <a:pt x="1561" y="251"/>
                </a:lnTo>
                <a:lnTo>
                  <a:pt x="1561" y="253"/>
                </a:lnTo>
                <a:lnTo>
                  <a:pt x="1561" y="253"/>
                </a:lnTo>
                <a:lnTo>
                  <a:pt x="1488" y="292"/>
                </a:lnTo>
                <a:lnTo>
                  <a:pt x="1416" y="333"/>
                </a:lnTo>
                <a:lnTo>
                  <a:pt x="1347" y="376"/>
                </a:lnTo>
                <a:lnTo>
                  <a:pt x="1278" y="422"/>
                </a:lnTo>
                <a:lnTo>
                  <a:pt x="1210" y="468"/>
                </a:lnTo>
                <a:lnTo>
                  <a:pt x="1144" y="517"/>
                </a:lnTo>
                <a:lnTo>
                  <a:pt x="1079" y="566"/>
                </a:lnTo>
                <a:lnTo>
                  <a:pt x="1016" y="619"/>
                </a:lnTo>
                <a:lnTo>
                  <a:pt x="954" y="673"/>
                </a:lnTo>
                <a:lnTo>
                  <a:pt x="893" y="728"/>
                </a:lnTo>
                <a:lnTo>
                  <a:pt x="834" y="785"/>
                </a:lnTo>
                <a:lnTo>
                  <a:pt x="776" y="843"/>
                </a:lnTo>
                <a:lnTo>
                  <a:pt x="720" y="902"/>
                </a:lnTo>
                <a:lnTo>
                  <a:pt x="666" y="964"/>
                </a:lnTo>
                <a:lnTo>
                  <a:pt x="614" y="1027"/>
                </a:lnTo>
                <a:lnTo>
                  <a:pt x="562" y="1091"/>
                </a:lnTo>
                <a:lnTo>
                  <a:pt x="512" y="1157"/>
                </a:lnTo>
                <a:lnTo>
                  <a:pt x="465" y="1224"/>
                </a:lnTo>
                <a:lnTo>
                  <a:pt x="420" y="1293"/>
                </a:lnTo>
                <a:lnTo>
                  <a:pt x="375" y="1362"/>
                </a:lnTo>
                <a:lnTo>
                  <a:pt x="333" y="1432"/>
                </a:lnTo>
                <a:lnTo>
                  <a:pt x="293" y="1505"/>
                </a:lnTo>
                <a:lnTo>
                  <a:pt x="255" y="1578"/>
                </a:lnTo>
                <a:lnTo>
                  <a:pt x="218" y="1652"/>
                </a:lnTo>
                <a:lnTo>
                  <a:pt x="183" y="1728"/>
                </a:lnTo>
                <a:lnTo>
                  <a:pt x="151" y="1804"/>
                </a:lnTo>
                <a:lnTo>
                  <a:pt x="122" y="1882"/>
                </a:lnTo>
                <a:lnTo>
                  <a:pt x="93" y="1961"/>
                </a:lnTo>
                <a:lnTo>
                  <a:pt x="67" y="2040"/>
                </a:lnTo>
                <a:lnTo>
                  <a:pt x="43" y="2122"/>
                </a:lnTo>
                <a:lnTo>
                  <a:pt x="20" y="2203"/>
                </a:lnTo>
                <a:lnTo>
                  <a:pt x="0" y="2285"/>
                </a:lnTo>
                <a:lnTo>
                  <a:pt x="224" y="2784"/>
                </a:lnTo>
                <a:lnTo>
                  <a:pt x="224" y="2784"/>
                </a:lnTo>
                <a:lnTo>
                  <a:pt x="229" y="2724"/>
                </a:lnTo>
                <a:lnTo>
                  <a:pt x="234" y="2664"/>
                </a:lnTo>
                <a:lnTo>
                  <a:pt x="242" y="2605"/>
                </a:lnTo>
                <a:lnTo>
                  <a:pt x="250" y="2546"/>
                </a:lnTo>
                <a:lnTo>
                  <a:pt x="259" y="2488"/>
                </a:lnTo>
                <a:lnTo>
                  <a:pt x="270" y="2430"/>
                </a:lnTo>
                <a:lnTo>
                  <a:pt x="281" y="2371"/>
                </a:lnTo>
                <a:lnTo>
                  <a:pt x="295" y="2315"/>
                </a:lnTo>
                <a:lnTo>
                  <a:pt x="308" y="2258"/>
                </a:lnTo>
                <a:lnTo>
                  <a:pt x="323" y="2201"/>
                </a:lnTo>
                <a:lnTo>
                  <a:pt x="340" y="2145"/>
                </a:lnTo>
                <a:lnTo>
                  <a:pt x="358" y="2090"/>
                </a:lnTo>
                <a:lnTo>
                  <a:pt x="376" y="2035"/>
                </a:lnTo>
                <a:lnTo>
                  <a:pt x="396" y="1981"/>
                </a:lnTo>
                <a:lnTo>
                  <a:pt x="417" y="1927"/>
                </a:lnTo>
                <a:lnTo>
                  <a:pt x="439" y="1874"/>
                </a:lnTo>
                <a:lnTo>
                  <a:pt x="463" y="1820"/>
                </a:lnTo>
                <a:lnTo>
                  <a:pt x="486" y="1769"/>
                </a:lnTo>
                <a:lnTo>
                  <a:pt x="512" y="1718"/>
                </a:lnTo>
                <a:lnTo>
                  <a:pt x="538" y="1666"/>
                </a:lnTo>
                <a:lnTo>
                  <a:pt x="565" y="1617"/>
                </a:lnTo>
                <a:lnTo>
                  <a:pt x="594" y="1567"/>
                </a:lnTo>
                <a:lnTo>
                  <a:pt x="622" y="1518"/>
                </a:lnTo>
                <a:lnTo>
                  <a:pt x="653" y="1470"/>
                </a:lnTo>
                <a:lnTo>
                  <a:pt x="684" y="1421"/>
                </a:lnTo>
                <a:lnTo>
                  <a:pt x="716" y="1374"/>
                </a:lnTo>
                <a:lnTo>
                  <a:pt x="750" y="1329"/>
                </a:lnTo>
                <a:lnTo>
                  <a:pt x="783" y="1283"/>
                </a:lnTo>
                <a:lnTo>
                  <a:pt x="818" y="1238"/>
                </a:lnTo>
                <a:lnTo>
                  <a:pt x="854" y="1194"/>
                </a:lnTo>
                <a:lnTo>
                  <a:pt x="891" y="1151"/>
                </a:lnTo>
                <a:lnTo>
                  <a:pt x="928" y="1109"/>
                </a:lnTo>
                <a:lnTo>
                  <a:pt x="966" y="1067"/>
                </a:lnTo>
                <a:lnTo>
                  <a:pt x="1006" y="1026"/>
                </a:lnTo>
                <a:lnTo>
                  <a:pt x="1046" y="985"/>
                </a:lnTo>
                <a:lnTo>
                  <a:pt x="1087" y="946"/>
                </a:lnTo>
                <a:lnTo>
                  <a:pt x="1128" y="907"/>
                </a:lnTo>
                <a:lnTo>
                  <a:pt x="1171" y="870"/>
                </a:lnTo>
                <a:lnTo>
                  <a:pt x="1215" y="833"/>
                </a:lnTo>
                <a:lnTo>
                  <a:pt x="1258" y="797"/>
                </a:lnTo>
                <a:lnTo>
                  <a:pt x="1302" y="763"/>
                </a:lnTo>
                <a:lnTo>
                  <a:pt x="1348" y="728"/>
                </a:lnTo>
                <a:lnTo>
                  <a:pt x="1395" y="695"/>
                </a:lnTo>
                <a:lnTo>
                  <a:pt x="1441" y="663"/>
                </a:lnTo>
                <a:lnTo>
                  <a:pt x="1489" y="632"/>
                </a:lnTo>
                <a:lnTo>
                  <a:pt x="1537" y="601"/>
                </a:lnTo>
                <a:lnTo>
                  <a:pt x="1587" y="571"/>
                </a:lnTo>
                <a:lnTo>
                  <a:pt x="1636" y="544"/>
                </a:lnTo>
                <a:lnTo>
                  <a:pt x="1686" y="516"/>
                </a:lnTo>
                <a:lnTo>
                  <a:pt x="1736" y="490"/>
                </a:lnTo>
                <a:lnTo>
                  <a:pt x="1788" y="465"/>
                </a:lnTo>
                <a:lnTo>
                  <a:pt x="1840" y="440"/>
                </a:lnTo>
                <a:lnTo>
                  <a:pt x="1893" y="417"/>
                </a:lnTo>
                <a:lnTo>
                  <a:pt x="1947" y="395"/>
                </a:lnTo>
                <a:lnTo>
                  <a:pt x="2000" y="374"/>
                </a:lnTo>
                <a:lnTo>
                  <a:pt x="2054" y="354"/>
                </a:lnTo>
                <a:lnTo>
                  <a:pt x="2108" y="335"/>
                </a:lnTo>
                <a:lnTo>
                  <a:pt x="2164" y="317"/>
                </a:lnTo>
                <a:lnTo>
                  <a:pt x="2220" y="301"/>
                </a:lnTo>
                <a:lnTo>
                  <a:pt x="2277" y="285"/>
                </a:lnTo>
                <a:lnTo>
                  <a:pt x="2333" y="271"/>
                </a:lnTo>
                <a:lnTo>
                  <a:pt x="2390" y="257"/>
                </a:lnTo>
                <a:lnTo>
                  <a:pt x="2447" y="245"/>
                </a:lnTo>
                <a:lnTo>
                  <a:pt x="2505" y="235"/>
                </a:lnTo>
                <a:lnTo>
                  <a:pt x="2505" y="235"/>
                </a:lnTo>
                <a:lnTo>
                  <a:pt x="2492" y="228"/>
                </a:lnTo>
                <a:lnTo>
                  <a:pt x="2450" y="209"/>
                </a:lnTo>
                <a:lnTo>
                  <a:pt x="2383" y="182"/>
                </a:lnTo>
                <a:lnTo>
                  <a:pt x="2341" y="166"/>
                </a:lnTo>
                <a:lnTo>
                  <a:pt x="2294" y="149"/>
                </a:lnTo>
                <a:lnTo>
                  <a:pt x="2242" y="131"/>
                </a:lnTo>
                <a:lnTo>
                  <a:pt x="2185" y="114"/>
                </a:lnTo>
                <a:lnTo>
                  <a:pt x="2125" y="96"/>
                </a:lnTo>
                <a:lnTo>
                  <a:pt x="2059" y="78"/>
                </a:lnTo>
                <a:lnTo>
                  <a:pt x="1991" y="62"/>
                </a:lnTo>
                <a:lnTo>
                  <a:pt x="1919" y="47"/>
                </a:lnTo>
                <a:lnTo>
                  <a:pt x="1845" y="34"/>
                </a:lnTo>
                <a:lnTo>
                  <a:pt x="1768" y="23"/>
                </a:lnTo>
                <a:lnTo>
                  <a:pt x="1768" y="23"/>
                </a:lnTo>
                <a:close/>
              </a:path>
            </a:pathLst>
          </a:custGeom>
          <a:solidFill>
            <a:schemeClr val="accent5"/>
          </a:solidFill>
          <a:ln w="1588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 rot="10800000">
            <a:off x="4802785" y="3398976"/>
            <a:ext cx="590960" cy="657040"/>
          </a:xfrm>
          <a:custGeom>
            <a:avLst/>
            <a:gdLst>
              <a:gd name="T0" fmla="*/ 1724 w 2505"/>
              <a:gd name="T1" fmla="*/ 18 h 2784"/>
              <a:gd name="T2" fmla="*/ 1519 w 2505"/>
              <a:gd name="T3" fmla="*/ 2 h 2784"/>
              <a:gd name="T4" fmla="*/ 1307 w 2505"/>
              <a:gd name="T5" fmla="*/ 4 h 2784"/>
              <a:gd name="T6" fmla="*/ 1140 w 2505"/>
              <a:gd name="T7" fmla="*/ 18 h 2784"/>
              <a:gd name="T8" fmla="*/ 1027 w 2505"/>
              <a:gd name="T9" fmla="*/ 36 h 2784"/>
              <a:gd name="T10" fmla="*/ 969 w 2505"/>
              <a:gd name="T11" fmla="*/ 49 h 2784"/>
              <a:gd name="T12" fmla="*/ 1097 w 2505"/>
              <a:gd name="T13" fmla="*/ 49 h 2784"/>
              <a:gd name="T14" fmla="*/ 1218 w 2505"/>
              <a:gd name="T15" fmla="*/ 59 h 2784"/>
              <a:gd name="T16" fmla="*/ 1311 w 2505"/>
              <a:gd name="T17" fmla="*/ 76 h 2784"/>
              <a:gd name="T18" fmla="*/ 1380 w 2505"/>
              <a:gd name="T19" fmla="*/ 97 h 2784"/>
              <a:gd name="T20" fmla="*/ 1472 w 2505"/>
              <a:gd name="T21" fmla="*/ 140 h 2784"/>
              <a:gd name="T22" fmla="*/ 1526 w 2505"/>
              <a:gd name="T23" fmla="*/ 181 h 2784"/>
              <a:gd name="T24" fmla="*/ 1552 w 2505"/>
              <a:gd name="T25" fmla="*/ 217 h 2784"/>
              <a:gd name="T26" fmla="*/ 1561 w 2505"/>
              <a:gd name="T27" fmla="*/ 241 h 2784"/>
              <a:gd name="T28" fmla="*/ 1561 w 2505"/>
              <a:gd name="T29" fmla="*/ 253 h 2784"/>
              <a:gd name="T30" fmla="*/ 1416 w 2505"/>
              <a:gd name="T31" fmla="*/ 333 h 2784"/>
              <a:gd name="T32" fmla="*/ 1210 w 2505"/>
              <a:gd name="T33" fmla="*/ 468 h 2784"/>
              <a:gd name="T34" fmla="*/ 1016 w 2505"/>
              <a:gd name="T35" fmla="*/ 619 h 2784"/>
              <a:gd name="T36" fmla="*/ 834 w 2505"/>
              <a:gd name="T37" fmla="*/ 785 h 2784"/>
              <a:gd name="T38" fmla="*/ 666 w 2505"/>
              <a:gd name="T39" fmla="*/ 964 h 2784"/>
              <a:gd name="T40" fmla="*/ 512 w 2505"/>
              <a:gd name="T41" fmla="*/ 1157 h 2784"/>
              <a:gd name="T42" fmla="*/ 375 w 2505"/>
              <a:gd name="T43" fmla="*/ 1362 h 2784"/>
              <a:gd name="T44" fmla="*/ 255 w 2505"/>
              <a:gd name="T45" fmla="*/ 1578 h 2784"/>
              <a:gd name="T46" fmla="*/ 151 w 2505"/>
              <a:gd name="T47" fmla="*/ 1804 h 2784"/>
              <a:gd name="T48" fmla="*/ 67 w 2505"/>
              <a:gd name="T49" fmla="*/ 2040 h 2784"/>
              <a:gd name="T50" fmla="*/ 0 w 2505"/>
              <a:gd name="T51" fmla="*/ 2285 h 2784"/>
              <a:gd name="T52" fmla="*/ 229 w 2505"/>
              <a:gd name="T53" fmla="*/ 2724 h 2784"/>
              <a:gd name="T54" fmla="*/ 250 w 2505"/>
              <a:gd name="T55" fmla="*/ 2546 h 2784"/>
              <a:gd name="T56" fmla="*/ 281 w 2505"/>
              <a:gd name="T57" fmla="*/ 2371 h 2784"/>
              <a:gd name="T58" fmla="*/ 323 w 2505"/>
              <a:gd name="T59" fmla="*/ 2201 h 2784"/>
              <a:gd name="T60" fmla="*/ 376 w 2505"/>
              <a:gd name="T61" fmla="*/ 2035 h 2784"/>
              <a:gd name="T62" fmla="*/ 439 w 2505"/>
              <a:gd name="T63" fmla="*/ 1874 h 2784"/>
              <a:gd name="T64" fmla="*/ 512 w 2505"/>
              <a:gd name="T65" fmla="*/ 1718 h 2784"/>
              <a:gd name="T66" fmla="*/ 594 w 2505"/>
              <a:gd name="T67" fmla="*/ 1567 h 2784"/>
              <a:gd name="T68" fmla="*/ 684 w 2505"/>
              <a:gd name="T69" fmla="*/ 1421 h 2784"/>
              <a:gd name="T70" fmla="*/ 783 w 2505"/>
              <a:gd name="T71" fmla="*/ 1283 h 2784"/>
              <a:gd name="T72" fmla="*/ 891 w 2505"/>
              <a:gd name="T73" fmla="*/ 1151 h 2784"/>
              <a:gd name="T74" fmla="*/ 1006 w 2505"/>
              <a:gd name="T75" fmla="*/ 1026 h 2784"/>
              <a:gd name="T76" fmla="*/ 1128 w 2505"/>
              <a:gd name="T77" fmla="*/ 907 h 2784"/>
              <a:gd name="T78" fmla="*/ 1258 w 2505"/>
              <a:gd name="T79" fmla="*/ 797 h 2784"/>
              <a:gd name="T80" fmla="*/ 1395 w 2505"/>
              <a:gd name="T81" fmla="*/ 695 h 2784"/>
              <a:gd name="T82" fmla="*/ 1537 w 2505"/>
              <a:gd name="T83" fmla="*/ 601 h 2784"/>
              <a:gd name="T84" fmla="*/ 1686 w 2505"/>
              <a:gd name="T85" fmla="*/ 516 h 2784"/>
              <a:gd name="T86" fmla="*/ 1840 w 2505"/>
              <a:gd name="T87" fmla="*/ 440 h 2784"/>
              <a:gd name="T88" fmla="*/ 2000 w 2505"/>
              <a:gd name="T89" fmla="*/ 374 h 2784"/>
              <a:gd name="T90" fmla="*/ 2164 w 2505"/>
              <a:gd name="T91" fmla="*/ 317 h 2784"/>
              <a:gd name="T92" fmla="*/ 2333 w 2505"/>
              <a:gd name="T93" fmla="*/ 271 h 2784"/>
              <a:gd name="T94" fmla="*/ 2505 w 2505"/>
              <a:gd name="T95" fmla="*/ 235 h 2784"/>
              <a:gd name="T96" fmla="*/ 2450 w 2505"/>
              <a:gd name="T97" fmla="*/ 209 h 2784"/>
              <a:gd name="T98" fmla="*/ 2294 w 2505"/>
              <a:gd name="T99" fmla="*/ 149 h 2784"/>
              <a:gd name="T100" fmla="*/ 2125 w 2505"/>
              <a:gd name="T101" fmla="*/ 96 h 2784"/>
              <a:gd name="T102" fmla="*/ 1919 w 2505"/>
              <a:gd name="T103" fmla="*/ 47 h 2784"/>
              <a:gd name="T104" fmla="*/ 1768 w 2505"/>
              <a:gd name="T105" fmla="*/ 23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505" h="2784">
                <a:moveTo>
                  <a:pt x="1768" y="23"/>
                </a:moveTo>
                <a:lnTo>
                  <a:pt x="1768" y="23"/>
                </a:lnTo>
                <a:lnTo>
                  <a:pt x="1724" y="18"/>
                </a:lnTo>
                <a:lnTo>
                  <a:pt x="1682" y="13"/>
                </a:lnTo>
                <a:lnTo>
                  <a:pt x="1598" y="7"/>
                </a:lnTo>
                <a:lnTo>
                  <a:pt x="1519" y="2"/>
                </a:lnTo>
                <a:lnTo>
                  <a:pt x="1445" y="0"/>
                </a:lnTo>
                <a:lnTo>
                  <a:pt x="1373" y="2"/>
                </a:lnTo>
                <a:lnTo>
                  <a:pt x="1307" y="4"/>
                </a:lnTo>
                <a:lnTo>
                  <a:pt x="1247" y="8"/>
                </a:lnTo>
                <a:lnTo>
                  <a:pt x="1191" y="13"/>
                </a:lnTo>
                <a:lnTo>
                  <a:pt x="1140" y="18"/>
                </a:lnTo>
                <a:lnTo>
                  <a:pt x="1097" y="24"/>
                </a:lnTo>
                <a:lnTo>
                  <a:pt x="1059" y="30"/>
                </a:lnTo>
                <a:lnTo>
                  <a:pt x="1027" y="36"/>
                </a:lnTo>
                <a:lnTo>
                  <a:pt x="983" y="45"/>
                </a:lnTo>
                <a:lnTo>
                  <a:pt x="969" y="49"/>
                </a:lnTo>
                <a:lnTo>
                  <a:pt x="969" y="49"/>
                </a:lnTo>
                <a:lnTo>
                  <a:pt x="1004" y="47"/>
                </a:lnTo>
                <a:lnTo>
                  <a:pt x="1045" y="47"/>
                </a:lnTo>
                <a:lnTo>
                  <a:pt x="1097" y="49"/>
                </a:lnTo>
                <a:lnTo>
                  <a:pt x="1155" y="52"/>
                </a:lnTo>
                <a:lnTo>
                  <a:pt x="1186" y="55"/>
                </a:lnTo>
                <a:lnTo>
                  <a:pt x="1218" y="59"/>
                </a:lnTo>
                <a:lnTo>
                  <a:pt x="1249" y="63"/>
                </a:lnTo>
                <a:lnTo>
                  <a:pt x="1280" y="68"/>
                </a:lnTo>
                <a:lnTo>
                  <a:pt x="1311" y="76"/>
                </a:lnTo>
                <a:lnTo>
                  <a:pt x="1341" y="83"/>
                </a:lnTo>
                <a:lnTo>
                  <a:pt x="1341" y="83"/>
                </a:lnTo>
                <a:lnTo>
                  <a:pt x="1380" y="97"/>
                </a:lnTo>
                <a:lnTo>
                  <a:pt x="1416" y="112"/>
                </a:lnTo>
                <a:lnTo>
                  <a:pt x="1446" y="125"/>
                </a:lnTo>
                <a:lnTo>
                  <a:pt x="1472" y="140"/>
                </a:lnTo>
                <a:lnTo>
                  <a:pt x="1494" y="154"/>
                </a:lnTo>
                <a:lnTo>
                  <a:pt x="1511" y="167"/>
                </a:lnTo>
                <a:lnTo>
                  <a:pt x="1526" y="181"/>
                </a:lnTo>
                <a:lnTo>
                  <a:pt x="1537" y="193"/>
                </a:lnTo>
                <a:lnTo>
                  <a:pt x="1546" y="206"/>
                </a:lnTo>
                <a:lnTo>
                  <a:pt x="1552" y="217"/>
                </a:lnTo>
                <a:lnTo>
                  <a:pt x="1557" y="227"/>
                </a:lnTo>
                <a:lnTo>
                  <a:pt x="1560" y="235"/>
                </a:lnTo>
                <a:lnTo>
                  <a:pt x="1561" y="241"/>
                </a:lnTo>
                <a:lnTo>
                  <a:pt x="1562" y="248"/>
                </a:lnTo>
                <a:lnTo>
                  <a:pt x="1561" y="251"/>
                </a:lnTo>
                <a:lnTo>
                  <a:pt x="1561" y="253"/>
                </a:lnTo>
                <a:lnTo>
                  <a:pt x="1561" y="253"/>
                </a:lnTo>
                <a:lnTo>
                  <a:pt x="1488" y="292"/>
                </a:lnTo>
                <a:lnTo>
                  <a:pt x="1416" y="333"/>
                </a:lnTo>
                <a:lnTo>
                  <a:pt x="1347" y="376"/>
                </a:lnTo>
                <a:lnTo>
                  <a:pt x="1278" y="422"/>
                </a:lnTo>
                <a:lnTo>
                  <a:pt x="1210" y="468"/>
                </a:lnTo>
                <a:lnTo>
                  <a:pt x="1144" y="517"/>
                </a:lnTo>
                <a:lnTo>
                  <a:pt x="1079" y="566"/>
                </a:lnTo>
                <a:lnTo>
                  <a:pt x="1016" y="619"/>
                </a:lnTo>
                <a:lnTo>
                  <a:pt x="954" y="673"/>
                </a:lnTo>
                <a:lnTo>
                  <a:pt x="893" y="728"/>
                </a:lnTo>
                <a:lnTo>
                  <a:pt x="834" y="785"/>
                </a:lnTo>
                <a:lnTo>
                  <a:pt x="776" y="843"/>
                </a:lnTo>
                <a:lnTo>
                  <a:pt x="720" y="902"/>
                </a:lnTo>
                <a:lnTo>
                  <a:pt x="666" y="964"/>
                </a:lnTo>
                <a:lnTo>
                  <a:pt x="614" y="1027"/>
                </a:lnTo>
                <a:lnTo>
                  <a:pt x="562" y="1091"/>
                </a:lnTo>
                <a:lnTo>
                  <a:pt x="512" y="1157"/>
                </a:lnTo>
                <a:lnTo>
                  <a:pt x="465" y="1224"/>
                </a:lnTo>
                <a:lnTo>
                  <a:pt x="420" y="1293"/>
                </a:lnTo>
                <a:lnTo>
                  <a:pt x="375" y="1362"/>
                </a:lnTo>
                <a:lnTo>
                  <a:pt x="333" y="1432"/>
                </a:lnTo>
                <a:lnTo>
                  <a:pt x="293" y="1505"/>
                </a:lnTo>
                <a:lnTo>
                  <a:pt x="255" y="1578"/>
                </a:lnTo>
                <a:lnTo>
                  <a:pt x="218" y="1652"/>
                </a:lnTo>
                <a:lnTo>
                  <a:pt x="183" y="1728"/>
                </a:lnTo>
                <a:lnTo>
                  <a:pt x="151" y="1804"/>
                </a:lnTo>
                <a:lnTo>
                  <a:pt x="122" y="1882"/>
                </a:lnTo>
                <a:lnTo>
                  <a:pt x="93" y="1961"/>
                </a:lnTo>
                <a:lnTo>
                  <a:pt x="67" y="2040"/>
                </a:lnTo>
                <a:lnTo>
                  <a:pt x="43" y="2122"/>
                </a:lnTo>
                <a:lnTo>
                  <a:pt x="20" y="2203"/>
                </a:lnTo>
                <a:lnTo>
                  <a:pt x="0" y="2285"/>
                </a:lnTo>
                <a:lnTo>
                  <a:pt x="224" y="2784"/>
                </a:lnTo>
                <a:lnTo>
                  <a:pt x="224" y="2784"/>
                </a:lnTo>
                <a:lnTo>
                  <a:pt x="229" y="2724"/>
                </a:lnTo>
                <a:lnTo>
                  <a:pt x="234" y="2664"/>
                </a:lnTo>
                <a:lnTo>
                  <a:pt x="242" y="2605"/>
                </a:lnTo>
                <a:lnTo>
                  <a:pt x="250" y="2546"/>
                </a:lnTo>
                <a:lnTo>
                  <a:pt x="259" y="2488"/>
                </a:lnTo>
                <a:lnTo>
                  <a:pt x="270" y="2430"/>
                </a:lnTo>
                <a:lnTo>
                  <a:pt x="281" y="2371"/>
                </a:lnTo>
                <a:lnTo>
                  <a:pt x="295" y="2315"/>
                </a:lnTo>
                <a:lnTo>
                  <a:pt x="308" y="2258"/>
                </a:lnTo>
                <a:lnTo>
                  <a:pt x="323" y="2201"/>
                </a:lnTo>
                <a:lnTo>
                  <a:pt x="340" y="2145"/>
                </a:lnTo>
                <a:lnTo>
                  <a:pt x="358" y="2090"/>
                </a:lnTo>
                <a:lnTo>
                  <a:pt x="376" y="2035"/>
                </a:lnTo>
                <a:lnTo>
                  <a:pt x="396" y="1981"/>
                </a:lnTo>
                <a:lnTo>
                  <a:pt x="417" y="1927"/>
                </a:lnTo>
                <a:lnTo>
                  <a:pt x="439" y="1874"/>
                </a:lnTo>
                <a:lnTo>
                  <a:pt x="463" y="1820"/>
                </a:lnTo>
                <a:lnTo>
                  <a:pt x="486" y="1769"/>
                </a:lnTo>
                <a:lnTo>
                  <a:pt x="512" y="1718"/>
                </a:lnTo>
                <a:lnTo>
                  <a:pt x="538" y="1666"/>
                </a:lnTo>
                <a:lnTo>
                  <a:pt x="565" y="1617"/>
                </a:lnTo>
                <a:lnTo>
                  <a:pt x="594" y="1567"/>
                </a:lnTo>
                <a:lnTo>
                  <a:pt x="622" y="1518"/>
                </a:lnTo>
                <a:lnTo>
                  <a:pt x="653" y="1470"/>
                </a:lnTo>
                <a:lnTo>
                  <a:pt x="684" y="1421"/>
                </a:lnTo>
                <a:lnTo>
                  <a:pt x="716" y="1374"/>
                </a:lnTo>
                <a:lnTo>
                  <a:pt x="750" y="1329"/>
                </a:lnTo>
                <a:lnTo>
                  <a:pt x="783" y="1283"/>
                </a:lnTo>
                <a:lnTo>
                  <a:pt x="818" y="1238"/>
                </a:lnTo>
                <a:lnTo>
                  <a:pt x="854" y="1194"/>
                </a:lnTo>
                <a:lnTo>
                  <a:pt x="891" y="1151"/>
                </a:lnTo>
                <a:lnTo>
                  <a:pt x="928" y="1109"/>
                </a:lnTo>
                <a:lnTo>
                  <a:pt x="966" y="1067"/>
                </a:lnTo>
                <a:lnTo>
                  <a:pt x="1006" y="1026"/>
                </a:lnTo>
                <a:lnTo>
                  <a:pt x="1046" y="985"/>
                </a:lnTo>
                <a:lnTo>
                  <a:pt x="1087" y="946"/>
                </a:lnTo>
                <a:lnTo>
                  <a:pt x="1128" y="907"/>
                </a:lnTo>
                <a:lnTo>
                  <a:pt x="1171" y="870"/>
                </a:lnTo>
                <a:lnTo>
                  <a:pt x="1215" y="833"/>
                </a:lnTo>
                <a:lnTo>
                  <a:pt x="1258" y="797"/>
                </a:lnTo>
                <a:lnTo>
                  <a:pt x="1302" y="763"/>
                </a:lnTo>
                <a:lnTo>
                  <a:pt x="1348" y="728"/>
                </a:lnTo>
                <a:lnTo>
                  <a:pt x="1395" y="695"/>
                </a:lnTo>
                <a:lnTo>
                  <a:pt x="1441" y="663"/>
                </a:lnTo>
                <a:lnTo>
                  <a:pt x="1489" y="632"/>
                </a:lnTo>
                <a:lnTo>
                  <a:pt x="1537" y="601"/>
                </a:lnTo>
                <a:lnTo>
                  <a:pt x="1587" y="571"/>
                </a:lnTo>
                <a:lnTo>
                  <a:pt x="1636" y="544"/>
                </a:lnTo>
                <a:lnTo>
                  <a:pt x="1686" y="516"/>
                </a:lnTo>
                <a:lnTo>
                  <a:pt x="1736" y="490"/>
                </a:lnTo>
                <a:lnTo>
                  <a:pt x="1788" y="465"/>
                </a:lnTo>
                <a:lnTo>
                  <a:pt x="1840" y="440"/>
                </a:lnTo>
                <a:lnTo>
                  <a:pt x="1893" y="417"/>
                </a:lnTo>
                <a:lnTo>
                  <a:pt x="1947" y="395"/>
                </a:lnTo>
                <a:lnTo>
                  <a:pt x="2000" y="374"/>
                </a:lnTo>
                <a:lnTo>
                  <a:pt x="2054" y="354"/>
                </a:lnTo>
                <a:lnTo>
                  <a:pt x="2108" y="335"/>
                </a:lnTo>
                <a:lnTo>
                  <a:pt x="2164" y="317"/>
                </a:lnTo>
                <a:lnTo>
                  <a:pt x="2220" y="301"/>
                </a:lnTo>
                <a:lnTo>
                  <a:pt x="2277" y="285"/>
                </a:lnTo>
                <a:lnTo>
                  <a:pt x="2333" y="271"/>
                </a:lnTo>
                <a:lnTo>
                  <a:pt x="2390" y="257"/>
                </a:lnTo>
                <a:lnTo>
                  <a:pt x="2447" y="245"/>
                </a:lnTo>
                <a:lnTo>
                  <a:pt x="2505" y="235"/>
                </a:lnTo>
                <a:lnTo>
                  <a:pt x="2505" y="235"/>
                </a:lnTo>
                <a:lnTo>
                  <a:pt x="2492" y="228"/>
                </a:lnTo>
                <a:lnTo>
                  <a:pt x="2450" y="209"/>
                </a:lnTo>
                <a:lnTo>
                  <a:pt x="2383" y="182"/>
                </a:lnTo>
                <a:lnTo>
                  <a:pt x="2341" y="166"/>
                </a:lnTo>
                <a:lnTo>
                  <a:pt x="2294" y="149"/>
                </a:lnTo>
                <a:lnTo>
                  <a:pt x="2242" y="131"/>
                </a:lnTo>
                <a:lnTo>
                  <a:pt x="2185" y="114"/>
                </a:lnTo>
                <a:lnTo>
                  <a:pt x="2125" y="96"/>
                </a:lnTo>
                <a:lnTo>
                  <a:pt x="2059" y="78"/>
                </a:lnTo>
                <a:lnTo>
                  <a:pt x="1991" y="62"/>
                </a:lnTo>
                <a:lnTo>
                  <a:pt x="1919" y="47"/>
                </a:lnTo>
                <a:lnTo>
                  <a:pt x="1845" y="34"/>
                </a:lnTo>
                <a:lnTo>
                  <a:pt x="1768" y="23"/>
                </a:lnTo>
                <a:lnTo>
                  <a:pt x="1768" y="23"/>
                </a:lnTo>
                <a:close/>
              </a:path>
            </a:pathLst>
          </a:custGeom>
          <a:solidFill>
            <a:schemeClr val="accent5"/>
          </a:solidFill>
          <a:ln w="1588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3573292" y="2217611"/>
            <a:ext cx="547690" cy="5476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3504598" y="3149615"/>
            <a:ext cx="331434" cy="3314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4540439" y="1883316"/>
            <a:ext cx="556565" cy="5565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5228028" y="2563449"/>
            <a:ext cx="331434" cy="3314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4241891" y="2907526"/>
            <a:ext cx="786693" cy="7866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1" name="Freeform 5"/>
          <p:cNvSpPr>
            <a:spLocks noEditPoints="1"/>
          </p:cNvSpPr>
          <p:nvPr/>
        </p:nvSpPr>
        <p:spPr bwMode="auto">
          <a:xfrm>
            <a:off x="3702529" y="2379616"/>
            <a:ext cx="279784" cy="196953"/>
          </a:xfrm>
          <a:custGeom>
            <a:avLst/>
            <a:gdLst>
              <a:gd name="T0" fmla="*/ 681 w 2382"/>
              <a:gd name="T1" fmla="*/ 1409 h 1676"/>
              <a:gd name="T2" fmla="*/ 602 w 2382"/>
              <a:gd name="T3" fmla="*/ 1379 h 1676"/>
              <a:gd name="T4" fmla="*/ 0 w 2382"/>
              <a:gd name="T5" fmla="*/ 843 h 1676"/>
              <a:gd name="T6" fmla="*/ 636 w 2382"/>
              <a:gd name="T7" fmla="*/ 278 h 1676"/>
              <a:gd name="T8" fmla="*/ 804 w 2382"/>
              <a:gd name="T9" fmla="*/ 288 h 1676"/>
              <a:gd name="T10" fmla="*/ 794 w 2382"/>
              <a:gd name="T11" fmla="*/ 456 h 1676"/>
              <a:gd name="T12" fmla="*/ 358 w 2382"/>
              <a:gd name="T13" fmla="*/ 843 h 1676"/>
              <a:gd name="T14" fmla="*/ 760 w 2382"/>
              <a:gd name="T15" fmla="*/ 1200 h 1676"/>
              <a:gd name="T16" fmla="*/ 770 w 2382"/>
              <a:gd name="T17" fmla="*/ 1369 h 1676"/>
              <a:gd name="T18" fmla="*/ 681 w 2382"/>
              <a:gd name="T19" fmla="*/ 1409 h 1676"/>
              <a:gd name="T20" fmla="*/ 1746 w 2382"/>
              <a:gd name="T21" fmla="*/ 1408 h 1676"/>
              <a:gd name="T22" fmla="*/ 2382 w 2382"/>
              <a:gd name="T23" fmla="*/ 843 h 1676"/>
              <a:gd name="T24" fmla="*/ 1780 w 2382"/>
              <a:gd name="T25" fmla="*/ 307 h 1676"/>
              <a:gd name="T26" fmla="*/ 1612 w 2382"/>
              <a:gd name="T27" fmla="*/ 317 h 1676"/>
              <a:gd name="T28" fmla="*/ 1622 w 2382"/>
              <a:gd name="T29" fmla="*/ 485 h 1676"/>
              <a:gd name="T30" fmla="*/ 2024 w 2382"/>
              <a:gd name="T31" fmla="*/ 843 h 1676"/>
              <a:gd name="T32" fmla="*/ 1588 w 2382"/>
              <a:gd name="T33" fmla="*/ 1230 h 1676"/>
              <a:gd name="T34" fmla="*/ 1578 w 2382"/>
              <a:gd name="T35" fmla="*/ 1398 h 1676"/>
              <a:gd name="T36" fmla="*/ 1667 w 2382"/>
              <a:gd name="T37" fmla="*/ 1438 h 1676"/>
              <a:gd name="T38" fmla="*/ 1746 w 2382"/>
              <a:gd name="T39" fmla="*/ 1408 h 1676"/>
              <a:gd name="T40" fmla="*/ 1189 w 2382"/>
              <a:gd name="T41" fmla="*/ 1577 h 1676"/>
              <a:gd name="T42" fmla="*/ 1427 w 2382"/>
              <a:gd name="T43" fmla="*/ 148 h 1676"/>
              <a:gd name="T44" fmla="*/ 1330 w 2382"/>
              <a:gd name="T45" fmla="*/ 11 h 1676"/>
              <a:gd name="T46" fmla="*/ 1193 w 2382"/>
              <a:gd name="T47" fmla="*/ 109 h 1676"/>
              <a:gd name="T48" fmla="*/ 955 w 2382"/>
              <a:gd name="T49" fmla="*/ 1538 h 1676"/>
              <a:gd name="T50" fmla="*/ 1052 w 2382"/>
              <a:gd name="T51" fmla="*/ 1675 h 1676"/>
              <a:gd name="T52" fmla="*/ 1072 w 2382"/>
              <a:gd name="T53" fmla="*/ 1676 h 1676"/>
              <a:gd name="T54" fmla="*/ 1189 w 2382"/>
              <a:gd name="T55" fmla="*/ 1577 h 1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382" h="1676">
                <a:moveTo>
                  <a:pt x="681" y="1409"/>
                </a:moveTo>
                <a:cubicBezTo>
                  <a:pt x="653" y="1409"/>
                  <a:pt x="625" y="1399"/>
                  <a:pt x="602" y="1379"/>
                </a:cubicBezTo>
                <a:cubicBezTo>
                  <a:pt x="0" y="843"/>
                  <a:pt x="0" y="843"/>
                  <a:pt x="0" y="843"/>
                </a:cubicBezTo>
                <a:cubicBezTo>
                  <a:pt x="636" y="278"/>
                  <a:pt x="636" y="278"/>
                  <a:pt x="636" y="278"/>
                </a:cubicBezTo>
                <a:cubicBezTo>
                  <a:pt x="685" y="234"/>
                  <a:pt x="760" y="238"/>
                  <a:pt x="804" y="288"/>
                </a:cubicBezTo>
                <a:cubicBezTo>
                  <a:pt x="847" y="337"/>
                  <a:pt x="843" y="412"/>
                  <a:pt x="794" y="456"/>
                </a:cubicBezTo>
                <a:cubicBezTo>
                  <a:pt x="358" y="843"/>
                  <a:pt x="358" y="843"/>
                  <a:pt x="358" y="843"/>
                </a:cubicBezTo>
                <a:cubicBezTo>
                  <a:pt x="760" y="1200"/>
                  <a:pt x="760" y="1200"/>
                  <a:pt x="760" y="1200"/>
                </a:cubicBezTo>
                <a:cubicBezTo>
                  <a:pt x="810" y="1244"/>
                  <a:pt x="814" y="1319"/>
                  <a:pt x="770" y="1369"/>
                </a:cubicBezTo>
                <a:cubicBezTo>
                  <a:pt x="747" y="1395"/>
                  <a:pt x="714" y="1409"/>
                  <a:pt x="681" y="1409"/>
                </a:cubicBezTo>
                <a:close/>
                <a:moveTo>
                  <a:pt x="1746" y="1408"/>
                </a:moveTo>
                <a:cubicBezTo>
                  <a:pt x="2382" y="843"/>
                  <a:pt x="2382" y="843"/>
                  <a:pt x="2382" y="843"/>
                </a:cubicBezTo>
                <a:cubicBezTo>
                  <a:pt x="1780" y="307"/>
                  <a:pt x="1780" y="307"/>
                  <a:pt x="1780" y="307"/>
                </a:cubicBezTo>
                <a:cubicBezTo>
                  <a:pt x="1731" y="264"/>
                  <a:pt x="1655" y="268"/>
                  <a:pt x="1612" y="317"/>
                </a:cubicBezTo>
                <a:cubicBezTo>
                  <a:pt x="1568" y="367"/>
                  <a:pt x="1572" y="442"/>
                  <a:pt x="1622" y="485"/>
                </a:cubicBezTo>
                <a:cubicBezTo>
                  <a:pt x="2024" y="843"/>
                  <a:pt x="2024" y="843"/>
                  <a:pt x="2024" y="843"/>
                </a:cubicBezTo>
                <a:cubicBezTo>
                  <a:pt x="1588" y="1230"/>
                  <a:pt x="1588" y="1230"/>
                  <a:pt x="1588" y="1230"/>
                </a:cubicBezTo>
                <a:cubicBezTo>
                  <a:pt x="1539" y="1274"/>
                  <a:pt x="1535" y="1349"/>
                  <a:pt x="1578" y="1398"/>
                </a:cubicBezTo>
                <a:cubicBezTo>
                  <a:pt x="1602" y="1425"/>
                  <a:pt x="1634" y="1438"/>
                  <a:pt x="1667" y="1438"/>
                </a:cubicBezTo>
                <a:cubicBezTo>
                  <a:pt x="1695" y="1438"/>
                  <a:pt x="1724" y="1428"/>
                  <a:pt x="1746" y="1408"/>
                </a:cubicBezTo>
                <a:close/>
                <a:moveTo>
                  <a:pt x="1189" y="1577"/>
                </a:moveTo>
                <a:cubicBezTo>
                  <a:pt x="1427" y="148"/>
                  <a:pt x="1427" y="148"/>
                  <a:pt x="1427" y="148"/>
                </a:cubicBezTo>
                <a:cubicBezTo>
                  <a:pt x="1438" y="83"/>
                  <a:pt x="1394" y="22"/>
                  <a:pt x="1330" y="11"/>
                </a:cubicBezTo>
                <a:cubicBezTo>
                  <a:pt x="1264" y="0"/>
                  <a:pt x="1203" y="44"/>
                  <a:pt x="1193" y="109"/>
                </a:cubicBezTo>
                <a:cubicBezTo>
                  <a:pt x="955" y="1538"/>
                  <a:pt x="955" y="1538"/>
                  <a:pt x="955" y="1538"/>
                </a:cubicBezTo>
                <a:cubicBezTo>
                  <a:pt x="944" y="1603"/>
                  <a:pt x="988" y="1664"/>
                  <a:pt x="1052" y="1675"/>
                </a:cubicBezTo>
                <a:cubicBezTo>
                  <a:pt x="1059" y="1676"/>
                  <a:pt x="1066" y="1676"/>
                  <a:pt x="1072" y="1676"/>
                </a:cubicBezTo>
                <a:cubicBezTo>
                  <a:pt x="1129" y="1676"/>
                  <a:pt x="1180" y="1635"/>
                  <a:pt x="1189" y="15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2" name="Freeform 23"/>
          <p:cNvSpPr>
            <a:spLocks noEditPoints="1"/>
          </p:cNvSpPr>
          <p:nvPr/>
        </p:nvSpPr>
        <p:spPr bwMode="auto">
          <a:xfrm>
            <a:off x="3585403" y="3226925"/>
            <a:ext cx="169823" cy="176813"/>
          </a:xfrm>
          <a:custGeom>
            <a:avLst/>
            <a:gdLst>
              <a:gd name="T0" fmla="*/ 1500 w 1547"/>
              <a:gd name="T1" fmla="*/ 1381 h 1607"/>
              <a:gd name="T2" fmla="*/ 1523 w 1547"/>
              <a:gd name="T3" fmla="*/ 1540 h 1607"/>
              <a:gd name="T4" fmla="*/ 1376 w 1547"/>
              <a:gd name="T5" fmla="*/ 1607 h 1607"/>
              <a:gd name="T6" fmla="*/ 171 w 1547"/>
              <a:gd name="T7" fmla="*/ 1607 h 1607"/>
              <a:gd name="T8" fmla="*/ 24 w 1547"/>
              <a:gd name="T9" fmla="*/ 1540 h 1607"/>
              <a:gd name="T10" fmla="*/ 47 w 1547"/>
              <a:gd name="T11" fmla="*/ 1381 h 1607"/>
              <a:gd name="T12" fmla="*/ 573 w 1547"/>
              <a:gd name="T13" fmla="*/ 551 h 1607"/>
              <a:gd name="T14" fmla="*/ 573 w 1547"/>
              <a:gd name="T15" fmla="*/ 134 h 1607"/>
              <a:gd name="T16" fmla="*/ 506 w 1547"/>
              <a:gd name="T17" fmla="*/ 134 h 1607"/>
              <a:gd name="T18" fmla="*/ 459 w 1547"/>
              <a:gd name="T19" fmla="*/ 114 h 1607"/>
              <a:gd name="T20" fmla="*/ 439 w 1547"/>
              <a:gd name="T21" fmla="*/ 67 h 1607"/>
              <a:gd name="T22" fmla="*/ 459 w 1547"/>
              <a:gd name="T23" fmla="*/ 20 h 1607"/>
              <a:gd name="T24" fmla="*/ 506 w 1547"/>
              <a:gd name="T25" fmla="*/ 0 h 1607"/>
              <a:gd name="T26" fmla="*/ 1041 w 1547"/>
              <a:gd name="T27" fmla="*/ 0 h 1607"/>
              <a:gd name="T28" fmla="*/ 1088 w 1547"/>
              <a:gd name="T29" fmla="*/ 20 h 1607"/>
              <a:gd name="T30" fmla="*/ 1108 w 1547"/>
              <a:gd name="T31" fmla="*/ 67 h 1607"/>
              <a:gd name="T32" fmla="*/ 1088 w 1547"/>
              <a:gd name="T33" fmla="*/ 114 h 1607"/>
              <a:gd name="T34" fmla="*/ 1041 w 1547"/>
              <a:gd name="T35" fmla="*/ 134 h 1607"/>
              <a:gd name="T36" fmla="*/ 974 w 1547"/>
              <a:gd name="T37" fmla="*/ 134 h 1607"/>
              <a:gd name="T38" fmla="*/ 974 w 1547"/>
              <a:gd name="T39" fmla="*/ 551 h 1607"/>
              <a:gd name="T40" fmla="*/ 1500 w 1547"/>
              <a:gd name="T41" fmla="*/ 1381 h 1607"/>
              <a:gd name="T42" fmla="*/ 686 w 1547"/>
              <a:gd name="T43" fmla="*/ 623 h 1607"/>
              <a:gd name="T44" fmla="*/ 401 w 1547"/>
              <a:gd name="T45" fmla="*/ 1071 h 1607"/>
              <a:gd name="T46" fmla="*/ 1146 w 1547"/>
              <a:gd name="T47" fmla="*/ 1071 h 1607"/>
              <a:gd name="T48" fmla="*/ 861 w 1547"/>
              <a:gd name="T49" fmla="*/ 623 h 1607"/>
              <a:gd name="T50" fmla="*/ 840 w 1547"/>
              <a:gd name="T51" fmla="*/ 590 h 1607"/>
              <a:gd name="T52" fmla="*/ 840 w 1547"/>
              <a:gd name="T53" fmla="*/ 551 h 1607"/>
              <a:gd name="T54" fmla="*/ 840 w 1547"/>
              <a:gd name="T55" fmla="*/ 134 h 1607"/>
              <a:gd name="T56" fmla="*/ 707 w 1547"/>
              <a:gd name="T57" fmla="*/ 134 h 1607"/>
              <a:gd name="T58" fmla="*/ 707 w 1547"/>
              <a:gd name="T59" fmla="*/ 551 h 1607"/>
              <a:gd name="T60" fmla="*/ 707 w 1547"/>
              <a:gd name="T61" fmla="*/ 590 h 1607"/>
              <a:gd name="T62" fmla="*/ 686 w 1547"/>
              <a:gd name="T63" fmla="*/ 623 h 1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47" h="1607">
                <a:moveTo>
                  <a:pt x="1500" y="1381"/>
                </a:moveTo>
                <a:cubicBezTo>
                  <a:pt x="1539" y="1443"/>
                  <a:pt x="1547" y="1496"/>
                  <a:pt x="1523" y="1540"/>
                </a:cubicBezTo>
                <a:cubicBezTo>
                  <a:pt x="1499" y="1584"/>
                  <a:pt x="1450" y="1607"/>
                  <a:pt x="1376" y="1607"/>
                </a:cubicBezTo>
                <a:cubicBezTo>
                  <a:pt x="171" y="1607"/>
                  <a:pt x="171" y="1607"/>
                  <a:pt x="171" y="1607"/>
                </a:cubicBezTo>
                <a:cubicBezTo>
                  <a:pt x="97" y="1607"/>
                  <a:pt x="48" y="1584"/>
                  <a:pt x="24" y="1540"/>
                </a:cubicBezTo>
                <a:cubicBezTo>
                  <a:pt x="0" y="1496"/>
                  <a:pt x="8" y="1443"/>
                  <a:pt x="47" y="1381"/>
                </a:cubicBezTo>
                <a:cubicBezTo>
                  <a:pt x="573" y="551"/>
                  <a:pt x="573" y="551"/>
                  <a:pt x="573" y="551"/>
                </a:cubicBezTo>
                <a:cubicBezTo>
                  <a:pt x="573" y="134"/>
                  <a:pt x="573" y="134"/>
                  <a:pt x="573" y="134"/>
                </a:cubicBezTo>
                <a:cubicBezTo>
                  <a:pt x="506" y="134"/>
                  <a:pt x="506" y="134"/>
                  <a:pt x="506" y="134"/>
                </a:cubicBezTo>
                <a:cubicBezTo>
                  <a:pt x="488" y="134"/>
                  <a:pt x="472" y="127"/>
                  <a:pt x="459" y="114"/>
                </a:cubicBezTo>
                <a:cubicBezTo>
                  <a:pt x="445" y="101"/>
                  <a:pt x="439" y="85"/>
                  <a:pt x="439" y="67"/>
                </a:cubicBezTo>
                <a:cubicBezTo>
                  <a:pt x="439" y="49"/>
                  <a:pt x="445" y="33"/>
                  <a:pt x="459" y="20"/>
                </a:cubicBezTo>
                <a:cubicBezTo>
                  <a:pt x="472" y="7"/>
                  <a:pt x="488" y="0"/>
                  <a:pt x="506" y="0"/>
                </a:cubicBezTo>
                <a:cubicBezTo>
                  <a:pt x="1041" y="0"/>
                  <a:pt x="1041" y="0"/>
                  <a:pt x="1041" y="0"/>
                </a:cubicBezTo>
                <a:cubicBezTo>
                  <a:pt x="1059" y="0"/>
                  <a:pt x="1075" y="7"/>
                  <a:pt x="1088" y="20"/>
                </a:cubicBezTo>
                <a:cubicBezTo>
                  <a:pt x="1102" y="33"/>
                  <a:pt x="1108" y="49"/>
                  <a:pt x="1108" y="67"/>
                </a:cubicBezTo>
                <a:cubicBezTo>
                  <a:pt x="1108" y="85"/>
                  <a:pt x="1102" y="101"/>
                  <a:pt x="1088" y="114"/>
                </a:cubicBezTo>
                <a:cubicBezTo>
                  <a:pt x="1075" y="127"/>
                  <a:pt x="1059" y="134"/>
                  <a:pt x="1041" y="134"/>
                </a:cubicBezTo>
                <a:cubicBezTo>
                  <a:pt x="974" y="134"/>
                  <a:pt x="974" y="134"/>
                  <a:pt x="974" y="134"/>
                </a:cubicBezTo>
                <a:cubicBezTo>
                  <a:pt x="974" y="551"/>
                  <a:pt x="974" y="551"/>
                  <a:pt x="974" y="551"/>
                </a:cubicBezTo>
                <a:lnTo>
                  <a:pt x="1500" y="1381"/>
                </a:lnTo>
                <a:close/>
                <a:moveTo>
                  <a:pt x="686" y="623"/>
                </a:moveTo>
                <a:cubicBezTo>
                  <a:pt x="401" y="1071"/>
                  <a:pt x="401" y="1071"/>
                  <a:pt x="401" y="1071"/>
                </a:cubicBezTo>
                <a:cubicBezTo>
                  <a:pt x="1146" y="1071"/>
                  <a:pt x="1146" y="1071"/>
                  <a:pt x="1146" y="1071"/>
                </a:cubicBezTo>
                <a:cubicBezTo>
                  <a:pt x="861" y="623"/>
                  <a:pt x="861" y="623"/>
                  <a:pt x="861" y="623"/>
                </a:cubicBezTo>
                <a:cubicBezTo>
                  <a:pt x="840" y="590"/>
                  <a:pt x="840" y="590"/>
                  <a:pt x="840" y="590"/>
                </a:cubicBezTo>
                <a:cubicBezTo>
                  <a:pt x="840" y="551"/>
                  <a:pt x="840" y="551"/>
                  <a:pt x="840" y="551"/>
                </a:cubicBezTo>
                <a:cubicBezTo>
                  <a:pt x="840" y="134"/>
                  <a:pt x="840" y="134"/>
                  <a:pt x="840" y="134"/>
                </a:cubicBezTo>
                <a:cubicBezTo>
                  <a:pt x="707" y="134"/>
                  <a:pt x="707" y="134"/>
                  <a:pt x="707" y="134"/>
                </a:cubicBezTo>
                <a:cubicBezTo>
                  <a:pt x="707" y="551"/>
                  <a:pt x="707" y="551"/>
                  <a:pt x="707" y="551"/>
                </a:cubicBezTo>
                <a:cubicBezTo>
                  <a:pt x="707" y="590"/>
                  <a:pt x="707" y="590"/>
                  <a:pt x="707" y="590"/>
                </a:cubicBezTo>
                <a:lnTo>
                  <a:pt x="686" y="6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84148" y="2444817"/>
            <a:ext cx="1818322" cy="519764"/>
            <a:chOff x="584148" y="2444817"/>
            <a:chExt cx="1818322" cy="519764"/>
          </a:xfrm>
        </p:grpSpPr>
        <p:sp>
          <p:nvSpPr>
            <p:cNvPr id="56" name="TextBox 55"/>
            <p:cNvSpPr txBox="1"/>
            <p:nvPr/>
          </p:nvSpPr>
          <p:spPr>
            <a:xfrm>
              <a:off x="584148" y="2643659"/>
              <a:ext cx="1818322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84202" y="2444817"/>
              <a:ext cx="181822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development</a:t>
              </a:r>
            </a:p>
          </p:txBody>
        </p:sp>
      </p:grpSp>
      <p:cxnSp>
        <p:nvCxnSpPr>
          <p:cNvPr id="58" name="Straight Connector 57"/>
          <p:cNvCxnSpPr/>
          <p:nvPr/>
        </p:nvCxnSpPr>
        <p:spPr>
          <a:xfrm>
            <a:off x="2554982" y="2558442"/>
            <a:ext cx="74384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584148" y="3224974"/>
            <a:ext cx="1818322" cy="519764"/>
            <a:chOff x="584148" y="3224974"/>
            <a:chExt cx="1818322" cy="519764"/>
          </a:xfrm>
        </p:grpSpPr>
        <p:sp>
          <p:nvSpPr>
            <p:cNvPr id="60" name="TextBox 59"/>
            <p:cNvSpPr txBox="1"/>
            <p:nvPr/>
          </p:nvSpPr>
          <p:spPr>
            <a:xfrm>
              <a:off x="584148" y="3423816"/>
              <a:ext cx="1818322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84202" y="3224974"/>
              <a:ext cx="181822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research</a:t>
              </a:r>
            </a:p>
          </p:txBody>
        </p:sp>
      </p:grpSp>
      <p:cxnSp>
        <p:nvCxnSpPr>
          <p:cNvPr id="62" name="Straight Connector 61"/>
          <p:cNvCxnSpPr/>
          <p:nvPr/>
        </p:nvCxnSpPr>
        <p:spPr>
          <a:xfrm>
            <a:off x="2559050" y="3338599"/>
            <a:ext cx="7461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6697491" y="1602648"/>
            <a:ext cx="1818322" cy="519764"/>
            <a:chOff x="6697491" y="1602648"/>
            <a:chExt cx="1818322" cy="519764"/>
          </a:xfrm>
        </p:grpSpPr>
        <p:sp>
          <p:nvSpPr>
            <p:cNvPr id="27" name="TextBox 26"/>
            <p:cNvSpPr txBox="1"/>
            <p:nvPr/>
          </p:nvSpPr>
          <p:spPr>
            <a:xfrm>
              <a:off x="6697491" y="1801490"/>
              <a:ext cx="1818322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697545" y="1602648"/>
              <a:ext cx="181822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Test &amp; refinement</a:t>
              </a:r>
            </a:p>
          </p:txBody>
        </p:sp>
      </p:grpSp>
      <p:cxnSp>
        <p:nvCxnSpPr>
          <p:cNvPr id="29" name="Straight Connector 28"/>
          <p:cNvCxnSpPr/>
          <p:nvPr/>
        </p:nvCxnSpPr>
        <p:spPr>
          <a:xfrm>
            <a:off x="5106528" y="1701926"/>
            <a:ext cx="139666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6697491" y="2605559"/>
            <a:ext cx="1818322" cy="519764"/>
            <a:chOff x="6697491" y="2605559"/>
            <a:chExt cx="1818322" cy="519764"/>
          </a:xfrm>
        </p:grpSpPr>
        <p:sp>
          <p:nvSpPr>
            <p:cNvPr id="34" name="TextBox 33"/>
            <p:cNvSpPr txBox="1"/>
            <p:nvPr/>
          </p:nvSpPr>
          <p:spPr>
            <a:xfrm>
              <a:off x="6697491" y="2804401"/>
              <a:ext cx="1818322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697545" y="2605559"/>
              <a:ext cx="181822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publish</a:t>
              </a:r>
            </a:p>
          </p:txBody>
        </p:sp>
      </p:grpSp>
      <p:cxnSp>
        <p:nvCxnSpPr>
          <p:cNvPr id="36" name="Straight Connector 35"/>
          <p:cNvCxnSpPr/>
          <p:nvPr/>
        </p:nvCxnSpPr>
        <p:spPr>
          <a:xfrm>
            <a:off x="5749167" y="2704837"/>
            <a:ext cx="7715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6697491" y="3455386"/>
            <a:ext cx="1818322" cy="519764"/>
            <a:chOff x="6697491" y="3455386"/>
            <a:chExt cx="1818322" cy="519764"/>
          </a:xfrm>
        </p:grpSpPr>
        <p:sp>
          <p:nvSpPr>
            <p:cNvPr id="59" name="TextBox 58"/>
            <p:cNvSpPr txBox="1"/>
            <p:nvPr/>
          </p:nvSpPr>
          <p:spPr>
            <a:xfrm>
              <a:off x="6697491" y="3654228"/>
              <a:ext cx="1818322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697545" y="3455386"/>
              <a:ext cx="181822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Plan &amp; Creativity</a:t>
              </a:r>
            </a:p>
          </p:txBody>
        </p:sp>
      </p:grpSp>
      <p:cxnSp>
        <p:nvCxnSpPr>
          <p:cNvPr id="64" name="Straight Connector 63"/>
          <p:cNvCxnSpPr/>
          <p:nvPr/>
        </p:nvCxnSpPr>
        <p:spPr>
          <a:xfrm>
            <a:off x="5301666" y="3554664"/>
            <a:ext cx="12190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Freeform 213">
            <a:extLst>
              <a:ext uri="{FF2B5EF4-FFF2-40B4-BE49-F238E27FC236}">
                <a16:creationId xmlns:a16="http://schemas.microsoft.com/office/drawing/2014/main" id="{632594E8-4527-48D6-9FAB-71DE37137A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03498" y="3105454"/>
            <a:ext cx="259178" cy="392816"/>
          </a:xfrm>
          <a:custGeom>
            <a:avLst/>
            <a:gdLst>
              <a:gd name="T0" fmla="*/ 87 w 97"/>
              <a:gd name="T1" fmla="*/ 68 h 146"/>
              <a:gd name="T2" fmla="*/ 75 w 97"/>
              <a:gd name="T3" fmla="*/ 85 h 146"/>
              <a:gd name="T4" fmla="*/ 76 w 97"/>
              <a:gd name="T5" fmla="*/ 103 h 146"/>
              <a:gd name="T6" fmla="*/ 76 w 97"/>
              <a:gd name="T7" fmla="*/ 115 h 146"/>
              <a:gd name="T8" fmla="*/ 73 w 97"/>
              <a:gd name="T9" fmla="*/ 127 h 146"/>
              <a:gd name="T10" fmla="*/ 63 w 97"/>
              <a:gd name="T11" fmla="*/ 136 h 146"/>
              <a:gd name="T12" fmla="*/ 49 w 97"/>
              <a:gd name="T13" fmla="*/ 146 h 146"/>
              <a:gd name="T14" fmla="*/ 35 w 97"/>
              <a:gd name="T15" fmla="*/ 136 h 146"/>
              <a:gd name="T16" fmla="*/ 25 w 97"/>
              <a:gd name="T17" fmla="*/ 127 h 146"/>
              <a:gd name="T18" fmla="*/ 22 w 97"/>
              <a:gd name="T19" fmla="*/ 115 h 146"/>
              <a:gd name="T20" fmla="*/ 22 w 97"/>
              <a:gd name="T21" fmla="*/ 103 h 146"/>
              <a:gd name="T22" fmla="*/ 23 w 97"/>
              <a:gd name="T23" fmla="*/ 85 h 146"/>
              <a:gd name="T24" fmla="*/ 10 w 97"/>
              <a:gd name="T25" fmla="*/ 68 h 146"/>
              <a:gd name="T26" fmla="*/ 5 w 97"/>
              <a:gd name="T27" fmla="*/ 25 h 146"/>
              <a:gd name="T28" fmla="*/ 31 w 97"/>
              <a:gd name="T29" fmla="*/ 3 h 146"/>
              <a:gd name="T30" fmla="*/ 66 w 97"/>
              <a:gd name="T31" fmla="*/ 3 h 146"/>
              <a:gd name="T32" fmla="*/ 93 w 97"/>
              <a:gd name="T33" fmla="*/ 25 h 146"/>
              <a:gd name="T34" fmla="*/ 85 w 97"/>
              <a:gd name="T35" fmla="*/ 43 h 146"/>
              <a:gd name="T36" fmla="*/ 73 w 97"/>
              <a:gd name="T37" fmla="*/ 20 h 146"/>
              <a:gd name="T38" fmla="*/ 49 w 97"/>
              <a:gd name="T39" fmla="*/ 12 h 146"/>
              <a:gd name="T40" fmla="*/ 24 w 97"/>
              <a:gd name="T41" fmla="*/ 20 h 146"/>
              <a:gd name="T42" fmla="*/ 13 w 97"/>
              <a:gd name="T43" fmla="*/ 43 h 146"/>
              <a:gd name="T44" fmla="*/ 22 w 97"/>
              <a:gd name="T45" fmla="*/ 63 h 146"/>
              <a:gd name="T46" fmla="*/ 38 w 97"/>
              <a:gd name="T47" fmla="*/ 94 h 146"/>
              <a:gd name="T48" fmla="*/ 73 w 97"/>
              <a:gd name="T49" fmla="*/ 66 h 146"/>
              <a:gd name="T50" fmla="*/ 79 w 97"/>
              <a:gd name="T51" fmla="*/ 60 h 146"/>
              <a:gd name="T52" fmla="*/ 70 w 97"/>
              <a:gd name="T53" fmla="*/ 43 h 146"/>
              <a:gd name="T54" fmla="*/ 67 w 97"/>
              <a:gd name="T55" fmla="*/ 46 h 146"/>
              <a:gd name="T56" fmla="*/ 64 w 97"/>
              <a:gd name="T57" fmla="*/ 43 h 146"/>
              <a:gd name="T58" fmla="*/ 49 w 97"/>
              <a:gd name="T59" fmla="*/ 34 h 146"/>
              <a:gd name="T60" fmla="*/ 46 w 97"/>
              <a:gd name="T61" fmla="*/ 31 h 146"/>
              <a:gd name="T62" fmla="*/ 49 w 97"/>
              <a:gd name="T63" fmla="*/ 28 h 146"/>
              <a:gd name="T64" fmla="*/ 66 w 97"/>
              <a:gd name="T6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43"/>
                </a:moveTo>
                <a:cubicBezTo>
                  <a:pt x="97" y="52"/>
                  <a:pt x="94" y="61"/>
                  <a:pt x="87" y="68"/>
                </a:cubicBezTo>
                <a:cubicBezTo>
                  <a:pt x="85" y="71"/>
                  <a:pt x="82" y="74"/>
                  <a:pt x="80" y="76"/>
                </a:cubicBezTo>
                <a:cubicBezTo>
                  <a:pt x="79" y="79"/>
                  <a:pt x="77" y="82"/>
                  <a:pt x="75" y="85"/>
                </a:cubicBezTo>
                <a:cubicBezTo>
                  <a:pt x="73" y="89"/>
                  <a:pt x="72" y="92"/>
                  <a:pt x="72" y="95"/>
                </a:cubicBezTo>
                <a:cubicBezTo>
                  <a:pt x="75" y="97"/>
                  <a:pt x="76" y="100"/>
                  <a:pt x="76" y="103"/>
                </a:cubicBezTo>
                <a:cubicBezTo>
                  <a:pt x="76" y="106"/>
                  <a:pt x="75" y="108"/>
                  <a:pt x="74" y="109"/>
                </a:cubicBezTo>
                <a:cubicBezTo>
                  <a:pt x="75" y="111"/>
                  <a:pt x="76" y="113"/>
                  <a:pt x="76" y="115"/>
                </a:cubicBezTo>
                <a:cubicBezTo>
                  <a:pt x="76" y="119"/>
                  <a:pt x="75" y="121"/>
                  <a:pt x="72" y="123"/>
                </a:cubicBezTo>
                <a:cubicBezTo>
                  <a:pt x="73" y="124"/>
                  <a:pt x="73" y="126"/>
                  <a:pt x="73" y="127"/>
                </a:cubicBezTo>
                <a:cubicBezTo>
                  <a:pt x="73" y="130"/>
                  <a:pt x="72" y="133"/>
                  <a:pt x="70" y="134"/>
                </a:cubicBezTo>
                <a:cubicBezTo>
                  <a:pt x="68" y="136"/>
                  <a:pt x="66" y="136"/>
                  <a:pt x="63" y="136"/>
                </a:cubicBezTo>
                <a:cubicBezTo>
                  <a:pt x="61" y="139"/>
                  <a:pt x="60" y="141"/>
                  <a:pt x="57" y="143"/>
                </a:cubicBezTo>
                <a:cubicBezTo>
                  <a:pt x="55" y="145"/>
                  <a:pt x="52" y="146"/>
                  <a:pt x="49" y="146"/>
                </a:cubicBezTo>
                <a:cubicBezTo>
                  <a:pt x="46" y="146"/>
                  <a:pt x="43" y="145"/>
                  <a:pt x="41" y="143"/>
                </a:cubicBezTo>
                <a:cubicBezTo>
                  <a:pt x="38" y="141"/>
                  <a:pt x="36" y="139"/>
                  <a:pt x="35" y="136"/>
                </a:cubicBezTo>
                <a:cubicBezTo>
                  <a:pt x="32" y="136"/>
                  <a:pt x="30" y="136"/>
                  <a:pt x="28" y="134"/>
                </a:cubicBezTo>
                <a:cubicBezTo>
                  <a:pt x="26" y="133"/>
                  <a:pt x="25" y="130"/>
                  <a:pt x="25" y="127"/>
                </a:cubicBezTo>
                <a:cubicBezTo>
                  <a:pt x="25" y="126"/>
                  <a:pt x="25" y="124"/>
                  <a:pt x="26" y="123"/>
                </a:cubicBezTo>
                <a:cubicBezTo>
                  <a:pt x="23" y="121"/>
                  <a:pt x="22" y="119"/>
                  <a:pt x="22" y="115"/>
                </a:cubicBezTo>
                <a:cubicBezTo>
                  <a:pt x="22" y="113"/>
                  <a:pt x="22" y="111"/>
                  <a:pt x="24" y="109"/>
                </a:cubicBezTo>
                <a:cubicBezTo>
                  <a:pt x="22" y="108"/>
                  <a:pt x="22" y="106"/>
                  <a:pt x="22" y="103"/>
                </a:cubicBezTo>
                <a:cubicBezTo>
                  <a:pt x="22" y="100"/>
                  <a:pt x="23" y="97"/>
                  <a:pt x="26" y="95"/>
                </a:cubicBezTo>
                <a:cubicBezTo>
                  <a:pt x="26" y="92"/>
                  <a:pt x="25" y="89"/>
                  <a:pt x="23" y="85"/>
                </a:cubicBezTo>
                <a:cubicBezTo>
                  <a:pt x="21" y="82"/>
                  <a:pt x="19" y="79"/>
                  <a:pt x="17" y="76"/>
                </a:cubicBezTo>
                <a:cubicBezTo>
                  <a:pt x="15" y="74"/>
                  <a:pt x="13" y="71"/>
                  <a:pt x="10" y="68"/>
                </a:cubicBezTo>
                <a:cubicBezTo>
                  <a:pt x="4" y="61"/>
                  <a:pt x="0" y="52"/>
                  <a:pt x="0" y="43"/>
                </a:cubicBezTo>
                <a:cubicBezTo>
                  <a:pt x="0" y="36"/>
                  <a:pt x="2" y="31"/>
                  <a:pt x="5" y="25"/>
                </a:cubicBezTo>
                <a:cubicBezTo>
                  <a:pt x="7" y="20"/>
                  <a:pt x="11" y="15"/>
                  <a:pt x="16" y="12"/>
                </a:cubicBezTo>
                <a:cubicBezTo>
                  <a:pt x="20" y="8"/>
                  <a:pt x="25" y="5"/>
                  <a:pt x="31" y="3"/>
                </a:cubicBezTo>
                <a:cubicBezTo>
                  <a:pt x="37" y="1"/>
                  <a:pt x="43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2" y="5"/>
                  <a:pt x="77" y="8"/>
                  <a:pt x="82" y="12"/>
                </a:cubicBezTo>
                <a:cubicBezTo>
                  <a:pt x="87" y="15"/>
                  <a:pt x="90" y="20"/>
                  <a:pt x="93" y="25"/>
                </a:cubicBezTo>
                <a:cubicBezTo>
                  <a:pt x="96" y="31"/>
                  <a:pt x="97" y="36"/>
                  <a:pt x="97" y="43"/>
                </a:cubicBezTo>
                <a:close/>
                <a:moveTo>
                  <a:pt x="85" y="43"/>
                </a:moveTo>
                <a:cubicBezTo>
                  <a:pt x="85" y="38"/>
                  <a:pt x="84" y="34"/>
                  <a:pt x="82" y="30"/>
                </a:cubicBezTo>
                <a:cubicBezTo>
                  <a:pt x="80" y="26"/>
                  <a:pt x="77" y="23"/>
                  <a:pt x="73" y="20"/>
                </a:cubicBezTo>
                <a:cubicBezTo>
                  <a:pt x="70" y="18"/>
                  <a:pt x="66" y="16"/>
                  <a:pt x="62" y="15"/>
                </a:cubicBezTo>
                <a:cubicBezTo>
                  <a:pt x="57" y="13"/>
                  <a:pt x="53" y="12"/>
                  <a:pt x="49" y="12"/>
                </a:cubicBezTo>
                <a:cubicBezTo>
                  <a:pt x="44" y="12"/>
                  <a:pt x="40" y="13"/>
                  <a:pt x="36" y="15"/>
                </a:cubicBezTo>
                <a:cubicBezTo>
                  <a:pt x="32" y="16"/>
                  <a:pt x="28" y="18"/>
                  <a:pt x="24" y="20"/>
                </a:cubicBezTo>
                <a:cubicBezTo>
                  <a:pt x="21" y="23"/>
                  <a:pt x="18" y="26"/>
                  <a:pt x="16" y="30"/>
                </a:cubicBezTo>
                <a:cubicBezTo>
                  <a:pt x="14" y="34"/>
                  <a:pt x="13" y="38"/>
                  <a:pt x="13" y="43"/>
                </a:cubicBezTo>
                <a:cubicBezTo>
                  <a:pt x="13" y="49"/>
                  <a:pt x="15" y="55"/>
                  <a:pt x="19" y="60"/>
                </a:cubicBezTo>
                <a:cubicBezTo>
                  <a:pt x="20" y="60"/>
                  <a:pt x="21" y="61"/>
                  <a:pt x="22" y="63"/>
                </a:cubicBezTo>
                <a:cubicBezTo>
                  <a:pt x="23" y="64"/>
                  <a:pt x="24" y="65"/>
                  <a:pt x="25" y="66"/>
                </a:cubicBezTo>
                <a:cubicBezTo>
                  <a:pt x="33" y="76"/>
                  <a:pt x="37" y="85"/>
                  <a:pt x="38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60" y="85"/>
                  <a:pt x="65" y="76"/>
                  <a:pt x="73" y="66"/>
                </a:cubicBezTo>
                <a:cubicBezTo>
                  <a:pt x="74" y="65"/>
                  <a:pt x="75" y="64"/>
                  <a:pt x="76" y="63"/>
                </a:cubicBezTo>
                <a:cubicBezTo>
                  <a:pt x="77" y="61"/>
                  <a:pt x="78" y="60"/>
                  <a:pt x="79" y="60"/>
                </a:cubicBezTo>
                <a:cubicBezTo>
                  <a:pt x="83" y="55"/>
                  <a:pt x="85" y="49"/>
                  <a:pt x="85" y="43"/>
                </a:cubicBezTo>
                <a:close/>
                <a:moveTo>
                  <a:pt x="70" y="43"/>
                </a:moveTo>
                <a:cubicBezTo>
                  <a:pt x="70" y="43"/>
                  <a:pt x="70" y="44"/>
                  <a:pt x="69" y="45"/>
                </a:cubicBezTo>
                <a:cubicBezTo>
                  <a:pt x="68" y="45"/>
                  <a:pt x="68" y="46"/>
                  <a:pt x="67" y="46"/>
                </a:cubicBezTo>
                <a:cubicBezTo>
                  <a:pt x="66" y="46"/>
                  <a:pt x="65" y="45"/>
                  <a:pt x="65" y="45"/>
                </a:cubicBezTo>
                <a:cubicBezTo>
                  <a:pt x="64" y="44"/>
                  <a:pt x="64" y="43"/>
                  <a:pt x="64" y="43"/>
                </a:cubicBezTo>
                <a:cubicBezTo>
                  <a:pt x="64" y="40"/>
                  <a:pt x="62" y="38"/>
                  <a:pt x="59" y="36"/>
                </a:cubicBezTo>
                <a:cubicBezTo>
                  <a:pt x="55" y="34"/>
                  <a:pt x="52" y="34"/>
                  <a:pt x="49" y="34"/>
                </a:cubicBezTo>
                <a:cubicBezTo>
                  <a:pt x="48" y="34"/>
                  <a:pt x="47" y="33"/>
                  <a:pt x="47" y="33"/>
                </a:cubicBezTo>
                <a:cubicBezTo>
                  <a:pt x="46" y="32"/>
                  <a:pt x="46" y="31"/>
                  <a:pt x="46" y="31"/>
                </a:cubicBezTo>
                <a:cubicBezTo>
                  <a:pt x="46" y="30"/>
                  <a:pt x="46" y="29"/>
                  <a:pt x="47" y="28"/>
                </a:cubicBezTo>
                <a:cubicBezTo>
                  <a:pt x="47" y="28"/>
                  <a:pt x="48" y="28"/>
                  <a:pt x="49" y="28"/>
                </a:cubicBezTo>
                <a:cubicBezTo>
                  <a:pt x="52" y="28"/>
                  <a:pt x="55" y="28"/>
                  <a:pt x="58" y="29"/>
                </a:cubicBezTo>
                <a:cubicBezTo>
                  <a:pt x="61" y="30"/>
                  <a:pt x="64" y="32"/>
                  <a:pt x="66" y="34"/>
                </a:cubicBezTo>
                <a:cubicBezTo>
                  <a:pt x="69" y="37"/>
                  <a:pt x="70" y="39"/>
                  <a:pt x="70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5" name="Freeform 29">
            <a:extLst>
              <a:ext uri="{FF2B5EF4-FFF2-40B4-BE49-F238E27FC236}">
                <a16:creationId xmlns:a16="http://schemas.microsoft.com/office/drawing/2014/main" id="{7EAE36DE-F266-490E-B649-54E82FE08AB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14962" y="2643659"/>
            <a:ext cx="162376" cy="151447"/>
          </a:xfrm>
          <a:custGeom>
            <a:avLst/>
            <a:gdLst>
              <a:gd name="T0" fmla="*/ 157 w 157"/>
              <a:gd name="T1" fmla="*/ 106 h 145"/>
              <a:gd name="T2" fmla="*/ 157 w 157"/>
              <a:gd name="T3" fmla="*/ 136 h 145"/>
              <a:gd name="T4" fmla="*/ 155 w 157"/>
              <a:gd name="T5" fmla="*/ 143 h 145"/>
              <a:gd name="T6" fmla="*/ 148 w 157"/>
              <a:gd name="T7" fmla="*/ 145 h 145"/>
              <a:gd name="T8" fmla="*/ 9 w 157"/>
              <a:gd name="T9" fmla="*/ 145 h 145"/>
              <a:gd name="T10" fmla="*/ 3 w 157"/>
              <a:gd name="T11" fmla="*/ 143 h 145"/>
              <a:gd name="T12" fmla="*/ 0 w 157"/>
              <a:gd name="T13" fmla="*/ 136 h 145"/>
              <a:gd name="T14" fmla="*/ 0 w 157"/>
              <a:gd name="T15" fmla="*/ 106 h 145"/>
              <a:gd name="T16" fmla="*/ 3 w 157"/>
              <a:gd name="T17" fmla="*/ 100 h 145"/>
              <a:gd name="T18" fmla="*/ 9 w 157"/>
              <a:gd name="T19" fmla="*/ 97 h 145"/>
              <a:gd name="T20" fmla="*/ 53 w 157"/>
              <a:gd name="T21" fmla="*/ 97 h 145"/>
              <a:gd name="T22" fmla="*/ 66 w 157"/>
              <a:gd name="T23" fmla="*/ 110 h 145"/>
              <a:gd name="T24" fmla="*/ 79 w 157"/>
              <a:gd name="T25" fmla="*/ 115 h 145"/>
              <a:gd name="T26" fmla="*/ 91 w 157"/>
              <a:gd name="T27" fmla="*/ 110 h 145"/>
              <a:gd name="T28" fmla="*/ 104 w 157"/>
              <a:gd name="T29" fmla="*/ 97 h 145"/>
              <a:gd name="T30" fmla="*/ 148 w 157"/>
              <a:gd name="T31" fmla="*/ 97 h 145"/>
              <a:gd name="T32" fmla="*/ 155 w 157"/>
              <a:gd name="T33" fmla="*/ 100 h 145"/>
              <a:gd name="T34" fmla="*/ 157 w 157"/>
              <a:gd name="T35" fmla="*/ 106 h 145"/>
              <a:gd name="T36" fmla="*/ 127 w 157"/>
              <a:gd name="T37" fmla="*/ 52 h 145"/>
              <a:gd name="T38" fmla="*/ 125 w 157"/>
              <a:gd name="T39" fmla="*/ 59 h 145"/>
              <a:gd name="T40" fmla="*/ 83 w 157"/>
              <a:gd name="T41" fmla="*/ 101 h 145"/>
              <a:gd name="T42" fmla="*/ 79 w 157"/>
              <a:gd name="T43" fmla="*/ 103 h 145"/>
              <a:gd name="T44" fmla="*/ 74 w 157"/>
              <a:gd name="T45" fmla="*/ 101 h 145"/>
              <a:gd name="T46" fmla="*/ 32 w 157"/>
              <a:gd name="T47" fmla="*/ 59 h 145"/>
              <a:gd name="T48" fmla="*/ 31 w 157"/>
              <a:gd name="T49" fmla="*/ 52 h 145"/>
              <a:gd name="T50" fmla="*/ 36 w 157"/>
              <a:gd name="T51" fmla="*/ 49 h 145"/>
              <a:gd name="T52" fmla="*/ 60 w 157"/>
              <a:gd name="T53" fmla="*/ 49 h 145"/>
              <a:gd name="T54" fmla="*/ 60 w 157"/>
              <a:gd name="T55" fmla="*/ 6 h 145"/>
              <a:gd name="T56" fmla="*/ 62 w 157"/>
              <a:gd name="T57" fmla="*/ 2 h 145"/>
              <a:gd name="T58" fmla="*/ 67 w 157"/>
              <a:gd name="T59" fmla="*/ 0 h 145"/>
              <a:gd name="T60" fmla="*/ 91 w 157"/>
              <a:gd name="T61" fmla="*/ 0 h 145"/>
              <a:gd name="T62" fmla="*/ 95 w 157"/>
              <a:gd name="T63" fmla="*/ 2 h 145"/>
              <a:gd name="T64" fmla="*/ 97 w 157"/>
              <a:gd name="T65" fmla="*/ 6 h 145"/>
              <a:gd name="T66" fmla="*/ 97 w 157"/>
              <a:gd name="T67" fmla="*/ 49 h 145"/>
              <a:gd name="T68" fmla="*/ 121 w 157"/>
              <a:gd name="T69" fmla="*/ 49 h 145"/>
              <a:gd name="T70" fmla="*/ 127 w 157"/>
              <a:gd name="T71" fmla="*/ 52 h 145"/>
              <a:gd name="T72" fmla="*/ 119 w 157"/>
              <a:gd name="T73" fmla="*/ 132 h 145"/>
              <a:gd name="T74" fmla="*/ 121 w 157"/>
              <a:gd name="T75" fmla="*/ 127 h 145"/>
              <a:gd name="T76" fmla="*/ 119 w 157"/>
              <a:gd name="T77" fmla="*/ 123 h 145"/>
              <a:gd name="T78" fmla="*/ 115 w 157"/>
              <a:gd name="T79" fmla="*/ 121 h 145"/>
              <a:gd name="T80" fmla="*/ 111 w 157"/>
              <a:gd name="T81" fmla="*/ 123 h 145"/>
              <a:gd name="T82" fmla="*/ 109 w 157"/>
              <a:gd name="T83" fmla="*/ 127 h 145"/>
              <a:gd name="T84" fmla="*/ 111 w 157"/>
              <a:gd name="T85" fmla="*/ 132 h 145"/>
              <a:gd name="T86" fmla="*/ 115 w 157"/>
              <a:gd name="T87" fmla="*/ 133 h 145"/>
              <a:gd name="T88" fmla="*/ 119 w 157"/>
              <a:gd name="T89" fmla="*/ 132 h 145"/>
              <a:gd name="T90" fmla="*/ 143 w 157"/>
              <a:gd name="T91" fmla="*/ 132 h 145"/>
              <a:gd name="T92" fmla="*/ 145 w 157"/>
              <a:gd name="T93" fmla="*/ 127 h 145"/>
              <a:gd name="T94" fmla="*/ 143 w 157"/>
              <a:gd name="T95" fmla="*/ 123 h 145"/>
              <a:gd name="T96" fmla="*/ 139 w 157"/>
              <a:gd name="T97" fmla="*/ 121 h 145"/>
              <a:gd name="T98" fmla="*/ 135 w 157"/>
              <a:gd name="T99" fmla="*/ 123 h 145"/>
              <a:gd name="T100" fmla="*/ 133 w 157"/>
              <a:gd name="T101" fmla="*/ 127 h 145"/>
              <a:gd name="T102" fmla="*/ 135 w 157"/>
              <a:gd name="T103" fmla="*/ 132 h 145"/>
              <a:gd name="T104" fmla="*/ 139 w 157"/>
              <a:gd name="T105" fmla="*/ 133 h 145"/>
              <a:gd name="T106" fmla="*/ 143 w 157"/>
              <a:gd name="T107" fmla="*/ 132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45">
                <a:moveTo>
                  <a:pt x="157" y="106"/>
                </a:moveTo>
                <a:cubicBezTo>
                  <a:pt x="157" y="136"/>
                  <a:pt x="157" y="136"/>
                  <a:pt x="157" y="136"/>
                </a:cubicBezTo>
                <a:cubicBezTo>
                  <a:pt x="157" y="139"/>
                  <a:pt x="156" y="141"/>
                  <a:pt x="155" y="143"/>
                </a:cubicBezTo>
                <a:cubicBezTo>
                  <a:pt x="153" y="145"/>
                  <a:pt x="151" y="145"/>
                  <a:pt x="148" y="145"/>
                </a:cubicBezTo>
                <a:cubicBezTo>
                  <a:pt x="9" y="145"/>
                  <a:pt x="9" y="145"/>
                  <a:pt x="9" y="145"/>
                </a:cubicBezTo>
                <a:cubicBezTo>
                  <a:pt x="7" y="145"/>
                  <a:pt x="4" y="145"/>
                  <a:pt x="3" y="143"/>
                </a:cubicBezTo>
                <a:cubicBezTo>
                  <a:pt x="1" y="141"/>
                  <a:pt x="0" y="139"/>
                  <a:pt x="0" y="13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4"/>
                  <a:pt x="1" y="101"/>
                  <a:pt x="3" y="100"/>
                </a:cubicBezTo>
                <a:cubicBezTo>
                  <a:pt x="4" y="98"/>
                  <a:pt x="7" y="97"/>
                  <a:pt x="9" y="97"/>
                </a:cubicBezTo>
                <a:cubicBezTo>
                  <a:pt x="53" y="97"/>
                  <a:pt x="53" y="97"/>
                  <a:pt x="53" y="97"/>
                </a:cubicBezTo>
                <a:cubicBezTo>
                  <a:pt x="66" y="110"/>
                  <a:pt x="66" y="110"/>
                  <a:pt x="66" y="110"/>
                </a:cubicBezTo>
                <a:cubicBezTo>
                  <a:pt x="69" y="113"/>
                  <a:pt x="74" y="115"/>
                  <a:pt x="79" y="115"/>
                </a:cubicBezTo>
                <a:cubicBezTo>
                  <a:pt x="84" y="115"/>
                  <a:pt x="88" y="113"/>
                  <a:pt x="91" y="110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148" y="97"/>
                  <a:pt x="148" y="97"/>
                  <a:pt x="148" y="97"/>
                </a:cubicBezTo>
                <a:cubicBezTo>
                  <a:pt x="151" y="97"/>
                  <a:pt x="153" y="98"/>
                  <a:pt x="155" y="100"/>
                </a:cubicBezTo>
                <a:cubicBezTo>
                  <a:pt x="156" y="101"/>
                  <a:pt x="157" y="104"/>
                  <a:pt x="157" y="106"/>
                </a:cubicBezTo>
                <a:close/>
                <a:moveTo>
                  <a:pt x="127" y="52"/>
                </a:moveTo>
                <a:cubicBezTo>
                  <a:pt x="128" y="55"/>
                  <a:pt x="127" y="57"/>
                  <a:pt x="125" y="59"/>
                </a:cubicBezTo>
                <a:cubicBezTo>
                  <a:pt x="83" y="101"/>
                  <a:pt x="83" y="101"/>
                  <a:pt x="83" y="101"/>
                </a:cubicBezTo>
                <a:cubicBezTo>
                  <a:pt x="82" y="103"/>
                  <a:pt x="80" y="103"/>
                  <a:pt x="79" y="103"/>
                </a:cubicBezTo>
                <a:cubicBezTo>
                  <a:pt x="77" y="103"/>
                  <a:pt x="76" y="103"/>
                  <a:pt x="74" y="101"/>
                </a:cubicBezTo>
                <a:cubicBezTo>
                  <a:pt x="32" y="59"/>
                  <a:pt x="32" y="59"/>
                  <a:pt x="32" y="59"/>
                </a:cubicBezTo>
                <a:cubicBezTo>
                  <a:pt x="30" y="57"/>
                  <a:pt x="30" y="55"/>
                  <a:pt x="31" y="52"/>
                </a:cubicBezTo>
                <a:cubicBezTo>
                  <a:pt x="32" y="50"/>
                  <a:pt x="34" y="49"/>
                  <a:pt x="36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5"/>
                  <a:pt x="61" y="3"/>
                  <a:pt x="62" y="2"/>
                </a:cubicBezTo>
                <a:cubicBezTo>
                  <a:pt x="63" y="1"/>
                  <a:pt x="65" y="0"/>
                  <a:pt x="67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92" y="0"/>
                  <a:pt x="94" y="1"/>
                  <a:pt x="95" y="2"/>
                </a:cubicBezTo>
                <a:cubicBezTo>
                  <a:pt x="96" y="3"/>
                  <a:pt x="97" y="5"/>
                  <a:pt x="97" y="6"/>
                </a:cubicBezTo>
                <a:cubicBezTo>
                  <a:pt x="97" y="49"/>
                  <a:pt x="97" y="49"/>
                  <a:pt x="97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24" y="49"/>
                  <a:pt x="125" y="50"/>
                  <a:pt x="127" y="52"/>
                </a:cubicBezTo>
                <a:close/>
                <a:moveTo>
                  <a:pt x="119" y="132"/>
                </a:moveTo>
                <a:cubicBezTo>
                  <a:pt x="120" y="130"/>
                  <a:pt x="121" y="129"/>
                  <a:pt x="121" y="127"/>
                </a:cubicBezTo>
                <a:cubicBezTo>
                  <a:pt x="121" y="126"/>
                  <a:pt x="120" y="124"/>
                  <a:pt x="119" y="123"/>
                </a:cubicBezTo>
                <a:cubicBezTo>
                  <a:pt x="118" y="122"/>
                  <a:pt x="117" y="121"/>
                  <a:pt x="115" y="121"/>
                </a:cubicBezTo>
                <a:cubicBezTo>
                  <a:pt x="113" y="121"/>
                  <a:pt x="112" y="122"/>
                  <a:pt x="111" y="123"/>
                </a:cubicBezTo>
                <a:cubicBezTo>
                  <a:pt x="109" y="124"/>
                  <a:pt x="109" y="126"/>
                  <a:pt x="109" y="127"/>
                </a:cubicBezTo>
                <a:cubicBezTo>
                  <a:pt x="109" y="129"/>
                  <a:pt x="109" y="130"/>
                  <a:pt x="111" y="132"/>
                </a:cubicBezTo>
                <a:cubicBezTo>
                  <a:pt x="112" y="133"/>
                  <a:pt x="113" y="133"/>
                  <a:pt x="115" y="133"/>
                </a:cubicBezTo>
                <a:cubicBezTo>
                  <a:pt x="117" y="133"/>
                  <a:pt x="118" y="133"/>
                  <a:pt x="119" y="132"/>
                </a:cubicBezTo>
                <a:close/>
                <a:moveTo>
                  <a:pt x="143" y="132"/>
                </a:moveTo>
                <a:cubicBezTo>
                  <a:pt x="145" y="130"/>
                  <a:pt x="145" y="129"/>
                  <a:pt x="145" y="127"/>
                </a:cubicBezTo>
                <a:cubicBezTo>
                  <a:pt x="145" y="126"/>
                  <a:pt x="145" y="124"/>
                  <a:pt x="143" y="123"/>
                </a:cubicBezTo>
                <a:cubicBezTo>
                  <a:pt x="142" y="122"/>
                  <a:pt x="141" y="121"/>
                  <a:pt x="139" y="121"/>
                </a:cubicBezTo>
                <a:cubicBezTo>
                  <a:pt x="138" y="121"/>
                  <a:pt x="136" y="122"/>
                  <a:pt x="135" y="123"/>
                </a:cubicBezTo>
                <a:cubicBezTo>
                  <a:pt x="134" y="124"/>
                  <a:pt x="133" y="126"/>
                  <a:pt x="133" y="127"/>
                </a:cubicBezTo>
                <a:cubicBezTo>
                  <a:pt x="133" y="129"/>
                  <a:pt x="134" y="130"/>
                  <a:pt x="135" y="132"/>
                </a:cubicBezTo>
                <a:cubicBezTo>
                  <a:pt x="136" y="133"/>
                  <a:pt x="138" y="133"/>
                  <a:pt x="139" y="133"/>
                </a:cubicBezTo>
                <a:cubicBezTo>
                  <a:pt x="141" y="133"/>
                  <a:pt x="142" y="133"/>
                  <a:pt x="143" y="1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5" name="Freeform 168">
            <a:extLst>
              <a:ext uri="{FF2B5EF4-FFF2-40B4-BE49-F238E27FC236}">
                <a16:creationId xmlns:a16="http://schemas.microsoft.com/office/drawing/2014/main" id="{EFD866ED-878B-4778-98B9-F7C30A93FE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07067" y="2037827"/>
            <a:ext cx="237735" cy="235451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8764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mart-Art </a:t>
            </a:r>
            <a:r>
              <a:rPr lang="en-US">
                <a:solidFill>
                  <a:schemeClr val="accent2"/>
                </a:solidFill>
              </a:rPr>
              <a:t>“What We Do”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333860791"/>
              </p:ext>
            </p:extLst>
          </p:nvPr>
        </p:nvGraphicFramePr>
        <p:xfrm>
          <a:off x="3162300" y="1540191"/>
          <a:ext cx="2819400" cy="27053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Freeform 24"/>
          <p:cNvSpPr>
            <a:spLocks noEditPoints="1"/>
          </p:cNvSpPr>
          <p:nvPr/>
        </p:nvSpPr>
        <p:spPr bwMode="auto">
          <a:xfrm>
            <a:off x="3463424" y="2731491"/>
            <a:ext cx="164978" cy="318026"/>
          </a:xfrm>
          <a:custGeom>
            <a:avLst/>
            <a:gdLst>
              <a:gd name="T0" fmla="*/ 0 w 125"/>
              <a:gd name="T1" fmla="*/ 21 h 243"/>
              <a:gd name="T2" fmla="*/ 2 w 125"/>
              <a:gd name="T3" fmla="*/ 13 h 243"/>
              <a:gd name="T4" fmla="*/ 6 w 125"/>
              <a:gd name="T5" fmla="*/ 6 h 243"/>
              <a:gd name="T6" fmla="*/ 21 w 125"/>
              <a:gd name="T7" fmla="*/ 0 h 243"/>
              <a:gd name="T8" fmla="*/ 22 w 125"/>
              <a:gd name="T9" fmla="*/ 0 h 243"/>
              <a:gd name="T10" fmla="*/ 22 w 125"/>
              <a:gd name="T11" fmla="*/ 0 h 243"/>
              <a:gd name="T12" fmla="*/ 103 w 125"/>
              <a:gd name="T13" fmla="*/ 0 h 243"/>
              <a:gd name="T14" fmla="*/ 104 w 125"/>
              <a:gd name="T15" fmla="*/ 0 h 243"/>
              <a:gd name="T16" fmla="*/ 104 w 125"/>
              <a:gd name="T17" fmla="*/ 0 h 243"/>
              <a:gd name="T18" fmla="*/ 119 w 125"/>
              <a:gd name="T19" fmla="*/ 6 h 243"/>
              <a:gd name="T20" fmla="*/ 124 w 125"/>
              <a:gd name="T21" fmla="*/ 13 h 243"/>
              <a:gd name="T22" fmla="*/ 125 w 125"/>
              <a:gd name="T23" fmla="*/ 21 h 243"/>
              <a:gd name="T24" fmla="*/ 125 w 125"/>
              <a:gd name="T25" fmla="*/ 222 h 243"/>
              <a:gd name="T26" fmla="*/ 119 w 125"/>
              <a:gd name="T27" fmla="*/ 237 h 243"/>
              <a:gd name="T28" fmla="*/ 113 w 125"/>
              <a:gd name="T29" fmla="*/ 241 h 243"/>
              <a:gd name="T30" fmla="*/ 106 w 125"/>
              <a:gd name="T31" fmla="*/ 243 h 243"/>
              <a:gd name="T32" fmla="*/ 20 w 125"/>
              <a:gd name="T33" fmla="*/ 243 h 243"/>
              <a:gd name="T34" fmla="*/ 12 w 125"/>
              <a:gd name="T35" fmla="*/ 241 h 243"/>
              <a:gd name="T36" fmla="*/ 6 w 125"/>
              <a:gd name="T37" fmla="*/ 237 h 243"/>
              <a:gd name="T38" fmla="*/ 0 w 125"/>
              <a:gd name="T39" fmla="*/ 222 h 243"/>
              <a:gd name="T40" fmla="*/ 0 w 125"/>
              <a:gd name="T41" fmla="*/ 21 h 243"/>
              <a:gd name="T42" fmla="*/ 11 w 125"/>
              <a:gd name="T43" fmla="*/ 201 h 243"/>
              <a:gd name="T44" fmla="*/ 115 w 125"/>
              <a:gd name="T45" fmla="*/ 201 h 243"/>
              <a:gd name="T46" fmla="*/ 115 w 125"/>
              <a:gd name="T47" fmla="*/ 42 h 243"/>
              <a:gd name="T48" fmla="*/ 11 w 125"/>
              <a:gd name="T49" fmla="*/ 42 h 243"/>
              <a:gd name="T50" fmla="*/ 11 w 125"/>
              <a:gd name="T51" fmla="*/ 201 h 243"/>
              <a:gd name="T52" fmla="*/ 54 w 125"/>
              <a:gd name="T53" fmla="*/ 214 h 243"/>
              <a:gd name="T54" fmla="*/ 51 w 125"/>
              <a:gd name="T55" fmla="*/ 218 h 243"/>
              <a:gd name="T56" fmla="*/ 50 w 125"/>
              <a:gd name="T57" fmla="*/ 222 h 243"/>
              <a:gd name="T58" fmla="*/ 51 w 125"/>
              <a:gd name="T59" fmla="*/ 227 h 243"/>
              <a:gd name="T60" fmla="*/ 54 w 125"/>
              <a:gd name="T61" fmla="*/ 231 h 243"/>
              <a:gd name="T62" fmla="*/ 58 w 125"/>
              <a:gd name="T63" fmla="*/ 234 h 243"/>
              <a:gd name="T64" fmla="*/ 63 w 125"/>
              <a:gd name="T65" fmla="*/ 234 h 243"/>
              <a:gd name="T66" fmla="*/ 67 w 125"/>
              <a:gd name="T67" fmla="*/ 234 h 243"/>
              <a:gd name="T68" fmla="*/ 71 w 125"/>
              <a:gd name="T69" fmla="*/ 231 h 243"/>
              <a:gd name="T70" fmla="*/ 74 w 125"/>
              <a:gd name="T71" fmla="*/ 227 h 243"/>
              <a:gd name="T72" fmla="*/ 75 w 125"/>
              <a:gd name="T73" fmla="*/ 222 h 243"/>
              <a:gd name="T74" fmla="*/ 74 w 125"/>
              <a:gd name="T75" fmla="*/ 218 h 243"/>
              <a:gd name="T76" fmla="*/ 71 w 125"/>
              <a:gd name="T77" fmla="*/ 214 h 243"/>
              <a:gd name="T78" fmla="*/ 67 w 125"/>
              <a:gd name="T79" fmla="*/ 211 h 243"/>
              <a:gd name="T80" fmla="*/ 63 w 125"/>
              <a:gd name="T81" fmla="*/ 210 h 243"/>
              <a:gd name="T82" fmla="*/ 58 w 125"/>
              <a:gd name="T83" fmla="*/ 211 h 243"/>
              <a:gd name="T84" fmla="*/ 54 w 125"/>
              <a:gd name="T85" fmla="*/ 214 h 243"/>
              <a:gd name="T86" fmla="*/ 51 w 125"/>
              <a:gd name="T87" fmla="*/ 21 h 243"/>
              <a:gd name="T88" fmla="*/ 53 w 125"/>
              <a:gd name="T89" fmla="*/ 23 h 243"/>
              <a:gd name="T90" fmla="*/ 72 w 125"/>
              <a:gd name="T91" fmla="*/ 23 h 243"/>
              <a:gd name="T92" fmla="*/ 74 w 125"/>
              <a:gd name="T93" fmla="*/ 21 h 243"/>
              <a:gd name="T94" fmla="*/ 72 w 125"/>
              <a:gd name="T95" fmla="*/ 19 h 243"/>
              <a:gd name="T96" fmla="*/ 53 w 125"/>
              <a:gd name="T97" fmla="*/ 19 h 243"/>
              <a:gd name="T98" fmla="*/ 51 w 125"/>
              <a:gd name="T99" fmla="*/ 21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243">
                <a:moveTo>
                  <a:pt x="0" y="21"/>
                </a:moveTo>
                <a:cubicBezTo>
                  <a:pt x="0" y="18"/>
                  <a:pt x="1" y="15"/>
                  <a:pt x="2" y="13"/>
                </a:cubicBezTo>
                <a:cubicBezTo>
                  <a:pt x="3" y="10"/>
                  <a:pt x="4" y="8"/>
                  <a:pt x="6" y="6"/>
                </a:cubicBezTo>
                <a:cubicBezTo>
                  <a:pt x="10" y="2"/>
                  <a:pt x="15" y="0"/>
                  <a:pt x="21" y="0"/>
                </a:cubicBezTo>
                <a:cubicBezTo>
                  <a:pt x="21" y="0"/>
                  <a:pt x="21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0" y="0"/>
                  <a:pt x="115" y="2"/>
                  <a:pt x="119" y="6"/>
                </a:cubicBezTo>
                <a:cubicBezTo>
                  <a:pt x="121" y="8"/>
                  <a:pt x="123" y="10"/>
                  <a:pt x="124" y="13"/>
                </a:cubicBezTo>
                <a:cubicBezTo>
                  <a:pt x="125" y="15"/>
                  <a:pt x="125" y="18"/>
                  <a:pt x="125" y="21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8"/>
                  <a:pt x="123" y="232"/>
                  <a:pt x="119" y="237"/>
                </a:cubicBezTo>
                <a:cubicBezTo>
                  <a:pt x="117" y="239"/>
                  <a:pt x="115" y="240"/>
                  <a:pt x="113" y="241"/>
                </a:cubicBezTo>
                <a:cubicBezTo>
                  <a:pt x="111" y="243"/>
                  <a:pt x="108" y="243"/>
                  <a:pt x="106" y="243"/>
                </a:cubicBezTo>
                <a:cubicBezTo>
                  <a:pt x="20" y="243"/>
                  <a:pt x="20" y="243"/>
                  <a:pt x="20" y="243"/>
                </a:cubicBezTo>
                <a:cubicBezTo>
                  <a:pt x="17" y="243"/>
                  <a:pt x="15" y="243"/>
                  <a:pt x="12" y="241"/>
                </a:cubicBezTo>
                <a:cubicBezTo>
                  <a:pt x="10" y="240"/>
                  <a:pt x="8" y="239"/>
                  <a:pt x="6" y="237"/>
                </a:cubicBezTo>
                <a:cubicBezTo>
                  <a:pt x="2" y="232"/>
                  <a:pt x="0" y="228"/>
                  <a:pt x="0" y="222"/>
                </a:cubicBezTo>
                <a:lnTo>
                  <a:pt x="0" y="21"/>
                </a:lnTo>
                <a:close/>
                <a:moveTo>
                  <a:pt x="11" y="201"/>
                </a:moveTo>
                <a:cubicBezTo>
                  <a:pt x="115" y="201"/>
                  <a:pt x="115" y="201"/>
                  <a:pt x="115" y="201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" y="42"/>
                  <a:pt x="11" y="42"/>
                  <a:pt x="11" y="42"/>
                </a:cubicBezTo>
                <a:lnTo>
                  <a:pt x="11" y="201"/>
                </a:lnTo>
                <a:close/>
                <a:moveTo>
                  <a:pt x="54" y="214"/>
                </a:moveTo>
                <a:cubicBezTo>
                  <a:pt x="53" y="215"/>
                  <a:pt x="52" y="216"/>
                  <a:pt x="51" y="218"/>
                </a:cubicBezTo>
                <a:cubicBezTo>
                  <a:pt x="51" y="219"/>
                  <a:pt x="50" y="221"/>
                  <a:pt x="50" y="222"/>
                </a:cubicBezTo>
                <a:cubicBezTo>
                  <a:pt x="50" y="224"/>
                  <a:pt x="51" y="225"/>
                  <a:pt x="51" y="227"/>
                </a:cubicBezTo>
                <a:cubicBezTo>
                  <a:pt x="52" y="228"/>
                  <a:pt x="53" y="230"/>
                  <a:pt x="54" y="231"/>
                </a:cubicBezTo>
                <a:cubicBezTo>
                  <a:pt x="55" y="232"/>
                  <a:pt x="57" y="233"/>
                  <a:pt x="58" y="234"/>
                </a:cubicBezTo>
                <a:cubicBezTo>
                  <a:pt x="60" y="234"/>
                  <a:pt x="61" y="234"/>
                  <a:pt x="63" y="234"/>
                </a:cubicBezTo>
                <a:cubicBezTo>
                  <a:pt x="64" y="234"/>
                  <a:pt x="66" y="234"/>
                  <a:pt x="67" y="234"/>
                </a:cubicBezTo>
                <a:cubicBezTo>
                  <a:pt x="69" y="233"/>
                  <a:pt x="70" y="232"/>
                  <a:pt x="71" y="231"/>
                </a:cubicBezTo>
                <a:cubicBezTo>
                  <a:pt x="72" y="230"/>
                  <a:pt x="73" y="228"/>
                  <a:pt x="74" y="227"/>
                </a:cubicBezTo>
                <a:cubicBezTo>
                  <a:pt x="75" y="225"/>
                  <a:pt x="75" y="224"/>
                  <a:pt x="75" y="222"/>
                </a:cubicBezTo>
                <a:cubicBezTo>
                  <a:pt x="75" y="221"/>
                  <a:pt x="75" y="219"/>
                  <a:pt x="74" y="218"/>
                </a:cubicBezTo>
                <a:cubicBezTo>
                  <a:pt x="73" y="216"/>
                  <a:pt x="72" y="215"/>
                  <a:pt x="71" y="214"/>
                </a:cubicBezTo>
                <a:cubicBezTo>
                  <a:pt x="70" y="213"/>
                  <a:pt x="69" y="212"/>
                  <a:pt x="67" y="211"/>
                </a:cubicBezTo>
                <a:cubicBezTo>
                  <a:pt x="66" y="210"/>
                  <a:pt x="64" y="210"/>
                  <a:pt x="63" y="210"/>
                </a:cubicBezTo>
                <a:cubicBezTo>
                  <a:pt x="61" y="210"/>
                  <a:pt x="60" y="210"/>
                  <a:pt x="58" y="211"/>
                </a:cubicBezTo>
                <a:cubicBezTo>
                  <a:pt x="57" y="212"/>
                  <a:pt x="55" y="213"/>
                  <a:pt x="54" y="214"/>
                </a:cubicBezTo>
                <a:close/>
                <a:moveTo>
                  <a:pt x="51" y="21"/>
                </a:moveTo>
                <a:cubicBezTo>
                  <a:pt x="51" y="22"/>
                  <a:pt x="52" y="23"/>
                  <a:pt x="53" y="23"/>
                </a:cubicBezTo>
                <a:cubicBezTo>
                  <a:pt x="72" y="23"/>
                  <a:pt x="72" y="23"/>
                  <a:pt x="72" y="23"/>
                </a:cubicBezTo>
                <a:cubicBezTo>
                  <a:pt x="74" y="23"/>
                  <a:pt x="74" y="22"/>
                  <a:pt x="74" y="21"/>
                </a:cubicBezTo>
                <a:cubicBezTo>
                  <a:pt x="74" y="19"/>
                  <a:pt x="74" y="19"/>
                  <a:pt x="72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2" y="19"/>
                  <a:pt x="51" y="19"/>
                  <a:pt x="51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" name="Freeform 27"/>
          <p:cNvSpPr>
            <a:spLocks noEditPoints="1"/>
          </p:cNvSpPr>
          <p:nvPr/>
        </p:nvSpPr>
        <p:spPr bwMode="auto">
          <a:xfrm>
            <a:off x="4447177" y="1758446"/>
            <a:ext cx="246470" cy="246470"/>
          </a:xfrm>
          <a:custGeom>
            <a:avLst/>
            <a:gdLst>
              <a:gd name="T0" fmla="*/ 0 w 188"/>
              <a:gd name="T1" fmla="*/ 8 h 187"/>
              <a:gd name="T2" fmla="*/ 3 w 188"/>
              <a:gd name="T3" fmla="*/ 3 h 187"/>
              <a:gd name="T4" fmla="*/ 9 w 188"/>
              <a:gd name="T5" fmla="*/ 0 h 187"/>
              <a:gd name="T6" fmla="*/ 180 w 188"/>
              <a:gd name="T7" fmla="*/ 0 h 187"/>
              <a:gd name="T8" fmla="*/ 185 w 188"/>
              <a:gd name="T9" fmla="*/ 3 h 187"/>
              <a:gd name="T10" fmla="*/ 188 w 188"/>
              <a:gd name="T11" fmla="*/ 8 h 187"/>
              <a:gd name="T12" fmla="*/ 188 w 188"/>
              <a:gd name="T13" fmla="*/ 147 h 187"/>
              <a:gd name="T14" fmla="*/ 185 w 188"/>
              <a:gd name="T15" fmla="*/ 153 h 187"/>
              <a:gd name="T16" fmla="*/ 180 w 188"/>
              <a:gd name="T17" fmla="*/ 156 h 187"/>
              <a:gd name="T18" fmla="*/ 113 w 188"/>
              <a:gd name="T19" fmla="*/ 156 h 187"/>
              <a:gd name="T20" fmla="*/ 116 w 188"/>
              <a:gd name="T21" fmla="*/ 180 h 187"/>
              <a:gd name="T22" fmla="*/ 121 w 188"/>
              <a:gd name="T23" fmla="*/ 186 h 187"/>
              <a:gd name="T24" fmla="*/ 121 w 188"/>
              <a:gd name="T25" fmla="*/ 186 h 187"/>
              <a:gd name="T26" fmla="*/ 120 w 188"/>
              <a:gd name="T27" fmla="*/ 187 h 187"/>
              <a:gd name="T28" fmla="*/ 117 w 188"/>
              <a:gd name="T29" fmla="*/ 187 h 187"/>
              <a:gd name="T30" fmla="*/ 116 w 188"/>
              <a:gd name="T31" fmla="*/ 187 h 187"/>
              <a:gd name="T32" fmla="*/ 73 w 188"/>
              <a:gd name="T33" fmla="*/ 187 h 187"/>
              <a:gd name="T34" fmla="*/ 67 w 188"/>
              <a:gd name="T35" fmla="*/ 186 h 187"/>
              <a:gd name="T36" fmla="*/ 67 w 188"/>
              <a:gd name="T37" fmla="*/ 186 h 187"/>
              <a:gd name="T38" fmla="*/ 72 w 188"/>
              <a:gd name="T39" fmla="*/ 180 h 187"/>
              <a:gd name="T40" fmla="*/ 75 w 188"/>
              <a:gd name="T41" fmla="*/ 156 h 187"/>
              <a:gd name="T42" fmla="*/ 9 w 188"/>
              <a:gd name="T43" fmla="*/ 156 h 187"/>
              <a:gd name="T44" fmla="*/ 3 w 188"/>
              <a:gd name="T45" fmla="*/ 153 h 187"/>
              <a:gd name="T46" fmla="*/ 0 w 188"/>
              <a:gd name="T47" fmla="*/ 147 h 187"/>
              <a:gd name="T48" fmla="*/ 0 w 188"/>
              <a:gd name="T49" fmla="*/ 8 h 187"/>
              <a:gd name="T50" fmla="*/ 11 w 188"/>
              <a:gd name="T51" fmla="*/ 117 h 187"/>
              <a:gd name="T52" fmla="*/ 177 w 188"/>
              <a:gd name="T53" fmla="*/ 117 h 187"/>
              <a:gd name="T54" fmla="*/ 177 w 188"/>
              <a:gd name="T55" fmla="*/ 11 h 187"/>
              <a:gd name="T56" fmla="*/ 11 w 188"/>
              <a:gd name="T57" fmla="*/ 11 h 187"/>
              <a:gd name="T58" fmla="*/ 11 w 188"/>
              <a:gd name="T59" fmla="*/ 117 h 187"/>
              <a:gd name="T60" fmla="*/ 90 w 188"/>
              <a:gd name="T61" fmla="*/ 130 h 187"/>
              <a:gd name="T62" fmla="*/ 89 w 188"/>
              <a:gd name="T63" fmla="*/ 134 h 187"/>
              <a:gd name="T64" fmla="*/ 90 w 188"/>
              <a:gd name="T65" fmla="*/ 138 h 187"/>
              <a:gd name="T66" fmla="*/ 94 w 188"/>
              <a:gd name="T67" fmla="*/ 139 h 187"/>
              <a:gd name="T68" fmla="*/ 98 w 188"/>
              <a:gd name="T69" fmla="*/ 138 h 187"/>
              <a:gd name="T70" fmla="*/ 99 w 188"/>
              <a:gd name="T71" fmla="*/ 134 h 187"/>
              <a:gd name="T72" fmla="*/ 98 w 188"/>
              <a:gd name="T73" fmla="*/ 130 h 187"/>
              <a:gd name="T74" fmla="*/ 94 w 188"/>
              <a:gd name="T75" fmla="*/ 129 h 187"/>
              <a:gd name="T76" fmla="*/ 90 w 188"/>
              <a:gd name="T77" fmla="*/ 13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8" h="187">
                <a:moveTo>
                  <a:pt x="0" y="8"/>
                </a:moveTo>
                <a:cubicBezTo>
                  <a:pt x="0" y="6"/>
                  <a:pt x="1" y="4"/>
                  <a:pt x="3" y="3"/>
                </a:cubicBezTo>
                <a:cubicBezTo>
                  <a:pt x="4" y="1"/>
                  <a:pt x="6" y="0"/>
                  <a:pt x="9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2" y="0"/>
                  <a:pt x="184" y="1"/>
                  <a:pt x="185" y="3"/>
                </a:cubicBezTo>
                <a:cubicBezTo>
                  <a:pt x="187" y="4"/>
                  <a:pt x="188" y="6"/>
                  <a:pt x="188" y="8"/>
                </a:cubicBezTo>
                <a:cubicBezTo>
                  <a:pt x="188" y="147"/>
                  <a:pt x="188" y="147"/>
                  <a:pt x="188" y="147"/>
                </a:cubicBezTo>
                <a:cubicBezTo>
                  <a:pt x="188" y="150"/>
                  <a:pt x="187" y="152"/>
                  <a:pt x="185" y="153"/>
                </a:cubicBezTo>
                <a:cubicBezTo>
                  <a:pt x="184" y="155"/>
                  <a:pt x="182" y="156"/>
                  <a:pt x="180" y="156"/>
                </a:cubicBezTo>
                <a:cubicBezTo>
                  <a:pt x="113" y="156"/>
                  <a:pt x="113" y="156"/>
                  <a:pt x="113" y="156"/>
                </a:cubicBezTo>
                <a:cubicBezTo>
                  <a:pt x="116" y="180"/>
                  <a:pt x="116" y="180"/>
                  <a:pt x="116" y="180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7"/>
                  <a:pt x="121" y="187"/>
                  <a:pt x="120" y="187"/>
                </a:cubicBezTo>
                <a:cubicBezTo>
                  <a:pt x="119" y="187"/>
                  <a:pt x="118" y="187"/>
                  <a:pt x="117" y="187"/>
                </a:cubicBezTo>
                <a:cubicBezTo>
                  <a:pt x="116" y="187"/>
                  <a:pt x="116" y="187"/>
                  <a:pt x="116" y="187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9" y="187"/>
                  <a:pt x="67" y="187"/>
                  <a:pt x="67" y="186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72" y="180"/>
                  <a:pt x="72" y="180"/>
                  <a:pt x="72" y="180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9" y="156"/>
                  <a:pt x="9" y="156"/>
                  <a:pt x="9" y="156"/>
                </a:cubicBezTo>
                <a:cubicBezTo>
                  <a:pt x="6" y="156"/>
                  <a:pt x="4" y="155"/>
                  <a:pt x="3" y="153"/>
                </a:cubicBezTo>
                <a:cubicBezTo>
                  <a:pt x="1" y="152"/>
                  <a:pt x="0" y="150"/>
                  <a:pt x="0" y="147"/>
                </a:cubicBezTo>
                <a:lnTo>
                  <a:pt x="0" y="8"/>
                </a:lnTo>
                <a:close/>
                <a:moveTo>
                  <a:pt x="11" y="117"/>
                </a:moveTo>
                <a:cubicBezTo>
                  <a:pt x="177" y="117"/>
                  <a:pt x="177" y="117"/>
                  <a:pt x="177" y="117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117"/>
                </a:lnTo>
                <a:close/>
                <a:moveTo>
                  <a:pt x="90" y="130"/>
                </a:moveTo>
                <a:cubicBezTo>
                  <a:pt x="89" y="131"/>
                  <a:pt x="89" y="133"/>
                  <a:pt x="89" y="134"/>
                </a:cubicBezTo>
                <a:cubicBezTo>
                  <a:pt x="89" y="136"/>
                  <a:pt x="89" y="137"/>
                  <a:pt x="90" y="138"/>
                </a:cubicBezTo>
                <a:cubicBezTo>
                  <a:pt x="91" y="139"/>
                  <a:pt x="93" y="139"/>
                  <a:pt x="94" y="139"/>
                </a:cubicBezTo>
                <a:cubicBezTo>
                  <a:pt x="96" y="139"/>
                  <a:pt x="97" y="139"/>
                  <a:pt x="98" y="138"/>
                </a:cubicBezTo>
                <a:cubicBezTo>
                  <a:pt x="99" y="137"/>
                  <a:pt x="99" y="136"/>
                  <a:pt x="99" y="134"/>
                </a:cubicBezTo>
                <a:cubicBezTo>
                  <a:pt x="99" y="133"/>
                  <a:pt x="99" y="131"/>
                  <a:pt x="98" y="130"/>
                </a:cubicBezTo>
                <a:cubicBezTo>
                  <a:pt x="97" y="129"/>
                  <a:pt x="96" y="129"/>
                  <a:pt x="94" y="129"/>
                </a:cubicBezTo>
                <a:cubicBezTo>
                  <a:pt x="93" y="129"/>
                  <a:pt x="91" y="129"/>
                  <a:pt x="90" y="1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54976" y="1559916"/>
            <a:ext cx="2275376" cy="488972"/>
            <a:chOff x="1454976" y="1559916"/>
            <a:chExt cx="2275376" cy="488972"/>
          </a:xfrm>
        </p:grpSpPr>
        <p:sp>
          <p:nvSpPr>
            <p:cNvPr id="24" name="TextBox 23"/>
            <p:cNvSpPr txBox="1"/>
            <p:nvPr/>
          </p:nvSpPr>
          <p:spPr>
            <a:xfrm>
              <a:off x="1454976" y="1559916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 Design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454976" y="1727966"/>
              <a:ext cx="227537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84202" y="2625124"/>
            <a:ext cx="2275376" cy="488972"/>
            <a:chOff x="584202" y="2625124"/>
            <a:chExt cx="2275376" cy="488972"/>
          </a:xfrm>
        </p:grpSpPr>
        <p:sp>
          <p:nvSpPr>
            <p:cNvPr id="18" name="TextBox 17"/>
            <p:cNvSpPr txBox="1"/>
            <p:nvPr/>
          </p:nvSpPr>
          <p:spPr>
            <a:xfrm>
              <a:off x="584202" y="2625124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Applications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84202" y="2793174"/>
              <a:ext cx="227537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262200" y="2625124"/>
            <a:ext cx="2275376" cy="488972"/>
            <a:chOff x="6262200" y="2625124"/>
            <a:chExt cx="2275376" cy="488972"/>
          </a:xfrm>
        </p:grpSpPr>
        <p:sp>
          <p:nvSpPr>
            <p:cNvPr id="20" name="TextBox 19"/>
            <p:cNvSpPr txBox="1"/>
            <p:nvPr/>
          </p:nvSpPr>
          <p:spPr>
            <a:xfrm>
              <a:off x="6262200" y="2625124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 Develop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262200" y="2793174"/>
              <a:ext cx="227537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421313" y="3727784"/>
            <a:ext cx="2275376" cy="652734"/>
            <a:chOff x="5421313" y="3727784"/>
            <a:chExt cx="2275376" cy="652734"/>
          </a:xfrm>
        </p:grpSpPr>
        <p:sp>
          <p:nvSpPr>
            <p:cNvPr id="23" name="TextBox 22"/>
            <p:cNvSpPr txBox="1"/>
            <p:nvPr/>
          </p:nvSpPr>
          <p:spPr>
            <a:xfrm>
              <a:off x="5421313" y="3727784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 Domain &amp; Hosting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421313" y="3895834"/>
              <a:ext cx="2275376" cy="4846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mque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22" name="Freeform 143">
            <a:extLst>
              <a:ext uri="{FF2B5EF4-FFF2-40B4-BE49-F238E27FC236}">
                <a16:creationId xmlns:a16="http://schemas.microsoft.com/office/drawing/2014/main" id="{318A7DDA-8E56-4948-87D2-74B4F2837A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47702" y="3770737"/>
            <a:ext cx="261509" cy="251450"/>
          </a:xfrm>
          <a:custGeom>
            <a:avLst/>
            <a:gdLst>
              <a:gd name="T0" fmla="*/ 157 w 157"/>
              <a:gd name="T1" fmla="*/ 112 h 152"/>
              <a:gd name="T2" fmla="*/ 157 w 157"/>
              <a:gd name="T3" fmla="*/ 142 h 152"/>
              <a:gd name="T4" fmla="*/ 155 w 157"/>
              <a:gd name="T5" fmla="*/ 149 h 152"/>
              <a:gd name="T6" fmla="*/ 148 w 157"/>
              <a:gd name="T7" fmla="*/ 152 h 152"/>
              <a:gd name="T8" fmla="*/ 9 w 157"/>
              <a:gd name="T9" fmla="*/ 152 h 152"/>
              <a:gd name="T10" fmla="*/ 3 w 157"/>
              <a:gd name="T11" fmla="*/ 149 h 152"/>
              <a:gd name="T12" fmla="*/ 0 w 157"/>
              <a:gd name="T13" fmla="*/ 142 h 152"/>
              <a:gd name="T14" fmla="*/ 0 w 157"/>
              <a:gd name="T15" fmla="*/ 112 h 152"/>
              <a:gd name="T16" fmla="*/ 3 w 157"/>
              <a:gd name="T17" fmla="*/ 106 h 152"/>
              <a:gd name="T18" fmla="*/ 9 w 157"/>
              <a:gd name="T19" fmla="*/ 103 h 152"/>
              <a:gd name="T20" fmla="*/ 49 w 157"/>
              <a:gd name="T21" fmla="*/ 103 h 152"/>
              <a:gd name="T22" fmla="*/ 56 w 157"/>
              <a:gd name="T23" fmla="*/ 112 h 152"/>
              <a:gd name="T24" fmla="*/ 66 w 157"/>
              <a:gd name="T25" fmla="*/ 115 h 152"/>
              <a:gd name="T26" fmla="*/ 91 w 157"/>
              <a:gd name="T27" fmla="*/ 115 h 152"/>
              <a:gd name="T28" fmla="*/ 101 w 157"/>
              <a:gd name="T29" fmla="*/ 112 h 152"/>
              <a:gd name="T30" fmla="*/ 108 w 157"/>
              <a:gd name="T31" fmla="*/ 103 h 152"/>
              <a:gd name="T32" fmla="*/ 148 w 157"/>
              <a:gd name="T33" fmla="*/ 103 h 152"/>
              <a:gd name="T34" fmla="*/ 155 w 157"/>
              <a:gd name="T35" fmla="*/ 106 h 152"/>
              <a:gd name="T36" fmla="*/ 157 w 157"/>
              <a:gd name="T37" fmla="*/ 112 h 152"/>
              <a:gd name="T38" fmla="*/ 127 w 157"/>
              <a:gd name="T39" fmla="*/ 51 h 152"/>
              <a:gd name="T40" fmla="*/ 121 w 157"/>
              <a:gd name="T41" fmla="*/ 55 h 152"/>
              <a:gd name="T42" fmla="*/ 97 w 157"/>
              <a:gd name="T43" fmla="*/ 55 h 152"/>
              <a:gd name="T44" fmla="*/ 97 w 157"/>
              <a:gd name="T45" fmla="*/ 97 h 152"/>
              <a:gd name="T46" fmla="*/ 95 w 157"/>
              <a:gd name="T47" fmla="*/ 101 h 152"/>
              <a:gd name="T48" fmla="*/ 91 w 157"/>
              <a:gd name="T49" fmla="*/ 103 h 152"/>
              <a:gd name="T50" fmla="*/ 66 w 157"/>
              <a:gd name="T51" fmla="*/ 103 h 152"/>
              <a:gd name="T52" fmla="*/ 62 w 157"/>
              <a:gd name="T53" fmla="*/ 101 h 152"/>
              <a:gd name="T54" fmla="*/ 60 w 157"/>
              <a:gd name="T55" fmla="*/ 97 h 152"/>
              <a:gd name="T56" fmla="*/ 60 w 157"/>
              <a:gd name="T57" fmla="*/ 55 h 152"/>
              <a:gd name="T58" fmla="*/ 36 w 157"/>
              <a:gd name="T59" fmla="*/ 55 h 152"/>
              <a:gd name="T60" fmla="*/ 31 w 157"/>
              <a:gd name="T61" fmla="*/ 51 h 152"/>
              <a:gd name="T62" fmla="*/ 32 w 157"/>
              <a:gd name="T63" fmla="*/ 44 h 152"/>
              <a:gd name="T64" fmla="*/ 74 w 157"/>
              <a:gd name="T65" fmla="*/ 2 h 152"/>
              <a:gd name="T66" fmla="*/ 79 w 157"/>
              <a:gd name="T67" fmla="*/ 0 h 152"/>
              <a:gd name="T68" fmla="*/ 83 w 157"/>
              <a:gd name="T69" fmla="*/ 2 h 152"/>
              <a:gd name="T70" fmla="*/ 125 w 157"/>
              <a:gd name="T71" fmla="*/ 44 h 152"/>
              <a:gd name="T72" fmla="*/ 127 w 157"/>
              <a:gd name="T73" fmla="*/ 51 h 152"/>
              <a:gd name="T74" fmla="*/ 119 w 157"/>
              <a:gd name="T75" fmla="*/ 138 h 152"/>
              <a:gd name="T76" fmla="*/ 121 w 157"/>
              <a:gd name="T77" fmla="*/ 133 h 152"/>
              <a:gd name="T78" fmla="*/ 119 w 157"/>
              <a:gd name="T79" fmla="*/ 129 h 152"/>
              <a:gd name="T80" fmla="*/ 115 w 157"/>
              <a:gd name="T81" fmla="*/ 127 h 152"/>
              <a:gd name="T82" fmla="*/ 111 w 157"/>
              <a:gd name="T83" fmla="*/ 129 h 152"/>
              <a:gd name="T84" fmla="*/ 109 w 157"/>
              <a:gd name="T85" fmla="*/ 133 h 152"/>
              <a:gd name="T86" fmla="*/ 111 w 157"/>
              <a:gd name="T87" fmla="*/ 138 h 152"/>
              <a:gd name="T88" fmla="*/ 115 w 157"/>
              <a:gd name="T89" fmla="*/ 139 h 152"/>
              <a:gd name="T90" fmla="*/ 119 w 157"/>
              <a:gd name="T91" fmla="*/ 138 h 152"/>
              <a:gd name="T92" fmla="*/ 143 w 157"/>
              <a:gd name="T93" fmla="*/ 138 h 152"/>
              <a:gd name="T94" fmla="*/ 145 w 157"/>
              <a:gd name="T95" fmla="*/ 133 h 152"/>
              <a:gd name="T96" fmla="*/ 143 w 157"/>
              <a:gd name="T97" fmla="*/ 129 h 152"/>
              <a:gd name="T98" fmla="*/ 139 w 157"/>
              <a:gd name="T99" fmla="*/ 127 h 152"/>
              <a:gd name="T100" fmla="*/ 135 w 157"/>
              <a:gd name="T101" fmla="*/ 129 h 152"/>
              <a:gd name="T102" fmla="*/ 133 w 157"/>
              <a:gd name="T103" fmla="*/ 133 h 152"/>
              <a:gd name="T104" fmla="*/ 135 w 157"/>
              <a:gd name="T105" fmla="*/ 138 h 152"/>
              <a:gd name="T106" fmla="*/ 139 w 157"/>
              <a:gd name="T107" fmla="*/ 139 h 152"/>
              <a:gd name="T108" fmla="*/ 143 w 157"/>
              <a:gd name="T109" fmla="*/ 138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7" h="152">
                <a:moveTo>
                  <a:pt x="157" y="112"/>
                </a:moveTo>
                <a:cubicBezTo>
                  <a:pt x="157" y="142"/>
                  <a:pt x="157" y="142"/>
                  <a:pt x="157" y="142"/>
                </a:cubicBezTo>
                <a:cubicBezTo>
                  <a:pt x="157" y="145"/>
                  <a:pt x="156" y="147"/>
                  <a:pt x="155" y="149"/>
                </a:cubicBezTo>
                <a:cubicBezTo>
                  <a:pt x="153" y="151"/>
                  <a:pt x="151" y="152"/>
                  <a:pt x="148" y="152"/>
                </a:cubicBezTo>
                <a:cubicBezTo>
                  <a:pt x="9" y="152"/>
                  <a:pt x="9" y="152"/>
                  <a:pt x="9" y="152"/>
                </a:cubicBezTo>
                <a:cubicBezTo>
                  <a:pt x="6" y="152"/>
                  <a:pt x="4" y="151"/>
                  <a:pt x="3" y="149"/>
                </a:cubicBezTo>
                <a:cubicBezTo>
                  <a:pt x="1" y="147"/>
                  <a:pt x="0" y="145"/>
                  <a:pt x="0" y="14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0"/>
                  <a:pt x="1" y="108"/>
                  <a:pt x="3" y="106"/>
                </a:cubicBezTo>
                <a:cubicBezTo>
                  <a:pt x="4" y="104"/>
                  <a:pt x="6" y="103"/>
                  <a:pt x="9" y="103"/>
                </a:cubicBezTo>
                <a:cubicBezTo>
                  <a:pt x="49" y="103"/>
                  <a:pt x="49" y="103"/>
                  <a:pt x="49" y="103"/>
                </a:cubicBezTo>
                <a:cubicBezTo>
                  <a:pt x="51" y="107"/>
                  <a:pt x="53" y="110"/>
                  <a:pt x="56" y="112"/>
                </a:cubicBezTo>
                <a:cubicBezTo>
                  <a:pt x="59" y="114"/>
                  <a:pt x="63" y="115"/>
                  <a:pt x="66" y="115"/>
                </a:cubicBezTo>
                <a:cubicBezTo>
                  <a:pt x="91" y="115"/>
                  <a:pt x="91" y="115"/>
                  <a:pt x="91" y="115"/>
                </a:cubicBezTo>
                <a:cubicBezTo>
                  <a:pt x="95" y="115"/>
                  <a:pt x="98" y="114"/>
                  <a:pt x="101" y="112"/>
                </a:cubicBezTo>
                <a:cubicBezTo>
                  <a:pt x="104" y="110"/>
                  <a:pt x="106" y="107"/>
                  <a:pt x="108" y="103"/>
                </a:cubicBezTo>
                <a:cubicBezTo>
                  <a:pt x="148" y="103"/>
                  <a:pt x="148" y="103"/>
                  <a:pt x="148" y="103"/>
                </a:cubicBezTo>
                <a:cubicBezTo>
                  <a:pt x="151" y="103"/>
                  <a:pt x="153" y="104"/>
                  <a:pt x="155" y="106"/>
                </a:cubicBezTo>
                <a:cubicBezTo>
                  <a:pt x="156" y="108"/>
                  <a:pt x="157" y="110"/>
                  <a:pt x="157" y="112"/>
                </a:cubicBezTo>
                <a:close/>
                <a:moveTo>
                  <a:pt x="127" y="51"/>
                </a:moveTo>
                <a:cubicBezTo>
                  <a:pt x="125" y="53"/>
                  <a:pt x="124" y="55"/>
                  <a:pt x="121" y="55"/>
                </a:cubicBezTo>
                <a:cubicBezTo>
                  <a:pt x="97" y="55"/>
                  <a:pt x="97" y="55"/>
                  <a:pt x="97" y="55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99"/>
                  <a:pt x="96" y="100"/>
                  <a:pt x="95" y="101"/>
                </a:cubicBezTo>
                <a:cubicBezTo>
                  <a:pt x="94" y="103"/>
                  <a:pt x="92" y="103"/>
                  <a:pt x="91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5" y="103"/>
                  <a:pt x="63" y="103"/>
                  <a:pt x="62" y="101"/>
                </a:cubicBezTo>
                <a:cubicBezTo>
                  <a:pt x="61" y="100"/>
                  <a:pt x="60" y="99"/>
                  <a:pt x="60" y="97"/>
                </a:cubicBezTo>
                <a:cubicBezTo>
                  <a:pt x="60" y="55"/>
                  <a:pt x="60" y="55"/>
                  <a:pt x="60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4" y="55"/>
                  <a:pt x="32" y="53"/>
                  <a:pt x="31" y="51"/>
                </a:cubicBezTo>
                <a:cubicBezTo>
                  <a:pt x="30" y="49"/>
                  <a:pt x="30" y="46"/>
                  <a:pt x="32" y="44"/>
                </a:cubicBezTo>
                <a:cubicBezTo>
                  <a:pt x="74" y="2"/>
                  <a:pt x="74" y="2"/>
                  <a:pt x="74" y="2"/>
                </a:cubicBezTo>
                <a:cubicBezTo>
                  <a:pt x="75" y="1"/>
                  <a:pt x="77" y="0"/>
                  <a:pt x="79" y="0"/>
                </a:cubicBezTo>
                <a:cubicBezTo>
                  <a:pt x="80" y="0"/>
                  <a:pt x="82" y="1"/>
                  <a:pt x="83" y="2"/>
                </a:cubicBezTo>
                <a:cubicBezTo>
                  <a:pt x="125" y="44"/>
                  <a:pt x="125" y="44"/>
                  <a:pt x="125" y="44"/>
                </a:cubicBezTo>
                <a:cubicBezTo>
                  <a:pt x="127" y="46"/>
                  <a:pt x="128" y="49"/>
                  <a:pt x="127" y="51"/>
                </a:cubicBezTo>
                <a:close/>
                <a:moveTo>
                  <a:pt x="119" y="138"/>
                </a:moveTo>
                <a:cubicBezTo>
                  <a:pt x="120" y="136"/>
                  <a:pt x="121" y="135"/>
                  <a:pt x="121" y="133"/>
                </a:cubicBezTo>
                <a:cubicBezTo>
                  <a:pt x="121" y="132"/>
                  <a:pt x="120" y="130"/>
                  <a:pt x="119" y="129"/>
                </a:cubicBezTo>
                <a:cubicBezTo>
                  <a:pt x="118" y="128"/>
                  <a:pt x="117" y="127"/>
                  <a:pt x="115" y="127"/>
                </a:cubicBezTo>
                <a:cubicBezTo>
                  <a:pt x="113" y="127"/>
                  <a:pt x="112" y="128"/>
                  <a:pt x="111" y="129"/>
                </a:cubicBezTo>
                <a:cubicBezTo>
                  <a:pt x="109" y="130"/>
                  <a:pt x="109" y="132"/>
                  <a:pt x="109" y="133"/>
                </a:cubicBezTo>
                <a:cubicBezTo>
                  <a:pt x="109" y="135"/>
                  <a:pt x="109" y="136"/>
                  <a:pt x="111" y="138"/>
                </a:cubicBezTo>
                <a:cubicBezTo>
                  <a:pt x="112" y="139"/>
                  <a:pt x="113" y="139"/>
                  <a:pt x="115" y="139"/>
                </a:cubicBezTo>
                <a:cubicBezTo>
                  <a:pt x="117" y="139"/>
                  <a:pt x="118" y="139"/>
                  <a:pt x="119" y="138"/>
                </a:cubicBezTo>
                <a:close/>
                <a:moveTo>
                  <a:pt x="143" y="138"/>
                </a:moveTo>
                <a:cubicBezTo>
                  <a:pt x="145" y="136"/>
                  <a:pt x="145" y="135"/>
                  <a:pt x="145" y="133"/>
                </a:cubicBezTo>
                <a:cubicBezTo>
                  <a:pt x="145" y="132"/>
                  <a:pt x="145" y="130"/>
                  <a:pt x="143" y="129"/>
                </a:cubicBezTo>
                <a:cubicBezTo>
                  <a:pt x="142" y="128"/>
                  <a:pt x="141" y="127"/>
                  <a:pt x="139" y="127"/>
                </a:cubicBezTo>
                <a:cubicBezTo>
                  <a:pt x="137" y="127"/>
                  <a:pt x="136" y="128"/>
                  <a:pt x="135" y="129"/>
                </a:cubicBezTo>
                <a:cubicBezTo>
                  <a:pt x="134" y="130"/>
                  <a:pt x="133" y="132"/>
                  <a:pt x="133" y="133"/>
                </a:cubicBezTo>
                <a:cubicBezTo>
                  <a:pt x="133" y="135"/>
                  <a:pt x="134" y="136"/>
                  <a:pt x="135" y="138"/>
                </a:cubicBezTo>
                <a:cubicBezTo>
                  <a:pt x="136" y="139"/>
                  <a:pt x="137" y="139"/>
                  <a:pt x="139" y="139"/>
                </a:cubicBezTo>
                <a:cubicBezTo>
                  <a:pt x="141" y="139"/>
                  <a:pt x="142" y="139"/>
                  <a:pt x="143" y="1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" name="Freeform 168">
            <a:extLst>
              <a:ext uri="{FF2B5EF4-FFF2-40B4-BE49-F238E27FC236}">
                <a16:creationId xmlns:a16="http://schemas.microsoft.com/office/drawing/2014/main" id="{574CE153-91B7-4E53-BEB5-C72D5C5D661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66164" y="2762434"/>
            <a:ext cx="261509" cy="258996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5853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mart-Art </a:t>
            </a:r>
            <a:r>
              <a:rPr lang="en-US">
                <a:solidFill>
                  <a:schemeClr val="accent2"/>
                </a:solidFill>
              </a:rPr>
              <a:t>“What We Do”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1" name="Diagram 10"/>
          <p:cNvGraphicFramePr/>
          <p:nvPr/>
        </p:nvGraphicFramePr>
        <p:xfrm>
          <a:off x="3162300" y="1540191"/>
          <a:ext cx="2819400" cy="27053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Freeform 24"/>
          <p:cNvSpPr>
            <a:spLocks noEditPoints="1"/>
          </p:cNvSpPr>
          <p:nvPr/>
        </p:nvSpPr>
        <p:spPr bwMode="auto">
          <a:xfrm>
            <a:off x="3463424" y="2731491"/>
            <a:ext cx="164978" cy="318026"/>
          </a:xfrm>
          <a:custGeom>
            <a:avLst/>
            <a:gdLst>
              <a:gd name="T0" fmla="*/ 0 w 125"/>
              <a:gd name="T1" fmla="*/ 21 h 243"/>
              <a:gd name="T2" fmla="*/ 2 w 125"/>
              <a:gd name="T3" fmla="*/ 13 h 243"/>
              <a:gd name="T4" fmla="*/ 6 w 125"/>
              <a:gd name="T5" fmla="*/ 6 h 243"/>
              <a:gd name="T6" fmla="*/ 21 w 125"/>
              <a:gd name="T7" fmla="*/ 0 h 243"/>
              <a:gd name="T8" fmla="*/ 22 w 125"/>
              <a:gd name="T9" fmla="*/ 0 h 243"/>
              <a:gd name="T10" fmla="*/ 22 w 125"/>
              <a:gd name="T11" fmla="*/ 0 h 243"/>
              <a:gd name="T12" fmla="*/ 103 w 125"/>
              <a:gd name="T13" fmla="*/ 0 h 243"/>
              <a:gd name="T14" fmla="*/ 104 w 125"/>
              <a:gd name="T15" fmla="*/ 0 h 243"/>
              <a:gd name="T16" fmla="*/ 104 w 125"/>
              <a:gd name="T17" fmla="*/ 0 h 243"/>
              <a:gd name="T18" fmla="*/ 119 w 125"/>
              <a:gd name="T19" fmla="*/ 6 h 243"/>
              <a:gd name="T20" fmla="*/ 124 w 125"/>
              <a:gd name="T21" fmla="*/ 13 h 243"/>
              <a:gd name="T22" fmla="*/ 125 w 125"/>
              <a:gd name="T23" fmla="*/ 21 h 243"/>
              <a:gd name="T24" fmla="*/ 125 w 125"/>
              <a:gd name="T25" fmla="*/ 222 h 243"/>
              <a:gd name="T26" fmla="*/ 119 w 125"/>
              <a:gd name="T27" fmla="*/ 237 h 243"/>
              <a:gd name="T28" fmla="*/ 113 w 125"/>
              <a:gd name="T29" fmla="*/ 241 h 243"/>
              <a:gd name="T30" fmla="*/ 106 w 125"/>
              <a:gd name="T31" fmla="*/ 243 h 243"/>
              <a:gd name="T32" fmla="*/ 20 w 125"/>
              <a:gd name="T33" fmla="*/ 243 h 243"/>
              <a:gd name="T34" fmla="*/ 12 w 125"/>
              <a:gd name="T35" fmla="*/ 241 h 243"/>
              <a:gd name="T36" fmla="*/ 6 w 125"/>
              <a:gd name="T37" fmla="*/ 237 h 243"/>
              <a:gd name="T38" fmla="*/ 0 w 125"/>
              <a:gd name="T39" fmla="*/ 222 h 243"/>
              <a:gd name="T40" fmla="*/ 0 w 125"/>
              <a:gd name="T41" fmla="*/ 21 h 243"/>
              <a:gd name="T42" fmla="*/ 11 w 125"/>
              <a:gd name="T43" fmla="*/ 201 h 243"/>
              <a:gd name="T44" fmla="*/ 115 w 125"/>
              <a:gd name="T45" fmla="*/ 201 h 243"/>
              <a:gd name="T46" fmla="*/ 115 w 125"/>
              <a:gd name="T47" fmla="*/ 42 h 243"/>
              <a:gd name="T48" fmla="*/ 11 w 125"/>
              <a:gd name="T49" fmla="*/ 42 h 243"/>
              <a:gd name="T50" fmla="*/ 11 w 125"/>
              <a:gd name="T51" fmla="*/ 201 h 243"/>
              <a:gd name="T52" fmla="*/ 54 w 125"/>
              <a:gd name="T53" fmla="*/ 214 h 243"/>
              <a:gd name="T54" fmla="*/ 51 w 125"/>
              <a:gd name="T55" fmla="*/ 218 h 243"/>
              <a:gd name="T56" fmla="*/ 50 w 125"/>
              <a:gd name="T57" fmla="*/ 222 h 243"/>
              <a:gd name="T58" fmla="*/ 51 w 125"/>
              <a:gd name="T59" fmla="*/ 227 h 243"/>
              <a:gd name="T60" fmla="*/ 54 w 125"/>
              <a:gd name="T61" fmla="*/ 231 h 243"/>
              <a:gd name="T62" fmla="*/ 58 w 125"/>
              <a:gd name="T63" fmla="*/ 234 h 243"/>
              <a:gd name="T64" fmla="*/ 63 w 125"/>
              <a:gd name="T65" fmla="*/ 234 h 243"/>
              <a:gd name="T66" fmla="*/ 67 w 125"/>
              <a:gd name="T67" fmla="*/ 234 h 243"/>
              <a:gd name="T68" fmla="*/ 71 w 125"/>
              <a:gd name="T69" fmla="*/ 231 h 243"/>
              <a:gd name="T70" fmla="*/ 74 w 125"/>
              <a:gd name="T71" fmla="*/ 227 h 243"/>
              <a:gd name="T72" fmla="*/ 75 w 125"/>
              <a:gd name="T73" fmla="*/ 222 h 243"/>
              <a:gd name="T74" fmla="*/ 74 w 125"/>
              <a:gd name="T75" fmla="*/ 218 h 243"/>
              <a:gd name="T76" fmla="*/ 71 w 125"/>
              <a:gd name="T77" fmla="*/ 214 h 243"/>
              <a:gd name="T78" fmla="*/ 67 w 125"/>
              <a:gd name="T79" fmla="*/ 211 h 243"/>
              <a:gd name="T80" fmla="*/ 63 w 125"/>
              <a:gd name="T81" fmla="*/ 210 h 243"/>
              <a:gd name="T82" fmla="*/ 58 w 125"/>
              <a:gd name="T83" fmla="*/ 211 h 243"/>
              <a:gd name="T84" fmla="*/ 54 w 125"/>
              <a:gd name="T85" fmla="*/ 214 h 243"/>
              <a:gd name="T86" fmla="*/ 51 w 125"/>
              <a:gd name="T87" fmla="*/ 21 h 243"/>
              <a:gd name="T88" fmla="*/ 53 w 125"/>
              <a:gd name="T89" fmla="*/ 23 h 243"/>
              <a:gd name="T90" fmla="*/ 72 w 125"/>
              <a:gd name="T91" fmla="*/ 23 h 243"/>
              <a:gd name="T92" fmla="*/ 74 w 125"/>
              <a:gd name="T93" fmla="*/ 21 h 243"/>
              <a:gd name="T94" fmla="*/ 72 w 125"/>
              <a:gd name="T95" fmla="*/ 19 h 243"/>
              <a:gd name="T96" fmla="*/ 53 w 125"/>
              <a:gd name="T97" fmla="*/ 19 h 243"/>
              <a:gd name="T98" fmla="*/ 51 w 125"/>
              <a:gd name="T99" fmla="*/ 21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243">
                <a:moveTo>
                  <a:pt x="0" y="21"/>
                </a:moveTo>
                <a:cubicBezTo>
                  <a:pt x="0" y="18"/>
                  <a:pt x="1" y="15"/>
                  <a:pt x="2" y="13"/>
                </a:cubicBezTo>
                <a:cubicBezTo>
                  <a:pt x="3" y="10"/>
                  <a:pt x="4" y="8"/>
                  <a:pt x="6" y="6"/>
                </a:cubicBezTo>
                <a:cubicBezTo>
                  <a:pt x="10" y="2"/>
                  <a:pt x="15" y="0"/>
                  <a:pt x="21" y="0"/>
                </a:cubicBezTo>
                <a:cubicBezTo>
                  <a:pt x="21" y="0"/>
                  <a:pt x="21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0" y="0"/>
                  <a:pt x="115" y="2"/>
                  <a:pt x="119" y="6"/>
                </a:cubicBezTo>
                <a:cubicBezTo>
                  <a:pt x="121" y="8"/>
                  <a:pt x="123" y="10"/>
                  <a:pt x="124" y="13"/>
                </a:cubicBezTo>
                <a:cubicBezTo>
                  <a:pt x="125" y="15"/>
                  <a:pt x="125" y="18"/>
                  <a:pt x="125" y="21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8"/>
                  <a:pt x="123" y="232"/>
                  <a:pt x="119" y="237"/>
                </a:cubicBezTo>
                <a:cubicBezTo>
                  <a:pt x="117" y="239"/>
                  <a:pt x="115" y="240"/>
                  <a:pt x="113" y="241"/>
                </a:cubicBezTo>
                <a:cubicBezTo>
                  <a:pt x="111" y="243"/>
                  <a:pt x="108" y="243"/>
                  <a:pt x="106" y="243"/>
                </a:cubicBezTo>
                <a:cubicBezTo>
                  <a:pt x="20" y="243"/>
                  <a:pt x="20" y="243"/>
                  <a:pt x="20" y="243"/>
                </a:cubicBezTo>
                <a:cubicBezTo>
                  <a:pt x="17" y="243"/>
                  <a:pt x="15" y="243"/>
                  <a:pt x="12" y="241"/>
                </a:cubicBezTo>
                <a:cubicBezTo>
                  <a:pt x="10" y="240"/>
                  <a:pt x="8" y="239"/>
                  <a:pt x="6" y="237"/>
                </a:cubicBezTo>
                <a:cubicBezTo>
                  <a:pt x="2" y="232"/>
                  <a:pt x="0" y="228"/>
                  <a:pt x="0" y="222"/>
                </a:cubicBezTo>
                <a:lnTo>
                  <a:pt x="0" y="21"/>
                </a:lnTo>
                <a:close/>
                <a:moveTo>
                  <a:pt x="11" y="201"/>
                </a:moveTo>
                <a:cubicBezTo>
                  <a:pt x="115" y="201"/>
                  <a:pt x="115" y="201"/>
                  <a:pt x="115" y="201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" y="42"/>
                  <a:pt x="11" y="42"/>
                  <a:pt x="11" y="42"/>
                </a:cubicBezTo>
                <a:lnTo>
                  <a:pt x="11" y="201"/>
                </a:lnTo>
                <a:close/>
                <a:moveTo>
                  <a:pt x="54" y="214"/>
                </a:moveTo>
                <a:cubicBezTo>
                  <a:pt x="53" y="215"/>
                  <a:pt x="52" y="216"/>
                  <a:pt x="51" y="218"/>
                </a:cubicBezTo>
                <a:cubicBezTo>
                  <a:pt x="51" y="219"/>
                  <a:pt x="50" y="221"/>
                  <a:pt x="50" y="222"/>
                </a:cubicBezTo>
                <a:cubicBezTo>
                  <a:pt x="50" y="224"/>
                  <a:pt x="51" y="225"/>
                  <a:pt x="51" y="227"/>
                </a:cubicBezTo>
                <a:cubicBezTo>
                  <a:pt x="52" y="228"/>
                  <a:pt x="53" y="230"/>
                  <a:pt x="54" y="231"/>
                </a:cubicBezTo>
                <a:cubicBezTo>
                  <a:pt x="55" y="232"/>
                  <a:pt x="57" y="233"/>
                  <a:pt x="58" y="234"/>
                </a:cubicBezTo>
                <a:cubicBezTo>
                  <a:pt x="60" y="234"/>
                  <a:pt x="61" y="234"/>
                  <a:pt x="63" y="234"/>
                </a:cubicBezTo>
                <a:cubicBezTo>
                  <a:pt x="64" y="234"/>
                  <a:pt x="66" y="234"/>
                  <a:pt x="67" y="234"/>
                </a:cubicBezTo>
                <a:cubicBezTo>
                  <a:pt x="69" y="233"/>
                  <a:pt x="70" y="232"/>
                  <a:pt x="71" y="231"/>
                </a:cubicBezTo>
                <a:cubicBezTo>
                  <a:pt x="72" y="230"/>
                  <a:pt x="73" y="228"/>
                  <a:pt x="74" y="227"/>
                </a:cubicBezTo>
                <a:cubicBezTo>
                  <a:pt x="75" y="225"/>
                  <a:pt x="75" y="224"/>
                  <a:pt x="75" y="222"/>
                </a:cubicBezTo>
                <a:cubicBezTo>
                  <a:pt x="75" y="221"/>
                  <a:pt x="75" y="219"/>
                  <a:pt x="74" y="218"/>
                </a:cubicBezTo>
                <a:cubicBezTo>
                  <a:pt x="73" y="216"/>
                  <a:pt x="72" y="215"/>
                  <a:pt x="71" y="214"/>
                </a:cubicBezTo>
                <a:cubicBezTo>
                  <a:pt x="70" y="213"/>
                  <a:pt x="69" y="212"/>
                  <a:pt x="67" y="211"/>
                </a:cubicBezTo>
                <a:cubicBezTo>
                  <a:pt x="66" y="210"/>
                  <a:pt x="64" y="210"/>
                  <a:pt x="63" y="210"/>
                </a:cubicBezTo>
                <a:cubicBezTo>
                  <a:pt x="61" y="210"/>
                  <a:pt x="60" y="210"/>
                  <a:pt x="58" y="211"/>
                </a:cubicBezTo>
                <a:cubicBezTo>
                  <a:pt x="57" y="212"/>
                  <a:pt x="55" y="213"/>
                  <a:pt x="54" y="214"/>
                </a:cubicBezTo>
                <a:close/>
                <a:moveTo>
                  <a:pt x="51" y="21"/>
                </a:moveTo>
                <a:cubicBezTo>
                  <a:pt x="51" y="22"/>
                  <a:pt x="52" y="23"/>
                  <a:pt x="53" y="23"/>
                </a:cubicBezTo>
                <a:cubicBezTo>
                  <a:pt x="72" y="23"/>
                  <a:pt x="72" y="23"/>
                  <a:pt x="72" y="23"/>
                </a:cubicBezTo>
                <a:cubicBezTo>
                  <a:pt x="74" y="23"/>
                  <a:pt x="74" y="22"/>
                  <a:pt x="74" y="21"/>
                </a:cubicBezTo>
                <a:cubicBezTo>
                  <a:pt x="74" y="19"/>
                  <a:pt x="74" y="19"/>
                  <a:pt x="72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2" y="19"/>
                  <a:pt x="51" y="19"/>
                  <a:pt x="51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" name="Freeform 27"/>
          <p:cNvSpPr>
            <a:spLocks noEditPoints="1"/>
          </p:cNvSpPr>
          <p:nvPr/>
        </p:nvSpPr>
        <p:spPr bwMode="auto">
          <a:xfrm>
            <a:off x="4447177" y="1758446"/>
            <a:ext cx="246470" cy="246470"/>
          </a:xfrm>
          <a:custGeom>
            <a:avLst/>
            <a:gdLst>
              <a:gd name="T0" fmla="*/ 0 w 188"/>
              <a:gd name="T1" fmla="*/ 8 h 187"/>
              <a:gd name="T2" fmla="*/ 3 w 188"/>
              <a:gd name="T3" fmla="*/ 3 h 187"/>
              <a:gd name="T4" fmla="*/ 9 w 188"/>
              <a:gd name="T5" fmla="*/ 0 h 187"/>
              <a:gd name="T6" fmla="*/ 180 w 188"/>
              <a:gd name="T7" fmla="*/ 0 h 187"/>
              <a:gd name="T8" fmla="*/ 185 w 188"/>
              <a:gd name="T9" fmla="*/ 3 h 187"/>
              <a:gd name="T10" fmla="*/ 188 w 188"/>
              <a:gd name="T11" fmla="*/ 8 h 187"/>
              <a:gd name="T12" fmla="*/ 188 w 188"/>
              <a:gd name="T13" fmla="*/ 147 h 187"/>
              <a:gd name="T14" fmla="*/ 185 w 188"/>
              <a:gd name="T15" fmla="*/ 153 h 187"/>
              <a:gd name="T16" fmla="*/ 180 w 188"/>
              <a:gd name="T17" fmla="*/ 156 h 187"/>
              <a:gd name="T18" fmla="*/ 113 w 188"/>
              <a:gd name="T19" fmla="*/ 156 h 187"/>
              <a:gd name="T20" fmla="*/ 116 w 188"/>
              <a:gd name="T21" fmla="*/ 180 h 187"/>
              <a:gd name="T22" fmla="*/ 121 w 188"/>
              <a:gd name="T23" fmla="*/ 186 h 187"/>
              <a:gd name="T24" fmla="*/ 121 w 188"/>
              <a:gd name="T25" fmla="*/ 186 h 187"/>
              <a:gd name="T26" fmla="*/ 120 w 188"/>
              <a:gd name="T27" fmla="*/ 187 h 187"/>
              <a:gd name="T28" fmla="*/ 117 w 188"/>
              <a:gd name="T29" fmla="*/ 187 h 187"/>
              <a:gd name="T30" fmla="*/ 116 w 188"/>
              <a:gd name="T31" fmla="*/ 187 h 187"/>
              <a:gd name="T32" fmla="*/ 73 w 188"/>
              <a:gd name="T33" fmla="*/ 187 h 187"/>
              <a:gd name="T34" fmla="*/ 67 w 188"/>
              <a:gd name="T35" fmla="*/ 186 h 187"/>
              <a:gd name="T36" fmla="*/ 67 w 188"/>
              <a:gd name="T37" fmla="*/ 186 h 187"/>
              <a:gd name="T38" fmla="*/ 72 w 188"/>
              <a:gd name="T39" fmla="*/ 180 h 187"/>
              <a:gd name="T40" fmla="*/ 75 w 188"/>
              <a:gd name="T41" fmla="*/ 156 h 187"/>
              <a:gd name="T42" fmla="*/ 9 w 188"/>
              <a:gd name="T43" fmla="*/ 156 h 187"/>
              <a:gd name="T44" fmla="*/ 3 w 188"/>
              <a:gd name="T45" fmla="*/ 153 h 187"/>
              <a:gd name="T46" fmla="*/ 0 w 188"/>
              <a:gd name="T47" fmla="*/ 147 h 187"/>
              <a:gd name="T48" fmla="*/ 0 w 188"/>
              <a:gd name="T49" fmla="*/ 8 h 187"/>
              <a:gd name="T50" fmla="*/ 11 w 188"/>
              <a:gd name="T51" fmla="*/ 117 h 187"/>
              <a:gd name="T52" fmla="*/ 177 w 188"/>
              <a:gd name="T53" fmla="*/ 117 h 187"/>
              <a:gd name="T54" fmla="*/ 177 w 188"/>
              <a:gd name="T55" fmla="*/ 11 h 187"/>
              <a:gd name="T56" fmla="*/ 11 w 188"/>
              <a:gd name="T57" fmla="*/ 11 h 187"/>
              <a:gd name="T58" fmla="*/ 11 w 188"/>
              <a:gd name="T59" fmla="*/ 117 h 187"/>
              <a:gd name="T60" fmla="*/ 90 w 188"/>
              <a:gd name="T61" fmla="*/ 130 h 187"/>
              <a:gd name="T62" fmla="*/ 89 w 188"/>
              <a:gd name="T63" fmla="*/ 134 h 187"/>
              <a:gd name="T64" fmla="*/ 90 w 188"/>
              <a:gd name="T65" fmla="*/ 138 h 187"/>
              <a:gd name="T66" fmla="*/ 94 w 188"/>
              <a:gd name="T67" fmla="*/ 139 h 187"/>
              <a:gd name="T68" fmla="*/ 98 w 188"/>
              <a:gd name="T69" fmla="*/ 138 h 187"/>
              <a:gd name="T70" fmla="*/ 99 w 188"/>
              <a:gd name="T71" fmla="*/ 134 h 187"/>
              <a:gd name="T72" fmla="*/ 98 w 188"/>
              <a:gd name="T73" fmla="*/ 130 h 187"/>
              <a:gd name="T74" fmla="*/ 94 w 188"/>
              <a:gd name="T75" fmla="*/ 129 h 187"/>
              <a:gd name="T76" fmla="*/ 90 w 188"/>
              <a:gd name="T77" fmla="*/ 13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8" h="187">
                <a:moveTo>
                  <a:pt x="0" y="8"/>
                </a:moveTo>
                <a:cubicBezTo>
                  <a:pt x="0" y="6"/>
                  <a:pt x="1" y="4"/>
                  <a:pt x="3" y="3"/>
                </a:cubicBezTo>
                <a:cubicBezTo>
                  <a:pt x="4" y="1"/>
                  <a:pt x="6" y="0"/>
                  <a:pt x="9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2" y="0"/>
                  <a:pt x="184" y="1"/>
                  <a:pt x="185" y="3"/>
                </a:cubicBezTo>
                <a:cubicBezTo>
                  <a:pt x="187" y="4"/>
                  <a:pt x="188" y="6"/>
                  <a:pt x="188" y="8"/>
                </a:cubicBezTo>
                <a:cubicBezTo>
                  <a:pt x="188" y="147"/>
                  <a:pt x="188" y="147"/>
                  <a:pt x="188" y="147"/>
                </a:cubicBezTo>
                <a:cubicBezTo>
                  <a:pt x="188" y="150"/>
                  <a:pt x="187" y="152"/>
                  <a:pt x="185" y="153"/>
                </a:cubicBezTo>
                <a:cubicBezTo>
                  <a:pt x="184" y="155"/>
                  <a:pt x="182" y="156"/>
                  <a:pt x="180" y="156"/>
                </a:cubicBezTo>
                <a:cubicBezTo>
                  <a:pt x="113" y="156"/>
                  <a:pt x="113" y="156"/>
                  <a:pt x="113" y="156"/>
                </a:cubicBezTo>
                <a:cubicBezTo>
                  <a:pt x="116" y="180"/>
                  <a:pt x="116" y="180"/>
                  <a:pt x="116" y="180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7"/>
                  <a:pt x="121" y="187"/>
                  <a:pt x="120" y="187"/>
                </a:cubicBezTo>
                <a:cubicBezTo>
                  <a:pt x="119" y="187"/>
                  <a:pt x="118" y="187"/>
                  <a:pt x="117" y="187"/>
                </a:cubicBezTo>
                <a:cubicBezTo>
                  <a:pt x="116" y="187"/>
                  <a:pt x="116" y="187"/>
                  <a:pt x="116" y="187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9" y="187"/>
                  <a:pt x="67" y="187"/>
                  <a:pt x="67" y="186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72" y="180"/>
                  <a:pt x="72" y="180"/>
                  <a:pt x="72" y="180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9" y="156"/>
                  <a:pt x="9" y="156"/>
                  <a:pt x="9" y="156"/>
                </a:cubicBezTo>
                <a:cubicBezTo>
                  <a:pt x="6" y="156"/>
                  <a:pt x="4" y="155"/>
                  <a:pt x="3" y="153"/>
                </a:cubicBezTo>
                <a:cubicBezTo>
                  <a:pt x="1" y="152"/>
                  <a:pt x="0" y="150"/>
                  <a:pt x="0" y="147"/>
                </a:cubicBezTo>
                <a:lnTo>
                  <a:pt x="0" y="8"/>
                </a:lnTo>
                <a:close/>
                <a:moveTo>
                  <a:pt x="11" y="117"/>
                </a:moveTo>
                <a:cubicBezTo>
                  <a:pt x="177" y="117"/>
                  <a:pt x="177" y="117"/>
                  <a:pt x="177" y="117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117"/>
                </a:lnTo>
                <a:close/>
                <a:moveTo>
                  <a:pt x="90" y="130"/>
                </a:moveTo>
                <a:cubicBezTo>
                  <a:pt x="89" y="131"/>
                  <a:pt x="89" y="133"/>
                  <a:pt x="89" y="134"/>
                </a:cubicBezTo>
                <a:cubicBezTo>
                  <a:pt x="89" y="136"/>
                  <a:pt x="89" y="137"/>
                  <a:pt x="90" y="138"/>
                </a:cubicBezTo>
                <a:cubicBezTo>
                  <a:pt x="91" y="139"/>
                  <a:pt x="93" y="139"/>
                  <a:pt x="94" y="139"/>
                </a:cubicBezTo>
                <a:cubicBezTo>
                  <a:pt x="96" y="139"/>
                  <a:pt x="97" y="139"/>
                  <a:pt x="98" y="138"/>
                </a:cubicBezTo>
                <a:cubicBezTo>
                  <a:pt x="99" y="137"/>
                  <a:pt x="99" y="136"/>
                  <a:pt x="99" y="134"/>
                </a:cubicBezTo>
                <a:cubicBezTo>
                  <a:pt x="99" y="133"/>
                  <a:pt x="99" y="131"/>
                  <a:pt x="98" y="130"/>
                </a:cubicBezTo>
                <a:cubicBezTo>
                  <a:pt x="97" y="129"/>
                  <a:pt x="96" y="129"/>
                  <a:pt x="94" y="129"/>
                </a:cubicBezTo>
                <a:cubicBezTo>
                  <a:pt x="93" y="129"/>
                  <a:pt x="91" y="129"/>
                  <a:pt x="90" y="1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54976" y="1559916"/>
            <a:ext cx="2275376" cy="488972"/>
            <a:chOff x="1454976" y="1559916"/>
            <a:chExt cx="2275376" cy="488972"/>
          </a:xfrm>
        </p:grpSpPr>
        <p:sp>
          <p:nvSpPr>
            <p:cNvPr id="24" name="TextBox 23"/>
            <p:cNvSpPr txBox="1"/>
            <p:nvPr/>
          </p:nvSpPr>
          <p:spPr>
            <a:xfrm>
              <a:off x="1454976" y="1559916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 Design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454976" y="1727966"/>
              <a:ext cx="227537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84202" y="2625124"/>
            <a:ext cx="2275376" cy="488972"/>
            <a:chOff x="584202" y="2625124"/>
            <a:chExt cx="2275376" cy="488972"/>
          </a:xfrm>
        </p:grpSpPr>
        <p:sp>
          <p:nvSpPr>
            <p:cNvPr id="18" name="TextBox 17"/>
            <p:cNvSpPr txBox="1"/>
            <p:nvPr/>
          </p:nvSpPr>
          <p:spPr>
            <a:xfrm>
              <a:off x="584202" y="2625124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Applications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84202" y="2793174"/>
              <a:ext cx="227537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262200" y="2625124"/>
            <a:ext cx="2275376" cy="488972"/>
            <a:chOff x="6262200" y="2625124"/>
            <a:chExt cx="2275376" cy="488972"/>
          </a:xfrm>
        </p:grpSpPr>
        <p:sp>
          <p:nvSpPr>
            <p:cNvPr id="20" name="TextBox 19"/>
            <p:cNvSpPr txBox="1"/>
            <p:nvPr/>
          </p:nvSpPr>
          <p:spPr>
            <a:xfrm>
              <a:off x="6262200" y="2625124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 Develop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262200" y="2793174"/>
              <a:ext cx="227537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421313" y="3727784"/>
            <a:ext cx="2275376" cy="652734"/>
            <a:chOff x="5421313" y="3727784"/>
            <a:chExt cx="2275376" cy="652734"/>
          </a:xfrm>
        </p:grpSpPr>
        <p:sp>
          <p:nvSpPr>
            <p:cNvPr id="23" name="TextBox 22"/>
            <p:cNvSpPr txBox="1"/>
            <p:nvPr/>
          </p:nvSpPr>
          <p:spPr>
            <a:xfrm>
              <a:off x="5421313" y="3727784"/>
              <a:ext cx="227537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 Domain &amp; Hosting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421313" y="3895834"/>
              <a:ext cx="2275376" cy="4846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mque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22" name="Freeform 143">
            <a:extLst>
              <a:ext uri="{FF2B5EF4-FFF2-40B4-BE49-F238E27FC236}">
                <a16:creationId xmlns:a16="http://schemas.microsoft.com/office/drawing/2014/main" id="{318A7DDA-8E56-4948-87D2-74B4F2837A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47702" y="3770737"/>
            <a:ext cx="261509" cy="251450"/>
          </a:xfrm>
          <a:custGeom>
            <a:avLst/>
            <a:gdLst>
              <a:gd name="T0" fmla="*/ 157 w 157"/>
              <a:gd name="T1" fmla="*/ 112 h 152"/>
              <a:gd name="T2" fmla="*/ 157 w 157"/>
              <a:gd name="T3" fmla="*/ 142 h 152"/>
              <a:gd name="T4" fmla="*/ 155 w 157"/>
              <a:gd name="T5" fmla="*/ 149 h 152"/>
              <a:gd name="T6" fmla="*/ 148 w 157"/>
              <a:gd name="T7" fmla="*/ 152 h 152"/>
              <a:gd name="T8" fmla="*/ 9 w 157"/>
              <a:gd name="T9" fmla="*/ 152 h 152"/>
              <a:gd name="T10" fmla="*/ 3 w 157"/>
              <a:gd name="T11" fmla="*/ 149 h 152"/>
              <a:gd name="T12" fmla="*/ 0 w 157"/>
              <a:gd name="T13" fmla="*/ 142 h 152"/>
              <a:gd name="T14" fmla="*/ 0 w 157"/>
              <a:gd name="T15" fmla="*/ 112 h 152"/>
              <a:gd name="T16" fmla="*/ 3 w 157"/>
              <a:gd name="T17" fmla="*/ 106 h 152"/>
              <a:gd name="T18" fmla="*/ 9 w 157"/>
              <a:gd name="T19" fmla="*/ 103 h 152"/>
              <a:gd name="T20" fmla="*/ 49 w 157"/>
              <a:gd name="T21" fmla="*/ 103 h 152"/>
              <a:gd name="T22" fmla="*/ 56 w 157"/>
              <a:gd name="T23" fmla="*/ 112 h 152"/>
              <a:gd name="T24" fmla="*/ 66 w 157"/>
              <a:gd name="T25" fmla="*/ 115 h 152"/>
              <a:gd name="T26" fmla="*/ 91 w 157"/>
              <a:gd name="T27" fmla="*/ 115 h 152"/>
              <a:gd name="T28" fmla="*/ 101 w 157"/>
              <a:gd name="T29" fmla="*/ 112 h 152"/>
              <a:gd name="T30" fmla="*/ 108 w 157"/>
              <a:gd name="T31" fmla="*/ 103 h 152"/>
              <a:gd name="T32" fmla="*/ 148 w 157"/>
              <a:gd name="T33" fmla="*/ 103 h 152"/>
              <a:gd name="T34" fmla="*/ 155 w 157"/>
              <a:gd name="T35" fmla="*/ 106 h 152"/>
              <a:gd name="T36" fmla="*/ 157 w 157"/>
              <a:gd name="T37" fmla="*/ 112 h 152"/>
              <a:gd name="T38" fmla="*/ 127 w 157"/>
              <a:gd name="T39" fmla="*/ 51 h 152"/>
              <a:gd name="T40" fmla="*/ 121 w 157"/>
              <a:gd name="T41" fmla="*/ 55 h 152"/>
              <a:gd name="T42" fmla="*/ 97 w 157"/>
              <a:gd name="T43" fmla="*/ 55 h 152"/>
              <a:gd name="T44" fmla="*/ 97 w 157"/>
              <a:gd name="T45" fmla="*/ 97 h 152"/>
              <a:gd name="T46" fmla="*/ 95 w 157"/>
              <a:gd name="T47" fmla="*/ 101 h 152"/>
              <a:gd name="T48" fmla="*/ 91 w 157"/>
              <a:gd name="T49" fmla="*/ 103 h 152"/>
              <a:gd name="T50" fmla="*/ 66 w 157"/>
              <a:gd name="T51" fmla="*/ 103 h 152"/>
              <a:gd name="T52" fmla="*/ 62 w 157"/>
              <a:gd name="T53" fmla="*/ 101 h 152"/>
              <a:gd name="T54" fmla="*/ 60 w 157"/>
              <a:gd name="T55" fmla="*/ 97 h 152"/>
              <a:gd name="T56" fmla="*/ 60 w 157"/>
              <a:gd name="T57" fmla="*/ 55 h 152"/>
              <a:gd name="T58" fmla="*/ 36 w 157"/>
              <a:gd name="T59" fmla="*/ 55 h 152"/>
              <a:gd name="T60" fmla="*/ 31 w 157"/>
              <a:gd name="T61" fmla="*/ 51 h 152"/>
              <a:gd name="T62" fmla="*/ 32 w 157"/>
              <a:gd name="T63" fmla="*/ 44 h 152"/>
              <a:gd name="T64" fmla="*/ 74 w 157"/>
              <a:gd name="T65" fmla="*/ 2 h 152"/>
              <a:gd name="T66" fmla="*/ 79 w 157"/>
              <a:gd name="T67" fmla="*/ 0 h 152"/>
              <a:gd name="T68" fmla="*/ 83 w 157"/>
              <a:gd name="T69" fmla="*/ 2 h 152"/>
              <a:gd name="T70" fmla="*/ 125 w 157"/>
              <a:gd name="T71" fmla="*/ 44 h 152"/>
              <a:gd name="T72" fmla="*/ 127 w 157"/>
              <a:gd name="T73" fmla="*/ 51 h 152"/>
              <a:gd name="T74" fmla="*/ 119 w 157"/>
              <a:gd name="T75" fmla="*/ 138 h 152"/>
              <a:gd name="T76" fmla="*/ 121 w 157"/>
              <a:gd name="T77" fmla="*/ 133 h 152"/>
              <a:gd name="T78" fmla="*/ 119 w 157"/>
              <a:gd name="T79" fmla="*/ 129 h 152"/>
              <a:gd name="T80" fmla="*/ 115 w 157"/>
              <a:gd name="T81" fmla="*/ 127 h 152"/>
              <a:gd name="T82" fmla="*/ 111 w 157"/>
              <a:gd name="T83" fmla="*/ 129 h 152"/>
              <a:gd name="T84" fmla="*/ 109 w 157"/>
              <a:gd name="T85" fmla="*/ 133 h 152"/>
              <a:gd name="T86" fmla="*/ 111 w 157"/>
              <a:gd name="T87" fmla="*/ 138 h 152"/>
              <a:gd name="T88" fmla="*/ 115 w 157"/>
              <a:gd name="T89" fmla="*/ 139 h 152"/>
              <a:gd name="T90" fmla="*/ 119 w 157"/>
              <a:gd name="T91" fmla="*/ 138 h 152"/>
              <a:gd name="T92" fmla="*/ 143 w 157"/>
              <a:gd name="T93" fmla="*/ 138 h 152"/>
              <a:gd name="T94" fmla="*/ 145 w 157"/>
              <a:gd name="T95" fmla="*/ 133 h 152"/>
              <a:gd name="T96" fmla="*/ 143 w 157"/>
              <a:gd name="T97" fmla="*/ 129 h 152"/>
              <a:gd name="T98" fmla="*/ 139 w 157"/>
              <a:gd name="T99" fmla="*/ 127 h 152"/>
              <a:gd name="T100" fmla="*/ 135 w 157"/>
              <a:gd name="T101" fmla="*/ 129 h 152"/>
              <a:gd name="T102" fmla="*/ 133 w 157"/>
              <a:gd name="T103" fmla="*/ 133 h 152"/>
              <a:gd name="T104" fmla="*/ 135 w 157"/>
              <a:gd name="T105" fmla="*/ 138 h 152"/>
              <a:gd name="T106" fmla="*/ 139 w 157"/>
              <a:gd name="T107" fmla="*/ 139 h 152"/>
              <a:gd name="T108" fmla="*/ 143 w 157"/>
              <a:gd name="T109" fmla="*/ 138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7" h="152">
                <a:moveTo>
                  <a:pt x="157" y="112"/>
                </a:moveTo>
                <a:cubicBezTo>
                  <a:pt x="157" y="142"/>
                  <a:pt x="157" y="142"/>
                  <a:pt x="157" y="142"/>
                </a:cubicBezTo>
                <a:cubicBezTo>
                  <a:pt x="157" y="145"/>
                  <a:pt x="156" y="147"/>
                  <a:pt x="155" y="149"/>
                </a:cubicBezTo>
                <a:cubicBezTo>
                  <a:pt x="153" y="151"/>
                  <a:pt x="151" y="152"/>
                  <a:pt x="148" y="152"/>
                </a:cubicBezTo>
                <a:cubicBezTo>
                  <a:pt x="9" y="152"/>
                  <a:pt x="9" y="152"/>
                  <a:pt x="9" y="152"/>
                </a:cubicBezTo>
                <a:cubicBezTo>
                  <a:pt x="6" y="152"/>
                  <a:pt x="4" y="151"/>
                  <a:pt x="3" y="149"/>
                </a:cubicBezTo>
                <a:cubicBezTo>
                  <a:pt x="1" y="147"/>
                  <a:pt x="0" y="145"/>
                  <a:pt x="0" y="14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0"/>
                  <a:pt x="1" y="108"/>
                  <a:pt x="3" y="106"/>
                </a:cubicBezTo>
                <a:cubicBezTo>
                  <a:pt x="4" y="104"/>
                  <a:pt x="6" y="103"/>
                  <a:pt x="9" y="103"/>
                </a:cubicBezTo>
                <a:cubicBezTo>
                  <a:pt x="49" y="103"/>
                  <a:pt x="49" y="103"/>
                  <a:pt x="49" y="103"/>
                </a:cubicBezTo>
                <a:cubicBezTo>
                  <a:pt x="51" y="107"/>
                  <a:pt x="53" y="110"/>
                  <a:pt x="56" y="112"/>
                </a:cubicBezTo>
                <a:cubicBezTo>
                  <a:pt x="59" y="114"/>
                  <a:pt x="63" y="115"/>
                  <a:pt x="66" y="115"/>
                </a:cubicBezTo>
                <a:cubicBezTo>
                  <a:pt x="91" y="115"/>
                  <a:pt x="91" y="115"/>
                  <a:pt x="91" y="115"/>
                </a:cubicBezTo>
                <a:cubicBezTo>
                  <a:pt x="95" y="115"/>
                  <a:pt x="98" y="114"/>
                  <a:pt x="101" y="112"/>
                </a:cubicBezTo>
                <a:cubicBezTo>
                  <a:pt x="104" y="110"/>
                  <a:pt x="106" y="107"/>
                  <a:pt x="108" y="103"/>
                </a:cubicBezTo>
                <a:cubicBezTo>
                  <a:pt x="148" y="103"/>
                  <a:pt x="148" y="103"/>
                  <a:pt x="148" y="103"/>
                </a:cubicBezTo>
                <a:cubicBezTo>
                  <a:pt x="151" y="103"/>
                  <a:pt x="153" y="104"/>
                  <a:pt x="155" y="106"/>
                </a:cubicBezTo>
                <a:cubicBezTo>
                  <a:pt x="156" y="108"/>
                  <a:pt x="157" y="110"/>
                  <a:pt x="157" y="112"/>
                </a:cubicBezTo>
                <a:close/>
                <a:moveTo>
                  <a:pt x="127" y="51"/>
                </a:moveTo>
                <a:cubicBezTo>
                  <a:pt x="125" y="53"/>
                  <a:pt x="124" y="55"/>
                  <a:pt x="121" y="55"/>
                </a:cubicBezTo>
                <a:cubicBezTo>
                  <a:pt x="97" y="55"/>
                  <a:pt x="97" y="55"/>
                  <a:pt x="97" y="55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99"/>
                  <a:pt x="96" y="100"/>
                  <a:pt x="95" y="101"/>
                </a:cubicBezTo>
                <a:cubicBezTo>
                  <a:pt x="94" y="103"/>
                  <a:pt x="92" y="103"/>
                  <a:pt x="91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5" y="103"/>
                  <a:pt x="63" y="103"/>
                  <a:pt x="62" y="101"/>
                </a:cubicBezTo>
                <a:cubicBezTo>
                  <a:pt x="61" y="100"/>
                  <a:pt x="60" y="99"/>
                  <a:pt x="60" y="97"/>
                </a:cubicBezTo>
                <a:cubicBezTo>
                  <a:pt x="60" y="55"/>
                  <a:pt x="60" y="55"/>
                  <a:pt x="60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4" y="55"/>
                  <a:pt x="32" y="53"/>
                  <a:pt x="31" y="51"/>
                </a:cubicBezTo>
                <a:cubicBezTo>
                  <a:pt x="30" y="49"/>
                  <a:pt x="30" y="46"/>
                  <a:pt x="32" y="44"/>
                </a:cubicBezTo>
                <a:cubicBezTo>
                  <a:pt x="74" y="2"/>
                  <a:pt x="74" y="2"/>
                  <a:pt x="74" y="2"/>
                </a:cubicBezTo>
                <a:cubicBezTo>
                  <a:pt x="75" y="1"/>
                  <a:pt x="77" y="0"/>
                  <a:pt x="79" y="0"/>
                </a:cubicBezTo>
                <a:cubicBezTo>
                  <a:pt x="80" y="0"/>
                  <a:pt x="82" y="1"/>
                  <a:pt x="83" y="2"/>
                </a:cubicBezTo>
                <a:cubicBezTo>
                  <a:pt x="125" y="44"/>
                  <a:pt x="125" y="44"/>
                  <a:pt x="125" y="44"/>
                </a:cubicBezTo>
                <a:cubicBezTo>
                  <a:pt x="127" y="46"/>
                  <a:pt x="128" y="49"/>
                  <a:pt x="127" y="51"/>
                </a:cubicBezTo>
                <a:close/>
                <a:moveTo>
                  <a:pt x="119" y="138"/>
                </a:moveTo>
                <a:cubicBezTo>
                  <a:pt x="120" y="136"/>
                  <a:pt x="121" y="135"/>
                  <a:pt x="121" y="133"/>
                </a:cubicBezTo>
                <a:cubicBezTo>
                  <a:pt x="121" y="132"/>
                  <a:pt x="120" y="130"/>
                  <a:pt x="119" y="129"/>
                </a:cubicBezTo>
                <a:cubicBezTo>
                  <a:pt x="118" y="128"/>
                  <a:pt x="117" y="127"/>
                  <a:pt x="115" y="127"/>
                </a:cubicBezTo>
                <a:cubicBezTo>
                  <a:pt x="113" y="127"/>
                  <a:pt x="112" y="128"/>
                  <a:pt x="111" y="129"/>
                </a:cubicBezTo>
                <a:cubicBezTo>
                  <a:pt x="109" y="130"/>
                  <a:pt x="109" y="132"/>
                  <a:pt x="109" y="133"/>
                </a:cubicBezTo>
                <a:cubicBezTo>
                  <a:pt x="109" y="135"/>
                  <a:pt x="109" y="136"/>
                  <a:pt x="111" y="138"/>
                </a:cubicBezTo>
                <a:cubicBezTo>
                  <a:pt x="112" y="139"/>
                  <a:pt x="113" y="139"/>
                  <a:pt x="115" y="139"/>
                </a:cubicBezTo>
                <a:cubicBezTo>
                  <a:pt x="117" y="139"/>
                  <a:pt x="118" y="139"/>
                  <a:pt x="119" y="138"/>
                </a:cubicBezTo>
                <a:close/>
                <a:moveTo>
                  <a:pt x="143" y="138"/>
                </a:moveTo>
                <a:cubicBezTo>
                  <a:pt x="145" y="136"/>
                  <a:pt x="145" y="135"/>
                  <a:pt x="145" y="133"/>
                </a:cubicBezTo>
                <a:cubicBezTo>
                  <a:pt x="145" y="132"/>
                  <a:pt x="145" y="130"/>
                  <a:pt x="143" y="129"/>
                </a:cubicBezTo>
                <a:cubicBezTo>
                  <a:pt x="142" y="128"/>
                  <a:pt x="141" y="127"/>
                  <a:pt x="139" y="127"/>
                </a:cubicBezTo>
                <a:cubicBezTo>
                  <a:pt x="137" y="127"/>
                  <a:pt x="136" y="128"/>
                  <a:pt x="135" y="129"/>
                </a:cubicBezTo>
                <a:cubicBezTo>
                  <a:pt x="134" y="130"/>
                  <a:pt x="133" y="132"/>
                  <a:pt x="133" y="133"/>
                </a:cubicBezTo>
                <a:cubicBezTo>
                  <a:pt x="133" y="135"/>
                  <a:pt x="134" y="136"/>
                  <a:pt x="135" y="138"/>
                </a:cubicBezTo>
                <a:cubicBezTo>
                  <a:pt x="136" y="139"/>
                  <a:pt x="137" y="139"/>
                  <a:pt x="139" y="139"/>
                </a:cubicBezTo>
                <a:cubicBezTo>
                  <a:pt x="141" y="139"/>
                  <a:pt x="142" y="139"/>
                  <a:pt x="143" y="1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" name="Freeform 168">
            <a:extLst>
              <a:ext uri="{FF2B5EF4-FFF2-40B4-BE49-F238E27FC236}">
                <a16:creationId xmlns:a16="http://schemas.microsoft.com/office/drawing/2014/main" id="{574CE153-91B7-4E53-BEB5-C72D5C5D661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66164" y="2762434"/>
            <a:ext cx="261509" cy="258996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1427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mart-Art </a:t>
            </a:r>
            <a:r>
              <a:rPr lang="en-US">
                <a:solidFill>
                  <a:schemeClr val="accent2"/>
                </a:solidFill>
              </a:rPr>
              <a:t>Continuous Cycle 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751270959"/>
              </p:ext>
            </p:extLst>
          </p:nvPr>
        </p:nvGraphicFramePr>
        <p:xfrm>
          <a:off x="2413079" y="1625600"/>
          <a:ext cx="4200365" cy="25882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Oval 11"/>
          <p:cNvSpPr/>
          <p:nvPr/>
        </p:nvSpPr>
        <p:spPr>
          <a:xfrm>
            <a:off x="3970971" y="2476500"/>
            <a:ext cx="1084580" cy="108458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ts val="1700"/>
              </a:lnSpc>
            </a:pPr>
            <a:r>
              <a:rPr lang="en-US" sz="1000" b="1">
                <a:latin typeface="+mj-lt"/>
              </a:rPr>
              <a:t>SERVICES WORK-FLOW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84202" y="2392270"/>
            <a:ext cx="2174238" cy="488972"/>
            <a:chOff x="584202" y="2392270"/>
            <a:chExt cx="2174238" cy="488972"/>
          </a:xfrm>
        </p:grpSpPr>
        <p:sp>
          <p:nvSpPr>
            <p:cNvPr id="19" name="TextBox 18"/>
            <p:cNvSpPr txBox="1"/>
            <p:nvPr/>
          </p:nvSpPr>
          <p:spPr>
            <a:xfrm>
              <a:off x="584202" y="2392270"/>
              <a:ext cx="2174238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arketing &amp; Promotion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4202" y="2560320"/>
              <a:ext cx="217423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268082" y="2392270"/>
            <a:ext cx="2174238" cy="488972"/>
            <a:chOff x="6268082" y="2392270"/>
            <a:chExt cx="2174238" cy="488972"/>
          </a:xfrm>
        </p:grpSpPr>
        <p:sp>
          <p:nvSpPr>
            <p:cNvPr id="21" name="TextBox 20"/>
            <p:cNvSpPr txBox="1"/>
            <p:nvPr/>
          </p:nvSpPr>
          <p:spPr>
            <a:xfrm>
              <a:off x="6268082" y="2392270"/>
              <a:ext cx="2174238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Planning &amp; Scheduling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268082" y="2560320"/>
              <a:ext cx="217423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001387" y="3703974"/>
            <a:ext cx="2174238" cy="488972"/>
            <a:chOff x="6001387" y="3703974"/>
            <a:chExt cx="2174238" cy="488972"/>
          </a:xfrm>
        </p:grpSpPr>
        <p:sp>
          <p:nvSpPr>
            <p:cNvPr id="23" name="TextBox 22"/>
            <p:cNvSpPr txBox="1"/>
            <p:nvPr/>
          </p:nvSpPr>
          <p:spPr>
            <a:xfrm>
              <a:off x="6001387" y="3703974"/>
              <a:ext cx="2174238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Sketch &amp; Design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001387" y="3872024"/>
              <a:ext cx="217423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38516" y="3703974"/>
            <a:ext cx="2174238" cy="488972"/>
            <a:chOff x="838516" y="3703974"/>
            <a:chExt cx="2174238" cy="488972"/>
          </a:xfrm>
        </p:grpSpPr>
        <p:sp>
          <p:nvSpPr>
            <p:cNvPr id="25" name="TextBox 24"/>
            <p:cNvSpPr txBox="1"/>
            <p:nvPr/>
          </p:nvSpPr>
          <p:spPr>
            <a:xfrm>
              <a:off x="838516" y="3703974"/>
              <a:ext cx="2174238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Development &amp; Deployment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38516" y="3872024"/>
              <a:ext cx="217423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500026" y="1559103"/>
            <a:ext cx="2174238" cy="488972"/>
            <a:chOff x="5500026" y="1559103"/>
            <a:chExt cx="2174238" cy="488972"/>
          </a:xfrm>
        </p:grpSpPr>
        <p:sp>
          <p:nvSpPr>
            <p:cNvPr id="27" name="TextBox 26"/>
            <p:cNvSpPr txBox="1"/>
            <p:nvPr/>
          </p:nvSpPr>
          <p:spPr>
            <a:xfrm>
              <a:off x="5500026" y="1559103"/>
              <a:ext cx="2174238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Policy &amp; Concept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500026" y="1727153"/>
              <a:ext cx="217423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29" name="Freeform 385">
            <a:extLst>
              <a:ext uri="{FF2B5EF4-FFF2-40B4-BE49-F238E27FC236}">
                <a16:creationId xmlns:a16="http://schemas.microsoft.com/office/drawing/2014/main" id="{F0AF1D4D-CE7E-4E8C-AFB5-4A2DEE3278F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07523" y="2544619"/>
            <a:ext cx="281624" cy="243907"/>
          </a:xfrm>
          <a:custGeom>
            <a:avLst/>
            <a:gdLst>
              <a:gd name="T0" fmla="*/ 158 w 170"/>
              <a:gd name="T1" fmla="*/ 49 h 146"/>
              <a:gd name="T2" fmla="*/ 166 w 170"/>
              <a:gd name="T3" fmla="*/ 52 h 146"/>
              <a:gd name="T4" fmla="*/ 170 w 170"/>
              <a:gd name="T5" fmla="*/ 61 h 146"/>
              <a:gd name="T6" fmla="*/ 166 w 170"/>
              <a:gd name="T7" fmla="*/ 69 h 146"/>
              <a:gd name="T8" fmla="*/ 158 w 170"/>
              <a:gd name="T9" fmla="*/ 73 h 146"/>
              <a:gd name="T10" fmla="*/ 158 w 170"/>
              <a:gd name="T11" fmla="*/ 109 h 146"/>
              <a:gd name="T12" fmla="*/ 154 w 170"/>
              <a:gd name="T13" fmla="*/ 118 h 146"/>
              <a:gd name="T14" fmla="*/ 146 w 170"/>
              <a:gd name="T15" fmla="*/ 121 h 146"/>
              <a:gd name="T16" fmla="*/ 69 w 170"/>
              <a:gd name="T17" fmla="*/ 85 h 146"/>
              <a:gd name="T18" fmla="*/ 60 w 170"/>
              <a:gd name="T19" fmla="*/ 92 h 146"/>
              <a:gd name="T20" fmla="*/ 57 w 170"/>
              <a:gd name="T21" fmla="*/ 101 h 146"/>
              <a:gd name="T22" fmla="*/ 61 w 170"/>
              <a:gd name="T23" fmla="*/ 110 h 146"/>
              <a:gd name="T24" fmla="*/ 59 w 170"/>
              <a:gd name="T25" fmla="*/ 116 h 146"/>
              <a:gd name="T26" fmla="*/ 59 w 170"/>
              <a:gd name="T27" fmla="*/ 122 h 146"/>
              <a:gd name="T28" fmla="*/ 63 w 170"/>
              <a:gd name="T29" fmla="*/ 127 h 146"/>
              <a:gd name="T30" fmla="*/ 67 w 170"/>
              <a:gd name="T31" fmla="*/ 131 h 146"/>
              <a:gd name="T32" fmla="*/ 73 w 170"/>
              <a:gd name="T33" fmla="*/ 136 h 146"/>
              <a:gd name="T34" fmla="*/ 62 w 170"/>
              <a:gd name="T35" fmla="*/ 144 h 146"/>
              <a:gd name="T36" fmla="*/ 47 w 170"/>
              <a:gd name="T37" fmla="*/ 145 h 146"/>
              <a:gd name="T38" fmla="*/ 34 w 170"/>
              <a:gd name="T39" fmla="*/ 140 h 146"/>
              <a:gd name="T40" fmla="*/ 31 w 170"/>
              <a:gd name="T41" fmla="*/ 132 h 146"/>
              <a:gd name="T42" fmla="*/ 28 w 170"/>
              <a:gd name="T43" fmla="*/ 123 h 146"/>
              <a:gd name="T44" fmla="*/ 26 w 170"/>
              <a:gd name="T45" fmla="*/ 114 h 146"/>
              <a:gd name="T46" fmla="*/ 25 w 170"/>
              <a:gd name="T47" fmla="*/ 105 h 146"/>
              <a:gd name="T48" fmla="*/ 25 w 170"/>
              <a:gd name="T49" fmla="*/ 95 h 146"/>
              <a:gd name="T50" fmla="*/ 27 w 170"/>
              <a:gd name="T51" fmla="*/ 85 h 146"/>
              <a:gd name="T52" fmla="*/ 15 w 170"/>
              <a:gd name="T53" fmla="*/ 85 h 146"/>
              <a:gd name="T54" fmla="*/ 5 w 170"/>
              <a:gd name="T55" fmla="*/ 81 h 146"/>
              <a:gd name="T56" fmla="*/ 0 w 170"/>
              <a:gd name="T57" fmla="*/ 70 h 146"/>
              <a:gd name="T58" fmla="*/ 0 w 170"/>
              <a:gd name="T59" fmla="*/ 52 h 146"/>
              <a:gd name="T60" fmla="*/ 5 w 170"/>
              <a:gd name="T61" fmla="*/ 41 h 146"/>
              <a:gd name="T62" fmla="*/ 15 w 170"/>
              <a:gd name="T63" fmla="*/ 37 h 146"/>
              <a:gd name="T64" fmla="*/ 61 w 170"/>
              <a:gd name="T65" fmla="*/ 37 h 146"/>
              <a:gd name="T66" fmla="*/ 146 w 170"/>
              <a:gd name="T67" fmla="*/ 0 h 146"/>
              <a:gd name="T68" fmla="*/ 154 w 170"/>
              <a:gd name="T69" fmla="*/ 4 h 146"/>
              <a:gd name="T70" fmla="*/ 158 w 170"/>
              <a:gd name="T71" fmla="*/ 12 h 146"/>
              <a:gd name="T72" fmla="*/ 158 w 170"/>
              <a:gd name="T73" fmla="*/ 49 h 146"/>
              <a:gd name="T74" fmla="*/ 146 w 170"/>
              <a:gd name="T75" fmla="*/ 106 h 146"/>
              <a:gd name="T76" fmla="*/ 146 w 170"/>
              <a:gd name="T77" fmla="*/ 16 h 146"/>
              <a:gd name="T78" fmla="*/ 73 w 170"/>
              <a:gd name="T79" fmla="*/ 48 h 146"/>
              <a:gd name="T80" fmla="*/ 73 w 170"/>
              <a:gd name="T81" fmla="*/ 74 h 146"/>
              <a:gd name="T82" fmla="*/ 146 w 170"/>
              <a:gd name="T83" fmla="*/ 10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0" h="146">
                <a:moveTo>
                  <a:pt x="158" y="49"/>
                </a:moveTo>
                <a:cubicBezTo>
                  <a:pt x="161" y="49"/>
                  <a:pt x="164" y="50"/>
                  <a:pt x="166" y="52"/>
                </a:cubicBezTo>
                <a:cubicBezTo>
                  <a:pt x="169" y="55"/>
                  <a:pt x="170" y="57"/>
                  <a:pt x="170" y="61"/>
                </a:cubicBezTo>
                <a:cubicBezTo>
                  <a:pt x="170" y="64"/>
                  <a:pt x="169" y="67"/>
                  <a:pt x="166" y="69"/>
                </a:cubicBezTo>
                <a:cubicBezTo>
                  <a:pt x="164" y="72"/>
                  <a:pt x="161" y="73"/>
                  <a:pt x="158" y="73"/>
                </a:cubicBezTo>
                <a:cubicBezTo>
                  <a:pt x="158" y="109"/>
                  <a:pt x="158" y="109"/>
                  <a:pt x="158" y="109"/>
                </a:cubicBezTo>
                <a:cubicBezTo>
                  <a:pt x="158" y="112"/>
                  <a:pt x="156" y="115"/>
                  <a:pt x="154" y="118"/>
                </a:cubicBezTo>
                <a:cubicBezTo>
                  <a:pt x="152" y="120"/>
                  <a:pt x="149" y="121"/>
                  <a:pt x="146" y="121"/>
                </a:cubicBezTo>
                <a:cubicBezTo>
                  <a:pt x="119" y="99"/>
                  <a:pt x="94" y="87"/>
                  <a:pt x="69" y="85"/>
                </a:cubicBezTo>
                <a:cubicBezTo>
                  <a:pt x="65" y="87"/>
                  <a:pt x="62" y="89"/>
                  <a:pt x="60" y="92"/>
                </a:cubicBezTo>
                <a:cubicBezTo>
                  <a:pt x="58" y="95"/>
                  <a:pt x="57" y="98"/>
                  <a:pt x="57" y="101"/>
                </a:cubicBezTo>
                <a:cubicBezTo>
                  <a:pt x="57" y="105"/>
                  <a:pt x="59" y="107"/>
                  <a:pt x="61" y="110"/>
                </a:cubicBezTo>
                <a:cubicBezTo>
                  <a:pt x="60" y="112"/>
                  <a:pt x="59" y="114"/>
                  <a:pt x="59" y="116"/>
                </a:cubicBezTo>
                <a:cubicBezTo>
                  <a:pt x="59" y="118"/>
                  <a:pt x="59" y="120"/>
                  <a:pt x="59" y="122"/>
                </a:cubicBezTo>
                <a:cubicBezTo>
                  <a:pt x="60" y="123"/>
                  <a:pt x="61" y="125"/>
                  <a:pt x="63" y="127"/>
                </a:cubicBezTo>
                <a:cubicBezTo>
                  <a:pt x="64" y="129"/>
                  <a:pt x="66" y="130"/>
                  <a:pt x="67" y="131"/>
                </a:cubicBezTo>
                <a:cubicBezTo>
                  <a:pt x="69" y="133"/>
                  <a:pt x="71" y="134"/>
                  <a:pt x="73" y="136"/>
                </a:cubicBezTo>
                <a:cubicBezTo>
                  <a:pt x="71" y="140"/>
                  <a:pt x="68" y="143"/>
                  <a:pt x="62" y="144"/>
                </a:cubicBezTo>
                <a:cubicBezTo>
                  <a:pt x="57" y="146"/>
                  <a:pt x="52" y="146"/>
                  <a:pt x="47" y="145"/>
                </a:cubicBezTo>
                <a:cubicBezTo>
                  <a:pt x="41" y="144"/>
                  <a:pt x="37" y="143"/>
                  <a:pt x="34" y="140"/>
                </a:cubicBezTo>
                <a:cubicBezTo>
                  <a:pt x="34" y="138"/>
                  <a:pt x="33" y="136"/>
                  <a:pt x="31" y="132"/>
                </a:cubicBezTo>
                <a:cubicBezTo>
                  <a:pt x="30" y="128"/>
                  <a:pt x="29" y="125"/>
                  <a:pt x="28" y="123"/>
                </a:cubicBezTo>
                <a:cubicBezTo>
                  <a:pt x="28" y="121"/>
                  <a:pt x="27" y="118"/>
                  <a:pt x="26" y="114"/>
                </a:cubicBezTo>
                <a:cubicBezTo>
                  <a:pt x="25" y="111"/>
                  <a:pt x="25" y="107"/>
                  <a:pt x="25" y="105"/>
                </a:cubicBezTo>
                <a:cubicBezTo>
                  <a:pt x="25" y="102"/>
                  <a:pt x="25" y="99"/>
                  <a:pt x="25" y="95"/>
                </a:cubicBezTo>
                <a:cubicBezTo>
                  <a:pt x="25" y="92"/>
                  <a:pt x="26" y="88"/>
                  <a:pt x="27" y="85"/>
                </a:cubicBezTo>
                <a:cubicBezTo>
                  <a:pt x="15" y="85"/>
                  <a:pt x="15" y="85"/>
                  <a:pt x="15" y="85"/>
                </a:cubicBezTo>
                <a:cubicBezTo>
                  <a:pt x="11" y="85"/>
                  <a:pt x="8" y="84"/>
                  <a:pt x="5" y="81"/>
                </a:cubicBezTo>
                <a:cubicBezTo>
                  <a:pt x="2" y="78"/>
                  <a:pt x="0" y="74"/>
                  <a:pt x="0" y="70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48"/>
                  <a:pt x="2" y="44"/>
                  <a:pt x="5" y="41"/>
                </a:cubicBezTo>
                <a:cubicBezTo>
                  <a:pt x="8" y="38"/>
                  <a:pt x="11" y="37"/>
                  <a:pt x="15" y="37"/>
                </a:cubicBezTo>
                <a:cubicBezTo>
                  <a:pt x="61" y="37"/>
                  <a:pt x="61" y="37"/>
                  <a:pt x="61" y="37"/>
                </a:cubicBezTo>
                <a:cubicBezTo>
                  <a:pt x="88" y="37"/>
                  <a:pt x="117" y="25"/>
                  <a:pt x="146" y="0"/>
                </a:cubicBezTo>
                <a:cubicBezTo>
                  <a:pt x="149" y="0"/>
                  <a:pt x="152" y="1"/>
                  <a:pt x="154" y="4"/>
                </a:cubicBezTo>
                <a:cubicBezTo>
                  <a:pt x="156" y="6"/>
                  <a:pt x="158" y="9"/>
                  <a:pt x="158" y="12"/>
                </a:cubicBezTo>
                <a:lnTo>
                  <a:pt x="158" y="49"/>
                </a:lnTo>
                <a:close/>
                <a:moveTo>
                  <a:pt x="146" y="106"/>
                </a:moveTo>
                <a:cubicBezTo>
                  <a:pt x="146" y="16"/>
                  <a:pt x="146" y="16"/>
                  <a:pt x="146" y="16"/>
                </a:cubicBezTo>
                <a:cubicBezTo>
                  <a:pt x="121" y="35"/>
                  <a:pt x="97" y="45"/>
                  <a:pt x="73" y="48"/>
                </a:cubicBezTo>
                <a:cubicBezTo>
                  <a:pt x="73" y="74"/>
                  <a:pt x="73" y="74"/>
                  <a:pt x="73" y="74"/>
                </a:cubicBezTo>
                <a:cubicBezTo>
                  <a:pt x="97" y="76"/>
                  <a:pt x="121" y="87"/>
                  <a:pt x="146" y="10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" name="Freeform 23">
            <a:extLst>
              <a:ext uri="{FF2B5EF4-FFF2-40B4-BE49-F238E27FC236}">
                <a16:creationId xmlns:a16="http://schemas.microsoft.com/office/drawing/2014/main" id="{934D493B-E8EE-4EAD-BA21-185B1782377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14320" y="3768187"/>
            <a:ext cx="292084" cy="295128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" name="Freeform 113">
            <a:extLst>
              <a:ext uri="{FF2B5EF4-FFF2-40B4-BE49-F238E27FC236}">
                <a16:creationId xmlns:a16="http://schemas.microsoft.com/office/drawing/2014/main" id="{5E719AF0-A780-4B26-A80B-9A63C85CC8E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47579" y="2530921"/>
            <a:ext cx="261509" cy="284140"/>
          </a:xfrm>
          <a:custGeom>
            <a:avLst/>
            <a:gdLst>
              <a:gd name="T0" fmla="*/ 157 w 157"/>
              <a:gd name="T1" fmla="*/ 158 h 170"/>
              <a:gd name="T2" fmla="*/ 145 w 157"/>
              <a:gd name="T3" fmla="*/ 170 h 170"/>
              <a:gd name="T4" fmla="*/ 3 w 157"/>
              <a:gd name="T5" fmla="*/ 166 h 170"/>
              <a:gd name="T6" fmla="*/ 0 w 157"/>
              <a:gd name="T7" fmla="*/ 37 h 170"/>
              <a:gd name="T8" fmla="*/ 12 w 157"/>
              <a:gd name="T9" fmla="*/ 24 h 170"/>
              <a:gd name="T10" fmla="*/ 24 w 157"/>
              <a:gd name="T11" fmla="*/ 15 h 170"/>
              <a:gd name="T12" fmla="*/ 39 w 157"/>
              <a:gd name="T13" fmla="*/ 0 h 170"/>
              <a:gd name="T14" fmla="*/ 56 w 157"/>
              <a:gd name="T15" fmla="*/ 5 h 170"/>
              <a:gd name="T16" fmla="*/ 60 w 157"/>
              <a:gd name="T17" fmla="*/ 24 h 170"/>
              <a:gd name="T18" fmla="*/ 97 w 157"/>
              <a:gd name="T19" fmla="*/ 15 h 170"/>
              <a:gd name="T20" fmla="*/ 112 w 157"/>
              <a:gd name="T21" fmla="*/ 0 h 170"/>
              <a:gd name="T22" fmla="*/ 128 w 157"/>
              <a:gd name="T23" fmla="*/ 5 h 170"/>
              <a:gd name="T24" fmla="*/ 133 w 157"/>
              <a:gd name="T25" fmla="*/ 24 h 170"/>
              <a:gd name="T26" fmla="*/ 154 w 157"/>
              <a:gd name="T27" fmla="*/ 28 h 170"/>
              <a:gd name="T28" fmla="*/ 12 w 157"/>
              <a:gd name="T29" fmla="*/ 88 h 170"/>
              <a:gd name="T30" fmla="*/ 39 w 157"/>
              <a:gd name="T31" fmla="*/ 61 h 170"/>
              <a:gd name="T32" fmla="*/ 12 w 157"/>
              <a:gd name="T33" fmla="*/ 88 h 170"/>
              <a:gd name="T34" fmla="*/ 39 w 157"/>
              <a:gd name="T35" fmla="*/ 124 h 170"/>
              <a:gd name="T36" fmla="*/ 12 w 157"/>
              <a:gd name="T37" fmla="*/ 94 h 170"/>
              <a:gd name="T38" fmla="*/ 12 w 157"/>
              <a:gd name="T39" fmla="*/ 158 h 170"/>
              <a:gd name="T40" fmla="*/ 39 w 157"/>
              <a:gd name="T41" fmla="*/ 130 h 170"/>
              <a:gd name="T42" fmla="*/ 12 w 157"/>
              <a:gd name="T43" fmla="*/ 158 h 170"/>
              <a:gd name="T44" fmla="*/ 48 w 157"/>
              <a:gd name="T45" fmla="*/ 15 h 170"/>
              <a:gd name="T46" fmla="*/ 45 w 157"/>
              <a:gd name="T47" fmla="*/ 12 h 170"/>
              <a:gd name="T48" fmla="*/ 37 w 157"/>
              <a:gd name="T49" fmla="*/ 13 h 170"/>
              <a:gd name="T50" fmla="*/ 36 w 157"/>
              <a:gd name="T51" fmla="*/ 43 h 170"/>
              <a:gd name="T52" fmla="*/ 39 w 157"/>
              <a:gd name="T53" fmla="*/ 46 h 170"/>
              <a:gd name="T54" fmla="*/ 47 w 157"/>
              <a:gd name="T55" fmla="*/ 45 h 170"/>
              <a:gd name="T56" fmla="*/ 45 w 157"/>
              <a:gd name="T57" fmla="*/ 88 h 170"/>
              <a:gd name="T58" fmla="*/ 75 w 157"/>
              <a:gd name="T59" fmla="*/ 61 h 170"/>
              <a:gd name="T60" fmla="*/ 45 w 157"/>
              <a:gd name="T61" fmla="*/ 88 h 170"/>
              <a:gd name="T62" fmla="*/ 75 w 157"/>
              <a:gd name="T63" fmla="*/ 124 h 170"/>
              <a:gd name="T64" fmla="*/ 45 w 157"/>
              <a:gd name="T65" fmla="*/ 94 h 170"/>
              <a:gd name="T66" fmla="*/ 45 w 157"/>
              <a:gd name="T67" fmla="*/ 158 h 170"/>
              <a:gd name="T68" fmla="*/ 75 w 157"/>
              <a:gd name="T69" fmla="*/ 130 h 170"/>
              <a:gd name="T70" fmla="*/ 45 w 157"/>
              <a:gd name="T71" fmla="*/ 158 h 170"/>
              <a:gd name="T72" fmla="*/ 112 w 157"/>
              <a:gd name="T73" fmla="*/ 88 h 170"/>
              <a:gd name="T74" fmla="*/ 81 w 157"/>
              <a:gd name="T75" fmla="*/ 61 h 170"/>
              <a:gd name="T76" fmla="*/ 81 w 157"/>
              <a:gd name="T77" fmla="*/ 124 h 170"/>
              <a:gd name="T78" fmla="*/ 112 w 157"/>
              <a:gd name="T79" fmla="*/ 94 h 170"/>
              <a:gd name="T80" fmla="*/ 81 w 157"/>
              <a:gd name="T81" fmla="*/ 124 h 170"/>
              <a:gd name="T82" fmla="*/ 112 w 157"/>
              <a:gd name="T83" fmla="*/ 158 h 170"/>
              <a:gd name="T84" fmla="*/ 81 w 157"/>
              <a:gd name="T85" fmla="*/ 130 h 170"/>
              <a:gd name="T86" fmla="*/ 121 w 157"/>
              <a:gd name="T87" fmla="*/ 43 h 170"/>
              <a:gd name="T88" fmla="*/ 120 w 157"/>
              <a:gd name="T89" fmla="*/ 13 h 170"/>
              <a:gd name="T90" fmla="*/ 112 w 157"/>
              <a:gd name="T91" fmla="*/ 12 h 170"/>
              <a:gd name="T92" fmla="*/ 109 w 157"/>
              <a:gd name="T93" fmla="*/ 15 h 170"/>
              <a:gd name="T94" fmla="*/ 110 w 157"/>
              <a:gd name="T95" fmla="*/ 45 h 170"/>
              <a:gd name="T96" fmla="*/ 118 w 157"/>
              <a:gd name="T97" fmla="*/ 46 h 170"/>
              <a:gd name="T98" fmla="*/ 121 w 157"/>
              <a:gd name="T99" fmla="*/ 43 h 170"/>
              <a:gd name="T100" fmla="*/ 145 w 157"/>
              <a:gd name="T101" fmla="*/ 88 h 170"/>
              <a:gd name="T102" fmla="*/ 118 w 157"/>
              <a:gd name="T103" fmla="*/ 61 h 170"/>
              <a:gd name="T104" fmla="*/ 118 w 157"/>
              <a:gd name="T105" fmla="*/ 124 h 170"/>
              <a:gd name="T106" fmla="*/ 145 w 157"/>
              <a:gd name="T107" fmla="*/ 94 h 170"/>
              <a:gd name="T108" fmla="*/ 118 w 157"/>
              <a:gd name="T109" fmla="*/ 124 h 170"/>
              <a:gd name="T110" fmla="*/ 145 w 157"/>
              <a:gd name="T111" fmla="*/ 158 h 170"/>
              <a:gd name="T112" fmla="*/ 118 w 157"/>
              <a:gd name="T113" fmla="*/ 1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" h="170">
                <a:moveTo>
                  <a:pt x="157" y="37"/>
                </a:moveTo>
                <a:cubicBezTo>
                  <a:pt x="157" y="158"/>
                  <a:pt x="157" y="158"/>
                  <a:pt x="157" y="158"/>
                </a:cubicBezTo>
                <a:cubicBezTo>
                  <a:pt x="157" y="161"/>
                  <a:pt x="156" y="164"/>
                  <a:pt x="154" y="166"/>
                </a:cubicBezTo>
                <a:cubicBezTo>
                  <a:pt x="151" y="168"/>
                  <a:pt x="148" y="170"/>
                  <a:pt x="145" y="170"/>
                </a:cubicBezTo>
                <a:cubicBezTo>
                  <a:pt x="12" y="170"/>
                  <a:pt x="12" y="170"/>
                  <a:pt x="12" y="170"/>
                </a:cubicBezTo>
                <a:cubicBezTo>
                  <a:pt x="9" y="170"/>
                  <a:pt x="6" y="168"/>
                  <a:pt x="3" y="166"/>
                </a:cubicBezTo>
                <a:cubicBezTo>
                  <a:pt x="1" y="164"/>
                  <a:pt x="0" y="161"/>
                  <a:pt x="0" y="15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3"/>
                  <a:pt x="1" y="30"/>
                  <a:pt x="3" y="28"/>
                </a:cubicBezTo>
                <a:cubicBezTo>
                  <a:pt x="6" y="26"/>
                  <a:pt x="9" y="24"/>
                  <a:pt x="12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15"/>
                  <a:pt x="24" y="15"/>
                  <a:pt x="24" y="15"/>
                </a:cubicBezTo>
                <a:cubicBezTo>
                  <a:pt x="24" y="11"/>
                  <a:pt x="25" y="8"/>
                  <a:pt x="28" y="5"/>
                </a:cubicBezTo>
                <a:cubicBezTo>
                  <a:pt x="31" y="2"/>
                  <a:pt x="35" y="0"/>
                  <a:pt x="3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3" y="2"/>
                  <a:pt x="56" y="5"/>
                </a:cubicBezTo>
                <a:cubicBezTo>
                  <a:pt x="59" y="8"/>
                  <a:pt x="60" y="11"/>
                  <a:pt x="60" y="15"/>
                </a:cubicBezTo>
                <a:cubicBezTo>
                  <a:pt x="60" y="24"/>
                  <a:pt x="60" y="24"/>
                  <a:pt x="60" y="24"/>
                </a:cubicBezTo>
                <a:cubicBezTo>
                  <a:pt x="97" y="24"/>
                  <a:pt x="97" y="24"/>
                  <a:pt x="97" y="24"/>
                </a:cubicBezTo>
                <a:cubicBezTo>
                  <a:pt x="97" y="15"/>
                  <a:pt x="97" y="15"/>
                  <a:pt x="97" y="15"/>
                </a:cubicBezTo>
                <a:cubicBezTo>
                  <a:pt x="97" y="11"/>
                  <a:pt x="98" y="8"/>
                  <a:pt x="101" y="5"/>
                </a:cubicBezTo>
                <a:cubicBezTo>
                  <a:pt x="104" y="2"/>
                  <a:pt x="108" y="0"/>
                  <a:pt x="112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2" y="0"/>
                  <a:pt x="125" y="2"/>
                  <a:pt x="128" y="5"/>
                </a:cubicBezTo>
                <a:cubicBezTo>
                  <a:pt x="131" y="8"/>
                  <a:pt x="133" y="11"/>
                  <a:pt x="133" y="15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145" y="24"/>
                  <a:pt x="145" y="24"/>
                  <a:pt x="145" y="24"/>
                </a:cubicBezTo>
                <a:cubicBezTo>
                  <a:pt x="148" y="24"/>
                  <a:pt x="151" y="26"/>
                  <a:pt x="154" y="28"/>
                </a:cubicBezTo>
                <a:cubicBezTo>
                  <a:pt x="156" y="30"/>
                  <a:pt x="157" y="33"/>
                  <a:pt x="157" y="37"/>
                </a:cubicBezTo>
                <a:close/>
                <a:moveTo>
                  <a:pt x="12" y="88"/>
                </a:moveTo>
                <a:cubicBezTo>
                  <a:pt x="39" y="88"/>
                  <a:pt x="39" y="88"/>
                  <a:pt x="39" y="88"/>
                </a:cubicBezTo>
                <a:cubicBezTo>
                  <a:pt x="39" y="61"/>
                  <a:pt x="39" y="61"/>
                  <a:pt x="39" y="61"/>
                </a:cubicBezTo>
                <a:cubicBezTo>
                  <a:pt x="12" y="61"/>
                  <a:pt x="12" y="61"/>
                  <a:pt x="12" y="61"/>
                </a:cubicBezTo>
                <a:lnTo>
                  <a:pt x="12" y="88"/>
                </a:lnTo>
                <a:close/>
                <a:moveTo>
                  <a:pt x="12" y="124"/>
                </a:moveTo>
                <a:cubicBezTo>
                  <a:pt x="39" y="124"/>
                  <a:pt x="39" y="124"/>
                  <a:pt x="39" y="124"/>
                </a:cubicBezTo>
                <a:cubicBezTo>
                  <a:pt x="39" y="94"/>
                  <a:pt x="39" y="94"/>
                  <a:pt x="39" y="94"/>
                </a:cubicBezTo>
                <a:cubicBezTo>
                  <a:pt x="12" y="94"/>
                  <a:pt x="12" y="94"/>
                  <a:pt x="12" y="94"/>
                </a:cubicBezTo>
                <a:lnTo>
                  <a:pt x="12" y="124"/>
                </a:lnTo>
                <a:close/>
                <a:moveTo>
                  <a:pt x="12" y="158"/>
                </a:moveTo>
                <a:cubicBezTo>
                  <a:pt x="39" y="158"/>
                  <a:pt x="39" y="158"/>
                  <a:pt x="39" y="158"/>
                </a:cubicBezTo>
                <a:cubicBezTo>
                  <a:pt x="39" y="130"/>
                  <a:pt x="39" y="130"/>
                  <a:pt x="39" y="130"/>
                </a:cubicBezTo>
                <a:cubicBezTo>
                  <a:pt x="12" y="130"/>
                  <a:pt x="12" y="130"/>
                  <a:pt x="12" y="130"/>
                </a:cubicBezTo>
                <a:lnTo>
                  <a:pt x="12" y="158"/>
                </a:lnTo>
                <a:close/>
                <a:moveTo>
                  <a:pt x="48" y="43"/>
                </a:moveTo>
                <a:cubicBezTo>
                  <a:pt x="48" y="15"/>
                  <a:pt x="48" y="15"/>
                  <a:pt x="48" y="15"/>
                </a:cubicBezTo>
                <a:cubicBezTo>
                  <a:pt x="48" y="15"/>
                  <a:pt x="48" y="14"/>
                  <a:pt x="47" y="13"/>
                </a:cubicBezTo>
                <a:cubicBezTo>
                  <a:pt x="47" y="13"/>
                  <a:pt x="46" y="12"/>
                  <a:pt x="45" y="12"/>
                </a:cubicBezTo>
                <a:cubicBezTo>
                  <a:pt x="39" y="12"/>
                  <a:pt x="39" y="12"/>
                  <a:pt x="39" y="12"/>
                </a:cubicBezTo>
                <a:cubicBezTo>
                  <a:pt x="38" y="12"/>
                  <a:pt x="38" y="13"/>
                  <a:pt x="37" y="13"/>
                </a:cubicBezTo>
                <a:cubicBezTo>
                  <a:pt x="36" y="14"/>
                  <a:pt x="36" y="15"/>
                  <a:pt x="36" y="15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6" y="44"/>
                  <a:pt x="37" y="45"/>
                </a:cubicBezTo>
                <a:cubicBezTo>
                  <a:pt x="38" y="45"/>
                  <a:pt x="38" y="46"/>
                  <a:pt x="39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6" y="46"/>
                  <a:pt x="47" y="45"/>
                  <a:pt x="47" y="45"/>
                </a:cubicBezTo>
                <a:cubicBezTo>
                  <a:pt x="48" y="44"/>
                  <a:pt x="48" y="43"/>
                  <a:pt x="48" y="43"/>
                </a:cubicBezTo>
                <a:close/>
                <a:moveTo>
                  <a:pt x="45" y="88"/>
                </a:moveTo>
                <a:cubicBezTo>
                  <a:pt x="75" y="88"/>
                  <a:pt x="75" y="88"/>
                  <a:pt x="75" y="88"/>
                </a:cubicBezTo>
                <a:cubicBezTo>
                  <a:pt x="75" y="61"/>
                  <a:pt x="75" y="61"/>
                  <a:pt x="75" y="61"/>
                </a:cubicBezTo>
                <a:cubicBezTo>
                  <a:pt x="45" y="61"/>
                  <a:pt x="45" y="61"/>
                  <a:pt x="45" y="61"/>
                </a:cubicBezTo>
                <a:lnTo>
                  <a:pt x="45" y="88"/>
                </a:lnTo>
                <a:close/>
                <a:moveTo>
                  <a:pt x="45" y="124"/>
                </a:moveTo>
                <a:cubicBezTo>
                  <a:pt x="75" y="124"/>
                  <a:pt x="75" y="124"/>
                  <a:pt x="75" y="124"/>
                </a:cubicBezTo>
                <a:cubicBezTo>
                  <a:pt x="75" y="94"/>
                  <a:pt x="75" y="94"/>
                  <a:pt x="75" y="94"/>
                </a:cubicBezTo>
                <a:cubicBezTo>
                  <a:pt x="45" y="94"/>
                  <a:pt x="45" y="94"/>
                  <a:pt x="45" y="94"/>
                </a:cubicBezTo>
                <a:lnTo>
                  <a:pt x="45" y="124"/>
                </a:lnTo>
                <a:close/>
                <a:moveTo>
                  <a:pt x="45" y="158"/>
                </a:moveTo>
                <a:cubicBezTo>
                  <a:pt x="75" y="158"/>
                  <a:pt x="75" y="158"/>
                  <a:pt x="75" y="158"/>
                </a:cubicBezTo>
                <a:cubicBezTo>
                  <a:pt x="75" y="130"/>
                  <a:pt x="75" y="130"/>
                  <a:pt x="75" y="130"/>
                </a:cubicBezTo>
                <a:cubicBezTo>
                  <a:pt x="45" y="130"/>
                  <a:pt x="45" y="130"/>
                  <a:pt x="45" y="130"/>
                </a:cubicBezTo>
                <a:lnTo>
                  <a:pt x="45" y="158"/>
                </a:lnTo>
                <a:close/>
                <a:moveTo>
                  <a:pt x="81" y="88"/>
                </a:moveTo>
                <a:cubicBezTo>
                  <a:pt x="112" y="88"/>
                  <a:pt x="112" y="88"/>
                  <a:pt x="112" y="88"/>
                </a:cubicBezTo>
                <a:cubicBezTo>
                  <a:pt x="112" y="61"/>
                  <a:pt x="112" y="61"/>
                  <a:pt x="112" y="61"/>
                </a:cubicBezTo>
                <a:cubicBezTo>
                  <a:pt x="81" y="61"/>
                  <a:pt x="81" y="61"/>
                  <a:pt x="81" y="61"/>
                </a:cubicBezTo>
                <a:lnTo>
                  <a:pt x="81" y="88"/>
                </a:lnTo>
                <a:close/>
                <a:moveTo>
                  <a:pt x="81" y="124"/>
                </a:moveTo>
                <a:cubicBezTo>
                  <a:pt x="112" y="124"/>
                  <a:pt x="112" y="124"/>
                  <a:pt x="112" y="124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81" y="94"/>
                  <a:pt x="81" y="94"/>
                  <a:pt x="81" y="94"/>
                </a:cubicBezTo>
                <a:lnTo>
                  <a:pt x="81" y="124"/>
                </a:lnTo>
                <a:close/>
                <a:moveTo>
                  <a:pt x="81" y="158"/>
                </a:moveTo>
                <a:cubicBezTo>
                  <a:pt x="112" y="158"/>
                  <a:pt x="112" y="158"/>
                  <a:pt x="112" y="158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81" y="130"/>
                  <a:pt x="81" y="130"/>
                  <a:pt x="81" y="130"/>
                </a:cubicBezTo>
                <a:lnTo>
                  <a:pt x="81" y="158"/>
                </a:lnTo>
                <a:close/>
                <a:moveTo>
                  <a:pt x="121" y="43"/>
                </a:moveTo>
                <a:cubicBezTo>
                  <a:pt x="121" y="15"/>
                  <a:pt x="121" y="15"/>
                  <a:pt x="121" y="15"/>
                </a:cubicBezTo>
                <a:cubicBezTo>
                  <a:pt x="121" y="15"/>
                  <a:pt x="120" y="14"/>
                  <a:pt x="120" y="13"/>
                </a:cubicBezTo>
                <a:cubicBezTo>
                  <a:pt x="119" y="13"/>
                  <a:pt x="119" y="12"/>
                  <a:pt x="118" y="12"/>
                </a:cubicBezTo>
                <a:cubicBezTo>
                  <a:pt x="112" y="12"/>
                  <a:pt x="112" y="12"/>
                  <a:pt x="112" y="12"/>
                </a:cubicBezTo>
                <a:cubicBezTo>
                  <a:pt x="111" y="12"/>
                  <a:pt x="110" y="13"/>
                  <a:pt x="110" y="13"/>
                </a:cubicBezTo>
                <a:cubicBezTo>
                  <a:pt x="109" y="14"/>
                  <a:pt x="109" y="15"/>
                  <a:pt x="109" y="15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09" y="43"/>
                  <a:pt x="109" y="44"/>
                  <a:pt x="110" y="45"/>
                </a:cubicBezTo>
                <a:cubicBezTo>
                  <a:pt x="110" y="45"/>
                  <a:pt x="111" y="46"/>
                  <a:pt x="112" y="46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9" y="46"/>
                  <a:pt x="119" y="45"/>
                  <a:pt x="120" y="45"/>
                </a:cubicBezTo>
                <a:cubicBezTo>
                  <a:pt x="120" y="44"/>
                  <a:pt x="121" y="43"/>
                  <a:pt x="121" y="43"/>
                </a:cubicBezTo>
                <a:close/>
                <a:moveTo>
                  <a:pt x="118" y="88"/>
                </a:moveTo>
                <a:cubicBezTo>
                  <a:pt x="145" y="88"/>
                  <a:pt x="145" y="88"/>
                  <a:pt x="145" y="88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18" y="61"/>
                  <a:pt x="118" y="61"/>
                  <a:pt x="118" y="61"/>
                </a:cubicBezTo>
                <a:lnTo>
                  <a:pt x="118" y="88"/>
                </a:lnTo>
                <a:close/>
                <a:moveTo>
                  <a:pt x="118" y="124"/>
                </a:moveTo>
                <a:cubicBezTo>
                  <a:pt x="145" y="124"/>
                  <a:pt x="145" y="124"/>
                  <a:pt x="145" y="124"/>
                </a:cubicBezTo>
                <a:cubicBezTo>
                  <a:pt x="145" y="94"/>
                  <a:pt x="145" y="94"/>
                  <a:pt x="145" y="94"/>
                </a:cubicBezTo>
                <a:cubicBezTo>
                  <a:pt x="118" y="94"/>
                  <a:pt x="118" y="94"/>
                  <a:pt x="118" y="94"/>
                </a:cubicBezTo>
                <a:lnTo>
                  <a:pt x="118" y="124"/>
                </a:lnTo>
                <a:close/>
                <a:moveTo>
                  <a:pt x="118" y="158"/>
                </a:moveTo>
                <a:cubicBezTo>
                  <a:pt x="145" y="158"/>
                  <a:pt x="145" y="158"/>
                  <a:pt x="145" y="158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18" y="130"/>
                  <a:pt x="118" y="130"/>
                  <a:pt x="118" y="130"/>
                </a:cubicBezTo>
                <a:lnTo>
                  <a:pt x="118" y="1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" name="Freeform 26">
            <a:extLst>
              <a:ext uri="{FF2B5EF4-FFF2-40B4-BE49-F238E27FC236}">
                <a16:creationId xmlns:a16="http://schemas.microsoft.com/office/drawing/2014/main" id="{177CF437-97BB-4587-8283-B4B0DBD9691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91307" y="1766910"/>
            <a:ext cx="243907" cy="284140"/>
          </a:xfrm>
          <a:custGeom>
            <a:avLst/>
            <a:gdLst>
              <a:gd name="T0" fmla="*/ 139 w 145"/>
              <a:gd name="T1" fmla="*/ 36 h 170"/>
              <a:gd name="T2" fmla="*/ 143 w 145"/>
              <a:gd name="T3" fmla="*/ 43 h 170"/>
              <a:gd name="T4" fmla="*/ 145 w 145"/>
              <a:gd name="T5" fmla="*/ 52 h 170"/>
              <a:gd name="T6" fmla="*/ 145 w 145"/>
              <a:gd name="T7" fmla="*/ 161 h 170"/>
              <a:gd name="T8" fmla="*/ 143 w 145"/>
              <a:gd name="T9" fmla="*/ 167 h 170"/>
              <a:gd name="T10" fmla="*/ 136 w 145"/>
              <a:gd name="T11" fmla="*/ 170 h 170"/>
              <a:gd name="T12" fmla="*/ 9 w 145"/>
              <a:gd name="T13" fmla="*/ 170 h 170"/>
              <a:gd name="T14" fmla="*/ 3 w 145"/>
              <a:gd name="T15" fmla="*/ 167 h 170"/>
              <a:gd name="T16" fmla="*/ 0 w 145"/>
              <a:gd name="T17" fmla="*/ 161 h 170"/>
              <a:gd name="T18" fmla="*/ 0 w 145"/>
              <a:gd name="T19" fmla="*/ 9 h 170"/>
              <a:gd name="T20" fmla="*/ 3 w 145"/>
              <a:gd name="T21" fmla="*/ 3 h 170"/>
              <a:gd name="T22" fmla="*/ 9 w 145"/>
              <a:gd name="T23" fmla="*/ 0 h 170"/>
              <a:gd name="T24" fmla="*/ 94 w 145"/>
              <a:gd name="T25" fmla="*/ 0 h 170"/>
              <a:gd name="T26" fmla="*/ 102 w 145"/>
              <a:gd name="T27" fmla="*/ 2 h 170"/>
              <a:gd name="T28" fmla="*/ 109 w 145"/>
              <a:gd name="T29" fmla="*/ 7 h 170"/>
              <a:gd name="T30" fmla="*/ 139 w 145"/>
              <a:gd name="T31" fmla="*/ 36 h 170"/>
              <a:gd name="T32" fmla="*/ 133 w 145"/>
              <a:gd name="T33" fmla="*/ 158 h 170"/>
              <a:gd name="T34" fmla="*/ 133 w 145"/>
              <a:gd name="T35" fmla="*/ 61 h 170"/>
              <a:gd name="T36" fmla="*/ 94 w 145"/>
              <a:gd name="T37" fmla="*/ 61 h 170"/>
              <a:gd name="T38" fmla="*/ 87 w 145"/>
              <a:gd name="T39" fmla="*/ 58 h 170"/>
              <a:gd name="T40" fmla="*/ 85 w 145"/>
              <a:gd name="T41" fmla="*/ 52 h 170"/>
              <a:gd name="T42" fmla="*/ 85 w 145"/>
              <a:gd name="T43" fmla="*/ 12 h 170"/>
              <a:gd name="T44" fmla="*/ 12 w 145"/>
              <a:gd name="T45" fmla="*/ 12 h 170"/>
              <a:gd name="T46" fmla="*/ 12 w 145"/>
              <a:gd name="T47" fmla="*/ 158 h 170"/>
              <a:gd name="T48" fmla="*/ 133 w 145"/>
              <a:gd name="T49" fmla="*/ 158 h 170"/>
              <a:gd name="T50" fmla="*/ 97 w 145"/>
              <a:gd name="T51" fmla="*/ 13 h 170"/>
              <a:gd name="T52" fmla="*/ 97 w 145"/>
              <a:gd name="T53" fmla="*/ 49 h 170"/>
              <a:gd name="T54" fmla="*/ 132 w 145"/>
              <a:gd name="T55" fmla="*/ 49 h 170"/>
              <a:gd name="T56" fmla="*/ 130 w 145"/>
              <a:gd name="T57" fmla="*/ 45 h 170"/>
              <a:gd name="T58" fmla="*/ 101 w 145"/>
              <a:gd name="T59" fmla="*/ 15 h 170"/>
              <a:gd name="T60" fmla="*/ 97 w 145"/>
              <a:gd name="T61" fmla="*/ 1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5" h="170">
                <a:moveTo>
                  <a:pt x="139" y="36"/>
                </a:moveTo>
                <a:cubicBezTo>
                  <a:pt x="141" y="38"/>
                  <a:pt x="142" y="40"/>
                  <a:pt x="143" y="43"/>
                </a:cubicBezTo>
                <a:cubicBezTo>
                  <a:pt x="145" y="46"/>
                  <a:pt x="145" y="49"/>
                  <a:pt x="145" y="52"/>
                </a:cubicBezTo>
                <a:cubicBezTo>
                  <a:pt x="145" y="161"/>
                  <a:pt x="145" y="161"/>
                  <a:pt x="145" y="161"/>
                </a:cubicBezTo>
                <a:cubicBezTo>
                  <a:pt x="145" y="163"/>
                  <a:pt x="144" y="165"/>
                  <a:pt x="143" y="167"/>
                </a:cubicBezTo>
                <a:cubicBezTo>
                  <a:pt x="141" y="169"/>
                  <a:pt x="139" y="170"/>
                  <a:pt x="136" y="170"/>
                </a:cubicBezTo>
                <a:cubicBezTo>
                  <a:pt x="9" y="170"/>
                  <a:pt x="9" y="170"/>
                  <a:pt x="9" y="170"/>
                </a:cubicBezTo>
                <a:cubicBezTo>
                  <a:pt x="7" y="170"/>
                  <a:pt x="5" y="169"/>
                  <a:pt x="3" y="167"/>
                </a:cubicBezTo>
                <a:cubicBezTo>
                  <a:pt x="1" y="165"/>
                  <a:pt x="0" y="163"/>
                  <a:pt x="0" y="161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3" y="3"/>
                </a:cubicBezTo>
                <a:cubicBezTo>
                  <a:pt x="5" y="1"/>
                  <a:pt x="7" y="0"/>
                  <a:pt x="9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6" y="0"/>
                  <a:pt x="99" y="1"/>
                  <a:pt x="102" y="2"/>
                </a:cubicBezTo>
                <a:cubicBezTo>
                  <a:pt x="105" y="3"/>
                  <a:pt x="108" y="5"/>
                  <a:pt x="109" y="7"/>
                </a:cubicBezTo>
                <a:lnTo>
                  <a:pt x="139" y="36"/>
                </a:lnTo>
                <a:close/>
                <a:moveTo>
                  <a:pt x="133" y="158"/>
                </a:moveTo>
                <a:cubicBezTo>
                  <a:pt x="133" y="61"/>
                  <a:pt x="133" y="61"/>
                  <a:pt x="133" y="61"/>
                </a:cubicBezTo>
                <a:cubicBezTo>
                  <a:pt x="94" y="61"/>
                  <a:pt x="94" y="61"/>
                  <a:pt x="94" y="61"/>
                </a:cubicBezTo>
                <a:cubicBezTo>
                  <a:pt x="91" y="61"/>
                  <a:pt x="89" y="60"/>
                  <a:pt x="87" y="58"/>
                </a:cubicBezTo>
                <a:cubicBezTo>
                  <a:pt x="86" y="56"/>
                  <a:pt x="85" y="54"/>
                  <a:pt x="85" y="52"/>
                </a:cubicBezTo>
                <a:cubicBezTo>
                  <a:pt x="85" y="12"/>
                  <a:pt x="85" y="12"/>
                  <a:pt x="85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158"/>
                  <a:pt x="12" y="158"/>
                  <a:pt x="12" y="158"/>
                </a:cubicBezTo>
                <a:lnTo>
                  <a:pt x="133" y="158"/>
                </a:lnTo>
                <a:close/>
                <a:moveTo>
                  <a:pt x="97" y="13"/>
                </a:moveTo>
                <a:cubicBezTo>
                  <a:pt x="97" y="49"/>
                  <a:pt x="97" y="49"/>
                  <a:pt x="97" y="49"/>
                </a:cubicBezTo>
                <a:cubicBezTo>
                  <a:pt x="132" y="49"/>
                  <a:pt x="132" y="49"/>
                  <a:pt x="132" y="49"/>
                </a:cubicBezTo>
                <a:cubicBezTo>
                  <a:pt x="132" y="47"/>
                  <a:pt x="131" y="46"/>
                  <a:pt x="130" y="45"/>
                </a:cubicBezTo>
                <a:cubicBezTo>
                  <a:pt x="101" y="15"/>
                  <a:pt x="101" y="15"/>
                  <a:pt x="101" y="15"/>
                </a:cubicBezTo>
                <a:cubicBezTo>
                  <a:pt x="100" y="14"/>
                  <a:pt x="99" y="14"/>
                  <a:pt x="97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" name="Freeform 65">
            <a:extLst>
              <a:ext uri="{FF2B5EF4-FFF2-40B4-BE49-F238E27FC236}">
                <a16:creationId xmlns:a16="http://schemas.microsoft.com/office/drawing/2014/main" id="{10262DD3-2F6A-48E6-AC2F-95A64198246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58429" y="3795055"/>
            <a:ext cx="241392" cy="241392"/>
          </a:xfrm>
          <a:custGeom>
            <a:avLst/>
            <a:gdLst>
              <a:gd name="T0" fmla="*/ 79 w 144"/>
              <a:gd name="T1" fmla="*/ 26 h 144"/>
              <a:gd name="T2" fmla="*/ 118 w 144"/>
              <a:gd name="T3" fmla="*/ 65 h 144"/>
              <a:gd name="T4" fmla="*/ 40 w 144"/>
              <a:gd name="T5" fmla="*/ 144 h 144"/>
              <a:gd name="T6" fmla="*/ 0 w 144"/>
              <a:gd name="T7" fmla="*/ 144 h 144"/>
              <a:gd name="T8" fmla="*/ 0 w 144"/>
              <a:gd name="T9" fmla="*/ 104 h 144"/>
              <a:gd name="T10" fmla="*/ 79 w 144"/>
              <a:gd name="T11" fmla="*/ 26 h 144"/>
              <a:gd name="T12" fmla="*/ 35 w 144"/>
              <a:gd name="T13" fmla="*/ 131 h 144"/>
              <a:gd name="T14" fmla="*/ 43 w 144"/>
              <a:gd name="T15" fmla="*/ 123 h 144"/>
              <a:gd name="T16" fmla="*/ 21 w 144"/>
              <a:gd name="T17" fmla="*/ 101 h 144"/>
              <a:gd name="T18" fmla="*/ 13 w 144"/>
              <a:gd name="T19" fmla="*/ 109 h 144"/>
              <a:gd name="T20" fmla="*/ 13 w 144"/>
              <a:gd name="T21" fmla="*/ 119 h 144"/>
              <a:gd name="T22" fmla="*/ 25 w 144"/>
              <a:gd name="T23" fmla="*/ 119 h 144"/>
              <a:gd name="T24" fmla="*/ 25 w 144"/>
              <a:gd name="T25" fmla="*/ 131 h 144"/>
              <a:gd name="T26" fmla="*/ 35 w 144"/>
              <a:gd name="T27" fmla="*/ 131 h 144"/>
              <a:gd name="T28" fmla="*/ 84 w 144"/>
              <a:gd name="T29" fmla="*/ 44 h 144"/>
              <a:gd name="T30" fmla="*/ 82 w 144"/>
              <a:gd name="T31" fmla="*/ 42 h 144"/>
              <a:gd name="T32" fmla="*/ 81 w 144"/>
              <a:gd name="T33" fmla="*/ 42 h 144"/>
              <a:gd name="T34" fmla="*/ 29 w 144"/>
              <a:gd name="T35" fmla="*/ 94 h 144"/>
              <a:gd name="T36" fmla="*/ 29 w 144"/>
              <a:gd name="T37" fmla="*/ 95 h 144"/>
              <a:gd name="T38" fmla="*/ 31 w 144"/>
              <a:gd name="T39" fmla="*/ 97 h 144"/>
              <a:gd name="T40" fmla="*/ 32 w 144"/>
              <a:gd name="T41" fmla="*/ 97 h 144"/>
              <a:gd name="T42" fmla="*/ 84 w 144"/>
              <a:gd name="T43" fmla="*/ 45 h 144"/>
              <a:gd name="T44" fmla="*/ 84 w 144"/>
              <a:gd name="T45" fmla="*/ 44 h 144"/>
              <a:gd name="T46" fmla="*/ 144 w 144"/>
              <a:gd name="T47" fmla="*/ 35 h 144"/>
              <a:gd name="T48" fmla="*/ 140 w 144"/>
              <a:gd name="T49" fmla="*/ 43 h 144"/>
              <a:gd name="T50" fmla="*/ 125 w 144"/>
              <a:gd name="T51" fmla="*/ 59 h 144"/>
              <a:gd name="T52" fmla="*/ 85 w 144"/>
              <a:gd name="T53" fmla="*/ 20 h 144"/>
              <a:gd name="T54" fmla="*/ 101 w 144"/>
              <a:gd name="T55" fmla="*/ 4 h 144"/>
              <a:gd name="T56" fmla="*/ 109 w 144"/>
              <a:gd name="T57" fmla="*/ 0 h 144"/>
              <a:gd name="T58" fmla="*/ 118 w 144"/>
              <a:gd name="T59" fmla="*/ 4 h 144"/>
              <a:gd name="T60" fmla="*/ 140 w 144"/>
              <a:gd name="T61" fmla="*/ 26 h 144"/>
              <a:gd name="T62" fmla="*/ 144 w 144"/>
              <a:gd name="T63" fmla="*/ 35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4" h="144">
                <a:moveTo>
                  <a:pt x="79" y="26"/>
                </a:moveTo>
                <a:cubicBezTo>
                  <a:pt x="118" y="65"/>
                  <a:pt x="118" y="65"/>
                  <a:pt x="118" y="65"/>
                </a:cubicBezTo>
                <a:cubicBezTo>
                  <a:pt x="40" y="144"/>
                  <a:pt x="40" y="144"/>
                  <a:pt x="4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04"/>
                  <a:pt x="0" y="104"/>
                  <a:pt x="0" y="104"/>
                </a:cubicBezTo>
                <a:lnTo>
                  <a:pt x="79" y="26"/>
                </a:lnTo>
                <a:close/>
                <a:moveTo>
                  <a:pt x="35" y="131"/>
                </a:moveTo>
                <a:cubicBezTo>
                  <a:pt x="43" y="123"/>
                  <a:pt x="43" y="123"/>
                  <a:pt x="43" y="123"/>
                </a:cubicBezTo>
                <a:cubicBezTo>
                  <a:pt x="21" y="101"/>
                  <a:pt x="21" y="101"/>
                  <a:pt x="21" y="101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19"/>
                  <a:pt x="13" y="119"/>
                  <a:pt x="13" y="119"/>
                </a:cubicBezTo>
                <a:cubicBezTo>
                  <a:pt x="25" y="119"/>
                  <a:pt x="25" y="119"/>
                  <a:pt x="25" y="119"/>
                </a:cubicBezTo>
                <a:cubicBezTo>
                  <a:pt x="25" y="131"/>
                  <a:pt x="25" y="131"/>
                  <a:pt x="25" y="131"/>
                </a:cubicBezTo>
                <a:lnTo>
                  <a:pt x="35" y="131"/>
                </a:lnTo>
                <a:close/>
                <a:moveTo>
                  <a:pt x="84" y="44"/>
                </a:moveTo>
                <a:cubicBezTo>
                  <a:pt x="84" y="42"/>
                  <a:pt x="84" y="42"/>
                  <a:pt x="82" y="42"/>
                </a:cubicBezTo>
                <a:cubicBezTo>
                  <a:pt x="82" y="42"/>
                  <a:pt x="81" y="42"/>
                  <a:pt x="81" y="42"/>
                </a:cubicBezTo>
                <a:cubicBezTo>
                  <a:pt x="29" y="94"/>
                  <a:pt x="29" y="94"/>
                  <a:pt x="29" y="94"/>
                </a:cubicBezTo>
                <a:cubicBezTo>
                  <a:pt x="29" y="94"/>
                  <a:pt x="29" y="95"/>
                  <a:pt x="29" y="95"/>
                </a:cubicBezTo>
                <a:cubicBezTo>
                  <a:pt x="29" y="97"/>
                  <a:pt x="29" y="97"/>
                  <a:pt x="31" y="97"/>
                </a:cubicBezTo>
                <a:cubicBezTo>
                  <a:pt x="31" y="97"/>
                  <a:pt x="32" y="97"/>
                  <a:pt x="32" y="97"/>
                </a:cubicBezTo>
                <a:cubicBezTo>
                  <a:pt x="84" y="45"/>
                  <a:pt x="84" y="45"/>
                  <a:pt x="84" y="45"/>
                </a:cubicBezTo>
                <a:cubicBezTo>
                  <a:pt x="84" y="45"/>
                  <a:pt x="84" y="44"/>
                  <a:pt x="84" y="44"/>
                </a:cubicBezTo>
                <a:close/>
                <a:moveTo>
                  <a:pt x="144" y="35"/>
                </a:moveTo>
                <a:cubicBezTo>
                  <a:pt x="144" y="38"/>
                  <a:pt x="143" y="41"/>
                  <a:pt x="140" y="43"/>
                </a:cubicBezTo>
                <a:cubicBezTo>
                  <a:pt x="125" y="59"/>
                  <a:pt x="125" y="59"/>
                  <a:pt x="125" y="59"/>
                </a:cubicBezTo>
                <a:cubicBezTo>
                  <a:pt x="85" y="20"/>
                  <a:pt x="85" y="20"/>
                  <a:pt x="85" y="20"/>
                </a:cubicBezTo>
                <a:cubicBezTo>
                  <a:pt x="101" y="4"/>
                  <a:pt x="101" y="4"/>
                  <a:pt x="101" y="4"/>
                </a:cubicBezTo>
                <a:cubicBezTo>
                  <a:pt x="103" y="2"/>
                  <a:pt x="106" y="0"/>
                  <a:pt x="109" y="0"/>
                </a:cubicBezTo>
                <a:cubicBezTo>
                  <a:pt x="113" y="0"/>
                  <a:pt x="116" y="2"/>
                  <a:pt x="118" y="4"/>
                </a:cubicBezTo>
                <a:cubicBezTo>
                  <a:pt x="140" y="26"/>
                  <a:pt x="140" y="26"/>
                  <a:pt x="140" y="26"/>
                </a:cubicBezTo>
                <a:cubicBezTo>
                  <a:pt x="143" y="29"/>
                  <a:pt x="144" y="31"/>
                  <a:pt x="144" y="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8706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earch analysis </a:t>
            </a:r>
            <a:r>
              <a:rPr lang="en-US">
                <a:solidFill>
                  <a:schemeClr val="accent2"/>
                </a:solidFill>
              </a:rPr>
              <a:t>resul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0" name="Oval 69"/>
          <p:cNvSpPr/>
          <p:nvPr/>
        </p:nvSpPr>
        <p:spPr>
          <a:xfrm>
            <a:off x="5599898" y="2666906"/>
            <a:ext cx="508000" cy="508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3035299" y="2666906"/>
            <a:ext cx="508000" cy="508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3412331" y="1766563"/>
            <a:ext cx="508000" cy="508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9" name="Oval 68"/>
          <p:cNvSpPr/>
          <p:nvPr/>
        </p:nvSpPr>
        <p:spPr>
          <a:xfrm>
            <a:off x="5223669" y="1766563"/>
            <a:ext cx="508000" cy="508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3412331" y="3568753"/>
            <a:ext cx="508000" cy="508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5223669" y="3568753"/>
            <a:ext cx="508000" cy="508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81" name="Straight Connector 80"/>
          <p:cNvCxnSpPr>
            <a:endCxn id="67" idx="5"/>
          </p:cNvCxnSpPr>
          <p:nvPr/>
        </p:nvCxnSpPr>
        <p:spPr>
          <a:xfrm flipH="1" flipV="1">
            <a:off x="3845936" y="2200168"/>
            <a:ext cx="146070" cy="14625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cxnSpLocks/>
            <a:endCxn id="69" idx="3"/>
          </p:cNvCxnSpPr>
          <p:nvPr/>
        </p:nvCxnSpPr>
        <p:spPr>
          <a:xfrm flipV="1">
            <a:off x="5142470" y="2200168"/>
            <a:ext cx="155594" cy="14625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71" idx="6"/>
            <a:endCxn id="42" idx="11"/>
          </p:cNvCxnSpPr>
          <p:nvPr/>
        </p:nvCxnSpPr>
        <p:spPr>
          <a:xfrm flipV="1">
            <a:off x="3543299" y="2919452"/>
            <a:ext cx="211749" cy="1454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70" idx="2"/>
          </p:cNvCxnSpPr>
          <p:nvPr/>
        </p:nvCxnSpPr>
        <p:spPr>
          <a:xfrm flipH="1">
            <a:off x="5380739" y="2920906"/>
            <a:ext cx="219159" cy="752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72" idx="7"/>
          </p:cNvCxnSpPr>
          <p:nvPr/>
        </p:nvCxnSpPr>
        <p:spPr>
          <a:xfrm flipV="1">
            <a:off x="3845936" y="3496890"/>
            <a:ext cx="146070" cy="14625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stCxn id="73" idx="1"/>
          </p:cNvCxnSpPr>
          <p:nvPr/>
        </p:nvCxnSpPr>
        <p:spPr>
          <a:xfrm flipH="1" flipV="1">
            <a:off x="5142470" y="3496890"/>
            <a:ext cx="155594" cy="14625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1313310" y="1790650"/>
            <a:ext cx="1783477" cy="471344"/>
            <a:chOff x="1313310" y="1790650"/>
            <a:chExt cx="1783477" cy="471344"/>
          </a:xfrm>
        </p:grpSpPr>
        <p:sp>
          <p:nvSpPr>
            <p:cNvPr id="97" name="TextBox 96"/>
            <p:cNvSpPr txBox="1"/>
            <p:nvPr/>
          </p:nvSpPr>
          <p:spPr>
            <a:xfrm flipH="1">
              <a:off x="1313310" y="1954217"/>
              <a:ext cx="178347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 flipH="1">
              <a:off x="1313310" y="1790650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62947" y="2663046"/>
            <a:ext cx="1783477" cy="471344"/>
            <a:chOff x="962947" y="2663046"/>
            <a:chExt cx="1783477" cy="471344"/>
          </a:xfrm>
        </p:grpSpPr>
        <p:sp>
          <p:nvSpPr>
            <p:cNvPr id="99" name="TextBox 98"/>
            <p:cNvSpPr txBox="1"/>
            <p:nvPr/>
          </p:nvSpPr>
          <p:spPr>
            <a:xfrm flipH="1">
              <a:off x="962947" y="2826613"/>
              <a:ext cx="178347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 flipH="1">
              <a:off x="962947" y="2663046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320864" y="3553179"/>
            <a:ext cx="1783477" cy="471344"/>
            <a:chOff x="1320864" y="3553179"/>
            <a:chExt cx="1783477" cy="471344"/>
          </a:xfrm>
        </p:grpSpPr>
        <p:sp>
          <p:nvSpPr>
            <p:cNvPr id="103" name="TextBox 102"/>
            <p:cNvSpPr txBox="1"/>
            <p:nvPr/>
          </p:nvSpPr>
          <p:spPr>
            <a:xfrm flipH="1">
              <a:off x="1320864" y="3716746"/>
              <a:ext cx="178347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 flipH="1">
              <a:off x="1320864" y="3553179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044069" y="1790650"/>
            <a:ext cx="1783477" cy="471344"/>
            <a:chOff x="6044069" y="1790650"/>
            <a:chExt cx="1783477" cy="471344"/>
          </a:xfrm>
        </p:grpSpPr>
        <p:sp>
          <p:nvSpPr>
            <p:cNvPr id="108" name="TextBox 107"/>
            <p:cNvSpPr txBox="1"/>
            <p:nvPr/>
          </p:nvSpPr>
          <p:spPr>
            <a:xfrm flipH="1">
              <a:off x="6044069" y="1954217"/>
              <a:ext cx="178347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 flipH="1">
              <a:off x="6044069" y="1790650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462336" y="2663046"/>
            <a:ext cx="1783477" cy="471344"/>
            <a:chOff x="6462336" y="2663046"/>
            <a:chExt cx="1783477" cy="471344"/>
          </a:xfrm>
        </p:grpSpPr>
        <p:sp>
          <p:nvSpPr>
            <p:cNvPr id="110" name="TextBox 109"/>
            <p:cNvSpPr txBox="1"/>
            <p:nvPr/>
          </p:nvSpPr>
          <p:spPr>
            <a:xfrm flipH="1">
              <a:off x="6462336" y="2826613"/>
              <a:ext cx="178347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flipH="1">
              <a:off x="6462336" y="2663046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064235" y="3553179"/>
            <a:ext cx="1783477" cy="471344"/>
            <a:chOff x="6064235" y="3553179"/>
            <a:chExt cx="1783477" cy="471344"/>
          </a:xfrm>
        </p:grpSpPr>
        <p:sp>
          <p:nvSpPr>
            <p:cNvPr id="112" name="TextBox 111"/>
            <p:cNvSpPr txBox="1"/>
            <p:nvPr/>
          </p:nvSpPr>
          <p:spPr>
            <a:xfrm flipH="1">
              <a:off x="6064235" y="3716746"/>
              <a:ext cx="178347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 flipH="1">
              <a:off x="6064235" y="3553179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3755048" y="2103966"/>
            <a:ext cx="1633904" cy="2715622"/>
            <a:chOff x="3682206" y="2025234"/>
            <a:chExt cx="1779588" cy="2957754"/>
          </a:xfrm>
        </p:grpSpPr>
        <p:grpSp>
          <p:nvGrpSpPr>
            <p:cNvPr id="65" name="Group 64"/>
            <p:cNvGrpSpPr/>
            <p:nvPr/>
          </p:nvGrpSpPr>
          <p:grpSpPr>
            <a:xfrm>
              <a:off x="4427079" y="3766223"/>
              <a:ext cx="289843" cy="1216765"/>
              <a:chOff x="4414528" y="3663315"/>
              <a:chExt cx="314943" cy="1322136"/>
            </a:xfrm>
          </p:grpSpPr>
          <p:sp>
            <p:nvSpPr>
              <p:cNvPr id="63" name="Freeform 62"/>
              <p:cNvSpPr/>
              <p:nvPr/>
            </p:nvSpPr>
            <p:spPr>
              <a:xfrm>
                <a:off x="4414528" y="3663315"/>
                <a:ext cx="314943" cy="1322136"/>
              </a:xfrm>
              <a:custGeom>
                <a:avLst/>
                <a:gdLst>
                  <a:gd name="connsiteX0" fmla="*/ 70702 w 314943"/>
                  <a:gd name="connsiteY0" fmla="*/ 0 h 1322136"/>
                  <a:gd name="connsiteX1" fmla="*/ 244242 w 314943"/>
                  <a:gd name="connsiteY1" fmla="*/ 0 h 1322136"/>
                  <a:gd name="connsiteX2" fmla="*/ 244242 w 314943"/>
                  <a:gd name="connsiteY2" fmla="*/ 518712 h 1322136"/>
                  <a:gd name="connsiteX3" fmla="*/ 262452 w 314943"/>
                  <a:gd name="connsiteY3" fmla="*/ 518712 h 1322136"/>
                  <a:gd name="connsiteX4" fmla="*/ 314943 w 314943"/>
                  <a:gd name="connsiteY4" fmla="*/ 571203 h 1322136"/>
                  <a:gd name="connsiteX5" fmla="*/ 314943 w 314943"/>
                  <a:gd name="connsiteY5" fmla="*/ 1269645 h 1322136"/>
                  <a:gd name="connsiteX6" fmla="*/ 262452 w 314943"/>
                  <a:gd name="connsiteY6" fmla="*/ 1322136 h 1322136"/>
                  <a:gd name="connsiteX7" fmla="*/ 52491 w 314943"/>
                  <a:gd name="connsiteY7" fmla="*/ 1322136 h 1322136"/>
                  <a:gd name="connsiteX8" fmla="*/ 0 w 314943"/>
                  <a:gd name="connsiteY8" fmla="*/ 1269645 h 1322136"/>
                  <a:gd name="connsiteX9" fmla="*/ 0 w 314943"/>
                  <a:gd name="connsiteY9" fmla="*/ 571203 h 1322136"/>
                  <a:gd name="connsiteX10" fmla="*/ 52491 w 314943"/>
                  <a:gd name="connsiteY10" fmla="*/ 518712 h 1322136"/>
                  <a:gd name="connsiteX11" fmla="*/ 70702 w 314943"/>
                  <a:gd name="connsiteY11" fmla="*/ 518712 h 132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4943" h="1322136">
                    <a:moveTo>
                      <a:pt x="70702" y="0"/>
                    </a:moveTo>
                    <a:lnTo>
                      <a:pt x="244242" y="0"/>
                    </a:lnTo>
                    <a:lnTo>
                      <a:pt x="244242" y="518712"/>
                    </a:lnTo>
                    <a:lnTo>
                      <a:pt x="262452" y="518712"/>
                    </a:lnTo>
                    <a:cubicBezTo>
                      <a:pt x="291443" y="518712"/>
                      <a:pt x="314943" y="542212"/>
                      <a:pt x="314943" y="571203"/>
                    </a:cubicBezTo>
                    <a:lnTo>
                      <a:pt x="314943" y="1269645"/>
                    </a:lnTo>
                    <a:cubicBezTo>
                      <a:pt x="314943" y="1298636"/>
                      <a:pt x="291443" y="1322136"/>
                      <a:pt x="262452" y="1322136"/>
                    </a:cubicBezTo>
                    <a:lnTo>
                      <a:pt x="52491" y="1322136"/>
                    </a:lnTo>
                    <a:cubicBezTo>
                      <a:pt x="23501" y="1322136"/>
                      <a:pt x="0" y="1298636"/>
                      <a:pt x="0" y="1269645"/>
                    </a:cubicBezTo>
                    <a:lnTo>
                      <a:pt x="0" y="571203"/>
                    </a:lnTo>
                    <a:cubicBezTo>
                      <a:pt x="0" y="542212"/>
                      <a:pt x="23501" y="518712"/>
                      <a:pt x="52491" y="518712"/>
                    </a:cubicBezTo>
                    <a:lnTo>
                      <a:pt x="70702" y="5187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4415813" y="4295607"/>
                <a:ext cx="312372" cy="5784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4415813" y="4828487"/>
                <a:ext cx="312372" cy="5784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3682206" y="2025234"/>
              <a:ext cx="1779588" cy="1831808"/>
            </a:xfrm>
            <a:custGeom>
              <a:avLst/>
              <a:gdLst>
                <a:gd name="connsiteX0" fmla="*/ 703262 w 1406525"/>
                <a:gd name="connsiteY0" fmla="*/ 85725 h 1447800"/>
                <a:gd name="connsiteX1" fmla="*/ 87312 w 1406525"/>
                <a:gd name="connsiteY1" fmla="*/ 701675 h 1447800"/>
                <a:gd name="connsiteX2" fmla="*/ 703262 w 1406525"/>
                <a:gd name="connsiteY2" fmla="*/ 1317625 h 1447800"/>
                <a:gd name="connsiteX3" fmla="*/ 1319212 w 1406525"/>
                <a:gd name="connsiteY3" fmla="*/ 701675 h 1447800"/>
                <a:gd name="connsiteX4" fmla="*/ 703262 w 1406525"/>
                <a:gd name="connsiteY4" fmla="*/ 85725 h 1447800"/>
                <a:gd name="connsiteX5" fmla="*/ 702958 w 1406525"/>
                <a:gd name="connsiteY5" fmla="*/ 0 h 1447800"/>
                <a:gd name="connsiteX6" fmla="*/ 1406525 w 1406525"/>
                <a:gd name="connsiteY6" fmla="*/ 702001 h 1447800"/>
                <a:gd name="connsiteX7" fmla="*/ 938699 w 1406525"/>
                <a:gd name="connsiteY7" fmla="*/ 1363852 h 1447800"/>
                <a:gd name="connsiteX8" fmla="*/ 938699 w 1406525"/>
                <a:gd name="connsiteY8" fmla="*/ 1365677 h 1447800"/>
                <a:gd name="connsiteX9" fmla="*/ 709659 w 1406525"/>
                <a:gd name="connsiteY9" fmla="*/ 1447800 h 1447800"/>
                <a:gd name="connsiteX10" fmla="*/ 481228 w 1406525"/>
                <a:gd name="connsiteY10" fmla="*/ 1368110 h 1447800"/>
                <a:gd name="connsiteX11" fmla="*/ 0 w 1406525"/>
                <a:gd name="connsiteY11" fmla="*/ 702001 h 1447800"/>
                <a:gd name="connsiteX12" fmla="*/ 702958 w 1406525"/>
                <a:gd name="connsiteY12" fmla="*/ 0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06525" h="1447800">
                  <a:moveTo>
                    <a:pt x="703262" y="85725"/>
                  </a:moveTo>
                  <a:cubicBezTo>
                    <a:pt x="363082" y="85725"/>
                    <a:pt x="87312" y="361495"/>
                    <a:pt x="87312" y="701675"/>
                  </a:cubicBezTo>
                  <a:cubicBezTo>
                    <a:pt x="87312" y="1041855"/>
                    <a:pt x="363082" y="1317625"/>
                    <a:pt x="703262" y="1317625"/>
                  </a:cubicBezTo>
                  <a:cubicBezTo>
                    <a:pt x="1043442" y="1317625"/>
                    <a:pt x="1319212" y="1041855"/>
                    <a:pt x="1319212" y="701675"/>
                  </a:cubicBezTo>
                  <a:cubicBezTo>
                    <a:pt x="1319212" y="361495"/>
                    <a:pt x="1043442" y="85725"/>
                    <a:pt x="703262" y="85725"/>
                  </a:cubicBezTo>
                  <a:close/>
                  <a:moveTo>
                    <a:pt x="702958" y="0"/>
                  </a:moveTo>
                  <a:cubicBezTo>
                    <a:pt x="1091595" y="0"/>
                    <a:pt x="1406525" y="313893"/>
                    <a:pt x="1406525" y="702001"/>
                  </a:cubicBezTo>
                  <a:cubicBezTo>
                    <a:pt x="1406525" y="1007377"/>
                    <a:pt x="1210988" y="1267129"/>
                    <a:pt x="938699" y="1363852"/>
                  </a:cubicBezTo>
                  <a:cubicBezTo>
                    <a:pt x="938699" y="1364460"/>
                    <a:pt x="938699" y="1365069"/>
                    <a:pt x="938699" y="1365677"/>
                  </a:cubicBezTo>
                  <a:cubicBezTo>
                    <a:pt x="938699" y="1410693"/>
                    <a:pt x="836362" y="1447800"/>
                    <a:pt x="709659" y="1447800"/>
                  </a:cubicBezTo>
                  <a:cubicBezTo>
                    <a:pt x="586001" y="1447800"/>
                    <a:pt x="485492" y="1412518"/>
                    <a:pt x="481228" y="1368110"/>
                  </a:cubicBezTo>
                  <a:cubicBezTo>
                    <a:pt x="201628" y="1275646"/>
                    <a:pt x="0" y="1012244"/>
                    <a:pt x="0" y="702001"/>
                  </a:cubicBezTo>
                  <a:cubicBezTo>
                    <a:pt x="0" y="313893"/>
                    <a:pt x="314930" y="0"/>
                    <a:pt x="702958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74" name="TextBox 273"/>
          <p:cNvSpPr txBox="1"/>
          <p:nvPr/>
        </p:nvSpPr>
        <p:spPr>
          <a:xfrm flipH="1">
            <a:off x="4013533" y="2768839"/>
            <a:ext cx="112789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75" name="TextBox 274"/>
          <p:cNvSpPr txBox="1"/>
          <p:nvPr/>
        </p:nvSpPr>
        <p:spPr>
          <a:xfrm flipH="1">
            <a:off x="4013533" y="2595747"/>
            <a:ext cx="1127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title</a:t>
            </a:r>
          </a:p>
        </p:txBody>
      </p:sp>
      <p:sp>
        <p:nvSpPr>
          <p:cNvPr id="64" name="Freeform 377">
            <a:extLst>
              <a:ext uri="{FF2B5EF4-FFF2-40B4-BE49-F238E27FC236}">
                <a16:creationId xmlns:a16="http://schemas.microsoft.com/office/drawing/2014/main" id="{A04B3BDA-6E1D-44E1-A62F-A9247C78205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773002" y="2819025"/>
            <a:ext cx="202480" cy="204290"/>
          </a:xfrm>
          <a:custGeom>
            <a:avLst/>
            <a:gdLst>
              <a:gd name="T0" fmla="*/ 147 w 169"/>
              <a:gd name="T1" fmla="*/ 27 h 170"/>
              <a:gd name="T2" fmla="*/ 131 w 169"/>
              <a:gd name="T3" fmla="*/ 56 h 170"/>
              <a:gd name="T4" fmla="*/ 131 w 169"/>
              <a:gd name="T5" fmla="*/ 65 h 170"/>
              <a:gd name="T6" fmla="*/ 133 w 169"/>
              <a:gd name="T7" fmla="*/ 103 h 170"/>
              <a:gd name="T8" fmla="*/ 113 w 169"/>
              <a:gd name="T9" fmla="*/ 150 h 170"/>
              <a:gd name="T10" fmla="*/ 66 w 169"/>
              <a:gd name="T11" fmla="*/ 170 h 170"/>
              <a:gd name="T12" fmla="*/ 19 w 169"/>
              <a:gd name="T13" fmla="*/ 150 h 170"/>
              <a:gd name="T14" fmla="*/ 0 w 169"/>
              <a:gd name="T15" fmla="*/ 103 h 170"/>
              <a:gd name="T16" fmla="*/ 19 w 169"/>
              <a:gd name="T17" fmla="*/ 56 h 170"/>
              <a:gd name="T18" fmla="*/ 66 w 169"/>
              <a:gd name="T19" fmla="*/ 37 h 170"/>
              <a:gd name="T20" fmla="*/ 105 w 169"/>
              <a:gd name="T21" fmla="*/ 39 h 170"/>
              <a:gd name="T22" fmla="*/ 113 w 169"/>
              <a:gd name="T23" fmla="*/ 39 h 170"/>
              <a:gd name="T24" fmla="*/ 143 w 169"/>
              <a:gd name="T25" fmla="*/ 22 h 170"/>
              <a:gd name="T26" fmla="*/ 54 w 169"/>
              <a:gd name="T27" fmla="*/ 56 h 170"/>
              <a:gd name="T28" fmla="*/ 46 w 169"/>
              <a:gd name="T29" fmla="*/ 53 h 170"/>
              <a:gd name="T30" fmla="*/ 16 w 169"/>
              <a:gd name="T31" fmla="*/ 83 h 170"/>
              <a:gd name="T32" fmla="*/ 19 w 169"/>
              <a:gd name="T33" fmla="*/ 90 h 170"/>
              <a:gd name="T34" fmla="*/ 27 w 169"/>
              <a:gd name="T35" fmla="*/ 87 h 170"/>
              <a:gd name="T36" fmla="*/ 50 w 169"/>
              <a:gd name="T37" fmla="*/ 64 h 170"/>
              <a:gd name="T38" fmla="*/ 144 w 169"/>
              <a:gd name="T39" fmla="*/ 17 h 170"/>
              <a:gd name="T40" fmla="*/ 139 w 169"/>
              <a:gd name="T41" fmla="*/ 17 h 170"/>
              <a:gd name="T42" fmla="*/ 130 w 169"/>
              <a:gd name="T43" fmla="*/ 6 h 170"/>
              <a:gd name="T44" fmla="*/ 133 w 169"/>
              <a:gd name="T45" fmla="*/ 3 h 170"/>
              <a:gd name="T46" fmla="*/ 144 w 169"/>
              <a:gd name="T47" fmla="*/ 13 h 170"/>
              <a:gd name="T48" fmla="*/ 144 w 169"/>
              <a:gd name="T49" fmla="*/ 17 h 170"/>
              <a:gd name="T50" fmla="*/ 151 w 169"/>
              <a:gd name="T51" fmla="*/ 12 h 170"/>
              <a:gd name="T52" fmla="*/ 148 w 169"/>
              <a:gd name="T53" fmla="*/ 15 h 170"/>
              <a:gd name="T54" fmla="*/ 145 w 169"/>
              <a:gd name="T55" fmla="*/ 12 h 170"/>
              <a:gd name="T56" fmla="*/ 146 w 169"/>
              <a:gd name="T57" fmla="*/ 1 h 170"/>
              <a:gd name="T58" fmla="*/ 150 w 169"/>
              <a:gd name="T59" fmla="*/ 1 h 170"/>
              <a:gd name="T60" fmla="*/ 165 w 169"/>
              <a:gd name="T61" fmla="*/ 8 h 170"/>
              <a:gd name="T62" fmla="*/ 155 w 169"/>
              <a:gd name="T63" fmla="*/ 18 h 170"/>
              <a:gd name="T64" fmla="*/ 151 w 169"/>
              <a:gd name="T65" fmla="*/ 15 h 170"/>
              <a:gd name="T66" fmla="*/ 161 w 169"/>
              <a:gd name="T67" fmla="*/ 4 h 170"/>
              <a:gd name="T68" fmla="*/ 165 w 169"/>
              <a:gd name="T69" fmla="*/ 4 h 170"/>
              <a:gd name="T70" fmla="*/ 165 w 169"/>
              <a:gd name="T71" fmla="*/ 8 h 170"/>
              <a:gd name="T72" fmla="*/ 163 w 169"/>
              <a:gd name="T73" fmla="*/ 40 h 170"/>
              <a:gd name="T74" fmla="*/ 152 w 169"/>
              <a:gd name="T75" fmla="*/ 30 h 170"/>
              <a:gd name="T76" fmla="*/ 152 w 169"/>
              <a:gd name="T77" fmla="*/ 26 h 170"/>
              <a:gd name="T78" fmla="*/ 157 w 169"/>
              <a:gd name="T79" fmla="*/ 26 h 170"/>
              <a:gd name="T80" fmla="*/ 166 w 169"/>
              <a:gd name="T81" fmla="*/ 37 h 170"/>
              <a:gd name="T82" fmla="*/ 168 w 169"/>
              <a:gd name="T83" fmla="*/ 19 h 170"/>
              <a:gd name="T84" fmla="*/ 168 w 169"/>
              <a:gd name="T85" fmla="*/ 24 h 170"/>
              <a:gd name="T86" fmla="*/ 157 w 169"/>
              <a:gd name="T87" fmla="*/ 24 h 170"/>
              <a:gd name="T88" fmla="*/ 154 w 169"/>
              <a:gd name="T89" fmla="*/ 21 h 170"/>
              <a:gd name="T90" fmla="*/ 157 w 169"/>
              <a:gd name="T91" fmla="*/ 18 h 170"/>
              <a:gd name="T92" fmla="*/ 168 w 169"/>
              <a:gd name="T93" fmla="*/ 1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9" h="170">
                <a:moveTo>
                  <a:pt x="143" y="22"/>
                </a:moveTo>
                <a:cubicBezTo>
                  <a:pt x="147" y="27"/>
                  <a:pt x="147" y="27"/>
                  <a:pt x="147" y="27"/>
                </a:cubicBezTo>
                <a:cubicBezTo>
                  <a:pt x="124" y="50"/>
                  <a:pt x="124" y="50"/>
                  <a:pt x="124" y="50"/>
                </a:cubicBezTo>
                <a:cubicBezTo>
                  <a:pt x="131" y="56"/>
                  <a:pt x="131" y="56"/>
                  <a:pt x="131" y="56"/>
                </a:cubicBezTo>
                <a:cubicBezTo>
                  <a:pt x="132" y="57"/>
                  <a:pt x="132" y="59"/>
                  <a:pt x="132" y="60"/>
                </a:cubicBezTo>
                <a:cubicBezTo>
                  <a:pt x="132" y="62"/>
                  <a:pt x="132" y="63"/>
                  <a:pt x="131" y="65"/>
                </a:cubicBezTo>
                <a:cubicBezTo>
                  <a:pt x="124" y="71"/>
                  <a:pt x="124" y="71"/>
                  <a:pt x="124" y="71"/>
                </a:cubicBezTo>
                <a:cubicBezTo>
                  <a:pt x="130" y="81"/>
                  <a:pt x="133" y="92"/>
                  <a:pt x="133" y="103"/>
                </a:cubicBezTo>
                <a:cubicBezTo>
                  <a:pt x="133" y="112"/>
                  <a:pt x="131" y="121"/>
                  <a:pt x="128" y="129"/>
                </a:cubicBezTo>
                <a:cubicBezTo>
                  <a:pt x="124" y="137"/>
                  <a:pt x="119" y="144"/>
                  <a:pt x="113" y="150"/>
                </a:cubicBezTo>
                <a:cubicBezTo>
                  <a:pt x="107" y="156"/>
                  <a:pt x="100" y="161"/>
                  <a:pt x="92" y="164"/>
                </a:cubicBezTo>
                <a:cubicBezTo>
                  <a:pt x="84" y="168"/>
                  <a:pt x="75" y="170"/>
                  <a:pt x="66" y="170"/>
                </a:cubicBezTo>
                <a:cubicBezTo>
                  <a:pt x="57" y="170"/>
                  <a:pt x="49" y="168"/>
                  <a:pt x="40" y="164"/>
                </a:cubicBezTo>
                <a:cubicBezTo>
                  <a:pt x="32" y="161"/>
                  <a:pt x="25" y="156"/>
                  <a:pt x="19" y="150"/>
                </a:cubicBezTo>
                <a:cubicBezTo>
                  <a:pt x="13" y="144"/>
                  <a:pt x="9" y="137"/>
                  <a:pt x="5" y="129"/>
                </a:cubicBezTo>
                <a:cubicBezTo>
                  <a:pt x="2" y="121"/>
                  <a:pt x="0" y="112"/>
                  <a:pt x="0" y="103"/>
                </a:cubicBezTo>
                <a:cubicBezTo>
                  <a:pt x="0" y="94"/>
                  <a:pt x="2" y="85"/>
                  <a:pt x="5" y="77"/>
                </a:cubicBezTo>
                <a:cubicBezTo>
                  <a:pt x="9" y="69"/>
                  <a:pt x="13" y="62"/>
                  <a:pt x="19" y="56"/>
                </a:cubicBezTo>
                <a:cubicBezTo>
                  <a:pt x="25" y="50"/>
                  <a:pt x="32" y="45"/>
                  <a:pt x="40" y="42"/>
                </a:cubicBezTo>
                <a:cubicBezTo>
                  <a:pt x="49" y="38"/>
                  <a:pt x="57" y="37"/>
                  <a:pt x="66" y="37"/>
                </a:cubicBezTo>
                <a:cubicBezTo>
                  <a:pt x="78" y="37"/>
                  <a:pt x="89" y="39"/>
                  <a:pt x="99" y="45"/>
                </a:cubicBezTo>
                <a:cubicBezTo>
                  <a:pt x="105" y="39"/>
                  <a:pt x="105" y="39"/>
                  <a:pt x="105" y="39"/>
                </a:cubicBezTo>
                <a:cubicBezTo>
                  <a:pt x="106" y="38"/>
                  <a:pt x="107" y="37"/>
                  <a:pt x="109" y="37"/>
                </a:cubicBezTo>
                <a:cubicBezTo>
                  <a:pt x="111" y="37"/>
                  <a:pt x="112" y="38"/>
                  <a:pt x="113" y="39"/>
                </a:cubicBezTo>
                <a:cubicBezTo>
                  <a:pt x="120" y="45"/>
                  <a:pt x="120" y="45"/>
                  <a:pt x="120" y="45"/>
                </a:cubicBezTo>
                <a:lnTo>
                  <a:pt x="143" y="22"/>
                </a:lnTo>
                <a:close/>
                <a:moveTo>
                  <a:pt x="54" y="61"/>
                </a:moveTo>
                <a:cubicBezTo>
                  <a:pt x="54" y="59"/>
                  <a:pt x="54" y="57"/>
                  <a:pt x="54" y="56"/>
                </a:cubicBezTo>
                <a:cubicBezTo>
                  <a:pt x="53" y="54"/>
                  <a:pt x="52" y="53"/>
                  <a:pt x="51" y="53"/>
                </a:cubicBezTo>
                <a:cubicBezTo>
                  <a:pt x="49" y="52"/>
                  <a:pt x="47" y="52"/>
                  <a:pt x="46" y="53"/>
                </a:cubicBezTo>
                <a:cubicBezTo>
                  <a:pt x="39" y="55"/>
                  <a:pt x="33" y="59"/>
                  <a:pt x="28" y="65"/>
                </a:cubicBezTo>
                <a:cubicBezTo>
                  <a:pt x="23" y="70"/>
                  <a:pt x="19" y="76"/>
                  <a:pt x="16" y="83"/>
                </a:cubicBezTo>
                <a:cubicBezTo>
                  <a:pt x="15" y="84"/>
                  <a:pt x="15" y="86"/>
                  <a:pt x="16" y="87"/>
                </a:cubicBezTo>
                <a:cubicBezTo>
                  <a:pt x="16" y="89"/>
                  <a:pt x="18" y="90"/>
                  <a:pt x="19" y="90"/>
                </a:cubicBezTo>
                <a:cubicBezTo>
                  <a:pt x="20" y="91"/>
                  <a:pt x="21" y="91"/>
                  <a:pt x="21" y="91"/>
                </a:cubicBezTo>
                <a:cubicBezTo>
                  <a:pt x="24" y="91"/>
                  <a:pt x="26" y="90"/>
                  <a:pt x="27" y="87"/>
                </a:cubicBezTo>
                <a:cubicBezTo>
                  <a:pt x="29" y="82"/>
                  <a:pt x="32" y="77"/>
                  <a:pt x="36" y="73"/>
                </a:cubicBezTo>
                <a:cubicBezTo>
                  <a:pt x="40" y="69"/>
                  <a:pt x="45" y="66"/>
                  <a:pt x="50" y="64"/>
                </a:cubicBezTo>
                <a:cubicBezTo>
                  <a:pt x="52" y="63"/>
                  <a:pt x="53" y="62"/>
                  <a:pt x="54" y="61"/>
                </a:cubicBezTo>
                <a:close/>
                <a:moveTo>
                  <a:pt x="144" y="17"/>
                </a:moveTo>
                <a:cubicBezTo>
                  <a:pt x="143" y="18"/>
                  <a:pt x="142" y="18"/>
                  <a:pt x="141" y="18"/>
                </a:cubicBezTo>
                <a:cubicBezTo>
                  <a:pt x="141" y="18"/>
                  <a:pt x="140" y="18"/>
                  <a:pt x="139" y="17"/>
                </a:cubicBezTo>
                <a:cubicBezTo>
                  <a:pt x="131" y="8"/>
                  <a:pt x="131" y="8"/>
                  <a:pt x="131" y="8"/>
                </a:cubicBezTo>
                <a:cubicBezTo>
                  <a:pt x="130" y="8"/>
                  <a:pt x="130" y="7"/>
                  <a:pt x="130" y="6"/>
                </a:cubicBezTo>
                <a:cubicBezTo>
                  <a:pt x="130" y="5"/>
                  <a:pt x="130" y="5"/>
                  <a:pt x="131" y="4"/>
                </a:cubicBezTo>
                <a:cubicBezTo>
                  <a:pt x="131" y="4"/>
                  <a:pt x="132" y="3"/>
                  <a:pt x="133" y="3"/>
                </a:cubicBezTo>
                <a:cubicBezTo>
                  <a:pt x="134" y="3"/>
                  <a:pt x="134" y="4"/>
                  <a:pt x="135" y="4"/>
                </a:cubicBezTo>
                <a:cubicBezTo>
                  <a:pt x="144" y="13"/>
                  <a:pt x="144" y="13"/>
                  <a:pt x="144" y="13"/>
                </a:cubicBezTo>
                <a:cubicBezTo>
                  <a:pt x="144" y="13"/>
                  <a:pt x="145" y="14"/>
                  <a:pt x="145" y="15"/>
                </a:cubicBezTo>
                <a:cubicBezTo>
                  <a:pt x="145" y="16"/>
                  <a:pt x="144" y="16"/>
                  <a:pt x="144" y="17"/>
                </a:cubicBezTo>
                <a:close/>
                <a:moveTo>
                  <a:pt x="151" y="3"/>
                </a:moveTo>
                <a:cubicBezTo>
                  <a:pt x="151" y="12"/>
                  <a:pt x="151" y="12"/>
                  <a:pt x="151" y="12"/>
                </a:cubicBezTo>
                <a:cubicBezTo>
                  <a:pt x="151" y="13"/>
                  <a:pt x="151" y="14"/>
                  <a:pt x="150" y="14"/>
                </a:cubicBezTo>
                <a:cubicBezTo>
                  <a:pt x="150" y="15"/>
                  <a:pt x="149" y="15"/>
                  <a:pt x="148" y="15"/>
                </a:cubicBezTo>
                <a:cubicBezTo>
                  <a:pt x="147" y="15"/>
                  <a:pt x="146" y="15"/>
                  <a:pt x="146" y="14"/>
                </a:cubicBezTo>
                <a:cubicBezTo>
                  <a:pt x="145" y="14"/>
                  <a:pt x="145" y="13"/>
                  <a:pt x="145" y="12"/>
                </a:cubicBezTo>
                <a:cubicBezTo>
                  <a:pt x="145" y="3"/>
                  <a:pt x="145" y="3"/>
                  <a:pt x="145" y="3"/>
                </a:cubicBezTo>
                <a:cubicBezTo>
                  <a:pt x="145" y="2"/>
                  <a:pt x="145" y="2"/>
                  <a:pt x="146" y="1"/>
                </a:cubicBezTo>
                <a:cubicBezTo>
                  <a:pt x="146" y="0"/>
                  <a:pt x="147" y="0"/>
                  <a:pt x="148" y="0"/>
                </a:cubicBezTo>
                <a:cubicBezTo>
                  <a:pt x="149" y="0"/>
                  <a:pt x="150" y="0"/>
                  <a:pt x="150" y="1"/>
                </a:cubicBezTo>
                <a:cubicBezTo>
                  <a:pt x="151" y="2"/>
                  <a:pt x="151" y="2"/>
                  <a:pt x="151" y="3"/>
                </a:cubicBezTo>
                <a:close/>
                <a:moveTo>
                  <a:pt x="165" y="8"/>
                </a:moveTo>
                <a:cubicBezTo>
                  <a:pt x="157" y="17"/>
                  <a:pt x="157" y="17"/>
                  <a:pt x="157" y="17"/>
                </a:cubicBezTo>
                <a:cubicBezTo>
                  <a:pt x="156" y="18"/>
                  <a:pt x="155" y="18"/>
                  <a:pt x="155" y="18"/>
                </a:cubicBezTo>
                <a:cubicBezTo>
                  <a:pt x="154" y="18"/>
                  <a:pt x="153" y="18"/>
                  <a:pt x="152" y="17"/>
                </a:cubicBezTo>
                <a:cubicBezTo>
                  <a:pt x="152" y="16"/>
                  <a:pt x="151" y="16"/>
                  <a:pt x="151" y="15"/>
                </a:cubicBezTo>
                <a:cubicBezTo>
                  <a:pt x="151" y="14"/>
                  <a:pt x="152" y="13"/>
                  <a:pt x="152" y="13"/>
                </a:cubicBezTo>
                <a:cubicBezTo>
                  <a:pt x="161" y="4"/>
                  <a:pt x="161" y="4"/>
                  <a:pt x="161" y="4"/>
                </a:cubicBezTo>
                <a:cubicBezTo>
                  <a:pt x="162" y="4"/>
                  <a:pt x="162" y="3"/>
                  <a:pt x="163" y="3"/>
                </a:cubicBezTo>
                <a:cubicBezTo>
                  <a:pt x="164" y="3"/>
                  <a:pt x="165" y="4"/>
                  <a:pt x="165" y="4"/>
                </a:cubicBezTo>
                <a:cubicBezTo>
                  <a:pt x="166" y="5"/>
                  <a:pt x="166" y="5"/>
                  <a:pt x="166" y="6"/>
                </a:cubicBezTo>
                <a:cubicBezTo>
                  <a:pt x="166" y="7"/>
                  <a:pt x="166" y="8"/>
                  <a:pt x="165" y="8"/>
                </a:cubicBezTo>
                <a:close/>
                <a:moveTo>
                  <a:pt x="165" y="39"/>
                </a:moveTo>
                <a:cubicBezTo>
                  <a:pt x="165" y="39"/>
                  <a:pt x="164" y="40"/>
                  <a:pt x="163" y="40"/>
                </a:cubicBezTo>
                <a:cubicBezTo>
                  <a:pt x="162" y="40"/>
                  <a:pt x="162" y="39"/>
                  <a:pt x="161" y="39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52" y="30"/>
                  <a:pt x="151" y="29"/>
                  <a:pt x="151" y="28"/>
                </a:cubicBezTo>
                <a:cubicBezTo>
                  <a:pt x="151" y="27"/>
                  <a:pt x="152" y="26"/>
                  <a:pt x="152" y="26"/>
                </a:cubicBezTo>
                <a:cubicBezTo>
                  <a:pt x="153" y="25"/>
                  <a:pt x="154" y="25"/>
                  <a:pt x="155" y="25"/>
                </a:cubicBezTo>
                <a:cubicBezTo>
                  <a:pt x="155" y="25"/>
                  <a:pt x="156" y="25"/>
                  <a:pt x="157" y="26"/>
                </a:cubicBezTo>
                <a:cubicBezTo>
                  <a:pt x="165" y="34"/>
                  <a:pt x="165" y="34"/>
                  <a:pt x="165" y="34"/>
                </a:cubicBezTo>
                <a:cubicBezTo>
                  <a:pt x="166" y="35"/>
                  <a:pt x="166" y="36"/>
                  <a:pt x="166" y="37"/>
                </a:cubicBezTo>
                <a:cubicBezTo>
                  <a:pt x="166" y="37"/>
                  <a:pt x="166" y="38"/>
                  <a:pt x="165" y="39"/>
                </a:cubicBezTo>
                <a:close/>
                <a:moveTo>
                  <a:pt x="168" y="19"/>
                </a:moveTo>
                <a:cubicBezTo>
                  <a:pt x="169" y="20"/>
                  <a:pt x="169" y="20"/>
                  <a:pt x="169" y="21"/>
                </a:cubicBezTo>
                <a:cubicBezTo>
                  <a:pt x="169" y="22"/>
                  <a:pt x="169" y="23"/>
                  <a:pt x="168" y="24"/>
                </a:cubicBezTo>
                <a:cubicBezTo>
                  <a:pt x="168" y="24"/>
                  <a:pt x="167" y="24"/>
                  <a:pt x="166" y="24"/>
                </a:cubicBezTo>
                <a:cubicBezTo>
                  <a:pt x="157" y="24"/>
                  <a:pt x="157" y="24"/>
                  <a:pt x="157" y="24"/>
                </a:cubicBezTo>
                <a:cubicBezTo>
                  <a:pt x="156" y="24"/>
                  <a:pt x="155" y="24"/>
                  <a:pt x="155" y="24"/>
                </a:cubicBezTo>
                <a:cubicBezTo>
                  <a:pt x="154" y="23"/>
                  <a:pt x="154" y="22"/>
                  <a:pt x="154" y="21"/>
                </a:cubicBezTo>
                <a:cubicBezTo>
                  <a:pt x="154" y="20"/>
                  <a:pt x="154" y="20"/>
                  <a:pt x="155" y="19"/>
                </a:cubicBezTo>
                <a:cubicBezTo>
                  <a:pt x="155" y="19"/>
                  <a:pt x="156" y="18"/>
                  <a:pt x="157" y="18"/>
                </a:cubicBezTo>
                <a:cubicBezTo>
                  <a:pt x="166" y="18"/>
                  <a:pt x="166" y="18"/>
                  <a:pt x="166" y="18"/>
                </a:cubicBezTo>
                <a:cubicBezTo>
                  <a:pt x="167" y="18"/>
                  <a:pt x="168" y="19"/>
                  <a:pt x="168" y="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8" name="Freeform 369">
            <a:extLst>
              <a:ext uri="{FF2B5EF4-FFF2-40B4-BE49-F238E27FC236}">
                <a16:creationId xmlns:a16="http://schemas.microsoft.com/office/drawing/2014/main" id="{089AEDFB-5C05-49C6-8F29-FC1A5695F7C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69212" y="1928022"/>
            <a:ext cx="180787" cy="159092"/>
          </a:xfrm>
          <a:custGeom>
            <a:avLst/>
            <a:gdLst>
              <a:gd name="T0" fmla="*/ 151 w 151"/>
              <a:gd name="T1" fmla="*/ 115 h 133"/>
              <a:gd name="T2" fmla="*/ 151 w 151"/>
              <a:gd name="T3" fmla="*/ 133 h 133"/>
              <a:gd name="T4" fmla="*/ 43 w 151"/>
              <a:gd name="T5" fmla="*/ 133 h 133"/>
              <a:gd name="T6" fmla="*/ 43 w 151"/>
              <a:gd name="T7" fmla="*/ 115 h 133"/>
              <a:gd name="T8" fmla="*/ 55 w 151"/>
              <a:gd name="T9" fmla="*/ 97 h 133"/>
              <a:gd name="T10" fmla="*/ 43 w 151"/>
              <a:gd name="T11" fmla="*/ 97 h 133"/>
              <a:gd name="T12" fmla="*/ 17 w 151"/>
              <a:gd name="T13" fmla="*/ 86 h 133"/>
              <a:gd name="T14" fmla="*/ 6 w 151"/>
              <a:gd name="T15" fmla="*/ 61 h 133"/>
              <a:gd name="T16" fmla="*/ 6 w 151"/>
              <a:gd name="T17" fmla="*/ 31 h 133"/>
              <a:gd name="T18" fmla="*/ 0 w 151"/>
              <a:gd name="T19" fmla="*/ 25 h 133"/>
              <a:gd name="T20" fmla="*/ 3 w 151"/>
              <a:gd name="T21" fmla="*/ 12 h 133"/>
              <a:gd name="T22" fmla="*/ 49 w 151"/>
              <a:gd name="T23" fmla="*/ 12 h 133"/>
              <a:gd name="T24" fmla="*/ 52 w 151"/>
              <a:gd name="T25" fmla="*/ 0 h 133"/>
              <a:gd name="T26" fmla="*/ 142 w 151"/>
              <a:gd name="T27" fmla="*/ 0 h 133"/>
              <a:gd name="T28" fmla="*/ 145 w 151"/>
              <a:gd name="T29" fmla="*/ 18 h 133"/>
              <a:gd name="T30" fmla="*/ 139 w 151"/>
              <a:gd name="T31" fmla="*/ 21 h 133"/>
              <a:gd name="T32" fmla="*/ 139 w 151"/>
              <a:gd name="T33" fmla="*/ 97 h 133"/>
              <a:gd name="T34" fmla="*/ 151 w 151"/>
              <a:gd name="T35" fmla="*/ 115 h 133"/>
              <a:gd name="T36" fmla="*/ 55 w 151"/>
              <a:gd name="T37" fmla="*/ 73 h 133"/>
              <a:gd name="T38" fmla="*/ 55 w 151"/>
              <a:gd name="T39" fmla="*/ 37 h 133"/>
              <a:gd name="T40" fmla="*/ 30 w 151"/>
              <a:gd name="T41" fmla="*/ 37 h 133"/>
              <a:gd name="T42" fmla="*/ 30 w 151"/>
              <a:gd name="T43" fmla="*/ 61 h 133"/>
              <a:gd name="T44" fmla="*/ 34 w 151"/>
              <a:gd name="T45" fmla="*/ 69 h 133"/>
              <a:gd name="T46" fmla="*/ 43 w 151"/>
              <a:gd name="T47" fmla="*/ 73 h 133"/>
              <a:gd name="T48" fmla="*/ 55 w 151"/>
              <a:gd name="T49" fmla="*/ 7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1" h="133">
                <a:moveTo>
                  <a:pt x="151" y="115"/>
                </a:moveTo>
                <a:cubicBezTo>
                  <a:pt x="151" y="133"/>
                  <a:pt x="151" y="133"/>
                  <a:pt x="151" y="133"/>
                </a:cubicBezTo>
                <a:cubicBezTo>
                  <a:pt x="43" y="133"/>
                  <a:pt x="43" y="133"/>
                  <a:pt x="43" y="133"/>
                </a:cubicBezTo>
                <a:cubicBezTo>
                  <a:pt x="43" y="115"/>
                  <a:pt x="43" y="115"/>
                  <a:pt x="43" y="115"/>
                </a:cubicBezTo>
                <a:cubicBezTo>
                  <a:pt x="55" y="97"/>
                  <a:pt x="55" y="97"/>
                  <a:pt x="55" y="97"/>
                </a:cubicBezTo>
                <a:cubicBezTo>
                  <a:pt x="43" y="97"/>
                  <a:pt x="43" y="97"/>
                  <a:pt x="43" y="97"/>
                </a:cubicBezTo>
                <a:cubicBezTo>
                  <a:pt x="33" y="97"/>
                  <a:pt x="24" y="94"/>
                  <a:pt x="17" y="86"/>
                </a:cubicBezTo>
                <a:cubicBezTo>
                  <a:pt x="10" y="79"/>
                  <a:pt x="6" y="71"/>
                  <a:pt x="6" y="61"/>
                </a:cubicBezTo>
                <a:cubicBezTo>
                  <a:pt x="6" y="31"/>
                  <a:pt x="6" y="31"/>
                  <a:pt x="6" y="31"/>
                </a:cubicBezTo>
                <a:cubicBezTo>
                  <a:pt x="0" y="25"/>
                  <a:pt x="0" y="25"/>
                  <a:pt x="0" y="25"/>
                </a:cubicBezTo>
                <a:cubicBezTo>
                  <a:pt x="3" y="12"/>
                  <a:pt x="3" y="12"/>
                  <a:pt x="3" y="12"/>
                </a:cubicBezTo>
                <a:cubicBezTo>
                  <a:pt x="49" y="12"/>
                  <a:pt x="49" y="12"/>
                  <a:pt x="49" y="12"/>
                </a:cubicBezTo>
                <a:cubicBezTo>
                  <a:pt x="52" y="0"/>
                  <a:pt x="52" y="0"/>
                  <a:pt x="52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39" y="21"/>
                  <a:pt x="139" y="21"/>
                  <a:pt x="139" y="21"/>
                </a:cubicBezTo>
                <a:cubicBezTo>
                  <a:pt x="139" y="97"/>
                  <a:pt x="139" y="97"/>
                  <a:pt x="139" y="97"/>
                </a:cubicBezTo>
                <a:lnTo>
                  <a:pt x="151" y="115"/>
                </a:lnTo>
                <a:close/>
                <a:moveTo>
                  <a:pt x="55" y="73"/>
                </a:moveTo>
                <a:cubicBezTo>
                  <a:pt x="55" y="37"/>
                  <a:pt x="55" y="37"/>
                  <a:pt x="55" y="37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61"/>
                  <a:pt x="30" y="61"/>
                  <a:pt x="30" y="61"/>
                </a:cubicBezTo>
                <a:cubicBezTo>
                  <a:pt x="30" y="64"/>
                  <a:pt x="32" y="67"/>
                  <a:pt x="34" y="69"/>
                </a:cubicBezTo>
                <a:cubicBezTo>
                  <a:pt x="36" y="72"/>
                  <a:pt x="39" y="73"/>
                  <a:pt x="43" y="73"/>
                </a:cubicBezTo>
                <a:lnTo>
                  <a:pt x="55" y="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5" name="Freeform 5">
            <a:extLst>
              <a:ext uri="{FF2B5EF4-FFF2-40B4-BE49-F238E27FC236}">
                <a16:creationId xmlns:a16="http://schemas.microsoft.com/office/drawing/2014/main" id="{E7C1D651-D43C-4A70-8130-AF604099E3B4}"/>
              </a:ext>
            </a:extLst>
          </p:cNvPr>
          <p:cNvSpPr>
            <a:spLocks noChangeAspect="1"/>
          </p:cNvSpPr>
          <p:nvPr/>
        </p:nvSpPr>
        <p:spPr bwMode="auto">
          <a:xfrm>
            <a:off x="5392904" y="1925649"/>
            <a:ext cx="182595" cy="189827"/>
          </a:xfrm>
          <a:custGeom>
            <a:avLst/>
            <a:gdLst>
              <a:gd name="T0" fmla="*/ 152 w 152"/>
              <a:gd name="T1" fmla="*/ 6 h 158"/>
              <a:gd name="T2" fmla="*/ 148 w 152"/>
              <a:gd name="T3" fmla="*/ 13 h 158"/>
              <a:gd name="T4" fmla="*/ 88 w 152"/>
              <a:gd name="T5" fmla="*/ 73 h 158"/>
              <a:gd name="T6" fmla="*/ 88 w 152"/>
              <a:gd name="T7" fmla="*/ 146 h 158"/>
              <a:gd name="T8" fmla="*/ 118 w 152"/>
              <a:gd name="T9" fmla="*/ 146 h 158"/>
              <a:gd name="T10" fmla="*/ 122 w 152"/>
              <a:gd name="T11" fmla="*/ 147 h 158"/>
              <a:gd name="T12" fmla="*/ 124 w 152"/>
              <a:gd name="T13" fmla="*/ 152 h 158"/>
              <a:gd name="T14" fmla="*/ 122 w 152"/>
              <a:gd name="T15" fmla="*/ 156 h 158"/>
              <a:gd name="T16" fmla="*/ 118 w 152"/>
              <a:gd name="T17" fmla="*/ 158 h 158"/>
              <a:gd name="T18" fmla="*/ 33 w 152"/>
              <a:gd name="T19" fmla="*/ 158 h 158"/>
              <a:gd name="T20" fmla="*/ 29 w 152"/>
              <a:gd name="T21" fmla="*/ 156 h 158"/>
              <a:gd name="T22" fmla="*/ 27 w 152"/>
              <a:gd name="T23" fmla="*/ 152 h 158"/>
              <a:gd name="T24" fmla="*/ 29 w 152"/>
              <a:gd name="T25" fmla="*/ 147 h 158"/>
              <a:gd name="T26" fmla="*/ 33 w 152"/>
              <a:gd name="T27" fmla="*/ 146 h 158"/>
              <a:gd name="T28" fmla="*/ 64 w 152"/>
              <a:gd name="T29" fmla="*/ 146 h 158"/>
              <a:gd name="T30" fmla="*/ 64 w 152"/>
              <a:gd name="T31" fmla="*/ 73 h 158"/>
              <a:gd name="T32" fmla="*/ 4 w 152"/>
              <a:gd name="T33" fmla="*/ 13 h 158"/>
              <a:gd name="T34" fmla="*/ 0 w 152"/>
              <a:gd name="T35" fmla="*/ 6 h 158"/>
              <a:gd name="T36" fmla="*/ 1 w 152"/>
              <a:gd name="T37" fmla="*/ 2 h 158"/>
              <a:gd name="T38" fmla="*/ 5 w 152"/>
              <a:gd name="T39" fmla="*/ 1 h 158"/>
              <a:gd name="T40" fmla="*/ 9 w 152"/>
              <a:gd name="T41" fmla="*/ 0 h 158"/>
              <a:gd name="T42" fmla="*/ 142 w 152"/>
              <a:gd name="T43" fmla="*/ 0 h 158"/>
              <a:gd name="T44" fmla="*/ 146 w 152"/>
              <a:gd name="T45" fmla="*/ 1 h 158"/>
              <a:gd name="T46" fmla="*/ 150 w 152"/>
              <a:gd name="T47" fmla="*/ 2 h 158"/>
              <a:gd name="T48" fmla="*/ 152 w 152"/>
              <a:gd name="T49" fmla="*/ 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2" h="158">
                <a:moveTo>
                  <a:pt x="152" y="6"/>
                </a:moveTo>
                <a:cubicBezTo>
                  <a:pt x="152" y="8"/>
                  <a:pt x="150" y="11"/>
                  <a:pt x="148" y="13"/>
                </a:cubicBezTo>
                <a:cubicBezTo>
                  <a:pt x="88" y="73"/>
                  <a:pt x="88" y="73"/>
                  <a:pt x="88" y="73"/>
                </a:cubicBezTo>
                <a:cubicBezTo>
                  <a:pt x="88" y="146"/>
                  <a:pt x="88" y="146"/>
                  <a:pt x="88" y="146"/>
                </a:cubicBezTo>
                <a:cubicBezTo>
                  <a:pt x="118" y="146"/>
                  <a:pt x="118" y="146"/>
                  <a:pt x="118" y="146"/>
                </a:cubicBezTo>
                <a:cubicBezTo>
                  <a:pt x="120" y="146"/>
                  <a:pt x="121" y="146"/>
                  <a:pt x="122" y="147"/>
                </a:cubicBezTo>
                <a:cubicBezTo>
                  <a:pt x="123" y="149"/>
                  <a:pt x="124" y="150"/>
                  <a:pt x="124" y="152"/>
                </a:cubicBezTo>
                <a:cubicBezTo>
                  <a:pt x="124" y="153"/>
                  <a:pt x="123" y="155"/>
                  <a:pt x="122" y="156"/>
                </a:cubicBezTo>
                <a:cubicBezTo>
                  <a:pt x="121" y="157"/>
                  <a:pt x="120" y="158"/>
                  <a:pt x="118" y="158"/>
                </a:cubicBezTo>
                <a:cubicBezTo>
                  <a:pt x="33" y="158"/>
                  <a:pt x="33" y="158"/>
                  <a:pt x="33" y="158"/>
                </a:cubicBezTo>
                <a:cubicBezTo>
                  <a:pt x="32" y="158"/>
                  <a:pt x="30" y="157"/>
                  <a:pt x="29" y="156"/>
                </a:cubicBezTo>
                <a:cubicBezTo>
                  <a:pt x="28" y="155"/>
                  <a:pt x="27" y="153"/>
                  <a:pt x="27" y="152"/>
                </a:cubicBezTo>
                <a:cubicBezTo>
                  <a:pt x="27" y="150"/>
                  <a:pt x="28" y="149"/>
                  <a:pt x="29" y="147"/>
                </a:cubicBezTo>
                <a:cubicBezTo>
                  <a:pt x="30" y="146"/>
                  <a:pt x="32" y="146"/>
                  <a:pt x="33" y="146"/>
                </a:cubicBezTo>
                <a:cubicBezTo>
                  <a:pt x="64" y="146"/>
                  <a:pt x="64" y="146"/>
                  <a:pt x="64" y="146"/>
                </a:cubicBezTo>
                <a:cubicBezTo>
                  <a:pt x="64" y="73"/>
                  <a:pt x="64" y="73"/>
                  <a:pt x="64" y="73"/>
                </a:cubicBezTo>
                <a:cubicBezTo>
                  <a:pt x="4" y="13"/>
                  <a:pt x="4" y="13"/>
                  <a:pt x="4" y="13"/>
                </a:cubicBezTo>
                <a:cubicBezTo>
                  <a:pt x="1" y="11"/>
                  <a:pt x="0" y="8"/>
                  <a:pt x="0" y="6"/>
                </a:cubicBezTo>
                <a:cubicBezTo>
                  <a:pt x="0" y="4"/>
                  <a:pt x="0" y="3"/>
                  <a:pt x="1" y="2"/>
                </a:cubicBezTo>
                <a:cubicBezTo>
                  <a:pt x="3" y="2"/>
                  <a:pt x="4" y="1"/>
                  <a:pt x="5" y="1"/>
                </a:cubicBezTo>
                <a:cubicBezTo>
                  <a:pt x="6" y="0"/>
                  <a:pt x="8" y="0"/>
                  <a:pt x="9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4" y="0"/>
                  <a:pt x="145" y="0"/>
                  <a:pt x="146" y="1"/>
                </a:cubicBezTo>
                <a:cubicBezTo>
                  <a:pt x="148" y="1"/>
                  <a:pt x="149" y="2"/>
                  <a:pt x="150" y="2"/>
                </a:cubicBezTo>
                <a:cubicBezTo>
                  <a:pt x="151" y="3"/>
                  <a:pt x="152" y="4"/>
                  <a:pt x="152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6" name="Freeform 217">
            <a:extLst>
              <a:ext uri="{FF2B5EF4-FFF2-40B4-BE49-F238E27FC236}">
                <a16:creationId xmlns:a16="http://schemas.microsoft.com/office/drawing/2014/main" id="{4F4107B9-6B5C-452D-B1FF-A2DDDDA7DAF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79425" y="3738337"/>
            <a:ext cx="159092" cy="175363"/>
          </a:xfrm>
          <a:custGeom>
            <a:avLst/>
            <a:gdLst>
              <a:gd name="T0" fmla="*/ 126 w 133"/>
              <a:gd name="T1" fmla="*/ 139 h 146"/>
              <a:gd name="T2" fmla="*/ 25 w 133"/>
              <a:gd name="T3" fmla="*/ 146 h 146"/>
              <a:gd name="T4" fmla="*/ 0 w 133"/>
              <a:gd name="T5" fmla="*/ 121 h 146"/>
              <a:gd name="T6" fmla="*/ 2 w 133"/>
              <a:gd name="T7" fmla="*/ 96 h 146"/>
              <a:gd name="T8" fmla="*/ 15 w 133"/>
              <a:gd name="T9" fmla="*/ 73 h 146"/>
              <a:gd name="T10" fmla="*/ 24 w 133"/>
              <a:gd name="T11" fmla="*/ 79 h 146"/>
              <a:gd name="T12" fmla="*/ 15 w 133"/>
              <a:gd name="T13" fmla="*/ 105 h 146"/>
              <a:gd name="T14" fmla="*/ 17 w 133"/>
              <a:gd name="T15" fmla="*/ 128 h 146"/>
              <a:gd name="T16" fmla="*/ 43 w 133"/>
              <a:gd name="T17" fmla="*/ 128 h 146"/>
              <a:gd name="T18" fmla="*/ 45 w 133"/>
              <a:gd name="T19" fmla="*/ 105 h 146"/>
              <a:gd name="T20" fmla="*/ 36 w 133"/>
              <a:gd name="T21" fmla="*/ 79 h 146"/>
              <a:gd name="T22" fmla="*/ 66 w 133"/>
              <a:gd name="T23" fmla="*/ 80 h 146"/>
              <a:gd name="T24" fmla="*/ 96 w 133"/>
              <a:gd name="T25" fmla="*/ 79 h 146"/>
              <a:gd name="T26" fmla="*/ 79 w 133"/>
              <a:gd name="T27" fmla="*/ 92 h 146"/>
              <a:gd name="T28" fmla="*/ 72 w 133"/>
              <a:gd name="T29" fmla="*/ 118 h 146"/>
              <a:gd name="T30" fmla="*/ 72 w 133"/>
              <a:gd name="T31" fmla="*/ 131 h 146"/>
              <a:gd name="T32" fmla="*/ 85 w 133"/>
              <a:gd name="T33" fmla="*/ 131 h 146"/>
              <a:gd name="T34" fmla="*/ 84 w 133"/>
              <a:gd name="T35" fmla="*/ 118 h 146"/>
              <a:gd name="T36" fmla="*/ 88 w 133"/>
              <a:gd name="T37" fmla="*/ 101 h 146"/>
              <a:gd name="T38" fmla="*/ 105 w 133"/>
              <a:gd name="T39" fmla="*/ 101 h 146"/>
              <a:gd name="T40" fmla="*/ 109 w 133"/>
              <a:gd name="T41" fmla="*/ 118 h 146"/>
              <a:gd name="T42" fmla="*/ 108 w 133"/>
              <a:gd name="T43" fmla="*/ 131 h 146"/>
              <a:gd name="T44" fmla="*/ 121 w 133"/>
              <a:gd name="T45" fmla="*/ 131 h 146"/>
              <a:gd name="T46" fmla="*/ 121 w 133"/>
              <a:gd name="T47" fmla="*/ 118 h 146"/>
              <a:gd name="T48" fmla="*/ 117 w 133"/>
              <a:gd name="T49" fmla="*/ 97 h 146"/>
              <a:gd name="T50" fmla="*/ 109 w 133"/>
              <a:gd name="T51" fmla="*/ 84 h 146"/>
              <a:gd name="T52" fmla="*/ 108 w 133"/>
              <a:gd name="T53" fmla="*/ 76 h 146"/>
              <a:gd name="T54" fmla="*/ 106 w 133"/>
              <a:gd name="T55" fmla="*/ 68 h 146"/>
              <a:gd name="T56" fmla="*/ 125 w 133"/>
              <a:gd name="T57" fmla="*/ 83 h 146"/>
              <a:gd name="T58" fmla="*/ 132 w 133"/>
              <a:gd name="T59" fmla="*/ 109 h 146"/>
              <a:gd name="T60" fmla="*/ 34 w 133"/>
              <a:gd name="T61" fmla="*/ 111 h 146"/>
              <a:gd name="T62" fmla="*/ 34 w 133"/>
              <a:gd name="T63" fmla="*/ 120 h 146"/>
              <a:gd name="T64" fmla="*/ 26 w 133"/>
              <a:gd name="T65" fmla="*/ 120 h 146"/>
              <a:gd name="T66" fmla="*/ 26 w 133"/>
              <a:gd name="T67" fmla="*/ 111 h 146"/>
              <a:gd name="T68" fmla="*/ 34 w 133"/>
              <a:gd name="T69" fmla="*/ 111 h 146"/>
              <a:gd name="T70" fmla="*/ 103 w 133"/>
              <a:gd name="T71" fmla="*/ 37 h 146"/>
              <a:gd name="T72" fmla="*/ 66 w 133"/>
              <a:gd name="T73" fmla="*/ 73 h 146"/>
              <a:gd name="T74" fmla="*/ 30 w 133"/>
              <a:gd name="T75" fmla="*/ 37 h 146"/>
              <a:gd name="T76" fmla="*/ 66 w 133"/>
              <a:gd name="T77" fmla="*/ 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3" h="146">
                <a:moveTo>
                  <a:pt x="133" y="121"/>
                </a:moveTo>
                <a:cubicBezTo>
                  <a:pt x="133" y="129"/>
                  <a:pt x="130" y="135"/>
                  <a:pt x="126" y="139"/>
                </a:cubicBezTo>
                <a:cubicBezTo>
                  <a:pt x="121" y="143"/>
                  <a:pt x="115" y="146"/>
                  <a:pt x="108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17" y="146"/>
                  <a:pt x="11" y="143"/>
                  <a:pt x="7" y="139"/>
                </a:cubicBezTo>
                <a:cubicBezTo>
                  <a:pt x="2" y="135"/>
                  <a:pt x="0" y="129"/>
                  <a:pt x="0" y="121"/>
                </a:cubicBezTo>
                <a:cubicBezTo>
                  <a:pt x="0" y="117"/>
                  <a:pt x="0" y="113"/>
                  <a:pt x="0" y="109"/>
                </a:cubicBezTo>
                <a:cubicBezTo>
                  <a:pt x="1" y="105"/>
                  <a:pt x="1" y="100"/>
                  <a:pt x="2" y="96"/>
                </a:cubicBezTo>
                <a:cubicBezTo>
                  <a:pt x="4" y="91"/>
                  <a:pt x="5" y="87"/>
                  <a:pt x="7" y="83"/>
                </a:cubicBezTo>
                <a:cubicBezTo>
                  <a:pt x="9" y="79"/>
                  <a:pt x="11" y="76"/>
                  <a:pt x="15" y="73"/>
                </a:cubicBezTo>
                <a:cubicBezTo>
                  <a:pt x="18" y="70"/>
                  <a:pt x="22" y="69"/>
                  <a:pt x="26" y="68"/>
                </a:cubicBezTo>
                <a:cubicBezTo>
                  <a:pt x="25" y="71"/>
                  <a:pt x="24" y="75"/>
                  <a:pt x="24" y="79"/>
                </a:cubicBezTo>
                <a:cubicBezTo>
                  <a:pt x="24" y="98"/>
                  <a:pt x="24" y="98"/>
                  <a:pt x="24" y="98"/>
                </a:cubicBezTo>
                <a:cubicBezTo>
                  <a:pt x="20" y="99"/>
                  <a:pt x="17" y="102"/>
                  <a:pt x="15" y="105"/>
                </a:cubicBezTo>
                <a:cubicBezTo>
                  <a:pt x="13" y="108"/>
                  <a:pt x="12" y="111"/>
                  <a:pt x="12" y="115"/>
                </a:cubicBezTo>
                <a:cubicBezTo>
                  <a:pt x="12" y="120"/>
                  <a:pt x="14" y="125"/>
                  <a:pt x="17" y="128"/>
                </a:cubicBezTo>
                <a:cubicBezTo>
                  <a:pt x="21" y="132"/>
                  <a:pt x="25" y="133"/>
                  <a:pt x="30" y="133"/>
                </a:cubicBezTo>
                <a:cubicBezTo>
                  <a:pt x="35" y="133"/>
                  <a:pt x="39" y="132"/>
                  <a:pt x="43" y="128"/>
                </a:cubicBezTo>
                <a:cubicBezTo>
                  <a:pt x="46" y="125"/>
                  <a:pt x="48" y="120"/>
                  <a:pt x="48" y="115"/>
                </a:cubicBezTo>
                <a:cubicBezTo>
                  <a:pt x="48" y="111"/>
                  <a:pt x="47" y="108"/>
                  <a:pt x="45" y="105"/>
                </a:cubicBezTo>
                <a:cubicBezTo>
                  <a:pt x="42" y="102"/>
                  <a:pt x="40" y="99"/>
                  <a:pt x="36" y="98"/>
                </a:cubicBezTo>
                <a:cubicBezTo>
                  <a:pt x="36" y="79"/>
                  <a:pt x="36" y="79"/>
                  <a:pt x="36" y="79"/>
                </a:cubicBezTo>
                <a:cubicBezTo>
                  <a:pt x="36" y="75"/>
                  <a:pt x="37" y="72"/>
                  <a:pt x="38" y="70"/>
                </a:cubicBezTo>
                <a:cubicBezTo>
                  <a:pt x="47" y="77"/>
                  <a:pt x="56" y="80"/>
                  <a:pt x="66" y="80"/>
                </a:cubicBezTo>
                <a:cubicBezTo>
                  <a:pt x="76" y="80"/>
                  <a:pt x="86" y="77"/>
                  <a:pt x="94" y="70"/>
                </a:cubicBezTo>
                <a:cubicBezTo>
                  <a:pt x="96" y="72"/>
                  <a:pt x="96" y="75"/>
                  <a:pt x="96" y="79"/>
                </a:cubicBezTo>
                <a:cubicBezTo>
                  <a:pt x="96" y="85"/>
                  <a:pt x="96" y="85"/>
                  <a:pt x="96" y="85"/>
                </a:cubicBezTo>
                <a:cubicBezTo>
                  <a:pt x="90" y="85"/>
                  <a:pt x="84" y="87"/>
                  <a:pt x="79" y="92"/>
                </a:cubicBezTo>
                <a:cubicBezTo>
                  <a:pt x="75" y="97"/>
                  <a:pt x="72" y="103"/>
                  <a:pt x="72" y="109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0" y="119"/>
                  <a:pt x="69" y="122"/>
                  <a:pt x="69" y="124"/>
                </a:cubicBezTo>
                <a:cubicBezTo>
                  <a:pt x="69" y="127"/>
                  <a:pt x="70" y="129"/>
                  <a:pt x="72" y="131"/>
                </a:cubicBezTo>
                <a:cubicBezTo>
                  <a:pt x="74" y="133"/>
                  <a:pt x="76" y="133"/>
                  <a:pt x="78" y="133"/>
                </a:cubicBezTo>
                <a:cubicBezTo>
                  <a:pt x="81" y="133"/>
                  <a:pt x="83" y="133"/>
                  <a:pt x="85" y="131"/>
                </a:cubicBezTo>
                <a:cubicBezTo>
                  <a:pt x="86" y="129"/>
                  <a:pt x="87" y="127"/>
                  <a:pt x="87" y="124"/>
                </a:cubicBezTo>
                <a:cubicBezTo>
                  <a:pt x="87" y="122"/>
                  <a:pt x="86" y="119"/>
                  <a:pt x="84" y="118"/>
                </a:cubicBezTo>
                <a:cubicBezTo>
                  <a:pt x="84" y="109"/>
                  <a:pt x="84" y="109"/>
                  <a:pt x="84" y="109"/>
                </a:cubicBezTo>
                <a:cubicBezTo>
                  <a:pt x="84" y="106"/>
                  <a:pt x="86" y="103"/>
                  <a:pt x="88" y="101"/>
                </a:cubicBezTo>
                <a:cubicBezTo>
                  <a:pt x="90" y="98"/>
                  <a:pt x="93" y="97"/>
                  <a:pt x="96" y="97"/>
                </a:cubicBezTo>
                <a:cubicBezTo>
                  <a:pt x="100" y="97"/>
                  <a:pt x="103" y="98"/>
                  <a:pt x="105" y="101"/>
                </a:cubicBezTo>
                <a:cubicBezTo>
                  <a:pt x="107" y="103"/>
                  <a:pt x="109" y="106"/>
                  <a:pt x="109" y="109"/>
                </a:cubicBezTo>
                <a:cubicBezTo>
                  <a:pt x="109" y="118"/>
                  <a:pt x="109" y="118"/>
                  <a:pt x="109" y="118"/>
                </a:cubicBezTo>
                <a:cubicBezTo>
                  <a:pt x="107" y="119"/>
                  <a:pt x="106" y="122"/>
                  <a:pt x="106" y="124"/>
                </a:cubicBezTo>
                <a:cubicBezTo>
                  <a:pt x="106" y="127"/>
                  <a:pt x="106" y="129"/>
                  <a:pt x="108" y="131"/>
                </a:cubicBezTo>
                <a:cubicBezTo>
                  <a:pt x="110" y="133"/>
                  <a:pt x="112" y="133"/>
                  <a:pt x="115" y="133"/>
                </a:cubicBezTo>
                <a:cubicBezTo>
                  <a:pt x="117" y="133"/>
                  <a:pt x="119" y="133"/>
                  <a:pt x="121" y="131"/>
                </a:cubicBezTo>
                <a:cubicBezTo>
                  <a:pt x="123" y="129"/>
                  <a:pt x="124" y="127"/>
                  <a:pt x="124" y="124"/>
                </a:cubicBezTo>
                <a:cubicBezTo>
                  <a:pt x="124" y="122"/>
                  <a:pt x="123" y="119"/>
                  <a:pt x="121" y="118"/>
                </a:cubicBezTo>
                <a:cubicBezTo>
                  <a:pt x="121" y="109"/>
                  <a:pt x="121" y="109"/>
                  <a:pt x="121" y="109"/>
                </a:cubicBezTo>
                <a:cubicBezTo>
                  <a:pt x="121" y="105"/>
                  <a:pt x="120" y="101"/>
                  <a:pt x="117" y="97"/>
                </a:cubicBezTo>
                <a:cubicBezTo>
                  <a:pt x="115" y="93"/>
                  <a:pt x="112" y="90"/>
                  <a:pt x="109" y="88"/>
                </a:cubicBezTo>
                <a:cubicBezTo>
                  <a:pt x="109" y="88"/>
                  <a:pt x="109" y="86"/>
                  <a:pt x="109" y="84"/>
                </a:cubicBezTo>
                <a:cubicBezTo>
                  <a:pt x="109" y="82"/>
                  <a:pt x="109" y="81"/>
                  <a:pt x="109" y="80"/>
                </a:cubicBezTo>
                <a:cubicBezTo>
                  <a:pt x="109" y="79"/>
                  <a:pt x="108" y="78"/>
                  <a:pt x="108" y="76"/>
                </a:cubicBezTo>
                <a:cubicBezTo>
                  <a:pt x="108" y="74"/>
                  <a:pt x="108" y="73"/>
                  <a:pt x="108" y="71"/>
                </a:cubicBezTo>
                <a:cubicBezTo>
                  <a:pt x="107" y="70"/>
                  <a:pt x="107" y="69"/>
                  <a:pt x="106" y="68"/>
                </a:cubicBezTo>
                <a:cubicBezTo>
                  <a:pt x="111" y="69"/>
                  <a:pt x="115" y="70"/>
                  <a:pt x="118" y="73"/>
                </a:cubicBezTo>
                <a:cubicBezTo>
                  <a:pt x="121" y="76"/>
                  <a:pt x="124" y="79"/>
                  <a:pt x="125" y="83"/>
                </a:cubicBezTo>
                <a:cubicBezTo>
                  <a:pt x="127" y="87"/>
                  <a:pt x="129" y="91"/>
                  <a:pt x="130" y="96"/>
                </a:cubicBezTo>
                <a:cubicBezTo>
                  <a:pt x="131" y="100"/>
                  <a:pt x="132" y="105"/>
                  <a:pt x="132" y="109"/>
                </a:cubicBezTo>
                <a:cubicBezTo>
                  <a:pt x="133" y="113"/>
                  <a:pt x="133" y="117"/>
                  <a:pt x="133" y="121"/>
                </a:cubicBezTo>
                <a:close/>
                <a:moveTo>
                  <a:pt x="34" y="111"/>
                </a:moveTo>
                <a:cubicBezTo>
                  <a:pt x="35" y="112"/>
                  <a:pt x="36" y="114"/>
                  <a:pt x="36" y="115"/>
                </a:cubicBezTo>
                <a:cubicBezTo>
                  <a:pt x="36" y="117"/>
                  <a:pt x="35" y="118"/>
                  <a:pt x="34" y="120"/>
                </a:cubicBezTo>
                <a:cubicBezTo>
                  <a:pt x="33" y="121"/>
                  <a:pt x="32" y="121"/>
                  <a:pt x="30" y="121"/>
                </a:cubicBezTo>
                <a:cubicBezTo>
                  <a:pt x="28" y="121"/>
                  <a:pt x="27" y="121"/>
                  <a:pt x="26" y="120"/>
                </a:cubicBezTo>
                <a:cubicBezTo>
                  <a:pt x="24" y="118"/>
                  <a:pt x="24" y="117"/>
                  <a:pt x="24" y="115"/>
                </a:cubicBezTo>
                <a:cubicBezTo>
                  <a:pt x="24" y="114"/>
                  <a:pt x="24" y="112"/>
                  <a:pt x="26" y="111"/>
                </a:cubicBezTo>
                <a:cubicBezTo>
                  <a:pt x="27" y="110"/>
                  <a:pt x="28" y="109"/>
                  <a:pt x="30" y="109"/>
                </a:cubicBezTo>
                <a:cubicBezTo>
                  <a:pt x="32" y="109"/>
                  <a:pt x="33" y="110"/>
                  <a:pt x="34" y="111"/>
                </a:cubicBezTo>
                <a:close/>
                <a:moveTo>
                  <a:pt x="92" y="11"/>
                </a:moveTo>
                <a:cubicBezTo>
                  <a:pt x="99" y="18"/>
                  <a:pt x="103" y="27"/>
                  <a:pt x="103" y="37"/>
                </a:cubicBezTo>
                <a:cubicBezTo>
                  <a:pt x="103" y="47"/>
                  <a:pt x="99" y="55"/>
                  <a:pt x="92" y="62"/>
                </a:cubicBezTo>
                <a:cubicBezTo>
                  <a:pt x="85" y="69"/>
                  <a:pt x="76" y="73"/>
                  <a:pt x="66" y="73"/>
                </a:cubicBezTo>
                <a:cubicBezTo>
                  <a:pt x="56" y="73"/>
                  <a:pt x="48" y="69"/>
                  <a:pt x="41" y="62"/>
                </a:cubicBezTo>
                <a:cubicBezTo>
                  <a:pt x="33" y="55"/>
                  <a:pt x="30" y="47"/>
                  <a:pt x="30" y="37"/>
                </a:cubicBezTo>
                <a:cubicBezTo>
                  <a:pt x="30" y="27"/>
                  <a:pt x="33" y="18"/>
                  <a:pt x="41" y="11"/>
                </a:cubicBezTo>
                <a:cubicBezTo>
                  <a:pt x="48" y="4"/>
                  <a:pt x="56" y="0"/>
                  <a:pt x="66" y="0"/>
                </a:cubicBezTo>
                <a:cubicBezTo>
                  <a:pt x="76" y="0"/>
                  <a:pt x="85" y="4"/>
                  <a:pt x="92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8" name="Freeform 226">
            <a:extLst>
              <a:ext uri="{FF2B5EF4-FFF2-40B4-BE49-F238E27FC236}">
                <a16:creationId xmlns:a16="http://schemas.microsoft.com/office/drawing/2014/main" id="{D692430E-71E1-44D3-8CD7-3FDC2E5831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75679" y="3734731"/>
            <a:ext cx="211522" cy="175363"/>
          </a:xfrm>
          <a:custGeom>
            <a:avLst/>
            <a:gdLst>
              <a:gd name="T0" fmla="*/ 176 w 176"/>
              <a:gd name="T1" fmla="*/ 115 h 146"/>
              <a:gd name="T2" fmla="*/ 170 w 176"/>
              <a:gd name="T3" fmla="*/ 121 h 146"/>
              <a:gd name="T4" fmla="*/ 145 w 176"/>
              <a:gd name="T5" fmla="*/ 138 h 146"/>
              <a:gd name="T6" fmla="*/ 110 w 176"/>
              <a:gd name="T7" fmla="*/ 138 h 146"/>
              <a:gd name="T8" fmla="*/ 67 w 176"/>
              <a:gd name="T9" fmla="*/ 121 h 146"/>
              <a:gd name="T10" fmla="*/ 43 w 176"/>
              <a:gd name="T11" fmla="*/ 146 h 146"/>
              <a:gd name="T12" fmla="*/ 19 w 176"/>
              <a:gd name="T13" fmla="*/ 121 h 146"/>
              <a:gd name="T14" fmla="*/ 2 w 176"/>
              <a:gd name="T15" fmla="*/ 120 h 146"/>
              <a:gd name="T16" fmla="*/ 2 w 176"/>
              <a:gd name="T17" fmla="*/ 111 h 146"/>
              <a:gd name="T18" fmla="*/ 7 w 176"/>
              <a:gd name="T19" fmla="*/ 70 h 146"/>
              <a:gd name="T20" fmla="*/ 11 w 176"/>
              <a:gd name="T21" fmla="*/ 60 h 146"/>
              <a:gd name="T22" fmla="*/ 34 w 176"/>
              <a:gd name="T23" fmla="*/ 38 h 146"/>
              <a:gd name="T24" fmla="*/ 55 w 176"/>
              <a:gd name="T25" fmla="*/ 37 h 146"/>
              <a:gd name="T26" fmla="*/ 57 w 176"/>
              <a:gd name="T27" fmla="*/ 2 h 146"/>
              <a:gd name="T28" fmla="*/ 170 w 176"/>
              <a:gd name="T29" fmla="*/ 0 h 146"/>
              <a:gd name="T30" fmla="*/ 176 w 176"/>
              <a:gd name="T31" fmla="*/ 6 h 146"/>
              <a:gd name="T32" fmla="*/ 55 w 176"/>
              <a:gd name="T33" fmla="*/ 73 h 146"/>
              <a:gd name="T34" fmla="*/ 40 w 176"/>
              <a:gd name="T35" fmla="*/ 49 h 146"/>
              <a:gd name="T36" fmla="*/ 19 w 176"/>
              <a:gd name="T37" fmla="*/ 68 h 146"/>
              <a:gd name="T38" fmla="*/ 19 w 176"/>
              <a:gd name="T39" fmla="*/ 73 h 146"/>
              <a:gd name="T40" fmla="*/ 55 w 176"/>
              <a:gd name="T41" fmla="*/ 121 h 146"/>
              <a:gd name="T42" fmla="*/ 43 w 176"/>
              <a:gd name="T43" fmla="*/ 109 h 146"/>
              <a:gd name="T44" fmla="*/ 31 w 176"/>
              <a:gd name="T45" fmla="*/ 121 h 146"/>
              <a:gd name="T46" fmla="*/ 43 w 176"/>
              <a:gd name="T47" fmla="*/ 133 h 146"/>
              <a:gd name="T48" fmla="*/ 152 w 176"/>
              <a:gd name="T49" fmla="*/ 58 h 146"/>
              <a:gd name="T50" fmla="*/ 151 w 176"/>
              <a:gd name="T51" fmla="*/ 37 h 146"/>
              <a:gd name="T52" fmla="*/ 128 w 176"/>
              <a:gd name="T53" fmla="*/ 37 h 146"/>
              <a:gd name="T54" fmla="*/ 127 w 176"/>
              <a:gd name="T55" fmla="*/ 13 h 146"/>
              <a:gd name="T56" fmla="*/ 106 w 176"/>
              <a:gd name="T57" fmla="*/ 12 h 146"/>
              <a:gd name="T58" fmla="*/ 103 w 176"/>
              <a:gd name="T59" fmla="*/ 15 h 146"/>
              <a:gd name="T60" fmla="*/ 82 w 176"/>
              <a:gd name="T61" fmla="*/ 37 h 146"/>
              <a:gd name="T62" fmla="*/ 79 w 176"/>
              <a:gd name="T63" fmla="*/ 40 h 146"/>
              <a:gd name="T64" fmla="*/ 80 w 176"/>
              <a:gd name="T65" fmla="*/ 60 h 146"/>
              <a:gd name="T66" fmla="*/ 103 w 176"/>
              <a:gd name="T67" fmla="*/ 61 h 146"/>
              <a:gd name="T68" fmla="*/ 104 w 176"/>
              <a:gd name="T69" fmla="*/ 84 h 146"/>
              <a:gd name="T70" fmla="*/ 125 w 176"/>
              <a:gd name="T71" fmla="*/ 85 h 146"/>
              <a:gd name="T72" fmla="*/ 128 w 176"/>
              <a:gd name="T73" fmla="*/ 82 h 146"/>
              <a:gd name="T74" fmla="*/ 149 w 176"/>
              <a:gd name="T75" fmla="*/ 61 h 146"/>
              <a:gd name="T76" fmla="*/ 152 w 176"/>
              <a:gd name="T77" fmla="*/ 58 h 146"/>
              <a:gd name="T78" fmla="*/ 140 w 176"/>
              <a:gd name="T79" fmla="*/ 121 h 146"/>
              <a:gd name="T80" fmla="*/ 128 w 176"/>
              <a:gd name="T81" fmla="*/ 109 h 146"/>
              <a:gd name="T82" fmla="*/ 115 w 176"/>
              <a:gd name="T83" fmla="*/ 121 h 146"/>
              <a:gd name="T84" fmla="*/ 128 w 176"/>
              <a:gd name="T85" fmla="*/ 13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6" h="146">
                <a:moveTo>
                  <a:pt x="176" y="6"/>
                </a:moveTo>
                <a:cubicBezTo>
                  <a:pt x="176" y="115"/>
                  <a:pt x="176" y="115"/>
                  <a:pt x="176" y="115"/>
                </a:cubicBezTo>
                <a:cubicBezTo>
                  <a:pt x="176" y="117"/>
                  <a:pt x="175" y="118"/>
                  <a:pt x="174" y="120"/>
                </a:cubicBezTo>
                <a:cubicBezTo>
                  <a:pt x="173" y="121"/>
                  <a:pt x="172" y="121"/>
                  <a:pt x="170" y="121"/>
                </a:cubicBezTo>
                <a:cubicBezTo>
                  <a:pt x="152" y="121"/>
                  <a:pt x="152" y="121"/>
                  <a:pt x="152" y="121"/>
                </a:cubicBezTo>
                <a:cubicBezTo>
                  <a:pt x="152" y="128"/>
                  <a:pt x="149" y="134"/>
                  <a:pt x="145" y="138"/>
                </a:cubicBezTo>
                <a:cubicBezTo>
                  <a:pt x="140" y="143"/>
                  <a:pt x="134" y="146"/>
                  <a:pt x="128" y="146"/>
                </a:cubicBezTo>
                <a:cubicBezTo>
                  <a:pt x="121" y="146"/>
                  <a:pt x="115" y="143"/>
                  <a:pt x="110" y="138"/>
                </a:cubicBezTo>
                <a:cubicBezTo>
                  <a:pt x="106" y="134"/>
                  <a:pt x="103" y="128"/>
                  <a:pt x="103" y="121"/>
                </a:cubicBezTo>
                <a:cubicBezTo>
                  <a:pt x="67" y="121"/>
                  <a:pt x="67" y="121"/>
                  <a:pt x="67" y="121"/>
                </a:cubicBezTo>
                <a:cubicBezTo>
                  <a:pt x="67" y="128"/>
                  <a:pt x="65" y="134"/>
                  <a:pt x="60" y="138"/>
                </a:cubicBezTo>
                <a:cubicBezTo>
                  <a:pt x="55" y="143"/>
                  <a:pt x="50" y="146"/>
                  <a:pt x="43" y="146"/>
                </a:cubicBezTo>
                <a:cubicBezTo>
                  <a:pt x="36" y="146"/>
                  <a:pt x="30" y="143"/>
                  <a:pt x="26" y="138"/>
                </a:cubicBezTo>
                <a:cubicBezTo>
                  <a:pt x="21" y="134"/>
                  <a:pt x="19" y="128"/>
                  <a:pt x="19" y="121"/>
                </a:cubicBezTo>
                <a:cubicBezTo>
                  <a:pt x="7" y="121"/>
                  <a:pt x="7" y="121"/>
                  <a:pt x="7" y="121"/>
                </a:cubicBezTo>
                <a:cubicBezTo>
                  <a:pt x="5" y="121"/>
                  <a:pt x="3" y="121"/>
                  <a:pt x="2" y="120"/>
                </a:cubicBezTo>
                <a:cubicBezTo>
                  <a:pt x="1" y="118"/>
                  <a:pt x="0" y="117"/>
                  <a:pt x="0" y="115"/>
                </a:cubicBezTo>
                <a:cubicBezTo>
                  <a:pt x="0" y="114"/>
                  <a:pt x="1" y="112"/>
                  <a:pt x="2" y="111"/>
                </a:cubicBezTo>
                <a:cubicBezTo>
                  <a:pt x="3" y="110"/>
                  <a:pt x="5" y="109"/>
                  <a:pt x="7" y="109"/>
                </a:cubicBezTo>
                <a:cubicBezTo>
                  <a:pt x="7" y="70"/>
                  <a:pt x="7" y="70"/>
                  <a:pt x="7" y="70"/>
                </a:cubicBezTo>
                <a:cubicBezTo>
                  <a:pt x="7" y="68"/>
                  <a:pt x="7" y="66"/>
                  <a:pt x="8" y="64"/>
                </a:cubicBezTo>
                <a:cubicBezTo>
                  <a:pt x="9" y="62"/>
                  <a:pt x="10" y="61"/>
                  <a:pt x="11" y="60"/>
                </a:cubicBezTo>
                <a:cubicBezTo>
                  <a:pt x="30" y="41"/>
                  <a:pt x="30" y="41"/>
                  <a:pt x="30" y="41"/>
                </a:cubicBezTo>
                <a:cubicBezTo>
                  <a:pt x="31" y="40"/>
                  <a:pt x="32" y="39"/>
                  <a:pt x="34" y="38"/>
                </a:cubicBezTo>
                <a:cubicBezTo>
                  <a:pt x="36" y="37"/>
                  <a:pt x="38" y="37"/>
                  <a:pt x="40" y="37"/>
                </a:cubicBezTo>
                <a:cubicBezTo>
                  <a:pt x="55" y="37"/>
                  <a:pt x="55" y="37"/>
                  <a:pt x="55" y="37"/>
                </a:cubicBezTo>
                <a:cubicBezTo>
                  <a:pt x="55" y="6"/>
                  <a:pt x="55" y="6"/>
                  <a:pt x="55" y="6"/>
                </a:cubicBezTo>
                <a:cubicBezTo>
                  <a:pt x="55" y="5"/>
                  <a:pt x="56" y="3"/>
                  <a:pt x="57" y="2"/>
                </a:cubicBezTo>
                <a:cubicBezTo>
                  <a:pt x="58" y="1"/>
                  <a:pt x="59" y="0"/>
                  <a:pt x="61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72" y="0"/>
                  <a:pt x="173" y="1"/>
                  <a:pt x="174" y="2"/>
                </a:cubicBezTo>
                <a:cubicBezTo>
                  <a:pt x="175" y="3"/>
                  <a:pt x="176" y="5"/>
                  <a:pt x="176" y="6"/>
                </a:cubicBezTo>
                <a:close/>
                <a:moveTo>
                  <a:pt x="19" y="73"/>
                </a:moveTo>
                <a:cubicBezTo>
                  <a:pt x="55" y="73"/>
                  <a:pt x="55" y="73"/>
                  <a:pt x="55" y="73"/>
                </a:cubicBezTo>
                <a:cubicBezTo>
                  <a:pt x="55" y="49"/>
                  <a:pt x="55" y="49"/>
                  <a:pt x="55" y="49"/>
                </a:cubicBezTo>
                <a:cubicBezTo>
                  <a:pt x="40" y="49"/>
                  <a:pt x="40" y="49"/>
                  <a:pt x="40" y="49"/>
                </a:cubicBezTo>
                <a:cubicBezTo>
                  <a:pt x="39" y="49"/>
                  <a:pt x="38" y="49"/>
                  <a:pt x="38" y="50"/>
                </a:cubicBezTo>
                <a:cubicBezTo>
                  <a:pt x="19" y="68"/>
                  <a:pt x="19" y="68"/>
                  <a:pt x="19" y="68"/>
                </a:cubicBezTo>
                <a:cubicBezTo>
                  <a:pt x="19" y="69"/>
                  <a:pt x="19" y="69"/>
                  <a:pt x="19" y="70"/>
                </a:cubicBezTo>
                <a:lnTo>
                  <a:pt x="19" y="73"/>
                </a:lnTo>
                <a:close/>
                <a:moveTo>
                  <a:pt x="51" y="130"/>
                </a:moveTo>
                <a:cubicBezTo>
                  <a:pt x="54" y="128"/>
                  <a:pt x="55" y="125"/>
                  <a:pt x="55" y="121"/>
                </a:cubicBezTo>
                <a:cubicBezTo>
                  <a:pt x="55" y="118"/>
                  <a:pt x="54" y="115"/>
                  <a:pt x="51" y="113"/>
                </a:cubicBezTo>
                <a:cubicBezTo>
                  <a:pt x="49" y="110"/>
                  <a:pt x="46" y="109"/>
                  <a:pt x="43" y="109"/>
                </a:cubicBezTo>
                <a:cubicBezTo>
                  <a:pt x="40" y="109"/>
                  <a:pt x="37" y="110"/>
                  <a:pt x="34" y="113"/>
                </a:cubicBezTo>
                <a:cubicBezTo>
                  <a:pt x="32" y="115"/>
                  <a:pt x="31" y="118"/>
                  <a:pt x="31" y="121"/>
                </a:cubicBezTo>
                <a:cubicBezTo>
                  <a:pt x="31" y="125"/>
                  <a:pt x="32" y="128"/>
                  <a:pt x="34" y="130"/>
                </a:cubicBezTo>
                <a:cubicBezTo>
                  <a:pt x="37" y="132"/>
                  <a:pt x="40" y="133"/>
                  <a:pt x="43" y="133"/>
                </a:cubicBezTo>
                <a:cubicBezTo>
                  <a:pt x="46" y="133"/>
                  <a:pt x="49" y="132"/>
                  <a:pt x="51" y="130"/>
                </a:cubicBezTo>
                <a:close/>
                <a:moveTo>
                  <a:pt x="152" y="58"/>
                </a:moveTo>
                <a:cubicBezTo>
                  <a:pt x="152" y="40"/>
                  <a:pt x="152" y="40"/>
                  <a:pt x="152" y="40"/>
                </a:cubicBezTo>
                <a:cubicBezTo>
                  <a:pt x="152" y="39"/>
                  <a:pt x="151" y="38"/>
                  <a:pt x="151" y="37"/>
                </a:cubicBezTo>
                <a:cubicBezTo>
                  <a:pt x="150" y="37"/>
                  <a:pt x="150" y="37"/>
                  <a:pt x="149" y="37"/>
                </a:cubicBezTo>
                <a:cubicBezTo>
                  <a:pt x="128" y="37"/>
                  <a:pt x="128" y="37"/>
                  <a:pt x="128" y="37"/>
                </a:cubicBezTo>
                <a:cubicBezTo>
                  <a:pt x="128" y="15"/>
                  <a:pt x="128" y="15"/>
                  <a:pt x="128" y="15"/>
                </a:cubicBezTo>
                <a:cubicBezTo>
                  <a:pt x="128" y="15"/>
                  <a:pt x="127" y="14"/>
                  <a:pt x="127" y="13"/>
                </a:cubicBezTo>
                <a:cubicBezTo>
                  <a:pt x="126" y="13"/>
                  <a:pt x="125" y="12"/>
                  <a:pt x="125" y="12"/>
                </a:cubicBezTo>
                <a:cubicBezTo>
                  <a:pt x="106" y="12"/>
                  <a:pt x="106" y="12"/>
                  <a:pt x="106" y="12"/>
                </a:cubicBezTo>
                <a:cubicBezTo>
                  <a:pt x="106" y="12"/>
                  <a:pt x="105" y="13"/>
                  <a:pt x="104" y="13"/>
                </a:cubicBezTo>
                <a:cubicBezTo>
                  <a:pt x="104" y="14"/>
                  <a:pt x="103" y="15"/>
                  <a:pt x="103" y="15"/>
                </a:cubicBezTo>
                <a:cubicBezTo>
                  <a:pt x="103" y="37"/>
                  <a:pt x="103" y="37"/>
                  <a:pt x="103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1" y="37"/>
                  <a:pt x="81" y="37"/>
                  <a:pt x="80" y="37"/>
                </a:cubicBezTo>
                <a:cubicBezTo>
                  <a:pt x="79" y="38"/>
                  <a:pt x="79" y="39"/>
                  <a:pt x="79" y="40"/>
                </a:cubicBezTo>
                <a:cubicBezTo>
                  <a:pt x="79" y="58"/>
                  <a:pt x="79" y="58"/>
                  <a:pt x="79" y="58"/>
                </a:cubicBezTo>
                <a:cubicBezTo>
                  <a:pt x="79" y="59"/>
                  <a:pt x="79" y="59"/>
                  <a:pt x="80" y="60"/>
                </a:cubicBezTo>
                <a:cubicBezTo>
                  <a:pt x="81" y="61"/>
                  <a:pt x="81" y="61"/>
                  <a:pt x="82" y="61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03" y="82"/>
                  <a:pt x="103" y="82"/>
                  <a:pt x="103" y="82"/>
                </a:cubicBezTo>
                <a:cubicBezTo>
                  <a:pt x="103" y="83"/>
                  <a:pt x="104" y="84"/>
                  <a:pt x="104" y="84"/>
                </a:cubicBezTo>
                <a:cubicBezTo>
                  <a:pt x="105" y="85"/>
                  <a:pt x="106" y="85"/>
                  <a:pt x="106" y="85"/>
                </a:cubicBezTo>
                <a:cubicBezTo>
                  <a:pt x="125" y="85"/>
                  <a:pt x="125" y="85"/>
                  <a:pt x="125" y="85"/>
                </a:cubicBezTo>
                <a:cubicBezTo>
                  <a:pt x="125" y="85"/>
                  <a:pt x="126" y="85"/>
                  <a:pt x="127" y="84"/>
                </a:cubicBezTo>
                <a:cubicBezTo>
                  <a:pt x="127" y="84"/>
                  <a:pt x="128" y="83"/>
                  <a:pt x="128" y="82"/>
                </a:cubicBezTo>
                <a:cubicBezTo>
                  <a:pt x="128" y="61"/>
                  <a:pt x="128" y="61"/>
                  <a:pt x="128" y="61"/>
                </a:cubicBezTo>
                <a:cubicBezTo>
                  <a:pt x="149" y="61"/>
                  <a:pt x="149" y="61"/>
                  <a:pt x="149" y="61"/>
                </a:cubicBezTo>
                <a:cubicBezTo>
                  <a:pt x="150" y="61"/>
                  <a:pt x="150" y="61"/>
                  <a:pt x="151" y="60"/>
                </a:cubicBezTo>
                <a:cubicBezTo>
                  <a:pt x="151" y="59"/>
                  <a:pt x="152" y="59"/>
                  <a:pt x="152" y="58"/>
                </a:cubicBezTo>
                <a:close/>
                <a:moveTo>
                  <a:pt x="136" y="130"/>
                </a:moveTo>
                <a:cubicBezTo>
                  <a:pt x="138" y="128"/>
                  <a:pt x="140" y="125"/>
                  <a:pt x="140" y="121"/>
                </a:cubicBezTo>
                <a:cubicBezTo>
                  <a:pt x="140" y="118"/>
                  <a:pt x="138" y="115"/>
                  <a:pt x="136" y="113"/>
                </a:cubicBezTo>
                <a:cubicBezTo>
                  <a:pt x="134" y="110"/>
                  <a:pt x="131" y="109"/>
                  <a:pt x="128" y="109"/>
                </a:cubicBezTo>
                <a:cubicBezTo>
                  <a:pt x="124" y="109"/>
                  <a:pt x="121" y="110"/>
                  <a:pt x="119" y="113"/>
                </a:cubicBezTo>
                <a:cubicBezTo>
                  <a:pt x="117" y="115"/>
                  <a:pt x="115" y="118"/>
                  <a:pt x="115" y="121"/>
                </a:cubicBezTo>
                <a:cubicBezTo>
                  <a:pt x="115" y="125"/>
                  <a:pt x="117" y="128"/>
                  <a:pt x="119" y="130"/>
                </a:cubicBezTo>
                <a:cubicBezTo>
                  <a:pt x="121" y="132"/>
                  <a:pt x="124" y="133"/>
                  <a:pt x="128" y="133"/>
                </a:cubicBezTo>
                <a:cubicBezTo>
                  <a:pt x="131" y="133"/>
                  <a:pt x="134" y="132"/>
                  <a:pt x="136" y="1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0" name="Freeform 353">
            <a:extLst>
              <a:ext uri="{FF2B5EF4-FFF2-40B4-BE49-F238E27FC236}">
                <a16:creationId xmlns:a16="http://schemas.microsoft.com/office/drawing/2014/main" id="{C078DE0E-E0E9-4760-AF3F-F0A4683950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01430" y="2792583"/>
            <a:ext cx="182875" cy="253737"/>
          </a:xfrm>
          <a:custGeom>
            <a:avLst/>
            <a:gdLst>
              <a:gd name="T0" fmla="*/ 121 w 121"/>
              <a:gd name="T1" fmla="*/ 97 h 167"/>
              <a:gd name="T2" fmla="*/ 119 w 121"/>
              <a:gd name="T3" fmla="*/ 103 h 167"/>
              <a:gd name="T4" fmla="*/ 112 w 121"/>
              <a:gd name="T5" fmla="*/ 106 h 167"/>
              <a:gd name="T6" fmla="*/ 105 w 121"/>
              <a:gd name="T7" fmla="*/ 102 h 167"/>
              <a:gd name="T8" fmla="*/ 83 w 121"/>
              <a:gd name="T9" fmla="*/ 70 h 167"/>
              <a:gd name="T10" fmla="*/ 79 w 121"/>
              <a:gd name="T11" fmla="*/ 70 h 167"/>
              <a:gd name="T12" fmla="*/ 79 w 121"/>
              <a:gd name="T13" fmla="*/ 82 h 167"/>
              <a:gd name="T14" fmla="*/ 102 w 121"/>
              <a:gd name="T15" fmla="*/ 121 h 167"/>
              <a:gd name="T16" fmla="*/ 103 w 121"/>
              <a:gd name="T17" fmla="*/ 124 h 167"/>
              <a:gd name="T18" fmla="*/ 101 w 121"/>
              <a:gd name="T19" fmla="*/ 129 h 167"/>
              <a:gd name="T20" fmla="*/ 97 w 121"/>
              <a:gd name="T21" fmla="*/ 130 h 167"/>
              <a:gd name="T22" fmla="*/ 79 w 121"/>
              <a:gd name="T23" fmla="*/ 130 h 167"/>
              <a:gd name="T24" fmla="*/ 79 w 121"/>
              <a:gd name="T25" fmla="*/ 156 h 167"/>
              <a:gd name="T26" fmla="*/ 76 w 121"/>
              <a:gd name="T27" fmla="*/ 164 h 167"/>
              <a:gd name="T28" fmla="*/ 68 w 121"/>
              <a:gd name="T29" fmla="*/ 167 h 167"/>
              <a:gd name="T30" fmla="*/ 53 w 121"/>
              <a:gd name="T31" fmla="*/ 167 h 167"/>
              <a:gd name="T32" fmla="*/ 46 w 121"/>
              <a:gd name="T33" fmla="*/ 164 h 167"/>
              <a:gd name="T34" fmla="*/ 43 w 121"/>
              <a:gd name="T35" fmla="*/ 156 h 167"/>
              <a:gd name="T36" fmla="*/ 43 w 121"/>
              <a:gd name="T37" fmla="*/ 130 h 167"/>
              <a:gd name="T38" fmla="*/ 24 w 121"/>
              <a:gd name="T39" fmla="*/ 130 h 167"/>
              <a:gd name="T40" fmla="*/ 20 w 121"/>
              <a:gd name="T41" fmla="*/ 129 h 167"/>
              <a:gd name="T42" fmla="*/ 18 w 121"/>
              <a:gd name="T43" fmla="*/ 124 h 167"/>
              <a:gd name="T44" fmla="*/ 19 w 121"/>
              <a:gd name="T45" fmla="*/ 121 h 167"/>
              <a:gd name="T46" fmla="*/ 43 w 121"/>
              <a:gd name="T47" fmla="*/ 82 h 167"/>
              <a:gd name="T48" fmla="*/ 43 w 121"/>
              <a:gd name="T49" fmla="*/ 70 h 167"/>
              <a:gd name="T50" fmla="*/ 38 w 121"/>
              <a:gd name="T51" fmla="*/ 70 h 167"/>
              <a:gd name="T52" fmla="*/ 17 w 121"/>
              <a:gd name="T53" fmla="*/ 102 h 167"/>
              <a:gd name="T54" fmla="*/ 9 w 121"/>
              <a:gd name="T55" fmla="*/ 106 h 167"/>
              <a:gd name="T56" fmla="*/ 3 w 121"/>
              <a:gd name="T57" fmla="*/ 103 h 167"/>
              <a:gd name="T58" fmla="*/ 0 w 121"/>
              <a:gd name="T59" fmla="*/ 97 h 167"/>
              <a:gd name="T60" fmla="*/ 2 w 121"/>
              <a:gd name="T61" fmla="*/ 92 h 167"/>
              <a:gd name="T62" fmla="*/ 26 w 121"/>
              <a:gd name="T63" fmla="*/ 56 h 167"/>
              <a:gd name="T64" fmla="*/ 43 w 121"/>
              <a:gd name="T65" fmla="*/ 46 h 167"/>
              <a:gd name="T66" fmla="*/ 79 w 121"/>
              <a:gd name="T67" fmla="*/ 46 h 167"/>
              <a:gd name="T68" fmla="*/ 96 w 121"/>
              <a:gd name="T69" fmla="*/ 56 h 167"/>
              <a:gd name="T70" fmla="*/ 120 w 121"/>
              <a:gd name="T71" fmla="*/ 92 h 167"/>
              <a:gd name="T72" fmla="*/ 121 w 121"/>
              <a:gd name="T73" fmla="*/ 97 h 167"/>
              <a:gd name="T74" fmla="*/ 76 w 121"/>
              <a:gd name="T75" fmla="*/ 6 h 167"/>
              <a:gd name="T76" fmla="*/ 82 w 121"/>
              <a:gd name="T77" fmla="*/ 21 h 167"/>
              <a:gd name="T78" fmla="*/ 76 w 121"/>
              <a:gd name="T79" fmla="*/ 36 h 167"/>
              <a:gd name="T80" fmla="*/ 61 w 121"/>
              <a:gd name="T81" fmla="*/ 43 h 167"/>
              <a:gd name="T82" fmla="*/ 46 w 121"/>
              <a:gd name="T83" fmla="*/ 36 h 167"/>
              <a:gd name="T84" fmla="*/ 40 w 121"/>
              <a:gd name="T85" fmla="*/ 21 h 167"/>
              <a:gd name="T86" fmla="*/ 46 w 121"/>
              <a:gd name="T87" fmla="*/ 6 h 167"/>
              <a:gd name="T88" fmla="*/ 61 w 121"/>
              <a:gd name="T89" fmla="*/ 0 h 167"/>
              <a:gd name="T90" fmla="*/ 76 w 121"/>
              <a:gd name="T91" fmla="*/ 6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1" h="167">
                <a:moveTo>
                  <a:pt x="121" y="97"/>
                </a:moveTo>
                <a:cubicBezTo>
                  <a:pt x="121" y="100"/>
                  <a:pt x="120" y="102"/>
                  <a:pt x="119" y="103"/>
                </a:cubicBezTo>
                <a:cubicBezTo>
                  <a:pt x="117" y="105"/>
                  <a:pt x="115" y="106"/>
                  <a:pt x="112" y="106"/>
                </a:cubicBezTo>
                <a:cubicBezTo>
                  <a:pt x="109" y="106"/>
                  <a:pt x="106" y="105"/>
                  <a:pt x="105" y="102"/>
                </a:cubicBezTo>
                <a:cubicBezTo>
                  <a:pt x="83" y="70"/>
                  <a:pt x="83" y="70"/>
                  <a:pt x="83" y="70"/>
                </a:cubicBezTo>
                <a:cubicBezTo>
                  <a:pt x="79" y="70"/>
                  <a:pt x="79" y="70"/>
                  <a:pt x="79" y="70"/>
                </a:cubicBezTo>
                <a:cubicBezTo>
                  <a:pt x="79" y="82"/>
                  <a:pt x="79" y="82"/>
                  <a:pt x="79" y="82"/>
                </a:cubicBezTo>
                <a:cubicBezTo>
                  <a:pt x="102" y="121"/>
                  <a:pt x="102" y="121"/>
                  <a:pt x="102" y="121"/>
                </a:cubicBezTo>
                <a:cubicBezTo>
                  <a:pt x="103" y="122"/>
                  <a:pt x="103" y="123"/>
                  <a:pt x="103" y="124"/>
                </a:cubicBezTo>
                <a:cubicBezTo>
                  <a:pt x="103" y="126"/>
                  <a:pt x="103" y="127"/>
                  <a:pt x="101" y="129"/>
                </a:cubicBezTo>
                <a:cubicBezTo>
                  <a:pt x="100" y="130"/>
                  <a:pt x="99" y="130"/>
                  <a:pt x="97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56"/>
                  <a:pt x="79" y="156"/>
                  <a:pt x="79" y="156"/>
                </a:cubicBezTo>
                <a:cubicBezTo>
                  <a:pt x="79" y="159"/>
                  <a:pt x="78" y="161"/>
                  <a:pt x="76" y="164"/>
                </a:cubicBezTo>
                <a:cubicBezTo>
                  <a:pt x="74" y="166"/>
                  <a:pt x="71" y="167"/>
                  <a:pt x="68" y="167"/>
                </a:cubicBezTo>
                <a:cubicBezTo>
                  <a:pt x="53" y="167"/>
                  <a:pt x="53" y="167"/>
                  <a:pt x="53" y="167"/>
                </a:cubicBezTo>
                <a:cubicBezTo>
                  <a:pt x="50" y="167"/>
                  <a:pt x="48" y="166"/>
                  <a:pt x="46" y="164"/>
                </a:cubicBezTo>
                <a:cubicBezTo>
                  <a:pt x="44" y="161"/>
                  <a:pt x="43" y="159"/>
                  <a:pt x="43" y="156"/>
                </a:cubicBezTo>
                <a:cubicBezTo>
                  <a:pt x="43" y="130"/>
                  <a:pt x="43" y="130"/>
                  <a:pt x="43" y="130"/>
                </a:cubicBezTo>
                <a:cubicBezTo>
                  <a:pt x="24" y="130"/>
                  <a:pt x="24" y="130"/>
                  <a:pt x="24" y="130"/>
                </a:cubicBezTo>
                <a:cubicBezTo>
                  <a:pt x="23" y="130"/>
                  <a:pt x="21" y="130"/>
                  <a:pt x="20" y="129"/>
                </a:cubicBezTo>
                <a:cubicBezTo>
                  <a:pt x="19" y="127"/>
                  <a:pt x="18" y="126"/>
                  <a:pt x="18" y="124"/>
                </a:cubicBezTo>
                <a:cubicBezTo>
                  <a:pt x="18" y="123"/>
                  <a:pt x="19" y="122"/>
                  <a:pt x="19" y="121"/>
                </a:cubicBezTo>
                <a:cubicBezTo>
                  <a:pt x="43" y="82"/>
                  <a:pt x="43" y="82"/>
                  <a:pt x="43" y="82"/>
                </a:cubicBezTo>
                <a:cubicBezTo>
                  <a:pt x="43" y="70"/>
                  <a:pt x="43" y="70"/>
                  <a:pt x="43" y="70"/>
                </a:cubicBezTo>
                <a:cubicBezTo>
                  <a:pt x="38" y="70"/>
                  <a:pt x="38" y="70"/>
                  <a:pt x="38" y="70"/>
                </a:cubicBezTo>
                <a:cubicBezTo>
                  <a:pt x="17" y="102"/>
                  <a:pt x="17" y="102"/>
                  <a:pt x="17" y="102"/>
                </a:cubicBezTo>
                <a:cubicBezTo>
                  <a:pt x="15" y="105"/>
                  <a:pt x="13" y="106"/>
                  <a:pt x="9" y="106"/>
                </a:cubicBezTo>
                <a:cubicBezTo>
                  <a:pt x="7" y="106"/>
                  <a:pt x="5" y="105"/>
                  <a:pt x="3" y="103"/>
                </a:cubicBezTo>
                <a:cubicBezTo>
                  <a:pt x="1" y="102"/>
                  <a:pt x="0" y="100"/>
                  <a:pt x="0" y="97"/>
                </a:cubicBezTo>
                <a:cubicBezTo>
                  <a:pt x="0" y="95"/>
                  <a:pt x="1" y="94"/>
                  <a:pt x="2" y="92"/>
                </a:cubicBezTo>
                <a:cubicBezTo>
                  <a:pt x="26" y="56"/>
                  <a:pt x="26" y="56"/>
                  <a:pt x="26" y="56"/>
                </a:cubicBezTo>
                <a:cubicBezTo>
                  <a:pt x="31" y="49"/>
                  <a:pt x="36" y="46"/>
                  <a:pt x="43" y="46"/>
                </a:cubicBezTo>
                <a:cubicBezTo>
                  <a:pt x="79" y="46"/>
                  <a:pt x="79" y="46"/>
                  <a:pt x="79" y="46"/>
                </a:cubicBezTo>
                <a:cubicBezTo>
                  <a:pt x="85" y="46"/>
                  <a:pt x="91" y="49"/>
                  <a:pt x="96" y="56"/>
                </a:cubicBezTo>
                <a:cubicBezTo>
                  <a:pt x="120" y="92"/>
                  <a:pt x="120" y="92"/>
                  <a:pt x="120" y="92"/>
                </a:cubicBezTo>
                <a:cubicBezTo>
                  <a:pt x="121" y="94"/>
                  <a:pt x="121" y="95"/>
                  <a:pt x="121" y="97"/>
                </a:cubicBezTo>
                <a:close/>
                <a:moveTo>
                  <a:pt x="76" y="6"/>
                </a:moveTo>
                <a:cubicBezTo>
                  <a:pt x="80" y="11"/>
                  <a:pt x="82" y="16"/>
                  <a:pt x="82" y="21"/>
                </a:cubicBezTo>
                <a:cubicBezTo>
                  <a:pt x="82" y="27"/>
                  <a:pt x="80" y="32"/>
                  <a:pt x="76" y="36"/>
                </a:cubicBezTo>
                <a:cubicBezTo>
                  <a:pt x="72" y="41"/>
                  <a:pt x="67" y="43"/>
                  <a:pt x="61" y="43"/>
                </a:cubicBezTo>
                <a:cubicBezTo>
                  <a:pt x="55" y="43"/>
                  <a:pt x="50" y="41"/>
                  <a:pt x="46" y="36"/>
                </a:cubicBezTo>
                <a:cubicBezTo>
                  <a:pt x="42" y="32"/>
                  <a:pt x="40" y="27"/>
                  <a:pt x="40" y="21"/>
                </a:cubicBezTo>
                <a:cubicBezTo>
                  <a:pt x="40" y="16"/>
                  <a:pt x="42" y="11"/>
                  <a:pt x="46" y="6"/>
                </a:cubicBezTo>
                <a:cubicBezTo>
                  <a:pt x="50" y="2"/>
                  <a:pt x="55" y="0"/>
                  <a:pt x="61" y="0"/>
                </a:cubicBezTo>
                <a:cubicBezTo>
                  <a:pt x="67" y="0"/>
                  <a:pt x="72" y="2"/>
                  <a:pt x="76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035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Circle Chart </a:t>
            </a:r>
            <a:r>
              <a:rPr lang="en-US">
                <a:solidFill>
                  <a:schemeClr val="accent2"/>
                </a:solidFill>
              </a:rPr>
              <a:t>Analyt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923218" y="1520678"/>
            <a:ext cx="1343732" cy="1237200"/>
            <a:chOff x="923218" y="1520678"/>
            <a:chExt cx="1343732" cy="1237200"/>
          </a:xfrm>
        </p:grpSpPr>
        <p:graphicFrame>
          <p:nvGraphicFramePr>
            <p:cNvPr id="8" name="Chart 7"/>
            <p:cNvGraphicFramePr/>
            <p:nvPr>
              <p:extLst>
                <p:ext uri="{D42A27DB-BD31-4B8C-83A1-F6EECF244321}">
                  <p14:modId xmlns:p14="http://schemas.microsoft.com/office/powerpoint/2010/main" val="2377484087"/>
                </p:ext>
              </p:extLst>
            </p:nvPr>
          </p:nvGraphicFramePr>
          <p:xfrm>
            <a:off x="923218" y="1520678"/>
            <a:ext cx="1343732" cy="1237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0" name="TextBox 9"/>
            <p:cNvSpPr txBox="1"/>
            <p:nvPr/>
          </p:nvSpPr>
          <p:spPr>
            <a:xfrm>
              <a:off x="1324354" y="2026571"/>
              <a:ext cx="54146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+mj-lt"/>
                </a:rPr>
                <a:t>25%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778454" y="2841260"/>
            <a:ext cx="16332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Televisio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763065" y="2841260"/>
            <a:ext cx="16332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Radio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747676" y="2841260"/>
            <a:ext cx="16332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Online Social Medi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732286" y="2841260"/>
            <a:ext cx="16332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Printing Adds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134803" y="3785687"/>
            <a:ext cx="6874394" cy="492443"/>
            <a:chOff x="1280391" y="3785687"/>
            <a:chExt cx="6874394" cy="492443"/>
          </a:xfrm>
        </p:grpSpPr>
        <p:sp>
          <p:nvSpPr>
            <p:cNvPr id="33" name="TextBox 32"/>
            <p:cNvSpPr txBox="1"/>
            <p:nvPr/>
          </p:nvSpPr>
          <p:spPr>
            <a:xfrm>
              <a:off x="2316480" y="3839549"/>
              <a:ext cx="5838305" cy="3628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5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of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ps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m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aud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ot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rem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peri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a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ps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qu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ll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nventor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ery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t quasi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rchitect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bea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. 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80391" y="3785687"/>
              <a:ext cx="81663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>
                  <a:solidFill>
                    <a:schemeClr val="accent2"/>
                  </a:solidFill>
                  <a:latin typeface="+mj-lt"/>
                </a:rPr>
                <a:t>47%</a:t>
              </a:r>
            </a:p>
          </p:txBody>
        </p:sp>
      </p:grpSp>
      <p:sp>
        <p:nvSpPr>
          <p:cNvPr id="37" name="Freeform 245"/>
          <p:cNvSpPr>
            <a:spLocks noEditPoints="1"/>
          </p:cNvSpPr>
          <p:nvPr/>
        </p:nvSpPr>
        <p:spPr bwMode="auto">
          <a:xfrm>
            <a:off x="862698" y="3839549"/>
            <a:ext cx="162376" cy="137395"/>
          </a:xfrm>
          <a:custGeom>
            <a:avLst/>
            <a:gdLst>
              <a:gd name="T0" fmla="*/ 72 w 157"/>
              <a:gd name="T1" fmla="*/ 79 h 133"/>
              <a:gd name="T2" fmla="*/ 72 w 157"/>
              <a:gd name="T3" fmla="*/ 115 h 133"/>
              <a:gd name="T4" fmla="*/ 67 w 157"/>
              <a:gd name="T5" fmla="*/ 128 h 133"/>
              <a:gd name="T6" fmla="*/ 54 w 157"/>
              <a:gd name="T7" fmla="*/ 133 h 133"/>
              <a:gd name="T8" fmla="*/ 18 w 157"/>
              <a:gd name="T9" fmla="*/ 133 h 133"/>
              <a:gd name="T10" fmla="*/ 5 w 157"/>
              <a:gd name="T11" fmla="*/ 128 h 133"/>
              <a:gd name="T12" fmla="*/ 0 w 157"/>
              <a:gd name="T13" fmla="*/ 115 h 133"/>
              <a:gd name="T14" fmla="*/ 0 w 157"/>
              <a:gd name="T15" fmla="*/ 49 h 133"/>
              <a:gd name="T16" fmla="*/ 3 w 157"/>
              <a:gd name="T17" fmla="*/ 30 h 133"/>
              <a:gd name="T18" fmla="*/ 14 w 157"/>
              <a:gd name="T19" fmla="*/ 14 h 133"/>
              <a:gd name="T20" fmla="*/ 29 w 157"/>
              <a:gd name="T21" fmla="*/ 4 h 133"/>
              <a:gd name="T22" fmla="*/ 48 w 157"/>
              <a:gd name="T23" fmla="*/ 0 h 133"/>
              <a:gd name="T24" fmla="*/ 54 w 157"/>
              <a:gd name="T25" fmla="*/ 0 h 133"/>
              <a:gd name="T26" fmla="*/ 58 w 157"/>
              <a:gd name="T27" fmla="*/ 2 h 133"/>
              <a:gd name="T28" fmla="*/ 60 w 157"/>
              <a:gd name="T29" fmla="*/ 6 h 133"/>
              <a:gd name="T30" fmla="*/ 60 w 157"/>
              <a:gd name="T31" fmla="*/ 18 h 133"/>
              <a:gd name="T32" fmla="*/ 58 w 157"/>
              <a:gd name="T33" fmla="*/ 23 h 133"/>
              <a:gd name="T34" fmla="*/ 54 w 157"/>
              <a:gd name="T35" fmla="*/ 25 h 133"/>
              <a:gd name="T36" fmla="*/ 48 w 157"/>
              <a:gd name="T37" fmla="*/ 25 h 133"/>
              <a:gd name="T38" fmla="*/ 31 w 157"/>
              <a:gd name="T39" fmla="*/ 32 h 133"/>
              <a:gd name="T40" fmla="*/ 24 w 157"/>
              <a:gd name="T41" fmla="*/ 49 h 133"/>
              <a:gd name="T42" fmla="*/ 24 w 157"/>
              <a:gd name="T43" fmla="*/ 52 h 133"/>
              <a:gd name="T44" fmla="*/ 26 w 157"/>
              <a:gd name="T45" fmla="*/ 58 h 133"/>
              <a:gd name="T46" fmla="*/ 33 w 157"/>
              <a:gd name="T47" fmla="*/ 61 h 133"/>
              <a:gd name="T48" fmla="*/ 54 w 157"/>
              <a:gd name="T49" fmla="*/ 61 h 133"/>
              <a:gd name="T50" fmla="*/ 67 w 157"/>
              <a:gd name="T51" fmla="*/ 66 h 133"/>
              <a:gd name="T52" fmla="*/ 72 w 157"/>
              <a:gd name="T53" fmla="*/ 79 h 133"/>
              <a:gd name="T54" fmla="*/ 157 w 157"/>
              <a:gd name="T55" fmla="*/ 79 h 133"/>
              <a:gd name="T56" fmla="*/ 157 w 157"/>
              <a:gd name="T57" fmla="*/ 115 h 133"/>
              <a:gd name="T58" fmla="*/ 152 w 157"/>
              <a:gd name="T59" fmla="*/ 128 h 133"/>
              <a:gd name="T60" fmla="*/ 139 w 157"/>
              <a:gd name="T61" fmla="*/ 133 h 133"/>
              <a:gd name="T62" fmla="*/ 102 w 157"/>
              <a:gd name="T63" fmla="*/ 133 h 133"/>
              <a:gd name="T64" fmla="*/ 90 w 157"/>
              <a:gd name="T65" fmla="*/ 128 h 133"/>
              <a:gd name="T66" fmla="*/ 84 w 157"/>
              <a:gd name="T67" fmla="*/ 115 h 133"/>
              <a:gd name="T68" fmla="*/ 84 w 157"/>
              <a:gd name="T69" fmla="*/ 49 h 133"/>
              <a:gd name="T70" fmla="*/ 88 w 157"/>
              <a:gd name="T71" fmla="*/ 30 h 133"/>
              <a:gd name="T72" fmla="*/ 99 w 157"/>
              <a:gd name="T73" fmla="*/ 14 h 133"/>
              <a:gd name="T74" fmla="*/ 114 w 157"/>
              <a:gd name="T75" fmla="*/ 4 h 133"/>
              <a:gd name="T76" fmla="*/ 133 w 157"/>
              <a:gd name="T77" fmla="*/ 0 h 133"/>
              <a:gd name="T78" fmla="*/ 139 w 157"/>
              <a:gd name="T79" fmla="*/ 0 h 133"/>
              <a:gd name="T80" fmla="*/ 143 w 157"/>
              <a:gd name="T81" fmla="*/ 2 h 133"/>
              <a:gd name="T82" fmla="*/ 145 w 157"/>
              <a:gd name="T83" fmla="*/ 6 h 133"/>
              <a:gd name="T84" fmla="*/ 145 w 157"/>
              <a:gd name="T85" fmla="*/ 18 h 133"/>
              <a:gd name="T86" fmla="*/ 143 w 157"/>
              <a:gd name="T87" fmla="*/ 23 h 133"/>
              <a:gd name="T88" fmla="*/ 139 w 157"/>
              <a:gd name="T89" fmla="*/ 25 h 133"/>
              <a:gd name="T90" fmla="*/ 133 w 157"/>
              <a:gd name="T91" fmla="*/ 25 h 133"/>
              <a:gd name="T92" fmla="*/ 116 w 157"/>
              <a:gd name="T93" fmla="*/ 32 h 133"/>
              <a:gd name="T94" fmla="*/ 109 w 157"/>
              <a:gd name="T95" fmla="*/ 49 h 133"/>
              <a:gd name="T96" fmla="*/ 109 w 157"/>
              <a:gd name="T97" fmla="*/ 52 h 133"/>
              <a:gd name="T98" fmla="*/ 111 w 157"/>
              <a:gd name="T99" fmla="*/ 58 h 133"/>
              <a:gd name="T100" fmla="*/ 118 w 157"/>
              <a:gd name="T101" fmla="*/ 61 h 133"/>
              <a:gd name="T102" fmla="*/ 139 w 157"/>
              <a:gd name="T103" fmla="*/ 61 h 133"/>
              <a:gd name="T104" fmla="*/ 152 w 157"/>
              <a:gd name="T105" fmla="*/ 66 h 133"/>
              <a:gd name="T106" fmla="*/ 157 w 157"/>
              <a:gd name="T107" fmla="*/ 7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3">
                <a:moveTo>
                  <a:pt x="72" y="79"/>
                </a:moveTo>
                <a:cubicBezTo>
                  <a:pt x="72" y="115"/>
                  <a:pt x="72" y="115"/>
                  <a:pt x="72" y="115"/>
                </a:cubicBezTo>
                <a:cubicBezTo>
                  <a:pt x="72" y="120"/>
                  <a:pt x="70" y="125"/>
                  <a:pt x="67" y="128"/>
                </a:cubicBezTo>
                <a:cubicBezTo>
                  <a:pt x="63" y="132"/>
                  <a:pt x="59" y="133"/>
                  <a:pt x="54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3" y="133"/>
                  <a:pt x="8" y="132"/>
                  <a:pt x="5" y="128"/>
                </a:cubicBezTo>
                <a:cubicBezTo>
                  <a:pt x="1" y="125"/>
                  <a:pt x="0" y="120"/>
                  <a:pt x="0" y="11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2"/>
                  <a:pt x="1" y="36"/>
                  <a:pt x="3" y="30"/>
                </a:cubicBezTo>
                <a:cubicBezTo>
                  <a:pt x="6" y="24"/>
                  <a:pt x="9" y="19"/>
                  <a:pt x="14" y="14"/>
                </a:cubicBezTo>
                <a:cubicBezTo>
                  <a:pt x="18" y="10"/>
                  <a:pt x="23" y="7"/>
                  <a:pt x="29" y="4"/>
                </a:cubicBezTo>
                <a:cubicBezTo>
                  <a:pt x="35" y="2"/>
                  <a:pt x="41" y="0"/>
                  <a:pt x="48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60" y="3"/>
                  <a:pt x="60" y="5"/>
                  <a:pt x="60" y="6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20"/>
                  <a:pt x="60" y="22"/>
                  <a:pt x="58" y="23"/>
                </a:cubicBezTo>
                <a:cubicBezTo>
                  <a:pt x="57" y="24"/>
                  <a:pt x="56" y="25"/>
                  <a:pt x="54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1" y="25"/>
                  <a:pt x="36" y="27"/>
                  <a:pt x="31" y="32"/>
                </a:cubicBezTo>
                <a:cubicBezTo>
                  <a:pt x="26" y="36"/>
                  <a:pt x="24" y="42"/>
                  <a:pt x="24" y="49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4"/>
                  <a:pt x="25" y="56"/>
                  <a:pt x="26" y="58"/>
                </a:cubicBezTo>
                <a:cubicBezTo>
                  <a:pt x="28" y="60"/>
                  <a:pt x="30" y="61"/>
                  <a:pt x="33" y="61"/>
                </a:cubicBezTo>
                <a:cubicBezTo>
                  <a:pt x="54" y="61"/>
                  <a:pt x="54" y="61"/>
                  <a:pt x="54" y="61"/>
                </a:cubicBezTo>
                <a:cubicBezTo>
                  <a:pt x="59" y="61"/>
                  <a:pt x="63" y="63"/>
                  <a:pt x="67" y="66"/>
                </a:cubicBezTo>
                <a:cubicBezTo>
                  <a:pt x="70" y="70"/>
                  <a:pt x="72" y="74"/>
                  <a:pt x="72" y="79"/>
                </a:cubicBezTo>
                <a:close/>
                <a:moveTo>
                  <a:pt x="157" y="79"/>
                </a:moveTo>
                <a:cubicBezTo>
                  <a:pt x="157" y="115"/>
                  <a:pt x="157" y="115"/>
                  <a:pt x="157" y="115"/>
                </a:cubicBezTo>
                <a:cubicBezTo>
                  <a:pt x="157" y="120"/>
                  <a:pt x="155" y="125"/>
                  <a:pt x="152" y="128"/>
                </a:cubicBezTo>
                <a:cubicBezTo>
                  <a:pt x="148" y="132"/>
                  <a:pt x="144" y="133"/>
                  <a:pt x="139" y="133"/>
                </a:cubicBezTo>
                <a:cubicBezTo>
                  <a:pt x="102" y="133"/>
                  <a:pt x="102" y="133"/>
                  <a:pt x="102" y="133"/>
                </a:cubicBezTo>
                <a:cubicBezTo>
                  <a:pt x="97" y="133"/>
                  <a:pt x="93" y="132"/>
                  <a:pt x="90" y="128"/>
                </a:cubicBezTo>
                <a:cubicBezTo>
                  <a:pt x="86" y="125"/>
                  <a:pt x="84" y="120"/>
                  <a:pt x="84" y="115"/>
                </a:cubicBezTo>
                <a:cubicBezTo>
                  <a:pt x="84" y="49"/>
                  <a:pt x="84" y="49"/>
                  <a:pt x="84" y="49"/>
                </a:cubicBezTo>
                <a:cubicBezTo>
                  <a:pt x="84" y="42"/>
                  <a:pt x="86" y="36"/>
                  <a:pt x="88" y="30"/>
                </a:cubicBezTo>
                <a:cubicBezTo>
                  <a:pt x="91" y="24"/>
                  <a:pt x="94" y="19"/>
                  <a:pt x="99" y="14"/>
                </a:cubicBezTo>
                <a:cubicBezTo>
                  <a:pt x="103" y="10"/>
                  <a:pt x="108" y="7"/>
                  <a:pt x="114" y="4"/>
                </a:cubicBezTo>
                <a:cubicBezTo>
                  <a:pt x="120" y="2"/>
                  <a:pt x="126" y="0"/>
                  <a:pt x="13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0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45" y="20"/>
                  <a:pt x="144" y="22"/>
                  <a:pt x="143" y="23"/>
                </a:cubicBezTo>
                <a:cubicBezTo>
                  <a:pt x="142" y="24"/>
                  <a:pt x="140" y="25"/>
                  <a:pt x="139" y="25"/>
                </a:cubicBezTo>
                <a:cubicBezTo>
                  <a:pt x="133" y="25"/>
                  <a:pt x="133" y="25"/>
                  <a:pt x="133" y="25"/>
                </a:cubicBezTo>
                <a:cubicBezTo>
                  <a:pt x="126" y="25"/>
                  <a:pt x="120" y="27"/>
                  <a:pt x="116" y="32"/>
                </a:cubicBezTo>
                <a:cubicBezTo>
                  <a:pt x="111" y="36"/>
                  <a:pt x="109" y="42"/>
                  <a:pt x="109" y="49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9" y="54"/>
                  <a:pt x="109" y="56"/>
                  <a:pt x="111" y="58"/>
                </a:cubicBezTo>
                <a:cubicBezTo>
                  <a:pt x="113" y="60"/>
                  <a:pt x="115" y="61"/>
                  <a:pt x="118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4" y="61"/>
                  <a:pt x="148" y="63"/>
                  <a:pt x="152" y="66"/>
                </a:cubicBezTo>
                <a:cubicBezTo>
                  <a:pt x="155" y="70"/>
                  <a:pt x="157" y="74"/>
                  <a:pt x="157" y="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246"/>
          <p:cNvSpPr>
            <a:spLocks noEditPoints="1"/>
          </p:cNvSpPr>
          <p:nvPr/>
        </p:nvSpPr>
        <p:spPr bwMode="auto">
          <a:xfrm>
            <a:off x="8147468" y="3839549"/>
            <a:ext cx="162376" cy="137395"/>
          </a:xfrm>
          <a:custGeom>
            <a:avLst/>
            <a:gdLst>
              <a:gd name="T0" fmla="*/ 73 w 157"/>
              <a:gd name="T1" fmla="*/ 18 h 133"/>
              <a:gd name="T2" fmla="*/ 73 w 157"/>
              <a:gd name="T3" fmla="*/ 85 h 133"/>
              <a:gd name="T4" fmla="*/ 69 w 157"/>
              <a:gd name="T5" fmla="*/ 104 h 133"/>
              <a:gd name="T6" fmla="*/ 58 w 157"/>
              <a:gd name="T7" fmla="*/ 119 h 133"/>
              <a:gd name="T8" fmla="*/ 43 w 157"/>
              <a:gd name="T9" fmla="*/ 130 h 133"/>
              <a:gd name="T10" fmla="*/ 24 w 157"/>
              <a:gd name="T11" fmla="*/ 133 h 133"/>
              <a:gd name="T12" fmla="*/ 18 w 157"/>
              <a:gd name="T13" fmla="*/ 133 h 133"/>
              <a:gd name="T14" fmla="*/ 14 w 157"/>
              <a:gd name="T15" fmla="*/ 132 h 133"/>
              <a:gd name="T16" fmla="*/ 12 w 157"/>
              <a:gd name="T17" fmla="*/ 127 h 133"/>
              <a:gd name="T18" fmla="*/ 12 w 157"/>
              <a:gd name="T19" fmla="*/ 115 h 133"/>
              <a:gd name="T20" fmla="*/ 14 w 157"/>
              <a:gd name="T21" fmla="*/ 111 h 133"/>
              <a:gd name="T22" fmla="*/ 18 w 157"/>
              <a:gd name="T23" fmla="*/ 109 h 133"/>
              <a:gd name="T24" fmla="*/ 24 w 157"/>
              <a:gd name="T25" fmla="*/ 109 h 133"/>
              <a:gd name="T26" fmla="*/ 41 w 157"/>
              <a:gd name="T27" fmla="*/ 102 h 133"/>
              <a:gd name="T28" fmla="*/ 48 w 157"/>
              <a:gd name="T29" fmla="*/ 85 h 133"/>
              <a:gd name="T30" fmla="*/ 48 w 157"/>
              <a:gd name="T31" fmla="*/ 82 h 133"/>
              <a:gd name="T32" fmla="*/ 46 w 157"/>
              <a:gd name="T33" fmla="*/ 76 h 133"/>
              <a:gd name="T34" fmla="*/ 39 w 157"/>
              <a:gd name="T35" fmla="*/ 73 h 133"/>
              <a:gd name="T36" fmla="*/ 18 w 157"/>
              <a:gd name="T37" fmla="*/ 73 h 133"/>
              <a:gd name="T38" fmla="*/ 5 w 157"/>
              <a:gd name="T39" fmla="*/ 68 h 133"/>
              <a:gd name="T40" fmla="*/ 0 w 157"/>
              <a:gd name="T41" fmla="*/ 55 h 133"/>
              <a:gd name="T42" fmla="*/ 0 w 157"/>
              <a:gd name="T43" fmla="*/ 18 h 133"/>
              <a:gd name="T44" fmla="*/ 5 w 157"/>
              <a:gd name="T45" fmla="*/ 6 h 133"/>
              <a:gd name="T46" fmla="*/ 18 w 157"/>
              <a:gd name="T47" fmla="*/ 0 h 133"/>
              <a:gd name="T48" fmla="*/ 54 w 157"/>
              <a:gd name="T49" fmla="*/ 0 h 133"/>
              <a:gd name="T50" fmla="*/ 67 w 157"/>
              <a:gd name="T51" fmla="*/ 6 h 133"/>
              <a:gd name="T52" fmla="*/ 73 w 157"/>
              <a:gd name="T53" fmla="*/ 18 h 133"/>
              <a:gd name="T54" fmla="*/ 157 w 157"/>
              <a:gd name="T55" fmla="*/ 18 h 133"/>
              <a:gd name="T56" fmla="*/ 157 w 157"/>
              <a:gd name="T57" fmla="*/ 85 h 133"/>
              <a:gd name="T58" fmla="*/ 153 w 157"/>
              <a:gd name="T59" fmla="*/ 104 h 133"/>
              <a:gd name="T60" fmla="*/ 143 w 157"/>
              <a:gd name="T61" fmla="*/ 119 h 133"/>
              <a:gd name="T62" fmla="*/ 128 w 157"/>
              <a:gd name="T63" fmla="*/ 130 h 133"/>
              <a:gd name="T64" fmla="*/ 109 w 157"/>
              <a:gd name="T65" fmla="*/ 133 h 133"/>
              <a:gd name="T66" fmla="*/ 103 w 157"/>
              <a:gd name="T67" fmla="*/ 133 h 133"/>
              <a:gd name="T68" fmla="*/ 99 w 157"/>
              <a:gd name="T69" fmla="*/ 132 h 133"/>
              <a:gd name="T70" fmla="*/ 97 w 157"/>
              <a:gd name="T71" fmla="*/ 127 h 133"/>
              <a:gd name="T72" fmla="*/ 97 w 157"/>
              <a:gd name="T73" fmla="*/ 115 h 133"/>
              <a:gd name="T74" fmla="*/ 99 w 157"/>
              <a:gd name="T75" fmla="*/ 111 h 133"/>
              <a:gd name="T76" fmla="*/ 103 w 157"/>
              <a:gd name="T77" fmla="*/ 109 h 133"/>
              <a:gd name="T78" fmla="*/ 109 w 157"/>
              <a:gd name="T79" fmla="*/ 109 h 133"/>
              <a:gd name="T80" fmla="*/ 126 w 157"/>
              <a:gd name="T81" fmla="*/ 102 h 133"/>
              <a:gd name="T82" fmla="*/ 133 w 157"/>
              <a:gd name="T83" fmla="*/ 85 h 133"/>
              <a:gd name="T84" fmla="*/ 133 w 157"/>
              <a:gd name="T85" fmla="*/ 82 h 133"/>
              <a:gd name="T86" fmla="*/ 130 w 157"/>
              <a:gd name="T87" fmla="*/ 76 h 133"/>
              <a:gd name="T88" fmla="*/ 124 w 157"/>
              <a:gd name="T89" fmla="*/ 73 h 133"/>
              <a:gd name="T90" fmla="*/ 103 w 157"/>
              <a:gd name="T91" fmla="*/ 73 h 133"/>
              <a:gd name="T92" fmla="*/ 90 w 157"/>
              <a:gd name="T93" fmla="*/ 68 h 133"/>
              <a:gd name="T94" fmla="*/ 85 w 157"/>
              <a:gd name="T95" fmla="*/ 55 h 133"/>
              <a:gd name="T96" fmla="*/ 85 w 157"/>
              <a:gd name="T97" fmla="*/ 18 h 133"/>
              <a:gd name="T98" fmla="*/ 90 w 157"/>
              <a:gd name="T99" fmla="*/ 6 h 133"/>
              <a:gd name="T100" fmla="*/ 103 w 157"/>
              <a:gd name="T101" fmla="*/ 0 h 133"/>
              <a:gd name="T102" fmla="*/ 139 w 157"/>
              <a:gd name="T103" fmla="*/ 0 h 133"/>
              <a:gd name="T104" fmla="*/ 152 w 157"/>
              <a:gd name="T105" fmla="*/ 6 h 133"/>
              <a:gd name="T106" fmla="*/ 157 w 157"/>
              <a:gd name="T107" fmla="*/ 18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3">
                <a:moveTo>
                  <a:pt x="73" y="18"/>
                </a:moveTo>
                <a:cubicBezTo>
                  <a:pt x="73" y="85"/>
                  <a:pt x="73" y="85"/>
                  <a:pt x="73" y="85"/>
                </a:cubicBezTo>
                <a:cubicBezTo>
                  <a:pt x="73" y="92"/>
                  <a:pt x="71" y="98"/>
                  <a:pt x="69" y="104"/>
                </a:cubicBezTo>
                <a:cubicBezTo>
                  <a:pt x="66" y="110"/>
                  <a:pt x="63" y="115"/>
                  <a:pt x="58" y="119"/>
                </a:cubicBezTo>
                <a:cubicBezTo>
                  <a:pt x="54" y="124"/>
                  <a:pt x="49" y="127"/>
                  <a:pt x="43" y="130"/>
                </a:cubicBezTo>
                <a:cubicBezTo>
                  <a:pt x="37" y="132"/>
                  <a:pt x="31" y="133"/>
                  <a:pt x="24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6" y="133"/>
                  <a:pt x="15" y="133"/>
                  <a:pt x="14" y="132"/>
                </a:cubicBezTo>
                <a:cubicBezTo>
                  <a:pt x="13" y="130"/>
                  <a:pt x="12" y="129"/>
                  <a:pt x="12" y="127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12" y="114"/>
                  <a:pt x="13" y="112"/>
                  <a:pt x="14" y="111"/>
                </a:cubicBezTo>
                <a:cubicBezTo>
                  <a:pt x="15" y="110"/>
                  <a:pt x="16" y="109"/>
                  <a:pt x="18" y="109"/>
                </a:cubicBezTo>
                <a:cubicBezTo>
                  <a:pt x="24" y="109"/>
                  <a:pt x="24" y="109"/>
                  <a:pt x="24" y="109"/>
                </a:cubicBezTo>
                <a:cubicBezTo>
                  <a:pt x="31" y="109"/>
                  <a:pt x="37" y="107"/>
                  <a:pt x="41" y="102"/>
                </a:cubicBezTo>
                <a:cubicBezTo>
                  <a:pt x="46" y="97"/>
                  <a:pt x="48" y="92"/>
                  <a:pt x="48" y="85"/>
                </a:cubicBezTo>
                <a:cubicBezTo>
                  <a:pt x="48" y="82"/>
                  <a:pt x="48" y="82"/>
                  <a:pt x="48" y="82"/>
                </a:cubicBezTo>
                <a:cubicBezTo>
                  <a:pt x="48" y="79"/>
                  <a:pt x="47" y="77"/>
                  <a:pt x="46" y="76"/>
                </a:cubicBezTo>
                <a:cubicBezTo>
                  <a:pt x="44" y="74"/>
                  <a:pt x="42" y="73"/>
                  <a:pt x="39" y="73"/>
                </a:cubicBezTo>
                <a:cubicBezTo>
                  <a:pt x="18" y="73"/>
                  <a:pt x="18" y="73"/>
                  <a:pt x="18" y="73"/>
                </a:cubicBezTo>
                <a:cubicBezTo>
                  <a:pt x="13" y="73"/>
                  <a:pt x="9" y="71"/>
                  <a:pt x="5" y="68"/>
                </a:cubicBezTo>
                <a:cubicBezTo>
                  <a:pt x="2" y="64"/>
                  <a:pt x="0" y="60"/>
                  <a:pt x="0" y="5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2" y="9"/>
                  <a:pt x="5" y="6"/>
                </a:cubicBezTo>
                <a:cubicBezTo>
                  <a:pt x="9" y="2"/>
                  <a:pt x="13" y="0"/>
                  <a:pt x="18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9" y="0"/>
                  <a:pt x="64" y="2"/>
                  <a:pt x="67" y="6"/>
                </a:cubicBezTo>
                <a:cubicBezTo>
                  <a:pt x="71" y="9"/>
                  <a:pt x="73" y="13"/>
                  <a:pt x="73" y="18"/>
                </a:cubicBezTo>
                <a:close/>
                <a:moveTo>
                  <a:pt x="157" y="18"/>
                </a:moveTo>
                <a:cubicBezTo>
                  <a:pt x="157" y="85"/>
                  <a:pt x="157" y="85"/>
                  <a:pt x="157" y="85"/>
                </a:cubicBezTo>
                <a:cubicBezTo>
                  <a:pt x="157" y="92"/>
                  <a:pt x="156" y="98"/>
                  <a:pt x="153" y="104"/>
                </a:cubicBezTo>
                <a:cubicBezTo>
                  <a:pt x="151" y="110"/>
                  <a:pt x="147" y="115"/>
                  <a:pt x="143" y="119"/>
                </a:cubicBezTo>
                <a:cubicBezTo>
                  <a:pt x="139" y="124"/>
                  <a:pt x="134" y="127"/>
                  <a:pt x="128" y="130"/>
                </a:cubicBezTo>
                <a:cubicBezTo>
                  <a:pt x="122" y="132"/>
                  <a:pt x="115" y="133"/>
                  <a:pt x="109" y="133"/>
                </a:cubicBezTo>
                <a:cubicBezTo>
                  <a:pt x="103" y="133"/>
                  <a:pt x="103" y="133"/>
                  <a:pt x="103" y="133"/>
                </a:cubicBezTo>
                <a:cubicBezTo>
                  <a:pt x="101" y="133"/>
                  <a:pt x="100" y="133"/>
                  <a:pt x="99" y="132"/>
                </a:cubicBezTo>
                <a:cubicBezTo>
                  <a:pt x="97" y="130"/>
                  <a:pt x="97" y="129"/>
                  <a:pt x="97" y="127"/>
                </a:cubicBezTo>
                <a:cubicBezTo>
                  <a:pt x="97" y="115"/>
                  <a:pt x="97" y="115"/>
                  <a:pt x="97" y="115"/>
                </a:cubicBezTo>
                <a:cubicBezTo>
                  <a:pt x="97" y="114"/>
                  <a:pt x="97" y="112"/>
                  <a:pt x="99" y="111"/>
                </a:cubicBezTo>
                <a:cubicBezTo>
                  <a:pt x="100" y="110"/>
                  <a:pt x="101" y="109"/>
                  <a:pt x="103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116" y="109"/>
                  <a:pt x="121" y="107"/>
                  <a:pt x="126" y="102"/>
                </a:cubicBezTo>
                <a:cubicBezTo>
                  <a:pt x="131" y="97"/>
                  <a:pt x="133" y="92"/>
                  <a:pt x="133" y="85"/>
                </a:cubicBezTo>
                <a:cubicBezTo>
                  <a:pt x="133" y="82"/>
                  <a:pt x="133" y="82"/>
                  <a:pt x="133" y="82"/>
                </a:cubicBezTo>
                <a:cubicBezTo>
                  <a:pt x="133" y="79"/>
                  <a:pt x="132" y="77"/>
                  <a:pt x="130" y="76"/>
                </a:cubicBezTo>
                <a:cubicBezTo>
                  <a:pt x="129" y="74"/>
                  <a:pt x="126" y="73"/>
                  <a:pt x="124" y="73"/>
                </a:cubicBezTo>
                <a:cubicBezTo>
                  <a:pt x="103" y="73"/>
                  <a:pt x="103" y="73"/>
                  <a:pt x="103" y="73"/>
                </a:cubicBezTo>
                <a:cubicBezTo>
                  <a:pt x="98" y="73"/>
                  <a:pt x="93" y="71"/>
                  <a:pt x="90" y="68"/>
                </a:cubicBezTo>
                <a:cubicBezTo>
                  <a:pt x="86" y="64"/>
                  <a:pt x="85" y="60"/>
                  <a:pt x="85" y="55"/>
                </a:cubicBezTo>
                <a:cubicBezTo>
                  <a:pt x="85" y="18"/>
                  <a:pt x="85" y="18"/>
                  <a:pt x="85" y="18"/>
                </a:cubicBezTo>
                <a:cubicBezTo>
                  <a:pt x="85" y="13"/>
                  <a:pt x="86" y="9"/>
                  <a:pt x="90" y="6"/>
                </a:cubicBezTo>
                <a:cubicBezTo>
                  <a:pt x="93" y="2"/>
                  <a:pt x="98" y="0"/>
                  <a:pt x="10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4" y="0"/>
                  <a:pt x="148" y="2"/>
                  <a:pt x="152" y="6"/>
                </a:cubicBezTo>
                <a:cubicBezTo>
                  <a:pt x="155" y="9"/>
                  <a:pt x="157" y="13"/>
                  <a:pt x="157" y="1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43208" y="3019836"/>
            <a:ext cx="150375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dolor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827819" y="3019836"/>
            <a:ext cx="150375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dolor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812430" y="3019836"/>
            <a:ext cx="150375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dolo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797040" y="3019836"/>
            <a:ext cx="150375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dolor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2590800" y="1543050"/>
            <a:ext cx="0" cy="1810211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2907829" y="1520678"/>
            <a:ext cx="1343732" cy="1237200"/>
            <a:chOff x="2907829" y="1520678"/>
            <a:chExt cx="1343732" cy="1237200"/>
          </a:xfrm>
        </p:grpSpPr>
        <p:sp>
          <p:nvSpPr>
            <p:cNvPr id="20" name="TextBox 19"/>
            <p:cNvSpPr txBox="1"/>
            <p:nvPr/>
          </p:nvSpPr>
          <p:spPr>
            <a:xfrm>
              <a:off x="3308965" y="2026571"/>
              <a:ext cx="54146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+mj-lt"/>
                </a:rPr>
                <a:t>15%</a:t>
              </a:r>
            </a:p>
          </p:txBody>
        </p:sp>
        <p:graphicFrame>
          <p:nvGraphicFramePr>
            <p:cNvPr id="50" name="Chart 49"/>
            <p:cNvGraphicFramePr/>
            <p:nvPr>
              <p:extLst>
                <p:ext uri="{D42A27DB-BD31-4B8C-83A1-F6EECF244321}">
                  <p14:modId xmlns:p14="http://schemas.microsoft.com/office/powerpoint/2010/main" val="1590632689"/>
                </p:ext>
              </p:extLst>
            </p:nvPr>
          </p:nvGraphicFramePr>
          <p:xfrm>
            <a:off x="2907829" y="1520678"/>
            <a:ext cx="1343732" cy="1237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6" name="Group 5"/>
          <p:cNvGrpSpPr/>
          <p:nvPr/>
        </p:nvGrpSpPr>
        <p:grpSpPr>
          <a:xfrm>
            <a:off x="4892440" y="1520678"/>
            <a:ext cx="1343732" cy="1237200"/>
            <a:chOff x="4892440" y="1520678"/>
            <a:chExt cx="1343732" cy="1237200"/>
          </a:xfrm>
        </p:grpSpPr>
        <p:sp>
          <p:nvSpPr>
            <p:cNvPr id="25" name="TextBox 24"/>
            <p:cNvSpPr txBox="1"/>
            <p:nvPr/>
          </p:nvSpPr>
          <p:spPr>
            <a:xfrm>
              <a:off x="5293576" y="2026571"/>
              <a:ext cx="54146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  <a:latin typeface="+mj-lt"/>
                </a:rPr>
                <a:t>47%</a:t>
              </a:r>
            </a:p>
          </p:txBody>
        </p:sp>
        <p:graphicFrame>
          <p:nvGraphicFramePr>
            <p:cNvPr id="51" name="Chart 50"/>
            <p:cNvGraphicFramePr/>
            <p:nvPr>
              <p:extLst>
                <p:ext uri="{D42A27DB-BD31-4B8C-83A1-F6EECF244321}">
                  <p14:modId xmlns:p14="http://schemas.microsoft.com/office/powerpoint/2010/main" val="1742461105"/>
                </p:ext>
              </p:extLst>
            </p:nvPr>
          </p:nvGraphicFramePr>
          <p:xfrm>
            <a:off x="4892440" y="1520678"/>
            <a:ext cx="1343732" cy="1237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7" name="Group 6"/>
          <p:cNvGrpSpPr/>
          <p:nvPr/>
        </p:nvGrpSpPr>
        <p:grpSpPr>
          <a:xfrm>
            <a:off x="6877050" y="1520678"/>
            <a:ext cx="1343732" cy="1237200"/>
            <a:chOff x="6877050" y="1520678"/>
            <a:chExt cx="1343732" cy="1237200"/>
          </a:xfrm>
        </p:grpSpPr>
        <p:sp>
          <p:nvSpPr>
            <p:cNvPr id="30" name="TextBox 29"/>
            <p:cNvSpPr txBox="1"/>
            <p:nvPr/>
          </p:nvSpPr>
          <p:spPr>
            <a:xfrm>
              <a:off x="7278186" y="2026571"/>
              <a:ext cx="54146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1"/>
                  </a:solidFill>
                  <a:latin typeface="+mj-lt"/>
                </a:rPr>
                <a:t>13%</a:t>
              </a:r>
            </a:p>
          </p:txBody>
        </p:sp>
        <p:graphicFrame>
          <p:nvGraphicFramePr>
            <p:cNvPr id="52" name="Chart 51"/>
            <p:cNvGraphicFramePr/>
            <p:nvPr>
              <p:extLst>
                <p:ext uri="{D42A27DB-BD31-4B8C-83A1-F6EECF244321}">
                  <p14:modId xmlns:p14="http://schemas.microsoft.com/office/powerpoint/2010/main" val="1583458800"/>
                </p:ext>
              </p:extLst>
            </p:nvPr>
          </p:nvGraphicFramePr>
          <p:xfrm>
            <a:off x="6877050" y="1520678"/>
            <a:ext cx="1343732" cy="1237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cxnSp>
        <p:nvCxnSpPr>
          <p:cNvPr id="57" name="Straight Connector 56"/>
          <p:cNvCxnSpPr/>
          <p:nvPr/>
        </p:nvCxnSpPr>
        <p:spPr>
          <a:xfrm>
            <a:off x="4591050" y="1543050"/>
            <a:ext cx="0" cy="1810211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591300" y="1543050"/>
            <a:ext cx="0" cy="1810211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08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CFF773-8E32-4199-815E-8660592568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Rectangle 16"/>
          <p:cNvSpPr/>
          <p:nvPr/>
        </p:nvSpPr>
        <p:spPr>
          <a:xfrm>
            <a:off x="0" y="1204913"/>
            <a:ext cx="4572000" cy="2733675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594362" y="1974291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03253" y="3107793"/>
            <a:ext cx="333698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362" y="2079377"/>
            <a:ext cx="35831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accent1"/>
                </a:solidFill>
                <a:latin typeface="+mj-lt"/>
              </a:rPr>
              <a:t>Let’s see some</a:t>
            </a:r>
          </a:p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bg1"/>
                </a:solidFill>
                <a:latin typeface="+mj-lt"/>
              </a:rPr>
              <a:t>analytics</a:t>
            </a:r>
          </a:p>
        </p:txBody>
      </p:sp>
      <p:sp>
        <p:nvSpPr>
          <p:cNvPr id="8" name="Freeform 272">
            <a:extLst>
              <a:ext uri="{FF2B5EF4-FFF2-40B4-BE49-F238E27FC236}">
                <a16:creationId xmlns:a16="http://schemas.microsoft.com/office/drawing/2014/main" id="{2C2C7B52-B0DD-4548-96C8-4BFBA79CAB6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6316" y="1587221"/>
            <a:ext cx="268298" cy="240639"/>
          </a:xfrm>
          <a:custGeom>
            <a:avLst/>
            <a:gdLst>
              <a:gd name="T0" fmla="*/ 84 w 145"/>
              <a:gd name="T1" fmla="*/ 116 h 131"/>
              <a:gd name="T2" fmla="*/ 84 w 145"/>
              <a:gd name="T3" fmla="*/ 131 h 131"/>
              <a:gd name="T4" fmla="*/ 61 w 145"/>
              <a:gd name="T5" fmla="*/ 131 h 131"/>
              <a:gd name="T6" fmla="*/ 46 w 145"/>
              <a:gd name="T7" fmla="*/ 108 h 131"/>
              <a:gd name="T8" fmla="*/ 44 w 145"/>
              <a:gd name="T9" fmla="*/ 104 h 131"/>
              <a:gd name="T10" fmla="*/ 43 w 145"/>
              <a:gd name="T11" fmla="*/ 102 h 131"/>
              <a:gd name="T12" fmla="*/ 42 w 145"/>
              <a:gd name="T13" fmla="*/ 102 h 131"/>
              <a:gd name="T14" fmla="*/ 41 w 145"/>
              <a:gd name="T15" fmla="*/ 104 h 131"/>
              <a:gd name="T16" fmla="*/ 39 w 145"/>
              <a:gd name="T17" fmla="*/ 108 h 131"/>
              <a:gd name="T18" fmla="*/ 24 w 145"/>
              <a:gd name="T19" fmla="*/ 131 h 131"/>
              <a:gd name="T20" fmla="*/ 0 w 145"/>
              <a:gd name="T21" fmla="*/ 131 h 131"/>
              <a:gd name="T22" fmla="*/ 0 w 145"/>
              <a:gd name="T23" fmla="*/ 116 h 131"/>
              <a:gd name="T24" fmla="*/ 12 w 145"/>
              <a:gd name="T25" fmla="*/ 116 h 131"/>
              <a:gd name="T26" fmla="*/ 31 w 145"/>
              <a:gd name="T27" fmla="*/ 88 h 131"/>
              <a:gd name="T28" fmla="*/ 13 w 145"/>
              <a:gd name="T29" fmla="*/ 62 h 131"/>
              <a:gd name="T30" fmla="*/ 0 w 145"/>
              <a:gd name="T31" fmla="*/ 62 h 131"/>
              <a:gd name="T32" fmla="*/ 0 w 145"/>
              <a:gd name="T33" fmla="*/ 47 h 131"/>
              <a:gd name="T34" fmla="*/ 26 w 145"/>
              <a:gd name="T35" fmla="*/ 47 h 131"/>
              <a:gd name="T36" fmla="*/ 40 w 145"/>
              <a:gd name="T37" fmla="*/ 68 h 131"/>
              <a:gd name="T38" fmla="*/ 42 w 145"/>
              <a:gd name="T39" fmla="*/ 72 h 131"/>
              <a:gd name="T40" fmla="*/ 43 w 145"/>
              <a:gd name="T41" fmla="*/ 74 h 131"/>
              <a:gd name="T42" fmla="*/ 43 w 145"/>
              <a:gd name="T43" fmla="*/ 74 h 131"/>
              <a:gd name="T44" fmla="*/ 44 w 145"/>
              <a:gd name="T45" fmla="*/ 72 h 131"/>
              <a:gd name="T46" fmla="*/ 46 w 145"/>
              <a:gd name="T47" fmla="*/ 68 h 131"/>
              <a:gd name="T48" fmla="*/ 60 w 145"/>
              <a:gd name="T49" fmla="*/ 47 h 131"/>
              <a:gd name="T50" fmla="*/ 84 w 145"/>
              <a:gd name="T51" fmla="*/ 47 h 131"/>
              <a:gd name="T52" fmla="*/ 84 w 145"/>
              <a:gd name="T53" fmla="*/ 62 h 131"/>
              <a:gd name="T54" fmla="*/ 72 w 145"/>
              <a:gd name="T55" fmla="*/ 62 h 131"/>
              <a:gd name="T56" fmla="*/ 55 w 145"/>
              <a:gd name="T57" fmla="*/ 88 h 131"/>
              <a:gd name="T58" fmla="*/ 74 w 145"/>
              <a:gd name="T59" fmla="*/ 116 h 131"/>
              <a:gd name="T60" fmla="*/ 84 w 145"/>
              <a:gd name="T61" fmla="*/ 116 h 131"/>
              <a:gd name="T62" fmla="*/ 145 w 145"/>
              <a:gd name="T63" fmla="*/ 51 h 131"/>
              <a:gd name="T64" fmla="*/ 145 w 145"/>
              <a:gd name="T65" fmla="*/ 71 h 131"/>
              <a:gd name="T66" fmla="*/ 96 w 145"/>
              <a:gd name="T67" fmla="*/ 71 h 131"/>
              <a:gd name="T68" fmla="*/ 96 w 145"/>
              <a:gd name="T69" fmla="*/ 68 h 131"/>
              <a:gd name="T70" fmla="*/ 95 w 145"/>
              <a:gd name="T71" fmla="*/ 64 h 131"/>
              <a:gd name="T72" fmla="*/ 98 w 145"/>
              <a:gd name="T73" fmla="*/ 53 h 131"/>
              <a:gd name="T74" fmla="*/ 104 w 145"/>
              <a:gd name="T75" fmla="*/ 45 h 131"/>
              <a:gd name="T76" fmla="*/ 112 w 145"/>
              <a:gd name="T77" fmla="*/ 39 h 131"/>
              <a:gd name="T78" fmla="*/ 120 w 145"/>
              <a:gd name="T79" fmla="*/ 33 h 131"/>
              <a:gd name="T80" fmla="*/ 126 w 145"/>
              <a:gd name="T81" fmla="*/ 28 h 131"/>
              <a:gd name="T82" fmla="*/ 128 w 145"/>
              <a:gd name="T83" fmla="*/ 22 h 131"/>
              <a:gd name="T84" fmla="*/ 126 w 145"/>
              <a:gd name="T85" fmla="*/ 16 h 131"/>
              <a:gd name="T86" fmla="*/ 119 w 145"/>
              <a:gd name="T87" fmla="*/ 14 h 131"/>
              <a:gd name="T88" fmla="*/ 110 w 145"/>
              <a:gd name="T89" fmla="*/ 18 h 131"/>
              <a:gd name="T90" fmla="*/ 106 w 145"/>
              <a:gd name="T91" fmla="*/ 21 h 131"/>
              <a:gd name="T92" fmla="*/ 97 w 145"/>
              <a:gd name="T93" fmla="*/ 13 h 131"/>
              <a:gd name="T94" fmla="*/ 102 w 145"/>
              <a:gd name="T95" fmla="*/ 6 h 131"/>
              <a:gd name="T96" fmla="*/ 120 w 145"/>
              <a:gd name="T97" fmla="*/ 0 h 131"/>
              <a:gd name="T98" fmla="*/ 137 w 145"/>
              <a:gd name="T99" fmla="*/ 6 h 131"/>
              <a:gd name="T100" fmla="*/ 143 w 145"/>
              <a:gd name="T101" fmla="*/ 21 h 131"/>
              <a:gd name="T102" fmla="*/ 141 w 145"/>
              <a:gd name="T103" fmla="*/ 31 h 131"/>
              <a:gd name="T104" fmla="*/ 135 w 145"/>
              <a:gd name="T105" fmla="*/ 38 h 131"/>
              <a:gd name="T106" fmla="*/ 128 w 145"/>
              <a:gd name="T107" fmla="*/ 43 h 131"/>
              <a:gd name="T108" fmla="*/ 120 w 145"/>
              <a:gd name="T109" fmla="*/ 48 h 131"/>
              <a:gd name="T110" fmla="*/ 114 w 145"/>
              <a:gd name="T111" fmla="*/ 53 h 131"/>
              <a:gd name="T112" fmla="*/ 111 w 145"/>
              <a:gd name="T113" fmla="*/ 59 h 131"/>
              <a:gd name="T114" fmla="*/ 133 w 145"/>
              <a:gd name="T115" fmla="*/ 59 h 131"/>
              <a:gd name="T116" fmla="*/ 133 w 145"/>
              <a:gd name="T117" fmla="*/ 51 h 131"/>
              <a:gd name="T118" fmla="*/ 145 w 145"/>
              <a:gd name="T119" fmla="*/ 5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5" h="131">
                <a:moveTo>
                  <a:pt x="84" y="116"/>
                </a:moveTo>
                <a:cubicBezTo>
                  <a:pt x="84" y="131"/>
                  <a:pt x="84" y="131"/>
                  <a:pt x="84" y="131"/>
                </a:cubicBezTo>
                <a:cubicBezTo>
                  <a:pt x="61" y="131"/>
                  <a:pt x="61" y="131"/>
                  <a:pt x="61" y="131"/>
                </a:cubicBezTo>
                <a:cubicBezTo>
                  <a:pt x="46" y="108"/>
                  <a:pt x="46" y="108"/>
                  <a:pt x="46" y="108"/>
                </a:cubicBezTo>
                <a:cubicBezTo>
                  <a:pt x="44" y="104"/>
                  <a:pt x="44" y="104"/>
                  <a:pt x="44" y="104"/>
                </a:cubicBezTo>
                <a:cubicBezTo>
                  <a:pt x="43" y="103"/>
                  <a:pt x="43" y="102"/>
                  <a:pt x="43" y="102"/>
                </a:cubicBezTo>
                <a:cubicBezTo>
                  <a:pt x="42" y="102"/>
                  <a:pt x="42" y="102"/>
                  <a:pt x="42" y="102"/>
                </a:cubicBezTo>
                <a:cubicBezTo>
                  <a:pt x="41" y="104"/>
                  <a:pt x="41" y="104"/>
                  <a:pt x="41" y="104"/>
                </a:cubicBezTo>
                <a:cubicBezTo>
                  <a:pt x="41" y="105"/>
                  <a:pt x="40" y="106"/>
                  <a:pt x="39" y="108"/>
                </a:cubicBezTo>
                <a:cubicBezTo>
                  <a:pt x="24" y="131"/>
                  <a:pt x="24" y="131"/>
                  <a:pt x="24" y="131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16"/>
                  <a:pt x="0" y="116"/>
                  <a:pt x="0" y="116"/>
                </a:cubicBezTo>
                <a:cubicBezTo>
                  <a:pt x="12" y="116"/>
                  <a:pt x="12" y="116"/>
                  <a:pt x="12" y="116"/>
                </a:cubicBezTo>
                <a:cubicBezTo>
                  <a:pt x="31" y="88"/>
                  <a:pt x="31" y="88"/>
                  <a:pt x="31" y="88"/>
                </a:cubicBezTo>
                <a:cubicBezTo>
                  <a:pt x="13" y="62"/>
                  <a:pt x="13" y="62"/>
                  <a:pt x="13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47"/>
                  <a:pt x="0" y="47"/>
                  <a:pt x="0" y="47"/>
                </a:cubicBezTo>
                <a:cubicBezTo>
                  <a:pt x="26" y="47"/>
                  <a:pt x="26" y="47"/>
                  <a:pt x="26" y="47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68"/>
                  <a:pt x="40" y="70"/>
                  <a:pt x="42" y="72"/>
                </a:cubicBezTo>
                <a:cubicBezTo>
                  <a:pt x="42" y="73"/>
                  <a:pt x="43" y="73"/>
                  <a:pt x="43" y="74"/>
                </a:cubicBezTo>
                <a:cubicBezTo>
                  <a:pt x="43" y="74"/>
                  <a:pt x="43" y="74"/>
                  <a:pt x="43" y="74"/>
                </a:cubicBezTo>
                <a:cubicBezTo>
                  <a:pt x="43" y="73"/>
                  <a:pt x="44" y="73"/>
                  <a:pt x="44" y="72"/>
                </a:cubicBezTo>
                <a:cubicBezTo>
                  <a:pt x="46" y="68"/>
                  <a:pt x="46" y="68"/>
                  <a:pt x="46" y="68"/>
                </a:cubicBezTo>
                <a:cubicBezTo>
                  <a:pt x="60" y="47"/>
                  <a:pt x="60" y="47"/>
                  <a:pt x="60" y="47"/>
                </a:cubicBezTo>
                <a:cubicBezTo>
                  <a:pt x="84" y="47"/>
                  <a:pt x="84" y="47"/>
                  <a:pt x="84" y="47"/>
                </a:cubicBezTo>
                <a:cubicBezTo>
                  <a:pt x="84" y="62"/>
                  <a:pt x="84" y="62"/>
                  <a:pt x="84" y="62"/>
                </a:cubicBezTo>
                <a:cubicBezTo>
                  <a:pt x="72" y="62"/>
                  <a:pt x="72" y="62"/>
                  <a:pt x="72" y="62"/>
                </a:cubicBezTo>
                <a:cubicBezTo>
                  <a:pt x="55" y="88"/>
                  <a:pt x="55" y="88"/>
                  <a:pt x="55" y="88"/>
                </a:cubicBezTo>
                <a:cubicBezTo>
                  <a:pt x="74" y="116"/>
                  <a:pt x="74" y="116"/>
                  <a:pt x="74" y="116"/>
                </a:cubicBezTo>
                <a:lnTo>
                  <a:pt x="84" y="116"/>
                </a:lnTo>
                <a:close/>
                <a:moveTo>
                  <a:pt x="145" y="51"/>
                </a:moveTo>
                <a:cubicBezTo>
                  <a:pt x="145" y="71"/>
                  <a:pt x="145" y="71"/>
                  <a:pt x="145" y="71"/>
                </a:cubicBezTo>
                <a:cubicBezTo>
                  <a:pt x="96" y="71"/>
                  <a:pt x="96" y="71"/>
                  <a:pt x="96" y="71"/>
                </a:cubicBezTo>
                <a:cubicBezTo>
                  <a:pt x="96" y="68"/>
                  <a:pt x="96" y="68"/>
                  <a:pt x="96" y="68"/>
                </a:cubicBezTo>
                <a:cubicBezTo>
                  <a:pt x="95" y="67"/>
                  <a:pt x="95" y="65"/>
                  <a:pt x="95" y="64"/>
                </a:cubicBezTo>
                <a:cubicBezTo>
                  <a:pt x="95" y="60"/>
                  <a:pt x="96" y="56"/>
                  <a:pt x="98" y="53"/>
                </a:cubicBezTo>
                <a:cubicBezTo>
                  <a:pt x="99" y="50"/>
                  <a:pt x="102" y="47"/>
                  <a:pt x="104" y="45"/>
                </a:cubicBezTo>
                <a:cubicBezTo>
                  <a:pt x="106" y="43"/>
                  <a:pt x="109" y="41"/>
                  <a:pt x="112" y="39"/>
                </a:cubicBezTo>
                <a:cubicBezTo>
                  <a:pt x="115" y="37"/>
                  <a:pt x="117" y="35"/>
                  <a:pt x="120" y="33"/>
                </a:cubicBezTo>
                <a:cubicBezTo>
                  <a:pt x="122" y="32"/>
                  <a:pt x="124" y="30"/>
                  <a:pt x="126" y="28"/>
                </a:cubicBezTo>
                <a:cubicBezTo>
                  <a:pt x="128" y="26"/>
                  <a:pt x="128" y="24"/>
                  <a:pt x="128" y="22"/>
                </a:cubicBezTo>
                <a:cubicBezTo>
                  <a:pt x="128" y="20"/>
                  <a:pt x="128" y="18"/>
                  <a:pt x="126" y="16"/>
                </a:cubicBezTo>
                <a:cubicBezTo>
                  <a:pt x="124" y="15"/>
                  <a:pt x="122" y="14"/>
                  <a:pt x="119" y="14"/>
                </a:cubicBezTo>
                <a:cubicBezTo>
                  <a:pt x="116" y="14"/>
                  <a:pt x="113" y="15"/>
                  <a:pt x="110" y="18"/>
                </a:cubicBezTo>
                <a:cubicBezTo>
                  <a:pt x="109" y="18"/>
                  <a:pt x="108" y="20"/>
                  <a:pt x="106" y="21"/>
                </a:cubicBezTo>
                <a:cubicBezTo>
                  <a:pt x="97" y="13"/>
                  <a:pt x="97" y="13"/>
                  <a:pt x="97" y="13"/>
                </a:cubicBezTo>
                <a:cubicBezTo>
                  <a:pt x="98" y="10"/>
                  <a:pt x="100" y="8"/>
                  <a:pt x="102" y="6"/>
                </a:cubicBezTo>
                <a:cubicBezTo>
                  <a:pt x="108" y="2"/>
                  <a:pt x="114" y="0"/>
                  <a:pt x="120" y="0"/>
                </a:cubicBezTo>
                <a:cubicBezTo>
                  <a:pt x="127" y="0"/>
                  <a:pt x="133" y="2"/>
                  <a:pt x="137" y="6"/>
                </a:cubicBezTo>
                <a:cubicBezTo>
                  <a:pt x="141" y="10"/>
                  <a:pt x="143" y="15"/>
                  <a:pt x="143" y="21"/>
                </a:cubicBezTo>
                <a:cubicBezTo>
                  <a:pt x="143" y="24"/>
                  <a:pt x="143" y="28"/>
                  <a:pt x="141" y="31"/>
                </a:cubicBezTo>
                <a:cubicBezTo>
                  <a:pt x="140" y="34"/>
                  <a:pt x="138" y="36"/>
                  <a:pt x="135" y="38"/>
                </a:cubicBezTo>
                <a:cubicBezTo>
                  <a:pt x="133" y="40"/>
                  <a:pt x="130" y="42"/>
                  <a:pt x="128" y="43"/>
                </a:cubicBezTo>
                <a:cubicBezTo>
                  <a:pt x="125" y="45"/>
                  <a:pt x="122" y="47"/>
                  <a:pt x="120" y="48"/>
                </a:cubicBezTo>
                <a:cubicBezTo>
                  <a:pt x="117" y="50"/>
                  <a:pt x="115" y="51"/>
                  <a:pt x="114" y="53"/>
                </a:cubicBezTo>
                <a:cubicBezTo>
                  <a:pt x="112" y="55"/>
                  <a:pt x="111" y="57"/>
                  <a:pt x="111" y="59"/>
                </a:cubicBezTo>
                <a:cubicBezTo>
                  <a:pt x="133" y="59"/>
                  <a:pt x="133" y="59"/>
                  <a:pt x="133" y="59"/>
                </a:cubicBezTo>
                <a:cubicBezTo>
                  <a:pt x="133" y="51"/>
                  <a:pt x="133" y="51"/>
                  <a:pt x="133" y="51"/>
                </a:cubicBezTo>
                <a:lnTo>
                  <a:pt x="145" y="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3456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op Counties </a:t>
            </a:r>
            <a:r>
              <a:rPr lang="en-US">
                <a:solidFill>
                  <a:schemeClr val="accent2"/>
                </a:solidFill>
              </a:rPr>
              <a:t>Using Socia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3" name="Group 22"/>
          <p:cNvGrpSpPr/>
          <p:nvPr/>
        </p:nvGrpSpPr>
        <p:grpSpPr>
          <a:xfrm>
            <a:off x="910967" y="1595144"/>
            <a:ext cx="4879560" cy="2721640"/>
            <a:chOff x="4480005" y="1824354"/>
            <a:chExt cx="3928882" cy="2191386"/>
          </a:xfrm>
          <a:solidFill>
            <a:schemeClr val="accent6"/>
          </a:solidFill>
        </p:grpSpPr>
        <p:grpSp>
          <p:nvGrpSpPr>
            <p:cNvPr id="24" name="Group 23"/>
            <p:cNvGrpSpPr/>
            <p:nvPr/>
          </p:nvGrpSpPr>
          <p:grpSpPr>
            <a:xfrm>
              <a:off x="6817428" y="2506050"/>
              <a:ext cx="1436274" cy="896476"/>
              <a:chOff x="6817428" y="2506050"/>
              <a:chExt cx="1436274" cy="896476"/>
            </a:xfrm>
            <a:grpFill/>
          </p:grpSpPr>
          <p:sp>
            <p:nvSpPr>
              <p:cNvPr id="219" name="Freeform 5"/>
              <p:cNvSpPr>
                <a:spLocks noEditPoints="1"/>
              </p:cNvSpPr>
              <p:nvPr/>
            </p:nvSpPr>
            <p:spPr bwMode="auto">
              <a:xfrm>
                <a:off x="7612622" y="3110963"/>
                <a:ext cx="27826" cy="81970"/>
              </a:xfrm>
              <a:custGeom>
                <a:avLst/>
                <a:gdLst/>
                <a:ahLst/>
                <a:cxnLst>
                  <a:cxn ang="0">
                    <a:pos x="20" y="25"/>
                  </a:cxn>
                  <a:cxn ang="0">
                    <a:pos x="16" y="17"/>
                  </a:cxn>
                  <a:cxn ang="0">
                    <a:pos x="21" y="7"/>
                  </a:cxn>
                  <a:cxn ang="0">
                    <a:pos x="21" y="2"/>
                  </a:cxn>
                  <a:cxn ang="0">
                    <a:pos x="15" y="5"/>
                  </a:cxn>
                  <a:cxn ang="0">
                    <a:pos x="15" y="15"/>
                  </a:cxn>
                  <a:cxn ang="0">
                    <a:pos x="13" y="26"/>
                  </a:cxn>
                  <a:cxn ang="0">
                    <a:pos x="15" y="28"/>
                  </a:cxn>
                  <a:cxn ang="0">
                    <a:pos x="16" y="48"/>
                  </a:cxn>
                  <a:cxn ang="0">
                    <a:pos x="13" y="40"/>
                  </a:cxn>
                  <a:cxn ang="0">
                    <a:pos x="18" y="33"/>
                  </a:cxn>
                  <a:cxn ang="0">
                    <a:pos x="11" y="33"/>
                  </a:cxn>
                  <a:cxn ang="0">
                    <a:pos x="10" y="43"/>
                  </a:cxn>
                  <a:cxn ang="0">
                    <a:pos x="11" y="51"/>
                  </a:cxn>
                  <a:cxn ang="0">
                    <a:pos x="11" y="55"/>
                  </a:cxn>
                  <a:cxn ang="0">
                    <a:pos x="5" y="51"/>
                  </a:cxn>
                  <a:cxn ang="0">
                    <a:pos x="0" y="50"/>
                  </a:cxn>
                  <a:cxn ang="0">
                    <a:pos x="8" y="75"/>
                  </a:cxn>
                  <a:cxn ang="0">
                    <a:pos x="15" y="68"/>
                  </a:cxn>
                  <a:cxn ang="0">
                    <a:pos x="8" y="66"/>
                  </a:cxn>
                  <a:cxn ang="0">
                    <a:pos x="8" y="71"/>
                  </a:cxn>
                  <a:cxn ang="0">
                    <a:pos x="8" y="75"/>
                  </a:cxn>
                  <a:cxn ang="0">
                    <a:pos x="18" y="103"/>
                  </a:cxn>
                  <a:cxn ang="0">
                    <a:pos x="21" y="101"/>
                  </a:cxn>
                  <a:cxn ang="0">
                    <a:pos x="28" y="118"/>
                  </a:cxn>
                  <a:cxn ang="0">
                    <a:pos x="33" y="124"/>
                  </a:cxn>
                  <a:cxn ang="0">
                    <a:pos x="30" y="121"/>
                  </a:cxn>
                  <a:cxn ang="0">
                    <a:pos x="28" y="118"/>
                  </a:cxn>
                  <a:cxn ang="0">
                    <a:pos x="38" y="124"/>
                  </a:cxn>
                  <a:cxn ang="0">
                    <a:pos x="43" y="126"/>
                  </a:cxn>
                  <a:cxn ang="0">
                    <a:pos x="41" y="121"/>
                  </a:cxn>
                  <a:cxn ang="0">
                    <a:pos x="35" y="133"/>
                  </a:cxn>
                  <a:cxn ang="0">
                    <a:pos x="40" y="133"/>
                  </a:cxn>
                  <a:cxn ang="0">
                    <a:pos x="33" y="129"/>
                  </a:cxn>
                  <a:cxn ang="0">
                    <a:pos x="35" y="133"/>
                  </a:cxn>
                  <a:cxn ang="0">
                    <a:pos x="46" y="139"/>
                  </a:cxn>
                  <a:cxn ang="0">
                    <a:pos x="41" y="143"/>
                  </a:cxn>
                  <a:cxn ang="0">
                    <a:pos x="43" y="144"/>
                  </a:cxn>
                  <a:cxn ang="0">
                    <a:pos x="43" y="148"/>
                  </a:cxn>
                  <a:cxn ang="0">
                    <a:pos x="43" y="153"/>
                  </a:cxn>
                  <a:cxn ang="0">
                    <a:pos x="46" y="154"/>
                  </a:cxn>
                  <a:cxn ang="0">
                    <a:pos x="51" y="156"/>
                  </a:cxn>
                  <a:cxn ang="0">
                    <a:pos x="49" y="148"/>
                  </a:cxn>
                </a:cxnLst>
                <a:rect l="0" t="0" r="r" b="b"/>
                <a:pathLst>
                  <a:path w="51" h="158">
                    <a:moveTo>
                      <a:pt x="15" y="28"/>
                    </a:moveTo>
                    <a:lnTo>
                      <a:pt x="20" y="25"/>
                    </a:lnTo>
                    <a:lnTo>
                      <a:pt x="20" y="18"/>
                    </a:lnTo>
                    <a:lnTo>
                      <a:pt x="16" y="17"/>
                    </a:lnTo>
                    <a:lnTo>
                      <a:pt x="21" y="12"/>
                    </a:lnTo>
                    <a:lnTo>
                      <a:pt x="21" y="7"/>
                    </a:lnTo>
                    <a:lnTo>
                      <a:pt x="20" y="7"/>
                    </a:lnTo>
                    <a:lnTo>
                      <a:pt x="21" y="2"/>
                    </a:lnTo>
                    <a:lnTo>
                      <a:pt x="20" y="0"/>
                    </a:lnTo>
                    <a:lnTo>
                      <a:pt x="15" y="5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3" y="26"/>
                    </a:lnTo>
                    <a:lnTo>
                      <a:pt x="15" y="28"/>
                    </a:lnTo>
                    <a:lnTo>
                      <a:pt x="15" y="28"/>
                    </a:lnTo>
                    <a:close/>
                    <a:moveTo>
                      <a:pt x="11" y="55"/>
                    </a:moveTo>
                    <a:lnTo>
                      <a:pt x="16" y="48"/>
                    </a:lnTo>
                    <a:lnTo>
                      <a:pt x="15" y="43"/>
                    </a:lnTo>
                    <a:lnTo>
                      <a:pt x="13" y="40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1"/>
                    </a:lnTo>
                    <a:lnTo>
                      <a:pt x="11" y="33"/>
                    </a:lnTo>
                    <a:lnTo>
                      <a:pt x="11" y="40"/>
                    </a:lnTo>
                    <a:lnTo>
                      <a:pt x="10" y="43"/>
                    </a:lnTo>
                    <a:lnTo>
                      <a:pt x="11" y="48"/>
                    </a:lnTo>
                    <a:lnTo>
                      <a:pt x="11" y="51"/>
                    </a:lnTo>
                    <a:lnTo>
                      <a:pt x="11" y="55"/>
                    </a:lnTo>
                    <a:lnTo>
                      <a:pt x="11" y="55"/>
                    </a:lnTo>
                    <a:close/>
                    <a:moveTo>
                      <a:pt x="0" y="50"/>
                    </a:moveTo>
                    <a:lnTo>
                      <a:pt x="5" y="51"/>
                    </a:lnTo>
                    <a:lnTo>
                      <a:pt x="3" y="48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  <a:moveTo>
                      <a:pt x="8" y="75"/>
                    </a:moveTo>
                    <a:lnTo>
                      <a:pt x="13" y="75"/>
                    </a:lnTo>
                    <a:lnTo>
                      <a:pt x="15" y="68"/>
                    </a:lnTo>
                    <a:lnTo>
                      <a:pt x="13" y="63"/>
                    </a:lnTo>
                    <a:lnTo>
                      <a:pt x="8" y="66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8" y="75"/>
                    </a:lnTo>
                    <a:lnTo>
                      <a:pt x="8" y="75"/>
                    </a:lnTo>
                    <a:close/>
                    <a:moveTo>
                      <a:pt x="21" y="101"/>
                    </a:moveTo>
                    <a:lnTo>
                      <a:pt x="18" y="103"/>
                    </a:lnTo>
                    <a:lnTo>
                      <a:pt x="20" y="105"/>
                    </a:lnTo>
                    <a:lnTo>
                      <a:pt x="21" y="101"/>
                    </a:lnTo>
                    <a:lnTo>
                      <a:pt x="21" y="101"/>
                    </a:lnTo>
                    <a:close/>
                    <a:moveTo>
                      <a:pt x="28" y="118"/>
                    </a:moveTo>
                    <a:lnTo>
                      <a:pt x="31" y="120"/>
                    </a:lnTo>
                    <a:lnTo>
                      <a:pt x="33" y="124"/>
                    </a:lnTo>
                    <a:lnTo>
                      <a:pt x="30" y="121"/>
                    </a:lnTo>
                    <a:lnTo>
                      <a:pt x="30" y="121"/>
                    </a:lnTo>
                    <a:lnTo>
                      <a:pt x="28" y="118"/>
                    </a:lnTo>
                    <a:lnTo>
                      <a:pt x="28" y="118"/>
                    </a:lnTo>
                    <a:close/>
                    <a:moveTo>
                      <a:pt x="41" y="121"/>
                    </a:moveTo>
                    <a:lnTo>
                      <a:pt x="38" y="124"/>
                    </a:lnTo>
                    <a:lnTo>
                      <a:pt x="41" y="128"/>
                    </a:lnTo>
                    <a:lnTo>
                      <a:pt x="43" y="126"/>
                    </a:lnTo>
                    <a:lnTo>
                      <a:pt x="43" y="123"/>
                    </a:lnTo>
                    <a:lnTo>
                      <a:pt x="41" y="121"/>
                    </a:lnTo>
                    <a:lnTo>
                      <a:pt x="41" y="121"/>
                    </a:lnTo>
                    <a:close/>
                    <a:moveTo>
                      <a:pt x="35" y="133"/>
                    </a:moveTo>
                    <a:lnTo>
                      <a:pt x="38" y="134"/>
                    </a:lnTo>
                    <a:lnTo>
                      <a:pt x="40" y="133"/>
                    </a:lnTo>
                    <a:lnTo>
                      <a:pt x="38" y="129"/>
                    </a:lnTo>
                    <a:lnTo>
                      <a:pt x="33" y="129"/>
                    </a:lnTo>
                    <a:lnTo>
                      <a:pt x="35" y="133"/>
                    </a:lnTo>
                    <a:lnTo>
                      <a:pt x="35" y="133"/>
                    </a:lnTo>
                    <a:close/>
                    <a:moveTo>
                      <a:pt x="43" y="144"/>
                    </a:moveTo>
                    <a:lnTo>
                      <a:pt x="46" y="139"/>
                    </a:lnTo>
                    <a:lnTo>
                      <a:pt x="45" y="139"/>
                    </a:lnTo>
                    <a:lnTo>
                      <a:pt x="41" y="143"/>
                    </a:lnTo>
                    <a:lnTo>
                      <a:pt x="43" y="144"/>
                    </a:lnTo>
                    <a:lnTo>
                      <a:pt x="43" y="144"/>
                    </a:lnTo>
                    <a:close/>
                    <a:moveTo>
                      <a:pt x="46" y="144"/>
                    </a:moveTo>
                    <a:lnTo>
                      <a:pt x="43" y="148"/>
                    </a:lnTo>
                    <a:lnTo>
                      <a:pt x="43" y="153"/>
                    </a:lnTo>
                    <a:lnTo>
                      <a:pt x="43" y="153"/>
                    </a:lnTo>
                    <a:lnTo>
                      <a:pt x="46" y="154"/>
                    </a:lnTo>
                    <a:lnTo>
                      <a:pt x="46" y="154"/>
                    </a:lnTo>
                    <a:lnTo>
                      <a:pt x="48" y="158"/>
                    </a:lnTo>
                    <a:lnTo>
                      <a:pt x="51" y="156"/>
                    </a:lnTo>
                    <a:lnTo>
                      <a:pt x="49" y="151"/>
                    </a:lnTo>
                    <a:lnTo>
                      <a:pt x="49" y="148"/>
                    </a:lnTo>
                    <a:lnTo>
                      <a:pt x="46" y="1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0" name="Freeform 7"/>
              <p:cNvSpPr>
                <a:spLocks noEditPoints="1"/>
              </p:cNvSpPr>
              <p:nvPr/>
            </p:nvSpPr>
            <p:spPr bwMode="auto">
              <a:xfrm>
                <a:off x="8006474" y="2629522"/>
                <a:ext cx="205488" cy="344479"/>
              </a:xfrm>
              <a:custGeom>
                <a:avLst/>
                <a:gdLst/>
                <a:ahLst/>
                <a:cxnLst>
                  <a:cxn ang="0">
                    <a:pos x="161" y="318"/>
                  </a:cxn>
                  <a:cxn ang="0">
                    <a:pos x="240" y="120"/>
                  </a:cxn>
                  <a:cxn ang="0">
                    <a:pos x="264" y="135"/>
                  </a:cxn>
                  <a:cxn ang="0">
                    <a:pos x="254" y="95"/>
                  </a:cxn>
                  <a:cxn ang="0">
                    <a:pos x="265" y="78"/>
                  </a:cxn>
                  <a:cxn ang="0">
                    <a:pos x="275" y="55"/>
                  </a:cxn>
                  <a:cxn ang="0">
                    <a:pos x="262" y="5"/>
                  </a:cxn>
                  <a:cxn ang="0">
                    <a:pos x="313" y="34"/>
                  </a:cxn>
                  <a:cxn ang="0">
                    <a:pos x="360" y="32"/>
                  </a:cxn>
                  <a:cxn ang="0">
                    <a:pos x="377" y="62"/>
                  </a:cxn>
                  <a:cxn ang="0">
                    <a:pos x="363" y="75"/>
                  </a:cxn>
                  <a:cxn ang="0">
                    <a:pos x="337" y="115"/>
                  </a:cxn>
                  <a:cxn ang="0">
                    <a:pos x="285" y="98"/>
                  </a:cxn>
                  <a:cxn ang="0">
                    <a:pos x="287" y="120"/>
                  </a:cxn>
                  <a:cxn ang="0">
                    <a:pos x="270" y="142"/>
                  </a:cxn>
                  <a:cxn ang="0">
                    <a:pos x="267" y="253"/>
                  </a:cxn>
                  <a:cxn ang="0">
                    <a:pos x="84" y="411"/>
                  </a:cxn>
                  <a:cxn ang="0">
                    <a:pos x="79" y="416"/>
                  </a:cxn>
                  <a:cxn ang="0">
                    <a:pos x="78" y="424"/>
                  </a:cxn>
                  <a:cxn ang="0">
                    <a:pos x="111" y="432"/>
                  </a:cxn>
                  <a:cxn ang="0">
                    <a:pos x="107" y="437"/>
                  </a:cxn>
                  <a:cxn ang="0">
                    <a:pos x="212" y="367"/>
                  </a:cxn>
                  <a:cxn ang="0">
                    <a:pos x="191" y="371"/>
                  </a:cxn>
                  <a:cxn ang="0">
                    <a:pos x="184" y="396"/>
                  </a:cxn>
                  <a:cxn ang="0">
                    <a:pos x="202" y="376"/>
                  </a:cxn>
                  <a:cxn ang="0">
                    <a:pos x="166" y="381"/>
                  </a:cxn>
                  <a:cxn ang="0">
                    <a:pos x="169" y="417"/>
                  </a:cxn>
                  <a:cxn ang="0">
                    <a:pos x="142" y="485"/>
                  </a:cxn>
                  <a:cxn ang="0">
                    <a:pos x="137" y="462"/>
                  </a:cxn>
                  <a:cxn ang="0">
                    <a:pos x="152" y="419"/>
                  </a:cxn>
                  <a:cxn ang="0">
                    <a:pos x="139" y="394"/>
                  </a:cxn>
                  <a:cxn ang="0">
                    <a:pos x="149" y="386"/>
                  </a:cxn>
                  <a:cxn ang="0">
                    <a:pos x="182" y="371"/>
                  </a:cxn>
                  <a:cxn ang="0">
                    <a:pos x="219" y="363"/>
                  </a:cxn>
                  <a:cxn ang="0">
                    <a:pos x="237" y="394"/>
                  </a:cxn>
                  <a:cxn ang="0">
                    <a:pos x="254" y="363"/>
                  </a:cxn>
                  <a:cxn ang="0">
                    <a:pos x="259" y="354"/>
                  </a:cxn>
                  <a:cxn ang="0">
                    <a:pos x="290" y="356"/>
                  </a:cxn>
                  <a:cxn ang="0">
                    <a:pos x="304" y="343"/>
                  </a:cxn>
                  <a:cxn ang="0">
                    <a:pos x="318" y="334"/>
                  </a:cxn>
                  <a:cxn ang="0">
                    <a:pos x="338" y="319"/>
                  </a:cxn>
                  <a:cxn ang="0">
                    <a:pos x="333" y="236"/>
                  </a:cxn>
                  <a:cxn ang="0">
                    <a:pos x="335" y="211"/>
                  </a:cxn>
                  <a:cxn ang="0">
                    <a:pos x="307" y="158"/>
                  </a:cxn>
                  <a:cxn ang="0">
                    <a:pos x="287" y="143"/>
                  </a:cxn>
                  <a:cxn ang="0">
                    <a:pos x="289" y="160"/>
                  </a:cxn>
                  <a:cxn ang="0">
                    <a:pos x="272" y="167"/>
                  </a:cxn>
                  <a:cxn ang="0">
                    <a:pos x="285" y="196"/>
                  </a:cxn>
                  <a:cxn ang="0">
                    <a:pos x="270" y="276"/>
                  </a:cxn>
                  <a:cxn ang="0">
                    <a:pos x="242" y="271"/>
                  </a:cxn>
                  <a:cxn ang="0">
                    <a:pos x="222" y="311"/>
                  </a:cxn>
                  <a:cxn ang="0">
                    <a:pos x="210" y="334"/>
                  </a:cxn>
                  <a:cxn ang="0">
                    <a:pos x="166" y="338"/>
                  </a:cxn>
                  <a:cxn ang="0">
                    <a:pos x="124" y="372"/>
                  </a:cxn>
                  <a:cxn ang="0">
                    <a:pos x="101" y="402"/>
                  </a:cxn>
                  <a:cxn ang="0">
                    <a:pos x="94" y="416"/>
                  </a:cxn>
                  <a:cxn ang="0">
                    <a:pos x="111" y="424"/>
                  </a:cxn>
                  <a:cxn ang="0">
                    <a:pos x="116" y="424"/>
                  </a:cxn>
                  <a:cxn ang="0">
                    <a:pos x="124" y="469"/>
                  </a:cxn>
                  <a:cxn ang="0">
                    <a:pos x="134" y="467"/>
                  </a:cxn>
                </a:cxnLst>
                <a:rect l="0" t="0" r="r" b="b"/>
                <a:pathLst>
                  <a:path w="383" h="665">
                    <a:moveTo>
                      <a:pt x="152" y="319"/>
                    </a:moveTo>
                    <a:lnTo>
                      <a:pt x="156" y="321"/>
                    </a:lnTo>
                    <a:lnTo>
                      <a:pt x="154" y="323"/>
                    </a:lnTo>
                    <a:lnTo>
                      <a:pt x="152" y="323"/>
                    </a:lnTo>
                    <a:lnTo>
                      <a:pt x="152" y="319"/>
                    </a:lnTo>
                    <a:lnTo>
                      <a:pt x="152" y="319"/>
                    </a:lnTo>
                    <a:close/>
                    <a:moveTo>
                      <a:pt x="157" y="319"/>
                    </a:moveTo>
                    <a:lnTo>
                      <a:pt x="156" y="318"/>
                    </a:lnTo>
                    <a:lnTo>
                      <a:pt x="157" y="316"/>
                    </a:lnTo>
                    <a:lnTo>
                      <a:pt x="161" y="314"/>
                    </a:lnTo>
                    <a:lnTo>
                      <a:pt x="161" y="318"/>
                    </a:lnTo>
                    <a:lnTo>
                      <a:pt x="159" y="319"/>
                    </a:lnTo>
                    <a:lnTo>
                      <a:pt x="157" y="319"/>
                    </a:lnTo>
                    <a:lnTo>
                      <a:pt x="157" y="319"/>
                    </a:lnTo>
                    <a:close/>
                    <a:moveTo>
                      <a:pt x="5" y="665"/>
                    </a:moveTo>
                    <a:lnTo>
                      <a:pt x="5" y="661"/>
                    </a:lnTo>
                    <a:lnTo>
                      <a:pt x="1" y="661"/>
                    </a:lnTo>
                    <a:lnTo>
                      <a:pt x="0" y="665"/>
                    </a:lnTo>
                    <a:lnTo>
                      <a:pt x="3" y="665"/>
                    </a:lnTo>
                    <a:lnTo>
                      <a:pt x="5" y="665"/>
                    </a:lnTo>
                    <a:lnTo>
                      <a:pt x="5" y="665"/>
                    </a:lnTo>
                    <a:close/>
                    <a:moveTo>
                      <a:pt x="240" y="120"/>
                    </a:moveTo>
                    <a:lnTo>
                      <a:pt x="239" y="117"/>
                    </a:lnTo>
                    <a:lnTo>
                      <a:pt x="239" y="113"/>
                    </a:lnTo>
                    <a:lnTo>
                      <a:pt x="242" y="112"/>
                    </a:lnTo>
                    <a:lnTo>
                      <a:pt x="245" y="110"/>
                    </a:lnTo>
                    <a:lnTo>
                      <a:pt x="244" y="113"/>
                    </a:lnTo>
                    <a:lnTo>
                      <a:pt x="244" y="118"/>
                    </a:lnTo>
                    <a:lnTo>
                      <a:pt x="240" y="120"/>
                    </a:lnTo>
                    <a:lnTo>
                      <a:pt x="240" y="120"/>
                    </a:lnTo>
                    <a:close/>
                    <a:moveTo>
                      <a:pt x="270" y="142"/>
                    </a:moveTo>
                    <a:lnTo>
                      <a:pt x="267" y="138"/>
                    </a:lnTo>
                    <a:lnTo>
                      <a:pt x="264" y="135"/>
                    </a:lnTo>
                    <a:lnTo>
                      <a:pt x="265" y="135"/>
                    </a:lnTo>
                    <a:lnTo>
                      <a:pt x="264" y="127"/>
                    </a:lnTo>
                    <a:lnTo>
                      <a:pt x="262" y="118"/>
                    </a:lnTo>
                    <a:lnTo>
                      <a:pt x="257" y="117"/>
                    </a:lnTo>
                    <a:lnTo>
                      <a:pt x="254" y="113"/>
                    </a:lnTo>
                    <a:lnTo>
                      <a:pt x="250" y="113"/>
                    </a:lnTo>
                    <a:lnTo>
                      <a:pt x="250" y="110"/>
                    </a:lnTo>
                    <a:lnTo>
                      <a:pt x="250" y="105"/>
                    </a:lnTo>
                    <a:lnTo>
                      <a:pt x="249" y="100"/>
                    </a:lnTo>
                    <a:lnTo>
                      <a:pt x="252" y="97"/>
                    </a:lnTo>
                    <a:lnTo>
                      <a:pt x="254" y="95"/>
                    </a:lnTo>
                    <a:lnTo>
                      <a:pt x="255" y="93"/>
                    </a:lnTo>
                    <a:lnTo>
                      <a:pt x="259" y="92"/>
                    </a:lnTo>
                    <a:lnTo>
                      <a:pt x="260" y="88"/>
                    </a:lnTo>
                    <a:lnTo>
                      <a:pt x="262" y="87"/>
                    </a:lnTo>
                    <a:lnTo>
                      <a:pt x="262" y="83"/>
                    </a:lnTo>
                    <a:lnTo>
                      <a:pt x="257" y="80"/>
                    </a:lnTo>
                    <a:lnTo>
                      <a:pt x="255" y="80"/>
                    </a:lnTo>
                    <a:lnTo>
                      <a:pt x="254" y="78"/>
                    </a:lnTo>
                    <a:lnTo>
                      <a:pt x="255" y="75"/>
                    </a:lnTo>
                    <a:lnTo>
                      <a:pt x="259" y="75"/>
                    </a:lnTo>
                    <a:lnTo>
                      <a:pt x="265" y="78"/>
                    </a:lnTo>
                    <a:lnTo>
                      <a:pt x="274" y="80"/>
                    </a:lnTo>
                    <a:lnTo>
                      <a:pt x="277" y="78"/>
                    </a:lnTo>
                    <a:lnTo>
                      <a:pt x="277" y="75"/>
                    </a:lnTo>
                    <a:lnTo>
                      <a:pt x="279" y="73"/>
                    </a:lnTo>
                    <a:lnTo>
                      <a:pt x="277" y="70"/>
                    </a:lnTo>
                    <a:lnTo>
                      <a:pt x="275" y="69"/>
                    </a:lnTo>
                    <a:lnTo>
                      <a:pt x="274" y="67"/>
                    </a:lnTo>
                    <a:lnTo>
                      <a:pt x="272" y="64"/>
                    </a:lnTo>
                    <a:lnTo>
                      <a:pt x="270" y="59"/>
                    </a:lnTo>
                    <a:lnTo>
                      <a:pt x="274" y="55"/>
                    </a:lnTo>
                    <a:lnTo>
                      <a:pt x="275" y="55"/>
                    </a:lnTo>
                    <a:lnTo>
                      <a:pt x="277" y="54"/>
                    </a:lnTo>
                    <a:lnTo>
                      <a:pt x="275" y="49"/>
                    </a:lnTo>
                    <a:lnTo>
                      <a:pt x="272" y="42"/>
                    </a:lnTo>
                    <a:lnTo>
                      <a:pt x="274" y="39"/>
                    </a:lnTo>
                    <a:lnTo>
                      <a:pt x="272" y="30"/>
                    </a:lnTo>
                    <a:lnTo>
                      <a:pt x="270" y="25"/>
                    </a:lnTo>
                    <a:lnTo>
                      <a:pt x="262" y="14"/>
                    </a:lnTo>
                    <a:lnTo>
                      <a:pt x="260" y="9"/>
                    </a:lnTo>
                    <a:lnTo>
                      <a:pt x="259" y="7"/>
                    </a:lnTo>
                    <a:lnTo>
                      <a:pt x="260" y="5"/>
                    </a:lnTo>
                    <a:lnTo>
                      <a:pt x="262" y="5"/>
                    </a:lnTo>
                    <a:lnTo>
                      <a:pt x="265" y="2"/>
                    </a:lnTo>
                    <a:lnTo>
                      <a:pt x="264" y="0"/>
                    </a:lnTo>
                    <a:lnTo>
                      <a:pt x="269" y="0"/>
                    </a:lnTo>
                    <a:lnTo>
                      <a:pt x="272" y="4"/>
                    </a:lnTo>
                    <a:lnTo>
                      <a:pt x="279" y="9"/>
                    </a:lnTo>
                    <a:lnTo>
                      <a:pt x="285" y="10"/>
                    </a:lnTo>
                    <a:lnTo>
                      <a:pt x="289" y="17"/>
                    </a:lnTo>
                    <a:lnTo>
                      <a:pt x="300" y="27"/>
                    </a:lnTo>
                    <a:lnTo>
                      <a:pt x="307" y="30"/>
                    </a:lnTo>
                    <a:lnTo>
                      <a:pt x="308" y="34"/>
                    </a:lnTo>
                    <a:lnTo>
                      <a:pt x="313" y="34"/>
                    </a:lnTo>
                    <a:lnTo>
                      <a:pt x="317" y="39"/>
                    </a:lnTo>
                    <a:lnTo>
                      <a:pt x="323" y="42"/>
                    </a:lnTo>
                    <a:lnTo>
                      <a:pt x="330" y="42"/>
                    </a:lnTo>
                    <a:lnTo>
                      <a:pt x="335" y="47"/>
                    </a:lnTo>
                    <a:lnTo>
                      <a:pt x="338" y="45"/>
                    </a:lnTo>
                    <a:lnTo>
                      <a:pt x="340" y="47"/>
                    </a:lnTo>
                    <a:lnTo>
                      <a:pt x="347" y="45"/>
                    </a:lnTo>
                    <a:lnTo>
                      <a:pt x="353" y="42"/>
                    </a:lnTo>
                    <a:lnTo>
                      <a:pt x="358" y="37"/>
                    </a:lnTo>
                    <a:lnTo>
                      <a:pt x="358" y="32"/>
                    </a:lnTo>
                    <a:lnTo>
                      <a:pt x="360" y="32"/>
                    </a:lnTo>
                    <a:lnTo>
                      <a:pt x="362" y="34"/>
                    </a:lnTo>
                    <a:lnTo>
                      <a:pt x="362" y="37"/>
                    </a:lnTo>
                    <a:lnTo>
                      <a:pt x="358" y="44"/>
                    </a:lnTo>
                    <a:lnTo>
                      <a:pt x="358" y="49"/>
                    </a:lnTo>
                    <a:lnTo>
                      <a:pt x="360" y="52"/>
                    </a:lnTo>
                    <a:lnTo>
                      <a:pt x="367" y="55"/>
                    </a:lnTo>
                    <a:lnTo>
                      <a:pt x="370" y="59"/>
                    </a:lnTo>
                    <a:lnTo>
                      <a:pt x="370" y="62"/>
                    </a:lnTo>
                    <a:lnTo>
                      <a:pt x="370" y="65"/>
                    </a:lnTo>
                    <a:lnTo>
                      <a:pt x="373" y="65"/>
                    </a:lnTo>
                    <a:lnTo>
                      <a:pt x="377" y="62"/>
                    </a:lnTo>
                    <a:lnTo>
                      <a:pt x="380" y="59"/>
                    </a:lnTo>
                    <a:lnTo>
                      <a:pt x="383" y="59"/>
                    </a:lnTo>
                    <a:lnTo>
                      <a:pt x="382" y="62"/>
                    </a:lnTo>
                    <a:lnTo>
                      <a:pt x="378" y="62"/>
                    </a:lnTo>
                    <a:lnTo>
                      <a:pt x="378" y="67"/>
                    </a:lnTo>
                    <a:lnTo>
                      <a:pt x="375" y="69"/>
                    </a:lnTo>
                    <a:lnTo>
                      <a:pt x="372" y="70"/>
                    </a:lnTo>
                    <a:lnTo>
                      <a:pt x="370" y="73"/>
                    </a:lnTo>
                    <a:lnTo>
                      <a:pt x="368" y="77"/>
                    </a:lnTo>
                    <a:lnTo>
                      <a:pt x="365" y="77"/>
                    </a:lnTo>
                    <a:lnTo>
                      <a:pt x="363" y="75"/>
                    </a:lnTo>
                    <a:lnTo>
                      <a:pt x="360" y="77"/>
                    </a:lnTo>
                    <a:lnTo>
                      <a:pt x="360" y="80"/>
                    </a:lnTo>
                    <a:lnTo>
                      <a:pt x="355" y="80"/>
                    </a:lnTo>
                    <a:lnTo>
                      <a:pt x="350" y="78"/>
                    </a:lnTo>
                    <a:lnTo>
                      <a:pt x="345" y="80"/>
                    </a:lnTo>
                    <a:lnTo>
                      <a:pt x="338" y="88"/>
                    </a:lnTo>
                    <a:lnTo>
                      <a:pt x="337" y="97"/>
                    </a:lnTo>
                    <a:lnTo>
                      <a:pt x="335" y="103"/>
                    </a:lnTo>
                    <a:lnTo>
                      <a:pt x="337" y="108"/>
                    </a:lnTo>
                    <a:lnTo>
                      <a:pt x="337" y="112"/>
                    </a:lnTo>
                    <a:lnTo>
                      <a:pt x="337" y="115"/>
                    </a:lnTo>
                    <a:lnTo>
                      <a:pt x="332" y="113"/>
                    </a:lnTo>
                    <a:lnTo>
                      <a:pt x="330" y="112"/>
                    </a:lnTo>
                    <a:lnTo>
                      <a:pt x="322" y="110"/>
                    </a:lnTo>
                    <a:lnTo>
                      <a:pt x="315" y="107"/>
                    </a:lnTo>
                    <a:lnTo>
                      <a:pt x="308" y="100"/>
                    </a:lnTo>
                    <a:lnTo>
                      <a:pt x="305" y="97"/>
                    </a:lnTo>
                    <a:lnTo>
                      <a:pt x="300" y="97"/>
                    </a:lnTo>
                    <a:lnTo>
                      <a:pt x="297" y="97"/>
                    </a:lnTo>
                    <a:lnTo>
                      <a:pt x="295" y="95"/>
                    </a:lnTo>
                    <a:lnTo>
                      <a:pt x="290" y="95"/>
                    </a:lnTo>
                    <a:lnTo>
                      <a:pt x="285" y="98"/>
                    </a:lnTo>
                    <a:lnTo>
                      <a:pt x="279" y="105"/>
                    </a:lnTo>
                    <a:lnTo>
                      <a:pt x="277" y="103"/>
                    </a:lnTo>
                    <a:lnTo>
                      <a:pt x="270" y="100"/>
                    </a:lnTo>
                    <a:lnTo>
                      <a:pt x="267" y="100"/>
                    </a:lnTo>
                    <a:lnTo>
                      <a:pt x="264" y="103"/>
                    </a:lnTo>
                    <a:lnTo>
                      <a:pt x="264" y="107"/>
                    </a:lnTo>
                    <a:lnTo>
                      <a:pt x="265" y="110"/>
                    </a:lnTo>
                    <a:lnTo>
                      <a:pt x="270" y="113"/>
                    </a:lnTo>
                    <a:lnTo>
                      <a:pt x="275" y="112"/>
                    </a:lnTo>
                    <a:lnTo>
                      <a:pt x="282" y="118"/>
                    </a:lnTo>
                    <a:lnTo>
                      <a:pt x="287" y="120"/>
                    </a:lnTo>
                    <a:lnTo>
                      <a:pt x="292" y="120"/>
                    </a:lnTo>
                    <a:lnTo>
                      <a:pt x="295" y="122"/>
                    </a:lnTo>
                    <a:lnTo>
                      <a:pt x="290" y="127"/>
                    </a:lnTo>
                    <a:lnTo>
                      <a:pt x="290" y="130"/>
                    </a:lnTo>
                    <a:lnTo>
                      <a:pt x="287" y="127"/>
                    </a:lnTo>
                    <a:lnTo>
                      <a:pt x="280" y="127"/>
                    </a:lnTo>
                    <a:lnTo>
                      <a:pt x="277" y="128"/>
                    </a:lnTo>
                    <a:lnTo>
                      <a:pt x="279" y="132"/>
                    </a:lnTo>
                    <a:lnTo>
                      <a:pt x="275" y="135"/>
                    </a:lnTo>
                    <a:lnTo>
                      <a:pt x="270" y="142"/>
                    </a:lnTo>
                    <a:lnTo>
                      <a:pt x="270" y="142"/>
                    </a:lnTo>
                    <a:close/>
                    <a:moveTo>
                      <a:pt x="262" y="263"/>
                    </a:moveTo>
                    <a:lnTo>
                      <a:pt x="262" y="258"/>
                    </a:lnTo>
                    <a:lnTo>
                      <a:pt x="264" y="256"/>
                    </a:lnTo>
                    <a:lnTo>
                      <a:pt x="264" y="255"/>
                    </a:lnTo>
                    <a:lnTo>
                      <a:pt x="260" y="256"/>
                    </a:lnTo>
                    <a:lnTo>
                      <a:pt x="260" y="255"/>
                    </a:lnTo>
                    <a:lnTo>
                      <a:pt x="262" y="246"/>
                    </a:lnTo>
                    <a:lnTo>
                      <a:pt x="264" y="245"/>
                    </a:lnTo>
                    <a:lnTo>
                      <a:pt x="264" y="248"/>
                    </a:lnTo>
                    <a:lnTo>
                      <a:pt x="264" y="251"/>
                    </a:lnTo>
                    <a:lnTo>
                      <a:pt x="267" y="253"/>
                    </a:lnTo>
                    <a:lnTo>
                      <a:pt x="269" y="255"/>
                    </a:lnTo>
                    <a:lnTo>
                      <a:pt x="267" y="260"/>
                    </a:lnTo>
                    <a:lnTo>
                      <a:pt x="264" y="261"/>
                    </a:lnTo>
                    <a:lnTo>
                      <a:pt x="262" y="263"/>
                    </a:lnTo>
                    <a:lnTo>
                      <a:pt x="262" y="263"/>
                    </a:lnTo>
                    <a:close/>
                    <a:moveTo>
                      <a:pt x="84" y="411"/>
                    </a:moveTo>
                    <a:lnTo>
                      <a:pt x="86" y="412"/>
                    </a:lnTo>
                    <a:lnTo>
                      <a:pt x="88" y="412"/>
                    </a:lnTo>
                    <a:lnTo>
                      <a:pt x="86" y="409"/>
                    </a:lnTo>
                    <a:lnTo>
                      <a:pt x="84" y="409"/>
                    </a:lnTo>
                    <a:lnTo>
                      <a:pt x="84" y="411"/>
                    </a:lnTo>
                    <a:lnTo>
                      <a:pt x="84" y="411"/>
                    </a:lnTo>
                    <a:close/>
                    <a:moveTo>
                      <a:pt x="83" y="414"/>
                    </a:moveTo>
                    <a:lnTo>
                      <a:pt x="84" y="414"/>
                    </a:lnTo>
                    <a:lnTo>
                      <a:pt x="84" y="414"/>
                    </a:lnTo>
                    <a:lnTo>
                      <a:pt x="83" y="414"/>
                    </a:lnTo>
                    <a:lnTo>
                      <a:pt x="83" y="414"/>
                    </a:lnTo>
                    <a:close/>
                    <a:moveTo>
                      <a:pt x="79" y="416"/>
                    </a:moveTo>
                    <a:lnTo>
                      <a:pt x="83" y="417"/>
                    </a:lnTo>
                    <a:lnTo>
                      <a:pt x="83" y="416"/>
                    </a:lnTo>
                    <a:lnTo>
                      <a:pt x="79" y="416"/>
                    </a:lnTo>
                    <a:lnTo>
                      <a:pt x="79" y="416"/>
                    </a:lnTo>
                    <a:close/>
                    <a:moveTo>
                      <a:pt x="78" y="419"/>
                    </a:moveTo>
                    <a:lnTo>
                      <a:pt x="78" y="421"/>
                    </a:lnTo>
                    <a:lnTo>
                      <a:pt x="81" y="419"/>
                    </a:lnTo>
                    <a:lnTo>
                      <a:pt x="78" y="419"/>
                    </a:lnTo>
                    <a:lnTo>
                      <a:pt x="78" y="419"/>
                    </a:lnTo>
                    <a:close/>
                    <a:moveTo>
                      <a:pt x="73" y="429"/>
                    </a:moveTo>
                    <a:lnTo>
                      <a:pt x="71" y="424"/>
                    </a:lnTo>
                    <a:lnTo>
                      <a:pt x="73" y="422"/>
                    </a:lnTo>
                    <a:lnTo>
                      <a:pt x="74" y="421"/>
                    </a:lnTo>
                    <a:lnTo>
                      <a:pt x="74" y="424"/>
                    </a:lnTo>
                    <a:lnTo>
                      <a:pt x="78" y="424"/>
                    </a:lnTo>
                    <a:lnTo>
                      <a:pt x="79" y="427"/>
                    </a:lnTo>
                    <a:lnTo>
                      <a:pt x="76" y="429"/>
                    </a:lnTo>
                    <a:lnTo>
                      <a:pt x="73" y="429"/>
                    </a:lnTo>
                    <a:lnTo>
                      <a:pt x="73" y="429"/>
                    </a:lnTo>
                    <a:close/>
                    <a:moveTo>
                      <a:pt x="111" y="432"/>
                    </a:moveTo>
                    <a:lnTo>
                      <a:pt x="109" y="429"/>
                    </a:lnTo>
                    <a:lnTo>
                      <a:pt x="111" y="429"/>
                    </a:lnTo>
                    <a:lnTo>
                      <a:pt x="112" y="429"/>
                    </a:lnTo>
                    <a:lnTo>
                      <a:pt x="112" y="432"/>
                    </a:lnTo>
                    <a:lnTo>
                      <a:pt x="111" y="432"/>
                    </a:lnTo>
                    <a:lnTo>
                      <a:pt x="111" y="432"/>
                    </a:lnTo>
                    <a:close/>
                    <a:moveTo>
                      <a:pt x="106" y="439"/>
                    </a:moveTo>
                    <a:lnTo>
                      <a:pt x="107" y="437"/>
                    </a:lnTo>
                    <a:lnTo>
                      <a:pt x="109" y="437"/>
                    </a:lnTo>
                    <a:lnTo>
                      <a:pt x="107" y="441"/>
                    </a:lnTo>
                    <a:lnTo>
                      <a:pt x="106" y="439"/>
                    </a:lnTo>
                    <a:lnTo>
                      <a:pt x="106" y="439"/>
                    </a:lnTo>
                    <a:close/>
                    <a:moveTo>
                      <a:pt x="104" y="427"/>
                    </a:moveTo>
                    <a:lnTo>
                      <a:pt x="103" y="429"/>
                    </a:lnTo>
                    <a:lnTo>
                      <a:pt x="103" y="434"/>
                    </a:lnTo>
                    <a:lnTo>
                      <a:pt x="104" y="437"/>
                    </a:lnTo>
                    <a:lnTo>
                      <a:pt x="107" y="437"/>
                    </a:lnTo>
                    <a:lnTo>
                      <a:pt x="107" y="434"/>
                    </a:lnTo>
                    <a:lnTo>
                      <a:pt x="106" y="429"/>
                    </a:lnTo>
                    <a:lnTo>
                      <a:pt x="106" y="427"/>
                    </a:lnTo>
                    <a:lnTo>
                      <a:pt x="104" y="427"/>
                    </a:lnTo>
                    <a:lnTo>
                      <a:pt x="104" y="427"/>
                    </a:lnTo>
                    <a:close/>
                    <a:moveTo>
                      <a:pt x="209" y="374"/>
                    </a:moveTo>
                    <a:lnTo>
                      <a:pt x="206" y="371"/>
                    </a:lnTo>
                    <a:lnTo>
                      <a:pt x="207" y="367"/>
                    </a:lnTo>
                    <a:lnTo>
                      <a:pt x="209" y="364"/>
                    </a:lnTo>
                    <a:lnTo>
                      <a:pt x="210" y="364"/>
                    </a:lnTo>
                    <a:lnTo>
                      <a:pt x="212" y="367"/>
                    </a:lnTo>
                    <a:lnTo>
                      <a:pt x="210" y="369"/>
                    </a:lnTo>
                    <a:lnTo>
                      <a:pt x="212" y="372"/>
                    </a:lnTo>
                    <a:lnTo>
                      <a:pt x="210" y="374"/>
                    </a:lnTo>
                    <a:lnTo>
                      <a:pt x="209" y="374"/>
                    </a:lnTo>
                    <a:lnTo>
                      <a:pt x="209" y="374"/>
                    </a:lnTo>
                    <a:close/>
                    <a:moveTo>
                      <a:pt x="191" y="371"/>
                    </a:moveTo>
                    <a:lnTo>
                      <a:pt x="196" y="367"/>
                    </a:lnTo>
                    <a:lnTo>
                      <a:pt x="199" y="367"/>
                    </a:lnTo>
                    <a:lnTo>
                      <a:pt x="197" y="371"/>
                    </a:lnTo>
                    <a:lnTo>
                      <a:pt x="196" y="371"/>
                    </a:lnTo>
                    <a:lnTo>
                      <a:pt x="191" y="371"/>
                    </a:lnTo>
                    <a:lnTo>
                      <a:pt x="191" y="371"/>
                    </a:lnTo>
                    <a:close/>
                    <a:moveTo>
                      <a:pt x="169" y="417"/>
                    </a:moveTo>
                    <a:lnTo>
                      <a:pt x="171" y="417"/>
                    </a:lnTo>
                    <a:lnTo>
                      <a:pt x="172" y="416"/>
                    </a:lnTo>
                    <a:lnTo>
                      <a:pt x="176" y="417"/>
                    </a:lnTo>
                    <a:lnTo>
                      <a:pt x="177" y="416"/>
                    </a:lnTo>
                    <a:lnTo>
                      <a:pt x="177" y="414"/>
                    </a:lnTo>
                    <a:lnTo>
                      <a:pt x="174" y="409"/>
                    </a:lnTo>
                    <a:lnTo>
                      <a:pt x="176" y="406"/>
                    </a:lnTo>
                    <a:lnTo>
                      <a:pt x="177" y="399"/>
                    </a:lnTo>
                    <a:lnTo>
                      <a:pt x="184" y="396"/>
                    </a:lnTo>
                    <a:lnTo>
                      <a:pt x="186" y="394"/>
                    </a:lnTo>
                    <a:lnTo>
                      <a:pt x="191" y="394"/>
                    </a:lnTo>
                    <a:lnTo>
                      <a:pt x="197" y="399"/>
                    </a:lnTo>
                    <a:lnTo>
                      <a:pt x="199" y="401"/>
                    </a:lnTo>
                    <a:lnTo>
                      <a:pt x="202" y="401"/>
                    </a:lnTo>
                    <a:lnTo>
                      <a:pt x="204" y="392"/>
                    </a:lnTo>
                    <a:lnTo>
                      <a:pt x="209" y="387"/>
                    </a:lnTo>
                    <a:lnTo>
                      <a:pt x="210" y="384"/>
                    </a:lnTo>
                    <a:lnTo>
                      <a:pt x="209" y="384"/>
                    </a:lnTo>
                    <a:lnTo>
                      <a:pt x="207" y="381"/>
                    </a:lnTo>
                    <a:lnTo>
                      <a:pt x="202" y="376"/>
                    </a:lnTo>
                    <a:lnTo>
                      <a:pt x="199" y="376"/>
                    </a:lnTo>
                    <a:lnTo>
                      <a:pt x="196" y="374"/>
                    </a:lnTo>
                    <a:lnTo>
                      <a:pt x="189" y="374"/>
                    </a:lnTo>
                    <a:lnTo>
                      <a:pt x="182" y="377"/>
                    </a:lnTo>
                    <a:lnTo>
                      <a:pt x="182" y="381"/>
                    </a:lnTo>
                    <a:lnTo>
                      <a:pt x="181" y="384"/>
                    </a:lnTo>
                    <a:lnTo>
                      <a:pt x="176" y="386"/>
                    </a:lnTo>
                    <a:lnTo>
                      <a:pt x="172" y="387"/>
                    </a:lnTo>
                    <a:lnTo>
                      <a:pt x="171" y="387"/>
                    </a:lnTo>
                    <a:lnTo>
                      <a:pt x="167" y="381"/>
                    </a:lnTo>
                    <a:lnTo>
                      <a:pt x="166" y="381"/>
                    </a:lnTo>
                    <a:lnTo>
                      <a:pt x="159" y="387"/>
                    </a:lnTo>
                    <a:lnTo>
                      <a:pt x="159" y="392"/>
                    </a:lnTo>
                    <a:lnTo>
                      <a:pt x="154" y="394"/>
                    </a:lnTo>
                    <a:lnTo>
                      <a:pt x="154" y="399"/>
                    </a:lnTo>
                    <a:lnTo>
                      <a:pt x="161" y="401"/>
                    </a:lnTo>
                    <a:lnTo>
                      <a:pt x="161" y="404"/>
                    </a:lnTo>
                    <a:lnTo>
                      <a:pt x="159" y="406"/>
                    </a:lnTo>
                    <a:lnTo>
                      <a:pt x="159" y="409"/>
                    </a:lnTo>
                    <a:lnTo>
                      <a:pt x="164" y="414"/>
                    </a:lnTo>
                    <a:lnTo>
                      <a:pt x="169" y="414"/>
                    </a:lnTo>
                    <a:lnTo>
                      <a:pt x="169" y="417"/>
                    </a:lnTo>
                    <a:lnTo>
                      <a:pt x="169" y="417"/>
                    </a:lnTo>
                    <a:close/>
                    <a:moveTo>
                      <a:pt x="137" y="490"/>
                    </a:moveTo>
                    <a:lnTo>
                      <a:pt x="134" y="487"/>
                    </a:lnTo>
                    <a:lnTo>
                      <a:pt x="132" y="489"/>
                    </a:lnTo>
                    <a:lnTo>
                      <a:pt x="131" y="490"/>
                    </a:lnTo>
                    <a:lnTo>
                      <a:pt x="134" y="495"/>
                    </a:lnTo>
                    <a:lnTo>
                      <a:pt x="137" y="495"/>
                    </a:lnTo>
                    <a:lnTo>
                      <a:pt x="139" y="494"/>
                    </a:lnTo>
                    <a:lnTo>
                      <a:pt x="137" y="490"/>
                    </a:lnTo>
                    <a:lnTo>
                      <a:pt x="137" y="490"/>
                    </a:lnTo>
                    <a:close/>
                    <a:moveTo>
                      <a:pt x="142" y="485"/>
                    </a:moveTo>
                    <a:lnTo>
                      <a:pt x="141" y="479"/>
                    </a:lnTo>
                    <a:lnTo>
                      <a:pt x="141" y="475"/>
                    </a:lnTo>
                    <a:lnTo>
                      <a:pt x="144" y="479"/>
                    </a:lnTo>
                    <a:lnTo>
                      <a:pt x="144" y="482"/>
                    </a:lnTo>
                    <a:lnTo>
                      <a:pt x="142" y="485"/>
                    </a:lnTo>
                    <a:lnTo>
                      <a:pt x="142" y="485"/>
                    </a:lnTo>
                    <a:lnTo>
                      <a:pt x="142" y="485"/>
                    </a:lnTo>
                    <a:close/>
                    <a:moveTo>
                      <a:pt x="132" y="474"/>
                    </a:moveTo>
                    <a:lnTo>
                      <a:pt x="137" y="470"/>
                    </a:lnTo>
                    <a:lnTo>
                      <a:pt x="142" y="465"/>
                    </a:lnTo>
                    <a:lnTo>
                      <a:pt x="137" y="462"/>
                    </a:lnTo>
                    <a:lnTo>
                      <a:pt x="137" y="459"/>
                    </a:lnTo>
                    <a:lnTo>
                      <a:pt x="141" y="459"/>
                    </a:lnTo>
                    <a:lnTo>
                      <a:pt x="144" y="459"/>
                    </a:lnTo>
                    <a:lnTo>
                      <a:pt x="146" y="461"/>
                    </a:lnTo>
                    <a:lnTo>
                      <a:pt x="147" y="456"/>
                    </a:lnTo>
                    <a:lnTo>
                      <a:pt x="147" y="449"/>
                    </a:lnTo>
                    <a:lnTo>
                      <a:pt x="146" y="446"/>
                    </a:lnTo>
                    <a:lnTo>
                      <a:pt x="146" y="434"/>
                    </a:lnTo>
                    <a:lnTo>
                      <a:pt x="146" y="427"/>
                    </a:lnTo>
                    <a:lnTo>
                      <a:pt x="147" y="422"/>
                    </a:lnTo>
                    <a:lnTo>
                      <a:pt x="152" y="419"/>
                    </a:lnTo>
                    <a:lnTo>
                      <a:pt x="151" y="416"/>
                    </a:lnTo>
                    <a:lnTo>
                      <a:pt x="149" y="414"/>
                    </a:lnTo>
                    <a:lnTo>
                      <a:pt x="149" y="411"/>
                    </a:lnTo>
                    <a:lnTo>
                      <a:pt x="146" y="411"/>
                    </a:lnTo>
                    <a:lnTo>
                      <a:pt x="147" y="407"/>
                    </a:lnTo>
                    <a:lnTo>
                      <a:pt x="139" y="407"/>
                    </a:lnTo>
                    <a:lnTo>
                      <a:pt x="137" y="406"/>
                    </a:lnTo>
                    <a:lnTo>
                      <a:pt x="142" y="404"/>
                    </a:lnTo>
                    <a:lnTo>
                      <a:pt x="142" y="401"/>
                    </a:lnTo>
                    <a:lnTo>
                      <a:pt x="142" y="396"/>
                    </a:lnTo>
                    <a:lnTo>
                      <a:pt x="139" y="394"/>
                    </a:lnTo>
                    <a:lnTo>
                      <a:pt x="134" y="394"/>
                    </a:lnTo>
                    <a:lnTo>
                      <a:pt x="134" y="396"/>
                    </a:lnTo>
                    <a:lnTo>
                      <a:pt x="131" y="397"/>
                    </a:lnTo>
                    <a:lnTo>
                      <a:pt x="127" y="397"/>
                    </a:lnTo>
                    <a:lnTo>
                      <a:pt x="122" y="392"/>
                    </a:lnTo>
                    <a:lnTo>
                      <a:pt x="124" y="389"/>
                    </a:lnTo>
                    <a:lnTo>
                      <a:pt x="131" y="386"/>
                    </a:lnTo>
                    <a:lnTo>
                      <a:pt x="137" y="384"/>
                    </a:lnTo>
                    <a:lnTo>
                      <a:pt x="144" y="386"/>
                    </a:lnTo>
                    <a:lnTo>
                      <a:pt x="149" y="387"/>
                    </a:lnTo>
                    <a:lnTo>
                      <a:pt x="149" y="386"/>
                    </a:lnTo>
                    <a:lnTo>
                      <a:pt x="149" y="382"/>
                    </a:lnTo>
                    <a:lnTo>
                      <a:pt x="149" y="379"/>
                    </a:lnTo>
                    <a:lnTo>
                      <a:pt x="149" y="376"/>
                    </a:lnTo>
                    <a:lnTo>
                      <a:pt x="151" y="374"/>
                    </a:lnTo>
                    <a:lnTo>
                      <a:pt x="154" y="372"/>
                    </a:lnTo>
                    <a:lnTo>
                      <a:pt x="156" y="376"/>
                    </a:lnTo>
                    <a:lnTo>
                      <a:pt x="159" y="376"/>
                    </a:lnTo>
                    <a:lnTo>
                      <a:pt x="162" y="374"/>
                    </a:lnTo>
                    <a:lnTo>
                      <a:pt x="171" y="372"/>
                    </a:lnTo>
                    <a:lnTo>
                      <a:pt x="177" y="371"/>
                    </a:lnTo>
                    <a:lnTo>
                      <a:pt x="182" y="371"/>
                    </a:lnTo>
                    <a:lnTo>
                      <a:pt x="186" y="371"/>
                    </a:lnTo>
                    <a:lnTo>
                      <a:pt x="187" y="369"/>
                    </a:lnTo>
                    <a:lnTo>
                      <a:pt x="187" y="369"/>
                    </a:lnTo>
                    <a:lnTo>
                      <a:pt x="192" y="366"/>
                    </a:lnTo>
                    <a:lnTo>
                      <a:pt x="194" y="364"/>
                    </a:lnTo>
                    <a:lnTo>
                      <a:pt x="199" y="359"/>
                    </a:lnTo>
                    <a:lnTo>
                      <a:pt x="206" y="358"/>
                    </a:lnTo>
                    <a:lnTo>
                      <a:pt x="212" y="359"/>
                    </a:lnTo>
                    <a:lnTo>
                      <a:pt x="217" y="358"/>
                    </a:lnTo>
                    <a:lnTo>
                      <a:pt x="219" y="359"/>
                    </a:lnTo>
                    <a:lnTo>
                      <a:pt x="219" y="363"/>
                    </a:lnTo>
                    <a:lnTo>
                      <a:pt x="215" y="367"/>
                    </a:lnTo>
                    <a:lnTo>
                      <a:pt x="214" y="371"/>
                    </a:lnTo>
                    <a:lnTo>
                      <a:pt x="215" y="372"/>
                    </a:lnTo>
                    <a:lnTo>
                      <a:pt x="217" y="376"/>
                    </a:lnTo>
                    <a:lnTo>
                      <a:pt x="217" y="381"/>
                    </a:lnTo>
                    <a:lnTo>
                      <a:pt x="217" y="382"/>
                    </a:lnTo>
                    <a:lnTo>
                      <a:pt x="217" y="386"/>
                    </a:lnTo>
                    <a:lnTo>
                      <a:pt x="222" y="389"/>
                    </a:lnTo>
                    <a:lnTo>
                      <a:pt x="229" y="394"/>
                    </a:lnTo>
                    <a:lnTo>
                      <a:pt x="234" y="396"/>
                    </a:lnTo>
                    <a:lnTo>
                      <a:pt x="237" y="394"/>
                    </a:lnTo>
                    <a:lnTo>
                      <a:pt x="242" y="387"/>
                    </a:lnTo>
                    <a:lnTo>
                      <a:pt x="242" y="384"/>
                    </a:lnTo>
                    <a:lnTo>
                      <a:pt x="244" y="382"/>
                    </a:lnTo>
                    <a:lnTo>
                      <a:pt x="245" y="379"/>
                    </a:lnTo>
                    <a:lnTo>
                      <a:pt x="244" y="377"/>
                    </a:lnTo>
                    <a:lnTo>
                      <a:pt x="247" y="371"/>
                    </a:lnTo>
                    <a:lnTo>
                      <a:pt x="252" y="371"/>
                    </a:lnTo>
                    <a:lnTo>
                      <a:pt x="255" y="371"/>
                    </a:lnTo>
                    <a:lnTo>
                      <a:pt x="257" y="369"/>
                    </a:lnTo>
                    <a:lnTo>
                      <a:pt x="255" y="367"/>
                    </a:lnTo>
                    <a:lnTo>
                      <a:pt x="254" y="363"/>
                    </a:lnTo>
                    <a:lnTo>
                      <a:pt x="245" y="359"/>
                    </a:lnTo>
                    <a:lnTo>
                      <a:pt x="245" y="358"/>
                    </a:lnTo>
                    <a:lnTo>
                      <a:pt x="247" y="351"/>
                    </a:lnTo>
                    <a:lnTo>
                      <a:pt x="249" y="349"/>
                    </a:lnTo>
                    <a:lnTo>
                      <a:pt x="252" y="348"/>
                    </a:lnTo>
                    <a:lnTo>
                      <a:pt x="250" y="351"/>
                    </a:lnTo>
                    <a:lnTo>
                      <a:pt x="250" y="354"/>
                    </a:lnTo>
                    <a:lnTo>
                      <a:pt x="252" y="356"/>
                    </a:lnTo>
                    <a:lnTo>
                      <a:pt x="255" y="354"/>
                    </a:lnTo>
                    <a:lnTo>
                      <a:pt x="255" y="354"/>
                    </a:lnTo>
                    <a:lnTo>
                      <a:pt x="259" y="354"/>
                    </a:lnTo>
                    <a:lnTo>
                      <a:pt x="262" y="356"/>
                    </a:lnTo>
                    <a:lnTo>
                      <a:pt x="264" y="356"/>
                    </a:lnTo>
                    <a:lnTo>
                      <a:pt x="265" y="356"/>
                    </a:lnTo>
                    <a:lnTo>
                      <a:pt x="265" y="358"/>
                    </a:lnTo>
                    <a:lnTo>
                      <a:pt x="260" y="358"/>
                    </a:lnTo>
                    <a:lnTo>
                      <a:pt x="260" y="359"/>
                    </a:lnTo>
                    <a:lnTo>
                      <a:pt x="262" y="361"/>
                    </a:lnTo>
                    <a:lnTo>
                      <a:pt x="265" y="359"/>
                    </a:lnTo>
                    <a:lnTo>
                      <a:pt x="270" y="356"/>
                    </a:lnTo>
                    <a:lnTo>
                      <a:pt x="284" y="358"/>
                    </a:lnTo>
                    <a:lnTo>
                      <a:pt x="290" y="356"/>
                    </a:lnTo>
                    <a:lnTo>
                      <a:pt x="289" y="356"/>
                    </a:lnTo>
                    <a:lnTo>
                      <a:pt x="287" y="351"/>
                    </a:lnTo>
                    <a:lnTo>
                      <a:pt x="289" y="346"/>
                    </a:lnTo>
                    <a:lnTo>
                      <a:pt x="294" y="343"/>
                    </a:lnTo>
                    <a:lnTo>
                      <a:pt x="297" y="344"/>
                    </a:lnTo>
                    <a:lnTo>
                      <a:pt x="299" y="349"/>
                    </a:lnTo>
                    <a:lnTo>
                      <a:pt x="297" y="353"/>
                    </a:lnTo>
                    <a:lnTo>
                      <a:pt x="299" y="356"/>
                    </a:lnTo>
                    <a:lnTo>
                      <a:pt x="302" y="356"/>
                    </a:lnTo>
                    <a:lnTo>
                      <a:pt x="305" y="351"/>
                    </a:lnTo>
                    <a:lnTo>
                      <a:pt x="304" y="343"/>
                    </a:lnTo>
                    <a:lnTo>
                      <a:pt x="304" y="339"/>
                    </a:lnTo>
                    <a:lnTo>
                      <a:pt x="310" y="334"/>
                    </a:lnTo>
                    <a:lnTo>
                      <a:pt x="313" y="334"/>
                    </a:lnTo>
                    <a:lnTo>
                      <a:pt x="315" y="333"/>
                    </a:lnTo>
                    <a:lnTo>
                      <a:pt x="312" y="329"/>
                    </a:lnTo>
                    <a:lnTo>
                      <a:pt x="313" y="324"/>
                    </a:lnTo>
                    <a:lnTo>
                      <a:pt x="317" y="323"/>
                    </a:lnTo>
                    <a:lnTo>
                      <a:pt x="322" y="324"/>
                    </a:lnTo>
                    <a:lnTo>
                      <a:pt x="322" y="326"/>
                    </a:lnTo>
                    <a:lnTo>
                      <a:pt x="320" y="329"/>
                    </a:lnTo>
                    <a:lnTo>
                      <a:pt x="318" y="334"/>
                    </a:lnTo>
                    <a:lnTo>
                      <a:pt x="320" y="348"/>
                    </a:lnTo>
                    <a:lnTo>
                      <a:pt x="322" y="348"/>
                    </a:lnTo>
                    <a:lnTo>
                      <a:pt x="325" y="346"/>
                    </a:lnTo>
                    <a:lnTo>
                      <a:pt x="327" y="343"/>
                    </a:lnTo>
                    <a:lnTo>
                      <a:pt x="332" y="343"/>
                    </a:lnTo>
                    <a:lnTo>
                      <a:pt x="337" y="338"/>
                    </a:lnTo>
                    <a:lnTo>
                      <a:pt x="338" y="333"/>
                    </a:lnTo>
                    <a:lnTo>
                      <a:pt x="337" y="328"/>
                    </a:lnTo>
                    <a:lnTo>
                      <a:pt x="342" y="324"/>
                    </a:lnTo>
                    <a:lnTo>
                      <a:pt x="342" y="321"/>
                    </a:lnTo>
                    <a:lnTo>
                      <a:pt x="338" y="319"/>
                    </a:lnTo>
                    <a:lnTo>
                      <a:pt x="333" y="311"/>
                    </a:lnTo>
                    <a:lnTo>
                      <a:pt x="332" y="306"/>
                    </a:lnTo>
                    <a:lnTo>
                      <a:pt x="330" y="296"/>
                    </a:lnTo>
                    <a:lnTo>
                      <a:pt x="332" y="284"/>
                    </a:lnTo>
                    <a:lnTo>
                      <a:pt x="332" y="276"/>
                    </a:lnTo>
                    <a:lnTo>
                      <a:pt x="327" y="260"/>
                    </a:lnTo>
                    <a:lnTo>
                      <a:pt x="322" y="253"/>
                    </a:lnTo>
                    <a:lnTo>
                      <a:pt x="322" y="248"/>
                    </a:lnTo>
                    <a:lnTo>
                      <a:pt x="322" y="240"/>
                    </a:lnTo>
                    <a:lnTo>
                      <a:pt x="330" y="236"/>
                    </a:lnTo>
                    <a:lnTo>
                      <a:pt x="333" y="236"/>
                    </a:lnTo>
                    <a:lnTo>
                      <a:pt x="335" y="240"/>
                    </a:lnTo>
                    <a:lnTo>
                      <a:pt x="337" y="238"/>
                    </a:lnTo>
                    <a:lnTo>
                      <a:pt x="335" y="233"/>
                    </a:lnTo>
                    <a:lnTo>
                      <a:pt x="335" y="230"/>
                    </a:lnTo>
                    <a:lnTo>
                      <a:pt x="333" y="228"/>
                    </a:lnTo>
                    <a:lnTo>
                      <a:pt x="332" y="225"/>
                    </a:lnTo>
                    <a:lnTo>
                      <a:pt x="332" y="221"/>
                    </a:lnTo>
                    <a:lnTo>
                      <a:pt x="332" y="218"/>
                    </a:lnTo>
                    <a:lnTo>
                      <a:pt x="333" y="216"/>
                    </a:lnTo>
                    <a:lnTo>
                      <a:pt x="333" y="215"/>
                    </a:lnTo>
                    <a:lnTo>
                      <a:pt x="335" y="211"/>
                    </a:lnTo>
                    <a:lnTo>
                      <a:pt x="333" y="210"/>
                    </a:lnTo>
                    <a:lnTo>
                      <a:pt x="333" y="203"/>
                    </a:lnTo>
                    <a:lnTo>
                      <a:pt x="333" y="201"/>
                    </a:lnTo>
                    <a:lnTo>
                      <a:pt x="332" y="198"/>
                    </a:lnTo>
                    <a:lnTo>
                      <a:pt x="330" y="190"/>
                    </a:lnTo>
                    <a:lnTo>
                      <a:pt x="327" y="181"/>
                    </a:lnTo>
                    <a:lnTo>
                      <a:pt x="323" y="181"/>
                    </a:lnTo>
                    <a:lnTo>
                      <a:pt x="322" y="181"/>
                    </a:lnTo>
                    <a:lnTo>
                      <a:pt x="320" y="171"/>
                    </a:lnTo>
                    <a:lnTo>
                      <a:pt x="317" y="168"/>
                    </a:lnTo>
                    <a:lnTo>
                      <a:pt x="307" y="158"/>
                    </a:lnTo>
                    <a:lnTo>
                      <a:pt x="304" y="153"/>
                    </a:lnTo>
                    <a:lnTo>
                      <a:pt x="302" y="147"/>
                    </a:lnTo>
                    <a:lnTo>
                      <a:pt x="302" y="140"/>
                    </a:lnTo>
                    <a:lnTo>
                      <a:pt x="302" y="138"/>
                    </a:lnTo>
                    <a:lnTo>
                      <a:pt x="299" y="140"/>
                    </a:lnTo>
                    <a:lnTo>
                      <a:pt x="297" y="140"/>
                    </a:lnTo>
                    <a:lnTo>
                      <a:pt x="295" y="138"/>
                    </a:lnTo>
                    <a:lnTo>
                      <a:pt x="290" y="137"/>
                    </a:lnTo>
                    <a:lnTo>
                      <a:pt x="289" y="137"/>
                    </a:lnTo>
                    <a:lnTo>
                      <a:pt x="289" y="138"/>
                    </a:lnTo>
                    <a:lnTo>
                      <a:pt x="287" y="143"/>
                    </a:lnTo>
                    <a:lnTo>
                      <a:pt x="287" y="147"/>
                    </a:lnTo>
                    <a:lnTo>
                      <a:pt x="289" y="148"/>
                    </a:lnTo>
                    <a:lnTo>
                      <a:pt x="292" y="148"/>
                    </a:lnTo>
                    <a:lnTo>
                      <a:pt x="297" y="143"/>
                    </a:lnTo>
                    <a:lnTo>
                      <a:pt x="299" y="148"/>
                    </a:lnTo>
                    <a:lnTo>
                      <a:pt x="297" y="153"/>
                    </a:lnTo>
                    <a:lnTo>
                      <a:pt x="294" y="155"/>
                    </a:lnTo>
                    <a:lnTo>
                      <a:pt x="292" y="152"/>
                    </a:lnTo>
                    <a:lnTo>
                      <a:pt x="290" y="152"/>
                    </a:lnTo>
                    <a:lnTo>
                      <a:pt x="292" y="158"/>
                    </a:lnTo>
                    <a:lnTo>
                      <a:pt x="289" y="160"/>
                    </a:lnTo>
                    <a:lnTo>
                      <a:pt x="285" y="158"/>
                    </a:lnTo>
                    <a:lnTo>
                      <a:pt x="285" y="155"/>
                    </a:lnTo>
                    <a:lnTo>
                      <a:pt x="284" y="150"/>
                    </a:lnTo>
                    <a:lnTo>
                      <a:pt x="284" y="148"/>
                    </a:lnTo>
                    <a:lnTo>
                      <a:pt x="280" y="148"/>
                    </a:lnTo>
                    <a:lnTo>
                      <a:pt x="277" y="148"/>
                    </a:lnTo>
                    <a:lnTo>
                      <a:pt x="277" y="152"/>
                    </a:lnTo>
                    <a:lnTo>
                      <a:pt x="279" y="157"/>
                    </a:lnTo>
                    <a:lnTo>
                      <a:pt x="279" y="162"/>
                    </a:lnTo>
                    <a:lnTo>
                      <a:pt x="275" y="163"/>
                    </a:lnTo>
                    <a:lnTo>
                      <a:pt x="272" y="167"/>
                    </a:lnTo>
                    <a:lnTo>
                      <a:pt x="272" y="170"/>
                    </a:lnTo>
                    <a:lnTo>
                      <a:pt x="279" y="175"/>
                    </a:lnTo>
                    <a:lnTo>
                      <a:pt x="280" y="178"/>
                    </a:lnTo>
                    <a:lnTo>
                      <a:pt x="279" y="183"/>
                    </a:lnTo>
                    <a:lnTo>
                      <a:pt x="275" y="186"/>
                    </a:lnTo>
                    <a:lnTo>
                      <a:pt x="272" y="185"/>
                    </a:lnTo>
                    <a:lnTo>
                      <a:pt x="270" y="188"/>
                    </a:lnTo>
                    <a:lnTo>
                      <a:pt x="274" y="191"/>
                    </a:lnTo>
                    <a:lnTo>
                      <a:pt x="279" y="191"/>
                    </a:lnTo>
                    <a:lnTo>
                      <a:pt x="280" y="188"/>
                    </a:lnTo>
                    <a:lnTo>
                      <a:pt x="285" y="196"/>
                    </a:lnTo>
                    <a:lnTo>
                      <a:pt x="287" y="208"/>
                    </a:lnTo>
                    <a:lnTo>
                      <a:pt x="287" y="213"/>
                    </a:lnTo>
                    <a:lnTo>
                      <a:pt x="287" y="225"/>
                    </a:lnTo>
                    <a:lnTo>
                      <a:pt x="282" y="240"/>
                    </a:lnTo>
                    <a:lnTo>
                      <a:pt x="284" y="245"/>
                    </a:lnTo>
                    <a:lnTo>
                      <a:pt x="282" y="251"/>
                    </a:lnTo>
                    <a:lnTo>
                      <a:pt x="275" y="255"/>
                    </a:lnTo>
                    <a:lnTo>
                      <a:pt x="274" y="261"/>
                    </a:lnTo>
                    <a:lnTo>
                      <a:pt x="274" y="268"/>
                    </a:lnTo>
                    <a:lnTo>
                      <a:pt x="270" y="273"/>
                    </a:lnTo>
                    <a:lnTo>
                      <a:pt x="270" y="276"/>
                    </a:lnTo>
                    <a:lnTo>
                      <a:pt x="264" y="281"/>
                    </a:lnTo>
                    <a:lnTo>
                      <a:pt x="252" y="288"/>
                    </a:lnTo>
                    <a:lnTo>
                      <a:pt x="249" y="289"/>
                    </a:lnTo>
                    <a:lnTo>
                      <a:pt x="245" y="293"/>
                    </a:lnTo>
                    <a:lnTo>
                      <a:pt x="240" y="291"/>
                    </a:lnTo>
                    <a:lnTo>
                      <a:pt x="234" y="284"/>
                    </a:lnTo>
                    <a:lnTo>
                      <a:pt x="234" y="281"/>
                    </a:lnTo>
                    <a:lnTo>
                      <a:pt x="237" y="281"/>
                    </a:lnTo>
                    <a:lnTo>
                      <a:pt x="239" y="276"/>
                    </a:lnTo>
                    <a:lnTo>
                      <a:pt x="239" y="274"/>
                    </a:lnTo>
                    <a:lnTo>
                      <a:pt x="242" y="271"/>
                    </a:lnTo>
                    <a:lnTo>
                      <a:pt x="242" y="269"/>
                    </a:lnTo>
                    <a:lnTo>
                      <a:pt x="235" y="271"/>
                    </a:lnTo>
                    <a:lnTo>
                      <a:pt x="232" y="274"/>
                    </a:lnTo>
                    <a:lnTo>
                      <a:pt x="227" y="276"/>
                    </a:lnTo>
                    <a:lnTo>
                      <a:pt x="225" y="281"/>
                    </a:lnTo>
                    <a:lnTo>
                      <a:pt x="229" y="286"/>
                    </a:lnTo>
                    <a:lnTo>
                      <a:pt x="230" y="296"/>
                    </a:lnTo>
                    <a:lnTo>
                      <a:pt x="229" y="301"/>
                    </a:lnTo>
                    <a:lnTo>
                      <a:pt x="224" y="306"/>
                    </a:lnTo>
                    <a:lnTo>
                      <a:pt x="224" y="309"/>
                    </a:lnTo>
                    <a:lnTo>
                      <a:pt x="222" y="311"/>
                    </a:lnTo>
                    <a:lnTo>
                      <a:pt x="220" y="319"/>
                    </a:lnTo>
                    <a:lnTo>
                      <a:pt x="224" y="321"/>
                    </a:lnTo>
                    <a:lnTo>
                      <a:pt x="224" y="324"/>
                    </a:lnTo>
                    <a:lnTo>
                      <a:pt x="222" y="326"/>
                    </a:lnTo>
                    <a:lnTo>
                      <a:pt x="222" y="328"/>
                    </a:lnTo>
                    <a:lnTo>
                      <a:pt x="222" y="329"/>
                    </a:lnTo>
                    <a:lnTo>
                      <a:pt x="219" y="331"/>
                    </a:lnTo>
                    <a:lnTo>
                      <a:pt x="220" y="333"/>
                    </a:lnTo>
                    <a:lnTo>
                      <a:pt x="217" y="333"/>
                    </a:lnTo>
                    <a:lnTo>
                      <a:pt x="215" y="331"/>
                    </a:lnTo>
                    <a:lnTo>
                      <a:pt x="210" y="334"/>
                    </a:lnTo>
                    <a:lnTo>
                      <a:pt x="209" y="333"/>
                    </a:lnTo>
                    <a:lnTo>
                      <a:pt x="209" y="329"/>
                    </a:lnTo>
                    <a:lnTo>
                      <a:pt x="207" y="328"/>
                    </a:lnTo>
                    <a:lnTo>
                      <a:pt x="204" y="331"/>
                    </a:lnTo>
                    <a:lnTo>
                      <a:pt x="201" y="331"/>
                    </a:lnTo>
                    <a:lnTo>
                      <a:pt x="199" y="329"/>
                    </a:lnTo>
                    <a:lnTo>
                      <a:pt x="189" y="333"/>
                    </a:lnTo>
                    <a:lnTo>
                      <a:pt x="184" y="334"/>
                    </a:lnTo>
                    <a:lnTo>
                      <a:pt x="177" y="336"/>
                    </a:lnTo>
                    <a:lnTo>
                      <a:pt x="172" y="336"/>
                    </a:lnTo>
                    <a:lnTo>
                      <a:pt x="166" y="338"/>
                    </a:lnTo>
                    <a:lnTo>
                      <a:pt x="164" y="338"/>
                    </a:lnTo>
                    <a:lnTo>
                      <a:pt x="159" y="338"/>
                    </a:lnTo>
                    <a:lnTo>
                      <a:pt x="149" y="344"/>
                    </a:lnTo>
                    <a:lnTo>
                      <a:pt x="147" y="349"/>
                    </a:lnTo>
                    <a:lnTo>
                      <a:pt x="144" y="351"/>
                    </a:lnTo>
                    <a:lnTo>
                      <a:pt x="144" y="354"/>
                    </a:lnTo>
                    <a:lnTo>
                      <a:pt x="137" y="361"/>
                    </a:lnTo>
                    <a:lnTo>
                      <a:pt x="132" y="363"/>
                    </a:lnTo>
                    <a:lnTo>
                      <a:pt x="129" y="366"/>
                    </a:lnTo>
                    <a:lnTo>
                      <a:pt x="127" y="369"/>
                    </a:lnTo>
                    <a:lnTo>
                      <a:pt x="124" y="372"/>
                    </a:lnTo>
                    <a:lnTo>
                      <a:pt x="117" y="374"/>
                    </a:lnTo>
                    <a:lnTo>
                      <a:pt x="116" y="377"/>
                    </a:lnTo>
                    <a:lnTo>
                      <a:pt x="117" y="384"/>
                    </a:lnTo>
                    <a:lnTo>
                      <a:pt x="119" y="384"/>
                    </a:lnTo>
                    <a:lnTo>
                      <a:pt x="121" y="387"/>
                    </a:lnTo>
                    <a:lnTo>
                      <a:pt x="119" y="389"/>
                    </a:lnTo>
                    <a:lnTo>
                      <a:pt x="116" y="389"/>
                    </a:lnTo>
                    <a:lnTo>
                      <a:pt x="111" y="394"/>
                    </a:lnTo>
                    <a:lnTo>
                      <a:pt x="109" y="396"/>
                    </a:lnTo>
                    <a:lnTo>
                      <a:pt x="106" y="397"/>
                    </a:lnTo>
                    <a:lnTo>
                      <a:pt x="101" y="402"/>
                    </a:lnTo>
                    <a:lnTo>
                      <a:pt x="99" y="406"/>
                    </a:lnTo>
                    <a:lnTo>
                      <a:pt x="96" y="406"/>
                    </a:lnTo>
                    <a:lnTo>
                      <a:pt x="91" y="409"/>
                    </a:lnTo>
                    <a:lnTo>
                      <a:pt x="93" y="409"/>
                    </a:lnTo>
                    <a:lnTo>
                      <a:pt x="96" y="409"/>
                    </a:lnTo>
                    <a:lnTo>
                      <a:pt x="98" y="412"/>
                    </a:lnTo>
                    <a:lnTo>
                      <a:pt x="99" y="417"/>
                    </a:lnTo>
                    <a:lnTo>
                      <a:pt x="98" y="419"/>
                    </a:lnTo>
                    <a:lnTo>
                      <a:pt x="98" y="416"/>
                    </a:lnTo>
                    <a:lnTo>
                      <a:pt x="94" y="412"/>
                    </a:lnTo>
                    <a:lnTo>
                      <a:pt x="94" y="416"/>
                    </a:lnTo>
                    <a:lnTo>
                      <a:pt x="94" y="421"/>
                    </a:lnTo>
                    <a:lnTo>
                      <a:pt x="98" y="422"/>
                    </a:lnTo>
                    <a:lnTo>
                      <a:pt x="99" y="424"/>
                    </a:lnTo>
                    <a:lnTo>
                      <a:pt x="98" y="427"/>
                    </a:lnTo>
                    <a:lnTo>
                      <a:pt x="99" y="426"/>
                    </a:lnTo>
                    <a:lnTo>
                      <a:pt x="101" y="422"/>
                    </a:lnTo>
                    <a:lnTo>
                      <a:pt x="104" y="422"/>
                    </a:lnTo>
                    <a:lnTo>
                      <a:pt x="107" y="422"/>
                    </a:lnTo>
                    <a:lnTo>
                      <a:pt x="106" y="424"/>
                    </a:lnTo>
                    <a:lnTo>
                      <a:pt x="107" y="426"/>
                    </a:lnTo>
                    <a:lnTo>
                      <a:pt x="111" y="424"/>
                    </a:lnTo>
                    <a:lnTo>
                      <a:pt x="111" y="421"/>
                    </a:lnTo>
                    <a:lnTo>
                      <a:pt x="107" y="417"/>
                    </a:lnTo>
                    <a:lnTo>
                      <a:pt x="103" y="419"/>
                    </a:lnTo>
                    <a:lnTo>
                      <a:pt x="104" y="417"/>
                    </a:lnTo>
                    <a:lnTo>
                      <a:pt x="104" y="416"/>
                    </a:lnTo>
                    <a:lnTo>
                      <a:pt x="104" y="412"/>
                    </a:lnTo>
                    <a:lnTo>
                      <a:pt x="106" y="409"/>
                    </a:lnTo>
                    <a:lnTo>
                      <a:pt x="109" y="411"/>
                    </a:lnTo>
                    <a:lnTo>
                      <a:pt x="114" y="417"/>
                    </a:lnTo>
                    <a:lnTo>
                      <a:pt x="114" y="422"/>
                    </a:lnTo>
                    <a:lnTo>
                      <a:pt x="116" y="424"/>
                    </a:lnTo>
                    <a:lnTo>
                      <a:pt x="117" y="432"/>
                    </a:lnTo>
                    <a:lnTo>
                      <a:pt x="114" y="439"/>
                    </a:lnTo>
                    <a:lnTo>
                      <a:pt x="109" y="439"/>
                    </a:lnTo>
                    <a:lnTo>
                      <a:pt x="111" y="442"/>
                    </a:lnTo>
                    <a:lnTo>
                      <a:pt x="114" y="447"/>
                    </a:lnTo>
                    <a:lnTo>
                      <a:pt x="116" y="456"/>
                    </a:lnTo>
                    <a:lnTo>
                      <a:pt x="119" y="459"/>
                    </a:lnTo>
                    <a:lnTo>
                      <a:pt x="119" y="464"/>
                    </a:lnTo>
                    <a:lnTo>
                      <a:pt x="117" y="465"/>
                    </a:lnTo>
                    <a:lnTo>
                      <a:pt x="121" y="469"/>
                    </a:lnTo>
                    <a:lnTo>
                      <a:pt x="124" y="469"/>
                    </a:lnTo>
                    <a:lnTo>
                      <a:pt x="127" y="470"/>
                    </a:lnTo>
                    <a:lnTo>
                      <a:pt x="129" y="469"/>
                    </a:lnTo>
                    <a:lnTo>
                      <a:pt x="129" y="467"/>
                    </a:lnTo>
                    <a:lnTo>
                      <a:pt x="126" y="462"/>
                    </a:lnTo>
                    <a:lnTo>
                      <a:pt x="126" y="454"/>
                    </a:lnTo>
                    <a:lnTo>
                      <a:pt x="127" y="452"/>
                    </a:lnTo>
                    <a:lnTo>
                      <a:pt x="131" y="454"/>
                    </a:lnTo>
                    <a:lnTo>
                      <a:pt x="129" y="456"/>
                    </a:lnTo>
                    <a:lnTo>
                      <a:pt x="129" y="457"/>
                    </a:lnTo>
                    <a:lnTo>
                      <a:pt x="132" y="462"/>
                    </a:lnTo>
                    <a:lnTo>
                      <a:pt x="134" y="467"/>
                    </a:lnTo>
                    <a:lnTo>
                      <a:pt x="132" y="470"/>
                    </a:lnTo>
                    <a:lnTo>
                      <a:pt x="132" y="4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1" name="Freeform 8"/>
              <p:cNvSpPr>
                <a:spLocks noEditPoints="1"/>
              </p:cNvSpPr>
              <p:nvPr/>
            </p:nvSpPr>
            <p:spPr bwMode="auto">
              <a:xfrm>
                <a:off x="7990420" y="2760258"/>
                <a:ext cx="58863" cy="81970"/>
              </a:xfrm>
              <a:custGeom>
                <a:avLst/>
                <a:gdLst/>
                <a:ahLst/>
                <a:cxnLst>
                  <a:cxn ang="0">
                    <a:pos x="69" y="111"/>
                  </a:cxn>
                  <a:cxn ang="0">
                    <a:pos x="68" y="114"/>
                  </a:cxn>
                  <a:cxn ang="0">
                    <a:pos x="68" y="113"/>
                  </a:cxn>
                  <a:cxn ang="0">
                    <a:pos x="31" y="126"/>
                  </a:cxn>
                  <a:cxn ang="0">
                    <a:pos x="33" y="124"/>
                  </a:cxn>
                  <a:cxn ang="0">
                    <a:pos x="36" y="124"/>
                  </a:cxn>
                  <a:cxn ang="0">
                    <a:pos x="35" y="128"/>
                  </a:cxn>
                  <a:cxn ang="0">
                    <a:pos x="33" y="129"/>
                  </a:cxn>
                  <a:cxn ang="0">
                    <a:pos x="84" y="108"/>
                  </a:cxn>
                  <a:cxn ang="0">
                    <a:pos x="86" y="113"/>
                  </a:cxn>
                  <a:cxn ang="0">
                    <a:pos x="89" y="111"/>
                  </a:cxn>
                  <a:cxn ang="0">
                    <a:pos x="88" y="106"/>
                  </a:cxn>
                  <a:cxn ang="0">
                    <a:pos x="104" y="134"/>
                  </a:cxn>
                  <a:cxn ang="0">
                    <a:pos x="106" y="129"/>
                  </a:cxn>
                  <a:cxn ang="0">
                    <a:pos x="108" y="133"/>
                  </a:cxn>
                  <a:cxn ang="0">
                    <a:pos x="104" y="134"/>
                  </a:cxn>
                  <a:cxn ang="0">
                    <a:pos x="108" y="124"/>
                  </a:cxn>
                  <a:cxn ang="0">
                    <a:pos x="106" y="123"/>
                  </a:cxn>
                  <a:cxn ang="0">
                    <a:pos x="106" y="118"/>
                  </a:cxn>
                  <a:cxn ang="0">
                    <a:pos x="109" y="118"/>
                  </a:cxn>
                  <a:cxn ang="0">
                    <a:pos x="108" y="124"/>
                  </a:cxn>
                  <a:cxn ang="0">
                    <a:pos x="39" y="158"/>
                  </a:cxn>
                  <a:cxn ang="0">
                    <a:pos x="39" y="151"/>
                  </a:cxn>
                  <a:cxn ang="0">
                    <a:pos x="56" y="149"/>
                  </a:cxn>
                  <a:cxn ang="0">
                    <a:pos x="53" y="158"/>
                  </a:cxn>
                  <a:cxn ang="0">
                    <a:pos x="39" y="158"/>
                  </a:cxn>
                  <a:cxn ang="0">
                    <a:pos x="0" y="26"/>
                  </a:cxn>
                  <a:cxn ang="0">
                    <a:pos x="5" y="25"/>
                  </a:cxn>
                  <a:cxn ang="0">
                    <a:pos x="10" y="26"/>
                  </a:cxn>
                  <a:cxn ang="0">
                    <a:pos x="25" y="41"/>
                  </a:cxn>
                  <a:cxn ang="0">
                    <a:pos x="26" y="45"/>
                  </a:cxn>
                  <a:cxn ang="0">
                    <a:pos x="31" y="53"/>
                  </a:cxn>
                  <a:cxn ang="0">
                    <a:pos x="21" y="48"/>
                  </a:cxn>
                  <a:cxn ang="0">
                    <a:pos x="16" y="51"/>
                  </a:cxn>
                  <a:cxn ang="0">
                    <a:pos x="23" y="61"/>
                  </a:cxn>
                  <a:cxn ang="0">
                    <a:pos x="28" y="66"/>
                  </a:cxn>
                  <a:cxn ang="0">
                    <a:pos x="31" y="76"/>
                  </a:cxn>
                  <a:cxn ang="0">
                    <a:pos x="36" y="83"/>
                  </a:cxn>
                  <a:cxn ang="0">
                    <a:pos x="28" y="90"/>
                  </a:cxn>
                  <a:cxn ang="0">
                    <a:pos x="33" y="96"/>
                  </a:cxn>
                  <a:cxn ang="0">
                    <a:pos x="30" y="101"/>
                  </a:cxn>
                  <a:cxn ang="0">
                    <a:pos x="28" y="106"/>
                  </a:cxn>
                  <a:cxn ang="0">
                    <a:pos x="38" y="116"/>
                  </a:cxn>
                  <a:cxn ang="0">
                    <a:pos x="41" y="123"/>
                  </a:cxn>
                  <a:cxn ang="0">
                    <a:pos x="44" y="124"/>
                  </a:cxn>
                  <a:cxn ang="0">
                    <a:pos x="46" y="121"/>
                  </a:cxn>
                  <a:cxn ang="0">
                    <a:pos x="61" y="110"/>
                  </a:cxn>
                  <a:cxn ang="0">
                    <a:pos x="66" y="110"/>
                  </a:cxn>
                  <a:cxn ang="0">
                    <a:pos x="73" y="106"/>
                  </a:cxn>
                  <a:cxn ang="0">
                    <a:pos x="79" y="110"/>
                  </a:cxn>
                  <a:cxn ang="0">
                    <a:pos x="83" y="110"/>
                  </a:cxn>
                  <a:cxn ang="0">
                    <a:pos x="88" y="103"/>
                  </a:cxn>
                  <a:cxn ang="0">
                    <a:pos x="99" y="96"/>
                  </a:cxn>
                  <a:cxn ang="0">
                    <a:pos x="101" y="91"/>
                  </a:cxn>
                  <a:cxn ang="0">
                    <a:pos x="98" y="75"/>
                  </a:cxn>
                  <a:cxn ang="0">
                    <a:pos x="96" y="71"/>
                  </a:cxn>
                  <a:cxn ang="0">
                    <a:pos x="89" y="51"/>
                  </a:cxn>
                  <a:cxn ang="0">
                    <a:pos x="74" y="26"/>
                  </a:cxn>
                  <a:cxn ang="0">
                    <a:pos x="53" y="0"/>
                  </a:cxn>
                  <a:cxn ang="0">
                    <a:pos x="26" y="7"/>
                  </a:cxn>
                  <a:cxn ang="0">
                    <a:pos x="10" y="15"/>
                  </a:cxn>
                  <a:cxn ang="0">
                    <a:pos x="0" y="26"/>
                  </a:cxn>
                </a:cxnLst>
                <a:rect l="0" t="0" r="r" b="b"/>
                <a:pathLst>
                  <a:path w="111" h="158">
                    <a:moveTo>
                      <a:pt x="68" y="113"/>
                    </a:moveTo>
                    <a:lnTo>
                      <a:pt x="69" y="111"/>
                    </a:lnTo>
                    <a:lnTo>
                      <a:pt x="73" y="113"/>
                    </a:lnTo>
                    <a:lnTo>
                      <a:pt x="68" y="114"/>
                    </a:lnTo>
                    <a:lnTo>
                      <a:pt x="68" y="113"/>
                    </a:lnTo>
                    <a:lnTo>
                      <a:pt x="68" y="113"/>
                    </a:lnTo>
                    <a:close/>
                    <a:moveTo>
                      <a:pt x="33" y="129"/>
                    </a:moveTo>
                    <a:lnTo>
                      <a:pt x="31" y="126"/>
                    </a:lnTo>
                    <a:lnTo>
                      <a:pt x="31" y="124"/>
                    </a:lnTo>
                    <a:lnTo>
                      <a:pt x="33" y="124"/>
                    </a:lnTo>
                    <a:lnTo>
                      <a:pt x="35" y="121"/>
                    </a:lnTo>
                    <a:lnTo>
                      <a:pt x="36" y="124"/>
                    </a:lnTo>
                    <a:lnTo>
                      <a:pt x="36" y="128"/>
                    </a:lnTo>
                    <a:lnTo>
                      <a:pt x="35" y="128"/>
                    </a:lnTo>
                    <a:lnTo>
                      <a:pt x="33" y="129"/>
                    </a:lnTo>
                    <a:lnTo>
                      <a:pt x="33" y="129"/>
                    </a:lnTo>
                    <a:close/>
                    <a:moveTo>
                      <a:pt x="88" y="106"/>
                    </a:moveTo>
                    <a:lnTo>
                      <a:pt x="84" y="108"/>
                    </a:lnTo>
                    <a:lnTo>
                      <a:pt x="84" y="111"/>
                    </a:lnTo>
                    <a:lnTo>
                      <a:pt x="86" y="113"/>
                    </a:lnTo>
                    <a:lnTo>
                      <a:pt x="89" y="113"/>
                    </a:lnTo>
                    <a:lnTo>
                      <a:pt x="89" y="111"/>
                    </a:lnTo>
                    <a:lnTo>
                      <a:pt x="89" y="106"/>
                    </a:lnTo>
                    <a:lnTo>
                      <a:pt x="88" y="106"/>
                    </a:lnTo>
                    <a:lnTo>
                      <a:pt x="88" y="106"/>
                    </a:lnTo>
                    <a:close/>
                    <a:moveTo>
                      <a:pt x="104" y="134"/>
                    </a:moveTo>
                    <a:lnTo>
                      <a:pt x="104" y="131"/>
                    </a:lnTo>
                    <a:lnTo>
                      <a:pt x="106" y="129"/>
                    </a:lnTo>
                    <a:lnTo>
                      <a:pt x="109" y="129"/>
                    </a:lnTo>
                    <a:lnTo>
                      <a:pt x="108" y="133"/>
                    </a:lnTo>
                    <a:lnTo>
                      <a:pt x="106" y="134"/>
                    </a:lnTo>
                    <a:lnTo>
                      <a:pt x="104" y="134"/>
                    </a:lnTo>
                    <a:lnTo>
                      <a:pt x="104" y="134"/>
                    </a:lnTo>
                    <a:close/>
                    <a:moveTo>
                      <a:pt x="108" y="124"/>
                    </a:moveTo>
                    <a:lnTo>
                      <a:pt x="106" y="126"/>
                    </a:lnTo>
                    <a:lnTo>
                      <a:pt x="106" y="123"/>
                    </a:lnTo>
                    <a:lnTo>
                      <a:pt x="106" y="119"/>
                    </a:lnTo>
                    <a:lnTo>
                      <a:pt x="106" y="118"/>
                    </a:lnTo>
                    <a:lnTo>
                      <a:pt x="109" y="116"/>
                    </a:lnTo>
                    <a:lnTo>
                      <a:pt x="109" y="118"/>
                    </a:lnTo>
                    <a:lnTo>
                      <a:pt x="111" y="121"/>
                    </a:lnTo>
                    <a:lnTo>
                      <a:pt x="108" y="124"/>
                    </a:lnTo>
                    <a:lnTo>
                      <a:pt x="108" y="124"/>
                    </a:lnTo>
                    <a:close/>
                    <a:moveTo>
                      <a:pt x="39" y="158"/>
                    </a:moveTo>
                    <a:lnTo>
                      <a:pt x="38" y="154"/>
                    </a:lnTo>
                    <a:lnTo>
                      <a:pt x="39" y="151"/>
                    </a:lnTo>
                    <a:lnTo>
                      <a:pt x="51" y="148"/>
                    </a:lnTo>
                    <a:lnTo>
                      <a:pt x="56" y="149"/>
                    </a:lnTo>
                    <a:lnTo>
                      <a:pt x="56" y="153"/>
                    </a:lnTo>
                    <a:lnTo>
                      <a:pt x="53" y="158"/>
                    </a:lnTo>
                    <a:lnTo>
                      <a:pt x="44" y="158"/>
                    </a:lnTo>
                    <a:lnTo>
                      <a:pt x="39" y="158"/>
                    </a:lnTo>
                    <a:lnTo>
                      <a:pt x="39" y="158"/>
                    </a:lnTo>
                    <a:close/>
                    <a:moveTo>
                      <a:pt x="0" y="26"/>
                    </a:moveTo>
                    <a:lnTo>
                      <a:pt x="1" y="26"/>
                    </a:lnTo>
                    <a:lnTo>
                      <a:pt x="5" y="25"/>
                    </a:lnTo>
                    <a:lnTo>
                      <a:pt x="13" y="25"/>
                    </a:lnTo>
                    <a:lnTo>
                      <a:pt x="10" y="26"/>
                    </a:lnTo>
                    <a:lnTo>
                      <a:pt x="18" y="33"/>
                    </a:lnTo>
                    <a:lnTo>
                      <a:pt x="25" y="41"/>
                    </a:lnTo>
                    <a:lnTo>
                      <a:pt x="28" y="43"/>
                    </a:lnTo>
                    <a:lnTo>
                      <a:pt x="26" y="45"/>
                    </a:lnTo>
                    <a:lnTo>
                      <a:pt x="30" y="50"/>
                    </a:lnTo>
                    <a:lnTo>
                      <a:pt x="31" y="53"/>
                    </a:lnTo>
                    <a:lnTo>
                      <a:pt x="23" y="50"/>
                    </a:lnTo>
                    <a:lnTo>
                      <a:pt x="21" y="48"/>
                    </a:lnTo>
                    <a:lnTo>
                      <a:pt x="20" y="51"/>
                    </a:lnTo>
                    <a:lnTo>
                      <a:pt x="16" y="51"/>
                    </a:lnTo>
                    <a:lnTo>
                      <a:pt x="11" y="58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8" y="66"/>
                    </a:lnTo>
                    <a:lnTo>
                      <a:pt x="28" y="75"/>
                    </a:lnTo>
                    <a:lnTo>
                      <a:pt x="31" y="76"/>
                    </a:lnTo>
                    <a:lnTo>
                      <a:pt x="33" y="75"/>
                    </a:lnTo>
                    <a:lnTo>
                      <a:pt x="36" y="83"/>
                    </a:lnTo>
                    <a:lnTo>
                      <a:pt x="30" y="88"/>
                    </a:lnTo>
                    <a:lnTo>
                      <a:pt x="28" y="90"/>
                    </a:lnTo>
                    <a:lnTo>
                      <a:pt x="31" y="93"/>
                    </a:lnTo>
                    <a:lnTo>
                      <a:pt x="33" y="96"/>
                    </a:lnTo>
                    <a:lnTo>
                      <a:pt x="30" y="98"/>
                    </a:lnTo>
                    <a:lnTo>
                      <a:pt x="30" y="101"/>
                    </a:lnTo>
                    <a:lnTo>
                      <a:pt x="31" y="106"/>
                    </a:lnTo>
                    <a:lnTo>
                      <a:pt x="28" y="106"/>
                    </a:lnTo>
                    <a:lnTo>
                      <a:pt x="35" y="116"/>
                    </a:lnTo>
                    <a:lnTo>
                      <a:pt x="38" y="116"/>
                    </a:lnTo>
                    <a:lnTo>
                      <a:pt x="39" y="121"/>
                    </a:lnTo>
                    <a:lnTo>
                      <a:pt x="41" y="123"/>
                    </a:lnTo>
                    <a:lnTo>
                      <a:pt x="41" y="126"/>
                    </a:lnTo>
                    <a:lnTo>
                      <a:pt x="44" y="124"/>
                    </a:lnTo>
                    <a:lnTo>
                      <a:pt x="44" y="119"/>
                    </a:lnTo>
                    <a:lnTo>
                      <a:pt x="46" y="121"/>
                    </a:lnTo>
                    <a:lnTo>
                      <a:pt x="49" y="118"/>
                    </a:lnTo>
                    <a:lnTo>
                      <a:pt x="61" y="110"/>
                    </a:lnTo>
                    <a:lnTo>
                      <a:pt x="66" y="108"/>
                    </a:lnTo>
                    <a:lnTo>
                      <a:pt x="66" y="110"/>
                    </a:lnTo>
                    <a:lnTo>
                      <a:pt x="69" y="106"/>
                    </a:lnTo>
                    <a:lnTo>
                      <a:pt x="73" y="106"/>
                    </a:lnTo>
                    <a:lnTo>
                      <a:pt x="74" y="111"/>
                    </a:lnTo>
                    <a:lnTo>
                      <a:pt x="79" y="110"/>
                    </a:lnTo>
                    <a:lnTo>
                      <a:pt x="81" y="111"/>
                    </a:lnTo>
                    <a:lnTo>
                      <a:pt x="83" y="110"/>
                    </a:lnTo>
                    <a:lnTo>
                      <a:pt x="81" y="106"/>
                    </a:lnTo>
                    <a:lnTo>
                      <a:pt x="88" y="103"/>
                    </a:lnTo>
                    <a:lnTo>
                      <a:pt x="93" y="103"/>
                    </a:lnTo>
                    <a:lnTo>
                      <a:pt x="99" y="96"/>
                    </a:lnTo>
                    <a:lnTo>
                      <a:pt x="98" y="93"/>
                    </a:lnTo>
                    <a:lnTo>
                      <a:pt x="101" y="91"/>
                    </a:lnTo>
                    <a:lnTo>
                      <a:pt x="99" y="75"/>
                    </a:lnTo>
                    <a:lnTo>
                      <a:pt x="98" y="75"/>
                    </a:lnTo>
                    <a:lnTo>
                      <a:pt x="96" y="76"/>
                    </a:lnTo>
                    <a:lnTo>
                      <a:pt x="96" y="71"/>
                    </a:lnTo>
                    <a:lnTo>
                      <a:pt x="93" y="56"/>
                    </a:lnTo>
                    <a:lnTo>
                      <a:pt x="89" y="51"/>
                    </a:lnTo>
                    <a:lnTo>
                      <a:pt x="89" y="43"/>
                    </a:lnTo>
                    <a:lnTo>
                      <a:pt x="74" y="26"/>
                    </a:lnTo>
                    <a:lnTo>
                      <a:pt x="61" y="13"/>
                    </a:lnTo>
                    <a:lnTo>
                      <a:pt x="53" y="0"/>
                    </a:lnTo>
                    <a:lnTo>
                      <a:pt x="43" y="5"/>
                    </a:lnTo>
                    <a:lnTo>
                      <a:pt x="26" y="7"/>
                    </a:lnTo>
                    <a:lnTo>
                      <a:pt x="18" y="13"/>
                    </a:lnTo>
                    <a:lnTo>
                      <a:pt x="10" y="15"/>
                    </a:lnTo>
                    <a:lnTo>
                      <a:pt x="1" y="21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2" name="Freeform 9"/>
              <p:cNvSpPr>
                <a:spLocks/>
              </p:cNvSpPr>
              <p:nvPr/>
            </p:nvSpPr>
            <p:spPr bwMode="auto">
              <a:xfrm>
                <a:off x="7964734" y="2684515"/>
                <a:ext cx="61004" cy="92346"/>
              </a:xfrm>
              <a:custGeom>
                <a:avLst/>
                <a:gdLst/>
                <a:ahLst/>
                <a:cxnLst>
                  <a:cxn ang="0">
                    <a:pos x="0" y="99"/>
                  </a:cxn>
                  <a:cxn ang="0">
                    <a:pos x="9" y="88"/>
                  </a:cxn>
                  <a:cxn ang="0">
                    <a:pos x="15" y="81"/>
                  </a:cxn>
                  <a:cxn ang="0">
                    <a:pos x="24" y="71"/>
                  </a:cxn>
                  <a:cxn ang="0">
                    <a:pos x="30" y="58"/>
                  </a:cxn>
                  <a:cxn ang="0">
                    <a:pos x="30" y="48"/>
                  </a:cxn>
                  <a:cxn ang="0">
                    <a:pos x="39" y="50"/>
                  </a:cxn>
                  <a:cxn ang="0">
                    <a:pos x="47" y="55"/>
                  </a:cxn>
                  <a:cxn ang="0">
                    <a:pos x="55" y="55"/>
                  </a:cxn>
                  <a:cxn ang="0">
                    <a:pos x="72" y="55"/>
                  </a:cxn>
                  <a:cxn ang="0">
                    <a:pos x="75" y="45"/>
                  </a:cxn>
                  <a:cxn ang="0">
                    <a:pos x="64" y="36"/>
                  </a:cxn>
                  <a:cxn ang="0">
                    <a:pos x="74" y="35"/>
                  </a:cxn>
                  <a:cxn ang="0">
                    <a:pos x="84" y="23"/>
                  </a:cxn>
                  <a:cxn ang="0">
                    <a:pos x="92" y="16"/>
                  </a:cxn>
                  <a:cxn ang="0">
                    <a:pos x="92" y="10"/>
                  </a:cxn>
                  <a:cxn ang="0">
                    <a:pos x="92" y="0"/>
                  </a:cxn>
                  <a:cxn ang="0">
                    <a:pos x="100" y="3"/>
                  </a:cxn>
                  <a:cxn ang="0">
                    <a:pos x="102" y="10"/>
                  </a:cxn>
                  <a:cxn ang="0">
                    <a:pos x="115" y="18"/>
                  </a:cxn>
                  <a:cxn ang="0">
                    <a:pos x="107" y="25"/>
                  </a:cxn>
                  <a:cxn ang="0">
                    <a:pos x="103" y="30"/>
                  </a:cxn>
                  <a:cxn ang="0">
                    <a:pos x="100" y="48"/>
                  </a:cxn>
                  <a:cxn ang="0">
                    <a:pos x="105" y="63"/>
                  </a:cxn>
                  <a:cxn ang="0">
                    <a:pos x="107" y="69"/>
                  </a:cxn>
                  <a:cxn ang="0">
                    <a:pos x="102" y="76"/>
                  </a:cxn>
                  <a:cxn ang="0">
                    <a:pos x="92" y="91"/>
                  </a:cxn>
                  <a:cxn ang="0">
                    <a:pos x="87" y="96"/>
                  </a:cxn>
                  <a:cxn ang="0">
                    <a:pos x="77" y="99"/>
                  </a:cxn>
                  <a:cxn ang="0">
                    <a:pos x="69" y="108"/>
                  </a:cxn>
                  <a:cxn ang="0">
                    <a:pos x="70" y="118"/>
                  </a:cxn>
                  <a:cxn ang="0">
                    <a:pos x="70" y="126"/>
                  </a:cxn>
                  <a:cxn ang="0">
                    <a:pos x="82" y="131"/>
                  </a:cxn>
                  <a:cxn ang="0">
                    <a:pos x="102" y="146"/>
                  </a:cxn>
                  <a:cxn ang="0">
                    <a:pos x="75" y="153"/>
                  </a:cxn>
                  <a:cxn ang="0">
                    <a:pos x="59" y="161"/>
                  </a:cxn>
                  <a:cxn ang="0">
                    <a:pos x="49" y="172"/>
                  </a:cxn>
                  <a:cxn ang="0">
                    <a:pos x="40" y="169"/>
                  </a:cxn>
                  <a:cxn ang="0">
                    <a:pos x="39" y="176"/>
                  </a:cxn>
                  <a:cxn ang="0">
                    <a:pos x="30" y="177"/>
                  </a:cxn>
                  <a:cxn ang="0">
                    <a:pos x="32" y="169"/>
                  </a:cxn>
                  <a:cxn ang="0">
                    <a:pos x="24" y="169"/>
                  </a:cxn>
                  <a:cxn ang="0">
                    <a:pos x="22" y="164"/>
                  </a:cxn>
                  <a:cxn ang="0">
                    <a:pos x="25" y="149"/>
                  </a:cxn>
                  <a:cxn ang="0">
                    <a:pos x="37" y="144"/>
                  </a:cxn>
                  <a:cxn ang="0">
                    <a:pos x="24" y="148"/>
                  </a:cxn>
                  <a:cxn ang="0">
                    <a:pos x="22" y="134"/>
                  </a:cxn>
                  <a:cxn ang="0">
                    <a:pos x="24" y="123"/>
                  </a:cxn>
                  <a:cxn ang="0">
                    <a:pos x="29" y="116"/>
                  </a:cxn>
                  <a:cxn ang="0">
                    <a:pos x="24" y="119"/>
                  </a:cxn>
                  <a:cxn ang="0">
                    <a:pos x="14" y="118"/>
                  </a:cxn>
                  <a:cxn ang="0">
                    <a:pos x="7" y="118"/>
                  </a:cxn>
                  <a:cxn ang="0">
                    <a:pos x="2" y="113"/>
                  </a:cxn>
                  <a:cxn ang="0">
                    <a:pos x="0" y="111"/>
                  </a:cxn>
                </a:cxnLst>
                <a:rect l="0" t="0" r="r" b="b"/>
                <a:pathLst>
                  <a:path w="115" h="177">
                    <a:moveTo>
                      <a:pt x="0" y="111"/>
                    </a:moveTo>
                    <a:lnTo>
                      <a:pt x="0" y="99"/>
                    </a:lnTo>
                    <a:lnTo>
                      <a:pt x="5" y="94"/>
                    </a:lnTo>
                    <a:lnTo>
                      <a:pt x="9" y="88"/>
                    </a:lnTo>
                    <a:lnTo>
                      <a:pt x="9" y="84"/>
                    </a:lnTo>
                    <a:lnTo>
                      <a:pt x="15" y="81"/>
                    </a:lnTo>
                    <a:lnTo>
                      <a:pt x="19" y="74"/>
                    </a:lnTo>
                    <a:lnTo>
                      <a:pt x="24" y="71"/>
                    </a:lnTo>
                    <a:lnTo>
                      <a:pt x="29" y="61"/>
                    </a:lnTo>
                    <a:lnTo>
                      <a:pt x="30" y="58"/>
                    </a:lnTo>
                    <a:lnTo>
                      <a:pt x="30" y="55"/>
                    </a:lnTo>
                    <a:lnTo>
                      <a:pt x="30" y="48"/>
                    </a:lnTo>
                    <a:lnTo>
                      <a:pt x="35" y="43"/>
                    </a:lnTo>
                    <a:lnTo>
                      <a:pt x="39" y="50"/>
                    </a:lnTo>
                    <a:lnTo>
                      <a:pt x="44" y="51"/>
                    </a:lnTo>
                    <a:lnTo>
                      <a:pt x="47" y="55"/>
                    </a:lnTo>
                    <a:lnTo>
                      <a:pt x="50" y="53"/>
                    </a:lnTo>
                    <a:lnTo>
                      <a:pt x="55" y="55"/>
                    </a:lnTo>
                    <a:lnTo>
                      <a:pt x="65" y="53"/>
                    </a:lnTo>
                    <a:lnTo>
                      <a:pt x="72" y="55"/>
                    </a:lnTo>
                    <a:lnTo>
                      <a:pt x="75" y="48"/>
                    </a:lnTo>
                    <a:lnTo>
                      <a:pt x="75" y="45"/>
                    </a:lnTo>
                    <a:lnTo>
                      <a:pt x="70" y="40"/>
                    </a:lnTo>
                    <a:lnTo>
                      <a:pt x="64" y="36"/>
                    </a:lnTo>
                    <a:lnTo>
                      <a:pt x="69" y="35"/>
                    </a:lnTo>
                    <a:lnTo>
                      <a:pt x="74" y="35"/>
                    </a:lnTo>
                    <a:lnTo>
                      <a:pt x="84" y="26"/>
                    </a:lnTo>
                    <a:lnTo>
                      <a:pt x="84" y="23"/>
                    </a:lnTo>
                    <a:lnTo>
                      <a:pt x="87" y="18"/>
                    </a:lnTo>
                    <a:lnTo>
                      <a:pt x="92" y="16"/>
                    </a:lnTo>
                    <a:lnTo>
                      <a:pt x="93" y="13"/>
                    </a:lnTo>
                    <a:lnTo>
                      <a:pt x="92" y="10"/>
                    </a:lnTo>
                    <a:lnTo>
                      <a:pt x="92" y="5"/>
                    </a:lnTo>
                    <a:lnTo>
                      <a:pt x="92" y="0"/>
                    </a:lnTo>
                    <a:lnTo>
                      <a:pt x="95" y="0"/>
                    </a:lnTo>
                    <a:lnTo>
                      <a:pt x="100" y="3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10" y="10"/>
                    </a:lnTo>
                    <a:lnTo>
                      <a:pt x="115" y="18"/>
                    </a:lnTo>
                    <a:lnTo>
                      <a:pt x="113" y="18"/>
                    </a:lnTo>
                    <a:lnTo>
                      <a:pt x="107" y="25"/>
                    </a:lnTo>
                    <a:lnTo>
                      <a:pt x="103" y="25"/>
                    </a:lnTo>
                    <a:lnTo>
                      <a:pt x="103" y="30"/>
                    </a:lnTo>
                    <a:lnTo>
                      <a:pt x="100" y="41"/>
                    </a:lnTo>
                    <a:lnTo>
                      <a:pt x="100" y="48"/>
                    </a:lnTo>
                    <a:lnTo>
                      <a:pt x="105" y="51"/>
                    </a:lnTo>
                    <a:lnTo>
                      <a:pt x="105" y="63"/>
                    </a:lnTo>
                    <a:lnTo>
                      <a:pt x="108" y="64"/>
                    </a:lnTo>
                    <a:lnTo>
                      <a:pt x="107" y="69"/>
                    </a:lnTo>
                    <a:lnTo>
                      <a:pt x="102" y="74"/>
                    </a:lnTo>
                    <a:lnTo>
                      <a:pt x="102" y="76"/>
                    </a:lnTo>
                    <a:lnTo>
                      <a:pt x="90" y="88"/>
                    </a:lnTo>
                    <a:lnTo>
                      <a:pt x="92" y="91"/>
                    </a:lnTo>
                    <a:lnTo>
                      <a:pt x="88" y="94"/>
                    </a:lnTo>
                    <a:lnTo>
                      <a:pt x="87" y="96"/>
                    </a:lnTo>
                    <a:lnTo>
                      <a:pt x="82" y="96"/>
                    </a:lnTo>
                    <a:lnTo>
                      <a:pt x="77" y="99"/>
                    </a:lnTo>
                    <a:lnTo>
                      <a:pt x="75" y="104"/>
                    </a:lnTo>
                    <a:lnTo>
                      <a:pt x="69" y="108"/>
                    </a:lnTo>
                    <a:lnTo>
                      <a:pt x="69" y="113"/>
                    </a:lnTo>
                    <a:lnTo>
                      <a:pt x="70" y="118"/>
                    </a:lnTo>
                    <a:lnTo>
                      <a:pt x="69" y="121"/>
                    </a:lnTo>
                    <a:lnTo>
                      <a:pt x="70" y="126"/>
                    </a:lnTo>
                    <a:lnTo>
                      <a:pt x="79" y="128"/>
                    </a:lnTo>
                    <a:lnTo>
                      <a:pt x="82" y="131"/>
                    </a:lnTo>
                    <a:lnTo>
                      <a:pt x="98" y="141"/>
                    </a:lnTo>
                    <a:lnTo>
                      <a:pt x="102" y="146"/>
                    </a:lnTo>
                    <a:lnTo>
                      <a:pt x="92" y="151"/>
                    </a:lnTo>
                    <a:lnTo>
                      <a:pt x="75" y="153"/>
                    </a:lnTo>
                    <a:lnTo>
                      <a:pt x="67" y="159"/>
                    </a:lnTo>
                    <a:lnTo>
                      <a:pt x="59" y="161"/>
                    </a:lnTo>
                    <a:lnTo>
                      <a:pt x="50" y="167"/>
                    </a:lnTo>
                    <a:lnTo>
                      <a:pt x="49" y="172"/>
                    </a:lnTo>
                    <a:lnTo>
                      <a:pt x="44" y="167"/>
                    </a:lnTo>
                    <a:lnTo>
                      <a:pt x="40" y="169"/>
                    </a:lnTo>
                    <a:lnTo>
                      <a:pt x="42" y="171"/>
                    </a:lnTo>
                    <a:lnTo>
                      <a:pt x="39" y="176"/>
                    </a:lnTo>
                    <a:lnTo>
                      <a:pt x="35" y="174"/>
                    </a:lnTo>
                    <a:lnTo>
                      <a:pt x="30" y="177"/>
                    </a:lnTo>
                    <a:lnTo>
                      <a:pt x="29" y="176"/>
                    </a:lnTo>
                    <a:lnTo>
                      <a:pt x="32" y="169"/>
                    </a:lnTo>
                    <a:lnTo>
                      <a:pt x="27" y="167"/>
                    </a:lnTo>
                    <a:lnTo>
                      <a:pt x="24" y="169"/>
                    </a:lnTo>
                    <a:lnTo>
                      <a:pt x="20" y="169"/>
                    </a:lnTo>
                    <a:lnTo>
                      <a:pt x="22" y="164"/>
                    </a:lnTo>
                    <a:lnTo>
                      <a:pt x="22" y="156"/>
                    </a:lnTo>
                    <a:lnTo>
                      <a:pt x="25" y="149"/>
                    </a:lnTo>
                    <a:lnTo>
                      <a:pt x="32" y="149"/>
                    </a:lnTo>
                    <a:lnTo>
                      <a:pt x="37" y="144"/>
                    </a:lnTo>
                    <a:lnTo>
                      <a:pt x="32" y="148"/>
                    </a:lnTo>
                    <a:lnTo>
                      <a:pt x="24" y="148"/>
                    </a:lnTo>
                    <a:lnTo>
                      <a:pt x="22" y="144"/>
                    </a:lnTo>
                    <a:lnTo>
                      <a:pt x="22" y="134"/>
                    </a:lnTo>
                    <a:lnTo>
                      <a:pt x="27" y="126"/>
                    </a:lnTo>
                    <a:lnTo>
                      <a:pt x="24" y="123"/>
                    </a:lnTo>
                    <a:lnTo>
                      <a:pt x="27" y="119"/>
                    </a:lnTo>
                    <a:lnTo>
                      <a:pt x="29" y="116"/>
                    </a:lnTo>
                    <a:lnTo>
                      <a:pt x="25" y="116"/>
                    </a:lnTo>
                    <a:lnTo>
                      <a:pt x="24" y="119"/>
                    </a:lnTo>
                    <a:lnTo>
                      <a:pt x="15" y="121"/>
                    </a:lnTo>
                    <a:lnTo>
                      <a:pt x="14" y="118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4" y="121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0" y="1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3" name="Freeform 10"/>
              <p:cNvSpPr>
                <a:spLocks/>
              </p:cNvSpPr>
              <p:nvPr/>
            </p:nvSpPr>
            <p:spPr bwMode="auto">
              <a:xfrm>
                <a:off x="7464928" y="2564155"/>
                <a:ext cx="400273" cy="164977"/>
              </a:xfrm>
              <a:custGeom>
                <a:avLst/>
                <a:gdLst/>
                <a:ahLst/>
                <a:cxnLst>
                  <a:cxn ang="0">
                    <a:pos x="25" y="98"/>
                  </a:cxn>
                  <a:cxn ang="0">
                    <a:pos x="45" y="77"/>
                  </a:cxn>
                  <a:cxn ang="0">
                    <a:pos x="53" y="63"/>
                  </a:cxn>
                  <a:cxn ang="0">
                    <a:pos x="85" y="55"/>
                  </a:cxn>
                  <a:cxn ang="0">
                    <a:pos x="103" y="58"/>
                  </a:cxn>
                  <a:cxn ang="0">
                    <a:pos x="129" y="58"/>
                  </a:cxn>
                  <a:cxn ang="0">
                    <a:pos x="158" y="82"/>
                  </a:cxn>
                  <a:cxn ang="0">
                    <a:pos x="183" y="78"/>
                  </a:cxn>
                  <a:cxn ang="0">
                    <a:pos x="213" y="78"/>
                  </a:cxn>
                  <a:cxn ang="0">
                    <a:pos x="219" y="50"/>
                  </a:cxn>
                  <a:cxn ang="0">
                    <a:pos x="203" y="25"/>
                  </a:cxn>
                  <a:cxn ang="0">
                    <a:pos x="218" y="10"/>
                  </a:cxn>
                  <a:cxn ang="0">
                    <a:pos x="234" y="3"/>
                  </a:cxn>
                  <a:cxn ang="0">
                    <a:pos x="266" y="12"/>
                  </a:cxn>
                  <a:cxn ang="0">
                    <a:pos x="296" y="18"/>
                  </a:cxn>
                  <a:cxn ang="0">
                    <a:pos x="304" y="37"/>
                  </a:cxn>
                  <a:cxn ang="0">
                    <a:pos x="324" y="52"/>
                  </a:cxn>
                  <a:cxn ang="0">
                    <a:pos x="350" y="52"/>
                  </a:cxn>
                  <a:cxn ang="0">
                    <a:pos x="382" y="43"/>
                  </a:cxn>
                  <a:cxn ang="0">
                    <a:pos x="422" y="52"/>
                  </a:cxn>
                  <a:cxn ang="0">
                    <a:pos x="452" y="65"/>
                  </a:cxn>
                  <a:cxn ang="0">
                    <a:pos x="487" y="73"/>
                  </a:cxn>
                  <a:cxn ang="0">
                    <a:pos x="522" y="72"/>
                  </a:cxn>
                  <a:cxn ang="0">
                    <a:pos x="560" y="57"/>
                  </a:cxn>
                  <a:cxn ang="0">
                    <a:pos x="578" y="38"/>
                  </a:cxn>
                  <a:cxn ang="0">
                    <a:pos x="601" y="30"/>
                  </a:cxn>
                  <a:cxn ang="0">
                    <a:pos x="624" y="38"/>
                  </a:cxn>
                  <a:cxn ang="0">
                    <a:pos x="644" y="70"/>
                  </a:cxn>
                  <a:cxn ang="0">
                    <a:pos x="656" y="110"/>
                  </a:cxn>
                  <a:cxn ang="0">
                    <a:pos x="694" y="98"/>
                  </a:cxn>
                  <a:cxn ang="0">
                    <a:pos x="729" y="106"/>
                  </a:cxn>
                  <a:cxn ang="0">
                    <a:pos x="746" y="133"/>
                  </a:cxn>
                  <a:cxn ang="0">
                    <a:pos x="729" y="138"/>
                  </a:cxn>
                  <a:cxn ang="0">
                    <a:pos x="699" y="146"/>
                  </a:cxn>
                  <a:cxn ang="0">
                    <a:pos x="688" y="156"/>
                  </a:cxn>
                  <a:cxn ang="0">
                    <a:pos x="664" y="183"/>
                  </a:cxn>
                  <a:cxn ang="0">
                    <a:pos x="636" y="199"/>
                  </a:cxn>
                  <a:cxn ang="0">
                    <a:pos x="610" y="201"/>
                  </a:cxn>
                  <a:cxn ang="0">
                    <a:pos x="580" y="216"/>
                  </a:cxn>
                  <a:cxn ang="0">
                    <a:pos x="598" y="243"/>
                  </a:cxn>
                  <a:cxn ang="0">
                    <a:pos x="563" y="278"/>
                  </a:cxn>
                  <a:cxn ang="0">
                    <a:pos x="520" y="289"/>
                  </a:cxn>
                  <a:cxn ang="0">
                    <a:pos x="460" y="319"/>
                  </a:cxn>
                  <a:cxn ang="0">
                    <a:pos x="427" y="314"/>
                  </a:cxn>
                  <a:cxn ang="0">
                    <a:pos x="367" y="291"/>
                  </a:cxn>
                  <a:cxn ang="0">
                    <a:pos x="319" y="296"/>
                  </a:cxn>
                  <a:cxn ang="0">
                    <a:pos x="246" y="297"/>
                  </a:cxn>
                  <a:cxn ang="0">
                    <a:pos x="223" y="264"/>
                  </a:cxn>
                  <a:cxn ang="0">
                    <a:pos x="211" y="249"/>
                  </a:cxn>
                  <a:cxn ang="0">
                    <a:pos x="183" y="239"/>
                  </a:cxn>
                  <a:cxn ang="0">
                    <a:pos x="149" y="229"/>
                  </a:cxn>
                  <a:cxn ang="0">
                    <a:pos x="95" y="218"/>
                  </a:cxn>
                  <a:cxn ang="0">
                    <a:pos x="98" y="199"/>
                  </a:cxn>
                  <a:cxn ang="0">
                    <a:pos x="90" y="178"/>
                  </a:cxn>
                  <a:cxn ang="0">
                    <a:pos x="76" y="156"/>
                  </a:cxn>
                  <a:cxn ang="0">
                    <a:pos x="56" y="151"/>
                  </a:cxn>
                  <a:cxn ang="0">
                    <a:pos x="38" y="148"/>
                  </a:cxn>
                  <a:cxn ang="0">
                    <a:pos x="27" y="145"/>
                  </a:cxn>
                  <a:cxn ang="0">
                    <a:pos x="8" y="128"/>
                  </a:cxn>
                  <a:cxn ang="0">
                    <a:pos x="2" y="121"/>
                  </a:cxn>
                </a:cxnLst>
                <a:rect l="0" t="0" r="r" b="b"/>
                <a:pathLst>
                  <a:path w="747" h="319">
                    <a:moveTo>
                      <a:pt x="0" y="113"/>
                    </a:moveTo>
                    <a:lnTo>
                      <a:pt x="3" y="105"/>
                    </a:lnTo>
                    <a:lnTo>
                      <a:pt x="8" y="103"/>
                    </a:lnTo>
                    <a:lnTo>
                      <a:pt x="20" y="103"/>
                    </a:lnTo>
                    <a:lnTo>
                      <a:pt x="22" y="101"/>
                    </a:lnTo>
                    <a:lnTo>
                      <a:pt x="25" y="98"/>
                    </a:lnTo>
                    <a:lnTo>
                      <a:pt x="33" y="95"/>
                    </a:lnTo>
                    <a:lnTo>
                      <a:pt x="33" y="90"/>
                    </a:lnTo>
                    <a:lnTo>
                      <a:pt x="35" y="87"/>
                    </a:lnTo>
                    <a:lnTo>
                      <a:pt x="41" y="83"/>
                    </a:lnTo>
                    <a:lnTo>
                      <a:pt x="41" y="80"/>
                    </a:lnTo>
                    <a:lnTo>
                      <a:pt x="45" y="77"/>
                    </a:lnTo>
                    <a:lnTo>
                      <a:pt x="50" y="77"/>
                    </a:lnTo>
                    <a:lnTo>
                      <a:pt x="53" y="72"/>
                    </a:lnTo>
                    <a:lnTo>
                      <a:pt x="55" y="70"/>
                    </a:lnTo>
                    <a:lnTo>
                      <a:pt x="53" y="68"/>
                    </a:lnTo>
                    <a:lnTo>
                      <a:pt x="51" y="65"/>
                    </a:lnTo>
                    <a:lnTo>
                      <a:pt x="53" y="63"/>
                    </a:lnTo>
                    <a:lnTo>
                      <a:pt x="61" y="65"/>
                    </a:lnTo>
                    <a:lnTo>
                      <a:pt x="65" y="63"/>
                    </a:lnTo>
                    <a:lnTo>
                      <a:pt x="68" y="58"/>
                    </a:lnTo>
                    <a:lnTo>
                      <a:pt x="71" y="57"/>
                    </a:lnTo>
                    <a:lnTo>
                      <a:pt x="80" y="55"/>
                    </a:lnTo>
                    <a:lnTo>
                      <a:pt x="85" y="55"/>
                    </a:lnTo>
                    <a:lnTo>
                      <a:pt x="88" y="55"/>
                    </a:lnTo>
                    <a:lnTo>
                      <a:pt x="95" y="55"/>
                    </a:lnTo>
                    <a:lnTo>
                      <a:pt x="98" y="53"/>
                    </a:lnTo>
                    <a:lnTo>
                      <a:pt x="100" y="53"/>
                    </a:lnTo>
                    <a:lnTo>
                      <a:pt x="101" y="57"/>
                    </a:lnTo>
                    <a:lnTo>
                      <a:pt x="103" y="58"/>
                    </a:lnTo>
                    <a:lnTo>
                      <a:pt x="105" y="62"/>
                    </a:lnTo>
                    <a:lnTo>
                      <a:pt x="111" y="62"/>
                    </a:lnTo>
                    <a:lnTo>
                      <a:pt x="113" y="60"/>
                    </a:lnTo>
                    <a:lnTo>
                      <a:pt x="118" y="60"/>
                    </a:lnTo>
                    <a:lnTo>
                      <a:pt x="121" y="58"/>
                    </a:lnTo>
                    <a:lnTo>
                      <a:pt x="129" y="58"/>
                    </a:lnTo>
                    <a:lnTo>
                      <a:pt x="129" y="62"/>
                    </a:lnTo>
                    <a:lnTo>
                      <a:pt x="131" y="65"/>
                    </a:lnTo>
                    <a:lnTo>
                      <a:pt x="133" y="68"/>
                    </a:lnTo>
                    <a:lnTo>
                      <a:pt x="144" y="75"/>
                    </a:lnTo>
                    <a:lnTo>
                      <a:pt x="149" y="78"/>
                    </a:lnTo>
                    <a:lnTo>
                      <a:pt x="158" y="82"/>
                    </a:lnTo>
                    <a:lnTo>
                      <a:pt x="161" y="80"/>
                    </a:lnTo>
                    <a:lnTo>
                      <a:pt x="166" y="78"/>
                    </a:lnTo>
                    <a:lnTo>
                      <a:pt x="171" y="75"/>
                    </a:lnTo>
                    <a:lnTo>
                      <a:pt x="176" y="73"/>
                    </a:lnTo>
                    <a:lnTo>
                      <a:pt x="179" y="75"/>
                    </a:lnTo>
                    <a:lnTo>
                      <a:pt x="183" y="78"/>
                    </a:lnTo>
                    <a:lnTo>
                      <a:pt x="188" y="77"/>
                    </a:lnTo>
                    <a:lnTo>
                      <a:pt x="198" y="77"/>
                    </a:lnTo>
                    <a:lnTo>
                      <a:pt x="201" y="78"/>
                    </a:lnTo>
                    <a:lnTo>
                      <a:pt x="206" y="78"/>
                    </a:lnTo>
                    <a:lnTo>
                      <a:pt x="208" y="77"/>
                    </a:lnTo>
                    <a:lnTo>
                      <a:pt x="213" y="78"/>
                    </a:lnTo>
                    <a:lnTo>
                      <a:pt x="219" y="77"/>
                    </a:lnTo>
                    <a:lnTo>
                      <a:pt x="224" y="70"/>
                    </a:lnTo>
                    <a:lnTo>
                      <a:pt x="223" y="67"/>
                    </a:lnTo>
                    <a:lnTo>
                      <a:pt x="218" y="65"/>
                    </a:lnTo>
                    <a:lnTo>
                      <a:pt x="218" y="58"/>
                    </a:lnTo>
                    <a:lnTo>
                      <a:pt x="219" y="50"/>
                    </a:lnTo>
                    <a:lnTo>
                      <a:pt x="218" y="48"/>
                    </a:lnTo>
                    <a:lnTo>
                      <a:pt x="213" y="47"/>
                    </a:lnTo>
                    <a:lnTo>
                      <a:pt x="211" y="43"/>
                    </a:lnTo>
                    <a:lnTo>
                      <a:pt x="204" y="42"/>
                    </a:lnTo>
                    <a:lnTo>
                      <a:pt x="203" y="37"/>
                    </a:lnTo>
                    <a:lnTo>
                      <a:pt x="203" y="25"/>
                    </a:lnTo>
                    <a:lnTo>
                      <a:pt x="208" y="20"/>
                    </a:lnTo>
                    <a:lnTo>
                      <a:pt x="208" y="17"/>
                    </a:lnTo>
                    <a:lnTo>
                      <a:pt x="209" y="13"/>
                    </a:lnTo>
                    <a:lnTo>
                      <a:pt x="214" y="12"/>
                    </a:lnTo>
                    <a:lnTo>
                      <a:pt x="216" y="13"/>
                    </a:lnTo>
                    <a:lnTo>
                      <a:pt x="218" y="10"/>
                    </a:lnTo>
                    <a:lnTo>
                      <a:pt x="216" y="5"/>
                    </a:lnTo>
                    <a:lnTo>
                      <a:pt x="218" y="2"/>
                    </a:lnTo>
                    <a:lnTo>
                      <a:pt x="219" y="0"/>
                    </a:lnTo>
                    <a:lnTo>
                      <a:pt x="224" y="0"/>
                    </a:lnTo>
                    <a:lnTo>
                      <a:pt x="227" y="2"/>
                    </a:lnTo>
                    <a:lnTo>
                      <a:pt x="234" y="3"/>
                    </a:lnTo>
                    <a:lnTo>
                      <a:pt x="241" y="7"/>
                    </a:lnTo>
                    <a:lnTo>
                      <a:pt x="241" y="8"/>
                    </a:lnTo>
                    <a:lnTo>
                      <a:pt x="247" y="10"/>
                    </a:lnTo>
                    <a:lnTo>
                      <a:pt x="252" y="10"/>
                    </a:lnTo>
                    <a:lnTo>
                      <a:pt x="262" y="10"/>
                    </a:lnTo>
                    <a:lnTo>
                      <a:pt x="266" y="12"/>
                    </a:lnTo>
                    <a:lnTo>
                      <a:pt x="267" y="13"/>
                    </a:lnTo>
                    <a:lnTo>
                      <a:pt x="274" y="15"/>
                    </a:lnTo>
                    <a:lnTo>
                      <a:pt x="277" y="17"/>
                    </a:lnTo>
                    <a:lnTo>
                      <a:pt x="281" y="17"/>
                    </a:lnTo>
                    <a:lnTo>
                      <a:pt x="292" y="17"/>
                    </a:lnTo>
                    <a:lnTo>
                      <a:pt x="296" y="18"/>
                    </a:lnTo>
                    <a:lnTo>
                      <a:pt x="297" y="22"/>
                    </a:lnTo>
                    <a:lnTo>
                      <a:pt x="297" y="23"/>
                    </a:lnTo>
                    <a:lnTo>
                      <a:pt x="299" y="27"/>
                    </a:lnTo>
                    <a:lnTo>
                      <a:pt x="299" y="30"/>
                    </a:lnTo>
                    <a:lnTo>
                      <a:pt x="302" y="32"/>
                    </a:lnTo>
                    <a:lnTo>
                      <a:pt x="304" y="37"/>
                    </a:lnTo>
                    <a:lnTo>
                      <a:pt x="304" y="42"/>
                    </a:lnTo>
                    <a:lnTo>
                      <a:pt x="307" y="43"/>
                    </a:lnTo>
                    <a:lnTo>
                      <a:pt x="311" y="43"/>
                    </a:lnTo>
                    <a:lnTo>
                      <a:pt x="316" y="48"/>
                    </a:lnTo>
                    <a:lnTo>
                      <a:pt x="316" y="50"/>
                    </a:lnTo>
                    <a:lnTo>
                      <a:pt x="324" y="52"/>
                    </a:lnTo>
                    <a:lnTo>
                      <a:pt x="330" y="55"/>
                    </a:lnTo>
                    <a:lnTo>
                      <a:pt x="334" y="55"/>
                    </a:lnTo>
                    <a:lnTo>
                      <a:pt x="335" y="53"/>
                    </a:lnTo>
                    <a:lnTo>
                      <a:pt x="344" y="55"/>
                    </a:lnTo>
                    <a:lnTo>
                      <a:pt x="347" y="52"/>
                    </a:lnTo>
                    <a:lnTo>
                      <a:pt x="350" y="52"/>
                    </a:lnTo>
                    <a:lnTo>
                      <a:pt x="354" y="53"/>
                    </a:lnTo>
                    <a:lnTo>
                      <a:pt x="357" y="53"/>
                    </a:lnTo>
                    <a:lnTo>
                      <a:pt x="360" y="48"/>
                    </a:lnTo>
                    <a:lnTo>
                      <a:pt x="367" y="47"/>
                    </a:lnTo>
                    <a:lnTo>
                      <a:pt x="377" y="45"/>
                    </a:lnTo>
                    <a:lnTo>
                      <a:pt x="382" y="43"/>
                    </a:lnTo>
                    <a:lnTo>
                      <a:pt x="389" y="43"/>
                    </a:lnTo>
                    <a:lnTo>
                      <a:pt x="395" y="42"/>
                    </a:lnTo>
                    <a:lnTo>
                      <a:pt x="400" y="43"/>
                    </a:lnTo>
                    <a:lnTo>
                      <a:pt x="407" y="45"/>
                    </a:lnTo>
                    <a:lnTo>
                      <a:pt x="417" y="45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7" y="53"/>
                    </a:lnTo>
                    <a:lnTo>
                      <a:pt x="442" y="53"/>
                    </a:lnTo>
                    <a:lnTo>
                      <a:pt x="445" y="55"/>
                    </a:lnTo>
                    <a:lnTo>
                      <a:pt x="447" y="62"/>
                    </a:lnTo>
                    <a:lnTo>
                      <a:pt x="452" y="65"/>
                    </a:lnTo>
                    <a:lnTo>
                      <a:pt x="455" y="67"/>
                    </a:lnTo>
                    <a:lnTo>
                      <a:pt x="458" y="67"/>
                    </a:lnTo>
                    <a:lnTo>
                      <a:pt x="462" y="72"/>
                    </a:lnTo>
                    <a:lnTo>
                      <a:pt x="467" y="72"/>
                    </a:lnTo>
                    <a:lnTo>
                      <a:pt x="477" y="70"/>
                    </a:lnTo>
                    <a:lnTo>
                      <a:pt x="487" y="73"/>
                    </a:lnTo>
                    <a:lnTo>
                      <a:pt x="502" y="73"/>
                    </a:lnTo>
                    <a:lnTo>
                      <a:pt x="507" y="72"/>
                    </a:lnTo>
                    <a:lnTo>
                      <a:pt x="510" y="70"/>
                    </a:lnTo>
                    <a:lnTo>
                      <a:pt x="515" y="70"/>
                    </a:lnTo>
                    <a:lnTo>
                      <a:pt x="520" y="72"/>
                    </a:lnTo>
                    <a:lnTo>
                      <a:pt x="522" y="72"/>
                    </a:lnTo>
                    <a:lnTo>
                      <a:pt x="526" y="67"/>
                    </a:lnTo>
                    <a:lnTo>
                      <a:pt x="535" y="62"/>
                    </a:lnTo>
                    <a:lnTo>
                      <a:pt x="541" y="62"/>
                    </a:lnTo>
                    <a:lnTo>
                      <a:pt x="545" y="58"/>
                    </a:lnTo>
                    <a:lnTo>
                      <a:pt x="548" y="57"/>
                    </a:lnTo>
                    <a:lnTo>
                      <a:pt x="560" y="57"/>
                    </a:lnTo>
                    <a:lnTo>
                      <a:pt x="565" y="53"/>
                    </a:lnTo>
                    <a:lnTo>
                      <a:pt x="566" y="50"/>
                    </a:lnTo>
                    <a:lnTo>
                      <a:pt x="566" y="47"/>
                    </a:lnTo>
                    <a:lnTo>
                      <a:pt x="570" y="43"/>
                    </a:lnTo>
                    <a:lnTo>
                      <a:pt x="575" y="42"/>
                    </a:lnTo>
                    <a:lnTo>
                      <a:pt x="578" y="38"/>
                    </a:lnTo>
                    <a:lnTo>
                      <a:pt x="580" y="33"/>
                    </a:lnTo>
                    <a:lnTo>
                      <a:pt x="583" y="30"/>
                    </a:lnTo>
                    <a:lnTo>
                      <a:pt x="588" y="30"/>
                    </a:lnTo>
                    <a:lnTo>
                      <a:pt x="590" y="32"/>
                    </a:lnTo>
                    <a:lnTo>
                      <a:pt x="596" y="30"/>
                    </a:lnTo>
                    <a:lnTo>
                      <a:pt x="601" y="30"/>
                    </a:lnTo>
                    <a:lnTo>
                      <a:pt x="606" y="33"/>
                    </a:lnTo>
                    <a:lnTo>
                      <a:pt x="610" y="37"/>
                    </a:lnTo>
                    <a:lnTo>
                      <a:pt x="613" y="38"/>
                    </a:lnTo>
                    <a:lnTo>
                      <a:pt x="618" y="37"/>
                    </a:lnTo>
                    <a:lnTo>
                      <a:pt x="620" y="38"/>
                    </a:lnTo>
                    <a:lnTo>
                      <a:pt x="624" y="38"/>
                    </a:lnTo>
                    <a:lnTo>
                      <a:pt x="629" y="35"/>
                    </a:lnTo>
                    <a:lnTo>
                      <a:pt x="629" y="32"/>
                    </a:lnTo>
                    <a:lnTo>
                      <a:pt x="638" y="32"/>
                    </a:lnTo>
                    <a:lnTo>
                      <a:pt x="646" y="33"/>
                    </a:lnTo>
                    <a:lnTo>
                      <a:pt x="649" y="37"/>
                    </a:lnTo>
                    <a:lnTo>
                      <a:pt x="644" y="70"/>
                    </a:lnTo>
                    <a:lnTo>
                      <a:pt x="646" y="78"/>
                    </a:lnTo>
                    <a:lnTo>
                      <a:pt x="643" y="83"/>
                    </a:lnTo>
                    <a:lnTo>
                      <a:pt x="644" y="88"/>
                    </a:lnTo>
                    <a:lnTo>
                      <a:pt x="641" y="98"/>
                    </a:lnTo>
                    <a:lnTo>
                      <a:pt x="644" y="105"/>
                    </a:lnTo>
                    <a:lnTo>
                      <a:pt x="656" y="110"/>
                    </a:lnTo>
                    <a:lnTo>
                      <a:pt x="664" y="105"/>
                    </a:lnTo>
                    <a:lnTo>
                      <a:pt x="674" y="105"/>
                    </a:lnTo>
                    <a:lnTo>
                      <a:pt x="684" y="106"/>
                    </a:lnTo>
                    <a:lnTo>
                      <a:pt x="689" y="110"/>
                    </a:lnTo>
                    <a:lnTo>
                      <a:pt x="694" y="101"/>
                    </a:lnTo>
                    <a:lnTo>
                      <a:pt x="694" y="98"/>
                    </a:lnTo>
                    <a:lnTo>
                      <a:pt x="694" y="93"/>
                    </a:lnTo>
                    <a:lnTo>
                      <a:pt x="701" y="92"/>
                    </a:lnTo>
                    <a:lnTo>
                      <a:pt x="704" y="90"/>
                    </a:lnTo>
                    <a:lnTo>
                      <a:pt x="714" y="92"/>
                    </a:lnTo>
                    <a:lnTo>
                      <a:pt x="721" y="100"/>
                    </a:lnTo>
                    <a:lnTo>
                      <a:pt x="729" y="106"/>
                    </a:lnTo>
                    <a:lnTo>
                      <a:pt x="736" y="115"/>
                    </a:lnTo>
                    <a:lnTo>
                      <a:pt x="746" y="120"/>
                    </a:lnTo>
                    <a:lnTo>
                      <a:pt x="746" y="123"/>
                    </a:lnTo>
                    <a:lnTo>
                      <a:pt x="747" y="126"/>
                    </a:lnTo>
                    <a:lnTo>
                      <a:pt x="747" y="131"/>
                    </a:lnTo>
                    <a:lnTo>
                      <a:pt x="746" y="133"/>
                    </a:lnTo>
                    <a:lnTo>
                      <a:pt x="746" y="136"/>
                    </a:lnTo>
                    <a:lnTo>
                      <a:pt x="744" y="138"/>
                    </a:lnTo>
                    <a:lnTo>
                      <a:pt x="739" y="138"/>
                    </a:lnTo>
                    <a:lnTo>
                      <a:pt x="737" y="136"/>
                    </a:lnTo>
                    <a:lnTo>
                      <a:pt x="732" y="136"/>
                    </a:lnTo>
                    <a:lnTo>
                      <a:pt x="729" y="138"/>
                    </a:lnTo>
                    <a:lnTo>
                      <a:pt x="722" y="136"/>
                    </a:lnTo>
                    <a:lnTo>
                      <a:pt x="719" y="136"/>
                    </a:lnTo>
                    <a:lnTo>
                      <a:pt x="714" y="141"/>
                    </a:lnTo>
                    <a:lnTo>
                      <a:pt x="708" y="146"/>
                    </a:lnTo>
                    <a:lnTo>
                      <a:pt x="704" y="150"/>
                    </a:lnTo>
                    <a:lnTo>
                      <a:pt x="699" y="146"/>
                    </a:lnTo>
                    <a:lnTo>
                      <a:pt x="698" y="146"/>
                    </a:lnTo>
                    <a:lnTo>
                      <a:pt x="698" y="151"/>
                    </a:lnTo>
                    <a:lnTo>
                      <a:pt x="696" y="153"/>
                    </a:lnTo>
                    <a:lnTo>
                      <a:pt x="693" y="153"/>
                    </a:lnTo>
                    <a:lnTo>
                      <a:pt x="689" y="153"/>
                    </a:lnTo>
                    <a:lnTo>
                      <a:pt x="688" y="156"/>
                    </a:lnTo>
                    <a:lnTo>
                      <a:pt x="684" y="161"/>
                    </a:lnTo>
                    <a:lnTo>
                      <a:pt x="683" y="168"/>
                    </a:lnTo>
                    <a:lnTo>
                      <a:pt x="683" y="173"/>
                    </a:lnTo>
                    <a:lnTo>
                      <a:pt x="681" y="176"/>
                    </a:lnTo>
                    <a:lnTo>
                      <a:pt x="674" y="176"/>
                    </a:lnTo>
                    <a:lnTo>
                      <a:pt x="664" y="183"/>
                    </a:lnTo>
                    <a:lnTo>
                      <a:pt x="659" y="183"/>
                    </a:lnTo>
                    <a:lnTo>
                      <a:pt x="653" y="183"/>
                    </a:lnTo>
                    <a:lnTo>
                      <a:pt x="649" y="185"/>
                    </a:lnTo>
                    <a:lnTo>
                      <a:pt x="646" y="193"/>
                    </a:lnTo>
                    <a:lnTo>
                      <a:pt x="641" y="196"/>
                    </a:lnTo>
                    <a:lnTo>
                      <a:pt x="636" y="199"/>
                    </a:lnTo>
                    <a:lnTo>
                      <a:pt x="633" y="203"/>
                    </a:lnTo>
                    <a:lnTo>
                      <a:pt x="631" y="206"/>
                    </a:lnTo>
                    <a:lnTo>
                      <a:pt x="628" y="206"/>
                    </a:lnTo>
                    <a:lnTo>
                      <a:pt x="623" y="204"/>
                    </a:lnTo>
                    <a:lnTo>
                      <a:pt x="618" y="203"/>
                    </a:lnTo>
                    <a:lnTo>
                      <a:pt x="610" y="201"/>
                    </a:lnTo>
                    <a:lnTo>
                      <a:pt x="605" y="198"/>
                    </a:lnTo>
                    <a:lnTo>
                      <a:pt x="598" y="196"/>
                    </a:lnTo>
                    <a:lnTo>
                      <a:pt x="588" y="199"/>
                    </a:lnTo>
                    <a:lnTo>
                      <a:pt x="583" y="203"/>
                    </a:lnTo>
                    <a:lnTo>
                      <a:pt x="580" y="208"/>
                    </a:lnTo>
                    <a:lnTo>
                      <a:pt x="580" y="216"/>
                    </a:lnTo>
                    <a:lnTo>
                      <a:pt x="580" y="221"/>
                    </a:lnTo>
                    <a:lnTo>
                      <a:pt x="580" y="224"/>
                    </a:lnTo>
                    <a:lnTo>
                      <a:pt x="590" y="231"/>
                    </a:lnTo>
                    <a:lnTo>
                      <a:pt x="600" y="236"/>
                    </a:lnTo>
                    <a:lnTo>
                      <a:pt x="600" y="239"/>
                    </a:lnTo>
                    <a:lnTo>
                      <a:pt x="598" y="243"/>
                    </a:lnTo>
                    <a:lnTo>
                      <a:pt x="595" y="248"/>
                    </a:lnTo>
                    <a:lnTo>
                      <a:pt x="585" y="258"/>
                    </a:lnTo>
                    <a:lnTo>
                      <a:pt x="578" y="268"/>
                    </a:lnTo>
                    <a:lnTo>
                      <a:pt x="575" y="274"/>
                    </a:lnTo>
                    <a:lnTo>
                      <a:pt x="570" y="274"/>
                    </a:lnTo>
                    <a:lnTo>
                      <a:pt x="563" y="278"/>
                    </a:lnTo>
                    <a:lnTo>
                      <a:pt x="556" y="278"/>
                    </a:lnTo>
                    <a:lnTo>
                      <a:pt x="550" y="281"/>
                    </a:lnTo>
                    <a:lnTo>
                      <a:pt x="543" y="286"/>
                    </a:lnTo>
                    <a:lnTo>
                      <a:pt x="536" y="286"/>
                    </a:lnTo>
                    <a:lnTo>
                      <a:pt x="526" y="288"/>
                    </a:lnTo>
                    <a:lnTo>
                      <a:pt x="520" y="289"/>
                    </a:lnTo>
                    <a:lnTo>
                      <a:pt x="512" y="291"/>
                    </a:lnTo>
                    <a:lnTo>
                      <a:pt x="495" y="296"/>
                    </a:lnTo>
                    <a:lnTo>
                      <a:pt x="482" y="301"/>
                    </a:lnTo>
                    <a:lnTo>
                      <a:pt x="475" y="307"/>
                    </a:lnTo>
                    <a:lnTo>
                      <a:pt x="463" y="316"/>
                    </a:lnTo>
                    <a:lnTo>
                      <a:pt x="460" y="319"/>
                    </a:lnTo>
                    <a:lnTo>
                      <a:pt x="453" y="319"/>
                    </a:lnTo>
                    <a:lnTo>
                      <a:pt x="447" y="317"/>
                    </a:lnTo>
                    <a:lnTo>
                      <a:pt x="447" y="314"/>
                    </a:lnTo>
                    <a:lnTo>
                      <a:pt x="445" y="311"/>
                    </a:lnTo>
                    <a:lnTo>
                      <a:pt x="435" y="314"/>
                    </a:lnTo>
                    <a:lnTo>
                      <a:pt x="427" y="314"/>
                    </a:lnTo>
                    <a:lnTo>
                      <a:pt x="419" y="311"/>
                    </a:lnTo>
                    <a:lnTo>
                      <a:pt x="412" y="311"/>
                    </a:lnTo>
                    <a:lnTo>
                      <a:pt x="397" y="304"/>
                    </a:lnTo>
                    <a:lnTo>
                      <a:pt x="380" y="299"/>
                    </a:lnTo>
                    <a:lnTo>
                      <a:pt x="374" y="291"/>
                    </a:lnTo>
                    <a:lnTo>
                      <a:pt x="367" y="291"/>
                    </a:lnTo>
                    <a:lnTo>
                      <a:pt x="349" y="289"/>
                    </a:lnTo>
                    <a:lnTo>
                      <a:pt x="334" y="289"/>
                    </a:lnTo>
                    <a:lnTo>
                      <a:pt x="330" y="289"/>
                    </a:lnTo>
                    <a:lnTo>
                      <a:pt x="327" y="291"/>
                    </a:lnTo>
                    <a:lnTo>
                      <a:pt x="327" y="293"/>
                    </a:lnTo>
                    <a:lnTo>
                      <a:pt x="319" y="296"/>
                    </a:lnTo>
                    <a:lnTo>
                      <a:pt x="307" y="297"/>
                    </a:lnTo>
                    <a:lnTo>
                      <a:pt x="287" y="296"/>
                    </a:lnTo>
                    <a:lnTo>
                      <a:pt x="272" y="296"/>
                    </a:lnTo>
                    <a:lnTo>
                      <a:pt x="261" y="296"/>
                    </a:lnTo>
                    <a:lnTo>
                      <a:pt x="251" y="296"/>
                    </a:lnTo>
                    <a:lnTo>
                      <a:pt x="246" y="297"/>
                    </a:lnTo>
                    <a:lnTo>
                      <a:pt x="242" y="296"/>
                    </a:lnTo>
                    <a:lnTo>
                      <a:pt x="237" y="286"/>
                    </a:lnTo>
                    <a:lnTo>
                      <a:pt x="234" y="281"/>
                    </a:lnTo>
                    <a:lnTo>
                      <a:pt x="229" y="274"/>
                    </a:lnTo>
                    <a:lnTo>
                      <a:pt x="226" y="269"/>
                    </a:lnTo>
                    <a:lnTo>
                      <a:pt x="223" y="264"/>
                    </a:lnTo>
                    <a:lnTo>
                      <a:pt x="223" y="261"/>
                    </a:lnTo>
                    <a:lnTo>
                      <a:pt x="219" y="258"/>
                    </a:lnTo>
                    <a:lnTo>
                      <a:pt x="216" y="256"/>
                    </a:lnTo>
                    <a:lnTo>
                      <a:pt x="213" y="256"/>
                    </a:lnTo>
                    <a:lnTo>
                      <a:pt x="213" y="254"/>
                    </a:lnTo>
                    <a:lnTo>
                      <a:pt x="211" y="249"/>
                    </a:lnTo>
                    <a:lnTo>
                      <a:pt x="209" y="249"/>
                    </a:lnTo>
                    <a:lnTo>
                      <a:pt x="208" y="249"/>
                    </a:lnTo>
                    <a:lnTo>
                      <a:pt x="201" y="249"/>
                    </a:lnTo>
                    <a:lnTo>
                      <a:pt x="194" y="246"/>
                    </a:lnTo>
                    <a:lnTo>
                      <a:pt x="186" y="241"/>
                    </a:lnTo>
                    <a:lnTo>
                      <a:pt x="183" y="239"/>
                    </a:lnTo>
                    <a:lnTo>
                      <a:pt x="181" y="239"/>
                    </a:lnTo>
                    <a:lnTo>
                      <a:pt x="176" y="239"/>
                    </a:lnTo>
                    <a:lnTo>
                      <a:pt x="174" y="238"/>
                    </a:lnTo>
                    <a:lnTo>
                      <a:pt x="166" y="233"/>
                    </a:lnTo>
                    <a:lnTo>
                      <a:pt x="151" y="229"/>
                    </a:lnTo>
                    <a:lnTo>
                      <a:pt x="149" y="229"/>
                    </a:lnTo>
                    <a:lnTo>
                      <a:pt x="146" y="231"/>
                    </a:lnTo>
                    <a:lnTo>
                      <a:pt x="139" y="231"/>
                    </a:lnTo>
                    <a:lnTo>
                      <a:pt x="129" y="233"/>
                    </a:lnTo>
                    <a:lnTo>
                      <a:pt x="106" y="228"/>
                    </a:lnTo>
                    <a:lnTo>
                      <a:pt x="101" y="224"/>
                    </a:lnTo>
                    <a:lnTo>
                      <a:pt x="95" y="218"/>
                    </a:lnTo>
                    <a:lnTo>
                      <a:pt x="95" y="214"/>
                    </a:lnTo>
                    <a:lnTo>
                      <a:pt x="95" y="211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1" y="201"/>
                    </a:lnTo>
                    <a:lnTo>
                      <a:pt x="98" y="199"/>
                    </a:lnTo>
                    <a:lnTo>
                      <a:pt x="96" y="193"/>
                    </a:lnTo>
                    <a:lnTo>
                      <a:pt x="98" y="191"/>
                    </a:lnTo>
                    <a:lnTo>
                      <a:pt x="98" y="186"/>
                    </a:lnTo>
                    <a:lnTo>
                      <a:pt x="96" y="183"/>
                    </a:lnTo>
                    <a:lnTo>
                      <a:pt x="93" y="180"/>
                    </a:lnTo>
                    <a:lnTo>
                      <a:pt x="90" y="178"/>
                    </a:lnTo>
                    <a:lnTo>
                      <a:pt x="85" y="175"/>
                    </a:lnTo>
                    <a:lnTo>
                      <a:pt x="83" y="171"/>
                    </a:lnTo>
                    <a:lnTo>
                      <a:pt x="81" y="168"/>
                    </a:lnTo>
                    <a:lnTo>
                      <a:pt x="80" y="163"/>
                    </a:lnTo>
                    <a:lnTo>
                      <a:pt x="80" y="160"/>
                    </a:lnTo>
                    <a:lnTo>
                      <a:pt x="76" y="156"/>
                    </a:lnTo>
                    <a:lnTo>
                      <a:pt x="73" y="153"/>
                    </a:lnTo>
                    <a:lnTo>
                      <a:pt x="70" y="153"/>
                    </a:lnTo>
                    <a:lnTo>
                      <a:pt x="66" y="150"/>
                    </a:lnTo>
                    <a:lnTo>
                      <a:pt x="63" y="148"/>
                    </a:lnTo>
                    <a:lnTo>
                      <a:pt x="60" y="148"/>
                    </a:lnTo>
                    <a:lnTo>
                      <a:pt x="56" y="151"/>
                    </a:lnTo>
                    <a:lnTo>
                      <a:pt x="55" y="151"/>
                    </a:lnTo>
                    <a:lnTo>
                      <a:pt x="51" y="151"/>
                    </a:lnTo>
                    <a:lnTo>
                      <a:pt x="48" y="146"/>
                    </a:lnTo>
                    <a:lnTo>
                      <a:pt x="46" y="145"/>
                    </a:lnTo>
                    <a:lnTo>
                      <a:pt x="41" y="145"/>
                    </a:lnTo>
                    <a:lnTo>
                      <a:pt x="38" y="148"/>
                    </a:lnTo>
                    <a:lnTo>
                      <a:pt x="35" y="150"/>
                    </a:lnTo>
                    <a:lnTo>
                      <a:pt x="35" y="151"/>
                    </a:lnTo>
                    <a:lnTo>
                      <a:pt x="33" y="151"/>
                    </a:lnTo>
                    <a:lnTo>
                      <a:pt x="28" y="150"/>
                    </a:lnTo>
                    <a:lnTo>
                      <a:pt x="27" y="146"/>
                    </a:lnTo>
                    <a:lnTo>
                      <a:pt x="27" y="145"/>
                    </a:lnTo>
                    <a:lnTo>
                      <a:pt x="23" y="140"/>
                    </a:lnTo>
                    <a:lnTo>
                      <a:pt x="18" y="138"/>
                    </a:lnTo>
                    <a:lnTo>
                      <a:pt x="15" y="135"/>
                    </a:lnTo>
                    <a:lnTo>
                      <a:pt x="12" y="133"/>
                    </a:lnTo>
                    <a:lnTo>
                      <a:pt x="10" y="131"/>
                    </a:lnTo>
                    <a:lnTo>
                      <a:pt x="8" y="128"/>
                    </a:lnTo>
                    <a:lnTo>
                      <a:pt x="8" y="125"/>
                    </a:lnTo>
                    <a:lnTo>
                      <a:pt x="7" y="123"/>
                    </a:lnTo>
                    <a:lnTo>
                      <a:pt x="5" y="123"/>
                    </a:lnTo>
                    <a:lnTo>
                      <a:pt x="5" y="125"/>
                    </a:lnTo>
                    <a:lnTo>
                      <a:pt x="3" y="125"/>
                    </a:lnTo>
                    <a:lnTo>
                      <a:pt x="2" y="121"/>
                    </a:lnTo>
                    <a:lnTo>
                      <a:pt x="0" y="121"/>
                    </a:lnTo>
                    <a:lnTo>
                      <a:pt x="0" y="116"/>
                    </a:lnTo>
                    <a:lnTo>
                      <a:pt x="0" y="1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4" name="Freeform 11"/>
              <p:cNvSpPr>
                <a:spLocks/>
              </p:cNvSpPr>
              <p:nvPr/>
            </p:nvSpPr>
            <p:spPr bwMode="auto">
              <a:xfrm>
                <a:off x="6967263" y="2534064"/>
                <a:ext cx="493384" cy="226194"/>
              </a:xfrm>
              <a:custGeom>
                <a:avLst/>
                <a:gdLst/>
                <a:ahLst/>
                <a:cxnLst>
                  <a:cxn ang="0">
                    <a:pos x="23" y="254"/>
                  </a:cxn>
                  <a:cxn ang="0">
                    <a:pos x="1" y="203"/>
                  </a:cxn>
                  <a:cxn ang="0">
                    <a:pos x="45" y="196"/>
                  </a:cxn>
                  <a:cxn ang="0">
                    <a:pos x="66" y="156"/>
                  </a:cxn>
                  <a:cxn ang="0">
                    <a:pos x="89" y="148"/>
                  </a:cxn>
                  <a:cxn ang="0">
                    <a:pos x="106" y="145"/>
                  </a:cxn>
                  <a:cxn ang="0">
                    <a:pos x="146" y="156"/>
                  </a:cxn>
                  <a:cxn ang="0">
                    <a:pos x="174" y="164"/>
                  </a:cxn>
                  <a:cxn ang="0">
                    <a:pos x="209" y="156"/>
                  </a:cxn>
                  <a:cxn ang="0">
                    <a:pos x="242" y="156"/>
                  </a:cxn>
                  <a:cxn ang="0">
                    <a:pos x="265" y="168"/>
                  </a:cxn>
                  <a:cxn ang="0">
                    <a:pos x="310" y="166"/>
                  </a:cxn>
                  <a:cxn ang="0">
                    <a:pos x="295" y="131"/>
                  </a:cxn>
                  <a:cxn ang="0">
                    <a:pos x="292" y="110"/>
                  </a:cxn>
                  <a:cxn ang="0">
                    <a:pos x="312" y="81"/>
                  </a:cxn>
                  <a:cxn ang="0">
                    <a:pos x="294" y="73"/>
                  </a:cxn>
                  <a:cxn ang="0">
                    <a:pos x="309" y="61"/>
                  </a:cxn>
                  <a:cxn ang="0">
                    <a:pos x="339" y="53"/>
                  </a:cxn>
                  <a:cxn ang="0">
                    <a:pos x="380" y="43"/>
                  </a:cxn>
                  <a:cxn ang="0">
                    <a:pos x="405" y="30"/>
                  </a:cxn>
                  <a:cxn ang="0">
                    <a:pos x="443" y="12"/>
                  </a:cxn>
                  <a:cxn ang="0">
                    <a:pos x="475" y="2"/>
                  </a:cxn>
                  <a:cxn ang="0">
                    <a:pos x="510" y="20"/>
                  </a:cxn>
                  <a:cxn ang="0">
                    <a:pos x="520" y="38"/>
                  </a:cxn>
                  <a:cxn ang="0">
                    <a:pos x="540" y="33"/>
                  </a:cxn>
                  <a:cxn ang="0">
                    <a:pos x="563" y="42"/>
                  </a:cxn>
                  <a:cxn ang="0">
                    <a:pos x="579" y="52"/>
                  </a:cxn>
                  <a:cxn ang="0">
                    <a:pos x="616" y="37"/>
                  </a:cxn>
                  <a:cxn ang="0">
                    <a:pos x="639" y="32"/>
                  </a:cxn>
                  <a:cxn ang="0">
                    <a:pos x="749" y="120"/>
                  </a:cxn>
                  <a:cxn ang="0">
                    <a:pos x="780" y="130"/>
                  </a:cxn>
                  <a:cxn ang="0">
                    <a:pos x="819" y="121"/>
                  </a:cxn>
                  <a:cxn ang="0">
                    <a:pos x="857" y="146"/>
                  </a:cxn>
                  <a:cxn ang="0">
                    <a:pos x="872" y="164"/>
                  </a:cxn>
                  <a:cxn ang="0">
                    <a:pos x="903" y="161"/>
                  </a:cxn>
                  <a:cxn ang="0">
                    <a:pos x="907" y="189"/>
                  </a:cxn>
                  <a:cxn ang="0">
                    <a:pos x="895" y="236"/>
                  </a:cxn>
                  <a:cxn ang="0">
                    <a:pos x="849" y="239"/>
                  </a:cxn>
                  <a:cxn ang="0">
                    <a:pos x="835" y="287"/>
                  </a:cxn>
                  <a:cxn ang="0">
                    <a:pos x="817" y="299"/>
                  </a:cxn>
                  <a:cxn ang="0">
                    <a:pos x="794" y="314"/>
                  </a:cxn>
                  <a:cxn ang="0">
                    <a:pos x="807" y="347"/>
                  </a:cxn>
                  <a:cxn ang="0">
                    <a:pos x="807" y="382"/>
                  </a:cxn>
                  <a:cxn ang="0">
                    <a:pos x="721" y="369"/>
                  </a:cxn>
                  <a:cxn ang="0">
                    <a:pos x="662" y="369"/>
                  </a:cxn>
                  <a:cxn ang="0">
                    <a:pos x="611" y="384"/>
                  </a:cxn>
                  <a:cxn ang="0">
                    <a:pos x="579" y="400"/>
                  </a:cxn>
                  <a:cxn ang="0">
                    <a:pos x="520" y="429"/>
                  </a:cxn>
                  <a:cxn ang="0">
                    <a:pos x="410" y="357"/>
                  </a:cxn>
                  <a:cxn ang="0">
                    <a:pos x="226" y="420"/>
                  </a:cxn>
                  <a:cxn ang="0">
                    <a:pos x="167" y="400"/>
                  </a:cxn>
                  <a:cxn ang="0">
                    <a:pos x="144" y="390"/>
                  </a:cxn>
                  <a:cxn ang="0">
                    <a:pos x="124" y="369"/>
                  </a:cxn>
                  <a:cxn ang="0">
                    <a:pos x="108" y="349"/>
                  </a:cxn>
                  <a:cxn ang="0">
                    <a:pos x="134" y="349"/>
                  </a:cxn>
                  <a:cxn ang="0">
                    <a:pos x="123" y="329"/>
                  </a:cxn>
                  <a:cxn ang="0">
                    <a:pos x="154" y="324"/>
                  </a:cxn>
                  <a:cxn ang="0">
                    <a:pos x="161" y="309"/>
                  </a:cxn>
                  <a:cxn ang="0">
                    <a:pos x="159" y="286"/>
                  </a:cxn>
                  <a:cxn ang="0">
                    <a:pos x="136" y="281"/>
                  </a:cxn>
                  <a:cxn ang="0">
                    <a:pos x="123" y="276"/>
                  </a:cxn>
                  <a:cxn ang="0">
                    <a:pos x="99" y="282"/>
                  </a:cxn>
                  <a:cxn ang="0">
                    <a:pos x="78" y="292"/>
                  </a:cxn>
                </a:cxnLst>
                <a:rect l="0" t="0" r="r" b="b"/>
                <a:pathLst>
                  <a:path w="922" h="437">
                    <a:moveTo>
                      <a:pt x="71" y="294"/>
                    </a:moveTo>
                    <a:lnTo>
                      <a:pt x="65" y="289"/>
                    </a:lnTo>
                    <a:lnTo>
                      <a:pt x="58" y="291"/>
                    </a:lnTo>
                    <a:lnTo>
                      <a:pt x="50" y="286"/>
                    </a:lnTo>
                    <a:lnTo>
                      <a:pt x="50" y="282"/>
                    </a:lnTo>
                    <a:lnTo>
                      <a:pt x="60" y="282"/>
                    </a:lnTo>
                    <a:lnTo>
                      <a:pt x="50" y="267"/>
                    </a:lnTo>
                    <a:lnTo>
                      <a:pt x="38" y="257"/>
                    </a:lnTo>
                    <a:lnTo>
                      <a:pt x="23" y="254"/>
                    </a:lnTo>
                    <a:lnTo>
                      <a:pt x="21" y="257"/>
                    </a:lnTo>
                    <a:lnTo>
                      <a:pt x="13" y="251"/>
                    </a:lnTo>
                    <a:lnTo>
                      <a:pt x="15" y="248"/>
                    </a:lnTo>
                    <a:lnTo>
                      <a:pt x="10" y="243"/>
                    </a:lnTo>
                    <a:lnTo>
                      <a:pt x="0" y="239"/>
                    </a:lnTo>
                    <a:lnTo>
                      <a:pt x="3" y="231"/>
                    </a:lnTo>
                    <a:lnTo>
                      <a:pt x="6" y="218"/>
                    </a:lnTo>
                    <a:lnTo>
                      <a:pt x="3" y="214"/>
                    </a:lnTo>
                    <a:lnTo>
                      <a:pt x="1" y="203"/>
                    </a:lnTo>
                    <a:lnTo>
                      <a:pt x="6" y="201"/>
                    </a:lnTo>
                    <a:lnTo>
                      <a:pt x="11" y="194"/>
                    </a:lnTo>
                    <a:lnTo>
                      <a:pt x="11" y="189"/>
                    </a:lnTo>
                    <a:lnTo>
                      <a:pt x="16" y="184"/>
                    </a:lnTo>
                    <a:lnTo>
                      <a:pt x="28" y="194"/>
                    </a:lnTo>
                    <a:lnTo>
                      <a:pt x="30" y="199"/>
                    </a:lnTo>
                    <a:lnTo>
                      <a:pt x="38" y="203"/>
                    </a:lnTo>
                    <a:lnTo>
                      <a:pt x="45" y="203"/>
                    </a:lnTo>
                    <a:lnTo>
                      <a:pt x="45" y="196"/>
                    </a:lnTo>
                    <a:lnTo>
                      <a:pt x="48" y="194"/>
                    </a:lnTo>
                    <a:lnTo>
                      <a:pt x="41" y="176"/>
                    </a:lnTo>
                    <a:lnTo>
                      <a:pt x="50" y="176"/>
                    </a:lnTo>
                    <a:lnTo>
                      <a:pt x="56" y="176"/>
                    </a:lnTo>
                    <a:lnTo>
                      <a:pt x="56" y="169"/>
                    </a:lnTo>
                    <a:lnTo>
                      <a:pt x="53" y="166"/>
                    </a:lnTo>
                    <a:lnTo>
                      <a:pt x="55" y="161"/>
                    </a:lnTo>
                    <a:lnTo>
                      <a:pt x="63" y="158"/>
                    </a:lnTo>
                    <a:lnTo>
                      <a:pt x="66" y="156"/>
                    </a:lnTo>
                    <a:lnTo>
                      <a:pt x="68" y="151"/>
                    </a:lnTo>
                    <a:lnTo>
                      <a:pt x="71" y="148"/>
                    </a:lnTo>
                    <a:lnTo>
                      <a:pt x="76" y="150"/>
                    </a:lnTo>
                    <a:lnTo>
                      <a:pt x="78" y="146"/>
                    </a:lnTo>
                    <a:lnTo>
                      <a:pt x="76" y="141"/>
                    </a:lnTo>
                    <a:lnTo>
                      <a:pt x="78" y="140"/>
                    </a:lnTo>
                    <a:lnTo>
                      <a:pt x="84" y="143"/>
                    </a:lnTo>
                    <a:lnTo>
                      <a:pt x="89" y="145"/>
                    </a:lnTo>
                    <a:lnTo>
                      <a:pt x="89" y="148"/>
                    </a:lnTo>
                    <a:lnTo>
                      <a:pt x="86" y="151"/>
                    </a:lnTo>
                    <a:lnTo>
                      <a:pt x="88" y="155"/>
                    </a:lnTo>
                    <a:lnTo>
                      <a:pt x="93" y="151"/>
                    </a:lnTo>
                    <a:lnTo>
                      <a:pt x="94" y="148"/>
                    </a:lnTo>
                    <a:lnTo>
                      <a:pt x="98" y="146"/>
                    </a:lnTo>
                    <a:lnTo>
                      <a:pt x="98" y="150"/>
                    </a:lnTo>
                    <a:lnTo>
                      <a:pt x="101" y="146"/>
                    </a:lnTo>
                    <a:lnTo>
                      <a:pt x="101" y="145"/>
                    </a:lnTo>
                    <a:lnTo>
                      <a:pt x="106" y="145"/>
                    </a:lnTo>
                    <a:lnTo>
                      <a:pt x="111" y="141"/>
                    </a:lnTo>
                    <a:lnTo>
                      <a:pt x="116" y="141"/>
                    </a:lnTo>
                    <a:lnTo>
                      <a:pt x="118" y="146"/>
                    </a:lnTo>
                    <a:lnTo>
                      <a:pt x="124" y="150"/>
                    </a:lnTo>
                    <a:lnTo>
                      <a:pt x="133" y="148"/>
                    </a:lnTo>
                    <a:lnTo>
                      <a:pt x="136" y="148"/>
                    </a:lnTo>
                    <a:lnTo>
                      <a:pt x="139" y="151"/>
                    </a:lnTo>
                    <a:lnTo>
                      <a:pt x="141" y="151"/>
                    </a:lnTo>
                    <a:lnTo>
                      <a:pt x="146" y="156"/>
                    </a:lnTo>
                    <a:lnTo>
                      <a:pt x="153" y="156"/>
                    </a:lnTo>
                    <a:lnTo>
                      <a:pt x="156" y="161"/>
                    </a:lnTo>
                    <a:lnTo>
                      <a:pt x="163" y="166"/>
                    </a:lnTo>
                    <a:lnTo>
                      <a:pt x="166" y="166"/>
                    </a:lnTo>
                    <a:lnTo>
                      <a:pt x="167" y="169"/>
                    </a:lnTo>
                    <a:lnTo>
                      <a:pt x="169" y="174"/>
                    </a:lnTo>
                    <a:lnTo>
                      <a:pt x="171" y="174"/>
                    </a:lnTo>
                    <a:lnTo>
                      <a:pt x="174" y="171"/>
                    </a:lnTo>
                    <a:lnTo>
                      <a:pt x="174" y="164"/>
                    </a:lnTo>
                    <a:lnTo>
                      <a:pt x="179" y="163"/>
                    </a:lnTo>
                    <a:lnTo>
                      <a:pt x="182" y="166"/>
                    </a:lnTo>
                    <a:lnTo>
                      <a:pt x="191" y="168"/>
                    </a:lnTo>
                    <a:lnTo>
                      <a:pt x="194" y="173"/>
                    </a:lnTo>
                    <a:lnTo>
                      <a:pt x="197" y="173"/>
                    </a:lnTo>
                    <a:lnTo>
                      <a:pt x="204" y="169"/>
                    </a:lnTo>
                    <a:lnTo>
                      <a:pt x="204" y="161"/>
                    </a:lnTo>
                    <a:lnTo>
                      <a:pt x="209" y="161"/>
                    </a:lnTo>
                    <a:lnTo>
                      <a:pt x="209" y="156"/>
                    </a:lnTo>
                    <a:lnTo>
                      <a:pt x="214" y="156"/>
                    </a:lnTo>
                    <a:lnTo>
                      <a:pt x="216" y="159"/>
                    </a:lnTo>
                    <a:lnTo>
                      <a:pt x="219" y="155"/>
                    </a:lnTo>
                    <a:lnTo>
                      <a:pt x="224" y="155"/>
                    </a:lnTo>
                    <a:lnTo>
                      <a:pt x="231" y="159"/>
                    </a:lnTo>
                    <a:lnTo>
                      <a:pt x="232" y="163"/>
                    </a:lnTo>
                    <a:lnTo>
                      <a:pt x="239" y="163"/>
                    </a:lnTo>
                    <a:lnTo>
                      <a:pt x="239" y="156"/>
                    </a:lnTo>
                    <a:lnTo>
                      <a:pt x="242" y="156"/>
                    </a:lnTo>
                    <a:lnTo>
                      <a:pt x="247" y="156"/>
                    </a:lnTo>
                    <a:lnTo>
                      <a:pt x="251" y="153"/>
                    </a:lnTo>
                    <a:lnTo>
                      <a:pt x="256" y="156"/>
                    </a:lnTo>
                    <a:lnTo>
                      <a:pt x="259" y="158"/>
                    </a:lnTo>
                    <a:lnTo>
                      <a:pt x="257" y="161"/>
                    </a:lnTo>
                    <a:lnTo>
                      <a:pt x="254" y="163"/>
                    </a:lnTo>
                    <a:lnTo>
                      <a:pt x="259" y="168"/>
                    </a:lnTo>
                    <a:lnTo>
                      <a:pt x="264" y="168"/>
                    </a:lnTo>
                    <a:lnTo>
                      <a:pt x="265" y="168"/>
                    </a:lnTo>
                    <a:lnTo>
                      <a:pt x="269" y="169"/>
                    </a:lnTo>
                    <a:lnTo>
                      <a:pt x="275" y="168"/>
                    </a:lnTo>
                    <a:lnTo>
                      <a:pt x="284" y="173"/>
                    </a:lnTo>
                    <a:lnTo>
                      <a:pt x="290" y="173"/>
                    </a:lnTo>
                    <a:lnTo>
                      <a:pt x="292" y="168"/>
                    </a:lnTo>
                    <a:lnTo>
                      <a:pt x="292" y="163"/>
                    </a:lnTo>
                    <a:lnTo>
                      <a:pt x="295" y="161"/>
                    </a:lnTo>
                    <a:lnTo>
                      <a:pt x="302" y="164"/>
                    </a:lnTo>
                    <a:lnTo>
                      <a:pt x="310" y="166"/>
                    </a:lnTo>
                    <a:lnTo>
                      <a:pt x="317" y="163"/>
                    </a:lnTo>
                    <a:lnTo>
                      <a:pt x="320" y="159"/>
                    </a:lnTo>
                    <a:lnTo>
                      <a:pt x="319" y="143"/>
                    </a:lnTo>
                    <a:lnTo>
                      <a:pt x="317" y="141"/>
                    </a:lnTo>
                    <a:lnTo>
                      <a:pt x="309" y="141"/>
                    </a:lnTo>
                    <a:lnTo>
                      <a:pt x="305" y="138"/>
                    </a:lnTo>
                    <a:lnTo>
                      <a:pt x="304" y="135"/>
                    </a:lnTo>
                    <a:lnTo>
                      <a:pt x="299" y="135"/>
                    </a:lnTo>
                    <a:lnTo>
                      <a:pt x="295" y="131"/>
                    </a:lnTo>
                    <a:lnTo>
                      <a:pt x="289" y="131"/>
                    </a:lnTo>
                    <a:lnTo>
                      <a:pt x="289" y="128"/>
                    </a:lnTo>
                    <a:lnTo>
                      <a:pt x="287" y="126"/>
                    </a:lnTo>
                    <a:lnTo>
                      <a:pt x="289" y="123"/>
                    </a:lnTo>
                    <a:lnTo>
                      <a:pt x="292" y="123"/>
                    </a:lnTo>
                    <a:lnTo>
                      <a:pt x="294" y="118"/>
                    </a:lnTo>
                    <a:lnTo>
                      <a:pt x="297" y="115"/>
                    </a:lnTo>
                    <a:lnTo>
                      <a:pt x="295" y="110"/>
                    </a:lnTo>
                    <a:lnTo>
                      <a:pt x="292" y="110"/>
                    </a:lnTo>
                    <a:lnTo>
                      <a:pt x="292" y="105"/>
                    </a:lnTo>
                    <a:lnTo>
                      <a:pt x="297" y="96"/>
                    </a:lnTo>
                    <a:lnTo>
                      <a:pt x="304" y="93"/>
                    </a:lnTo>
                    <a:lnTo>
                      <a:pt x="314" y="91"/>
                    </a:lnTo>
                    <a:lnTo>
                      <a:pt x="317" y="93"/>
                    </a:lnTo>
                    <a:lnTo>
                      <a:pt x="320" y="91"/>
                    </a:lnTo>
                    <a:lnTo>
                      <a:pt x="320" y="86"/>
                    </a:lnTo>
                    <a:lnTo>
                      <a:pt x="315" y="85"/>
                    </a:lnTo>
                    <a:lnTo>
                      <a:pt x="312" y="81"/>
                    </a:lnTo>
                    <a:lnTo>
                      <a:pt x="307" y="81"/>
                    </a:lnTo>
                    <a:lnTo>
                      <a:pt x="305" y="85"/>
                    </a:lnTo>
                    <a:lnTo>
                      <a:pt x="300" y="81"/>
                    </a:lnTo>
                    <a:lnTo>
                      <a:pt x="294" y="81"/>
                    </a:lnTo>
                    <a:lnTo>
                      <a:pt x="294" y="80"/>
                    </a:lnTo>
                    <a:lnTo>
                      <a:pt x="295" y="78"/>
                    </a:lnTo>
                    <a:lnTo>
                      <a:pt x="302" y="78"/>
                    </a:lnTo>
                    <a:lnTo>
                      <a:pt x="300" y="73"/>
                    </a:lnTo>
                    <a:lnTo>
                      <a:pt x="294" y="73"/>
                    </a:lnTo>
                    <a:lnTo>
                      <a:pt x="289" y="71"/>
                    </a:lnTo>
                    <a:lnTo>
                      <a:pt x="292" y="70"/>
                    </a:lnTo>
                    <a:lnTo>
                      <a:pt x="289" y="65"/>
                    </a:lnTo>
                    <a:lnTo>
                      <a:pt x="290" y="63"/>
                    </a:lnTo>
                    <a:lnTo>
                      <a:pt x="295" y="63"/>
                    </a:lnTo>
                    <a:lnTo>
                      <a:pt x="299" y="60"/>
                    </a:lnTo>
                    <a:lnTo>
                      <a:pt x="302" y="60"/>
                    </a:lnTo>
                    <a:lnTo>
                      <a:pt x="304" y="63"/>
                    </a:lnTo>
                    <a:lnTo>
                      <a:pt x="309" y="61"/>
                    </a:lnTo>
                    <a:lnTo>
                      <a:pt x="314" y="65"/>
                    </a:lnTo>
                    <a:lnTo>
                      <a:pt x="315" y="63"/>
                    </a:lnTo>
                    <a:lnTo>
                      <a:pt x="315" y="60"/>
                    </a:lnTo>
                    <a:lnTo>
                      <a:pt x="320" y="58"/>
                    </a:lnTo>
                    <a:lnTo>
                      <a:pt x="324" y="58"/>
                    </a:lnTo>
                    <a:lnTo>
                      <a:pt x="327" y="61"/>
                    </a:lnTo>
                    <a:lnTo>
                      <a:pt x="329" y="60"/>
                    </a:lnTo>
                    <a:lnTo>
                      <a:pt x="330" y="57"/>
                    </a:lnTo>
                    <a:lnTo>
                      <a:pt x="339" y="53"/>
                    </a:lnTo>
                    <a:lnTo>
                      <a:pt x="344" y="53"/>
                    </a:lnTo>
                    <a:lnTo>
                      <a:pt x="350" y="50"/>
                    </a:lnTo>
                    <a:lnTo>
                      <a:pt x="355" y="50"/>
                    </a:lnTo>
                    <a:lnTo>
                      <a:pt x="357" y="48"/>
                    </a:lnTo>
                    <a:lnTo>
                      <a:pt x="363" y="45"/>
                    </a:lnTo>
                    <a:lnTo>
                      <a:pt x="370" y="45"/>
                    </a:lnTo>
                    <a:lnTo>
                      <a:pt x="373" y="42"/>
                    </a:lnTo>
                    <a:lnTo>
                      <a:pt x="377" y="42"/>
                    </a:lnTo>
                    <a:lnTo>
                      <a:pt x="380" y="43"/>
                    </a:lnTo>
                    <a:lnTo>
                      <a:pt x="382" y="42"/>
                    </a:lnTo>
                    <a:lnTo>
                      <a:pt x="382" y="37"/>
                    </a:lnTo>
                    <a:lnTo>
                      <a:pt x="385" y="35"/>
                    </a:lnTo>
                    <a:lnTo>
                      <a:pt x="390" y="35"/>
                    </a:lnTo>
                    <a:lnTo>
                      <a:pt x="390" y="32"/>
                    </a:lnTo>
                    <a:lnTo>
                      <a:pt x="393" y="30"/>
                    </a:lnTo>
                    <a:lnTo>
                      <a:pt x="397" y="32"/>
                    </a:lnTo>
                    <a:lnTo>
                      <a:pt x="400" y="32"/>
                    </a:lnTo>
                    <a:lnTo>
                      <a:pt x="405" y="30"/>
                    </a:lnTo>
                    <a:lnTo>
                      <a:pt x="410" y="28"/>
                    </a:lnTo>
                    <a:lnTo>
                      <a:pt x="420" y="22"/>
                    </a:lnTo>
                    <a:lnTo>
                      <a:pt x="423" y="22"/>
                    </a:lnTo>
                    <a:lnTo>
                      <a:pt x="425" y="20"/>
                    </a:lnTo>
                    <a:lnTo>
                      <a:pt x="430" y="20"/>
                    </a:lnTo>
                    <a:lnTo>
                      <a:pt x="433" y="15"/>
                    </a:lnTo>
                    <a:lnTo>
                      <a:pt x="437" y="17"/>
                    </a:lnTo>
                    <a:lnTo>
                      <a:pt x="443" y="15"/>
                    </a:lnTo>
                    <a:lnTo>
                      <a:pt x="443" y="12"/>
                    </a:lnTo>
                    <a:lnTo>
                      <a:pt x="442" y="8"/>
                    </a:lnTo>
                    <a:lnTo>
                      <a:pt x="443" y="7"/>
                    </a:lnTo>
                    <a:lnTo>
                      <a:pt x="450" y="7"/>
                    </a:lnTo>
                    <a:lnTo>
                      <a:pt x="452" y="3"/>
                    </a:lnTo>
                    <a:lnTo>
                      <a:pt x="457" y="0"/>
                    </a:lnTo>
                    <a:lnTo>
                      <a:pt x="458" y="2"/>
                    </a:lnTo>
                    <a:lnTo>
                      <a:pt x="463" y="0"/>
                    </a:lnTo>
                    <a:lnTo>
                      <a:pt x="468" y="2"/>
                    </a:lnTo>
                    <a:lnTo>
                      <a:pt x="475" y="2"/>
                    </a:lnTo>
                    <a:lnTo>
                      <a:pt x="481" y="5"/>
                    </a:lnTo>
                    <a:lnTo>
                      <a:pt x="486" y="5"/>
                    </a:lnTo>
                    <a:lnTo>
                      <a:pt x="491" y="3"/>
                    </a:lnTo>
                    <a:lnTo>
                      <a:pt x="496" y="3"/>
                    </a:lnTo>
                    <a:lnTo>
                      <a:pt x="500" y="8"/>
                    </a:lnTo>
                    <a:lnTo>
                      <a:pt x="501" y="10"/>
                    </a:lnTo>
                    <a:lnTo>
                      <a:pt x="503" y="15"/>
                    </a:lnTo>
                    <a:lnTo>
                      <a:pt x="506" y="18"/>
                    </a:lnTo>
                    <a:lnTo>
                      <a:pt x="510" y="20"/>
                    </a:lnTo>
                    <a:lnTo>
                      <a:pt x="510" y="22"/>
                    </a:lnTo>
                    <a:lnTo>
                      <a:pt x="508" y="27"/>
                    </a:lnTo>
                    <a:lnTo>
                      <a:pt x="510" y="30"/>
                    </a:lnTo>
                    <a:lnTo>
                      <a:pt x="510" y="32"/>
                    </a:lnTo>
                    <a:lnTo>
                      <a:pt x="505" y="33"/>
                    </a:lnTo>
                    <a:lnTo>
                      <a:pt x="508" y="37"/>
                    </a:lnTo>
                    <a:lnTo>
                      <a:pt x="510" y="38"/>
                    </a:lnTo>
                    <a:lnTo>
                      <a:pt x="516" y="37"/>
                    </a:lnTo>
                    <a:lnTo>
                      <a:pt x="520" y="38"/>
                    </a:lnTo>
                    <a:lnTo>
                      <a:pt x="523" y="38"/>
                    </a:lnTo>
                    <a:lnTo>
                      <a:pt x="523" y="33"/>
                    </a:lnTo>
                    <a:lnTo>
                      <a:pt x="526" y="33"/>
                    </a:lnTo>
                    <a:lnTo>
                      <a:pt x="528" y="37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0" y="30"/>
                    </a:lnTo>
                    <a:lnTo>
                      <a:pt x="531" y="28"/>
                    </a:lnTo>
                    <a:lnTo>
                      <a:pt x="540" y="33"/>
                    </a:lnTo>
                    <a:lnTo>
                      <a:pt x="540" y="42"/>
                    </a:lnTo>
                    <a:lnTo>
                      <a:pt x="543" y="47"/>
                    </a:lnTo>
                    <a:lnTo>
                      <a:pt x="546" y="47"/>
                    </a:lnTo>
                    <a:lnTo>
                      <a:pt x="550" y="43"/>
                    </a:lnTo>
                    <a:lnTo>
                      <a:pt x="548" y="42"/>
                    </a:lnTo>
                    <a:lnTo>
                      <a:pt x="546" y="38"/>
                    </a:lnTo>
                    <a:lnTo>
                      <a:pt x="551" y="38"/>
                    </a:lnTo>
                    <a:lnTo>
                      <a:pt x="560" y="42"/>
                    </a:lnTo>
                    <a:lnTo>
                      <a:pt x="563" y="42"/>
                    </a:lnTo>
                    <a:lnTo>
                      <a:pt x="566" y="40"/>
                    </a:lnTo>
                    <a:lnTo>
                      <a:pt x="569" y="40"/>
                    </a:lnTo>
                    <a:lnTo>
                      <a:pt x="568" y="45"/>
                    </a:lnTo>
                    <a:lnTo>
                      <a:pt x="564" y="47"/>
                    </a:lnTo>
                    <a:lnTo>
                      <a:pt x="564" y="53"/>
                    </a:lnTo>
                    <a:lnTo>
                      <a:pt x="568" y="57"/>
                    </a:lnTo>
                    <a:lnTo>
                      <a:pt x="571" y="57"/>
                    </a:lnTo>
                    <a:lnTo>
                      <a:pt x="574" y="53"/>
                    </a:lnTo>
                    <a:lnTo>
                      <a:pt x="579" y="52"/>
                    </a:lnTo>
                    <a:lnTo>
                      <a:pt x="589" y="55"/>
                    </a:lnTo>
                    <a:lnTo>
                      <a:pt x="591" y="57"/>
                    </a:lnTo>
                    <a:lnTo>
                      <a:pt x="594" y="53"/>
                    </a:lnTo>
                    <a:lnTo>
                      <a:pt x="594" y="48"/>
                    </a:lnTo>
                    <a:lnTo>
                      <a:pt x="598" y="47"/>
                    </a:lnTo>
                    <a:lnTo>
                      <a:pt x="606" y="47"/>
                    </a:lnTo>
                    <a:lnTo>
                      <a:pt x="609" y="43"/>
                    </a:lnTo>
                    <a:lnTo>
                      <a:pt x="611" y="40"/>
                    </a:lnTo>
                    <a:lnTo>
                      <a:pt x="616" y="37"/>
                    </a:lnTo>
                    <a:lnTo>
                      <a:pt x="616" y="33"/>
                    </a:lnTo>
                    <a:lnTo>
                      <a:pt x="621" y="30"/>
                    </a:lnTo>
                    <a:lnTo>
                      <a:pt x="624" y="28"/>
                    </a:lnTo>
                    <a:lnTo>
                      <a:pt x="629" y="25"/>
                    </a:lnTo>
                    <a:lnTo>
                      <a:pt x="634" y="23"/>
                    </a:lnTo>
                    <a:lnTo>
                      <a:pt x="641" y="22"/>
                    </a:lnTo>
                    <a:lnTo>
                      <a:pt x="643" y="23"/>
                    </a:lnTo>
                    <a:lnTo>
                      <a:pt x="643" y="27"/>
                    </a:lnTo>
                    <a:lnTo>
                      <a:pt x="639" y="32"/>
                    </a:lnTo>
                    <a:lnTo>
                      <a:pt x="634" y="32"/>
                    </a:lnTo>
                    <a:lnTo>
                      <a:pt x="638" y="35"/>
                    </a:lnTo>
                    <a:lnTo>
                      <a:pt x="681" y="65"/>
                    </a:lnTo>
                    <a:lnTo>
                      <a:pt x="741" y="131"/>
                    </a:lnTo>
                    <a:lnTo>
                      <a:pt x="746" y="131"/>
                    </a:lnTo>
                    <a:lnTo>
                      <a:pt x="751" y="128"/>
                    </a:lnTo>
                    <a:lnTo>
                      <a:pt x="751" y="126"/>
                    </a:lnTo>
                    <a:lnTo>
                      <a:pt x="749" y="125"/>
                    </a:lnTo>
                    <a:lnTo>
                      <a:pt x="749" y="120"/>
                    </a:lnTo>
                    <a:lnTo>
                      <a:pt x="754" y="118"/>
                    </a:lnTo>
                    <a:lnTo>
                      <a:pt x="760" y="121"/>
                    </a:lnTo>
                    <a:lnTo>
                      <a:pt x="759" y="125"/>
                    </a:lnTo>
                    <a:lnTo>
                      <a:pt x="760" y="128"/>
                    </a:lnTo>
                    <a:lnTo>
                      <a:pt x="765" y="130"/>
                    </a:lnTo>
                    <a:lnTo>
                      <a:pt x="769" y="133"/>
                    </a:lnTo>
                    <a:lnTo>
                      <a:pt x="774" y="133"/>
                    </a:lnTo>
                    <a:lnTo>
                      <a:pt x="777" y="130"/>
                    </a:lnTo>
                    <a:lnTo>
                      <a:pt x="780" y="130"/>
                    </a:lnTo>
                    <a:lnTo>
                      <a:pt x="787" y="133"/>
                    </a:lnTo>
                    <a:lnTo>
                      <a:pt x="792" y="131"/>
                    </a:lnTo>
                    <a:lnTo>
                      <a:pt x="795" y="131"/>
                    </a:lnTo>
                    <a:lnTo>
                      <a:pt x="800" y="130"/>
                    </a:lnTo>
                    <a:lnTo>
                      <a:pt x="802" y="128"/>
                    </a:lnTo>
                    <a:lnTo>
                      <a:pt x="800" y="125"/>
                    </a:lnTo>
                    <a:lnTo>
                      <a:pt x="802" y="123"/>
                    </a:lnTo>
                    <a:lnTo>
                      <a:pt x="809" y="121"/>
                    </a:lnTo>
                    <a:lnTo>
                      <a:pt x="819" y="121"/>
                    </a:lnTo>
                    <a:lnTo>
                      <a:pt x="825" y="125"/>
                    </a:lnTo>
                    <a:lnTo>
                      <a:pt x="832" y="128"/>
                    </a:lnTo>
                    <a:lnTo>
                      <a:pt x="837" y="135"/>
                    </a:lnTo>
                    <a:lnTo>
                      <a:pt x="839" y="140"/>
                    </a:lnTo>
                    <a:lnTo>
                      <a:pt x="842" y="140"/>
                    </a:lnTo>
                    <a:lnTo>
                      <a:pt x="847" y="141"/>
                    </a:lnTo>
                    <a:lnTo>
                      <a:pt x="852" y="145"/>
                    </a:lnTo>
                    <a:lnTo>
                      <a:pt x="854" y="145"/>
                    </a:lnTo>
                    <a:lnTo>
                      <a:pt x="857" y="146"/>
                    </a:lnTo>
                    <a:lnTo>
                      <a:pt x="857" y="150"/>
                    </a:lnTo>
                    <a:lnTo>
                      <a:pt x="857" y="151"/>
                    </a:lnTo>
                    <a:lnTo>
                      <a:pt x="857" y="155"/>
                    </a:lnTo>
                    <a:lnTo>
                      <a:pt x="859" y="158"/>
                    </a:lnTo>
                    <a:lnTo>
                      <a:pt x="860" y="159"/>
                    </a:lnTo>
                    <a:lnTo>
                      <a:pt x="862" y="161"/>
                    </a:lnTo>
                    <a:lnTo>
                      <a:pt x="863" y="161"/>
                    </a:lnTo>
                    <a:lnTo>
                      <a:pt x="868" y="163"/>
                    </a:lnTo>
                    <a:lnTo>
                      <a:pt x="872" y="164"/>
                    </a:lnTo>
                    <a:lnTo>
                      <a:pt x="873" y="161"/>
                    </a:lnTo>
                    <a:lnTo>
                      <a:pt x="877" y="159"/>
                    </a:lnTo>
                    <a:lnTo>
                      <a:pt x="888" y="159"/>
                    </a:lnTo>
                    <a:lnTo>
                      <a:pt x="893" y="158"/>
                    </a:lnTo>
                    <a:lnTo>
                      <a:pt x="897" y="155"/>
                    </a:lnTo>
                    <a:lnTo>
                      <a:pt x="902" y="151"/>
                    </a:lnTo>
                    <a:lnTo>
                      <a:pt x="903" y="153"/>
                    </a:lnTo>
                    <a:lnTo>
                      <a:pt x="902" y="158"/>
                    </a:lnTo>
                    <a:lnTo>
                      <a:pt x="903" y="161"/>
                    </a:lnTo>
                    <a:lnTo>
                      <a:pt x="907" y="163"/>
                    </a:lnTo>
                    <a:lnTo>
                      <a:pt x="912" y="166"/>
                    </a:lnTo>
                    <a:lnTo>
                      <a:pt x="918" y="169"/>
                    </a:lnTo>
                    <a:lnTo>
                      <a:pt x="922" y="171"/>
                    </a:lnTo>
                    <a:lnTo>
                      <a:pt x="917" y="174"/>
                    </a:lnTo>
                    <a:lnTo>
                      <a:pt x="913" y="178"/>
                    </a:lnTo>
                    <a:lnTo>
                      <a:pt x="907" y="183"/>
                    </a:lnTo>
                    <a:lnTo>
                      <a:pt x="907" y="186"/>
                    </a:lnTo>
                    <a:lnTo>
                      <a:pt x="907" y="189"/>
                    </a:lnTo>
                    <a:lnTo>
                      <a:pt x="905" y="194"/>
                    </a:lnTo>
                    <a:lnTo>
                      <a:pt x="897" y="196"/>
                    </a:lnTo>
                    <a:lnTo>
                      <a:pt x="893" y="199"/>
                    </a:lnTo>
                    <a:lnTo>
                      <a:pt x="892" y="204"/>
                    </a:lnTo>
                    <a:lnTo>
                      <a:pt x="892" y="213"/>
                    </a:lnTo>
                    <a:lnTo>
                      <a:pt x="897" y="223"/>
                    </a:lnTo>
                    <a:lnTo>
                      <a:pt x="902" y="228"/>
                    </a:lnTo>
                    <a:lnTo>
                      <a:pt x="902" y="231"/>
                    </a:lnTo>
                    <a:lnTo>
                      <a:pt x="895" y="236"/>
                    </a:lnTo>
                    <a:lnTo>
                      <a:pt x="890" y="238"/>
                    </a:lnTo>
                    <a:lnTo>
                      <a:pt x="885" y="243"/>
                    </a:lnTo>
                    <a:lnTo>
                      <a:pt x="882" y="244"/>
                    </a:lnTo>
                    <a:lnTo>
                      <a:pt x="880" y="243"/>
                    </a:lnTo>
                    <a:lnTo>
                      <a:pt x="878" y="241"/>
                    </a:lnTo>
                    <a:lnTo>
                      <a:pt x="875" y="241"/>
                    </a:lnTo>
                    <a:lnTo>
                      <a:pt x="865" y="243"/>
                    </a:lnTo>
                    <a:lnTo>
                      <a:pt x="859" y="243"/>
                    </a:lnTo>
                    <a:lnTo>
                      <a:pt x="849" y="239"/>
                    </a:lnTo>
                    <a:lnTo>
                      <a:pt x="844" y="238"/>
                    </a:lnTo>
                    <a:lnTo>
                      <a:pt x="840" y="239"/>
                    </a:lnTo>
                    <a:lnTo>
                      <a:pt x="839" y="249"/>
                    </a:lnTo>
                    <a:lnTo>
                      <a:pt x="837" y="254"/>
                    </a:lnTo>
                    <a:lnTo>
                      <a:pt x="835" y="259"/>
                    </a:lnTo>
                    <a:lnTo>
                      <a:pt x="834" y="272"/>
                    </a:lnTo>
                    <a:lnTo>
                      <a:pt x="834" y="282"/>
                    </a:lnTo>
                    <a:lnTo>
                      <a:pt x="832" y="286"/>
                    </a:lnTo>
                    <a:lnTo>
                      <a:pt x="835" y="287"/>
                    </a:lnTo>
                    <a:lnTo>
                      <a:pt x="840" y="289"/>
                    </a:lnTo>
                    <a:lnTo>
                      <a:pt x="839" y="294"/>
                    </a:lnTo>
                    <a:lnTo>
                      <a:pt x="839" y="297"/>
                    </a:lnTo>
                    <a:lnTo>
                      <a:pt x="835" y="297"/>
                    </a:lnTo>
                    <a:lnTo>
                      <a:pt x="832" y="299"/>
                    </a:lnTo>
                    <a:lnTo>
                      <a:pt x="829" y="299"/>
                    </a:lnTo>
                    <a:lnTo>
                      <a:pt x="825" y="297"/>
                    </a:lnTo>
                    <a:lnTo>
                      <a:pt x="822" y="297"/>
                    </a:lnTo>
                    <a:lnTo>
                      <a:pt x="817" y="299"/>
                    </a:lnTo>
                    <a:lnTo>
                      <a:pt x="805" y="301"/>
                    </a:lnTo>
                    <a:lnTo>
                      <a:pt x="799" y="304"/>
                    </a:lnTo>
                    <a:lnTo>
                      <a:pt x="795" y="304"/>
                    </a:lnTo>
                    <a:lnTo>
                      <a:pt x="792" y="302"/>
                    </a:lnTo>
                    <a:lnTo>
                      <a:pt x="789" y="304"/>
                    </a:lnTo>
                    <a:lnTo>
                      <a:pt x="784" y="307"/>
                    </a:lnTo>
                    <a:lnTo>
                      <a:pt x="784" y="311"/>
                    </a:lnTo>
                    <a:lnTo>
                      <a:pt x="787" y="314"/>
                    </a:lnTo>
                    <a:lnTo>
                      <a:pt x="794" y="314"/>
                    </a:lnTo>
                    <a:lnTo>
                      <a:pt x="800" y="314"/>
                    </a:lnTo>
                    <a:lnTo>
                      <a:pt x="800" y="316"/>
                    </a:lnTo>
                    <a:lnTo>
                      <a:pt x="797" y="319"/>
                    </a:lnTo>
                    <a:lnTo>
                      <a:pt x="799" y="326"/>
                    </a:lnTo>
                    <a:lnTo>
                      <a:pt x="799" y="329"/>
                    </a:lnTo>
                    <a:lnTo>
                      <a:pt x="802" y="332"/>
                    </a:lnTo>
                    <a:lnTo>
                      <a:pt x="802" y="336"/>
                    </a:lnTo>
                    <a:lnTo>
                      <a:pt x="807" y="342"/>
                    </a:lnTo>
                    <a:lnTo>
                      <a:pt x="807" y="347"/>
                    </a:lnTo>
                    <a:lnTo>
                      <a:pt x="814" y="351"/>
                    </a:lnTo>
                    <a:lnTo>
                      <a:pt x="815" y="359"/>
                    </a:lnTo>
                    <a:lnTo>
                      <a:pt x="812" y="362"/>
                    </a:lnTo>
                    <a:lnTo>
                      <a:pt x="810" y="365"/>
                    </a:lnTo>
                    <a:lnTo>
                      <a:pt x="815" y="370"/>
                    </a:lnTo>
                    <a:lnTo>
                      <a:pt x="812" y="370"/>
                    </a:lnTo>
                    <a:lnTo>
                      <a:pt x="812" y="374"/>
                    </a:lnTo>
                    <a:lnTo>
                      <a:pt x="807" y="375"/>
                    </a:lnTo>
                    <a:lnTo>
                      <a:pt x="807" y="382"/>
                    </a:lnTo>
                    <a:lnTo>
                      <a:pt x="802" y="384"/>
                    </a:lnTo>
                    <a:lnTo>
                      <a:pt x="792" y="382"/>
                    </a:lnTo>
                    <a:lnTo>
                      <a:pt x="782" y="370"/>
                    </a:lnTo>
                    <a:lnTo>
                      <a:pt x="777" y="372"/>
                    </a:lnTo>
                    <a:lnTo>
                      <a:pt x="767" y="369"/>
                    </a:lnTo>
                    <a:lnTo>
                      <a:pt x="752" y="367"/>
                    </a:lnTo>
                    <a:lnTo>
                      <a:pt x="746" y="370"/>
                    </a:lnTo>
                    <a:lnTo>
                      <a:pt x="732" y="367"/>
                    </a:lnTo>
                    <a:lnTo>
                      <a:pt x="721" y="369"/>
                    </a:lnTo>
                    <a:lnTo>
                      <a:pt x="716" y="370"/>
                    </a:lnTo>
                    <a:lnTo>
                      <a:pt x="709" y="369"/>
                    </a:lnTo>
                    <a:lnTo>
                      <a:pt x="706" y="372"/>
                    </a:lnTo>
                    <a:lnTo>
                      <a:pt x="701" y="374"/>
                    </a:lnTo>
                    <a:lnTo>
                      <a:pt x="687" y="372"/>
                    </a:lnTo>
                    <a:lnTo>
                      <a:pt x="677" y="370"/>
                    </a:lnTo>
                    <a:lnTo>
                      <a:pt x="672" y="367"/>
                    </a:lnTo>
                    <a:lnTo>
                      <a:pt x="664" y="367"/>
                    </a:lnTo>
                    <a:lnTo>
                      <a:pt x="662" y="369"/>
                    </a:lnTo>
                    <a:lnTo>
                      <a:pt x="656" y="369"/>
                    </a:lnTo>
                    <a:lnTo>
                      <a:pt x="653" y="367"/>
                    </a:lnTo>
                    <a:lnTo>
                      <a:pt x="649" y="369"/>
                    </a:lnTo>
                    <a:lnTo>
                      <a:pt x="649" y="374"/>
                    </a:lnTo>
                    <a:lnTo>
                      <a:pt x="651" y="379"/>
                    </a:lnTo>
                    <a:lnTo>
                      <a:pt x="651" y="384"/>
                    </a:lnTo>
                    <a:lnTo>
                      <a:pt x="644" y="385"/>
                    </a:lnTo>
                    <a:lnTo>
                      <a:pt x="629" y="385"/>
                    </a:lnTo>
                    <a:lnTo>
                      <a:pt x="611" y="384"/>
                    </a:lnTo>
                    <a:lnTo>
                      <a:pt x="606" y="382"/>
                    </a:lnTo>
                    <a:lnTo>
                      <a:pt x="599" y="380"/>
                    </a:lnTo>
                    <a:lnTo>
                      <a:pt x="594" y="385"/>
                    </a:lnTo>
                    <a:lnTo>
                      <a:pt x="596" y="387"/>
                    </a:lnTo>
                    <a:lnTo>
                      <a:pt x="591" y="390"/>
                    </a:lnTo>
                    <a:lnTo>
                      <a:pt x="589" y="392"/>
                    </a:lnTo>
                    <a:lnTo>
                      <a:pt x="588" y="392"/>
                    </a:lnTo>
                    <a:lnTo>
                      <a:pt x="583" y="399"/>
                    </a:lnTo>
                    <a:lnTo>
                      <a:pt x="579" y="400"/>
                    </a:lnTo>
                    <a:lnTo>
                      <a:pt x="569" y="410"/>
                    </a:lnTo>
                    <a:lnTo>
                      <a:pt x="566" y="417"/>
                    </a:lnTo>
                    <a:lnTo>
                      <a:pt x="563" y="419"/>
                    </a:lnTo>
                    <a:lnTo>
                      <a:pt x="560" y="427"/>
                    </a:lnTo>
                    <a:lnTo>
                      <a:pt x="550" y="435"/>
                    </a:lnTo>
                    <a:lnTo>
                      <a:pt x="546" y="434"/>
                    </a:lnTo>
                    <a:lnTo>
                      <a:pt x="536" y="429"/>
                    </a:lnTo>
                    <a:lnTo>
                      <a:pt x="528" y="429"/>
                    </a:lnTo>
                    <a:lnTo>
                      <a:pt x="520" y="429"/>
                    </a:lnTo>
                    <a:lnTo>
                      <a:pt x="510" y="435"/>
                    </a:lnTo>
                    <a:lnTo>
                      <a:pt x="505" y="434"/>
                    </a:lnTo>
                    <a:lnTo>
                      <a:pt x="495" y="409"/>
                    </a:lnTo>
                    <a:lnTo>
                      <a:pt x="476" y="407"/>
                    </a:lnTo>
                    <a:lnTo>
                      <a:pt x="476" y="375"/>
                    </a:lnTo>
                    <a:lnTo>
                      <a:pt x="468" y="379"/>
                    </a:lnTo>
                    <a:lnTo>
                      <a:pt x="462" y="365"/>
                    </a:lnTo>
                    <a:lnTo>
                      <a:pt x="450" y="357"/>
                    </a:lnTo>
                    <a:lnTo>
                      <a:pt x="410" y="357"/>
                    </a:lnTo>
                    <a:lnTo>
                      <a:pt x="373" y="360"/>
                    </a:lnTo>
                    <a:lnTo>
                      <a:pt x="354" y="349"/>
                    </a:lnTo>
                    <a:lnTo>
                      <a:pt x="339" y="344"/>
                    </a:lnTo>
                    <a:lnTo>
                      <a:pt x="300" y="319"/>
                    </a:lnTo>
                    <a:lnTo>
                      <a:pt x="236" y="331"/>
                    </a:lnTo>
                    <a:lnTo>
                      <a:pt x="256" y="435"/>
                    </a:lnTo>
                    <a:lnTo>
                      <a:pt x="252" y="435"/>
                    </a:lnTo>
                    <a:lnTo>
                      <a:pt x="242" y="437"/>
                    </a:lnTo>
                    <a:lnTo>
                      <a:pt x="226" y="420"/>
                    </a:lnTo>
                    <a:lnTo>
                      <a:pt x="209" y="412"/>
                    </a:lnTo>
                    <a:lnTo>
                      <a:pt x="194" y="410"/>
                    </a:lnTo>
                    <a:lnTo>
                      <a:pt x="182" y="414"/>
                    </a:lnTo>
                    <a:lnTo>
                      <a:pt x="167" y="425"/>
                    </a:lnTo>
                    <a:lnTo>
                      <a:pt x="166" y="420"/>
                    </a:lnTo>
                    <a:lnTo>
                      <a:pt x="164" y="415"/>
                    </a:lnTo>
                    <a:lnTo>
                      <a:pt x="167" y="409"/>
                    </a:lnTo>
                    <a:lnTo>
                      <a:pt x="169" y="402"/>
                    </a:lnTo>
                    <a:lnTo>
                      <a:pt x="167" y="400"/>
                    </a:lnTo>
                    <a:lnTo>
                      <a:pt x="169" y="399"/>
                    </a:lnTo>
                    <a:lnTo>
                      <a:pt x="167" y="397"/>
                    </a:lnTo>
                    <a:lnTo>
                      <a:pt x="163" y="399"/>
                    </a:lnTo>
                    <a:lnTo>
                      <a:pt x="158" y="397"/>
                    </a:lnTo>
                    <a:lnTo>
                      <a:pt x="154" y="395"/>
                    </a:lnTo>
                    <a:lnTo>
                      <a:pt x="151" y="397"/>
                    </a:lnTo>
                    <a:lnTo>
                      <a:pt x="148" y="397"/>
                    </a:lnTo>
                    <a:lnTo>
                      <a:pt x="146" y="392"/>
                    </a:lnTo>
                    <a:lnTo>
                      <a:pt x="144" y="390"/>
                    </a:lnTo>
                    <a:lnTo>
                      <a:pt x="143" y="387"/>
                    </a:lnTo>
                    <a:lnTo>
                      <a:pt x="139" y="385"/>
                    </a:lnTo>
                    <a:lnTo>
                      <a:pt x="138" y="387"/>
                    </a:lnTo>
                    <a:lnTo>
                      <a:pt x="134" y="389"/>
                    </a:lnTo>
                    <a:lnTo>
                      <a:pt x="131" y="387"/>
                    </a:lnTo>
                    <a:lnTo>
                      <a:pt x="133" y="382"/>
                    </a:lnTo>
                    <a:lnTo>
                      <a:pt x="131" y="379"/>
                    </a:lnTo>
                    <a:lnTo>
                      <a:pt x="124" y="370"/>
                    </a:lnTo>
                    <a:lnTo>
                      <a:pt x="124" y="369"/>
                    </a:lnTo>
                    <a:lnTo>
                      <a:pt x="121" y="367"/>
                    </a:lnTo>
                    <a:lnTo>
                      <a:pt x="119" y="364"/>
                    </a:lnTo>
                    <a:lnTo>
                      <a:pt x="118" y="362"/>
                    </a:lnTo>
                    <a:lnTo>
                      <a:pt x="116" y="359"/>
                    </a:lnTo>
                    <a:lnTo>
                      <a:pt x="111" y="357"/>
                    </a:lnTo>
                    <a:lnTo>
                      <a:pt x="108" y="357"/>
                    </a:lnTo>
                    <a:lnTo>
                      <a:pt x="104" y="354"/>
                    </a:lnTo>
                    <a:lnTo>
                      <a:pt x="104" y="351"/>
                    </a:lnTo>
                    <a:lnTo>
                      <a:pt x="108" y="349"/>
                    </a:lnTo>
                    <a:lnTo>
                      <a:pt x="109" y="351"/>
                    </a:lnTo>
                    <a:lnTo>
                      <a:pt x="116" y="349"/>
                    </a:lnTo>
                    <a:lnTo>
                      <a:pt x="119" y="351"/>
                    </a:lnTo>
                    <a:lnTo>
                      <a:pt x="121" y="351"/>
                    </a:lnTo>
                    <a:lnTo>
                      <a:pt x="123" y="351"/>
                    </a:lnTo>
                    <a:lnTo>
                      <a:pt x="126" y="349"/>
                    </a:lnTo>
                    <a:lnTo>
                      <a:pt x="128" y="349"/>
                    </a:lnTo>
                    <a:lnTo>
                      <a:pt x="133" y="349"/>
                    </a:lnTo>
                    <a:lnTo>
                      <a:pt x="134" y="349"/>
                    </a:lnTo>
                    <a:lnTo>
                      <a:pt x="133" y="347"/>
                    </a:lnTo>
                    <a:lnTo>
                      <a:pt x="128" y="347"/>
                    </a:lnTo>
                    <a:lnTo>
                      <a:pt x="126" y="346"/>
                    </a:lnTo>
                    <a:lnTo>
                      <a:pt x="126" y="342"/>
                    </a:lnTo>
                    <a:lnTo>
                      <a:pt x="121" y="337"/>
                    </a:lnTo>
                    <a:lnTo>
                      <a:pt x="121" y="336"/>
                    </a:lnTo>
                    <a:lnTo>
                      <a:pt x="123" y="334"/>
                    </a:lnTo>
                    <a:lnTo>
                      <a:pt x="123" y="331"/>
                    </a:lnTo>
                    <a:lnTo>
                      <a:pt x="123" y="329"/>
                    </a:lnTo>
                    <a:lnTo>
                      <a:pt x="126" y="326"/>
                    </a:lnTo>
                    <a:lnTo>
                      <a:pt x="131" y="324"/>
                    </a:lnTo>
                    <a:lnTo>
                      <a:pt x="134" y="322"/>
                    </a:lnTo>
                    <a:lnTo>
                      <a:pt x="139" y="324"/>
                    </a:lnTo>
                    <a:lnTo>
                      <a:pt x="144" y="324"/>
                    </a:lnTo>
                    <a:lnTo>
                      <a:pt x="148" y="322"/>
                    </a:lnTo>
                    <a:lnTo>
                      <a:pt x="149" y="324"/>
                    </a:lnTo>
                    <a:lnTo>
                      <a:pt x="151" y="324"/>
                    </a:lnTo>
                    <a:lnTo>
                      <a:pt x="154" y="324"/>
                    </a:lnTo>
                    <a:lnTo>
                      <a:pt x="159" y="327"/>
                    </a:lnTo>
                    <a:lnTo>
                      <a:pt x="163" y="327"/>
                    </a:lnTo>
                    <a:lnTo>
                      <a:pt x="167" y="326"/>
                    </a:lnTo>
                    <a:lnTo>
                      <a:pt x="169" y="324"/>
                    </a:lnTo>
                    <a:lnTo>
                      <a:pt x="166" y="322"/>
                    </a:lnTo>
                    <a:lnTo>
                      <a:pt x="161" y="321"/>
                    </a:lnTo>
                    <a:lnTo>
                      <a:pt x="158" y="316"/>
                    </a:lnTo>
                    <a:lnTo>
                      <a:pt x="158" y="311"/>
                    </a:lnTo>
                    <a:lnTo>
                      <a:pt x="161" y="309"/>
                    </a:lnTo>
                    <a:lnTo>
                      <a:pt x="163" y="307"/>
                    </a:lnTo>
                    <a:lnTo>
                      <a:pt x="161" y="306"/>
                    </a:lnTo>
                    <a:lnTo>
                      <a:pt x="159" y="304"/>
                    </a:lnTo>
                    <a:lnTo>
                      <a:pt x="159" y="302"/>
                    </a:lnTo>
                    <a:lnTo>
                      <a:pt x="163" y="297"/>
                    </a:lnTo>
                    <a:lnTo>
                      <a:pt x="163" y="294"/>
                    </a:lnTo>
                    <a:lnTo>
                      <a:pt x="159" y="291"/>
                    </a:lnTo>
                    <a:lnTo>
                      <a:pt x="158" y="287"/>
                    </a:lnTo>
                    <a:lnTo>
                      <a:pt x="159" y="286"/>
                    </a:lnTo>
                    <a:lnTo>
                      <a:pt x="159" y="284"/>
                    </a:lnTo>
                    <a:lnTo>
                      <a:pt x="156" y="284"/>
                    </a:lnTo>
                    <a:lnTo>
                      <a:pt x="154" y="281"/>
                    </a:lnTo>
                    <a:lnTo>
                      <a:pt x="154" y="279"/>
                    </a:lnTo>
                    <a:lnTo>
                      <a:pt x="146" y="279"/>
                    </a:lnTo>
                    <a:lnTo>
                      <a:pt x="143" y="277"/>
                    </a:lnTo>
                    <a:lnTo>
                      <a:pt x="139" y="279"/>
                    </a:lnTo>
                    <a:lnTo>
                      <a:pt x="138" y="281"/>
                    </a:lnTo>
                    <a:lnTo>
                      <a:pt x="136" y="281"/>
                    </a:lnTo>
                    <a:lnTo>
                      <a:pt x="136" y="284"/>
                    </a:lnTo>
                    <a:lnTo>
                      <a:pt x="133" y="284"/>
                    </a:lnTo>
                    <a:lnTo>
                      <a:pt x="129" y="284"/>
                    </a:lnTo>
                    <a:lnTo>
                      <a:pt x="129" y="282"/>
                    </a:lnTo>
                    <a:lnTo>
                      <a:pt x="126" y="282"/>
                    </a:lnTo>
                    <a:lnTo>
                      <a:pt x="124" y="282"/>
                    </a:lnTo>
                    <a:lnTo>
                      <a:pt x="123" y="281"/>
                    </a:lnTo>
                    <a:lnTo>
                      <a:pt x="123" y="277"/>
                    </a:lnTo>
                    <a:lnTo>
                      <a:pt x="123" y="276"/>
                    </a:lnTo>
                    <a:lnTo>
                      <a:pt x="119" y="277"/>
                    </a:lnTo>
                    <a:lnTo>
                      <a:pt x="118" y="277"/>
                    </a:lnTo>
                    <a:lnTo>
                      <a:pt x="114" y="276"/>
                    </a:lnTo>
                    <a:lnTo>
                      <a:pt x="108" y="276"/>
                    </a:lnTo>
                    <a:lnTo>
                      <a:pt x="104" y="279"/>
                    </a:lnTo>
                    <a:lnTo>
                      <a:pt x="104" y="282"/>
                    </a:lnTo>
                    <a:lnTo>
                      <a:pt x="103" y="284"/>
                    </a:lnTo>
                    <a:lnTo>
                      <a:pt x="101" y="282"/>
                    </a:lnTo>
                    <a:lnTo>
                      <a:pt x="99" y="282"/>
                    </a:lnTo>
                    <a:lnTo>
                      <a:pt x="96" y="286"/>
                    </a:lnTo>
                    <a:lnTo>
                      <a:pt x="93" y="286"/>
                    </a:lnTo>
                    <a:lnTo>
                      <a:pt x="91" y="287"/>
                    </a:lnTo>
                    <a:lnTo>
                      <a:pt x="88" y="291"/>
                    </a:lnTo>
                    <a:lnTo>
                      <a:pt x="84" y="291"/>
                    </a:lnTo>
                    <a:lnTo>
                      <a:pt x="84" y="294"/>
                    </a:lnTo>
                    <a:lnTo>
                      <a:pt x="83" y="296"/>
                    </a:lnTo>
                    <a:lnTo>
                      <a:pt x="81" y="294"/>
                    </a:lnTo>
                    <a:lnTo>
                      <a:pt x="78" y="292"/>
                    </a:lnTo>
                    <a:lnTo>
                      <a:pt x="76" y="296"/>
                    </a:lnTo>
                    <a:lnTo>
                      <a:pt x="73" y="296"/>
                    </a:lnTo>
                    <a:lnTo>
                      <a:pt x="73" y="292"/>
                    </a:lnTo>
                    <a:lnTo>
                      <a:pt x="71" y="2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5" name="Freeform 12"/>
              <p:cNvSpPr>
                <a:spLocks/>
              </p:cNvSpPr>
              <p:nvPr/>
            </p:nvSpPr>
            <p:spPr bwMode="auto">
              <a:xfrm>
                <a:off x="7093552" y="2699041"/>
                <a:ext cx="208698" cy="114135"/>
              </a:xfrm>
              <a:custGeom>
                <a:avLst/>
                <a:gdLst/>
                <a:ahLst/>
                <a:cxnLst>
                  <a:cxn ang="0">
                    <a:pos x="310" y="206"/>
                  </a:cxn>
                  <a:cxn ang="0">
                    <a:pos x="317" y="193"/>
                  </a:cxn>
                  <a:cxn ang="0">
                    <a:pos x="312" y="184"/>
                  </a:cxn>
                  <a:cxn ang="0">
                    <a:pos x="312" y="174"/>
                  </a:cxn>
                  <a:cxn ang="0">
                    <a:pos x="304" y="169"/>
                  </a:cxn>
                  <a:cxn ang="0">
                    <a:pos x="294" y="163"/>
                  </a:cxn>
                  <a:cxn ang="0">
                    <a:pos x="299" y="153"/>
                  </a:cxn>
                  <a:cxn ang="0">
                    <a:pos x="314" y="153"/>
                  </a:cxn>
                  <a:cxn ang="0">
                    <a:pos x="324" y="146"/>
                  </a:cxn>
                  <a:cxn ang="0">
                    <a:pos x="320" y="139"/>
                  </a:cxn>
                  <a:cxn ang="0">
                    <a:pos x="338" y="134"/>
                  </a:cxn>
                  <a:cxn ang="0">
                    <a:pos x="330" y="128"/>
                  </a:cxn>
                  <a:cxn ang="0">
                    <a:pos x="337" y="120"/>
                  </a:cxn>
                  <a:cxn ang="0">
                    <a:pos x="348" y="116"/>
                  </a:cxn>
                  <a:cxn ang="0">
                    <a:pos x="362" y="115"/>
                  </a:cxn>
                  <a:cxn ang="0">
                    <a:pos x="375" y="115"/>
                  </a:cxn>
                  <a:cxn ang="0">
                    <a:pos x="390" y="108"/>
                  </a:cxn>
                  <a:cxn ang="0">
                    <a:pos x="377" y="96"/>
                  </a:cxn>
                  <a:cxn ang="0">
                    <a:pos x="373" y="101"/>
                  </a:cxn>
                  <a:cxn ang="0">
                    <a:pos x="365" y="105"/>
                  </a:cxn>
                  <a:cxn ang="0">
                    <a:pos x="350" y="98"/>
                  </a:cxn>
                  <a:cxn ang="0">
                    <a:pos x="348" y="90"/>
                  </a:cxn>
                  <a:cxn ang="0">
                    <a:pos x="357" y="75"/>
                  </a:cxn>
                  <a:cxn ang="0">
                    <a:pos x="347" y="80"/>
                  </a:cxn>
                  <a:cxn ang="0">
                    <a:pos x="333" y="91"/>
                  </a:cxn>
                  <a:cxn ang="0">
                    <a:pos x="327" y="100"/>
                  </a:cxn>
                  <a:cxn ang="0">
                    <a:pos x="314" y="116"/>
                  </a:cxn>
                  <a:cxn ang="0">
                    <a:pos x="300" y="110"/>
                  </a:cxn>
                  <a:cxn ang="0">
                    <a:pos x="284" y="110"/>
                  </a:cxn>
                  <a:cxn ang="0">
                    <a:pos x="269" y="115"/>
                  </a:cxn>
                  <a:cxn ang="0">
                    <a:pos x="240" y="88"/>
                  </a:cxn>
                  <a:cxn ang="0">
                    <a:pos x="232" y="60"/>
                  </a:cxn>
                  <a:cxn ang="0">
                    <a:pos x="214" y="38"/>
                  </a:cxn>
                  <a:cxn ang="0">
                    <a:pos x="137" y="41"/>
                  </a:cxn>
                  <a:cxn ang="0">
                    <a:pos x="103" y="25"/>
                  </a:cxn>
                  <a:cxn ang="0">
                    <a:pos x="0" y="12"/>
                  </a:cxn>
                  <a:cxn ang="0">
                    <a:pos x="31" y="115"/>
                  </a:cxn>
                  <a:cxn ang="0">
                    <a:pos x="43" y="111"/>
                  </a:cxn>
                  <a:cxn ang="0">
                    <a:pos x="38" y="100"/>
                  </a:cxn>
                  <a:cxn ang="0">
                    <a:pos x="49" y="90"/>
                  </a:cxn>
                  <a:cxn ang="0">
                    <a:pos x="59" y="81"/>
                  </a:cxn>
                  <a:cxn ang="0">
                    <a:pos x="68" y="83"/>
                  </a:cxn>
                  <a:cxn ang="0">
                    <a:pos x="74" y="78"/>
                  </a:cxn>
                  <a:cxn ang="0">
                    <a:pos x="106" y="93"/>
                  </a:cxn>
                  <a:cxn ang="0">
                    <a:pos x="126" y="106"/>
                  </a:cxn>
                  <a:cxn ang="0">
                    <a:pos x="144" y="111"/>
                  </a:cxn>
                  <a:cxn ang="0">
                    <a:pos x="159" y="118"/>
                  </a:cxn>
                  <a:cxn ang="0">
                    <a:pos x="167" y="134"/>
                  </a:cxn>
                  <a:cxn ang="0">
                    <a:pos x="176" y="149"/>
                  </a:cxn>
                  <a:cxn ang="0">
                    <a:pos x="199" y="163"/>
                  </a:cxn>
                  <a:cxn ang="0">
                    <a:pos x="234" y="181"/>
                  </a:cxn>
                  <a:cxn ang="0">
                    <a:pos x="264" y="193"/>
                  </a:cxn>
                  <a:cxn ang="0">
                    <a:pos x="270" y="194"/>
                  </a:cxn>
                  <a:cxn ang="0">
                    <a:pos x="279" y="206"/>
                  </a:cxn>
                  <a:cxn ang="0">
                    <a:pos x="287" y="214"/>
                  </a:cxn>
                  <a:cxn ang="0">
                    <a:pos x="295" y="221"/>
                  </a:cxn>
                  <a:cxn ang="0">
                    <a:pos x="302" y="218"/>
                  </a:cxn>
                  <a:cxn ang="0">
                    <a:pos x="309" y="219"/>
                  </a:cxn>
                </a:cxnLst>
                <a:rect l="0" t="0" r="r" b="b"/>
                <a:pathLst>
                  <a:path w="390" h="221">
                    <a:moveTo>
                      <a:pt x="309" y="219"/>
                    </a:moveTo>
                    <a:lnTo>
                      <a:pt x="310" y="206"/>
                    </a:lnTo>
                    <a:lnTo>
                      <a:pt x="315" y="196"/>
                    </a:lnTo>
                    <a:lnTo>
                      <a:pt x="317" y="193"/>
                    </a:lnTo>
                    <a:lnTo>
                      <a:pt x="317" y="186"/>
                    </a:lnTo>
                    <a:lnTo>
                      <a:pt x="312" y="184"/>
                    </a:lnTo>
                    <a:lnTo>
                      <a:pt x="309" y="179"/>
                    </a:lnTo>
                    <a:lnTo>
                      <a:pt x="312" y="174"/>
                    </a:lnTo>
                    <a:lnTo>
                      <a:pt x="310" y="169"/>
                    </a:lnTo>
                    <a:lnTo>
                      <a:pt x="304" y="169"/>
                    </a:lnTo>
                    <a:lnTo>
                      <a:pt x="299" y="171"/>
                    </a:lnTo>
                    <a:lnTo>
                      <a:pt x="294" y="163"/>
                    </a:lnTo>
                    <a:lnTo>
                      <a:pt x="294" y="156"/>
                    </a:lnTo>
                    <a:lnTo>
                      <a:pt x="299" y="153"/>
                    </a:lnTo>
                    <a:lnTo>
                      <a:pt x="309" y="154"/>
                    </a:lnTo>
                    <a:lnTo>
                      <a:pt x="314" y="153"/>
                    </a:lnTo>
                    <a:lnTo>
                      <a:pt x="314" y="148"/>
                    </a:lnTo>
                    <a:lnTo>
                      <a:pt x="324" y="146"/>
                    </a:lnTo>
                    <a:lnTo>
                      <a:pt x="322" y="143"/>
                    </a:lnTo>
                    <a:lnTo>
                      <a:pt x="320" y="139"/>
                    </a:lnTo>
                    <a:lnTo>
                      <a:pt x="330" y="138"/>
                    </a:lnTo>
                    <a:lnTo>
                      <a:pt x="338" y="134"/>
                    </a:lnTo>
                    <a:lnTo>
                      <a:pt x="338" y="131"/>
                    </a:lnTo>
                    <a:lnTo>
                      <a:pt x="330" y="128"/>
                    </a:lnTo>
                    <a:lnTo>
                      <a:pt x="332" y="121"/>
                    </a:lnTo>
                    <a:lnTo>
                      <a:pt x="337" y="120"/>
                    </a:lnTo>
                    <a:lnTo>
                      <a:pt x="343" y="116"/>
                    </a:lnTo>
                    <a:lnTo>
                      <a:pt x="348" y="116"/>
                    </a:lnTo>
                    <a:lnTo>
                      <a:pt x="357" y="110"/>
                    </a:lnTo>
                    <a:lnTo>
                      <a:pt x="362" y="115"/>
                    </a:lnTo>
                    <a:lnTo>
                      <a:pt x="363" y="116"/>
                    </a:lnTo>
                    <a:lnTo>
                      <a:pt x="375" y="115"/>
                    </a:lnTo>
                    <a:lnTo>
                      <a:pt x="383" y="116"/>
                    </a:lnTo>
                    <a:lnTo>
                      <a:pt x="390" y="108"/>
                    </a:lnTo>
                    <a:lnTo>
                      <a:pt x="390" y="105"/>
                    </a:lnTo>
                    <a:lnTo>
                      <a:pt x="377" y="96"/>
                    </a:lnTo>
                    <a:lnTo>
                      <a:pt x="375" y="95"/>
                    </a:lnTo>
                    <a:lnTo>
                      <a:pt x="373" y="101"/>
                    </a:lnTo>
                    <a:lnTo>
                      <a:pt x="370" y="106"/>
                    </a:lnTo>
                    <a:lnTo>
                      <a:pt x="365" y="105"/>
                    </a:lnTo>
                    <a:lnTo>
                      <a:pt x="360" y="100"/>
                    </a:lnTo>
                    <a:lnTo>
                      <a:pt x="350" y="98"/>
                    </a:lnTo>
                    <a:lnTo>
                      <a:pt x="345" y="95"/>
                    </a:lnTo>
                    <a:lnTo>
                      <a:pt x="348" y="90"/>
                    </a:lnTo>
                    <a:lnTo>
                      <a:pt x="357" y="78"/>
                    </a:lnTo>
                    <a:lnTo>
                      <a:pt x="357" y="75"/>
                    </a:lnTo>
                    <a:lnTo>
                      <a:pt x="352" y="73"/>
                    </a:lnTo>
                    <a:lnTo>
                      <a:pt x="347" y="80"/>
                    </a:lnTo>
                    <a:lnTo>
                      <a:pt x="343" y="81"/>
                    </a:lnTo>
                    <a:lnTo>
                      <a:pt x="333" y="91"/>
                    </a:lnTo>
                    <a:lnTo>
                      <a:pt x="330" y="98"/>
                    </a:lnTo>
                    <a:lnTo>
                      <a:pt x="327" y="100"/>
                    </a:lnTo>
                    <a:lnTo>
                      <a:pt x="324" y="108"/>
                    </a:lnTo>
                    <a:lnTo>
                      <a:pt x="314" y="116"/>
                    </a:lnTo>
                    <a:lnTo>
                      <a:pt x="310" y="115"/>
                    </a:lnTo>
                    <a:lnTo>
                      <a:pt x="300" y="110"/>
                    </a:lnTo>
                    <a:lnTo>
                      <a:pt x="292" y="110"/>
                    </a:lnTo>
                    <a:lnTo>
                      <a:pt x="284" y="110"/>
                    </a:lnTo>
                    <a:lnTo>
                      <a:pt x="274" y="116"/>
                    </a:lnTo>
                    <a:lnTo>
                      <a:pt x="269" y="115"/>
                    </a:lnTo>
                    <a:lnTo>
                      <a:pt x="259" y="90"/>
                    </a:lnTo>
                    <a:lnTo>
                      <a:pt x="240" y="88"/>
                    </a:lnTo>
                    <a:lnTo>
                      <a:pt x="240" y="56"/>
                    </a:lnTo>
                    <a:lnTo>
                      <a:pt x="232" y="60"/>
                    </a:lnTo>
                    <a:lnTo>
                      <a:pt x="226" y="46"/>
                    </a:lnTo>
                    <a:lnTo>
                      <a:pt x="214" y="38"/>
                    </a:lnTo>
                    <a:lnTo>
                      <a:pt x="174" y="38"/>
                    </a:lnTo>
                    <a:lnTo>
                      <a:pt x="137" y="41"/>
                    </a:lnTo>
                    <a:lnTo>
                      <a:pt x="118" y="30"/>
                    </a:lnTo>
                    <a:lnTo>
                      <a:pt x="103" y="25"/>
                    </a:lnTo>
                    <a:lnTo>
                      <a:pt x="64" y="0"/>
                    </a:lnTo>
                    <a:lnTo>
                      <a:pt x="0" y="12"/>
                    </a:lnTo>
                    <a:lnTo>
                      <a:pt x="20" y="116"/>
                    </a:lnTo>
                    <a:lnTo>
                      <a:pt x="31" y="115"/>
                    </a:lnTo>
                    <a:lnTo>
                      <a:pt x="41" y="116"/>
                    </a:lnTo>
                    <a:lnTo>
                      <a:pt x="43" y="111"/>
                    </a:lnTo>
                    <a:lnTo>
                      <a:pt x="39" y="108"/>
                    </a:lnTo>
                    <a:lnTo>
                      <a:pt x="38" y="100"/>
                    </a:lnTo>
                    <a:lnTo>
                      <a:pt x="43" y="90"/>
                    </a:lnTo>
                    <a:lnTo>
                      <a:pt x="49" y="90"/>
                    </a:lnTo>
                    <a:lnTo>
                      <a:pt x="54" y="85"/>
                    </a:lnTo>
                    <a:lnTo>
                      <a:pt x="59" y="81"/>
                    </a:lnTo>
                    <a:lnTo>
                      <a:pt x="64" y="85"/>
                    </a:lnTo>
                    <a:lnTo>
                      <a:pt x="68" y="83"/>
                    </a:lnTo>
                    <a:lnTo>
                      <a:pt x="64" y="78"/>
                    </a:lnTo>
                    <a:lnTo>
                      <a:pt x="74" y="78"/>
                    </a:lnTo>
                    <a:lnTo>
                      <a:pt x="91" y="86"/>
                    </a:lnTo>
                    <a:lnTo>
                      <a:pt x="106" y="93"/>
                    </a:lnTo>
                    <a:lnTo>
                      <a:pt x="108" y="98"/>
                    </a:lnTo>
                    <a:lnTo>
                      <a:pt x="126" y="106"/>
                    </a:lnTo>
                    <a:lnTo>
                      <a:pt x="139" y="113"/>
                    </a:lnTo>
                    <a:lnTo>
                      <a:pt x="144" y="111"/>
                    </a:lnTo>
                    <a:lnTo>
                      <a:pt x="149" y="111"/>
                    </a:lnTo>
                    <a:lnTo>
                      <a:pt x="159" y="118"/>
                    </a:lnTo>
                    <a:lnTo>
                      <a:pt x="162" y="131"/>
                    </a:lnTo>
                    <a:lnTo>
                      <a:pt x="167" y="134"/>
                    </a:lnTo>
                    <a:lnTo>
                      <a:pt x="169" y="141"/>
                    </a:lnTo>
                    <a:lnTo>
                      <a:pt x="176" y="149"/>
                    </a:lnTo>
                    <a:lnTo>
                      <a:pt x="184" y="153"/>
                    </a:lnTo>
                    <a:lnTo>
                      <a:pt x="199" y="163"/>
                    </a:lnTo>
                    <a:lnTo>
                      <a:pt x="216" y="173"/>
                    </a:lnTo>
                    <a:lnTo>
                      <a:pt x="234" y="181"/>
                    </a:lnTo>
                    <a:lnTo>
                      <a:pt x="250" y="191"/>
                    </a:lnTo>
                    <a:lnTo>
                      <a:pt x="264" y="193"/>
                    </a:lnTo>
                    <a:lnTo>
                      <a:pt x="265" y="196"/>
                    </a:lnTo>
                    <a:lnTo>
                      <a:pt x="270" y="194"/>
                    </a:lnTo>
                    <a:lnTo>
                      <a:pt x="279" y="201"/>
                    </a:lnTo>
                    <a:lnTo>
                      <a:pt x="279" y="206"/>
                    </a:lnTo>
                    <a:lnTo>
                      <a:pt x="280" y="216"/>
                    </a:lnTo>
                    <a:lnTo>
                      <a:pt x="287" y="214"/>
                    </a:lnTo>
                    <a:lnTo>
                      <a:pt x="292" y="216"/>
                    </a:lnTo>
                    <a:lnTo>
                      <a:pt x="295" y="221"/>
                    </a:lnTo>
                    <a:lnTo>
                      <a:pt x="299" y="221"/>
                    </a:lnTo>
                    <a:lnTo>
                      <a:pt x="302" y="218"/>
                    </a:lnTo>
                    <a:lnTo>
                      <a:pt x="307" y="218"/>
                    </a:lnTo>
                    <a:lnTo>
                      <a:pt x="309" y="2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6" name="Freeform 13"/>
              <p:cNvSpPr>
                <a:spLocks/>
              </p:cNvSpPr>
              <p:nvPr/>
            </p:nvSpPr>
            <p:spPr bwMode="auto">
              <a:xfrm>
                <a:off x="7057163" y="2739507"/>
                <a:ext cx="186223" cy="102722"/>
              </a:xfrm>
              <a:custGeom>
                <a:avLst/>
                <a:gdLst/>
                <a:ahLst/>
                <a:cxnLst>
                  <a:cxn ang="0">
                    <a:pos x="348" y="123"/>
                  </a:cxn>
                  <a:cxn ang="0">
                    <a:pos x="333" y="115"/>
                  </a:cxn>
                  <a:cxn ang="0">
                    <a:pos x="285" y="95"/>
                  </a:cxn>
                  <a:cxn ang="0">
                    <a:pos x="245" y="71"/>
                  </a:cxn>
                  <a:cxn ang="0">
                    <a:pos x="231" y="53"/>
                  </a:cxn>
                  <a:cxn ang="0">
                    <a:pos x="213" y="33"/>
                  </a:cxn>
                  <a:cxn ang="0">
                    <a:pos x="177" y="20"/>
                  </a:cxn>
                  <a:cxn ang="0">
                    <a:pos x="143" y="0"/>
                  </a:cxn>
                  <a:cxn ang="0">
                    <a:pos x="133" y="7"/>
                  </a:cxn>
                  <a:cxn ang="0">
                    <a:pos x="118" y="12"/>
                  </a:cxn>
                  <a:cxn ang="0">
                    <a:pos x="108" y="30"/>
                  </a:cxn>
                  <a:cxn ang="0">
                    <a:pos x="100" y="37"/>
                  </a:cxn>
                  <a:cxn ang="0">
                    <a:pos x="59" y="23"/>
                  </a:cxn>
                  <a:cxn ang="0">
                    <a:pos x="15" y="17"/>
                  </a:cxn>
                  <a:cxn ang="0">
                    <a:pos x="4" y="33"/>
                  </a:cxn>
                  <a:cxn ang="0">
                    <a:pos x="10" y="43"/>
                  </a:cxn>
                  <a:cxn ang="0">
                    <a:pos x="12" y="61"/>
                  </a:cxn>
                  <a:cxn ang="0">
                    <a:pos x="17" y="80"/>
                  </a:cxn>
                  <a:cxn ang="0">
                    <a:pos x="22" y="81"/>
                  </a:cxn>
                  <a:cxn ang="0">
                    <a:pos x="34" y="78"/>
                  </a:cxn>
                  <a:cxn ang="0">
                    <a:pos x="35" y="90"/>
                  </a:cxn>
                  <a:cxn ang="0">
                    <a:pos x="40" y="93"/>
                  </a:cxn>
                  <a:cxn ang="0">
                    <a:pos x="32" y="91"/>
                  </a:cxn>
                  <a:cxn ang="0">
                    <a:pos x="30" y="103"/>
                  </a:cxn>
                  <a:cxn ang="0">
                    <a:pos x="35" y="98"/>
                  </a:cxn>
                  <a:cxn ang="0">
                    <a:pos x="47" y="106"/>
                  </a:cxn>
                  <a:cxn ang="0">
                    <a:pos x="50" y="120"/>
                  </a:cxn>
                  <a:cxn ang="0">
                    <a:pos x="55" y="150"/>
                  </a:cxn>
                  <a:cxn ang="0">
                    <a:pos x="75" y="141"/>
                  </a:cxn>
                  <a:cxn ang="0">
                    <a:pos x="92" y="130"/>
                  </a:cxn>
                  <a:cxn ang="0">
                    <a:pos x="113" y="125"/>
                  </a:cxn>
                  <a:cxn ang="0">
                    <a:pos x="128" y="125"/>
                  </a:cxn>
                  <a:cxn ang="0">
                    <a:pos x="158" y="141"/>
                  </a:cxn>
                  <a:cxn ang="0">
                    <a:pos x="177" y="141"/>
                  </a:cxn>
                  <a:cxn ang="0">
                    <a:pos x="185" y="151"/>
                  </a:cxn>
                  <a:cxn ang="0">
                    <a:pos x="208" y="163"/>
                  </a:cxn>
                  <a:cxn ang="0">
                    <a:pos x="230" y="173"/>
                  </a:cxn>
                  <a:cxn ang="0">
                    <a:pos x="230" y="184"/>
                  </a:cxn>
                  <a:cxn ang="0">
                    <a:pos x="240" y="189"/>
                  </a:cxn>
                  <a:cxn ang="0">
                    <a:pos x="250" y="189"/>
                  </a:cxn>
                  <a:cxn ang="0">
                    <a:pos x="261" y="196"/>
                  </a:cxn>
                  <a:cxn ang="0">
                    <a:pos x="273" y="194"/>
                  </a:cxn>
                  <a:cxn ang="0">
                    <a:pos x="280" y="184"/>
                  </a:cxn>
                  <a:cxn ang="0">
                    <a:pos x="296" y="176"/>
                  </a:cxn>
                  <a:cxn ang="0">
                    <a:pos x="304" y="171"/>
                  </a:cxn>
                  <a:cxn ang="0">
                    <a:pos x="311" y="154"/>
                  </a:cxn>
                  <a:cxn ang="0">
                    <a:pos x="309" y="145"/>
                  </a:cxn>
                  <a:cxn ang="0">
                    <a:pos x="321" y="141"/>
                  </a:cxn>
                  <a:cxn ang="0">
                    <a:pos x="336" y="135"/>
                  </a:cxn>
                  <a:cxn ang="0">
                    <a:pos x="348" y="138"/>
                  </a:cxn>
                </a:cxnLst>
                <a:rect l="0" t="0" r="r" b="b"/>
                <a:pathLst>
                  <a:path w="349" h="198">
                    <a:moveTo>
                      <a:pt x="349" y="138"/>
                    </a:moveTo>
                    <a:lnTo>
                      <a:pt x="348" y="128"/>
                    </a:lnTo>
                    <a:lnTo>
                      <a:pt x="348" y="123"/>
                    </a:lnTo>
                    <a:lnTo>
                      <a:pt x="339" y="116"/>
                    </a:lnTo>
                    <a:lnTo>
                      <a:pt x="334" y="118"/>
                    </a:lnTo>
                    <a:lnTo>
                      <a:pt x="333" y="115"/>
                    </a:lnTo>
                    <a:lnTo>
                      <a:pt x="319" y="113"/>
                    </a:lnTo>
                    <a:lnTo>
                      <a:pt x="303" y="103"/>
                    </a:lnTo>
                    <a:lnTo>
                      <a:pt x="285" y="95"/>
                    </a:lnTo>
                    <a:lnTo>
                      <a:pt x="268" y="85"/>
                    </a:lnTo>
                    <a:lnTo>
                      <a:pt x="253" y="75"/>
                    </a:lnTo>
                    <a:lnTo>
                      <a:pt x="245" y="71"/>
                    </a:lnTo>
                    <a:lnTo>
                      <a:pt x="238" y="63"/>
                    </a:lnTo>
                    <a:lnTo>
                      <a:pt x="236" y="56"/>
                    </a:lnTo>
                    <a:lnTo>
                      <a:pt x="231" y="53"/>
                    </a:lnTo>
                    <a:lnTo>
                      <a:pt x="228" y="40"/>
                    </a:lnTo>
                    <a:lnTo>
                      <a:pt x="218" y="33"/>
                    </a:lnTo>
                    <a:lnTo>
                      <a:pt x="213" y="33"/>
                    </a:lnTo>
                    <a:lnTo>
                      <a:pt x="208" y="35"/>
                    </a:lnTo>
                    <a:lnTo>
                      <a:pt x="195" y="28"/>
                    </a:lnTo>
                    <a:lnTo>
                      <a:pt x="177" y="20"/>
                    </a:lnTo>
                    <a:lnTo>
                      <a:pt x="175" y="15"/>
                    </a:lnTo>
                    <a:lnTo>
                      <a:pt x="160" y="8"/>
                    </a:lnTo>
                    <a:lnTo>
                      <a:pt x="143" y="0"/>
                    </a:lnTo>
                    <a:lnTo>
                      <a:pt x="133" y="0"/>
                    </a:lnTo>
                    <a:lnTo>
                      <a:pt x="137" y="5"/>
                    </a:lnTo>
                    <a:lnTo>
                      <a:pt x="133" y="7"/>
                    </a:lnTo>
                    <a:lnTo>
                      <a:pt x="128" y="3"/>
                    </a:lnTo>
                    <a:lnTo>
                      <a:pt x="123" y="7"/>
                    </a:lnTo>
                    <a:lnTo>
                      <a:pt x="118" y="12"/>
                    </a:lnTo>
                    <a:lnTo>
                      <a:pt x="112" y="12"/>
                    </a:lnTo>
                    <a:lnTo>
                      <a:pt x="107" y="22"/>
                    </a:lnTo>
                    <a:lnTo>
                      <a:pt x="108" y="30"/>
                    </a:lnTo>
                    <a:lnTo>
                      <a:pt x="112" y="33"/>
                    </a:lnTo>
                    <a:lnTo>
                      <a:pt x="110" y="38"/>
                    </a:lnTo>
                    <a:lnTo>
                      <a:pt x="100" y="37"/>
                    </a:lnTo>
                    <a:lnTo>
                      <a:pt x="85" y="38"/>
                    </a:lnTo>
                    <a:lnTo>
                      <a:pt x="75" y="40"/>
                    </a:lnTo>
                    <a:lnTo>
                      <a:pt x="59" y="23"/>
                    </a:lnTo>
                    <a:lnTo>
                      <a:pt x="42" y="15"/>
                    </a:lnTo>
                    <a:lnTo>
                      <a:pt x="27" y="13"/>
                    </a:lnTo>
                    <a:lnTo>
                      <a:pt x="15" y="17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4" y="33"/>
                    </a:lnTo>
                    <a:lnTo>
                      <a:pt x="5" y="37"/>
                    </a:lnTo>
                    <a:lnTo>
                      <a:pt x="9" y="40"/>
                    </a:lnTo>
                    <a:lnTo>
                      <a:pt x="10" y="43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2" y="61"/>
                    </a:lnTo>
                    <a:lnTo>
                      <a:pt x="12" y="73"/>
                    </a:lnTo>
                    <a:lnTo>
                      <a:pt x="15" y="76"/>
                    </a:lnTo>
                    <a:lnTo>
                      <a:pt x="17" y="80"/>
                    </a:lnTo>
                    <a:lnTo>
                      <a:pt x="25" y="86"/>
                    </a:lnTo>
                    <a:lnTo>
                      <a:pt x="25" y="83"/>
                    </a:lnTo>
                    <a:lnTo>
                      <a:pt x="22" y="81"/>
                    </a:lnTo>
                    <a:lnTo>
                      <a:pt x="24" y="80"/>
                    </a:lnTo>
                    <a:lnTo>
                      <a:pt x="30" y="81"/>
                    </a:lnTo>
                    <a:lnTo>
                      <a:pt x="34" y="78"/>
                    </a:lnTo>
                    <a:lnTo>
                      <a:pt x="35" y="80"/>
                    </a:lnTo>
                    <a:lnTo>
                      <a:pt x="35" y="85"/>
                    </a:lnTo>
                    <a:lnTo>
                      <a:pt x="35" y="90"/>
                    </a:lnTo>
                    <a:lnTo>
                      <a:pt x="39" y="88"/>
                    </a:lnTo>
                    <a:lnTo>
                      <a:pt x="42" y="91"/>
                    </a:lnTo>
                    <a:lnTo>
                      <a:pt x="40" y="93"/>
                    </a:lnTo>
                    <a:lnTo>
                      <a:pt x="37" y="93"/>
                    </a:lnTo>
                    <a:lnTo>
                      <a:pt x="34" y="93"/>
                    </a:lnTo>
                    <a:lnTo>
                      <a:pt x="32" y="91"/>
                    </a:lnTo>
                    <a:lnTo>
                      <a:pt x="27" y="95"/>
                    </a:lnTo>
                    <a:lnTo>
                      <a:pt x="27" y="98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32" y="96"/>
                    </a:lnTo>
                    <a:lnTo>
                      <a:pt x="35" y="98"/>
                    </a:lnTo>
                    <a:lnTo>
                      <a:pt x="39" y="98"/>
                    </a:lnTo>
                    <a:lnTo>
                      <a:pt x="40" y="103"/>
                    </a:lnTo>
                    <a:lnTo>
                      <a:pt x="47" y="106"/>
                    </a:lnTo>
                    <a:lnTo>
                      <a:pt x="49" y="110"/>
                    </a:lnTo>
                    <a:lnTo>
                      <a:pt x="49" y="116"/>
                    </a:lnTo>
                    <a:lnTo>
                      <a:pt x="50" y="120"/>
                    </a:lnTo>
                    <a:lnTo>
                      <a:pt x="49" y="131"/>
                    </a:lnTo>
                    <a:lnTo>
                      <a:pt x="52" y="140"/>
                    </a:lnTo>
                    <a:lnTo>
                      <a:pt x="55" y="150"/>
                    </a:lnTo>
                    <a:lnTo>
                      <a:pt x="60" y="148"/>
                    </a:lnTo>
                    <a:lnTo>
                      <a:pt x="72" y="146"/>
                    </a:lnTo>
                    <a:lnTo>
                      <a:pt x="75" y="141"/>
                    </a:lnTo>
                    <a:lnTo>
                      <a:pt x="79" y="136"/>
                    </a:lnTo>
                    <a:lnTo>
                      <a:pt x="82" y="136"/>
                    </a:lnTo>
                    <a:lnTo>
                      <a:pt x="92" y="130"/>
                    </a:lnTo>
                    <a:lnTo>
                      <a:pt x="102" y="128"/>
                    </a:lnTo>
                    <a:lnTo>
                      <a:pt x="112" y="130"/>
                    </a:lnTo>
                    <a:lnTo>
                      <a:pt x="113" y="125"/>
                    </a:lnTo>
                    <a:lnTo>
                      <a:pt x="118" y="123"/>
                    </a:lnTo>
                    <a:lnTo>
                      <a:pt x="123" y="125"/>
                    </a:lnTo>
                    <a:lnTo>
                      <a:pt x="128" y="125"/>
                    </a:lnTo>
                    <a:lnTo>
                      <a:pt x="137" y="131"/>
                    </a:lnTo>
                    <a:lnTo>
                      <a:pt x="145" y="133"/>
                    </a:lnTo>
                    <a:lnTo>
                      <a:pt x="158" y="141"/>
                    </a:lnTo>
                    <a:lnTo>
                      <a:pt x="163" y="140"/>
                    </a:lnTo>
                    <a:lnTo>
                      <a:pt x="167" y="138"/>
                    </a:lnTo>
                    <a:lnTo>
                      <a:pt x="177" y="141"/>
                    </a:lnTo>
                    <a:lnTo>
                      <a:pt x="182" y="143"/>
                    </a:lnTo>
                    <a:lnTo>
                      <a:pt x="183" y="150"/>
                    </a:lnTo>
                    <a:lnTo>
                      <a:pt x="185" y="151"/>
                    </a:lnTo>
                    <a:lnTo>
                      <a:pt x="190" y="150"/>
                    </a:lnTo>
                    <a:lnTo>
                      <a:pt x="198" y="151"/>
                    </a:lnTo>
                    <a:lnTo>
                      <a:pt x="208" y="163"/>
                    </a:lnTo>
                    <a:lnTo>
                      <a:pt x="220" y="164"/>
                    </a:lnTo>
                    <a:lnTo>
                      <a:pt x="225" y="166"/>
                    </a:lnTo>
                    <a:lnTo>
                      <a:pt x="230" y="173"/>
                    </a:lnTo>
                    <a:lnTo>
                      <a:pt x="228" y="176"/>
                    </a:lnTo>
                    <a:lnTo>
                      <a:pt x="230" y="181"/>
                    </a:lnTo>
                    <a:lnTo>
                      <a:pt x="230" y="184"/>
                    </a:lnTo>
                    <a:lnTo>
                      <a:pt x="231" y="188"/>
                    </a:lnTo>
                    <a:lnTo>
                      <a:pt x="233" y="188"/>
                    </a:lnTo>
                    <a:lnTo>
                      <a:pt x="240" y="189"/>
                    </a:lnTo>
                    <a:lnTo>
                      <a:pt x="243" y="191"/>
                    </a:lnTo>
                    <a:lnTo>
                      <a:pt x="246" y="191"/>
                    </a:lnTo>
                    <a:lnTo>
                      <a:pt x="250" y="189"/>
                    </a:lnTo>
                    <a:lnTo>
                      <a:pt x="255" y="189"/>
                    </a:lnTo>
                    <a:lnTo>
                      <a:pt x="260" y="193"/>
                    </a:lnTo>
                    <a:lnTo>
                      <a:pt x="261" y="196"/>
                    </a:lnTo>
                    <a:lnTo>
                      <a:pt x="263" y="198"/>
                    </a:lnTo>
                    <a:lnTo>
                      <a:pt x="266" y="194"/>
                    </a:lnTo>
                    <a:lnTo>
                      <a:pt x="273" y="194"/>
                    </a:lnTo>
                    <a:lnTo>
                      <a:pt x="276" y="191"/>
                    </a:lnTo>
                    <a:lnTo>
                      <a:pt x="276" y="188"/>
                    </a:lnTo>
                    <a:lnTo>
                      <a:pt x="280" y="184"/>
                    </a:lnTo>
                    <a:lnTo>
                      <a:pt x="280" y="183"/>
                    </a:lnTo>
                    <a:lnTo>
                      <a:pt x="286" y="178"/>
                    </a:lnTo>
                    <a:lnTo>
                      <a:pt x="296" y="176"/>
                    </a:lnTo>
                    <a:lnTo>
                      <a:pt x="296" y="174"/>
                    </a:lnTo>
                    <a:lnTo>
                      <a:pt x="301" y="171"/>
                    </a:lnTo>
                    <a:lnTo>
                      <a:pt x="304" y="171"/>
                    </a:lnTo>
                    <a:lnTo>
                      <a:pt x="306" y="164"/>
                    </a:lnTo>
                    <a:lnTo>
                      <a:pt x="306" y="159"/>
                    </a:lnTo>
                    <a:lnTo>
                      <a:pt x="311" y="154"/>
                    </a:lnTo>
                    <a:lnTo>
                      <a:pt x="311" y="150"/>
                    </a:lnTo>
                    <a:lnTo>
                      <a:pt x="309" y="148"/>
                    </a:lnTo>
                    <a:lnTo>
                      <a:pt x="309" y="145"/>
                    </a:lnTo>
                    <a:lnTo>
                      <a:pt x="313" y="145"/>
                    </a:lnTo>
                    <a:lnTo>
                      <a:pt x="314" y="143"/>
                    </a:lnTo>
                    <a:lnTo>
                      <a:pt x="321" y="141"/>
                    </a:lnTo>
                    <a:lnTo>
                      <a:pt x="323" y="141"/>
                    </a:lnTo>
                    <a:lnTo>
                      <a:pt x="331" y="136"/>
                    </a:lnTo>
                    <a:lnTo>
                      <a:pt x="336" y="135"/>
                    </a:lnTo>
                    <a:lnTo>
                      <a:pt x="341" y="138"/>
                    </a:lnTo>
                    <a:lnTo>
                      <a:pt x="346" y="136"/>
                    </a:lnTo>
                    <a:lnTo>
                      <a:pt x="348" y="138"/>
                    </a:lnTo>
                    <a:lnTo>
                      <a:pt x="349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7" name="Freeform 14"/>
              <p:cNvSpPr>
                <a:spLocks noEditPoints="1"/>
              </p:cNvSpPr>
              <p:nvPr/>
            </p:nvSpPr>
            <p:spPr bwMode="auto">
              <a:xfrm>
                <a:off x="7936908" y="3036257"/>
                <a:ext cx="128430" cy="170164"/>
              </a:xfrm>
              <a:custGeom>
                <a:avLst/>
                <a:gdLst/>
                <a:ahLst/>
                <a:cxnLst>
                  <a:cxn ang="0">
                    <a:pos x="90" y="2"/>
                  </a:cxn>
                  <a:cxn ang="0">
                    <a:pos x="110" y="125"/>
                  </a:cxn>
                  <a:cxn ang="0">
                    <a:pos x="148" y="132"/>
                  </a:cxn>
                  <a:cxn ang="0">
                    <a:pos x="164" y="153"/>
                  </a:cxn>
                  <a:cxn ang="0">
                    <a:pos x="163" y="160"/>
                  </a:cxn>
                  <a:cxn ang="0">
                    <a:pos x="133" y="143"/>
                  </a:cxn>
                  <a:cxn ang="0">
                    <a:pos x="91" y="140"/>
                  </a:cxn>
                  <a:cxn ang="0">
                    <a:pos x="78" y="113"/>
                  </a:cxn>
                  <a:cxn ang="0">
                    <a:pos x="58" y="90"/>
                  </a:cxn>
                  <a:cxn ang="0">
                    <a:pos x="68" y="52"/>
                  </a:cxn>
                  <a:cxn ang="0">
                    <a:pos x="108" y="24"/>
                  </a:cxn>
                  <a:cxn ang="0">
                    <a:pos x="116" y="78"/>
                  </a:cxn>
                  <a:cxn ang="0">
                    <a:pos x="106" y="115"/>
                  </a:cxn>
                  <a:cxn ang="0">
                    <a:pos x="111" y="115"/>
                  </a:cxn>
                  <a:cxn ang="0">
                    <a:pos x="70" y="135"/>
                  </a:cxn>
                  <a:cxn ang="0">
                    <a:pos x="96" y="175"/>
                  </a:cxn>
                  <a:cxn ang="0">
                    <a:pos x="80" y="143"/>
                  </a:cxn>
                  <a:cxn ang="0">
                    <a:pos x="171" y="130"/>
                  </a:cxn>
                  <a:cxn ang="0">
                    <a:pos x="120" y="168"/>
                  </a:cxn>
                  <a:cxn ang="0">
                    <a:pos x="136" y="171"/>
                  </a:cxn>
                  <a:cxn ang="0">
                    <a:pos x="158" y="165"/>
                  </a:cxn>
                  <a:cxn ang="0">
                    <a:pos x="173" y="181"/>
                  </a:cxn>
                  <a:cxn ang="0">
                    <a:pos x="148" y="178"/>
                  </a:cxn>
                  <a:cxn ang="0">
                    <a:pos x="116" y="185"/>
                  </a:cxn>
                  <a:cxn ang="0">
                    <a:pos x="151" y="190"/>
                  </a:cxn>
                  <a:cxn ang="0">
                    <a:pos x="135" y="211"/>
                  </a:cxn>
                  <a:cxn ang="0">
                    <a:pos x="158" y="238"/>
                  </a:cxn>
                  <a:cxn ang="0">
                    <a:pos x="161" y="225"/>
                  </a:cxn>
                  <a:cxn ang="0">
                    <a:pos x="151" y="205"/>
                  </a:cxn>
                  <a:cxn ang="0">
                    <a:pos x="148" y="246"/>
                  </a:cxn>
                  <a:cxn ang="0">
                    <a:pos x="164" y="243"/>
                  </a:cxn>
                  <a:cxn ang="0">
                    <a:pos x="179" y="223"/>
                  </a:cxn>
                  <a:cxn ang="0">
                    <a:pos x="188" y="243"/>
                  </a:cxn>
                  <a:cxn ang="0">
                    <a:pos x="201" y="200"/>
                  </a:cxn>
                  <a:cxn ang="0">
                    <a:pos x="201" y="168"/>
                  </a:cxn>
                  <a:cxn ang="0">
                    <a:pos x="186" y="180"/>
                  </a:cxn>
                  <a:cxn ang="0">
                    <a:pos x="181" y="195"/>
                  </a:cxn>
                  <a:cxn ang="0">
                    <a:pos x="198" y="221"/>
                  </a:cxn>
                  <a:cxn ang="0">
                    <a:pos x="214" y="205"/>
                  </a:cxn>
                  <a:cxn ang="0">
                    <a:pos x="213" y="218"/>
                  </a:cxn>
                  <a:cxn ang="0">
                    <a:pos x="221" y="236"/>
                  </a:cxn>
                  <a:cxn ang="0">
                    <a:pos x="130" y="299"/>
                  </a:cxn>
                  <a:cxn ang="0">
                    <a:pos x="156" y="260"/>
                  </a:cxn>
                  <a:cxn ang="0">
                    <a:pos x="193" y="261"/>
                  </a:cxn>
                  <a:cxn ang="0">
                    <a:pos x="208" y="231"/>
                  </a:cxn>
                  <a:cxn ang="0">
                    <a:pos x="229" y="261"/>
                  </a:cxn>
                  <a:cxn ang="0">
                    <a:pos x="236" y="299"/>
                  </a:cxn>
                  <a:cxn ang="0">
                    <a:pos x="221" y="288"/>
                  </a:cxn>
                  <a:cxn ang="0">
                    <a:pos x="209" y="321"/>
                  </a:cxn>
                  <a:cxn ang="0">
                    <a:pos x="178" y="301"/>
                  </a:cxn>
                  <a:cxn ang="0">
                    <a:pos x="161" y="281"/>
                  </a:cxn>
                  <a:cxn ang="0">
                    <a:pos x="146" y="288"/>
                  </a:cxn>
                  <a:cxn ang="0">
                    <a:pos x="125" y="311"/>
                  </a:cxn>
                  <a:cxn ang="0">
                    <a:pos x="65" y="171"/>
                  </a:cxn>
                  <a:cxn ang="0">
                    <a:pos x="68" y="186"/>
                  </a:cxn>
                  <a:cxn ang="0">
                    <a:pos x="68" y="216"/>
                  </a:cxn>
                  <a:cxn ang="0">
                    <a:pos x="38" y="240"/>
                  </a:cxn>
                  <a:cxn ang="0">
                    <a:pos x="56" y="195"/>
                  </a:cxn>
                  <a:cxn ang="0">
                    <a:pos x="32" y="238"/>
                  </a:cxn>
                  <a:cxn ang="0">
                    <a:pos x="8" y="265"/>
                  </a:cxn>
                  <a:cxn ang="0">
                    <a:pos x="5" y="273"/>
                  </a:cxn>
                </a:cxnLst>
                <a:rect l="0" t="0" r="r" b="b"/>
                <a:pathLst>
                  <a:path w="241" h="329">
                    <a:moveTo>
                      <a:pt x="85" y="15"/>
                    </a:moveTo>
                    <a:lnTo>
                      <a:pt x="91" y="15"/>
                    </a:lnTo>
                    <a:lnTo>
                      <a:pt x="88" y="17"/>
                    </a:lnTo>
                    <a:lnTo>
                      <a:pt x="85" y="15"/>
                    </a:lnTo>
                    <a:lnTo>
                      <a:pt x="85" y="15"/>
                    </a:lnTo>
                    <a:close/>
                    <a:moveTo>
                      <a:pt x="83" y="5"/>
                    </a:moveTo>
                    <a:lnTo>
                      <a:pt x="86" y="9"/>
                    </a:lnTo>
                    <a:lnTo>
                      <a:pt x="81" y="10"/>
                    </a:lnTo>
                    <a:lnTo>
                      <a:pt x="83" y="5"/>
                    </a:lnTo>
                    <a:lnTo>
                      <a:pt x="83" y="5"/>
                    </a:lnTo>
                    <a:close/>
                    <a:moveTo>
                      <a:pt x="93" y="0"/>
                    </a:moveTo>
                    <a:lnTo>
                      <a:pt x="90" y="2"/>
                    </a:lnTo>
                    <a:lnTo>
                      <a:pt x="91" y="5"/>
                    </a:lnTo>
                    <a:lnTo>
                      <a:pt x="93" y="0"/>
                    </a:lnTo>
                    <a:lnTo>
                      <a:pt x="93" y="0"/>
                    </a:lnTo>
                    <a:close/>
                    <a:moveTo>
                      <a:pt x="103" y="10"/>
                    </a:moveTo>
                    <a:lnTo>
                      <a:pt x="100" y="14"/>
                    </a:lnTo>
                    <a:lnTo>
                      <a:pt x="103" y="17"/>
                    </a:lnTo>
                    <a:lnTo>
                      <a:pt x="105" y="14"/>
                    </a:lnTo>
                    <a:lnTo>
                      <a:pt x="105" y="14"/>
                    </a:lnTo>
                    <a:lnTo>
                      <a:pt x="103" y="10"/>
                    </a:lnTo>
                    <a:lnTo>
                      <a:pt x="103" y="10"/>
                    </a:lnTo>
                    <a:close/>
                    <a:moveTo>
                      <a:pt x="105" y="122"/>
                    </a:moveTo>
                    <a:lnTo>
                      <a:pt x="110" y="125"/>
                    </a:lnTo>
                    <a:lnTo>
                      <a:pt x="111" y="130"/>
                    </a:lnTo>
                    <a:lnTo>
                      <a:pt x="116" y="132"/>
                    </a:lnTo>
                    <a:lnTo>
                      <a:pt x="121" y="130"/>
                    </a:lnTo>
                    <a:lnTo>
                      <a:pt x="121" y="127"/>
                    </a:lnTo>
                    <a:lnTo>
                      <a:pt x="128" y="122"/>
                    </a:lnTo>
                    <a:lnTo>
                      <a:pt x="133" y="122"/>
                    </a:lnTo>
                    <a:lnTo>
                      <a:pt x="139" y="125"/>
                    </a:lnTo>
                    <a:lnTo>
                      <a:pt x="143" y="132"/>
                    </a:lnTo>
                    <a:lnTo>
                      <a:pt x="143" y="135"/>
                    </a:lnTo>
                    <a:lnTo>
                      <a:pt x="144" y="138"/>
                    </a:lnTo>
                    <a:lnTo>
                      <a:pt x="148" y="135"/>
                    </a:lnTo>
                    <a:lnTo>
                      <a:pt x="148" y="132"/>
                    </a:lnTo>
                    <a:lnTo>
                      <a:pt x="149" y="130"/>
                    </a:lnTo>
                    <a:lnTo>
                      <a:pt x="153" y="133"/>
                    </a:lnTo>
                    <a:lnTo>
                      <a:pt x="158" y="135"/>
                    </a:lnTo>
                    <a:lnTo>
                      <a:pt x="163" y="137"/>
                    </a:lnTo>
                    <a:lnTo>
                      <a:pt x="164" y="138"/>
                    </a:lnTo>
                    <a:lnTo>
                      <a:pt x="161" y="138"/>
                    </a:lnTo>
                    <a:lnTo>
                      <a:pt x="158" y="138"/>
                    </a:lnTo>
                    <a:lnTo>
                      <a:pt x="156" y="140"/>
                    </a:lnTo>
                    <a:lnTo>
                      <a:pt x="156" y="143"/>
                    </a:lnTo>
                    <a:lnTo>
                      <a:pt x="159" y="150"/>
                    </a:lnTo>
                    <a:lnTo>
                      <a:pt x="159" y="153"/>
                    </a:lnTo>
                    <a:lnTo>
                      <a:pt x="164" y="153"/>
                    </a:lnTo>
                    <a:lnTo>
                      <a:pt x="168" y="155"/>
                    </a:lnTo>
                    <a:lnTo>
                      <a:pt x="173" y="155"/>
                    </a:lnTo>
                    <a:lnTo>
                      <a:pt x="174" y="158"/>
                    </a:lnTo>
                    <a:lnTo>
                      <a:pt x="171" y="160"/>
                    </a:lnTo>
                    <a:lnTo>
                      <a:pt x="173" y="162"/>
                    </a:lnTo>
                    <a:lnTo>
                      <a:pt x="171" y="168"/>
                    </a:lnTo>
                    <a:lnTo>
                      <a:pt x="166" y="167"/>
                    </a:lnTo>
                    <a:lnTo>
                      <a:pt x="163" y="163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3" y="158"/>
                    </a:lnTo>
                    <a:lnTo>
                      <a:pt x="163" y="160"/>
                    </a:lnTo>
                    <a:lnTo>
                      <a:pt x="158" y="160"/>
                    </a:lnTo>
                    <a:lnTo>
                      <a:pt x="153" y="155"/>
                    </a:lnTo>
                    <a:lnTo>
                      <a:pt x="149" y="153"/>
                    </a:lnTo>
                    <a:lnTo>
                      <a:pt x="149" y="148"/>
                    </a:lnTo>
                    <a:lnTo>
                      <a:pt x="148" y="145"/>
                    </a:lnTo>
                    <a:lnTo>
                      <a:pt x="141" y="142"/>
                    </a:lnTo>
                    <a:lnTo>
                      <a:pt x="138" y="137"/>
                    </a:lnTo>
                    <a:lnTo>
                      <a:pt x="135" y="137"/>
                    </a:lnTo>
                    <a:lnTo>
                      <a:pt x="131" y="133"/>
                    </a:lnTo>
                    <a:lnTo>
                      <a:pt x="130" y="133"/>
                    </a:lnTo>
                    <a:lnTo>
                      <a:pt x="128" y="135"/>
                    </a:lnTo>
                    <a:lnTo>
                      <a:pt x="133" y="143"/>
                    </a:lnTo>
                    <a:lnTo>
                      <a:pt x="135" y="150"/>
                    </a:lnTo>
                    <a:lnTo>
                      <a:pt x="133" y="150"/>
                    </a:lnTo>
                    <a:lnTo>
                      <a:pt x="128" y="143"/>
                    </a:lnTo>
                    <a:lnTo>
                      <a:pt x="123" y="140"/>
                    </a:lnTo>
                    <a:lnTo>
                      <a:pt x="121" y="137"/>
                    </a:lnTo>
                    <a:lnTo>
                      <a:pt x="111" y="133"/>
                    </a:lnTo>
                    <a:lnTo>
                      <a:pt x="105" y="133"/>
                    </a:lnTo>
                    <a:lnTo>
                      <a:pt x="103" y="137"/>
                    </a:lnTo>
                    <a:lnTo>
                      <a:pt x="105" y="140"/>
                    </a:lnTo>
                    <a:lnTo>
                      <a:pt x="100" y="142"/>
                    </a:lnTo>
                    <a:lnTo>
                      <a:pt x="95" y="137"/>
                    </a:lnTo>
                    <a:lnTo>
                      <a:pt x="91" y="140"/>
                    </a:lnTo>
                    <a:lnTo>
                      <a:pt x="86" y="140"/>
                    </a:lnTo>
                    <a:lnTo>
                      <a:pt x="90" y="137"/>
                    </a:lnTo>
                    <a:lnTo>
                      <a:pt x="88" y="133"/>
                    </a:lnTo>
                    <a:lnTo>
                      <a:pt x="85" y="133"/>
                    </a:lnTo>
                    <a:lnTo>
                      <a:pt x="83" y="138"/>
                    </a:lnTo>
                    <a:lnTo>
                      <a:pt x="80" y="133"/>
                    </a:lnTo>
                    <a:lnTo>
                      <a:pt x="80" y="128"/>
                    </a:lnTo>
                    <a:lnTo>
                      <a:pt x="80" y="125"/>
                    </a:lnTo>
                    <a:lnTo>
                      <a:pt x="83" y="123"/>
                    </a:lnTo>
                    <a:lnTo>
                      <a:pt x="88" y="117"/>
                    </a:lnTo>
                    <a:lnTo>
                      <a:pt x="83" y="113"/>
                    </a:lnTo>
                    <a:lnTo>
                      <a:pt x="78" y="113"/>
                    </a:lnTo>
                    <a:lnTo>
                      <a:pt x="78" y="117"/>
                    </a:lnTo>
                    <a:lnTo>
                      <a:pt x="81" y="118"/>
                    </a:lnTo>
                    <a:lnTo>
                      <a:pt x="78" y="122"/>
                    </a:lnTo>
                    <a:lnTo>
                      <a:pt x="75" y="122"/>
                    </a:lnTo>
                    <a:lnTo>
                      <a:pt x="70" y="117"/>
                    </a:lnTo>
                    <a:lnTo>
                      <a:pt x="70" y="112"/>
                    </a:lnTo>
                    <a:lnTo>
                      <a:pt x="68" y="112"/>
                    </a:lnTo>
                    <a:lnTo>
                      <a:pt x="66" y="112"/>
                    </a:lnTo>
                    <a:lnTo>
                      <a:pt x="65" y="112"/>
                    </a:lnTo>
                    <a:lnTo>
                      <a:pt x="65" y="103"/>
                    </a:lnTo>
                    <a:lnTo>
                      <a:pt x="60" y="97"/>
                    </a:lnTo>
                    <a:lnTo>
                      <a:pt x="58" y="90"/>
                    </a:lnTo>
                    <a:lnTo>
                      <a:pt x="60" y="88"/>
                    </a:lnTo>
                    <a:lnTo>
                      <a:pt x="60" y="87"/>
                    </a:lnTo>
                    <a:lnTo>
                      <a:pt x="56" y="87"/>
                    </a:lnTo>
                    <a:lnTo>
                      <a:pt x="55" y="82"/>
                    </a:lnTo>
                    <a:lnTo>
                      <a:pt x="56" y="75"/>
                    </a:lnTo>
                    <a:lnTo>
                      <a:pt x="60" y="80"/>
                    </a:lnTo>
                    <a:lnTo>
                      <a:pt x="63" y="80"/>
                    </a:lnTo>
                    <a:lnTo>
                      <a:pt x="66" y="78"/>
                    </a:lnTo>
                    <a:lnTo>
                      <a:pt x="66" y="75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8" y="52"/>
                    </a:lnTo>
                    <a:lnTo>
                      <a:pt x="68" y="44"/>
                    </a:lnTo>
                    <a:lnTo>
                      <a:pt x="66" y="39"/>
                    </a:lnTo>
                    <a:lnTo>
                      <a:pt x="71" y="29"/>
                    </a:lnTo>
                    <a:lnTo>
                      <a:pt x="73" y="24"/>
                    </a:lnTo>
                    <a:lnTo>
                      <a:pt x="80" y="22"/>
                    </a:lnTo>
                    <a:lnTo>
                      <a:pt x="90" y="24"/>
                    </a:lnTo>
                    <a:lnTo>
                      <a:pt x="93" y="27"/>
                    </a:lnTo>
                    <a:lnTo>
                      <a:pt x="96" y="30"/>
                    </a:lnTo>
                    <a:lnTo>
                      <a:pt x="98" y="27"/>
                    </a:lnTo>
                    <a:lnTo>
                      <a:pt x="105" y="27"/>
                    </a:lnTo>
                    <a:lnTo>
                      <a:pt x="108" y="25"/>
                    </a:lnTo>
                    <a:lnTo>
                      <a:pt x="108" y="24"/>
                    </a:lnTo>
                    <a:lnTo>
                      <a:pt x="110" y="22"/>
                    </a:lnTo>
                    <a:lnTo>
                      <a:pt x="113" y="25"/>
                    </a:lnTo>
                    <a:lnTo>
                      <a:pt x="113" y="29"/>
                    </a:lnTo>
                    <a:lnTo>
                      <a:pt x="110" y="32"/>
                    </a:lnTo>
                    <a:lnTo>
                      <a:pt x="110" y="40"/>
                    </a:lnTo>
                    <a:lnTo>
                      <a:pt x="113" y="47"/>
                    </a:lnTo>
                    <a:lnTo>
                      <a:pt x="116" y="49"/>
                    </a:lnTo>
                    <a:lnTo>
                      <a:pt x="118" y="54"/>
                    </a:lnTo>
                    <a:lnTo>
                      <a:pt x="121" y="57"/>
                    </a:lnTo>
                    <a:lnTo>
                      <a:pt x="118" y="67"/>
                    </a:lnTo>
                    <a:lnTo>
                      <a:pt x="115" y="73"/>
                    </a:lnTo>
                    <a:lnTo>
                      <a:pt x="116" y="78"/>
                    </a:lnTo>
                    <a:lnTo>
                      <a:pt x="113" y="83"/>
                    </a:lnTo>
                    <a:lnTo>
                      <a:pt x="113" y="82"/>
                    </a:lnTo>
                    <a:lnTo>
                      <a:pt x="115" y="78"/>
                    </a:lnTo>
                    <a:lnTo>
                      <a:pt x="111" y="80"/>
                    </a:lnTo>
                    <a:lnTo>
                      <a:pt x="103" y="87"/>
                    </a:lnTo>
                    <a:lnTo>
                      <a:pt x="101" y="90"/>
                    </a:lnTo>
                    <a:lnTo>
                      <a:pt x="103" y="95"/>
                    </a:lnTo>
                    <a:lnTo>
                      <a:pt x="100" y="98"/>
                    </a:lnTo>
                    <a:lnTo>
                      <a:pt x="100" y="105"/>
                    </a:lnTo>
                    <a:lnTo>
                      <a:pt x="101" y="107"/>
                    </a:lnTo>
                    <a:lnTo>
                      <a:pt x="105" y="112"/>
                    </a:lnTo>
                    <a:lnTo>
                      <a:pt x="106" y="115"/>
                    </a:lnTo>
                    <a:lnTo>
                      <a:pt x="105" y="118"/>
                    </a:lnTo>
                    <a:lnTo>
                      <a:pt x="105" y="122"/>
                    </a:lnTo>
                    <a:lnTo>
                      <a:pt x="105" y="122"/>
                    </a:lnTo>
                    <a:close/>
                    <a:moveTo>
                      <a:pt x="115" y="123"/>
                    </a:moveTo>
                    <a:lnTo>
                      <a:pt x="115" y="128"/>
                    </a:lnTo>
                    <a:lnTo>
                      <a:pt x="118" y="130"/>
                    </a:lnTo>
                    <a:lnTo>
                      <a:pt x="118" y="127"/>
                    </a:lnTo>
                    <a:lnTo>
                      <a:pt x="115" y="123"/>
                    </a:lnTo>
                    <a:lnTo>
                      <a:pt x="115" y="123"/>
                    </a:lnTo>
                    <a:close/>
                    <a:moveTo>
                      <a:pt x="110" y="107"/>
                    </a:moveTo>
                    <a:lnTo>
                      <a:pt x="113" y="113"/>
                    </a:lnTo>
                    <a:lnTo>
                      <a:pt x="111" y="115"/>
                    </a:lnTo>
                    <a:lnTo>
                      <a:pt x="113" y="118"/>
                    </a:lnTo>
                    <a:lnTo>
                      <a:pt x="116" y="115"/>
                    </a:lnTo>
                    <a:lnTo>
                      <a:pt x="116" y="108"/>
                    </a:lnTo>
                    <a:lnTo>
                      <a:pt x="120" y="107"/>
                    </a:lnTo>
                    <a:lnTo>
                      <a:pt x="116" y="105"/>
                    </a:lnTo>
                    <a:lnTo>
                      <a:pt x="110" y="107"/>
                    </a:lnTo>
                    <a:lnTo>
                      <a:pt x="110" y="107"/>
                    </a:lnTo>
                    <a:close/>
                    <a:moveTo>
                      <a:pt x="66" y="135"/>
                    </a:moveTo>
                    <a:lnTo>
                      <a:pt x="68" y="138"/>
                    </a:lnTo>
                    <a:lnTo>
                      <a:pt x="73" y="140"/>
                    </a:lnTo>
                    <a:lnTo>
                      <a:pt x="75" y="140"/>
                    </a:lnTo>
                    <a:lnTo>
                      <a:pt x="70" y="135"/>
                    </a:lnTo>
                    <a:lnTo>
                      <a:pt x="66" y="135"/>
                    </a:lnTo>
                    <a:lnTo>
                      <a:pt x="66" y="135"/>
                    </a:lnTo>
                    <a:close/>
                    <a:moveTo>
                      <a:pt x="75" y="145"/>
                    </a:moveTo>
                    <a:lnTo>
                      <a:pt x="76" y="147"/>
                    </a:lnTo>
                    <a:lnTo>
                      <a:pt x="80" y="147"/>
                    </a:lnTo>
                    <a:lnTo>
                      <a:pt x="81" y="152"/>
                    </a:lnTo>
                    <a:lnTo>
                      <a:pt x="85" y="153"/>
                    </a:lnTo>
                    <a:lnTo>
                      <a:pt x="88" y="157"/>
                    </a:lnTo>
                    <a:lnTo>
                      <a:pt x="88" y="163"/>
                    </a:lnTo>
                    <a:lnTo>
                      <a:pt x="91" y="165"/>
                    </a:lnTo>
                    <a:lnTo>
                      <a:pt x="91" y="170"/>
                    </a:lnTo>
                    <a:lnTo>
                      <a:pt x="96" y="175"/>
                    </a:lnTo>
                    <a:lnTo>
                      <a:pt x="100" y="175"/>
                    </a:lnTo>
                    <a:lnTo>
                      <a:pt x="105" y="171"/>
                    </a:lnTo>
                    <a:lnTo>
                      <a:pt x="105" y="168"/>
                    </a:lnTo>
                    <a:lnTo>
                      <a:pt x="106" y="167"/>
                    </a:lnTo>
                    <a:lnTo>
                      <a:pt x="106" y="163"/>
                    </a:lnTo>
                    <a:lnTo>
                      <a:pt x="105" y="160"/>
                    </a:lnTo>
                    <a:lnTo>
                      <a:pt x="106" y="157"/>
                    </a:lnTo>
                    <a:lnTo>
                      <a:pt x="106" y="153"/>
                    </a:lnTo>
                    <a:lnTo>
                      <a:pt x="101" y="152"/>
                    </a:lnTo>
                    <a:lnTo>
                      <a:pt x="91" y="143"/>
                    </a:lnTo>
                    <a:lnTo>
                      <a:pt x="85" y="145"/>
                    </a:lnTo>
                    <a:lnTo>
                      <a:pt x="80" y="143"/>
                    </a:lnTo>
                    <a:lnTo>
                      <a:pt x="75" y="145"/>
                    </a:lnTo>
                    <a:lnTo>
                      <a:pt x="75" y="145"/>
                    </a:lnTo>
                    <a:close/>
                    <a:moveTo>
                      <a:pt x="171" y="130"/>
                    </a:moveTo>
                    <a:lnTo>
                      <a:pt x="169" y="132"/>
                    </a:lnTo>
                    <a:lnTo>
                      <a:pt x="169" y="137"/>
                    </a:lnTo>
                    <a:lnTo>
                      <a:pt x="168" y="140"/>
                    </a:lnTo>
                    <a:lnTo>
                      <a:pt x="166" y="140"/>
                    </a:lnTo>
                    <a:lnTo>
                      <a:pt x="169" y="143"/>
                    </a:lnTo>
                    <a:lnTo>
                      <a:pt x="176" y="142"/>
                    </a:lnTo>
                    <a:lnTo>
                      <a:pt x="178" y="137"/>
                    </a:lnTo>
                    <a:lnTo>
                      <a:pt x="174" y="133"/>
                    </a:lnTo>
                    <a:lnTo>
                      <a:pt x="171" y="130"/>
                    </a:lnTo>
                    <a:lnTo>
                      <a:pt x="171" y="130"/>
                    </a:lnTo>
                    <a:close/>
                    <a:moveTo>
                      <a:pt x="113" y="147"/>
                    </a:moveTo>
                    <a:lnTo>
                      <a:pt x="118" y="150"/>
                    </a:lnTo>
                    <a:lnTo>
                      <a:pt x="120" y="148"/>
                    </a:lnTo>
                    <a:lnTo>
                      <a:pt x="121" y="147"/>
                    </a:lnTo>
                    <a:lnTo>
                      <a:pt x="120" y="142"/>
                    </a:lnTo>
                    <a:lnTo>
                      <a:pt x="115" y="140"/>
                    </a:lnTo>
                    <a:lnTo>
                      <a:pt x="111" y="143"/>
                    </a:lnTo>
                    <a:lnTo>
                      <a:pt x="113" y="147"/>
                    </a:lnTo>
                    <a:lnTo>
                      <a:pt x="113" y="147"/>
                    </a:lnTo>
                    <a:close/>
                    <a:moveTo>
                      <a:pt x="123" y="163"/>
                    </a:moveTo>
                    <a:lnTo>
                      <a:pt x="120" y="168"/>
                    </a:lnTo>
                    <a:lnTo>
                      <a:pt x="118" y="171"/>
                    </a:lnTo>
                    <a:lnTo>
                      <a:pt x="120" y="178"/>
                    </a:lnTo>
                    <a:lnTo>
                      <a:pt x="123" y="176"/>
                    </a:lnTo>
                    <a:lnTo>
                      <a:pt x="125" y="171"/>
                    </a:lnTo>
                    <a:lnTo>
                      <a:pt x="123" y="167"/>
                    </a:lnTo>
                    <a:lnTo>
                      <a:pt x="125" y="162"/>
                    </a:lnTo>
                    <a:lnTo>
                      <a:pt x="123" y="163"/>
                    </a:lnTo>
                    <a:lnTo>
                      <a:pt x="123" y="163"/>
                    </a:lnTo>
                    <a:close/>
                    <a:moveTo>
                      <a:pt x="133" y="167"/>
                    </a:moveTo>
                    <a:lnTo>
                      <a:pt x="131" y="168"/>
                    </a:lnTo>
                    <a:lnTo>
                      <a:pt x="131" y="171"/>
                    </a:lnTo>
                    <a:lnTo>
                      <a:pt x="136" y="171"/>
                    </a:lnTo>
                    <a:lnTo>
                      <a:pt x="136" y="168"/>
                    </a:lnTo>
                    <a:lnTo>
                      <a:pt x="133" y="167"/>
                    </a:lnTo>
                    <a:lnTo>
                      <a:pt x="133" y="167"/>
                    </a:lnTo>
                    <a:close/>
                    <a:moveTo>
                      <a:pt x="148" y="157"/>
                    </a:moveTo>
                    <a:lnTo>
                      <a:pt x="143" y="152"/>
                    </a:lnTo>
                    <a:lnTo>
                      <a:pt x="141" y="152"/>
                    </a:lnTo>
                    <a:lnTo>
                      <a:pt x="141" y="155"/>
                    </a:lnTo>
                    <a:lnTo>
                      <a:pt x="148" y="162"/>
                    </a:lnTo>
                    <a:lnTo>
                      <a:pt x="149" y="158"/>
                    </a:lnTo>
                    <a:lnTo>
                      <a:pt x="148" y="157"/>
                    </a:lnTo>
                    <a:lnTo>
                      <a:pt x="148" y="157"/>
                    </a:lnTo>
                    <a:close/>
                    <a:moveTo>
                      <a:pt x="158" y="165"/>
                    </a:moveTo>
                    <a:lnTo>
                      <a:pt x="159" y="167"/>
                    </a:lnTo>
                    <a:lnTo>
                      <a:pt x="163" y="170"/>
                    </a:lnTo>
                    <a:lnTo>
                      <a:pt x="164" y="170"/>
                    </a:lnTo>
                    <a:lnTo>
                      <a:pt x="161" y="167"/>
                    </a:lnTo>
                    <a:lnTo>
                      <a:pt x="158" y="165"/>
                    </a:lnTo>
                    <a:lnTo>
                      <a:pt x="158" y="165"/>
                    </a:lnTo>
                    <a:close/>
                    <a:moveTo>
                      <a:pt x="149" y="180"/>
                    </a:moveTo>
                    <a:lnTo>
                      <a:pt x="153" y="175"/>
                    </a:lnTo>
                    <a:lnTo>
                      <a:pt x="158" y="175"/>
                    </a:lnTo>
                    <a:lnTo>
                      <a:pt x="163" y="180"/>
                    </a:lnTo>
                    <a:lnTo>
                      <a:pt x="168" y="183"/>
                    </a:lnTo>
                    <a:lnTo>
                      <a:pt x="173" y="181"/>
                    </a:lnTo>
                    <a:lnTo>
                      <a:pt x="173" y="180"/>
                    </a:lnTo>
                    <a:lnTo>
                      <a:pt x="169" y="176"/>
                    </a:lnTo>
                    <a:lnTo>
                      <a:pt x="161" y="171"/>
                    </a:lnTo>
                    <a:lnTo>
                      <a:pt x="158" y="171"/>
                    </a:lnTo>
                    <a:lnTo>
                      <a:pt x="154" y="168"/>
                    </a:lnTo>
                    <a:lnTo>
                      <a:pt x="153" y="168"/>
                    </a:lnTo>
                    <a:lnTo>
                      <a:pt x="153" y="167"/>
                    </a:lnTo>
                    <a:lnTo>
                      <a:pt x="149" y="165"/>
                    </a:lnTo>
                    <a:lnTo>
                      <a:pt x="149" y="170"/>
                    </a:lnTo>
                    <a:lnTo>
                      <a:pt x="151" y="173"/>
                    </a:lnTo>
                    <a:lnTo>
                      <a:pt x="149" y="175"/>
                    </a:lnTo>
                    <a:lnTo>
                      <a:pt x="148" y="178"/>
                    </a:lnTo>
                    <a:lnTo>
                      <a:pt x="149" y="180"/>
                    </a:lnTo>
                    <a:lnTo>
                      <a:pt x="149" y="180"/>
                    </a:lnTo>
                    <a:close/>
                    <a:moveTo>
                      <a:pt x="126" y="213"/>
                    </a:moveTo>
                    <a:lnTo>
                      <a:pt x="125" y="215"/>
                    </a:lnTo>
                    <a:lnTo>
                      <a:pt x="123" y="215"/>
                    </a:lnTo>
                    <a:lnTo>
                      <a:pt x="120" y="208"/>
                    </a:lnTo>
                    <a:lnTo>
                      <a:pt x="123" y="203"/>
                    </a:lnTo>
                    <a:lnTo>
                      <a:pt x="121" y="195"/>
                    </a:lnTo>
                    <a:lnTo>
                      <a:pt x="123" y="191"/>
                    </a:lnTo>
                    <a:lnTo>
                      <a:pt x="123" y="186"/>
                    </a:lnTo>
                    <a:lnTo>
                      <a:pt x="121" y="186"/>
                    </a:lnTo>
                    <a:lnTo>
                      <a:pt x="116" y="185"/>
                    </a:lnTo>
                    <a:lnTo>
                      <a:pt x="116" y="181"/>
                    </a:lnTo>
                    <a:lnTo>
                      <a:pt x="121" y="180"/>
                    </a:lnTo>
                    <a:lnTo>
                      <a:pt x="126" y="185"/>
                    </a:lnTo>
                    <a:lnTo>
                      <a:pt x="130" y="186"/>
                    </a:lnTo>
                    <a:lnTo>
                      <a:pt x="130" y="188"/>
                    </a:lnTo>
                    <a:lnTo>
                      <a:pt x="131" y="188"/>
                    </a:lnTo>
                    <a:lnTo>
                      <a:pt x="136" y="188"/>
                    </a:lnTo>
                    <a:lnTo>
                      <a:pt x="139" y="188"/>
                    </a:lnTo>
                    <a:lnTo>
                      <a:pt x="143" y="193"/>
                    </a:lnTo>
                    <a:lnTo>
                      <a:pt x="146" y="190"/>
                    </a:lnTo>
                    <a:lnTo>
                      <a:pt x="149" y="188"/>
                    </a:lnTo>
                    <a:lnTo>
                      <a:pt x="151" y="190"/>
                    </a:lnTo>
                    <a:lnTo>
                      <a:pt x="151" y="195"/>
                    </a:lnTo>
                    <a:lnTo>
                      <a:pt x="148" y="196"/>
                    </a:lnTo>
                    <a:lnTo>
                      <a:pt x="146" y="201"/>
                    </a:lnTo>
                    <a:lnTo>
                      <a:pt x="139" y="205"/>
                    </a:lnTo>
                    <a:lnTo>
                      <a:pt x="138" y="208"/>
                    </a:lnTo>
                    <a:lnTo>
                      <a:pt x="135" y="208"/>
                    </a:lnTo>
                    <a:lnTo>
                      <a:pt x="135" y="210"/>
                    </a:lnTo>
                    <a:lnTo>
                      <a:pt x="131" y="210"/>
                    </a:lnTo>
                    <a:lnTo>
                      <a:pt x="126" y="213"/>
                    </a:lnTo>
                    <a:lnTo>
                      <a:pt x="126" y="213"/>
                    </a:lnTo>
                    <a:close/>
                    <a:moveTo>
                      <a:pt x="138" y="210"/>
                    </a:moveTo>
                    <a:lnTo>
                      <a:pt x="135" y="211"/>
                    </a:lnTo>
                    <a:lnTo>
                      <a:pt x="133" y="215"/>
                    </a:lnTo>
                    <a:lnTo>
                      <a:pt x="136" y="218"/>
                    </a:lnTo>
                    <a:lnTo>
                      <a:pt x="139" y="213"/>
                    </a:lnTo>
                    <a:lnTo>
                      <a:pt x="139" y="210"/>
                    </a:lnTo>
                    <a:lnTo>
                      <a:pt x="138" y="210"/>
                    </a:lnTo>
                    <a:lnTo>
                      <a:pt x="138" y="210"/>
                    </a:lnTo>
                    <a:close/>
                    <a:moveTo>
                      <a:pt x="179" y="208"/>
                    </a:moveTo>
                    <a:lnTo>
                      <a:pt x="179" y="213"/>
                    </a:lnTo>
                    <a:lnTo>
                      <a:pt x="178" y="210"/>
                    </a:lnTo>
                    <a:lnTo>
                      <a:pt x="179" y="208"/>
                    </a:lnTo>
                    <a:lnTo>
                      <a:pt x="179" y="208"/>
                    </a:lnTo>
                    <a:close/>
                    <a:moveTo>
                      <a:pt x="158" y="238"/>
                    </a:moveTo>
                    <a:lnTo>
                      <a:pt x="161" y="235"/>
                    </a:lnTo>
                    <a:lnTo>
                      <a:pt x="163" y="225"/>
                    </a:lnTo>
                    <a:lnTo>
                      <a:pt x="169" y="218"/>
                    </a:lnTo>
                    <a:lnTo>
                      <a:pt x="171" y="213"/>
                    </a:lnTo>
                    <a:lnTo>
                      <a:pt x="171" y="210"/>
                    </a:lnTo>
                    <a:lnTo>
                      <a:pt x="173" y="206"/>
                    </a:lnTo>
                    <a:lnTo>
                      <a:pt x="173" y="198"/>
                    </a:lnTo>
                    <a:lnTo>
                      <a:pt x="169" y="200"/>
                    </a:lnTo>
                    <a:lnTo>
                      <a:pt x="168" y="208"/>
                    </a:lnTo>
                    <a:lnTo>
                      <a:pt x="163" y="215"/>
                    </a:lnTo>
                    <a:lnTo>
                      <a:pt x="163" y="220"/>
                    </a:lnTo>
                    <a:lnTo>
                      <a:pt x="161" y="225"/>
                    </a:lnTo>
                    <a:lnTo>
                      <a:pt x="158" y="230"/>
                    </a:lnTo>
                    <a:lnTo>
                      <a:pt x="156" y="235"/>
                    </a:lnTo>
                    <a:lnTo>
                      <a:pt x="158" y="238"/>
                    </a:lnTo>
                    <a:lnTo>
                      <a:pt x="158" y="238"/>
                    </a:lnTo>
                    <a:close/>
                    <a:moveTo>
                      <a:pt x="153" y="236"/>
                    </a:moveTo>
                    <a:lnTo>
                      <a:pt x="153" y="226"/>
                    </a:lnTo>
                    <a:lnTo>
                      <a:pt x="154" y="215"/>
                    </a:lnTo>
                    <a:lnTo>
                      <a:pt x="159" y="210"/>
                    </a:lnTo>
                    <a:lnTo>
                      <a:pt x="159" y="206"/>
                    </a:lnTo>
                    <a:lnTo>
                      <a:pt x="156" y="205"/>
                    </a:lnTo>
                    <a:lnTo>
                      <a:pt x="153" y="206"/>
                    </a:lnTo>
                    <a:lnTo>
                      <a:pt x="151" y="205"/>
                    </a:lnTo>
                    <a:lnTo>
                      <a:pt x="146" y="206"/>
                    </a:lnTo>
                    <a:lnTo>
                      <a:pt x="146" y="211"/>
                    </a:lnTo>
                    <a:lnTo>
                      <a:pt x="144" y="215"/>
                    </a:lnTo>
                    <a:lnTo>
                      <a:pt x="144" y="220"/>
                    </a:lnTo>
                    <a:lnTo>
                      <a:pt x="143" y="225"/>
                    </a:lnTo>
                    <a:lnTo>
                      <a:pt x="135" y="228"/>
                    </a:lnTo>
                    <a:lnTo>
                      <a:pt x="133" y="230"/>
                    </a:lnTo>
                    <a:lnTo>
                      <a:pt x="135" y="236"/>
                    </a:lnTo>
                    <a:lnTo>
                      <a:pt x="138" y="238"/>
                    </a:lnTo>
                    <a:lnTo>
                      <a:pt x="143" y="240"/>
                    </a:lnTo>
                    <a:lnTo>
                      <a:pt x="148" y="241"/>
                    </a:lnTo>
                    <a:lnTo>
                      <a:pt x="148" y="246"/>
                    </a:lnTo>
                    <a:lnTo>
                      <a:pt x="151" y="248"/>
                    </a:lnTo>
                    <a:lnTo>
                      <a:pt x="156" y="245"/>
                    </a:lnTo>
                    <a:lnTo>
                      <a:pt x="156" y="241"/>
                    </a:lnTo>
                    <a:lnTo>
                      <a:pt x="153" y="236"/>
                    </a:lnTo>
                    <a:lnTo>
                      <a:pt x="153" y="236"/>
                    </a:lnTo>
                    <a:close/>
                    <a:moveTo>
                      <a:pt x="164" y="243"/>
                    </a:moveTo>
                    <a:lnTo>
                      <a:pt x="166" y="243"/>
                    </a:lnTo>
                    <a:lnTo>
                      <a:pt x="166" y="246"/>
                    </a:lnTo>
                    <a:lnTo>
                      <a:pt x="163" y="248"/>
                    </a:lnTo>
                    <a:lnTo>
                      <a:pt x="159" y="246"/>
                    </a:lnTo>
                    <a:lnTo>
                      <a:pt x="161" y="243"/>
                    </a:lnTo>
                    <a:lnTo>
                      <a:pt x="164" y="243"/>
                    </a:lnTo>
                    <a:lnTo>
                      <a:pt x="164" y="243"/>
                    </a:lnTo>
                    <a:close/>
                    <a:moveTo>
                      <a:pt x="179" y="223"/>
                    </a:moveTo>
                    <a:lnTo>
                      <a:pt x="183" y="223"/>
                    </a:lnTo>
                    <a:lnTo>
                      <a:pt x="186" y="225"/>
                    </a:lnTo>
                    <a:lnTo>
                      <a:pt x="186" y="230"/>
                    </a:lnTo>
                    <a:lnTo>
                      <a:pt x="184" y="233"/>
                    </a:lnTo>
                    <a:lnTo>
                      <a:pt x="176" y="235"/>
                    </a:lnTo>
                    <a:lnTo>
                      <a:pt x="171" y="236"/>
                    </a:lnTo>
                    <a:lnTo>
                      <a:pt x="171" y="233"/>
                    </a:lnTo>
                    <a:lnTo>
                      <a:pt x="169" y="231"/>
                    </a:lnTo>
                    <a:lnTo>
                      <a:pt x="171" y="226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03" y="223"/>
                    </a:moveTo>
                    <a:lnTo>
                      <a:pt x="204" y="226"/>
                    </a:lnTo>
                    <a:lnTo>
                      <a:pt x="204" y="230"/>
                    </a:lnTo>
                    <a:lnTo>
                      <a:pt x="201" y="226"/>
                    </a:lnTo>
                    <a:lnTo>
                      <a:pt x="203" y="223"/>
                    </a:lnTo>
                    <a:lnTo>
                      <a:pt x="203" y="223"/>
                    </a:lnTo>
                    <a:close/>
                    <a:moveTo>
                      <a:pt x="188" y="241"/>
                    </a:moveTo>
                    <a:lnTo>
                      <a:pt x="193" y="243"/>
                    </a:lnTo>
                    <a:lnTo>
                      <a:pt x="193" y="248"/>
                    </a:lnTo>
                    <a:lnTo>
                      <a:pt x="188" y="245"/>
                    </a:lnTo>
                    <a:lnTo>
                      <a:pt x="188" y="243"/>
                    </a:lnTo>
                    <a:lnTo>
                      <a:pt x="188" y="241"/>
                    </a:lnTo>
                    <a:lnTo>
                      <a:pt x="188" y="241"/>
                    </a:lnTo>
                    <a:close/>
                    <a:moveTo>
                      <a:pt x="184" y="188"/>
                    </a:moveTo>
                    <a:lnTo>
                      <a:pt x="184" y="193"/>
                    </a:lnTo>
                    <a:lnTo>
                      <a:pt x="181" y="193"/>
                    </a:lnTo>
                    <a:lnTo>
                      <a:pt x="176" y="190"/>
                    </a:lnTo>
                    <a:lnTo>
                      <a:pt x="179" y="188"/>
                    </a:lnTo>
                    <a:lnTo>
                      <a:pt x="184" y="188"/>
                    </a:lnTo>
                    <a:lnTo>
                      <a:pt x="184" y="188"/>
                    </a:lnTo>
                    <a:close/>
                    <a:moveTo>
                      <a:pt x="194" y="195"/>
                    </a:moveTo>
                    <a:lnTo>
                      <a:pt x="199" y="196"/>
                    </a:lnTo>
                    <a:lnTo>
                      <a:pt x="201" y="200"/>
                    </a:lnTo>
                    <a:lnTo>
                      <a:pt x="208" y="200"/>
                    </a:lnTo>
                    <a:lnTo>
                      <a:pt x="209" y="200"/>
                    </a:lnTo>
                    <a:lnTo>
                      <a:pt x="211" y="200"/>
                    </a:lnTo>
                    <a:lnTo>
                      <a:pt x="213" y="200"/>
                    </a:lnTo>
                    <a:lnTo>
                      <a:pt x="211" y="198"/>
                    </a:lnTo>
                    <a:lnTo>
                      <a:pt x="209" y="193"/>
                    </a:lnTo>
                    <a:lnTo>
                      <a:pt x="206" y="191"/>
                    </a:lnTo>
                    <a:lnTo>
                      <a:pt x="206" y="185"/>
                    </a:lnTo>
                    <a:lnTo>
                      <a:pt x="206" y="178"/>
                    </a:lnTo>
                    <a:lnTo>
                      <a:pt x="206" y="175"/>
                    </a:lnTo>
                    <a:lnTo>
                      <a:pt x="204" y="173"/>
                    </a:lnTo>
                    <a:lnTo>
                      <a:pt x="201" y="168"/>
                    </a:lnTo>
                    <a:lnTo>
                      <a:pt x="198" y="165"/>
                    </a:lnTo>
                    <a:lnTo>
                      <a:pt x="194" y="165"/>
                    </a:lnTo>
                    <a:lnTo>
                      <a:pt x="193" y="165"/>
                    </a:lnTo>
                    <a:lnTo>
                      <a:pt x="191" y="165"/>
                    </a:lnTo>
                    <a:lnTo>
                      <a:pt x="188" y="165"/>
                    </a:lnTo>
                    <a:lnTo>
                      <a:pt x="186" y="167"/>
                    </a:lnTo>
                    <a:lnTo>
                      <a:pt x="183" y="167"/>
                    </a:lnTo>
                    <a:lnTo>
                      <a:pt x="178" y="167"/>
                    </a:lnTo>
                    <a:lnTo>
                      <a:pt x="176" y="165"/>
                    </a:lnTo>
                    <a:lnTo>
                      <a:pt x="176" y="168"/>
                    </a:lnTo>
                    <a:lnTo>
                      <a:pt x="179" y="175"/>
                    </a:lnTo>
                    <a:lnTo>
                      <a:pt x="186" y="180"/>
                    </a:lnTo>
                    <a:lnTo>
                      <a:pt x="191" y="185"/>
                    </a:lnTo>
                    <a:lnTo>
                      <a:pt x="194" y="186"/>
                    </a:lnTo>
                    <a:lnTo>
                      <a:pt x="193" y="190"/>
                    </a:lnTo>
                    <a:lnTo>
                      <a:pt x="191" y="191"/>
                    </a:lnTo>
                    <a:lnTo>
                      <a:pt x="191" y="193"/>
                    </a:lnTo>
                    <a:lnTo>
                      <a:pt x="193" y="191"/>
                    </a:lnTo>
                    <a:lnTo>
                      <a:pt x="193" y="193"/>
                    </a:lnTo>
                    <a:lnTo>
                      <a:pt x="194" y="195"/>
                    </a:lnTo>
                    <a:lnTo>
                      <a:pt x="194" y="195"/>
                    </a:lnTo>
                    <a:close/>
                    <a:moveTo>
                      <a:pt x="191" y="195"/>
                    </a:moveTo>
                    <a:lnTo>
                      <a:pt x="186" y="196"/>
                    </a:lnTo>
                    <a:lnTo>
                      <a:pt x="181" y="195"/>
                    </a:lnTo>
                    <a:lnTo>
                      <a:pt x="178" y="195"/>
                    </a:lnTo>
                    <a:lnTo>
                      <a:pt x="181" y="200"/>
                    </a:lnTo>
                    <a:lnTo>
                      <a:pt x="181" y="203"/>
                    </a:lnTo>
                    <a:lnTo>
                      <a:pt x="183" y="206"/>
                    </a:lnTo>
                    <a:lnTo>
                      <a:pt x="186" y="203"/>
                    </a:lnTo>
                    <a:lnTo>
                      <a:pt x="189" y="206"/>
                    </a:lnTo>
                    <a:lnTo>
                      <a:pt x="188" y="211"/>
                    </a:lnTo>
                    <a:lnTo>
                      <a:pt x="191" y="216"/>
                    </a:lnTo>
                    <a:lnTo>
                      <a:pt x="191" y="223"/>
                    </a:lnTo>
                    <a:lnTo>
                      <a:pt x="196" y="225"/>
                    </a:lnTo>
                    <a:lnTo>
                      <a:pt x="196" y="218"/>
                    </a:lnTo>
                    <a:lnTo>
                      <a:pt x="198" y="221"/>
                    </a:lnTo>
                    <a:lnTo>
                      <a:pt x="203" y="221"/>
                    </a:lnTo>
                    <a:lnTo>
                      <a:pt x="203" y="218"/>
                    </a:lnTo>
                    <a:lnTo>
                      <a:pt x="199" y="211"/>
                    </a:lnTo>
                    <a:lnTo>
                      <a:pt x="196" y="208"/>
                    </a:lnTo>
                    <a:lnTo>
                      <a:pt x="194" y="201"/>
                    </a:lnTo>
                    <a:lnTo>
                      <a:pt x="193" y="196"/>
                    </a:lnTo>
                    <a:lnTo>
                      <a:pt x="191" y="195"/>
                    </a:lnTo>
                    <a:lnTo>
                      <a:pt x="191" y="195"/>
                    </a:lnTo>
                    <a:close/>
                    <a:moveTo>
                      <a:pt x="214" y="206"/>
                    </a:moveTo>
                    <a:lnTo>
                      <a:pt x="218" y="205"/>
                    </a:lnTo>
                    <a:lnTo>
                      <a:pt x="216" y="203"/>
                    </a:lnTo>
                    <a:lnTo>
                      <a:pt x="214" y="205"/>
                    </a:lnTo>
                    <a:lnTo>
                      <a:pt x="214" y="206"/>
                    </a:lnTo>
                    <a:lnTo>
                      <a:pt x="214" y="206"/>
                    </a:lnTo>
                    <a:close/>
                    <a:moveTo>
                      <a:pt x="216" y="210"/>
                    </a:moveTo>
                    <a:lnTo>
                      <a:pt x="213" y="208"/>
                    </a:lnTo>
                    <a:lnTo>
                      <a:pt x="213" y="211"/>
                    </a:lnTo>
                    <a:lnTo>
                      <a:pt x="214" y="211"/>
                    </a:lnTo>
                    <a:lnTo>
                      <a:pt x="216" y="210"/>
                    </a:lnTo>
                    <a:lnTo>
                      <a:pt x="216" y="210"/>
                    </a:lnTo>
                    <a:close/>
                    <a:moveTo>
                      <a:pt x="214" y="231"/>
                    </a:moveTo>
                    <a:lnTo>
                      <a:pt x="216" y="226"/>
                    </a:lnTo>
                    <a:lnTo>
                      <a:pt x="213" y="223"/>
                    </a:lnTo>
                    <a:lnTo>
                      <a:pt x="213" y="218"/>
                    </a:lnTo>
                    <a:lnTo>
                      <a:pt x="214" y="218"/>
                    </a:lnTo>
                    <a:lnTo>
                      <a:pt x="213" y="215"/>
                    </a:lnTo>
                    <a:lnTo>
                      <a:pt x="211" y="216"/>
                    </a:lnTo>
                    <a:lnTo>
                      <a:pt x="209" y="221"/>
                    </a:lnTo>
                    <a:lnTo>
                      <a:pt x="213" y="226"/>
                    </a:lnTo>
                    <a:lnTo>
                      <a:pt x="213" y="228"/>
                    </a:lnTo>
                    <a:lnTo>
                      <a:pt x="213" y="231"/>
                    </a:lnTo>
                    <a:lnTo>
                      <a:pt x="214" y="231"/>
                    </a:lnTo>
                    <a:lnTo>
                      <a:pt x="214" y="231"/>
                    </a:lnTo>
                    <a:close/>
                    <a:moveTo>
                      <a:pt x="219" y="233"/>
                    </a:moveTo>
                    <a:lnTo>
                      <a:pt x="219" y="235"/>
                    </a:lnTo>
                    <a:lnTo>
                      <a:pt x="221" y="236"/>
                    </a:lnTo>
                    <a:lnTo>
                      <a:pt x="223" y="235"/>
                    </a:lnTo>
                    <a:lnTo>
                      <a:pt x="219" y="233"/>
                    </a:lnTo>
                    <a:lnTo>
                      <a:pt x="219" y="233"/>
                    </a:lnTo>
                    <a:close/>
                    <a:moveTo>
                      <a:pt x="224" y="223"/>
                    </a:moveTo>
                    <a:lnTo>
                      <a:pt x="223" y="228"/>
                    </a:lnTo>
                    <a:lnTo>
                      <a:pt x="221" y="230"/>
                    </a:lnTo>
                    <a:lnTo>
                      <a:pt x="224" y="233"/>
                    </a:lnTo>
                    <a:lnTo>
                      <a:pt x="228" y="231"/>
                    </a:lnTo>
                    <a:lnTo>
                      <a:pt x="226" y="226"/>
                    </a:lnTo>
                    <a:lnTo>
                      <a:pt x="224" y="223"/>
                    </a:lnTo>
                    <a:lnTo>
                      <a:pt x="224" y="223"/>
                    </a:lnTo>
                    <a:close/>
                    <a:moveTo>
                      <a:pt x="130" y="299"/>
                    </a:moveTo>
                    <a:lnTo>
                      <a:pt x="125" y="294"/>
                    </a:lnTo>
                    <a:lnTo>
                      <a:pt x="128" y="288"/>
                    </a:lnTo>
                    <a:lnTo>
                      <a:pt x="128" y="283"/>
                    </a:lnTo>
                    <a:lnTo>
                      <a:pt x="128" y="279"/>
                    </a:lnTo>
                    <a:lnTo>
                      <a:pt x="131" y="274"/>
                    </a:lnTo>
                    <a:lnTo>
                      <a:pt x="136" y="273"/>
                    </a:lnTo>
                    <a:lnTo>
                      <a:pt x="139" y="269"/>
                    </a:lnTo>
                    <a:lnTo>
                      <a:pt x="144" y="271"/>
                    </a:lnTo>
                    <a:lnTo>
                      <a:pt x="151" y="269"/>
                    </a:lnTo>
                    <a:lnTo>
                      <a:pt x="149" y="266"/>
                    </a:lnTo>
                    <a:lnTo>
                      <a:pt x="151" y="263"/>
                    </a:lnTo>
                    <a:lnTo>
                      <a:pt x="156" y="260"/>
                    </a:lnTo>
                    <a:lnTo>
                      <a:pt x="159" y="256"/>
                    </a:lnTo>
                    <a:lnTo>
                      <a:pt x="163" y="256"/>
                    </a:lnTo>
                    <a:lnTo>
                      <a:pt x="169" y="261"/>
                    </a:lnTo>
                    <a:lnTo>
                      <a:pt x="169" y="268"/>
                    </a:lnTo>
                    <a:lnTo>
                      <a:pt x="164" y="274"/>
                    </a:lnTo>
                    <a:lnTo>
                      <a:pt x="169" y="271"/>
                    </a:lnTo>
                    <a:lnTo>
                      <a:pt x="174" y="269"/>
                    </a:lnTo>
                    <a:lnTo>
                      <a:pt x="179" y="268"/>
                    </a:lnTo>
                    <a:lnTo>
                      <a:pt x="183" y="260"/>
                    </a:lnTo>
                    <a:lnTo>
                      <a:pt x="188" y="258"/>
                    </a:lnTo>
                    <a:lnTo>
                      <a:pt x="189" y="263"/>
                    </a:lnTo>
                    <a:lnTo>
                      <a:pt x="193" y="261"/>
                    </a:lnTo>
                    <a:lnTo>
                      <a:pt x="193" y="258"/>
                    </a:lnTo>
                    <a:lnTo>
                      <a:pt x="191" y="258"/>
                    </a:lnTo>
                    <a:lnTo>
                      <a:pt x="194" y="248"/>
                    </a:lnTo>
                    <a:lnTo>
                      <a:pt x="199" y="251"/>
                    </a:lnTo>
                    <a:lnTo>
                      <a:pt x="203" y="253"/>
                    </a:lnTo>
                    <a:lnTo>
                      <a:pt x="203" y="251"/>
                    </a:lnTo>
                    <a:lnTo>
                      <a:pt x="203" y="245"/>
                    </a:lnTo>
                    <a:lnTo>
                      <a:pt x="204" y="245"/>
                    </a:lnTo>
                    <a:lnTo>
                      <a:pt x="209" y="248"/>
                    </a:lnTo>
                    <a:lnTo>
                      <a:pt x="209" y="245"/>
                    </a:lnTo>
                    <a:lnTo>
                      <a:pt x="206" y="236"/>
                    </a:lnTo>
                    <a:lnTo>
                      <a:pt x="208" y="231"/>
                    </a:lnTo>
                    <a:lnTo>
                      <a:pt x="211" y="233"/>
                    </a:lnTo>
                    <a:lnTo>
                      <a:pt x="213" y="231"/>
                    </a:lnTo>
                    <a:lnTo>
                      <a:pt x="213" y="236"/>
                    </a:lnTo>
                    <a:lnTo>
                      <a:pt x="219" y="241"/>
                    </a:lnTo>
                    <a:lnTo>
                      <a:pt x="224" y="245"/>
                    </a:lnTo>
                    <a:lnTo>
                      <a:pt x="228" y="243"/>
                    </a:lnTo>
                    <a:lnTo>
                      <a:pt x="228" y="246"/>
                    </a:lnTo>
                    <a:lnTo>
                      <a:pt x="231" y="250"/>
                    </a:lnTo>
                    <a:lnTo>
                      <a:pt x="231" y="256"/>
                    </a:lnTo>
                    <a:lnTo>
                      <a:pt x="228" y="255"/>
                    </a:lnTo>
                    <a:lnTo>
                      <a:pt x="228" y="258"/>
                    </a:lnTo>
                    <a:lnTo>
                      <a:pt x="229" y="261"/>
                    </a:lnTo>
                    <a:lnTo>
                      <a:pt x="233" y="261"/>
                    </a:lnTo>
                    <a:lnTo>
                      <a:pt x="231" y="263"/>
                    </a:lnTo>
                    <a:lnTo>
                      <a:pt x="231" y="269"/>
                    </a:lnTo>
                    <a:lnTo>
                      <a:pt x="233" y="266"/>
                    </a:lnTo>
                    <a:lnTo>
                      <a:pt x="234" y="271"/>
                    </a:lnTo>
                    <a:lnTo>
                      <a:pt x="234" y="276"/>
                    </a:lnTo>
                    <a:lnTo>
                      <a:pt x="237" y="279"/>
                    </a:lnTo>
                    <a:lnTo>
                      <a:pt x="239" y="284"/>
                    </a:lnTo>
                    <a:lnTo>
                      <a:pt x="241" y="291"/>
                    </a:lnTo>
                    <a:lnTo>
                      <a:pt x="237" y="296"/>
                    </a:lnTo>
                    <a:lnTo>
                      <a:pt x="236" y="296"/>
                    </a:lnTo>
                    <a:lnTo>
                      <a:pt x="236" y="299"/>
                    </a:lnTo>
                    <a:lnTo>
                      <a:pt x="234" y="296"/>
                    </a:lnTo>
                    <a:lnTo>
                      <a:pt x="231" y="298"/>
                    </a:lnTo>
                    <a:lnTo>
                      <a:pt x="231" y="299"/>
                    </a:lnTo>
                    <a:lnTo>
                      <a:pt x="233" y="306"/>
                    </a:lnTo>
                    <a:lnTo>
                      <a:pt x="233" y="311"/>
                    </a:lnTo>
                    <a:lnTo>
                      <a:pt x="233" y="314"/>
                    </a:lnTo>
                    <a:lnTo>
                      <a:pt x="231" y="311"/>
                    </a:lnTo>
                    <a:lnTo>
                      <a:pt x="228" y="304"/>
                    </a:lnTo>
                    <a:lnTo>
                      <a:pt x="228" y="301"/>
                    </a:lnTo>
                    <a:lnTo>
                      <a:pt x="226" y="298"/>
                    </a:lnTo>
                    <a:lnTo>
                      <a:pt x="224" y="293"/>
                    </a:lnTo>
                    <a:lnTo>
                      <a:pt x="221" y="288"/>
                    </a:lnTo>
                    <a:lnTo>
                      <a:pt x="218" y="289"/>
                    </a:lnTo>
                    <a:lnTo>
                      <a:pt x="213" y="299"/>
                    </a:lnTo>
                    <a:lnTo>
                      <a:pt x="211" y="303"/>
                    </a:lnTo>
                    <a:lnTo>
                      <a:pt x="216" y="306"/>
                    </a:lnTo>
                    <a:lnTo>
                      <a:pt x="218" y="311"/>
                    </a:lnTo>
                    <a:lnTo>
                      <a:pt x="221" y="314"/>
                    </a:lnTo>
                    <a:lnTo>
                      <a:pt x="219" y="319"/>
                    </a:lnTo>
                    <a:lnTo>
                      <a:pt x="213" y="326"/>
                    </a:lnTo>
                    <a:lnTo>
                      <a:pt x="209" y="329"/>
                    </a:lnTo>
                    <a:lnTo>
                      <a:pt x="208" y="328"/>
                    </a:lnTo>
                    <a:lnTo>
                      <a:pt x="206" y="323"/>
                    </a:lnTo>
                    <a:lnTo>
                      <a:pt x="209" y="321"/>
                    </a:lnTo>
                    <a:lnTo>
                      <a:pt x="208" y="319"/>
                    </a:lnTo>
                    <a:lnTo>
                      <a:pt x="204" y="321"/>
                    </a:lnTo>
                    <a:lnTo>
                      <a:pt x="204" y="323"/>
                    </a:lnTo>
                    <a:lnTo>
                      <a:pt x="199" y="324"/>
                    </a:lnTo>
                    <a:lnTo>
                      <a:pt x="194" y="323"/>
                    </a:lnTo>
                    <a:lnTo>
                      <a:pt x="191" y="319"/>
                    </a:lnTo>
                    <a:lnTo>
                      <a:pt x="186" y="319"/>
                    </a:lnTo>
                    <a:lnTo>
                      <a:pt x="181" y="314"/>
                    </a:lnTo>
                    <a:lnTo>
                      <a:pt x="179" y="311"/>
                    </a:lnTo>
                    <a:lnTo>
                      <a:pt x="176" y="308"/>
                    </a:lnTo>
                    <a:lnTo>
                      <a:pt x="178" y="304"/>
                    </a:lnTo>
                    <a:lnTo>
                      <a:pt x="178" y="301"/>
                    </a:lnTo>
                    <a:lnTo>
                      <a:pt x="174" y="298"/>
                    </a:lnTo>
                    <a:lnTo>
                      <a:pt x="178" y="296"/>
                    </a:lnTo>
                    <a:lnTo>
                      <a:pt x="176" y="293"/>
                    </a:lnTo>
                    <a:lnTo>
                      <a:pt x="179" y="293"/>
                    </a:lnTo>
                    <a:lnTo>
                      <a:pt x="183" y="294"/>
                    </a:lnTo>
                    <a:lnTo>
                      <a:pt x="179" y="291"/>
                    </a:lnTo>
                    <a:lnTo>
                      <a:pt x="178" y="288"/>
                    </a:lnTo>
                    <a:lnTo>
                      <a:pt x="173" y="283"/>
                    </a:lnTo>
                    <a:lnTo>
                      <a:pt x="169" y="283"/>
                    </a:lnTo>
                    <a:lnTo>
                      <a:pt x="164" y="279"/>
                    </a:lnTo>
                    <a:lnTo>
                      <a:pt x="163" y="279"/>
                    </a:lnTo>
                    <a:lnTo>
                      <a:pt x="161" y="281"/>
                    </a:lnTo>
                    <a:lnTo>
                      <a:pt x="161" y="283"/>
                    </a:lnTo>
                    <a:lnTo>
                      <a:pt x="159" y="284"/>
                    </a:lnTo>
                    <a:lnTo>
                      <a:pt x="163" y="288"/>
                    </a:lnTo>
                    <a:lnTo>
                      <a:pt x="161" y="288"/>
                    </a:lnTo>
                    <a:lnTo>
                      <a:pt x="156" y="286"/>
                    </a:lnTo>
                    <a:lnTo>
                      <a:pt x="154" y="286"/>
                    </a:lnTo>
                    <a:lnTo>
                      <a:pt x="156" y="283"/>
                    </a:lnTo>
                    <a:lnTo>
                      <a:pt x="153" y="283"/>
                    </a:lnTo>
                    <a:lnTo>
                      <a:pt x="151" y="283"/>
                    </a:lnTo>
                    <a:lnTo>
                      <a:pt x="151" y="288"/>
                    </a:lnTo>
                    <a:lnTo>
                      <a:pt x="148" y="286"/>
                    </a:lnTo>
                    <a:lnTo>
                      <a:pt x="146" y="288"/>
                    </a:lnTo>
                    <a:lnTo>
                      <a:pt x="144" y="286"/>
                    </a:lnTo>
                    <a:lnTo>
                      <a:pt x="146" y="281"/>
                    </a:lnTo>
                    <a:lnTo>
                      <a:pt x="143" y="279"/>
                    </a:lnTo>
                    <a:lnTo>
                      <a:pt x="139" y="279"/>
                    </a:lnTo>
                    <a:lnTo>
                      <a:pt x="138" y="284"/>
                    </a:lnTo>
                    <a:lnTo>
                      <a:pt x="135" y="288"/>
                    </a:lnTo>
                    <a:lnTo>
                      <a:pt x="131" y="296"/>
                    </a:lnTo>
                    <a:lnTo>
                      <a:pt x="130" y="299"/>
                    </a:lnTo>
                    <a:lnTo>
                      <a:pt x="130" y="299"/>
                    </a:lnTo>
                    <a:close/>
                    <a:moveTo>
                      <a:pt x="121" y="304"/>
                    </a:moveTo>
                    <a:lnTo>
                      <a:pt x="121" y="308"/>
                    </a:lnTo>
                    <a:lnTo>
                      <a:pt x="125" y="311"/>
                    </a:lnTo>
                    <a:lnTo>
                      <a:pt x="128" y="311"/>
                    </a:lnTo>
                    <a:lnTo>
                      <a:pt x="133" y="306"/>
                    </a:lnTo>
                    <a:lnTo>
                      <a:pt x="135" y="306"/>
                    </a:lnTo>
                    <a:lnTo>
                      <a:pt x="131" y="304"/>
                    </a:lnTo>
                    <a:lnTo>
                      <a:pt x="128" y="303"/>
                    </a:lnTo>
                    <a:lnTo>
                      <a:pt x="126" y="304"/>
                    </a:lnTo>
                    <a:lnTo>
                      <a:pt x="121" y="304"/>
                    </a:lnTo>
                    <a:lnTo>
                      <a:pt x="121" y="304"/>
                    </a:lnTo>
                    <a:close/>
                    <a:moveTo>
                      <a:pt x="66" y="178"/>
                    </a:moveTo>
                    <a:lnTo>
                      <a:pt x="65" y="176"/>
                    </a:lnTo>
                    <a:lnTo>
                      <a:pt x="63" y="173"/>
                    </a:lnTo>
                    <a:lnTo>
                      <a:pt x="65" y="171"/>
                    </a:lnTo>
                    <a:lnTo>
                      <a:pt x="68" y="171"/>
                    </a:lnTo>
                    <a:lnTo>
                      <a:pt x="71" y="175"/>
                    </a:lnTo>
                    <a:lnTo>
                      <a:pt x="76" y="176"/>
                    </a:lnTo>
                    <a:lnTo>
                      <a:pt x="76" y="178"/>
                    </a:lnTo>
                    <a:lnTo>
                      <a:pt x="75" y="180"/>
                    </a:lnTo>
                    <a:lnTo>
                      <a:pt x="71" y="180"/>
                    </a:lnTo>
                    <a:lnTo>
                      <a:pt x="66" y="178"/>
                    </a:lnTo>
                    <a:lnTo>
                      <a:pt x="66" y="178"/>
                    </a:lnTo>
                    <a:close/>
                    <a:moveTo>
                      <a:pt x="63" y="181"/>
                    </a:moveTo>
                    <a:lnTo>
                      <a:pt x="68" y="181"/>
                    </a:lnTo>
                    <a:lnTo>
                      <a:pt x="70" y="185"/>
                    </a:lnTo>
                    <a:lnTo>
                      <a:pt x="68" y="186"/>
                    </a:lnTo>
                    <a:lnTo>
                      <a:pt x="66" y="188"/>
                    </a:lnTo>
                    <a:lnTo>
                      <a:pt x="65" y="188"/>
                    </a:lnTo>
                    <a:lnTo>
                      <a:pt x="63" y="183"/>
                    </a:lnTo>
                    <a:lnTo>
                      <a:pt x="63" y="181"/>
                    </a:lnTo>
                    <a:lnTo>
                      <a:pt x="63" y="181"/>
                    </a:lnTo>
                    <a:close/>
                    <a:moveTo>
                      <a:pt x="66" y="213"/>
                    </a:moveTo>
                    <a:lnTo>
                      <a:pt x="68" y="213"/>
                    </a:lnTo>
                    <a:lnTo>
                      <a:pt x="70" y="211"/>
                    </a:lnTo>
                    <a:lnTo>
                      <a:pt x="70" y="213"/>
                    </a:lnTo>
                    <a:lnTo>
                      <a:pt x="73" y="215"/>
                    </a:lnTo>
                    <a:lnTo>
                      <a:pt x="71" y="216"/>
                    </a:lnTo>
                    <a:lnTo>
                      <a:pt x="68" y="216"/>
                    </a:lnTo>
                    <a:lnTo>
                      <a:pt x="65" y="216"/>
                    </a:lnTo>
                    <a:lnTo>
                      <a:pt x="66" y="213"/>
                    </a:lnTo>
                    <a:lnTo>
                      <a:pt x="66" y="213"/>
                    </a:lnTo>
                    <a:close/>
                    <a:moveTo>
                      <a:pt x="7" y="263"/>
                    </a:moveTo>
                    <a:lnTo>
                      <a:pt x="12" y="260"/>
                    </a:lnTo>
                    <a:lnTo>
                      <a:pt x="15" y="258"/>
                    </a:lnTo>
                    <a:lnTo>
                      <a:pt x="18" y="256"/>
                    </a:lnTo>
                    <a:lnTo>
                      <a:pt x="23" y="255"/>
                    </a:lnTo>
                    <a:lnTo>
                      <a:pt x="28" y="246"/>
                    </a:lnTo>
                    <a:lnTo>
                      <a:pt x="35" y="245"/>
                    </a:lnTo>
                    <a:lnTo>
                      <a:pt x="38" y="241"/>
                    </a:lnTo>
                    <a:lnTo>
                      <a:pt x="38" y="240"/>
                    </a:lnTo>
                    <a:lnTo>
                      <a:pt x="41" y="236"/>
                    </a:lnTo>
                    <a:lnTo>
                      <a:pt x="41" y="230"/>
                    </a:lnTo>
                    <a:lnTo>
                      <a:pt x="45" y="226"/>
                    </a:lnTo>
                    <a:lnTo>
                      <a:pt x="51" y="226"/>
                    </a:lnTo>
                    <a:lnTo>
                      <a:pt x="53" y="221"/>
                    </a:lnTo>
                    <a:lnTo>
                      <a:pt x="56" y="218"/>
                    </a:lnTo>
                    <a:lnTo>
                      <a:pt x="61" y="218"/>
                    </a:lnTo>
                    <a:lnTo>
                      <a:pt x="63" y="215"/>
                    </a:lnTo>
                    <a:lnTo>
                      <a:pt x="61" y="208"/>
                    </a:lnTo>
                    <a:lnTo>
                      <a:pt x="56" y="205"/>
                    </a:lnTo>
                    <a:lnTo>
                      <a:pt x="58" y="200"/>
                    </a:lnTo>
                    <a:lnTo>
                      <a:pt x="56" y="195"/>
                    </a:lnTo>
                    <a:lnTo>
                      <a:pt x="55" y="195"/>
                    </a:lnTo>
                    <a:lnTo>
                      <a:pt x="53" y="201"/>
                    </a:lnTo>
                    <a:lnTo>
                      <a:pt x="55" y="208"/>
                    </a:lnTo>
                    <a:lnTo>
                      <a:pt x="51" y="206"/>
                    </a:lnTo>
                    <a:lnTo>
                      <a:pt x="53" y="210"/>
                    </a:lnTo>
                    <a:lnTo>
                      <a:pt x="53" y="213"/>
                    </a:lnTo>
                    <a:lnTo>
                      <a:pt x="50" y="218"/>
                    </a:lnTo>
                    <a:lnTo>
                      <a:pt x="46" y="218"/>
                    </a:lnTo>
                    <a:lnTo>
                      <a:pt x="41" y="221"/>
                    </a:lnTo>
                    <a:lnTo>
                      <a:pt x="41" y="225"/>
                    </a:lnTo>
                    <a:lnTo>
                      <a:pt x="37" y="228"/>
                    </a:lnTo>
                    <a:lnTo>
                      <a:pt x="32" y="238"/>
                    </a:lnTo>
                    <a:lnTo>
                      <a:pt x="25" y="243"/>
                    </a:lnTo>
                    <a:lnTo>
                      <a:pt x="22" y="243"/>
                    </a:lnTo>
                    <a:lnTo>
                      <a:pt x="18" y="250"/>
                    </a:lnTo>
                    <a:lnTo>
                      <a:pt x="15" y="251"/>
                    </a:lnTo>
                    <a:lnTo>
                      <a:pt x="8" y="260"/>
                    </a:lnTo>
                    <a:lnTo>
                      <a:pt x="7" y="261"/>
                    </a:lnTo>
                    <a:lnTo>
                      <a:pt x="7" y="263"/>
                    </a:lnTo>
                    <a:lnTo>
                      <a:pt x="7" y="263"/>
                    </a:lnTo>
                    <a:close/>
                    <a:moveTo>
                      <a:pt x="8" y="265"/>
                    </a:moveTo>
                    <a:lnTo>
                      <a:pt x="5" y="266"/>
                    </a:lnTo>
                    <a:lnTo>
                      <a:pt x="8" y="266"/>
                    </a:lnTo>
                    <a:lnTo>
                      <a:pt x="8" y="265"/>
                    </a:lnTo>
                    <a:lnTo>
                      <a:pt x="8" y="265"/>
                    </a:lnTo>
                    <a:close/>
                    <a:moveTo>
                      <a:pt x="10" y="266"/>
                    </a:moveTo>
                    <a:lnTo>
                      <a:pt x="8" y="268"/>
                    </a:lnTo>
                    <a:lnTo>
                      <a:pt x="12" y="268"/>
                    </a:lnTo>
                    <a:lnTo>
                      <a:pt x="10" y="266"/>
                    </a:lnTo>
                    <a:lnTo>
                      <a:pt x="10" y="266"/>
                    </a:lnTo>
                    <a:close/>
                    <a:moveTo>
                      <a:pt x="3" y="271"/>
                    </a:moveTo>
                    <a:lnTo>
                      <a:pt x="0" y="273"/>
                    </a:lnTo>
                    <a:lnTo>
                      <a:pt x="0" y="274"/>
                    </a:lnTo>
                    <a:lnTo>
                      <a:pt x="2" y="279"/>
                    </a:lnTo>
                    <a:lnTo>
                      <a:pt x="5" y="279"/>
                    </a:lnTo>
                    <a:lnTo>
                      <a:pt x="5" y="273"/>
                    </a:lnTo>
                    <a:lnTo>
                      <a:pt x="5" y="271"/>
                    </a:lnTo>
                    <a:lnTo>
                      <a:pt x="3" y="2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8" name="Freeform 15"/>
              <p:cNvSpPr>
                <a:spLocks noEditPoints="1"/>
              </p:cNvSpPr>
              <p:nvPr/>
            </p:nvSpPr>
            <p:spPr bwMode="auto">
              <a:xfrm>
                <a:off x="7656503" y="3195008"/>
                <a:ext cx="597199" cy="207518"/>
              </a:xfrm>
              <a:custGeom>
                <a:avLst/>
                <a:gdLst/>
                <a:ahLst/>
                <a:cxnLst>
                  <a:cxn ang="0">
                    <a:pos x="1071" y="312"/>
                  </a:cxn>
                  <a:cxn ang="0">
                    <a:pos x="966" y="247"/>
                  </a:cxn>
                  <a:cxn ang="0">
                    <a:pos x="915" y="229"/>
                  </a:cxn>
                  <a:cxn ang="0">
                    <a:pos x="895" y="191"/>
                  </a:cxn>
                  <a:cxn ang="0">
                    <a:pos x="958" y="207"/>
                  </a:cxn>
                  <a:cxn ang="0">
                    <a:pos x="1091" y="201"/>
                  </a:cxn>
                  <a:cxn ang="0">
                    <a:pos x="875" y="157"/>
                  </a:cxn>
                  <a:cxn ang="0">
                    <a:pos x="767" y="46"/>
                  </a:cxn>
                  <a:cxn ang="0">
                    <a:pos x="787" y="136"/>
                  </a:cxn>
                  <a:cxn ang="0">
                    <a:pos x="815" y="143"/>
                  </a:cxn>
                  <a:cxn ang="0">
                    <a:pos x="784" y="161"/>
                  </a:cxn>
                  <a:cxn ang="0">
                    <a:pos x="799" y="232"/>
                  </a:cxn>
                  <a:cxn ang="0">
                    <a:pos x="865" y="226"/>
                  </a:cxn>
                  <a:cxn ang="0">
                    <a:pos x="616" y="312"/>
                  </a:cxn>
                  <a:cxn ang="0">
                    <a:pos x="732" y="191"/>
                  </a:cxn>
                  <a:cxn ang="0">
                    <a:pos x="677" y="270"/>
                  </a:cxn>
                  <a:cxn ang="0">
                    <a:pos x="676" y="194"/>
                  </a:cxn>
                  <a:cxn ang="0">
                    <a:pos x="649" y="159"/>
                  </a:cxn>
                  <a:cxn ang="0">
                    <a:pos x="729" y="114"/>
                  </a:cxn>
                  <a:cxn ang="0">
                    <a:pos x="596" y="161"/>
                  </a:cxn>
                  <a:cxn ang="0">
                    <a:pos x="591" y="277"/>
                  </a:cxn>
                  <a:cxn ang="0">
                    <a:pos x="638" y="259"/>
                  </a:cxn>
                  <a:cxn ang="0">
                    <a:pos x="656" y="219"/>
                  </a:cxn>
                  <a:cxn ang="0">
                    <a:pos x="633" y="174"/>
                  </a:cxn>
                  <a:cxn ang="0">
                    <a:pos x="594" y="33"/>
                  </a:cxn>
                  <a:cxn ang="0">
                    <a:pos x="511" y="231"/>
                  </a:cxn>
                  <a:cxn ang="0">
                    <a:pos x="350" y="184"/>
                  </a:cxn>
                  <a:cxn ang="0">
                    <a:pos x="498" y="59"/>
                  </a:cxn>
                  <a:cxn ang="0">
                    <a:pos x="566" y="119"/>
                  </a:cxn>
                  <a:cxn ang="0">
                    <a:pos x="515" y="199"/>
                  </a:cxn>
                  <a:cxn ang="0">
                    <a:pos x="445" y="222"/>
                  </a:cxn>
                  <a:cxn ang="0">
                    <a:pos x="363" y="181"/>
                  </a:cxn>
                  <a:cxn ang="0">
                    <a:pos x="973" y="186"/>
                  </a:cxn>
                  <a:cxn ang="0">
                    <a:pos x="910" y="279"/>
                  </a:cxn>
                  <a:cxn ang="0">
                    <a:pos x="947" y="292"/>
                  </a:cxn>
                  <a:cxn ang="0">
                    <a:pos x="945" y="280"/>
                  </a:cxn>
                  <a:cxn ang="0">
                    <a:pos x="887" y="310"/>
                  </a:cxn>
                  <a:cxn ang="0">
                    <a:pos x="882" y="312"/>
                  </a:cxn>
                  <a:cxn ang="0">
                    <a:pos x="817" y="337"/>
                  </a:cxn>
                  <a:cxn ang="0">
                    <a:pos x="699" y="382"/>
                  </a:cxn>
                  <a:cxn ang="0">
                    <a:pos x="661" y="398"/>
                  </a:cxn>
                  <a:cxn ang="0">
                    <a:pos x="569" y="365"/>
                  </a:cxn>
                  <a:cxn ang="0">
                    <a:pos x="732" y="335"/>
                  </a:cxn>
                  <a:cxn ang="0">
                    <a:pos x="686" y="345"/>
                  </a:cxn>
                  <a:cxn ang="0">
                    <a:pos x="672" y="339"/>
                  </a:cxn>
                  <a:cxn ang="0">
                    <a:pos x="586" y="344"/>
                  </a:cxn>
                  <a:cxn ang="0">
                    <a:pos x="555" y="347"/>
                  </a:cxn>
                  <a:cxn ang="0">
                    <a:pos x="471" y="342"/>
                  </a:cxn>
                  <a:cxn ang="0">
                    <a:pos x="1061" y="320"/>
                  </a:cxn>
                  <a:cxn ang="0">
                    <a:pos x="261" y="292"/>
                  </a:cxn>
                  <a:cxn ang="0">
                    <a:pos x="428" y="324"/>
                  </a:cxn>
                  <a:cxn ang="0">
                    <a:pos x="329" y="327"/>
                  </a:cxn>
                  <a:cxn ang="0">
                    <a:pos x="270" y="86"/>
                  </a:cxn>
                  <a:cxn ang="0">
                    <a:pos x="232" y="121"/>
                  </a:cxn>
                  <a:cxn ang="0">
                    <a:pos x="285" y="217"/>
                  </a:cxn>
                  <a:cxn ang="0">
                    <a:pos x="227" y="162"/>
                  </a:cxn>
                  <a:cxn ang="0">
                    <a:pos x="153" y="106"/>
                  </a:cxn>
                  <a:cxn ang="0">
                    <a:pos x="83" y="177"/>
                  </a:cxn>
                  <a:cxn ang="0">
                    <a:pos x="13" y="84"/>
                  </a:cxn>
                  <a:cxn ang="0">
                    <a:pos x="99" y="146"/>
                  </a:cxn>
                  <a:cxn ang="0">
                    <a:pos x="249" y="274"/>
                  </a:cxn>
                  <a:cxn ang="0">
                    <a:pos x="204" y="161"/>
                  </a:cxn>
                  <a:cxn ang="0">
                    <a:pos x="116" y="79"/>
                  </a:cxn>
                </a:cxnLst>
                <a:rect l="0" t="0" r="r" b="b"/>
                <a:pathLst>
                  <a:path w="1116" h="398">
                    <a:moveTo>
                      <a:pt x="1116" y="209"/>
                    </a:moveTo>
                    <a:lnTo>
                      <a:pt x="1113" y="292"/>
                    </a:lnTo>
                    <a:lnTo>
                      <a:pt x="1111" y="297"/>
                    </a:lnTo>
                    <a:lnTo>
                      <a:pt x="1111" y="302"/>
                    </a:lnTo>
                    <a:lnTo>
                      <a:pt x="1113" y="304"/>
                    </a:lnTo>
                    <a:lnTo>
                      <a:pt x="1109" y="357"/>
                    </a:lnTo>
                    <a:lnTo>
                      <a:pt x="1109" y="357"/>
                    </a:lnTo>
                    <a:lnTo>
                      <a:pt x="1103" y="353"/>
                    </a:lnTo>
                    <a:lnTo>
                      <a:pt x="1096" y="349"/>
                    </a:lnTo>
                    <a:lnTo>
                      <a:pt x="1094" y="345"/>
                    </a:lnTo>
                    <a:lnTo>
                      <a:pt x="1094" y="344"/>
                    </a:lnTo>
                    <a:lnTo>
                      <a:pt x="1089" y="339"/>
                    </a:lnTo>
                    <a:lnTo>
                      <a:pt x="1088" y="339"/>
                    </a:lnTo>
                    <a:lnTo>
                      <a:pt x="1086" y="335"/>
                    </a:lnTo>
                    <a:lnTo>
                      <a:pt x="1089" y="332"/>
                    </a:lnTo>
                    <a:lnTo>
                      <a:pt x="1088" y="327"/>
                    </a:lnTo>
                    <a:lnTo>
                      <a:pt x="1088" y="332"/>
                    </a:lnTo>
                    <a:lnTo>
                      <a:pt x="1084" y="334"/>
                    </a:lnTo>
                    <a:lnTo>
                      <a:pt x="1076" y="332"/>
                    </a:lnTo>
                    <a:lnTo>
                      <a:pt x="1073" y="335"/>
                    </a:lnTo>
                    <a:lnTo>
                      <a:pt x="1069" y="335"/>
                    </a:lnTo>
                    <a:lnTo>
                      <a:pt x="1068" y="332"/>
                    </a:lnTo>
                    <a:lnTo>
                      <a:pt x="1061" y="335"/>
                    </a:lnTo>
                    <a:lnTo>
                      <a:pt x="1058" y="332"/>
                    </a:lnTo>
                    <a:lnTo>
                      <a:pt x="1061" y="330"/>
                    </a:lnTo>
                    <a:lnTo>
                      <a:pt x="1063" y="327"/>
                    </a:lnTo>
                    <a:lnTo>
                      <a:pt x="1063" y="325"/>
                    </a:lnTo>
                    <a:lnTo>
                      <a:pt x="1063" y="324"/>
                    </a:lnTo>
                    <a:lnTo>
                      <a:pt x="1064" y="319"/>
                    </a:lnTo>
                    <a:lnTo>
                      <a:pt x="1061" y="317"/>
                    </a:lnTo>
                    <a:lnTo>
                      <a:pt x="1058" y="314"/>
                    </a:lnTo>
                    <a:lnTo>
                      <a:pt x="1061" y="314"/>
                    </a:lnTo>
                    <a:lnTo>
                      <a:pt x="1063" y="314"/>
                    </a:lnTo>
                    <a:lnTo>
                      <a:pt x="1068" y="312"/>
                    </a:lnTo>
                    <a:lnTo>
                      <a:pt x="1071" y="312"/>
                    </a:lnTo>
                    <a:lnTo>
                      <a:pt x="1068" y="310"/>
                    </a:lnTo>
                    <a:lnTo>
                      <a:pt x="1063" y="312"/>
                    </a:lnTo>
                    <a:lnTo>
                      <a:pt x="1058" y="310"/>
                    </a:lnTo>
                    <a:lnTo>
                      <a:pt x="1055" y="307"/>
                    </a:lnTo>
                    <a:lnTo>
                      <a:pt x="1055" y="304"/>
                    </a:lnTo>
                    <a:lnTo>
                      <a:pt x="1058" y="304"/>
                    </a:lnTo>
                    <a:lnTo>
                      <a:pt x="1061" y="304"/>
                    </a:lnTo>
                    <a:lnTo>
                      <a:pt x="1059" y="302"/>
                    </a:lnTo>
                    <a:lnTo>
                      <a:pt x="1053" y="299"/>
                    </a:lnTo>
                    <a:lnTo>
                      <a:pt x="1050" y="295"/>
                    </a:lnTo>
                    <a:lnTo>
                      <a:pt x="1048" y="292"/>
                    </a:lnTo>
                    <a:lnTo>
                      <a:pt x="1048" y="289"/>
                    </a:lnTo>
                    <a:lnTo>
                      <a:pt x="1043" y="284"/>
                    </a:lnTo>
                    <a:lnTo>
                      <a:pt x="1043" y="280"/>
                    </a:lnTo>
                    <a:lnTo>
                      <a:pt x="1048" y="277"/>
                    </a:lnTo>
                    <a:lnTo>
                      <a:pt x="1043" y="277"/>
                    </a:lnTo>
                    <a:lnTo>
                      <a:pt x="1041" y="275"/>
                    </a:lnTo>
                    <a:lnTo>
                      <a:pt x="1041" y="274"/>
                    </a:lnTo>
                    <a:lnTo>
                      <a:pt x="1040" y="272"/>
                    </a:lnTo>
                    <a:lnTo>
                      <a:pt x="1043" y="270"/>
                    </a:lnTo>
                    <a:lnTo>
                      <a:pt x="1038" y="270"/>
                    </a:lnTo>
                    <a:lnTo>
                      <a:pt x="1036" y="269"/>
                    </a:lnTo>
                    <a:lnTo>
                      <a:pt x="1033" y="270"/>
                    </a:lnTo>
                    <a:lnTo>
                      <a:pt x="1031" y="269"/>
                    </a:lnTo>
                    <a:lnTo>
                      <a:pt x="1036" y="264"/>
                    </a:lnTo>
                    <a:lnTo>
                      <a:pt x="1033" y="267"/>
                    </a:lnTo>
                    <a:lnTo>
                      <a:pt x="1028" y="267"/>
                    </a:lnTo>
                    <a:lnTo>
                      <a:pt x="1021" y="264"/>
                    </a:lnTo>
                    <a:lnTo>
                      <a:pt x="1020" y="260"/>
                    </a:lnTo>
                    <a:lnTo>
                      <a:pt x="1013" y="259"/>
                    </a:lnTo>
                    <a:lnTo>
                      <a:pt x="1010" y="259"/>
                    </a:lnTo>
                    <a:lnTo>
                      <a:pt x="995" y="254"/>
                    </a:lnTo>
                    <a:lnTo>
                      <a:pt x="980" y="251"/>
                    </a:lnTo>
                    <a:lnTo>
                      <a:pt x="973" y="251"/>
                    </a:lnTo>
                    <a:lnTo>
                      <a:pt x="966" y="247"/>
                    </a:lnTo>
                    <a:lnTo>
                      <a:pt x="965" y="246"/>
                    </a:lnTo>
                    <a:lnTo>
                      <a:pt x="965" y="244"/>
                    </a:lnTo>
                    <a:lnTo>
                      <a:pt x="960" y="242"/>
                    </a:lnTo>
                    <a:lnTo>
                      <a:pt x="960" y="241"/>
                    </a:lnTo>
                    <a:lnTo>
                      <a:pt x="963" y="239"/>
                    </a:lnTo>
                    <a:lnTo>
                      <a:pt x="965" y="241"/>
                    </a:lnTo>
                    <a:lnTo>
                      <a:pt x="965" y="239"/>
                    </a:lnTo>
                    <a:lnTo>
                      <a:pt x="961" y="239"/>
                    </a:lnTo>
                    <a:lnTo>
                      <a:pt x="958" y="241"/>
                    </a:lnTo>
                    <a:lnTo>
                      <a:pt x="955" y="239"/>
                    </a:lnTo>
                    <a:lnTo>
                      <a:pt x="953" y="237"/>
                    </a:lnTo>
                    <a:lnTo>
                      <a:pt x="952" y="236"/>
                    </a:lnTo>
                    <a:lnTo>
                      <a:pt x="950" y="239"/>
                    </a:lnTo>
                    <a:lnTo>
                      <a:pt x="948" y="234"/>
                    </a:lnTo>
                    <a:lnTo>
                      <a:pt x="947" y="234"/>
                    </a:lnTo>
                    <a:lnTo>
                      <a:pt x="945" y="234"/>
                    </a:lnTo>
                    <a:lnTo>
                      <a:pt x="943" y="236"/>
                    </a:lnTo>
                    <a:lnTo>
                      <a:pt x="940" y="232"/>
                    </a:lnTo>
                    <a:lnTo>
                      <a:pt x="940" y="227"/>
                    </a:lnTo>
                    <a:lnTo>
                      <a:pt x="937" y="222"/>
                    </a:lnTo>
                    <a:lnTo>
                      <a:pt x="940" y="219"/>
                    </a:lnTo>
                    <a:lnTo>
                      <a:pt x="940" y="214"/>
                    </a:lnTo>
                    <a:lnTo>
                      <a:pt x="938" y="219"/>
                    </a:lnTo>
                    <a:lnTo>
                      <a:pt x="935" y="224"/>
                    </a:lnTo>
                    <a:lnTo>
                      <a:pt x="935" y="227"/>
                    </a:lnTo>
                    <a:lnTo>
                      <a:pt x="933" y="227"/>
                    </a:lnTo>
                    <a:lnTo>
                      <a:pt x="930" y="234"/>
                    </a:lnTo>
                    <a:lnTo>
                      <a:pt x="930" y="237"/>
                    </a:lnTo>
                    <a:lnTo>
                      <a:pt x="925" y="242"/>
                    </a:lnTo>
                    <a:lnTo>
                      <a:pt x="920" y="244"/>
                    </a:lnTo>
                    <a:lnTo>
                      <a:pt x="915" y="242"/>
                    </a:lnTo>
                    <a:lnTo>
                      <a:pt x="912" y="236"/>
                    </a:lnTo>
                    <a:lnTo>
                      <a:pt x="912" y="232"/>
                    </a:lnTo>
                    <a:lnTo>
                      <a:pt x="913" y="232"/>
                    </a:lnTo>
                    <a:lnTo>
                      <a:pt x="915" y="229"/>
                    </a:lnTo>
                    <a:lnTo>
                      <a:pt x="913" y="226"/>
                    </a:lnTo>
                    <a:lnTo>
                      <a:pt x="912" y="227"/>
                    </a:lnTo>
                    <a:lnTo>
                      <a:pt x="910" y="226"/>
                    </a:lnTo>
                    <a:lnTo>
                      <a:pt x="907" y="219"/>
                    </a:lnTo>
                    <a:lnTo>
                      <a:pt x="902" y="217"/>
                    </a:lnTo>
                    <a:lnTo>
                      <a:pt x="897" y="217"/>
                    </a:lnTo>
                    <a:lnTo>
                      <a:pt x="895" y="214"/>
                    </a:lnTo>
                    <a:lnTo>
                      <a:pt x="898" y="211"/>
                    </a:lnTo>
                    <a:lnTo>
                      <a:pt x="903" y="211"/>
                    </a:lnTo>
                    <a:lnTo>
                      <a:pt x="905" y="212"/>
                    </a:lnTo>
                    <a:lnTo>
                      <a:pt x="910" y="212"/>
                    </a:lnTo>
                    <a:lnTo>
                      <a:pt x="915" y="214"/>
                    </a:lnTo>
                    <a:lnTo>
                      <a:pt x="920" y="212"/>
                    </a:lnTo>
                    <a:lnTo>
                      <a:pt x="920" y="207"/>
                    </a:lnTo>
                    <a:lnTo>
                      <a:pt x="925" y="206"/>
                    </a:lnTo>
                    <a:lnTo>
                      <a:pt x="932" y="209"/>
                    </a:lnTo>
                    <a:lnTo>
                      <a:pt x="935" y="212"/>
                    </a:lnTo>
                    <a:lnTo>
                      <a:pt x="937" y="209"/>
                    </a:lnTo>
                    <a:lnTo>
                      <a:pt x="940" y="206"/>
                    </a:lnTo>
                    <a:lnTo>
                      <a:pt x="942" y="206"/>
                    </a:lnTo>
                    <a:lnTo>
                      <a:pt x="943" y="202"/>
                    </a:lnTo>
                    <a:lnTo>
                      <a:pt x="942" y="199"/>
                    </a:lnTo>
                    <a:lnTo>
                      <a:pt x="930" y="197"/>
                    </a:lnTo>
                    <a:lnTo>
                      <a:pt x="932" y="199"/>
                    </a:lnTo>
                    <a:lnTo>
                      <a:pt x="928" y="201"/>
                    </a:lnTo>
                    <a:lnTo>
                      <a:pt x="925" y="199"/>
                    </a:lnTo>
                    <a:lnTo>
                      <a:pt x="918" y="201"/>
                    </a:lnTo>
                    <a:lnTo>
                      <a:pt x="915" y="201"/>
                    </a:lnTo>
                    <a:lnTo>
                      <a:pt x="912" y="201"/>
                    </a:lnTo>
                    <a:lnTo>
                      <a:pt x="910" y="201"/>
                    </a:lnTo>
                    <a:lnTo>
                      <a:pt x="905" y="201"/>
                    </a:lnTo>
                    <a:lnTo>
                      <a:pt x="900" y="201"/>
                    </a:lnTo>
                    <a:lnTo>
                      <a:pt x="895" y="196"/>
                    </a:lnTo>
                    <a:lnTo>
                      <a:pt x="893" y="191"/>
                    </a:lnTo>
                    <a:lnTo>
                      <a:pt x="895" y="191"/>
                    </a:lnTo>
                    <a:lnTo>
                      <a:pt x="892" y="186"/>
                    </a:lnTo>
                    <a:lnTo>
                      <a:pt x="885" y="182"/>
                    </a:lnTo>
                    <a:lnTo>
                      <a:pt x="883" y="181"/>
                    </a:lnTo>
                    <a:lnTo>
                      <a:pt x="882" y="182"/>
                    </a:lnTo>
                    <a:lnTo>
                      <a:pt x="878" y="184"/>
                    </a:lnTo>
                    <a:lnTo>
                      <a:pt x="872" y="182"/>
                    </a:lnTo>
                    <a:lnTo>
                      <a:pt x="873" y="181"/>
                    </a:lnTo>
                    <a:lnTo>
                      <a:pt x="878" y="177"/>
                    </a:lnTo>
                    <a:lnTo>
                      <a:pt x="878" y="174"/>
                    </a:lnTo>
                    <a:lnTo>
                      <a:pt x="877" y="171"/>
                    </a:lnTo>
                    <a:lnTo>
                      <a:pt x="882" y="167"/>
                    </a:lnTo>
                    <a:lnTo>
                      <a:pt x="888" y="167"/>
                    </a:lnTo>
                    <a:lnTo>
                      <a:pt x="892" y="166"/>
                    </a:lnTo>
                    <a:lnTo>
                      <a:pt x="895" y="164"/>
                    </a:lnTo>
                    <a:lnTo>
                      <a:pt x="902" y="159"/>
                    </a:lnTo>
                    <a:lnTo>
                      <a:pt x="903" y="157"/>
                    </a:lnTo>
                    <a:lnTo>
                      <a:pt x="910" y="156"/>
                    </a:lnTo>
                    <a:lnTo>
                      <a:pt x="923" y="161"/>
                    </a:lnTo>
                    <a:lnTo>
                      <a:pt x="932" y="166"/>
                    </a:lnTo>
                    <a:lnTo>
                      <a:pt x="938" y="166"/>
                    </a:lnTo>
                    <a:lnTo>
                      <a:pt x="947" y="166"/>
                    </a:lnTo>
                    <a:lnTo>
                      <a:pt x="948" y="167"/>
                    </a:lnTo>
                    <a:lnTo>
                      <a:pt x="947" y="171"/>
                    </a:lnTo>
                    <a:lnTo>
                      <a:pt x="947" y="176"/>
                    </a:lnTo>
                    <a:lnTo>
                      <a:pt x="952" y="179"/>
                    </a:lnTo>
                    <a:lnTo>
                      <a:pt x="953" y="182"/>
                    </a:lnTo>
                    <a:lnTo>
                      <a:pt x="950" y="187"/>
                    </a:lnTo>
                    <a:lnTo>
                      <a:pt x="947" y="191"/>
                    </a:lnTo>
                    <a:lnTo>
                      <a:pt x="948" y="197"/>
                    </a:lnTo>
                    <a:lnTo>
                      <a:pt x="950" y="207"/>
                    </a:lnTo>
                    <a:lnTo>
                      <a:pt x="953" y="212"/>
                    </a:lnTo>
                    <a:lnTo>
                      <a:pt x="955" y="214"/>
                    </a:lnTo>
                    <a:lnTo>
                      <a:pt x="957" y="216"/>
                    </a:lnTo>
                    <a:lnTo>
                      <a:pt x="957" y="209"/>
                    </a:lnTo>
                    <a:lnTo>
                      <a:pt x="958" y="207"/>
                    </a:lnTo>
                    <a:lnTo>
                      <a:pt x="961" y="209"/>
                    </a:lnTo>
                    <a:lnTo>
                      <a:pt x="961" y="212"/>
                    </a:lnTo>
                    <a:lnTo>
                      <a:pt x="963" y="217"/>
                    </a:lnTo>
                    <a:lnTo>
                      <a:pt x="965" y="216"/>
                    </a:lnTo>
                    <a:lnTo>
                      <a:pt x="966" y="221"/>
                    </a:lnTo>
                    <a:lnTo>
                      <a:pt x="971" y="224"/>
                    </a:lnTo>
                    <a:lnTo>
                      <a:pt x="975" y="227"/>
                    </a:lnTo>
                    <a:lnTo>
                      <a:pt x="978" y="227"/>
                    </a:lnTo>
                    <a:lnTo>
                      <a:pt x="983" y="226"/>
                    </a:lnTo>
                    <a:lnTo>
                      <a:pt x="985" y="221"/>
                    </a:lnTo>
                    <a:lnTo>
                      <a:pt x="986" y="219"/>
                    </a:lnTo>
                    <a:lnTo>
                      <a:pt x="990" y="219"/>
                    </a:lnTo>
                    <a:lnTo>
                      <a:pt x="990" y="212"/>
                    </a:lnTo>
                    <a:lnTo>
                      <a:pt x="993" y="209"/>
                    </a:lnTo>
                    <a:lnTo>
                      <a:pt x="998" y="207"/>
                    </a:lnTo>
                    <a:lnTo>
                      <a:pt x="1003" y="206"/>
                    </a:lnTo>
                    <a:lnTo>
                      <a:pt x="1003" y="201"/>
                    </a:lnTo>
                    <a:lnTo>
                      <a:pt x="1005" y="199"/>
                    </a:lnTo>
                    <a:lnTo>
                      <a:pt x="1006" y="201"/>
                    </a:lnTo>
                    <a:lnTo>
                      <a:pt x="1010" y="201"/>
                    </a:lnTo>
                    <a:lnTo>
                      <a:pt x="1015" y="199"/>
                    </a:lnTo>
                    <a:lnTo>
                      <a:pt x="1021" y="197"/>
                    </a:lnTo>
                    <a:lnTo>
                      <a:pt x="1021" y="194"/>
                    </a:lnTo>
                    <a:lnTo>
                      <a:pt x="1020" y="191"/>
                    </a:lnTo>
                    <a:lnTo>
                      <a:pt x="1021" y="189"/>
                    </a:lnTo>
                    <a:lnTo>
                      <a:pt x="1033" y="182"/>
                    </a:lnTo>
                    <a:lnTo>
                      <a:pt x="1038" y="182"/>
                    </a:lnTo>
                    <a:lnTo>
                      <a:pt x="1043" y="186"/>
                    </a:lnTo>
                    <a:lnTo>
                      <a:pt x="1050" y="189"/>
                    </a:lnTo>
                    <a:lnTo>
                      <a:pt x="1058" y="191"/>
                    </a:lnTo>
                    <a:lnTo>
                      <a:pt x="1063" y="194"/>
                    </a:lnTo>
                    <a:lnTo>
                      <a:pt x="1068" y="194"/>
                    </a:lnTo>
                    <a:lnTo>
                      <a:pt x="1074" y="196"/>
                    </a:lnTo>
                    <a:lnTo>
                      <a:pt x="1088" y="202"/>
                    </a:lnTo>
                    <a:lnTo>
                      <a:pt x="1091" y="201"/>
                    </a:lnTo>
                    <a:lnTo>
                      <a:pt x="1094" y="202"/>
                    </a:lnTo>
                    <a:lnTo>
                      <a:pt x="1101" y="202"/>
                    </a:lnTo>
                    <a:lnTo>
                      <a:pt x="1106" y="202"/>
                    </a:lnTo>
                    <a:lnTo>
                      <a:pt x="1109" y="206"/>
                    </a:lnTo>
                    <a:lnTo>
                      <a:pt x="1108" y="207"/>
                    </a:lnTo>
                    <a:lnTo>
                      <a:pt x="1108" y="209"/>
                    </a:lnTo>
                    <a:lnTo>
                      <a:pt x="1111" y="211"/>
                    </a:lnTo>
                    <a:lnTo>
                      <a:pt x="1116" y="209"/>
                    </a:lnTo>
                    <a:lnTo>
                      <a:pt x="1116" y="209"/>
                    </a:lnTo>
                    <a:lnTo>
                      <a:pt x="1116" y="209"/>
                    </a:lnTo>
                    <a:close/>
                    <a:moveTo>
                      <a:pt x="827" y="149"/>
                    </a:moveTo>
                    <a:lnTo>
                      <a:pt x="837" y="153"/>
                    </a:lnTo>
                    <a:lnTo>
                      <a:pt x="837" y="154"/>
                    </a:lnTo>
                    <a:lnTo>
                      <a:pt x="830" y="151"/>
                    </a:lnTo>
                    <a:lnTo>
                      <a:pt x="827" y="149"/>
                    </a:lnTo>
                    <a:lnTo>
                      <a:pt x="827" y="149"/>
                    </a:lnTo>
                    <a:close/>
                    <a:moveTo>
                      <a:pt x="875" y="157"/>
                    </a:moveTo>
                    <a:lnTo>
                      <a:pt x="878" y="157"/>
                    </a:lnTo>
                    <a:lnTo>
                      <a:pt x="882" y="157"/>
                    </a:lnTo>
                    <a:lnTo>
                      <a:pt x="882" y="154"/>
                    </a:lnTo>
                    <a:lnTo>
                      <a:pt x="875" y="151"/>
                    </a:lnTo>
                    <a:lnTo>
                      <a:pt x="867" y="151"/>
                    </a:lnTo>
                    <a:lnTo>
                      <a:pt x="863" y="153"/>
                    </a:lnTo>
                    <a:lnTo>
                      <a:pt x="859" y="154"/>
                    </a:lnTo>
                    <a:lnTo>
                      <a:pt x="857" y="154"/>
                    </a:lnTo>
                    <a:lnTo>
                      <a:pt x="859" y="156"/>
                    </a:lnTo>
                    <a:lnTo>
                      <a:pt x="855" y="156"/>
                    </a:lnTo>
                    <a:lnTo>
                      <a:pt x="863" y="157"/>
                    </a:lnTo>
                    <a:lnTo>
                      <a:pt x="867" y="159"/>
                    </a:lnTo>
                    <a:lnTo>
                      <a:pt x="872" y="159"/>
                    </a:lnTo>
                    <a:lnTo>
                      <a:pt x="872" y="157"/>
                    </a:lnTo>
                    <a:lnTo>
                      <a:pt x="867" y="156"/>
                    </a:lnTo>
                    <a:lnTo>
                      <a:pt x="867" y="154"/>
                    </a:lnTo>
                    <a:lnTo>
                      <a:pt x="868" y="154"/>
                    </a:lnTo>
                    <a:lnTo>
                      <a:pt x="875" y="157"/>
                    </a:lnTo>
                    <a:lnTo>
                      <a:pt x="875" y="157"/>
                    </a:lnTo>
                    <a:close/>
                    <a:moveTo>
                      <a:pt x="867" y="171"/>
                    </a:moveTo>
                    <a:lnTo>
                      <a:pt x="862" y="169"/>
                    </a:lnTo>
                    <a:lnTo>
                      <a:pt x="859" y="169"/>
                    </a:lnTo>
                    <a:lnTo>
                      <a:pt x="862" y="171"/>
                    </a:lnTo>
                    <a:lnTo>
                      <a:pt x="867" y="171"/>
                    </a:lnTo>
                    <a:lnTo>
                      <a:pt x="867" y="171"/>
                    </a:lnTo>
                    <a:close/>
                    <a:moveTo>
                      <a:pt x="872" y="167"/>
                    </a:moveTo>
                    <a:lnTo>
                      <a:pt x="868" y="169"/>
                    </a:lnTo>
                    <a:lnTo>
                      <a:pt x="867" y="167"/>
                    </a:lnTo>
                    <a:lnTo>
                      <a:pt x="872" y="167"/>
                    </a:lnTo>
                    <a:lnTo>
                      <a:pt x="872" y="167"/>
                    </a:lnTo>
                    <a:close/>
                    <a:moveTo>
                      <a:pt x="870" y="171"/>
                    </a:moveTo>
                    <a:lnTo>
                      <a:pt x="865" y="174"/>
                    </a:lnTo>
                    <a:lnTo>
                      <a:pt x="865" y="179"/>
                    </a:lnTo>
                    <a:lnTo>
                      <a:pt x="870" y="181"/>
                    </a:lnTo>
                    <a:lnTo>
                      <a:pt x="873" y="179"/>
                    </a:lnTo>
                    <a:lnTo>
                      <a:pt x="873" y="172"/>
                    </a:lnTo>
                    <a:lnTo>
                      <a:pt x="870" y="171"/>
                    </a:lnTo>
                    <a:lnTo>
                      <a:pt x="870" y="171"/>
                    </a:lnTo>
                    <a:close/>
                    <a:moveTo>
                      <a:pt x="736" y="63"/>
                    </a:moveTo>
                    <a:lnTo>
                      <a:pt x="741" y="68"/>
                    </a:lnTo>
                    <a:lnTo>
                      <a:pt x="742" y="73"/>
                    </a:lnTo>
                    <a:lnTo>
                      <a:pt x="739" y="76"/>
                    </a:lnTo>
                    <a:lnTo>
                      <a:pt x="736" y="71"/>
                    </a:lnTo>
                    <a:lnTo>
                      <a:pt x="734" y="66"/>
                    </a:lnTo>
                    <a:lnTo>
                      <a:pt x="736" y="63"/>
                    </a:lnTo>
                    <a:lnTo>
                      <a:pt x="736" y="63"/>
                    </a:lnTo>
                    <a:close/>
                    <a:moveTo>
                      <a:pt x="764" y="48"/>
                    </a:moveTo>
                    <a:lnTo>
                      <a:pt x="767" y="53"/>
                    </a:lnTo>
                    <a:lnTo>
                      <a:pt x="767" y="58"/>
                    </a:lnTo>
                    <a:lnTo>
                      <a:pt x="769" y="56"/>
                    </a:lnTo>
                    <a:lnTo>
                      <a:pt x="770" y="53"/>
                    </a:lnTo>
                    <a:lnTo>
                      <a:pt x="770" y="48"/>
                    </a:lnTo>
                    <a:lnTo>
                      <a:pt x="767" y="46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64" y="58"/>
                    </a:moveTo>
                    <a:lnTo>
                      <a:pt x="767" y="59"/>
                    </a:lnTo>
                    <a:lnTo>
                      <a:pt x="769" y="63"/>
                    </a:lnTo>
                    <a:lnTo>
                      <a:pt x="767" y="63"/>
                    </a:lnTo>
                    <a:lnTo>
                      <a:pt x="767" y="63"/>
                    </a:lnTo>
                    <a:lnTo>
                      <a:pt x="764" y="58"/>
                    </a:lnTo>
                    <a:lnTo>
                      <a:pt x="764" y="58"/>
                    </a:lnTo>
                    <a:close/>
                    <a:moveTo>
                      <a:pt x="804" y="99"/>
                    </a:moveTo>
                    <a:lnTo>
                      <a:pt x="805" y="106"/>
                    </a:lnTo>
                    <a:lnTo>
                      <a:pt x="807" y="104"/>
                    </a:lnTo>
                    <a:lnTo>
                      <a:pt x="812" y="104"/>
                    </a:lnTo>
                    <a:lnTo>
                      <a:pt x="815" y="101"/>
                    </a:lnTo>
                    <a:lnTo>
                      <a:pt x="814" y="98"/>
                    </a:lnTo>
                    <a:lnTo>
                      <a:pt x="810" y="96"/>
                    </a:lnTo>
                    <a:lnTo>
                      <a:pt x="807" y="98"/>
                    </a:lnTo>
                    <a:lnTo>
                      <a:pt x="804" y="99"/>
                    </a:lnTo>
                    <a:lnTo>
                      <a:pt x="804" y="99"/>
                    </a:lnTo>
                    <a:close/>
                    <a:moveTo>
                      <a:pt x="799" y="157"/>
                    </a:moveTo>
                    <a:lnTo>
                      <a:pt x="800" y="164"/>
                    </a:lnTo>
                    <a:lnTo>
                      <a:pt x="807" y="169"/>
                    </a:lnTo>
                    <a:lnTo>
                      <a:pt x="809" y="171"/>
                    </a:lnTo>
                    <a:lnTo>
                      <a:pt x="807" y="171"/>
                    </a:lnTo>
                    <a:lnTo>
                      <a:pt x="807" y="174"/>
                    </a:lnTo>
                    <a:lnTo>
                      <a:pt x="805" y="171"/>
                    </a:lnTo>
                    <a:lnTo>
                      <a:pt x="800" y="169"/>
                    </a:lnTo>
                    <a:lnTo>
                      <a:pt x="797" y="162"/>
                    </a:lnTo>
                    <a:lnTo>
                      <a:pt x="792" y="159"/>
                    </a:lnTo>
                    <a:lnTo>
                      <a:pt x="789" y="154"/>
                    </a:lnTo>
                    <a:lnTo>
                      <a:pt x="790" y="149"/>
                    </a:lnTo>
                    <a:lnTo>
                      <a:pt x="790" y="148"/>
                    </a:lnTo>
                    <a:lnTo>
                      <a:pt x="790" y="144"/>
                    </a:lnTo>
                    <a:lnTo>
                      <a:pt x="785" y="141"/>
                    </a:lnTo>
                    <a:lnTo>
                      <a:pt x="787" y="136"/>
                    </a:lnTo>
                    <a:lnTo>
                      <a:pt x="789" y="134"/>
                    </a:lnTo>
                    <a:lnTo>
                      <a:pt x="785" y="129"/>
                    </a:lnTo>
                    <a:lnTo>
                      <a:pt x="784" y="126"/>
                    </a:lnTo>
                    <a:lnTo>
                      <a:pt x="785" y="121"/>
                    </a:lnTo>
                    <a:lnTo>
                      <a:pt x="789" y="119"/>
                    </a:lnTo>
                    <a:lnTo>
                      <a:pt x="787" y="113"/>
                    </a:lnTo>
                    <a:lnTo>
                      <a:pt x="789" y="108"/>
                    </a:lnTo>
                    <a:lnTo>
                      <a:pt x="797" y="101"/>
                    </a:lnTo>
                    <a:lnTo>
                      <a:pt x="799" y="99"/>
                    </a:lnTo>
                    <a:lnTo>
                      <a:pt x="799" y="103"/>
                    </a:lnTo>
                    <a:lnTo>
                      <a:pt x="795" y="108"/>
                    </a:lnTo>
                    <a:lnTo>
                      <a:pt x="795" y="109"/>
                    </a:lnTo>
                    <a:lnTo>
                      <a:pt x="800" y="111"/>
                    </a:lnTo>
                    <a:lnTo>
                      <a:pt x="800" y="118"/>
                    </a:lnTo>
                    <a:lnTo>
                      <a:pt x="799" y="123"/>
                    </a:lnTo>
                    <a:lnTo>
                      <a:pt x="794" y="123"/>
                    </a:lnTo>
                    <a:lnTo>
                      <a:pt x="790" y="126"/>
                    </a:lnTo>
                    <a:lnTo>
                      <a:pt x="792" y="131"/>
                    </a:lnTo>
                    <a:lnTo>
                      <a:pt x="795" y="129"/>
                    </a:lnTo>
                    <a:lnTo>
                      <a:pt x="797" y="126"/>
                    </a:lnTo>
                    <a:lnTo>
                      <a:pt x="802" y="124"/>
                    </a:lnTo>
                    <a:lnTo>
                      <a:pt x="804" y="123"/>
                    </a:lnTo>
                    <a:lnTo>
                      <a:pt x="800" y="123"/>
                    </a:lnTo>
                    <a:lnTo>
                      <a:pt x="802" y="119"/>
                    </a:lnTo>
                    <a:lnTo>
                      <a:pt x="809" y="116"/>
                    </a:lnTo>
                    <a:lnTo>
                      <a:pt x="817" y="113"/>
                    </a:lnTo>
                    <a:lnTo>
                      <a:pt x="819" y="116"/>
                    </a:lnTo>
                    <a:lnTo>
                      <a:pt x="820" y="119"/>
                    </a:lnTo>
                    <a:lnTo>
                      <a:pt x="815" y="128"/>
                    </a:lnTo>
                    <a:lnTo>
                      <a:pt x="807" y="129"/>
                    </a:lnTo>
                    <a:lnTo>
                      <a:pt x="804" y="133"/>
                    </a:lnTo>
                    <a:lnTo>
                      <a:pt x="805" y="136"/>
                    </a:lnTo>
                    <a:lnTo>
                      <a:pt x="809" y="136"/>
                    </a:lnTo>
                    <a:lnTo>
                      <a:pt x="815" y="141"/>
                    </a:lnTo>
                    <a:lnTo>
                      <a:pt x="815" y="143"/>
                    </a:lnTo>
                    <a:lnTo>
                      <a:pt x="819" y="144"/>
                    </a:lnTo>
                    <a:lnTo>
                      <a:pt x="814" y="146"/>
                    </a:lnTo>
                    <a:lnTo>
                      <a:pt x="810" y="143"/>
                    </a:lnTo>
                    <a:lnTo>
                      <a:pt x="804" y="143"/>
                    </a:lnTo>
                    <a:lnTo>
                      <a:pt x="799" y="141"/>
                    </a:lnTo>
                    <a:lnTo>
                      <a:pt x="795" y="143"/>
                    </a:lnTo>
                    <a:lnTo>
                      <a:pt x="795" y="151"/>
                    </a:lnTo>
                    <a:lnTo>
                      <a:pt x="799" y="157"/>
                    </a:lnTo>
                    <a:lnTo>
                      <a:pt x="799" y="157"/>
                    </a:lnTo>
                    <a:close/>
                    <a:moveTo>
                      <a:pt x="779" y="167"/>
                    </a:moveTo>
                    <a:lnTo>
                      <a:pt x="780" y="171"/>
                    </a:lnTo>
                    <a:lnTo>
                      <a:pt x="775" y="169"/>
                    </a:lnTo>
                    <a:lnTo>
                      <a:pt x="779" y="166"/>
                    </a:lnTo>
                    <a:lnTo>
                      <a:pt x="779" y="167"/>
                    </a:lnTo>
                    <a:lnTo>
                      <a:pt x="779" y="167"/>
                    </a:lnTo>
                    <a:close/>
                    <a:moveTo>
                      <a:pt x="779" y="159"/>
                    </a:moveTo>
                    <a:lnTo>
                      <a:pt x="777" y="159"/>
                    </a:lnTo>
                    <a:lnTo>
                      <a:pt x="775" y="162"/>
                    </a:lnTo>
                    <a:lnTo>
                      <a:pt x="779" y="164"/>
                    </a:lnTo>
                    <a:lnTo>
                      <a:pt x="779" y="161"/>
                    </a:lnTo>
                    <a:lnTo>
                      <a:pt x="779" y="159"/>
                    </a:lnTo>
                    <a:lnTo>
                      <a:pt x="779" y="159"/>
                    </a:lnTo>
                    <a:close/>
                    <a:moveTo>
                      <a:pt x="784" y="161"/>
                    </a:moveTo>
                    <a:lnTo>
                      <a:pt x="782" y="162"/>
                    </a:lnTo>
                    <a:lnTo>
                      <a:pt x="782" y="164"/>
                    </a:lnTo>
                    <a:lnTo>
                      <a:pt x="785" y="169"/>
                    </a:lnTo>
                    <a:lnTo>
                      <a:pt x="789" y="169"/>
                    </a:lnTo>
                    <a:lnTo>
                      <a:pt x="792" y="171"/>
                    </a:lnTo>
                    <a:lnTo>
                      <a:pt x="794" y="169"/>
                    </a:lnTo>
                    <a:lnTo>
                      <a:pt x="792" y="167"/>
                    </a:lnTo>
                    <a:lnTo>
                      <a:pt x="789" y="166"/>
                    </a:lnTo>
                    <a:lnTo>
                      <a:pt x="789" y="162"/>
                    </a:lnTo>
                    <a:lnTo>
                      <a:pt x="787" y="161"/>
                    </a:lnTo>
                    <a:lnTo>
                      <a:pt x="784" y="161"/>
                    </a:lnTo>
                    <a:lnTo>
                      <a:pt x="784" y="161"/>
                    </a:lnTo>
                    <a:close/>
                    <a:moveTo>
                      <a:pt x="782" y="186"/>
                    </a:moveTo>
                    <a:lnTo>
                      <a:pt x="789" y="182"/>
                    </a:lnTo>
                    <a:lnTo>
                      <a:pt x="795" y="182"/>
                    </a:lnTo>
                    <a:lnTo>
                      <a:pt x="800" y="187"/>
                    </a:lnTo>
                    <a:lnTo>
                      <a:pt x="800" y="191"/>
                    </a:lnTo>
                    <a:lnTo>
                      <a:pt x="797" y="191"/>
                    </a:lnTo>
                    <a:lnTo>
                      <a:pt x="792" y="191"/>
                    </a:lnTo>
                    <a:lnTo>
                      <a:pt x="789" y="191"/>
                    </a:lnTo>
                    <a:lnTo>
                      <a:pt x="785" y="189"/>
                    </a:lnTo>
                    <a:lnTo>
                      <a:pt x="782" y="186"/>
                    </a:lnTo>
                    <a:lnTo>
                      <a:pt x="782" y="186"/>
                    </a:lnTo>
                    <a:close/>
                    <a:moveTo>
                      <a:pt x="852" y="189"/>
                    </a:moveTo>
                    <a:lnTo>
                      <a:pt x="844" y="191"/>
                    </a:lnTo>
                    <a:lnTo>
                      <a:pt x="840" y="192"/>
                    </a:lnTo>
                    <a:lnTo>
                      <a:pt x="842" y="194"/>
                    </a:lnTo>
                    <a:lnTo>
                      <a:pt x="850" y="196"/>
                    </a:lnTo>
                    <a:lnTo>
                      <a:pt x="857" y="194"/>
                    </a:lnTo>
                    <a:lnTo>
                      <a:pt x="855" y="194"/>
                    </a:lnTo>
                    <a:lnTo>
                      <a:pt x="855" y="191"/>
                    </a:lnTo>
                    <a:lnTo>
                      <a:pt x="852" y="189"/>
                    </a:lnTo>
                    <a:lnTo>
                      <a:pt x="852" y="189"/>
                    </a:lnTo>
                    <a:close/>
                    <a:moveTo>
                      <a:pt x="810" y="231"/>
                    </a:moveTo>
                    <a:lnTo>
                      <a:pt x="814" y="231"/>
                    </a:lnTo>
                    <a:lnTo>
                      <a:pt x="814" y="232"/>
                    </a:lnTo>
                    <a:lnTo>
                      <a:pt x="812" y="232"/>
                    </a:lnTo>
                    <a:lnTo>
                      <a:pt x="810" y="231"/>
                    </a:lnTo>
                    <a:lnTo>
                      <a:pt x="810" y="231"/>
                    </a:lnTo>
                    <a:close/>
                    <a:moveTo>
                      <a:pt x="807" y="232"/>
                    </a:moveTo>
                    <a:lnTo>
                      <a:pt x="809" y="232"/>
                    </a:lnTo>
                    <a:lnTo>
                      <a:pt x="809" y="234"/>
                    </a:lnTo>
                    <a:lnTo>
                      <a:pt x="807" y="234"/>
                    </a:lnTo>
                    <a:lnTo>
                      <a:pt x="807" y="232"/>
                    </a:lnTo>
                    <a:lnTo>
                      <a:pt x="807" y="232"/>
                    </a:lnTo>
                    <a:close/>
                    <a:moveTo>
                      <a:pt x="794" y="234"/>
                    </a:moveTo>
                    <a:lnTo>
                      <a:pt x="799" y="232"/>
                    </a:lnTo>
                    <a:lnTo>
                      <a:pt x="802" y="231"/>
                    </a:lnTo>
                    <a:lnTo>
                      <a:pt x="804" y="232"/>
                    </a:lnTo>
                    <a:lnTo>
                      <a:pt x="802" y="236"/>
                    </a:lnTo>
                    <a:lnTo>
                      <a:pt x="800" y="234"/>
                    </a:lnTo>
                    <a:lnTo>
                      <a:pt x="797" y="236"/>
                    </a:lnTo>
                    <a:lnTo>
                      <a:pt x="794" y="234"/>
                    </a:lnTo>
                    <a:lnTo>
                      <a:pt x="794" y="234"/>
                    </a:lnTo>
                    <a:close/>
                    <a:moveTo>
                      <a:pt x="792" y="221"/>
                    </a:moveTo>
                    <a:lnTo>
                      <a:pt x="789" y="222"/>
                    </a:lnTo>
                    <a:lnTo>
                      <a:pt x="792" y="224"/>
                    </a:lnTo>
                    <a:lnTo>
                      <a:pt x="792" y="221"/>
                    </a:lnTo>
                    <a:lnTo>
                      <a:pt x="792" y="221"/>
                    </a:lnTo>
                    <a:close/>
                    <a:moveTo>
                      <a:pt x="797" y="216"/>
                    </a:moveTo>
                    <a:lnTo>
                      <a:pt x="794" y="216"/>
                    </a:lnTo>
                    <a:lnTo>
                      <a:pt x="794" y="217"/>
                    </a:lnTo>
                    <a:lnTo>
                      <a:pt x="797" y="217"/>
                    </a:lnTo>
                    <a:lnTo>
                      <a:pt x="797" y="216"/>
                    </a:lnTo>
                    <a:lnTo>
                      <a:pt x="797" y="216"/>
                    </a:lnTo>
                    <a:close/>
                    <a:moveTo>
                      <a:pt x="799" y="229"/>
                    </a:moveTo>
                    <a:lnTo>
                      <a:pt x="802" y="222"/>
                    </a:lnTo>
                    <a:lnTo>
                      <a:pt x="807" y="226"/>
                    </a:lnTo>
                    <a:lnTo>
                      <a:pt x="809" y="229"/>
                    </a:lnTo>
                    <a:lnTo>
                      <a:pt x="814" y="227"/>
                    </a:lnTo>
                    <a:lnTo>
                      <a:pt x="817" y="224"/>
                    </a:lnTo>
                    <a:lnTo>
                      <a:pt x="820" y="224"/>
                    </a:lnTo>
                    <a:lnTo>
                      <a:pt x="824" y="227"/>
                    </a:lnTo>
                    <a:lnTo>
                      <a:pt x="834" y="229"/>
                    </a:lnTo>
                    <a:lnTo>
                      <a:pt x="835" y="226"/>
                    </a:lnTo>
                    <a:lnTo>
                      <a:pt x="840" y="226"/>
                    </a:lnTo>
                    <a:lnTo>
                      <a:pt x="850" y="232"/>
                    </a:lnTo>
                    <a:lnTo>
                      <a:pt x="855" y="232"/>
                    </a:lnTo>
                    <a:lnTo>
                      <a:pt x="860" y="237"/>
                    </a:lnTo>
                    <a:lnTo>
                      <a:pt x="865" y="237"/>
                    </a:lnTo>
                    <a:lnTo>
                      <a:pt x="867" y="234"/>
                    </a:lnTo>
                    <a:lnTo>
                      <a:pt x="865" y="226"/>
                    </a:lnTo>
                    <a:lnTo>
                      <a:pt x="852" y="219"/>
                    </a:lnTo>
                    <a:lnTo>
                      <a:pt x="842" y="217"/>
                    </a:lnTo>
                    <a:lnTo>
                      <a:pt x="837" y="214"/>
                    </a:lnTo>
                    <a:lnTo>
                      <a:pt x="832" y="214"/>
                    </a:lnTo>
                    <a:lnTo>
                      <a:pt x="829" y="217"/>
                    </a:lnTo>
                    <a:lnTo>
                      <a:pt x="824" y="216"/>
                    </a:lnTo>
                    <a:lnTo>
                      <a:pt x="820" y="216"/>
                    </a:lnTo>
                    <a:lnTo>
                      <a:pt x="812" y="216"/>
                    </a:lnTo>
                    <a:lnTo>
                      <a:pt x="802" y="216"/>
                    </a:lnTo>
                    <a:lnTo>
                      <a:pt x="800" y="217"/>
                    </a:lnTo>
                    <a:lnTo>
                      <a:pt x="800" y="221"/>
                    </a:lnTo>
                    <a:lnTo>
                      <a:pt x="795" y="222"/>
                    </a:lnTo>
                    <a:lnTo>
                      <a:pt x="794" y="226"/>
                    </a:lnTo>
                    <a:lnTo>
                      <a:pt x="795" y="229"/>
                    </a:lnTo>
                    <a:lnTo>
                      <a:pt x="799" y="229"/>
                    </a:lnTo>
                    <a:lnTo>
                      <a:pt x="799" y="229"/>
                    </a:lnTo>
                    <a:close/>
                    <a:moveTo>
                      <a:pt x="751" y="221"/>
                    </a:moveTo>
                    <a:lnTo>
                      <a:pt x="756" y="222"/>
                    </a:lnTo>
                    <a:lnTo>
                      <a:pt x="759" y="221"/>
                    </a:lnTo>
                    <a:lnTo>
                      <a:pt x="769" y="221"/>
                    </a:lnTo>
                    <a:lnTo>
                      <a:pt x="775" y="222"/>
                    </a:lnTo>
                    <a:lnTo>
                      <a:pt x="775" y="226"/>
                    </a:lnTo>
                    <a:lnTo>
                      <a:pt x="779" y="231"/>
                    </a:lnTo>
                    <a:lnTo>
                      <a:pt x="779" y="234"/>
                    </a:lnTo>
                    <a:lnTo>
                      <a:pt x="775" y="234"/>
                    </a:lnTo>
                    <a:lnTo>
                      <a:pt x="770" y="237"/>
                    </a:lnTo>
                    <a:lnTo>
                      <a:pt x="765" y="237"/>
                    </a:lnTo>
                    <a:lnTo>
                      <a:pt x="759" y="237"/>
                    </a:lnTo>
                    <a:lnTo>
                      <a:pt x="757" y="236"/>
                    </a:lnTo>
                    <a:lnTo>
                      <a:pt x="751" y="234"/>
                    </a:lnTo>
                    <a:lnTo>
                      <a:pt x="746" y="229"/>
                    </a:lnTo>
                    <a:lnTo>
                      <a:pt x="747" y="224"/>
                    </a:lnTo>
                    <a:lnTo>
                      <a:pt x="751" y="221"/>
                    </a:lnTo>
                    <a:lnTo>
                      <a:pt x="751" y="221"/>
                    </a:lnTo>
                    <a:close/>
                    <a:moveTo>
                      <a:pt x="616" y="312"/>
                    </a:moveTo>
                    <a:lnTo>
                      <a:pt x="613" y="310"/>
                    </a:lnTo>
                    <a:lnTo>
                      <a:pt x="611" y="312"/>
                    </a:lnTo>
                    <a:lnTo>
                      <a:pt x="614" y="314"/>
                    </a:lnTo>
                    <a:lnTo>
                      <a:pt x="616" y="312"/>
                    </a:lnTo>
                    <a:lnTo>
                      <a:pt x="616" y="312"/>
                    </a:lnTo>
                    <a:close/>
                    <a:moveTo>
                      <a:pt x="611" y="280"/>
                    </a:moveTo>
                    <a:lnTo>
                      <a:pt x="616" y="289"/>
                    </a:lnTo>
                    <a:lnTo>
                      <a:pt x="614" y="292"/>
                    </a:lnTo>
                    <a:lnTo>
                      <a:pt x="611" y="295"/>
                    </a:lnTo>
                    <a:lnTo>
                      <a:pt x="611" y="292"/>
                    </a:lnTo>
                    <a:lnTo>
                      <a:pt x="609" y="290"/>
                    </a:lnTo>
                    <a:lnTo>
                      <a:pt x="611" y="287"/>
                    </a:lnTo>
                    <a:lnTo>
                      <a:pt x="611" y="284"/>
                    </a:lnTo>
                    <a:lnTo>
                      <a:pt x="611" y="280"/>
                    </a:lnTo>
                    <a:lnTo>
                      <a:pt x="611" y="280"/>
                    </a:lnTo>
                    <a:close/>
                    <a:moveTo>
                      <a:pt x="746" y="197"/>
                    </a:moveTo>
                    <a:lnTo>
                      <a:pt x="746" y="201"/>
                    </a:lnTo>
                    <a:lnTo>
                      <a:pt x="749" y="206"/>
                    </a:lnTo>
                    <a:lnTo>
                      <a:pt x="749" y="207"/>
                    </a:lnTo>
                    <a:lnTo>
                      <a:pt x="747" y="206"/>
                    </a:lnTo>
                    <a:lnTo>
                      <a:pt x="746" y="201"/>
                    </a:lnTo>
                    <a:lnTo>
                      <a:pt x="744" y="197"/>
                    </a:lnTo>
                    <a:lnTo>
                      <a:pt x="746" y="197"/>
                    </a:lnTo>
                    <a:lnTo>
                      <a:pt x="746" y="197"/>
                    </a:lnTo>
                    <a:close/>
                    <a:moveTo>
                      <a:pt x="732" y="191"/>
                    </a:moveTo>
                    <a:lnTo>
                      <a:pt x="736" y="191"/>
                    </a:lnTo>
                    <a:lnTo>
                      <a:pt x="739" y="191"/>
                    </a:lnTo>
                    <a:lnTo>
                      <a:pt x="742" y="191"/>
                    </a:lnTo>
                    <a:lnTo>
                      <a:pt x="752" y="191"/>
                    </a:lnTo>
                    <a:lnTo>
                      <a:pt x="757" y="192"/>
                    </a:lnTo>
                    <a:lnTo>
                      <a:pt x="751" y="194"/>
                    </a:lnTo>
                    <a:lnTo>
                      <a:pt x="741" y="196"/>
                    </a:lnTo>
                    <a:lnTo>
                      <a:pt x="736" y="194"/>
                    </a:lnTo>
                    <a:lnTo>
                      <a:pt x="734" y="192"/>
                    </a:lnTo>
                    <a:lnTo>
                      <a:pt x="732" y="191"/>
                    </a:lnTo>
                    <a:lnTo>
                      <a:pt x="732" y="191"/>
                    </a:lnTo>
                    <a:close/>
                    <a:moveTo>
                      <a:pt x="709" y="192"/>
                    </a:moveTo>
                    <a:lnTo>
                      <a:pt x="712" y="189"/>
                    </a:lnTo>
                    <a:lnTo>
                      <a:pt x="714" y="189"/>
                    </a:lnTo>
                    <a:lnTo>
                      <a:pt x="717" y="189"/>
                    </a:lnTo>
                    <a:lnTo>
                      <a:pt x="722" y="189"/>
                    </a:lnTo>
                    <a:lnTo>
                      <a:pt x="726" y="191"/>
                    </a:lnTo>
                    <a:lnTo>
                      <a:pt x="729" y="189"/>
                    </a:lnTo>
                    <a:lnTo>
                      <a:pt x="731" y="191"/>
                    </a:lnTo>
                    <a:lnTo>
                      <a:pt x="731" y="194"/>
                    </a:lnTo>
                    <a:lnTo>
                      <a:pt x="727" y="194"/>
                    </a:lnTo>
                    <a:lnTo>
                      <a:pt x="724" y="196"/>
                    </a:lnTo>
                    <a:lnTo>
                      <a:pt x="721" y="194"/>
                    </a:lnTo>
                    <a:lnTo>
                      <a:pt x="714" y="197"/>
                    </a:lnTo>
                    <a:lnTo>
                      <a:pt x="711" y="196"/>
                    </a:lnTo>
                    <a:lnTo>
                      <a:pt x="709" y="194"/>
                    </a:lnTo>
                    <a:lnTo>
                      <a:pt x="709" y="192"/>
                    </a:lnTo>
                    <a:lnTo>
                      <a:pt x="709" y="192"/>
                    </a:lnTo>
                    <a:close/>
                    <a:moveTo>
                      <a:pt x="666" y="272"/>
                    </a:moveTo>
                    <a:lnTo>
                      <a:pt x="671" y="265"/>
                    </a:lnTo>
                    <a:lnTo>
                      <a:pt x="672" y="259"/>
                    </a:lnTo>
                    <a:lnTo>
                      <a:pt x="672" y="252"/>
                    </a:lnTo>
                    <a:lnTo>
                      <a:pt x="674" y="251"/>
                    </a:lnTo>
                    <a:lnTo>
                      <a:pt x="677" y="252"/>
                    </a:lnTo>
                    <a:lnTo>
                      <a:pt x="679" y="254"/>
                    </a:lnTo>
                    <a:lnTo>
                      <a:pt x="679" y="257"/>
                    </a:lnTo>
                    <a:lnTo>
                      <a:pt x="679" y="259"/>
                    </a:lnTo>
                    <a:lnTo>
                      <a:pt x="679" y="257"/>
                    </a:lnTo>
                    <a:lnTo>
                      <a:pt x="677" y="259"/>
                    </a:lnTo>
                    <a:lnTo>
                      <a:pt x="674" y="262"/>
                    </a:lnTo>
                    <a:lnTo>
                      <a:pt x="674" y="264"/>
                    </a:lnTo>
                    <a:lnTo>
                      <a:pt x="674" y="267"/>
                    </a:lnTo>
                    <a:lnTo>
                      <a:pt x="677" y="267"/>
                    </a:lnTo>
                    <a:lnTo>
                      <a:pt x="679" y="269"/>
                    </a:lnTo>
                    <a:lnTo>
                      <a:pt x="677" y="270"/>
                    </a:lnTo>
                    <a:lnTo>
                      <a:pt x="674" y="272"/>
                    </a:lnTo>
                    <a:lnTo>
                      <a:pt x="672" y="275"/>
                    </a:lnTo>
                    <a:lnTo>
                      <a:pt x="669" y="277"/>
                    </a:lnTo>
                    <a:lnTo>
                      <a:pt x="666" y="275"/>
                    </a:lnTo>
                    <a:lnTo>
                      <a:pt x="666" y="272"/>
                    </a:lnTo>
                    <a:lnTo>
                      <a:pt x="666" y="272"/>
                    </a:lnTo>
                    <a:close/>
                    <a:moveTo>
                      <a:pt x="654" y="269"/>
                    </a:moveTo>
                    <a:lnTo>
                      <a:pt x="654" y="269"/>
                    </a:lnTo>
                    <a:lnTo>
                      <a:pt x="656" y="270"/>
                    </a:lnTo>
                    <a:lnTo>
                      <a:pt x="658" y="272"/>
                    </a:lnTo>
                    <a:lnTo>
                      <a:pt x="661" y="270"/>
                    </a:lnTo>
                    <a:lnTo>
                      <a:pt x="662" y="269"/>
                    </a:lnTo>
                    <a:lnTo>
                      <a:pt x="664" y="269"/>
                    </a:lnTo>
                    <a:lnTo>
                      <a:pt x="664" y="265"/>
                    </a:lnTo>
                    <a:lnTo>
                      <a:pt x="667" y="262"/>
                    </a:lnTo>
                    <a:lnTo>
                      <a:pt x="667" y="260"/>
                    </a:lnTo>
                    <a:lnTo>
                      <a:pt x="666" y="255"/>
                    </a:lnTo>
                    <a:lnTo>
                      <a:pt x="661" y="259"/>
                    </a:lnTo>
                    <a:lnTo>
                      <a:pt x="658" y="260"/>
                    </a:lnTo>
                    <a:lnTo>
                      <a:pt x="659" y="264"/>
                    </a:lnTo>
                    <a:lnTo>
                      <a:pt x="654" y="269"/>
                    </a:lnTo>
                    <a:lnTo>
                      <a:pt x="654" y="269"/>
                    </a:lnTo>
                    <a:close/>
                    <a:moveTo>
                      <a:pt x="644" y="265"/>
                    </a:moveTo>
                    <a:lnTo>
                      <a:pt x="644" y="267"/>
                    </a:lnTo>
                    <a:lnTo>
                      <a:pt x="643" y="269"/>
                    </a:lnTo>
                    <a:lnTo>
                      <a:pt x="644" y="274"/>
                    </a:lnTo>
                    <a:lnTo>
                      <a:pt x="646" y="275"/>
                    </a:lnTo>
                    <a:lnTo>
                      <a:pt x="651" y="272"/>
                    </a:lnTo>
                    <a:lnTo>
                      <a:pt x="649" y="269"/>
                    </a:lnTo>
                    <a:lnTo>
                      <a:pt x="646" y="264"/>
                    </a:lnTo>
                    <a:lnTo>
                      <a:pt x="646" y="264"/>
                    </a:lnTo>
                    <a:lnTo>
                      <a:pt x="644" y="265"/>
                    </a:lnTo>
                    <a:lnTo>
                      <a:pt x="644" y="265"/>
                    </a:lnTo>
                    <a:close/>
                    <a:moveTo>
                      <a:pt x="679" y="194"/>
                    </a:moveTo>
                    <a:lnTo>
                      <a:pt x="676" y="194"/>
                    </a:lnTo>
                    <a:lnTo>
                      <a:pt x="679" y="196"/>
                    </a:lnTo>
                    <a:lnTo>
                      <a:pt x="679" y="196"/>
                    </a:lnTo>
                    <a:lnTo>
                      <a:pt x="679" y="194"/>
                    </a:lnTo>
                    <a:lnTo>
                      <a:pt x="679" y="194"/>
                    </a:lnTo>
                    <a:close/>
                    <a:moveTo>
                      <a:pt x="684" y="191"/>
                    </a:moveTo>
                    <a:lnTo>
                      <a:pt x="682" y="192"/>
                    </a:lnTo>
                    <a:lnTo>
                      <a:pt x="686" y="192"/>
                    </a:lnTo>
                    <a:lnTo>
                      <a:pt x="684" y="191"/>
                    </a:lnTo>
                    <a:lnTo>
                      <a:pt x="684" y="191"/>
                    </a:lnTo>
                    <a:close/>
                    <a:moveTo>
                      <a:pt x="691" y="186"/>
                    </a:moveTo>
                    <a:lnTo>
                      <a:pt x="689" y="187"/>
                    </a:lnTo>
                    <a:lnTo>
                      <a:pt x="692" y="189"/>
                    </a:lnTo>
                    <a:lnTo>
                      <a:pt x="691" y="186"/>
                    </a:lnTo>
                    <a:lnTo>
                      <a:pt x="691" y="186"/>
                    </a:lnTo>
                    <a:close/>
                    <a:moveTo>
                      <a:pt x="671" y="181"/>
                    </a:moveTo>
                    <a:lnTo>
                      <a:pt x="676" y="177"/>
                    </a:lnTo>
                    <a:lnTo>
                      <a:pt x="682" y="179"/>
                    </a:lnTo>
                    <a:lnTo>
                      <a:pt x="684" y="181"/>
                    </a:lnTo>
                    <a:lnTo>
                      <a:pt x="682" y="182"/>
                    </a:lnTo>
                    <a:lnTo>
                      <a:pt x="686" y="182"/>
                    </a:lnTo>
                    <a:lnTo>
                      <a:pt x="687" y="179"/>
                    </a:lnTo>
                    <a:lnTo>
                      <a:pt x="691" y="182"/>
                    </a:lnTo>
                    <a:lnTo>
                      <a:pt x="689" y="186"/>
                    </a:lnTo>
                    <a:lnTo>
                      <a:pt x="686" y="186"/>
                    </a:lnTo>
                    <a:lnTo>
                      <a:pt x="684" y="184"/>
                    </a:lnTo>
                    <a:lnTo>
                      <a:pt x="682" y="187"/>
                    </a:lnTo>
                    <a:lnTo>
                      <a:pt x="677" y="184"/>
                    </a:lnTo>
                    <a:lnTo>
                      <a:pt x="674" y="187"/>
                    </a:lnTo>
                    <a:lnTo>
                      <a:pt x="671" y="186"/>
                    </a:lnTo>
                    <a:lnTo>
                      <a:pt x="671" y="181"/>
                    </a:lnTo>
                    <a:lnTo>
                      <a:pt x="671" y="181"/>
                    </a:lnTo>
                    <a:close/>
                    <a:moveTo>
                      <a:pt x="646" y="159"/>
                    </a:moveTo>
                    <a:lnTo>
                      <a:pt x="649" y="161"/>
                    </a:lnTo>
                    <a:lnTo>
                      <a:pt x="649" y="159"/>
                    </a:lnTo>
                    <a:lnTo>
                      <a:pt x="649" y="159"/>
                    </a:lnTo>
                    <a:lnTo>
                      <a:pt x="646" y="159"/>
                    </a:lnTo>
                    <a:lnTo>
                      <a:pt x="646" y="159"/>
                    </a:lnTo>
                    <a:close/>
                    <a:moveTo>
                      <a:pt x="643" y="161"/>
                    </a:moveTo>
                    <a:lnTo>
                      <a:pt x="644" y="161"/>
                    </a:lnTo>
                    <a:lnTo>
                      <a:pt x="648" y="162"/>
                    </a:lnTo>
                    <a:lnTo>
                      <a:pt x="644" y="162"/>
                    </a:lnTo>
                    <a:lnTo>
                      <a:pt x="643" y="161"/>
                    </a:lnTo>
                    <a:lnTo>
                      <a:pt x="643" y="161"/>
                    </a:lnTo>
                    <a:close/>
                    <a:moveTo>
                      <a:pt x="611" y="141"/>
                    </a:moveTo>
                    <a:lnTo>
                      <a:pt x="618" y="139"/>
                    </a:lnTo>
                    <a:lnTo>
                      <a:pt x="624" y="143"/>
                    </a:lnTo>
                    <a:lnTo>
                      <a:pt x="631" y="143"/>
                    </a:lnTo>
                    <a:lnTo>
                      <a:pt x="641" y="139"/>
                    </a:lnTo>
                    <a:lnTo>
                      <a:pt x="646" y="139"/>
                    </a:lnTo>
                    <a:lnTo>
                      <a:pt x="648" y="143"/>
                    </a:lnTo>
                    <a:lnTo>
                      <a:pt x="653" y="143"/>
                    </a:lnTo>
                    <a:lnTo>
                      <a:pt x="656" y="141"/>
                    </a:lnTo>
                    <a:lnTo>
                      <a:pt x="666" y="141"/>
                    </a:lnTo>
                    <a:lnTo>
                      <a:pt x="672" y="141"/>
                    </a:lnTo>
                    <a:lnTo>
                      <a:pt x="672" y="139"/>
                    </a:lnTo>
                    <a:lnTo>
                      <a:pt x="679" y="141"/>
                    </a:lnTo>
                    <a:lnTo>
                      <a:pt x="682" y="143"/>
                    </a:lnTo>
                    <a:lnTo>
                      <a:pt x="684" y="144"/>
                    </a:lnTo>
                    <a:lnTo>
                      <a:pt x="689" y="146"/>
                    </a:lnTo>
                    <a:lnTo>
                      <a:pt x="707" y="143"/>
                    </a:lnTo>
                    <a:lnTo>
                      <a:pt x="714" y="138"/>
                    </a:lnTo>
                    <a:lnTo>
                      <a:pt x="717" y="134"/>
                    </a:lnTo>
                    <a:lnTo>
                      <a:pt x="721" y="133"/>
                    </a:lnTo>
                    <a:lnTo>
                      <a:pt x="722" y="131"/>
                    </a:lnTo>
                    <a:lnTo>
                      <a:pt x="726" y="128"/>
                    </a:lnTo>
                    <a:lnTo>
                      <a:pt x="727" y="124"/>
                    </a:lnTo>
                    <a:lnTo>
                      <a:pt x="729" y="121"/>
                    </a:lnTo>
                    <a:lnTo>
                      <a:pt x="732" y="119"/>
                    </a:lnTo>
                    <a:lnTo>
                      <a:pt x="729" y="118"/>
                    </a:lnTo>
                    <a:lnTo>
                      <a:pt x="729" y="114"/>
                    </a:lnTo>
                    <a:lnTo>
                      <a:pt x="722" y="114"/>
                    </a:lnTo>
                    <a:lnTo>
                      <a:pt x="717" y="114"/>
                    </a:lnTo>
                    <a:lnTo>
                      <a:pt x="717" y="119"/>
                    </a:lnTo>
                    <a:lnTo>
                      <a:pt x="712" y="121"/>
                    </a:lnTo>
                    <a:lnTo>
                      <a:pt x="712" y="124"/>
                    </a:lnTo>
                    <a:lnTo>
                      <a:pt x="707" y="128"/>
                    </a:lnTo>
                    <a:lnTo>
                      <a:pt x="704" y="128"/>
                    </a:lnTo>
                    <a:lnTo>
                      <a:pt x="701" y="131"/>
                    </a:lnTo>
                    <a:lnTo>
                      <a:pt x="696" y="133"/>
                    </a:lnTo>
                    <a:lnTo>
                      <a:pt x="684" y="131"/>
                    </a:lnTo>
                    <a:lnTo>
                      <a:pt x="674" y="129"/>
                    </a:lnTo>
                    <a:lnTo>
                      <a:pt x="672" y="133"/>
                    </a:lnTo>
                    <a:lnTo>
                      <a:pt x="671" y="133"/>
                    </a:lnTo>
                    <a:lnTo>
                      <a:pt x="666" y="128"/>
                    </a:lnTo>
                    <a:lnTo>
                      <a:pt x="662" y="128"/>
                    </a:lnTo>
                    <a:lnTo>
                      <a:pt x="658" y="128"/>
                    </a:lnTo>
                    <a:lnTo>
                      <a:pt x="653" y="128"/>
                    </a:lnTo>
                    <a:lnTo>
                      <a:pt x="648" y="126"/>
                    </a:lnTo>
                    <a:lnTo>
                      <a:pt x="644" y="128"/>
                    </a:lnTo>
                    <a:lnTo>
                      <a:pt x="639" y="126"/>
                    </a:lnTo>
                    <a:lnTo>
                      <a:pt x="634" y="123"/>
                    </a:lnTo>
                    <a:lnTo>
                      <a:pt x="628" y="121"/>
                    </a:lnTo>
                    <a:lnTo>
                      <a:pt x="624" y="121"/>
                    </a:lnTo>
                    <a:lnTo>
                      <a:pt x="624" y="126"/>
                    </a:lnTo>
                    <a:lnTo>
                      <a:pt x="619" y="128"/>
                    </a:lnTo>
                    <a:lnTo>
                      <a:pt x="618" y="133"/>
                    </a:lnTo>
                    <a:lnTo>
                      <a:pt x="614" y="134"/>
                    </a:lnTo>
                    <a:lnTo>
                      <a:pt x="608" y="133"/>
                    </a:lnTo>
                    <a:lnTo>
                      <a:pt x="603" y="134"/>
                    </a:lnTo>
                    <a:lnTo>
                      <a:pt x="601" y="136"/>
                    </a:lnTo>
                    <a:lnTo>
                      <a:pt x="601" y="138"/>
                    </a:lnTo>
                    <a:lnTo>
                      <a:pt x="594" y="143"/>
                    </a:lnTo>
                    <a:lnTo>
                      <a:pt x="594" y="149"/>
                    </a:lnTo>
                    <a:lnTo>
                      <a:pt x="596" y="153"/>
                    </a:lnTo>
                    <a:lnTo>
                      <a:pt x="596" y="161"/>
                    </a:lnTo>
                    <a:lnTo>
                      <a:pt x="594" y="162"/>
                    </a:lnTo>
                    <a:lnTo>
                      <a:pt x="596" y="167"/>
                    </a:lnTo>
                    <a:lnTo>
                      <a:pt x="598" y="172"/>
                    </a:lnTo>
                    <a:lnTo>
                      <a:pt x="596" y="171"/>
                    </a:lnTo>
                    <a:lnTo>
                      <a:pt x="594" y="167"/>
                    </a:lnTo>
                    <a:lnTo>
                      <a:pt x="591" y="167"/>
                    </a:lnTo>
                    <a:lnTo>
                      <a:pt x="588" y="171"/>
                    </a:lnTo>
                    <a:lnTo>
                      <a:pt x="584" y="172"/>
                    </a:lnTo>
                    <a:lnTo>
                      <a:pt x="583" y="177"/>
                    </a:lnTo>
                    <a:lnTo>
                      <a:pt x="584" y="182"/>
                    </a:lnTo>
                    <a:lnTo>
                      <a:pt x="583" y="186"/>
                    </a:lnTo>
                    <a:lnTo>
                      <a:pt x="583" y="194"/>
                    </a:lnTo>
                    <a:lnTo>
                      <a:pt x="583" y="197"/>
                    </a:lnTo>
                    <a:lnTo>
                      <a:pt x="581" y="201"/>
                    </a:lnTo>
                    <a:lnTo>
                      <a:pt x="578" y="202"/>
                    </a:lnTo>
                    <a:lnTo>
                      <a:pt x="578" y="207"/>
                    </a:lnTo>
                    <a:lnTo>
                      <a:pt x="573" y="211"/>
                    </a:lnTo>
                    <a:lnTo>
                      <a:pt x="571" y="217"/>
                    </a:lnTo>
                    <a:lnTo>
                      <a:pt x="573" y="219"/>
                    </a:lnTo>
                    <a:lnTo>
                      <a:pt x="569" y="221"/>
                    </a:lnTo>
                    <a:lnTo>
                      <a:pt x="573" y="229"/>
                    </a:lnTo>
                    <a:lnTo>
                      <a:pt x="576" y="232"/>
                    </a:lnTo>
                    <a:lnTo>
                      <a:pt x="578" y="231"/>
                    </a:lnTo>
                    <a:lnTo>
                      <a:pt x="581" y="231"/>
                    </a:lnTo>
                    <a:lnTo>
                      <a:pt x="583" y="229"/>
                    </a:lnTo>
                    <a:lnTo>
                      <a:pt x="586" y="231"/>
                    </a:lnTo>
                    <a:lnTo>
                      <a:pt x="588" y="236"/>
                    </a:lnTo>
                    <a:lnTo>
                      <a:pt x="591" y="246"/>
                    </a:lnTo>
                    <a:lnTo>
                      <a:pt x="589" y="249"/>
                    </a:lnTo>
                    <a:lnTo>
                      <a:pt x="588" y="254"/>
                    </a:lnTo>
                    <a:lnTo>
                      <a:pt x="584" y="259"/>
                    </a:lnTo>
                    <a:lnTo>
                      <a:pt x="584" y="269"/>
                    </a:lnTo>
                    <a:lnTo>
                      <a:pt x="584" y="275"/>
                    </a:lnTo>
                    <a:lnTo>
                      <a:pt x="588" y="275"/>
                    </a:lnTo>
                    <a:lnTo>
                      <a:pt x="591" y="277"/>
                    </a:lnTo>
                    <a:lnTo>
                      <a:pt x="596" y="277"/>
                    </a:lnTo>
                    <a:lnTo>
                      <a:pt x="598" y="275"/>
                    </a:lnTo>
                    <a:lnTo>
                      <a:pt x="603" y="275"/>
                    </a:lnTo>
                    <a:lnTo>
                      <a:pt x="608" y="275"/>
                    </a:lnTo>
                    <a:lnTo>
                      <a:pt x="609" y="277"/>
                    </a:lnTo>
                    <a:lnTo>
                      <a:pt x="611" y="274"/>
                    </a:lnTo>
                    <a:lnTo>
                      <a:pt x="611" y="269"/>
                    </a:lnTo>
                    <a:lnTo>
                      <a:pt x="608" y="267"/>
                    </a:lnTo>
                    <a:lnTo>
                      <a:pt x="606" y="262"/>
                    </a:lnTo>
                    <a:lnTo>
                      <a:pt x="609" y="257"/>
                    </a:lnTo>
                    <a:lnTo>
                      <a:pt x="609" y="251"/>
                    </a:lnTo>
                    <a:lnTo>
                      <a:pt x="609" y="244"/>
                    </a:lnTo>
                    <a:lnTo>
                      <a:pt x="608" y="242"/>
                    </a:lnTo>
                    <a:lnTo>
                      <a:pt x="613" y="236"/>
                    </a:lnTo>
                    <a:lnTo>
                      <a:pt x="613" y="231"/>
                    </a:lnTo>
                    <a:lnTo>
                      <a:pt x="613" y="224"/>
                    </a:lnTo>
                    <a:lnTo>
                      <a:pt x="609" y="221"/>
                    </a:lnTo>
                    <a:lnTo>
                      <a:pt x="609" y="219"/>
                    </a:lnTo>
                    <a:lnTo>
                      <a:pt x="614" y="216"/>
                    </a:lnTo>
                    <a:lnTo>
                      <a:pt x="616" y="212"/>
                    </a:lnTo>
                    <a:lnTo>
                      <a:pt x="621" y="212"/>
                    </a:lnTo>
                    <a:lnTo>
                      <a:pt x="626" y="214"/>
                    </a:lnTo>
                    <a:lnTo>
                      <a:pt x="626" y="216"/>
                    </a:lnTo>
                    <a:lnTo>
                      <a:pt x="628" y="219"/>
                    </a:lnTo>
                    <a:lnTo>
                      <a:pt x="628" y="224"/>
                    </a:lnTo>
                    <a:lnTo>
                      <a:pt x="624" y="227"/>
                    </a:lnTo>
                    <a:lnTo>
                      <a:pt x="623" y="232"/>
                    </a:lnTo>
                    <a:lnTo>
                      <a:pt x="626" y="236"/>
                    </a:lnTo>
                    <a:lnTo>
                      <a:pt x="629" y="236"/>
                    </a:lnTo>
                    <a:lnTo>
                      <a:pt x="633" y="239"/>
                    </a:lnTo>
                    <a:lnTo>
                      <a:pt x="638" y="242"/>
                    </a:lnTo>
                    <a:lnTo>
                      <a:pt x="638" y="247"/>
                    </a:lnTo>
                    <a:lnTo>
                      <a:pt x="636" y="247"/>
                    </a:lnTo>
                    <a:lnTo>
                      <a:pt x="634" y="254"/>
                    </a:lnTo>
                    <a:lnTo>
                      <a:pt x="638" y="259"/>
                    </a:lnTo>
                    <a:lnTo>
                      <a:pt x="641" y="260"/>
                    </a:lnTo>
                    <a:lnTo>
                      <a:pt x="643" y="259"/>
                    </a:lnTo>
                    <a:lnTo>
                      <a:pt x="648" y="260"/>
                    </a:lnTo>
                    <a:lnTo>
                      <a:pt x="653" y="260"/>
                    </a:lnTo>
                    <a:lnTo>
                      <a:pt x="653" y="259"/>
                    </a:lnTo>
                    <a:lnTo>
                      <a:pt x="651" y="255"/>
                    </a:lnTo>
                    <a:lnTo>
                      <a:pt x="654" y="252"/>
                    </a:lnTo>
                    <a:lnTo>
                      <a:pt x="659" y="252"/>
                    </a:lnTo>
                    <a:lnTo>
                      <a:pt x="664" y="249"/>
                    </a:lnTo>
                    <a:lnTo>
                      <a:pt x="672" y="249"/>
                    </a:lnTo>
                    <a:lnTo>
                      <a:pt x="674" y="247"/>
                    </a:lnTo>
                    <a:lnTo>
                      <a:pt x="676" y="247"/>
                    </a:lnTo>
                    <a:lnTo>
                      <a:pt x="681" y="247"/>
                    </a:lnTo>
                    <a:lnTo>
                      <a:pt x="682" y="244"/>
                    </a:lnTo>
                    <a:lnTo>
                      <a:pt x="681" y="242"/>
                    </a:lnTo>
                    <a:lnTo>
                      <a:pt x="676" y="242"/>
                    </a:lnTo>
                    <a:lnTo>
                      <a:pt x="672" y="242"/>
                    </a:lnTo>
                    <a:lnTo>
                      <a:pt x="671" y="242"/>
                    </a:lnTo>
                    <a:lnTo>
                      <a:pt x="666" y="242"/>
                    </a:lnTo>
                    <a:lnTo>
                      <a:pt x="666" y="239"/>
                    </a:lnTo>
                    <a:lnTo>
                      <a:pt x="664" y="239"/>
                    </a:lnTo>
                    <a:lnTo>
                      <a:pt x="664" y="237"/>
                    </a:lnTo>
                    <a:lnTo>
                      <a:pt x="662" y="237"/>
                    </a:lnTo>
                    <a:lnTo>
                      <a:pt x="659" y="237"/>
                    </a:lnTo>
                    <a:lnTo>
                      <a:pt x="659" y="236"/>
                    </a:lnTo>
                    <a:lnTo>
                      <a:pt x="656" y="234"/>
                    </a:lnTo>
                    <a:lnTo>
                      <a:pt x="654" y="232"/>
                    </a:lnTo>
                    <a:lnTo>
                      <a:pt x="658" y="229"/>
                    </a:lnTo>
                    <a:lnTo>
                      <a:pt x="658" y="227"/>
                    </a:lnTo>
                    <a:lnTo>
                      <a:pt x="659" y="227"/>
                    </a:lnTo>
                    <a:lnTo>
                      <a:pt x="658" y="226"/>
                    </a:lnTo>
                    <a:lnTo>
                      <a:pt x="661" y="224"/>
                    </a:lnTo>
                    <a:lnTo>
                      <a:pt x="661" y="222"/>
                    </a:lnTo>
                    <a:lnTo>
                      <a:pt x="659" y="221"/>
                    </a:lnTo>
                    <a:lnTo>
                      <a:pt x="656" y="219"/>
                    </a:lnTo>
                    <a:lnTo>
                      <a:pt x="658" y="217"/>
                    </a:lnTo>
                    <a:lnTo>
                      <a:pt x="658" y="216"/>
                    </a:lnTo>
                    <a:lnTo>
                      <a:pt x="653" y="212"/>
                    </a:lnTo>
                    <a:lnTo>
                      <a:pt x="649" y="212"/>
                    </a:lnTo>
                    <a:lnTo>
                      <a:pt x="649" y="207"/>
                    </a:lnTo>
                    <a:lnTo>
                      <a:pt x="643" y="201"/>
                    </a:lnTo>
                    <a:lnTo>
                      <a:pt x="638" y="199"/>
                    </a:lnTo>
                    <a:lnTo>
                      <a:pt x="636" y="194"/>
                    </a:lnTo>
                    <a:lnTo>
                      <a:pt x="636" y="192"/>
                    </a:lnTo>
                    <a:lnTo>
                      <a:pt x="638" y="194"/>
                    </a:lnTo>
                    <a:lnTo>
                      <a:pt x="639" y="196"/>
                    </a:lnTo>
                    <a:lnTo>
                      <a:pt x="643" y="196"/>
                    </a:lnTo>
                    <a:lnTo>
                      <a:pt x="648" y="192"/>
                    </a:lnTo>
                    <a:lnTo>
                      <a:pt x="648" y="191"/>
                    </a:lnTo>
                    <a:lnTo>
                      <a:pt x="658" y="187"/>
                    </a:lnTo>
                    <a:lnTo>
                      <a:pt x="664" y="182"/>
                    </a:lnTo>
                    <a:lnTo>
                      <a:pt x="667" y="177"/>
                    </a:lnTo>
                    <a:lnTo>
                      <a:pt x="672" y="176"/>
                    </a:lnTo>
                    <a:lnTo>
                      <a:pt x="672" y="172"/>
                    </a:lnTo>
                    <a:lnTo>
                      <a:pt x="677" y="171"/>
                    </a:lnTo>
                    <a:lnTo>
                      <a:pt x="682" y="172"/>
                    </a:lnTo>
                    <a:lnTo>
                      <a:pt x="686" y="174"/>
                    </a:lnTo>
                    <a:lnTo>
                      <a:pt x="689" y="167"/>
                    </a:lnTo>
                    <a:lnTo>
                      <a:pt x="689" y="164"/>
                    </a:lnTo>
                    <a:lnTo>
                      <a:pt x="684" y="162"/>
                    </a:lnTo>
                    <a:lnTo>
                      <a:pt x="674" y="164"/>
                    </a:lnTo>
                    <a:lnTo>
                      <a:pt x="669" y="167"/>
                    </a:lnTo>
                    <a:lnTo>
                      <a:pt x="662" y="167"/>
                    </a:lnTo>
                    <a:lnTo>
                      <a:pt x="659" y="167"/>
                    </a:lnTo>
                    <a:lnTo>
                      <a:pt x="654" y="172"/>
                    </a:lnTo>
                    <a:lnTo>
                      <a:pt x="649" y="171"/>
                    </a:lnTo>
                    <a:lnTo>
                      <a:pt x="646" y="172"/>
                    </a:lnTo>
                    <a:lnTo>
                      <a:pt x="643" y="169"/>
                    </a:lnTo>
                    <a:lnTo>
                      <a:pt x="638" y="169"/>
                    </a:lnTo>
                    <a:lnTo>
                      <a:pt x="633" y="174"/>
                    </a:lnTo>
                    <a:lnTo>
                      <a:pt x="629" y="181"/>
                    </a:lnTo>
                    <a:lnTo>
                      <a:pt x="624" y="184"/>
                    </a:lnTo>
                    <a:lnTo>
                      <a:pt x="619" y="182"/>
                    </a:lnTo>
                    <a:lnTo>
                      <a:pt x="619" y="181"/>
                    </a:lnTo>
                    <a:lnTo>
                      <a:pt x="613" y="174"/>
                    </a:lnTo>
                    <a:lnTo>
                      <a:pt x="606" y="169"/>
                    </a:lnTo>
                    <a:lnTo>
                      <a:pt x="603" y="162"/>
                    </a:lnTo>
                    <a:lnTo>
                      <a:pt x="603" y="154"/>
                    </a:lnTo>
                    <a:lnTo>
                      <a:pt x="608" y="146"/>
                    </a:lnTo>
                    <a:lnTo>
                      <a:pt x="611" y="141"/>
                    </a:lnTo>
                    <a:lnTo>
                      <a:pt x="611" y="141"/>
                    </a:lnTo>
                    <a:close/>
                    <a:moveTo>
                      <a:pt x="616" y="0"/>
                    </a:moveTo>
                    <a:lnTo>
                      <a:pt x="613" y="3"/>
                    </a:lnTo>
                    <a:lnTo>
                      <a:pt x="616" y="5"/>
                    </a:lnTo>
                    <a:lnTo>
                      <a:pt x="618" y="1"/>
                    </a:lnTo>
                    <a:lnTo>
                      <a:pt x="616" y="0"/>
                    </a:lnTo>
                    <a:lnTo>
                      <a:pt x="616" y="0"/>
                    </a:lnTo>
                    <a:close/>
                    <a:moveTo>
                      <a:pt x="623" y="15"/>
                    </a:moveTo>
                    <a:lnTo>
                      <a:pt x="626" y="15"/>
                    </a:lnTo>
                    <a:lnTo>
                      <a:pt x="629" y="13"/>
                    </a:lnTo>
                    <a:lnTo>
                      <a:pt x="631" y="15"/>
                    </a:lnTo>
                    <a:lnTo>
                      <a:pt x="634" y="13"/>
                    </a:lnTo>
                    <a:lnTo>
                      <a:pt x="634" y="11"/>
                    </a:lnTo>
                    <a:lnTo>
                      <a:pt x="629" y="10"/>
                    </a:lnTo>
                    <a:lnTo>
                      <a:pt x="623" y="11"/>
                    </a:lnTo>
                    <a:lnTo>
                      <a:pt x="621" y="13"/>
                    </a:lnTo>
                    <a:lnTo>
                      <a:pt x="623" y="15"/>
                    </a:lnTo>
                    <a:lnTo>
                      <a:pt x="623" y="15"/>
                    </a:lnTo>
                    <a:close/>
                    <a:moveTo>
                      <a:pt x="586" y="36"/>
                    </a:moveTo>
                    <a:lnTo>
                      <a:pt x="584" y="40"/>
                    </a:lnTo>
                    <a:lnTo>
                      <a:pt x="586" y="43"/>
                    </a:lnTo>
                    <a:lnTo>
                      <a:pt x="586" y="40"/>
                    </a:lnTo>
                    <a:lnTo>
                      <a:pt x="586" y="36"/>
                    </a:lnTo>
                    <a:lnTo>
                      <a:pt x="586" y="36"/>
                    </a:lnTo>
                    <a:close/>
                    <a:moveTo>
                      <a:pt x="594" y="33"/>
                    </a:moveTo>
                    <a:lnTo>
                      <a:pt x="603" y="26"/>
                    </a:lnTo>
                    <a:lnTo>
                      <a:pt x="606" y="26"/>
                    </a:lnTo>
                    <a:lnTo>
                      <a:pt x="606" y="30"/>
                    </a:lnTo>
                    <a:lnTo>
                      <a:pt x="601" y="33"/>
                    </a:lnTo>
                    <a:lnTo>
                      <a:pt x="596" y="33"/>
                    </a:lnTo>
                    <a:lnTo>
                      <a:pt x="594" y="33"/>
                    </a:lnTo>
                    <a:lnTo>
                      <a:pt x="594" y="33"/>
                    </a:lnTo>
                    <a:close/>
                    <a:moveTo>
                      <a:pt x="545" y="56"/>
                    </a:moveTo>
                    <a:lnTo>
                      <a:pt x="546" y="58"/>
                    </a:lnTo>
                    <a:lnTo>
                      <a:pt x="543" y="58"/>
                    </a:lnTo>
                    <a:lnTo>
                      <a:pt x="545" y="56"/>
                    </a:lnTo>
                    <a:lnTo>
                      <a:pt x="545" y="56"/>
                    </a:lnTo>
                    <a:close/>
                    <a:moveTo>
                      <a:pt x="545" y="55"/>
                    </a:moveTo>
                    <a:lnTo>
                      <a:pt x="545" y="55"/>
                    </a:lnTo>
                    <a:lnTo>
                      <a:pt x="546" y="56"/>
                    </a:lnTo>
                    <a:lnTo>
                      <a:pt x="550" y="56"/>
                    </a:lnTo>
                    <a:lnTo>
                      <a:pt x="550" y="56"/>
                    </a:lnTo>
                    <a:lnTo>
                      <a:pt x="545" y="55"/>
                    </a:lnTo>
                    <a:lnTo>
                      <a:pt x="545" y="55"/>
                    </a:lnTo>
                    <a:close/>
                    <a:moveTo>
                      <a:pt x="548" y="66"/>
                    </a:moveTo>
                    <a:lnTo>
                      <a:pt x="543" y="68"/>
                    </a:lnTo>
                    <a:lnTo>
                      <a:pt x="546" y="68"/>
                    </a:lnTo>
                    <a:lnTo>
                      <a:pt x="548" y="66"/>
                    </a:lnTo>
                    <a:lnTo>
                      <a:pt x="548" y="66"/>
                    </a:lnTo>
                    <a:close/>
                    <a:moveTo>
                      <a:pt x="541" y="71"/>
                    </a:moveTo>
                    <a:lnTo>
                      <a:pt x="545" y="71"/>
                    </a:lnTo>
                    <a:lnTo>
                      <a:pt x="545" y="76"/>
                    </a:lnTo>
                    <a:lnTo>
                      <a:pt x="543" y="74"/>
                    </a:lnTo>
                    <a:lnTo>
                      <a:pt x="541" y="71"/>
                    </a:lnTo>
                    <a:lnTo>
                      <a:pt x="541" y="71"/>
                    </a:lnTo>
                    <a:close/>
                    <a:moveTo>
                      <a:pt x="511" y="229"/>
                    </a:moveTo>
                    <a:lnTo>
                      <a:pt x="513" y="229"/>
                    </a:lnTo>
                    <a:lnTo>
                      <a:pt x="513" y="236"/>
                    </a:lnTo>
                    <a:lnTo>
                      <a:pt x="511" y="236"/>
                    </a:lnTo>
                    <a:lnTo>
                      <a:pt x="511" y="231"/>
                    </a:lnTo>
                    <a:lnTo>
                      <a:pt x="511" y="229"/>
                    </a:lnTo>
                    <a:lnTo>
                      <a:pt x="511" y="229"/>
                    </a:lnTo>
                    <a:close/>
                    <a:moveTo>
                      <a:pt x="510" y="229"/>
                    </a:moveTo>
                    <a:lnTo>
                      <a:pt x="510" y="236"/>
                    </a:lnTo>
                    <a:lnTo>
                      <a:pt x="508" y="241"/>
                    </a:lnTo>
                    <a:lnTo>
                      <a:pt x="505" y="242"/>
                    </a:lnTo>
                    <a:lnTo>
                      <a:pt x="503" y="241"/>
                    </a:lnTo>
                    <a:lnTo>
                      <a:pt x="503" y="234"/>
                    </a:lnTo>
                    <a:lnTo>
                      <a:pt x="506" y="229"/>
                    </a:lnTo>
                    <a:lnTo>
                      <a:pt x="508" y="227"/>
                    </a:lnTo>
                    <a:lnTo>
                      <a:pt x="510" y="229"/>
                    </a:lnTo>
                    <a:lnTo>
                      <a:pt x="510" y="229"/>
                    </a:lnTo>
                    <a:close/>
                    <a:moveTo>
                      <a:pt x="342" y="159"/>
                    </a:moveTo>
                    <a:lnTo>
                      <a:pt x="347" y="161"/>
                    </a:lnTo>
                    <a:lnTo>
                      <a:pt x="349" y="162"/>
                    </a:lnTo>
                    <a:lnTo>
                      <a:pt x="347" y="164"/>
                    </a:lnTo>
                    <a:lnTo>
                      <a:pt x="342" y="162"/>
                    </a:lnTo>
                    <a:lnTo>
                      <a:pt x="340" y="161"/>
                    </a:lnTo>
                    <a:lnTo>
                      <a:pt x="342" y="159"/>
                    </a:lnTo>
                    <a:lnTo>
                      <a:pt x="342" y="159"/>
                    </a:lnTo>
                    <a:close/>
                    <a:moveTo>
                      <a:pt x="344" y="169"/>
                    </a:moveTo>
                    <a:lnTo>
                      <a:pt x="350" y="169"/>
                    </a:lnTo>
                    <a:lnTo>
                      <a:pt x="354" y="172"/>
                    </a:lnTo>
                    <a:lnTo>
                      <a:pt x="355" y="172"/>
                    </a:lnTo>
                    <a:lnTo>
                      <a:pt x="355" y="174"/>
                    </a:lnTo>
                    <a:lnTo>
                      <a:pt x="350" y="174"/>
                    </a:lnTo>
                    <a:lnTo>
                      <a:pt x="347" y="174"/>
                    </a:lnTo>
                    <a:lnTo>
                      <a:pt x="344" y="171"/>
                    </a:lnTo>
                    <a:lnTo>
                      <a:pt x="344" y="169"/>
                    </a:lnTo>
                    <a:lnTo>
                      <a:pt x="344" y="169"/>
                    </a:lnTo>
                    <a:close/>
                    <a:moveTo>
                      <a:pt x="349" y="176"/>
                    </a:moveTo>
                    <a:lnTo>
                      <a:pt x="355" y="176"/>
                    </a:lnTo>
                    <a:lnTo>
                      <a:pt x="359" y="179"/>
                    </a:lnTo>
                    <a:lnTo>
                      <a:pt x="354" y="182"/>
                    </a:lnTo>
                    <a:lnTo>
                      <a:pt x="350" y="184"/>
                    </a:lnTo>
                    <a:lnTo>
                      <a:pt x="349" y="181"/>
                    </a:lnTo>
                    <a:lnTo>
                      <a:pt x="350" y="179"/>
                    </a:lnTo>
                    <a:lnTo>
                      <a:pt x="350" y="179"/>
                    </a:lnTo>
                    <a:lnTo>
                      <a:pt x="349" y="176"/>
                    </a:lnTo>
                    <a:lnTo>
                      <a:pt x="349" y="176"/>
                    </a:lnTo>
                    <a:close/>
                    <a:moveTo>
                      <a:pt x="337" y="124"/>
                    </a:moveTo>
                    <a:lnTo>
                      <a:pt x="342" y="118"/>
                    </a:lnTo>
                    <a:lnTo>
                      <a:pt x="347" y="111"/>
                    </a:lnTo>
                    <a:lnTo>
                      <a:pt x="350" y="108"/>
                    </a:lnTo>
                    <a:lnTo>
                      <a:pt x="354" y="106"/>
                    </a:lnTo>
                    <a:lnTo>
                      <a:pt x="359" y="114"/>
                    </a:lnTo>
                    <a:lnTo>
                      <a:pt x="367" y="119"/>
                    </a:lnTo>
                    <a:lnTo>
                      <a:pt x="367" y="121"/>
                    </a:lnTo>
                    <a:lnTo>
                      <a:pt x="372" y="126"/>
                    </a:lnTo>
                    <a:lnTo>
                      <a:pt x="375" y="129"/>
                    </a:lnTo>
                    <a:lnTo>
                      <a:pt x="378" y="129"/>
                    </a:lnTo>
                    <a:lnTo>
                      <a:pt x="385" y="128"/>
                    </a:lnTo>
                    <a:lnTo>
                      <a:pt x="385" y="126"/>
                    </a:lnTo>
                    <a:lnTo>
                      <a:pt x="392" y="126"/>
                    </a:lnTo>
                    <a:lnTo>
                      <a:pt x="395" y="124"/>
                    </a:lnTo>
                    <a:lnTo>
                      <a:pt x="408" y="124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37" y="116"/>
                    </a:lnTo>
                    <a:lnTo>
                      <a:pt x="443" y="119"/>
                    </a:lnTo>
                    <a:lnTo>
                      <a:pt x="445" y="123"/>
                    </a:lnTo>
                    <a:lnTo>
                      <a:pt x="452" y="123"/>
                    </a:lnTo>
                    <a:lnTo>
                      <a:pt x="462" y="118"/>
                    </a:lnTo>
                    <a:lnTo>
                      <a:pt x="473" y="116"/>
                    </a:lnTo>
                    <a:lnTo>
                      <a:pt x="471" y="113"/>
                    </a:lnTo>
                    <a:lnTo>
                      <a:pt x="481" y="99"/>
                    </a:lnTo>
                    <a:lnTo>
                      <a:pt x="485" y="89"/>
                    </a:lnTo>
                    <a:lnTo>
                      <a:pt x="493" y="79"/>
                    </a:lnTo>
                    <a:lnTo>
                      <a:pt x="498" y="63"/>
                    </a:lnTo>
                    <a:lnTo>
                      <a:pt x="498" y="59"/>
                    </a:lnTo>
                    <a:lnTo>
                      <a:pt x="500" y="56"/>
                    </a:lnTo>
                    <a:lnTo>
                      <a:pt x="500" y="53"/>
                    </a:lnTo>
                    <a:lnTo>
                      <a:pt x="505" y="48"/>
                    </a:lnTo>
                    <a:lnTo>
                      <a:pt x="510" y="50"/>
                    </a:lnTo>
                    <a:lnTo>
                      <a:pt x="516" y="48"/>
                    </a:lnTo>
                    <a:lnTo>
                      <a:pt x="528" y="48"/>
                    </a:lnTo>
                    <a:lnTo>
                      <a:pt x="530" y="51"/>
                    </a:lnTo>
                    <a:lnTo>
                      <a:pt x="536" y="50"/>
                    </a:lnTo>
                    <a:lnTo>
                      <a:pt x="541" y="51"/>
                    </a:lnTo>
                    <a:lnTo>
                      <a:pt x="541" y="53"/>
                    </a:lnTo>
                    <a:lnTo>
                      <a:pt x="540" y="53"/>
                    </a:lnTo>
                    <a:lnTo>
                      <a:pt x="540" y="56"/>
                    </a:lnTo>
                    <a:lnTo>
                      <a:pt x="538" y="58"/>
                    </a:lnTo>
                    <a:lnTo>
                      <a:pt x="543" y="59"/>
                    </a:lnTo>
                    <a:lnTo>
                      <a:pt x="548" y="64"/>
                    </a:lnTo>
                    <a:lnTo>
                      <a:pt x="543" y="66"/>
                    </a:lnTo>
                    <a:lnTo>
                      <a:pt x="536" y="64"/>
                    </a:lnTo>
                    <a:lnTo>
                      <a:pt x="535" y="66"/>
                    </a:lnTo>
                    <a:lnTo>
                      <a:pt x="538" y="69"/>
                    </a:lnTo>
                    <a:lnTo>
                      <a:pt x="541" y="71"/>
                    </a:lnTo>
                    <a:lnTo>
                      <a:pt x="541" y="73"/>
                    </a:lnTo>
                    <a:lnTo>
                      <a:pt x="540" y="74"/>
                    </a:lnTo>
                    <a:lnTo>
                      <a:pt x="538" y="78"/>
                    </a:lnTo>
                    <a:lnTo>
                      <a:pt x="541" y="81"/>
                    </a:lnTo>
                    <a:lnTo>
                      <a:pt x="543" y="84"/>
                    </a:lnTo>
                    <a:lnTo>
                      <a:pt x="551" y="93"/>
                    </a:lnTo>
                    <a:lnTo>
                      <a:pt x="555" y="96"/>
                    </a:lnTo>
                    <a:lnTo>
                      <a:pt x="553" y="99"/>
                    </a:lnTo>
                    <a:lnTo>
                      <a:pt x="546" y="101"/>
                    </a:lnTo>
                    <a:lnTo>
                      <a:pt x="545" y="104"/>
                    </a:lnTo>
                    <a:lnTo>
                      <a:pt x="548" y="106"/>
                    </a:lnTo>
                    <a:lnTo>
                      <a:pt x="548" y="109"/>
                    </a:lnTo>
                    <a:lnTo>
                      <a:pt x="551" y="111"/>
                    </a:lnTo>
                    <a:lnTo>
                      <a:pt x="563" y="119"/>
                    </a:lnTo>
                    <a:lnTo>
                      <a:pt x="566" y="119"/>
                    </a:lnTo>
                    <a:lnTo>
                      <a:pt x="569" y="124"/>
                    </a:lnTo>
                    <a:lnTo>
                      <a:pt x="571" y="126"/>
                    </a:lnTo>
                    <a:lnTo>
                      <a:pt x="574" y="128"/>
                    </a:lnTo>
                    <a:lnTo>
                      <a:pt x="573" y="131"/>
                    </a:lnTo>
                    <a:lnTo>
                      <a:pt x="571" y="133"/>
                    </a:lnTo>
                    <a:lnTo>
                      <a:pt x="568" y="131"/>
                    </a:lnTo>
                    <a:lnTo>
                      <a:pt x="564" y="134"/>
                    </a:lnTo>
                    <a:lnTo>
                      <a:pt x="558" y="133"/>
                    </a:lnTo>
                    <a:lnTo>
                      <a:pt x="551" y="126"/>
                    </a:lnTo>
                    <a:lnTo>
                      <a:pt x="553" y="133"/>
                    </a:lnTo>
                    <a:lnTo>
                      <a:pt x="551" y="134"/>
                    </a:lnTo>
                    <a:lnTo>
                      <a:pt x="548" y="131"/>
                    </a:lnTo>
                    <a:lnTo>
                      <a:pt x="543" y="136"/>
                    </a:lnTo>
                    <a:lnTo>
                      <a:pt x="543" y="139"/>
                    </a:lnTo>
                    <a:lnTo>
                      <a:pt x="541" y="141"/>
                    </a:lnTo>
                    <a:lnTo>
                      <a:pt x="540" y="149"/>
                    </a:lnTo>
                    <a:lnTo>
                      <a:pt x="538" y="153"/>
                    </a:lnTo>
                    <a:lnTo>
                      <a:pt x="536" y="161"/>
                    </a:lnTo>
                    <a:lnTo>
                      <a:pt x="530" y="166"/>
                    </a:lnTo>
                    <a:lnTo>
                      <a:pt x="533" y="171"/>
                    </a:lnTo>
                    <a:lnTo>
                      <a:pt x="530" y="174"/>
                    </a:lnTo>
                    <a:lnTo>
                      <a:pt x="525" y="179"/>
                    </a:lnTo>
                    <a:lnTo>
                      <a:pt x="523" y="174"/>
                    </a:lnTo>
                    <a:lnTo>
                      <a:pt x="521" y="174"/>
                    </a:lnTo>
                    <a:lnTo>
                      <a:pt x="521" y="176"/>
                    </a:lnTo>
                    <a:lnTo>
                      <a:pt x="521" y="181"/>
                    </a:lnTo>
                    <a:lnTo>
                      <a:pt x="518" y="186"/>
                    </a:lnTo>
                    <a:lnTo>
                      <a:pt x="516" y="189"/>
                    </a:lnTo>
                    <a:lnTo>
                      <a:pt x="513" y="191"/>
                    </a:lnTo>
                    <a:lnTo>
                      <a:pt x="510" y="191"/>
                    </a:lnTo>
                    <a:lnTo>
                      <a:pt x="510" y="192"/>
                    </a:lnTo>
                    <a:lnTo>
                      <a:pt x="508" y="194"/>
                    </a:lnTo>
                    <a:lnTo>
                      <a:pt x="515" y="194"/>
                    </a:lnTo>
                    <a:lnTo>
                      <a:pt x="515" y="196"/>
                    </a:lnTo>
                    <a:lnTo>
                      <a:pt x="515" y="199"/>
                    </a:lnTo>
                    <a:lnTo>
                      <a:pt x="511" y="201"/>
                    </a:lnTo>
                    <a:lnTo>
                      <a:pt x="513" y="202"/>
                    </a:lnTo>
                    <a:lnTo>
                      <a:pt x="516" y="202"/>
                    </a:lnTo>
                    <a:lnTo>
                      <a:pt x="516" y="204"/>
                    </a:lnTo>
                    <a:lnTo>
                      <a:pt x="515" y="207"/>
                    </a:lnTo>
                    <a:lnTo>
                      <a:pt x="511" y="207"/>
                    </a:lnTo>
                    <a:lnTo>
                      <a:pt x="510" y="206"/>
                    </a:lnTo>
                    <a:lnTo>
                      <a:pt x="510" y="207"/>
                    </a:lnTo>
                    <a:lnTo>
                      <a:pt x="513" y="209"/>
                    </a:lnTo>
                    <a:lnTo>
                      <a:pt x="513" y="211"/>
                    </a:lnTo>
                    <a:lnTo>
                      <a:pt x="510" y="217"/>
                    </a:lnTo>
                    <a:lnTo>
                      <a:pt x="508" y="217"/>
                    </a:lnTo>
                    <a:lnTo>
                      <a:pt x="506" y="216"/>
                    </a:lnTo>
                    <a:lnTo>
                      <a:pt x="505" y="222"/>
                    </a:lnTo>
                    <a:lnTo>
                      <a:pt x="505" y="226"/>
                    </a:lnTo>
                    <a:lnTo>
                      <a:pt x="500" y="234"/>
                    </a:lnTo>
                    <a:lnTo>
                      <a:pt x="491" y="239"/>
                    </a:lnTo>
                    <a:lnTo>
                      <a:pt x="485" y="239"/>
                    </a:lnTo>
                    <a:lnTo>
                      <a:pt x="475" y="244"/>
                    </a:lnTo>
                    <a:lnTo>
                      <a:pt x="470" y="244"/>
                    </a:lnTo>
                    <a:lnTo>
                      <a:pt x="468" y="239"/>
                    </a:lnTo>
                    <a:lnTo>
                      <a:pt x="470" y="236"/>
                    </a:lnTo>
                    <a:lnTo>
                      <a:pt x="466" y="232"/>
                    </a:lnTo>
                    <a:lnTo>
                      <a:pt x="466" y="231"/>
                    </a:lnTo>
                    <a:lnTo>
                      <a:pt x="465" y="231"/>
                    </a:lnTo>
                    <a:lnTo>
                      <a:pt x="462" y="227"/>
                    </a:lnTo>
                    <a:lnTo>
                      <a:pt x="460" y="229"/>
                    </a:lnTo>
                    <a:lnTo>
                      <a:pt x="455" y="227"/>
                    </a:lnTo>
                    <a:lnTo>
                      <a:pt x="453" y="224"/>
                    </a:lnTo>
                    <a:lnTo>
                      <a:pt x="452" y="227"/>
                    </a:lnTo>
                    <a:lnTo>
                      <a:pt x="453" y="231"/>
                    </a:lnTo>
                    <a:lnTo>
                      <a:pt x="448" y="229"/>
                    </a:lnTo>
                    <a:lnTo>
                      <a:pt x="447" y="227"/>
                    </a:lnTo>
                    <a:lnTo>
                      <a:pt x="447" y="224"/>
                    </a:lnTo>
                    <a:lnTo>
                      <a:pt x="445" y="222"/>
                    </a:lnTo>
                    <a:lnTo>
                      <a:pt x="442" y="224"/>
                    </a:lnTo>
                    <a:lnTo>
                      <a:pt x="437" y="221"/>
                    </a:lnTo>
                    <a:lnTo>
                      <a:pt x="435" y="222"/>
                    </a:lnTo>
                    <a:lnTo>
                      <a:pt x="430" y="226"/>
                    </a:lnTo>
                    <a:lnTo>
                      <a:pt x="425" y="226"/>
                    </a:lnTo>
                    <a:lnTo>
                      <a:pt x="423" y="227"/>
                    </a:lnTo>
                    <a:lnTo>
                      <a:pt x="420" y="229"/>
                    </a:lnTo>
                    <a:lnTo>
                      <a:pt x="418" y="227"/>
                    </a:lnTo>
                    <a:lnTo>
                      <a:pt x="415" y="227"/>
                    </a:lnTo>
                    <a:lnTo>
                      <a:pt x="410" y="234"/>
                    </a:lnTo>
                    <a:lnTo>
                      <a:pt x="405" y="234"/>
                    </a:lnTo>
                    <a:lnTo>
                      <a:pt x="407" y="231"/>
                    </a:lnTo>
                    <a:lnTo>
                      <a:pt x="405" y="222"/>
                    </a:lnTo>
                    <a:lnTo>
                      <a:pt x="403" y="217"/>
                    </a:lnTo>
                    <a:lnTo>
                      <a:pt x="405" y="214"/>
                    </a:lnTo>
                    <a:lnTo>
                      <a:pt x="403" y="211"/>
                    </a:lnTo>
                    <a:lnTo>
                      <a:pt x="403" y="212"/>
                    </a:lnTo>
                    <a:lnTo>
                      <a:pt x="402" y="217"/>
                    </a:lnTo>
                    <a:lnTo>
                      <a:pt x="398" y="219"/>
                    </a:lnTo>
                    <a:lnTo>
                      <a:pt x="395" y="217"/>
                    </a:lnTo>
                    <a:lnTo>
                      <a:pt x="392" y="219"/>
                    </a:lnTo>
                    <a:lnTo>
                      <a:pt x="385" y="221"/>
                    </a:lnTo>
                    <a:lnTo>
                      <a:pt x="382" y="219"/>
                    </a:lnTo>
                    <a:lnTo>
                      <a:pt x="377" y="219"/>
                    </a:lnTo>
                    <a:lnTo>
                      <a:pt x="375" y="216"/>
                    </a:lnTo>
                    <a:lnTo>
                      <a:pt x="372" y="219"/>
                    </a:lnTo>
                    <a:lnTo>
                      <a:pt x="368" y="219"/>
                    </a:lnTo>
                    <a:lnTo>
                      <a:pt x="365" y="212"/>
                    </a:lnTo>
                    <a:lnTo>
                      <a:pt x="365" y="207"/>
                    </a:lnTo>
                    <a:lnTo>
                      <a:pt x="363" y="197"/>
                    </a:lnTo>
                    <a:lnTo>
                      <a:pt x="360" y="196"/>
                    </a:lnTo>
                    <a:lnTo>
                      <a:pt x="359" y="192"/>
                    </a:lnTo>
                    <a:lnTo>
                      <a:pt x="362" y="189"/>
                    </a:lnTo>
                    <a:lnTo>
                      <a:pt x="365" y="186"/>
                    </a:lnTo>
                    <a:lnTo>
                      <a:pt x="363" y="181"/>
                    </a:lnTo>
                    <a:lnTo>
                      <a:pt x="362" y="177"/>
                    </a:lnTo>
                    <a:lnTo>
                      <a:pt x="355" y="171"/>
                    </a:lnTo>
                    <a:lnTo>
                      <a:pt x="349" y="167"/>
                    </a:lnTo>
                    <a:lnTo>
                      <a:pt x="344" y="167"/>
                    </a:lnTo>
                    <a:lnTo>
                      <a:pt x="344" y="166"/>
                    </a:lnTo>
                    <a:lnTo>
                      <a:pt x="347" y="164"/>
                    </a:lnTo>
                    <a:lnTo>
                      <a:pt x="352" y="161"/>
                    </a:lnTo>
                    <a:lnTo>
                      <a:pt x="360" y="159"/>
                    </a:lnTo>
                    <a:lnTo>
                      <a:pt x="365" y="156"/>
                    </a:lnTo>
                    <a:lnTo>
                      <a:pt x="370" y="156"/>
                    </a:lnTo>
                    <a:lnTo>
                      <a:pt x="365" y="154"/>
                    </a:lnTo>
                    <a:lnTo>
                      <a:pt x="359" y="159"/>
                    </a:lnTo>
                    <a:lnTo>
                      <a:pt x="352" y="159"/>
                    </a:lnTo>
                    <a:lnTo>
                      <a:pt x="349" y="161"/>
                    </a:lnTo>
                    <a:lnTo>
                      <a:pt x="344" y="159"/>
                    </a:lnTo>
                    <a:lnTo>
                      <a:pt x="340" y="154"/>
                    </a:lnTo>
                    <a:lnTo>
                      <a:pt x="342" y="153"/>
                    </a:lnTo>
                    <a:lnTo>
                      <a:pt x="345" y="154"/>
                    </a:lnTo>
                    <a:lnTo>
                      <a:pt x="342" y="151"/>
                    </a:lnTo>
                    <a:lnTo>
                      <a:pt x="335" y="143"/>
                    </a:lnTo>
                    <a:lnTo>
                      <a:pt x="335" y="134"/>
                    </a:lnTo>
                    <a:lnTo>
                      <a:pt x="339" y="133"/>
                    </a:lnTo>
                    <a:lnTo>
                      <a:pt x="339" y="129"/>
                    </a:lnTo>
                    <a:lnTo>
                      <a:pt x="337" y="126"/>
                    </a:lnTo>
                    <a:lnTo>
                      <a:pt x="337" y="124"/>
                    </a:lnTo>
                    <a:lnTo>
                      <a:pt x="337" y="124"/>
                    </a:lnTo>
                    <a:close/>
                    <a:moveTo>
                      <a:pt x="965" y="171"/>
                    </a:moveTo>
                    <a:lnTo>
                      <a:pt x="961" y="171"/>
                    </a:lnTo>
                    <a:lnTo>
                      <a:pt x="965" y="174"/>
                    </a:lnTo>
                    <a:lnTo>
                      <a:pt x="968" y="174"/>
                    </a:lnTo>
                    <a:lnTo>
                      <a:pt x="965" y="171"/>
                    </a:lnTo>
                    <a:lnTo>
                      <a:pt x="965" y="171"/>
                    </a:lnTo>
                    <a:close/>
                    <a:moveTo>
                      <a:pt x="975" y="184"/>
                    </a:moveTo>
                    <a:lnTo>
                      <a:pt x="970" y="184"/>
                    </a:lnTo>
                    <a:lnTo>
                      <a:pt x="973" y="186"/>
                    </a:lnTo>
                    <a:lnTo>
                      <a:pt x="975" y="184"/>
                    </a:lnTo>
                    <a:lnTo>
                      <a:pt x="975" y="184"/>
                    </a:lnTo>
                    <a:close/>
                    <a:moveTo>
                      <a:pt x="980" y="186"/>
                    </a:moveTo>
                    <a:lnTo>
                      <a:pt x="980" y="186"/>
                    </a:lnTo>
                    <a:lnTo>
                      <a:pt x="981" y="187"/>
                    </a:lnTo>
                    <a:lnTo>
                      <a:pt x="988" y="191"/>
                    </a:lnTo>
                    <a:lnTo>
                      <a:pt x="1000" y="192"/>
                    </a:lnTo>
                    <a:lnTo>
                      <a:pt x="1010" y="191"/>
                    </a:lnTo>
                    <a:lnTo>
                      <a:pt x="1013" y="189"/>
                    </a:lnTo>
                    <a:lnTo>
                      <a:pt x="1005" y="187"/>
                    </a:lnTo>
                    <a:lnTo>
                      <a:pt x="1000" y="189"/>
                    </a:lnTo>
                    <a:lnTo>
                      <a:pt x="993" y="187"/>
                    </a:lnTo>
                    <a:lnTo>
                      <a:pt x="988" y="189"/>
                    </a:lnTo>
                    <a:lnTo>
                      <a:pt x="980" y="186"/>
                    </a:lnTo>
                    <a:lnTo>
                      <a:pt x="980" y="186"/>
                    </a:lnTo>
                    <a:close/>
                    <a:moveTo>
                      <a:pt x="980" y="166"/>
                    </a:moveTo>
                    <a:lnTo>
                      <a:pt x="983" y="169"/>
                    </a:lnTo>
                    <a:lnTo>
                      <a:pt x="983" y="166"/>
                    </a:lnTo>
                    <a:lnTo>
                      <a:pt x="985" y="166"/>
                    </a:lnTo>
                    <a:lnTo>
                      <a:pt x="990" y="171"/>
                    </a:lnTo>
                    <a:lnTo>
                      <a:pt x="990" y="174"/>
                    </a:lnTo>
                    <a:lnTo>
                      <a:pt x="993" y="174"/>
                    </a:lnTo>
                    <a:lnTo>
                      <a:pt x="995" y="174"/>
                    </a:lnTo>
                    <a:lnTo>
                      <a:pt x="996" y="176"/>
                    </a:lnTo>
                    <a:lnTo>
                      <a:pt x="1001" y="174"/>
                    </a:lnTo>
                    <a:lnTo>
                      <a:pt x="1000" y="172"/>
                    </a:lnTo>
                    <a:lnTo>
                      <a:pt x="996" y="171"/>
                    </a:lnTo>
                    <a:lnTo>
                      <a:pt x="993" y="167"/>
                    </a:lnTo>
                    <a:lnTo>
                      <a:pt x="990" y="164"/>
                    </a:lnTo>
                    <a:lnTo>
                      <a:pt x="985" y="164"/>
                    </a:lnTo>
                    <a:lnTo>
                      <a:pt x="978" y="162"/>
                    </a:lnTo>
                    <a:lnTo>
                      <a:pt x="980" y="166"/>
                    </a:lnTo>
                    <a:lnTo>
                      <a:pt x="980" y="166"/>
                    </a:lnTo>
                    <a:close/>
                    <a:moveTo>
                      <a:pt x="908" y="274"/>
                    </a:moveTo>
                    <a:lnTo>
                      <a:pt x="910" y="279"/>
                    </a:lnTo>
                    <a:lnTo>
                      <a:pt x="910" y="282"/>
                    </a:lnTo>
                    <a:lnTo>
                      <a:pt x="912" y="284"/>
                    </a:lnTo>
                    <a:lnTo>
                      <a:pt x="912" y="279"/>
                    </a:lnTo>
                    <a:lnTo>
                      <a:pt x="908" y="274"/>
                    </a:lnTo>
                    <a:lnTo>
                      <a:pt x="908" y="274"/>
                    </a:lnTo>
                    <a:close/>
                    <a:moveTo>
                      <a:pt x="922" y="270"/>
                    </a:moveTo>
                    <a:lnTo>
                      <a:pt x="917" y="272"/>
                    </a:lnTo>
                    <a:lnTo>
                      <a:pt x="915" y="282"/>
                    </a:lnTo>
                    <a:lnTo>
                      <a:pt x="913" y="284"/>
                    </a:lnTo>
                    <a:lnTo>
                      <a:pt x="917" y="284"/>
                    </a:lnTo>
                    <a:lnTo>
                      <a:pt x="920" y="274"/>
                    </a:lnTo>
                    <a:lnTo>
                      <a:pt x="922" y="270"/>
                    </a:lnTo>
                    <a:lnTo>
                      <a:pt x="922" y="270"/>
                    </a:lnTo>
                    <a:close/>
                    <a:moveTo>
                      <a:pt x="960" y="300"/>
                    </a:moveTo>
                    <a:lnTo>
                      <a:pt x="958" y="302"/>
                    </a:lnTo>
                    <a:lnTo>
                      <a:pt x="960" y="302"/>
                    </a:lnTo>
                    <a:lnTo>
                      <a:pt x="960" y="302"/>
                    </a:lnTo>
                    <a:lnTo>
                      <a:pt x="960" y="300"/>
                    </a:lnTo>
                    <a:lnTo>
                      <a:pt x="960" y="300"/>
                    </a:lnTo>
                    <a:close/>
                    <a:moveTo>
                      <a:pt x="947" y="292"/>
                    </a:moveTo>
                    <a:lnTo>
                      <a:pt x="943" y="290"/>
                    </a:lnTo>
                    <a:lnTo>
                      <a:pt x="945" y="292"/>
                    </a:lnTo>
                    <a:lnTo>
                      <a:pt x="945" y="297"/>
                    </a:lnTo>
                    <a:lnTo>
                      <a:pt x="947" y="299"/>
                    </a:lnTo>
                    <a:lnTo>
                      <a:pt x="948" y="300"/>
                    </a:lnTo>
                    <a:lnTo>
                      <a:pt x="947" y="299"/>
                    </a:lnTo>
                    <a:lnTo>
                      <a:pt x="945" y="299"/>
                    </a:lnTo>
                    <a:lnTo>
                      <a:pt x="943" y="304"/>
                    </a:lnTo>
                    <a:lnTo>
                      <a:pt x="947" y="305"/>
                    </a:lnTo>
                    <a:lnTo>
                      <a:pt x="948" y="305"/>
                    </a:lnTo>
                    <a:lnTo>
                      <a:pt x="953" y="302"/>
                    </a:lnTo>
                    <a:lnTo>
                      <a:pt x="953" y="299"/>
                    </a:lnTo>
                    <a:lnTo>
                      <a:pt x="952" y="299"/>
                    </a:lnTo>
                    <a:lnTo>
                      <a:pt x="950" y="295"/>
                    </a:lnTo>
                    <a:lnTo>
                      <a:pt x="947" y="292"/>
                    </a:lnTo>
                    <a:lnTo>
                      <a:pt x="947" y="292"/>
                    </a:lnTo>
                    <a:close/>
                    <a:moveTo>
                      <a:pt x="955" y="294"/>
                    </a:moveTo>
                    <a:lnTo>
                      <a:pt x="955" y="294"/>
                    </a:lnTo>
                    <a:lnTo>
                      <a:pt x="953" y="294"/>
                    </a:lnTo>
                    <a:lnTo>
                      <a:pt x="953" y="297"/>
                    </a:lnTo>
                    <a:lnTo>
                      <a:pt x="955" y="297"/>
                    </a:lnTo>
                    <a:lnTo>
                      <a:pt x="958" y="297"/>
                    </a:lnTo>
                    <a:lnTo>
                      <a:pt x="957" y="295"/>
                    </a:lnTo>
                    <a:lnTo>
                      <a:pt x="955" y="294"/>
                    </a:lnTo>
                    <a:lnTo>
                      <a:pt x="955" y="294"/>
                    </a:lnTo>
                    <a:close/>
                    <a:moveTo>
                      <a:pt x="948" y="287"/>
                    </a:moveTo>
                    <a:lnTo>
                      <a:pt x="945" y="285"/>
                    </a:lnTo>
                    <a:lnTo>
                      <a:pt x="945" y="289"/>
                    </a:lnTo>
                    <a:lnTo>
                      <a:pt x="948" y="292"/>
                    </a:lnTo>
                    <a:lnTo>
                      <a:pt x="952" y="294"/>
                    </a:lnTo>
                    <a:lnTo>
                      <a:pt x="953" y="292"/>
                    </a:lnTo>
                    <a:lnTo>
                      <a:pt x="948" y="289"/>
                    </a:lnTo>
                    <a:lnTo>
                      <a:pt x="948" y="287"/>
                    </a:lnTo>
                    <a:lnTo>
                      <a:pt x="948" y="287"/>
                    </a:lnTo>
                    <a:close/>
                    <a:moveTo>
                      <a:pt x="957" y="284"/>
                    </a:moveTo>
                    <a:lnTo>
                      <a:pt x="953" y="285"/>
                    </a:lnTo>
                    <a:lnTo>
                      <a:pt x="950" y="287"/>
                    </a:lnTo>
                    <a:lnTo>
                      <a:pt x="950" y="289"/>
                    </a:lnTo>
                    <a:lnTo>
                      <a:pt x="955" y="292"/>
                    </a:lnTo>
                    <a:lnTo>
                      <a:pt x="957" y="292"/>
                    </a:lnTo>
                    <a:lnTo>
                      <a:pt x="960" y="290"/>
                    </a:lnTo>
                    <a:lnTo>
                      <a:pt x="960" y="287"/>
                    </a:lnTo>
                    <a:lnTo>
                      <a:pt x="960" y="287"/>
                    </a:lnTo>
                    <a:lnTo>
                      <a:pt x="960" y="285"/>
                    </a:lnTo>
                    <a:lnTo>
                      <a:pt x="958" y="284"/>
                    </a:lnTo>
                    <a:lnTo>
                      <a:pt x="957" y="284"/>
                    </a:lnTo>
                    <a:lnTo>
                      <a:pt x="957" y="284"/>
                    </a:lnTo>
                    <a:close/>
                    <a:moveTo>
                      <a:pt x="948" y="279"/>
                    </a:moveTo>
                    <a:lnTo>
                      <a:pt x="947" y="279"/>
                    </a:lnTo>
                    <a:lnTo>
                      <a:pt x="945" y="280"/>
                    </a:lnTo>
                    <a:lnTo>
                      <a:pt x="948" y="280"/>
                    </a:lnTo>
                    <a:lnTo>
                      <a:pt x="948" y="279"/>
                    </a:lnTo>
                    <a:lnTo>
                      <a:pt x="948" y="279"/>
                    </a:lnTo>
                    <a:close/>
                    <a:moveTo>
                      <a:pt x="955" y="272"/>
                    </a:moveTo>
                    <a:lnTo>
                      <a:pt x="957" y="275"/>
                    </a:lnTo>
                    <a:lnTo>
                      <a:pt x="960" y="275"/>
                    </a:lnTo>
                    <a:lnTo>
                      <a:pt x="957" y="272"/>
                    </a:lnTo>
                    <a:lnTo>
                      <a:pt x="955" y="272"/>
                    </a:lnTo>
                    <a:lnTo>
                      <a:pt x="955" y="272"/>
                    </a:lnTo>
                    <a:close/>
                    <a:moveTo>
                      <a:pt x="955" y="274"/>
                    </a:moveTo>
                    <a:lnTo>
                      <a:pt x="952" y="274"/>
                    </a:lnTo>
                    <a:lnTo>
                      <a:pt x="950" y="277"/>
                    </a:lnTo>
                    <a:lnTo>
                      <a:pt x="948" y="277"/>
                    </a:lnTo>
                    <a:lnTo>
                      <a:pt x="950" y="279"/>
                    </a:lnTo>
                    <a:lnTo>
                      <a:pt x="950" y="280"/>
                    </a:lnTo>
                    <a:lnTo>
                      <a:pt x="953" y="279"/>
                    </a:lnTo>
                    <a:lnTo>
                      <a:pt x="950" y="282"/>
                    </a:lnTo>
                    <a:lnTo>
                      <a:pt x="950" y="284"/>
                    </a:lnTo>
                    <a:lnTo>
                      <a:pt x="952" y="284"/>
                    </a:lnTo>
                    <a:lnTo>
                      <a:pt x="955" y="282"/>
                    </a:lnTo>
                    <a:lnTo>
                      <a:pt x="958" y="282"/>
                    </a:lnTo>
                    <a:lnTo>
                      <a:pt x="960" y="280"/>
                    </a:lnTo>
                    <a:lnTo>
                      <a:pt x="958" y="275"/>
                    </a:lnTo>
                    <a:lnTo>
                      <a:pt x="957" y="275"/>
                    </a:lnTo>
                    <a:lnTo>
                      <a:pt x="955" y="274"/>
                    </a:lnTo>
                    <a:lnTo>
                      <a:pt x="955" y="274"/>
                    </a:lnTo>
                    <a:close/>
                    <a:moveTo>
                      <a:pt x="890" y="309"/>
                    </a:moveTo>
                    <a:lnTo>
                      <a:pt x="895" y="307"/>
                    </a:lnTo>
                    <a:lnTo>
                      <a:pt x="893" y="305"/>
                    </a:lnTo>
                    <a:lnTo>
                      <a:pt x="890" y="309"/>
                    </a:lnTo>
                    <a:lnTo>
                      <a:pt x="890" y="309"/>
                    </a:lnTo>
                    <a:close/>
                    <a:moveTo>
                      <a:pt x="887" y="310"/>
                    </a:moveTo>
                    <a:lnTo>
                      <a:pt x="892" y="314"/>
                    </a:lnTo>
                    <a:lnTo>
                      <a:pt x="890" y="310"/>
                    </a:lnTo>
                    <a:lnTo>
                      <a:pt x="887" y="310"/>
                    </a:lnTo>
                    <a:lnTo>
                      <a:pt x="887" y="310"/>
                    </a:lnTo>
                    <a:close/>
                    <a:moveTo>
                      <a:pt x="865" y="319"/>
                    </a:moveTo>
                    <a:lnTo>
                      <a:pt x="863" y="320"/>
                    </a:lnTo>
                    <a:lnTo>
                      <a:pt x="865" y="320"/>
                    </a:lnTo>
                    <a:lnTo>
                      <a:pt x="865" y="320"/>
                    </a:lnTo>
                    <a:lnTo>
                      <a:pt x="865" y="319"/>
                    </a:lnTo>
                    <a:lnTo>
                      <a:pt x="865" y="319"/>
                    </a:lnTo>
                    <a:close/>
                    <a:moveTo>
                      <a:pt x="872" y="317"/>
                    </a:moveTo>
                    <a:lnTo>
                      <a:pt x="865" y="317"/>
                    </a:lnTo>
                    <a:lnTo>
                      <a:pt x="868" y="319"/>
                    </a:lnTo>
                    <a:lnTo>
                      <a:pt x="872" y="319"/>
                    </a:lnTo>
                    <a:lnTo>
                      <a:pt x="872" y="317"/>
                    </a:lnTo>
                    <a:lnTo>
                      <a:pt x="872" y="317"/>
                    </a:lnTo>
                    <a:close/>
                    <a:moveTo>
                      <a:pt x="872" y="334"/>
                    </a:moveTo>
                    <a:lnTo>
                      <a:pt x="870" y="332"/>
                    </a:lnTo>
                    <a:lnTo>
                      <a:pt x="865" y="335"/>
                    </a:lnTo>
                    <a:lnTo>
                      <a:pt x="865" y="337"/>
                    </a:lnTo>
                    <a:lnTo>
                      <a:pt x="868" y="337"/>
                    </a:lnTo>
                    <a:lnTo>
                      <a:pt x="872" y="334"/>
                    </a:lnTo>
                    <a:lnTo>
                      <a:pt x="872" y="334"/>
                    </a:lnTo>
                    <a:lnTo>
                      <a:pt x="872" y="334"/>
                    </a:lnTo>
                    <a:close/>
                    <a:moveTo>
                      <a:pt x="880" y="315"/>
                    </a:moveTo>
                    <a:lnTo>
                      <a:pt x="873" y="320"/>
                    </a:lnTo>
                    <a:lnTo>
                      <a:pt x="873" y="322"/>
                    </a:lnTo>
                    <a:lnTo>
                      <a:pt x="873" y="324"/>
                    </a:lnTo>
                    <a:lnTo>
                      <a:pt x="872" y="325"/>
                    </a:lnTo>
                    <a:lnTo>
                      <a:pt x="872" y="329"/>
                    </a:lnTo>
                    <a:lnTo>
                      <a:pt x="875" y="332"/>
                    </a:lnTo>
                    <a:lnTo>
                      <a:pt x="878" y="330"/>
                    </a:lnTo>
                    <a:lnTo>
                      <a:pt x="883" y="325"/>
                    </a:lnTo>
                    <a:lnTo>
                      <a:pt x="885" y="319"/>
                    </a:lnTo>
                    <a:lnTo>
                      <a:pt x="883" y="315"/>
                    </a:lnTo>
                    <a:lnTo>
                      <a:pt x="885" y="314"/>
                    </a:lnTo>
                    <a:lnTo>
                      <a:pt x="885" y="312"/>
                    </a:lnTo>
                    <a:lnTo>
                      <a:pt x="882" y="312"/>
                    </a:lnTo>
                    <a:lnTo>
                      <a:pt x="880" y="314"/>
                    </a:lnTo>
                    <a:lnTo>
                      <a:pt x="880" y="315"/>
                    </a:lnTo>
                    <a:lnTo>
                      <a:pt x="880" y="315"/>
                    </a:lnTo>
                    <a:close/>
                    <a:moveTo>
                      <a:pt x="844" y="294"/>
                    </a:moveTo>
                    <a:lnTo>
                      <a:pt x="847" y="292"/>
                    </a:lnTo>
                    <a:lnTo>
                      <a:pt x="844" y="290"/>
                    </a:lnTo>
                    <a:lnTo>
                      <a:pt x="844" y="294"/>
                    </a:lnTo>
                    <a:lnTo>
                      <a:pt x="844" y="294"/>
                    </a:lnTo>
                    <a:close/>
                    <a:moveTo>
                      <a:pt x="832" y="300"/>
                    </a:moveTo>
                    <a:lnTo>
                      <a:pt x="830" y="302"/>
                    </a:lnTo>
                    <a:lnTo>
                      <a:pt x="834" y="302"/>
                    </a:lnTo>
                    <a:lnTo>
                      <a:pt x="832" y="300"/>
                    </a:lnTo>
                    <a:lnTo>
                      <a:pt x="832" y="300"/>
                    </a:lnTo>
                    <a:close/>
                    <a:moveTo>
                      <a:pt x="840" y="334"/>
                    </a:moveTo>
                    <a:lnTo>
                      <a:pt x="835" y="335"/>
                    </a:lnTo>
                    <a:lnTo>
                      <a:pt x="839" y="335"/>
                    </a:lnTo>
                    <a:lnTo>
                      <a:pt x="840" y="334"/>
                    </a:lnTo>
                    <a:lnTo>
                      <a:pt x="840" y="334"/>
                    </a:lnTo>
                    <a:close/>
                    <a:moveTo>
                      <a:pt x="834" y="327"/>
                    </a:moveTo>
                    <a:lnTo>
                      <a:pt x="835" y="325"/>
                    </a:lnTo>
                    <a:lnTo>
                      <a:pt x="839" y="327"/>
                    </a:lnTo>
                    <a:lnTo>
                      <a:pt x="840" y="330"/>
                    </a:lnTo>
                    <a:lnTo>
                      <a:pt x="837" y="332"/>
                    </a:lnTo>
                    <a:lnTo>
                      <a:pt x="834" y="329"/>
                    </a:lnTo>
                    <a:lnTo>
                      <a:pt x="834" y="327"/>
                    </a:lnTo>
                    <a:lnTo>
                      <a:pt x="834" y="327"/>
                    </a:lnTo>
                    <a:close/>
                    <a:moveTo>
                      <a:pt x="807" y="312"/>
                    </a:moveTo>
                    <a:lnTo>
                      <a:pt x="809" y="310"/>
                    </a:lnTo>
                    <a:lnTo>
                      <a:pt x="812" y="312"/>
                    </a:lnTo>
                    <a:lnTo>
                      <a:pt x="810" y="314"/>
                    </a:lnTo>
                    <a:lnTo>
                      <a:pt x="807" y="314"/>
                    </a:lnTo>
                    <a:lnTo>
                      <a:pt x="807" y="312"/>
                    </a:lnTo>
                    <a:lnTo>
                      <a:pt x="807" y="312"/>
                    </a:lnTo>
                    <a:close/>
                    <a:moveTo>
                      <a:pt x="812" y="337"/>
                    </a:moveTo>
                    <a:lnTo>
                      <a:pt x="817" y="337"/>
                    </a:lnTo>
                    <a:lnTo>
                      <a:pt x="819" y="339"/>
                    </a:lnTo>
                    <a:lnTo>
                      <a:pt x="815" y="339"/>
                    </a:lnTo>
                    <a:lnTo>
                      <a:pt x="812" y="337"/>
                    </a:lnTo>
                    <a:lnTo>
                      <a:pt x="812" y="337"/>
                    </a:lnTo>
                    <a:close/>
                    <a:moveTo>
                      <a:pt x="775" y="322"/>
                    </a:moveTo>
                    <a:lnTo>
                      <a:pt x="780" y="319"/>
                    </a:lnTo>
                    <a:lnTo>
                      <a:pt x="777" y="319"/>
                    </a:lnTo>
                    <a:lnTo>
                      <a:pt x="775" y="320"/>
                    </a:lnTo>
                    <a:lnTo>
                      <a:pt x="775" y="322"/>
                    </a:lnTo>
                    <a:lnTo>
                      <a:pt x="775" y="322"/>
                    </a:lnTo>
                    <a:close/>
                    <a:moveTo>
                      <a:pt x="789" y="335"/>
                    </a:moveTo>
                    <a:lnTo>
                      <a:pt x="795" y="335"/>
                    </a:lnTo>
                    <a:lnTo>
                      <a:pt x="799" y="334"/>
                    </a:lnTo>
                    <a:lnTo>
                      <a:pt x="799" y="337"/>
                    </a:lnTo>
                    <a:lnTo>
                      <a:pt x="794" y="339"/>
                    </a:lnTo>
                    <a:lnTo>
                      <a:pt x="789" y="337"/>
                    </a:lnTo>
                    <a:lnTo>
                      <a:pt x="789" y="335"/>
                    </a:lnTo>
                    <a:lnTo>
                      <a:pt x="789" y="335"/>
                    </a:lnTo>
                    <a:close/>
                    <a:moveTo>
                      <a:pt x="780" y="337"/>
                    </a:moveTo>
                    <a:lnTo>
                      <a:pt x="784" y="335"/>
                    </a:lnTo>
                    <a:lnTo>
                      <a:pt x="784" y="339"/>
                    </a:lnTo>
                    <a:lnTo>
                      <a:pt x="780" y="337"/>
                    </a:lnTo>
                    <a:lnTo>
                      <a:pt x="780" y="337"/>
                    </a:lnTo>
                    <a:close/>
                    <a:moveTo>
                      <a:pt x="770" y="335"/>
                    </a:moveTo>
                    <a:lnTo>
                      <a:pt x="774" y="334"/>
                    </a:lnTo>
                    <a:lnTo>
                      <a:pt x="775" y="335"/>
                    </a:lnTo>
                    <a:lnTo>
                      <a:pt x="772" y="337"/>
                    </a:lnTo>
                    <a:lnTo>
                      <a:pt x="770" y="335"/>
                    </a:lnTo>
                    <a:lnTo>
                      <a:pt x="770" y="335"/>
                    </a:lnTo>
                    <a:close/>
                    <a:moveTo>
                      <a:pt x="679" y="382"/>
                    </a:moveTo>
                    <a:lnTo>
                      <a:pt x="677" y="385"/>
                    </a:lnTo>
                    <a:lnTo>
                      <a:pt x="681" y="387"/>
                    </a:lnTo>
                    <a:lnTo>
                      <a:pt x="689" y="387"/>
                    </a:lnTo>
                    <a:lnTo>
                      <a:pt x="696" y="383"/>
                    </a:lnTo>
                    <a:lnTo>
                      <a:pt x="699" y="382"/>
                    </a:lnTo>
                    <a:lnTo>
                      <a:pt x="704" y="382"/>
                    </a:lnTo>
                    <a:lnTo>
                      <a:pt x="709" y="378"/>
                    </a:lnTo>
                    <a:lnTo>
                      <a:pt x="711" y="375"/>
                    </a:lnTo>
                    <a:lnTo>
                      <a:pt x="721" y="368"/>
                    </a:lnTo>
                    <a:lnTo>
                      <a:pt x="722" y="367"/>
                    </a:lnTo>
                    <a:lnTo>
                      <a:pt x="726" y="365"/>
                    </a:lnTo>
                    <a:lnTo>
                      <a:pt x="719" y="360"/>
                    </a:lnTo>
                    <a:lnTo>
                      <a:pt x="714" y="355"/>
                    </a:lnTo>
                    <a:lnTo>
                      <a:pt x="712" y="357"/>
                    </a:lnTo>
                    <a:lnTo>
                      <a:pt x="707" y="357"/>
                    </a:lnTo>
                    <a:lnTo>
                      <a:pt x="707" y="363"/>
                    </a:lnTo>
                    <a:lnTo>
                      <a:pt x="704" y="363"/>
                    </a:lnTo>
                    <a:lnTo>
                      <a:pt x="697" y="365"/>
                    </a:lnTo>
                    <a:lnTo>
                      <a:pt x="694" y="362"/>
                    </a:lnTo>
                    <a:lnTo>
                      <a:pt x="692" y="363"/>
                    </a:lnTo>
                    <a:lnTo>
                      <a:pt x="689" y="365"/>
                    </a:lnTo>
                    <a:lnTo>
                      <a:pt x="687" y="370"/>
                    </a:lnTo>
                    <a:lnTo>
                      <a:pt x="682" y="377"/>
                    </a:lnTo>
                    <a:lnTo>
                      <a:pt x="681" y="378"/>
                    </a:lnTo>
                    <a:lnTo>
                      <a:pt x="684" y="380"/>
                    </a:lnTo>
                    <a:lnTo>
                      <a:pt x="684" y="382"/>
                    </a:lnTo>
                    <a:lnTo>
                      <a:pt x="682" y="382"/>
                    </a:lnTo>
                    <a:lnTo>
                      <a:pt x="679" y="382"/>
                    </a:lnTo>
                    <a:lnTo>
                      <a:pt x="679" y="382"/>
                    </a:lnTo>
                    <a:close/>
                    <a:moveTo>
                      <a:pt x="674" y="387"/>
                    </a:moveTo>
                    <a:lnTo>
                      <a:pt x="677" y="382"/>
                    </a:lnTo>
                    <a:lnTo>
                      <a:pt x="674" y="382"/>
                    </a:lnTo>
                    <a:lnTo>
                      <a:pt x="672" y="385"/>
                    </a:lnTo>
                    <a:lnTo>
                      <a:pt x="674" y="387"/>
                    </a:lnTo>
                    <a:lnTo>
                      <a:pt x="674" y="387"/>
                    </a:lnTo>
                    <a:close/>
                    <a:moveTo>
                      <a:pt x="676" y="388"/>
                    </a:moveTo>
                    <a:lnTo>
                      <a:pt x="671" y="392"/>
                    </a:lnTo>
                    <a:lnTo>
                      <a:pt x="672" y="392"/>
                    </a:lnTo>
                    <a:lnTo>
                      <a:pt x="664" y="395"/>
                    </a:lnTo>
                    <a:lnTo>
                      <a:pt x="661" y="398"/>
                    </a:lnTo>
                    <a:lnTo>
                      <a:pt x="664" y="398"/>
                    </a:lnTo>
                    <a:lnTo>
                      <a:pt x="676" y="395"/>
                    </a:lnTo>
                    <a:lnTo>
                      <a:pt x="676" y="392"/>
                    </a:lnTo>
                    <a:lnTo>
                      <a:pt x="676" y="388"/>
                    </a:lnTo>
                    <a:lnTo>
                      <a:pt x="676" y="388"/>
                    </a:lnTo>
                    <a:close/>
                    <a:moveTo>
                      <a:pt x="639" y="388"/>
                    </a:moveTo>
                    <a:lnTo>
                      <a:pt x="643" y="390"/>
                    </a:lnTo>
                    <a:lnTo>
                      <a:pt x="643" y="392"/>
                    </a:lnTo>
                    <a:lnTo>
                      <a:pt x="639" y="393"/>
                    </a:lnTo>
                    <a:lnTo>
                      <a:pt x="634" y="393"/>
                    </a:lnTo>
                    <a:lnTo>
                      <a:pt x="638" y="390"/>
                    </a:lnTo>
                    <a:lnTo>
                      <a:pt x="639" y="388"/>
                    </a:lnTo>
                    <a:lnTo>
                      <a:pt x="639" y="388"/>
                    </a:lnTo>
                    <a:close/>
                    <a:moveTo>
                      <a:pt x="569" y="365"/>
                    </a:moveTo>
                    <a:lnTo>
                      <a:pt x="579" y="360"/>
                    </a:lnTo>
                    <a:lnTo>
                      <a:pt x="586" y="365"/>
                    </a:lnTo>
                    <a:lnTo>
                      <a:pt x="591" y="365"/>
                    </a:lnTo>
                    <a:lnTo>
                      <a:pt x="594" y="362"/>
                    </a:lnTo>
                    <a:lnTo>
                      <a:pt x="601" y="365"/>
                    </a:lnTo>
                    <a:lnTo>
                      <a:pt x="603" y="368"/>
                    </a:lnTo>
                    <a:lnTo>
                      <a:pt x="608" y="368"/>
                    </a:lnTo>
                    <a:lnTo>
                      <a:pt x="611" y="373"/>
                    </a:lnTo>
                    <a:lnTo>
                      <a:pt x="614" y="378"/>
                    </a:lnTo>
                    <a:lnTo>
                      <a:pt x="616" y="380"/>
                    </a:lnTo>
                    <a:lnTo>
                      <a:pt x="609" y="383"/>
                    </a:lnTo>
                    <a:lnTo>
                      <a:pt x="603" y="383"/>
                    </a:lnTo>
                    <a:lnTo>
                      <a:pt x="596" y="382"/>
                    </a:lnTo>
                    <a:lnTo>
                      <a:pt x="593" y="377"/>
                    </a:lnTo>
                    <a:lnTo>
                      <a:pt x="589" y="375"/>
                    </a:lnTo>
                    <a:lnTo>
                      <a:pt x="584" y="372"/>
                    </a:lnTo>
                    <a:lnTo>
                      <a:pt x="579" y="372"/>
                    </a:lnTo>
                    <a:lnTo>
                      <a:pt x="573" y="372"/>
                    </a:lnTo>
                    <a:lnTo>
                      <a:pt x="569" y="368"/>
                    </a:lnTo>
                    <a:lnTo>
                      <a:pt x="569" y="365"/>
                    </a:lnTo>
                    <a:lnTo>
                      <a:pt x="569" y="365"/>
                    </a:lnTo>
                    <a:close/>
                    <a:moveTo>
                      <a:pt x="495" y="315"/>
                    </a:moveTo>
                    <a:lnTo>
                      <a:pt x="498" y="315"/>
                    </a:lnTo>
                    <a:lnTo>
                      <a:pt x="500" y="314"/>
                    </a:lnTo>
                    <a:lnTo>
                      <a:pt x="498" y="315"/>
                    </a:lnTo>
                    <a:lnTo>
                      <a:pt x="495" y="315"/>
                    </a:lnTo>
                    <a:lnTo>
                      <a:pt x="495" y="315"/>
                    </a:lnTo>
                    <a:lnTo>
                      <a:pt x="495" y="315"/>
                    </a:lnTo>
                    <a:close/>
                    <a:moveTo>
                      <a:pt x="480" y="309"/>
                    </a:moveTo>
                    <a:lnTo>
                      <a:pt x="483" y="310"/>
                    </a:lnTo>
                    <a:lnTo>
                      <a:pt x="486" y="307"/>
                    </a:lnTo>
                    <a:lnTo>
                      <a:pt x="490" y="309"/>
                    </a:lnTo>
                    <a:lnTo>
                      <a:pt x="491" y="309"/>
                    </a:lnTo>
                    <a:lnTo>
                      <a:pt x="490" y="307"/>
                    </a:lnTo>
                    <a:lnTo>
                      <a:pt x="486" y="305"/>
                    </a:lnTo>
                    <a:lnTo>
                      <a:pt x="481" y="305"/>
                    </a:lnTo>
                    <a:lnTo>
                      <a:pt x="480" y="307"/>
                    </a:lnTo>
                    <a:lnTo>
                      <a:pt x="480" y="309"/>
                    </a:lnTo>
                    <a:lnTo>
                      <a:pt x="480" y="309"/>
                    </a:lnTo>
                    <a:close/>
                    <a:moveTo>
                      <a:pt x="741" y="330"/>
                    </a:moveTo>
                    <a:lnTo>
                      <a:pt x="746" y="327"/>
                    </a:lnTo>
                    <a:lnTo>
                      <a:pt x="754" y="329"/>
                    </a:lnTo>
                    <a:lnTo>
                      <a:pt x="756" y="330"/>
                    </a:lnTo>
                    <a:lnTo>
                      <a:pt x="757" y="329"/>
                    </a:lnTo>
                    <a:lnTo>
                      <a:pt x="760" y="327"/>
                    </a:lnTo>
                    <a:lnTo>
                      <a:pt x="764" y="325"/>
                    </a:lnTo>
                    <a:lnTo>
                      <a:pt x="764" y="322"/>
                    </a:lnTo>
                    <a:lnTo>
                      <a:pt x="760" y="320"/>
                    </a:lnTo>
                    <a:lnTo>
                      <a:pt x="756" y="324"/>
                    </a:lnTo>
                    <a:lnTo>
                      <a:pt x="747" y="324"/>
                    </a:lnTo>
                    <a:lnTo>
                      <a:pt x="746" y="322"/>
                    </a:lnTo>
                    <a:lnTo>
                      <a:pt x="742" y="324"/>
                    </a:lnTo>
                    <a:lnTo>
                      <a:pt x="741" y="329"/>
                    </a:lnTo>
                    <a:lnTo>
                      <a:pt x="741" y="330"/>
                    </a:lnTo>
                    <a:lnTo>
                      <a:pt x="741" y="330"/>
                    </a:lnTo>
                    <a:close/>
                    <a:moveTo>
                      <a:pt x="732" y="335"/>
                    </a:moveTo>
                    <a:lnTo>
                      <a:pt x="731" y="339"/>
                    </a:lnTo>
                    <a:lnTo>
                      <a:pt x="732" y="339"/>
                    </a:lnTo>
                    <a:lnTo>
                      <a:pt x="734" y="337"/>
                    </a:lnTo>
                    <a:lnTo>
                      <a:pt x="732" y="335"/>
                    </a:lnTo>
                    <a:lnTo>
                      <a:pt x="732" y="335"/>
                    </a:lnTo>
                    <a:close/>
                    <a:moveTo>
                      <a:pt x="711" y="335"/>
                    </a:moveTo>
                    <a:lnTo>
                      <a:pt x="706" y="337"/>
                    </a:lnTo>
                    <a:lnTo>
                      <a:pt x="707" y="339"/>
                    </a:lnTo>
                    <a:lnTo>
                      <a:pt x="706" y="340"/>
                    </a:lnTo>
                    <a:lnTo>
                      <a:pt x="707" y="342"/>
                    </a:lnTo>
                    <a:lnTo>
                      <a:pt x="711" y="344"/>
                    </a:lnTo>
                    <a:lnTo>
                      <a:pt x="719" y="340"/>
                    </a:lnTo>
                    <a:lnTo>
                      <a:pt x="722" y="337"/>
                    </a:lnTo>
                    <a:lnTo>
                      <a:pt x="719" y="335"/>
                    </a:lnTo>
                    <a:lnTo>
                      <a:pt x="712" y="337"/>
                    </a:lnTo>
                    <a:lnTo>
                      <a:pt x="711" y="335"/>
                    </a:lnTo>
                    <a:lnTo>
                      <a:pt x="711" y="335"/>
                    </a:lnTo>
                    <a:close/>
                    <a:moveTo>
                      <a:pt x="694" y="344"/>
                    </a:moveTo>
                    <a:lnTo>
                      <a:pt x="697" y="344"/>
                    </a:lnTo>
                    <a:lnTo>
                      <a:pt x="699" y="345"/>
                    </a:lnTo>
                    <a:lnTo>
                      <a:pt x="702" y="342"/>
                    </a:lnTo>
                    <a:lnTo>
                      <a:pt x="702" y="340"/>
                    </a:lnTo>
                    <a:lnTo>
                      <a:pt x="701" y="342"/>
                    </a:lnTo>
                    <a:lnTo>
                      <a:pt x="696" y="342"/>
                    </a:lnTo>
                    <a:lnTo>
                      <a:pt x="694" y="344"/>
                    </a:lnTo>
                    <a:lnTo>
                      <a:pt x="694" y="344"/>
                    </a:lnTo>
                    <a:close/>
                    <a:moveTo>
                      <a:pt x="677" y="345"/>
                    </a:moveTo>
                    <a:lnTo>
                      <a:pt x="682" y="342"/>
                    </a:lnTo>
                    <a:lnTo>
                      <a:pt x="682" y="340"/>
                    </a:lnTo>
                    <a:lnTo>
                      <a:pt x="684" y="339"/>
                    </a:lnTo>
                    <a:lnTo>
                      <a:pt x="687" y="340"/>
                    </a:lnTo>
                    <a:lnTo>
                      <a:pt x="691" y="339"/>
                    </a:lnTo>
                    <a:lnTo>
                      <a:pt x="692" y="339"/>
                    </a:lnTo>
                    <a:lnTo>
                      <a:pt x="687" y="344"/>
                    </a:lnTo>
                    <a:lnTo>
                      <a:pt x="686" y="345"/>
                    </a:lnTo>
                    <a:lnTo>
                      <a:pt x="681" y="347"/>
                    </a:lnTo>
                    <a:lnTo>
                      <a:pt x="677" y="345"/>
                    </a:lnTo>
                    <a:lnTo>
                      <a:pt x="677" y="345"/>
                    </a:lnTo>
                    <a:close/>
                    <a:moveTo>
                      <a:pt x="674" y="344"/>
                    </a:moveTo>
                    <a:lnTo>
                      <a:pt x="669" y="345"/>
                    </a:lnTo>
                    <a:lnTo>
                      <a:pt x="667" y="349"/>
                    </a:lnTo>
                    <a:lnTo>
                      <a:pt x="671" y="345"/>
                    </a:lnTo>
                    <a:lnTo>
                      <a:pt x="674" y="344"/>
                    </a:lnTo>
                    <a:lnTo>
                      <a:pt x="674" y="344"/>
                    </a:lnTo>
                    <a:close/>
                    <a:moveTo>
                      <a:pt x="677" y="337"/>
                    </a:moveTo>
                    <a:lnTo>
                      <a:pt x="674" y="340"/>
                    </a:lnTo>
                    <a:lnTo>
                      <a:pt x="676" y="340"/>
                    </a:lnTo>
                    <a:lnTo>
                      <a:pt x="677" y="339"/>
                    </a:lnTo>
                    <a:lnTo>
                      <a:pt x="677" y="337"/>
                    </a:lnTo>
                    <a:lnTo>
                      <a:pt x="677" y="337"/>
                    </a:lnTo>
                    <a:close/>
                    <a:moveTo>
                      <a:pt x="591" y="347"/>
                    </a:moveTo>
                    <a:lnTo>
                      <a:pt x="591" y="347"/>
                    </a:lnTo>
                    <a:lnTo>
                      <a:pt x="593" y="342"/>
                    </a:lnTo>
                    <a:lnTo>
                      <a:pt x="599" y="339"/>
                    </a:lnTo>
                    <a:lnTo>
                      <a:pt x="611" y="337"/>
                    </a:lnTo>
                    <a:lnTo>
                      <a:pt x="618" y="339"/>
                    </a:lnTo>
                    <a:lnTo>
                      <a:pt x="621" y="339"/>
                    </a:lnTo>
                    <a:lnTo>
                      <a:pt x="626" y="340"/>
                    </a:lnTo>
                    <a:lnTo>
                      <a:pt x="633" y="344"/>
                    </a:lnTo>
                    <a:lnTo>
                      <a:pt x="638" y="342"/>
                    </a:lnTo>
                    <a:lnTo>
                      <a:pt x="646" y="342"/>
                    </a:lnTo>
                    <a:lnTo>
                      <a:pt x="649" y="344"/>
                    </a:lnTo>
                    <a:lnTo>
                      <a:pt x="654" y="344"/>
                    </a:lnTo>
                    <a:lnTo>
                      <a:pt x="658" y="340"/>
                    </a:lnTo>
                    <a:lnTo>
                      <a:pt x="661" y="339"/>
                    </a:lnTo>
                    <a:lnTo>
                      <a:pt x="664" y="335"/>
                    </a:lnTo>
                    <a:lnTo>
                      <a:pt x="662" y="335"/>
                    </a:lnTo>
                    <a:lnTo>
                      <a:pt x="666" y="332"/>
                    </a:lnTo>
                    <a:lnTo>
                      <a:pt x="671" y="334"/>
                    </a:lnTo>
                    <a:lnTo>
                      <a:pt x="672" y="339"/>
                    </a:lnTo>
                    <a:lnTo>
                      <a:pt x="669" y="342"/>
                    </a:lnTo>
                    <a:lnTo>
                      <a:pt x="666" y="344"/>
                    </a:lnTo>
                    <a:lnTo>
                      <a:pt x="662" y="347"/>
                    </a:lnTo>
                    <a:lnTo>
                      <a:pt x="658" y="347"/>
                    </a:lnTo>
                    <a:lnTo>
                      <a:pt x="656" y="350"/>
                    </a:lnTo>
                    <a:lnTo>
                      <a:pt x="653" y="349"/>
                    </a:lnTo>
                    <a:lnTo>
                      <a:pt x="644" y="349"/>
                    </a:lnTo>
                    <a:lnTo>
                      <a:pt x="638" y="352"/>
                    </a:lnTo>
                    <a:lnTo>
                      <a:pt x="631" y="350"/>
                    </a:lnTo>
                    <a:lnTo>
                      <a:pt x="624" y="352"/>
                    </a:lnTo>
                    <a:lnTo>
                      <a:pt x="624" y="353"/>
                    </a:lnTo>
                    <a:lnTo>
                      <a:pt x="621" y="353"/>
                    </a:lnTo>
                    <a:lnTo>
                      <a:pt x="618" y="352"/>
                    </a:lnTo>
                    <a:lnTo>
                      <a:pt x="613" y="353"/>
                    </a:lnTo>
                    <a:lnTo>
                      <a:pt x="611" y="352"/>
                    </a:lnTo>
                    <a:lnTo>
                      <a:pt x="606" y="350"/>
                    </a:lnTo>
                    <a:lnTo>
                      <a:pt x="603" y="352"/>
                    </a:lnTo>
                    <a:lnTo>
                      <a:pt x="599" y="350"/>
                    </a:lnTo>
                    <a:lnTo>
                      <a:pt x="596" y="350"/>
                    </a:lnTo>
                    <a:lnTo>
                      <a:pt x="593" y="350"/>
                    </a:lnTo>
                    <a:lnTo>
                      <a:pt x="591" y="347"/>
                    </a:lnTo>
                    <a:lnTo>
                      <a:pt x="591" y="347"/>
                    </a:lnTo>
                    <a:close/>
                    <a:moveTo>
                      <a:pt x="588" y="345"/>
                    </a:moveTo>
                    <a:lnTo>
                      <a:pt x="586" y="350"/>
                    </a:lnTo>
                    <a:lnTo>
                      <a:pt x="589" y="350"/>
                    </a:lnTo>
                    <a:lnTo>
                      <a:pt x="589" y="347"/>
                    </a:lnTo>
                    <a:lnTo>
                      <a:pt x="588" y="345"/>
                    </a:lnTo>
                    <a:lnTo>
                      <a:pt x="588" y="345"/>
                    </a:lnTo>
                    <a:close/>
                    <a:moveTo>
                      <a:pt x="586" y="344"/>
                    </a:moveTo>
                    <a:lnTo>
                      <a:pt x="581" y="342"/>
                    </a:lnTo>
                    <a:lnTo>
                      <a:pt x="579" y="347"/>
                    </a:lnTo>
                    <a:lnTo>
                      <a:pt x="583" y="350"/>
                    </a:lnTo>
                    <a:lnTo>
                      <a:pt x="583" y="345"/>
                    </a:lnTo>
                    <a:lnTo>
                      <a:pt x="586" y="344"/>
                    </a:lnTo>
                    <a:lnTo>
                      <a:pt x="586" y="344"/>
                    </a:lnTo>
                    <a:close/>
                    <a:moveTo>
                      <a:pt x="516" y="347"/>
                    </a:moveTo>
                    <a:lnTo>
                      <a:pt x="515" y="349"/>
                    </a:lnTo>
                    <a:lnTo>
                      <a:pt x="516" y="350"/>
                    </a:lnTo>
                    <a:lnTo>
                      <a:pt x="516" y="353"/>
                    </a:lnTo>
                    <a:lnTo>
                      <a:pt x="518" y="355"/>
                    </a:lnTo>
                    <a:lnTo>
                      <a:pt x="523" y="357"/>
                    </a:lnTo>
                    <a:lnTo>
                      <a:pt x="528" y="355"/>
                    </a:lnTo>
                    <a:lnTo>
                      <a:pt x="531" y="357"/>
                    </a:lnTo>
                    <a:lnTo>
                      <a:pt x="538" y="355"/>
                    </a:lnTo>
                    <a:lnTo>
                      <a:pt x="540" y="353"/>
                    </a:lnTo>
                    <a:lnTo>
                      <a:pt x="543" y="353"/>
                    </a:lnTo>
                    <a:lnTo>
                      <a:pt x="550" y="352"/>
                    </a:lnTo>
                    <a:lnTo>
                      <a:pt x="555" y="353"/>
                    </a:lnTo>
                    <a:lnTo>
                      <a:pt x="560" y="349"/>
                    </a:lnTo>
                    <a:lnTo>
                      <a:pt x="561" y="352"/>
                    </a:lnTo>
                    <a:lnTo>
                      <a:pt x="564" y="352"/>
                    </a:lnTo>
                    <a:lnTo>
                      <a:pt x="571" y="352"/>
                    </a:lnTo>
                    <a:lnTo>
                      <a:pt x="569" y="350"/>
                    </a:lnTo>
                    <a:lnTo>
                      <a:pt x="574" y="350"/>
                    </a:lnTo>
                    <a:lnTo>
                      <a:pt x="576" y="345"/>
                    </a:lnTo>
                    <a:lnTo>
                      <a:pt x="574" y="347"/>
                    </a:lnTo>
                    <a:lnTo>
                      <a:pt x="573" y="344"/>
                    </a:lnTo>
                    <a:lnTo>
                      <a:pt x="573" y="340"/>
                    </a:lnTo>
                    <a:lnTo>
                      <a:pt x="568" y="339"/>
                    </a:lnTo>
                    <a:lnTo>
                      <a:pt x="568" y="342"/>
                    </a:lnTo>
                    <a:lnTo>
                      <a:pt x="566" y="342"/>
                    </a:lnTo>
                    <a:lnTo>
                      <a:pt x="566" y="339"/>
                    </a:lnTo>
                    <a:lnTo>
                      <a:pt x="561" y="337"/>
                    </a:lnTo>
                    <a:lnTo>
                      <a:pt x="556" y="339"/>
                    </a:lnTo>
                    <a:lnTo>
                      <a:pt x="551" y="335"/>
                    </a:lnTo>
                    <a:lnTo>
                      <a:pt x="548" y="334"/>
                    </a:lnTo>
                    <a:lnTo>
                      <a:pt x="541" y="337"/>
                    </a:lnTo>
                    <a:lnTo>
                      <a:pt x="541" y="339"/>
                    </a:lnTo>
                    <a:lnTo>
                      <a:pt x="551" y="342"/>
                    </a:lnTo>
                    <a:lnTo>
                      <a:pt x="555" y="347"/>
                    </a:lnTo>
                    <a:lnTo>
                      <a:pt x="548" y="347"/>
                    </a:lnTo>
                    <a:lnTo>
                      <a:pt x="545" y="349"/>
                    </a:lnTo>
                    <a:lnTo>
                      <a:pt x="540" y="345"/>
                    </a:lnTo>
                    <a:lnTo>
                      <a:pt x="538" y="342"/>
                    </a:lnTo>
                    <a:lnTo>
                      <a:pt x="535" y="340"/>
                    </a:lnTo>
                    <a:lnTo>
                      <a:pt x="531" y="342"/>
                    </a:lnTo>
                    <a:lnTo>
                      <a:pt x="526" y="340"/>
                    </a:lnTo>
                    <a:lnTo>
                      <a:pt x="520" y="344"/>
                    </a:lnTo>
                    <a:lnTo>
                      <a:pt x="520" y="344"/>
                    </a:lnTo>
                    <a:lnTo>
                      <a:pt x="516" y="347"/>
                    </a:lnTo>
                    <a:lnTo>
                      <a:pt x="516" y="347"/>
                    </a:lnTo>
                    <a:close/>
                    <a:moveTo>
                      <a:pt x="501" y="342"/>
                    </a:moveTo>
                    <a:lnTo>
                      <a:pt x="506" y="339"/>
                    </a:lnTo>
                    <a:lnTo>
                      <a:pt x="515" y="340"/>
                    </a:lnTo>
                    <a:lnTo>
                      <a:pt x="513" y="345"/>
                    </a:lnTo>
                    <a:lnTo>
                      <a:pt x="511" y="349"/>
                    </a:lnTo>
                    <a:lnTo>
                      <a:pt x="511" y="352"/>
                    </a:lnTo>
                    <a:lnTo>
                      <a:pt x="508" y="350"/>
                    </a:lnTo>
                    <a:lnTo>
                      <a:pt x="503" y="352"/>
                    </a:lnTo>
                    <a:lnTo>
                      <a:pt x="496" y="350"/>
                    </a:lnTo>
                    <a:lnTo>
                      <a:pt x="495" y="349"/>
                    </a:lnTo>
                    <a:lnTo>
                      <a:pt x="496" y="347"/>
                    </a:lnTo>
                    <a:lnTo>
                      <a:pt x="501" y="347"/>
                    </a:lnTo>
                    <a:lnTo>
                      <a:pt x="501" y="342"/>
                    </a:lnTo>
                    <a:lnTo>
                      <a:pt x="501" y="342"/>
                    </a:lnTo>
                    <a:close/>
                    <a:moveTo>
                      <a:pt x="486" y="349"/>
                    </a:moveTo>
                    <a:lnTo>
                      <a:pt x="488" y="345"/>
                    </a:lnTo>
                    <a:lnTo>
                      <a:pt x="490" y="349"/>
                    </a:lnTo>
                    <a:lnTo>
                      <a:pt x="488" y="350"/>
                    </a:lnTo>
                    <a:lnTo>
                      <a:pt x="486" y="349"/>
                    </a:lnTo>
                    <a:lnTo>
                      <a:pt x="486" y="349"/>
                    </a:lnTo>
                    <a:close/>
                    <a:moveTo>
                      <a:pt x="463" y="335"/>
                    </a:moveTo>
                    <a:lnTo>
                      <a:pt x="463" y="339"/>
                    </a:lnTo>
                    <a:lnTo>
                      <a:pt x="465" y="340"/>
                    </a:lnTo>
                    <a:lnTo>
                      <a:pt x="471" y="342"/>
                    </a:lnTo>
                    <a:lnTo>
                      <a:pt x="478" y="347"/>
                    </a:lnTo>
                    <a:lnTo>
                      <a:pt x="480" y="349"/>
                    </a:lnTo>
                    <a:lnTo>
                      <a:pt x="481" y="345"/>
                    </a:lnTo>
                    <a:lnTo>
                      <a:pt x="485" y="344"/>
                    </a:lnTo>
                    <a:lnTo>
                      <a:pt x="486" y="342"/>
                    </a:lnTo>
                    <a:lnTo>
                      <a:pt x="491" y="342"/>
                    </a:lnTo>
                    <a:lnTo>
                      <a:pt x="493" y="339"/>
                    </a:lnTo>
                    <a:lnTo>
                      <a:pt x="486" y="334"/>
                    </a:lnTo>
                    <a:lnTo>
                      <a:pt x="481" y="332"/>
                    </a:lnTo>
                    <a:lnTo>
                      <a:pt x="475" y="335"/>
                    </a:lnTo>
                    <a:lnTo>
                      <a:pt x="468" y="334"/>
                    </a:lnTo>
                    <a:lnTo>
                      <a:pt x="463" y="335"/>
                    </a:lnTo>
                    <a:lnTo>
                      <a:pt x="463" y="335"/>
                    </a:lnTo>
                    <a:close/>
                    <a:moveTo>
                      <a:pt x="1051" y="339"/>
                    </a:moveTo>
                    <a:lnTo>
                      <a:pt x="1053" y="339"/>
                    </a:lnTo>
                    <a:lnTo>
                      <a:pt x="1058" y="340"/>
                    </a:lnTo>
                    <a:lnTo>
                      <a:pt x="1059" y="339"/>
                    </a:lnTo>
                    <a:lnTo>
                      <a:pt x="1058" y="334"/>
                    </a:lnTo>
                    <a:lnTo>
                      <a:pt x="1056" y="334"/>
                    </a:lnTo>
                    <a:lnTo>
                      <a:pt x="1053" y="334"/>
                    </a:lnTo>
                    <a:lnTo>
                      <a:pt x="1051" y="339"/>
                    </a:lnTo>
                    <a:lnTo>
                      <a:pt x="1051" y="339"/>
                    </a:lnTo>
                    <a:close/>
                    <a:moveTo>
                      <a:pt x="1028" y="339"/>
                    </a:moveTo>
                    <a:lnTo>
                      <a:pt x="1028" y="339"/>
                    </a:lnTo>
                    <a:lnTo>
                      <a:pt x="1036" y="339"/>
                    </a:lnTo>
                    <a:lnTo>
                      <a:pt x="1040" y="337"/>
                    </a:lnTo>
                    <a:lnTo>
                      <a:pt x="1046" y="339"/>
                    </a:lnTo>
                    <a:lnTo>
                      <a:pt x="1050" y="337"/>
                    </a:lnTo>
                    <a:lnTo>
                      <a:pt x="1053" y="332"/>
                    </a:lnTo>
                    <a:lnTo>
                      <a:pt x="1056" y="332"/>
                    </a:lnTo>
                    <a:lnTo>
                      <a:pt x="1058" y="330"/>
                    </a:lnTo>
                    <a:lnTo>
                      <a:pt x="1058" y="327"/>
                    </a:lnTo>
                    <a:lnTo>
                      <a:pt x="1059" y="327"/>
                    </a:lnTo>
                    <a:lnTo>
                      <a:pt x="1061" y="322"/>
                    </a:lnTo>
                    <a:lnTo>
                      <a:pt x="1061" y="320"/>
                    </a:lnTo>
                    <a:lnTo>
                      <a:pt x="1058" y="319"/>
                    </a:lnTo>
                    <a:lnTo>
                      <a:pt x="1056" y="317"/>
                    </a:lnTo>
                    <a:lnTo>
                      <a:pt x="1048" y="317"/>
                    </a:lnTo>
                    <a:lnTo>
                      <a:pt x="1043" y="319"/>
                    </a:lnTo>
                    <a:lnTo>
                      <a:pt x="1040" y="325"/>
                    </a:lnTo>
                    <a:lnTo>
                      <a:pt x="1038" y="330"/>
                    </a:lnTo>
                    <a:lnTo>
                      <a:pt x="1028" y="339"/>
                    </a:lnTo>
                    <a:lnTo>
                      <a:pt x="1028" y="339"/>
                    </a:lnTo>
                    <a:close/>
                    <a:moveTo>
                      <a:pt x="427" y="305"/>
                    </a:moveTo>
                    <a:lnTo>
                      <a:pt x="423" y="310"/>
                    </a:lnTo>
                    <a:lnTo>
                      <a:pt x="428" y="314"/>
                    </a:lnTo>
                    <a:lnTo>
                      <a:pt x="432" y="315"/>
                    </a:lnTo>
                    <a:lnTo>
                      <a:pt x="435" y="314"/>
                    </a:lnTo>
                    <a:lnTo>
                      <a:pt x="443" y="314"/>
                    </a:lnTo>
                    <a:lnTo>
                      <a:pt x="447" y="312"/>
                    </a:lnTo>
                    <a:lnTo>
                      <a:pt x="452" y="312"/>
                    </a:lnTo>
                    <a:lnTo>
                      <a:pt x="455" y="309"/>
                    </a:lnTo>
                    <a:lnTo>
                      <a:pt x="452" y="307"/>
                    </a:lnTo>
                    <a:lnTo>
                      <a:pt x="445" y="309"/>
                    </a:lnTo>
                    <a:lnTo>
                      <a:pt x="442" y="307"/>
                    </a:lnTo>
                    <a:lnTo>
                      <a:pt x="428" y="307"/>
                    </a:lnTo>
                    <a:lnTo>
                      <a:pt x="427" y="305"/>
                    </a:lnTo>
                    <a:lnTo>
                      <a:pt x="427" y="305"/>
                    </a:lnTo>
                    <a:close/>
                    <a:moveTo>
                      <a:pt x="244" y="299"/>
                    </a:moveTo>
                    <a:lnTo>
                      <a:pt x="244" y="300"/>
                    </a:lnTo>
                    <a:lnTo>
                      <a:pt x="246" y="300"/>
                    </a:lnTo>
                    <a:lnTo>
                      <a:pt x="246" y="299"/>
                    </a:lnTo>
                    <a:lnTo>
                      <a:pt x="244" y="299"/>
                    </a:lnTo>
                    <a:lnTo>
                      <a:pt x="244" y="299"/>
                    </a:lnTo>
                    <a:close/>
                    <a:moveTo>
                      <a:pt x="247" y="302"/>
                    </a:moveTo>
                    <a:lnTo>
                      <a:pt x="249" y="304"/>
                    </a:lnTo>
                    <a:lnTo>
                      <a:pt x="252" y="302"/>
                    </a:lnTo>
                    <a:lnTo>
                      <a:pt x="254" y="297"/>
                    </a:lnTo>
                    <a:lnTo>
                      <a:pt x="259" y="297"/>
                    </a:lnTo>
                    <a:lnTo>
                      <a:pt x="261" y="292"/>
                    </a:lnTo>
                    <a:lnTo>
                      <a:pt x="261" y="287"/>
                    </a:lnTo>
                    <a:lnTo>
                      <a:pt x="265" y="282"/>
                    </a:lnTo>
                    <a:lnTo>
                      <a:pt x="267" y="284"/>
                    </a:lnTo>
                    <a:lnTo>
                      <a:pt x="274" y="284"/>
                    </a:lnTo>
                    <a:lnTo>
                      <a:pt x="280" y="285"/>
                    </a:lnTo>
                    <a:lnTo>
                      <a:pt x="285" y="289"/>
                    </a:lnTo>
                    <a:lnTo>
                      <a:pt x="287" y="287"/>
                    </a:lnTo>
                    <a:lnTo>
                      <a:pt x="289" y="284"/>
                    </a:lnTo>
                    <a:lnTo>
                      <a:pt x="297" y="285"/>
                    </a:lnTo>
                    <a:lnTo>
                      <a:pt x="300" y="289"/>
                    </a:lnTo>
                    <a:lnTo>
                      <a:pt x="310" y="290"/>
                    </a:lnTo>
                    <a:lnTo>
                      <a:pt x="320" y="290"/>
                    </a:lnTo>
                    <a:lnTo>
                      <a:pt x="324" y="295"/>
                    </a:lnTo>
                    <a:lnTo>
                      <a:pt x="322" y="300"/>
                    </a:lnTo>
                    <a:lnTo>
                      <a:pt x="324" y="302"/>
                    </a:lnTo>
                    <a:lnTo>
                      <a:pt x="332" y="305"/>
                    </a:lnTo>
                    <a:lnTo>
                      <a:pt x="347" y="305"/>
                    </a:lnTo>
                    <a:lnTo>
                      <a:pt x="360" y="307"/>
                    </a:lnTo>
                    <a:lnTo>
                      <a:pt x="370" y="305"/>
                    </a:lnTo>
                    <a:lnTo>
                      <a:pt x="373" y="302"/>
                    </a:lnTo>
                    <a:lnTo>
                      <a:pt x="375" y="294"/>
                    </a:lnTo>
                    <a:lnTo>
                      <a:pt x="380" y="292"/>
                    </a:lnTo>
                    <a:lnTo>
                      <a:pt x="385" y="299"/>
                    </a:lnTo>
                    <a:lnTo>
                      <a:pt x="390" y="299"/>
                    </a:lnTo>
                    <a:lnTo>
                      <a:pt x="393" y="297"/>
                    </a:lnTo>
                    <a:lnTo>
                      <a:pt x="397" y="300"/>
                    </a:lnTo>
                    <a:lnTo>
                      <a:pt x="402" y="304"/>
                    </a:lnTo>
                    <a:lnTo>
                      <a:pt x="407" y="304"/>
                    </a:lnTo>
                    <a:lnTo>
                      <a:pt x="410" y="307"/>
                    </a:lnTo>
                    <a:lnTo>
                      <a:pt x="413" y="305"/>
                    </a:lnTo>
                    <a:lnTo>
                      <a:pt x="420" y="305"/>
                    </a:lnTo>
                    <a:lnTo>
                      <a:pt x="420" y="312"/>
                    </a:lnTo>
                    <a:lnTo>
                      <a:pt x="425" y="317"/>
                    </a:lnTo>
                    <a:lnTo>
                      <a:pt x="425" y="320"/>
                    </a:lnTo>
                    <a:lnTo>
                      <a:pt x="428" y="324"/>
                    </a:lnTo>
                    <a:lnTo>
                      <a:pt x="433" y="325"/>
                    </a:lnTo>
                    <a:lnTo>
                      <a:pt x="438" y="324"/>
                    </a:lnTo>
                    <a:lnTo>
                      <a:pt x="443" y="325"/>
                    </a:lnTo>
                    <a:lnTo>
                      <a:pt x="447" y="325"/>
                    </a:lnTo>
                    <a:lnTo>
                      <a:pt x="450" y="324"/>
                    </a:lnTo>
                    <a:lnTo>
                      <a:pt x="453" y="324"/>
                    </a:lnTo>
                    <a:lnTo>
                      <a:pt x="455" y="325"/>
                    </a:lnTo>
                    <a:lnTo>
                      <a:pt x="458" y="325"/>
                    </a:lnTo>
                    <a:lnTo>
                      <a:pt x="462" y="329"/>
                    </a:lnTo>
                    <a:lnTo>
                      <a:pt x="460" y="339"/>
                    </a:lnTo>
                    <a:lnTo>
                      <a:pt x="458" y="342"/>
                    </a:lnTo>
                    <a:lnTo>
                      <a:pt x="460" y="344"/>
                    </a:lnTo>
                    <a:lnTo>
                      <a:pt x="462" y="350"/>
                    </a:lnTo>
                    <a:lnTo>
                      <a:pt x="458" y="350"/>
                    </a:lnTo>
                    <a:lnTo>
                      <a:pt x="455" y="347"/>
                    </a:lnTo>
                    <a:lnTo>
                      <a:pt x="450" y="347"/>
                    </a:lnTo>
                    <a:lnTo>
                      <a:pt x="443" y="344"/>
                    </a:lnTo>
                    <a:lnTo>
                      <a:pt x="438" y="342"/>
                    </a:lnTo>
                    <a:lnTo>
                      <a:pt x="435" y="337"/>
                    </a:lnTo>
                    <a:lnTo>
                      <a:pt x="430" y="337"/>
                    </a:lnTo>
                    <a:lnTo>
                      <a:pt x="423" y="340"/>
                    </a:lnTo>
                    <a:lnTo>
                      <a:pt x="417" y="340"/>
                    </a:lnTo>
                    <a:lnTo>
                      <a:pt x="410" y="337"/>
                    </a:lnTo>
                    <a:lnTo>
                      <a:pt x="403" y="337"/>
                    </a:lnTo>
                    <a:lnTo>
                      <a:pt x="398" y="340"/>
                    </a:lnTo>
                    <a:lnTo>
                      <a:pt x="392" y="337"/>
                    </a:lnTo>
                    <a:lnTo>
                      <a:pt x="383" y="335"/>
                    </a:lnTo>
                    <a:lnTo>
                      <a:pt x="378" y="339"/>
                    </a:lnTo>
                    <a:lnTo>
                      <a:pt x="365" y="334"/>
                    </a:lnTo>
                    <a:lnTo>
                      <a:pt x="354" y="327"/>
                    </a:lnTo>
                    <a:lnTo>
                      <a:pt x="347" y="327"/>
                    </a:lnTo>
                    <a:lnTo>
                      <a:pt x="340" y="324"/>
                    </a:lnTo>
                    <a:lnTo>
                      <a:pt x="337" y="324"/>
                    </a:lnTo>
                    <a:lnTo>
                      <a:pt x="334" y="327"/>
                    </a:lnTo>
                    <a:lnTo>
                      <a:pt x="329" y="327"/>
                    </a:lnTo>
                    <a:lnTo>
                      <a:pt x="325" y="324"/>
                    </a:lnTo>
                    <a:lnTo>
                      <a:pt x="322" y="324"/>
                    </a:lnTo>
                    <a:lnTo>
                      <a:pt x="319" y="329"/>
                    </a:lnTo>
                    <a:lnTo>
                      <a:pt x="307" y="325"/>
                    </a:lnTo>
                    <a:lnTo>
                      <a:pt x="300" y="320"/>
                    </a:lnTo>
                    <a:lnTo>
                      <a:pt x="292" y="319"/>
                    </a:lnTo>
                    <a:lnTo>
                      <a:pt x="289" y="319"/>
                    </a:lnTo>
                    <a:lnTo>
                      <a:pt x="285" y="320"/>
                    </a:lnTo>
                    <a:lnTo>
                      <a:pt x="279" y="319"/>
                    </a:lnTo>
                    <a:lnTo>
                      <a:pt x="272" y="317"/>
                    </a:lnTo>
                    <a:lnTo>
                      <a:pt x="270" y="315"/>
                    </a:lnTo>
                    <a:lnTo>
                      <a:pt x="274" y="310"/>
                    </a:lnTo>
                    <a:lnTo>
                      <a:pt x="275" y="309"/>
                    </a:lnTo>
                    <a:lnTo>
                      <a:pt x="272" y="309"/>
                    </a:lnTo>
                    <a:lnTo>
                      <a:pt x="269" y="310"/>
                    </a:lnTo>
                    <a:lnTo>
                      <a:pt x="265" y="307"/>
                    </a:lnTo>
                    <a:lnTo>
                      <a:pt x="264" y="304"/>
                    </a:lnTo>
                    <a:lnTo>
                      <a:pt x="259" y="305"/>
                    </a:lnTo>
                    <a:lnTo>
                      <a:pt x="249" y="305"/>
                    </a:lnTo>
                    <a:lnTo>
                      <a:pt x="246" y="304"/>
                    </a:lnTo>
                    <a:lnTo>
                      <a:pt x="246" y="302"/>
                    </a:lnTo>
                    <a:lnTo>
                      <a:pt x="247" y="302"/>
                    </a:lnTo>
                    <a:lnTo>
                      <a:pt x="247" y="302"/>
                    </a:lnTo>
                    <a:close/>
                    <a:moveTo>
                      <a:pt x="310" y="55"/>
                    </a:moveTo>
                    <a:lnTo>
                      <a:pt x="315" y="59"/>
                    </a:lnTo>
                    <a:lnTo>
                      <a:pt x="317" y="59"/>
                    </a:lnTo>
                    <a:lnTo>
                      <a:pt x="317" y="63"/>
                    </a:lnTo>
                    <a:lnTo>
                      <a:pt x="320" y="63"/>
                    </a:lnTo>
                    <a:lnTo>
                      <a:pt x="322" y="56"/>
                    </a:lnTo>
                    <a:lnTo>
                      <a:pt x="317" y="50"/>
                    </a:lnTo>
                    <a:lnTo>
                      <a:pt x="312" y="51"/>
                    </a:lnTo>
                    <a:lnTo>
                      <a:pt x="310" y="55"/>
                    </a:lnTo>
                    <a:lnTo>
                      <a:pt x="310" y="55"/>
                    </a:lnTo>
                    <a:close/>
                    <a:moveTo>
                      <a:pt x="270" y="81"/>
                    </a:moveTo>
                    <a:lnTo>
                      <a:pt x="270" y="86"/>
                    </a:lnTo>
                    <a:lnTo>
                      <a:pt x="272" y="84"/>
                    </a:lnTo>
                    <a:lnTo>
                      <a:pt x="270" y="81"/>
                    </a:lnTo>
                    <a:lnTo>
                      <a:pt x="270" y="81"/>
                    </a:lnTo>
                    <a:close/>
                    <a:moveTo>
                      <a:pt x="270" y="73"/>
                    </a:moveTo>
                    <a:lnTo>
                      <a:pt x="272" y="69"/>
                    </a:lnTo>
                    <a:lnTo>
                      <a:pt x="269" y="69"/>
                    </a:lnTo>
                    <a:lnTo>
                      <a:pt x="270" y="73"/>
                    </a:lnTo>
                    <a:lnTo>
                      <a:pt x="270" y="73"/>
                    </a:lnTo>
                    <a:close/>
                    <a:moveTo>
                      <a:pt x="270" y="74"/>
                    </a:moveTo>
                    <a:lnTo>
                      <a:pt x="269" y="78"/>
                    </a:lnTo>
                    <a:lnTo>
                      <a:pt x="272" y="78"/>
                    </a:lnTo>
                    <a:lnTo>
                      <a:pt x="270" y="74"/>
                    </a:lnTo>
                    <a:lnTo>
                      <a:pt x="270" y="74"/>
                    </a:lnTo>
                    <a:close/>
                    <a:moveTo>
                      <a:pt x="256" y="79"/>
                    </a:moveTo>
                    <a:lnTo>
                      <a:pt x="256" y="83"/>
                    </a:lnTo>
                    <a:lnTo>
                      <a:pt x="257" y="84"/>
                    </a:lnTo>
                    <a:lnTo>
                      <a:pt x="262" y="79"/>
                    </a:lnTo>
                    <a:lnTo>
                      <a:pt x="259" y="78"/>
                    </a:lnTo>
                    <a:lnTo>
                      <a:pt x="256" y="79"/>
                    </a:lnTo>
                    <a:lnTo>
                      <a:pt x="256" y="79"/>
                    </a:lnTo>
                    <a:close/>
                    <a:moveTo>
                      <a:pt x="214" y="128"/>
                    </a:moveTo>
                    <a:lnTo>
                      <a:pt x="219" y="128"/>
                    </a:lnTo>
                    <a:lnTo>
                      <a:pt x="221" y="124"/>
                    </a:lnTo>
                    <a:lnTo>
                      <a:pt x="221" y="121"/>
                    </a:lnTo>
                    <a:lnTo>
                      <a:pt x="214" y="128"/>
                    </a:lnTo>
                    <a:lnTo>
                      <a:pt x="214" y="128"/>
                    </a:lnTo>
                    <a:close/>
                    <a:moveTo>
                      <a:pt x="226" y="123"/>
                    </a:moveTo>
                    <a:lnTo>
                      <a:pt x="224" y="128"/>
                    </a:lnTo>
                    <a:lnTo>
                      <a:pt x="229" y="129"/>
                    </a:lnTo>
                    <a:lnTo>
                      <a:pt x="231" y="134"/>
                    </a:lnTo>
                    <a:lnTo>
                      <a:pt x="234" y="133"/>
                    </a:lnTo>
                    <a:lnTo>
                      <a:pt x="234" y="126"/>
                    </a:lnTo>
                    <a:lnTo>
                      <a:pt x="232" y="124"/>
                    </a:lnTo>
                    <a:lnTo>
                      <a:pt x="234" y="121"/>
                    </a:lnTo>
                    <a:lnTo>
                      <a:pt x="232" y="121"/>
                    </a:lnTo>
                    <a:lnTo>
                      <a:pt x="229" y="123"/>
                    </a:lnTo>
                    <a:lnTo>
                      <a:pt x="226" y="123"/>
                    </a:lnTo>
                    <a:lnTo>
                      <a:pt x="226" y="123"/>
                    </a:lnTo>
                    <a:close/>
                    <a:moveTo>
                      <a:pt x="334" y="189"/>
                    </a:moveTo>
                    <a:lnTo>
                      <a:pt x="334" y="191"/>
                    </a:lnTo>
                    <a:lnTo>
                      <a:pt x="337" y="192"/>
                    </a:lnTo>
                    <a:lnTo>
                      <a:pt x="339" y="191"/>
                    </a:lnTo>
                    <a:lnTo>
                      <a:pt x="337" y="189"/>
                    </a:lnTo>
                    <a:lnTo>
                      <a:pt x="334" y="189"/>
                    </a:lnTo>
                    <a:lnTo>
                      <a:pt x="334" y="189"/>
                    </a:lnTo>
                    <a:close/>
                    <a:moveTo>
                      <a:pt x="302" y="209"/>
                    </a:moveTo>
                    <a:lnTo>
                      <a:pt x="304" y="212"/>
                    </a:lnTo>
                    <a:lnTo>
                      <a:pt x="302" y="214"/>
                    </a:lnTo>
                    <a:lnTo>
                      <a:pt x="297" y="216"/>
                    </a:lnTo>
                    <a:lnTo>
                      <a:pt x="295" y="217"/>
                    </a:lnTo>
                    <a:lnTo>
                      <a:pt x="300" y="219"/>
                    </a:lnTo>
                    <a:lnTo>
                      <a:pt x="300" y="217"/>
                    </a:lnTo>
                    <a:lnTo>
                      <a:pt x="304" y="216"/>
                    </a:lnTo>
                    <a:lnTo>
                      <a:pt x="304" y="221"/>
                    </a:lnTo>
                    <a:lnTo>
                      <a:pt x="307" y="226"/>
                    </a:lnTo>
                    <a:lnTo>
                      <a:pt x="310" y="219"/>
                    </a:lnTo>
                    <a:lnTo>
                      <a:pt x="314" y="222"/>
                    </a:lnTo>
                    <a:lnTo>
                      <a:pt x="317" y="224"/>
                    </a:lnTo>
                    <a:lnTo>
                      <a:pt x="319" y="221"/>
                    </a:lnTo>
                    <a:lnTo>
                      <a:pt x="322" y="219"/>
                    </a:lnTo>
                    <a:lnTo>
                      <a:pt x="320" y="214"/>
                    </a:lnTo>
                    <a:lnTo>
                      <a:pt x="312" y="209"/>
                    </a:lnTo>
                    <a:lnTo>
                      <a:pt x="304" y="207"/>
                    </a:lnTo>
                    <a:lnTo>
                      <a:pt x="302" y="209"/>
                    </a:lnTo>
                    <a:lnTo>
                      <a:pt x="302" y="209"/>
                    </a:lnTo>
                    <a:close/>
                    <a:moveTo>
                      <a:pt x="285" y="217"/>
                    </a:moveTo>
                    <a:lnTo>
                      <a:pt x="285" y="221"/>
                    </a:lnTo>
                    <a:lnTo>
                      <a:pt x="287" y="219"/>
                    </a:lnTo>
                    <a:lnTo>
                      <a:pt x="285" y="217"/>
                    </a:lnTo>
                    <a:lnTo>
                      <a:pt x="285" y="217"/>
                    </a:lnTo>
                    <a:close/>
                    <a:moveTo>
                      <a:pt x="251" y="189"/>
                    </a:moveTo>
                    <a:lnTo>
                      <a:pt x="251" y="192"/>
                    </a:lnTo>
                    <a:lnTo>
                      <a:pt x="246" y="196"/>
                    </a:lnTo>
                    <a:lnTo>
                      <a:pt x="249" y="199"/>
                    </a:lnTo>
                    <a:lnTo>
                      <a:pt x="257" y="199"/>
                    </a:lnTo>
                    <a:lnTo>
                      <a:pt x="261" y="202"/>
                    </a:lnTo>
                    <a:lnTo>
                      <a:pt x="261" y="206"/>
                    </a:lnTo>
                    <a:lnTo>
                      <a:pt x="264" y="207"/>
                    </a:lnTo>
                    <a:lnTo>
                      <a:pt x="265" y="214"/>
                    </a:lnTo>
                    <a:lnTo>
                      <a:pt x="270" y="217"/>
                    </a:lnTo>
                    <a:lnTo>
                      <a:pt x="275" y="216"/>
                    </a:lnTo>
                    <a:lnTo>
                      <a:pt x="277" y="221"/>
                    </a:lnTo>
                    <a:lnTo>
                      <a:pt x="279" y="222"/>
                    </a:lnTo>
                    <a:lnTo>
                      <a:pt x="280" y="219"/>
                    </a:lnTo>
                    <a:lnTo>
                      <a:pt x="279" y="214"/>
                    </a:lnTo>
                    <a:lnTo>
                      <a:pt x="282" y="209"/>
                    </a:lnTo>
                    <a:lnTo>
                      <a:pt x="274" y="207"/>
                    </a:lnTo>
                    <a:lnTo>
                      <a:pt x="269" y="202"/>
                    </a:lnTo>
                    <a:lnTo>
                      <a:pt x="267" y="192"/>
                    </a:lnTo>
                    <a:lnTo>
                      <a:pt x="265" y="191"/>
                    </a:lnTo>
                    <a:lnTo>
                      <a:pt x="264" y="187"/>
                    </a:lnTo>
                    <a:lnTo>
                      <a:pt x="261" y="186"/>
                    </a:lnTo>
                    <a:lnTo>
                      <a:pt x="257" y="186"/>
                    </a:lnTo>
                    <a:lnTo>
                      <a:pt x="259" y="189"/>
                    </a:lnTo>
                    <a:lnTo>
                      <a:pt x="261" y="192"/>
                    </a:lnTo>
                    <a:lnTo>
                      <a:pt x="256" y="191"/>
                    </a:lnTo>
                    <a:lnTo>
                      <a:pt x="252" y="187"/>
                    </a:lnTo>
                    <a:lnTo>
                      <a:pt x="251" y="189"/>
                    </a:lnTo>
                    <a:lnTo>
                      <a:pt x="251" y="189"/>
                    </a:lnTo>
                    <a:close/>
                    <a:moveTo>
                      <a:pt x="227" y="162"/>
                    </a:moveTo>
                    <a:lnTo>
                      <a:pt x="226" y="166"/>
                    </a:lnTo>
                    <a:lnTo>
                      <a:pt x="229" y="169"/>
                    </a:lnTo>
                    <a:lnTo>
                      <a:pt x="234" y="166"/>
                    </a:lnTo>
                    <a:lnTo>
                      <a:pt x="232" y="162"/>
                    </a:lnTo>
                    <a:lnTo>
                      <a:pt x="227" y="162"/>
                    </a:lnTo>
                    <a:lnTo>
                      <a:pt x="227" y="162"/>
                    </a:lnTo>
                    <a:close/>
                    <a:moveTo>
                      <a:pt x="231" y="153"/>
                    </a:moveTo>
                    <a:lnTo>
                      <a:pt x="229" y="157"/>
                    </a:lnTo>
                    <a:lnTo>
                      <a:pt x="231" y="159"/>
                    </a:lnTo>
                    <a:lnTo>
                      <a:pt x="236" y="159"/>
                    </a:lnTo>
                    <a:lnTo>
                      <a:pt x="241" y="161"/>
                    </a:lnTo>
                    <a:lnTo>
                      <a:pt x="242" y="159"/>
                    </a:lnTo>
                    <a:lnTo>
                      <a:pt x="236" y="154"/>
                    </a:lnTo>
                    <a:lnTo>
                      <a:pt x="231" y="153"/>
                    </a:lnTo>
                    <a:lnTo>
                      <a:pt x="231" y="153"/>
                    </a:lnTo>
                    <a:close/>
                    <a:moveTo>
                      <a:pt x="182" y="123"/>
                    </a:moveTo>
                    <a:lnTo>
                      <a:pt x="179" y="129"/>
                    </a:lnTo>
                    <a:lnTo>
                      <a:pt x="181" y="133"/>
                    </a:lnTo>
                    <a:lnTo>
                      <a:pt x="189" y="134"/>
                    </a:lnTo>
                    <a:lnTo>
                      <a:pt x="194" y="136"/>
                    </a:lnTo>
                    <a:lnTo>
                      <a:pt x="196" y="134"/>
                    </a:lnTo>
                    <a:lnTo>
                      <a:pt x="194" y="129"/>
                    </a:lnTo>
                    <a:lnTo>
                      <a:pt x="189" y="124"/>
                    </a:lnTo>
                    <a:lnTo>
                      <a:pt x="182" y="123"/>
                    </a:lnTo>
                    <a:lnTo>
                      <a:pt x="182" y="123"/>
                    </a:lnTo>
                    <a:close/>
                    <a:moveTo>
                      <a:pt x="169" y="116"/>
                    </a:moveTo>
                    <a:lnTo>
                      <a:pt x="172" y="116"/>
                    </a:lnTo>
                    <a:lnTo>
                      <a:pt x="177" y="118"/>
                    </a:lnTo>
                    <a:lnTo>
                      <a:pt x="181" y="121"/>
                    </a:lnTo>
                    <a:lnTo>
                      <a:pt x="177" y="126"/>
                    </a:lnTo>
                    <a:lnTo>
                      <a:pt x="176" y="124"/>
                    </a:lnTo>
                    <a:lnTo>
                      <a:pt x="169" y="116"/>
                    </a:lnTo>
                    <a:lnTo>
                      <a:pt x="169" y="116"/>
                    </a:lnTo>
                    <a:close/>
                    <a:moveTo>
                      <a:pt x="153" y="106"/>
                    </a:moveTo>
                    <a:lnTo>
                      <a:pt x="156" y="113"/>
                    </a:lnTo>
                    <a:lnTo>
                      <a:pt x="159" y="111"/>
                    </a:lnTo>
                    <a:lnTo>
                      <a:pt x="164" y="108"/>
                    </a:lnTo>
                    <a:lnTo>
                      <a:pt x="159" y="103"/>
                    </a:lnTo>
                    <a:lnTo>
                      <a:pt x="156" y="104"/>
                    </a:lnTo>
                    <a:lnTo>
                      <a:pt x="153" y="106"/>
                    </a:lnTo>
                    <a:lnTo>
                      <a:pt x="153" y="106"/>
                    </a:lnTo>
                    <a:close/>
                    <a:moveTo>
                      <a:pt x="169" y="270"/>
                    </a:moveTo>
                    <a:lnTo>
                      <a:pt x="176" y="274"/>
                    </a:lnTo>
                    <a:lnTo>
                      <a:pt x="176" y="270"/>
                    </a:lnTo>
                    <a:lnTo>
                      <a:pt x="172" y="269"/>
                    </a:lnTo>
                    <a:lnTo>
                      <a:pt x="169" y="270"/>
                    </a:lnTo>
                    <a:lnTo>
                      <a:pt x="169" y="270"/>
                    </a:lnTo>
                    <a:close/>
                    <a:moveTo>
                      <a:pt x="124" y="214"/>
                    </a:moveTo>
                    <a:lnTo>
                      <a:pt x="121" y="219"/>
                    </a:lnTo>
                    <a:lnTo>
                      <a:pt x="131" y="226"/>
                    </a:lnTo>
                    <a:lnTo>
                      <a:pt x="129" y="222"/>
                    </a:lnTo>
                    <a:lnTo>
                      <a:pt x="129" y="219"/>
                    </a:lnTo>
                    <a:lnTo>
                      <a:pt x="124" y="214"/>
                    </a:lnTo>
                    <a:lnTo>
                      <a:pt x="124" y="214"/>
                    </a:lnTo>
                    <a:close/>
                    <a:moveTo>
                      <a:pt x="118" y="211"/>
                    </a:moveTo>
                    <a:lnTo>
                      <a:pt x="121" y="212"/>
                    </a:lnTo>
                    <a:lnTo>
                      <a:pt x="118" y="216"/>
                    </a:lnTo>
                    <a:lnTo>
                      <a:pt x="118" y="211"/>
                    </a:lnTo>
                    <a:lnTo>
                      <a:pt x="118" y="211"/>
                    </a:lnTo>
                    <a:close/>
                    <a:moveTo>
                      <a:pt x="108" y="197"/>
                    </a:moveTo>
                    <a:lnTo>
                      <a:pt x="106" y="199"/>
                    </a:lnTo>
                    <a:lnTo>
                      <a:pt x="109" y="202"/>
                    </a:lnTo>
                    <a:lnTo>
                      <a:pt x="114" y="204"/>
                    </a:lnTo>
                    <a:lnTo>
                      <a:pt x="108" y="197"/>
                    </a:lnTo>
                    <a:lnTo>
                      <a:pt x="108" y="197"/>
                    </a:lnTo>
                    <a:close/>
                    <a:moveTo>
                      <a:pt x="83" y="177"/>
                    </a:moveTo>
                    <a:lnTo>
                      <a:pt x="83" y="181"/>
                    </a:lnTo>
                    <a:lnTo>
                      <a:pt x="88" y="182"/>
                    </a:lnTo>
                    <a:lnTo>
                      <a:pt x="94" y="191"/>
                    </a:lnTo>
                    <a:lnTo>
                      <a:pt x="99" y="192"/>
                    </a:lnTo>
                    <a:lnTo>
                      <a:pt x="99" y="184"/>
                    </a:lnTo>
                    <a:lnTo>
                      <a:pt x="93" y="174"/>
                    </a:lnTo>
                    <a:lnTo>
                      <a:pt x="88" y="172"/>
                    </a:lnTo>
                    <a:lnTo>
                      <a:pt x="83" y="177"/>
                    </a:lnTo>
                    <a:lnTo>
                      <a:pt x="83" y="177"/>
                    </a:lnTo>
                    <a:close/>
                    <a:moveTo>
                      <a:pt x="79" y="161"/>
                    </a:moveTo>
                    <a:lnTo>
                      <a:pt x="76" y="166"/>
                    </a:lnTo>
                    <a:lnTo>
                      <a:pt x="79" y="167"/>
                    </a:lnTo>
                    <a:lnTo>
                      <a:pt x="83" y="166"/>
                    </a:lnTo>
                    <a:lnTo>
                      <a:pt x="83" y="162"/>
                    </a:lnTo>
                    <a:lnTo>
                      <a:pt x="79" y="161"/>
                    </a:lnTo>
                    <a:lnTo>
                      <a:pt x="79" y="161"/>
                    </a:lnTo>
                    <a:close/>
                    <a:moveTo>
                      <a:pt x="83" y="149"/>
                    </a:moveTo>
                    <a:lnTo>
                      <a:pt x="88" y="149"/>
                    </a:lnTo>
                    <a:lnTo>
                      <a:pt x="89" y="149"/>
                    </a:lnTo>
                    <a:lnTo>
                      <a:pt x="91" y="148"/>
                    </a:lnTo>
                    <a:lnTo>
                      <a:pt x="84" y="146"/>
                    </a:lnTo>
                    <a:lnTo>
                      <a:pt x="83" y="149"/>
                    </a:lnTo>
                    <a:lnTo>
                      <a:pt x="83" y="149"/>
                    </a:lnTo>
                    <a:close/>
                    <a:moveTo>
                      <a:pt x="48" y="119"/>
                    </a:moveTo>
                    <a:lnTo>
                      <a:pt x="53" y="119"/>
                    </a:lnTo>
                    <a:lnTo>
                      <a:pt x="55" y="116"/>
                    </a:lnTo>
                    <a:lnTo>
                      <a:pt x="58" y="118"/>
                    </a:lnTo>
                    <a:lnTo>
                      <a:pt x="61" y="124"/>
                    </a:lnTo>
                    <a:lnTo>
                      <a:pt x="66" y="128"/>
                    </a:lnTo>
                    <a:lnTo>
                      <a:pt x="66" y="131"/>
                    </a:lnTo>
                    <a:lnTo>
                      <a:pt x="65" y="136"/>
                    </a:lnTo>
                    <a:lnTo>
                      <a:pt x="63" y="138"/>
                    </a:lnTo>
                    <a:lnTo>
                      <a:pt x="58" y="129"/>
                    </a:lnTo>
                    <a:lnTo>
                      <a:pt x="55" y="129"/>
                    </a:lnTo>
                    <a:lnTo>
                      <a:pt x="53" y="124"/>
                    </a:lnTo>
                    <a:lnTo>
                      <a:pt x="48" y="119"/>
                    </a:lnTo>
                    <a:lnTo>
                      <a:pt x="48" y="119"/>
                    </a:lnTo>
                    <a:close/>
                    <a:moveTo>
                      <a:pt x="48" y="103"/>
                    </a:moveTo>
                    <a:lnTo>
                      <a:pt x="53" y="104"/>
                    </a:lnTo>
                    <a:lnTo>
                      <a:pt x="51" y="101"/>
                    </a:lnTo>
                    <a:lnTo>
                      <a:pt x="48" y="103"/>
                    </a:lnTo>
                    <a:lnTo>
                      <a:pt x="48" y="103"/>
                    </a:lnTo>
                    <a:close/>
                    <a:moveTo>
                      <a:pt x="15" y="83"/>
                    </a:moveTo>
                    <a:lnTo>
                      <a:pt x="13" y="84"/>
                    </a:lnTo>
                    <a:lnTo>
                      <a:pt x="11" y="88"/>
                    </a:lnTo>
                    <a:lnTo>
                      <a:pt x="16" y="91"/>
                    </a:lnTo>
                    <a:lnTo>
                      <a:pt x="21" y="89"/>
                    </a:lnTo>
                    <a:lnTo>
                      <a:pt x="18" y="86"/>
                    </a:lnTo>
                    <a:lnTo>
                      <a:pt x="15" y="83"/>
                    </a:lnTo>
                    <a:lnTo>
                      <a:pt x="15" y="83"/>
                    </a:lnTo>
                    <a:close/>
                    <a:moveTo>
                      <a:pt x="0" y="21"/>
                    </a:moveTo>
                    <a:lnTo>
                      <a:pt x="0" y="25"/>
                    </a:lnTo>
                    <a:lnTo>
                      <a:pt x="1" y="30"/>
                    </a:lnTo>
                    <a:lnTo>
                      <a:pt x="6" y="43"/>
                    </a:lnTo>
                    <a:lnTo>
                      <a:pt x="11" y="45"/>
                    </a:lnTo>
                    <a:lnTo>
                      <a:pt x="21" y="55"/>
                    </a:lnTo>
                    <a:lnTo>
                      <a:pt x="25" y="55"/>
                    </a:lnTo>
                    <a:lnTo>
                      <a:pt x="31" y="61"/>
                    </a:lnTo>
                    <a:lnTo>
                      <a:pt x="35" y="63"/>
                    </a:lnTo>
                    <a:lnTo>
                      <a:pt x="38" y="61"/>
                    </a:lnTo>
                    <a:lnTo>
                      <a:pt x="45" y="68"/>
                    </a:lnTo>
                    <a:lnTo>
                      <a:pt x="55" y="79"/>
                    </a:lnTo>
                    <a:lnTo>
                      <a:pt x="63" y="88"/>
                    </a:lnTo>
                    <a:lnTo>
                      <a:pt x="65" y="88"/>
                    </a:lnTo>
                    <a:lnTo>
                      <a:pt x="65" y="93"/>
                    </a:lnTo>
                    <a:lnTo>
                      <a:pt x="68" y="94"/>
                    </a:lnTo>
                    <a:lnTo>
                      <a:pt x="68" y="101"/>
                    </a:lnTo>
                    <a:lnTo>
                      <a:pt x="71" y="103"/>
                    </a:lnTo>
                    <a:lnTo>
                      <a:pt x="76" y="103"/>
                    </a:lnTo>
                    <a:lnTo>
                      <a:pt x="83" y="111"/>
                    </a:lnTo>
                    <a:lnTo>
                      <a:pt x="86" y="113"/>
                    </a:lnTo>
                    <a:lnTo>
                      <a:pt x="89" y="111"/>
                    </a:lnTo>
                    <a:lnTo>
                      <a:pt x="89" y="114"/>
                    </a:lnTo>
                    <a:lnTo>
                      <a:pt x="88" y="118"/>
                    </a:lnTo>
                    <a:lnTo>
                      <a:pt x="91" y="119"/>
                    </a:lnTo>
                    <a:lnTo>
                      <a:pt x="93" y="126"/>
                    </a:lnTo>
                    <a:lnTo>
                      <a:pt x="93" y="128"/>
                    </a:lnTo>
                    <a:lnTo>
                      <a:pt x="98" y="139"/>
                    </a:lnTo>
                    <a:lnTo>
                      <a:pt x="99" y="146"/>
                    </a:lnTo>
                    <a:lnTo>
                      <a:pt x="106" y="148"/>
                    </a:lnTo>
                    <a:lnTo>
                      <a:pt x="114" y="151"/>
                    </a:lnTo>
                    <a:lnTo>
                      <a:pt x="114" y="154"/>
                    </a:lnTo>
                    <a:lnTo>
                      <a:pt x="119" y="164"/>
                    </a:lnTo>
                    <a:lnTo>
                      <a:pt x="124" y="167"/>
                    </a:lnTo>
                    <a:lnTo>
                      <a:pt x="126" y="179"/>
                    </a:lnTo>
                    <a:lnTo>
                      <a:pt x="136" y="194"/>
                    </a:lnTo>
                    <a:lnTo>
                      <a:pt x="134" y="201"/>
                    </a:lnTo>
                    <a:lnTo>
                      <a:pt x="138" y="206"/>
                    </a:lnTo>
                    <a:lnTo>
                      <a:pt x="146" y="212"/>
                    </a:lnTo>
                    <a:lnTo>
                      <a:pt x="154" y="222"/>
                    </a:lnTo>
                    <a:lnTo>
                      <a:pt x="158" y="227"/>
                    </a:lnTo>
                    <a:lnTo>
                      <a:pt x="164" y="229"/>
                    </a:lnTo>
                    <a:lnTo>
                      <a:pt x="166" y="231"/>
                    </a:lnTo>
                    <a:lnTo>
                      <a:pt x="172" y="234"/>
                    </a:lnTo>
                    <a:lnTo>
                      <a:pt x="172" y="241"/>
                    </a:lnTo>
                    <a:lnTo>
                      <a:pt x="177" y="244"/>
                    </a:lnTo>
                    <a:lnTo>
                      <a:pt x="184" y="251"/>
                    </a:lnTo>
                    <a:lnTo>
                      <a:pt x="196" y="255"/>
                    </a:lnTo>
                    <a:lnTo>
                      <a:pt x="197" y="260"/>
                    </a:lnTo>
                    <a:lnTo>
                      <a:pt x="204" y="262"/>
                    </a:lnTo>
                    <a:lnTo>
                      <a:pt x="219" y="274"/>
                    </a:lnTo>
                    <a:lnTo>
                      <a:pt x="221" y="279"/>
                    </a:lnTo>
                    <a:lnTo>
                      <a:pt x="224" y="280"/>
                    </a:lnTo>
                    <a:lnTo>
                      <a:pt x="227" y="285"/>
                    </a:lnTo>
                    <a:lnTo>
                      <a:pt x="229" y="284"/>
                    </a:lnTo>
                    <a:lnTo>
                      <a:pt x="229" y="279"/>
                    </a:lnTo>
                    <a:lnTo>
                      <a:pt x="227" y="277"/>
                    </a:lnTo>
                    <a:lnTo>
                      <a:pt x="227" y="274"/>
                    </a:lnTo>
                    <a:lnTo>
                      <a:pt x="232" y="275"/>
                    </a:lnTo>
                    <a:lnTo>
                      <a:pt x="241" y="282"/>
                    </a:lnTo>
                    <a:lnTo>
                      <a:pt x="242" y="282"/>
                    </a:lnTo>
                    <a:lnTo>
                      <a:pt x="242" y="275"/>
                    </a:lnTo>
                    <a:lnTo>
                      <a:pt x="246" y="272"/>
                    </a:lnTo>
                    <a:lnTo>
                      <a:pt x="249" y="274"/>
                    </a:lnTo>
                    <a:lnTo>
                      <a:pt x="254" y="280"/>
                    </a:lnTo>
                    <a:lnTo>
                      <a:pt x="256" y="280"/>
                    </a:lnTo>
                    <a:lnTo>
                      <a:pt x="259" y="277"/>
                    </a:lnTo>
                    <a:lnTo>
                      <a:pt x="259" y="267"/>
                    </a:lnTo>
                    <a:lnTo>
                      <a:pt x="262" y="255"/>
                    </a:lnTo>
                    <a:lnTo>
                      <a:pt x="259" y="247"/>
                    </a:lnTo>
                    <a:lnTo>
                      <a:pt x="262" y="239"/>
                    </a:lnTo>
                    <a:lnTo>
                      <a:pt x="261" y="236"/>
                    </a:lnTo>
                    <a:lnTo>
                      <a:pt x="261" y="229"/>
                    </a:lnTo>
                    <a:lnTo>
                      <a:pt x="265" y="227"/>
                    </a:lnTo>
                    <a:lnTo>
                      <a:pt x="267" y="224"/>
                    </a:lnTo>
                    <a:lnTo>
                      <a:pt x="267" y="221"/>
                    </a:lnTo>
                    <a:lnTo>
                      <a:pt x="262" y="219"/>
                    </a:lnTo>
                    <a:lnTo>
                      <a:pt x="259" y="216"/>
                    </a:lnTo>
                    <a:lnTo>
                      <a:pt x="257" y="211"/>
                    </a:lnTo>
                    <a:lnTo>
                      <a:pt x="254" y="209"/>
                    </a:lnTo>
                    <a:lnTo>
                      <a:pt x="252" y="206"/>
                    </a:lnTo>
                    <a:lnTo>
                      <a:pt x="247" y="204"/>
                    </a:lnTo>
                    <a:lnTo>
                      <a:pt x="241" y="204"/>
                    </a:lnTo>
                    <a:lnTo>
                      <a:pt x="236" y="204"/>
                    </a:lnTo>
                    <a:lnTo>
                      <a:pt x="236" y="197"/>
                    </a:lnTo>
                    <a:lnTo>
                      <a:pt x="232" y="192"/>
                    </a:lnTo>
                    <a:lnTo>
                      <a:pt x="229" y="194"/>
                    </a:lnTo>
                    <a:lnTo>
                      <a:pt x="231" y="191"/>
                    </a:lnTo>
                    <a:lnTo>
                      <a:pt x="229" y="186"/>
                    </a:lnTo>
                    <a:lnTo>
                      <a:pt x="227" y="176"/>
                    </a:lnTo>
                    <a:lnTo>
                      <a:pt x="222" y="177"/>
                    </a:lnTo>
                    <a:lnTo>
                      <a:pt x="219" y="176"/>
                    </a:lnTo>
                    <a:lnTo>
                      <a:pt x="211" y="174"/>
                    </a:lnTo>
                    <a:lnTo>
                      <a:pt x="202" y="169"/>
                    </a:lnTo>
                    <a:lnTo>
                      <a:pt x="202" y="166"/>
                    </a:lnTo>
                    <a:lnTo>
                      <a:pt x="207" y="164"/>
                    </a:lnTo>
                    <a:lnTo>
                      <a:pt x="212" y="161"/>
                    </a:lnTo>
                    <a:lnTo>
                      <a:pt x="209" y="159"/>
                    </a:lnTo>
                    <a:lnTo>
                      <a:pt x="204" y="161"/>
                    </a:lnTo>
                    <a:lnTo>
                      <a:pt x="201" y="159"/>
                    </a:lnTo>
                    <a:lnTo>
                      <a:pt x="196" y="161"/>
                    </a:lnTo>
                    <a:lnTo>
                      <a:pt x="199" y="157"/>
                    </a:lnTo>
                    <a:lnTo>
                      <a:pt x="206" y="154"/>
                    </a:lnTo>
                    <a:lnTo>
                      <a:pt x="212" y="153"/>
                    </a:lnTo>
                    <a:lnTo>
                      <a:pt x="211" y="149"/>
                    </a:lnTo>
                    <a:lnTo>
                      <a:pt x="204" y="141"/>
                    </a:lnTo>
                    <a:lnTo>
                      <a:pt x="199" y="141"/>
                    </a:lnTo>
                    <a:lnTo>
                      <a:pt x="194" y="144"/>
                    </a:lnTo>
                    <a:lnTo>
                      <a:pt x="189" y="148"/>
                    </a:lnTo>
                    <a:lnTo>
                      <a:pt x="182" y="148"/>
                    </a:lnTo>
                    <a:lnTo>
                      <a:pt x="186" y="146"/>
                    </a:lnTo>
                    <a:lnTo>
                      <a:pt x="189" y="144"/>
                    </a:lnTo>
                    <a:lnTo>
                      <a:pt x="191" y="144"/>
                    </a:lnTo>
                    <a:lnTo>
                      <a:pt x="192" y="141"/>
                    </a:lnTo>
                    <a:lnTo>
                      <a:pt x="192" y="138"/>
                    </a:lnTo>
                    <a:lnTo>
                      <a:pt x="186" y="136"/>
                    </a:lnTo>
                    <a:lnTo>
                      <a:pt x="177" y="136"/>
                    </a:lnTo>
                    <a:lnTo>
                      <a:pt x="172" y="131"/>
                    </a:lnTo>
                    <a:lnTo>
                      <a:pt x="172" y="129"/>
                    </a:lnTo>
                    <a:lnTo>
                      <a:pt x="171" y="123"/>
                    </a:lnTo>
                    <a:lnTo>
                      <a:pt x="161" y="114"/>
                    </a:lnTo>
                    <a:lnTo>
                      <a:pt x="158" y="113"/>
                    </a:lnTo>
                    <a:lnTo>
                      <a:pt x="154" y="114"/>
                    </a:lnTo>
                    <a:lnTo>
                      <a:pt x="151" y="111"/>
                    </a:lnTo>
                    <a:lnTo>
                      <a:pt x="149" y="103"/>
                    </a:lnTo>
                    <a:lnTo>
                      <a:pt x="143" y="98"/>
                    </a:lnTo>
                    <a:lnTo>
                      <a:pt x="133" y="93"/>
                    </a:lnTo>
                    <a:lnTo>
                      <a:pt x="128" y="93"/>
                    </a:lnTo>
                    <a:lnTo>
                      <a:pt x="126" y="94"/>
                    </a:lnTo>
                    <a:lnTo>
                      <a:pt x="124" y="93"/>
                    </a:lnTo>
                    <a:lnTo>
                      <a:pt x="123" y="86"/>
                    </a:lnTo>
                    <a:lnTo>
                      <a:pt x="119" y="89"/>
                    </a:lnTo>
                    <a:lnTo>
                      <a:pt x="116" y="86"/>
                    </a:lnTo>
                    <a:lnTo>
                      <a:pt x="116" y="79"/>
                    </a:lnTo>
                    <a:lnTo>
                      <a:pt x="111" y="74"/>
                    </a:lnTo>
                    <a:lnTo>
                      <a:pt x="106" y="74"/>
                    </a:lnTo>
                    <a:lnTo>
                      <a:pt x="104" y="71"/>
                    </a:lnTo>
                    <a:lnTo>
                      <a:pt x="91" y="63"/>
                    </a:lnTo>
                    <a:lnTo>
                      <a:pt x="86" y="63"/>
                    </a:lnTo>
                    <a:lnTo>
                      <a:pt x="79" y="56"/>
                    </a:lnTo>
                    <a:lnTo>
                      <a:pt x="74" y="56"/>
                    </a:lnTo>
                    <a:lnTo>
                      <a:pt x="73" y="53"/>
                    </a:lnTo>
                    <a:lnTo>
                      <a:pt x="71" y="45"/>
                    </a:lnTo>
                    <a:lnTo>
                      <a:pt x="66" y="43"/>
                    </a:lnTo>
                    <a:lnTo>
                      <a:pt x="65" y="38"/>
                    </a:lnTo>
                    <a:lnTo>
                      <a:pt x="61" y="36"/>
                    </a:lnTo>
                    <a:lnTo>
                      <a:pt x="58" y="31"/>
                    </a:lnTo>
                    <a:lnTo>
                      <a:pt x="53" y="30"/>
                    </a:lnTo>
                    <a:lnTo>
                      <a:pt x="48" y="30"/>
                    </a:lnTo>
                    <a:lnTo>
                      <a:pt x="45" y="30"/>
                    </a:lnTo>
                    <a:lnTo>
                      <a:pt x="41" y="28"/>
                    </a:lnTo>
                    <a:lnTo>
                      <a:pt x="36" y="28"/>
                    </a:lnTo>
                    <a:lnTo>
                      <a:pt x="28" y="30"/>
                    </a:lnTo>
                    <a:lnTo>
                      <a:pt x="25" y="28"/>
                    </a:lnTo>
                    <a:lnTo>
                      <a:pt x="15" y="21"/>
                    </a:lnTo>
                    <a:lnTo>
                      <a:pt x="5" y="2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9" name="Freeform 16"/>
              <p:cNvSpPr>
                <a:spLocks noEditPoints="1"/>
              </p:cNvSpPr>
              <p:nvPr/>
            </p:nvSpPr>
            <p:spPr bwMode="auto">
              <a:xfrm>
                <a:off x="8028949" y="3373473"/>
                <a:ext cx="41739" cy="11414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3" y="21"/>
                  </a:cxn>
                  <a:cxn ang="0">
                    <a:pos x="10" y="19"/>
                  </a:cxn>
                  <a:cxn ang="0">
                    <a:pos x="13" y="19"/>
                  </a:cxn>
                  <a:cxn ang="0">
                    <a:pos x="13" y="13"/>
                  </a:cxn>
                  <a:cxn ang="0">
                    <a:pos x="12" y="14"/>
                  </a:cxn>
                  <a:cxn ang="0">
                    <a:pos x="5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0" y="11"/>
                  </a:cxn>
                  <a:cxn ang="0">
                    <a:pos x="25" y="16"/>
                  </a:cxn>
                  <a:cxn ang="0">
                    <a:pos x="32" y="21"/>
                  </a:cxn>
                  <a:cxn ang="0">
                    <a:pos x="32" y="21"/>
                  </a:cxn>
                  <a:cxn ang="0">
                    <a:pos x="37" y="16"/>
                  </a:cxn>
                  <a:cxn ang="0">
                    <a:pos x="40" y="16"/>
                  </a:cxn>
                  <a:cxn ang="0">
                    <a:pos x="45" y="16"/>
                  </a:cxn>
                  <a:cxn ang="0">
                    <a:pos x="55" y="14"/>
                  </a:cxn>
                  <a:cxn ang="0">
                    <a:pos x="62" y="11"/>
                  </a:cxn>
                  <a:cxn ang="0">
                    <a:pos x="68" y="9"/>
                  </a:cxn>
                  <a:cxn ang="0">
                    <a:pos x="70" y="6"/>
                  </a:cxn>
                  <a:cxn ang="0">
                    <a:pos x="73" y="6"/>
                  </a:cxn>
                  <a:cxn ang="0">
                    <a:pos x="78" y="3"/>
                  </a:cxn>
                  <a:cxn ang="0">
                    <a:pos x="78" y="1"/>
                  </a:cxn>
                  <a:cxn ang="0">
                    <a:pos x="75" y="0"/>
                  </a:cxn>
                  <a:cxn ang="0">
                    <a:pos x="66" y="1"/>
                  </a:cxn>
                  <a:cxn ang="0">
                    <a:pos x="60" y="1"/>
                  </a:cxn>
                  <a:cxn ang="0">
                    <a:pos x="55" y="1"/>
                  </a:cxn>
                  <a:cxn ang="0">
                    <a:pos x="50" y="1"/>
                  </a:cxn>
                  <a:cxn ang="0">
                    <a:pos x="43" y="3"/>
                  </a:cxn>
                  <a:cxn ang="0">
                    <a:pos x="33" y="3"/>
                  </a:cxn>
                  <a:cxn ang="0">
                    <a:pos x="27" y="8"/>
                  </a:cxn>
                  <a:cxn ang="0">
                    <a:pos x="20" y="11"/>
                  </a:cxn>
                </a:cxnLst>
                <a:rect l="0" t="0" r="r" b="b"/>
                <a:pathLst>
                  <a:path w="78" h="21">
                    <a:moveTo>
                      <a:pt x="0" y="18"/>
                    </a:moveTo>
                    <a:lnTo>
                      <a:pt x="3" y="21"/>
                    </a:lnTo>
                    <a:lnTo>
                      <a:pt x="10" y="19"/>
                    </a:lnTo>
                    <a:lnTo>
                      <a:pt x="13" y="19"/>
                    </a:lnTo>
                    <a:lnTo>
                      <a:pt x="13" y="13"/>
                    </a:lnTo>
                    <a:lnTo>
                      <a:pt x="12" y="14"/>
                    </a:lnTo>
                    <a:lnTo>
                      <a:pt x="5" y="14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20" y="11"/>
                    </a:moveTo>
                    <a:lnTo>
                      <a:pt x="25" y="16"/>
                    </a:lnTo>
                    <a:lnTo>
                      <a:pt x="32" y="21"/>
                    </a:lnTo>
                    <a:lnTo>
                      <a:pt x="32" y="21"/>
                    </a:lnTo>
                    <a:lnTo>
                      <a:pt x="37" y="16"/>
                    </a:lnTo>
                    <a:lnTo>
                      <a:pt x="40" y="16"/>
                    </a:lnTo>
                    <a:lnTo>
                      <a:pt x="45" y="16"/>
                    </a:lnTo>
                    <a:lnTo>
                      <a:pt x="55" y="14"/>
                    </a:lnTo>
                    <a:lnTo>
                      <a:pt x="62" y="11"/>
                    </a:lnTo>
                    <a:lnTo>
                      <a:pt x="68" y="9"/>
                    </a:lnTo>
                    <a:lnTo>
                      <a:pt x="70" y="6"/>
                    </a:lnTo>
                    <a:lnTo>
                      <a:pt x="73" y="6"/>
                    </a:lnTo>
                    <a:lnTo>
                      <a:pt x="78" y="3"/>
                    </a:lnTo>
                    <a:lnTo>
                      <a:pt x="78" y="1"/>
                    </a:lnTo>
                    <a:lnTo>
                      <a:pt x="75" y="0"/>
                    </a:lnTo>
                    <a:lnTo>
                      <a:pt x="66" y="1"/>
                    </a:lnTo>
                    <a:lnTo>
                      <a:pt x="60" y="1"/>
                    </a:lnTo>
                    <a:lnTo>
                      <a:pt x="55" y="1"/>
                    </a:lnTo>
                    <a:lnTo>
                      <a:pt x="50" y="1"/>
                    </a:lnTo>
                    <a:lnTo>
                      <a:pt x="43" y="3"/>
                    </a:lnTo>
                    <a:lnTo>
                      <a:pt x="33" y="3"/>
                    </a:lnTo>
                    <a:lnTo>
                      <a:pt x="27" y="8"/>
                    </a:lnTo>
                    <a:lnTo>
                      <a:pt x="20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0" name="Freeform 17"/>
              <p:cNvSpPr>
                <a:spLocks noEditPoints="1"/>
              </p:cNvSpPr>
              <p:nvPr/>
            </p:nvSpPr>
            <p:spPr bwMode="auto">
              <a:xfrm>
                <a:off x="7719647" y="3185670"/>
                <a:ext cx="249368" cy="76782"/>
              </a:xfrm>
              <a:custGeom>
                <a:avLst/>
                <a:gdLst/>
                <a:ahLst/>
                <a:cxnLst>
                  <a:cxn ang="0">
                    <a:pos x="280" y="107"/>
                  </a:cxn>
                  <a:cxn ang="0">
                    <a:pos x="3" y="49"/>
                  </a:cxn>
                  <a:cxn ang="0">
                    <a:pos x="0" y="40"/>
                  </a:cxn>
                  <a:cxn ang="0">
                    <a:pos x="254" y="145"/>
                  </a:cxn>
                  <a:cxn ang="0">
                    <a:pos x="274" y="145"/>
                  </a:cxn>
                  <a:cxn ang="0">
                    <a:pos x="319" y="135"/>
                  </a:cxn>
                  <a:cxn ang="0">
                    <a:pos x="355" y="135"/>
                  </a:cxn>
                  <a:cxn ang="0">
                    <a:pos x="380" y="82"/>
                  </a:cxn>
                  <a:cxn ang="0">
                    <a:pos x="392" y="69"/>
                  </a:cxn>
                  <a:cxn ang="0">
                    <a:pos x="423" y="70"/>
                  </a:cxn>
                  <a:cxn ang="0">
                    <a:pos x="445" y="70"/>
                  </a:cxn>
                  <a:cxn ang="0">
                    <a:pos x="451" y="55"/>
                  </a:cxn>
                  <a:cxn ang="0">
                    <a:pos x="455" y="45"/>
                  </a:cxn>
                  <a:cxn ang="0">
                    <a:pos x="433" y="40"/>
                  </a:cxn>
                  <a:cxn ang="0">
                    <a:pos x="428" y="37"/>
                  </a:cxn>
                  <a:cxn ang="0">
                    <a:pos x="428" y="22"/>
                  </a:cxn>
                  <a:cxn ang="0">
                    <a:pos x="410" y="7"/>
                  </a:cxn>
                  <a:cxn ang="0">
                    <a:pos x="403" y="14"/>
                  </a:cxn>
                  <a:cxn ang="0">
                    <a:pos x="388" y="30"/>
                  </a:cxn>
                  <a:cxn ang="0">
                    <a:pos x="365" y="50"/>
                  </a:cxn>
                  <a:cxn ang="0">
                    <a:pos x="372" y="55"/>
                  </a:cxn>
                  <a:cxn ang="0">
                    <a:pos x="368" y="70"/>
                  </a:cxn>
                  <a:cxn ang="0">
                    <a:pos x="363" y="59"/>
                  </a:cxn>
                  <a:cxn ang="0">
                    <a:pos x="352" y="70"/>
                  </a:cxn>
                  <a:cxn ang="0">
                    <a:pos x="339" y="70"/>
                  </a:cxn>
                  <a:cxn ang="0">
                    <a:pos x="315" y="97"/>
                  </a:cxn>
                  <a:cxn ang="0">
                    <a:pos x="290" y="115"/>
                  </a:cxn>
                  <a:cxn ang="0">
                    <a:pos x="275" y="123"/>
                  </a:cxn>
                  <a:cxn ang="0">
                    <a:pos x="250" y="132"/>
                  </a:cxn>
                  <a:cxn ang="0">
                    <a:pos x="236" y="125"/>
                  </a:cxn>
                  <a:cxn ang="0">
                    <a:pos x="408" y="0"/>
                  </a:cxn>
                  <a:cxn ang="0">
                    <a:pos x="417" y="4"/>
                  </a:cxn>
                  <a:cxn ang="0">
                    <a:pos x="275" y="117"/>
                  </a:cxn>
                  <a:cxn ang="0">
                    <a:pos x="280" y="115"/>
                  </a:cxn>
                  <a:cxn ang="0">
                    <a:pos x="285" y="107"/>
                  </a:cxn>
                  <a:cxn ang="0">
                    <a:pos x="282" y="108"/>
                  </a:cxn>
                  <a:cxn ang="0">
                    <a:pos x="1" y="15"/>
                  </a:cxn>
                  <a:cxn ang="0">
                    <a:pos x="23" y="20"/>
                  </a:cxn>
                  <a:cxn ang="0">
                    <a:pos x="28" y="37"/>
                  </a:cxn>
                  <a:cxn ang="0">
                    <a:pos x="45" y="29"/>
                  </a:cxn>
                  <a:cxn ang="0">
                    <a:pos x="53" y="25"/>
                  </a:cxn>
                  <a:cxn ang="0">
                    <a:pos x="81" y="67"/>
                  </a:cxn>
                  <a:cxn ang="0">
                    <a:pos x="81" y="97"/>
                  </a:cxn>
                  <a:cxn ang="0">
                    <a:pos x="94" y="110"/>
                  </a:cxn>
                  <a:cxn ang="0">
                    <a:pos x="99" y="122"/>
                  </a:cxn>
                  <a:cxn ang="0">
                    <a:pos x="101" y="132"/>
                  </a:cxn>
                  <a:cxn ang="0">
                    <a:pos x="99" y="135"/>
                  </a:cxn>
                  <a:cxn ang="0">
                    <a:pos x="86" y="135"/>
                  </a:cxn>
                  <a:cxn ang="0">
                    <a:pos x="63" y="122"/>
                  </a:cxn>
                  <a:cxn ang="0">
                    <a:pos x="43" y="107"/>
                  </a:cxn>
                  <a:cxn ang="0">
                    <a:pos x="33" y="92"/>
                  </a:cxn>
                  <a:cxn ang="0">
                    <a:pos x="15" y="74"/>
                  </a:cxn>
                  <a:cxn ang="0">
                    <a:pos x="11" y="52"/>
                  </a:cxn>
                </a:cxnLst>
                <a:rect l="0" t="0" r="r" b="b"/>
                <a:pathLst>
                  <a:path w="465" h="148">
                    <a:moveTo>
                      <a:pt x="280" y="108"/>
                    </a:moveTo>
                    <a:lnTo>
                      <a:pt x="280" y="112"/>
                    </a:lnTo>
                    <a:lnTo>
                      <a:pt x="279" y="112"/>
                    </a:lnTo>
                    <a:lnTo>
                      <a:pt x="279" y="110"/>
                    </a:lnTo>
                    <a:lnTo>
                      <a:pt x="280" y="107"/>
                    </a:lnTo>
                    <a:lnTo>
                      <a:pt x="280" y="108"/>
                    </a:lnTo>
                    <a:lnTo>
                      <a:pt x="280" y="108"/>
                    </a:lnTo>
                    <a:close/>
                    <a:moveTo>
                      <a:pt x="0" y="40"/>
                    </a:moveTo>
                    <a:lnTo>
                      <a:pt x="0" y="45"/>
                    </a:lnTo>
                    <a:lnTo>
                      <a:pt x="3" y="49"/>
                    </a:lnTo>
                    <a:lnTo>
                      <a:pt x="5" y="47"/>
                    </a:lnTo>
                    <a:lnTo>
                      <a:pt x="5" y="44"/>
                    </a:lnTo>
                    <a:lnTo>
                      <a:pt x="1" y="40"/>
                    </a:lnTo>
                    <a:lnTo>
                      <a:pt x="0" y="40"/>
                    </a:lnTo>
                    <a:lnTo>
                      <a:pt x="0" y="40"/>
                    </a:lnTo>
                    <a:close/>
                    <a:moveTo>
                      <a:pt x="236" y="125"/>
                    </a:moveTo>
                    <a:lnTo>
                      <a:pt x="241" y="133"/>
                    </a:lnTo>
                    <a:lnTo>
                      <a:pt x="249" y="138"/>
                    </a:lnTo>
                    <a:lnTo>
                      <a:pt x="249" y="140"/>
                    </a:lnTo>
                    <a:lnTo>
                      <a:pt x="254" y="145"/>
                    </a:lnTo>
                    <a:lnTo>
                      <a:pt x="257" y="148"/>
                    </a:lnTo>
                    <a:lnTo>
                      <a:pt x="260" y="148"/>
                    </a:lnTo>
                    <a:lnTo>
                      <a:pt x="267" y="147"/>
                    </a:lnTo>
                    <a:lnTo>
                      <a:pt x="267" y="145"/>
                    </a:lnTo>
                    <a:lnTo>
                      <a:pt x="274" y="145"/>
                    </a:lnTo>
                    <a:lnTo>
                      <a:pt x="277" y="143"/>
                    </a:lnTo>
                    <a:lnTo>
                      <a:pt x="290" y="143"/>
                    </a:lnTo>
                    <a:lnTo>
                      <a:pt x="304" y="138"/>
                    </a:lnTo>
                    <a:lnTo>
                      <a:pt x="307" y="137"/>
                    </a:lnTo>
                    <a:lnTo>
                      <a:pt x="319" y="135"/>
                    </a:lnTo>
                    <a:lnTo>
                      <a:pt x="325" y="138"/>
                    </a:lnTo>
                    <a:lnTo>
                      <a:pt x="327" y="142"/>
                    </a:lnTo>
                    <a:lnTo>
                      <a:pt x="334" y="142"/>
                    </a:lnTo>
                    <a:lnTo>
                      <a:pt x="344" y="137"/>
                    </a:lnTo>
                    <a:lnTo>
                      <a:pt x="355" y="135"/>
                    </a:lnTo>
                    <a:lnTo>
                      <a:pt x="353" y="132"/>
                    </a:lnTo>
                    <a:lnTo>
                      <a:pt x="363" y="118"/>
                    </a:lnTo>
                    <a:lnTo>
                      <a:pt x="367" y="108"/>
                    </a:lnTo>
                    <a:lnTo>
                      <a:pt x="375" y="98"/>
                    </a:lnTo>
                    <a:lnTo>
                      <a:pt x="380" y="82"/>
                    </a:lnTo>
                    <a:lnTo>
                      <a:pt x="380" y="78"/>
                    </a:lnTo>
                    <a:lnTo>
                      <a:pt x="382" y="75"/>
                    </a:lnTo>
                    <a:lnTo>
                      <a:pt x="382" y="72"/>
                    </a:lnTo>
                    <a:lnTo>
                      <a:pt x="387" y="67"/>
                    </a:lnTo>
                    <a:lnTo>
                      <a:pt x="392" y="69"/>
                    </a:lnTo>
                    <a:lnTo>
                      <a:pt x="398" y="67"/>
                    </a:lnTo>
                    <a:lnTo>
                      <a:pt x="410" y="67"/>
                    </a:lnTo>
                    <a:lnTo>
                      <a:pt x="412" y="70"/>
                    </a:lnTo>
                    <a:lnTo>
                      <a:pt x="418" y="69"/>
                    </a:lnTo>
                    <a:lnTo>
                      <a:pt x="423" y="70"/>
                    </a:lnTo>
                    <a:lnTo>
                      <a:pt x="425" y="69"/>
                    </a:lnTo>
                    <a:lnTo>
                      <a:pt x="430" y="72"/>
                    </a:lnTo>
                    <a:lnTo>
                      <a:pt x="435" y="74"/>
                    </a:lnTo>
                    <a:lnTo>
                      <a:pt x="440" y="70"/>
                    </a:lnTo>
                    <a:lnTo>
                      <a:pt x="445" y="70"/>
                    </a:lnTo>
                    <a:lnTo>
                      <a:pt x="445" y="67"/>
                    </a:lnTo>
                    <a:lnTo>
                      <a:pt x="440" y="62"/>
                    </a:lnTo>
                    <a:lnTo>
                      <a:pt x="440" y="57"/>
                    </a:lnTo>
                    <a:lnTo>
                      <a:pt x="442" y="55"/>
                    </a:lnTo>
                    <a:lnTo>
                      <a:pt x="451" y="55"/>
                    </a:lnTo>
                    <a:lnTo>
                      <a:pt x="460" y="54"/>
                    </a:lnTo>
                    <a:lnTo>
                      <a:pt x="465" y="50"/>
                    </a:lnTo>
                    <a:lnTo>
                      <a:pt x="463" y="47"/>
                    </a:lnTo>
                    <a:lnTo>
                      <a:pt x="460" y="47"/>
                    </a:lnTo>
                    <a:lnTo>
                      <a:pt x="455" y="45"/>
                    </a:lnTo>
                    <a:lnTo>
                      <a:pt x="450" y="42"/>
                    </a:lnTo>
                    <a:lnTo>
                      <a:pt x="446" y="42"/>
                    </a:lnTo>
                    <a:lnTo>
                      <a:pt x="440" y="37"/>
                    </a:lnTo>
                    <a:lnTo>
                      <a:pt x="437" y="37"/>
                    </a:lnTo>
                    <a:lnTo>
                      <a:pt x="433" y="40"/>
                    </a:lnTo>
                    <a:lnTo>
                      <a:pt x="430" y="39"/>
                    </a:lnTo>
                    <a:lnTo>
                      <a:pt x="437" y="35"/>
                    </a:lnTo>
                    <a:lnTo>
                      <a:pt x="433" y="32"/>
                    </a:lnTo>
                    <a:lnTo>
                      <a:pt x="432" y="32"/>
                    </a:lnTo>
                    <a:lnTo>
                      <a:pt x="428" y="37"/>
                    </a:lnTo>
                    <a:lnTo>
                      <a:pt x="427" y="34"/>
                    </a:lnTo>
                    <a:lnTo>
                      <a:pt x="423" y="34"/>
                    </a:lnTo>
                    <a:lnTo>
                      <a:pt x="423" y="27"/>
                    </a:lnTo>
                    <a:lnTo>
                      <a:pt x="428" y="25"/>
                    </a:lnTo>
                    <a:lnTo>
                      <a:pt x="428" y="22"/>
                    </a:lnTo>
                    <a:lnTo>
                      <a:pt x="422" y="19"/>
                    </a:lnTo>
                    <a:lnTo>
                      <a:pt x="420" y="20"/>
                    </a:lnTo>
                    <a:lnTo>
                      <a:pt x="415" y="17"/>
                    </a:lnTo>
                    <a:lnTo>
                      <a:pt x="415" y="10"/>
                    </a:lnTo>
                    <a:lnTo>
                      <a:pt x="410" y="7"/>
                    </a:lnTo>
                    <a:lnTo>
                      <a:pt x="408" y="9"/>
                    </a:lnTo>
                    <a:lnTo>
                      <a:pt x="410" y="14"/>
                    </a:lnTo>
                    <a:lnTo>
                      <a:pt x="405" y="17"/>
                    </a:lnTo>
                    <a:lnTo>
                      <a:pt x="402" y="17"/>
                    </a:lnTo>
                    <a:lnTo>
                      <a:pt x="403" y="14"/>
                    </a:lnTo>
                    <a:lnTo>
                      <a:pt x="403" y="10"/>
                    </a:lnTo>
                    <a:lnTo>
                      <a:pt x="400" y="10"/>
                    </a:lnTo>
                    <a:lnTo>
                      <a:pt x="397" y="19"/>
                    </a:lnTo>
                    <a:lnTo>
                      <a:pt x="393" y="20"/>
                    </a:lnTo>
                    <a:lnTo>
                      <a:pt x="388" y="30"/>
                    </a:lnTo>
                    <a:lnTo>
                      <a:pt x="387" y="37"/>
                    </a:lnTo>
                    <a:lnTo>
                      <a:pt x="378" y="45"/>
                    </a:lnTo>
                    <a:lnTo>
                      <a:pt x="375" y="45"/>
                    </a:lnTo>
                    <a:lnTo>
                      <a:pt x="367" y="47"/>
                    </a:lnTo>
                    <a:lnTo>
                      <a:pt x="365" y="50"/>
                    </a:lnTo>
                    <a:lnTo>
                      <a:pt x="367" y="50"/>
                    </a:lnTo>
                    <a:lnTo>
                      <a:pt x="365" y="52"/>
                    </a:lnTo>
                    <a:lnTo>
                      <a:pt x="368" y="54"/>
                    </a:lnTo>
                    <a:lnTo>
                      <a:pt x="373" y="52"/>
                    </a:lnTo>
                    <a:lnTo>
                      <a:pt x="372" y="55"/>
                    </a:lnTo>
                    <a:lnTo>
                      <a:pt x="367" y="57"/>
                    </a:lnTo>
                    <a:lnTo>
                      <a:pt x="367" y="57"/>
                    </a:lnTo>
                    <a:lnTo>
                      <a:pt x="367" y="59"/>
                    </a:lnTo>
                    <a:lnTo>
                      <a:pt x="370" y="67"/>
                    </a:lnTo>
                    <a:lnTo>
                      <a:pt x="368" y="70"/>
                    </a:lnTo>
                    <a:lnTo>
                      <a:pt x="365" y="69"/>
                    </a:lnTo>
                    <a:lnTo>
                      <a:pt x="365" y="64"/>
                    </a:lnTo>
                    <a:lnTo>
                      <a:pt x="363" y="59"/>
                    </a:lnTo>
                    <a:lnTo>
                      <a:pt x="363" y="60"/>
                    </a:lnTo>
                    <a:lnTo>
                      <a:pt x="363" y="59"/>
                    </a:lnTo>
                    <a:lnTo>
                      <a:pt x="360" y="59"/>
                    </a:lnTo>
                    <a:lnTo>
                      <a:pt x="358" y="62"/>
                    </a:lnTo>
                    <a:lnTo>
                      <a:pt x="360" y="72"/>
                    </a:lnTo>
                    <a:lnTo>
                      <a:pt x="357" y="74"/>
                    </a:lnTo>
                    <a:lnTo>
                      <a:pt x="352" y="70"/>
                    </a:lnTo>
                    <a:lnTo>
                      <a:pt x="348" y="64"/>
                    </a:lnTo>
                    <a:lnTo>
                      <a:pt x="345" y="64"/>
                    </a:lnTo>
                    <a:lnTo>
                      <a:pt x="342" y="62"/>
                    </a:lnTo>
                    <a:lnTo>
                      <a:pt x="339" y="65"/>
                    </a:lnTo>
                    <a:lnTo>
                      <a:pt x="339" y="70"/>
                    </a:lnTo>
                    <a:lnTo>
                      <a:pt x="332" y="75"/>
                    </a:lnTo>
                    <a:lnTo>
                      <a:pt x="330" y="80"/>
                    </a:lnTo>
                    <a:lnTo>
                      <a:pt x="324" y="85"/>
                    </a:lnTo>
                    <a:lnTo>
                      <a:pt x="322" y="90"/>
                    </a:lnTo>
                    <a:lnTo>
                      <a:pt x="315" y="97"/>
                    </a:lnTo>
                    <a:lnTo>
                      <a:pt x="309" y="102"/>
                    </a:lnTo>
                    <a:lnTo>
                      <a:pt x="290" y="105"/>
                    </a:lnTo>
                    <a:lnTo>
                      <a:pt x="287" y="107"/>
                    </a:lnTo>
                    <a:lnTo>
                      <a:pt x="289" y="112"/>
                    </a:lnTo>
                    <a:lnTo>
                      <a:pt x="290" y="115"/>
                    </a:lnTo>
                    <a:lnTo>
                      <a:pt x="289" y="113"/>
                    </a:lnTo>
                    <a:lnTo>
                      <a:pt x="285" y="115"/>
                    </a:lnTo>
                    <a:lnTo>
                      <a:pt x="279" y="117"/>
                    </a:lnTo>
                    <a:lnTo>
                      <a:pt x="275" y="118"/>
                    </a:lnTo>
                    <a:lnTo>
                      <a:pt x="275" y="123"/>
                    </a:lnTo>
                    <a:lnTo>
                      <a:pt x="274" y="130"/>
                    </a:lnTo>
                    <a:lnTo>
                      <a:pt x="270" y="135"/>
                    </a:lnTo>
                    <a:lnTo>
                      <a:pt x="270" y="137"/>
                    </a:lnTo>
                    <a:lnTo>
                      <a:pt x="260" y="135"/>
                    </a:lnTo>
                    <a:lnTo>
                      <a:pt x="250" y="132"/>
                    </a:lnTo>
                    <a:lnTo>
                      <a:pt x="244" y="132"/>
                    </a:lnTo>
                    <a:lnTo>
                      <a:pt x="242" y="128"/>
                    </a:lnTo>
                    <a:lnTo>
                      <a:pt x="237" y="125"/>
                    </a:lnTo>
                    <a:lnTo>
                      <a:pt x="236" y="125"/>
                    </a:lnTo>
                    <a:lnTo>
                      <a:pt x="236" y="125"/>
                    </a:lnTo>
                    <a:close/>
                    <a:moveTo>
                      <a:pt x="408" y="0"/>
                    </a:moveTo>
                    <a:lnTo>
                      <a:pt x="402" y="4"/>
                    </a:lnTo>
                    <a:lnTo>
                      <a:pt x="405" y="4"/>
                    </a:lnTo>
                    <a:lnTo>
                      <a:pt x="408" y="2"/>
                    </a:lnTo>
                    <a:lnTo>
                      <a:pt x="408" y="0"/>
                    </a:lnTo>
                    <a:lnTo>
                      <a:pt x="408" y="0"/>
                    </a:lnTo>
                    <a:close/>
                    <a:moveTo>
                      <a:pt x="415" y="0"/>
                    </a:moveTo>
                    <a:lnTo>
                      <a:pt x="410" y="4"/>
                    </a:lnTo>
                    <a:lnTo>
                      <a:pt x="412" y="5"/>
                    </a:lnTo>
                    <a:lnTo>
                      <a:pt x="417" y="4"/>
                    </a:lnTo>
                    <a:lnTo>
                      <a:pt x="417" y="0"/>
                    </a:lnTo>
                    <a:lnTo>
                      <a:pt x="415" y="0"/>
                    </a:lnTo>
                    <a:lnTo>
                      <a:pt x="415" y="0"/>
                    </a:lnTo>
                    <a:close/>
                    <a:moveTo>
                      <a:pt x="280" y="115"/>
                    </a:moveTo>
                    <a:lnTo>
                      <a:pt x="275" y="117"/>
                    </a:lnTo>
                    <a:lnTo>
                      <a:pt x="279" y="113"/>
                    </a:lnTo>
                    <a:lnTo>
                      <a:pt x="280" y="115"/>
                    </a:lnTo>
                    <a:lnTo>
                      <a:pt x="280" y="115"/>
                    </a:lnTo>
                    <a:close/>
                    <a:moveTo>
                      <a:pt x="284" y="113"/>
                    </a:moveTo>
                    <a:lnTo>
                      <a:pt x="280" y="115"/>
                    </a:lnTo>
                    <a:lnTo>
                      <a:pt x="280" y="113"/>
                    </a:lnTo>
                    <a:lnTo>
                      <a:pt x="280" y="112"/>
                    </a:lnTo>
                    <a:lnTo>
                      <a:pt x="284" y="113"/>
                    </a:lnTo>
                    <a:lnTo>
                      <a:pt x="284" y="113"/>
                    </a:lnTo>
                    <a:close/>
                    <a:moveTo>
                      <a:pt x="285" y="107"/>
                    </a:moveTo>
                    <a:lnTo>
                      <a:pt x="287" y="112"/>
                    </a:lnTo>
                    <a:lnTo>
                      <a:pt x="285" y="113"/>
                    </a:lnTo>
                    <a:lnTo>
                      <a:pt x="282" y="110"/>
                    </a:lnTo>
                    <a:lnTo>
                      <a:pt x="282" y="108"/>
                    </a:lnTo>
                    <a:lnTo>
                      <a:pt x="282" y="108"/>
                    </a:lnTo>
                    <a:lnTo>
                      <a:pt x="284" y="108"/>
                    </a:lnTo>
                    <a:lnTo>
                      <a:pt x="285" y="107"/>
                    </a:lnTo>
                    <a:lnTo>
                      <a:pt x="285" y="107"/>
                    </a:lnTo>
                    <a:close/>
                    <a:moveTo>
                      <a:pt x="0" y="22"/>
                    </a:moveTo>
                    <a:lnTo>
                      <a:pt x="1" y="15"/>
                    </a:lnTo>
                    <a:lnTo>
                      <a:pt x="5" y="12"/>
                    </a:lnTo>
                    <a:lnTo>
                      <a:pt x="10" y="15"/>
                    </a:lnTo>
                    <a:lnTo>
                      <a:pt x="16" y="19"/>
                    </a:lnTo>
                    <a:lnTo>
                      <a:pt x="18" y="20"/>
                    </a:lnTo>
                    <a:lnTo>
                      <a:pt x="23" y="20"/>
                    </a:lnTo>
                    <a:lnTo>
                      <a:pt x="26" y="24"/>
                    </a:lnTo>
                    <a:lnTo>
                      <a:pt x="25" y="30"/>
                    </a:lnTo>
                    <a:lnTo>
                      <a:pt x="21" y="32"/>
                    </a:lnTo>
                    <a:lnTo>
                      <a:pt x="21" y="35"/>
                    </a:lnTo>
                    <a:lnTo>
                      <a:pt x="28" y="37"/>
                    </a:lnTo>
                    <a:lnTo>
                      <a:pt x="35" y="34"/>
                    </a:lnTo>
                    <a:lnTo>
                      <a:pt x="38" y="32"/>
                    </a:lnTo>
                    <a:lnTo>
                      <a:pt x="41" y="35"/>
                    </a:lnTo>
                    <a:lnTo>
                      <a:pt x="45" y="34"/>
                    </a:lnTo>
                    <a:lnTo>
                      <a:pt x="45" y="29"/>
                    </a:lnTo>
                    <a:lnTo>
                      <a:pt x="46" y="29"/>
                    </a:lnTo>
                    <a:lnTo>
                      <a:pt x="46" y="29"/>
                    </a:lnTo>
                    <a:lnTo>
                      <a:pt x="49" y="27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8" y="30"/>
                    </a:lnTo>
                    <a:lnTo>
                      <a:pt x="74" y="47"/>
                    </a:lnTo>
                    <a:lnTo>
                      <a:pt x="79" y="55"/>
                    </a:lnTo>
                    <a:lnTo>
                      <a:pt x="83" y="64"/>
                    </a:lnTo>
                    <a:lnTo>
                      <a:pt x="81" y="67"/>
                    </a:lnTo>
                    <a:lnTo>
                      <a:pt x="81" y="77"/>
                    </a:lnTo>
                    <a:lnTo>
                      <a:pt x="79" y="78"/>
                    </a:lnTo>
                    <a:lnTo>
                      <a:pt x="79" y="83"/>
                    </a:lnTo>
                    <a:lnTo>
                      <a:pt x="81" y="85"/>
                    </a:lnTo>
                    <a:lnTo>
                      <a:pt x="81" y="97"/>
                    </a:lnTo>
                    <a:lnTo>
                      <a:pt x="84" y="102"/>
                    </a:lnTo>
                    <a:lnTo>
                      <a:pt x="91" y="107"/>
                    </a:lnTo>
                    <a:lnTo>
                      <a:pt x="94" y="107"/>
                    </a:lnTo>
                    <a:lnTo>
                      <a:pt x="96" y="108"/>
                    </a:lnTo>
                    <a:lnTo>
                      <a:pt x="94" y="110"/>
                    </a:lnTo>
                    <a:lnTo>
                      <a:pt x="96" y="117"/>
                    </a:lnTo>
                    <a:lnTo>
                      <a:pt x="98" y="118"/>
                    </a:lnTo>
                    <a:lnTo>
                      <a:pt x="98" y="120"/>
                    </a:lnTo>
                    <a:lnTo>
                      <a:pt x="98" y="122"/>
                    </a:lnTo>
                    <a:lnTo>
                      <a:pt x="99" y="122"/>
                    </a:lnTo>
                    <a:lnTo>
                      <a:pt x="104" y="132"/>
                    </a:lnTo>
                    <a:lnTo>
                      <a:pt x="104" y="137"/>
                    </a:lnTo>
                    <a:lnTo>
                      <a:pt x="101" y="135"/>
                    </a:lnTo>
                    <a:lnTo>
                      <a:pt x="101" y="133"/>
                    </a:lnTo>
                    <a:lnTo>
                      <a:pt x="101" y="132"/>
                    </a:lnTo>
                    <a:lnTo>
                      <a:pt x="98" y="130"/>
                    </a:lnTo>
                    <a:lnTo>
                      <a:pt x="99" y="132"/>
                    </a:lnTo>
                    <a:lnTo>
                      <a:pt x="99" y="133"/>
                    </a:lnTo>
                    <a:lnTo>
                      <a:pt x="98" y="135"/>
                    </a:lnTo>
                    <a:lnTo>
                      <a:pt x="99" y="135"/>
                    </a:lnTo>
                    <a:lnTo>
                      <a:pt x="99" y="135"/>
                    </a:lnTo>
                    <a:lnTo>
                      <a:pt x="94" y="138"/>
                    </a:lnTo>
                    <a:lnTo>
                      <a:pt x="93" y="137"/>
                    </a:lnTo>
                    <a:lnTo>
                      <a:pt x="91" y="138"/>
                    </a:lnTo>
                    <a:lnTo>
                      <a:pt x="86" y="135"/>
                    </a:lnTo>
                    <a:lnTo>
                      <a:pt x="84" y="132"/>
                    </a:lnTo>
                    <a:lnTo>
                      <a:pt x="76" y="132"/>
                    </a:lnTo>
                    <a:lnTo>
                      <a:pt x="68" y="127"/>
                    </a:lnTo>
                    <a:lnTo>
                      <a:pt x="64" y="123"/>
                    </a:lnTo>
                    <a:lnTo>
                      <a:pt x="63" y="122"/>
                    </a:lnTo>
                    <a:lnTo>
                      <a:pt x="59" y="123"/>
                    </a:lnTo>
                    <a:lnTo>
                      <a:pt x="56" y="122"/>
                    </a:lnTo>
                    <a:lnTo>
                      <a:pt x="49" y="117"/>
                    </a:lnTo>
                    <a:lnTo>
                      <a:pt x="49" y="113"/>
                    </a:lnTo>
                    <a:lnTo>
                      <a:pt x="43" y="107"/>
                    </a:lnTo>
                    <a:lnTo>
                      <a:pt x="35" y="105"/>
                    </a:lnTo>
                    <a:lnTo>
                      <a:pt x="31" y="102"/>
                    </a:lnTo>
                    <a:lnTo>
                      <a:pt x="31" y="98"/>
                    </a:lnTo>
                    <a:lnTo>
                      <a:pt x="35" y="95"/>
                    </a:lnTo>
                    <a:lnTo>
                      <a:pt x="33" y="92"/>
                    </a:lnTo>
                    <a:lnTo>
                      <a:pt x="28" y="90"/>
                    </a:lnTo>
                    <a:lnTo>
                      <a:pt x="23" y="83"/>
                    </a:lnTo>
                    <a:lnTo>
                      <a:pt x="16" y="80"/>
                    </a:lnTo>
                    <a:lnTo>
                      <a:pt x="15" y="77"/>
                    </a:lnTo>
                    <a:lnTo>
                      <a:pt x="15" y="74"/>
                    </a:lnTo>
                    <a:lnTo>
                      <a:pt x="11" y="72"/>
                    </a:lnTo>
                    <a:lnTo>
                      <a:pt x="11" y="67"/>
                    </a:lnTo>
                    <a:lnTo>
                      <a:pt x="13" y="65"/>
                    </a:lnTo>
                    <a:lnTo>
                      <a:pt x="13" y="59"/>
                    </a:lnTo>
                    <a:lnTo>
                      <a:pt x="11" y="52"/>
                    </a:lnTo>
                    <a:lnTo>
                      <a:pt x="8" y="47"/>
                    </a:lnTo>
                    <a:lnTo>
                      <a:pt x="5" y="29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7902660" y="3212647"/>
                <a:ext cx="16053" cy="11414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2"/>
                  </a:cxn>
                  <a:cxn ang="0">
                    <a:pos x="6" y="12"/>
                  </a:cxn>
                  <a:cxn ang="0">
                    <a:pos x="10" y="18"/>
                  </a:cxn>
                  <a:cxn ang="0">
                    <a:pos x="15" y="22"/>
                  </a:cxn>
                  <a:cxn ang="0">
                    <a:pos x="18" y="20"/>
                  </a:cxn>
                  <a:cxn ang="0">
                    <a:pos x="16" y="10"/>
                  </a:cxn>
                  <a:cxn ang="0">
                    <a:pos x="18" y="7"/>
                  </a:cxn>
                  <a:cxn ang="0">
                    <a:pos x="21" y="7"/>
                  </a:cxn>
                  <a:cxn ang="0">
                    <a:pos x="21" y="5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0" y="7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1" y="7"/>
                  </a:cxn>
                  <a:cxn ang="0">
                    <a:pos x="23" y="12"/>
                  </a:cxn>
                  <a:cxn ang="0">
                    <a:pos x="23" y="17"/>
                  </a:cxn>
                  <a:cxn ang="0">
                    <a:pos x="26" y="18"/>
                  </a:cxn>
                  <a:cxn ang="0">
                    <a:pos x="28" y="1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3" y="7"/>
                  </a:cxn>
                  <a:cxn ang="0">
                    <a:pos x="21" y="7"/>
                  </a:cxn>
                </a:cxnLst>
                <a:rect l="0" t="0" r="r" b="b"/>
                <a:pathLst>
                  <a:path w="28" h="22">
                    <a:moveTo>
                      <a:pt x="0" y="10"/>
                    </a:moveTo>
                    <a:lnTo>
                      <a:pt x="3" y="12"/>
                    </a:lnTo>
                    <a:lnTo>
                      <a:pt x="6" y="12"/>
                    </a:lnTo>
                    <a:lnTo>
                      <a:pt x="10" y="18"/>
                    </a:lnTo>
                    <a:lnTo>
                      <a:pt x="15" y="22"/>
                    </a:lnTo>
                    <a:lnTo>
                      <a:pt x="18" y="20"/>
                    </a:lnTo>
                    <a:lnTo>
                      <a:pt x="16" y="10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0" y="7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21" y="7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6" y="18"/>
                    </a:lnTo>
                    <a:lnTo>
                      <a:pt x="28" y="15"/>
                    </a:lnTo>
                    <a:lnTo>
                      <a:pt x="25" y="7"/>
                    </a:lnTo>
                    <a:lnTo>
                      <a:pt x="25" y="5"/>
                    </a:lnTo>
                    <a:lnTo>
                      <a:pt x="23" y="7"/>
                    </a:lnTo>
                    <a:lnTo>
                      <a:pt x="2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2" name="Freeform 19"/>
              <p:cNvSpPr>
                <a:spLocks noEditPoints="1"/>
              </p:cNvSpPr>
              <p:nvPr/>
            </p:nvSpPr>
            <p:spPr bwMode="auto">
              <a:xfrm>
                <a:off x="7730349" y="2988528"/>
                <a:ext cx="107025" cy="182616"/>
              </a:xfrm>
              <a:custGeom>
                <a:avLst/>
                <a:gdLst/>
                <a:ahLst/>
                <a:cxnLst>
                  <a:cxn ang="0">
                    <a:pos x="8" y="18"/>
                  </a:cxn>
                  <a:cxn ang="0">
                    <a:pos x="21" y="22"/>
                  </a:cxn>
                  <a:cxn ang="0">
                    <a:pos x="36" y="17"/>
                  </a:cxn>
                  <a:cxn ang="0">
                    <a:pos x="54" y="15"/>
                  </a:cxn>
                  <a:cxn ang="0">
                    <a:pos x="76" y="0"/>
                  </a:cxn>
                  <a:cxn ang="0">
                    <a:pos x="99" y="10"/>
                  </a:cxn>
                  <a:cxn ang="0">
                    <a:pos x="108" y="18"/>
                  </a:cxn>
                  <a:cxn ang="0">
                    <a:pos x="121" y="38"/>
                  </a:cxn>
                  <a:cxn ang="0">
                    <a:pos x="141" y="42"/>
                  </a:cxn>
                  <a:cxn ang="0">
                    <a:pos x="141" y="48"/>
                  </a:cxn>
                  <a:cxn ang="0">
                    <a:pos x="124" y="53"/>
                  </a:cxn>
                  <a:cxn ang="0">
                    <a:pos x="116" y="58"/>
                  </a:cxn>
                  <a:cxn ang="0">
                    <a:pos x="109" y="62"/>
                  </a:cxn>
                  <a:cxn ang="0">
                    <a:pos x="108" y="73"/>
                  </a:cxn>
                  <a:cxn ang="0">
                    <a:pos x="99" y="83"/>
                  </a:cxn>
                  <a:cxn ang="0">
                    <a:pos x="93" y="91"/>
                  </a:cxn>
                  <a:cxn ang="0">
                    <a:pos x="91" y="108"/>
                  </a:cxn>
                  <a:cxn ang="0">
                    <a:pos x="103" y="120"/>
                  </a:cxn>
                  <a:cxn ang="0">
                    <a:pos x="114" y="135"/>
                  </a:cxn>
                  <a:cxn ang="0">
                    <a:pos x="132" y="153"/>
                  </a:cxn>
                  <a:cxn ang="0">
                    <a:pos x="174" y="184"/>
                  </a:cxn>
                  <a:cxn ang="0">
                    <a:pos x="181" y="199"/>
                  </a:cxn>
                  <a:cxn ang="0">
                    <a:pos x="189" y="216"/>
                  </a:cxn>
                  <a:cxn ang="0">
                    <a:pos x="192" y="234"/>
                  </a:cxn>
                  <a:cxn ang="0">
                    <a:pos x="197" y="248"/>
                  </a:cxn>
                  <a:cxn ang="0">
                    <a:pos x="196" y="253"/>
                  </a:cxn>
                  <a:cxn ang="0">
                    <a:pos x="194" y="262"/>
                  </a:cxn>
                  <a:cxn ang="0">
                    <a:pos x="192" y="279"/>
                  </a:cxn>
                  <a:cxn ang="0">
                    <a:pos x="179" y="294"/>
                  </a:cxn>
                  <a:cxn ang="0">
                    <a:pos x="162" y="306"/>
                  </a:cxn>
                  <a:cxn ang="0">
                    <a:pos x="137" y="311"/>
                  </a:cxn>
                  <a:cxn ang="0">
                    <a:pos x="131" y="307"/>
                  </a:cxn>
                  <a:cxn ang="0">
                    <a:pos x="136" y="314"/>
                  </a:cxn>
                  <a:cxn ang="0">
                    <a:pos x="131" y="322"/>
                  </a:cxn>
                  <a:cxn ang="0">
                    <a:pos x="123" y="324"/>
                  </a:cxn>
                  <a:cxn ang="0">
                    <a:pos x="121" y="332"/>
                  </a:cxn>
                  <a:cxn ang="0">
                    <a:pos x="108" y="339"/>
                  </a:cxn>
                  <a:cxn ang="0">
                    <a:pos x="93" y="352"/>
                  </a:cxn>
                  <a:cxn ang="0">
                    <a:pos x="94" y="346"/>
                  </a:cxn>
                  <a:cxn ang="0">
                    <a:pos x="93" y="334"/>
                  </a:cxn>
                  <a:cxn ang="0">
                    <a:pos x="101" y="316"/>
                  </a:cxn>
                  <a:cxn ang="0">
                    <a:pos x="83" y="314"/>
                  </a:cxn>
                  <a:cxn ang="0">
                    <a:pos x="93" y="302"/>
                  </a:cxn>
                  <a:cxn ang="0">
                    <a:pos x="118" y="297"/>
                  </a:cxn>
                  <a:cxn ang="0">
                    <a:pos x="121" y="289"/>
                  </a:cxn>
                  <a:cxn ang="0">
                    <a:pos x="131" y="272"/>
                  </a:cxn>
                  <a:cxn ang="0">
                    <a:pos x="152" y="256"/>
                  </a:cxn>
                  <a:cxn ang="0">
                    <a:pos x="149" y="226"/>
                  </a:cxn>
                  <a:cxn ang="0">
                    <a:pos x="146" y="208"/>
                  </a:cxn>
                  <a:cxn ang="0">
                    <a:pos x="146" y="188"/>
                  </a:cxn>
                  <a:cxn ang="0">
                    <a:pos x="142" y="174"/>
                  </a:cxn>
                  <a:cxn ang="0">
                    <a:pos x="131" y="164"/>
                  </a:cxn>
                  <a:cxn ang="0">
                    <a:pos x="119" y="153"/>
                  </a:cxn>
                  <a:cxn ang="0">
                    <a:pos x="101" y="136"/>
                  </a:cxn>
                  <a:cxn ang="0">
                    <a:pos x="69" y="115"/>
                  </a:cxn>
                  <a:cxn ang="0">
                    <a:pos x="58" y="103"/>
                  </a:cxn>
                  <a:cxn ang="0">
                    <a:pos x="68" y="91"/>
                  </a:cxn>
                  <a:cxn ang="0">
                    <a:pos x="69" y="75"/>
                  </a:cxn>
                  <a:cxn ang="0">
                    <a:pos x="53" y="62"/>
                  </a:cxn>
                  <a:cxn ang="0">
                    <a:pos x="18" y="48"/>
                  </a:cxn>
                  <a:cxn ang="0">
                    <a:pos x="1" y="27"/>
                  </a:cxn>
                  <a:cxn ang="0">
                    <a:pos x="68" y="316"/>
                  </a:cxn>
                  <a:cxn ang="0">
                    <a:pos x="71" y="307"/>
                  </a:cxn>
                </a:cxnLst>
                <a:rect l="0" t="0" r="r" b="b"/>
                <a:pathLst>
                  <a:path w="199" h="352">
                    <a:moveTo>
                      <a:pt x="0" y="25"/>
                    </a:moveTo>
                    <a:lnTo>
                      <a:pt x="1" y="23"/>
                    </a:lnTo>
                    <a:lnTo>
                      <a:pt x="3" y="23"/>
                    </a:lnTo>
                    <a:lnTo>
                      <a:pt x="5" y="20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7"/>
                    </a:lnTo>
                    <a:lnTo>
                      <a:pt x="15" y="20"/>
                    </a:lnTo>
                    <a:lnTo>
                      <a:pt x="18" y="22"/>
                    </a:lnTo>
                    <a:lnTo>
                      <a:pt x="21" y="22"/>
                    </a:lnTo>
                    <a:lnTo>
                      <a:pt x="21" y="18"/>
                    </a:lnTo>
                    <a:lnTo>
                      <a:pt x="25" y="15"/>
                    </a:lnTo>
                    <a:lnTo>
                      <a:pt x="29" y="20"/>
                    </a:lnTo>
                    <a:lnTo>
                      <a:pt x="33" y="17"/>
                    </a:lnTo>
                    <a:lnTo>
                      <a:pt x="36" y="17"/>
                    </a:lnTo>
                    <a:lnTo>
                      <a:pt x="36" y="20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9" y="13"/>
                    </a:lnTo>
                    <a:lnTo>
                      <a:pt x="54" y="15"/>
                    </a:lnTo>
                    <a:lnTo>
                      <a:pt x="61" y="13"/>
                    </a:lnTo>
                    <a:lnTo>
                      <a:pt x="61" y="7"/>
                    </a:lnTo>
                    <a:lnTo>
                      <a:pt x="66" y="3"/>
                    </a:lnTo>
                    <a:lnTo>
                      <a:pt x="73" y="3"/>
                    </a:lnTo>
                    <a:lnTo>
                      <a:pt x="76" y="0"/>
                    </a:lnTo>
                    <a:lnTo>
                      <a:pt x="81" y="3"/>
                    </a:lnTo>
                    <a:lnTo>
                      <a:pt x="81" y="7"/>
                    </a:lnTo>
                    <a:lnTo>
                      <a:pt x="86" y="8"/>
                    </a:lnTo>
                    <a:lnTo>
                      <a:pt x="89" y="10"/>
                    </a:lnTo>
                    <a:lnTo>
                      <a:pt x="99" y="10"/>
                    </a:lnTo>
                    <a:lnTo>
                      <a:pt x="101" y="13"/>
                    </a:lnTo>
                    <a:lnTo>
                      <a:pt x="108" y="10"/>
                    </a:lnTo>
                    <a:lnTo>
                      <a:pt x="113" y="13"/>
                    </a:lnTo>
                    <a:lnTo>
                      <a:pt x="111" y="18"/>
                    </a:lnTo>
                    <a:lnTo>
                      <a:pt x="108" y="18"/>
                    </a:lnTo>
                    <a:lnTo>
                      <a:pt x="106" y="27"/>
                    </a:lnTo>
                    <a:lnTo>
                      <a:pt x="108" y="27"/>
                    </a:lnTo>
                    <a:lnTo>
                      <a:pt x="109" y="32"/>
                    </a:lnTo>
                    <a:lnTo>
                      <a:pt x="119" y="35"/>
                    </a:lnTo>
                    <a:lnTo>
                      <a:pt x="121" y="38"/>
                    </a:lnTo>
                    <a:lnTo>
                      <a:pt x="126" y="40"/>
                    </a:lnTo>
                    <a:lnTo>
                      <a:pt x="131" y="42"/>
                    </a:lnTo>
                    <a:lnTo>
                      <a:pt x="136" y="40"/>
                    </a:lnTo>
                    <a:lnTo>
                      <a:pt x="137" y="42"/>
                    </a:lnTo>
                    <a:lnTo>
                      <a:pt x="141" y="42"/>
                    </a:lnTo>
                    <a:lnTo>
                      <a:pt x="144" y="43"/>
                    </a:lnTo>
                    <a:lnTo>
                      <a:pt x="144" y="43"/>
                    </a:lnTo>
                    <a:lnTo>
                      <a:pt x="146" y="45"/>
                    </a:lnTo>
                    <a:lnTo>
                      <a:pt x="144" y="48"/>
                    </a:lnTo>
                    <a:lnTo>
                      <a:pt x="141" y="48"/>
                    </a:lnTo>
                    <a:lnTo>
                      <a:pt x="139" y="48"/>
                    </a:lnTo>
                    <a:lnTo>
                      <a:pt x="134" y="52"/>
                    </a:lnTo>
                    <a:lnTo>
                      <a:pt x="131" y="50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6" y="57"/>
                    </a:lnTo>
                    <a:lnTo>
                      <a:pt x="124" y="58"/>
                    </a:lnTo>
                    <a:lnTo>
                      <a:pt x="123" y="60"/>
                    </a:lnTo>
                    <a:lnTo>
                      <a:pt x="121" y="58"/>
                    </a:lnTo>
                    <a:lnTo>
                      <a:pt x="116" y="58"/>
                    </a:lnTo>
                    <a:lnTo>
                      <a:pt x="114" y="62"/>
                    </a:lnTo>
                    <a:lnTo>
                      <a:pt x="113" y="62"/>
                    </a:lnTo>
                    <a:lnTo>
                      <a:pt x="111" y="60"/>
                    </a:lnTo>
                    <a:lnTo>
                      <a:pt x="109" y="58"/>
                    </a:lnTo>
                    <a:lnTo>
                      <a:pt x="109" y="62"/>
                    </a:lnTo>
                    <a:lnTo>
                      <a:pt x="108" y="65"/>
                    </a:lnTo>
                    <a:lnTo>
                      <a:pt x="109" y="65"/>
                    </a:lnTo>
                    <a:lnTo>
                      <a:pt x="108" y="68"/>
                    </a:lnTo>
                    <a:lnTo>
                      <a:pt x="108" y="73"/>
                    </a:lnTo>
                    <a:lnTo>
                      <a:pt x="108" y="73"/>
                    </a:lnTo>
                    <a:lnTo>
                      <a:pt x="109" y="76"/>
                    </a:lnTo>
                    <a:lnTo>
                      <a:pt x="108" y="78"/>
                    </a:lnTo>
                    <a:lnTo>
                      <a:pt x="106" y="78"/>
                    </a:lnTo>
                    <a:lnTo>
                      <a:pt x="103" y="83"/>
                    </a:lnTo>
                    <a:lnTo>
                      <a:pt x="99" y="83"/>
                    </a:lnTo>
                    <a:lnTo>
                      <a:pt x="98" y="81"/>
                    </a:lnTo>
                    <a:lnTo>
                      <a:pt x="98" y="83"/>
                    </a:lnTo>
                    <a:lnTo>
                      <a:pt x="96" y="85"/>
                    </a:lnTo>
                    <a:lnTo>
                      <a:pt x="94" y="90"/>
                    </a:lnTo>
                    <a:lnTo>
                      <a:pt x="93" y="91"/>
                    </a:lnTo>
                    <a:lnTo>
                      <a:pt x="93" y="95"/>
                    </a:lnTo>
                    <a:lnTo>
                      <a:pt x="94" y="95"/>
                    </a:lnTo>
                    <a:lnTo>
                      <a:pt x="96" y="96"/>
                    </a:lnTo>
                    <a:lnTo>
                      <a:pt x="93" y="105"/>
                    </a:lnTo>
                    <a:lnTo>
                      <a:pt x="91" y="108"/>
                    </a:lnTo>
                    <a:lnTo>
                      <a:pt x="96" y="111"/>
                    </a:lnTo>
                    <a:lnTo>
                      <a:pt x="96" y="115"/>
                    </a:lnTo>
                    <a:lnTo>
                      <a:pt x="91" y="115"/>
                    </a:lnTo>
                    <a:lnTo>
                      <a:pt x="96" y="116"/>
                    </a:lnTo>
                    <a:lnTo>
                      <a:pt x="103" y="120"/>
                    </a:lnTo>
                    <a:lnTo>
                      <a:pt x="109" y="126"/>
                    </a:lnTo>
                    <a:lnTo>
                      <a:pt x="111" y="126"/>
                    </a:lnTo>
                    <a:lnTo>
                      <a:pt x="114" y="131"/>
                    </a:lnTo>
                    <a:lnTo>
                      <a:pt x="114" y="133"/>
                    </a:lnTo>
                    <a:lnTo>
                      <a:pt x="114" y="135"/>
                    </a:lnTo>
                    <a:lnTo>
                      <a:pt x="116" y="140"/>
                    </a:lnTo>
                    <a:lnTo>
                      <a:pt x="116" y="143"/>
                    </a:lnTo>
                    <a:lnTo>
                      <a:pt x="126" y="150"/>
                    </a:lnTo>
                    <a:lnTo>
                      <a:pt x="131" y="153"/>
                    </a:lnTo>
                    <a:lnTo>
                      <a:pt x="132" y="153"/>
                    </a:lnTo>
                    <a:lnTo>
                      <a:pt x="144" y="160"/>
                    </a:lnTo>
                    <a:lnTo>
                      <a:pt x="156" y="168"/>
                    </a:lnTo>
                    <a:lnTo>
                      <a:pt x="159" y="171"/>
                    </a:lnTo>
                    <a:lnTo>
                      <a:pt x="171" y="179"/>
                    </a:lnTo>
                    <a:lnTo>
                      <a:pt x="174" y="184"/>
                    </a:lnTo>
                    <a:lnTo>
                      <a:pt x="174" y="188"/>
                    </a:lnTo>
                    <a:lnTo>
                      <a:pt x="176" y="188"/>
                    </a:lnTo>
                    <a:lnTo>
                      <a:pt x="176" y="191"/>
                    </a:lnTo>
                    <a:lnTo>
                      <a:pt x="181" y="196"/>
                    </a:lnTo>
                    <a:lnTo>
                      <a:pt x="181" y="199"/>
                    </a:lnTo>
                    <a:lnTo>
                      <a:pt x="182" y="201"/>
                    </a:lnTo>
                    <a:lnTo>
                      <a:pt x="181" y="203"/>
                    </a:lnTo>
                    <a:lnTo>
                      <a:pt x="186" y="208"/>
                    </a:lnTo>
                    <a:lnTo>
                      <a:pt x="186" y="214"/>
                    </a:lnTo>
                    <a:lnTo>
                      <a:pt x="189" y="216"/>
                    </a:lnTo>
                    <a:lnTo>
                      <a:pt x="191" y="223"/>
                    </a:lnTo>
                    <a:lnTo>
                      <a:pt x="192" y="224"/>
                    </a:lnTo>
                    <a:lnTo>
                      <a:pt x="192" y="229"/>
                    </a:lnTo>
                    <a:lnTo>
                      <a:pt x="191" y="231"/>
                    </a:lnTo>
                    <a:lnTo>
                      <a:pt x="192" y="234"/>
                    </a:lnTo>
                    <a:lnTo>
                      <a:pt x="192" y="236"/>
                    </a:lnTo>
                    <a:lnTo>
                      <a:pt x="194" y="243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7" y="248"/>
                    </a:lnTo>
                    <a:lnTo>
                      <a:pt x="199" y="253"/>
                    </a:lnTo>
                    <a:lnTo>
                      <a:pt x="199" y="256"/>
                    </a:lnTo>
                    <a:lnTo>
                      <a:pt x="197" y="256"/>
                    </a:lnTo>
                    <a:lnTo>
                      <a:pt x="197" y="254"/>
                    </a:lnTo>
                    <a:lnTo>
                      <a:pt x="196" y="253"/>
                    </a:lnTo>
                    <a:lnTo>
                      <a:pt x="194" y="254"/>
                    </a:lnTo>
                    <a:lnTo>
                      <a:pt x="194" y="258"/>
                    </a:lnTo>
                    <a:lnTo>
                      <a:pt x="197" y="259"/>
                    </a:lnTo>
                    <a:lnTo>
                      <a:pt x="196" y="261"/>
                    </a:lnTo>
                    <a:lnTo>
                      <a:pt x="194" y="262"/>
                    </a:lnTo>
                    <a:lnTo>
                      <a:pt x="194" y="266"/>
                    </a:lnTo>
                    <a:lnTo>
                      <a:pt x="191" y="269"/>
                    </a:lnTo>
                    <a:lnTo>
                      <a:pt x="194" y="272"/>
                    </a:lnTo>
                    <a:lnTo>
                      <a:pt x="191" y="277"/>
                    </a:lnTo>
                    <a:lnTo>
                      <a:pt x="192" y="279"/>
                    </a:lnTo>
                    <a:lnTo>
                      <a:pt x="189" y="281"/>
                    </a:lnTo>
                    <a:lnTo>
                      <a:pt x="187" y="282"/>
                    </a:lnTo>
                    <a:lnTo>
                      <a:pt x="186" y="287"/>
                    </a:lnTo>
                    <a:lnTo>
                      <a:pt x="184" y="289"/>
                    </a:lnTo>
                    <a:lnTo>
                      <a:pt x="179" y="294"/>
                    </a:lnTo>
                    <a:lnTo>
                      <a:pt x="174" y="296"/>
                    </a:lnTo>
                    <a:lnTo>
                      <a:pt x="171" y="299"/>
                    </a:lnTo>
                    <a:lnTo>
                      <a:pt x="169" y="302"/>
                    </a:lnTo>
                    <a:lnTo>
                      <a:pt x="166" y="302"/>
                    </a:lnTo>
                    <a:lnTo>
                      <a:pt x="162" y="306"/>
                    </a:lnTo>
                    <a:lnTo>
                      <a:pt x="152" y="311"/>
                    </a:lnTo>
                    <a:lnTo>
                      <a:pt x="146" y="311"/>
                    </a:lnTo>
                    <a:lnTo>
                      <a:pt x="142" y="311"/>
                    </a:lnTo>
                    <a:lnTo>
                      <a:pt x="137" y="311"/>
                    </a:lnTo>
                    <a:lnTo>
                      <a:pt x="137" y="311"/>
                    </a:lnTo>
                    <a:lnTo>
                      <a:pt x="137" y="307"/>
                    </a:lnTo>
                    <a:lnTo>
                      <a:pt x="137" y="304"/>
                    </a:lnTo>
                    <a:lnTo>
                      <a:pt x="136" y="307"/>
                    </a:lnTo>
                    <a:lnTo>
                      <a:pt x="136" y="309"/>
                    </a:lnTo>
                    <a:lnTo>
                      <a:pt x="131" y="307"/>
                    </a:lnTo>
                    <a:lnTo>
                      <a:pt x="134" y="309"/>
                    </a:lnTo>
                    <a:lnTo>
                      <a:pt x="134" y="311"/>
                    </a:lnTo>
                    <a:lnTo>
                      <a:pt x="132" y="312"/>
                    </a:lnTo>
                    <a:lnTo>
                      <a:pt x="129" y="311"/>
                    </a:lnTo>
                    <a:lnTo>
                      <a:pt x="136" y="314"/>
                    </a:lnTo>
                    <a:lnTo>
                      <a:pt x="134" y="316"/>
                    </a:lnTo>
                    <a:lnTo>
                      <a:pt x="136" y="319"/>
                    </a:lnTo>
                    <a:lnTo>
                      <a:pt x="132" y="321"/>
                    </a:lnTo>
                    <a:lnTo>
                      <a:pt x="127" y="317"/>
                    </a:lnTo>
                    <a:lnTo>
                      <a:pt x="131" y="322"/>
                    </a:lnTo>
                    <a:lnTo>
                      <a:pt x="131" y="324"/>
                    </a:lnTo>
                    <a:lnTo>
                      <a:pt x="129" y="326"/>
                    </a:lnTo>
                    <a:lnTo>
                      <a:pt x="127" y="326"/>
                    </a:lnTo>
                    <a:lnTo>
                      <a:pt x="126" y="324"/>
                    </a:lnTo>
                    <a:lnTo>
                      <a:pt x="123" y="324"/>
                    </a:lnTo>
                    <a:lnTo>
                      <a:pt x="124" y="327"/>
                    </a:lnTo>
                    <a:lnTo>
                      <a:pt x="124" y="327"/>
                    </a:lnTo>
                    <a:lnTo>
                      <a:pt x="124" y="329"/>
                    </a:lnTo>
                    <a:lnTo>
                      <a:pt x="123" y="331"/>
                    </a:lnTo>
                    <a:lnTo>
                      <a:pt x="121" y="332"/>
                    </a:lnTo>
                    <a:lnTo>
                      <a:pt x="119" y="332"/>
                    </a:lnTo>
                    <a:lnTo>
                      <a:pt x="114" y="336"/>
                    </a:lnTo>
                    <a:lnTo>
                      <a:pt x="113" y="337"/>
                    </a:lnTo>
                    <a:lnTo>
                      <a:pt x="109" y="337"/>
                    </a:lnTo>
                    <a:lnTo>
                      <a:pt x="108" y="339"/>
                    </a:lnTo>
                    <a:lnTo>
                      <a:pt x="108" y="344"/>
                    </a:lnTo>
                    <a:lnTo>
                      <a:pt x="104" y="346"/>
                    </a:lnTo>
                    <a:lnTo>
                      <a:pt x="103" y="346"/>
                    </a:lnTo>
                    <a:lnTo>
                      <a:pt x="103" y="347"/>
                    </a:lnTo>
                    <a:lnTo>
                      <a:pt x="93" y="352"/>
                    </a:lnTo>
                    <a:lnTo>
                      <a:pt x="88" y="351"/>
                    </a:lnTo>
                    <a:lnTo>
                      <a:pt x="91" y="349"/>
                    </a:lnTo>
                    <a:lnTo>
                      <a:pt x="94" y="347"/>
                    </a:lnTo>
                    <a:lnTo>
                      <a:pt x="98" y="344"/>
                    </a:lnTo>
                    <a:lnTo>
                      <a:pt x="94" y="346"/>
                    </a:lnTo>
                    <a:lnTo>
                      <a:pt x="91" y="344"/>
                    </a:lnTo>
                    <a:lnTo>
                      <a:pt x="93" y="337"/>
                    </a:lnTo>
                    <a:lnTo>
                      <a:pt x="93" y="337"/>
                    </a:lnTo>
                    <a:lnTo>
                      <a:pt x="91" y="336"/>
                    </a:lnTo>
                    <a:lnTo>
                      <a:pt x="93" y="334"/>
                    </a:lnTo>
                    <a:lnTo>
                      <a:pt x="91" y="326"/>
                    </a:lnTo>
                    <a:lnTo>
                      <a:pt x="96" y="321"/>
                    </a:lnTo>
                    <a:lnTo>
                      <a:pt x="103" y="316"/>
                    </a:lnTo>
                    <a:lnTo>
                      <a:pt x="104" y="314"/>
                    </a:lnTo>
                    <a:lnTo>
                      <a:pt x="101" y="316"/>
                    </a:lnTo>
                    <a:lnTo>
                      <a:pt x="96" y="314"/>
                    </a:lnTo>
                    <a:lnTo>
                      <a:pt x="93" y="316"/>
                    </a:lnTo>
                    <a:lnTo>
                      <a:pt x="89" y="314"/>
                    </a:lnTo>
                    <a:lnTo>
                      <a:pt x="88" y="316"/>
                    </a:lnTo>
                    <a:lnTo>
                      <a:pt x="83" y="314"/>
                    </a:lnTo>
                    <a:lnTo>
                      <a:pt x="83" y="312"/>
                    </a:lnTo>
                    <a:lnTo>
                      <a:pt x="83" y="309"/>
                    </a:lnTo>
                    <a:lnTo>
                      <a:pt x="83" y="309"/>
                    </a:lnTo>
                    <a:lnTo>
                      <a:pt x="86" y="304"/>
                    </a:lnTo>
                    <a:lnTo>
                      <a:pt x="93" y="302"/>
                    </a:lnTo>
                    <a:lnTo>
                      <a:pt x="94" y="297"/>
                    </a:lnTo>
                    <a:lnTo>
                      <a:pt x="99" y="296"/>
                    </a:lnTo>
                    <a:lnTo>
                      <a:pt x="103" y="297"/>
                    </a:lnTo>
                    <a:lnTo>
                      <a:pt x="114" y="296"/>
                    </a:lnTo>
                    <a:lnTo>
                      <a:pt x="118" y="297"/>
                    </a:lnTo>
                    <a:lnTo>
                      <a:pt x="119" y="301"/>
                    </a:lnTo>
                    <a:lnTo>
                      <a:pt x="127" y="301"/>
                    </a:lnTo>
                    <a:lnTo>
                      <a:pt x="124" y="296"/>
                    </a:lnTo>
                    <a:lnTo>
                      <a:pt x="126" y="292"/>
                    </a:lnTo>
                    <a:lnTo>
                      <a:pt x="121" y="289"/>
                    </a:lnTo>
                    <a:lnTo>
                      <a:pt x="116" y="287"/>
                    </a:lnTo>
                    <a:lnTo>
                      <a:pt x="114" y="279"/>
                    </a:lnTo>
                    <a:lnTo>
                      <a:pt x="119" y="277"/>
                    </a:lnTo>
                    <a:lnTo>
                      <a:pt x="129" y="277"/>
                    </a:lnTo>
                    <a:lnTo>
                      <a:pt x="131" y="272"/>
                    </a:lnTo>
                    <a:lnTo>
                      <a:pt x="137" y="269"/>
                    </a:lnTo>
                    <a:lnTo>
                      <a:pt x="144" y="267"/>
                    </a:lnTo>
                    <a:lnTo>
                      <a:pt x="146" y="264"/>
                    </a:lnTo>
                    <a:lnTo>
                      <a:pt x="149" y="262"/>
                    </a:lnTo>
                    <a:lnTo>
                      <a:pt x="152" y="256"/>
                    </a:lnTo>
                    <a:lnTo>
                      <a:pt x="152" y="251"/>
                    </a:lnTo>
                    <a:lnTo>
                      <a:pt x="154" y="246"/>
                    </a:lnTo>
                    <a:lnTo>
                      <a:pt x="152" y="241"/>
                    </a:lnTo>
                    <a:lnTo>
                      <a:pt x="152" y="234"/>
                    </a:lnTo>
                    <a:lnTo>
                      <a:pt x="149" y="226"/>
                    </a:lnTo>
                    <a:lnTo>
                      <a:pt x="144" y="223"/>
                    </a:lnTo>
                    <a:lnTo>
                      <a:pt x="141" y="216"/>
                    </a:lnTo>
                    <a:lnTo>
                      <a:pt x="142" y="216"/>
                    </a:lnTo>
                    <a:lnTo>
                      <a:pt x="147" y="214"/>
                    </a:lnTo>
                    <a:lnTo>
                      <a:pt x="146" y="208"/>
                    </a:lnTo>
                    <a:lnTo>
                      <a:pt x="144" y="204"/>
                    </a:lnTo>
                    <a:lnTo>
                      <a:pt x="144" y="199"/>
                    </a:lnTo>
                    <a:lnTo>
                      <a:pt x="151" y="194"/>
                    </a:lnTo>
                    <a:lnTo>
                      <a:pt x="151" y="189"/>
                    </a:lnTo>
                    <a:lnTo>
                      <a:pt x="146" y="188"/>
                    </a:lnTo>
                    <a:lnTo>
                      <a:pt x="144" y="186"/>
                    </a:lnTo>
                    <a:lnTo>
                      <a:pt x="146" y="179"/>
                    </a:lnTo>
                    <a:lnTo>
                      <a:pt x="149" y="176"/>
                    </a:lnTo>
                    <a:lnTo>
                      <a:pt x="147" y="173"/>
                    </a:lnTo>
                    <a:lnTo>
                      <a:pt x="142" y="174"/>
                    </a:lnTo>
                    <a:lnTo>
                      <a:pt x="141" y="174"/>
                    </a:lnTo>
                    <a:lnTo>
                      <a:pt x="137" y="171"/>
                    </a:lnTo>
                    <a:lnTo>
                      <a:pt x="132" y="171"/>
                    </a:lnTo>
                    <a:lnTo>
                      <a:pt x="129" y="168"/>
                    </a:lnTo>
                    <a:lnTo>
                      <a:pt x="131" y="164"/>
                    </a:lnTo>
                    <a:lnTo>
                      <a:pt x="127" y="163"/>
                    </a:lnTo>
                    <a:lnTo>
                      <a:pt x="124" y="164"/>
                    </a:lnTo>
                    <a:lnTo>
                      <a:pt x="123" y="161"/>
                    </a:lnTo>
                    <a:lnTo>
                      <a:pt x="121" y="158"/>
                    </a:lnTo>
                    <a:lnTo>
                      <a:pt x="119" y="153"/>
                    </a:lnTo>
                    <a:lnTo>
                      <a:pt x="113" y="153"/>
                    </a:lnTo>
                    <a:lnTo>
                      <a:pt x="109" y="151"/>
                    </a:lnTo>
                    <a:lnTo>
                      <a:pt x="108" y="146"/>
                    </a:lnTo>
                    <a:lnTo>
                      <a:pt x="99" y="140"/>
                    </a:lnTo>
                    <a:lnTo>
                      <a:pt x="101" y="136"/>
                    </a:lnTo>
                    <a:lnTo>
                      <a:pt x="96" y="130"/>
                    </a:lnTo>
                    <a:lnTo>
                      <a:pt x="88" y="126"/>
                    </a:lnTo>
                    <a:lnTo>
                      <a:pt x="83" y="120"/>
                    </a:lnTo>
                    <a:lnTo>
                      <a:pt x="78" y="118"/>
                    </a:lnTo>
                    <a:lnTo>
                      <a:pt x="69" y="115"/>
                    </a:lnTo>
                    <a:lnTo>
                      <a:pt x="63" y="115"/>
                    </a:lnTo>
                    <a:lnTo>
                      <a:pt x="59" y="110"/>
                    </a:lnTo>
                    <a:lnTo>
                      <a:pt x="56" y="110"/>
                    </a:lnTo>
                    <a:lnTo>
                      <a:pt x="54" y="106"/>
                    </a:lnTo>
                    <a:lnTo>
                      <a:pt x="58" y="103"/>
                    </a:lnTo>
                    <a:lnTo>
                      <a:pt x="53" y="98"/>
                    </a:lnTo>
                    <a:lnTo>
                      <a:pt x="53" y="93"/>
                    </a:lnTo>
                    <a:lnTo>
                      <a:pt x="56" y="93"/>
                    </a:lnTo>
                    <a:lnTo>
                      <a:pt x="63" y="91"/>
                    </a:lnTo>
                    <a:lnTo>
                      <a:pt x="68" y="91"/>
                    </a:lnTo>
                    <a:lnTo>
                      <a:pt x="69" y="88"/>
                    </a:lnTo>
                    <a:lnTo>
                      <a:pt x="73" y="80"/>
                    </a:lnTo>
                    <a:lnTo>
                      <a:pt x="76" y="78"/>
                    </a:lnTo>
                    <a:lnTo>
                      <a:pt x="76" y="76"/>
                    </a:lnTo>
                    <a:lnTo>
                      <a:pt x="69" y="75"/>
                    </a:lnTo>
                    <a:lnTo>
                      <a:pt x="69" y="70"/>
                    </a:lnTo>
                    <a:lnTo>
                      <a:pt x="69" y="66"/>
                    </a:lnTo>
                    <a:lnTo>
                      <a:pt x="63" y="65"/>
                    </a:lnTo>
                    <a:lnTo>
                      <a:pt x="59" y="62"/>
                    </a:lnTo>
                    <a:lnTo>
                      <a:pt x="53" y="62"/>
                    </a:lnTo>
                    <a:lnTo>
                      <a:pt x="46" y="63"/>
                    </a:lnTo>
                    <a:lnTo>
                      <a:pt x="41" y="62"/>
                    </a:lnTo>
                    <a:lnTo>
                      <a:pt x="31" y="62"/>
                    </a:lnTo>
                    <a:lnTo>
                      <a:pt x="26" y="55"/>
                    </a:lnTo>
                    <a:lnTo>
                      <a:pt x="18" y="48"/>
                    </a:lnTo>
                    <a:lnTo>
                      <a:pt x="20" y="43"/>
                    </a:lnTo>
                    <a:lnTo>
                      <a:pt x="18" y="40"/>
                    </a:lnTo>
                    <a:lnTo>
                      <a:pt x="15" y="37"/>
                    </a:lnTo>
                    <a:lnTo>
                      <a:pt x="10" y="30"/>
                    </a:lnTo>
                    <a:lnTo>
                      <a:pt x="1" y="27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  <a:moveTo>
                      <a:pt x="66" y="311"/>
                    </a:moveTo>
                    <a:lnTo>
                      <a:pt x="69" y="314"/>
                    </a:lnTo>
                    <a:lnTo>
                      <a:pt x="68" y="316"/>
                    </a:lnTo>
                    <a:lnTo>
                      <a:pt x="71" y="319"/>
                    </a:lnTo>
                    <a:lnTo>
                      <a:pt x="73" y="319"/>
                    </a:lnTo>
                    <a:lnTo>
                      <a:pt x="74" y="312"/>
                    </a:lnTo>
                    <a:lnTo>
                      <a:pt x="73" y="311"/>
                    </a:lnTo>
                    <a:lnTo>
                      <a:pt x="71" y="307"/>
                    </a:lnTo>
                    <a:lnTo>
                      <a:pt x="66" y="3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3" name="Freeform 20"/>
              <p:cNvSpPr>
                <a:spLocks/>
              </p:cNvSpPr>
              <p:nvPr/>
            </p:nvSpPr>
            <p:spPr bwMode="auto">
              <a:xfrm>
                <a:off x="7745333" y="3097475"/>
                <a:ext cx="68496" cy="51879"/>
              </a:xfrm>
              <a:custGeom>
                <a:avLst/>
                <a:gdLst/>
                <a:ahLst/>
                <a:cxnLst>
                  <a:cxn ang="0">
                    <a:pos x="60" y="95"/>
                  </a:cxn>
                  <a:cxn ang="0">
                    <a:pos x="68" y="88"/>
                  </a:cxn>
                  <a:cxn ang="0">
                    <a:pos x="77" y="88"/>
                  </a:cxn>
                  <a:cxn ang="0">
                    <a:pos x="92" y="88"/>
                  </a:cxn>
                  <a:cxn ang="0">
                    <a:pos x="101" y="92"/>
                  </a:cxn>
                  <a:cxn ang="0">
                    <a:pos x="100" y="83"/>
                  </a:cxn>
                  <a:cxn ang="0">
                    <a:pos x="90" y="78"/>
                  </a:cxn>
                  <a:cxn ang="0">
                    <a:pos x="93" y="68"/>
                  </a:cxn>
                  <a:cxn ang="0">
                    <a:pos x="105" y="63"/>
                  </a:cxn>
                  <a:cxn ang="0">
                    <a:pos x="118" y="58"/>
                  </a:cxn>
                  <a:cxn ang="0">
                    <a:pos x="123" y="53"/>
                  </a:cxn>
                  <a:cxn ang="0">
                    <a:pos x="126" y="42"/>
                  </a:cxn>
                  <a:cxn ang="0">
                    <a:pos x="126" y="32"/>
                  </a:cxn>
                  <a:cxn ang="0">
                    <a:pos x="123" y="17"/>
                  </a:cxn>
                  <a:cxn ang="0">
                    <a:pos x="115" y="7"/>
                  </a:cxn>
                  <a:cxn ang="0">
                    <a:pos x="106" y="5"/>
                  </a:cxn>
                  <a:cxn ang="0">
                    <a:pos x="101" y="0"/>
                  </a:cxn>
                  <a:cxn ang="0">
                    <a:pos x="88" y="5"/>
                  </a:cxn>
                  <a:cxn ang="0">
                    <a:pos x="93" y="14"/>
                  </a:cxn>
                  <a:cxn ang="0">
                    <a:pos x="95" y="22"/>
                  </a:cxn>
                  <a:cxn ang="0">
                    <a:pos x="83" y="12"/>
                  </a:cxn>
                  <a:cxn ang="0">
                    <a:pos x="73" y="9"/>
                  </a:cxn>
                  <a:cxn ang="0">
                    <a:pos x="65" y="7"/>
                  </a:cxn>
                  <a:cxn ang="0">
                    <a:pos x="53" y="5"/>
                  </a:cxn>
                  <a:cxn ang="0">
                    <a:pos x="43" y="4"/>
                  </a:cxn>
                  <a:cxn ang="0">
                    <a:pos x="35" y="4"/>
                  </a:cxn>
                  <a:cxn ang="0">
                    <a:pos x="17" y="7"/>
                  </a:cxn>
                  <a:cxn ang="0">
                    <a:pos x="7" y="14"/>
                  </a:cxn>
                  <a:cxn ang="0">
                    <a:pos x="0" y="25"/>
                  </a:cxn>
                  <a:cxn ang="0">
                    <a:pos x="2" y="42"/>
                  </a:cxn>
                  <a:cxn ang="0">
                    <a:pos x="8" y="49"/>
                  </a:cxn>
                  <a:cxn ang="0">
                    <a:pos x="7" y="60"/>
                  </a:cxn>
                  <a:cxn ang="0">
                    <a:pos x="10" y="63"/>
                  </a:cxn>
                  <a:cxn ang="0">
                    <a:pos x="13" y="70"/>
                  </a:cxn>
                  <a:cxn ang="0">
                    <a:pos x="18" y="78"/>
                  </a:cxn>
                  <a:cxn ang="0">
                    <a:pos x="22" y="82"/>
                  </a:cxn>
                  <a:cxn ang="0">
                    <a:pos x="23" y="87"/>
                  </a:cxn>
                  <a:cxn ang="0">
                    <a:pos x="27" y="90"/>
                  </a:cxn>
                  <a:cxn ang="0">
                    <a:pos x="30" y="87"/>
                  </a:cxn>
                  <a:cxn ang="0">
                    <a:pos x="35" y="83"/>
                  </a:cxn>
                  <a:cxn ang="0">
                    <a:pos x="37" y="88"/>
                  </a:cxn>
                  <a:cxn ang="0">
                    <a:pos x="33" y="95"/>
                  </a:cxn>
                  <a:cxn ang="0">
                    <a:pos x="35" y="98"/>
                  </a:cxn>
                  <a:cxn ang="0">
                    <a:pos x="42" y="95"/>
                  </a:cxn>
                  <a:cxn ang="0">
                    <a:pos x="45" y="97"/>
                  </a:cxn>
                  <a:cxn ang="0">
                    <a:pos x="52" y="97"/>
                  </a:cxn>
                </a:cxnLst>
                <a:rect l="0" t="0" r="r" b="b"/>
                <a:pathLst>
                  <a:path w="128" h="100">
                    <a:moveTo>
                      <a:pt x="57" y="100"/>
                    </a:moveTo>
                    <a:lnTo>
                      <a:pt x="60" y="95"/>
                    </a:lnTo>
                    <a:lnTo>
                      <a:pt x="67" y="93"/>
                    </a:lnTo>
                    <a:lnTo>
                      <a:pt x="68" y="88"/>
                    </a:lnTo>
                    <a:lnTo>
                      <a:pt x="73" y="87"/>
                    </a:lnTo>
                    <a:lnTo>
                      <a:pt x="77" y="88"/>
                    </a:lnTo>
                    <a:lnTo>
                      <a:pt x="88" y="87"/>
                    </a:lnTo>
                    <a:lnTo>
                      <a:pt x="92" y="88"/>
                    </a:lnTo>
                    <a:lnTo>
                      <a:pt x="93" y="92"/>
                    </a:lnTo>
                    <a:lnTo>
                      <a:pt x="101" y="92"/>
                    </a:lnTo>
                    <a:lnTo>
                      <a:pt x="98" y="87"/>
                    </a:lnTo>
                    <a:lnTo>
                      <a:pt x="100" y="83"/>
                    </a:lnTo>
                    <a:lnTo>
                      <a:pt x="95" y="80"/>
                    </a:lnTo>
                    <a:lnTo>
                      <a:pt x="90" y="78"/>
                    </a:lnTo>
                    <a:lnTo>
                      <a:pt x="88" y="70"/>
                    </a:lnTo>
                    <a:lnTo>
                      <a:pt x="93" y="68"/>
                    </a:lnTo>
                    <a:lnTo>
                      <a:pt x="103" y="68"/>
                    </a:lnTo>
                    <a:lnTo>
                      <a:pt x="105" y="63"/>
                    </a:lnTo>
                    <a:lnTo>
                      <a:pt x="111" y="60"/>
                    </a:lnTo>
                    <a:lnTo>
                      <a:pt x="118" y="58"/>
                    </a:lnTo>
                    <a:lnTo>
                      <a:pt x="120" y="55"/>
                    </a:lnTo>
                    <a:lnTo>
                      <a:pt x="123" y="53"/>
                    </a:lnTo>
                    <a:lnTo>
                      <a:pt x="126" y="47"/>
                    </a:lnTo>
                    <a:lnTo>
                      <a:pt x="126" y="42"/>
                    </a:lnTo>
                    <a:lnTo>
                      <a:pt x="128" y="37"/>
                    </a:lnTo>
                    <a:lnTo>
                      <a:pt x="126" y="32"/>
                    </a:lnTo>
                    <a:lnTo>
                      <a:pt x="126" y="25"/>
                    </a:lnTo>
                    <a:lnTo>
                      <a:pt x="123" y="17"/>
                    </a:lnTo>
                    <a:lnTo>
                      <a:pt x="118" y="14"/>
                    </a:lnTo>
                    <a:lnTo>
                      <a:pt x="115" y="7"/>
                    </a:lnTo>
                    <a:lnTo>
                      <a:pt x="111" y="7"/>
                    </a:lnTo>
                    <a:lnTo>
                      <a:pt x="106" y="5"/>
                    </a:lnTo>
                    <a:lnTo>
                      <a:pt x="103" y="4"/>
                    </a:lnTo>
                    <a:lnTo>
                      <a:pt x="101" y="0"/>
                    </a:lnTo>
                    <a:lnTo>
                      <a:pt x="93" y="2"/>
                    </a:lnTo>
                    <a:lnTo>
                      <a:pt x="88" y="5"/>
                    </a:lnTo>
                    <a:lnTo>
                      <a:pt x="95" y="10"/>
                    </a:lnTo>
                    <a:lnTo>
                      <a:pt x="93" y="14"/>
                    </a:lnTo>
                    <a:lnTo>
                      <a:pt x="95" y="19"/>
                    </a:lnTo>
                    <a:lnTo>
                      <a:pt x="95" y="22"/>
                    </a:lnTo>
                    <a:lnTo>
                      <a:pt x="87" y="19"/>
                    </a:lnTo>
                    <a:lnTo>
                      <a:pt x="83" y="12"/>
                    </a:lnTo>
                    <a:lnTo>
                      <a:pt x="75" y="12"/>
                    </a:lnTo>
                    <a:lnTo>
                      <a:pt x="73" y="9"/>
                    </a:lnTo>
                    <a:lnTo>
                      <a:pt x="68" y="5"/>
                    </a:lnTo>
                    <a:lnTo>
                      <a:pt x="65" y="7"/>
                    </a:lnTo>
                    <a:lnTo>
                      <a:pt x="60" y="4"/>
                    </a:lnTo>
                    <a:lnTo>
                      <a:pt x="53" y="5"/>
                    </a:lnTo>
                    <a:lnTo>
                      <a:pt x="48" y="4"/>
                    </a:lnTo>
                    <a:lnTo>
                      <a:pt x="43" y="4"/>
                    </a:lnTo>
                    <a:lnTo>
                      <a:pt x="37" y="5"/>
                    </a:lnTo>
                    <a:lnTo>
                      <a:pt x="35" y="4"/>
                    </a:lnTo>
                    <a:lnTo>
                      <a:pt x="27" y="4"/>
                    </a:lnTo>
                    <a:lnTo>
                      <a:pt x="17" y="7"/>
                    </a:lnTo>
                    <a:lnTo>
                      <a:pt x="12" y="7"/>
                    </a:lnTo>
                    <a:lnTo>
                      <a:pt x="7" y="14"/>
                    </a:lnTo>
                    <a:lnTo>
                      <a:pt x="5" y="20"/>
                    </a:lnTo>
                    <a:lnTo>
                      <a:pt x="0" y="25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7" y="44"/>
                    </a:lnTo>
                    <a:lnTo>
                      <a:pt x="8" y="49"/>
                    </a:lnTo>
                    <a:lnTo>
                      <a:pt x="8" y="57"/>
                    </a:lnTo>
                    <a:lnTo>
                      <a:pt x="7" y="60"/>
                    </a:lnTo>
                    <a:lnTo>
                      <a:pt x="7" y="60"/>
                    </a:lnTo>
                    <a:lnTo>
                      <a:pt x="10" y="63"/>
                    </a:lnTo>
                    <a:lnTo>
                      <a:pt x="12" y="67"/>
                    </a:lnTo>
                    <a:lnTo>
                      <a:pt x="13" y="70"/>
                    </a:lnTo>
                    <a:lnTo>
                      <a:pt x="15" y="73"/>
                    </a:lnTo>
                    <a:lnTo>
                      <a:pt x="18" y="78"/>
                    </a:lnTo>
                    <a:lnTo>
                      <a:pt x="20" y="78"/>
                    </a:lnTo>
                    <a:lnTo>
                      <a:pt x="22" y="82"/>
                    </a:lnTo>
                    <a:lnTo>
                      <a:pt x="22" y="85"/>
                    </a:lnTo>
                    <a:lnTo>
                      <a:pt x="23" y="87"/>
                    </a:lnTo>
                    <a:lnTo>
                      <a:pt x="23" y="90"/>
                    </a:lnTo>
                    <a:lnTo>
                      <a:pt x="27" y="90"/>
                    </a:lnTo>
                    <a:lnTo>
                      <a:pt x="30" y="90"/>
                    </a:lnTo>
                    <a:lnTo>
                      <a:pt x="30" y="87"/>
                    </a:lnTo>
                    <a:lnTo>
                      <a:pt x="33" y="85"/>
                    </a:lnTo>
                    <a:lnTo>
                      <a:pt x="35" y="83"/>
                    </a:lnTo>
                    <a:lnTo>
                      <a:pt x="35" y="85"/>
                    </a:lnTo>
                    <a:lnTo>
                      <a:pt x="37" y="88"/>
                    </a:lnTo>
                    <a:lnTo>
                      <a:pt x="37" y="92"/>
                    </a:lnTo>
                    <a:lnTo>
                      <a:pt x="33" y="95"/>
                    </a:lnTo>
                    <a:lnTo>
                      <a:pt x="35" y="97"/>
                    </a:lnTo>
                    <a:lnTo>
                      <a:pt x="35" y="98"/>
                    </a:lnTo>
                    <a:lnTo>
                      <a:pt x="38" y="98"/>
                    </a:lnTo>
                    <a:lnTo>
                      <a:pt x="42" y="95"/>
                    </a:lnTo>
                    <a:lnTo>
                      <a:pt x="43" y="95"/>
                    </a:lnTo>
                    <a:lnTo>
                      <a:pt x="45" y="97"/>
                    </a:lnTo>
                    <a:lnTo>
                      <a:pt x="50" y="98"/>
                    </a:lnTo>
                    <a:lnTo>
                      <a:pt x="52" y="97"/>
                    </a:lnTo>
                    <a:lnTo>
                      <a:pt x="57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4" name="Freeform 21"/>
              <p:cNvSpPr>
                <a:spLocks/>
              </p:cNvSpPr>
              <p:nvPr/>
            </p:nvSpPr>
            <p:spPr bwMode="auto">
              <a:xfrm>
                <a:off x="7705734" y="3000979"/>
                <a:ext cx="105954" cy="106872"/>
              </a:xfrm>
              <a:custGeom>
                <a:avLst/>
                <a:gdLst/>
                <a:ahLst/>
                <a:cxnLst>
                  <a:cxn ang="0">
                    <a:pos x="28" y="30"/>
                  </a:cxn>
                  <a:cxn ang="0">
                    <a:pos x="37" y="24"/>
                  </a:cxn>
                  <a:cxn ang="0">
                    <a:pos x="35" y="7"/>
                  </a:cxn>
                  <a:cxn ang="0">
                    <a:pos x="47" y="0"/>
                  </a:cxn>
                  <a:cxn ang="0">
                    <a:pos x="62" y="14"/>
                  </a:cxn>
                  <a:cxn ang="0">
                    <a:pos x="65" y="25"/>
                  </a:cxn>
                  <a:cxn ang="0">
                    <a:pos x="88" y="39"/>
                  </a:cxn>
                  <a:cxn ang="0">
                    <a:pos x="106" y="39"/>
                  </a:cxn>
                  <a:cxn ang="0">
                    <a:pos x="116" y="47"/>
                  </a:cxn>
                  <a:cxn ang="0">
                    <a:pos x="123" y="55"/>
                  </a:cxn>
                  <a:cxn ang="0">
                    <a:pos x="115" y="68"/>
                  </a:cxn>
                  <a:cxn ang="0">
                    <a:pos x="100" y="70"/>
                  </a:cxn>
                  <a:cxn ang="0">
                    <a:pos x="101" y="83"/>
                  </a:cxn>
                  <a:cxn ang="0">
                    <a:pos x="110" y="92"/>
                  </a:cxn>
                  <a:cxn ang="0">
                    <a:pos x="130" y="97"/>
                  </a:cxn>
                  <a:cxn ang="0">
                    <a:pos x="148" y="113"/>
                  </a:cxn>
                  <a:cxn ang="0">
                    <a:pos x="156" y="128"/>
                  </a:cxn>
                  <a:cxn ang="0">
                    <a:pos x="168" y="135"/>
                  </a:cxn>
                  <a:cxn ang="0">
                    <a:pos x="174" y="140"/>
                  </a:cxn>
                  <a:cxn ang="0">
                    <a:pos x="179" y="148"/>
                  </a:cxn>
                  <a:cxn ang="0">
                    <a:pos x="189" y="151"/>
                  </a:cxn>
                  <a:cxn ang="0">
                    <a:pos x="193" y="156"/>
                  </a:cxn>
                  <a:cxn ang="0">
                    <a:pos x="198" y="166"/>
                  </a:cxn>
                  <a:cxn ang="0">
                    <a:pos x="191" y="181"/>
                  </a:cxn>
                  <a:cxn ang="0">
                    <a:pos x="189" y="193"/>
                  </a:cxn>
                  <a:cxn ang="0">
                    <a:pos x="176" y="190"/>
                  </a:cxn>
                  <a:cxn ang="0">
                    <a:pos x="161" y="191"/>
                  </a:cxn>
                  <a:cxn ang="0">
                    <a:pos x="168" y="205"/>
                  </a:cxn>
                  <a:cxn ang="0">
                    <a:pos x="156" y="198"/>
                  </a:cxn>
                  <a:cxn ang="0">
                    <a:pos x="141" y="191"/>
                  </a:cxn>
                  <a:cxn ang="0">
                    <a:pos x="146" y="180"/>
                  </a:cxn>
                  <a:cxn ang="0">
                    <a:pos x="146" y="170"/>
                  </a:cxn>
                  <a:cxn ang="0">
                    <a:pos x="141" y="158"/>
                  </a:cxn>
                  <a:cxn ang="0">
                    <a:pos x="135" y="153"/>
                  </a:cxn>
                  <a:cxn ang="0">
                    <a:pos x="126" y="141"/>
                  </a:cxn>
                  <a:cxn ang="0">
                    <a:pos x="125" y="128"/>
                  </a:cxn>
                  <a:cxn ang="0">
                    <a:pos x="118" y="115"/>
                  </a:cxn>
                  <a:cxn ang="0">
                    <a:pos x="93" y="100"/>
                  </a:cxn>
                  <a:cxn ang="0">
                    <a:pos x="70" y="112"/>
                  </a:cxn>
                  <a:cxn ang="0">
                    <a:pos x="52" y="103"/>
                  </a:cxn>
                  <a:cxn ang="0">
                    <a:pos x="38" y="113"/>
                  </a:cxn>
                  <a:cxn ang="0">
                    <a:pos x="32" y="97"/>
                  </a:cxn>
                  <a:cxn ang="0">
                    <a:pos x="32" y="85"/>
                  </a:cxn>
                  <a:cxn ang="0">
                    <a:pos x="32" y="72"/>
                  </a:cxn>
                  <a:cxn ang="0">
                    <a:pos x="15" y="73"/>
                  </a:cxn>
                  <a:cxn ang="0">
                    <a:pos x="13" y="58"/>
                  </a:cxn>
                  <a:cxn ang="0">
                    <a:pos x="0" y="48"/>
                  </a:cxn>
                  <a:cxn ang="0">
                    <a:pos x="10" y="40"/>
                  </a:cxn>
                  <a:cxn ang="0">
                    <a:pos x="10" y="30"/>
                  </a:cxn>
                </a:cxnLst>
                <a:rect l="0" t="0" r="r" b="b"/>
                <a:pathLst>
                  <a:path w="198" h="208">
                    <a:moveTo>
                      <a:pt x="22" y="24"/>
                    </a:moveTo>
                    <a:lnTo>
                      <a:pt x="25" y="27"/>
                    </a:lnTo>
                    <a:lnTo>
                      <a:pt x="28" y="30"/>
                    </a:lnTo>
                    <a:lnTo>
                      <a:pt x="33" y="29"/>
                    </a:lnTo>
                    <a:lnTo>
                      <a:pt x="38" y="29"/>
                    </a:lnTo>
                    <a:lnTo>
                      <a:pt x="37" y="24"/>
                    </a:lnTo>
                    <a:lnTo>
                      <a:pt x="37" y="19"/>
                    </a:lnTo>
                    <a:lnTo>
                      <a:pt x="35" y="14"/>
                    </a:lnTo>
                    <a:lnTo>
                      <a:pt x="35" y="7"/>
                    </a:lnTo>
                    <a:lnTo>
                      <a:pt x="38" y="5"/>
                    </a:lnTo>
                    <a:lnTo>
                      <a:pt x="38" y="2"/>
                    </a:lnTo>
                    <a:lnTo>
                      <a:pt x="47" y="0"/>
                    </a:lnTo>
                    <a:lnTo>
                      <a:pt x="48" y="4"/>
                    </a:lnTo>
                    <a:lnTo>
                      <a:pt x="57" y="7"/>
                    </a:lnTo>
                    <a:lnTo>
                      <a:pt x="62" y="14"/>
                    </a:lnTo>
                    <a:lnTo>
                      <a:pt x="65" y="17"/>
                    </a:lnTo>
                    <a:lnTo>
                      <a:pt x="67" y="20"/>
                    </a:lnTo>
                    <a:lnTo>
                      <a:pt x="65" y="25"/>
                    </a:lnTo>
                    <a:lnTo>
                      <a:pt x="73" y="32"/>
                    </a:lnTo>
                    <a:lnTo>
                      <a:pt x="78" y="39"/>
                    </a:lnTo>
                    <a:lnTo>
                      <a:pt x="88" y="39"/>
                    </a:lnTo>
                    <a:lnTo>
                      <a:pt x="93" y="40"/>
                    </a:lnTo>
                    <a:lnTo>
                      <a:pt x="100" y="39"/>
                    </a:lnTo>
                    <a:lnTo>
                      <a:pt x="106" y="39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16" y="47"/>
                    </a:lnTo>
                    <a:lnTo>
                      <a:pt x="116" y="52"/>
                    </a:lnTo>
                    <a:lnTo>
                      <a:pt x="123" y="53"/>
                    </a:lnTo>
                    <a:lnTo>
                      <a:pt x="123" y="55"/>
                    </a:lnTo>
                    <a:lnTo>
                      <a:pt x="120" y="57"/>
                    </a:lnTo>
                    <a:lnTo>
                      <a:pt x="116" y="65"/>
                    </a:lnTo>
                    <a:lnTo>
                      <a:pt x="115" y="68"/>
                    </a:lnTo>
                    <a:lnTo>
                      <a:pt x="110" y="68"/>
                    </a:lnTo>
                    <a:lnTo>
                      <a:pt x="103" y="70"/>
                    </a:lnTo>
                    <a:lnTo>
                      <a:pt x="100" y="70"/>
                    </a:lnTo>
                    <a:lnTo>
                      <a:pt x="100" y="75"/>
                    </a:lnTo>
                    <a:lnTo>
                      <a:pt x="105" y="80"/>
                    </a:lnTo>
                    <a:lnTo>
                      <a:pt x="101" y="83"/>
                    </a:lnTo>
                    <a:lnTo>
                      <a:pt x="103" y="87"/>
                    </a:lnTo>
                    <a:lnTo>
                      <a:pt x="106" y="87"/>
                    </a:lnTo>
                    <a:lnTo>
                      <a:pt x="110" y="92"/>
                    </a:lnTo>
                    <a:lnTo>
                      <a:pt x="116" y="92"/>
                    </a:lnTo>
                    <a:lnTo>
                      <a:pt x="125" y="95"/>
                    </a:lnTo>
                    <a:lnTo>
                      <a:pt x="130" y="97"/>
                    </a:lnTo>
                    <a:lnTo>
                      <a:pt x="135" y="103"/>
                    </a:lnTo>
                    <a:lnTo>
                      <a:pt x="143" y="107"/>
                    </a:lnTo>
                    <a:lnTo>
                      <a:pt x="148" y="113"/>
                    </a:lnTo>
                    <a:lnTo>
                      <a:pt x="146" y="117"/>
                    </a:lnTo>
                    <a:lnTo>
                      <a:pt x="155" y="123"/>
                    </a:lnTo>
                    <a:lnTo>
                      <a:pt x="156" y="128"/>
                    </a:lnTo>
                    <a:lnTo>
                      <a:pt x="160" y="130"/>
                    </a:lnTo>
                    <a:lnTo>
                      <a:pt x="166" y="130"/>
                    </a:lnTo>
                    <a:lnTo>
                      <a:pt x="168" y="135"/>
                    </a:lnTo>
                    <a:lnTo>
                      <a:pt x="170" y="138"/>
                    </a:lnTo>
                    <a:lnTo>
                      <a:pt x="171" y="141"/>
                    </a:lnTo>
                    <a:lnTo>
                      <a:pt x="174" y="140"/>
                    </a:lnTo>
                    <a:lnTo>
                      <a:pt x="178" y="141"/>
                    </a:lnTo>
                    <a:lnTo>
                      <a:pt x="176" y="145"/>
                    </a:lnTo>
                    <a:lnTo>
                      <a:pt x="179" y="148"/>
                    </a:lnTo>
                    <a:lnTo>
                      <a:pt x="184" y="148"/>
                    </a:lnTo>
                    <a:lnTo>
                      <a:pt x="188" y="151"/>
                    </a:lnTo>
                    <a:lnTo>
                      <a:pt x="189" y="151"/>
                    </a:lnTo>
                    <a:lnTo>
                      <a:pt x="194" y="150"/>
                    </a:lnTo>
                    <a:lnTo>
                      <a:pt x="196" y="153"/>
                    </a:lnTo>
                    <a:lnTo>
                      <a:pt x="193" y="156"/>
                    </a:lnTo>
                    <a:lnTo>
                      <a:pt x="191" y="163"/>
                    </a:lnTo>
                    <a:lnTo>
                      <a:pt x="193" y="165"/>
                    </a:lnTo>
                    <a:lnTo>
                      <a:pt x="198" y="166"/>
                    </a:lnTo>
                    <a:lnTo>
                      <a:pt x="198" y="171"/>
                    </a:lnTo>
                    <a:lnTo>
                      <a:pt x="191" y="176"/>
                    </a:lnTo>
                    <a:lnTo>
                      <a:pt x="191" y="181"/>
                    </a:lnTo>
                    <a:lnTo>
                      <a:pt x="193" y="185"/>
                    </a:lnTo>
                    <a:lnTo>
                      <a:pt x="194" y="191"/>
                    </a:lnTo>
                    <a:lnTo>
                      <a:pt x="189" y="193"/>
                    </a:lnTo>
                    <a:lnTo>
                      <a:pt x="184" y="193"/>
                    </a:lnTo>
                    <a:lnTo>
                      <a:pt x="179" y="191"/>
                    </a:lnTo>
                    <a:lnTo>
                      <a:pt x="176" y="190"/>
                    </a:lnTo>
                    <a:lnTo>
                      <a:pt x="174" y="186"/>
                    </a:lnTo>
                    <a:lnTo>
                      <a:pt x="166" y="188"/>
                    </a:lnTo>
                    <a:lnTo>
                      <a:pt x="161" y="191"/>
                    </a:lnTo>
                    <a:lnTo>
                      <a:pt x="168" y="196"/>
                    </a:lnTo>
                    <a:lnTo>
                      <a:pt x="166" y="200"/>
                    </a:lnTo>
                    <a:lnTo>
                      <a:pt x="168" y="205"/>
                    </a:lnTo>
                    <a:lnTo>
                      <a:pt x="168" y="208"/>
                    </a:lnTo>
                    <a:lnTo>
                      <a:pt x="160" y="205"/>
                    </a:lnTo>
                    <a:lnTo>
                      <a:pt x="156" y="198"/>
                    </a:lnTo>
                    <a:lnTo>
                      <a:pt x="148" y="198"/>
                    </a:lnTo>
                    <a:lnTo>
                      <a:pt x="146" y="195"/>
                    </a:lnTo>
                    <a:lnTo>
                      <a:pt x="141" y="191"/>
                    </a:lnTo>
                    <a:lnTo>
                      <a:pt x="143" y="190"/>
                    </a:lnTo>
                    <a:lnTo>
                      <a:pt x="146" y="188"/>
                    </a:lnTo>
                    <a:lnTo>
                      <a:pt x="146" y="180"/>
                    </a:lnTo>
                    <a:lnTo>
                      <a:pt x="145" y="176"/>
                    </a:lnTo>
                    <a:lnTo>
                      <a:pt x="146" y="171"/>
                    </a:lnTo>
                    <a:lnTo>
                      <a:pt x="146" y="170"/>
                    </a:lnTo>
                    <a:lnTo>
                      <a:pt x="148" y="165"/>
                    </a:lnTo>
                    <a:lnTo>
                      <a:pt x="148" y="161"/>
                    </a:lnTo>
                    <a:lnTo>
                      <a:pt x="141" y="158"/>
                    </a:lnTo>
                    <a:lnTo>
                      <a:pt x="143" y="155"/>
                    </a:lnTo>
                    <a:lnTo>
                      <a:pt x="138" y="153"/>
                    </a:lnTo>
                    <a:lnTo>
                      <a:pt x="135" y="153"/>
                    </a:lnTo>
                    <a:lnTo>
                      <a:pt x="128" y="148"/>
                    </a:lnTo>
                    <a:lnTo>
                      <a:pt x="125" y="145"/>
                    </a:lnTo>
                    <a:lnTo>
                      <a:pt x="126" y="141"/>
                    </a:lnTo>
                    <a:lnTo>
                      <a:pt x="126" y="137"/>
                    </a:lnTo>
                    <a:lnTo>
                      <a:pt x="123" y="132"/>
                    </a:lnTo>
                    <a:lnTo>
                      <a:pt x="125" y="128"/>
                    </a:lnTo>
                    <a:lnTo>
                      <a:pt x="126" y="125"/>
                    </a:lnTo>
                    <a:lnTo>
                      <a:pt x="123" y="120"/>
                    </a:lnTo>
                    <a:lnTo>
                      <a:pt x="118" y="115"/>
                    </a:lnTo>
                    <a:lnTo>
                      <a:pt x="106" y="108"/>
                    </a:lnTo>
                    <a:lnTo>
                      <a:pt x="103" y="102"/>
                    </a:lnTo>
                    <a:lnTo>
                      <a:pt x="93" y="100"/>
                    </a:lnTo>
                    <a:lnTo>
                      <a:pt x="85" y="102"/>
                    </a:lnTo>
                    <a:lnTo>
                      <a:pt x="80" y="112"/>
                    </a:lnTo>
                    <a:lnTo>
                      <a:pt x="70" y="112"/>
                    </a:lnTo>
                    <a:lnTo>
                      <a:pt x="65" y="108"/>
                    </a:lnTo>
                    <a:lnTo>
                      <a:pt x="60" y="108"/>
                    </a:lnTo>
                    <a:lnTo>
                      <a:pt x="52" y="103"/>
                    </a:lnTo>
                    <a:lnTo>
                      <a:pt x="45" y="107"/>
                    </a:lnTo>
                    <a:lnTo>
                      <a:pt x="43" y="112"/>
                    </a:lnTo>
                    <a:lnTo>
                      <a:pt x="38" y="113"/>
                    </a:lnTo>
                    <a:lnTo>
                      <a:pt x="32" y="117"/>
                    </a:lnTo>
                    <a:lnTo>
                      <a:pt x="32" y="105"/>
                    </a:lnTo>
                    <a:lnTo>
                      <a:pt x="32" y="97"/>
                    </a:lnTo>
                    <a:lnTo>
                      <a:pt x="28" y="92"/>
                    </a:lnTo>
                    <a:lnTo>
                      <a:pt x="32" y="88"/>
                    </a:lnTo>
                    <a:lnTo>
                      <a:pt x="32" y="85"/>
                    </a:lnTo>
                    <a:lnTo>
                      <a:pt x="28" y="80"/>
                    </a:lnTo>
                    <a:lnTo>
                      <a:pt x="32" y="75"/>
                    </a:lnTo>
                    <a:lnTo>
                      <a:pt x="32" y="72"/>
                    </a:lnTo>
                    <a:lnTo>
                      <a:pt x="23" y="72"/>
                    </a:lnTo>
                    <a:lnTo>
                      <a:pt x="18" y="75"/>
                    </a:lnTo>
                    <a:lnTo>
                      <a:pt x="15" y="73"/>
                    </a:lnTo>
                    <a:lnTo>
                      <a:pt x="12" y="68"/>
                    </a:lnTo>
                    <a:lnTo>
                      <a:pt x="15" y="65"/>
                    </a:lnTo>
                    <a:lnTo>
                      <a:pt x="13" y="58"/>
                    </a:lnTo>
                    <a:lnTo>
                      <a:pt x="8" y="53"/>
                    </a:lnTo>
                    <a:lnTo>
                      <a:pt x="3" y="53"/>
                    </a:lnTo>
                    <a:lnTo>
                      <a:pt x="0" y="48"/>
                    </a:lnTo>
                    <a:lnTo>
                      <a:pt x="3" y="43"/>
                    </a:lnTo>
                    <a:lnTo>
                      <a:pt x="5" y="43"/>
                    </a:lnTo>
                    <a:lnTo>
                      <a:pt x="10" y="40"/>
                    </a:lnTo>
                    <a:lnTo>
                      <a:pt x="8" y="37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8" y="29"/>
                    </a:lnTo>
                    <a:lnTo>
                      <a:pt x="22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5" name="Freeform 22"/>
              <p:cNvSpPr>
                <a:spLocks noEditPoints="1"/>
              </p:cNvSpPr>
              <p:nvPr/>
            </p:nvSpPr>
            <p:spPr bwMode="auto">
              <a:xfrm>
                <a:off x="7674697" y="3025881"/>
                <a:ext cx="110235" cy="178465"/>
              </a:xfrm>
              <a:custGeom>
                <a:avLst/>
                <a:gdLst/>
                <a:ahLst/>
                <a:cxnLst>
                  <a:cxn ang="0">
                    <a:pos x="73" y="17"/>
                  </a:cxn>
                  <a:cxn ang="0">
                    <a:pos x="90" y="24"/>
                  </a:cxn>
                  <a:cxn ang="0">
                    <a:pos x="86" y="44"/>
                  </a:cxn>
                  <a:cxn ang="0">
                    <a:pos x="101" y="64"/>
                  </a:cxn>
                  <a:cxn ang="0">
                    <a:pos x="128" y="64"/>
                  </a:cxn>
                  <a:cxn ang="0">
                    <a:pos x="164" y="60"/>
                  </a:cxn>
                  <a:cxn ang="0">
                    <a:pos x="181" y="84"/>
                  </a:cxn>
                  <a:cxn ang="0">
                    <a:pos x="193" y="105"/>
                  </a:cxn>
                  <a:cxn ang="0">
                    <a:pos x="206" y="117"/>
                  </a:cxn>
                  <a:cxn ang="0">
                    <a:pos x="204" y="140"/>
                  </a:cxn>
                  <a:cxn ang="0">
                    <a:pos x="179" y="142"/>
                  </a:cxn>
                  <a:cxn ang="0">
                    <a:pos x="148" y="145"/>
                  </a:cxn>
                  <a:cxn ang="0">
                    <a:pos x="131" y="172"/>
                  </a:cxn>
                  <a:cxn ang="0">
                    <a:pos x="138" y="198"/>
                  </a:cxn>
                  <a:cxn ang="0">
                    <a:pos x="130" y="196"/>
                  </a:cxn>
                  <a:cxn ang="0">
                    <a:pos x="115" y="187"/>
                  </a:cxn>
                  <a:cxn ang="0">
                    <a:pos x="105" y="187"/>
                  </a:cxn>
                  <a:cxn ang="0">
                    <a:pos x="96" y="183"/>
                  </a:cxn>
                  <a:cxn ang="0">
                    <a:pos x="90" y="168"/>
                  </a:cxn>
                  <a:cxn ang="0">
                    <a:pos x="80" y="168"/>
                  </a:cxn>
                  <a:cxn ang="0">
                    <a:pos x="71" y="170"/>
                  </a:cxn>
                  <a:cxn ang="0">
                    <a:pos x="73" y="187"/>
                  </a:cxn>
                  <a:cxn ang="0">
                    <a:pos x="68" y="206"/>
                  </a:cxn>
                  <a:cxn ang="0">
                    <a:pos x="56" y="243"/>
                  </a:cxn>
                  <a:cxn ang="0">
                    <a:pos x="58" y="253"/>
                  </a:cxn>
                  <a:cxn ang="0">
                    <a:pos x="65" y="268"/>
                  </a:cxn>
                  <a:cxn ang="0">
                    <a:pos x="75" y="266"/>
                  </a:cxn>
                  <a:cxn ang="0">
                    <a:pos x="83" y="285"/>
                  </a:cxn>
                  <a:cxn ang="0">
                    <a:pos x="90" y="286"/>
                  </a:cxn>
                  <a:cxn ang="0">
                    <a:pos x="91" y="303"/>
                  </a:cxn>
                  <a:cxn ang="0">
                    <a:pos x="95" y="306"/>
                  </a:cxn>
                  <a:cxn ang="0">
                    <a:pos x="110" y="323"/>
                  </a:cxn>
                  <a:cxn ang="0">
                    <a:pos x="126" y="333"/>
                  </a:cxn>
                  <a:cxn ang="0">
                    <a:pos x="126" y="344"/>
                  </a:cxn>
                  <a:cxn ang="0">
                    <a:pos x="106" y="341"/>
                  </a:cxn>
                  <a:cxn ang="0">
                    <a:pos x="101" y="328"/>
                  </a:cxn>
                  <a:cxn ang="0">
                    <a:pos x="83" y="328"/>
                  </a:cxn>
                  <a:cxn ang="0">
                    <a:pos x="71" y="314"/>
                  </a:cxn>
                  <a:cxn ang="0">
                    <a:pos x="56" y="299"/>
                  </a:cxn>
                  <a:cxn ang="0">
                    <a:pos x="46" y="285"/>
                  </a:cxn>
                  <a:cxn ang="0">
                    <a:pos x="36" y="280"/>
                  </a:cxn>
                  <a:cxn ang="0">
                    <a:pos x="41" y="261"/>
                  </a:cxn>
                  <a:cxn ang="0">
                    <a:pos x="46" y="248"/>
                  </a:cxn>
                  <a:cxn ang="0">
                    <a:pos x="50" y="228"/>
                  </a:cxn>
                  <a:cxn ang="0">
                    <a:pos x="60" y="196"/>
                  </a:cxn>
                  <a:cxn ang="0">
                    <a:pos x="55" y="173"/>
                  </a:cxn>
                  <a:cxn ang="0">
                    <a:pos x="38" y="145"/>
                  </a:cxn>
                  <a:cxn ang="0">
                    <a:pos x="35" y="120"/>
                  </a:cxn>
                  <a:cxn ang="0">
                    <a:pos x="33" y="97"/>
                  </a:cxn>
                  <a:cxn ang="0">
                    <a:pos x="13" y="70"/>
                  </a:cxn>
                  <a:cxn ang="0">
                    <a:pos x="0" y="52"/>
                  </a:cxn>
                  <a:cxn ang="0">
                    <a:pos x="12" y="34"/>
                  </a:cxn>
                  <a:cxn ang="0">
                    <a:pos x="35" y="20"/>
                  </a:cxn>
                  <a:cxn ang="0">
                    <a:pos x="48" y="9"/>
                  </a:cxn>
                  <a:cxn ang="0">
                    <a:pos x="58" y="0"/>
                  </a:cxn>
                  <a:cxn ang="0">
                    <a:pos x="75" y="324"/>
                  </a:cxn>
                  <a:cxn ang="0">
                    <a:pos x="56" y="308"/>
                  </a:cxn>
                  <a:cxn ang="0">
                    <a:pos x="38" y="291"/>
                  </a:cxn>
                  <a:cxn ang="0">
                    <a:pos x="41" y="291"/>
                  </a:cxn>
                  <a:cxn ang="0">
                    <a:pos x="128" y="201"/>
                  </a:cxn>
                  <a:cxn ang="0">
                    <a:pos x="80" y="251"/>
                  </a:cxn>
                  <a:cxn ang="0">
                    <a:pos x="80" y="256"/>
                  </a:cxn>
                  <a:cxn ang="0">
                    <a:pos x="80" y="256"/>
                  </a:cxn>
                </a:cxnLst>
                <a:rect l="0" t="0" r="r" b="b"/>
                <a:pathLst>
                  <a:path w="206" h="346">
                    <a:moveTo>
                      <a:pt x="58" y="0"/>
                    </a:moveTo>
                    <a:lnTo>
                      <a:pt x="61" y="5"/>
                    </a:lnTo>
                    <a:lnTo>
                      <a:pt x="66" y="5"/>
                    </a:lnTo>
                    <a:lnTo>
                      <a:pt x="71" y="10"/>
                    </a:lnTo>
                    <a:lnTo>
                      <a:pt x="73" y="17"/>
                    </a:lnTo>
                    <a:lnTo>
                      <a:pt x="70" y="20"/>
                    </a:lnTo>
                    <a:lnTo>
                      <a:pt x="73" y="25"/>
                    </a:lnTo>
                    <a:lnTo>
                      <a:pt x="76" y="27"/>
                    </a:lnTo>
                    <a:lnTo>
                      <a:pt x="81" y="24"/>
                    </a:lnTo>
                    <a:lnTo>
                      <a:pt x="90" y="24"/>
                    </a:lnTo>
                    <a:lnTo>
                      <a:pt x="90" y="27"/>
                    </a:lnTo>
                    <a:lnTo>
                      <a:pt x="86" y="32"/>
                    </a:lnTo>
                    <a:lnTo>
                      <a:pt x="90" y="37"/>
                    </a:lnTo>
                    <a:lnTo>
                      <a:pt x="90" y="40"/>
                    </a:lnTo>
                    <a:lnTo>
                      <a:pt x="86" y="44"/>
                    </a:lnTo>
                    <a:lnTo>
                      <a:pt x="90" y="49"/>
                    </a:lnTo>
                    <a:lnTo>
                      <a:pt x="90" y="57"/>
                    </a:lnTo>
                    <a:lnTo>
                      <a:pt x="90" y="69"/>
                    </a:lnTo>
                    <a:lnTo>
                      <a:pt x="96" y="65"/>
                    </a:lnTo>
                    <a:lnTo>
                      <a:pt x="101" y="64"/>
                    </a:lnTo>
                    <a:lnTo>
                      <a:pt x="103" y="59"/>
                    </a:lnTo>
                    <a:lnTo>
                      <a:pt x="110" y="55"/>
                    </a:lnTo>
                    <a:lnTo>
                      <a:pt x="118" y="60"/>
                    </a:lnTo>
                    <a:lnTo>
                      <a:pt x="123" y="60"/>
                    </a:lnTo>
                    <a:lnTo>
                      <a:pt x="128" y="64"/>
                    </a:lnTo>
                    <a:lnTo>
                      <a:pt x="138" y="64"/>
                    </a:lnTo>
                    <a:lnTo>
                      <a:pt x="143" y="54"/>
                    </a:lnTo>
                    <a:lnTo>
                      <a:pt x="151" y="52"/>
                    </a:lnTo>
                    <a:lnTo>
                      <a:pt x="161" y="54"/>
                    </a:lnTo>
                    <a:lnTo>
                      <a:pt x="164" y="60"/>
                    </a:lnTo>
                    <a:lnTo>
                      <a:pt x="176" y="67"/>
                    </a:lnTo>
                    <a:lnTo>
                      <a:pt x="181" y="72"/>
                    </a:lnTo>
                    <a:lnTo>
                      <a:pt x="184" y="77"/>
                    </a:lnTo>
                    <a:lnTo>
                      <a:pt x="183" y="80"/>
                    </a:lnTo>
                    <a:lnTo>
                      <a:pt x="181" y="84"/>
                    </a:lnTo>
                    <a:lnTo>
                      <a:pt x="184" y="89"/>
                    </a:lnTo>
                    <a:lnTo>
                      <a:pt x="184" y="93"/>
                    </a:lnTo>
                    <a:lnTo>
                      <a:pt x="183" y="97"/>
                    </a:lnTo>
                    <a:lnTo>
                      <a:pt x="186" y="100"/>
                    </a:lnTo>
                    <a:lnTo>
                      <a:pt x="193" y="105"/>
                    </a:lnTo>
                    <a:lnTo>
                      <a:pt x="196" y="105"/>
                    </a:lnTo>
                    <a:lnTo>
                      <a:pt x="201" y="107"/>
                    </a:lnTo>
                    <a:lnTo>
                      <a:pt x="199" y="110"/>
                    </a:lnTo>
                    <a:lnTo>
                      <a:pt x="206" y="113"/>
                    </a:lnTo>
                    <a:lnTo>
                      <a:pt x="206" y="117"/>
                    </a:lnTo>
                    <a:lnTo>
                      <a:pt x="204" y="122"/>
                    </a:lnTo>
                    <a:lnTo>
                      <a:pt x="204" y="123"/>
                    </a:lnTo>
                    <a:lnTo>
                      <a:pt x="203" y="128"/>
                    </a:lnTo>
                    <a:lnTo>
                      <a:pt x="204" y="132"/>
                    </a:lnTo>
                    <a:lnTo>
                      <a:pt x="204" y="140"/>
                    </a:lnTo>
                    <a:lnTo>
                      <a:pt x="201" y="142"/>
                    </a:lnTo>
                    <a:lnTo>
                      <a:pt x="196" y="145"/>
                    </a:lnTo>
                    <a:lnTo>
                      <a:pt x="191" y="142"/>
                    </a:lnTo>
                    <a:lnTo>
                      <a:pt x="184" y="143"/>
                    </a:lnTo>
                    <a:lnTo>
                      <a:pt x="179" y="142"/>
                    </a:lnTo>
                    <a:lnTo>
                      <a:pt x="174" y="142"/>
                    </a:lnTo>
                    <a:lnTo>
                      <a:pt x="168" y="143"/>
                    </a:lnTo>
                    <a:lnTo>
                      <a:pt x="166" y="142"/>
                    </a:lnTo>
                    <a:lnTo>
                      <a:pt x="158" y="142"/>
                    </a:lnTo>
                    <a:lnTo>
                      <a:pt x="148" y="145"/>
                    </a:lnTo>
                    <a:lnTo>
                      <a:pt x="143" y="145"/>
                    </a:lnTo>
                    <a:lnTo>
                      <a:pt x="138" y="152"/>
                    </a:lnTo>
                    <a:lnTo>
                      <a:pt x="136" y="158"/>
                    </a:lnTo>
                    <a:lnTo>
                      <a:pt x="131" y="163"/>
                    </a:lnTo>
                    <a:lnTo>
                      <a:pt x="131" y="172"/>
                    </a:lnTo>
                    <a:lnTo>
                      <a:pt x="133" y="180"/>
                    </a:lnTo>
                    <a:lnTo>
                      <a:pt x="138" y="182"/>
                    </a:lnTo>
                    <a:lnTo>
                      <a:pt x="139" y="187"/>
                    </a:lnTo>
                    <a:lnTo>
                      <a:pt x="139" y="195"/>
                    </a:lnTo>
                    <a:lnTo>
                      <a:pt x="138" y="198"/>
                    </a:lnTo>
                    <a:lnTo>
                      <a:pt x="136" y="198"/>
                    </a:lnTo>
                    <a:lnTo>
                      <a:pt x="136" y="200"/>
                    </a:lnTo>
                    <a:lnTo>
                      <a:pt x="134" y="201"/>
                    </a:lnTo>
                    <a:lnTo>
                      <a:pt x="134" y="200"/>
                    </a:lnTo>
                    <a:lnTo>
                      <a:pt x="130" y="196"/>
                    </a:lnTo>
                    <a:lnTo>
                      <a:pt x="128" y="196"/>
                    </a:lnTo>
                    <a:lnTo>
                      <a:pt x="128" y="195"/>
                    </a:lnTo>
                    <a:lnTo>
                      <a:pt x="125" y="193"/>
                    </a:lnTo>
                    <a:lnTo>
                      <a:pt x="118" y="187"/>
                    </a:lnTo>
                    <a:lnTo>
                      <a:pt x="115" y="187"/>
                    </a:lnTo>
                    <a:lnTo>
                      <a:pt x="111" y="188"/>
                    </a:lnTo>
                    <a:lnTo>
                      <a:pt x="113" y="188"/>
                    </a:lnTo>
                    <a:lnTo>
                      <a:pt x="113" y="190"/>
                    </a:lnTo>
                    <a:lnTo>
                      <a:pt x="110" y="188"/>
                    </a:lnTo>
                    <a:lnTo>
                      <a:pt x="105" y="187"/>
                    </a:lnTo>
                    <a:lnTo>
                      <a:pt x="100" y="188"/>
                    </a:lnTo>
                    <a:lnTo>
                      <a:pt x="96" y="187"/>
                    </a:lnTo>
                    <a:lnTo>
                      <a:pt x="93" y="188"/>
                    </a:lnTo>
                    <a:lnTo>
                      <a:pt x="95" y="185"/>
                    </a:lnTo>
                    <a:lnTo>
                      <a:pt x="96" y="183"/>
                    </a:lnTo>
                    <a:lnTo>
                      <a:pt x="93" y="180"/>
                    </a:lnTo>
                    <a:lnTo>
                      <a:pt x="95" y="173"/>
                    </a:lnTo>
                    <a:lnTo>
                      <a:pt x="95" y="172"/>
                    </a:lnTo>
                    <a:lnTo>
                      <a:pt x="95" y="170"/>
                    </a:lnTo>
                    <a:lnTo>
                      <a:pt x="90" y="168"/>
                    </a:lnTo>
                    <a:lnTo>
                      <a:pt x="90" y="168"/>
                    </a:lnTo>
                    <a:lnTo>
                      <a:pt x="88" y="168"/>
                    </a:lnTo>
                    <a:lnTo>
                      <a:pt x="86" y="167"/>
                    </a:lnTo>
                    <a:lnTo>
                      <a:pt x="81" y="168"/>
                    </a:lnTo>
                    <a:lnTo>
                      <a:pt x="80" y="168"/>
                    </a:lnTo>
                    <a:lnTo>
                      <a:pt x="78" y="168"/>
                    </a:lnTo>
                    <a:lnTo>
                      <a:pt x="76" y="170"/>
                    </a:lnTo>
                    <a:lnTo>
                      <a:pt x="73" y="170"/>
                    </a:lnTo>
                    <a:lnTo>
                      <a:pt x="71" y="168"/>
                    </a:lnTo>
                    <a:lnTo>
                      <a:pt x="71" y="170"/>
                    </a:lnTo>
                    <a:lnTo>
                      <a:pt x="70" y="173"/>
                    </a:lnTo>
                    <a:lnTo>
                      <a:pt x="75" y="175"/>
                    </a:lnTo>
                    <a:lnTo>
                      <a:pt x="75" y="178"/>
                    </a:lnTo>
                    <a:lnTo>
                      <a:pt x="73" y="182"/>
                    </a:lnTo>
                    <a:lnTo>
                      <a:pt x="73" y="187"/>
                    </a:lnTo>
                    <a:lnTo>
                      <a:pt x="71" y="190"/>
                    </a:lnTo>
                    <a:lnTo>
                      <a:pt x="73" y="191"/>
                    </a:lnTo>
                    <a:lnTo>
                      <a:pt x="73" y="196"/>
                    </a:lnTo>
                    <a:lnTo>
                      <a:pt x="70" y="201"/>
                    </a:lnTo>
                    <a:lnTo>
                      <a:pt x="68" y="206"/>
                    </a:lnTo>
                    <a:lnTo>
                      <a:pt x="65" y="210"/>
                    </a:lnTo>
                    <a:lnTo>
                      <a:pt x="65" y="226"/>
                    </a:lnTo>
                    <a:lnTo>
                      <a:pt x="58" y="233"/>
                    </a:lnTo>
                    <a:lnTo>
                      <a:pt x="58" y="238"/>
                    </a:lnTo>
                    <a:lnTo>
                      <a:pt x="56" y="243"/>
                    </a:lnTo>
                    <a:lnTo>
                      <a:pt x="58" y="243"/>
                    </a:lnTo>
                    <a:lnTo>
                      <a:pt x="60" y="245"/>
                    </a:lnTo>
                    <a:lnTo>
                      <a:pt x="56" y="246"/>
                    </a:lnTo>
                    <a:lnTo>
                      <a:pt x="58" y="248"/>
                    </a:lnTo>
                    <a:lnTo>
                      <a:pt x="58" y="253"/>
                    </a:lnTo>
                    <a:lnTo>
                      <a:pt x="58" y="256"/>
                    </a:lnTo>
                    <a:lnTo>
                      <a:pt x="63" y="263"/>
                    </a:lnTo>
                    <a:lnTo>
                      <a:pt x="61" y="266"/>
                    </a:lnTo>
                    <a:lnTo>
                      <a:pt x="63" y="268"/>
                    </a:lnTo>
                    <a:lnTo>
                      <a:pt x="65" y="268"/>
                    </a:lnTo>
                    <a:lnTo>
                      <a:pt x="66" y="266"/>
                    </a:lnTo>
                    <a:lnTo>
                      <a:pt x="68" y="263"/>
                    </a:lnTo>
                    <a:lnTo>
                      <a:pt x="70" y="265"/>
                    </a:lnTo>
                    <a:lnTo>
                      <a:pt x="73" y="265"/>
                    </a:lnTo>
                    <a:lnTo>
                      <a:pt x="75" y="266"/>
                    </a:lnTo>
                    <a:lnTo>
                      <a:pt x="75" y="271"/>
                    </a:lnTo>
                    <a:lnTo>
                      <a:pt x="78" y="275"/>
                    </a:lnTo>
                    <a:lnTo>
                      <a:pt x="78" y="278"/>
                    </a:lnTo>
                    <a:lnTo>
                      <a:pt x="80" y="280"/>
                    </a:lnTo>
                    <a:lnTo>
                      <a:pt x="83" y="285"/>
                    </a:lnTo>
                    <a:lnTo>
                      <a:pt x="85" y="285"/>
                    </a:lnTo>
                    <a:lnTo>
                      <a:pt x="85" y="281"/>
                    </a:lnTo>
                    <a:lnTo>
                      <a:pt x="85" y="280"/>
                    </a:lnTo>
                    <a:lnTo>
                      <a:pt x="86" y="283"/>
                    </a:lnTo>
                    <a:lnTo>
                      <a:pt x="90" y="286"/>
                    </a:lnTo>
                    <a:lnTo>
                      <a:pt x="90" y="291"/>
                    </a:lnTo>
                    <a:lnTo>
                      <a:pt x="91" y="291"/>
                    </a:lnTo>
                    <a:lnTo>
                      <a:pt x="93" y="301"/>
                    </a:lnTo>
                    <a:lnTo>
                      <a:pt x="93" y="301"/>
                    </a:lnTo>
                    <a:lnTo>
                      <a:pt x="91" y="303"/>
                    </a:lnTo>
                    <a:lnTo>
                      <a:pt x="90" y="303"/>
                    </a:lnTo>
                    <a:lnTo>
                      <a:pt x="86" y="304"/>
                    </a:lnTo>
                    <a:lnTo>
                      <a:pt x="86" y="308"/>
                    </a:lnTo>
                    <a:lnTo>
                      <a:pt x="93" y="309"/>
                    </a:lnTo>
                    <a:lnTo>
                      <a:pt x="95" y="306"/>
                    </a:lnTo>
                    <a:lnTo>
                      <a:pt x="95" y="308"/>
                    </a:lnTo>
                    <a:lnTo>
                      <a:pt x="96" y="311"/>
                    </a:lnTo>
                    <a:lnTo>
                      <a:pt x="100" y="314"/>
                    </a:lnTo>
                    <a:lnTo>
                      <a:pt x="106" y="319"/>
                    </a:lnTo>
                    <a:lnTo>
                      <a:pt x="110" y="323"/>
                    </a:lnTo>
                    <a:lnTo>
                      <a:pt x="111" y="321"/>
                    </a:lnTo>
                    <a:lnTo>
                      <a:pt x="116" y="321"/>
                    </a:lnTo>
                    <a:lnTo>
                      <a:pt x="120" y="323"/>
                    </a:lnTo>
                    <a:lnTo>
                      <a:pt x="123" y="329"/>
                    </a:lnTo>
                    <a:lnTo>
                      <a:pt x="126" y="333"/>
                    </a:lnTo>
                    <a:lnTo>
                      <a:pt x="131" y="334"/>
                    </a:lnTo>
                    <a:lnTo>
                      <a:pt x="131" y="338"/>
                    </a:lnTo>
                    <a:lnTo>
                      <a:pt x="130" y="338"/>
                    </a:lnTo>
                    <a:lnTo>
                      <a:pt x="130" y="343"/>
                    </a:lnTo>
                    <a:lnTo>
                      <a:pt x="126" y="344"/>
                    </a:lnTo>
                    <a:lnTo>
                      <a:pt x="123" y="341"/>
                    </a:lnTo>
                    <a:lnTo>
                      <a:pt x="120" y="343"/>
                    </a:lnTo>
                    <a:lnTo>
                      <a:pt x="113" y="346"/>
                    </a:lnTo>
                    <a:lnTo>
                      <a:pt x="106" y="344"/>
                    </a:lnTo>
                    <a:lnTo>
                      <a:pt x="106" y="341"/>
                    </a:lnTo>
                    <a:lnTo>
                      <a:pt x="110" y="339"/>
                    </a:lnTo>
                    <a:lnTo>
                      <a:pt x="111" y="333"/>
                    </a:lnTo>
                    <a:lnTo>
                      <a:pt x="108" y="329"/>
                    </a:lnTo>
                    <a:lnTo>
                      <a:pt x="103" y="329"/>
                    </a:lnTo>
                    <a:lnTo>
                      <a:pt x="101" y="328"/>
                    </a:lnTo>
                    <a:lnTo>
                      <a:pt x="95" y="324"/>
                    </a:lnTo>
                    <a:lnTo>
                      <a:pt x="90" y="321"/>
                    </a:lnTo>
                    <a:lnTo>
                      <a:pt x="86" y="324"/>
                    </a:lnTo>
                    <a:lnTo>
                      <a:pt x="85" y="331"/>
                    </a:lnTo>
                    <a:lnTo>
                      <a:pt x="83" y="328"/>
                    </a:lnTo>
                    <a:lnTo>
                      <a:pt x="73" y="321"/>
                    </a:lnTo>
                    <a:lnTo>
                      <a:pt x="73" y="319"/>
                    </a:lnTo>
                    <a:lnTo>
                      <a:pt x="75" y="316"/>
                    </a:lnTo>
                    <a:lnTo>
                      <a:pt x="75" y="314"/>
                    </a:lnTo>
                    <a:lnTo>
                      <a:pt x="71" y="314"/>
                    </a:lnTo>
                    <a:lnTo>
                      <a:pt x="70" y="309"/>
                    </a:lnTo>
                    <a:lnTo>
                      <a:pt x="66" y="309"/>
                    </a:lnTo>
                    <a:lnTo>
                      <a:pt x="66" y="306"/>
                    </a:lnTo>
                    <a:lnTo>
                      <a:pt x="60" y="299"/>
                    </a:lnTo>
                    <a:lnTo>
                      <a:pt x="56" y="299"/>
                    </a:lnTo>
                    <a:lnTo>
                      <a:pt x="55" y="293"/>
                    </a:lnTo>
                    <a:lnTo>
                      <a:pt x="50" y="291"/>
                    </a:lnTo>
                    <a:lnTo>
                      <a:pt x="50" y="288"/>
                    </a:lnTo>
                    <a:lnTo>
                      <a:pt x="46" y="286"/>
                    </a:lnTo>
                    <a:lnTo>
                      <a:pt x="46" y="285"/>
                    </a:lnTo>
                    <a:lnTo>
                      <a:pt x="43" y="286"/>
                    </a:lnTo>
                    <a:lnTo>
                      <a:pt x="43" y="289"/>
                    </a:lnTo>
                    <a:lnTo>
                      <a:pt x="40" y="289"/>
                    </a:lnTo>
                    <a:lnTo>
                      <a:pt x="38" y="286"/>
                    </a:lnTo>
                    <a:lnTo>
                      <a:pt x="36" y="280"/>
                    </a:lnTo>
                    <a:lnTo>
                      <a:pt x="36" y="278"/>
                    </a:lnTo>
                    <a:lnTo>
                      <a:pt x="36" y="271"/>
                    </a:lnTo>
                    <a:lnTo>
                      <a:pt x="40" y="270"/>
                    </a:lnTo>
                    <a:lnTo>
                      <a:pt x="40" y="261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41" y="258"/>
                    </a:lnTo>
                    <a:lnTo>
                      <a:pt x="45" y="253"/>
                    </a:lnTo>
                    <a:lnTo>
                      <a:pt x="43" y="251"/>
                    </a:lnTo>
                    <a:lnTo>
                      <a:pt x="46" y="248"/>
                    </a:lnTo>
                    <a:lnTo>
                      <a:pt x="43" y="248"/>
                    </a:lnTo>
                    <a:lnTo>
                      <a:pt x="45" y="240"/>
                    </a:lnTo>
                    <a:lnTo>
                      <a:pt x="46" y="236"/>
                    </a:lnTo>
                    <a:lnTo>
                      <a:pt x="48" y="233"/>
                    </a:lnTo>
                    <a:lnTo>
                      <a:pt x="50" y="228"/>
                    </a:lnTo>
                    <a:lnTo>
                      <a:pt x="55" y="225"/>
                    </a:lnTo>
                    <a:lnTo>
                      <a:pt x="60" y="210"/>
                    </a:lnTo>
                    <a:lnTo>
                      <a:pt x="63" y="208"/>
                    </a:lnTo>
                    <a:lnTo>
                      <a:pt x="63" y="201"/>
                    </a:lnTo>
                    <a:lnTo>
                      <a:pt x="60" y="196"/>
                    </a:lnTo>
                    <a:lnTo>
                      <a:pt x="60" y="190"/>
                    </a:lnTo>
                    <a:lnTo>
                      <a:pt x="58" y="187"/>
                    </a:lnTo>
                    <a:lnTo>
                      <a:pt x="56" y="180"/>
                    </a:lnTo>
                    <a:lnTo>
                      <a:pt x="55" y="177"/>
                    </a:lnTo>
                    <a:lnTo>
                      <a:pt x="55" y="173"/>
                    </a:lnTo>
                    <a:lnTo>
                      <a:pt x="53" y="168"/>
                    </a:lnTo>
                    <a:lnTo>
                      <a:pt x="56" y="165"/>
                    </a:lnTo>
                    <a:lnTo>
                      <a:pt x="53" y="155"/>
                    </a:lnTo>
                    <a:lnTo>
                      <a:pt x="46" y="150"/>
                    </a:lnTo>
                    <a:lnTo>
                      <a:pt x="38" y="145"/>
                    </a:lnTo>
                    <a:lnTo>
                      <a:pt x="32" y="137"/>
                    </a:lnTo>
                    <a:lnTo>
                      <a:pt x="32" y="133"/>
                    </a:lnTo>
                    <a:lnTo>
                      <a:pt x="28" y="125"/>
                    </a:lnTo>
                    <a:lnTo>
                      <a:pt x="33" y="123"/>
                    </a:lnTo>
                    <a:lnTo>
                      <a:pt x="35" y="120"/>
                    </a:lnTo>
                    <a:lnTo>
                      <a:pt x="32" y="108"/>
                    </a:lnTo>
                    <a:lnTo>
                      <a:pt x="33" y="105"/>
                    </a:lnTo>
                    <a:lnTo>
                      <a:pt x="38" y="103"/>
                    </a:lnTo>
                    <a:lnTo>
                      <a:pt x="38" y="98"/>
                    </a:lnTo>
                    <a:lnTo>
                      <a:pt x="33" y="97"/>
                    </a:lnTo>
                    <a:lnTo>
                      <a:pt x="32" y="92"/>
                    </a:lnTo>
                    <a:lnTo>
                      <a:pt x="28" y="87"/>
                    </a:lnTo>
                    <a:lnTo>
                      <a:pt x="25" y="85"/>
                    </a:lnTo>
                    <a:lnTo>
                      <a:pt x="20" y="74"/>
                    </a:lnTo>
                    <a:lnTo>
                      <a:pt x="13" y="70"/>
                    </a:lnTo>
                    <a:lnTo>
                      <a:pt x="12" y="67"/>
                    </a:lnTo>
                    <a:lnTo>
                      <a:pt x="8" y="64"/>
                    </a:lnTo>
                    <a:lnTo>
                      <a:pt x="3" y="57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7" y="50"/>
                    </a:lnTo>
                    <a:lnTo>
                      <a:pt x="10" y="47"/>
                    </a:lnTo>
                    <a:lnTo>
                      <a:pt x="8" y="44"/>
                    </a:lnTo>
                    <a:lnTo>
                      <a:pt x="8" y="37"/>
                    </a:lnTo>
                    <a:lnTo>
                      <a:pt x="12" y="34"/>
                    </a:lnTo>
                    <a:lnTo>
                      <a:pt x="12" y="27"/>
                    </a:lnTo>
                    <a:lnTo>
                      <a:pt x="15" y="22"/>
                    </a:lnTo>
                    <a:lnTo>
                      <a:pt x="23" y="25"/>
                    </a:lnTo>
                    <a:lnTo>
                      <a:pt x="30" y="20"/>
                    </a:lnTo>
                    <a:lnTo>
                      <a:pt x="35" y="20"/>
                    </a:lnTo>
                    <a:lnTo>
                      <a:pt x="36" y="19"/>
                    </a:lnTo>
                    <a:lnTo>
                      <a:pt x="36" y="14"/>
                    </a:lnTo>
                    <a:lnTo>
                      <a:pt x="40" y="10"/>
                    </a:lnTo>
                    <a:lnTo>
                      <a:pt x="46" y="12"/>
                    </a:lnTo>
                    <a:lnTo>
                      <a:pt x="48" y="9"/>
                    </a:lnTo>
                    <a:lnTo>
                      <a:pt x="45" y="5"/>
                    </a:lnTo>
                    <a:lnTo>
                      <a:pt x="45" y="4"/>
                    </a:lnTo>
                    <a:lnTo>
                      <a:pt x="50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8" y="0"/>
                    </a:lnTo>
                    <a:close/>
                    <a:moveTo>
                      <a:pt x="71" y="324"/>
                    </a:moveTo>
                    <a:lnTo>
                      <a:pt x="73" y="328"/>
                    </a:lnTo>
                    <a:lnTo>
                      <a:pt x="75" y="326"/>
                    </a:lnTo>
                    <a:lnTo>
                      <a:pt x="75" y="324"/>
                    </a:lnTo>
                    <a:lnTo>
                      <a:pt x="73" y="323"/>
                    </a:lnTo>
                    <a:lnTo>
                      <a:pt x="71" y="324"/>
                    </a:lnTo>
                    <a:lnTo>
                      <a:pt x="71" y="324"/>
                    </a:lnTo>
                    <a:close/>
                    <a:moveTo>
                      <a:pt x="56" y="303"/>
                    </a:moveTo>
                    <a:lnTo>
                      <a:pt x="56" y="308"/>
                    </a:lnTo>
                    <a:lnTo>
                      <a:pt x="58" y="304"/>
                    </a:lnTo>
                    <a:lnTo>
                      <a:pt x="56" y="303"/>
                    </a:lnTo>
                    <a:lnTo>
                      <a:pt x="56" y="303"/>
                    </a:lnTo>
                    <a:lnTo>
                      <a:pt x="56" y="303"/>
                    </a:lnTo>
                    <a:close/>
                    <a:moveTo>
                      <a:pt x="38" y="291"/>
                    </a:moveTo>
                    <a:lnTo>
                      <a:pt x="38" y="294"/>
                    </a:lnTo>
                    <a:lnTo>
                      <a:pt x="38" y="296"/>
                    </a:lnTo>
                    <a:lnTo>
                      <a:pt x="38" y="301"/>
                    </a:lnTo>
                    <a:lnTo>
                      <a:pt x="41" y="296"/>
                    </a:lnTo>
                    <a:lnTo>
                      <a:pt x="41" y="291"/>
                    </a:lnTo>
                    <a:lnTo>
                      <a:pt x="41" y="291"/>
                    </a:lnTo>
                    <a:lnTo>
                      <a:pt x="38" y="291"/>
                    </a:lnTo>
                    <a:lnTo>
                      <a:pt x="38" y="291"/>
                    </a:lnTo>
                    <a:close/>
                    <a:moveTo>
                      <a:pt x="126" y="196"/>
                    </a:moveTo>
                    <a:lnTo>
                      <a:pt x="128" y="201"/>
                    </a:lnTo>
                    <a:lnTo>
                      <a:pt x="131" y="203"/>
                    </a:lnTo>
                    <a:lnTo>
                      <a:pt x="133" y="203"/>
                    </a:lnTo>
                    <a:lnTo>
                      <a:pt x="126" y="196"/>
                    </a:lnTo>
                    <a:lnTo>
                      <a:pt x="126" y="196"/>
                    </a:lnTo>
                    <a:close/>
                    <a:moveTo>
                      <a:pt x="80" y="251"/>
                    </a:moveTo>
                    <a:lnTo>
                      <a:pt x="75" y="253"/>
                    </a:lnTo>
                    <a:lnTo>
                      <a:pt x="78" y="253"/>
                    </a:lnTo>
                    <a:lnTo>
                      <a:pt x="80" y="251"/>
                    </a:lnTo>
                    <a:lnTo>
                      <a:pt x="80" y="251"/>
                    </a:lnTo>
                    <a:close/>
                    <a:moveTo>
                      <a:pt x="80" y="256"/>
                    </a:moveTo>
                    <a:lnTo>
                      <a:pt x="76" y="258"/>
                    </a:lnTo>
                    <a:lnTo>
                      <a:pt x="76" y="261"/>
                    </a:lnTo>
                    <a:lnTo>
                      <a:pt x="81" y="263"/>
                    </a:lnTo>
                    <a:lnTo>
                      <a:pt x="81" y="260"/>
                    </a:lnTo>
                    <a:lnTo>
                      <a:pt x="80" y="2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6" name="Freeform 23"/>
              <p:cNvSpPr>
                <a:spLocks noEditPoints="1"/>
              </p:cNvSpPr>
              <p:nvPr/>
            </p:nvSpPr>
            <p:spPr bwMode="auto">
              <a:xfrm>
                <a:off x="7604060" y="2928348"/>
                <a:ext cx="114516" cy="226194"/>
              </a:xfrm>
              <a:custGeom>
                <a:avLst/>
                <a:gdLst/>
                <a:ahLst/>
                <a:cxnLst>
                  <a:cxn ang="0">
                    <a:pos x="120" y="5"/>
                  </a:cxn>
                  <a:cxn ang="0">
                    <a:pos x="138" y="33"/>
                  </a:cxn>
                  <a:cxn ang="0">
                    <a:pos x="131" y="63"/>
                  </a:cxn>
                  <a:cxn ang="0">
                    <a:pos x="121" y="75"/>
                  </a:cxn>
                  <a:cxn ang="0">
                    <a:pos x="125" y="93"/>
                  </a:cxn>
                  <a:cxn ang="0">
                    <a:pos x="148" y="104"/>
                  </a:cxn>
                  <a:cxn ang="0">
                    <a:pos x="158" y="118"/>
                  </a:cxn>
                  <a:cxn ang="0">
                    <a:pos x="178" y="124"/>
                  </a:cxn>
                  <a:cxn ang="0">
                    <a:pos x="166" y="149"/>
                  </a:cxn>
                  <a:cxn ang="0">
                    <a:pos x="184" y="156"/>
                  </a:cxn>
                  <a:cxn ang="0">
                    <a:pos x="216" y="158"/>
                  </a:cxn>
                  <a:cxn ang="0">
                    <a:pos x="201" y="179"/>
                  </a:cxn>
                  <a:cxn ang="0">
                    <a:pos x="178" y="192"/>
                  </a:cxn>
                  <a:cxn ang="0">
                    <a:pos x="168" y="207"/>
                  </a:cxn>
                  <a:cxn ang="0">
                    <a:pos x="141" y="224"/>
                  </a:cxn>
                  <a:cxn ang="0">
                    <a:pos x="136" y="244"/>
                  </a:cxn>
                  <a:cxn ang="0">
                    <a:pos x="161" y="274"/>
                  </a:cxn>
                  <a:cxn ang="0">
                    <a:pos x="165" y="295"/>
                  </a:cxn>
                  <a:cxn ang="0">
                    <a:pos x="171" y="332"/>
                  </a:cxn>
                  <a:cxn ang="0">
                    <a:pos x="188" y="364"/>
                  </a:cxn>
                  <a:cxn ang="0">
                    <a:pos x="196" y="395"/>
                  </a:cxn>
                  <a:cxn ang="0">
                    <a:pos x="178" y="427"/>
                  </a:cxn>
                  <a:cxn ang="0">
                    <a:pos x="171" y="422"/>
                  </a:cxn>
                  <a:cxn ang="0">
                    <a:pos x="176" y="410"/>
                  </a:cxn>
                  <a:cxn ang="0">
                    <a:pos x="176" y="388"/>
                  </a:cxn>
                  <a:cxn ang="0">
                    <a:pos x="171" y="359"/>
                  </a:cxn>
                  <a:cxn ang="0">
                    <a:pos x="161" y="350"/>
                  </a:cxn>
                  <a:cxn ang="0">
                    <a:pos x="151" y="324"/>
                  </a:cxn>
                  <a:cxn ang="0">
                    <a:pos x="145" y="292"/>
                  </a:cxn>
                  <a:cxn ang="0">
                    <a:pos x="138" y="284"/>
                  </a:cxn>
                  <a:cxn ang="0">
                    <a:pos x="123" y="266"/>
                  </a:cxn>
                  <a:cxn ang="0">
                    <a:pos x="123" y="271"/>
                  </a:cxn>
                  <a:cxn ang="0">
                    <a:pos x="108" y="280"/>
                  </a:cxn>
                  <a:cxn ang="0">
                    <a:pos x="103" y="289"/>
                  </a:cxn>
                  <a:cxn ang="0">
                    <a:pos x="81" y="297"/>
                  </a:cxn>
                  <a:cxn ang="0">
                    <a:pos x="68" y="302"/>
                  </a:cxn>
                  <a:cxn ang="0">
                    <a:pos x="63" y="294"/>
                  </a:cxn>
                  <a:cxn ang="0">
                    <a:pos x="68" y="266"/>
                  </a:cxn>
                  <a:cxn ang="0">
                    <a:pos x="58" y="242"/>
                  </a:cxn>
                  <a:cxn ang="0">
                    <a:pos x="43" y="219"/>
                  </a:cxn>
                  <a:cxn ang="0">
                    <a:pos x="28" y="217"/>
                  </a:cxn>
                  <a:cxn ang="0">
                    <a:pos x="37" y="217"/>
                  </a:cxn>
                  <a:cxn ang="0">
                    <a:pos x="38" y="204"/>
                  </a:cxn>
                  <a:cxn ang="0">
                    <a:pos x="18" y="201"/>
                  </a:cxn>
                  <a:cxn ang="0">
                    <a:pos x="15" y="197"/>
                  </a:cxn>
                  <a:cxn ang="0">
                    <a:pos x="2" y="174"/>
                  </a:cxn>
                  <a:cxn ang="0">
                    <a:pos x="13" y="153"/>
                  </a:cxn>
                  <a:cxn ang="0">
                    <a:pos x="23" y="129"/>
                  </a:cxn>
                  <a:cxn ang="0">
                    <a:pos x="37" y="106"/>
                  </a:cxn>
                  <a:cxn ang="0">
                    <a:pos x="48" y="61"/>
                  </a:cxn>
                  <a:cxn ang="0">
                    <a:pos x="70" y="26"/>
                  </a:cxn>
                  <a:cxn ang="0">
                    <a:pos x="95" y="15"/>
                  </a:cxn>
                  <a:cxn ang="0">
                    <a:pos x="32" y="232"/>
                  </a:cxn>
                </a:cxnLst>
                <a:rect l="0" t="0" r="r" b="b"/>
                <a:pathLst>
                  <a:path w="216" h="437">
                    <a:moveTo>
                      <a:pt x="98" y="1"/>
                    </a:moveTo>
                    <a:lnTo>
                      <a:pt x="101" y="0"/>
                    </a:lnTo>
                    <a:lnTo>
                      <a:pt x="106" y="1"/>
                    </a:lnTo>
                    <a:lnTo>
                      <a:pt x="111" y="0"/>
                    </a:lnTo>
                    <a:lnTo>
                      <a:pt x="116" y="0"/>
                    </a:lnTo>
                    <a:lnTo>
                      <a:pt x="120" y="5"/>
                    </a:lnTo>
                    <a:lnTo>
                      <a:pt x="125" y="8"/>
                    </a:lnTo>
                    <a:lnTo>
                      <a:pt x="125" y="15"/>
                    </a:lnTo>
                    <a:lnTo>
                      <a:pt x="130" y="15"/>
                    </a:lnTo>
                    <a:lnTo>
                      <a:pt x="135" y="20"/>
                    </a:lnTo>
                    <a:lnTo>
                      <a:pt x="135" y="26"/>
                    </a:lnTo>
                    <a:lnTo>
                      <a:pt x="138" y="33"/>
                    </a:lnTo>
                    <a:lnTo>
                      <a:pt x="138" y="40"/>
                    </a:lnTo>
                    <a:lnTo>
                      <a:pt x="138" y="50"/>
                    </a:lnTo>
                    <a:lnTo>
                      <a:pt x="138" y="55"/>
                    </a:lnTo>
                    <a:lnTo>
                      <a:pt x="136" y="56"/>
                    </a:lnTo>
                    <a:lnTo>
                      <a:pt x="131" y="60"/>
                    </a:lnTo>
                    <a:lnTo>
                      <a:pt x="131" y="63"/>
                    </a:lnTo>
                    <a:lnTo>
                      <a:pt x="128" y="63"/>
                    </a:lnTo>
                    <a:lnTo>
                      <a:pt x="128" y="66"/>
                    </a:lnTo>
                    <a:lnTo>
                      <a:pt x="130" y="71"/>
                    </a:lnTo>
                    <a:lnTo>
                      <a:pt x="128" y="73"/>
                    </a:lnTo>
                    <a:lnTo>
                      <a:pt x="125" y="73"/>
                    </a:lnTo>
                    <a:lnTo>
                      <a:pt x="121" y="75"/>
                    </a:lnTo>
                    <a:lnTo>
                      <a:pt x="120" y="80"/>
                    </a:lnTo>
                    <a:lnTo>
                      <a:pt x="121" y="81"/>
                    </a:lnTo>
                    <a:lnTo>
                      <a:pt x="120" y="84"/>
                    </a:lnTo>
                    <a:lnTo>
                      <a:pt x="120" y="89"/>
                    </a:lnTo>
                    <a:lnTo>
                      <a:pt x="123" y="91"/>
                    </a:lnTo>
                    <a:lnTo>
                      <a:pt x="125" y="93"/>
                    </a:lnTo>
                    <a:lnTo>
                      <a:pt x="128" y="96"/>
                    </a:lnTo>
                    <a:lnTo>
                      <a:pt x="128" y="101"/>
                    </a:lnTo>
                    <a:lnTo>
                      <a:pt x="130" y="106"/>
                    </a:lnTo>
                    <a:lnTo>
                      <a:pt x="136" y="103"/>
                    </a:lnTo>
                    <a:lnTo>
                      <a:pt x="146" y="101"/>
                    </a:lnTo>
                    <a:lnTo>
                      <a:pt x="148" y="104"/>
                    </a:lnTo>
                    <a:lnTo>
                      <a:pt x="146" y="106"/>
                    </a:lnTo>
                    <a:lnTo>
                      <a:pt x="150" y="109"/>
                    </a:lnTo>
                    <a:lnTo>
                      <a:pt x="156" y="108"/>
                    </a:lnTo>
                    <a:lnTo>
                      <a:pt x="156" y="111"/>
                    </a:lnTo>
                    <a:lnTo>
                      <a:pt x="155" y="114"/>
                    </a:lnTo>
                    <a:lnTo>
                      <a:pt x="158" y="118"/>
                    </a:lnTo>
                    <a:lnTo>
                      <a:pt x="165" y="119"/>
                    </a:lnTo>
                    <a:lnTo>
                      <a:pt x="163" y="123"/>
                    </a:lnTo>
                    <a:lnTo>
                      <a:pt x="165" y="124"/>
                    </a:lnTo>
                    <a:lnTo>
                      <a:pt x="166" y="123"/>
                    </a:lnTo>
                    <a:lnTo>
                      <a:pt x="173" y="123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6" y="133"/>
                    </a:lnTo>
                    <a:lnTo>
                      <a:pt x="176" y="136"/>
                    </a:lnTo>
                    <a:lnTo>
                      <a:pt x="169" y="143"/>
                    </a:lnTo>
                    <a:lnTo>
                      <a:pt x="166" y="146"/>
                    </a:lnTo>
                    <a:lnTo>
                      <a:pt x="166" y="149"/>
                    </a:lnTo>
                    <a:lnTo>
                      <a:pt x="169" y="148"/>
                    </a:lnTo>
                    <a:lnTo>
                      <a:pt x="178" y="149"/>
                    </a:lnTo>
                    <a:lnTo>
                      <a:pt x="179" y="149"/>
                    </a:lnTo>
                    <a:lnTo>
                      <a:pt x="183" y="148"/>
                    </a:lnTo>
                    <a:lnTo>
                      <a:pt x="186" y="151"/>
                    </a:lnTo>
                    <a:lnTo>
                      <a:pt x="184" y="156"/>
                    </a:lnTo>
                    <a:lnTo>
                      <a:pt x="186" y="161"/>
                    </a:lnTo>
                    <a:lnTo>
                      <a:pt x="191" y="163"/>
                    </a:lnTo>
                    <a:lnTo>
                      <a:pt x="194" y="161"/>
                    </a:lnTo>
                    <a:lnTo>
                      <a:pt x="201" y="161"/>
                    </a:lnTo>
                    <a:lnTo>
                      <a:pt x="211" y="156"/>
                    </a:lnTo>
                    <a:lnTo>
                      <a:pt x="216" y="158"/>
                    </a:lnTo>
                    <a:lnTo>
                      <a:pt x="216" y="163"/>
                    </a:lnTo>
                    <a:lnTo>
                      <a:pt x="209" y="168"/>
                    </a:lnTo>
                    <a:lnTo>
                      <a:pt x="201" y="169"/>
                    </a:lnTo>
                    <a:lnTo>
                      <a:pt x="201" y="173"/>
                    </a:lnTo>
                    <a:lnTo>
                      <a:pt x="199" y="176"/>
                    </a:lnTo>
                    <a:lnTo>
                      <a:pt x="201" y="179"/>
                    </a:lnTo>
                    <a:lnTo>
                      <a:pt x="196" y="182"/>
                    </a:lnTo>
                    <a:lnTo>
                      <a:pt x="194" y="182"/>
                    </a:lnTo>
                    <a:lnTo>
                      <a:pt x="191" y="189"/>
                    </a:lnTo>
                    <a:lnTo>
                      <a:pt x="183" y="189"/>
                    </a:lnTo>
                    <a:lnTo>
                      <a:pt x="178" y="191"/>
                    </a:lnTo>
                    <a:lnTo>
                      <a:pt x="178" y="192"/>
                    </a:lnTo>
                    <a:lnTo>
                      <a:pt x="181" y="196"/>
                    </a:lnTo>
                    <a:lnTo>
                      <a:pt x="179" y="199"/>
                    </a:lnTo>
                    <a:lnTo>
                      <a:pt x="173" y="197"/>
                    </a:lnTo>
                    <a:lnTo>
                      <a:pt x="169" y="201"/>
                    </a:lnTo>
                    <a:lnTo>
                      <a:pt x="169" y="206"/>
                    </a:lnTo>
                    <a:lnTo>
                      <a:pt x="168" y="207"/>
                    </a:lnTo>
                    <a:lnTo>
                      <a:pt x="163" y="207"/>
                    </a:lnTo>
                    <a:lnTo>
                      <a:pt x="156" y="212"/>
                    </a:lnTo>
                    <a:lnTo>
                      <a:pt x="148" y="209"/>
                    </a:lnTo>
                    <a:lnTo>
                      <a:pt x="145" y="214"/>
                    </a:lnTo>
                    <a:lnTo>
                      <a:pt x="145" y="221"/>
                    </a:lnTo>
                    <a:lnTo>
                      <a:pt x="141" y="224"/>
                    </a:lnTo>
                    <a:lnTo>
                      <a:pt x="141" y="231"/>
                    </a:lnTo>
                    <a:lnTo>
                      <a:pt x="143" y="234"/>
                    </a:lnTo>
                    <a:lnTo>
                      <a:pt x="140" y="237"/>
                    </a:lnTo>
                    <a:lnTo>
                      <a:pt x="133" y="239"/>
                    </a:lnTo>
                    <a:lnTo>
                      <a:pt x="133" y="242"/>
                    </a:lnTo>
                    <a:lnTo>
                      <a:pt x="136" y="244"/>
                    </a:lnTo>
                    <a:lnTo>
                      <a:pt x="141" y="251"/>
                    </a:lnTo>
                    <a:lnTo>
                      <a:pt x="145" y="254"/>
                    </a:lnTo>
                    <a:lnTo>
                      <a:pt x="146" y="257"/>
                    </a:lnTo>
                    <a:lnTo>
                      <a:pt x="153" y="261"/>
                    </a:lnTo>
                    <a:lnTo>
                      <a:pt x="158" y="272"/>
                    </a:lnTo>
                    <a:lnTo>
                      <a:pt x="161" y="274"/>
                    </a:lnTo>
                    <a:lnTo>
                      <a:pt x="165" y="279"/>
                    </a:lnTo>
                    <a:lnTo>
                      <a:pt x="166" y="284"/>
                    </a:lnTo>
                    <a:lnTo>
                      <a:pt x="171" y="285"/>
                    </a:lnTo>
                    <a:lnTo>
                      <a:pt x="171" y="290"/>
                    </a:lnTo>
                    <a:lnTo>
                      <a:pt x="166" y="292"/>
                    </a:lnTo>
                    <a:lnTo>
                      <a:pt x="165" y="295"/>
                    </a:lnTo>
                    <a:lnTo>
                      <a:pt x="168" y="307"/>
                    </a:lnTo>
                    <a:lnTo>
                      <a:pt x="166" y="310"/>
                    </a:lnTo>
                    <a:lnTo>
                      <a:pt x="161" y="312"/>
                    </a:lnTo>
                    <a:lnTo>
                      <a:pt x="165" y="320"/>
                    </a:lnTo>
                    <a:lnTo>
                      <a:pt x="165" y="324"/>
                    </a:lnTo>
                    <a:lnTo>
                      <a:pt x="171" y="332"/>
                    </a:lnTo>
                    <a:lnTo>
                      <a:pt x="179" y="337"/>
                    </a:lnTo>
                    <a:lnTo>
                      <a:pt x="186" y="342"/>
                    </a:lnTo>
                    <a:lnTo>
                      <a:pt x="189" y="352"/>
                    </a:lnTo>
                    <a:lnTo>
                      <a:pt x="186" y="355"/>
                    </a:lnTo>
                    <a:lnTo>
                      <a:pt x="188" y="360"/>
                    </a:lnTo>
                    <a:lnTo>
                      <a:pt x="188" y="364"/>
                    </a:lnTo>
                    <a:lnTo>
                      <a:pt x="189" y="367"/>
                    </a:lnTo>
                    <a:lnTo>
                      <a:pt x="191" y="374"/>
                    </a:lnTo>
                    <a:lnTo>
                      <a:pt x="193" y="377"/>
                    </a:lnTo>
                    <a:lnTo>
                      <a:pt x="193" y="383"/>
                    </a:lnTo>
                    <a:lnTo>
                      <a:pt x="196" y="388"/>
                    </a:lnTo>
                    <a:lnTo>
                      <a:pt x="196" y="395"/>
                    </a:lnTo>
                    <a:lnTo>
                      <a:pt x="193" y="397"/>
                    </a:lnTo>
                    <a:lnTo>
                      <a:pt x="188" y="412"/>
                    </a:lnTo>
                    <a:lnTo>
                      <a:pt x="183" y="415"/>
                    </a:lnTo>
                    <a:lnTo>
                      <a:pt x="181" y="420"/>
                    </a:lnTo>
                    <a:lnTo>
                      <a:pt x="179" y="423"/>
                    </a:lnTo>
                    <a:lnTo>
                      <a:pt x="178" y="427"/>
                    </a:lnTo>
                    <a:lnTo>
                      <a:pt x="178" y="427"/>
                    </a:lnTo>
                    <a:lnTo>
                      <a:pt x="176" y="432"/>
                    </a:lnTo>
                    <a:lnTo>
                      <a:pt x="174" y="437"/>
                    </a:lnTo>
                    <a:lnTo>
                      <a:pt x="173" y="430"/>
                    </a:lnTo>
                    <a:lnTo>
                      <a:pt x="173" y="425"/>
                    </a:lnTo>
                    <a:lnTo>
                      <a:pt x="171" y="422"/>
                    </a:lnTo>
                    <a:lnTo>
                      <a:pt x="171" y="420"/>
                    </a:lnTo>
                    <a:lnTo>
                      <a:pt x="173" y="420"/>
                    </a:lnTo>
                    <a:lnTo>
                      <a:pt x="174" y="418"/>
                    </a:lnTo>
                    <a:lnTo>
                      <a:pt x="178" y="415"/>
                    </a:lnTo>
                    <a:lnTo>
                      <a:pt x="178" y="410"/>
                    </a:lnTo>
                    <a:lnTo>
                      <a:pt x="176" y="410"/>
                    </a:lnTo>
                    <a:lnTo>
                      <a:pt x="176" y="403"/>
                    </a:lnTo>
                    <a:lnTo>
                      <a:pt x="178" y="403"/>
                    </a:lnTo>
                    <a:lnTo>
                      <a:pt x="179" y="400"/>
                    </a:lnTo>
                    <a:lnTo>
                      <a:pt x="178" y="395"/>
                    </a:lnTo>
                    <a:lnTo>
                      <a:pt x="181" y="392"/>
                    </a:lnTo>
                    <a:lnTo>
                      <a:pt x="176" y="388"/>
                    </a:lnTo>
                    <a:lnTo>
                      <a:pt x="174" y="385"/>
                    </a:lnTo>
                    <a:lnTo>
                      <a:pt x="174" y="380"/>
                    </a:lnTo>
                    <a:lnTo>
                      <a:pt x="176" y="378"/>
                    </a:lnTo>
                    <a:lnTo>
                      <a:pt x="174" y="374"/>
                    </a:lnTo>
                    <a:lnTo>
                      <a:pt x="173" y="372"/>
                    </a:lnTo>
                    <a:lnTo>
                      <a:pt x="171" y="359"/>
                    </a:lnTo>
                    <a:lnTo>
                      <a:pt x="168" y="355"/>
                    </a:lnTo>
                    <a:lnTo>
                      <a:pt x="166" y="352"/>
                    </a:lnTo>
                    <a:lnTo>
                      <a:pt x="163" y="345"/>
                    </a:lnTo>
                    <a:lnTo>
                      <a:pt x="161" y="354"/>
                    </a:lnTo>
                    <a:lnTo>
                      <a:pt x="160" y="354"/>
                    </a:lnTo>
                    <a:lnTo>
                      <a:pt x="161" y="350"/>
                    </a:lnTo>
                    <a:lnTo>
                      <a:pt x="158" y="347"/>
                    </a:lnTo>
                    <a:lnTo>
                      <a:pt x="158" y="337"/>
                    </a:lnTo>
                    <a:lnTo>
                      <a:pt x="155" y="334"/>
                    </a:lnTo>
                    <a:lnTo>
                      <a:pt x="155" y="329"/>
                    </a:lnTo>
                    <a:lnTo>
                      <a:pt x="156" y="327"/>
                    </a:lnTo>
                    <a:lnTo>
                      <a:pt x="151" y="324"/>
                    </a:lnTo>
                    <a:lnTo>
                      <a:pt x="150" y="315"/>
                    </a:lnTo>
                    <a:lnTo>
                      <a:pt x="150" y="315"/>
                    </a:lnTo>
                    <a:lnTo>
                      <a:pt x="146" y="299"/>
                    </a:lnTo>
                    <a:lnTo>
                      <a:pt x="145" y="297"/>
                    </a:lnTo>
                    <a:lnTo>
                      <a:pt x="143" y="294"/>
                    </a:lnTo>
                    <a:lnTo>
                      <a:pt x="145" y="292"/>
                    </a:lnTo>
                    <a:lnTo>
                      <a:pt x="145" y="290"/>
                    </a:lnTo>
                    <a:lnTo>
                      <a:pt x="141" y="285"/>
                    </a:lnTo>
                    <a:lnTo>
                      <a:pt x="143" y="284"/>
                    </a:lnTo>
                    <a:lnTo>
                      <a:pt x="143" y="280"/>
                    </a:lnTo>
                    <a:lnTo>
                      <a:pt x="141" y="284"/>
                    </a:lnTo>
                    <a:lnTo>
                      <a:pt x="138" y="284"/>
                    </a:lnTo>
                    <a:lnTo>
                      <a:pt x="135" y="284"/>
                    </a:lnTo>
                    <a:lnTo>
                      <a:pt x="133" y="279"/>
                    </a:lnTo>
                    <a:lnTo>
                      <a:pt x="131" y="277"/>
                    </a:lnTo>
                    <a:lnTo>
                      <a:pt x="126" y="269"/>
                    </a:lnTo>
                    <a:lnTo>
                      <a:pt x="125" y="266"/>
                    </a:lnTo>
                    <a:lnTo>
                      <a:pt x="123" y="266"/>
                    </a:lnTo>
                    <a:lnTo>
                      <a:pt x="123" y="264"/>
                    </a:lnTo>
                    <a:lnTo>
                      <a:pt x="118" y="261"/>
                    </a:lnTo>
                    <a:lnTo>
                      <a:pt x="121" y="264"/>
                    </a:lnTo>
                    <a:lnTo>
                      <a:pt x="120" y="266"/>
                    </a:lnTo>
                    <a:lnTo>
                      <a:pt x="120" y="267"/>
                    </a:lnTo>
                    <a:lnTo>
                      <a:pt x="123" y="271"/>
                    </a:lnTo>
                    <a:lnTo>
                      <a:pt x="121" y="274"/>
                    </a:lnTo>
                    <a:lnTo>
                      <a:pt x="120" y="276"/>
                    </a:lnTo>
                    <a:lnTo>
                      <a:pt x="121" y="279"/>
                    </a:lnTo>
                    <a:lnTo>
                      <a:pt x="115" y="284"/>
                    </a:lnTo>
                    <a:lnTo>
                      <a:pt x="110" y="284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8" y="284"/>
                    </a:lnTo>
                    <a:lnTo>
                      <a:pt x="108" y="285"/>
                    </a:lnTo>
                    <a:lnTo>
                      <a:pt x="111" y="285"/>
                    </a:lnTo>
                    <a:lnTo>
                      <a:pt x="106" y="289"/>
                    </a:lnTo>
                    <a:lnTo>
                      <a:pt x="103" y="289"/>
                    </a:lnTo>
                    <a:lnTo>
                      <a:pt x="100" y="287"/>
                    </a:lnTo>
                    <a:lnTo>
                      <a:pt x="98" y="290"/>
                    </a:lnTo>
                    <a:lnTo>
                      <a:pt x="90" y="297"/>
                    </a:lnTo>
                    <a:lnTo>
                      <a:pt x="85" y="297"/>
                    </a:lnTo>
                    <a:lnTo>
                      <a:pt x="83" y="297"/>
                    </a:lnTo>
                    <a:lnTo>
                      <a:pt x="81" y="297"/>
                    </a:lnTo>
                    <a:lnTo>
                      <a:pt x="81" y="295"/>
                    </a:lnTo>
                    <a:lnTo>
                      <a:pt x="80" y="299"/>
                    </a:lnTo>
                    <a:lnTo>
                      <a:pt x="78" y="299"/>
                    </a:lnTo>
                    <a:lnTo>
                      <a:pt x="75" y="295"/>
                    </a:lnTo>
                    <a:lnTo>
                      <a:pt x="68" y="299"/>
                    </a:lnTo>
                    <a:lnTo>
                      <a:pt x="68" y="302"/>
                    </a:lnTo>
                    <a:lnTo>
                      <a:pt x="65" y="302"/>
                    </a:lnTo>
                    <a:lnTo>
                      <a:pt x="65" y="295"/>
                    </a:lnTo>
                    <a:lnTo>
                      <a:pt x="71" y="290"/>
                    </a:lnTo>
                    <a:lnTo>
                      <a:pt x="71" y="284"/>
                    </a:lnTo>
                    <a:lnTo>
                      <a:pt x="70" y="290"/>
                    </a:lnTo>
                    <a:lnTo>
                      <a:pt x="63" y="294"/>
                    </a:lnTo>
                    <a:lnTo>
                      <a:pt x="60" y="299"/>
                    </a:lnTo>
                    <a:lnTo>
                      <a:pt x="60" y="297"/>
                    </a:lnTo>
                    <a:lnTo>
                      <a:pt x="60" y="295"/>
                    </a:lnTo>
                    <a:lnTo>
                      <a:pt x="58" y="290"/>
                    </a:lnTo>
                    <a:lnTo>
                      <a:pt x="63" y="269"/>
                    </a:lnTo>
                    <a:lnTo>
                      <a:pt x="68" y="266"/>
                    </a:lnTo>
                    <a:lnTo>
                      <a:pt x="66" y="264"/>
                    </a:lnTo>
                    <a:lnTo>
                      <a:pt x="62" y="254"/>
                    </a:lnTo>
                    <a:lnTo>
                      <a:pt x="62" y="246"/>
                    </a:lnTo>
                    <a:lnTo>
                      <a:pt x="58" y="246"/>
                    </a:lnTo>
                    <a:lnTo>
                      <a:pt x="58" y="242"/>
                    </a:lnTo>
                    <a:lnTo>
                      <a:pt x="58" y="242"/>
                    </a:lnTo>
                    <a:lnTo>
                      <a:pt x="55" y="239"/>
                    </a:lnTo>
                    <a:lnTo>
                      <a:pt x="53" y="232"/>
                    </a:lnTo>
                    <a:lnTo>
                      <a:pt x="52" y="229"/>
                    </a:lnTo>
                    <a:lnTo>
                      <a:pt x="48" y="226"/>
                    </a:lnTo>
                    <a:lnTo>
                      <a:pt x="48" y="222"/>
                    </a:lnTo>
                    <a:lnTo>
                      <a:pt x="43" y="219"/>
                    </a:lnTo>
                    <a:lnTo>
                      <a:pt x="45" y="222"/>
                    </a:lnTo>
                    <a:lnTo>
                      <a:pt x="47" y="231"/>
                    </a:lnTo>
                    <a:lnTo>
                      <a:pt x="37" y="227"/>
                    </a:lnTo>
                    <a:lnTo>
                      <a:pt x="33" y="224"/>
                    </a:lnTo>
                    <a:lnTo>
                      <a:pt x="33" y="221"/>
                    </a:lnTo>
                    <a:lnTo>
                      <a:pt x="28" y="217"/>
                    </a:lnTo>
                    <a:lnTo>
                      <a:pt x="28" y="216"/>
                    </a:lnTo>
                    <a:lnTo>
                      <a:pt x="32" y="216"/>
                    </a:lnTo>
                    <a:lnTo>
                      <a:pt x="33" y="219"/>
                    </a:lnTo>
                    <a:lnTo>
                      <a:pt x="37" y="221"/>
                    </a:lnTo>
                    <a:lnTo>
                      <a:pt x="38" y="219"/>
                    </a:lnTo>
                    <a:lnTo>
                      <a:pt x="37" y="217"/>
                    </a:lnTo>
                    <a:lnTo>
                      <a:pt x="33" y="216"/>
                    </a:lnTo>
                    <a:lnTo>
                      <a:pt x="38" y="212"/>
                    </a:lnTo>
                    <a:lnTo>
                      <a:pt x="40" y="216"/>
                    </a:lnTo>
                    <a:lnTo>
                      <a:pt x="43" y="214"/>
                    </a:lnTo>
                    <a:lnTo>
                      <a:pt x="43" y="211"/>
                    </a:lnTo>
                    <a:lnTo>
                      <a:pt x="38" y="204"/>
                    </a:lnTo>
                    <a:lnTo>
                      <a:pt x="30" y="204"/>
                    </a:lnTo>
                    <a:lnTo>
                      <a:pt x="28" y="201"/>
                    </a:lnTo>
                    <a:lnTo>
                      <a:pt x="25" y="199"/>
                    </a:lnTo>
                    <a:lnTo>
                      <a:pt x="23" y="197"/>
                    </a:lnTo>
                    <a:lnTo>
                      <a:pt x="23" y="199"/>
                    </a:lnTo>
                    <a:lnTo>
                      <a:pt x="18" y="201"/>
                    </a:lnTo>
                    <a:lnTo>
                      <a:pt x="18" y="199"/>
                    </a:lnTo>
                    <a:lnTo>
                      <a:pt x="22" y="194"/>
                    </a:lnTo>
                    <a:lnTo>
                      <a:pt x="17" y="196"/>
                    </a:lnTo>
                    <a:lnTo>
                      <a:pt x="13" y="192"/>
                    </a:lnTo>
                    <a:lnTo>
                      <a:pt x="13" y="194"/>
                    </a:lnTo>
                    <a:lnTo>
                      <a:pt x="15" y="197"/>
                    </a:lnTo>
                    <a:lnTo>
                      <a:pt x="5" y="189"/>
                    </a:lnTo>
                    <a:lnTo>
                      <a:pt x="3" y="184"/>
                    </a:lnTo>
                    <a:lnTo>
                      <a:pt x="0" y="179"/>
                    </a:lnTo>
                    <a:lnTo>
                      <a:pt x="0" y="179"/>
                    </a:lnTo>
                    <a:lnTo>
                      <a:pt x="0" y="178"/>
                    </a:lnTo>
                    <a:lnTo>
                      <a:pt x="2" y="174"/>
                    </a:lnTo>
                    <a:lnTo>
                      <a:pt x="5" y="168"/>
                    </a:lnTo>
                    <a:lnTo>
                      <a:pt x="8" y="169"/>
                    </a:lnTo>
                    <a:lnTo>
                      <a:pt x="10" y="164"/>
                    </a:lnTo>
                    <a:lnTo>
                      <a:pt x="10" y="156"/>
                    </a:lnTo>
                    <a:lnTo>
                      <a:pt x="12" y="153"/>
                    </a:lnTo>
                    <a:lnTo>
                      <a:pt x="13" y="153"/>
                    </a:lnTo>
                    <a:lnTo>
                      <a:pt x="17" y="153"/>
                    </a:lnTo>
                    <a:lnTo>
                      <a:pt x="18" y="144"/>
                    </a:lnTo>
                    <a:lnTo>
                      <a:pt x="18" y="141"/>
                    </a:lnTo>
                    <a:lnTo>
                      <a:pt x="18" y="134"/>
                    </a:lnTo>
                    <a:lnTo>
                      <a:pt x="18" y="129"/>
                    </a:lnTo>
                    <a:lnTo>
                      <a:pt x="23" y="129"/>
                    </a:lnTo>
                    <a:lnTo>
                      <a:pt x="23" y="123"/>
                    </a:lnTo>
                    <a:lnTo>
                      <a:pt x="23" y="116"/>
                    </a:lnTo>
                    <a:lnTo>
                      <a:pt x="20" y="106"/>
                    </a:lnTo>
                    <a:lnTo>
                      <a:pt x="25" y="106"/>
                    </a:lnTo>
                    <a:lnTo>
                      <a:pt x="30" y="108"/>
                    </a:lnTo>
                    <a:lnTo>
                      <a:pt x="37" y="106"/>
                    </a:lnTo>
                    <a:lnTo>
                      <a:pt x="40" y="99"/>
                    </a:lnTo>
                    <a:lnTo>
                      <a:pt x="42" y="89"/>
                    </a:lnTo>
                    <a:lnTo>
                      <a:pt x="48" y="78"/>
                    </a:lnTo>
                    <a:lnTo>
                      <a:pt x="42" y="75"/>
                    </a:lnTo>
                    <a:lnTo>
                      <a:pt x="42" y="71"/>
                    </a:lnTo>
                    <a:lnTo>
                      <a:pt x="48" y="61"/>
                    </a:lnTo>
                    <a:lnTo>
                      <a:pt x="52" y="53"/>
                    </a:lnTo>
                    <a:lnTo>
                      <a:pt x="50" y="51"/>
                    </a:lnTo>
                    <a:lnTo>
                      <a:pt x="50" y="45"/>
                    </a:lnTo>
                    <a:lnTo>
                      <a:pt x="58" y="35"/>
                    </a:lnTo>
                    <a:lnTo>
                      <a:pt x="63" y="33"/>
                    </a:lnTo>
                    <a:lnTo>
                      <a:pt x="70" y="26"/>
                    </a:lnTo>
                    <a:lnTo>
                      <a:pt x="71" y="21"/>
                    </a:lnTo>
                    <a:lnTo>
                      <a:pt x="80" y="18"/>
                    </a:lnTo>
                    <a:lnTo>
                      <a:pt x="86" y="15"/>
                    </a:lnTo>
                    <a:lnTo>
                      <a:pt x="91" y="16"/>
                    </a:lnTo>
                    <a:lnTo>
                      <a:pt x="95" y="18"/>
                    </a:lnTo>
                    <a:lnTo>
                      <a:pt x="95" y="15"/>
                    </a:lnTo>
                    <a:lnTo>
                      <a:pt x="95" y="10"/>
                    </a:lnTo>
                    <a:lnTo>
                      <a:pt x="100" y="5"/>
                    </a:lnTo>
                    <a:lnTo>
                      <a:pt x="98" y="1"/>
                    </a:lnTo>
                    <a:lnTo>
                      <a:pt x="98" y="1"/>
                    </a:lnTo>
                    <a:lnTo>
                      <a:pt x="98" y="1"/>
                    </a:lnTo>
                    <a:close/>
                    <a:moveTo>
                      <a:pt x="32" y="232"/>
                    </a:moveTo>
                    <a:lnTo>
                      <a:pt x="33" y="236"/>
                    </a:lnTo>
                    <a:lnTo>
                      <a:pt x="38" y="237"/>
                    </a:lnTo>
                    <a:lnTo>
                      <a:pt x="40" y="234"/>
                    </a:lnTo>
                    <a:lnTo>
                      <a:pt x="35" y="231"/>
                    </a:lnTo>
                    <a:lnTo>
                      <a:pt x="32" y="2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7" name="Freeform 24"/>
              <p:cNvSpPr>
                <a:spLocks noEditPoints="1"/>
              </p:cNvSpPr>
              <p:nvPr/>
            </p:nvSpPr>
            <p:spPr bwMode="auto">
              <a:xfrm>
                <a:off x="7453155" y="3156617"/>
                <a:ext cx="28896" cy="46692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4" y="33"/>
                  </a:cxn>
                  <a:cxn ang="0">
                    <a:pos x="2" y="35"/>
                  </a:cxn>
                  <a:cxn ang="0">
                    <a:pos x="0" y="43"/>
                  </a:cxn>
                  <a:cxn ang="0">
                    <a:pos x="9" y="7"/>
                  </a:cxn>
                  <a:cxn ang="0">
                    <a:pos x="2" y="0"/>
                  </a:cxn>
                  <a:cxn ang="0">
                    <a:pos x="12" y="0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19" y="3"/>
                  </a:cxn>
                  <a:cxn ang="0">
                    <a:pos x="25" y="8"/>
                  </a:cxn>
                  <a:cxn ang="0">
                    <a:pos x="24" y="10"/>
                  </a:cxn>
                  <a:cxn ang="0">
                    <a:pos x="17" y="8"/>
                  </a:cxn>
                  <a:cxn ang="0">
                    <a:pos x="12" y="5"/>
                  </a:cxn>
                  <a:cxn ang="0">
                    <a:pos x="14" y="3"/>
                  </a:cxn>
                  <a:cxn ang="0">
                    <a:pos x="15" y="2"/>
                  </a:cxn>
                  <a:cxn ang="0">
                    <a:pos x="10" y="10"/>
                  </a:cxn>
                  <a:cxn ang="0">
                    <a:pos x="10" y="12"/>
                  </a:cxn>
                  <a:cxn ang="0">
                    <a:pos x="10" y="13"/>
                  </a:cxn>
                  <a:cxn ang="0">
                    <a:pos x="7" y="20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5" y="27"/>
                  </a:cxn>
                  <a:cxn ang="0">
                    <a:pos x="4" y="35"/>
                  </a:cxn>
                  <a:cxn ang="0">
                    <a:pos x="2" y="48"/>
                  </a:cxn>
                  <a:cxn ang="0">
                    <a:pos x="4" y="56"/>
                  </a:cxn>
                  <a:cxn ang="0">
                    <a:pos x="5" y="70"/>
                  </a:cxn>
                  <a:cxn ang="0">
                    <a:pos x="14" y="88"/>
                  </a:cxn>
                  <a:cxn ang="0">
                    <a:pos x="24" y="90"/>
                  </a:cxn>
                  <a:cxn ang="0">
                    <a:pos x="40" y="86"/>
                  </a:cxn>
                  <a:cxn ang="0">
                    <a:pos x="50" y="71"/>
                  </a:cxn>
                  <a:cxn ang="0">
                    <a:pos x="52" y="65"/>
                  </a:cxn>
                  <a:cxn ang="0">
                    <a:pos x="53" y="58"/>
                  </a:cxn>
                  <a:cxn ang="0">
                    <a:pos x="52" y="51"/>
                  </a:cxn>
                  <a:cxn ang="0">
                    <a:pos x="45" y="38"/>
                  </a:cxn>
                  <a:cxn ang="0">
                    <a:pos x="37" y="33"/>
                  </a:cxn>
                  <a:cxn ang="0">
                    <a:pos x="34" y="32"/>
                  </a:cxn>
                  <a:cxn ang="0">
                    <a:pos x="37" y="27"/>
                  </a:cxn>
                  <a:cxn ang="0">
                    <a:pos x="32" y="22"/>
                  </a:cxn>
                  <a:cxn ang="0">
                    <a:pos x="29" y="17"/>
                  </a:cxn>
                  <a:cxn ang="0">
                    <a:pos x="27" y="13"/>
                  </a:cxn>
                  <a:cxn ang="0">
                    <a:pos x="19" y="12"/>
                  </a:cxn>
                  <a:cxn ang="0">
                    <a:pos x="15" y="10"/>
                  </a:cxn>
                </a:cxnLst>
                <a:rect l="0" t="0" r="r" b="b"/>
                <a:pathLst>
                  <a:path w="53" h="90">
                    <a:moveTo>
                      <a:pt x="0" y="43"/>
                    </a:moveTo>
                    <a:lnTo>
                      <a:pt x="0" y="38"/>
                    </a:lnTo>
                    <a:lnTo>
                      <a:pt x="0" y="35"/>
                    </a:lnTo>
                    <a:lnTo>
                      <a:pt x="4" y="33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8"/>
                    </a:lnTo>
                    <a:lnTo>
                      <a:pt x="0" y="43"/>
                    </a:lnTo>
                    <a:lnTo>
                      <a:pt x="0" y="43"/>
                    </a:lnTo>
                    <a:close/>
                    <a:moveTo>
                      <a:pt x="9" y="7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close/>
                    <a:moveTo>
                      <a:pt x="15" y="2"/>
                    </a:moveTo>
                    <a:lnTo>
                      <a:pt x="19" y="3"/>
                    </a:lnTo>
                    <a:lnTo>
                      <a:pt x="19" y="7"/>
                    </a:lnTo>
                    <a:lnTo>
                      <a:pt x="25" y="8"/>
                    </a:lnTo>
                    <a:lnTo>
                      <a:pt x="25" y="12"/>
                    </a:lnTo>
                    <a:lnTo>
                      <a:pt x="24" y="10"/>
                    </a:lnTo>
                    <a:lnTo>
                      <a:pt x="19" y="10"/>
                    </a:lnTo>
                    <a:lnTo>
                      <a:pt x="17" y="8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5" y="2"/>
                    </a:lnTo>
                    <a:lnTo>
                      <a:pt x="15" y="2"/>
                    </a:lnTo>
                    <a:close/>
                    <a:moveTo>
                      <a:pt x="10" y="8"/>
                    </a:moveTo>
                    <a:lnTo>
                      <a:pt x="10" y="10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7" y="20"/>
                    </a:lnTo>
                    <a:lnTo>
                      <a:pt x="5" y="20"/>
                    </a:lnTo>
                    <a:lnTo>
                      <a:pt x="4" y="1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5" y="27"/>
                    </a:lnTo>
                    <a:lnTo>
                      <a:pt x="5" y="33"/>
                    </a:lnTo>
                    <a:lnTo>
                      <a:pt x="4" y="35"/>
                    </a:lnTo>
                    <a:lnTo>
                      <a:pt x="2" y="45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4" y="56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81"/>
                    </a:lnTo>
                    <a:lnTo>
                      <a:pt x="14" y="88"/>
                    </a:lnTo>
                    <a:lnTo>
                      <a:pt x="19" y="90"/>
                    </a:lnTo>
                    <a:lnTo>
                      <a:pt x="24" y="90"/>
                    </a:lnTo>
                    <a:lnTo>
                      <a:pt x="32" y="88"/>
                    </a:lnTo>
                    <a:lnTo>
                      <a:pt x="40" y="86"/>
                    </a:lnTo>
                    <a:lnTo>
                      <a:pt x="47" y="78"/>
                    </a:lnTo>
                    <a:lnTo>
                      <a:pt x="50" y="71"/>
                    </a:lnTo>
                    <a:lnTo>
                      <a:pt x="52" y="68"/>
                    </a:lnTo>
                    <a:lnTo>
                      <a:pt x="52" y="65"/>
                    </a:lnTo>
                    <a:lnTo>
                      <a:pt x="53" y="63"/>
                    </a:lnTo>
                    <a:lnTo>
                      <a:pt x="53" y="58"/>
                    </a:lnTo>
                    <a:lnTo>
                      <a:pt x="50" y="55"/>
                    </a:lnTo>
                    <a:lnTo>
                      <a:pt x="52" y="51"/>
                    </a:lnTo>
                    <a:lnTo>
                      <a:pt x="49" y="48"/>
                    </a:lnTo>
                    <a:lnTo>
                      <a:pt x="45" y="38"/>
                    </a:lnTo>
                    <a:lnTo>
                      <a:pt x="42" y="32"/>
                    </a:lnTo>
                    <a:lnTo>
                      <a:pt x="37" y="33"/>
                    </a:lnTo>
                    <a:lnTo>
                      <a:pt x="37" y="32"/>
                    </a:lnTo>
                    <a:lnTo>
                      <a:pt x="34" y="32"/>
                    </a:lnTo>
                    <a:lnTo>
                      <a:pt x="39" y="3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29" y="17"/>
                    </a:lnTo>
                    <a:lnTo>
                      <a:pt x="27" y="15"/>
                    </a:lnTo>
                    <a:lnTo>
                      <a:pt x="27" y="13"/>
                    </a:lnTo>
                    <a:lnTo>
                      <a:pt x="20" y="10"/>
                    </a:lnTo>
                    <a:lnTo>
                      <a:pt x="19" y="12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8" name="Freeform 25"/>
              <p:cNvSpPr>
                <a:spLocks noEditPoints="1"/>
              </p:cNvSpPr>
              <p:nvPr/>
            </p:nvSpPr>
            <p:spPr bwMode="auto">
              <a:xfrm>
                <a:off x="7292618" y="2865055"/>
                <a:ext cx="363884" cy="312314"/>
              </a:xfrm>
              <a:custGeom>
                <a:avLst/>
                <a:gdLst/>
                <a:ahLst/>
                <a:cxnLst>
                  <a:cxn ang="0">
                    <a:pos x="231" y="51"/>
                  </a:cxn>
                  <a:cxn ang="0">
                    <a:pos x="267" y="69"/>
                  </a:cxn>
                  <a:cxn ang="0">
                    <a:pos x="277" y="116"/>
                  </a:cxn>
                  <a:cxn ang="0">
                    <a:pos x="353" y="144"/>
                  </a:cxn>
                  <a:cxn ang="0">
                    <a:pos x="442" y="164"/>
                  </a:cxn>
                  <a:cxn ang="0">
                    <a:pos x="476" y="132"/>
                  </a:cxn>
                  <a:cxn ang="0">
                    <a:pos x="513" y="161"/>
                  </a:cxn>
                  <a:cxn ang="0">
                    <a:pos x="546" y="136"/>
                  </a:cxn>
                  <a:cxn ang="0">
                    <a:pos x="579" y="112"/>
                  </a:cxn>
                  <a:cxn ang="0">
                    <a:pos x="633" y="98"/>
                  </a:cxn>
                  <a:cxn ang="0">
                    <a:pos x="657" y="99"/>
                  </a:cxn>
                  <a:cxn ang="0">
                    <a:pos x="679" y="122"/>
                  </a:cxn>
                  <a:cxn ang="0">
                    <a:pos x="644" y="154"/>
                  </a:cxn>
                  <a:cxn ang="0">
                    <a:pos x="621" y="220"/>
                  </a:cxn>
                  <a:cxn ang="0">
                    <a:pos x="599" y="262"/>
                  </a:cxn>
                  <a:cxn ang="0">
                    <a:pos x="588" y="274"/>
                  </a:cxn>
                  <a:cxn ang="0">
                    <a:pos x="569" y="235"/>
                  </a:cxn>
                  <a:cxn ang="0">
                    <a:pos x="554" y="242"/>
                  </a:cxn>
                  <a:cxn ang="0">
                    <a:pos x="563" y="222"/>
                  </a:cxn>
                  <a:cxn ang="0">
                    <a:pos x="558" y="196"/>
                  </a:cxn>
                  <a:cxn ang="0">
                    <a:pos x="510" y="182"/>
                  </a:cxn>
                  <a:cxn ang="0">
                    <a:pos x="491" y="172"/>
                  </a:cxn>
                  <a:cxn ang="0">
                    <a:pos x="475" y="167"/>
                  </a:cxn>
                  <a:cxn ang="0">
                    <a:pos x="483" y="196"/>
                  </a:cxn>
                  <a:cxn ang="0">
                    <a:pos x="493" y="245"/>
                  </a:cxn>
                  <a:cxn ang="0">
                    <a:pos x="498" y="285"/>
                  </a:cxn>
                  <a:cxn ang="0">
                    <a:pos x="481" y="280"/>
                  </a:cxn>
                  <a:cxn ang="0">
                    <a:pos x="475" y="280"/>
                  </a:cxn>
                  <a:cxn ang="0">
                    <a:pos x="450" y="312"/>
                  </a:cxn>
                  <a:cxn ang="0">
                    <a:pos x="420" y="328"/>
                  </a:cxn>
                  <a:cxn ang="0">
                    <a:pos x="375" y="382"/>
                  </a:cxn>
                  <a:cxn ang="0">
                    <a:pos x="329" y="418"/>
                  </a:cxn>
                  <a:cxn ang="0">
                    <a:pos x="304" y="461"/>
                  </a:cxn>
                  <a:cxn ang="0">
                    <a:pos x="299" y="553"/>
                  </a:cxn>
                  <a:cxn ang="0">
                    <a:pos x="290" y="578"/>
                  </a:cxn>
                  <a:cxn ang="0">
                    <a:pos x="259" y="596"/>
                  </a:cxn>
                  <a:cxn ang="0">
                    <a:pos x="209" y="541"/>
                  </a:cxn>
                  <a:cxn ang="0">
                    <a:pos x="176" y="488"/>
                  </a:cxn>
                  <a:cxn ang="0">
                    <a:pos x="149" y="435"/>
                  </a:cxn>
                  <a:cxn ang="0">
                    <a:pos x="126" y="370"/>
                  </a:cxn>
                  <a:cxn ang="0">
                    <a:pos x="113" y="322"/>
                  </a:cxn>
                  <a:cxn ang="0">
                    <a:pos x="108" y="287"/>
                  </a:cxn>
                  <a:cxn ang="0">
                    <a:pos x="108" y="269"/>
                  </a:cxn>
                  <a:cxn ang="0">
                    <a:pos x="86" y="303"/>
                  </a:cxn>
                  <a:cxn ang="0">
                    <a:pos x="15" y="272"/>
                  </a:cxn>
                  <a:cxn ang="0">
                    <a:pos x="35" y="272"/>
                  </a:cxn>
                  <a:cxn ang="0">
                    <a:pos x="40" y="262"/>
                  </a:cxn>
                  <a:cxn ang="0">
                    <a:pos x="0" y="242"/>
                  </a:cxn>
                  <a:cxn ang="0">
                    <a:pos x="51" y="219"/>
                  </a:cxn>
                  <a:cxn ang="0">
                    <a:pos x="48" y="191"/>
                  </a:cxn>
                  <a:cxn ang="0">
                    <a:pos x="15" y="161"/>
                  </a:cxn>
                  <a:cxn ang="0">
                    <a:pos x="56" y="136"/>
                  </a:cxn>
                  <a:cxn ang="0">
                    <a:pos x="111" y="76"/>
                  </a:cxn>
                  <a:cxn ang="0">
                    <a:pos x="134" y="28"/>
                  </a:cxn>
                  <a:cxn ang="0">
                    <a:pos x="199" y="6"/>
                  </a:cxn>
                  <a:cxn ang="0">
                    <a:pos x="493" y="284"/>
                  </a:cxn>
                  <a:cxn ang="0">
                    <a:pos x="486" y="290"/>
                  </a:cxn>
                </a:cxnLst>
                <a:rect l="0" t="0" r="r" b="b"/>
                <a:pathLst>
                  <a:path w="681" h="601">
                    <a:moveTo>
                      <a:pt x="217" y="18"/>
                    </a:moveTo>
                    <a:lnTo>
                      <a:pt x="219" y="21"/>
                    </a:lnTo>
                    <a:lnTo>
                      <a:pt x="219" y="24"/>
                    </a:lnTo>
                    <a:lnTo>
                      <a:pt x="226" y="28"/>
                    </a:lnTo>
                    <a:lnTo>
                      <a:pt x="226" y="36"/>
                    </a:lnTo>
                    <a:lnTo>
                      <a:pt x="227" y="39"/>
                    </a:lnTo>
                    <a:lnTo>
                      <a:pt x="226" y="43"/>
                    </a:lnTo>
                    <a:lnTo>
                      <a:pt x="229" y="44"/>
                    </a:lnTo>
                    <a:lnTo>
                      <a:pt x="231" y="48"/>
                    </a:lnTo>
                    <a:lnTo>
                      <a:pt x="231" y="51"/>
                    </a:lnTo>
                    <a:lnTo>
                      <a:pt x="234" y="53"/>
                    </a:lnTo>
                    <a:lnTo>
                      <a:pt x="236" y="56"/>
                    </a:lnTo>
                    <a:lnTo>
                      <a:pt x="241" y="59"/>
                    </a:lnTo>
                    <a:lnTo>
                      <a:pt x="244" y="54"/>
                    </a:lnTo>
                    <a:lnTo>
                      <a:pt x="249" y="54"/>
                    </a:lnTo>
                    <a:lnTo>
                      <a:pt x="251" y="58"/>
                    </a:lnTo>
                    <a:lnTo>
                      <a:pt x="257" y="58"/>
                    </a:lnTo>
                    <a:lnTo>
                      <a:pt x="262" y="63"/>
                    </a:lnTo>
                    <a:lnTo>
                      <a:pt x="265" y="64"/>
                    </a:lnTo>
                    <a:lnTo>
                      <a:pt x="267" y="69"/>
                    </a:lnTo>
                    <a:lnTo>
                      <a:pt x="272" y="69"/>
                    </a:lnTo>
                    <a:lnTo>
                      <a:pt x="274" y="73"/>
                    </a:lnTo>
                    <a:lnTo>
                      <a:pt x="274" y="73"/>
                    </a:lnTo>
                    <a:lnTo>
                      <a:pt x="275" y="81"/>
                    </a:lnTo>
                    <a:lnTo>
                      <a:pt x="270" y="93"/>
                    </a:lnTo>
                    <a:lnTo>
                      <a:pt x="270" y="99"/>
                    </a:lnTo>
                    <a:lnTo>
                      <a:pt x="265" y="107"/>
                    </a:lnTo>
                    <a:lnTo>
                      <a:pt x="267" y="112"/>
                    </a:lnTo>
                    <a:lnTo>
                      <a:pt x="272" y="112"/>
                    </a:lnTo>
                    <a:lnTo>
                      <a:pt x="277" y="116"/>
                    </a:lnTo>
                    <a:lnTo>
                      <a:pt x="280" y="116"/>
                    </a:lnTo>
                    <a:lnTo>
                      <a:pt x="285" y="119"/>
                    </a:lnTo>
                    <a:lnTo>
                      <a:pt x="294" y="121"/>
                    </a:lnTo>
                    <a:lnTo>
                      <a:pt x="305" y="127"/>
                    </a:lnTo>
                    <a:lnTo>
                      <a:pt x="312" y="136"/>
                    </a:lnTo>
                    <a:lnTo>
                      <a:pt x="322" y="137"/>
                    </a:lnTo>
                    <a:lnTo>
                      <a:pt x="325" y="141"/>
                    </a:lnTo>
                    <a:lnTo>
                      <a:pt x="332" y="141"/>
                    </a:lnTo>
                    <a:lnTo>
                      <a:pt x="340" y="146"/>
                    </a:lnTo>
                    <a:lnTo>
                      <a:pt x="353" y="144"/>
                    </a:lnTo>
                    <a:lnTo>
                      <a:pt x="357" y="147"/>
                    </a:lnTo>
                    <a:lnTo>
                      <a:pt x="370" y="146"/>
                    </a:lnTo>
                    <a:lnTo>
                      <a:pt x="382" y="147"/>
                    </a:lnTo>
                    <a:lnTo>
                      <a:pt x="382" y="154"/>
                    </a:lnTo>
                    <a:lnTo>
                      <a:pt x="388" y="159"/>
                    </a:lnTo>
                    <a:lnTo>
                      <a:pt x="402" y="161"/>
                    </a:lnTo>
                    <a:lnTo>
                      <a:pt x="407" y="159"/>
                    </a:lnTo>
                    <a:lnTo>
                      <a:pt x="415" y="159"/>
                    </a:lnTo>
                    <a:lnTo>
                      <a:pt x="435" y="166"/>
                    </a:lnTo>
                    <a:lnTo>
                      <a:pt x="442" y="164"/>
                    </a:lnTo>
                    <a:lnTo>
                      <a:pt x="450" y="167"/>
                    </a:lnTo>
                    <a:lnTo>
                      <a:pt x="465" y="166"/>
                    </a:lnTo>
                    <a:lnTo>
                      <a:pt x="466" y="154"/>
                    </a:lnTo>
                    <a:lnTo>
                      <a:pt x="461" y="146"/>
                    </a:lnTo>
                    <a:lnTo>
                      <a:pt x="465" y="136"/>
                    </a:lnTo>
                    <a:lnTo>
                      <a:pt x="463" y="131"/>
                    </a:lnTo>
                    <a:lnTo>
                      <a:pt x="463" y="131"/>
                    </a:lnTo>
                    <a:lnTo>
                      <a:pt x="468" y="127"/>
                    </a:lnTo>
                    <a:lnTo>
                      <a:pt x="473" y="127"/>
                    </a:lnTo>
                    <a:lnTo>
                      <a:pt x="476" y="132"/>
                    </a:lnTo>
                    <a:lnTo>
                      <a:pt x="476" y="137"/>
                    </a:lnTo>
                    <a:lnTo>
                      <a:pt x="481" y="141"/>
                    </a:lnTo>
                    <a:lnTo>
                      <a:pt x="481" y="141"/>
                    </a:lnTo>
                    <a:lnTo>
                      <a:pt x="481" y="146"/>
                    </a:lnTo>
                    <a:lnTo>
                      <a:pt x="480" y="149"/>
                    </a:lnTo>
                    <a:lnTo>
                      <a:pt x="483" y="156"/>
                    </a:lnTo>
                    <a:lnTo>
                      <a:pt x="491" y="157"/>
                    </a:lnTo>
                    <a:lnTo>
                      <a:pt x="495" y="156"/>
                    </a:lnTo>
                    <a:lnTo>
                      <a:pt x="506" y="161"/>
                    </a:lnTo>
                    <a:lnTo>
                      <a:pt x="513" y="161"/>
                    </a:lnTo>
                    <a:lnTo>
                      <a:pt x="518" y="156"/>
                    </a:lnTo>
                    <a:lnTo>
                      <a:pt x="525" y="156"/>
                    </a:lnTo>
                    <a:lnTo>
                      <a:pt x="530" y="157"/>
                    </a:lnTo>
                    <a:lnTo>
                      <a:pt x="538" y="156"/>
                    </a:lnTo>
                    <a:lnTo>
                      <a:pt x="545" y="156"/>
                    </a:lnTo>
                    <a:lnTo>
                      <a:pt x="554" y="152"/>
                    </a:lnTo>
                    <a:lnTo>
                      <a:pt x="554" y="149"/>
                    </a:lnTo>
                    <a:lnTo>
                      <a:pt x="554" y="142"/>
                    </a:lnTo>
                    <a:lnTo>
                      <a:pt x="546" y="141"/>
                    </a:lnTo>
                    <a:lnTo>
                      <a:pt x="546" y="136"/>
                    </a:lnTo>
                    <a:lnTo>
                      <a:pt x="548" y="131"/>
                    </a:lnTo>
                    <a:lnTo>
                      <a:pt x="551" y="131"/>
                    </a:lnTo>
                    <a:lnTo>
                      <a:pt x="559" y="129"/>
                    </a:lnTo>
                    <a:lnTo>
                      <a:pt x="563" y="127"/>
                    </a:lnTo>
                    <a:lnTo>
                      <a:pt x="566" y="122"/>
                    </a:lnTo>
                    <a:lnTo>
                      <a:pt x="569" y="121"/>
                    </a:lnTo>
                    <a:lnTo>
                      <a:pt x="573" y="121"/>
                    </a:lnTo>
                    <a:lnTo>
                      <a:pt x="573" y="119"/>
                    </a:lnTo>
                    <a:lnTo>
                      <a:pt x="578" y="117"/>
                    </a:lnTo>
                    <a:lnTo>
                      <a:pt x="579" y="112"/>
                    </a:lnTo>
                    <a:lnTo>
                      <a:pt x="584" y="107"/>
                    </a:lnTo>
                    <a:lnTo>
                      <a:pt x="589" y="107"/>
                    </a:lnTo>
                    <a:lnTo>
                      <a:pt x="598" y="106"/>
                    </a:lnTo>
                    <a:lnTo>
                      <a:pt x="604" y="99"/>
                    </a:lnTo>
                    <a:lnTo>
                      <a:pt x="603" y="94"/>
                    </a:lnTo>
                    <a:lnTo>
                      <a:pt x="606" y="94"/>
                    </a:lnTo>
                    <a:lnTo>
                      <a:pt x="613" y="91"/>
                    </a:lnTo>
                    <a:lnTo>
                      <a:pt x="616" y="96"/>
                    </a:lnTo>
                    <a:lnTo>
                      <a:pt x="623" y="94"/>
                    </a:lnTo>
                    <a:lnTo>
                      <a:pt x="633" y="98"/>
                    </a:lnTo>
                    <a:lnTo>
                      <a:pt x="634" y="96"/>
                    </a:lnTo>
                    <a:lnTo>
                      <a:pt x="634" y="91"/>
                    </a:lnTo>
                    <a:lnTo>
                      <a:pt x="644" y="86"/>
                    </a:lnTo>
                    <a:lnTo>
                      <a:pt x="647" y="88"/>
                    </a:lnTo>
                    <a:lnTo>
                      <a:pt x="651" y="89"/>
                    </a:lnTo>
                    <a:lnTo>
                      <a:pt x="654" y="89"/>
                    </a:lnTo>
                    <a:lnTo>
                      <a:pt x="656" y="91"/>
                    </a:lnTo>
                    <a:lnTo>
                      <a:pt x="652" y="98"/>
                    </a:lnTo>
                    <a:lnTo>
                      <a:pt x="654" y="101"/>
                    </a:lnTo>
                    <a:lnTo>
                      <a:pt x="657" y="99"/>
                    </a:lnTo>
                    <a:lnTo>
                      <a:pt x="659" y="99"/>
                    </a:lnTo>
                    <a:lnTo>
                      <a:pt x="661" y="103"/>
                    </a:lnTo>
                    <a:lnTo>
                      <a:pt x="664" y="107"/>
                    </a:lnTo>
                    <a:lnTo>
                      <a:pt x="664" y="109"/>
                    </a:lnTo>
                    <a:lnTo>
                      <a:pt x="661" y="114"/>
                    </a:lnTo>
                    <a:lnTo>
                      <a:pt x="662" y="117"/>
                    </a:lnTo>
                    <a:lnTo>
                      <a:pt x="667" y="117"/>
                    </a:lnTo>
                    <a:lnTo>
                      <a:pt x="671" y="117"/>
                    </a:lnTo>
                    <a:lnTo>
                      <a:pt x="674" y="119"/>
                    </a:lnTo>
                    <a:lnTo>
                      <a:pt x="679" y="122"/>
                    </a:lnTo>
                    <a:lnTo>
                      <a:pt x="681" y="126"/>
                    </a:lnTo>
                    <a:lnTo>
                      <a:pt x="676" y="131"/>
                    </a:lnTo>
                    <a:lnTo>
                      <a:pt x="676" y="136"/>
                    </a:lnTo>
                    <a:lnTo>
                      <a:pt x="676" y="139"/>
                    </a:lnTo>
                    <a:lnTo>
                      <a:pt x="672" y="137"/>
                    </a:lnTo>
                    <a:lnTo>
                      <a:pt x="667" y="136"/>
                    </a:lnTo>
                    <a:lnTo>
                      <a:pt x="661" y="139"/>
                    </a:lnTo>
                    <a:lnTo>
                      <a:pt x="652" y="142"/>
                    </a:lnTo>
                    <a:lnTo>
                      <a:pt x="651" y="147"/>
                    </a:lnTo>
                    <a:lnTo>
                      <a:pt x="644" y="154"/>
                    </a:lnTo>
                    <a:lnTo>
                      <a:pt x="639" y="156"/>
                    </a:lnTo>
                    <a:lnTo>
                      <a:pt x="631" y="166"/>
                    </a:lnTo>
                    <a:lnTo>
                      <a:pt x="631" y="172"/>
                    </a:lnTo>
                    <a:lnTo>
                      <a:pt x="633" y="174"/>
                    </a:lnTo>
                    <a:lnTo>
                      <a:pt x="629" y="182"/>
                    </a:lnTo>
                    <a:lnTo>
                      <a:pt x="623" y="192"/>
                    </a:lnTo>
                    <a:lnTo>
                      <a:pt x="623" y="196"/>
                    </a:lnTo>
                    <a:lnTo>
                      <a:pt x="629" y="199"/>
                    </a:lnTo>
                    <a:lnTo>
                      <a:pt x="623" y="210"/>
                    </a:lnTo>
                    <a:lnTo>
                      <a:pt x="621" y="220"/>
                    </a:lnTo>
                    <a:lnTo>
                      <a:pt x="618" y="227"/>
                    </a:lnTo>
                    <a:lnTo>
                      <a:pt x="611" y="229"/>
                    </a:lnTo>
                    <a:lnTo>
                      <a:pt x="606" y="227"/>
                    </a:lnTo>
                    <a:lnTo>
                      <a:pt x="601" y="227"/>
                    </a:lnTo>
                    <a:lnTo>
                      <a:pt x="604" y="237"/>
                    </a:lnTo>
                    <a:lnTo>
                      <a:pt x="604" y="244"/>
                    </a:lnTo>
                    <a:lnTo>
                      <a:pt x="604" y="250"/>
                    </a:lnTo>
                    <a:lnTo>
                      <a:pt x="599" y="250"/>
                    </a:lnTo>
                    <a:lnTo>
                      <a:pt x="599" y="255"/>
                    </a:lnTo>
                    <a:lnTo>
                      <a:pt x="599" y="262"/>
                    </a:lnTo>
                    <a:lnTo>
                      <a:pt x="599" y="265"/>
                    </a:lnTo>
                    <a:lnTo>
                      <a:pt x="598" y="274"/>
                    </a:lnTo>
                    <a:lnTo>
                      <a:pt x="594" y="274"/>
                    </a:lnTo>
                    <a:lnTo>
                      <a:pt x="593" y="274"/>
                    </a:lnTo>
                    <a:lnTo>
                      <a:pt x="591" y="277"/>
                    </a:lnTo>
                    <a:lnTo>
                      <a:pt x="591" y="280"/>
                    </a:lnTo>
                    <a:lnTo>
                      <a:pt x="591" y="279"/>
                    </a:lnTo>
                    <a:lnTo>
                      <a:pt x="589" y="277"/>
                    </a:lnTo>
                    <a:lnTo>
                      <a:pt x="589" y="275"/>
                    </a:lnTo>
                    <a:lnTo>
                      <a:pt x="588" y="274"/>
                    </a:lnTo>
                    <a:lnTo>
                      <a:pt x="586" y="270"/>
                    </a:lnTo>
                    <a:lnTo>
                      <a:pt x="584" y="264"/>
                    </a:lnTo>
                    <a:lnTo>
                      <a:pt x="583" y="255"/>
                    </a:lnTo>
                    <a:lnTo>
                      <a:pt x="581" y="252"/>
                    </a:lnTo>
                    <a:lnTo>
                      <a:pt x="581" y="247"/>
                    </a:lnTo>
                    <a:lnTo>
                      <a:pt x="579" y="242"/>
                    </a:lnTo>
                    <a:lnTo>
                      <a:pt x="578" y="239"/>
                    </a:lnTo>
                    <a:lnTo>
                      <a:pt x="576" y="235"/>
                    </a:lnTo>
                    <a:lnTo>
                      <a:pt x="573" y="237"/>
                    </a:lnTo>
                    <a:lnTo>
                      <a:pt x="569" y="235"/>
                    </a:lnTo>
                    <a:lnTo>
                      <a:pt x="566" y="235"/>
                    </a:lnTo>
                    <a:lnTo>
                      <a:pt x="568" y="239"/>
                    </a:lnTo>
                    <a:lnTo>
                      <a:pt x="566" y="240"/>
                    </a:lnTo>
                    <a:lnTo>
                      <a:pt x="566" y="242"/>
                    </a:lnTo>
                    <a:lnTo>
                      <a:pt x="564" y="245"/>
                    </a:lnTo>
                    <a:lnTo>
                      <a:pt x="566" y="247"/>
                    </a:lnTo>
                    <a:lnTo>
                      <a:pt x="566" y="250"/>
                    </a:lnTo>
                    <a:lnTo>
                      <a:pt x="563" y="250"/>
                    </a:lnTo>
                    <a:lnTo>
                      <a:pt x="559" y="245"/>
                    </a:lnTo>
                    <a:lnTo>
                      <a:pt x="554" y="242"/>
                    </a:lnTo>
                    <a:lnTo>
                      <a:pt x="554" y="240"/>
                    </a:lnTo>
                    <a:lnTo>
                      <a:pt x="551" y="239"/>
                    </a:lnTo>
                    <a:lnTo>
                      <a:pt x="549" y="232"/>
                    </a:lnTo>
                    <a:lnTo>
                      <a:pt x="549" y="230"/>
                    </a:lnTo>
                    <a:lnTo>
                      <a:pt x="551" y="229"/>
                    </a:lnTo>
                    <a:lnTo>
                      <a:pt x="553" y="225"/>
                    </a:lnTo>
                    <a:lnTo>
                      <a:pt x="556" y="222"/>
                    </a:lnTo>
                    <a:lnTo>
                      <a:pt x="558" y="224"/>
                    </a:lnTo>
                    <a:lnTo>
                      <a:pt x="561" y="225"/>
                    </a:lnTo>
                    <a:lnTo>
                      <a:pt x="563" y="222"/>
                    </a:lnTo>
                    <a:lnTo>
                      <a:pt x="563" y="220"/>
                    </a:lnTo>
                    <a:lnTo>
                      <a:pt x="566" y="219"/>
                    </a:lnTo>
                    <a:lnTo>
                      <a:pt x="569" y="210"/>
                    </a:lnTo>
                    <a:lnTo>
                      <a:pt x="569" y="205"/>
                    </a:lnTo>
                    <a:lnTo>
                      <a:pt x="573" y="201"/>
                    </a:lnTo>
                    <a:lnTo>
                      <a:pt x="571" y="201"/>
                    </a:lnTo>
                    <a:lnTo>
                      <a:pt x="566" y="196"/>
                    </a:lnTo>
                    <a:lnTo>
                      <a:pt x="563" y="197"/>
                    </a:lnTo>
                    <a:lnTo>
                      <a:pt x="561" y="196"/>
                    </a:lnTo>
                    <a:lnTo>
                      <a:pt x="558" y="196"/>
                    </a:lnTo>
                    <a:lnTo>
                      <a:pt x="549" y="196"/>
                    </a:lnTo>
                    <a:lnTo>
                      <a:pt x="541" y="196"/>
                    </a:lnTo>
                    <a:lnTo>
                      <a:pt x="533" y="196"/>
                    </a:lnTo>
                    <a:lnTo>
                      <a:pt x="526" y="196"/>
                    </a:lnTo>
                    <a:lnTo>
                      <a:pt x="521" y="194"/>
                    </a:lnTo>
                    <a:lnTo>
                      <a:pt x="516" y="194"/>
                    </a:lnTo>
                    <a:lnTo>
                      <a:pt x="511" y="192"/>
                    </a:lnTo>
                    <a:lnTo>
                      <a:pt x="511" y="189"/>
                    </a:lnTo>
                    <a:lnTo>
                      <a:pt x="510" y="186"/>
                    </a:lnTo>
                    <a:lnTo>
                      <a:pt x="510" y="182"/>
                    </a:lnTo>
                    <a:lnTo>
                      <a:pt x="508" y="177"/>
                    </a:lnTo>
                    <a:lnTo>
                      <a:pt x="505" y="172"/>
                    </a:lnTo>
                    <a:lnTo>
                      <a:pt x="503" y="172"/>
                    </a:lnTo>
                    <a:lnTo>
                      <a:pt x="503" y="174"/>
                    </a:lnTo>
                    <a:lnTo>
                      <a:pt x="498" y="172"/>
                    </a:lnTo>
                    <a:lnTo>
                      <a:pt x="495" y="171"/>
                    </a:lnTo>
                    <a:lnTo>
                      <a:pt x="491" y="167"/>
                    </a:lnTo>
                    <a:lnTo>
                      <a:pt x="490" y="167"/>
                    </a:lnTo>
                    <a:lnTo>
                      <a:pt x="488" y="171"/>
                    </a:lnTo>
                    <a:lnTo>
                      <a:pt x="491" y="172"/>
                    </a:lnTo>
                    <a:lnTo>
                      <a:pt x="490" y="172"/>
                    </a:lnTo>
                    <a:lnTo>
                      <a:pt x="485" y="172"/>
                    </a:lnTo>
                    <a:lnTo>
                      <a:pt x="481" y="169"/>
                    </a:lnTo>
                    <a:lnTo>
                      <a:pt x="481" y="166"/>
                    </a:lnTo>
                    <a:lnTo>
                      <a:pt x="478" y="162"/>
                    </a:lnTo>
                    <a:lnTo>
                      <a:pt x="476" y="161"/>
                    </a:lnTo>
                    <a:lnTo>
                      <a:pt x="475" y="162"/>
                    </a:lnTo>
                    <a:lnTo>
                      <a:pt x="473" y="164"/>
                    </a:lnTo>
                    <a:lnTo>
                      <a:pt x="473" y="166"/>
                    </a:lnTo>
                    <a:lnTo>
                      <a:pt x="475" y="167"/>
                    </a:lnTo>
                    <a:lnTo>
                      <a:pt x="473" y="174"/>
                    </a:lnTo>
                    <a:lnTo>
                      <a:pt x="468" y="179"/>
                    </a:lnTo>
                    <a:lnTo>
                      <a:pt x="468" y="184"/>
                    </a:lnTo>
                    <a:lnTo>
                      <a:pt x="478" y="187"/>
                    </a:lnTo>
                    <a:lnTo>
                      <a:pt x="483" y="186"/>
                    </a:lnTo>
                    <a:lnTo>
                      <a:pt x="490" y="186"/>
                    </a:lnTo>
                    <a:lnTo>
                      <a:pt x="488" y="189"/>
                    </a:lnTo>
                    <a:lnTo>
                      <a:pt x="490" y="196"/>
                    </a:lnTo>
                    <a:lnTo>
                      <a:pt x="486" y="197"/>
                    </a:lnTo>
                    <a:lnTo>
                      <a:pt x="483" y="196"/>
                    </a:lnTo>
                    <a:lnTo>
                      <a:pt x="480" y="197"/>
                    </a:lnTo>
                    <a:lnTo>
                      <a:pt x="478" y="204"/>
                    </a:lnTo>
                    <a:lnTo>
                      <a:pt x="473" y="205"/>
                    </a:lnTo>
                    <a:lnTo>
                      <a:pt x="473" y="214"/>
                    </a:lnTo>
                    <a:lnTo>
                      <a:pt x="478" y="219"/>
                    </a:lnTo>
                    <a:lnTo>
                      <a:pt x="485" y="222"/>
                    </a:lnTo>
                    <a:lnTo>
                      <a:pt x="491" y="229"/>
                    </a:lnTo>
                    <a:lnTo>
                      <a:pt x="491" y="235"/>
                    </a:lnTo>
                    <a:lnTo>
                      <a:pt x="493" y="240"/>
                    </a:lnTo>
                    <a:lnTo>
                      <a:pt x="493" y="245"/>
                    </a:lnTo>
                    <a:lnTo>
                      <a:pt x="493" y="252"/>
                    </a:lnTo>
                    <a:lnTo>
                      <a:pt x="500" y="260"/>
                    </a:lnTo>
                    <a:lnTo>
                      <a:pt x="501" y="267"/>
                    </a:lnTo>
                    <a:lnTo>
                      <a:pt x="503" y="270"/>
                    </a:lnTo>
                    <a:lnTo>
                      <a:pt x="503" y="277"/>
                    </a:lnTo>
                    <a:lnTo>
                      <a:pt x="501" y="277"/>
                    </a:lnTo>
                    <a:lnTo>
                      <a:pt x="505" y="282"/>
                    </a:lnTo>
                    <a:lnTo>
                      <a:pt x="501" y="287"/>
                    </a:lnTo>
                    <a:lnTo>
                      <a:pt x="498" y="282"/>
                    </a:lnTo>
                    <a:lnTo>
                      <a:pt x="498" y="285"/>
                    </a:lnTo>
                    <a:lnTo>
                      <a:pt x="496" y="284"/>
                    </a:lnTo>
                    <a:lnTo>
                      <a:pt x="495" y="279"/>
                    </a:lnTo>
                    <a:lnTo>
                      <a:pt x="493" y="277"/>
                    </a:lnTo>
                    <a:lnTo>
                      <a:pt x="493" y="279"/>
                    </a:lnTo>
                    <a:lnTo>
                      <a:pt x="491" y="280"/>
                    </a:lnTo>
                    <a:lnTo>
                      <a:pt x="491" y="280"/>
                    </a:lnTo>
                    <a:lnTo>
                      <a:pt x="490" y="282"/>
                    </a:lnTo>
                    <a:lnTo>
                      <a:pt x="486" y="280"/>
                    </a:lnTo>
                    <a:lnTo>
                      <a:pt x="486" y="282"/>
                    </a:lnTo>
                    <a:lnTo>
                      <a:pt x="481" y="280"/>
                    </a:lnTo>
                    <a:lnTo>
                      <a:pt x="481" y="275"/>
                    </a:lnTo>
                    <a:lnTo>
                      <a:pt x="481" y="272"/>
                    </a:lnTo>
                    <a:lnTo>
                      <a:pt x="478" y="269"/>
                    </a:lnTo>
                    <a:lnTo>
                      <a:pt x="473" y="269"/>
                    </a:lnTo>
                    <a:lnTo>
                      <a:pt x="475" y="270"/>
                    </a:lnTo>
                    <a:lnTo>
                      <a:pt x="476" y="270"/>
                    </a:lnTo>
                    <a:lnTo>
                      <a:pt x="478" y="272"/>
                    </a:lnTo>
                    <a:lnTo>
                      <a:pt x="478" y="274"/>
                    </a:lnTo>
                    <a:lnTo>
                      <a:pt x="476" y="277"/>
                    </a:lnTo>
                    <a:lnTo>
                      <a:pt x="475" y="280"/>
                    </a:lnTo>
                    <a:lnTo>
                      <a:pt x="471" y="284"/>
                    </a:lnTo>
                    <a:lnTo>
                      <a:pt x="456" y="289"/>
                    </a:lnTo>
                    <a:lnTo>
                      <a:pt x="455" y="290"/>
                    </a:lnTo>
                    <a:lnTo>
                      <a:pt x="453" y="294"/>
                    </a:lnTo>
                    <a:lnTo>
                      <a:pt x="451" y="299"/>
                    </a:lnTo>
                    <a:lnTo>
                      <a:pt x="451" y="300"/>
                    </a:lnTo>
                    <a:lnTo>
                      <a:pt x="455" y="305"/>
                    </a:lnTo>
                    <a:lnTo>
                      <a:pt x="455" y="307"/>
                    </a:lnTo>
                    <a:lnTo>
                      <a:pt x="456" y="308"/>
                    </a:lnTo>
                    <a:lnTo>
                      <a:pt x="450" y="312"/>
                    </a:lnTo>
                    <a:lnTo>
                      <a:pt x="448" y="317"/>
                    </a:lnTo>
                    <a:lnTo>
                      <a:pt x="447" y="317"/>
                    </a:lnTo>
                    <a:lnTo>
                      <a:pt x="448" y="318"/>
                    </a:lnTo>
                    <a:lnTo>
                      <a:pt x="438" y="325"/>
                    </a:lnTo>
                    <a:lnTo>
                      <a:pt x="438" y="327"/>
                    </a:lnTo>
                    <a:lnTo>
                      <a:pt x="425" y="333"/>
                    </a:lnTo>
                    <a:lnTo>
                      <a:pt x="423" y="332"/>
                    </a:lnTo>
                    <a:lnTo>
                      <a:pt x="423" y="330"/>
                    </a:lnTo>
                    <a:lnTo>
                      <a:pt x="422" y="328"/>
                    </a:lnTo>
                    <a:lnTo>
                      <a:pt x="420" y="328"/>
                    </a:lnTo>
                    <a:lnTo>
                      <a:pt x="417" y="332"/>
                    </a:lnTo>
                    <a:lnTo>
                      <a:pt x="413" y="332"/>
                    </a:lnTo>
                    <a:lnTo>
                      <a:pt x="413" y="338"/>
                    </a:lnTo>
                    <a:lnTo>
                      <a:pt x="417" y="337"/>
                    </a:lnTo>
                    <a:lnTo>
                      <a:pt x="418" y="335"/>
                    </a:lnTo>
                    <a:lnTo>
                      <a:pt x="420" y="335"/>
                    </a:lnTo>
                    <a:lnTo>
                      <a:pt x="403" y="348"/>
                    </a:lnTo>
                    <a:lnTo>
                      <a:pt x="400" y="360"/>
                    </a:lnTo>
                    <a:lnTo>
                      <a:pt x="378" y="375"/>
                    </a:lnTo>
                    <a:lnTo>
                      <a:pt x="375" y="382"/>
                    </a:lnTo>
                    <a:lnTo>
                      <a:pt x="370" y="385"/>
                    </a:lnTo>
                    <a:lnTo>
                      <a:pt x="360" y="388"/>
                    </a:lnTo>
                    <a:lnTo>
                      <a:pt x="353" y="393"/>
                    </a:lnTo>
                    <a:lnTo>
                      <a:pt x="353" y="398"/>
                    </a:lnTo>
                    <a:lnTo>
                      <a:pt x="353" y="403"/>
                    </a:lnTo>
                    <a:lnTo>
                      <a:pt x="350" y="408"/>
                    </a:lnTo>
                    <a:lnTo>
                      <a:pt x="344" y="411"/>
                    </a:lnTo>
                    <a:lnTo>
                      <a:pt x="334" y="410"/>
                    </a:lnTo>
                    <a:lnTo>
                      <a:pt x="329" y="413"/>
                    </a:lnTo>
                    <a:lnTo>
                      <a:pt x="329" y="418"/>
                    </a:lnTo>
                    <a:lnTo>
                      <a:pt x="322" y="426"/>
                    </a:lnTo>
                    <a:lnTo>
                      <a:pt x="319" y="426"/>
                    </a:lnTo>
                    <a:lnTo>
                      <a:pt x="315" y="423"/>
                    </a:lnTo>
                    <a:lnTo>
                      <a:pt x="314" y="423"/>
                    </a:lnTo>
                    <a:lnTo>
                      <a:pt x="305" y="430"/>
                    </a:lnTo>
                    <a:lnTo>
                      <a:pt x="304" y="433"/>
                    </a:lnTo>
                    <a:lnTo>
                      <a:pt x="304" y="441"/>
                    </a:lnTo>
                    <a:lnTo>
                      <a:pt x="307" y="451"/>
                    </a:lnTo>
                    <a:lnTo>
                      <a:pt x="304" y="456"/>
                    </a:lnTo>
                    <a:lnTo>
                      <a:pt x="304" y="461"/>
                    </a:lnTo>
                    <a:lnTo>
                      <a:pt x="304" y="480"/>
                    </a:lnTo>
                    <a:lnTo>
                      <a:pt x="310" y="481"/>
                    </a:lnTo>
                    <a:lnTo>
                      <a:pt x="312" y="491"/>
                    </a:lnTo>
                    <a:lnTo>
                      <a:pt x="305" y="506"/>
                    </a:lnTo>
                    <a:lnTo>
                      <a:pt x="300" y="516"/>
                    </a:lnTo>
                    <a:lnTo>
                      <a:pt x="300" y="524"/>
                    </a:lnTo>
                    <a:lnTo>
                      <a:pt x="302" y="528"/>
                    </a:lnTo>
                    <a:lnTo>
                      <a:pt x="304" y="546"/>
                    </a:lnTo>
                    <a:lnTo>
                      <a:pt x="304" y="551"/>
                    </a:lnTo>
                    <a:lnTo>
                      <a:pt x="299" y="553"/>
                    </a:lnTo>
                    <a:lnTo>
                      <a:pt x="297" y="551"/>
                    </a:lnTo>
                    <a:lnTo>
                      <a:pt x="290" y="553"/>
                    </a:lnTo>
                    <a:lnTo>
                      <a:pt x="287" y="558"/>
                    </a:lnTo>
                    <a:lnTo>
                      <a:pt x="289" y="559"/>
                    </a:lnTo>
                    <a:lnTo>
                      <a:pt x="282" y="566"/>
                    </a:lnTo>
                    <a:lnTo>
                      <a:pt x="280" y="569"/>
                    </a:lnTo>
                    <a:lnTo>
                      <a:pt x="280" y="571"/>
                    </a:lnTo>
                    <a:lnTo>
                      <a:pt x="289" y="574"/>
                    </a:lnTo>
                    <a:lnTo>
                      <a:pt x="290" y="576"/>
                    </a:lnTo>
                    <a:lnTo>
                      <a:pt x="290" y="578"/>
                    </a:lnTo>
                    <a:lnTo>
                      <a:pt x="289" y="576"/>
                    </a:lnTo>
                    <a:lnTo>
                      <a:pt x="285" y="574"/>
                    </a:lnTo>
                    <a:lnTo>
                      <a:pt x="275" y="578"/>
                    </a:lnTo>
                    <a:lnTo>
                      <a:pt x="274" y="578"/>
                    </a:lnTo>
                    <a:lnTo>
                      <a:pt x="265" y="581"/>
                    </a:lnTo>
                    <a:lnTo>
                      <a:pt x="262" y="584"/>
                    </a:lnTo>
                    <a:lnTo>
                      <a:pt x="262" y="588"/>
                    </a:lnTo>
                    <a:lnTo>
                      <a:pt x="260" y="588"/>
                    </a:lnTo>
                    <a:lnTo>
                      <a:pt x="262" y="589"/>
                    </a:lnTo>
                    <a:lnTo>
                      <a:pt x="259" y="596"/>
                    </a:lnTo>
                    <a:lnTo>
                      <a:pt x="251" y="601"/>
                    </a:lnTo>
                    <a:lnTo>
                      <a:pt x="242" y="601"/>
                    </a:lnTo>
                    <a:lnTo>
                      <a:pt x="236" y="596"/>
                    </a:lnTo>
                    <a:lnTo>
                      <a:pt x="227" y="588"/>
                    </a:lnTo>
                    <a:lnTo>
                      <a:pt x="219" y="573"/>
                    </a:lnTo>
                    <a:lnTo>
                      <a:pt x="219" y="563"/>
                    </a:lnTo>
                    <a:lnTo>
                      <a:pt x="216" y="554"/>
                    </a:lnTo>
                    <a:lnTo>
                      <a:pt x="211" y="546"/>
                    </a:lnTo>
                    <a:lnTo>
                      <a:pt x="211" y="541"/>
                    </a:lnTo>
                    <a:lnTo>
                      <a:pt x="209" y="541"/>
                    </a:lnTo>
                    <a:lnTo>
                      <a:pt x="206" y="534"/>
                    </a:lnTo>
                    <a:lnTo>
                      <a:pt x="204" y="528"/>
                    </a:lnTo>
                    <a:lnTo>
                      <a:pt x="197" y="519"/>
                    </a:lnTo>
                    <a:lnTo>
                      <a:pt x="192" y="514"/>
                    </a:lnTo>
                    <a:lnTo>
                      <a:pt x="191" y="514"/>
                    </a:lnTo>
                    <a:lnTo>
                      <a:pt x="184" y="508"/>
                    </a:lnTo>
                    <a:lnTo>
                      <a:pt x="181" y="501"/>
                    </a:lnTo>
                    <a:lnTo>
                      <a:pt x="179" y="499"/>
                    </a:lnTo>
                    <a:lnTo>
                      <a:pt x="177" y="491"/>
                    </a:lnTo>
                    <a:lnTo>
                      <a:pt x="176" y="488"/>
                    </a:lnTo>
                    <a:lnTo>
                      <a:pt x="171" y="478"/>
                    </a:lnTo>
                    <a:lnTo>
                      <a:pt x="169" y="470"/>
                    </a:lnTo>
                    <a:lnTo>
                      <a:pt x="167" y="466"/>
                    </a:lnTo>
                    <a:lnTo>
                      <a:pt x="164" y="461"/>
                    </a:lnTo>
                    <a:lnTo>
                      <a:pt x="164" y="455"/>
                    </a:lnTo>
                    <a:lnTo>
                      <a:pt x="162" y="455"/>
                    </a:lnTo>
                    <a:lnTo>
                      <a:pt x="156" y="448"/>
                    </a:lnTo>
                    <a:lnTo>
                      <a:pt x="156" y="445"/>
                    </a:lnTo>
                    <a:lnTo>
                      <a:pt x="154" y="445"/>
                    </a:lnTo>
                    <a:lnTo>
                      <a:pt x="149" y="435"/>
                    </a:lnTo>
                    <a:lnTo>
                      <a:pt x="149" y="433"/>
                    </a:lnTo>
                    <a:lnTo>
                      <a:pt x="146" y="431"/>
                    </a:lnTo>
                    <a:lnTo>
                      <a:pt x="144" y="425"/>
                    </a:lnTo>
                    <a:lnTo>
                      <a:pt x="141" y="421"/>
                    </a:lnTo>
                    <a:lnTo>
                      <a:pt x="136" y="413"/>
                    </a:lnTo>
                    <a:lnTo>
                      <a:pt x="136" y="400"/>
                    </a:lnTo>
                    <a:lnTo>
                      <a:pt x="126" y="382"/>
                    </a:lnTo>
                    <a:lnTo>
                      <a:pt x="126" y="377"/>
                    </a:lnTo>
                    <a:lnTo>
                      <a:pt x="121" y="370"/>
                    </a:lnTo>
                    <a:lnTo>
                      <a:pt x="126" y="370"/>
                    </a:lnTo>
                    <a:lnTo>
                      <a:pt x="119" y="362"/>
                    </a:lnTo>
                    <a:lnTo>
                      <a:pt x="119" y="357"/>
                    </a:lnTo>
                    <a:lnTo>
                      <a:pt x="123" y="357"/>
                    </a:lnTo>
                    <a:lnTo>
                      <a:pt x="121" y="353"/>
                    </a:lnTo>
                    <a:lnTo>
                      <a:pt x="119" y="348"/>
                    </a:lnTo>
                    <a:lnTo>
                      <a:pt x="113" y="337"/>
                    </a:lnTo>
                    <a:lnTo>
                      <a:pt x="111" y="330"/>
                    </a:lnTo>
                    <a:lnTo>
                      <a:pt x="116" y="328"/>
                    </a:lnTo>
                    <a:lnTo>
                      <a:pt x="113" y="325"/>
                    </a:lnTo>
                    <a:lnTo>
                      <a:pt x="113" y="322"/>
                    </a:lnTo>
                    <a:lnTo>
                      <a:pt x="114" y="317"/>
                    </a:lnTo>
                    <a:lnTo>
                      <a:pt x="114" y="310"/>
                    </a:lnTo>
                    <a:lnTo>
                      <a:pt x="111" y="303"/>
                    </a:lnTo>
                    <a:lnTo>
                      <a:pt x="109" y="302"/>
                    </a:lnTo>
                    <a:lnTo>
                      <a:pt x="106" y="292"/>
                    </a:lnTo>
                    <a:lnTo>
                      <a:pt x="113" y="290"/>
                    </a:lnTo>
                    <a:lnTo>
                      <a:pt x="114" y="287"/>
                    </a:lnTo>
                    <a:lnTo>
                      <a:pt x="118" y="287"/>
                    </a:lnTo>
                    <a:lnTo>
                      <a:pt x="114" y="287"/>
                    </a:lnTo>
                    <a:lnTo>
                      <a:pt x="108" y="287"/>
                    </a:lnTo>
                    <a:lnTo>
                      <a:pt x="104" y="287"/>
                    </a:lnTo>
                    <a:lnTo>
                      <a:pt x="106" y="282"/>
                    </a:lnTo>
                    <a:lnTo>
                      <a:pt x="103" y="279"/>
                    </a:lnTo>
                    <a:lnTo>
                      <a:pt x="104" y="275"/>
                    </a:lnTo>
                    <a:lnTo>
                      <a:pt x="106" y="274"/>
                    </a:lnTo>
                    <a:lnTo>
                      <a:pt x="108" y="274"/>
                    </a:lnTo>
                    <a:lnTo>
                      <a:pt x="113" y="270"/>
                    </a:lnTo>
                    <a:lnTo>
                      <a:pt x="114" y="269"/>
                    </a:lnTo>
                    <a:lnTo>
                      <a:pt x="109" y="270"/>
                    </a:lnTo>
                    <a:lnTo>
                      <a:pt x="108" y="269"/>
                    </a:lnTo>
                    <a:lnTo>
                      <a:pt x="101" y="270"/>
                    </a:lnTo>
                    <a:lnTo>
                      <a:pt x="99" y="267"/>
                    </a:lnTo>
                    <a:lnTo>
                      <a:pt x="99" y="269"/>
                    </a:lnTo>
                    <a:lnTo>
                      <a:pt x="99" y="274"/>
                    </a:lnTo>
                    <a:lnTo>
                      <a:pt x="94" y="282"/>
                    </a:lnTo>
                    <a:lnTo>
                      <a:pt x="99" y="285"/>
                    </a:lnTo>
                    <a:lnTo>
                      <a:pt x="98" y="294"/>
                    </a:lnTo>
                    <a:lnTo>
                      <a:pt x="94" y="297"/>
                    </a:lnTo>
                    <a:lnTo>
                      <a:pt x="94" y="300"/>
                    </a:lnTo>
                    <a:lnTo>
                      <a:pt x="86" y="303"/>
                    </a:lnTo>
                    <a:lnTo>
                      <a:pt x="73" y="310"/>
                    </a:lnTo>
                    <a:lnTo>
                      <a:pt x="68" y="312"/>
                    </a:lnTo>
                    <a:lnTo>
                      <a:pt x="58" y="310"/>
                    </a:lnTo>
                    <a:lnTo>
                      <a:pt x="40" y="297"/>
                    </a:lnTo>
                    <a:lnTo>
                      <a:pt x="33" y="287"/>
                    </a:lnTo>
                    <a:lnTo>
                      <a:pt x="33" y="287"/>
                    </a:lnTo>
                    <a:lnTo>
                      <a:pt x="30" y="287"/>
                    </a:lnTo>
                    <a:lnTo>
                      <a:pt x="26" y="285"/>
                    </a:lnTo>
                    <a:lnTo>
                      <a:pt x="16" y="275"/>
                    </a:lnTo>
                    <a:lnTo>
                      <a:pt x="15" y="272"/>
                    </a:lnTo>
                    <a:lnTo>
                      <a:pt x="16" y="270"/>
                    </a:lnTo>
                    <a:lnTo>
                      <a:pt x="20" y="269"/>
                    </a:lnTo>
                    <a:lnTo>
                      <a:pt x="20" y="270"/>
                    </a:lnTo>
                    <a:lnTo>
                      <a:pt x="23" y="270"/>
                    </a:lnTo>
                    <a:lnTo>
                      <a:pt x="23" y="275"/>
                    </a:lnTo>
                    <a:lnTo>
                      <a:pt x="26" y="275"/>
                    </a:lnTo>
                    <a:lnTo>
                      <a:pt x="30" y="274"/>
                    </a:lnTo>
                    <a:lnTo>
                      <a:pt x="31" y="274"/>
                    </a:lnTo>
                    <a:lnTo>
                      <a:pt x="33" y="275"/>
                    </a:lnTo>
                    <a:lnTo>
                      <a:pt x="35" y="272"/>
                    </a:lnTo>
                    <a:lnTo>
                      <a:pt x="45" y="265"/>
                    </a:lnTo>
                    <a:lnTo>
                      <a:pt x="48" y="265"/>
                    </a:lnTo>
                    <a:lnTo>
                      <a:pt x="51" y="259"/>
                    </a:lnTo>
                    <a:lnTo>
                      <a:pt x="53" y="259"/>
                    </a:lnTo>
                    <a:lnTo>
                      <a:pt x="54" y="255"/>
                    </a:lnTo>
                    <a:lnTo>
                      <a:pt x="50" y="255"/>
                    </a:lnTo>
                    <a:lnTo>
                      <a:pt x="50" y="254"/>
                    </a:lnTo>
                    <a:lnTo>
                      <a:pt x="50" y="255"/>
                    </a:lnTo>
                    <a:lnTo>
                      <a:pt x="50" y="257"/>
                    </a:lnTo>
                    <a:lnTo>
                      <a:pt x="40" y="262"/>
                    </a:lnTo>
                    <a:lnTo>
                      <a:pt x="33" y="262"/>
                    </a:lnTo>
                    <a:lnTo>
                      <a:pt x="28" y="262"/>
                    </a:lnTo>
                    <a:lnTo>
                      <a:pt x="13" y="257"/>
                    </a:lnTo>
                    <a:lnTo>
                      <a:pt x="5" y="250"/>
                    </a:lnTo>
                    <a:lnTo>
                      <a:pt x="1" y="249"/>
                    </a:lnTo>
                    <a:lnTo>
                      <a:pt x="3" y="245"/>
                    </a:lnTo>
                    <a:lnTo>
                      <a:pt x="8" y="239"/>
                    </a:lnTo>
                    <a:lnTo>
                      <a:pt x="13" y="237"/>
                    </a:lnTo>
                    <a:lnTo>
                      <a:pt x="6" y="237"/>
                    </a:lnTo>
                    <a:lnTo>
                      <a:pt x="0" y="242"/>
                    </a:lnTo>
                    <a:lnTo>
                      <a:pt x="0" y="235"/>
                    </a:lnTo>
                    <a:lnTo>
                      <a:pt x="5" y="232"/>
                    </a:lnTo>
                    <a:lnTo>
                      <a:pt x="8" y="232"/>
                    </a:lnTo>
                    <a:lnTo>
                      <a:pt x="10" y="227"/>
                    </a:lnTo>
                    <a:lnTo>
                      <a:pt x="13" y="227"/>
                    </a:lnTo>
                    <a:lnTo>
                      <a:pt x="18" y="225"/>
                    </a:lnTo>
                    <a:lnTo>
                      <a:pt x="35" y="225"/>
                    </a:lnTo>
                    <a:lnTo>
                      <a:pt x="43" y="224"/>
                    </a:lnTo>
                    <a:lnTo>
                      <a:pt x="46" y="220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51" y="225"/>
                    </a:lnTo>
                    <a:lnTo>
                      <a:pt x="56" y="222"/>
                    </a:lnTo>
                    <a:lnTo>
                      <a:pt x="61" y="220"/>
                    </a:lnTo>
                    <a:lnTo>
                      <a:pt x="59" y="219"/>
                    </a:lnTo>
                    <a:lnTo>
                      <a:pt x="59" y="215"/>
                    </a:lnTo>
                    <a:lnTo>
                      <a:pt x="54" y="202"/>
                    </a:lnTo>
                    <a:lnTo>
                      <a:pt x="50" y="196"/>
                    </a:lnTo>
                    <a:lnTo>
                      <a:pt x="51" y="192"/>
                    </a:lnTo>
                    <a:lnTo>
                      <a:pt x="48" y="191"/>
                    </a:lnTo>
                    <a:lnTo>
                      <a:pt x="43" y="191"/>
                    </a:lnTo>
                    <a:lnTo>
                      <a:pt x="36" y="186"/>
                    </a:lnTo>
                    <a:lnTo>
                      <a:pt x="35" y="179"/>
                    </a:lnTo>
                    <a:lnTo>
                      <a:pt x="35" y="172"/>
                    </a:lnTo>
                    <a:lnTo>
                      <a:pt x="31" y="166"/>
                    </a:lnTo>
                    <a:lnTo>
                      <a:pt x="26" y="166"/>
                    </a:lnTo>
                    <a:lnTo>
                      <a:pt x="25" y="167"/>
                    </a:lnTo>
                    <a:lnTo>
                      <a:pt x="18" y="166"/>
                    </a:lnTo>
                    <a:lnTo>
                      <a:pt x="15" y="166"/>
                    </a:lnTo>
                    <a:lnTo>
                      <a:pt x="15" y="161"/>
                    </a:lnTo>
                    <a:lnTo>
                      <a:pt x="18" y="151"/>
                    </a:lnTo>
                    <a:lnTo>
                      <a:pt x="21" y="151"/>
                    </a:lnTo>
                    <a:lnTo>
                      <a:pt x="28" y="142"/>
                    </a:lnTo>
                    <a:lnTo>
                      <a:pt x="30" y="137"/>
                    </a:lnTo>
                    <a:lnTo>
                      <a:pt x="35" y="136"/>
                    </a:lnTo>
                    <a:lnTo>
                      <a:pt x="36" y="134"/>
                    </a:lnTo>
                    <a:lnTo>
                      <a:pt x="43" y="136"/>
                    </a:lnTo>
                    <a:lnTo>
                      <a:pt x="43" y="141"/>
                    </a:lnTo>
                    <a:lnTo>
                      <a:pt x="46" y="141"/>
                    </a:lnTo>
                    <a:lnTo>
                      <a:pt x="56" y="136"/>
                    </a:lnTo>
                    <a:lnTo>
                      <a:pt x="68" y="136"/>
                    </a:lnTo>
                    <a:lnTo>
                      <a:pt x="76" y="127"/>
                    </a:lnTo>
                    <a:lnTo>
                      <a:pt x="81" y="116"/>
                    </a:lnTo>
                    <a:lnTo>
                      <a:pt x="93" y="107"/>
                    </a:lnTo>
                    <a:lnTo>
                      <a:pt x="94" y="104"/>
                    </a:lnTo>
                    <a:lnTo>
                      <a:pt x="96" y="96"/>
                    </a:lnTo>
                    <a:lnTo>
                      <a:pt x="101" y="89"/>
                    </a:lnTo>
                    <a:lnTo>
                      <a:pt x="109" y="86"/>
                    </a:lnTo>
                    <a:lnTo>
                      <a:pt x="113" y="81"/>
                    </a:lnTo>
                    <a:lnTo>
                      <a:pt x="111" y="76"/>
                    </a:lnTo>
                    <a:lnTo>
                      <a:pt x="109" y="74"/>
                    </a:lnTo>
                    <a:lnTo>
                      <a:pt x="116" y="68"/>
                    </a:lnTo>
                    <a:lnTo>
                      <a:pt x="119" y="64"/>
                    </a:lnTo>
                    <a:lnTo>
                      <a:pt x="119" y="59"/>
                    </a:lnTo>
                    <a:lnTo>
                      <a:pt x="121" y="48"/>
                    </a:lnTo>
                    <a:lnTo>
                      <a:pt x="119" y="41"/>
                    </a:lnTo>
                    <a:lnTo>
                      <a:pt x="118" y="38"/>
                    </a:lnTo>
                    <a:lnTo>
                      <a:pt x="126" y="33"/>
                    </a:lnTo>
                    <a:lnTo>
                      <a:pt x="129" y="31"/>
                    </a:lnTo>
                    <a:lnTo>
                      <a:pt x="134" y="28"/>
                    </a:lnTo>
                    <a:lnTo>
                      <a:pt x="138" y="28"/>
                    </a:lnTo>
                    <a:lnTo>
                      <a:pt x="144" y="23"/>
                    </a:lnTo>
                    <a:lnTo>
                      <a:pt x="151" y="11"/>
                    </a:lnTo>
                    <a:lnTo>
                      <a:pt x="157" y="6"/>
                    </a:lnTo>
                    <a:lnTo>
                      <a:pt x="164" y="5"/>
                    </a:lnTo>
                    <a:lnTo>
                      <a:pt x="167" y="0"/>
                    </a:lnTo>
                    <a:lnTo>
                      <a:pt x="172" y="0"/>
                    </a:lnTo>
                    <a:lnTo>
                      <a:pt x="186" y="8"/>
                    </a:lnTo>
                    <a:lnTo>
                      <a:pt x="192" y="5"/>
                    </a:lnTo>
                    <a:lnTo>
                      <a:pt x="199" y="6"/>
                    </a:lnTo>
                    <a:lnTo>
                      <a:pt x="201" y="13"/>
                    </a:lnTo>
                    <a:lnTo>
                      <a:pt x="207" y="13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close/>
                    <a:moveTo>
                      <a:pt x="493" y="284"/>
                    </a:moveTo>
                    <a:lnTo>
                      <a:pt x="493" y="289"/>
                    </a:lnTo>
                    <a:lnTo>
                      <a:pt x="495" y="287"/>
                    </a:lnTo>
                    <a:lnTo>
                      <a:pt x="493" y="284"/>
                    </a:lnTo>
                    <a:lnTo>
                      <a:pt x="493" y="284"/>
                    </a:lnTo>
                    <a:close/>
                    <a:moveTo>
                      <a:pt x="490" y="282"/>
                    </a:moveTo>
                    <a:lnTo>
                      <a:pt x="486" y="284"/>
                    </a:lnTo>
                    <a:lnTo>
                      <a:pt x="488" y="287"/>
                    </a:lnTo>
                    <a:lnTo>
                      <a:pt x="490" y="287"/>
                    </a:lnTo>
                    <a:lnTo>
                      <a:pt x="490" y="285"/>
                    </a:lnTo>
                    <a:lnTo>
                      <a:pt x="490" y="282"/>
                    </a:lnTo>
                    <a:lnTo>
                      <a:pt x="490" y="282"/>
                    </a:lnTo>
                    <a:close/>
                    <a:moveTo>
                      <a:pt x="483" y="284"/>
                    </a:moveTo>
                    <a:lnTo>
                      <a:pt x="483" y="287"/>
                    </a:lnTo>
                    <a:lnTo>
                      <a:pt x="486" y="290"/>
                    </a:lnTo>
                    <a:lnTo>
                      <a:pt x="486" y="285"/>
                    </a:lnTo>
                    <a:lnTo>
                      <a:pt x="483" y="284"/>
                    </a:lnTo>
                    <a:lnTo>
                      <a:pt x="483" y="284"/>
                    </a:lnTo>
                    <a:close/>
                    <a:moveTo>
                      <a:pt x="476" y="285"/>
                    </a:moveTo>
                    <a:lnTo>
                      <a:pt x="476" y="287"/>
                    </a:lnTo>
                    <a:lnTo>
                      <a:pt x="478" y="287"/>
                    </a:lnTo>
                    <a:lnTo>
                      <a:pt x="481" y="280"/>
                    </a:lnTo>
                    <a:lnTo>
                      <a:pt x="480" y="279"/>
                    </a:lnTo>
                    <a:lnTo>
                      <a:pt x="476" y="2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9" name="Freeform 26"/>
              <p:cNvSpPr>
                <a:spLocks noEditPoints="1"/>
              </p:cNvSpPr>
              <p:nvPr/>
            </p:nvSpPr>
            <p:spPr bwMode="auto">
              <a:xfrm>
                <a:off x="7543056" y="2949099"/>
                <a:ext cx="66355" cy="75744"/>
              </a:xfrm>
              <a:custGeom>
                <a:avLst/>
                <a:gdLst/>
                <a:ahLst/>
                <a:cxnLst>
                  <a:cxn ang="0">
                    <a:pos x="121" y="129"/>
                  </a:cxn>
                  <a:cxn ang="0">
                    <a:pos x="113" y="138"/>
                  </a:cxn>
                  <a:cxn ang="0">
                    <a:pos x="115" y="144"/>
                  </a:cxn>
                  <a:cxn ang="0">
                    <a:pos x="106" y="133"/>
                  </a:cxn>
                  <a:cxn ang="0">
                    <a:pos x="105" y="124"/>
                  </a:cxn>
                  <a:cxn ang="0">
                    <a:pos x="100" y="126"/>
                  </a:cxn>
                  <a:cxn ang="0">
                    <a:pos x="101" y="114"/>
                  </a:cxn>
                  <a:cxn ang="0">
                    <a:pos x="91" y="94"/>
                  </a:cxn>
                  <a:cxn ang="0">
                    <a:pos x="86" y="94"/>
                  </a:cxn>
                  <a:cxn ang="0">
                    <a:pos x="73" y="93"/>
                  </a:cxn>
                  <a:cxn ang="0">
                    <a:pos x="65" y="83"/>
                  </a:cxn>
                  <a:cxn ang="0">
                    <a:pos x="68" y="96"/>
                  </a:cxn>
                  <a:cxn ang="0">
                    <a:pos x="68" y="104"/>
                  </a:cxn>
                  <a:cxn ang="0">
                    <a:pos x="60" y="118"/>
                  </a:cxn>
                  <a:cxn ang="0">
                    <a:pos x="60" y="111"/>
                  </a:cxn>
                  <a:cxn ang="0">
                    <a:pos x="55" y="116"/>
                  </a:cxn>
                  <a:cxn ang="0">
                    <a:pos x="55" y="103"/>
                  </a:cxn>
                  <a:cxn ang="0">
                    <a:pos x="52" y="106"/>
                  </a:cxn>
                  <a:cxn ang="0">
                    <a:pos x="53" y="114"/>
                  </a:cxn>
                  <a:cxn ang="0">
                    <a:pos x="50" y="119"/>
                  </a:cxn>
                  <a:cxn ang="0">
                    <a:pos x="43" y="121"/>
                  </a:cxn>
                  <a:cxn ang="0">
                    <a:pos x="37" y="116"/>
                  </a:cxn>
                  <a:cxn ang="0">
                    <a:pos x="33" y="106"/>
                  </a:cxn>
                  <a:cxn ang="0">
                    <a:pos x="25" y="84"/>
                  </a:cxn>
                  <a:cxn ang="0">
                    <a:pos x="23" y="68"/>
                  </a:cxn>
                  <a:cxn ang="0">
                    <a:pos x="5" y="53"/>
                  </a:cxn>
                  <a:cxn ang="0">
                    <a:pos x="12" y="36"/>
                  </a:cxn>
                  <a:cxn ang="0">
                    <a:pos x="22" y="35"/>
                  </a:cxn>
                  <a:cxn ang="0">
                    <a:pos x="15" y="25"/>
                  </a:cxn>
                  <a:cxn ang="0">
                    <a:pos x="0" y="18"/>
                  </a:cxn>
                  <a:cxn ang="0">
                    <a:pos x="5" y="5"/>
                  </a:cxn>
                  <a:cxn ang="0">
                    <a:pos x="8" y="0"/>
                  </a:cxn>
                  <a:cxn ang="0">
                    <a:pos x="13" y="8"/>
                  </a:cxn>
                  <a:cxn ang="0">
                    <a:pos x="23" y="11"/>
                  </a:cxn>
                  <a:cxn ang="0">
                    <a:pos x="23" y="6"/>
                  </a:cxn>
                  <a:cxn ang="0">
                    <a:pos x="35" y="13"/>
                  </a:cxn>
                  <a:cxn ang="0">
                    <a:pos x="40" y="16"/>
                  </a:cxn>
                  <a:cxn ang="0">
                    <a:pos x="43" y="28"/>
                  </a:cxn>
                  <a:cxn ang="0">
                    <a:pos x="53" y="33"/>
                  </a:cxn>
                  <a:cxn ang="0">
                    <a:pos x="73" y="35"/>
                  </a:cxn>
                  <a:cxn ang="0">
                    <a:pos x="93" y="35"/>
                  </a:cxn>
                  <a:cxn ang="0">
                    <a:pos x="103" y="40"/>
                  </a:cxn>
                  <a:cxn ang="0">
                    <a:pos x="101" y="49"/>
                  </a:cxn>
                  <a:cxn ang="0">
                    <a:pos x="95" y="61"/>
                  </a:cxn>
                  <a:cxn ang="0">
                    <a:pos x="88" y="61"/>
                  </a:cxn>
                  <a:cxn ang="0">
                    <a:pos x="81" y="69"/>
                  </a:cxn>
                  <a:cxn ang="0">
                    <a:pos x="86" y="79"/>
                  </a:cxn>
                  <a:cxn ang="0">
                    <a:pos x="95" y="89"/>
                  </a:cxn>
                  <a:cxn ang="0">
                    <a:pos x="96" y="84"/>
                  </a:cxn>
                  <a:cxn ang="0">
                    <a:pos x="100" y="78"/>
                  </a:cxn>
                  <a:cxn ang="0">
                    <a:pos x="105" y="76"/>
                  </a:cxn>
                  <a:cxn ang="0">
                    <a:pos x="111" y="81"/>
                  </a:cxn>
                  <a:cxn ang="0">
                    <a:pos x="115" y="94"/>
                  </a:cxn>
                  <a:cxn ang="0">
                    <a:pos x="120" y="113"/>
                  </a:cxn>
                  <a:cxn ang="0">
                    <a:pos x="123" y="118"/>
                  </a:cxn>
                  <a:cxn ang="0">
                    <a:pos x="90" y="101"/>
                  </a:cxn>
                  <a:cxn ang="0">
                    <a:pos x="88" y="106"/>
                  </a:cxn>
                  <a:cxn ang="0">
                    <a:pos x="90" y="101"/>
                  </a:cxn>
                  <a:cxn ang="0">
                    <a:pos x="80" y="108"/>
                  </a:cxn>
                  <a:cxn ang="0">
                    <a:pos x="83" y="103"/>
                  </a:cxn>
                  <a:cxn ang="0">
                    <a:pos x="78" y="99"/>
                  </a:cxn>
                  <a:cxn ang="0">
                    <a:pos x="68" y="99"/>
                  </a:cxn>
                  <a:cxn ang="0">
                    <a:pos x="77" y="108"/>
                  </a:cxn>
                </a:cxnLst>
                <a:rect l="0" t="0" r="r" b="b"/>
                <a:pathLst>
                  <a:path w="123" h="146">
                    <a:moveTo>
                      <a:pt x="123" y="119"/>
                    </a:moveTo>
                    <a:lnTo>
                      <a:pt x="123" y="124"/>
                    </a:lnTo>
                    <a:lnTo>
                      <a:pt x="121" y="129"/>
                    </a:lnTo>
                    <a:lnTo>
                      <a:pt x="118" y="128"/>
                    </a:lnTo>
                    <a:lnTo>
                      <a:pt x="115" y="134"/>
                    </a:lnTo>
                    <a:lnTo>
                      <a:pt x="113" y="138"/>
                    </a:lnTo>
                    <a:lnTo>
                      <a:pt x="113" y="139"/>
                    </a:lnTo>
                    <a:lnTo>
                      <a:pt x="113" y="139"/>
                    </a:lnTo>
                    <a:lnTo>
                      <a:pt x="115" y="144"/>
                    </a:lnTo>
                    <a:lnTo>
                      <a:pt x="113" y="146"/>
                    </a:lnTo>
                    <a:lnTo>
                      <a:pt x="110" y="138"/>
                    </a:lnTo>
                    <a:lnTo>
                      <a:pt x="106" y="133"/>
                    </a:lnTo>
                    <a:lnTo>
                      <a:pt x="103" y="129"/>
                    </a:lnTo>
                    <a:lnTo>
                      <a:pt x="105" y="128"/>
                    </a:lnTo>
                    <a:lnTo>
                      <a:pt x="105" y="124"/>
                    </a:lnTo>
                    <a:lnTo>
                      <a:pt x="105" y="126"/>
                    </a:lnTo>
                    <a:lnTo>
                      <a:pt x="101" y="128"/>
                    </a:lnTo>
                    <a:lnTo>
                      <a:pt x="100" y="126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1" y="114"/>
                    </a:lnTo>
                    <a:lnTo>
                      <a:pt x="101" y="111"/>
                    </a:lnTo>
                    <a:lnTo>
                      <a:pt x="98" y="109"/>
                    </a:lnTo>
                    <a:lnTo>
                      <a:pt x="91" y="94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6" y="94"/>
                    </a:lnTo>
                    <a:lnTo>
                      <a:pt x="83" y="98"/>
                    </a:lnTo>
                    <a:lnTo>
                      <a:pt x="75" y="93"/>
                    </a:lnTo>
                    <a:lnTo>
                      <a:pt x="73" y="93"/>
                    </a:lnTo>
                    <a:lnTo>
                      <a:pt x="70" y="93"/>
                    </a:lnTo>
                    <a:lnTo>
                      <a:pt x="67" y="88"/>
                    </a:lnTo>
                    <a:lnTo>
                      <a:pt x="65" y="83"/>
                    </a:lnTo>
                    <a:lnTo>
                      <a:pt x="65" y="89"/>
                    </a:lnTo>
                    <a:lnTo>
                      <a:pt x="68" y="94"/>
                    </a:lnTo>
                    <a:lnTo>
                      <a:pt x="68" y="96"/>
                    </a:lnTo>
                    <a:lnTo>
                      <a:pt x="63" y="98"/>
                    </a:lnTo>
                    <a:lnTo>
                      <a:pt x="67" y="99"/>
                    </a:lnTo>
                    <a:lnTo>
                      <a:pt x="68" y="104"/>
                    </a:lnTo>
                    <a:lnTo>
                      <a:pt x="68" y="109"/>
                    </a:lnTo>
                    <a:lnTo>
                      <a:pt x="63" y="111"/>
                    </a:lnTo>
                    <a:lnTo>
                      <a:pt x="60" y="118"/>
                    </a:lnTo>
                    <a:lnTo>
                      <a:pt x="57" y="116"/>
                    </a:lnTo>
                    <a:lnTo>
                      <a:pt x="58" y="113"/>
                    </a:lnTo>
                    <a:lnTo>
                      <a:pt x="60" y="111"/>
                    </a:lnTo>
                    <a:lnTo>
                      <a:pt x="62" y="109"/>
                    </a:lnTo>
                    <a:lnTo>
                      <a:pt x="58" y="111"/>
                    </a:lnTo>
                    <a:lnTo>
                      <a:pt x="55" y="116"/>
                    </a:lnTo>
                    <a:lnTo>
                      <a:pt x="52" y="111"/>
                    </a:lnTo>
                    <a:lnTo>
                      <a:pt x="55" y="104"/>
                    </a:lnTo>
                    <a:lnTo>
                      <a:pt x="55" y="103"/>
                    </a:lnTo>
                    <a:lnTo>
                      <a:pt x="53" y="101"/>
                    </a:lnTo>
                    <a:lnTo>
                      <a:pt x="53" y="103"/>
                    </a:lnTo>
                    <a:lnTo>
                      <a:pt x="52" y="106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3" y="114"/>
                    </a:lnTo>
                    <a:lnTo>
                      <a:pt x="52" y="119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47" y="118"/>
                    </a:lnTo>
                    <a:lnTo>
                      <a:pt x="43" y="118"/>
                    </a:lnTo>
                    <a:lnTo>
                      <a:pt x="43" y="121"/>
                    </a:lnTo>
                    <a:lnTo>
                      <a:pt x="40" y="121"/>
                    </a:lnTo>
                    <a:lnTo>
                      <a:pt x="40" y="119"/>
                    </a:lnTo>
                    <a:lnTo>
                      <a:pt x="37" y="116"/>
                    </a:lnTo>
                    <a:lnTo>
                      <a:pt x="35" y="116"/>
                    </a:lnTo>
                    <a:lnTo>
                      <a:pt x="35" y="109"/>
                    </a:lnTo>
                    <a:lnTo>
                      <a:pt x="33" y="106"/>
                    </a:lnTo>
                    <a:lnTo>
                      <a:pt x="32" y="99"/>
                    </a:lnTo>
                    <a:lnTo>
                      <a:pt x="25" y="91"/>
                    </a:lnTo>
                    <a:lnTo>
                      <a:pt x="25" y="84"/>
                    </a:lnTo>
                    <a:lnTo>
                      <a:pt x="25" y="79"/>
                    </a:lnTo>
                    <a:lnTo>
                      <a:pt x="23" y="74"/>
                    </a:lnTo>
                    <a:lnTo>
                      <a:pt x="23" y="68"/>
                    </a:lnTo>
                    <a:lnTo>
                      <a:pt x="17" y="61"/>
                    </a:lnTo>
                    <a:lnTo>
                      <a:pt x="10" y="58"/>
                    </a:lnTo>
                    <a:lnTo>
                      <a:pt x="5" y="53"/>
                    </a:lnTo>
                    <a:lnTo>
                      <a:pt x="5" y="44"/>
                    </a:lnTo>
                    <a:lnTo>
                      <a:pt x="10" y="43"/>
                    </a:lnTo>
                    <a:lnTo>
                      <a:pt x="12" y="36"/>
                    </a:lnTo>
                    <a:lnTo>
                      <a:pt x="15" y="35"/>
                    </a:lnTo>
                    <a:lnTo>
                      <a:pt x="18" y="36"/>
                    </a:lnTo>
                    <a:lnTo>
                      <a:pt x="22" y="35"/>
                    </a:lnTo>
                    <a:lnTo>
                      <a:pt x="20" y="28"/>
                    </a:lnTo>
                    <a:lnTo>
                      <a:pt x="22" y="25"/>
                    </a:lnTo>
                    <a:lnTo>
                      <a:pt x="15" y="25"/>
                    </a:lnTo>
                    <a:lnTo>
                      <a:pt x="10" y="26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5" y="13"/>
                    </a:lnTo>
                    <a:lnTo>
                      <a:pt x="7" y="6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13" y="5"/>
                    </a:lnTo>
                    <a:lnTo>
                      <a:pt x="13" y="8"/>
                    </a:lnTo>
                    <a:lnTo>
                      <a:pt x="17" y="11"/>
                    </a:lnTo>
                    <a:lnTo>
                      <a:pt x="22" y="11"/>
                    </a:lnTo>
                    <a:lnTo>
                      <a:pt x="23" y="11"/>
                    </a:lnTo>
                    <a:lnTo>
                      <a:pt x="20" y="10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7" y="10"/>
                    </a:lnTo>
                    <a:lnTo>
                      <a:pt x="30" y="11"/>
                    </a:lnTo>
                    <a:lnTo>
                      <a:pt x="35" y="13"/>
                    </a:lnTo>
                    <a:lnTo>
                      <a:pt x="35" y="11"/>
                    </a:lnTo>
                    <a:lnTo>
                      <a:pt x="37" y="11"/>
                    </a:lnTo>
                    <a:lnTo>
                      <a:pt x="40" y="16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3" y="28"/>
                    </a:lnTo>
                    <a:lnTo>
                      <a:pt x="43" y="31"/>
                    </a:lnTo>
                    <a:lnTo>
                      <a:pt x="48" y="33"/>
                    </a:lnTo>
                    <a:lnTo>
                      <a:pt x="53" y="33"/>
                    </a:lnTo>
                    <a:lnTo>
                      <a:pt x="58" y="35"/>
                    </a:lnTo>
                    <a:lnTo>
                      <a:pt x="65" y="35"/>
                    </a:lnTo>
                    <a:lnTo>
                      <a:pt x="73" y="35"/>
                    </a:lnTo>
                    <a:lnTo>
                      <a:pt x="81" y="35"/>
                    </a:lnTo>
                    <a:lnTo>
                      <a:pt x="90" y="35"/>
                    </a:lnTo>
                    <a:lnTo>
                      <a:pt x="93" y="35"/>
                    </a:lnTo>
                    <a:lnTo>
                      <a:pt x="95" y="36"/>
                    </a:lnTo>
                    <a:lnTo>
                      <a:pt x="98" y="35"/>
                    </a:lnTo>
                    <a:lnTo>
                      <a:pt x="103" y="40"/>
                    </a:lnTo>
                    <a:lnTo>
                      <a:pt x="105" y="40"/>
                    </a:lnTo>
                    <a:lnTo>
                      <a:pt x="101" y="44"/>
                    </a:lnTo>
                    <a:lnTo>
                      <a:pt x="101" y="49"/>
                    </a:lnTo>
                    <a:lnTo>
                      <a:pt x="98" y="58"/>
                    </a:lnTo>
                    <a:lnTo>
                      <a:pt x="95" y="59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0" y="63"/>
                    </a:lnTo>
                    <a:lnTo>
                      <a:pt x="88" y="61"/>
                    </a:lnTo>
                    <a:lnTo>
                      <a:pt x="85" y="64"/>
                    </a:lnTo>
                    <a:lnTo>
                      <a:pt x="83" y="68"/>
                    </a:lnTo>
                    <a:lnTo>
                      <a:pt x="81" y="69"/>
                    </a:lnTo>
                    <a:lnTo>
                      <a:pt x="81" y="71"/>
                    </a:lnTo>
                    <a:lnTo>
                      <a:pt x="83" y="78"/>
                    </a:lnTo>
                    <a:lnTo>
                      <a:pt x="86" y="79"/>
                    </a:lnTo>
                    <a:lnTo>
                      <a:pt x="86" y="81"/>
                    </a:lnTo>
                    <a:lnTo>
                      <a:pt x="91" y="84"/>
                    </a:lnTo>
                    <a:lnTo>
                      <a:pt x="95" y="89"/>
                    </a:lnTo>
                    <a:lnTo>
                      <a:pt x="98" y="89"/>
                    </a:lnTo>
                    <a:lnTo>
                      <a:pt x="98" y="86"/>
                    </a:lnTo>
                    <a:lnTo>
                      <a:pt x="96" y="84"/>
                    </a:lnTo>
                    <a:lnTo>
                      <a:pt x="98" y="81"/>
                    </a:lnTo>
                    <a:lnTo>
                      <a:pt x="98" y="79"/>
                    </a:lnTo>
                    <a:lnTo>
                      <a:pt x="100" y="78"/>
                    </a:lnTo>
                    <a:lnTo>
                      <a:pt x="98" y="74"/>
                    </a:lnTo>
                    <a:lnTo>
                      <a:pt x="101" y="74"/>
                    </a:lnTo>
                    <a:lnTo>
                      <a:pt x="105" y="76"/>
                    </a:lnTo>
                    <a:lnTo>
                      <a:pt x="108" y="74"/>
                    </a:lnTo>
                    <a:lnTo>
                      <a:pt x="110" y="78"/>
                    </a:lnTo>
                    <a:lnTo>
                      <a:pt x="111" y="81"/>
                    </a:lnTo>
                    <a:lnTo>
                      <a:pt x="113" y="86"/>
                    </a:lnTo>
                    <a:lnTo>
                      <a:pt x="113" y="91"/>
                    </a:lnTo>
                    <a:lnTo>
                      <a:pt x="115" y="94"/>
                    </a:lnTo>
                    <a:lnTo>
                      <a:pt x="116" y="103"/>
                    </a:lnTo>
                    <a:lnTo>
                      <a:pt x="118" y="109"/>
                    </a:lnTo>
                    <a:lnTo>
                      <a:pt x="120" y="113"/>
                    </a:lnTo>
                    <a:lnTo>
                      <a:pt x="121" y="114"/>
                    </a:lnTo>
                    <a:lnTo>
                      <a:pt x="121" y="116"/>
                    </a:lnTo>
                    <a:lnTo>
                      <a:pt x="123" y="118"/>
                    </a:lnTo>
                    <a:lnTo>
                      <a:pt x="123" y="119"/>
                    </a:lnTo>
                    <a:lnTo>
                      <a:pt x="123" y="119"/>
                    </a:lnTo>
                    <a:close/>
                    <a:moveTo>
                      <a:pt x="90" y="101"/>
                    </a:moveTo>
                    <a:lnTo>
                      <a:pt x="88" y="99"/>
                    </a:lnTo>
                    <a:lnTo>
                      <a:pt x="86" y="101"/>
                    </a:lnTo>
                    <a:lnTo>
                      <a:pt x="88" y="106"/>
                    </a:lnTo>
                    <a:lnTo>
                      <a:pt x="90" y="104"/>
                    </a:lnTo>
                    <a:lnTo>
                      <a:pt x="90" y="101"/>
                    </a:lnTo>
                    <a:lnTo>
                      <a:pt x="90" y="101"/>
                    </a:lnTo>
                    <a:close/>
                    <a:moveTo>
                      <a:pt x="78" y="99"/>
                    </a:moveTo>
                    <a:lnTo>
                      <a:pt x="80" y="104"/>
                    </a:lnTo>
                    <a:lnTo>
                      <a:pt x="80" y="108"/>
                    </a:lnTo>
                    <a:lnTo>
                      <a:pt x="81" y="111"/>
                    </a:lnTo>
                    <a:lnTo>
                      <a:pt x="85" y="106"/>
                    </a:lnTo>
                    <a:lnTo>
                      <a:pt x="83" y="103"/>
                    </a:lnTo>
                    <a:lnTo>
                      <a:pt x="78" y="98"/>
                    </a:lnTo>
                    <a:lnTo>
                      <a:pt x="78" y="98"/>
                    </a:lnTo>
                    <a:lnTo>
                      <a:pt x="78" y="99"/>
                    </a:lnTo>
                    <a:lnTo>
                      <a:pt x="78" y="99"/>
                    </a:lnTo>
                    <a:close/>
                    <a:moveTo>
                      <a:pt x="73" y="98"/>
                    </a:moveTo>
                    <a:lnTo>
                      <a:pt x="68" y="99"/>
                    </a:lnTo>
                    <a:lnTo>
                      <a:pt x="68" y="101"/>
                    </a:lnTo>
                    <a:lnTo>
                      <a:pt x="72" y="108"/>
                    </a:lnTo>
                    <a:lnTo>
                      <a:pt x="77" y="108"/>
                    </a:lnTo>
                    <a:lnTo>
                      <a:pt x="77" y="101"/>
                    </a:lnTo>
                    <a:lnTo>
                      <a:pt x="73" y="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0" name="Freeform 27"/>
              <p:cNvSpPr>
                <a:spLocks/>
              </p:cNvSpPr>
              <p:nvPr/>
            </p:nvSpPr>
            <p:spPr bwMode="auto">
              <a:xfrm>
                <a:off x="7549478" y="2928348"/>
                <a:ext cx="39599" cy="20752"/>
              </a:xfrm>
              <a:custGeom>
                <a:avLst/>
                <a:gdLst/>
                <a:ahLst/>
                <a:cxnLst>
                  <a:cxn ang="0">
                    <a:pos x="1" y="20"/>
                  </a:cxn>
                  <a:cxn ang="0">
                    <a:pos x="6" y="16"/>
                  </a:cxn>
                  <a:cxn ang="0">
                    <a:pos x="11" y="8"/>
                  </a:cxn>
                  <a:cxn ang="0">
                    <a:pos x="23" y="1"/>
                  </a:cxn>
                  <a:cxn ang="0">
                    <a:pos x="31" y="0"/>
                  </a:cxn>
                  <a:cxn ang="0">
                    <a:pos x="33" y="3"/>
                  </a:cxn>
                  <a:cxn ang="0">
                    <a:pos x="45" y="5"/>
                  </a:cxn>
                  <a:cxn ang="0">
                    <a:pos x="50" y="6"/>
                  </a:cxn>
                  <a:cxn ang="0">
                    <a:pos x="56" y="5"/>
                  </a:cxn>
                  <a:cxn ang="0">
                    <a:pos x="63" y="5"/>
                  </a:cxn>
                  <a:cxn ang="0">
                    <a:pos x="66" y="10"/>
                  </a:cxn>
                  <a:cxn ang="0">
                    <a:pos x="68" y="10"/>
                  </a:cxn>
                  <a:cxn ang="0">
                    <a:pos x="66" y="15"/>
                  </a:cxn>
                  <a:cxn ang="0">
                    <a:pos x="66" y="20"/>
                  </a:cxn>
                  <a:cxn ang="0">
                    <a:pos x="74" y="21"/>
                  </a:cxn>
                  <a:cxn ang="0">
                    <a:pos x="74" y="28"/>
                  </a:cxn>
                  <a:cxn ang="0">
                    <a:pos x="74" y="31"/>
                  </a:cxn>
                  <a:cxn ang="0">
                    <a:pos x="65" y="35"/>
                  </a:cxn>
                  <a:cxn ang="0">
                    <a:pos x="58" y="35"/>
                  </a:cxn>
                  <a:cxn ang="0">
                    <a:pos x="50" y="36"/>
                  </a:cxn>
                  <a:cxn ang="0">
                    <a:pos x="45" y="35"/>
                  </a:cxn>
                  <a:cxn ang="0">
                    <a:pos x="38" y="35"/>
                  </a:cxn>
                  <a:cxn ang="0">
                    <a:pos x="33" y="40"/>
                  </a:cxn>
                  <a:cxn ang="0">
                    <a:pos x="26" y="40"/>
                  </a:cxn>
                  <a:cxn ang="0">
                    <a:pos x="15" y="35"/>
                  </a:cxn>
                  <a:cxn ang="0">
                    <a:pos x="11" y="36"/>
                  </a:cxn>
                  <a:cxn ang="0">
                    <a:pos x="3" y="35"/>
                  </a:cxn>
                  <a:cxn ang="0">
                    <a:pos x="0" y="28"/>
                  </a:cxn>
                  <a:cxn ang="0">
                    <a:pos x="1" y="25"/>
                  </a:cxn>
                  <a:cxn ang="0">
                    <a:pos x="1" y="20"/>
                  </a:cxn>
                </a:cxnLst>
                <a:rect l="0" t="0" r="r" b="b"/>
                <a:pathLst>
                  <a:path w="74" h="40">
                    <a:moveTo>
                      <a:pt x="1" y="20"/>
                    </a:moveTo>
                    <a:lnTo>
                      <a:pt x="6" y="16"/>
                    </a:lnTo>
                    <a:lnTo>
                      <a:pt x="11" y="8"/>
                    </a:lnTo>
                    <a:lnTo>
                      <a:pt x="23" y="1"/>
                    </a:lnTo>
                    <a:lnTo>
                      <a:pt x="31" y="0"/>
                    </a:lnTo>
                    <a:lnTo>
                      <a:pt x="33" y="3"/>
                    </a:lnTo>
                    <a:lnTo>
                      <a:pt x="45" y="5"/>
                    </a:lnTo>
                    <a:lnTo>
                      <a:pt x="50" y="6"/>
                    </a:lnTo>
                    <a:lnTo>
                      <a:pt x="56" y="5"/>
                    </a:lnTo>
                    <a:lnTo>
                      <a:pt x="63" y="5"/>
                    </a:lnTo>
                    <a:lnTo>
                      <a:pt x="66" y="10"/>
                    </a:lnTo>
                    <a:lnTo>
                      <a:pt x="68" y="10"/>
                    </a:lnTo>
                    <a:lnTo>
                      <a:pt x="66" y="15"/>
                    </a:lnTo>
                    <a:lnTo>
                      <a:pt x="66" y="20"/>
                    </a:lnTo>
                    <a:lnTo>
                      <a:pt x="74" y="21"/>
                    </a:lnTo>
                    <a:lnTo>
                      <a:pt x="74" y="28"/>
                    </a:lnTo>
                    <a:lnTo>
                      <a:pt x="74" y="31"/>
                    </a:lnTo>
                    <a:lnTo>
                      <a:pt x="65" y="35"/>
                    </a:lnTo>
                    <a:lnTo>
                      <a:pt x="58" y="35"/>
                    </a:lnTo>
                    <a:lnTo>
                      <a:pt x="50" y="36"/>
                    </a:lnTo>
                    <a:lnTo>
                      <a:pt x="45" y="35"/>
                    </a:lnTo>
                    <a:lnTo>
                      <a:pt x="38" y="35"/>
                    </a:lnTo>
                    <a:lnTo>
                      <a:pt x="33" y="40"/>
                    </a:lnTo>
                    <a:lnTo>
                      <a:pt x="26" y="40"/>
                    </a:lnTo>
                    <a:lnTo>
                      <a:pt x="15" y="35"/>
                    </a:lnTo>
                    <a:lnTo>
                      <a:pt x="11" y="36"/>
                    </a:lnTo>
                    <a:lnTo>
                      <a:pt x="3" y="35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1" name="Freeform 28"/>
              <p:cNvSpPr>
                <a:spLocks/>
              </p:cNvSpPr>
              <p:nvPr/>
            </p:nvSpPr>
            <p:spPr bwMode="auto">
              <a:xfrm>
                <a:off x="7434961" y="2902408"/>
                <a:ext cx="107025" cy="4980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9" y="7"/>
                  </a:cxn>
                  <a:cxn ang="0">
                    <a:pos x="27" y="7"/>
                  </a:cxn>
                  <a:cxn ang="0">
                    <a:pos x="35" y="3"/>
                  </a:cxn>
                  <a:cxn ang="0">
                    <a:pos x="47" y="8"/>
                  </a:cxn>
                  <a:cxn ang="0">
                    <a:pos x="57" y="12"/>
                  </a:cxn>
                  <a:cxn ang="0">
                    <a:pos x="69" y="18"/>
                  </a:cxn>
                  <a:cxn ang="0">
                    <a:pos x="77" y="23"/>
                  </a:cxn>
                  <a:cxn ang="0">
                    <a:pos x="82" y="32"/>
                  </a:cxn>
                  <a:cxn ang="0">
                    <a:pos x="85" y="25"/>
                  </a:cxn>
                  <a:cxn ang="0">
                    <a:pos x="90" y="25"/>
                  </a:cxn>
                  <a:cxn ang="0">
                    <a:pos x="100" y="27"/>
                  </a:cxn>
                  <a:cxn ang="0">
                    <a:pos x="107" y="38"/>
                  </a:cxn>
                  <a:cxn ang="0">
                    <a:pos x="120" y="36"/>
                  </a:cxn>
                  <a:cxn ang="0">
                    <a:pos x="122" y="51"/>
                  </a:cxn>
                  <a:cxn ang="0">
                    <a:pos x="133" y="53"/>
                  </a:cxn>
                  <a:cxn ang="0">
                    <a:pos x="142" y="50"/>
                  </a:cxn>
                  <a:cxn ang="0">
                    <a:pos x="155" y="46"/>
                  </a:cxn>
                  <a:cxn ang="0">
                    <a:pos x="162" y="53"/>
                  </a:cxn>
                  <a:cxn ang="0">
                    <a:pos x="173" y="61"/>
                  </a:cxn>
                  <a:cxn ang="0">
                    <a:pos x="185" y="61"/>
                  </a:cxn>
                  <a:cxn ang="0">
                    <a:pos x="193" y="60"/>
                  </a:cxn>
                  <a:cxn ang="0">
                    <a:pos x="200" y="65"/>
                  </a:cxn>
                  <a:cxn ang="0">
                    <a:pos x="201" y="83"/>
                  </a:cxn>
                  <a:cxn ang="0">
                    <a:pos x="185" y="96"/>
                  </a:cxn>
                  <a:cxn ang="0">
                    <a:pos x="170" y="95"/>
                  </a:cxn>
                  <a:cxn ang="0">
                    <a:pos x="142" y="88"/>
                  </a:cxn>
                  <a:cxn ang="0">
                    <a:pos x="123" y="88"/>
                  </a:cxn>
                  <a:cxn ang="0">
                    <a:pos x="117" y="76"/>
                  </a:cxn>
                  <a:cxn ang="0">
                    <a:pos x="92" y="76"/>
                  </a:cxn>
                  <a:cxn ang="0">
                    <a:pos x="75" y="75"/>
                  </a:cxn>
                  <a:cxn ang="0">
                    <a:pos x="60" y="70"/>
                  </a:cxn>
                  <a:cxn ang="0">
                    <a:pos x="47" y="65"/>
                  </a:cxn>
                  <a:cxn ang="0">
                    <a:pos x="29" y="50"/>
                  </a:cxn>
                  <a:cxn ang="0">
                    <a:pos x="15" y="45"/>
                  </a:cxn>
                  <a:cxn ang="0">
                    <a:pos x="7" y="41"/>
                  </a:cxn>
                  <a:cxn ang="0">
                    <a:pos x="0" y="36"/>
                  </a:cxn>
                  <a:cxn ang="0">
                    <a:pos x="5" y="22"/>
                  </a:cxn>
                  <a:cxn ang="0">
                    <a:pos x="9" y="2"/>
                  </a:cxn>
                </a:cxnLst>
                <a:rect l="0" t="0" r="r" b="b"/>
                <a:pathLst>
                  <a:path w="201" h="96">
                    <a:moveTo>
                      <a:pt x="9" y="2"/>
                    </a:moveTo>
                    <a:lnTo>
                      <a:pt x="10" y="0"/>
                    </a:lnTo>
                    <a:lnTo>
                      <a:pt x="17" y="3"/>
                    </a:lnTo>
                    <a:lnTo>
                      <a:pt x="19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3"/>
                    </a:lnTo>
                    <a:lnTo>
                      <a:pt x="35" y="3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2" y="8"/>
                    </a:lnTo>
                    <a:lnTo>
                      <a:pt x="57" y="12"/>
                    </a:lnTo>
                    <a:lnTo>
                      <a:pt x="64" y="18"/>
                    </a:lnTo>
                    <a:lnTo>
                      <a:pt x="69" y="18"/>
                    </a:lnTo>
                    <a:lnTo>
                      <a:pt x="74" y="20"/>
                    </a:lnTo>
                    <a:lnTo>
                      <a:pt x="77" y="23"/>
                    </a:lnTo>
                    <a:lnTo>
                      <a:pt x="80" y="28"/>
                    </a:lnTo>
                    <a:lnTo>
                      <a:pt x="82" y="32"/>
                    </a:lnTo>
                    <a:lnTo>
                      <a:pt x="85" y="32"/>
                    </a:lnTo>
                    <a:lnTo>
                      <a:pt x="85" y="25"/>
                    </a:lnTo>
                    <a:lnTo>
                      <a:pt x="88" y="23"/>
                    </a:lnTo>
                    <a:lnTo>
                      <a:pt x="90" y="25"/>
                    </a:lnTo>
                    <a:lnTo>
                      <a:pt x="95" y="25"/>
                    </a:lnTo>
                    <a:lnTo>
                      <a:pt x="100" y="27"/>
                    </a:lnTo>
                    <a:lnTo>
                      <a:pt x="100" y="33"/>
                    </a:lnTo>
                    <a:lnTo>
                      <a:pt x="107" y="38"/>
                    </a:lnTo>
                    <a:lnTo>
                      <a:pt x="115" y="36"/>
                    </a:lnTo>
                    <a:lnTo>
                      <a:pt x="120" y="36"/>
                    </a:lnTo>
                    <a:lnTo>
                      <a:pt x="120" y="46"/>
                    </a:lnTo>
                    <a:lnTo>
                      <a:pt x="122" y="51"/>
                    </a:lnTo>
                    <a:lnTo>
                      <a:pt x="127" y="50"/>
                    </a:lnTo>
                    <a:lnTo>
                      <a:pt x="133" y="53"/>
                    </a:lnTo>
                    <a:lnTo>
                      <a:pt x="135" y="51"/>
                    </a:lnTo>
                    <a:lnTo>
                      <a:pt x="142" y="50"/>
                    </a:lnTo>
                    <a:lnTo>
                      <a:pt x="145" y="45"/>
                    </a:lnTo>
                    <a:lnTo>
                      <a:pt x="155" y="46"/>
                    </a:lnTo>
                    <a:lnTo>
                      <a:pt x="160" y="48"/>
                    </a:lnTo>
                    <a:lnTo>
                      <a:pt x="162" y="53"/>
                    </a:lnTo>
                    <a:lnTo>
                      <a:pt x="168" y="56"/>
                    </a:lnTo>
                    <a:lnTo>
                      <a:pt x="173" y="61"/>
                    </a:lnTo>
                    <a:lnTo>
                      <a:pt x="178" y="63"/>
                    </a:lnTo>
                    <a:lnTo>
                      <a:pt x="185" y="61"/>
                    </a:lnTo>
                    <a:lnTo>
                      <a:pt x="186" y="61"/>
                    </a:lnTo>
                    <a:lnTo>
                      <a:pt x="193" y="60"/>
                    </a:lnTo>
                    <a:lnTo>
                      <a:pt x="198" y="60"/>
                    </a:lnTo>
                    <a:lnTo>
                      <a:pt x="200" y="65"/>
                    </a:lnTo>
                    <a:lnTo>
                      <a:pt x="196" y="75"/>
                    </a:lnTo>
                    <a:lnTo>
                      <a:pt x="201" y="83"/>
                    </a:lnTo>
                    <a:lnTo>
                      <a:pt x="200" y="95"/>
                    </a:lnTo>
                    <a:lnTo>
                      <a:pt x="185" y="96"/>
                    </a:lnTo>
                    <a:lnTo>
                      <a:pt x="177" y="93"/>
                    </a:lnTo>
                    <a:lnTo>
                      <a:pt x="170" y="95"/>
                    </a:lnTo>
                    <a:lnTo>
                      <a:pt x="150" y="88"/>
                    </a:lnTo>
                    <a:lnTo>
                      <a:pt x="142" y="88"/>
                    </a:lnTo>
                    <a:lnTo>
                      <a:pt x="137" y="90"/>
                    </a:lnTo>
                    <a:lnTo>
                      <a:pt x="123" y="88"/>
                    </a:lnTo>
                    <a:lnTo>
                      <a:pt x="117" y="83"/>
                    </a:lnTo>
                    <a:lnTo>
                      <a:pt x="117" y="76"/>
                    </a:lnTo>
                    <a:lnTo>
                      <a:pt x="105" y="75"/>
                    </a:lnTo>
                    <a:lnTo>
                      <a:pt x="92" y="76"/>
                    </a:lnTo>
                    <a:lnTo>
                      <a:pt x="88" y="73"/>
                    </a:lnTo>
                    <a:lnTo>
                      <a:pt x="75" y="75"/>
                    </a:lnTo>
                    <a:lnTo>
                      <a:pt x="67" y="70"/>
                    </a:lnTo>
                    <a:lnTo>
                      <a:pt x="60" y="70"/>
                    </a:lnTo>
                    <a:lnTo>
                      <a:pt x="57" y="66"/>
                    </a:lnTo>
                    <a:lnTo>
                      <a:pt x="47" y="65"/>
                    </a:lnTo>
                    <a:lnTo>
                      <a:pt x="40" y="56"/>
                    </a:lnTo>
                    <a:lnTo>
                      <a:pt x="29" y="50"/>
                    </a:lnTo>
                    <a:lnTo>
                      <a:pt x="20" y="48"/>
                    </a:lnTo>
                    <a:lnTo>
                      <a:pt x="15" y="45"/>
                    </a:lnTo>
                    <a:lnTo>
                      <a:pt x="12" y="45"/>
                    </a:lnTo>
                    <a:lnTo>
                      <a:pt x="7" y="41"/>
                    </a:lnTo>
                    <a:lnTo>
                      <a:pt x="2" y="41"/>
                    </a:lnTo>
                    <a:lnTo>
                      <a:pt x="0" y="36"/>
                    </a:lnTo>
                    <a:lnTo>
                      <a:pt x="5" y="28"/>
                    </a:lnTo>
                    <a:lnTo>
                      <a:pt x="5" y="22"/>
                    </a:lnTo>
                    <a:lnTo>
                      <a:pt x="10" y="10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2" name="Freeform 29"/>
              <p:cNvSpPr>
                <a:spLocks/>
              </p:cNvSpPr>
              <p:nvPr/>
            </p:nvSpPr>
            <p:spPr bwMode="auto">
              <a:xfrm>
                <a:off x="7187734" y="2818363"/>
                <a:ext cx="180872" cy="173278"/>
              </a:xfrm>
              <a:custGeom>
                <a:avLst/>
                <a:gdLst/>
                <a:ahLst/>
                <a:cxnLst>
                  <a:cxn ang="0">
                    <a:pos x="204" y="324"/>
                  </a:cxn>
                  <a:cxn ang="0">
                    <a:pos x="231" y="317"/>
                  </a:cxn>
                  <a:cxn ang="0">
                    <a:pos x="246" y="314"/>
                  </a:cxn>
                  <a:cxn ang="0">
                    <a:pos x="255" y="311"/>
                  </a:cxn>
                  <a:cxn ang="0">
                    <a:pos x="247" y="284"/>
                  </a:cxn>
                  <a:cxn ang="0">
                    <a:pos x="231" y="271"/>
                  </a:cxn>
                  <a:cxn ang="0">
                    <a:pos x="221" y="259"/>
                  </a:cxn>
                  <a:cxn ang="0">
                    <a:pos x="214" y="243"/>
                  </a:cxn>
                  <a:cxn ang="0">
                    <a:pos x="231" y="228"/>
                  </a:cxn>
                  <a:cxn ang="0">
                    <a:pos x="242" y="233"/>
                  </a:cxn>
                  <a:cxn ang="0">
                    <a:pos x="277" y="208"/>
                  </a:cxn>
                  <a:cxn ang="0">
                    <a:pos x="297" y="181"/>
                  </a:cxn>
                  <a:cxn ang="0">
                    <a:pos x="305" y="166"/>
                  </a:cxn>
                  <a:cxn ang="0">
                    <a:pos x="317" y="140"/>
                  </a:cxn>
                  <a:cxn ang="0">
                    <a:pos x="325" y="123"/>
                  </a:cxn>
                  <a:cxn ang="0">
                    <a:pos x="337" y="111"/>
                  </a:cxn>
                  <a:cxn ang="0">
                    <a:pos x="315" y="105"/>
                  </a:cxn>
                  <a:cxn ang="0">
                    <a:pos x="287" y="85"/>
                  </a:cxn>
                  <a:cxn ang="0">
                    <a:pos x="284" y="57"/>
                  </a:cxn>
                  <a:cxn ang="0">
                    <a:pos x="284" y="40"/>
                  </a:cxn>
                  <a:cxn ang="0">
                    <a:pos x="264" y="22"/>
                  </a:cxn>
                  <a:cxn ang="0">
                    <a:pos x="250" y="13"/>
                  </a:cxn>
                  <a:cxn ang="0">
                    <a:pos x="249" y="0"/>
                  </a:cxn>
                  <a:cxn ang="0">
                    <a:pos x="224" y="15"/>
                  </a:cxn>
                  <a:cxn ang="0">
                    <a:pos x="219" y="55"/>
                  </a:cxn>
                  <a:cxn ang="0">
                    <a:pos x="211" y="75"/>
                  </a:cxn>
                  <a:cxn ang="0">
                    <a:pos x="204" y="83"/>
                  </a:cxn>
                  <a:cxn ang="0">
                    <a:pos x="194" y="97"/>
                  </a:cxn>
                  <a:cxn ang="0">
                    <a:pos x="189" y="116"/>
                  </a:cxn>
                  <a:cxn ang="0">
                    <a:pos x="179" y="130"/>
                  </a:cxn>
                  <a:cxn ang="0">
                    <a:pos x="167" y="130"/>
                  </a:cxn>
                  <a:cxn ang="0">
                    <a:pos x="156" y="141"/>
                  </a:cxn>
                  <a:cxn ang="0">
                    <a:pos x="134" y="146"/>
                  </a:cxn>
                  <a:cxn ang="0">
                    <a:pos x="124" y="158"/>
                  </a:cxn>
                  <a:cxn ang="0">
                    <a:pos x="128" y="181"/>
                  </a:cxn>
                  <a:cxn ang="0">
                    <a:pos x="101" y="190"/>
                  </a:cxn>
                  <a:cxn ang="0">
                    <a:pos x="69" y="193"/>
                  </a:cxn>
                  <a:cxn ang="0">
                    <a:pos x="0" y="188"/>
                  </a:cxn>
                  <a:cxn ang="0">
                    <a:pos x="28" y="218"/>
                  </a:cxn>
                  <a:cxn ang="0">
                    <a:pos x="43" y="224"/>
                  </a:cxn>
                  <a:cxn ang="0">
                    <a:pos x="53" y="243"/>
                  </a:cxn>
                  <a:cxn ang="0">
                    <a:pos x="66" y="259"/>
                  </a:cxn>
                  <a:cxn ang="0">
                    <a:pos x="43" y="266"/>
                  </a:cxn>
                  <a:cxn ang="0">
                    <a:pos x="30" y="281"/>
                  </a:cxn>
                  <a:cxn ang="0">
                    <a:pos x="35" y="297"/>
                  </a:cxn>
                  <a:cxn ang="0">
                    <a:pos x="48" y="297"/>
                  </a:cxn>
                  <a:cxn ang="0">
                    <a:pos x="59" y="296"/>
                  </a:cxn>
                  <a:cxn ang="0">
                    <a:pos x="71" y="296"/>
                  </a:cxn>
                  <a:cxn ang="0">
                    <a:pos x="83" y="294"/>
                  </a:cxn>
                  <a:cxn ang="0">
                    <a:pos x="91" y="296"/>
                  </a:cxn>
                  <a:cxn ang="0">
                    <a:pos x="109" y="293"/>
                  </a:cxn>
                  <a:cxn ang="0">
                    <a:pos x="123" y="289"/>
                  </a:cxn>
                  <a:cxn ang="0">
                    <a:pos x="144" y="289"/>
                  </a:cxn>
                  <a:cxn ang="0">
                    <a:pos x="151" y="302"/>
                  </a:cxn>
                  <a:cxn ang="0">
                    <a:pos x="161" y="302"/>
                  </a:cxn>
                  <a:cxn ang="0">
                    <a:pos x="169" y="321"/>
                  </a:cxn>
                  <a:cxn ang="0">
                    <a:pos x="171" y="326"/>
                  </a:cxn>
                  <a:cxn ang="0">
                    <a:pos x="192" y="332"/>
                  </a:cxn>
                </a:cxnLst>
                <a:rect l="0" t="0" r="r" b="b"/>
                <a:pathLst>
                  <a:path w="339" h="336">
                    <a:moveTo>
                      <a:pt x="196" y="334"/>
                    </a:moveTo>
                    <a:lnTo>
                      <a:pt x="196" y="327"/>
                    </a:lnTo>
                    <a:lnTo>
                      <a:pt x="201" y="324"/>
                    </a:lnTo>
                    <a:lnTo>
                      <a:pt x="204" y="324"/>
                    </a:lnTo>
                    <a:lnTo>
                      <a:pt x="206" y="319"/>
                    </a:lnTo>
                    <a:lnTo>
                      <a:pt x="209" y="319"/>
                    </a:lnTo>
                    <a:lnTo>
                      <a:pt x="214" y="317"/>
                    </a:lnTo>
                    <a:lnTo>
                      <a:pt x="231" y="317"/>
                    </a:lnTo>
                    <a:lnTo>
                      <a:pt x="239" y="316"/>
                    </a:lnTo>
                    <a:lnTo>
                      <a:pt x="242" y="312"/>
                    </a:lnTo>
                    <a:lnTo>
                      <a:pt x="247" y="311"/>
                    </a:lnTo>
                    <a:lnTo>
                      <a:pt x="246" y="314"/>
                    </a:lnTo>
                    <a:lnTo>
                      <a:pt x="247" y="317"/>
                    </a:lnTo>
                    <a:lnTo>
                      <a:pt x="252" y="314"/>
                    </a:lnTo>
                    <a:lnTo>
                      <a:pt x="257" y="312"/>
                    </a:lnTo>
                    <a:lnTo>
                      <a:pt x="255" y="311"/>
                    </a:lnTo>
                    <a:lnTo>
                      <a:pt x="255" y="307"/>
                    </a:lnTo>
                    <a:lnTo>
                      <a:pt x="250" y="294"/>
                    </a:lnTo>
                    <a:lnTo>
                      <a:pt x="246" y="288"/>
                    </a:lnTo>
                    <a:lnTo>
                      <a:pt x="247" y="284"/>
                    </a:lnTo>
                    <a:lnTo>
                      <a:pt x="244" y="283"/>
                    </a:lnTo>
                    <a:lnTo>
                      <a:pt x="239" y="283"/>
                    </a:lnTo>
                    <a:lnTo>
                      <a:pt x="232" y="278"/>
                    </a:lnTo>
                    <a:lnTo>
                      <a:pt x="231" y="271"/>
                    </a:lnTo>
                    <a:lnTo>
                      <a:pt x="231" y="264"/>
                    </a:lnTo>
                    <a:lnTo>
                      <a:pt x="227" y="258"/>
                    </a:lnTo>
                    <a:lnTo>
                      <a:pt x="222" y="258"/>
                    </a:lnTo>
                    <a:lnTo>
                      <a:pt x="221" y="259"/>
                    </a:lnTo>
                    <a:lnTo>
                      <a:pt x="214" y="258"/>
                    </a:lnTo>
                    <a:lnTo>
                      <a:pt x="211" y="258"/>
                    </a:lnTo>
                    <a:lnTo>
                      <a:pt x="211" y="253"/>
                    </a:lnTo>
                    <a:lnTo>
                      <a:pt x="214" y="243"/>
                    </a:lnTo>
                    <a:lnTo>
                      <a:pt x="217" y="243"/>
                    </a:lnTo>
                    <a:lnTo>
                      <a:pt x="224" y="234"/>
                    </a:lnTo>
                    <a:lnTo>
                      <a:pt x="226" y="229"/>
                    </a:lnTo>
                    <a:lnTo>
                      <a:pt x="231" y="228"/>
                    </a:lnTo>
                    <a:lnTo>
                      <a:pt x="232" y="226"/>
                    </a:lnTo>
                    <a:lnTo>
                      <a:pt x="239" y="228"/>
                    </a:lnTo>
                    <a:lnTo>
                      <a:pt x="239" y="233"/>
                    </a:lnTo>
                    <a:lnTo>
                      <a:pt x="242" y="233"/>
                    </a:lnTo>
                    <a:lnTo>
                      <a:pt x="252" y="228"/>
                    </a:lnTo>
                    <a:lnTo>
                      <a:pt x="264" y="228"/>
                    </a:lnTo>
                    <a:lnTo>
                      <a:pt x="272" y="219"/>
                    </a:lnTo>
                    <a:lnTo>
                      <a:pt x="277" y="208"/>
                    </a:lnTo>
                    <a:lnTo>
                      <a:pt x="289" y="199"/>
                    </a:lnTo>
                    <a:lnTo>
                      <a:pt x="290" y="196"/>
                    </a:lnTo>
                    <a:lnTo>
                      <a:pt x="292" y="188"/>
                    </a:lnTo>
                    <a:lnTo>
                      <a:pt x="297" y="181"/>
                    </a:lnTo>
                    <a:lnTo>
                      <a:pt x="305" y="178"/>
                    </a:lnTo>
                    <a:lnTo>
                      <a:pt x="309" y="173"/>
                    </a:lnTo>
                    <a:lnTo>
                      <a:pt x="307" y="168"/>
                    </a:lnTo>
                    <a:lnTo>
                      <a:pt x="305" y="166"/>
                    </a:lnTo>
                    <a:lnTo>
                      <a:pt x="312" y="160"/>
                    </a:lnTo>
                    <a:lnTo>
                      <a:pt x="315" y="156"/>
                    </a:lnTo>
                    <a:lnTo>
                      <a:pt x="315" y="151"/>
                    </a:lnTo>
                    <a:lnTo>
                      <a:pt x="317" y="140"/>
                    </a:lnTo>
                    <a:lnTo>
                      <a:pt x="315" y="133"/>
                    </a:lnTo>
                    <a:lnTo>
                      <a:pt x="314" y="130"/>
                    </a:lnTo>
                    <a:lnTo>
                      <a:pt x="322" y="125"/>
                    </a:lnTo>
                    <a:lnTo>
                      <a:pt x="325" y="123"/>
                    </a:lnTo>
                    <a:lnTo>
                      <a:pt x="330" y="120"/>
                    </a:lnTo>
                    <a:lnTo>
                      <a:pt x="334" y="120"/>
                    </a:lnTo>
                    <a:lnTo>
                      <a:pt x="339" y="115"/>
                    </a:lnTo>
                    <a:lnTo>
                      <a:pt x="337" y="111"/>
                    </a:lnTo>
                    <a:lnTo>
                      <a:pt x="332" y="110"/>
                    </a:lnTo>
                    <a:lnTo>
                      <a:pt x="325" y="111"/>
                    </a:lnTo>
                    <a:lnTo>
                      <a:pt x="319" y="110"/>
                    </a:lnTo>
                    <a:lnTo>
                      <a:pt x="315" y="105"/>
                    </a:lnTo>
                    <a:lnTo>
                      <a:pt x="307" y="101"/>
                    </a:lnTo>
                    <a:lnTo>
                      <a:pt x="297" y="100"/>
                    </a:lnTo>
                    <a:lnTo>
                      <a:pt x="289" y="92"/>
                    </a:lnTo>
                    <a:lnTo>
                      <a:pt x="287" y="85"/>
                    </a:lnTo>
                    <a:lnTo>
                      <a:pt x="284" y="70"/>
                    </a:lnTo>
                    <a:lnTo>
                      <a:pt x="279" y="65"/>
                    </a:lnTo>
                    <a:lnTo>
                      <a:pt x="279" y="58"/>
                    </a:lnTo>
                    <a:lnTo>
                      <a:pt x="284" y="57"/>
                    </a:lnTo>
                    <a:lnTo>
                      <a:pt x="284" y="52"/>
                    </a:lnTo>
                    <a:lnTo>
                      <a:pt x="290" y="47"/>
                    </a:lnTo>
                    <a:lnTo>
                      <a:pt x="290" y="42"/>
                    </a:lnTo>
                    <a:lnTo>
                      <a:pt x="284" y="40"/>
                    </a:lnTo>
                    <a:lnTo>
                      <a:pt x="282" y="37"/>
                    </a:lnTo>
                    <a:lnTo>
                      <a:pt x="275" y="32"/>
                    </a:lnTo>
                    <a:lnTo>
                      <a:pt x="269" y="27"/>
                    </a:lnTo>
                    <a:lnTo>
                      <a:pt x="264" y="22"/>
                    </a:lnTo>
                    <a:lnTo>
                      <a:pt x="259" y="23"/>
                    </a:lnTo>
                    <a:lnTo>
                      <a:pt x="255" y="25"/>
                    </a:lnTo>
                    <a:lnTo>
                      <a:pt x="252" y="22"/>
                    </a:lnTo>
                    <a:lnTo>
                      <a:pt x="250" y="13"/>
                    </a:lnTo>
                    <a:lnTo>
                      <a:pt x="264" y="5"/>
                    </a:lnTo>
                    <a:lnTo>
                      <a:pt x="262" y="2"/>
                    </a:lnTo>
                    <a:lnTo>
                      <a:pt x="254" y="3"/>
                    </a:lnTo>
                    <a:lnTo>
                      <a:pt x="249" y="0"/>
                    </a:lnTo>
                    <a:lnTo>
                      <a:pt x="241" y="5"/>
                    </a:lnTo>
                    <a:lnTo>
                      <a:pt x="236" y="8"/>
                    </a:lnTo>
                    <a:lnTo>
                      <a:pt x="229" y="8"/>
                    </a:lnTo>
                    <a:lnTo>
                      <a:pt x="224" y="15"/>
                    </a:lnTo>
                    <a:lnTo>
                      <a:pt x="221" y="18"/>
                    </a:lnTo>
                    <a:lnTo>
                      <a:pt x="231" y="32"/>
                    </a:lnTo>
                    <a:lnTo>
                      <a:pt x="231" y="42"/>
                    </a:lnTo>
                    <a:lnTo>
                      <a:pt x="219" y="55"/>
                    </a:lnTo>
                    <a:lnTo>
                      <a:pt x="226" y="60"/>
                    </a:lnTo>
                    <a:lnTo>
                      <a:pt x="226" y="67"/>
                    </a:lnTo>
                    <a:lnTo>
                      <a:pt x="219" y="75"/>
                    </a:lnTo>
                    <a:lnTo>
                      <a:pt x="211" y="75"/>
                    </a:lnTo>
                    <a:lnTo>
                      <a:pt x="201" y="72"/>
                    </a:lnTo>
                    <a:lnTo>
                      <a:pt x="196" y="75"/>
                    </a:lnTo>
                    <a:lnTo>
                      <a:pt x="197" y="82"/>
                    </a:lnTo>
                    <a:lnTo>
                      <a:pt x="204" y="83"/>
                    </a:lnTo>
                    <a:lnTo>
                      <a:pt x="206" y="90"/>
                    </a:lnTo>
                    <a:lnTo>
                      <a:pt x="206" y="93"/>
                    </a:lnTo>
                    <a:lnTo>
                      <a:pt x="199" y="97"/>
                    </a:lnTo>
                    <a:lnTo>
                      <a:pt x="194" y="97"/>
                    </a:lnTo>
                    <a:lnTo>
                      <a:pt x="192" y="100"/>
                    </a:lnTo>
                    <a:lnTo>
                      <a:pt x="191" y="108"/>
                    </a:lnTo>
                    <a:lnTo>
                      <a:pt x="189" y="113"/>
                    </a:lnTo>
                    <a:lnTo>
                      <a:pt x="189" y="116"/>
                    </a:lnTo>
                    <a:lnTo>
                      <a:pt x="187" y="118"/>
                    </a:lnTo>
                    <a:lnTo>
                      <a:pt x="189" y="128"/>
                    </a:lnTo>
                    <a:lnTo>
                      <a:pt x="184" y="135"/>
                    </a:lnTo>
                    <a:lnTo>
                      <a:pt x="179" y="130"/>
                    </a:lnTo>
                    <a:lnTo>
                      <a:pt x="177" y="130"/>
                    </a:lnTo>
                    <a:lnTo>
                      <a:pt x="176" y="131"/>
                    </a:lnTo>
                    <a:lnTo>
                      <a:pt x="171" y="131"/>
                    </a:lnTo>
                    <a:lnTo>
                      <a:pt x="167" y="130"/>
                    </a:lnTo>
                    <a:lnTo>
                      <a:pt x="162" y="130"/>
                    </a:lnTo>
                    <a:lnTo>
                      <a:pt x="161" y="133"/>
                    </a:lnTo>
                    <a:lnTo>
                      <a:pt x="151" y="140"/>
                    </a:lnTo>
                    <a:lnTo>
                      <a:pt x="156" y="141"/>
                    </a:lnTo>
                    <a:lnTo>
                      <a:pt x="152" y="143"/>
                    </a:lnTo>
                    <a:lnTo>
                      <a:pt x="144" y="148"/>
                    </a:lnTo>
                    <a:lnTo>
                      <a:pt x="141" y="146"/>
                    </a:lnTo>
                    <a:lnTo>
                      <a:pt x="134" y="146"/>
                    </a:lnTo>
                    <a:lnTo>
                      <a:pt x="133" y="150"/>
                    </a:lnTo>
                    <a:lnTo>
                      <a:pt x="133" y="153"/>
                    </a:lnTo>
                    <a:lnTo>
                      <a:pt x="128" y="155"/>
                    </a:lnTo>
                    <a:lnTo>
                      <a:pt x="124" y="158"/>
                    </a:lnTo>
                    <a:lnTo>
                      <a:pt x="124" y="165"/>
                    </a:lnTo>
                    <a:lnTo>
                      <a:pt x="126" y="171"/>
                    </a:lnTo>
                    <a:lnTo>
                      <a:pt x="126" y="176"/>
                    </a:lnTo>
                    <a:lnTo>
                      <a:pt x="128" y="181"/>
                    </a:lnTo>
                    <a:lnTo>
                      <a:pt x="128" y="185"/>
                    </a:lnTo>
                    <a:lnTo>
                      <a:pt x="118" y="188"/>
                    </a:lnTo>
                    <a:lnTo>
                      <a:pt x="109" y="188"/>
                    </a:lnTo>
                    <a:lnTo>
                      <a:pt x="101" y="190"/>
                    </a:lnTo>
                    <a:lnTo>
                      <a:pt x="88" y="190"/>
                    </a:lnTo>
                    <a:lnTo>
                      <a:pt x="79" y="191"/>
                    </a:lnTo>
                    <a:lnTo>
                      <a:pt x="78" y="195"/>
                    </a:lnTo>
                    <a:lnTo>
                      <a:pt x="69" y="193"/>
                    </a:lnTo>
                    <a:lnTo>
                      <a:pt x="61" y="196"/>
                    </a:lnTo>
                    <a:lnTo>
                      <a:pt x="33" y="196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13" y="203"/>
                    </a:lnTo>
                    <a:lnTo>
                      <a:pt x="15" y="208"/>
                    </a:lnTo>
                    <a:lnTo>
                      <a:pt x="21" y="214"/>
                    </a:lnTo>
                    <a:lnTo>
                      <a:pt x="28" y="218"/>
                    </a:lnTo>
                    <a:lnTo>
                      <a:pt x="30" y="219"/>
                    </a:lnTo>
                    <a:lnTo>
                      <a:pt x="38" y="219"/>
                    </a:lnTo>
                    <a:lnTo>
                      <a:pt x="43" y="221"/>
                    </a:lnTo>
                    <a:lnTo>
                      <a:pt x="43" y="224"/>
                    </a:lnTo>
                    <a:lnTo>
                      <a:pt x="50" y="224"/>
                    </a:lnTo>
                    <a:lnTo>
                      <a:pt x="50" y="231"/>
                    </a:lnTo>
                    <a:lnTo>
                      <a:pt x="51" y="238"/>
                    </a:lnTo>
                    <a:lnTo>
                      <a:pt x="53" y="243"/>
                    </a:lnTo>
                    <a:lnTo>
                      <a:pt x="53" y="246"/>
                    </a:lnTo>
                    <a:lnTo>
                      <a:pt x="59" y="246"/>
                    </a:lnTo>
                    <a:lnTo>
                      <a:pt x="66" y="251"/>
                    </a:lnTo>
                    <a:lnTo>
                      <a:pt x="66" y="259"/>
                    </a:lnTo>
                    <a:lnTo>
                      <a:pt x="63" y="263"/>
                    </a:lnTo>
                    <a:lnTo>
                      <a:pt x="56" y="259"/>
                    </a:lnTo>
                    <a:lnTo>
                      <a:pt x="45" y="263"/>
                    </a:lnTo>
                    <a:lnTo>
                      <a:pt x="43" y="266"/>
                    </a:lnTo>
                    <a:lnTo>
                      <a:pt x="35" y="268"/>
                    </a:lnTo>
                    <a:lnTo>
                      <a:pt x="33" y="273"/>
                    </a:lnTo>
                    <a:lnTo>
                      <a:pt x="35" y="276"/>
                    </a:lnTo>
                    <a:lnTo>
                      <a:pt x="30" y="281"/>
                    </a:lnTo>
                    <a:lnTo>
                      <a:pt x="33" y="286"/>
                    </a:lnTo>
                    <a:lnTo>
                      <a:pt x="31" y="294"/>
                    </a:lnTo>
                    <a:lnTo>
                      <a:pt x="31" y="297"/>
                    </a:lnTo>
                    <a:lnTo>
                      <a:pt x="35" y="297"/>
                    </a:lnTo>
                    <a:lnTo>
                      <a:pt x="35" y="301"/>
                    </a:lnTo>
                    <a:lnTo>
                      <a:pt x="36" y="301"/>
                    </a:lnTo>
                    <a:lnTo>
                      <a:pt x="43" y="297"/>
                    </a:lnTo>
                    <a:lnTo>
                      <a:pt x="48" y="297"/>
                    </a:lnTo>
                    <a:lnTo>
                      <a:pt x="50" y="299"/>
                    </a:lnTo>
                    <a:lnTo>
                      <a:pt x="51" y="297"/>
                    </a:lnTo>
                    <a:lnTo>
                      <a:pt x="54" y="296"/>
                    </a:lnTo>
                    <a:lnTo>
                      <a:pt x="59" y="296"/>
                    </a:lnTo>
                    <a:lnTo>
                      <a:pt x="63" y="296"/>
                    </a:lnTo>
                    <a:lnTo>
                      <a:pt x="66" y="296"/>
                    </a:lnTo>
                    <a:lnTo>
                      <a:pt x="69" y="296"/>
                    </a:lnTo>
                    <a:lnTo>
                      <a:pt x="71" y="296"/>
                    </a:lnTo>
                    <a:lnTo>
                      <a:pt x="73" y="294"/>
                    </a:lnTo>
                    <a:lnTo>
                      <a:pt x="74" y="291"/>
                    </a:lnTo>
                    <a:lnTo>
                      <a:pt x="79" y="294"/>
                    </a:lnTo>
                    <a:lnTo>
                      <a:pt x="83" y="294"/>
                    </a:lnTo>
                    <a:lnTo>
                      <a:pt x="83" y="293"/>
                    </a:lnTo>
                    <a:lnTo>
                      <a:pt x="86" y="293"/>
                    </a:lnTo>
                    <a:lnTo>
                      <a:pt x="88" y="296"/>
                    </a:lnTo>
                    <a:lnTo>
                      <a:pt x="91" y="296"/>
                    </a:lnTo>
                    <a:lnTo>
                      <a:pt x="94" y="297"/>
                    </a:lnTo>
                    <a:lnTo>
                      <a:pt x="98" y="297"/>
                    </a:lnTo>
                    <a:lnTo>
                      <a:pt x="104" y="293"/>
                    </a:lnTo>
                    <a:lnTo>
                      <a:pt x="109" y="293"/>
                    </a:lnTo>
                    <a:lnTo>
                      <a:pt x="114" y="294"/>
                    </a:lnTo>
                    <a:lnTo>
                      <a:pt x="118" y="291"/>
                    </a:lnTo>
                    <a:lnTo>
                      <a:pt x="121" y="291"/>
                    </a:lnTo>
                    <a:lnTo>
                      <a:pt x="123" y="289"/>
                    </a:lnTo>
                    <a:lnTo>
                      <a:pt x="124" y="291"/>
                    </a:lnTo>
                    <a:lnTo>
                      <a:pt x="131" y="293"/>
                    </a:lnTo>
                    <a:lnTo>
                      <a:pt x="138" y="289"/>
                    </a:lnTo>
                    <a:lnTo>
                      <a:pt x="144" y="289"/>
                    </a:lnTo>
                    <a:lnTo>
                      <a:pt x="149" y="294"/>
                    </a:lnTo>
                    <a:lnTo>
                      <a:pt x="151" y="297"/>
                    </a:lnTo>
                    <a:lnTo>
                      <a:pt x="151" y="302"/>
                    </a:lnTo>
                    <a:lnTo>
                      <a:pt x="151" y="302"/>
                    </a:lnTo>
                    <a:lnTo>
                      <a:pt x="149" y="302"/>
                    </a:lnTo>
                    <a:lnTo>
                      <a:pt x="149" y="304"/>
                    </a:lnTo>
                    <a:lnTo>
                      <a:pt x="154" y="304"/>
                    </a:lnTo>
                    <a:lnTo>
                      <a:pt x="161" y="302"/>
                    </a:lnTo>
                    <a:lnTo>
                      <a:pt x="161" y="306"/>
                    </a:lnTo>
                    <a:lnTo>
                      <a:pt x="166" y="312"/>
                    </a:lnTo>
                    <a:lnTo>
                      <a:pt x="167" y="319"/>
                    </a:lnTo>
                    <a:lnTo>
                      <a:pt x="169" y="321"/>
                    </a:lnTo>
                    <a:lnTo>
                      <a:pt x="169" y="324"/>
                    </a:lnTo>
                    <a:lnTo>
                      <a:pt x="166" y="324"/>
                    </a:lnTo>
                    <a:lnTo>
                      <a:pt x="167" y="326"/>
                    </a:lnTo>
                    <a:lnTo>
                      <a:pt x="171" y="326"/>
                    </a:lnTo>
                    <a:lnTo>
                      <a:pt x="172" y="329"/>
                    </a:lnTo>
                    <a:lnTo>
                      <a:pt x="176" y="329"/>
                    </a:lnTo>
                    <a:lnTo>
                      <a:pt x="182" y="329"/>
                    </a:lnTo>
                    <a:lnTo>
                      <a:pt x="192" y="332"/>
                    </a:lnTo>
                    <a:lnTo>
                      <a:pt x="191" y="336"/>
                    </a:lnTo>
                    <a:lnTo>
                      <a:pt x="196" y="3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3" name="Freeform 30"/>
              <p:cNvSpPr>
                <a:spLocks/>
              </p:cNvSpPr>
              <p:nvPr/>
            </p:nvSpPr>
            <p:spPr bwMode="auto">
              <a:xfrm>
                <a:off x="7321514" y="2809025"/>
                <a:ext cx="95252" cy="68481"/>
              </a:xfrm>
              <a:custGeom>
                <a:avLst/>
                <a:gdLst/>
                <a:ahLst/>
                <a:cxnLst>
                  <a:cxn ang="0">
                    <a:pos x="90" y="131"/>
                  </a:cxn>
                  <a:cxn ang="0">
                    <a:pos x="103" y="114"/>
                  </a:cxn>
                  <a:cxn ang="0">
                    <a:pos x="113" y="108"/>
                  </a:cxn>
                  <a:cxn ang="0">
                    <a:pos x="132" y="116"/>
                  </a:cxn>
                  <a:cxn ang="0">
                    <a:pos x="145" y="114"/>
                  </a:cxn>
                  <a:cxn ang="0">
                    <a:pos x="153" y="121"/>
                  </a:cxn>
                  <a:cxn ang="0">
                    <a:pos x="170" y="119"/>
                  </a:cxn>
                  <a:cxn ang="0">
                    <a:pos x="175" y="124"/>
                  </a:cxn>
                  <a:cxn ang="0">
                    <a:pos x="177" y="111"/>
                  </a:cxn>
                  <a:cxn ang="0">
                    <a:pos x="168" y="99"/>
                  </a:cxn>
                  <a:cxn ang="0">
                    <a:pos x="163" y="79"/>
                  </a:cxn>
                  <a:cxn ang="0">
                    <a:pos x="152" y="71"/>
                  </a:cxn>
                  <a:cxn ang="0">
                    <a:pos x="142" y="53"/>
                  </a:cxn>
                  <a:cxn ang="0">
                    <a:pos x="123" y="46"/>
                  </a:cxn>
                  <a:cxn ang="0">
                    <a:pos x="118" y="41"/>
                  </a:cxn>
                  <a:cxn ang="0">
                    <a:pos x="98" y="39"/>
                  </a:cxn>
                  <a:cxn ang="0">
                    <a:pos x="92" y="34"/>
                  </a:cxn>
                  <a:cxn ang="0">
                    <a:pos x="85" y="24"/>
                  </a:cxn>
                  <a:cxn ang="0">
                    <a:pos x="72" y="3"/>
                  </a:cxn>
                  <a:cxn ang="0">
                    <a:pos x="65" y="0"/>
                  </a:cxn>
                  <a:cxn ang="0">
                    <a:pos x="60" y="3"/>
                  </a:cxn>
                  <a:cxn ang="0">
                    <a:pos x="54" y="5"/>
                  </a:cxn>
                  <a:cxn ang="0">
                    <a:pos x="47" y="1"/>
                  </a:cxn>
                  <a:cxn ang="0">
                    <a:pos x="44" y="3"/>
                  </a:cxn>
                  <a:cxn ang="0">
                    <a:pos x="29" y="15"/>
                  </a:cxn>
                  <a:cxn ang="0">
                    <a:pos x="14" y="21"/>
                  </a:cxn>
                  <a:cxn ang="0">
                    <a:pos x="2" y="38"/>
                  </a:cxn>
                  <a:cxn ang="0">
                    <a:pos x="9" y="39"/>
                  </a:cxn>
                  <a:cxn ang="0">
                    <a:pos x="19" y="43"/>
                  </a:cxn>
                  <a:cxn ang="0">
                    <a:pos x="32" y="53"/>
                  </a:cxn>
                  <a:cxn ang="0">
                    <a:pos x="40" y="58"/>
                  </a:cxn>
                  <a:cxn ang="0">
                    <a:pos x="34" y="68"/>
                  </a:cxn>
                  <a:cxn ang="0">
                    <a:pos x="29" y="74"/>
                  </a:cxn>
                  <a:cxn ang="0">
                    <a:pos x="34" y="86"/>
                  </a:cxn>
                  <a:cxn ang="0">
                    <a:pos x="39" y="108"/>
                  </a:cxn>
                  <a:cxn ang="0">
                    <a:pos x="57" y="117"/>
                  </a:cxn>
                  <a:cxn ang="0">
                    <a:pos x="69" y="126"/>
                  </a:cxn>
                  <a:cxn ang="0">
                    <a:pos x="82" y="126"/>
                  </a:cxn>
                  <a:cxn ang="0">
                    <a:pos x="89" y="131"/>
                  </a:cxn>
                </a:cxnLst>
                <a:rect l="0" t="0" r="r" b="b"/>
                <a:pathLst>
                  <a:path w="178" h="131">
                    <a:moveTo>
                      <a:pt x="89" y="131"/>
                    </a:moveTo>
                    <a:lnTo>
                      <a:pt x="90" y="131"/>
                    </a:lnTo>
                    <a:lnTo>
                      <a:pt x="97" y="119"/>
                    </a:lnTo>
                    <a:lnTo>
                      <a:pt x="103" y="114"/>
                    </a:lnTo>
                    <a:lnTo>
                      <a:pt x="110" y="113"/>
                    </a:lnTo>
                    <a:lnTo>
                      <a:pt x="113" y="108"/>
                    </a:lnTo>
                    <a:lnTo>
                      <a:pt x="118" y="108"/>
                    </a:lnTo>
                    <a:lnTo>
                      <a:pt x="132" y="116"/>
                    </a:lnTo>
                    <a:lnTo>
                      <a:pt x="138" y="113"/>
                    </a:lnTo>
                    <a:lnTo>
                      <a:pt x="145" y="114"/>
                    </a:lnTo>
                    <a:lnTo>
                      <a:pt x="147" y="121"/>
                    </a:lnTo>
                    <a:lnTo>
                      <a:pt x="153" y="121"/>
                    </a:lnTo>
                    <a:lnTo>
                      <a:pt x="163" y="126"/>
                    </a:lnTo>
                    <a:lnTo>
                      <a:pt x="170" y="119"/>
                    </a:lnTo>
                    <a:lnTo>
                      <a:pt x="175" y="121"/>
                    </a:lnTo>
                    <a:lnTo>
                      <a:pt x="175" y="124"/>
                    </a:lnTo>
                    <a:lnTo>
                      <a:pt x="178" y="119"/>
                    </a:lnTo>
                    <a:lnTo>
                      <a:pt x="177" y="111"/>
                    </a:lnTo>
                    <a:lnTo>
                      <a:pt x="173" y="101"/>
                    </a:lnTo>
                    <a:lnTo>
                      <a:pt x="168" y="99"/>
                    </a:lnTo>
                    <a:lnTo>
                      <a:pt x="163" y="91"/>
                    </a:lnTo>
                    <a:lnTo>
                      <a:pt x="163" y="79"/>
                    </a:lnTo>
                    <a:lnTo>
                      <a:pt x="160" y="74"/>
                    </a:lnTo>
                    <a:lnTo>
                      <a:pt x="152" y="71"/>
                    </a:lnTo>
                    <a:lnTo>
                      <a:pt x="145" y="64"/>
                    </a:lnTo>
                    <a:lnTo>
                      <a:pt x="142" y="53"/>
                    </a:lnTo>
                    <a:lnTo>
                      <a:pt x="133" y="49"/>
                    </a:lnTo>
                    <a:lnTo>
                      <a:pt x="123" y="46"/>
                    </a:lnTo>
                    <a:lnTo>
                      <a:pt x="123" y="41"/>
                    </a:lnTo>
                    <a:lnTo>
                      <a:pt x="118" y="41"/>
                    </a:lnTo>
                    <a:lnTo>
                      <a:pt x="108" y="41"/>
                    </a:lnTo>
                    <a:lnTo>
                      <a:pt x="98" y="39"/>
                    </a:lnTo>
                    <a:lnTo>
                      <a:pt x="97" y="36"/>
                    </a:lnTo>
                    <a:lnTo>
                      <a:pt x="92" y="34"/>
                    </a:lnTo>
                    <a:lnTo>
                      <a:pt x="92" y="28"/>
                    </a:lnTo>
                    <a:lnTo>
                      <a:pt x="85" y="24"/>
                    </a:lnTo>
                    <a:lnTo>
                      <a:pt x="75" y="10"/>
                    </a:lnTo>
                    <a:lnTo>
                      <a:pt x="72" y="3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64" y="1"/>
                    </a:lnTo>
                    <a:lnTo>
                      <a:pt x="60" y="3"/>
                    </a:lnTo>
                    <a:lnTo>
                      <a:pt x="57" y="3"/>
                    </a:lnTo>
                    <a:lnTo>
                      <a:pt x="54" y="5"/>
                    </a:lnTo>
                    <a:lnTo>
                      <a:pt x="50" y="1"/>
                    </a:lnTo>
                    <a:lnTo>
                      <a:pt x="47" y="1"/>
                    </a:lnTo>
                    <a:lnTo>
                      <a:pt x="44" y="3"/>
                    </a:lnTo>
                    <a:lnTo>
                      <a:pt x="44" y="3"/>
                    </a:lnTo>
                    <a:lnTo>
                      <a:pt x="39" y="11"/>
                    </a:lnTo>
                    <a:lnTo>
                      <a:pt x="29" y="15"/>
                    </a:lnTo>
                    <a:lnTo>
                      <a:pt x="12" y="18"/>
                    </a:lnTo>
                    <a:lnTo>
                      <a:pt x="14" y="21"/>
                    </a:lnTo>
                    <a:lnTo>
                      <a:pt x="0" y="29"/>
                    </a:lnTo>
                    <a:lnTo>
                      <a:pt x="2" y="38"/>
                    </a:lnTo>
                    <a:lnTo>
                      <a:pt x="5" y="41"/>
                    </a:lnTo>
                    <a:lnTo>
                      <a:pt x="9" y="39"/>
                    </a:lnTo>
                    <a:lnTo>
                      <a:pt x="14" y="38"/>
                    </a:lnTo>
                    <a:lnTo>
                      <a:pt x="19" y="43"/>
                    </a:lnTo>
                    <a:lnTo>
                      <a:pt x="25" y="48"/>
                    </a:lnTo>
                    <a:lnTo>
                      <a:pt x="32" y="53"/>
                    </a:lnTo>
                    <a:lnTo>
                      <a:pt x="34" y="56"/>
                    </a:lnTo>
                    <a:lnTo>
                      <a:pt x="40" y="58"/>
                    </a:lnTo>
                    <a:lnTo>
                      <a:pt x="40" y="63"/>
                    </a:lnTo>
                    <a:lnTo>
                      <a:pt x="34" y="68"/>
                    </a:lnTo>
                    <a:lnTo>
                      <a:pt x="34" y="73"/>
                    </a:lnTo>
                    <a:lnTo>
                      <a:pt x="29" y="74"/>
                    </a:lnTo>
                    <a:lnTo>
                      <a:pt x="29" y="81"/>
                    </a:lnTo>
                    <a:lnTo>
                      <a:pt x="34" y="86"/>
                    </a:lnTo>
                    <a:lnTo>
                      <a:pt x="37" y="101"/>
                    </a:lnTo>
                    <a:lnTo>
                      <a:pt x="39" y="108"/>
                    </a:lnTo>
                    <a:lnTo>
                      <a:pt x="47" y="116"/>
                    </a:lnTo>
                    <a:lnTo>
                      <a:pt x="57" y="117"/>
                    </a:lnTo>
                    <a:lnTo>
                      <a:pt x="65" y="121"/>
                    </a:lnTo>
                    <a:lnTo>
                      <a:pt x="69" y="126"/>
                    </a:lnTo>
                    <a:lnTo>
                      <a:pt x="75" y="127"/>
                    </a:lnTo>
                    <a:lnTo>
                      <a:pt x="82" y="126"/>
                    </a:lnTo>
                    <a:lnTo>
                      <a:pt x="87" y="127"/>
                    </a:lnTo>
                    <a:lnTo>
                      <a:pt x="89" y="1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4" name="Freeform 31"/>
              <p:cNvSpPr>
                <a:spLocks/>
              </p:cNvSpPr>
              <p:nvPr/>
            </p:nvSpPr>
            <p:spPr bwMode="auto">
              <a:xfrm>
                <a:off x="7174891" y="2793461"/>
                <a:ext cx="172310" cy="126586"/>
              </a:xfrm>
              <a:custGeom>
                <a:avLst/>
                <a:gdLst/>
                <a:ahLst/>
                <a:cxnLst>
                  <a:cxn ang="0">
                    <a:pos x="298" y="23"/>
                  </a:cxn>
                  <a:cxn ang="0">
                    <a:pos x="311" y="23"/>
                  </a:cxn>
                  <a:cxn ang="0">
                    <a:pos x="314" y="33"/>
                  </a:cxn>
                  <a:cxn ang="0">
                    <a:pos x="303" y="45"/>
                  </a:cxn>
                  <a:cxn ang="0">
                    <a:pos x="265" y="51"/>
                  </a:cxn>
                  <a:cxn ang="0">
                    <a:pos x="248" y="61"/>
                  </a:cxn>
                  <a:cxn ang="0">
                    <a:pos x="255" y="88"/>
                  </a:cxn>
                  <a:cxn ang="0">
                    <a:pos x="250" y="113"/>
                  </a:cxn>
                  <a:cxn ang="0">
                    <a:pos x="225" y="118"/>
                  </a:cxn>
                  <a:cxn ang="0">
                    <a:pos x="228" y="129"/>
                  </a:cxn>
                  <a:cxn ang="0">
                    <a:pos x="223" y="143"/>
                  </a:cxn>
                  <a:cxn ang="0">
                    <a:pos x="215" y="154"/>
                  </a:cxn>
                  <a:cxn ang="0">
                    <a:pos x="211" y="164"/>
                  </a:cxn>
                  <a:cxn ang="0">
                    <a:pos x="203" y="176"/>
                  </a:cxn>
                  <a:cxn ang="0">
                    <a:pos x="195" y="177"/>
                  </a:cxn>
                  <a:cxn ang="0">
                    <a:pos x="185" y="179"/>
                  </a:cxn>
                  <a:cxn ang="0">
                    <a:pos x="176" y="189"/>
                  </a:cxn>
                  <a:cxn ang="0">
                    <a:pos x="158" y="192"/>
                  </a:cxn>
                  <a:cxn ang="0">
                    <a:pos x="152" y="201"/>
                  </a:cxn>
                  <a:cxn ang="0">
                    <a:pos x="150" y="217"/>
                  </a:cxn>
                  <a:cxn ang="0">
                    <a:pos x="152" y="231"/>
                  </a:cxn>
                  <a:cxn ang="0">
                    <a:pos x="125" y="236"/>
                  </a:cxn>
                  <a:cxn ang="0">
                    <a:pos x="102" y="241"/>
                  </a:cxn>
                  <a:cxn ang="0">
                    <a:pos x="57" y="242"/>
                  </a:cxn>
                  <a:cxn ang="0">
                    <a:pos x="44" y="209"/>
                  </a:cxn>
                  <a:cxn ang="0">
                    <a:pos x="39" y="186"/>
                  </a:cxn>
                  <a:cxn ang="0">
                    <a:pos x="14" y="174"/>
                  </a:cxn>
                  <a:cxn ang="0">
                    <a:pos x="5" y="149"/>
                  </a:cxn>
                  <a:cxn ang="0">
                    <a:pos x="12" y="136"/>
                  </a:cxn>
                  <a:cxn ang="0">
                    <a:pos x="2" y="121"/>
                  </a:cxn>
                  <a:cxn ang="0">
                    <a:pos x="2" y="113"/>
                  </a:cxn>
                  <a:cxn ang="0">
                    <a:pos x="12" y="104"/>
                  </a:cxn>
                  <a:cxn ang="0">
                    <a:pos x="9" y="96"/>
                  </a:cxn>
                  <a:cxn ang="0">
                    <a:pos x="10" y="84"/>
                  </a:cxn>
                  <a:cxn ang="0">
                    <a:pos x="19" y="84"/>
                  </a:cxn>
                  <a:cxn ang="0">
                    <a:pos x="29" y="84"/>
                  </a:cxn>
                  <a:cxn ang="0">
                    <a:pos x="40" y="91"/>
                  </a:cxn>
                  <a:cxn ang="0">
                    <a:pos x="52" y="89"/>
                  </a:cxn>
                  <a:cxn ang="0">
                    <a:pos x="59" y="79"/>
                  </a:cxn>
                  <a:cxn ang="0">
                    <a:pos x="75" y="71"/>
                  </a:cxn>
                  <a:cxn ang="0">
                    <a:pos x="83" y="66"/>
                  </a:cxn>
                  <a:cxn ang="0">
                    <a:pos x="90" y="49"/>
                  </a:cxn>
                  <a:cxn ang="0">
                    <a:pos x="88" y="40"/>
                  </a:cxn>
                  <a:cxn ang="0">
                    <a:pos x="100" y="36"/>
                  </a:cxn>
                  <a:cxn ang="0">
                    <a:pos x="115" y="30"/>
                  </a:cxn>
                  <a:cxn ang="0">
                    <a:pos x="127" y="33"/>
                  </a:cxn>
                  <a:cxn ang="0">
                    <a:pos x="143" y="38"/>
                  </a:cxn>
                  <a:cxn ang="0">
                    <a:pos x="155" y="35"/>
                  </a:cxn>
                  <a:cxn ang="0">
                    <a:pos x="172" y="41"/>
                  </a:cxn>
                  <a:cxn ang="0">
                    <a:pos x="181" y="35"/>
                  </a:cxn>
                  <a:cxn ang="0">
                    <a:pos x="190" y="36"/>
                  </a:cxn>
                  <a:cxn ang="0">
                    <a:pos x="196" y="31"/>
                  </a:cxn>
                  <a:cxn ang="0">
                    <a:pos x="203" y="25"/>
                  </a:cxn>
                  <a:cxn ang="0">
                    <a:pos x="211" y="26"/>
                  </a:cxn>
                  <a:cxn ang="0">
                    <a:pos x="216" y="13"/>
                  </a:cxn>
                  <a:cxn ang="0">
                    <a:pos x="221" y="0"/>
                  </a:cxn>
                  <a:cxn ang="0">
                    <a:pos x="236" y="5"/>
                  </a:cxn>
                  <a:cxn ang="0">
                    <a:pos x="236" y="18"/>
                  </a:cxn>
                  <a:cxn ang="0">
                    <a:pos x="243" y="26"/>
                  </a:cxn>
                  <a:cxn ang="0">
                    <a:pos x="246" y="45"/>
                  </a:cxn>
                  <a:cxn ang="0">
                    <a:pos x="258" y="49"/>
                  </a:cxn>
                  <a:cxn ang="0">
                    <a:pos x="271" y="41"/>
                  </a:cxn>
                  <a:cxn ang="0">
                    <a:pos x="279" y="31"/>
                  </a:cxn>
                </a:cxnLst>
                <a:rect l="0" t="0" r="r" b="b"/>
                <a:pathLst>
                  <a:path w="323" h="242">
                    <a:moveTo>
                      <a:pt x="279" y="31"/>
                    </a:moveTo>
                    <a:lnTo>
                      <a:pt x="289" y="25"/>
                    </a:lnTo>
                    <a:lnTo>
                      <a:pt x="298" y="23"/>
                    </a:lnTo>
                    <a:lnTo>
                      <a:pt x="298" y="28"/>
                    </a:lnTo>
                    <a:lnTo>
                      <a:pt x="308" y="26"/>
                    </a:lnTo>
                    <a:lnTo>
                      <a:pt x="311" y="23"/>
                    </a:lnTo>
                    <a:lnTo>
                      <a:pt x="321" y="23"/>
                    </a:lnTo>
                    <a:lnTo>
                      <a:pt x="323" y="26"/>
                    </a:lnTo>
                    <a:lnTo>
                      <a:pt x="314" y="33"/>
                    </a:lnTo>
                    <a:lnTo>
                      <a:pt x="318" y="33"/>
                    </a:lnTo>
                    <a:lnTo>
                      <a:pt x="313" y="41"/>
                    </a:lnTo>
                    <a:lnTo>
                      <a:pt x="303" y="45"/>
                    </a:lnTo>
                    <a:lnTo>
                      <a:pt x="278" y="49"/>
                    </a:lnTo>
                    <a:lnTo>
                      <a:pt x="273" y="46"/>
                    </a:lnTo>
                    <a:lnTo>
                      <a:pt x="265" y="51"/>
                    </a:lnTo>
                    <a:lnTo>
                      <a:pt x="260" y="54"/>
                    </a:lnTo>
                    <a:lnTo>
                      <a:pt x="253" y="54"/>
                    </a:lnTo>
                    <a:lnTo>
                      <a:pt x="248" y="61"/>
                    </a:lnTo>
                    <a:lnTo>
                      <a:pt x="245" y="64"/>
                    </a:lnTo>
                    <a:lnTo>
                      <a:pt x="255" y="78"/>
                    </a:lnTo>
                    <a:lnTo>
                      <a:pt x="255" y="88"/>
                    </a:lnTo>
                    <a:lnTo>
                      <a:pt x="243" y="101"/>
                    </a:lnTo>
                    <a:lnTo>
                      <a:pt x="250" y="106"/>
                    </a:lnTo>
                    <a:lnTo>
                      <a:pt x="250" y="113"/>
                    </a:lnTo>
                    <a:lnTo>
                      <a:pt x="243" y="121"/>
                    </a:lnTo>
                    <a:lnTo>
                      <a:pt x="235" y="121"/>
                    </a:lnTo>
                    <a:lnTo>
                      <a:pt x="225" y="118"/>
                    </a:lnTo>
                    <a:lnTo>
                      <a:pt x="220" y="121"/>
                    </a:lnTo>
                    <a:lnTo>
                      <a:pt x="221" y="128"/>
                    </a:lnTo>
                    <a:lnTo>
                      <a:pt x="228" y="129"/>
                    </a:lnTo>
                    <a:lnTo>
                      <a:pt x="230" y="136"/>
                    </a:lnTo>
                    <a:lnTo>
                      <a:pt x="230" y="139"/>
                    </a:lnTo>
                    <a:lnTo>
                      <a:pt x="223" y="143"/>
                    </a:lnTo>
                    <a:lnTo>
                      <a:pt x="218" y="143"/>
                    </a:lnTo>
                    <a:lnTo>
                      <a:pt x="216" y="146"/>
                    </a:lnTo>
                    <a:lnTo>
                      <a:pt x="215" y="154"/>
                    </a:lnTo>
                    <a:lnTo>
                      <a:pt x="213" y="159"/>
                    </a:lnTo>
                    <a:lnTo>
                      <a:pt x="213" y="162"/>
                    </a:lnTo>
                    <a:lnTo>
                      <a:pt x="211" y="164"/>
                    </a:lnTo>
                    <a:lnTo>
                      <a:pt x="213" y="174"/>
                    </a:lnTo>
                    <a:lnTo>
                      <a:pt x="208" y="181"/>
                    </a:lnTo>
                    <a:lnTo>
                      <a:pt x="203" y="176"/>
                    </a:lnTo>
                    <a:lnTo>
                      <a:pt x="201" y="176"/>
                    </a:lnTo>
                    <a:lnTo>
                      <a:pt x="200" y="177"/>
                    </a:lnTo>
                    <a:lnTo>
                      <a:pt x="195" y="177"/>
                    </a:lnTo>
                    <a:lnTo>
                      <a:pt x="191" y="176"/>
                    </a:lnTo>
                    <a:lnTo>
                      <a:pt x="186" y="176"/>
                    </a:lnTo>
                    <a:lnTo>
                      <a:pt x="185" y="179"/>
                    </a:lnTo>
                    <a:lnTo>
                      <a:pt x="175" y="186"/>
                    </a:lnTo>
                    <a:lnTo>
                      <a:pt x="180" y="187"/>
                    </a:lnTo>
                    <a:lnTo>
                      <a:pt x="176" y="189"/>
                    </a:lnTo>
                    <a:lnTo>
                      <a:pt x="168" y="194"/>
                    </a:lnTo>
                    <a:lnTo>
                      <a:pt x="165" y="192"/>
                    </a:lnTo>
                    <a:lnTo>
                      <a:pt x="158" y="192"/>
                    </a:lnTo>
                    <a:lnTo>
                      <a:pt x="157" y="196"/>
                    </a:lnTo>
                    <a:lnTo>
                      <a:pt x="157" y="199"/>
                    </a:lnTo>
                    <a:lnTo>
                      <a:pt x="152" y="201"/>
                    </a:lnTo>
                    <a:lnTo>
                      <a:pt x="148" y="204"/>
                    </a:lnTo>
                    <a:lnTo>
                      <a:pt x="148" y="211"/>
                    </a:lnTo>
                    <a:lnTo>
                      <a:pt x="150" y="217"/>
                    </a:lnTo>
                    <a:lnTo>
                      <a:pt x="150" y="222"/>
                    </a:lnTo>
                    <a:lnTo>
                      <a:pt x="152" y="227"/>
                    </a:lnTo>
                    <a:lnTo>
                      <a:pt x="152" y="231"/>
                    </a:lnTo>
                    <a:lnTo>
                      <a:pt x="142" y="234"/>
                    </a:lnTo>
                    <a:lnTo>
                      <a:pt x="133" y="234"/>
                    </a:lnTo>
                    <a:lnTo>
                      <a:pt x="125" y="236"/>
                    </a:lnTo>
                    <a:lnTo>
                      <a:pt x="112" y="236"/>
                    </a:lnTo>
                    <a:lnTo>
                      <a:pt x="103" y="237"/>
                    </a:lnTo>
                    <a:lnTo>
                      <a:pt x="102" y="241"/>
                    </a:lnTo>
                    <a:lnTo>
                      <a:pt x="93" y="239"/>
                    </a:lnTo>
                    <a:lnTo>
                      <a:pt x="85" y="242"/>
                    </a:lnTo>
                    <a:lnTo>
                      <a:pt x="57" y="242"/>
                    </a:lnTo>
                    <a:lnTo>
                      <a:pt x="24" y="234"/>
                    </a:lnTo>
                    <a:lnTo>
                      <a:pt x="42" y="211"/>
                    </a:lnTo>
                    <a:lnTo>
                      <a:pt x="44" y="209"/>
                    </a:lnTo>
                    <a:lnTo>
                      <a:pt x="42" y="201"/>
                    </a:lnTo>
                    <a:lnTo>
                      <a:pt x="42" y="194"/>
                    </a:lnTo>
                    <a:lnTo>
                      <a:pt x="39" y="186"/>
                    </a:lnTo>
                    <a:lnTo>
                      <a:pt x="17" y="186"/>
                    </a:lnTo>
                    <a:lnTo>
                      <a:pt x="17" y="177"/>
                    </a:lnTo>
                    <a:lnTo>
                      <a:pt x="14" y="174"/>
                    </a:lnTo>
                    <a:lnTo>
                      <a:pt x="15" y="171"/>
                    </a:lnTo>
                    <a:lnTo>
                      <a:pt x="12" y="161"/>
                    </a:lnTo>
                    <a:lnTo>
                      <a:pt x="5" y="149"/>
                    </a:lnTo>
                    <a:lnTo>
                      <a:pt x="7" y="144"/>
                    </a:lnTo>
                    <a:lnTo>
                      <a:pt x="15" y="136"/>
                    </a:lnTo>
                    <a:lnTo>
                      <a:pt x="12" y="136"/>
                    </a:lnTo>
                    <a:lnTo>
                      <a:pt x="4" y="134"/>
                    </a:lnTo>
                    <a:lnTo>
                      <a:pt x="4" y="129"/>
                    </a:lnTo>
                    <a:lnTo>
                      <a:pt x="2" y="121"/>
                    </a:lnTo>
                    <a:lnTo>
                      <a:pt x="2" y="121"/>
                    </a:lnTo>
                    <a:lnTo>
                      <a:pt x="5" y="114"/>
                    </a:lnTo>
                    <a:lnTo>
                      <a:pt x="2" y="113"/>
                    </a:lnTo>
                    <a:lnTo>
                      <a:pt x="0" y="109"/>
                    </a:lnTo>
                    <a:lnTo>
                      <a:pt x="5" y="108"/>
                    </a:lnTo>
                    <a:lnTo>
                      <a:pt x="12" y="104"/>
                    </a:lnTo>
                    <a:lnTo>
                      <a:pt x="10" y="101"/>
                    </a:lnTo>
                    <a:lnTo>
                      <a:pt x="12" y="99"/>
                    </a:lnTo>
                    <a:lnTo>
                      <a:pt x="9" y="96"/>
                    </a:lnTo>
                    <a:lnTo>
                      <a:pt x="10" y="93"/>
                    </a:lnTo>
                    <a:lnTo>
                      <a:pt x="10" y="89"/>
                    </a:lnTo>
                    <a:lnTo>
                      <a:pt x="10" y="84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9" y="84"/>
                    </a:lnTo>
                    <a:lnTo>
                      <a:pt x="22" y="86"/>
                    </a:lnTo>
                    <a:lnTo>
                      <a:pt x="25" y="86"/>
                    </a:lnTo>
                    <a:lnTo>
                      <a:pt x="29" y="84"/>
                    </a:lnTo>
                    <a:lnTo>
                      <a:pt x="34" y="84"/>
                    </a:lnTo>
                    <a:lnTo>
                      <a:pt x="39" y="88"/>
                    </a:lnTo>
                    <a:lnTo>
                      <a:pt x="40" y="91"/>
                    </a:lnTo>
                    <a:lnTo>
                      <a:pt x="42" y="93"/>
                    </a:lnTo>
                    <a:lnTo>
                      <a:pt x="45" y="89"/>
                    </a:lnTo>
                    <a:lnTo>
                      <a:pt x="52" y="89"/>
                    </a:lnTo>
                    <a:lnTo>
                      <a:pt x="55" y="86"/>
                    </a:lnTo>
                    <a:lnTo>
                      <a:pt x="55" y="83"/>
                    </a:lnTo>
                    <a:lnTo>
                      <a:pt x="59" y="79"/>
                    </a:lnTo>
                    <a:lnTo>
                      <a:pt x="59" y="78"/>
                    </a:lnTo>
                    <a:lnTo>
                      <a:pt x="65" y="73"/>
                    </a:lnTo>
                    <a:lnTo>
                      <a:pt x="75" y="71"/>
                    </a:lnTo>
                    <a:lnTo>
                      <a:pt x="75" y="69"/>
                    </a:lnTo>
                    <a:lnTo>
                      <a:pt x="80" y="66"/>
                    </a:lnTo>
                    <a:lnTo>
                      <a:pt x="83" y="66"/>
                    </a:lnTo>
                    <a:lnTo>
                      <a:pt x="85" y="59"/>
                    </a:lnTo>
                    <a:lnTo>
                      <a:pt x="85" y="54"/>
                    </a:lnTo>
                    <a:lnTo>
                      <a:pt x="90" y="49"/>
                    </a:lnTo>
                    <a:lnTo>
                      <a:pt x="90" y="45"/>
                    </a:lnTo>
                    <a:lnTo>
                      <a:pt x="88" y="43"/>
                    </a:lnTo>
                    <a:lnTo>
                      <a:pt x="88" y="40"/>
                    </a:lnTo>
                    <a:lnTo>
                      <a:pt x="92" y="40"/>
                    </a:lnTo>
                    <a:lnTo>
                      <a:pt x="93" y="38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10" y="31"/>
                    </a:lnTo>
                    <a:lnTo>
                      <a:pt x="115" y="30"/>
                    </a:lnTo>
                    <a:lnTo>
                      <a:pt x="120" y="33"/>
                    </a:lnTo>
                    <a:lnTo>
                      <a:pt x="125" y="31"/>
                    </a:lnTo>
                    <a:lnTo>
                      <a:pt x="127" y="33"/>
                    </a:lnTo>
                    <a:lnTo>
                      <a:pt x="135" y="31"/>
                    </a:lnTo>
                    <a:lnTo>
                      <a:pt x="140" y="33"/>
                    </a:lnTo>
                    <a:lnTo>
                      <a:pt x="143" y="38"/>
                    </a:lnTo>
                    <a:lnTo>
                      <a:pt x="147" y="38"/>
                    </a:lnTo>
                    <a:lnTo>
                      <a:pt x="150" y="35"/>
                    </a:lnTo>
                    <a:lnTo>
                      <a:pt x="155" y="35"/>
                    </a:lnTo>
                    <a:lnTo>
                      <a:pt x="160" y="41"/>
                    </a:lnTo>
                    <a:lnTo>
                      <a:pt x="163" y="41"/>
                    </a:lnTo>
                    <a:lnTo>
                      <a:pt x="172" y="41"/>
                    </a:lnTo>
                    <a:lnTo>
                      <a:pt x="176" y="38"/>
                    </a:lnTo>
                    <a:lnTo>
                      <a:pt x="180" y="35"/>
                    </a:lnTo>
                    <a:lnTo>
                      <a:pt x="181" y="35"/>
                    </a:lnTo>
                    <a:lnTo>
                      <a:pt x="185" y="31"/>
                    </a:lnTo>
                    <a:lnTo>
                      <a:pt x="186" y="33"/>
                    </a:lnTo>
                    <a:lnTo>
                      <a:pt x="190" y="36"/>
                    </a:lnTo>
                    <a:lnTo>
                      <a:pt x="198" y="36"/>
                    </a:lnTo>
                    <a:lnTo>
                      <a:pt x="198" y="33"/>
                    </a:lnTo>
                    <a:lnTo>
                      <a:pt x="196" y="31"/>
                    </a:lnTo>
                    <a:lnTo>
                      <a:pt x="196" y="28"/>
                    </a:lnTo>
                    <a:lnTo>
                      <a:pt x="201" y="26"/>
                    </a:lnTo>
                    <a:lnTo>
                      <a:pt x="203" y="25"/>
                    </a:lnTo>
                    <a:lnTo>
                      <a:pt x="206" y="25"/>
                    </a:lnTo>
                    <a:lnTo>
                      <a:pt x="206" y="26"/>
                    </a:lnTo>
                    <a:lnTo>
                      <a:pt x="211" y="26"/>
                    </a:lnTo>
                    <a:lnTo>
                      <a:pt x="215" y="21"/>
                    </a:lnTo>
                    <a:lnTo>
                      <a:pt x="213" y="16"/>
                    </a:lnTo>
                    <a:lnTo>
                      <a:pt x="216" y="13"/>
                    </a:lnTo>
                    <a:lnTo>
                      <a:pt x="218" y="10"/>
                    </a:lnTo>
                    <a:lnTo>
                      <a:pt x="220" y="5"/>
                    </a:lnTo>
                    <a:lnTo>
                      <a:pt x="221" y="0"/>
                    </a:lnTo>
                    <a:lnTo>
                      <a:pt x="228" y="0"/>
                    </a:lnTo>
                    <a:lnTo>
                      <a:pt x="231" y="3"/>
                    </a:lnTo>
                    <a:lnTo>
                      <a:pt x="236" y="5"/>
                    </a:lnTo>
                    <a:lnTo>
                      <a:pt x="236" y="8"/>
                    </a:lnTo>
                    <a:lnTo>
                      <a:pt x="235" y="13"/>
                    </a:lnTo>
                    <a:lnTo>
                      <a:pt x="236" y="18"/>
                    </a:lnTo>
                    <a:lnTo>
                      <a:pt x="241" y="18"/>
                    </a:lnTo>
                    <a:lnTo>
                      <a:pt x="243" y="21"/>
                    </a:lnTo>
                    <a:lnTo>
                      <a:pt x="243" y="26"/>
                    </a:lnTo>
                    <a:lnTo>
                      <a:pt x="243" y="31"/>
                    </a:lnTo>
                    <a:lnTo>
                      <a:pt x="243" y="40"/>
                    </a:lnTo>
                    <a:lnTo>
                      <a:pt x="246" y="45"/>
                    </a:lnTo>
                    <a:lnTo>
                      <a:pt x="246" y="48"/>
                    </a:lnTo>
                    <a:lnTo>
                      <a:pt x="251" y="49"/>
                    </a:lnTo>
                    <a:lnTo>
                      <a:pt x="258" y="49"/>
                    </a:lnTo>
                    <a:lnTo>
                      <a:pt x="261" y="46"/>
                    </a:lnTo>
                    <a:lnTo>
                      <a:pt x="263" y="45"/>
                    </a:lnTo>
                    <a:lnTo>
                      <a:pt x="271" y="41"/>
                    </a:lnTo>
                    <a:lnTo>
                      <a:pt x="274" y="38"/>
                    </a:lnTo>
                    <a:lnTo>
                      <a:pt x="276" y="33"/>
                    </a:lnTo>
                    <a:lnTo>
                      <a:pt x="279" y="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5" name="Freeform 70"/>
              <p:cNvSpPr>
                <a:spLocks noEditPoints="1"/>
              </p:cNvSpPr>
              <p:nvPr/>
            </p:nvSpPr>
            <p:spPr bwMode="auto">
              <a:xfrm>
                <a:off x="6964051" y="2754033"/>
                <a:ext cx="70636" cy="51879"/>
              </a:xfrm>
              <a:custGeom>
                <a:avLst/>
                <a:gdLst/>
                <a:ahLst/>
                <a:cxnLst>
                  <a:cxn ang="0">
                    <a:pos x="2" y="17"/>
                  </a:cxn>
                  <a:cxn ang="0">
                    <a:pos x="25" y="20"/>
                  </a:cxn>
                  <a:cxn ang="0">
                    <a:pos x="42" y="25"/>
                  </a:cxn>
                  <a:cxn ang="0">
                    <a:pos x="40" y="12"/>
                  </a:cxn>
                  <a:cxn ang="0">
                    <a:pos x="37" y="2"/>
                  </a:cxn>
                  <a:cxn ang="0">
                    <a:pos x="55" y="10"/>
                  </a:cxn>
                  <a:cxn ang="0">
                    <a:pos x="68" y="17"/>
                  </a:cxn>
                  <a:cxn ang="0">
                    <a:pos x="78" y="9"/>
                  </a:cxn>
                  <a:cxn ang="0">
                    <a:pos x="91" y="4"/>
                  </a:cxn>
                  <a:cxn ang="0">
                    <a:pos x="100" y="17"/>
                  </a:cxn>
                  <a:cxn ang="0">
                    <a:pos x="111" y="28"/>
                  </a:cxn>
                  <a:cxn ang="0">
                    <a:pos x="116" y="35"/>
                  </a:cxn>
                  <a:cxn ang="0">
                    <a:pos x="130" y="37"/>
                  </a:cxn>
                  <a:cxn ang="0">
                    <a:pos x="130" y="42"/>
                  </a:cxn>
                  <a:cxn ang="0">
                    <a:pos x="120" y="43"/>
                  </a:cxn>
                  <a:cxn ang="0">
                    <a:pos x="113" y="55"/>
                  </a:cxn>
                  <a:cxn ang="0">
                    <a:pos x="111" y="62"/>
                  </a:cxn>
                  <a:cxn ang="0">
                    <a:pos x="113" y="68"/>
                  </a:cxn>
                  <a:cxn ang="0">
                    <a:pos x="110" y="73"/>
                  </a:cxn>
                  <a:cxn ang="0">
                    <a:pos x="108" y="83"/>
                  </a:cxn>
                  <a:cxn ang="0">
                    <a:pos x="108" y="77"/>
                  </a:cxn>
                  <a:cxn ang="0">
                    <a:pos x="103" y="75"/>
                  </a:cxn>
                  <a:cxn ang="0">
                    <a:pos x="103" y="85"/>
                  </a:cxn>
                  <a:cxn ang="0">
                    <a:pos x="105" y="90"/>
                  </a:cxn>
                  <a:cxn ang="0">
                    <a:pos x="103" y="100"/>
                  </a:cxn>
                  <a:cxn ang="0">
                    <a:pos x="96" y="97"/>
                  </a:cxn>
                  <a:cxn ang="0">
                    <a:pos x="85" y="87"/>
                  </a:cxn>
                  <a:cxn ang="0">
                    <a:pos x="86" y="78"/>
                  </a:cxn>
                  <a:cxn ang="0">
                    <a:pos x="88" y="73"/>
                  </a:cxn>
                  <a:cxn ang="0">
                    <a:pos x="83" y="67"/>
                  </a:cxn>
                  <a:cxn ang="0">
                    <a:pos x="80" y="65"/>
                  </a:cxn>
                  <a:cxn ang="0">
                    <a:pos x="73" y="68"/>
                  </a:cxn>
                  <a:cxn ang="0">
                    <a:pos x="67" y="73"/>
                  </a:cxn>
                  <a:cxn ang="0">
                    <a:pos x="60" y="80"/>
                  </a:cxn>
                  <a:cxn ang="0">
                    <a:pos x="55" y="82"/>
                  </a:cxn>
                  <a:cxn ang="0">
                    <a:pos x="50" y="87"/>
                  </a:cxn>
                  <a:cxn ang="0">
                    <a:pos x="48" y="85"/>
                  </a:cxn>
                  <a:cxn ang="0">
                    <a:pos x="50" y="78"/>
                  </a:cxn>
                  <a:cxn ang="0">
                    <a:pos x="52" y="72"/>
                  </a:cxn>
                  <a:cxn ang="0">
                    <a:pos x="38" y="67"/>
                  </a:cxn>
                  <a:cxn ang="0">
                    <a:pos x="25" y="53"/>
                  </a:cxn>
                  <a:cxn ang="0">
                    <a:pos x="28" y="47"/>
                  </a:cxn>
                  <a:cxn ang="0">
                    <a:pos x="18" y="35"/>
                  </a:cxn>
                  <a:cxn ang="0">
                    <a:pos x="15" y="25"/>
                  </a:cxn>
                  <a:cxn ang="0">
                    <a:pos x="2" y="20"/>
                  </a:cxn>
                  <a:cxn ang="0">
                    <a:pos x="42" y="85"/>
                  </a:cxn>
                  <a:cxn ang="0">
                    <a:pos x="25" y="70"/>
                  </a:cxn>
                  <a:cxn ang="0">
                    <a:pos x="17" y="62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2" y="63"/>
                  </a:cxn>
                  <a:cxn ang="0">
                    <a:pos x="8" y="67"/>
                  </a:cxn>
                  <a:cxn ang="0">
                    <a:pos x="10" y="73"/>
                  </a:cxn>
                  <a:cxn ang="0">
                    <a:pos x="22" y="83"/>
                  </a:cxn>
                  <a:cxn ang="0">
                    <a:pos x="33" y="85"/>
                  </a:cxn>
                  <a:cxn ang="0">
                    <a:pos x="42" y="85"/>
                  </a:cxn>
                </a:cxnLst>
                <a:rect l="0" t="0" r="r" b="b"/>
                <a:pathLst>
                  <a:path w="133" h="100">
                    <a:moveTo>
                      <a:pt x="2" y="20"/>
                    </a:moveTo>
                    <a:lnTo>
                      <a:pt x="2" y="17"/>
                    </a:lnTo>
                    <a:lnTo>
                      <a:pt x="10" y="14"/>
                    </a:lnTo>
                    <a:lnTo>
                      <a:pt x="25" y="20"/>
                    </a:lnTo>
                    <a:lnTo>
                      <a:pt x="33" y="20"/>
                    </a:lnTo>
                    <a:lnTo>
                      <a:pt x="42" y="25"/>
                    </a:lnTo>
                    <a:lnTo>
                      <a:pt x="43" y="17"/>
                    </a:lnTo>
                    <a:lnTo>
                      <a:pt x="40" y="12"/>
                    </a:lnTo>
                    <a:lnTo>
                      <a:pt x="33" y="9"/>
                    </a:lnTo>
                    <a:lnTo>
                      <a:pt x="37" y="2"/>
                    </a:lnTo>
                    <a:lnTo>
                      <a:pt x="43" y="2"/>
                    </a:lnTo>
                    <a:lnTo>
                      <a:pt x="55" y="10"/>
                    </a:lnTo>
                    <a:lnTo>
                      <a:pt x="58" y="15"/>
                    </a:lnTo>
                    <a:lnTo>
                      <a:pt x="68" y="17"/>
                    </a:lnTo>
                    <a:lnTo>
                      <a:pt x="72" y="12"/>
                    </a:lnTo>
                    <a:lnTo>
                      <a:pt x="78" y="9"/>
                    </a:lnTo>
                    <a:lnTo>
                      <a:pt x="86" y="0"/>
                    </a:lnTo>
                    <a:lnTo>
                      <a:pt x="91" y="4"/>
                    </a:lnTo>
                    <a:lnTo>
                      <a:pt x="98" y="12"/>
                    </a:lnTo>
                    <a:lnTo>
                      <a:pt x="100" y="17"/>
                    </a:lnTo>
                    <a:lnTo>
                      <a:pt x="103" y="22"/>
                    </a:lnTo>
                    <a:lnTo>
                      <a:pt x="111" y="28"/>
                    </a:lnTo>
                    <a:lnTo>
                      <a:pt x="111" y="32"/>
                    </a:lnTo>
                    <a:lnTo>
                      <a:pt x="116" y="35"/>
                    </a:lnTo>
                    <a:lnTo>
                      <a:pt x="123" y="35"/>
                    </a:lnTo>
                    <a:lnTo>
                      <a:pt x="130" y="37"/>
                    </a:lnTo>
                    <a:lnTo>
                      <a:pt x="133" y="42"/>
                    </a:lnTo>
                    <a:lnTo>
                      <a:pt x="130" y="42"/>
                    </a:lnTo>
                    <a:lnTo>
                      <a:pt x="126" y="43"/>
                    </a:lnTo>
                    <a:lnTo>
                      <a:pt x="120" y="43"/>
                    </a:lnTo>
                    <a:lnTo>
                      <a:pt x="111" y="48"/>
                    </a:lnTo>
                    <a:lnTo>
                      <a:pt x="113" y="55"/>
                    </a:lnTo>
                    <a:lnTo>
                      <a:pt x="113" y="60"/>
                    </a:lnTo>
                    <a:lnTo>
                      <a:pt x="111" y="62"/>
                    </a:lnTo>
                    <a:lnTo>
                      <a:pt x="111" y="67"/>
                    </a:lnTo>
                    <a:lnTo>
                      <a:pt x="113" y="68"/>
                    </a:lnTo>
                    <a:lnTo>
                      <a:pt x="113" y="72"/>
                    </a:lnTo>
                    <a:lnTo>
                      <a:pt x="110" y="73"/>
                    </a:lnTo>
                    <a:lnTo>
                      <a:pt x="110" y="82"/>
                    </a:lnTo>
                    <a:lnTo>
                      <a:pt x="108" y="83"/>
                    </a:lnTo>
                    <a:lnTo>
                      <a:pt x="106" y="82"/>
                    </a:lnTo>
                    <a:lnTo>
                      <a:pt x="108" y="77"/>
                    </a:lnTo>
                    <a:lnTo>
                      <a:pt x="105" y="73"/>
                    </a:lnTo>
                    <a:lnTo>
                      <a:pt x="103" y="75"/>
                    </a:lnTo>
                    <a:lnTo>
                      <a:pt x="101" y="78"/>
                    </a:lnTo>
                    <a:lnTo>
                      <a:pt x="103" y="85"/>
                    </a:lnTo>
                    <a:lnTo>
                      <a:pt x="103" y="88"/>
                    </a:lnTo>
                    <a:lnTo>
                      <a:pt x="105" y="90"/>
                    </a:lnTo>
                    <a:lnTo>
                      <a:pt x="105" y="98"/>
                    </a:lnTo>
                    <a:lnTo>
                      <a:pt x="103" y="100"/>
                    </a:lnTo>
                    <a:lnTo>
                      <a:pt x="98" y="98"/>
                    </a:lnTo>
                    <a:lnTo>
                      <a:pt x="96" y="97"/>
                    </a:lnTo>
                    <a:lnTo>
                      <a:pt x="93" y="93"/>
                    </a:lnTo>
                    <a:lnTo>
                      <a:pt x="85" y="87"/>
                    </a:lnTo>
                    <a:lnTo>
                      <a:pt x="93" y="82"/>
                    </a:lnTo>
                    <a:lnTo>
                      <a:pt x="86" y="78"/>
                    </a:lnTo>
                    <a:lnTo>
                      <a:pt x="85" y="77"/>
                    </a:lnTo>
                    <a:lnTo>
                      <a:pt x="88" y="73"/>
                    </a:lnTo>
                    <a:lnTo>
                      <a:pt x="85" y="70"/>
                    </a:lnTo>
                    <a:lnTo>
                      <a:pt x="83" y="67"/>
                    </a:lnTo>
                    <a:lnTo>
                      <a:pt x="81" y="67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3" y="68"/>
                    </a:lnTo>
                    <a:lnTo>
                      <a:pt x="70" y="70"/>
                    </a:lnTo>
                    <a:lnTo>
                      <a:pt x="67" y="73"/>
                    </a:lnTo>
                    <a:lnTo>
                      <a:pt x="63" y="73"/>
                    </a:lnTo>
                    <a:lnTo>
                      <a:pt x="60" y="80"/>
                    </a:lnTo>
                    <a:lnTo>
                      <a:pt x="57" y="80"/>
                    </a:lnTo>
                    <a:lnTo>
                      <a:pt x="55" y="82"/>
                    </a:lnTo>
                    <a:lnTo>
                      <a:pt x="55" y="83"/>
                    </a:lnTo>
                    <a:lnTo>
                      <a:pt x="50" y="87"/>
                    </a:lnTo>
                    <a:lnTo>
                      <a:pt x="47" y="85"/>
                    </a:lnTo>
                    <a:lnTo>
                      <a:pt x="48" y="85"/>
                    </a:lnTo>
                    <a:lnTo>
                      <a:pt x="48" y="80"/>
                    </a:lnTo>
                    <a:lnTo>
                      <a:pt x="50" y="78"/>
                    </a:lnTo>
                    <a:lnTo>
                      <a:pt x="45" y="72"/>
                    </a:lnTo>
                    <a:lnTo>
                      <a:pt x="52" y="72"/>
                    </a:lnTo>
                    <a:lnTo>
                      <a:pt x="47" y="67"/>
                    </a:lnTo>
                    <a:lnTo>
                      <a:pt x="38" y="67"/>
                    </a:lnTo>
                    <a:lnTo>
                      <a:pt x="28" y="60"/>
                    </a:lnTo>
                    <a:lnTo>
                      <a:pt x="25" y="53"/>
                    </a:lnTo>
                    <a:lnTo>
                      <a:pt x="28" y="52"/>
                    </a:lnTo>
                    <a:lnTo>
                      <a:pt x="28" y="47"/>
                    </a:lnTo>
                    <a:lnTo>
                      <a:pt x="18" y="38"/>
                    </a:lnTo>
                    <a:lnTo>
                      <a:pt x="18" y="35"/>
                    </a:lnTo>
                    <a:lnTo>
                      <a:pt x="20" y="30"/>
                    </a:lnTo>
                    <a:lnTo>
                      <a:pt x="15" y="25"/>
                    </a:lnTo>
                    <a:lnTo>
                      <a:pt x="5" y="25"/>
                    </a:lnTo>
                    <a:lnTo>
                      <a:pt x="2" y="20"/>
                    </a:lnTo>
                    <a:lnTo>
                      <a:pt x="2" y="20"/>
                    </a:lnTo>
                    <a:close/>
                    <a:moveTo>
                      <a:pt x="42" y="85"/>
                    </a:moveTo>
                    <a:lnTo>
                      <a:pt x="32" y="72"/>
                    </a:lnTo>
                    <a:lnTo>
                      <a:pt x="25" y="70"/>
                    </a:lnTo>
                    <a:lnTo>
                      <a:pt x="22" y="62"/>
                    </a:lnTo>
                    <a:lnTo>
                      <a:pt x="17" y="62"/>
                    </a:lnTo>
                    <a:lnTo>
                      <a:pt x="15" y="65"/>
                    </a:lnTo>
                    <a:lnTo>
                      <a:pt x="8" y="58"/>
                    </a:lnTo>
                    <a:lnTo>
                      <a:pt x="3" y="62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5" y="67"/>
                    </a:lnTo>
                    <a:lnTo>
                      <a:pt x="8" y="67"/>
                    </a:lnTo>
                    <a:lnTo>
                      <a:pt x="10" y="70"/>
                    </a:lnTo>
                    <a:lnTo>
                      <a:pt x="10" y="73"/>
                    </a:lnTo>
                    <a:lnTo>
                      <a:pt x="20" y="78"/>
                    </a:lnTo>
                    <a:lnTo>
                      <a:pt x="22" y="83"/>
                    </a:lnTo>
                    <a:lnTo>
                      <a:pt x="27" y="85"/>
                    </a:lnTo>
                    <a:lnTo>
                      <a:pt x="33" y="85"/>
                    </a:lnTo>
                    <a:lnTo>
                      <a:pt x="40" y="90"/>
                    </a:lnTo>
                    <a:lnTo>
                      <a:pt x="42" y="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6" name="Freeform 71"/>
              <p:cNvSpPr>
                <a:spLocks/>
              </p:cNvSpPr>
              <p:nvPr/>
            </p:nvSpPr>
            <p:spPr bwMode="auto">
              <a:xfrm>
                <a:off x="6957630" y="2787236"/>
                <a:ext cx="265422" cy="186766"/>
              </a:xfrm>
              <a:custGeom>
                <a:avLst/>
                <a:gdLst/>
                <a:ahLst/>
                <a:cxnLst>
                  <a:cxn ang="0">
                    <a:pos x="22" y="7"/>
                  </a:cxn>
                  <a:cxn ang="0">
                    <a:pos x="45" y="22"/>
                  </a:cxn>
                  <a:cxn ang="0">
                    <a:pos x="62" y="24"/>
                  </a:cxn>
                  <a:cxn ang="0">
                    <a:pos x="75" y="10"/>
                  </a:cxn>
                  <a:cxn ang="0">
                    <a:pos x="92" y="2"/>
                  </a:cxn>
                  <a:cxn ang="0">
                    <a:pos x="97" y="14"/>
                  </a:cxn>
                  <a:cxn ang="0">
                    <a:pos x="108" y="34"/>
                  </a:cxn>
                  <a:cxn ang="0">
                    <a:pos x="120" y="40"/>
                  </a:cxn>
                  <a:cxn ang="0">
                    <a:pos x="130" y="59"/>
                  </a:cxn>
                  <a:cxn ang="0">
                    <a:pos x="153" y="60"/>
                  </a:cxn>
                  <a:cxn ang="0">
                    <a:pos x="191" y="78"/>
                  </a:cxn>
                  <a:cxn ang="0">
                    <a:pos x="246" y="75"/>
                  </a:cxn>
                  <a:cxn ang="0">
                    <a:pos x="258" y="55"/>
                  </a:cxn>
                  <a:cxn ang="0">
                    <a:pos x="288" y="37"/>
                  </a:cxn>
                  <a:cxn ang="0">
                    <a:pos x="314" y="34"/>
                  </a:cxn>
                  <a:cxn ang="0">
                    <a:pos x="353" y="47"/>
                  </a:cxn>
                  <a:cxn ang="0">
                    <a:pos x="376" y="59"/>
                  </a:cxn>
                  <a:cxn ang="0">
                    <a:pos x="416" y="82"/>
                  </a:cxn>
                  <a:cxn ang="0">
                    <a:pos x="417" y="103"/>
                  </a:cxn>
                  <a:cxn ang="0">
                    <a:pos x="419" y="118"/>
                  </a:cxn>
                  <a:cxn ang="0">
                    <a:pos x="409" y="135"/>
                  </a:cxn>
                  <a:cxn ang="0">
                    <a:pos x="422" y="150"/>
                  </a:cxn>
                  <a:cxn ang="0">
                    <a:pos x="421" y="188"/>
                  </a:cxn>
                  <a:cxn ang="0">
                    <a:pos x="449" y="215"/>
                  </a:cxn>
                  <a:cxn ang="0">
                    <a:pos x="446" y="268"/>
                  </a:cxn>
                  <a:cxn ang="0">
                    <a:pos x="474" y="281"/>
                  </a:cxn>
                  <a:cxn ang="0">
                    <a:pos x="484" y="303"/>
                  </a:cxn>
                  <a:cxn ang="0">
                    <a:pos x="494" y="323"/>
                  </a:cxn>
                  <a:cxn ang="0">
                    <a:pos x="464" y="333"/>
                  </a:cxn>
                  <a:cxn ang="0">
                    <a:pos x="462" y="357"/>
                  </a:cxn>
                  <a:cxn ang="0">
                    <a:pos x="442" y="356"/>
                  </a:cxn>
                  <a:cxn ang="0">
                    <a:pos x="431" y="354"/>
                  </a:cxn>
                  <a:cxn ang="0">
                    <a:pos x="392" y="351"/>
                  </a:cxn>
                  <a:cxn ang="0">
                    <a:pos x="369" y="346"/>
                  </a:cxn>
                  <a:cxn ang="0">
                    <a:pos x="348" y="329"/>
                  </a:cxn>
                  <a:cxn ang="0">
                    <a:pos x="338" y="311"/>
                  </a:cxn>
                  <a:cxn ang="0">
                    <a:pos x="313" y="314"/>
                  </a:cxn>
                  <a:cxn ang="0">
                    <a:pos x="276" y="321"/>
                  </a:cxn>
                  <a:cxn ang="0">
                    <a:pos x="251" y="314"/>
                  </a:cxn>
                  <a:cxn ang="0">
                    <a:pos x="236" y="301"/>
                  </a:cxn>
                  <a:cxn ang="0">
                    <a:pos x="210" y="296"/>
                  </a:cxn>
                  <a:cxn ang="0">
                    <a:pos x="190" y="273"/>
                  </a:cxn>
                  <a:cxn ang="0">
                    <a:pos x="188" y="268"/>
                  </a:cxn>
                  <a:cxn ang="0">
                    <a:pos x="170" y="240"/>
                  </a:cxn>
                  <a:cxn ang="0">
                    <a:pos x="153" y="241"/>
                  </a:cxn>
                  <a:cxn ang="0">
                    <a:pos x="145" y="236"/>
                  </a:cxn>
                  <a:cxn ang="0">
                    <a:pos x="140" y="245"/>
                  </a:cxn>
                  <a:cxn ang="0">
                    <a:pos x="127" y="236"/>
                  </a:cxn>
                  <a:cxn ang="0">
                    <a:pos x="112" y="208"/>
                  </a:cxn>
                  <a:cxn ang="0">
                    <a:pos x="100" y="181"/>
                  </a:cxn>
                  <a:cxn ang="0">
                    <a:pos x="69" y="171"/>
                  </a:cxn>
                  <a:cxn ang="0">
                    <a:pos x="64" y="155"/>
                  </a:cxn>
                  <a:cxn ang="0">
                    <a:pos x="54" y="145"/>
                  </a:cxn>
                  <a:cxn ang="0">
                    <a:pos x="57" y="123"/>
                  </a:cxn>
                  <a:cxn ang="0">
                    <a:pos x="62" y="107"/>
                  </a:cxn>
                  <a:cxn ang="0">
                    <a:pos x="65" y="102"/>
                  </a:cxn>
                  <a:cxn ang="0">
                    <a:pos x="40" y="95"/>
                  </a:cxn>
                  <a:cxn ang="0">
                    <a:pos x="29" y="77"/>
                  </a:cxn>
                  <a:cxn ang="0">
                    <a:pos x="20" y="62"/>
                  </a:cxn>
                  <a:cxn ang="0">
                    <a:pos x="12" y="37"/>
                  </a:cxn>
                  <a:cxn ang="0">
                    <a:pos x="4" y="14"/>
                  </a:cxn>
                  <a:cxn ang="0">
                    <a:pos x="12" y="0"/>
                  </a:cxn>
                </a:cxnLst>
                <a:rect l="0" t="0" r="r" b="b"/>
                <a:pathLst>
                  <a:path w="497" h="361">
                    <a:moveTo>
                      <a:pt x="12" y="0"/>
                    </a:moveTo>
                    <a:lnTo>
                      <a:pt x="14" y="0"/>
                    </a:lnTo>
                    <a:lnTo>
                      <a:pt x="17" y="4"/>
                    </a:lnTo>
                    <a:lnTo>
                      <a:pt x="20" y="4"/>
                    </a:lnTo>
                    <a:lnTo>
                      <a:pt x="22" y="7"/>
                    </a:lnTo>
                    <a:lnTo>
                      <a:pt x="22" y="10"/>
                    </a:lnTo>
                    <a:lnTo>
                      <a:pt x="32" y="15"/>
                    </a:lnTo>
                    <a:lnTo>
                      <a:pt x="34" y="20"/>
                    </a:lnTo>
                    <a:lnTo>
                      <a:pt x="39" y="22"/>
                    </a:lnTo>
                    <a:lnTo>
                      <a:pt x="45" y="22"/>
                    </a:lnTo>
                    <a:lnTo>
                      <a:pt x="52" y="27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9" y="22"/>
                    </a:lnTo>
                    <a:lnTo>
                      <a:pt x="62" y="24"/>
                    </a:lnTo>
                    <a:lnTo>
                      <a:pt x="67" y="20"/>
                    </a:lnTo>
                    <a:lnTo>
                      <a:pt x="67" y="19"/>
                    </a:lnTo>
                    <a:lnTo>
                      <a:pt x="69" y="17"/>
                    </a:lnTo>
                    <a:lnTo>
                      <a:pt x="72" y="17"/>
                    </a:lnTo>
                    <a:lnTo>
                      <a:pt x="75" y="10"/>
                    </a:lnTo>
                    <a:lnTo>
                      <a:pt x="79" y="10"/>
                    </a:lnTo>
                    <a:lnTo>
                      <a:pt x="82" y="7"/>
                    </a:lnTo>
                    <a:lnTo>
                      <a:pt x="85" y="5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3" y="4"/>
                    </a:lnTo>
                    <a:lnTo>
                      <a:pt x="95" y="4"/>
                    </a:lnTo>
                    <a:lnTo>
                      <a:pt x="97" y="7"/>
                    </a:lnTo>
                    <a:lnTo>
                      <a:pt x="100" y="10"/>
                    </a:lnTo>
                    <a:lnTo>
                      <a:pt x="97" y="14"/>
                    </a:lnTo>
                    <a:lnTo>
                      <a:pt x="98" y="15"/>
                    </a:lnTo>
                    <a:lnTo>
                      <a:pt x="105" y="19"/>
                    </a:lnTo>
                    <a:lnTo>
                      <a:pt x="97" y="24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10" y="35"/>
                    </a:lnTo>
                    <a:lnTo>
                      <a:pt x="115" y="37"/>
                    </a:lnTo>
                    <a:lnTo>
                      <a:pt x="117" y="35"/>
                    </a:lnTo>
                    <a:lnTo>
                      <a:pt x="117" y="37"/>
                    </a:lnTo>
                    <a:lnTo>
                      <a:pt x="120" y="40"/>
                    </a:lnTo>
                    <a:lnTo>
                      <a:pt x="120" y="45"/>
                    </a:lnTo>
                    <a:lnTo>
                      <a:pt x="120" y="52"/>
                    </a:lnTo>
                    <a:lnTo>
                      <a:pt x="122" y="54"/>
                    </a:lnTo>
                    <a:lnTo>
                      <a:pt x="125" y="54"/>
                    </a:lnTo>
                    <a:lnTo>
                      <a:pt x="130" y="59"/>
                    </a:lnTo>
                    <a:lnTo>
                      <a:pt x="135" y="59"/>
                    </a:lnTo>
                    <a:lnTo>
                      <a:pt x="140" y="60"/>
                    </a:lnTo>
                    <a:lnTo>
                      <a:pt x="145" y="57"/>
                    </a:lnTo>
                    <a:lnTo>
                      <a:pt x="150" y="60"/>
                    </a:lnTo>
                    <a:lnTo>
                      <a:pt x="153" y="60"/>
                    </a:lnTo>
                    <a:lnTo>
                      <a:pt x="155" y="65"/>
                    </a:lnTo>
                    <a:lnTo>
                      <a:pt x="160" y="70"/>
                    </a:lnTo>
                    <a:lnTo>
                      <a:pt x="172" y="73"/>
                    </a:lnTo>
                    <a:lnTo>
                      <a:pt x="177" y="75"/>
                    </a:lnTo>
                    <a:lnTo>
                      <a:pt x="191" y="78"/>
                    </a:lnTo>
                    <a:lnTo>
                      <a:pt x="198" y="78"/>
                    </a:lnTo>
                    <a:lnTo>
                      <a:pt x="215" y="75"/>
                    </a:lnTo>
                    <a:lnTo>
                      <a:pt x="226" y="73"/>
                    </a:lnTo>
                    <a:lnTo>
                      <a:pt x="241" y="73"/>
                    </a:lnTo>
                    <a:lnTo>
                      <a:pt x="246" y="75"/>
                    </a:lnTo>
                    <a:lnTo>
                      <a:pt x="248" y="70"/>
                    </a:lnTo>
                    <a:lnTo>
                      <a:pt x="245" y="65"/>
                    </a:lnTo>
                    <a:lnTo>
                      <a:pt x="241" y="59"/>
                    </a:lnTo>
                    <a:lnTo>
                      <a:pt x="246" y="57"/>
                    </a:lnTo>
                    <a:lnTo>
                      <a:pt x="258" y="55"/>
                    </a:lnTo>
                    <a:lnTo>
                      <a:pt x="261" y="50"/>
                    </a:lnTo>
                    <a:lnTo>
                      <a:pt x="265" y="45"/>
                    </a:lnTo>
                    <a:lnTo>
                      <a:pt x="268" y="45"/>
                    </a:lnTo>
                    <a:lnTo>
                      <a:pt x="278" y="39"/>
                    </a:lnTo>
                    <a:lnTo>
                      <a:pt x="288" y="37"/>
                    </a:lnTo>
                    <a:lnTo>
                      <a:pt x="298" y="39"/>
                    </a:lnTo>
                    <a:lnTo>
                      <a:pt x="299" y="34"/>
                    </a:lnTo>
                    <a:lnTo>
                      <a:pt x="304" y="32"/>
                    </a:lnTo>
                    <a:lnTo>
                      <a:pt x="309" y="34"/>
                    </a:lnTo>
                    <a:lnTo>
                      <a:pt x="314" y="34"/>
                    </a:lnTo>
                    <a:lnTo>
                      <a:pt x="323" y="40"/>
                    </a:lnTo>
                    <a:lnTo>
                      <a:pt x="331" y="42"/>
                    </a:lnTo>
                    <a:lnTo>
                      <a:pt x="344" y="50"/>
                    </a:lnTo>
                    <a:lnTo>
                      <a:pt x="349" y="49"/>
                    </a:lnTo>
                    <a:lnTo>
                      <a:pt x="353" y="47"/>
                    </a:lnTo>
                    <a:lnTo>
                      <a:pt x="363" y="50"/>
                    </a:lnTo>
                    <a:lnTo>
                      <a:pt x="368" y="52"/>
                    </a:lnTo>
                    <a:lnTo>
                      <a:pt x="369" y="59"/>
                    </a:lnTo>
                    <a:lnTo>
                      <a:pt x="371" y="60"/>
                    </a:lnTo>
                    <a:lnTo>
                      <a:pt x="376" y="59"/>
                    </a:lnTo>
                    <a:lnTo>
                      <a:pt x="384" y="60"/>
                    </a:lnTo>
                    <a:lnTo>
                      <a:pt x="394" y="72"/>
                    </a:lnTo>
                    <a:lnTo>
                      <a:pt x="406" y="73"/>
                    </a:lnTo>
                    <a:lnTo>
                      <a:pt x="411" y="75"/>
                    </a:lnTo>
                    <a:lnTo>
                      <a:pt x="416" y="82"/>
                    </a:lnTo>
                    <a:lnTo>
                      <a:pt x="414" y="85"/>
                    </a:lnTo>
                    <a:lnTo>
                      <a:pt x="416" y="90"/>
                    </a:lnTo>
                    <a:lnTo>
                      <a:pt x="416" y="93"/>
                    </a:lnTo>
                    <a:lnTo>
                      <a:pt x="417" y="98"/>
                    </a:lnTo>
                    <a:lnTo>
                      <a:pt x="417" y="103"/>
                    </a:lnTo>
                    <a:lnTo>
                      <a:pt x="417" y="107"/>
                    </a:lnTo>
                    <a:lnTo>
                      <a:pt x="416" y="110"/>
                    </a:lnTo>
                    <a:lnTo>
                      <a:pt x="419" y="113"/>
                    </a:lnTo>
                    <a:lnTo>
                      <a:pt x="417" y="115"/>
                    </a:lnTo>
                    <a:lnTo>
                      <a:pt x="419" y="118"/>
                    </a:lnTo>
                    <a:lnTo>
                      <a:pt x="412" y="122"/>
                    </a:lnTo>
                    <a:lnTo>
                      <a:pt x="407" y="123"/>
                    </a:lnTo>
                    <a:lnTo>
                      <a:pt x="409" y="127"/>
                    </a:lnTo>
                    <a:lnTo>
                      <a:pt x="412" y="128"/>
                    </a:lnTo>
                    <a:lnTo>
                      <a:pt x="409" y="135"/>
                    </a:lnTo>
                    <a:lnTo>
                      <a:pt x="409" y="135"/>
                    </a:lnTo>
                    <a:lnTo>
                      <a:pt x="411" y="143"/>
                    </a:lnTo>
                    <a:lnTo>
                      <a:pt x="411" y="148"/>
                    </a:lnTo>
                    <a:lnTo>
                      <a:pt x="419" y="150"/>
                    </a:lnTo>
                    <a:lnTo>
                      <a:pt x="422" y="150"/>
                    </a:lnTo>
                    <a:lnTo>
                      <a:pt x="414" y="158"/>
                    </a:lnTo>
                    <a:lnTo>
                      <a:pt x="412" y="163"/>
                    </a:lnTo>
                    <a:lnTo>
                      <a:pt x="419" y="175"/>
                    </a:lnTo>
                    <a:lnTo>
                      <a:pt x="422" y="185"/>
                    </a:lnTo>
                    <a:lnTo>
                      <a:pt x="421" y="188"/>
                    </a:lnTo>
                    <a:lnTo>
                      <a:pt x="424" y="191"/>
                    </a:lnTo>
                    <a:lnTo>
                      <a:pt x="424" y="200"/>
                    </a:lnTo>
                    <a:lnTo>
                      <a:pt x="446" y="200"/>
                    </a:lnTo>
                    <a:lnTo>
                      <a:pt x="449" y="208"/>
                    </a:lnTo>
                    <a:lnTo>
                      <a:pt x="449" y="215"/>
                    </a:lnTo>
                    <a:lnTo>
                      <a:pt x="451" y="223"/>
                    </a:lnTo>
                    <a:lnTo>
                      <a:pt x="449" y="225"/>
                    </a:lnTo>
                    <a:lnTo>
                      <a:pt x="431" y="248"/>
                    </a:lnTo>
                    <a:lnTo>
                      <a:pt x="444" y="263"/>
                    </a:lnTo>
                    <a:lnTo>
                      <a:pt x="446" y="268"/>
                    </a:lnTo>
                    <a:lnTo>
                      <a:pt x="452" y="274"/>
                    </a:lnTo>
                    <a:lnTo>
                      <a:pt x="459" y="278"/>
                    </a:lnTo>
                    <a:lnTo>
                      <a:pt x="461" y="279"/>
                    </a:lnTo>
                    <a:lnTo>
                      <a:pt x="469" y="279"/>
                    </a:lnTo>
                    <a:lnTo>
                      <a:pt x="474" y="281"/>
                    </a:lnTo>
                    <a:lnTo>
                      <a:pt x="474" y="284"/>
                    </a:lnTo>
                    <a:lnTo>
                      <a:pt x="481" y="284"/>
                    </a:lnTo>
                    <a:lnTo>
                      <a:pt x="481" y="291"/>
                    </a:lnTo>
                    <a:lnTo>
                      <a:pt x="482" y="298"/>
                    </a:lnTo>
                    <a:lnTo>
                      <a:pt x="484" y="303"/>
                    </a:lnTo>
                    <a:lnTo>
                      <a:pt x="484" y="306"/>
                    </a:lnTo>
                    <a:lnTo>
                      <a:pt x="490" y="306"/>
                    </a:lnTo>
                    <a:lnTo>
                      <a:pt x="497" y="311"/>
                    </a:lnTo>
                    <a:lnTo>
                      <a:pt x="497" y="319"/>
                    </a:lnTo>
                    <a:lnTo>
                      <a:pt x="494" y="323"/>
                    </a:lnTo>
                    <a:lnTo>
                      <a:pt x="487" y="319"/>
                    </a:lnTo>
                    <a:lnTo>
                      <a:pt x="476" y="323"/>
                    </a:lnTo>
                    <a:lnTo>
                      <a:pt x="474" y="326"/>
                    </a:lnTo>
                    <a:lnTo>
                      <a:pt x="466" y="328"/>
                    </a:lnTo>
                    <a:lnTo>
                      <a:pt x="464" y="333"/>
                    </a:lnTo>
                    <a:lnTo>
                      <a:pt x="466" y="336"/>
                    </a:lnTo>
                    <a:lnTo>
                      <a:pt x="461" y="341"/>
                    </a:lnTo>
                    <a:lnTo>
                      <a:pt x="464" y="346"/>
                    </a:lnTo>
                    <a:lnTo>
                      <a:pt x="462" y="354"/>
                    </a:lnTo>
                    <a:lnTo>
                      <a:pt x="462" y="357"/>
                    </a:lnTo>
                    <a:lnTo>
                      <a:pt x="461" y="357"/>
                    </a:lnTo>
                    <a:lnTo>
                      <a:pt x="461" y="359"/>
                    </a:lnTo>
                    <a:lnTo>
                      <a:pt x="456" y="361"/>
                    </a:lnTo>
                    <a:lnTo>
                      <a:pt x="449" y="357"/>
                    </a:lnTo>
                    <a:lnTo>
                      <a:pt x="442" y="356"/>
                    </a:lnTo>
                    <a:lnTo>
                      <a:pt x="439" y="353"/>
                    </a:lnTo>
                    <a:lnTo>
                      <a:pt x="437" y="353"/>
                    </a:lnTo>
                    <a:lnTo>
                      <a:pt x="436" y="356"/>
                    </a:lnTo>
                    <a:lnTo>
                      <a:pt x="434" y="357"/>
                    </a:lnTo>
                    <a:lnTo>
                      <a:pt x="431" y="354"/>
                    </a:lnTo>
                    <a:lnTo>
                      <a:pt x="429" y="354"/>
                    </a:lnTo>
                    <a:lnTo>
                      <a:pt x="424" y="354"/>
                    </a:lnTo>
                    <a:lnTo>
                      <a:pt x="414" y="353"/>
                    </a:lnTo>
                    <a:lnTo>
                      <a:pt x="406" y="351"/>
                    </a:lnTo>
                    <a:lnTo>
                      <a:pt x="392" y="351"/>
                    </a:lnTo>
                    <a:lnTo>
                      <a:pt x="386" y="346"/>
                    </a:lnTo>
                    <a:lnTo>
                      <a:pt x="384" y="346"/>
                    </a:lnTo>
                    <a:lnTo>
                      <a:pt x="379" y="349"/>
                    </a:lnTo>
                    <a:lnTo>
                      <a:pt x="374" y="346"/>
                    </a:lnTo>
                    <a:lnTo>
                      <a:pt x="369" y="346"/>
                    </a:lnTo>
                    <a:lnTo>
                      <a:pt x="356" y="348"/>
                    </a:lnTo>
                    <a:lnTo>
                      <a:pt x="354" y="344"/>
                    </a:lnTo>
                    <a:lnTo>
                      <a:pt x="353" y="343"/>
                    </a:lnTo>
                    <a:lnTo>
                      <a:pt x="353" y="338"/>
                    </a:lnTo>
                    <a:lnTo>
                      <a:pt x="348" y="329"/>
                    </a:lnTo>
                    <a:lnTo>
                      <a:pt x="344" y="321"/>
                    </a:lnTo>
                    <a:lnTo>
                      <a:pt x="339" y="316"/>
                    </a:lnTo>
                    <a:lnTo>
                      <a:pt x="339" y="313"/>
                    </a:lnTo>
                    <a:lnTo>
                      <a:pt x="338" y="313"/>
                    </a:lnTo>
                    <a:lnTo>
                      <a:pt x="338" y="311"/>
                    </a:lnTo>
                    <a:lnTo>
                      <a:pt x="329" y="311"/>
                    </a:lnTo>
                    <a:lnTo>
                      <a:pt x="324" y="313"/>
                    </a:lnTo>
                    <a:lnTo>
                      <a:pt x="318" y="316"/>
                    </a:lnTo>
                    <a:lnTo>
                      <a:pt x="313" y="316"/>
                    </a:lnTo>
                    <a:lnTo>
                      <a:pt x="313" y="314"/>
                    </a:lnTo>
                    <a:lnTo>
                      <a:pt x="313" y="318"/>
                    </a:lnTo>
                    <a:lnTo>
                      <a:pt x="303" y="323"/>
                    </a:lnTo>
                    <a:lnTo>
                      <a:pt x="293" y="329"/>
                    </a:lnTo>
                    <a:lnTo>
                      <a:pt x="284" y="323"/>
                    </a:lnTo>
                    <a:lnTo>
                      <a:pt x="276" y="321"/>
                    </a:lnTo>
                    <a:lnTo>
                      <a:pt x="270" y="323"/>
                    </a:lnTo>
                    <a:lnTo>
                      <a:pt x="268" y="323"/>
                    </a:lnTo>
                    <a:lnTo>
                      <a:pt x="260" y="316"/>
                    </a:lnTo>
                    <a:lnTo>
                      <a:pt x="255" y="316"/>
                    </a:lnTo>
                    <a:lnTo>
                      <a:pt x="251" y="314"/>
                    </a:lnTo>
                    <a:lnTo>
                      <a:pt x="246" y="313"/>
                    </a:lnTo>
                    <a:lnTo>
                      <a:pt x="238" y="306"/>
                    </a:lnTo>
                    <a:lnTo>
                      <a:pt x="241" y="303"/>
                    </a:lnTo>
                    <a:lnTo>
                      <a:pt x="241" y="301"/>
                    </a:lnTo>
                    <a:lnTo>
                      <a:pt x="236" y="301"/>
                    </a:lnTo>
                    <a:lnTo>
                      <a:pt x="235" y="299"/>
                    </a:lnTo>
                    <a:lnTo>
                      <a:pt x="228" y="299"/>
                    </a:lnTo>
                    <a:lnTo>
                      <a:pt x="225" y="296"/>
                    </a:lnTo>
                    <a:lnTo>
                      <a:pt x="218" y="294"/>
                    </a:lnTo>
                    <a:lnTo>
                      <a:pt x="210" y="296"/>
                    </a:lnTo>
                    <a:lnTo>
                      <a:pt x="205" y="293"/>
                    </a:lnTo>
                    <a:lnTo>
                      <a:pt x="198" y="278"/>
                    </a:lnTo>
                    <a:lnTo>
                      <a:pt x="196" y="274"/>
                    </a:lnTo>
                    <a:lnTo>
                      <a:pt x="195" y="276"/>
                    </a:lnTo>
                    <a:lnTo>
                      <a:pt x="190" y="273"/>
                    </a:lnTo>
                    <a:lnTo>
                      <a:pt x="191" y="271"/>
                    </a:lnTo>
                    <a:lnTo>
                      <a:pt x="193" y="273"/>
                    </a:lnTo>
                    <a:lnTo>
                      <a:pt x="195" y="273"/>
                    </a:lnTo>
                    <a:lnTo>
                      <a:pt x="191" y="268"/>
                    </a:lnTo>
                    <a:lnTo>
                      <a:pt x="188" y="268"/>
                    </a:lnTo>
                    <a:lnTo>
                      <a:pt x="186" y="268"/>
                    </a:lnTo>
                    <a:lnTo>
                      <a:pt x="185" y="259"/>
                    </a:lnTo>
                    <a:lnTo>
                      <a:pt x="177" y="251"/>
                    </a:lnTo>
                    <a:lnTo>
                      <a:pt x="177" y="246"/>
                    </a:lnTo>
                    <a:lnTo>
                      <a:pt x="170" y="240"/>
                    </a:lnTo>
                    <a:lnTo>
                      <a:pt x="168" y="240"/>
                    </a:lnTo>
                    <a:lnTo>
                      <a:pt x="160" y="245"/>
                    </a:lnTo>
                    <a:lnTo>
                      <a:pt x="158" y="245"/>
                    </a:lnTo>
                    <a:lnTo>
                      <a:pt x="157" y="241"/>
                    </a:lnTo>
                    <a:lnTo>
                      <a:pt x="153" y="241"/>
                    </a:lnTo>
                    <a:lnTo>
                      <a:pt x="148" y="240"/>
                    </a:lnTo>
                    <a:lnTo>
                      <a:pt x="148" y="236"/>
                    </a:lnTo>
                    <a:lnTo>
                      <a:pt x="150" y="235"/>
                    </a:lnTo>
                    <a:lnTo>
                      <a:pt x="148" y="236"/>
                    </a:lnTo>
                    <a:lnTo>
                      <a:pt x="145" y="236"/>
                    </a:lnTo>
                    <a:lnTo>
                      <a:pt x="142" y="235"/>
                    </a:lnTo>
                    <a:lnTo>
                      <a:pt x="147" y="238"/>
                    </a:lnTo>
                    <a:lnTo>
                      <a:pt x="145" y="243"/>
                    </a:lnTo>
                    <a:lnTo>
                      <a:pt x="143" y="245"/>
                    </a:lnTo>
                    <a:lnTo>
                      <a:pt x="140" y="245"/>
                    </a:lnTo>
                    <a:lnTo>
                      <a:pt x="137" y="240"/>
                    </a:lnTo>
                    <a:lnTo>
                      <a:pt x="137" y="240"/>
                    </a:lnTo>
                    <a:lnTo>
                      <a:pt x="135" y="240"/>
                    </a:lnTo>
                    <a:lnTo>
                      <a:pt x="133" y="238"/>
                    </a:lnTo>
                    <a:lnTo>
                      <a:pt x="127" y="236"/>
                    </a:lnTo>
                    <a:lnTo>
                      <a:pt x="123" y="235"/>
                    </a:lnTo>
                    <a:lnTo>
                      <a:pt x="122" y="220"/>
                    </a:lnTo>
                    <a:lnTo>
                      <a:pt x="113" y="220"/>
                    </a:lnTo>
                    <a:lnTo>
                      <a:pt x="112" y="215"/>
                    </a:lnTo>
                    <a:lnTo>
                      <a:pt x="112" y="208"/>
                    </a:lnTo>
                    <a:lnTo>
                      <a:pt x="117" y="203"/>
                    </a:lnTo>
                    <a:lnTo>
                      <a:pt x="112" y="195"/>
                    </a:lnTo>
                    <a:lnTo>
                      <a:pt x="108" y="191"/>
                    </a:lnTo>
                    <a:lnTo>
                      <a:pt x="103" y="185"/>
                    </a:lnTo>
                    <a:lnTo>
                      <a:pt x="100" y="181"/>
                    </a:lnTo>
                    <a:lnTo>
                      <a:pt x="98" y="183"/>
                    </a:lnTo>
                    <a:lnTo>
                      <a:pt x="80" y="173"/>
                    </a:lnTo>
                    <a:lnTo>
                      <a:pt x="75" y="173"/>
                    </a:lnTo>
                    <a:lnTo>
                      <a:pt x="74" y="175"/>
                    </a:lnTo>
                    <a:lnTo>
                      <a:pt x="69" y="171"/>
                    </a:lnTo>
                    <a:lnTo>
                      <a:pt x="69" y="168"/>
                    </a:lnTo>
                    <a:lnTo>
                      <a:pt x="67" y="166"/>
                    </a:lnTo>
                    <a:lnTo>
                      <a:pt x="70" y="161"/>
                    </a:lnTo>
                    <a:lnTo>
                      <a:pt x="64" y="158"/>
                    </a:lnTo>
                    <a:lnTo>
                      <a:pt x="64" y="155"/>
                    </a:lnTo>
                    <a:lnTo>
                      <a:pt x="59" y="153"/>
                    </a:lnTo>
                    <a:lnTo>
                      <a:pt x="55" y="152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4" y="145"/>
                    </a:lnTo>
                    <a:lnTo>
                      <a:pt x="52" y="143"/>
                    </a:lnTo>
                    <a:lnTo>
                      <a:pt x="54" y="140"/>
                    </a:lnTo>
                    <a:lnTo>
                      <a:pt x="54" y="132"/>
                    </a:lnTo>
                    <a:lnTo>
                      <a:pt x="57" y="130"/>
                    </a:lnTo>
                    <a:lnTo>
                      <a:pt x="57" y="123"/>
                    </a:lnTo>
                    <a:lnTo>
                      <a:pt x="60" y="123"/>
                    </a:lnTo>
                    <a:lnTo>
                      <a:pt x="64" y="122"/>
                    </a:lnTo>
                    <a:lnTo>
                      <a:pt x="64" y="115"/>
                    </a:lnTo>
                    <a:lnTo>
                      <a:pt x="62" y="113"/>
                    </a:lnTo>
                    <a:lnTo>
                      <a:pt x="62" y="107"/>
                    </a:lnTo>
                    <a:lnTo>
                      <a:pt x="64" y="107"/>
                    </a:lnTo>
                    <a:lnTo>
                      <a:pt x="69" y="105"/>
                    </a:lnTo>
                    <a:lnTo>
                      <a:pt x="70" y="105"/>
                    </a:lnTo>
                    <a:lnTo>
                      <a:pt x="69" y="103"/>
                    </a:lnTo>
                    <a:lnTo>
                      <a:pt x="65" y="102"/>
                    </a:lnTo>
                    <a:lnTo>
                      <a:pt x="60" y="102"/>
                    </a:lnTo>
                    <a:lnTo>
                      <a:pt x="55" y="102"/>
                    </a:lnTo>
                    <a:lnTo>
                      <a:pt x="49" y="97"/>
                    </a:lnTo>
                    <a:lnTo>
                      <a:pt x="44" y="97"/>
                    </a:lnTo>
                    <a:lnTo>
                      <a:pt x="40" y="95"/>
                    </a:lnTo>
                    <a:lnTo>
                      <a:pt x="37" y="90"/>
                    </a:lnTo>
                    <a:lnTo>
                      <a:pt x="35" y="85"/>
                    </a:lnTo>
                    <a:lnTo>
                      <a:pt x="32" y="85"/>
                    </a:lnTo>
                    <a:lnTo>
                      <a:pt x="29" y="80"/>
                    </a:lnTo>
                    <a:lnTo>
                      <a:pt x="29" y="77"/>
                    </a:lnTo>
                    <a:lnTo>
                      <a:pt x="27" y="72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4" y="67"/>
                    </a:lnTo>
                    <a:lnTo>
                      <a:pt x="20" y="62"/>
                    </a:lnTo>
                    <a:lnTo>
                      <a:pt x="15" y="54"/>
                    </a:lnTo>
                    <a:lnTo>
                      <a:pt x="9" y="52"/>
                    </a:lnTo>
                    <a:lnTo>
                      <a:pt x="10" y="49"/>
                    </a:lnTo>
                    <a:lnTo>
                      <a:pt x="9" y="44"/>
                    </a:lnTo>
                    <a:lnTo>
                      <a:pt x="12" y="37"/>
                    </a:lnTo>
                    <a:lnTo>
                      <a:pt x="10" y="34"/>
                    </a:lnTo>
                    <a:lnTo>
                      <a:pt x="5" y="34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7" y="7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7" name="Freeform 74"/>
              <p:cNvSpPr>
                <a:spLocks/>
              </p:cNvSpPr>
              <p:nvPr/>
            </p:nvSpPr>
            <p:spPr bwMode="auto">
              <a:xfrm>
                <a:off x="6903048" y="2820439"/>
                <a:ext cx="126289" cy="104797"/>
              </a:xfrm>
              <a:custGeom>
                <a:avLst/>
                <a:gdLst/>
                <a:ahLst/>
                <a:cxnLst>
                  <a:cxn ang="0">
                    <a:pos x="234" y="173"/>
                  </a:cxn>
                  <a:cxn ang="0">
                    <a:pos x="224" y="170"/>
                  </a:cxn>
                  <a:cxn ang="0">
                    <a:pos x="214" y="155"/>
                  </a:cxn>
                  <a:cxn ang="0">
                    <a:pos x="213" y="143"/>
                  </a:cxn>
                  <a:cxn ang="0">
                    <a:pos x="213" y="130"/>
                  </a:cxn>
                  <a:cxn ang="0">
                    <a:pos x="204" y="120"/>
                  </a:cxn>
                  <a:cxn ang="0">
                    <a:pos x="199" y="118"/>
                  </a:cxn>
                  <a:cxn ang="0">
                    <a:pos x="176" y="108"/>
                  </a:cxn>
                  <a:cxn ang="0">
                    <a:pos x="170" y="106"/>
                  </a:cxn>
                  <a:cxn ang="0">
                    <a:pos x="168" y="101"/>
                  </a:cxn>
                  <a:cxn ang="0">
                    <a:pos x="165" y="93"/>
                  </a:cxn>
                  <a:cxn ang="0">
                    <a:pos x="160" y="88"/>
                  </a:cxn>
                  <a:cxn ang="0">
                    <a:pos x="153" y="85"/>
                  </a:cxn>
                  <a:cxn ang="0">
                    <a:pos x="155" y="80"/>
                  </a:cxn>
                  <a:cxn ang="0">
                    <a:pos x="155" y="75"/>
                  </a:cxn>
                  <a:cxn ang="0">
                    <a:pos x="158" y="65"/>
                  </a:cxn>
                  <a:cxn ang="0">
                    <a:pos x="161" y="58"/>
                  </a:cxn>
                  <a:cxn ang="0">
                    <a:pos x="165" y="50"/>
                  </a:cxn>
                  <a:cxn ang="0">
                    <a:pos x="163" y="42"/>
                  </a:cxn>
                  <a:cxn ang="0">
                    <a:pos x="170" y="40"/>
                  </a:cxn>
                  <a:cxn ang="0">
                    <a:pos x="170" y="38"/>
                  </a:cxn>
                  <a:cxn ang="0">
                    <a:pos x="161" y="37"/>
                  </a:cxn>
                  <a:cxn ang="0">
                    <a:pos x="150" y="32"/>
                  </a:cxn>
                  <a:cxn ang="0">
                    <a:pos x="141" y="30"/>
                  </a:cxn>
                  <a:cxn ang="0">
                    <a:pos x="136" y="20"/>
                  </a:cxn>
                  <a:cxn ang="0">
                    <a:pos x="130" y="15"/>
                  </a:cxn>
                  <a:cxn ang="0">
                    <a:pos x="128" y="7"/>
                  </a:cxn>
                  <a:cxn ang="0">
                    <a:pos x="118" y="7"/>
                  </a:cxn>
                  <a:cxn ang="0">
                    <a:pos x="113" y="2"/>
                  </a:cxn>
                  <a:cxn ang="0">
                    <a:pos x="105" y="2"/>
                  </a:cxn>
                  <a:cxn ang="0">
                    <a:pos x="86" y="0"/>
                  </a:cxn>
                  <a:cxn ang="0">
                    <a:pos x="78" y="2"/>
                  </a:cxn>
                  <a:cxn ang="0">
                    <a:pos x="72" y="7"/>
                  </a:cxn>
                  <a:cxn ang="0">
                    <a:pos x="67" y="12"/>
                  </a:cxn>
                  <a:cxn ang="0">
                    <a:pos x="52" y="17"/>
                  </a:cxn>
                  <a:cxn ang="0">
                    <a:pos x="47" y="32"/>
                  </a:cxn>
                  <a:cxn ang="0">
                    <a:pos x="52" y="47"/>
                  </a:cxn>
                  <a:cxn ang="0">
                    <a:pos x="48" y="58"/>
                  </a:cxn>
                  <a:cxn ang="0">
                    <a:pos x="45" y="68"/>
                  </a:cxn>
                  <a:cxn ang="0">
                    <a:pos x="0" y="100"/>
                  </a:cxn>
                  <a:cxn ang="0">
                    <a:pos x="0" y="100"/>
                  </a:cxn>
                  <a:cxn ang="0">
                    <a:pos x="33" y="131"/>
                  </a:cxn>
                  <a:cxn ang="0">
                    <a:pos x="193" y="203"/>
                  </a:cxn>
                  <a:cxn ang="0">
                    <a:pos x="203" y="183"/>
                  </a:cxn>
                  <a:cxn ang="0">
                    <a:pos x="223" y="181"/>
                  </a:cxn>
                  <a:cxn ang="0">
                    <a:pos x="231" y="181"/>
                  </a:cxn>
                  <a:cxn ang="0">
                    <a:pos x="236" y="175"/>
                  </a:cxn>
                </a:cxnLst>
                <a:rect l="0" t="0" r="r" b="b"/>
                <a:pathLst>
                  <a:path w="236" h="203">
                    <a:moveTo>
                      <a:pt x="236" y="175"/>
                    </a:moveTo>
                    <a:lnTo>
                      <a:pt x="234" y="173"/>
                    </a:lnTo>
                    <a:lnTo>
                      <a:pt x="228" y="171"/>
                    </a:lnTo>
                    <a:lnTo>
                      <a:pt x="224" y="170"/>
                    </a:lnTo>
                    <a:lnTo>
                      <a:pt x="223" y="155"/>
                    </a:lnTo>
                    <a:lnTo>
                      <a:pt x="214" y="155"/>
                    </a:lnTo>
                    <a:lnTo>
                      <a:pt x="213" y="150"/>
                    </a:lnTo>
                    <a:lnTo>
                      <a:pt x="213" y="143"/>
                    </a:lnTo>
                    <a:lnTo>
                      <a:pt x="218" y="138"/>
                    </a:lnTo>
                    <a:lnTo>
                      <a:pt x="213" y="130"/>
                    </a:lnTo>
                    <a:lnTo>
                      <a:pt x="209" y="126"/>
                    </a:lnTo>
                    <a:lnTo>
                      <a:pt x="204" y="120"/>
                    </a:lnTo>
                    <a:lnTo>
                      <a:pt x="201" y="116"/>
                    </a:lnTo>
                    <a:lnTo>
                      <a:pt x="199" y="118"/>
                    </a:lnTo>
                    <a:lnTo>
                      <a:pt x="181" y="108"/>
                    </a:lnTo>
                    <a:lnTo>
                      <a:pt x="176" y="108"/>
                    </a:lnTo>
                    <a:lnTo>
                      <a:pt x="175" y="110"/>
                    </a:lnTo>
                    <a:lnTo>
                      <a:pt x="170" y="106"/>
                    </a:lnTo>
                    <a:lnTo>
                      <a:pt x="170" y="103"/>
                    </a:lnTo>
                    <a:lnTo>
                      <a:pt x="168" y="101"/>
                    </a:lnTo>
                    <a:lnTo>
                      <a:pt x="171" y="96"/>
                    </a:lnTo>
                    <a:lnTo>
                      <a:pt x="165" y="93"/>
                    </a:lnTo>
                    <a:lnTo>
                      <a:pt x="165" y="90"/>
                    </a:lnTo>
                    <a:lnTo>
                      <a:pt x="160" y="88"/>
                    </a:lnTo>
                    <a:lnTo>
                      <a:pt x="156" y="87"/>
                    </a:lnTo>
                    <a:lnTo>
                      <a:pt x="153" y="85"/>
                    </a:lnTo>
                    <a:lnTo>
                      <a:pt x="153" y="83"/>
                    </a:lnTo>
                    <a:lnTo>
                      <a:pt x="155" y="80"/>
                    </a:lnTo>
                    <a:lnTo>
                      <a:pt x="153" y="78"/>
                    </a:lnTo>
                    <a:lnTo>
                      <a:pt x="155" y="75"/>
                    </a:lnTo>
                    <a:lnTo>
                      <a:pt x="155" y="67"/>
                    </a:lnTo>
                    <a:lnTo>
                      <a:pt x="158" y="65"/>
                    </a:lnTo>
                    <a:lnTo>
                      <a:pt x="158" y="58"/>
                    </a:lnTo>
                    <a:lnTo>
                      <a:pt x="161" y="58"/>
                    </a:lnTo>
                    <a:lnTo>
                      <a:pt x="165" y="57"/>
                    </a:lnTo>
                    <a:lnTo>
                      <a:pt x="165" y="50"/>
                    </a:lnTo>
                    <a:lnTo>
                      <a:pt x="163" y="48"/>
                    </a:lnTo>
                    <a:lnTo>
                      <a:pt x="163" y="42"/>
                    </a:lnTo>
                    <a:lnTo>
                      <a:pt x="165" y="42"/>
                    </a:lnTo>
                    <a:lnTo>
                      <a:pt x="170" y="40"/>
                    </a:lnTo>
                    <a:lnTo>
                      <a:pt x="171" y="40"/>
                    </a:lnTo>
                    <a:lnTo>
                      <a:pt x="170" y="38"/>
                    </a:lnTo>
                    <a:lnTo>
                      <a:pt x="166" y="37"/>
                    </a:lnTo>
                    <a:lnTo>
                      <a:pt x="161" y="37"/>
                    </a:lnTo>
                    <a:lnTo>
                      <a:pt x="156" y="37"/>
                    </a:lnTo>
                    <a:lnTo>
                      <a:pt x="150" y="32"/>
                    </a:lnTo>
                    <a:lnTo>
                      <a:pt x="145" y="32"/>
                    </a:lnTo>
                    <a:lnTo>
                      <a:pt x="141" y="30"/>
                    </a:lnTo>
                    <a:lnTo>
                      <a:pt x="138" y="25"/>
                    </a:lnTo>
                    <a:lnTo>
                      <a:pt x="136" y="20"/>
                    </a:lnTo>
                    <a:lnTo>
                      <a:pt x="133" y="20"/>
                    </a:lnTo>
                    <a:lnTo>
                      <a:pt x="130" y="15"/>
                    </a:lnTo>
                    <a:lnTo>
                      <a:pt x="130" y="12"/>
                    </a:lnTo>
                    <a:lnTo>
                      <a:pt x="128" y="7"/>
                    </a:lnTo>
                    <a:lnTo>
                      <a:pt x="123" y="7"/>
                    </a:lnTo>
                    <a:lnTo>
                      <a:pt x="118" y="7"/>
                    </a:lnTo>
                    <a:lnTo>
                      <a:pt x="113" y="5"/>
                    </a:lnTo>
                    <a:lnTo>
                      <a:pt x="113" y="2"/>
                    </a:lnTo>
                    <a:lnTo>
                      <a:pt x="110" y="0"/>
                    </a:lnTo>
                    <a:lnTo>
                      <a:pt x="105" y="2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3" y="2"/>
                    </a:lnTo>
                    <a:lnTo>
                      <a:pt x="78" y="2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68" y="12"/>
                    </a:lnTo>
                    <a:lnTo>
                      <a:pt x="67" y="12"/>
                    </a:lnTo>
                    <a:lnTo>
                      <a:pt x="62" y="15"/>
                    </a:lnTo>
                    <a:lnTo>
                      <a:pt x="52" y="17"/>
                    </a:lnTo>
                    <a:lnTo>
                      <a:pt x="48" y="25"/>
                    </a:lnTo>
                    <a:lnTo>
                      <a:pt x="47" y="32"/>
                    </a:lnTo>
                    <a:lnTo>
                      <a:pt x="52" y="40"/>
                    </a:lnTo>
                    <a:lnTo>
                      <a:pt x="52" y="47"/>
                    </a:lnTo>
                    <a:lnTo>
                      <a:pt x="48" y="55"/>
                    </a:lnTo>
                    <a:lnTo>
                      <a:pt x="48" y="58"/>
                    </a:lnTo>
                    <a:lnTo>
                      <a:pt x="48" y="63"/>
                    </a:lnTo>
                    <a:lnTo>
                      <a:pt x="45" y="68"/>
                    </a:lnTo>
                    <a:lnTo>
                      <a:pt x="43" y="72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12" y="128"/>
                    </a:lnTo>
                    <a:lnTo>
                      <a:pt x="33" y="131"/>
                    </a:lnTo>
                    <a:lnTo>
                      <a:pt x="146" y="203"/>
                    </a:lnTo>
                    <a:lnTo>
                      <a:pt x="193" y="203"/>
                    </a:lnTo>
                    <a:lnTo>
                      <a:pt x="198" y="194"/>
                    </a:lnTo>
                    <a:lnTo>
                      <a:pt x="203" y="183"/>
                    </a:lnTo>
                    <a:lnTo>
                      <a:pt x="214" y="178"/>
                    </a:lnTo>
                    <a:lnTo>
                      <a:pt x="223" y="181"/>
                    </a:lnTo>
                    <a:lnTo>
                      <a:pt x="228" y="180"/>
                    </a:lnTo>
                    <a:lnTo>
                      <a:pt x="231" y="181"/>
                    </a:lnTo>
                    <a:lnTo>
                      <a:pt x="233" y="176"/>
                    </a:lnTo>
                    <a:lnTo>
                      <a:pt x="236" y="17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8" name="Freeform 75"/>
              <p:cNvSpPr>
                <a:spLocks/>
              </p:cNvSpPr>
              <p:nvPr/>
            </p:nvSpPr>
            <p:spPr bwMode="auto">
              <a:xfrm>
                <a:off x="7005792" y="2912784"/>
                <a:ext cx="22475" cy="20752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5" y="16"/>
                  </a:cxn>
                  <a:cxn ang="0">
                    <a:pos x="10" y="5"/>
                  </a:cxn>
                  <a:cxn ang="0">
                    <a:pos x="21" y="0"/>
                  </a:cxn>
                  <a:cxn ang="0">
                    <a:pos x="30" y="3"/>
                  </a:cxn>
                  <a:cxn ang="0">
                    <a:pos x="35" y="2"/>
                  </a:cxn>
                  <a:cxn ang="0">
                    <a:pos x="38" y="3"/>
                  </a:cxn>
                  <a:cxn ang="0">
                    <a:pos x="36" y="3"/>
                  </a:cxn>
                  <a:cxn ang="0">
                    <a:pos x="40" y="13"/>
                  </a:cxn>
                  <a:cxn ang="0">
                    <a:pos x="25" y="16"/>
                  </a:cxn>
                  <a:cxn ang="0">
                    <a:pos x="35" y="21"/>
                  </a:cxn>
                  <a:cxn ang="0">
                    <a:pos x="36" y="20"/>
                  </a:cxn>
                  <a:cxn ang="0">
                    <a:pos x="38" y="23"/>
                  </a:cxn>
                  <a:cxn ang="0">
                    <a:pos x="38" y="26"/>
                  </a:cxn>
                  <a:cxn ang="0">
                    <a:pos x="40" y="30"/>
                  </a:cxn>
                  <a:cxn ang="0">
                    <a:pos x="40" y="30"/>
                  </a:cxn>
                  <a:cxn ang="0">
                    <a:pos x="38" y="30"/>
                  </a:cxn>
                  <a:cxn ang="0">
                    <a:pos x="41" y="33"/>
                  </a:cxn>
                  <a:cxn ang="0">
                    <a:pos x="26" y="40"/>
                  </a:cxn>
                  <a:cxn ang="0">
                    <a:pos x="25" y="31"/>
                  </a:cxn>
                  <a:cxn ang="0">
                    <a:pos x="3" y="25"/>
                  </a:cxn>
                  <a:cxn ang="0">
                    <a:pos x="0" y="25"/>
                  </a:cxn>
                </a:cxnLst>
                <a:rect l="0" t="0" r="r" b="b"/>
                <a:pathLst>
                  <a:path w="41" h="40">
                    <a:moveTo>
                      <a:pt x="0" y="25"/>
                    </a:moveTo>
                    <a:lnTo>
                      <a:pt x="5" y="16"/>
                    </a:lnTo>
                    <a:lnTo>
                      <a:pt x="10" y="5"/>
                    </a:lnTo>
                    <a:lnTo>
                      <a:pt x="21" y="0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8" y="3"/>
                    </a:lnTo>
                    <a:lnTo>
                      <a:pt x="36" y="3"/>
                    </a:lnTo>
                    <a:lnTo>
                      <a:pt x="40" y="13"/>
                    </a:lnTo>
                    <a:lnTo>
                      <a:pt x="25" y="16"/>
                    </a:lnTo>
                    <a:lnTo>
                      <a:pt x="35" y="21"/>
                    </a:lnTo>
                    <a:lnTo>
                      <a:pt x="36" y="20"/>
                    </a:lnTo>
                    <a:lnTo>
                      <a:pt x="38" y="23"/>
                    </a:lnTo>
                    <a:lnTo>
                      <a:pt x="38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8" y="30"/>
                    </a:lnTo>
                    <a:lnTo>
                      <a:pt x="41" y="33"/>
                    </a:lnTo>
                    <a:lnTo>
                      <a:pt x="26" y="40"/>
                    </a:lnTo>
                    <a:lnTo>
                      <a:pt x="25" y="31"/>
                    </a:lnTo>
                    <a:lnTo>
                      <a:pt x="3" y="25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9" name="Freeform 76"/>
              <p:cNvSpPr>
                <a:spLocks/>
              </p:cNvSpPr>
              <p:nvPr/>
            </p:nvSpPr>
            <p:spPr bwMode="auto">
              <a:xfrm>
                <a:off x="6817428" y="2844303"/>
                <a:ext cx="29967" cy="14526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3" y="23"/>
                  </a:cxn>
                  <a:cxn ang="0">
                    <a:pos x="0" y="20"/>
                  </a:cxn>
                  <a:cxn ang="0">
                    <a:pos x="0" y="15"/>
                  </a:cxn>
                  <a:cxn ang="0">
                    <a:pos x="3" y="13"/>
                  </a:cxn>
                  <a:cxn ang="0">
                    <a:pos x="6" y="10"/>
                  </a:cxn>
                  <a:cxn ang="0">
                    <a:pos x="10" y="11"/>
                  </a:cxn>
                  <a:cxn ang="0">
                    <a:pos x="13" y="11"/>
                  </a:cxn>
                  <a:cxn ang="0">
                    <a:pos x="15" y="8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5" y="8"/>
                  </a:cxn>
                  <a:cxn ang="0">
                    <a:pos x="31" y="8"/>
                  </a:cxn>
                  <a:cxn ang="0">
                    <a:pos x="41" y="3"/>
                  </a:cxn>
                  <a:cxn ang="0">
                    <a:pos x="49" y="0"/>
                  </a:cxn>
                  <a:cxn ang="0">
                    <a:pos x="53" y="0"/>
                  </a:cxn>
                  <a:cxn ang="0">
                    <a:pos x="54" y="0"/>
                  </a:cxn>
                  <a:cxn ang="0">
                    <a:pos x="51" y="1"/>
                  </a:cxn>
                  <a:cxn ang="0">
                    <a:pos x="46" y="5"/>
                  </a:cxn>
                  <a:cxn ang="0">
                    <a:pos x="40" y="11"/>
                  </a:cxn>
                  <a:cxn ang="0">
                    <a:pos x="41" y="15"/>
                  </a:cxn>
                  <a:cxn ang="0">
                    <a:pos x="41" y="20"/>
                  </a:cxn>
                  <a:cxn ang="0">
                    <a:pos x="35" y="18"/>
                  </a:cxn>
                  <a:cxn ang="0">
                    <a:pos x="31" y="20"/>
                  </a:cxn>
                  <a:cxn ang="0">
                    <a:pos x="26" y="25"/>
                  </a:cxn>
                  <a:cxn ang="0">
                    <a:pos x="21" y="25"/>
                  </a:cxn>
                  <a:cxn ang="0">
                    <a:pos x="18" y="28"/>
                  </a:cxn>
                  <a:cxn ang="0">
                    <a:pos x="15" y="26"/>
                  </a:cxn>
                  <a:cxn ang="0">
                    <a:pos x="8" y="26"/>
                  </a:cxn>
                </a:cxnLst>
                <a:rect l="0" t="0" r="r" b="b"/>
                <a:pathLst>
                  <a:path w="54" h="28">
                    <a:moveTo>
                      <a:pt x="8" y="26"/>
                    </a:moveTo>
                    <a:lnTo>
                      <a:pt x="3" y="23"/>
                    </a:lnTo>
                    <a:lnTo>
                      <a:pt x="0" y="20"/>
                    </a:lnTo>
                    <a:lnTo>
                      <a:pt x="0" y="15"/>
                    </a:lnTo>
                    <a:lnTo>
                      <a:pt x="3" y="13"/>
                    </a:lnTo>
                    <a:lnTo>
                      <a:pt x="6" y="10"/>
                    </a:lnTo>
                    <a:lnTo>
                      <a:pt x="10" y="11"/>
                    </a:lnTo>
                    <a:lnTo>
                      <a:pt x="13" y="11"/>
                    </a:lnTo>
                    <a:lnTo>
                      <a:pt x="15" y="8"/>
                    </a:lnTo>
                    <a:lnTo>
                      <a:pt x="15" y="5"/>
                    </a:lnTo>
                    <a:lnTo>
                      <a:pt x="20" y="5"/>
                    </a:lnTo>
                    <a:lnTo>
                      <a:pt x="25" y="8"/>
                    </a:lnTo>
                    <a:lnTo>
                      <a:pt x="31" y="8"/>
                    </a:lnTo>
                    <a:lnTo>
                      <a:pt x="41" y="3"/>
                    </a:lnTo>
                    <a:lnTo>
                      <a:pt x="49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5"/>
                    </a:lnTo>
                    <a:lnTo>
                      <a:pt x="40" y="11"/>
                    </a:lnTo>
                    <a:lnTo>
                      <a:pt x="41" y="15"/>
                    </a:lnTo>
                    <a:lnTo>
                      <a:pt x="41" y="20"/>
                    </a:lnTo>
                    <a:lnTo>
                      <a:pt x="35" y="18"/>
                    </a:lnTo>
                    <a:lnTo>
                      <a:pt x="31" y="20"/>
                    </a:lnTo>
                    <a:lnTo>
                      <a:pt x="26" y="25"/>
                    </a:lnTo>
                    <a:lnTo>
                      <a:pt x="21" y="25"/>
                    </a:lnTo>
                    <a:lnTo>
                      <a:pt x="18" y="28"/>
                    </a:lnTo>
                    <a:lnTo>
                      <a:pt x="15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0" name="Freeform 77"/>
              <p:cNvSpPr>
                <a:spLocks/>
              </p:cNvSpPr>
              <p:nvPr/>
            </p:nvSpPr>
            <p:spPr bwMode="auto">
              <a:xfrm>
                <a:off x="6860238" y="2823552"/>
                <a:ext cx="81339" cy="63293"/>
              </a:xfrm>
              <a:custGeom>
                <a:avLst/>
                <a:gdLst/>
                <a:ahLst/>
                <a:cxnLst>
                  <a:cxn ang="0">
                    <a:pos x="123" y="67"/>
                  </a:cxn>
                  <a:cxn ang="0">
                    <a:pos x="128" y="58"/>
                  </a:cxn>
                  <a:cxn ang="0">
                    <a:pos x="128" y="50"/>
                  </a:cxn>
                  <a:cxn ang="0">
                    <a:pos x="132" y="35"/>
                  </a:cxn>
                  <a:cxn ang="0">
                    <a:pos x="128" y="20"/>
                  </a:cxn>
                  <a:cxn ang="0">
                    <a:pos x="142" y="10"/>
                  </a:cxn>
                  <a:cxn ang="0">
                    <a:pos x="148" y="7"/>
                  </a:cxn>
                  <a:cxn ang="0">
                    <a:pos x="150" y="0"/>
                  </a:cxn>
                  <a:cxn ang="0">
                    <a:pos x="133" y="3"/>
                  </a:cxn>
                  <a:cxn ang="0">
                    <a:pos x="117" y="3"/>
                  </a:cxn>
                  <a:cxn ang="0">
                    <a:pos x="102" y="5"/>
                  </a:cxn>
                  <a:cxn ang="0">
                    <a:pos x="92" y="10"/>
                  </a:cxn>
                  <a:cxn ang="0">
                    <a:pos x="78" y="12"/>
                  </a:cxn>
                  <a:cxn ang="0">
                    <a:pos x="68" y="8"/>
                  </a:cxn>
                  <a:cxn ang="0">
                    <a:pos x="52" y="8"/>
                  </a:cxn>
                  <a:cxn ang="0">
                    <a:pos x="45" y="10"/>
                  </a:cxn>
                  <a:cxn ang="0">
                    <a:pos x="30" y="13"/>
                  </a:cxn>
                  <a:cxn ang="0">
                    <a:pos x="22" y="17"/>
                  </a:cxn>
                  <a:cxn ang="0">
                    <a:pos x="19" y="27"/>
                  </a:cxn>
                  <a:cxn ang="0">
                    <a:pos x="14" y="32"/>
                  </a:cxn>
                  <a:cxn ang="0">
                    <a:pos x="4" y="32"/>
                  </a:cxn>
                  <a:cxn ang="0">
                    <a:pos x="0" y="33"/>
                  </a:cxn>
                  <a:cxn ang="0">
                    <a:pos x="5" y="48"/>
                  </a:cxn>
                  <a:cxn ang="0">
                    <a:pos x="5" y="58"/>
                  </a:cxn>
                  <a:cxn ang="0">
                    <a:pos x="15" y="67"/>
                  </a:cxn>
                  <a:cxn ang="0">
                    <a:pos x="22" y="73"/>
                  </a:cxn>
                  <a:cxn ang="0">
                    <a:pos x="24" y="83"/>
                  </a:cxn>
                  <a:cxn ang="0">
                    <a:pos x="19" y="85"/>
                  </a:cxn>
                  <a:cxn ang="0">
                    <a:pos x="12" y="93"/>
                  </a:cxn>
                  <a:cxn ang="0">
                    <a:pos x="7" y="98"/>
                  </a:cxn>
                  <a:cxn ang="0">
                    <a:pos x="12" y="103"/>
                  </a:cxn>
                  <a:cxn ang="0">
                    <a:pos x="12" y="113"/>
                  </a:cxn>
                  <a:cxn ang="0">
                    <a:pos x="22" y="116"/>
                  </a:cxn>
                  <a:cxn ang="0">
                    <a:pos x="29" y="120"/>
                  </a:cxn>
                  <a:cxn ang="0">
                    <a:pos x="80" y="95"/>
                  </a:cxn>
                </a:cxnLst>
                <a:rect l="0" t="0" r="r" b="b"/>
                <a:pathLst>
                  <a:path w="152" h="123">
                    <a:moveTo>
                      <a:pt x="80" y="95"/>
                    </a:moveTo>
                    <a:lnTo>
                      <a:pt x="123" y="67"/>
                    </a:lnTo>
                    <a:lnTo>
                      <a:pt x="125" y="63"/>
                    </a:lnTo>
                    <a:lnTo>
                      <a:pt x="128" y="58"/>
                    </a:lnTo>
                    <a:lnTo>
                      <a:pt x="128" y="53"/>
                    </a:lnTo>
                    <a:lnTo>
                      <a:pt x="128" y="50"/>
                    </a:lnTo>
                    <a:lnTo>
                      <a:pt x="132" y="42"/>
                    </a:lnTo>
                    <a:lnTo>
                      <a:pt x="132" y="35"/>
                    </a:lnTo>
                    <a:lnTo>
                      <a:pt x="127" y="27"/>
                    </a:lnTo>
                    <a:lnTo>
                      <a:pt x="128" y="20"/>
                    </a:lnTo>
                    <a:lnTo>
                      <a:pt x="132" y="12"/>
                    </a:lnTo>
                    <a:lnTo>
                      <a:pt x="142" y="10"/>
                    </a:lnTo>
                    <a:lnTo>
                      <a:pt x="147" y="7"/>
                    </a:lnTo>
                    <a:lnTo>
                      <a:pt x="148" y="7"/>
                    </a:lnTo>
                    <a:lnTo>
                      <a:pt x="152" y="2"/>
                    </a:lnTo>
                    <a:lnTo>
                      <a:pt x="150" y="0"/>
                    </a:lnTo>
                    <a:lnTo>
                      <a:pt x="142" y="0"/>
                    </a:lnTo>
                    <a:lnTo>
                      <a:pt x="133" y="3"/>
                    </a:lnTo>
                    <a:lnTo>
                      <a:pt x="120" y="2"/>
                    </a:lnTo>
                    <a:lnTo>
                      <a:pt x="117" y="3"/>
                    </a:lnTo>
                    <a:lnTo>
                      <a:pt x="110" y="3"/>
                    </a:lnTo>
                    <a:lnTo>
                      <a:pt x="102" y="5"/>
                    </a:lnTo>
                    <a:lnTo>
                      <a:pt x="97" y="8"/>
                    </a:lnTo>
                    <a:lnTo>
                      <a:pt x="92" y="10"/>
                    </a:lnTo>
                    <a:lnTo>
                      <a:pt x="90" y="12"/>
                    </a:lnTo>
                    <a:lnTo>
                      <a:pt x="78" y="12"/>
                    </a:lnTo>
                    <a:lnTo>
                      <a:pt x="72" y="10"/>
                    </a:lnTo>
                    <a:lnTo>
                      <a:pt x="68" y="8"/>
                    </a:lnTo>
                    <a:lnTo>
                      <a:pt x="65" y="7"/>
                    </a:lnTo>
                    <a:lnTo>
                      <a:pt x="52" y="8"/>
                    </a:lnTo>
                    <a:lnTo>
                      <a:pt x="49" y="10"/>
                    </a:lnTo>
                    <a:lnTo>
                      <a:pt x="45" y="10"/>
                    </a:lnTo>
                    <a:lnTo>
                      <a:pt x="34" y="15"/>
                    </a:lnTo>
                    <a:lnTo>
                      <a:pt x="30" y="13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0" y="23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14" y="32"/>
                    </a:lnTo>
                    <a:lnTo>
                      <a:pt x="9" y="33"/>
                    </a:lnTo>
                    <a:lnTo>
                      <a:pt x="4" y="32"/>
                    </a:lnTo>
                    <a:lnTo>
                      <a:pt x="4" y="33"/>
                    </a:lnTo>
                    <a:lnTo>
                      <a:pt x="0" y="33"/>
                    </a:lnTo>
                    <a:lnTo>
                      <a:pt x="2" y="40"/>
                    </a:lnTo>
                    <a:lnTo>
                      <a:pt x="5" y="48"/>
                    </a:lnTo>
                    <a:lnTo>
                      <a:pt x="7" y="53"/>
                    </a:lnTo>
                    <a:lnTo>
                      <a:pt x="5" y="58"/>
                    </a:lnTo>
                    <a:lnTo>
                      <a:pt x="5" y="67"/>
                    </a:lnTo>
                    <a:lnTo>
                      <a:pt x="15" y="67"/>
                    </a:lnTo>
                    <a:lnTo>
                      <a:pt x="19" y="72"/>
                    </a:lnTo>
                    <a:lnTo>
                      <a:pt x="22" y="73"/>
                    </a:lnTo>
                    <a:lnTo>
                      <a:pt x="22" y="80"/>
                    </a:lnTo>
                    <a:lnTo>
                      <a:pt x="24" y="83"/>
                    </a:lnTo>
                    <a:lnTo>
                      <a:pt x="20" y="85"/>
                    </a:lnTo>
                    <a:lnTo>
                      <a:pt x="19" y="85"/>
                    </a:lnTo>
                    <a:lnTo>
                      <a:pt x="14" y="87"/>
                    </a:lnTo>
                    <a:lnTo>
                      <a:pt x="12" y="93"/>
                    </a:lnTo>
                    <a:lnTo>
                      <a:pt x="9" y="98"/>
                    </a:lnTo>
                    <a:lnTo>
                      <a:pt x="7" y="98"/>
                    </a:lnTo>
                    <a:lnTo>
                      <a:pt x="9" y="100"/>
                    </a:lnTo>
                    <a:lnTo>
                      <a:pt x="12" y="103"/>
                    </a:lnTo>
                    <a:lnTo>
                      <a:pt x="14" y="110"/>
                    </a:lnTo>
                    <a:lnTo>
                      <a:pt x="12" y="113"/>
                    </a:lnTo>
                    <a:lnTo>
                      <a:pt x="14" y="113"/>
                    </a:lnTo>
                    <a:lnTo>
                      <a:pt x="22" y="116"/>
                    </a:lnTo>
                    <a:lnTo>
                      <a:pt x="27" y="120"/>
                    </a:lnTo>
                    <a:lnTo>
                      <a:pt x="29" y="120"/>
                    </a:lnTo>
                    <a:lnTo>
                      <a:pt x="32" y="123"/>
                    </a:lnTo>
                    <a:lnTo>
                      <a:pt x="80" y="95"/>
                    </a:lnTo>
                    <a:lnTo>
                      <a:pt x="80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1" name="Freeform 78"/>
              <p:cNvSpPr>
                <a:spLocks/>
              </p:cNvSpPr>
              <p:nvPr/>
            </p:nvSpPr>
            <p:spPr bwMode="auto">
              <a:xfrm>
                <a:off x="6844184" y="2874393"/>
                <a:ext cx="20334" cy="49804"/>
              </a:xfrm>
              <a:custGeom>
                <a:avLst/>
                <a:gdLst/>
                <a:ahLst/>
                <a:cxnLst>
                  <a:cxn ang="0">
                    <a:pos x="24" y="96"/>
                  </a:cxn>
                  <a:cxn ang="0">
                    <a:pos x="27" y="91"/>
                  </a:cxn>
                  <a:cxn ang="0">
                    <a:pos x="27" y="91"/>
                  </a:cxn>
                  <a:cxn ang="0">
                    <a:pos x="27" y="88"/>
                  </a:cxn>
                  <a:cxn ang="0">
                    <a:pos x="29" y="87"/>
                  </a:cxn>
                  <a:cxn ang="0">
                    <a:pos x="29" y="82"/>
                  </a:cxn>
                  <a:cxn ang="0">
                    <a:pos x="30" y="77"/>
                  </a:cxn>
                  <a:cxn ang="0">
                    <a:pos x="30" y="70"/>
                  </a:cxn>
                  <a:cxn ang="0">
                    <a:pos x="32" y="68"/>
                  </a:cxn>
                  <a:cxn ang="0">
                    <a:pos x="32" y="63"/>
                  </a:cxn>
                  <a:cxn ang="0">
                    <a:pos x="34" y="58"/>
                  </a:cxn>
                  <a:cxn ang="0">
                    <a:pos x="32" y="55"/>
                  </a:cxn>
                  <a:cxn ang="0">
                    <a:pos x="34" y="47"/>
                  </a:cxn>
                  <a:cxn ang="0">
                    <a:pos x="32" y="47"/>
                  </a:cxn>
                  <a:cxn ang="0">
                    <a:pos x="29" y="47"/>
                  </a:cxn>
                  <a:cxn ang="0">
                    <a:pos x="25" y="48"/>
                  </a:cxn>
                  <a:cxn ang="0">
                    <a:pos x="22" y="47"/>
                  </a:cxn>
                  <a:cxn ang="0">
                    <a:pos x="24" y="40"/>
                  </a:cxn>
                  <a:cxn ang="0">
                    <a:pos x="24" y="30"/>
                  </a:cxn>
                  <a:cxn ang="0">
                    <a:pos x="22" y="27"/>
                  </a:cxn>
                  <a:cxn ang="0">
                    <a:pos x="24" y="22"/>
                  </a:cxn>
                  <a:cxn ang="0">
                    <a:pos x="29" y="22"/>
                  </a:cxn>
                  <a:cxn ang="0">
                    <a:pos x="30" y="25"/>
                  </a:cxn>
                  <a:cxn ang="0">
                    <a:pos x="32" y="25"/>
                  </a:cxn>
                  <a:cxn ang="0">
                    <a:pos x="35" y="22"/>
                  </a:cxn>
                  <a:cxn ang="0">
                    <a:pos x="35" y="20"/>
                  </a:cxn>
                  <a:cxn ang="0">
                    <a:pos x="35" y="20"/>
                  </a:cxn>
                  <a:cxn ang="0">
                    <a:pos x="35" y="18"/>
                  </a:cxn>
                  <a:cxn ang="0">
                    <a:pos x="34" y="15"/>
                  </a:cxn>
                  <a:cxn ang="0">
                    <a:pos x="35" y="8"/>
                  </a:cxn>
                  <a:cxn ang="0">
                    <a:pos x="35" y="2"/>
                  </a:cxn>
                  <a:cxn ang="0">
                    <a:pos x="37" y="0"/>
                  </a:cxn>
                  <a:cxn ang="0">
                    <a:pos x="35" y="0"/>
                  </a:cxn>
                  <a:cxn ang="0">
                    <a:pos x="32" y="5"/>
                  </a:cxn>
                  <a:cxn ang="0">
                    <a:pos x="25" y="5"/>
                  </a:cxn>
                  <a:cxn ang="0">
                    <a:pos x="22" y="3"/>
                  </a:cxn>
                  <a:cxn ang="0">
                    <a:pos x="17" y="10"/>
                  </a:cxn>
                  <a:cxn ang="0">
                    <a:pos x="15" y="25"/>
                  </a:cxn>
                  <a:cxn ang="0">
                    <a:pos x="7" y="38"/>
                  </a:cxn>
                  <a:cxn ang="0">
                    <a:pos x="0" y="47"/>
                  </a:cxn>
                  <a:cxn ang="0">
                    <a:pos x="4" y="48"/>
                  </a:cxn>
                  <a:cxn ang="0">
                    <a:pos x="7" y="55"/>
                  </a:cxn>
                  <a:cxn ang="0">
                    <a:pos x="10" y="63"/>
                  </a:cxn>
                  <a:cxn ang="0">
                    <a:pos x="17" y="72"/>
                  </a:cxn>
                  <a:cxn ang="0">
                    <a:pos x="22" y="83"/>
                  </a:cxn>
                  <a:cxn ang="0">
                    <a:pos x="20" y="88"/>
                  </a:cxn>
                  <a:cxn ang="0">
                    <a:pos x="24" y="96"/>
                  </a:cxn>
                </a:cxnLst>
                <a:rect l="0" t="0" r="r" b="b"/>
                <a:pathLst>
                  <a:path w="37" h="96">
                    <a:moveTo>
                      <a:pt x="24" y="96"/>
                    </a:moveTo>
                    <a:lnTo>
                      <a:pt x="27" y="91"/>
                    </a:lnTo>
                    <a:lnTo>
                      <a:pt x="27" y="91"/>
                    </a:lnTo>
                    <a:lnTo>
                      <a:pt x="27" y="88"/>
                    </a:lnTo>
                    <a:lnTo>
                      <a:pt x="29" y="87"/>
                    </a:lnTo>
                    <a:lnTo>
                      <a:pt x="29" y="82"/>
                    </a:lnTo>
                    <a:lnTo>
                      <a:pt x="30" y="77"/>
                    </a:lnTo>
                    <a:lnTo>
                      <a:pt x="30" y="70"/>
                    </a:lnTo>
                    <a:lnTo>
                      <a:pt x="32" y="68"/>
                    </a:lnTo>
                    <a:lnTo>
                      <a:pt x="32" y="63"/>
                    </a:lnTo>
                    <a:lnTo>
                      <a:pt x="34" y="58"/>
                    </a:lnTo>
                    <a:lnTo>
                      <a:pt x="32" y="55"/>
                    </a:lnTo>
                    <a:lnTo>
                      <a:pt x="34" y="47"/>
                    </a:lnTo>
                    <a:lnTo>
                      <a:pt x="32" y="47"/>
                    </a:lnTo>
                    <a:lnTo>
                      <a:pt x="29" y="47"/>
                    </a:lnTo>
                    <a:lnTo>
                      <a:pt x="25" y="48"/>
                    </a:lnTo>
                    <a:lnTo>
                      <a:pt x="22" y="47"/>
                    </a:lnTo>
                    <a:lnTo>
                      <a:pt x="24" y="40"/>
                    </a:lnTo>
                    <a:lnTo>
                      <a:pt x="24" y="30"/>
                    </a:lnTo>
                    <a:lnTo>
                      <a:pt x="22" y="27"/>
                    </a:lnTo>
                    <a:lnTo>
                      <a:pt x="24" y="22"/>
                    </a:lnTo>
                    <a:lnTo>
                      <a:pt x="29" y="22"/>
                    </a:lnTo>
                    <a:lnTo>
                      <a:pt x="30" y="25"/>
                    </a:lnTo>
                    <a:lnTo>
                      <a:pt x="32" y="25"/>
                    </a:lnTo>
                    <a:lnTo>
                      <a:pt x="35" y="22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35" y="18"/>
                    </a:lnTo>
                    <a:lnTo>
                      <a:pt x="34" y="15"/>
                    </a:lnTo>
                    <a:lnTo>
                      <a:pt x="35" y="8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2" y="5"/>
                    </a:lnTo>
                    <a:lnTo>
                      <a:pt x="25" y="5"/>
                    </a:lnTo>
                    <a:lnTo>
                      <a:pt x="22" y="3"/>
                    </a:lnTo>
                    <a:lnTo>
                      <a:pt x="17" y="10"/>
                    </a:lnTo>
                    <a:lnTo>
                      <a:pt x="15" y="25"/>
                    </a:lnTo>
                    <a:lnTo>
                      <a:pt x="7" y="38"/>
                    </a:lnTo>
                    <a:lnTo>
                      <a:pt x="0" y="47"/>
                    </a:lnTo>
                    <a:lnTo>
                      <a:pt x="4" y="48"/>
                    </a:lnTo>
                    <a:lnTo>
                      <a:pt x="7" y="55"/>
                    </a:lnTo>
                    <a:lnTo>
                      <a:pt x="10" y="63"/>
                    </a:lnTo>
                    <a:lnTo>
                      <a:pt x="17" y="72"/>
                    </a:lnTo>
                    <a:lnTo>
                      <a:pt x="22" y="83"/>
                    </a:lnTo>
                    <a:lnTo>
                      <a:pt x="20" y="88"/>
                    </a:lnTo>
                    <a:lnTo>
                      <a:pt x="24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2" name="Freeform 79"/>
              <p:cNvSpPr>
                <a:spLocks/>
              </p:cNvSpPr>
              <p:nvPr/>
            </p:nvSpPr>
            <p:spPr bwMode="auto">
              <a:xfrm>
                <a:off x="6862378" y="2874393"/>
                <a:ext cx="5351" cy="10376"/>
              </a:xfrm>
              <a:custGeom>
                <a:avLst/>
                <a:gdLst/>
                <a:ahLst/>
                <a:cxnLst>
                  <a:cxn ang="0">
                    <a:pos x="1" y="20"/>
                  </a:cxn>
                  <a:cxn ang="0">
                    <a:pos x="1" y="18"/>
                  </a:cxn>
                  <a:cxn ang="0">
                    <a:pos x="0" y="15"/>
                  </a:cxn>
                  <a:cxn ang="0">
                    <a:pos x="1" y="8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8" y="5"/>
                  </a:cxn>
                  <a:cxn ang="0">
                    <a:pos x="10" y="12"/>
                  </a:cxn>
                  <a:cxn ang="0">
                    <a:pos x="8" y="15"/>
                  </a:cxn>
                  <a:cxn ang="0">
                    <a:pos x="8" y="15"/>
                  </a:cxn>
                  <a:cxn ang="0">
                    <a:pos x="5" y="18"/>
                  </a:cxn>
                  <a:cxn ang="0">
                    <a:pos x="3" y="20"/>
                  </a:cxn>
                  <a:cxn ang="0">
                    <a:pos x="1" y="20"/>
                  </a:cxn>
                </a:cxnLst>
                <a:rect l="0" t="0" r="r" b="b"/>
                <a:pathLst>
                  <a:path w="10" h="20">
                    <a:moveTo>
                      <a:pt x="1" y="20"/>
                    </a:moveTo>
                    <a:lnTo>
                      <a:pt x="1" y="18"/>
                    </a:lnTo>
                    <a:lnTo>
                      <a:pt x="0" y="15"/>
                    </a:lnTo>
                    <a:lnTo>
                      <a:pt x="1" y="8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5" y="18"/>
                    </a:lnTo>
                    <a:lnTo>
                      <a:pt x="3" y="20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3" name="Freeform 80"/>
              <p:cNvSpPr>
                <a:spLocks/>
              </p:cNvSpPr>
              <p:nvPr/>
            </p:nvSpPr>
            <p:spPr bwMode="auto">
              <a:xfrm>
                <a:off x="6855957" y="2884769"/>
                <a:ext cx="7491" cy="14526"/>
              </a:xfrm>
              <a:custGeom>
                <a:avLst/>
                <a:gdLst/>
                <a:ahLst/>
                <a:cxnLst>
                  <a:cxn ang="0">
                    <a:pos x="10" y="25"/>
                  </a:cxn>
                  <a:cxn ang="0">
                    <a:pos x="7" y="25"/>
                  </a:cxn>
                  <a:cxn ang="0">
                    <a:pos x="3" y="26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8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7" y="0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3" y="5"/>
                  </a:cxn>
                  <a:cxn ang="0">
                    <a:pos x="13" y="6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2" y="25"/>
                  </a:cxn>
                  <a:cxn ang="0">
                    <a:pos x="10" y="25"/>
                  </a:cxn>
                </a:cxnLst>
                <a:rect l="0" t="0" r="r" b="b"/>
                <a:pathLst>
                  <a:path w="13" h="26">
                    <a:moveTo>
                      <a:pt x="10" y="25"/>
                    </a:moveTo>
                    <a:lnTo>
                      <a:pt x="7" y="25"/>
                    </a:lnTo>
                    <a:lnTo>
                      <a:pt x="3" y="26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2" y="25"/>
                    </a:lnTo>
                    <a:lnTo>
                      <a:pt x="10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4" name="Freeform 81"/>
              <p:cNvSpPr>
                <a:spLocks/>
              </p:cNvSpPr>
              <p:nvPr/>
            </p:nvSpPr>
            <p:spPr bwMode="auto">
              <a:xfrm>
                <a:off x="6855957" y="2857792"/>
                <a:ext cx="17124" cy="18677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3" y="36"/>
                  </a:cxn>
                  <a:cxn ang="0">
                    <a:pos x="10" y="36"/>
                  </a:cxn>
                  <a:cxn ang="0">
                    <a:pos x="13" y="31"/>
                  </a:cxn>
                  <a:cxn ang="0">
                    <a:pos x="17" y="31"/>
                  </a:cxn>
                  <a:cxn ang="0">
                    <a:pos x="20" y="26"/>
                  </a:cxn>
                  <a:cxn ang="0">
                    <a:pos x="22" y="20"/>
                  </a:cxn>
                  <a:cxn ang="0">
                    <a:pos x="27" y="18"/>
                  </a:cxn>
                  <a:cxn ang="0">
                    <a:pos x="28" y="18"/>
                  </a:cxn>
                  <a:cxn ang="0">
                    <a:pos x="32" y="16"/>
                  </a:cxn>
                  <a:cxn ang="0">
                    <a:pos x="30" y="13"/>
                  </a:cxn>
                  <a:cxn ang="0">
                    <a:pos x="30" y="6"/>
                  </a:cxn>
                  <a:cxn ang="0">
                    <a:pos x="27" y="5"/>
                  </a:cxn>
                  <a:cxn ang="0">
                    <a:pos x="23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0" y="1"/>
                  </a:cxn>
                  <a:cxn ang="0">
                    <a:pos x="8" y="18"/>
                  </a:cxn>
                  <a:cxn ang="0">
                    <a:pos x="5" y="23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34"/>
                  </a:cxn>
                </a:cxnLst>
                <a:rect l="0" t="0" r="r" b="b"/>
                <a:pathLst>
                  <a:path w="32" h="36">
                    <a:moveTo>
                      <a:pt x="0" y="34"/>
                    </a:moveTo>
                    <a:lnTo>
                      <a:pt x="3" y="36"/>
                    </a:lnTo>
                    <a:lnTo>
                      <a:pt x="10" y="36"/>
                    </a:lnTo>
                    <a:lnTo>
                      <a:pt x="13" y="31"/>
                    </a:lnTo>
                    <a:lnTo>
                      <a:pt x="17" y="31"/>
                    </a:lnTo>
                    <a:lnTo>
                      <a:pt x="20" y="26"/>
                    </a:lnTo>
                    <a:lnTo>
                      <a:pt x="22" y="20"/>
                    </a:lnTo>
                    <a:lnTo>
                      <a:pt x="27" y="18"/>
                    </a:lnTo>
                    <a:lnTo>
                      <a:pt x="28" y="18"/>
                    </a:lnTo>
                    <a:lnTo>
                      <a:pt x="32" y="16"/>
                    </a:lnTo>
                    <a:lnTo>
                      <a:pt x="30" y="13"/>
                    </a:lnTo>
                    <a:lnTo>
                      <a:pt x="30" y="6"/>
                    </a:lnTo>
                    <a:lnTo>
                      <a:pt x="27" y="5"/>
                    </a:lnTo>
                    <a:lnTo>
                      <a:pt x="23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8" y="18"/>
                    </a:lnTo>
                    <a:lnTo>
                      <a:pt x="5" y="23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5" name="Freeform 82"/>
              <p:cNvSpPr>
                <a:spLocks/>
              </p:cNvSpPr>
              <p:nvPr/>
            </p:nvSpPr>
            <p:spPr bwMode="auto">
              <a:xfrm>
                <a:off x="6857027" y="2872318"/>
                <a:ext cx="52442" cy="57068"/>
              </a:xfrm>
              <a:custGeom>
                <a:avLst/>
                <a:gdLst/>
                <a:ahLst/>
                <a:cxnLst>
                  <a:cxn ang="0">
                    <a:pos x="3" y="94"/>
                  </a:cxn>
                  <a:cxn ang="0">
                    <a:pos x="3" y="94"/>
                  </a:cxn>
                  <a:cxn ang="0">
                    <a:pos x="3" y="91"/>
                  </a:cxn>
                  <a:cxn ang="0">
                    <a:pos x="5" y="90"/>
                  </a:cxn>
                  <a:cxn ang="0">
                    <a:pos x="5" y="85"/>
                  </a:cxn>
                  <a:cxn ang="0">
                    <a:pos x="6" y="80"/>
                  </a:cxn>
                  <a:cxn ang="0">
                    <a:pos x="6" y="73"/>
                  </a:cxn>
                  <a:cxn ang="0">
                    <a:pos x="8" y="71"/>
                  </a:cxn>
                  <a:cxn ang="0">
                    <a:pos x="8" y="66"/>
                  </a:cxn>
                  <a:cxn ang="0">
                    <a:pos x="10" y="61"/>
                  </a:cxn>
                  <a:cxn ang="0">
                    <a:pos x="8" y="58"/>
                  </a:cxn>
                  <a:cxn ang="0">
                    <a:pos x="10" y="41"/>
                  </a:cxn>
                  <a:cxn ang="0">
                    <a:pos x="10" y="38"/>
                  </a:cxn>
                  <a:cxn ang="0">
                    <a:pos x="11" y="31"/>
                  </a:cxn>
                  <a:cxn ang="0">
                    <a:pos x="11" y="30"/>
                  </a:cxn>
                  <a:cxn ang="0">
                    <a:pos x="11" y="26"/>
                  </a:cxn>
                  <a:cxn ang="0">
                    <a:pos x="11" y="23"/>
                  </a:cxn>
                  <a:cxn ang="0">
                    <a:pos x="13" y="23"/>
                  </a:cxn>
                  <a:cxn ang="0">
                    <a:pos x="15" y="21"/>
                  </a:cxn>
                  <a:cxn ang="0">
                    <a:pos x="18" y="18"/>
                  </a:cxn>
                  <a:cxn ang="0">
                    <a:pos x="20" y="18"/>
                  </a:cxn>
                  <a:cxn ang="0">
                    <a:pos x="28" y="21"/>
                  </a:cxn>
                  <a:cxn ang="0">
                    <a:pos x="33" y="25"/>
                  </a:cxn>
                  <a:cxn ang="0">
                    <a:pos x="35" y="25"/>
                  </a:cxn>
                  <a:cxn ang="0">
                    <a:pos x="38" y="28"/>
                  </a:cxn>
                  <a:cxn ang="0">
                    <a:pos x="86" y="0"/>
                  </a:cxn>
                  <a:cxn ang="0">
                    <a:pos x="98" y="28"/>
                  </a:cxn>
                  <a:cxn ang="0">
                    <a:pos x="96" y="28"/>
                  </a:cxn>
                  <a:cxn ang="0">
                    <a:pos x="88" y="36"/>
                  </a:cxn>
                  <a:cxn ang="0">
                    <a:pos x="53" y="46"/>
                  </a:cxn>
                  <a:cxn ang="0">
                    <a:pos x="79" y="75"/>
                  </a:cxn>
                  <a:cxn ang="0">
                    <a:pos x="70" y="85"/>
                  </a:cxn>
                  <a:cxn ang="0">
                    <a:pos x="68" y="91"/>
                  </a:cxn>
                  <a:cxn ang="0">
                    <a:pos x="50" y="94"/>
                  </a:cxn>
                  <a:cxn ang="0">
                    <a:pos x="33" y="109"/>
                  </a:cxn>
                  <a:cxn ang="0">
                    <a:pos x="8" y="103"/>
                  </a:cxn>
                  <a:cxn ang="0">
                    <a:pos x="0" y="103"/>
                  </a:cxn>
                  <a:cxn ang="0">
                    <a:pos x="1" y="103"/>
                  </a:cxn>
                  <a:cxn ang="0">
                    <a:pos x="3" y="96"/>
                  </a:cxn>
                  <a:cxn ang="0">
                    <a:pos x="3" y="94"/>
                  </a:cxn>
                  <a:cxn ang="0">
                    <a:pos x="3" y="94"/>
                  </a:cxn>
                </a:cxnLst>
                <a:rect l="0" t="0" r="r" b="b"/>
                <a:pathLst>
                  <a:path w="98" h="109">
                    <a:moveTo>
                      <a:pt x="3" y="94"/>
                    </a:moveTo>
                    <a:lnTo>
                      <a:pt x="3" y="94"/>
                    </a:lnTo>
                    <a:lnTo>
                      <a:pt x="3" y="91"/>
                    </a:lnTo>
                    <a:lnTo>
                      <a:pt x="5" y="90"/>
                    </a:lnTo>
                    <a:lnTo>
                      <a:pt x="5" y="85"/>
                    </a:lnTo>
                    <a:lnTo>
                      <a:pt x="6" y="80"/>
                    </a:lnTo>
                    <a:lnTo>
                      <a:pt x="6" y="73"/>
                    </a:lnTo>
                    <a:lnTo>
                      <a:pt x="8" y="71"/>
                    </a:lnTo>
                    <a:lnTo>
                      <a:pt x="8" y="66"/>
                    </a:lnTo>
                    <a:lnTo>
                      <a:pt x="10" y="61"/>
                    </a:lnTo>
                    <a:lnTo>
                      <a:pt x="8" y="58"/>
                    </a:lnTo>
                    <a:lnTo>
                      <a:pt x="10" y="41"/>
                    </a:lnTo>
                    <a:lnTo>
                      <a:pt x="10" y="38"/>
                    </a:lnTo>
                    <a:lnTo>
                      <a:pt x="11" y="31"/>
                    </a:lnTo>
                    <a:lnTo>
                      <a:pt x="11" y="30"/>
                    </a:lnTo>
                    <a:lnTo>
                      <a:pt x="11" y="26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8" y="18"/>
                    </a:lnTo>
                    <a:lnTo>
                      <a:pt x="20" y="18"/>
                    </a:lnTo>
                    <a:lnTo>
                      <a:pt x="28" y="21"/>
                    </a:lnTo>
                    <a:lnTo>
                      <a:pt x="33" y="25"/>
                    </a:lnTo>
                    <a:lnTo>
                      <a:pt x="35" y="25"/>
                    </a:lnTo>
                    <a:lnTo>
                      <a:pt x="38" y="28"/>
                    </a:lnTo>
                    <a:lnTo>
                      <a:pt x="86" y="0"/>
                    </a:lnTo>
                    <a:lnTo>
                      <a:pt x="98" y="28"/>
                    </a:lnTo>
                    <a:lnTo>
                      <a:pt x="96" y="28"/>
                    </a:lnTo>
                    <a:lnTo>
                      <a:pt x="88" y="36"/>
                    </a:lnTo>
                    <a:lnTo>
                      <a:pt x="53" y="46"/>
                    </a:lnTo>
                    <a:lnTo>
                      <a:pt x="79" y="75"/>
                    </a:lnTo>
                    <a:lnTo>
                      <a:pt x="70" y="85"/>
                    </a:lnTo>
                    <a:lnTo>
                      <a:pt x="68" y="91"/>
                    </a:lnTo>
                    <a:lnTo>
                      <a:pt x="50" y="94"/>
                    </a:lnTo>
                    <a:lnTo>
                      <a:pt x="33" y="109"/>
                    </a:lnTo>
                    <a:lnTo>
                      <a:pt x="8" y="103"/>
                    </a:lnTo>
                    <a:lnTo>
                      <a:pt x="0" y="103"/>
                    </a:lnTo>
                    <a:lnTo>
                      <a:pt x="1" y="103"/>
                    </a:lnTo>
                    <a:lnTo>
                      <a:pt x="3" y="96"/>
                    </a:lnTo>
                    <a:lnTo>
                      <a:pt x="3" y="94"/>
                    </a:lnTo>
                    <a:lnTo>
                      <a:pt x="3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6" name="Freeform 83"/>
              <p:cNvSpPr>
                <a:spLocks/>
              </p:cNvSpPr>
              <p:nvPr/>
            </p:nvSpPr>
            <p:spPr bwMode="auto">
              <a:xfrm>
                <a:off x="6855957" y="2886844"/>
                <a:ext cx="269703" cy="200255"/>
              </a:xfrm>
              <a:custGeom>
                <a:avLst/>
                <a:gdLst/>
                <a:ahLst/>
                <a:cxnLst>
                  <a:cxn ang="0">
                    <a:pos x="306" y="81"/>
                  </a:cxn>
                  <a:cxn ang="0">
                    <a:pos x="121" y="3"/>
                  </a:cxn>
                  <a:cxn ang="0">
                    <a:pos x="55" y="18"/>
                  </a:cxn>
                  <a:cxn ang="0">
                    <a:pos x="70" y="63"/>
                  </a:cxn>
                  <a:cxn ang="0">
                    <a:pos x="10" y="75"/>
                  </a:cxn>
                  <a:cxn ang="0">
                    <a:pos x="2" y="93"/>
                  </a:cxn>
                  <a:cxn ang="0">
                    <a:pos x="3" y="100"/>
                  </a:cxn>
                  <a:cxn ang="0">
                    <a:pos x="13" y="103"/>
                  </a:cxn>
                  <a:cxn ang="0">
                    <a:pos x="23" y="118"/>
                  </a:cxn>
                  <a:cxn ang="0">
                    <a:pos x="32" y="128"/>
                  </a:cxn>
                  <a:cxn ang="0">
                    <a:pos x="42" y="143"/>
                  </a:cxn>
                  <a:cxn ang="0">
                    <a:pos x="48" y="153"/>
                  </a:cxn>
                  <a:cxn ang="0">
                    <a:pos x="62" y="168"/>
                  </a:cxn>
                  <a:cxn ang="0">
                    <a:pos x="65" y="179"/>
                  </a:cxn>
                  <a:cxn ang="0">
                    <a:pos x="70" y="189"/>
                  </a:cxn>
                  <a:cxn ang="0">
                    <a:pos x="81" y="193"/>
                  </a:cxn>
                  <a:cxn ang="0">
                    <a:pos x="98" y="206"/>
                  </a:cxn>
                  <a:cxn ang="0">
                    <a:pos x="103" y="214"/>
                  </a:cxn>
                  <a:cxn ang="0">
                    <a:pos x="111" y="233"/>
                  </a:cxn>
                  <a:cxn ang="0">
                    <a:pos x="108" y="244"/>
                  </a:cxn>
                  <a:cxn ang="0">
                    <a:pos x="113" y="262"/>
                  </a:cxn>
                  <a:cxn ang="0">
                    <a:pos x="131" y="282"/>
                  </a:cxn>
                  <a:cxn ang="0">
                    <a:pos x="143" y="287"/>
                  </a:cxn>
                  <a:cxn ang="0">
                    <a:pos x="153" y="297"/>
                  </a:cxn>
                  <a:cxn ang="0">
                    <a:pos x="161" y="302"/>
                  </a:cxn>
                  <a:cxn ang="0">
                    <a:pos x="173" y="329"/>
                  </a:cxn>
                  <a:cxn ang="0">
                    <a:pos x="196" y="356"/>
                  </a:cxn>
                  <a:cxn ang="0">
                    <a:pos x="211" y="369"/>
                  </a:cxn>
                  <a:cxn ang="0">
                    <a:pos x="224" y="362"/>
                  </a:cxn>
                  <a:cxn ang="0">
                    <a:pos x="229" y="342"/>
                  </a:cxn>
                  <a:cxn ang="0">
                    <a:pos x="273" y="356"/>
                  </a:cxn>
                  <a:cxn ang="0">
                    <a:pos x="339" y="331"/>
                  </a:cxn>
                  <a:cxn ang="0">
                    <a:pos x="498" y="223"/>
                  </a:cxn>
                  <a:cxn ang="0">
                    <a:pos x="419" y="219"/>
                  </a:cxn>
                  <a:cxn ang="0">
                    <a:pos x="409" y="188"/>
                  </a:cxn>
                  <a:cxn ang="0">
                    <a:pos x="404" y="184"/>
                  </a:cxn>
                  <a:cxn ang="0">
                    <a:pos x="402" y="181"/>
                  </a:cxn>
                  <a:cxn ang="0">
                    <a:pos x="390" y="176"/>
                  </a:cxn>
                  <a:cxn ang="0">
                    <a:pos x="384" y="169"/>
                  </a:cxn>
                  <a:cxn ang="0">
                    <a:pos x="367" y="145"/>
                  </a:cxn>
                  <a:cxn ang="0">
                    <a:pos x="366" y="133"/>
                  </a:cxn>
                  <a:cxn ang="0">
                    <a:pos x="361" y="126"/>
                  </a:cxn>
                  <a:cxn ang="0">
                    <a:pos x="346" y="111"/>
                  </a:cxn>
                  <a:cxn ang="0">
                    <a:pos x="351" y="111"/>
                  </a:cxn>
                  <a:cxn ang="0">
                    <a:pos x="336" y="106"/>
                  </a:cxn>
                  <a:cxn ang="0">
                    <a:pos x="326" y="88"/>
                  </a:cxn>
                  <a:cxn ang="0">
                    <a:pos x="322" y="83"/>
                  </a:cxn>
                </a:cxnLst>
                <a:rect l="0" t="0" r="r" b="b"/>
                <a:pathLst>
                  <a:path w="503" h="385">
                    <a:moveTo>
                      <a:pt x="322" y="83"/>
                    </a:moveTo>
                    <a:lnTo>
                      <a:pt x="307" y="90"/>
                    </a:lnTo>
                    <a:lnTo>
                      <a:pt x="306" y="81"/>
                    </a:lnTo>
                    <a:lnTo>
                      <a:pt x="284" y="75"/>
                    </a:lnTo>
                    <a:lnTo>
                      <a:pt x="234" y="75"/>
                    </a:lnTo>
                    <a:lnTo>
                      <a:pt x="121" y="3"/>
                    </a:lnTo>
                    <a:lnTo>
                      <a:pt x="98" y="0"/>
                    </a:lnTo>
                    <a:lnTo>
                      <a:pt x="90" y="8"/>
                    </a:lnTo>
                    <a:lnTo>
                      <a:pt x="55" y="18"/>
                    </a:lnTo>
                    <a:lnTo>
                      <a:pt x="81" y="47"/>
                    </a:lnTo>
                    <a:lnTo>
                      <a:pt x="72" y="57"/>
                    </a:lnTo>
                    <a:lnTo>
                      <a:pt x="70" y="63"/>
                    </a:lnTo>
                    <a:lnTo>
                      <a:pt x="52" y="66"/>
                    </a:lnTo>
                    <a:lnTo>
                      <a:pt x="35" y="81"/>
                    </a:lnTo>
                    <a:lnTo>
                      <a:pt x="10" y="75"/>
                    </a:lnTo>
                    <a:lnTo>
                      <a:pt x="2" y="75"/>
                    </a:lnTo>
                    <a:lnTo>
                      <a:pt x="2" y="83"/>
                    </a:lnTo>
                    <a:lnTo>
                      <a:pt x="2" y="93"/>
                    </a:lnTo>
                    <a:lnTo>
                      <a:pt x="0" y="98"/>
                    </a:lnTo>
                    <a:lnTo>
                      <a:pt x="0" y="101"/>
                    </a:lnTo>
                    <a:lnTo>
                      <a:pt x="3" y="100"/>
                    </a:lnTo>
                    <a:lnTo>
                      <a:pt x="5" y="101"/>
                    </a:lnTo>
                    <a:lnTo>
                      <a:pt x="8" y="100"/>
                    </a:lnTo>
                    <a:lnTo>
                      <a:pt x="13" y="103"/>
                    </a:lnTo>
                    <a:lnTo>
                      <a:pt x="12" y="103"/>
                    </a:lnTo>
                    <a:lnTo>
                      <a:pt x="23" y="115"/>
                    </a:lnTo>
                    <a:lnTo>
                      <a:pt x="23" y="118"/>
                    </a:lnTo>
                    <a:lnTo>
                      <a:pt x="27" y="120"/>
                    </a:lnTo>
                    <a:lnTo>
                      <a:pt x="27" y="125"/>
                    </a:lnTo>
                    <a:lnTo>
                      <a:pt x="32" y="128"/>
                    </a:lnTo>
                    <a:lnTo>
                      <a:pt x="35" y="128"/>
                    </a:lnTo>
                    <a:lnTo>
                      <a:pt x="42" y="140"/>
                    </a:lnTo>
                    <a:lnTo>
                      <a:pt x="42" y="143"/>
                    </a:lnTo>
                    <a:lnTo>
                      <a:pt x="43" y="146"/>
                    </a:lnTo>
                    <a:lnTo>
                      <a:pt x="48" y="148"/>
                    </a:lnTo>
                    <a:lnTo>
                      <a:pt x="48" y="153"/>
                    </a:lnTo>
                    <a:lnTo>
                      <a:pt x="52" y="156"/>
                    </a:lnTo>
                    <a:lnTo>
                      <a:pt x="57" y="158"/>
                    </a:lnTo>
                    <a:lnTo>
                      <a:pt x="62" y="168"/>
                    </a:lnTo>
                    <a:lnTo>
                      <a:pt x="65" y="171"/>
                    </a:lnTo>
                    <a:lnTo>
                      <a:pt x="67" y="178"/>
                    </a:lnTo>
                    <a:lnTo>
                      <a:pt x="65" y="179"/>
                    </a:lnTo>
                    <a:lnTo>
                      <a:pt x="65" y="183"/>
                    </a:lnTo>
                    <a:lnTo>
                      <a:pt x="70" y="186"/>
                    </a:lnTo>
                    <a:lnTo>
                      <a:pt x="70" y="189"/>
                    </a:lnTo>
                    <a:lnTo>
                      <a:pt x="73" y="193"/>
                    </a:lnTo>
                    <a:lnTo>
                      <a:pt x="76" y="189"/>
                    </a:lnTo>
                    <a:lnTo>
                      <a:pt x="81" y="193"/>
                    </a:lnTo>
                    <a:lnTo>
                      <a:pt x="90" y="196"/>
                    </a:lnTo>
                    <a:lnTo>
                      <a:pt x="96" y="201"/>
                    </a:lnTo>
                    <a:lnTo>
                      <a:pt x="98" y="206"/>
                    </a:lnTo>
                    <a:lnTo>
                      <a:pt x="100" y="206"/>
                    </a:lnTo>
                    <a:lnTo>
                      <a:pt x="100" y="211"/>
                    </a:lnTo>
                    <a:lnTo>
                      <a:pt x="103" y="214"/>
                    </a:lnTo>
                    <a:lnTo>
                      <a:pt x="105" y="221"/>
                    </a:lnTo>
                    <a:lnTo>
                      <a:pt x="110" y="224"/>
                    </a:lnTo>
                    <a:lnTo>
                      <a:pt x="111" y="233"/>
                    </a:lnTo>
                    <a:lnTo>
                      <a:pt x="111" y="234"/>
                    </a:lnTo>
                    <a:lnTo>
                      <a:pt x="110" y="243"/>
                    </a:lnTo>
                    <a:lnTo>
                      <a:pt x="108" y="244"/>
                    </a:lnTo>
                    <a:lnTo>
                      <a:pt x="110" y="248"/>
                    </a:lnTo>
                    <a:lnTo>
                      <a:pt x="113" y="254"/>
                    </a:lnTo>
                    <a:lnTo>
                      <a:pt x="113" y="262"/>
                    </a:lnTo>
                    <a:lnTo>
                      <a:pt x="118" y="267"/>
                    </a:lnTo>
                    <a:lnTo>
                      <a:pt x="118" y="269"/>
                    </a:lnTo>
                    <a:lnTo>
                      <a:pt x="131" y="282"/>
                    </a:lnTo>
                    <a:lnTo>
                      <a:pt x="135" y="284"/>
                    </a:lnTo>
                    <a:lnTo>
                      <a:pt x="140" y="284"/>
                    </a:lnTo>
                    <a:lnTo>
                      <a:pt x="143" y="287"/>
                    </a:lnTo>
                    <a:lnTo>
                      <a:pt x="146" y="287"/>
                    </a:lnTo>
                    <a:lnTo>
                      <a:pt x="153" y="294"/>
                    </a:lnTo>
                    <a:lnTo>
                      <a:pt x="153" y="297"/>
                    </a:lnTo>
                    <a:lnTo>
                      <a:pt x="160" y="297"/>
                    </a:lnTo>
                    <a:lnTo>
                      <a:pt x="158" y="301"/>
                    </a:lnTo>
                    <a:lnTo>
                      <a:pt x="161" y="302"/>
                    </a:lnTo>
                    <a:lnTo>
                      <a:pt x="168" y="321"/>
                    </a:lnTo>
                    <a:lnTo>
                      <a:pt x="173" y="324"/>
                    </a:lnTo>
                    <a:lnTo>
                      <a:pt x="173" y="329"/>
                    </a:lnTo>
                    <a:lnTo>
                      <a:pt x="191" y="346"/>
                    </a:lnTo>
                    <a:lnTo>
                      <a:pt x="194" y="346"/>
                    </a:lnTo>
                    <a:lnTo>
                      <a:pt x="196" y="356"/>
                    </a:lnTo>
                    <a:lnTo>
                      <a:pt x="203" y="357"/>
                    </a:lnTo>
                    <a:lnTo>
                      <a:pt x="208" y="369"/>
                    </a:lnTo>
                    <a:lnTo>
                      <a:pt x="211" y="369"/>
                    </a:lnTo>
                    <a:lnTo>
                      <a:pt x="216" y="370"/>
                    </a:lnTo>
                    <a:lnTo>
                      <a:pt x="218" y="365"/>
                    </a:lnTo>
                    <a:lnTo>
                      <a:pt x="224" y="362"/>
                    </a:lnTo>
                    <a:lnTo>
                      <a:pt x="219" y="356"/>
                    </a:lnTo>
                    <a:lnTo>
                      <a:pt x="223" y="344"/>
                    </a:lnTo>
                    <a:lnTo>
                      <a:pt x="229" y="342"/>
                    </a:lnTo>
                    <a:lnTo>
                      <a:pt x="238" y="347"/>
                    </a:lnTo>
                    <a:lnTo>
                      <a:pt x="253" y="347"/>
                    </a:lnTo>
                    <a:lnTo>
                      <a:pt x="273" y="356"/>
                    </a:lnTo>
                    <a:lnTo>
                      <a:pt x="294" y="365"/>
                    </a:lnTo>
                    <a:lnTo>
                      <a:pt x="296" y="385"/>
                    </a:lnTo>
                    <a:lnTo>
                      <a:pt x="339" y="331"/>
                    </a:lnTo>
                    <a:lnTo>
                      <a:pt x="500" y="287"/>
                    </a:lnTo>
                    <a:lnTo>
                      <a:pt x="503" y="239"/>
                    </a:lnTo>
                    <a:lnTo>
                      <a:pt x="498" y="223"/>
                    </a:lnTo>
                    <a:lnTo>
                      <a:pt x="498" y="223"/>
                    </a:lnTo>
                    <a:lnTo>
                      <a:pt x="490" y="229"/>
                    </a:lnTo>
                    <a:lnTo>
                      <a:pt x="419" y="219"/>
                    </a:lnTo>
                    <a:lnTo>
                      <a:pt x="414" y="203"/>
                    </a:lnTo>
                    <a:lnTo>
                      <a:pt x="409" y="196"/>
                    </a:lnTo>
                    <a:lnTo>
                      <a:pt x="409" y="188"/>
                    </a:lnTo>
                    <a:lnTo>
                      <a:pt x="409" y="188"/>
                    </a:lnTo>
                    <a:lnTo>
                      <a:pt x="407" y="189"/>
                    </a:lnTo>
                    <a:lnTo>
                      <a:pt x="404" y="184"/>
                    </a:lnTo>
                    <a:lnTo>
                      <a:pt x="405" y="183"/>
                    </a:lnTo>
                    <a:lnTo>
                      <a:pt x="407" y="181"/>
                    </a:lnTo>
                    <a:lnTo>
                      <a:pt x="402" y="181"/>
                    </a:lnTo>
                    <a:lnTo>
                      <a:pt x="402" y="179"/>
                    </a:lnTo>
                    <a:lnTo>
                      <a:pt x="399" y="179"/>
                    </a:lnTo>
                    <a:lnTo>
                      <a:pt x="390" y="176"/>
                    </a:lnTo>
                    <a:lnTo>
                      <a:pt x="389" y="174"/>
                    </a:lnTo>
                    <a:lnTo>
                      <a:pt x="389" y="174"/>
                    </a:lnTo>
                    <a:lnTo>
                      <a:pt x="384" y="169"/>
                    </a:lnTo>
                    <a:lnTo>
                      <a:pt x="382" y="164"/>
                    </a:lnTo>
                    <a:lnTo>
                      <a:pt x="371" y="150"/>
                    </a:lnTo>
                    <a:lnTo>
                      <a:pt x="367" y="145"/>
                    </a:lnTo>
                    <a:lnTo>
                      <a:pt x="371" y="145"/>
                    </a:lnTo>
                    <a:lnTo>
                      <a:pt x="371" y="143"/>
                    </a:lnTo>
                    <a:lnTo>
                      <a:pt x="366" y="133"/>
                    </a:lnTo>
                    <a:lnTo>
                      <a:pt x="366" y="130"/>
                    </a:lnTo>
                    <a:lnTo>
                      <a:pt x="362" y="126"/>
                    </a:lnTo>
                    <a:lnTo>
                      <a:pt x="361" y="126"/>
                    </a:lnTo>
                    <a:lnTo>
                      <a:pt x="352" y="115"/>
                    </a:lnTo>
                    <a:lnTo>
                      <a:pt x="349" y="115"/>
                    </a:lnTo>
                    <a:lnTo>
                      <a:pt x="346" y="111"/>
                    </a:lnTo>
                    <a:lnTo>
                      <a:pt x="347" y="110"/>
                    </a:lnTo>
                    <a:lnTo>
                      <a:pt x="349" y="110"/>
                    </a:lnTo>
                    <a:lnTo>
                      <a:pt x="351" y="111"/>
                    </a:lnTo>
                    <a:lnTo>
                      <a:pt x="349" y="108"/>
                    </a:lnTo>
                    <a:lnTo>
                      <a:pt x="344" y="108"/>
                    </a:lnTo>
                    <a:lnTo>
                      <a:pt x="336" y="106"/>
                    </a:lnTo>
                    <a:lnTo>
                      <a:pt x="331" y="95"/>
                    </a:lnTo>
                    <a:lnTo>
                      <a:pt x="329" y="90"/>
                    </a:lnTo>
                    <a:lnTo>
                      <a:pt x="326" y="88"/>
                    </a:lnTo>
                    <a:lnTo>
                      <a:pt x="326" y="85"/>
                    </a:lnTo>
                    <a:lnTo>
                      <a:pt x="324" y="85"/>
                    </a:lnTo>
                    <a:lnTo>
                      <a:pt x="322" y="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7" name="Freeform 84"/>
              <p:cNvSpPr>
                <a:spLocks/>
              </p:cNvSpPr>
              <p:nvPr/>
            </p:nvSpPr>
            <p:spPr bwMode="auto">
              <a:xfrm>
                <a:off x="7063585" y="2960513"/>
                <a:ext cx="10702" cy="19715"/>
              </a:xfrm>
              <a:custGeom>
                <a:avLst/>
                <a:gdLst/>
                <a:ahLst/>
                <a:cxnLst>
                  <a:cxn ang="0">
                    <a:pos x="15" y="36"/>
                  </a:cxn>
                  <a:cxn ang="0">
                    <a:pos x="12" y="36"/>
                  </a:cxn>
                  <a:cxn ang="0">
                    <a:pos x="3" y="33"/>
                  </a:cxn>
                  <a:cxn ang="0">
                    <a:pos x="2" y="31"/>
                  </a:cxn>
                  <a:cxn ang="0">
                    <a:pos x="3" y="30"/>
                  </a:cxn>
                  <a:cxn ang="0">
                    <a:pos x="3" y="26"/>
                  </a:cxn>
                  <a:cxn ang="0">
                    <a:pos x="2" y="23"/>
                  </a:cxn>
                  <a:cxn ang="0">
                    <a:pos x="0" y="21"/>
                  </a:cxn>
                  <a:cxn ang="0">
                    <a:pos x="2" y="15"/>
                  </a:cxn>
                  <a:cxn ang="0">
                    <a:pos x="3" y="15"/>
                  </a:cxn>
                  <a:cxn ang="0">
                    <a:pos x="5" y="15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3" y="5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8" y="0"/>
                  </a:cxn>
                  <a:cxn ang="0">
                    <a:pos x="10" y="0"/>
                  </a:cxn>
                  <a:cxn ang="0">
                    <a:pos x="13" y="3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5" y="13"/>
                  </a:cxn>
                  <a:cxn ang="0">
                    <a:pos x="15" y="13"/>
                  </a:cxn>
                  <a:cxn ang="0">
                    <a:pos x="15" y="21"/>
                  </a:cxn>
                  <a:cxn ang="0">
                    <a:pos x="17" y="21"/>
                  </a:cxn>
                  <a:cxn ang="0">
                    <a:pos x="20" y="25"/>
                  </a:cxn>
                  <a:cxn ang="0">
                    <a:pos x="18" y="36"/>
                  </a:cxn>
                  <a:cxn ang="0">
                    <a:pos x="15" y="36"/>
                  </a:cxn>
                  <a:cxn ang="0">
                    <a:pos x="15" y="36"/>
                  </a:cxn>
                </a:cxnLst>
                <a:rect l="0" t="0" r="r" b="b"/>
                <a:pathLst>
                  <a:path w="20" h="36">
                    <a:moveTo>
                      <a:pt x="15" y="36"/>
                    </a:moveTo>
                    <a:lnTo>
                      <a:pt x="12" y="36"/>
                    </a:lnTo>
                    <a:lnTo>
                      <a:pt x="3" y="33"/>
                    </a:lnTo>
                    <a:lnTo>
                      <a:pt x="2" y="31"/>
                    </a:lnTo>
                    <a:lnTo>
                      <a:pt x="3" y="30"/>
                    </a:lnTo>
                    <a:lnTo>
                      <a:pt x="3" y="26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20" y="25"/>
                    </a:lnTo>
                    <a:lnTo>
                      <a:pt x="18" y="36"/>
                    </a:lnTo>
                    <a:lnTo>
                      <a:pt x="15" y="36"/>
                    </a:lnTo>
                    <a:lnTo>
                      <a:pt x="15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8" name="Freeform 85"/>
              <p:cNvSpPr>
                <a:spLocks/>
              </p:cNvSpPr>
              <p:nvPr/>
            </p:nvSpPr>
            <p:spPr bwMode="auto">
              <a:xfrm>
                <a:off x="7074287" y="2962588"/>
                <a:ext cx="62074" cy="43579"/>
              </a:xfrm>
              <a:custGeom>
                <a:avLst/>
                <a:gdLst/>
                <a:ahLst/>
                <a:cxnLst>
                  <a:cxn ang="0">
                    <a:pos x="0" y="42"/>
                  </a:cxn>
                  <a:cxn ang="0">
                    <a:pos x="0" y="50"/>
                  </a:cxn>
                  <a:cxn ang="0">
                    <a:pos x="5" y="57"/>
                  </a:cxn>
                  <a:cxn ang="0">
                    <a:pos x="10" y="73"/>
                  </a:cxn>
                  <a:cxn ang="0">
                    <a:pos x="81" y="83"/>
                  </a:cxn>
                  <a:cxn ang="0">
                    <a:pos x="89" y="77"/>
                  </a:cxn>
                  <a:cxn ang="0">
                    <a:pos x="109" y="18"/>
                  </a:cxn>
                  <a:cxn ang="0">
                    <a:pos x="114" y="18"/>
                  </a:cxn>
                  <a:cxn ang="0">
                    <a:pos x="114" y="12"/>
                  </a:cxn>
                  <a:cxn ang="0">
                    <a:pos x="113" y="9"/>
                  </a:cxn>
                  <a:cxn ang="0">
                    <a:pos x="111" y="10"/>
                  </a:cxn>
                  <a:cxn ang="0">
                    <a:pos x="109" y="9"/>
                  </a:cxn>
                  <a:cxn ang="0">
                    <a:pos x="109" y="9"/>
                  </a:cxn>
                  <a:cxn ang="0">
                    <a:pos x="108" y="9"/>
                  </a:cxn>
                  <a:cxn ang="0">
                    <a:pos x="106" y="0"/>
                  </a:cxn>
                  <a:cxn ang="0">
                    <a:pos x="104" y="0"/>
                  </a:cxn>
                  <a:cxn ang="0">
                    <a:pos x="104" y="4"/>
                  </a:cxn>
                  <a:cxn ang="0">
                    <a:pos x="103" y="5"/>
                  </a:cxn>
                  <a:cxn ang="0">
                    <a:pos x="88" y="14"/>
                  </a:cxn>
                  <a:cxn ang="0">
                    <a:pos x="88" y="18"/>
                  </a:cxn>
                  <a:cxn ang="0">
                    <a:pos x="73" y="30"/>
                  </a:cxn>
                  <a:cxn ang="0">
                    <a:pos x="71" y="33"/>
                  </a:cxn>
                  <a:cxn ang="0">
                    <a:pos x="73" y="33"/>
                  </a:cxn>
                  <a:cxn ang="0">
                    <a:pos x="74" y="37"/>
                  </a:cxn>
                  <a:cxn ang="0">
                    <a:pos x="68" y="42"/>
                  </a:cxn>
                  <a:cxn ang="0">
                    <a:pos x="66" y="40"/>
                  </a:cxn>
                  <a:cxn ang="0">
                    <a:pos x="64" y="40"/>
                  </a:cxn>
                  <a:cxn ang="0">
                    <a:pos x="61" y="40"/>
                  </a:cxn>
                  <a:cxn ang="0">
                    <a:pos x="61" y="45"/>
                  </a:cxn>
                  <a:cxn ang="0">
                    <a:pos x="60" y="45"/>
                  </a:cxn>
                  <a:cxn ang="0">
                    <a:pos x="60" y="47"/>
                  </a:cxn>
                  <a:cxn ang="0">
                    <a:pos x="51" y="48"/>
                  </a:cxn>
                  <a:cxn ang="0">
                    <a:pos x="46" y="48"/>
                  </a:cxn>
                  <a:cxn ang="0">
                    <a:pos x="45" y="45"/>
                  </a:cxn>
                  <a:cxn ang="0">
                    <a:pos x="40" y="47"/>
                  </a:cxn>
                  <a:cxn ang="0">
                    <a:pos x="38" y="45"/>
                  </a:cxn>
                  <a:cxn ang="0">
                    <a:pos x="35" y="45"/>
                  </a:cxn>
                  <a:cxn ang="0">
                    <a:pos x="26" y="43"/>
                  </a:cxn>
                  <a:cxn ang="0">
                    <a:pos x="16" y="52"/>
                  </a:cxn>
                  <a:cxn ang="0">
                    <a:pos x="11" y="50"/>
                  </a:cxn>
                  <a:cxn ang="0">
                    <a:pos x="8" y="50"/>
                  </a:cxn>
                  <a:cxn ang="0">
                    <a:pos x="5" y="52"/>
                  </a:cxn>
                  <a:cxn ang="0">
                    <a:pos x="3" y="42"/>
                  </a:cxn>
                  <a:cxn ang="0">
                    <a:pos x="1" y="43"/>
                  </a:cxn>
                  <a:cxn ang="0">
                    <a:pos x="0" y="42"/>
                  </a:cxn>
                </a:cxnLst>
                <a:rect l="0" t="0" r="r" b="b"/>
                <a:pathLst>
                  <a:path w="114" h="83">
                    <a:moveTo>
                      <a:pt x="0" y="42"/>
                    </a:moveTo>
                    <a:lnTo>
                      <a:pt x="0" y="50"/>
                    </a:lnTo>
                    <a:lnTo>
                      <a:pt x="5" y="57"/>
                    </a:lnTo>
                    <a:lnTo>
                      <a:pt x="10" y="73"/>
                    </a:lnTo>
                    <a:lnTo>
                      <a:pt x="81" y="83"/>
                    </a:lnTo>
                    <a:lnTo>
                      <a:pt x="89" y="77"/>
                    </a:lnTo>
                    <a:lnTo>
                      <a:pt x="109" y="18"/>
                    </a:lnTo>
                    <a:lnTo>
                      <a:pt x="114" y="18"/>
                    </a:lnTo>
                    <a:lnTo>
                      <a:pt x="114" y="12"/>
                    </a:lnTo>
                    <a:lnTo>
                      <a:pt x="113" y="9"/>
                    </a:lnTo>
                    <a:lnTo>
                      <a:pt x="111" y="10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8" y="9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4" y="4"/>
                    </a:lnTo>
                    <a:lnTo>
                      <a:pt x="103" y="5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73" y="30"/>
                    </a:lnTo>
                    <a:lnTo>
                      <a:pt x="71" y="33"/>
                    </a:lnTo>
                    <a:lnTo>
                      <a:pt x="73" y="33"/>
                    </a:lnTo>
                    <a:lnTo>
                      <a:pt x="74" y="37"/>
                    </a:lnTo>
                    <a:lnTo>
                      <a:pt x="68" y="42"/>
                    </a:lnTo>
                    <a:lnTo>
                      <a:pt x="66" y="40"/>
                    </a:lnTo>
                    <a:lnTo>
                      <a:pt x="64" y="40"/>
                    </a:lnTo>
                    <a:lnTo>
                      <a:pt x="61" y="40"/>
                    </a:lnTo>
                    <a:lnTo>
                      <a:pt x="61" y="45"/>
                    </a:lnTo>
                    <a:lnTo>
                      <a:pt x="60" y="45"/>
                    </a:lnTo>
                    <a:lnTo>
                      <a:pt x="60" y="47"/>
                    </a:lnTo>
                    <a:lnTo>
                      <a:pt x="51" y="48"/>
                    </a:lnTo>
                    <a:lnTo>
                      <a:pt x="46" y="48"/>
                    </a:lnTo>
                    <a:lnTo>
                      <a:pt x="45" y="45"/>
                    </a:lnTo>
                    <a:lnTo>
                      <a:pt x="40" y="47"/>
                    </a:lnTo>
                    <a:lnTo>
                      <a:pt x="38" y="45"/>
                    </a:lnTo>
                    <a:lnTo>
                      <a:pt x="35" y="45"/>
                    </a:lnTo>
                    <a:lnTo>
                      <a:pt x="26" y="43"/>
                    </a:lnTo>
                    <a:lnTo>
                      <a:pt x="16" y="52"/>
                    </a:lnTo>
                    <a:lnTo>
                      <a:pt x="11" y="50"/>
                    </a:lnTo>
                    <a:lnTo>
                      <a:pt x="8" y="50"/>
                    </a:lnTo>
                    <a:lnTo>
                      <a:pt x="5" y="52"/>
                    </a:lnTo>
                    <a:lnTo>
                      <a:pt x="3" y="42"/>
                    </a:lnTo>
                    <a:lnTo>
                      <a:pt x="1" y="43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59" name="Freeform 86"/>
              <p:cNvSpPr>
                <a:spLocks noEditPoints="1"/>
              </p:cNvSpPr>
              <p:nvPr/>
            </p:nvSpPr>
            <p:spPr bwMode="auto">
              <a:xfrm>
                <a:off x="7086060" y="2956363"/>
                <a:ext cx="97392" cy="121398"/>
              </a:xfrm>
              <a:custGeom>
                <a:avLst/>
                <a:gdLst/>
                <a:ahLst/>
                <a:cxnLst>
                  <a:cxn ang="0">
                    <a:pos x="70" y="152"/>
                  </a:cxn>
                  <a:cxn ang="0">
                    <a:pos x="68" y="88"/>
                  </a:cxn>
                  <a:cxn ang="0">
                    <a:pos x="93" y="29"/>
                  </a:cxn>
                  <a:cxn ang="0">
                    <a:pos x="103" y="51"/>
                  </a:cxn>
                  <a:cxn ang="0">
                    <a:pos x="117" y="64"/>
                  </a:cxn>
                  <a:cxn ang="0">
                    <a:pos x="127" y="64"/>
                  </a:cxn>
                  <a:cxn ang="0">
                    <a:pos x="141" y="66"/>
                  </a:cxn>
                  <a:cxn ang="0">
                    <a:pos x="151" y="64"/>
                  </a:cxn>
                  <a:cxn ang="0">
                    <a:pos x="160" y="79"/>
                  </a:cxn>
                  <a:cxn ang="0">
                    <a:pos x="166" y="86"/>
                  </a:cxn>
                  <a:cxn ang="0">
                    <a:pos x="180" y="93"/>
                  </a:cxn>
                  <a:cxn ang="0">
                    <a:pos x="181" y="99"/>
                  </a:cxn>
                  <a:cxn ang="0">
                    <a:pos x="178" y="108"/>
                  </a:cxn>
                  <a:cxn ang="0">
                    <a:pos x="168" y="123"/>
                  </a:cxn>
                  <a:cxn ang="0">
                    <a:pos x="160" y="132"/>
                  </a:cxn>
                  <a:cxn ang="0">
                    <a:pos x="155" y="144"/>
                  </a:cxn>
                  <a:cxn ang="0">
                    <a:pos x="148" y="142"/>
                  </a:cxn>
                  <a:cxn ang="0">
                    <a:pos x="150" y="137"/>
                  </a:cxn>
                  <a:cxn ang="0">
                    <a:pos x="146" y="139"/>
                  </a:cxn>
                  <a:cxn ang="0">
                    <a:pos x="141" y="144"/>
                  </a:cxn>
                  <a:cxn ang="0">
                    <a:pos x="141" y="147"/>
                  </a:cxn>
                  <a:cxn ang="0">
                    <a:pos x="137" y="157"/>
                  </a:cxn>
                  <a:cxn ang="0">
                    <a:pos x="137" y="161"/>
                  </a:cxn>
                  <a:cxn ang="0">
                    <a:pos x="137" y="166"/>
                  </a:cxn>
                  <a:cxn ang="0">
                    <a:pos x="141" y="176"/>
                  </a:cxn>
                  <a:cxn ang="0">
                    <a:pos x="130" y="179"/>
                  </a:cxn>
                  <a:cxn ang="0">
                    <a:pos x="123" y="179"/>
                  </a:cxn>
                  <a:cxn ang="0">
                    <a:pos x="108" y="189"/>
                  </a:cxn>
                  <a:cxn ang="0">
                    <a:pos x="107" y="197"/>
                  </a:cxn>
                  <a:cxn ang="0">
                    <a:pos x="100" y="201"/>
                  </a:cxn>
                  <a:cxn ang="0">
                    <a:pos x="85" y="202"/>
                  </a:cxn>
                  <a:cxn ang="0">
                    <a:pos x="80" y="207"/>
                  </a:cxn>
                  <a:cxn ang="0">
                    <a:pos x="80" y="212"/>
                  </a:cxn>
                  <a:cxn ang="0">
                    <a:pos x="82" y="216"/>
                  </a:cxn>
                  <a:cxn ang="0">
                    <a:pos x="80" y="217"/>
                  </a:cxn>
                  <a:cxn ang="0">
                    <a:pos x="72" y="225"/>
                  </a:cxn>
                  <a:cxn ang="0">
                    <a:pos x="63" y="224"/>
                  </a:cxn>
                  <a:cxn ang="0">
                    <a:pos x="50" y="227"/>
                  </a:cxn>
                  <a:cxn ang="0">
                    <a:pos x="42" y="232"/>
                  </a:cxn>
                  <a:cxn ang="0">
                    <a:pos x="35" y="230"/>
                  </a:cxn>
                  <a:cxn ang="0">
                    <a:pos x="19" y="217"/>
                  </a:cxn>
                  <a:cxn ang="0">
                    <a:pos x="0" y="182"/>
                  </a:cxn>
                  <a:cxn ang="0">
                    <a:pos x="2" y="171"/>
                  </a:cxn>
                  <a:cxn ang="0">
                    <a:pos x="88" y="16"/>
                  </a:cxn>
                  <a:cxn ang="0">
                    <a:pos x="92" y="6"/>
                  </a:cxn>
                  <a:cxn ang="0">
                    <a:pos x="92" y="5"/>
                  </a:cxn>
                  <a:cxn ang="0">
                    <a:pos x="92" y="1"/>
                  </a:cxn>
                  <a:cxn ang="0">
                    <a:pos x="92" y="0"/>
                  </a:cxn>
                  <a:cxn ang="0">
                    <a:pos x="87" y="1"/>
                  </a:cxn>
                  <a:cxn ang="0">
                    <a:pos x="85" y="8"/>
                  </a:cxn>
                  <a:cxn ang="0">
                    <a:pos x="83" y="8"/>
                  </a:cxn>
                  <a:cxn ang="0">
                    <a:pos x="85" y="11"/>
                  </a:cxn>
                  <a:cxn ang="0">
                    <a:pos x="88" y="20"/>
                  </a:cxn>
                </a:cxnLst>
                <a:rect l="0" t="0" r="r" b="b"/>
                <a:pathLst>
                  <a:path w="181" h="232">
                    <a:moveTo>
                      <a:pt x="2" y="171"/>
                    </a:moveTo>
                    <a:lnTo>
                      <a:pt x="70" y="152"/>
                    </a:lnTo>
                    <a:lnTo>
                      <a:pt x="73" y="104"/>
                    </a:lnTo>
                    <a:lnTo>
                      <a:pt x="68" y="88"/>
                    </a:lnTo>
                    <a:lnTo>
                      <a:pt x="88" y="29"/>
                    </a:lnTo>
                    <a:lnTo>
                      <a:pt x="93" y="29"/>
                    </a:lnTo>
                    <a:lnTo>
                      <a:pt x="95" y="41"/>
                    </a:lnTo>
                    <a:lnTo>
                      <a:pt x="103" y="51"/>
                    </a:lnTo>
                    <a:lnTo>
                      <a:pt x="103" y="54"/>
                    </a:lnTo>
                    <a:lnTo>
                      <a:pt x="117" y="64"/>
                    </a:lnTo>
                    <a:lnTo>
                      <a:pt x="123" y="66"/>
                    </a:lnTo>
                    <a:lnTo>
                      <a:pt x="127" y="64"/>
                    </a:lnTo>
                    <a:lnTo>
                      <a:pt x="132" y="64"/>
                    </a:lnTo>
                    <a:lnTo>
                      <a:pt x="141" y="66"/>
                    </a:lnTo>
                    <a:lnTo>
                      <a:pt x="148" y="64"/>
                    </a:lnTo>
                    <a:lnTo>
                      <a:pt x="151" y="64"/>
                    </a:lnTo>
                    <a:lnTo>
                      <a:pt x="158" y="73"/>
                    </a:lnTo>
                    <a:lnTo>
                      <a:pt x="160" y="79"/>
                    </a:lnTo>
                    <a:lnTo>
                      <a:pt x="163" y="83"/>
                    </a:lnTo>
                    <a:lnTo>
                      <a:pt x="166" y="86"/>
                    </a:lnTo>
                    <a:lnTo>
                      <a:pt x="175" y="93"/>
                    </a:lnTo>
                    <a:lnTo>
                      <a:pt x="180" y="93"/>
                    </a:lnTo>
                    <a:lnTo>
                      <a:pt x="181" y="94"/>
                    </a:lnTo>
                    <a:lnTo>
                      <a:pt x="181" y="99"/>
                    </a:lnTo>
                    <a:lnTo>
                      <a:pt x="178" y="104"/>
                    </a:lnTo>
                    <a:lnTo>
                      <a:pt x="178" y="108"/>
                    </a:lnTo>
                    <a:lnTo>
                      <a:pt x="178" y="111"/>
                    </a:lnTo>
                    <a:lnTo>
                      <a:pt x="168" y="123"/>
                    </a:lnTo>
                    <a:lnTo>
                      <a:pt x="163" y="127"/>
                    </a:lnTo>
                    <a:lnTo>
                      <a:pt x="160" y="132"/>
                    </a:lnTo>
                    <a:lnTo>
                      <a:pt x="156" y="136"/>
                    </a:lnTo>
                    <a:lnTo>
                      <a:pt x="155" y="144"/>
                    </a:lnTo>
                    <a:lnTo>
                      <a:pt x="151" y="142"/>
                    </a:lnTo>
                    <a:lnTo>
                      <a:pt x="148" y="142"/>
                    </a:lnTo>
                    <a:lnTo>
                      <a:pt x="150" y="139"/>
                    </a:lnTo>
                    <a:lnTo>
                      <a:pt x="150" y="137"/>
                    </a:lnTo>
                    <a:lnTo>
                      <a:pt x="148" y="137"/>
                    </a:lnTo>
                    <a:lnTo>
                      <a:pt x="146" y="139"/>
                    </a:lnTo>
                    <a:lnTo>
                      <a:pt x="143" y="142"/>
                    </a:lnTo>
                    <a:lnTo>
                      <a:pt x="141" y="144"/>
                    </a:lnTo>
                    <a:lnTo>
                      <a:pt x="143" y="146"/>
                    </a:lnTo>
                    <a:lnTo>
                      <a:pt x="141" y="147"/>
                    </a:lnTo>
                    <a:lnTo>
                      <a:pt x="137" y="154"/>
                    </a:lnTo>
                    <a:lnTo>
                      <a:pt x="137" y="157"/>
                    </a:lnTo>
                    <a:lnTo>
                      <a:pt x="135" y="161"/>
                    </a:lnTo>
                    <a:lnTo>
                      <a:pt x="137" y="161"/>
                    </a:lnTo>
                    <a:lnTo>
                      <a:pt x="138" y="166"/>
                    </a:lnTo>
                    <a:lnTo>
                      <a:pt x="137" y="166"/>
                    </a:lnTo>
                    <a:lnTo>
                      <a:pt x="140" y="174"/>
                    </a:lnTo>
                    <a:lnTo>
                      <a:pt x="141" y="176"/>
                    </a:lnTo>
                    <a:lnTo>
                      <a:pt x="141" y="177"/>
                    </a:lnTo>
                    <a:lnTo>
                      <a:pt x="130" y="179"/>
                    </a:lnTo>
                    <a:lnTo>
                      <a:pt x="127" y="181"/>
                    </a:lnTo>
                    <a:lnTo>
                      <a:pt x="123" y="179"/>
                    </a:lnTo>
                    <a:lnTo>
                      <a:pt x="118" y="179"/>
                    </a:lnTo>
                    <a:lnTo>
                      <a:pt x="108" y="189"/>
                    </a:lnTo>
                    <a:lnTo>
                      <a:pt x="108" y="196"/>
                    </a:lnTo>
                    <a:lnTo>
                      <a:pt x="107" y="197"/>
                    </a:lnTo>
                    <a:lnTo>
                      <a:pt x="102" y="202"/>
                    </a:lnTo>
                    <a:lnTo>
                      <a:pt x="100" y="201"/>
                    </a:lnTo>
                    <a:lnTo>
                      <a:pt x="93" y="202"/>
                    </a:lnTo>
                    <a:lnTo>
                      <a:pt x="85" y="202"/>
                    </a:lnTo>
                    <a:lnTo>
                      <a:pt x="83" y="204"/>
                    </a:lnTo>
                    <a:lnTo>
                      <a:pt x="80" y="207"/>
                    </a:lnTo>
                    <a:lnTo>
                      <a:pt x="80" y="209"/>
                    </a:lnTo>
                    <a:lnTo>
                      <a:pt x="80" y="212"/>
                    </a:lnTo>
                    <a:lnTo>
                      <a:pt x="82" y="212"/>
                    </a:lnTo>
                    <a:lnTo>
                      <a:pt x="82" y="216"/>
                    </a:lnTo>
                    <a:lnTo>
                      <a:pt x="80" y="216"/>
                    </a:lnTo>
                    <a:lnTo>
                      <a:pt x="80" y="217"/>
                    </a:lnTo>
                    <a:lnTo>
                      <a:pt x="75" y="224"/>
                    </a:lnTo>
                    <a:lnTo>
                      <a:pt x="72" y="225"/>
                    </a:lnTo>
                    <a:lnTo>
                      <a:pt x="68" y="222"/>
                    </a:lnTo>
                    <a:lnTo>
                      <a:pt x="63" y="224"/>
                    </a:lnTo>
                    <a:lnTo>
                      <a:pt x="58" y="224"/>
                    </a:lnTo>
                    <a:lnTo>
                      <a:pt x="50" y="227"/>
                    </a:lnTo>
                    <a:lnTo>
                      <a:pt x="45" y="227"/>
                    </a:lnTo>
                    <a:lnTo>
                      <a:pt x="42" y="232"/>
                    </a:lnTo>
                    <a:lnTo>
                      <a:pt x="37" y="232"/>
                    </a:lnTo>
                    <a:lnTo>
                      <a:pt x="35" y="230"/>
                    </a:lnTo>
                    <a:lnTo>
                      <a:pt x="32" y="232"/>
                    </a:lnTo>
                    <a:lnTo>
                      <a:pt x="19" y="217"/>
                    </a:lnTo>
                    <a:lnTo>
                      <a:pt x="22" y="207"/>
                    </a:lnTo>
                    <a:lnTo>
                      <a:pt x="0" y="182"/>
                    </a:lnTo>
                    <a:lnTo>
                      <a:pt x="2" y="171"/>
                    </a:lnTo>
                    <a:lnTo>
                      <a:pt x="2" y="171"/>
                    </a:lnTo>
                    <a:close/>
                    <a:moveTo>
                      <a:pt x="88" y="20"/>
                    </a:moveTo>
                    <a:lnTo>
                      <a:pt x="88" y="16"/>
                    </a:lnTo>
                    <a:lnTo>
                      <a:pt x="90" y="13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92" y="5"/>
                    </a:lnTo>
                    <a:lnTo>
                      <a:pt x="90" y="3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92" y="0"/>
                    </a:lnTo>
                    <a:lnTo>
                      <a:pt x="90" y="1"/>
                    </a:lnTo>
                    <a:lnTo>
                      <a:pt x="87" y="1"/>
                    </a:lnTo>
                    <a:lnTo>
                      <a:pt x="87" y="6"/>
                    </a:lnTo>
                    <a:lnTo>
                      <a:pt x="85" y="8"/>
                    </a:lnTo>
                    <a:lnTo>
                      <a:pt x="83" y="6"/>
                    </a:lnTo>
                    <a:lnTo>
                      <a:pt x="83" y="8"/>
                    </a:lnTo>
                    <a:lnTo>
                      <a:pt x="83" y="11"/>
                    </a:lnTo>
                    <a:lnTo>
                      <a:pt x="85" y="11"/>
                    </a:lnTo>
                    <a:lnTo>
                      <a:pt x="87" y="20"/>
                    </a:lnTo>
                    <a:lnTo>
                      <a:pt x="88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60" name="Freeform 87"/>
              <p:cNvSpPr>
                <a:spLocks noEditPoints="1"/>
              </p:cNvSpPr>
              <p:nvPr/>
            </p:nvSpPr>
            <p:spPr bwMode="auto">
              <a:xfrm>
                <a:off x="6965122" y="3045595"/>
                <a:ext cx="157326" cy="85082"/>
              </a:xfrm>
              <a:custGeom>
                <a:avLst/>
                <a:gdLst/>
                <a:ahLst/>
                <a:cxnLst>
                  <a:cxn ang="0">
                    <a:pos x="7" y="63"/>
                  </a:cxn>
                  <a:cxn ang="0">
                    <a:pos x="14" y="59"/>
                  </a:cxn>
                  <a:cxn ang="0">
                    <a:pos x="15" y="50"/>
                  </a:cxn>
                  <a:cxn ang="0">
                    <a:pos x="25" y="36"/>
                  </a:cxn>
                  <a:cxn ang="0">
                    <a:pos x="49" y="41"/>
                  </a:cxn>
                  <a:cxn ang="0">
                    <a:pos x="90" y="59"/>
                  </a:cxn>
                  <a:cxn ang="0">
                    <a:pos x="135" y="25"/>
                  </a:cxn>
                  <a:cxn ang="0">
                    <a:pos x="226" y="11"/>
                  </a:cxn>
                  <a:cxn ang="0">
                    <a:pos x="245" y="46"/>
                  </a:cxn>
                  <a:cxn ang="0">
                    <a:pos x="253" y="61"/>
                  </a:cxn>
                  <a:cxn ang="0">
                    <a:pos x="236" y="73"/>
                  </a:cxn>
                  <a:cxn ang="0">
                    <a:pos x="236" y="79"/>
                  </a:cxn>
                  <a:cxn ang="0">
                    <a:pos x="238" y="84"/>
                  </a:cxn>
                  <a:cxn ang="0">
                    <a:pos x="221" y="89"/>
                  </a:cxn>
                  <a:cxn ang="0">
                    <a:pos x="198" y="96"/>
                  </a:cxn>
                  <a:cxn ang="0">
                    <a:pos x="168" y="106"/>
                  </a:cxn>
                  <a:cxn ang="0">
                    <a:pos x="162" y="108"/>
                  </a:cxn>
                  <a:cxn ang="0">
                    <a:pos x="150" y="121"/>
                  </a:cxn>
                  <a:cxn ang="0">
                    <a:pos x="145" y="119"/>
                  </a:cxn>
                  <a:cxn ang="0">
                    <a:pos x="138" y="123"/>
                  </a:cxn>
                  <a:cxn ang="0">
                    <a:pos x="132" y="119"/>
                  </a:cxn>
                  <a:cxn ang="0">
                    <a:pos x="123" y="129"/>
                  </a:cxn>
                  <a:cxn ang="0">
                    <a:pos x="110" y="131"/>
                  </a:cxn>
                  <a:cxn ang="0">
                    <a:pos x="93" y="134"/>
                  </a:cxn>
                  <a:cxn ang="0">
                    <a:pos x="85" y="133"/>
                  </a:cxn>
                  <a:cxn ang="0">
                    <a:pos x="82" y="133"/>
                  </a:cxn>
                  <a:cxn ang="0">
                    <a:pos x="72" y="136"/>
                  </a:cxn>
                  <a:cxn ang="0">
                    <a:pos x="67" y="143"/>
                  </a:cxn>
                  <a:cxn ang="0">
                    <a:pos x="57" y="149"/>
                  </a:cxn>
                  <a:cxn ang="0">
                    <a:pos x="50" y="148"/>
                  </a:cxn>
                  <a:cxn ang="0">
                    <a:pos x="42" y="152"/>
                  </a:cxn>
                  <a:cxn ang="0">
                    <a:pos x="34" y="151"/>
                  </a:cxn>
                  <a:cxn ang="0">
                    <a:pos x="27" y="149"/>
                  </a:cxn>
                  <a:cxn ang="0">
                    <a:pos x="20" y="138"/>
                  </a:cxn>
                  <a:cxn ang="0">
                    <a:pos x="20" y="131"/>
                  </a:cxn>
                  <a:cxn ang="0">
                    <a:pos x="14" y="119"/>
                  </a:cxn>
                  <a:cxn ang="0">
                    <a:pos x="5" y="93"/>
                  </a:cxn>
                  <a:cxn ang="0">
                    <a:pos x="2" y="89"/>
                  </a:cxn>
                  <a:cxn ang="0">
                    <a:pos x="4" y="86"/>
                  </a:cxn>
                  <a:cxn ang="0">
                    <a:pos x="7" y="84"/>
                  </a:cxn>
                  <a:cxn ang="0">
                    <a:pos x="5" y="66"/>
                  </a:cxn>
                  <a:cxn ang="0">
                    <a:pos x="4" y="63"/>
                  </a:cxn>
                  <a:cxn ang="0">
                    <a:pos x="241" y="161"/>
                  </a:cxn>
                  <a:cxn ang="0">
                    <a:pos x="241" y="164"/>
                  </a:cxn>
                  <a:cxn ang="0">
                    <a:pos x="236" y="162"/>
                  </a:cxn>
                  <a:cxn ang="0">
                    <a:pos x="268" y="154"/>
                  </a:cxn>
                  <a:cxn ang="0">
                    <a:pos x="271" y="149"/>
                  </a:cxn>
                  <a:cxn ang="0">
                    <a:pos x="276" y="152"/>
                  </a:cxn>
                  <a:cxn ang="0">
                    <a:pos x="283" y="151"/>
                  </a:cxn>
                  <a:cxn ang="0">
                    <a:pos x="291" y="152"/>
                  </a:cxn>
                  <a:cxn ang="0">
                    <a:pos x="294" y="154"/>
                  </a:cxn>
                  <a:cxn ang="0">
                    <a:pos x="289" y="157"/>
                  </a:cxn>
                  <a:cxn ang="0">
                    <a:pos x="276" y="161"/>
                  </a:cxn>
                  <a:cxn ang="0">
                    <a:pos x="269" y="157"/>
                  </a:cxn>
                </a:cxnLst>
                <a:rect l="0" t="0" r="r" b="b"/>
                <a:pathLst>
                  <a:path w="294" h="164">
                    <a:moveTo>
                      <a:pt x="4" y="63"/>
                    </a:moveTo>
                    <a:lnTo>
                      <a:pt x="7" y="63"/>
                    </a:lnTo>
                    <a:lnTo>
                      <a:pt x="12" y="64"/>
                    </a:lnTo>
                    <a:lnTo>
                      <a:pt x="14" y="59"/>
                    </a:lnTo>
                    <a:lnTo>
                      <a:pt x="20" y="56"/>
                    </a:lnTo>
                    <a:lnTo>
                      <a:pt x="15" y="50"/>
                    </a:lnTo>
                    <a:lnTo>
                      <a:pt x="19" y="38"/>
                    </a:lnTo>
                    <a:lnTo>
                      <a:pt x="25" y="36"/>
                    </a:lnTo>
                    <a:lnTo>
                      <a:pt x="34" y="41"/>
                    </a:lnTo>
                    <a:lnTo>
                      <a:pt x="49" y="41"/>
                    </a:lnTo>
                    <a:lnTo>
                      <a:pt x="69" y="50"/>
                    </a:lnTo>
                    <a:lnTo>
                      <a:pt x="90" y="59"/>
                    </a:lnTo>
                    <a:lnTo>
                      <a:pt x="92" y="79"/>
                    </a:lnTo>
                    <a:lnTo>
                      <a:pt x="135" y="25"/>
                    </a:lnTo>
                    <a:lnTo>
                      <a:pt x="228" y="0"/>
                    </a:lnTo>
                    <a:lnTo>
                      <a:pt x="226" y="11"/>
                    </a:lnTo>
                    <a:lnTo>
                      <a:pt x="248" y="36"/>
                    </a:lnTo>
                    <a:lnTo>
                      <a:pt x="245" y="46"/>
                    </a:lnTo>
                    <a:lnTo>
                      <a:pt x="258" y="61"/>
                    </a:lnTo>
                    <a:lnTo>
                      <a:pt x="253" y="61"/>
                    </a:lnTo>
                    <a:lnTo>
                      <a:pt x="245" y="64"/>
                    </a:lnTo>
                    <a:lnTo>
                      <a:pt x="236" y="73"/>
                    </a:lnTo>
                    <a:lnTo>
                      <a:pt x="235" y="78"/>
                    </a:lnTo>
                    <a:lnTo>
                      <a:pt x="236" y="79"/>
                    </a:lnTo>
                    <a:lnTo>
                      <a:pt x="236" y="81"/>
                    </a:lnTo>
                    <a:lnTo>
                      <a:pt x="238" y="84"/>
                    </a:lnTo>
                    <a:lnTo>
                      <a:pt x="226" y="86"/>
                    </a:lnTo>
                    <a:lnTo>
                      <a:pt x="221" y="89"/>
                    </a:lnTo>
                    <a:lnTo>
                      <a:pt x="213" y="94"/>
                    </a:lnTo>
                    <a:lnTo>
                      <a:pt x="198" y="96"/>
                    </a:lnTo>
                    <a:lnTo>
                      <a:pt x="195" y="99"/>
                    </a:lnTo>
                    <a:lnTo>
                      <a:pt x="168" y="106"/>
                    </a:lnTo>
                    <a:lnTo>
                      <a:pt x="167" y="106"/>
                    </a:lnTo>
                    <a:lnTo>
                      <a:pt x="162" y="108"/>
                    </a:lnTo>
                    <a:lnTo>
                      <a:pt x="157" y="116"/>
                    </a:lnTo>
                    <a:lnTo>
                      <a:pt x="150" y="121"/>
                    </a:lnTo>
                    <a:lnTo>
                      <a:pt x="147" y="121"/>
                    </a:lnTo>
                    <a:lnTo>
                      <a:pt x="145" y="119"/>
                    </a:lnTo>
                    <a:lnTo>
                      <a:pt x="142" y="121"/>
                    </a:lnTo>
                    <a:lnTo>
                      <a:pt x="138" y="123"/>
                    </a:lnTo>
                    <a:lnTo>
                      <a:pt x="135" y="119"/>
                    </a:lnTo>
                    <a:lnTo>
                      <a:pt x="132" y="119"/>
                    </a:lnTo>
                    <a:lnTo>
                      <a:pt x="123" y="126"/>
                    </a:lnTo>
                    <a:lnTo>
                      <a:pt x="123" y="129"/>
                    </a:lnTo>
                    <a:lnTo>
                      <a:pt x="120" y="131"/>
                    </a:lnTo>
                    <a:lnTo>
                      <a:pt x="110" y="131"/>
                    </a:lnTo>
                    <a:lnTo>
                      <a:pt x="98" y="136"/>
                    </a:lnTo>
                    <a:lnTo>
                      <a:pt x="93" y="134"/>
                    </a:lnTo>
                    <a:lnTo>
                      <a:pt x="93" y="133"/>
                    </a:lnTo>
                    <a:lnTo>
                      <a:pt x="85" y="133"/>
                    </a:lnTo>
                    <a:lnTo>
                      <a:pt x="85" y="133"/>
                    </a:lnTo>
                    <a:lnTo>
                      <a:pt x="82" y="133"/>
                    </a:lnTo>
                    <a:lnTo>
                      <a:pt x="78" y="133"/>
                    </a:lnTo>
                    <a:lnTo>
                      <a:pt x="72" y="136"/>
                    </a:lnTo>
                    <a:lnTo>
                      <a:pt x="69" y="143"/>
                    </a:lnTo>
                    <a:lnTo>
                      <a:pt x="67" y="143"/>
                    </a:lnTo>
                    <a:lnTo>
                      <a:pt x="62" y="148"/>
                    </a:lnTo>
                    <a:lnTo>
                      <a:pt x="57" y="149"/>
                    </a:lnTo>
                    <a:lnTo>
                      <a:pt x="55" y="148"/>
                    </a:lnTo>
                    <a:lnTo>
                      <a:pt x="50" y="148"/>
                    </a:lnTo>
                    <a:lnTo>
                      <a:pt x="45" y="151"/>
                    </a:lnTo>
                    <a:lnTo>
                      <a:pt x="42" y="152"/>
                    </a:lnTo>
                    <a:lnTo>
                      <a:pt x="35" y="151"/>
                    </a:lnTo>
                    <a:lnTo>
                      <a:pt x="34" y="151"/>
                    </a:lnTo>
                    <a:lnTo>
                      <a:pt x="29" y="152"/>
                    </a:lnTo>
                    <a:lnTo>
                      <a:pt x="27" y="149"/>
                    </a:lnTo>
                    <a:lnTo>
                      <a:pt x="25" y="143"/>
                    </a:lnTo>
                    <a:lnTo>
                      <a:pt x="20" y="138"/>
                    </a:lnTo>
                    <a:lnTo>
                      <a:pt x="17" y="133"/>
                    </a:lnTo>
                    <a:lnTo>
                      <a:pt x="20" y="131"/>
                    </a:lnTo>
                    <a:lnTo>
                      <a:pt x="20" y="124"/>
                    </a:lnTo>
                    <a:lnTo>
                      <a:pt x="14" y="119"/>
                    </a:lnTo>
                    <a:lnTo>
                      <a:pt x="10" y="99"/>
                    </a:lnTo>
                    <a:lnTo>
                      <a:pt x="5" y="93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78"/>
                    </a:lnTo>
                    <a:lnTo>
                      <a:pt x="5" y="66"/>
                    </a:lnTo>
                    <a:lnTo>
                      <a:pt x="4" y="63"/>
                    </a:lnTo>
                    <a:lnTo>
                      <a:pt x="4" y="63"/>
                    </a:lnTo>
                    <a:close/>
                    <a:moveTo>
                      <a:pt x="236" y="162"/>
                    </a:moveTo>
                    <a:lnTo>
                      <a:pt x="241" y="161"/>
                    </a:lnTo>
                    <a:lnTo>
                      <a:pt x="248" y="164"/>
                    </a:lnTo>
                    <a:lnTo>
                      <a:pt x="241" y="164"/>
                    </a:lnTo>
                    <a:lnTo>
                      <a:pt x="236" y="162"/>
                    </a:lnTo>
                    <a:lnTo>
                      <a:pt x="236" y="162"/>
                    </a:lnTo>
                    <a:close/>
                    <a:moveTo>
                      <a:pt x="266" y="156"/>
                    </a:moveTo>
                    <a:lnTo>
                      <a:pt x="268" y="154"/>
                    </a:lnTo>
                    <a:lnTo>
                      <a:pt x="269" y="151"/>
                    </a:lnTo>
                    <a:lnTo>
                      <a:pt x="271" y="149"/>
                    </a:lnTo>
                    <a:lnTo>
                      <a:pt x="274" y="149"/>
                    </a:lnTo>
                    <a:lnTo>
                      <a:pt x="276" y="152"/>
                    </a:lnTo>
                    <a:lnTo>
                      <a:pt x="279" y="152"/>
                    </a:lnTo>
                    <a:lnTo>
                      <a:pt x="283" y="151"/>
                    </a:lnTo>
                    <a:lnTo>
                      <a:pt x="288" y="151"/>
                    </a:lnTo>
                    <a:lnTo>
                      <a:pt x="291" y="152"/>
                    </a:lnTo>
                    <a:lnTo>
                      <a:pt x="294" y="152"/>
                    </a:lnTo>
                    <a:lnTo>
                      <a:pt x="294" y="154"/>
                    </a:lnTo>
                    <a:lnTo>
                      <a:pt x="293" y="156"/>
                    </a:lnTo>
                    <a:lnTo>
                      <a:pt x="289" y="157"/>
                    </a:lnTo>
                    <a:lnTo>
                      <a:pt x="284" y="159"/>
                    </a:lnTo>
                    <a:lnTo>
                      <a:pt x="276" y="161"/>
                    </a:lnTo>
                    <a:lnTo>
                      <a:pt x="271" y="159"/>
                    </a:lnTo>
                    <a:lnTo>
                      <a:pt x="269" y="157"/>
                    </a:lnTo>
                    <a:lnTo>
                      <a:pt x="266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61" name="Freeform 94"/>
              <p:cNvSpPr>
                <a:spLocks/>
              </p:cNvSpPr>
              <p:nvPr/>
            </p:nvSpPr>
            <p:spPr bwMode="auto">
              <a:xfrm>
                <a:off x="7819180" y="3028994"/>
                <a:ext cx="29967" cy="23865"/>
              </a:xfrm>
              <a:custGeom>
                <a:avLst/>
                <a:gdLst/>
                <a:ahLst/>
                <a:cxnLst>
                  <a:cxn ang="0">
                    <a:pos x="50" y="2"/>
                  </a:cxn>
                  <a:cxn ang="0">
                    <a:pos x="45" y="0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8" y="0"/>
                  </a:cxn>
                  <a:cxn ang="0">
                    <a:pos x="33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3" y="2"/>
                  </a:cxn>
                  <a:cxn ang="0">
                    <a:pos x="18" y="5"/>
                  </a:cxn>
                  <a:cxn ang="0">
                    <a:pos x="15" y="5"/>
                  </a:cxn>
                  <a:cxn ang="0">
                    <a:pos x="13" y="8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2" y="32"/>
                  </a:cxn>
                  <a:cxn ang="0">
                    <a:pos x="5" y="35"/>
                  </a:cxn>
                  <a:cxn ang="0">
                    <a:pos x="5" y="38"/>
                  </a:cxn>
                  <a:cxn ang="0">
                    <a:pos x="8" y="42"/>
                  </a:cxn>
                  <a:cxn ang="0">
                    <a:pos x="13" y="42"/>
                  </a:cxn>
                  <a:cxn ang="0">
                    <a:pos x="17" y="43"/>
                  </a:cxn>
                  <a:cxn ang="0">
                    <a:pos x="20" y="43"/>
                  </a:cxn>
                  <a:cxn ang="0">
                    <a:pos x="25" y="47"/>
                  </a:cxn>
                  <a:cxn ang="0">
                    <a:pos x="28" y="45"/>
                  </a:cxn>
                  <a:cxn ang="0">
                    <a:pos x="30" y="40"/>
                  </a:cxn>
                  <a:cxn ang="0">
                    <a:pos x="33" y="40"/>
                  </a:cxn>
                  <a:cxn ang="0">
                    <a:pos x="37" y="42"/>
                  </a:cxn>
                  <a:cxn ang="0">
                    <a:pos x="40" y="37"/>
                  </a:cxn>
                  <a:cxn ang="0">
                    <a:pos x="40" y="35"/>
                  </a:cxn>
                  <a:cxn ang="0">
                    <a:pos x="45" y="33"/>
                  </a:cxn>
                  <a:cxn ang="0">
                    <a:pos x="48" y="32"/>
                  </a:cxn>
                  <a:cxn ang="0">
                    <a:pos x="48" y="27"/>
                  </a:cxn>
                  <a:cxn ang="0">
                    <a:pos x="50" y="20"/>
                  </a:cxn>
                  <a:cxn ang="0">
                    <a:pos x="53" y="18"/>
                  </a:cxn>
                  <a:cxn ang="0">
                    <a:pos x="53" y="15"/>
                  </a:cxn>
                  <a:cxn ang="0">
                    <a:pos x="57" y="10"/>
                  </a:cxn>
                  <a:cxn ang="0">
                    <a:pos x="55" y="5"/>
                  </a:cxn>
                  <a:cxn ang="0">
                    <a:pos x="50" y="2"/>
                  </a:cxn>
                </a:cxnLst>
                <a:rect l="0" t="0" r="r" b="b"/>
                <a:pathLst>
                  <a:path w="57" h="47">
                    <a:moveTo>
                      <a:pt x="50" y="2"/>
                    </a:moveTo>
                    <a:lnTo>
                      <a:pt x="45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3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3" y="2"/>
                    </a:lnTo>
                    <a:lnTo>
                      <a:pt x="18" y="5"/>
                    </a:lnTo>
                    <a:lnTo>
                      <a:pt x="15" y="5"/>
                    </a:lnTo>
                    <a:lnTo>
                      <a:pt x="13" y="8"/>
                    </a:lnTo>
                    <a:lnTo>
                      <a:pt x="5" y="13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2" y="32"/>
                    </a:lnTo>
                    <a:lnTo>
                      <a:pt x="5" y="35"/>
                    </a:lnTo>
                    <a:lnTo>
                      <a:pt x="5" y="38"/>
                    </a:lnTo>
                    <a:lnTo>
                      <a:pt x="8" y="42"/>
                    </a:lnTo>
                    <a:lnTo>
                      <a:pt x="13" y="42"/>
                    </a:lnTo>
                    <a:lnTo>
                      <a:pt x="17" y="43"/>
                    </a:lnTo>
                    <a:lnTo>
                      <a:pt x="20" y="43"/>
                    </a:lnTo>
                    <a:lnTo>
                      <a:pt x="25" y="47"/>
                    </a:lnTo>
                    <a:lnTo>
                      <a:pt x="28" y="45"/>
                    </a:lnTo>
                    <a:lnTo>
                      <a:pt x="30" y="40"/>
                    </a:lnTo>
                    <a:lnTo>
                      <a:pt x="33" y="40"/>
                    </a:lnTo>
                    <a:lnTo>
                      <a:pt x="37" y="42"/>
                    </a:lnTo>
                    <a:lnTo>
                      <a:pt x="40" y="37"/>
                    </a:lnTo>
                    <a:lnTo>
                      <a:pt x="40" y="35"/>
                    </a:lnTo>
                    <a:lnTo>
                      <a:pt x="45" y="33"/>
                    </a:lnTo>
                    <a:lnTo>
                      <a:pt x="48" y="32"/>
                    </a:lnTo>
                    <a:lnTo>
                      <a:pt x="48" y="27"/>
                    </a:lnTo>
                    <a:lnTo>
                      <a:pt x="50" y="20"/>
                    </a:lnTo>
                    <a:lnTo>
                      <a:pt x="53" y="18"/>
                    </a:lnTo>
                    <a:lnTo>
                      <a:pt x="53" y="15"/>
                    </a:lnTo>
                    <a:lnTo>
                      <a:pt x="57" y="10"/>
                    </a:lnTo>
                    <a:lnTo>
                      <a:pt x="55" y="5"/>
                    </a:lnTo>
                    <a:lnTo>
                      <a:pt x="5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62" name="Freeform 95"/>
              <p:cNvSpPr>
                <a:spLocks/>
              </p:cNvSpPr>
              <p:nvPr/>
            </p:nvSpPr>
            <p:spPr bwMode="auto">
              <a:xfrm>
                <a:off x="7250878" y="2506050"/>
                <a:ext cx="795194" cy="520869"/>
              </a:xfrm>
              <a:custGeom>
                <a:avLst/>
                <a:gdLst/>
                <a:ahLst/>
                <a:cxnLst>
                  <a:cxn ang="0">
                    <a:pos x="1435" y="174"/>
                  </a:cxn>
                  <a:cxn ang="0">
                    <a:pos x="1385" y="158"/>
                  </a:cxn>
                  <a:cxn ang="0">
                    <a:pos x="1343" y="129"/>
                  </a:cxn>
                  <a:cxn ang="0">
                    <a:pos x="1287" y="114"/>
                  </a:cxn>
                  <a:cxn ang="0">
                    <a:pos x="1242" y="50"/>
                  </a:cxn>
                  <a:cxn ang="0">
                    <a:pos x="1206" y="13"/>
                  </a:cxn>
                  <a:cxn ang="0">
                    <a:pos x="1141" y="2"/>
                  </a:cxn>
                  <a:cxn ang="0">
                    <a:pos x="1081" y="40"/>
                  </a:cxn>
                  <a:cxn ang="0">
                    <a:pos x="1096" y="101"/>
                  </a:cxn>
                  <a:cxn ang="0">
                    <a:pos x="1049" y="148"/>
                  </a:cxn>
                  <a:cxn ang="0">
                    <a:pos x="1147" y="237"/>
                  </a:cxn>
                  <a:cxn ang="0">
                    <a:pos x="1083" y="284"/>
                  </a:cxn>
                  <a:cxn ang="0">
                    <a:pos x="980" y="335"/>
                  </a:cxn>
                  <a:cxn ang="0">
                    <a:pos x="853" y="430"/>
                  </a:cxn>
                  <a:cxn ang="0">
                    <a:pos x="646" y="408"/>
                  </a:cxn>
                  <a:cxn ang="0">
                    <a:pos x="551" y="340"/>
                  </a:cxn>
                  <a:cxn ang="0">
                    <a:pos x="480" y="274"/>
                  </a:cxn>
                  <a:cxn ang="0">
                    <a:pos x="415" y="246"/>
                  </a:cxn>
                  <a:cxn ang="0">
                    <a:pos x="367" y="249"/>
                  </a:cxn>
                  <a:cxn ang="0">
                    <a:pos x="304" y="335"/>
                  </a:cxn>
                  <a:cxn ang="0">
                    <a:pos x="267" y="372"/>
                  </a:cxn>
                  <a:cxn ang="0">
                    <a:pos x="202" y="420"/>
                  </a:cxn>
                  <a:cxn ang="0">
                    <a:pos x="66" y="440"/>
                  </a:cxn>
                  <a:cxn ang="0">
                    <a:pos x="43" y="492"/>
                  </a:cxn>
                  <a:cxn ang="0">
                    <a:pos x="21" y="568"/>
                  </a:cxn>
                  <a:cxn ang="0">
                    <a:pos x="71" y="571"/>
                  </a:cxn>
                  <a:cxn ang="0">
                    <a:pos x="132" y="593"/>
                  </a:cxn>
                  <a:cxn ang="0">
                    <a:pos x="217" y="609"/>
                  </a:cxn>
                  <a:cxn ang="0">
                    <a:pos x="295" y="711"/>
                  </a:cxn>
                  <a:cxn ang="0">
                    <a:pos x="352" y="766"/>
                  </a:cxn>
                  <a:cxn ang="0">
                    <a:pos x="443" y="791"/>
                  </a:cxn>
                  <a:cxn ang="0">
                    <a:pos x="546" y="820"/>
                  </a:cxn>
                  <a:cxn ang="0">
                    <a:pos x="651" y="812"/>
                  </a:cxn>
                  <a:cxn ang="0">
                    <a:pos x="737" y="792"/>
                  </a:cxn>
                  <a:cxn ang="0">
                    <a:pos x="797" y="869"/>
                  </a:cxn>
                  <a:cxn ang="0">
                    <a:pos x="809" y="923"/>
                  </a:cxn>
                  <a:cxn ang="0">
                    <a:pos x="845" y="975"/>
                  </a:cxn>
                  <a:cxn ang="0">
                    <a:pos x="900" y="953"/>
                  </a:cxn>
                  <a:cxn ang="0">
                    <a:pos x="978" y="933"/>
                  </a:cxn>
                  <a:cxn ang="0">
                    <a:pos x="1048" y="973"/>
                  </a:cxn>
                  <a:cxn ang="0">
                    <a:pos x="1089" y="1003"/>
                  </a:cxn>
                  <a:cxn ang="0">
                    <a:pos x="1104" y="980"/>
                  </a:cxn>
                  <a:cxn ang="0">
                    <a:pos x="1166" y="947"/>
                  </a:cxn>
                  <a:cxn ang="0">
                    <a:pos x="1214" y="943"/>
                  </a:cxn>
                  <a:cxn ang="0">
                    <a:pos x="1259" y="913"/>
                  </a:cxn>
                  <a:cxn ang="0">
                    <a:pos x="1289" y="885"/>
                  </a:cxn>
                  <a:cxn ang="0">
                    <a:pos x="1299" y="864"/>
                  </a:cxn>
                  <a:cxn ang="0">
                    <a:pos x="1310" y="830"/>
                  </a:cxn>
                  <a:cxn ang="0">
                    <a:pos x="1337" y="792"/>
                  </a:cxn>
                  <a:cxn ang="0">
                    <a:pos x="1342" y="756"/>
                  </a:cxn>
                  <a:cxn ang="0">
                    <a:pos x="1290" y="739"/>
                  </a:cxn>
                  <a:cxn ang="0">
                    <a:pos x="1257" y="688"/>
                  </a:cxn>
                  <a:cxn ang="0">
                    <a:pos x="1315" y="683"/>
                  </a:cxn>
                  <a:cxn ang="0">
                    <a:pos x="1250" y="586"/>
                  </a:cxn>
                  <a:cxn ang="0">
                    <a:pos x="1310" y="548"/>
                  </a:cxn>
                  <a:cxn ang="0">
                    <a:pos x="1249" y="526"/>
                  </a:cxn>
                  <a:cxn ang="0">
                    <a:pos x="1184" y="511"/>
                  </a:cxn>
                  <a:cxn ang="0">
                    <a:pos x="1234" y="448"/>
                  </a:cxn>
                  <a:cxn ang="0">
                    <a:pos x="1265" y="473"/>
                  </a:cxn>
                  <a:cxn ang="0">
                    <a:pos x="1287" y="473"/>
                  </a:cxn>
                  <a:cxn ang="0">
                    <a:pos x="1451" y="344"/>
                  </a:cxn>
                  <a:cxn ang="0">
                    <a:pos x="1451" y="266"/>
                  </a:cxn>
                  <a:cxn ang="0">
                    <a:pos x="1485" y="229"/>
                  </a:cxn>
                </a:cxnLst>
                <a:rect l="0" t="0" r="r" b="b"/>
                <a:pathLst>
                  <a:path w="1486" h="1005">
                    <a:moveTo>
                      <a:pt x="1483" y="176"/>
                    </a:moveTo>
                    <a:lnTo>
                      <a:pt x="1481" y="174"/>
                    </a:lnTo>
                    <a:lnTo>
                      <a:pt x="1481" y="171"/>
                    </a:lnTo>
                    <a:lnTo>
                      <a:pt x="1476" y="166"/>
                    </a:lnTo>
                    <a:lnTo>
                      <a:pt x="1476" y="164"/>
                    </a:lnTo>
                    <a:lnTo>
                      <a:pt x="1478" y="163"/>
                    </a:lnTo>
                    <a:lnTo>
                      <a:pt x="1476" y="158"/>
                    </a:lnTo>
                    <a:lnTo>
                      <a:pt x="1475" y="156"/>
                    </a:lnTo>
                    <a:lnTo>
                      <a:pt x="1470" y="156"/>
                    </a:lnTo>
                    <a:lnTo>
                      <a:pt x="1468" y="154"/>
                    </a:lnTo>
                    <a:lnTo>
                      <a:pt x="1463" y="153"/>
                    </a:lnTo>
                    <a:lnTo>
                      <a:pt x="1461" y="154"/>
                    </a:lnTo>
                    <a:lnTo>
                      <a:pt x="1456" y="154"/>
                    </a:lnTo>
                    <a:lnTo>
                      <a:pt x="1455" y="158"/>
                    </a:lnTo>
                    <a:lnTo>
                      <a:pt x="1453" y="161"/>
                    </a:lnTo>
                    <a:lnTo>
                      <a:pt x="1451" y="161"/>
                    </a:lnTo>
                    <a:lnTo>
                      <a:pt x="1448" y="161"/>
                    </a:lnTo>
                    <a:lnTo>
                      <a:pt x="1448" y="166"/>
                    </a:lnTo>
                    <a:lnTo>
                      <a:pt x="1443" y="166"/>
                    </a:lnTo>
                    <a:lnTo>
                      <a:pt x="1440" y="166"/>
                    </a:lnTo>
                    <a:lnTo>
                      <a:pt x="1438" y="169"/>
                    </a:lnTo>
                    <a:lnTo>
                      <a:pt x="1438" y="173"/>
                    </a:lnTo>
                    <a:lnTo>
                      <a:pt x="1435" y="174"/>
                    </a:lnTo>
                    <a:lnTo>
                      <a:pt x="1433" y="179"/>
                    </a:lnTo>
                    <a:lnTo>
                      <a:pt x="1433" y="181"/>
                    </a:lnTo>
                    <a:lnTo>
                      <a:pt x="1431" y="183"/>
                    </a:lnTo>
                    <a:lnTo>
                      <a:pt x="1428" y="184"/>
                    </a:lnTo>
                    <a:lnTo>
                      <a:pt x="1421" y="186"/>
                    </a:lnTo>
                    <a:lnTo>
                      <a:pt x="1420" y="186"/>
                    </a:lnTo>
                    <a:lnTo>
                      <a:pt x="1415" y="186"/>
                    </a:lnTo>
                    <a:lnTo>
                      <a:pt x="1413" y="188"/>
                    </a:lnTo>
                    <a:lnTo>
                      <a:pt x="1412" y="189"/>
                    </a:lnTo>
                    <a:lnTo>
                      <a:pt x="1410" y="186"/>
                    </a:lnTo>
                    <a:lnTo>
                      <a:pt x="1407" y="183"/>
                    </a:lnTo>
                    <a:lnTo>
                      <a:pt x="1403" y="183"/>
                    </a:lnTo>
                    <a:lnTo>
                      <a:pt x="1400" y="184"/>
                    </a:lnTo>
                    <a:lnTo>
                      <a:pt x="1397" y="186"/>
                    </a:lnTo>
                    <a:lnTo>
                      <a:pt x="1395" y="184"/>
                    </a:lnTo>
                    <a:lnTo>
                      <a:pt x="1392" y="179"/>
                    </a:lnTo>
                    <a:lnTo>
                      <a:pt x="1390" y="178"/>
                    </a:lnTo>
                    <a:lnTo>
                      <a:pt x="1385" y="173"/>
                    </a:lnTo>
                    <a:lnTo>
                      <a:pt x="1385" y="169"/>
                    </a:lnTo>
                    <a:lnTo>
                      <a:pt x="1387" y="168"/>
                    </a:lnTo>
                    <a:lnTo>
                      <a:pt x="1387" y="164"/>
                    </a:lnTo>
                    <a:lnTo>
                      <a:pt x="1385" y="161"/>
                    </a:lnTo>
                    <a:lnTo>
                      <a:pt x="1385" y="158"/>
                    </a:lnTo>
                    <a:lnTo>
                      <a:pt x="1380" y="158"/>
                    </a:lnTo>
                    <a:lnTo>
                      <a:pt x="1380" y="154"/>
                    </a:lnTo>
                    <a:lnTo>
                      <a:pt x="1380" y="151"/>
                    </a:lnTo>
                    <a:lnTo>
                      <a:pt x="1382" y="149"/>
                    </a:lnTo>
                    <a:lnTo>
                      <a:pt x="1383" y="146"/>
                    </a:lnTo>
                    <a:lnTo>
                      <a:pt x="1380" y="146"/>
                    </a:lnTo>
                    <a:lnTo>
                      <a:pt x="1378" y="146"/>
                    </a:lnTo>
                    <a:lnTo>
                      <a:pt x="1377" y="148"/>
                    </a:lnTo>
                    <a:lnTo>
                      <a:pt x="1373" y="148"/>
                    </a:lnTo>
                    <a:lnTo>
                      <a:pt x="1370" y="148"/>
                    </a:lnTo>
                    <a:lnTo>
                      <a:pt x="1367" y="148"/>
                    </a:lnTo>
                    <a:lnTo>
                      <a:pt x="1365" y="146"/>
                    </a:lnTo>
                    <a:lnTo>
                      <a:pt x="1363" y="146"/>
                    </a:lnTo>
                    <a:lnTo>
                      <a:pt x="1362" y="144"/>
                    </a:lnTo>
                    <a:lnTo>
                      <a:pt x="1357" y="143"/>
                    </a:lnTo>
                    <a:lnTo>
                      <a:pt x="1355" y="141"/>
                    </a:lnTo>
                    <a:lnTo>
                      <a:pt x="1353" y="138"/>
                    </a:lnTo>
                    <a:lnTo>
                      <a:pt x="1352" y="138"/>
                    </a:lnTo>
                    <a:lnTo>
                      <a:pt x="1350" y="136"/>
                    </a:lnTo>
                    <a:lnTo>
                      <a:pt x="1348" y="134"/>
                    </a:lnTo>
                    <a:lnTo>
                      <a:pt x="1347" y="134"/>
                    </a:lnTo>
                    <a:lnTo>
                      <a:pt x="1343" y="131"/>
                    </a:lnTo>
                    <a:lnTo>
                      <a:pt x="1343" y="129"/>
                    </a:lnTo>
                    <a:lnTo>
                      <a:pt x="1342" y="128"/>
                    </a:lnTo>
                    <a:lnTo>
                      <a:pt x="1338" y="128"/>
                    </a:lnTo>
                    <a:lnTo>
                      <a:pt x="1337" y="131"/>
                    </a:lnTo>
                    <a:lnTo>
                      <a:pt x="1335" y="129"/>
                    </a:lnTo>
                    <a:lnTo>
                      <a:pt x="1332" y="131"/>
                    </a:lnTo>
                    <a:lnTo>
                      <a:pt x="1332" y="133"/>
                    </a:lnTo>
                    <a:lnTo>
                      <a:pt x="1328" y="131"/>
                    </a:lnTo>
                    <a:lnTo>
                      <a:pt x="1327" y="129"/>
                    </a:lnTo>
                    <a:lnTo>
                      <a:pt x="1325" y="128"/>
                    </a:lnTo>
                    <a:lnTo>
                      <a:pt x="1320" y="128"/>
                    </a:lnTo>
                    <a:lnTo>
                      <a:pt x="1319" y="126"/>
                    </a:lnTo>
                    <a:lnTo>
                      <a:pt x="1320" y="124"/>
                    </a:lnTo>
                    <a:lnTo>
                      <a:pt x="1320" y="123"/>
                    </a:lnTo>
                    <a:lnTo>
                      <a:pt x="1317" y="123"/>
                    </a:lnTo>
                    <a:lnTo>
                      <a:pt x="1314" y="124"/>
                    </a:lnTo>
                    <a:lnTo>
                      <a:pt x="1309" y="124"/>
                    </a:lnTo>
                    <a:lnTo>
                      <a:pt x="1307" y="124"/>
                    </a:lnTo>
                    <a:lnTo>
                      <a:pt x="1305" y="124"/>
                    </a:lnTo>
                    <a:lnTo>
                      <a:pt x="1302" y="124"/>
                    </a:lnTo>
                    <a:lnTo>
                      <a:pt x="1299" y="124"/>
                    </a:lnTo>
                    <a:lnTo>
                      <a:pt x="1297" y="121"/>
                    </a:lnTo>
                    <a:lnTo>
                      <a:pt x="1294" y="119"/>
                    </a:lnTo>
                    <a:lnTo>
                      <a:pt x="1287" y="114"/>
                    </a:lnTo>
                    <a:lnTo>
                      <a:pt x="1285" y="111"/>
                    </a:lnTo>
                    <a:lnTo>
                      <a:pt x="1285" y="108"/>
                    </a:lnTo>
                    <a:lnTo>
                      <a:pt x="1285" y="105"/>
                    </a:lnTo>
                    <a:lnTo>
                      <a:pt x="1282" y="103"/>
                    </a:lnTo>
                    <a:lnTo>
                      <a:pt x="1279" y="103"/>
                    </a:lnTo>
                    <a:lnTo>
                      <a:pt x="1279" y="98"/>
                    </a:lnTo>
                    <a:lnTo>
                      <a:pt x="1277" y="96"/>
                    </a:lnTo>
                    <a:lnTo>
                      <a:pt x="1277" y="91"/>
                    </a:lnTo>
                    <a:lnTo>
                      <a:pt x="1275" y="88"/>
                    </a:lnTo>
                    <a:lnTo>
                      <a:pt x="1265" y="83"/>
                    </a:lnTo>
                    <a:lnTo>
                      <a:pt x="1262" y="78"/>
                    </a:lnTo>
                    <a:lnTo>
                      <a:pt x="1260" y="75"/>
                    </a:lnTo>
                    <a:lnTo>
                      <a:pt x="1259" y="71"/>
                    </a:lnTo>
                    <a:lnTo>
                      <a:pt x="1255" y="73"/>
                    </a:lnTo>
                    <a:lnTo>
                      <a:pt x="1255" y="71"/>
                    </a:lnTo>
                    <a:lnTo>
                      <a:pt x="1255" y="70"/>
                    </a:lnTo>
                    <a:lnTo>
                      <a:pt x="1255" y="66"/>
                    </a:lnTo>
                    <a:lnTo>
                      <a:pt x="1252" y="65"/>
                    </a:lnTo>
                    <a:lnTo>
                      <a:pt x="1250" y="61"/>
                    </a:lnTo>
                    <a:lnTo>
                      <a:pt x="1249" y="60"/>
                    </a:lnTo>
                    <a:lnTo>
                      <a:pt x="1247" y="56"/>
                    </a:lnTo>
                    <a:lnTo>
                      <a:pt x="1244" y="53"/>
                    </a:lnTo>
                    <a:lnTo>
                      <a:pt x="1242" y="50"/>
                    </a:lnTo>
                    <a:lnTo>
                      <a:pt x="1237" y="46"/>
                    </a:lnTo>
                    <a:lnTo>
                      <a:pt x="1237" y="45"/>
                    </a:lnTo>
                    <a:lnTo>
                      <a:pt x="1239" y="41"/>
                    </a:lnTo>
                    <a:lnTo>
                      <a:pt x="1237" y="40"/>
                    </a:lnTo>
                    <a:lnTo>
                      <a:pt x="1230" y="40"/>
                    </a:lnTo>
                    <a:lnTo>
                      <a:pt x="1230" y="38"/>
                    </a:lnTo>
                    <a:lnTo>
                      <a:pt x="1230" y="35"/>
                    </a:lnTo>
                    <a:lnTo>
                      <a:pt x="1229" y="33"/>
                    </a:lnTo>
                    <a:lnTo>
                      <a:pt x="1229" y="30"/>
                    </a:lnTo>
                    <a:lnTo>
                      <a:pt x="1227" y="26"/>
                    </a:lnTo>
                    <a:lnTo>
                      <a:pt x="1224" y="26"/>
                    </a:lnTo>
                    <a:lnTo>
                      <a:pt x="1224" y="25"/>
                    </a:lnTo>
                    <a:lnTo>
                      <a:pt x="1222" y="23"/>
                    </a:lnTo>
                    <a:lnTo>
                      <a:pt x="1221" y="23"/>
                    </a:lnTo>
                    <a:lnTo>
                      <a:pt x="1217" y="21"/>
                    </a:lnTo>
                    <a:lnTo>
                      <a:pt x="1216" y="20"/>
                    </a:lnTo>
                    <a:lnTo>
                      <a:pt x="1217" y="18"/>
                    </a:lnTo>
                    <a:lnTo>
                      <a:pt x="1216" y="16"/>
                    </a:lnTo>
                    <a:lnTo>
                      <a:pt x="1212" y="15"/>
                    </a:lnTo>
                    <a:lnTo>
                      <a:pt x="1211" y="16"/>
                    </a:lnTo>
                    <a:lnTo>
                      <a:pt x="1209" y="15"/>
                    </a:lnTo>
                    <a:lnTo>
                      <a:pt x="1206" y="15"/>
                    </a:lnTo>
                    <a:lnTo>
                      <a:pt x="1206" y="13"/>
                    </a:lnTo>
                    <a:lnTo>
                      <a:pt x="1206" y="12"/>
                    </a:lnTo>
                    <a:lnTo>
                      <a:pt x="1204" y="8"/>
                    </a:lnTo>
                    <a:lnTo>
                      <a:pt x="1201" y="8"/>
                    </a:lnTo>
                    <a:lnTo>
                      <a:pt x="1199" y="8"/>
                    </a:lnTo>
                    <a:lnTo>
                      <a:pt x="1197" y="5"/>
                    </a:lnTo>
                    <a:lnTo>
                      <a:pt x="1194" y="7"/>
                    </a:lnTo>
                    <a:lnTo>
                      <a:pt x="1191" y="7"/>
                    </a:lnTo>
                    <a:lnTo>
                      <a:pt x="1189" y="5"/>
                    </a:lnTo>
                    <a:lnTo>
                      <a:pt x="1187" y="7"/>
                    </a:lnTo>
                    <a:lnTo>
                      <a:pt x="1187" y="10"/>
                    </a:lnTo>
                    <a:lnTo>
                      <a:pt x="1186" y="10"/>
                    </a:lnTo>
                    <a:lnTo>
                      <a:pt x="1181" y="8"/>
                    </a:lnTo>
                    <a:lnTo>
                      <a:pt x="1179" y="7"/>
                    </a:lnTo>
                    <a:lnTo>
                      <a:pt x="1176" y="8"/>
                    </a:lnTo>
                    <a:lnTo>
                      <a:pt x="1171" y="8"/>
                    </a:lnTo>
                    <a:lnTo>
                      <a:pt x="1169" y="7"/>
                    </a:lnTo>
                    <a:lnTo>
                      <a:pt x="1167" y="3"/>
                    </a:lnTo>
                    <a:lnTo>
                      <a:pt x="1159" y="3"/>
                    </a:lnTo>
                    <a:lnTo>
                      <a:pt x="1156" y="0"/>
                    </a:lnTo>
                    <a:lnTo>
                      <a:pt x="1152" y="0"/>
                    </a:lnTo>
                    <a:lnTo>
                      <a:pt x="1149" y="0"/>
                    </a:lnTo>
                    <a:lnTo>
                      <a:pt x="1147" y="0"/>
                    </a:lnTo>
                    <a:lnTo>
                      <a:pt x="1141" y="2"/>
                    </a:lnTo>
                    <a:lnTo>
                      <a:pt x="1139" y="5"/>
                    </a:lnTo>
                    <a:lnTo>
                      <a:pt x="1137" y="5"/>
                    </a:lnTo>
                    <a:lnTo>
                      <a:pt x="1136" y="7"/>
                    </a:lnTo>
                    <a:lnTo>
                      <a:pt x="1131" y="7"/>
                    </a:lnTo>
                    <a:lnTo>
                      <a:pt x="1127" y="7"/>
                    </a:lnTo>
                    <a:lnTo>
                      <a:pt x="1122" y="5"/>
                    </a:lnTo>
                    <a:lnTo>
                      <a:pt x="1119" y="8"/>
                    </a:lnTo>
                    <a:lnTo>
                      <a:pt x="1116" y="8"/>
                    </a:lnTo>
                    <a:lnTo>
                      <a:pt x="1113" y="12"/>
                    </a:lnTo>
                    <a:lnTo>
                      <a:pt x="1109" y="13"/>
                    </a:lnTo>
                    <a:lnTo>
                      <a:pt x="1106" y="13"/>
                    </a:lnTo>
                    <a:lnTo>
                      <a:pt x="1106" y="13"/>
                    </a:lnTo>
                    <a:lnTo>
                      <a:pt x="1103" y="13"/>
                    </a:lnTo>
                    <a:lnTo>
                      <a:pt x="1099" y="15"/>
                    </a:lnTo>
                    <a:lnTo>
                      <a:pt x="1093" y="15"/>
                    </a:lnTo>
                    <a:lnTo>
                      <a:pt x="1091" y="18"/>
                    </a:lnTo>
                    <a:lnTo>
                      <a:pt x="1091" y="20"/>
                    </a:lnTo>
                    <a:lnTo>
                      <a:pt x="1086" y="25"/>
                    </a:lnTo>
                    <a:lnTo>
                      <a:pt x="1086" y="28"/>
                    </a:lnTo>
                    <a:lnTo>
                      <a:pt x="1083" y="30"/>
                    </a:lnTo>
                    <a:lnTo>
                      <a:pt x="1083" y="33"/>
                    </a:lnTo>
                    <a:lnTo>
                      <a:pt x="1081" y="35"/>
                    </a:lnTo>
                    <a:lnTo>
                      <a:pt x="1081" y="40"/>
                    </a:lnTo>
                    <a:lnTo>
                      <a:pt x="1083" y="41"/>
                    </a:lnTo>
                    <a:lnTo>
                      <a:pt x="1086" y="41"/>
                    </a:lnTo>
                    <a:lnTo>
                      <a:pt x="1091" y="38"/>
                    </a:lnTo>
                    <a:lnTo>
                      <a:pt x="1094" y="38"/>
                    </a:lnTo>
                    <a:lnTo>
                      <a:pt x="1098" y="38"/>
                    </a:lnTo>
                    <a:lnTo>
                      <a:pt x="1101" y="43"/>
                    </a:lnTo>
                    <a:lnTo>
                      <a:pt x="1103" y="48"/>
                    </a:lnTo>
                    <a:lnTo>
                      <a:pt x="1106" y="50"/>
                    </a:lnTo>
                    <a:lnTo>
                      <a:pt x="1106" y="53"/>
                    </a:lnTo>
                    <a:lnTo>
                      <a:pt x="1108" y="56"/>
                    </a:lnTo>
                    <a:lnTo>
                      <a:pt x="1108" y="61"/>
                    </a:lnTo>
                    <a:lnTo>
                      <a:pt x="1104" y="63"/>
                    </a:lnTo>
                    <a:lnTo>
                      <a:pt x="1101" y="68"/>
                    </a:lnTo>
                    <a:lnTo>
                      <a:pt x="1099" y="73"/>
                    </a:lnTo>
                    <a:lnTo>
                      <a:pt x="1098" y="75"/>
                    </a:lnTo>
                    <a:lnTo>
                      <a:pt x="1094" y="80"/>
                    </a:lnTo>
                    <a:lnTo>
                      <a:pt x="1094" y="83"/>
                    </a:lnTo>
                    <a:lnTo>
                      <a:pt x="1096" y="86"/>
                    </a:lnTo>
                    <a:lnTo>
                      <a:pt x="1096" y="88"/>
                    </a:lnTo>
                    <a:lnTo>
                      <a:pt x="1096" y="93"/>
                    </a:lnTo>
                    <a:lnTo>
                      <a:pt x="1099" y="96"/>
                    </a:lnTo>
                    <a:lnTo>
                      <a:pt x="1099" y="100"/>
                    </a:lnTo>
                    <a:lnTo>
                      <a:pt x="1096" y="101"/>
                    </a:lnTo>
                    <a:lnTo>
                      <a:pt x="1094" y="105"/>
                    </a:lnTo>
                    <a:lnTo>
                      <a:pt x="1096" y="108"/>
                    </a:lnTo>
                    <a:lnTo>
                      <a:pt x="1096" y="114"/>
                    </a:lnTo>
                    <a:lnTo>
                      <a:pt x="1096" y="116"/>
                    </a:lnTo>
                    <a:lnTo>
                      <a:pt x="1096" y="123"/>
                    </a:lnTo>
                    <a:lnTo>
                      <a:pt x="1098" y="123"/>
                    </a:lnTo>
                    <a:lnTo>
                      <a:pt x="1099" y="124"/>
                    </a:lnTo>
                    <a:lnTo>
                      <a:pt x="1103" y="123"/>
                    </a:lnTo>
                    <a:lnTo>
                      <a:pt x="1104" y="124"/>
                    </a:lnTo>
                    <a:lnTo>
                      <a:pt x="1104" y="128"/>
                    </a:lnTo>
                    <a:lnTo>
                      <a:pt x="1103" y="133"/>
                    </a:lnTo>
                    <a:lnTo>
                      <a:pt x="1099" y="136"/>
                    </a:lnTo>
                    <a:lnTo>
                      <a:pt x="1091" y="138"/>
                    </a:lnTo>
                    <a:lnTo>
                      <a:pt x="1086" y="141"/>
                    </a:lnTo>
                    <a:lnTo>
                      <a:pt x="1074" y="151"/>
                    </a:lnTo>
                    <a:lnTo>
                      <a:pt x="1071" y="151"/>
                    </a:lnTo>
                    <a:lnTo>
                      <a:pt x="1068" y="148"/>
                    </a:lnTo>
                    <a:lnTo>
                      <a:pt x="1061" y="148"/>
                    </a:lnTo>
                    <a:lnTo>
                      <a:pt x="1056" y="148"/>
                    </a:lnTo>
                    <a:lnTo>
                      <a:pt x="1056" y="146"/>
                    </a:lnTo>
                    <a:lnTo>
                      <a:pt x="1051" y="146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44" y="181"/>
                    </a:lnTo>
                    <a:lnTo>
                      <a:pt x="1046" y="189"/>
                    </a:lnTo>
                    <a:lnTo>
                      <a:pt x="1043" y="194"/>
                    </a:lnTo>
                    <a:lnTo>
                      <a:pt x="1044" y="199"/>
                    </a:lnTo>
                    <a:lnTo>
                      <a:pt x="1041" y="209"/>
                    </a:lnTo>
                    <a:lnTo>
                      <a:pt x="1044" y="216"/>
                    </a:lnTo>
                    <a:lnTo>
                      <a:pt x="1056" y="221"/>
                    </a:lnTo>
                    <a:lnTo>
                      <a:pt x="1064" y="216"/>
                    </a:lnTo>
                    <a:lnTo>
                      <a:pt x="1074" y="216"/>
                    </a:lnTo>
                    <a:lnTo>
                      <a:pt x="1084" y="217"/>
                    </a:lnTo>
                    <a:lnTo>
                      <a:pt x="1089" y="221"/>
                    </a:lnTo>
                    <a:lnTo>
                      <a:pt x="1094" y="212"/>
                    </a:lnTo>
                    <a:lnTo>
                      <a:pt x="1094" y="209"/>
                    </a:lnTo>
                    <a:lnTo>
                      <a:pt x="1094" y="204"/>
                    </a:lnTo>
                    <a:lnTo>
                      <a:pt x="1101" y="203"/>
                    </a:lnTo>
                    <a:lnTo>
                      <a:pt x="1104" y="201"/>
                    </a:lnTo>
                    <a:lnTo>
                      <a:pt x="1114" y="203"/>
                    </a:lnTo>
                    <a:lnTo>
                      <a:pt x="1121" y="209"/>
                    </a:lnTo>
                    <a:lnTo>
                      <a:pt x="1129" y="217"/>
                    </a:lnTo>
                    <a:lnTo>
                      <a:pt x="1136" y="226"/>
                    </a:lnTo>
                    <a:lnTo>
                      <a:pt x="1146" y="231"/>
                    </a:lnTo>
                    <a:lnTo>
                      <a:pt x="1146" y="234"/>
                    </a:lnTo>
                    <a:lnTo>
                      <a:pt x="1147" y="237"/>
                    </a:lnTo>
                    <a:lnTo>
                      <a:pt x="1147" y="242"/>
                    </a:lnTo>
                    <a:lnTo>
                      <a:pt x="1146" y="244"/>
                    </a:lnTo>
                    <a:lnTo>
                      <a:pt x="1146" y="247"/>
                    </a:lnTo>
                    <a:lnTo>
                      <a:pt x="1144" y="249"/>
                    </a:lnTo>
                    <a:lnTo>
                      <a:pt x="1139" y="249"/>
                    </a:lnTo>
                    <a:lnTo>
                      <a:pt x="1137" y="247"/>
                    </a:lnTo>
                    <a:lnTo>
                      <a:pt x="1132" y="247"/>
                    </a:lnTo>
                    <a:lnTo>
                      <a:pt x="1129" y="249"/>
                    </a:lnTo>
                    <a:lnTo>
                      <a:pt x="1122" y="247"/>
                    </a:lnTo>
                    <a:lnTo>
                      <a:pt x="1119" y="247"/>
                    </a:lnTo>
                    <a:lnTo>
                      <a:pt x="1114" y="252"/>
                    </a:lnTo>
                    <a:lnTo>
                      <a:pt x="1108" y="257"/>
                    </a:lnTo>
                    <a:lnTo>
                      <a:pt x="1104" y="261"/>
                    </a:lnTo>
                    <a:lnTo>
                      <a:pt x="1099" y="257"/>
                    </a:lnTo>
                    <a:lnTo>
                      <a:pt x="1098" y="257"/>
                    </a:lnTo>
                    <a:lnTo>
                      <a:pt x="1098" y="262"/>
                    </a:lnTo>
                    <a:lnTo>
                      <a:pt x="1096" y="264"/>
                    </a:lnTo>
                    <a:lnTo>
                      <a:pt x="1093" y="264"/>
                    </a:lnTo>
                    <a:lnTo>
                      <a:pt x="1089" y="264"/>
                    </a:lnTo>
                    <a:lnTo>
                      <a:pt x="1088" y="267"/>
                    </a:lnTo>
                    <a:lnTo>
                      <a:pt x="1084" y="272"/>
                    </a:lnTo>
                    <a:lnTo>
                      <a:pt x="1083" y="279"/>
                    </a:lnTo>
                    <a:lnTo>
                      <a:pt x="1083" y="284"/>
                    </a:lnTo>
                    <a:lnTo>
                      <a:pt x="1081" y="287"/>
                    </a:lnTo>
                    <a:lnTo>
                      <a:pt x="1074" y="287"/>
                    </a:lnTo>
                    <a:lnTo>
                      <a:pt x="1064" y="294"/>
                    </a:lnTo>
                    <a:lnTo>
                      <a:pt x="1059" y="294"/>
                    </a:lnTo>
                    <a:lnTo>
                      <a:pt x="1053" y="294"/>
                    </a:lnTo>
                    <a:lnTo>
                      <a:pt x="1049" y="296"/>
                    </a:lnTo>
                    <a:lnTo>
                      <a:pt x="1046" y="304"/>
                    </a:lnTo>
                    <a:lnTo>
                      <a:pt x="1041" y="307"/>
                    </a:lnTo>
                    <a:lnTo>
                      <a:pt x="1036" y="310"/>
                    </a:lnTo>
                    <a:lnTo>
                      <a:pt x="1033" y="314"/>
                    </a:lnTo>
                    <a:lnTo>
                      <a:pt x="1031" y="317"/>
                    </a:lnTo>
                    <a:lnTo>
                      <a:pt x="1028" y="317"/>
                    </a:lnTo>
                    <a:lnTo>
                      <a:pt x="1023" y="315"/>
                    </a:lnTo>
                    <a:lnTo>
                      <a:pt x="1018" y="314"/>
                    </a:lnTo>
                    <a:lnTo>
                      <a:pt x="1010" y="312"/>
                    </a:lnTo>
                    <a:lnTo>
                      <a:pt x="1005" y="307"/>
                    </a:lnTo>
                    <a:lnTo>
                      <a:pt x="998" y="307"/>
                    </a:lnTo>
                    <a:lnTo>
                      <a:pt x="988" y="309"/>
                    </a:lnTo>
                    <a:lnTo>
                      <a:pt x="983" y="314"/>
                    </a:lnTo>
                    <a:lnTo>
                      <a:pt x="980" y="317"/>
                    </a:lnTo>
                    <a:lnTo>
                      <a:pt x="980" y="327"/>
                    </a:lnTo>
                    <a:lnTo>
                      <a:pt x="980" y="332"/>
                    </a:lnTo>
                    <a:lnTo>
                      <a:pt x="980" y="335"/>
                    </a:lnTo>
                    <a:lnTo>
                      <a:pt x="990" y="342"/>
                    </a:lnTo>
                    <a:lnTo>
                      <a:pt x="1000" y="347"/>
                    </a:lnTo>
                    <a:lnTo>
                      <a:pt x="1000" y="350"/>
                    </a:lnTo>
                    <a:lnTo>
                      <a:pt x="998" y="354"/>
                    </a:lnTo>
                    <a:lnTo>
                      <a:pt x="995" y="359"/>
                    </a:lnTo>
                    <a:lnTo>
                      <a:pt x="985" y="369"/>
                    </a:lnTo>
                    <a:lnTo>
                      <a:pt x="978" y="379"/>
                    </a:lnTo>
                    <a:lnTo>
                      <a:pt x="975" y="385"/>
                    </a:lnTo>
                    <a:lnTo>
                      <a:pt x="970" y="385"/>
                    </a:lnTo>
                    <a:lnTo>
                      <a:pt x="963" y="389"/>
                    </a:lnTo>
                    <a:lnTo>
                      <a:pt x="956" y="389"/>
                    </a:lnTo>
                    <a:lnTo>
                      <a:pt x="950" y="392"/>
                    </a:lnTo>
                    <a:lnTo>
                      <a:pt x="943" y="397"/>
                    </a:lnTo>
                    <a:lnTo>
                      <a:pt x="936" y="397"/>
                    </a:lnTo>
                    <a:lnTo>
                      <a:pt x="926" y="399"/>
                    </a:lnTo>
                    <a:lnTo>
                      <a:pt x="920" y="400"/>
                    </a:lnTo>
                    <a:lnTo>
                      <a:pt x="912" y="402"/>
                    </a:lnTo>
                    <a:lnTo>
                      <a:pt x="895" y="407"/>
                    </a:lnTo>
                    <a:lnTo>
                      <a:pt x="882" y="412"/>
                    </a:lnTo>
                    <a:lnTo>
                      <a:pt x="875" y="418"/>
                    </a:lnTo>
                    <a:lnTo>
                      <a:pt x="863" y="427"/>
                    </a:lnTo>
                    <a:lnTo>
                      <a:pt x="860" y="430"/>
                    </a:lnTo>
                    <a:lnTo>
                      <a:pt x="853" y="430"/>
                    </a:lnTo>
                    <a:lnTo>
                      <a:pt x="847" y="427"/>
                    </a:lnTo>
                    <a:lnTo>
                      <a:pt x="847" y="425"/>
                    </a:lnTo>
                    <a:lnTo>
                      <a:pt x="845" y="422"/>
                    </a:lnTo>
                    <a:lnTo>
                      <a:pt x="835" y="425"/>
                    </a:lnTo>
                    <a:lnTo>
                      <a:pt x="827" y="425"/>
                    </a:lnTo>
                    <a:lnTo>
                      <a:pt x="819" y="422"/>
                    </a:lnTo>
                    <a:lnTo>
                      <a:pt x="812" y="422"/>
                    </a:lnTo>
                    <a:lnTo>
                      <a:pt x="797" y="415"/>
                    </a:lnTo>
                    <a:lnTo>
                      <a:pt x="780" y="410"/>
                    </a:lnTo>
                    <a:lnTo>
                      <a:pt x="774" y="402"/>
                    </a:lnTo>
                    <a:lnTo>
                      <a:pt x="767" y="402"/>
                    </a:lnTo>
                    <a:lnTo>
                      <a:pt x="749" y="400"/>
                    </a:lnTo>
                    <a:lnTo>
                      <a:pt x="734" y="400"/>
                    </a:lnTo>
                    <a:lnTo>
                      <a:pt x="730" y="400"/>
                    </a:lnTo>
                    <a:lnTo>
                      <a:pt x="727" y="402"/>
                    </a:lnTo>
                    <a:lnTo>
                      <a:pt x="727" y="404"/>
                    </a:lnTo>
                    <a:lnTo>
                      <a:pt x="719" y="407"/>
                    </a:lnTo>
                    <a:lnTo>
                      <a:pt x="707" y="407"/>
                    </a:lnTo>
                    <a:lnTo>
                      <a:pt x="687" y="407"/>
                    </a:lnTo>
                    <a:lnTo>
                      <a:pt x="672" y="407"/>
                    </a:lnTo>
                    <a:lnTo>
                      <a:pt x="661" y="407"/>
                    </a:lnTo>
                    <a:lnTo>
                      <a:pt x="651" y="407"/>
                    </a:lnTo>
                    <a:lnTo>
                      <a:pt x="646" y="408"/>
                    </a:lnTo>
                    <a:lnTo>
                      <a:pt x="642" y="407"/>
                    </a:lnTo>
                    <a:lnTo>
                      <a:pt x="637" y="397"/>
                    </a:lnTo>
                    <a:lnTo>
                      <a:pt x="634" y="392"/>
                    </a:lnTo>
                    <a:lnTo>
                      <a:pt x="629" y="385"/>
                    </a:lnTo>
                    <a:lnTo>
                      <a:pt x="626" y="380"/>
                    </a:lnTo>
                    <a:lnTo>
                      <a:pt x="623" y="375"/>
                    </a:lnTo>
                    <a:lnTo>
                      <a:pt x="623" y="372"/>
                    </a:lnTo>
                    <a:lnTo>
                      <a:pt x="619" y="369"/>
                    </a:lnTo>
                    <a:lnTo>
                      <a:pt x="616" y="367"/>
                    </a:lnTo>
                    <a:lnTo>
                      <a:pt x="613" y="367"/>
                    </a:lnTo>
                    <a:lnTo>
                      <a:pt x="613" y="364"/>
                    </a:lnTo>
                    <a:lnTo>
                      <a:pt x="611" y="360"/>
                    </a:lnTo>
                    <a:lnTo>
                      <a:pt x="609" y="360"/>
                    </a:lnTo>
                    <a:lnTo>
                      <a:pt x="608" y="360"/>
                    </a:lnTo>
                    <a:lnTo>
                      <a:pt x="601" y="360"/>
                    </a:lnTo>
                    <a:lnTo>
                      <a:pt x="594" y="357"/>
                    </a:lnTo>
                    <a:lnTo>
                      <a:pt x="586" y="352"/>
                    </a:lnTo>
                    <a:lnTo>
                      <a:pt x="583" y="350"/>
                    </a:lnTo>
                    <a:lnTo>
                      <a:pt x="581" y="350"/>
                    </a:lnTo>
                    <a:lnTo>
                      <a:pt x="576" y="350"/>
                    </a:lnTo>
                    <a:lnTo>
                      <a:pt x="574" y="347"/>
                    </a:lnTo>
                    <a:lnTo>
                      <a:pt x="566" y="344"/>
                    </a:lnTo>
                    <a:lnTo>
                      <a:pt x="551" y="340"/>
                    </a:lnTo>
                    <a:lnTo>
                      <a:pt x="549" y="340"/>
                    </a:lnTo>
                    <a:lnTo>
                      <a:pt x="546" y="342"/>
                    </a:lnTo>
                    <a:lnTo>
                      <a:pt x="539" y="342"/>
                    </a:lnTo>
                    <a:lnTo>
                      <a:pt x="529" y="342"/>
                    </a:lnTo>
                    <a:lnTo>
                      <a:pt x="506" y="339"/>
                    </a:lnTo>
                    <a:lnTo>
                      <a:pt x="501" y="335"/>
                    </a:lnTo>
                    <a:lnTo>
                      <a:pt x="495" y="329"/>
                    </a:lnTo>
                    <a:lnTo>
                      <a:pt x="495" y="324"/>
                    </a:lnTo>
                    <a:lnTo>
                      <a:pt x="495" y="320"/>
                    </a:lnTo>
                    <a:lnTo>
                      <a:pt x="496" y="319"/>
                    </a:lnTo>
                    <a:lnTo>
                      <a:pt x="500" y="317"/>
                    </a:lnTo>
                    <a:lnTo>
                      <a:pt x="501" y="312"/>
                    </a:lnTo>
                    <a:lnTo>
                      <a:pt x="498" y="309"/>
                    </a:lnTo>
                    <a:lnTo>
                      <a:pt x="496" y="304"/>
                    </a:lnTo>
                    <a:lnTo>
                      <a:pt x="498" y="302"/>
                    </a:lnTo>
                    <a:lnTo>
                      <a:pt x="498" y="297"/>
                    </a:lnTo>
                    <a:lnTo>
                      <a:pt x="496" y="294"/>
                    </a:lnTo>
                    <a:lnTo>
                      <a:pt x="493" y="289"/>
                    </a:lnTo>
                    <a:lnTo>
                      <a:pt x="490" y="287"/>
                    </a:lnTo>
                    <a:lnTo>
                      <a:pt x="485" y="286"/>
                    </a:lnTo>
                    <a:lnTo>
                      <a:pt x="483" y="281"/>
                    </a:lnTo>
                    <a:lnTo>
                      <a:pt x="481" y="279"/>
                    </a:lnTo>
                    <a:lnTo>
                      <a:pt x="480" y="274"/>
                    </a:lnTo>
                    <a:lnTo>
                      <a:pt x="480" y="271"/>
                    </a:lnTo>
                    <a:lnTo>
                      <a:pt x="476" y="267"/>
                    </a:lnTo>
                    <a:lnTo>
                      <a:pt x="473" y="264"/>
                    </a:lnTo>
                    <a:lnTo>
                      <a:pt x="470" y="264"/>
                    </a:lnTo>
                    <a:lnTo>
                      <a:pt x="466" y="261"/>
                    </a:lnTo>
                    <a:lnTo>
                      <a:pt x="463" y="259"/>
                    </a:lnTo>
                    <a:lnTo>
                      <a:pt x="460" y="259"/>
                    </a:lnTo>
                    <a:lnTo>
                      <a:pt x="456" y="262"/>
                    </a:lnTo>
                    <a:lnTo>
                      <a:pt x="455" y="262"/>
                    </a:lnTo>
                    <a:lnTo>
                      <a:pt x="451" y="262"/>
                    </a:lnTo>
                    <a:lnTo>
                      <a:pt x="448" y="257"/>
                    </a:lnTo>
                    <a:lnTo>
                      <a:pt x="446" y="256"/>
                    </a:lnTo>
                    <a:lnTo>
                      <a:pt x="441" y="256"/>
                    </a:lnTo>
                    <a:lnTo>
                      <a:pt x="438" y="259"/>
                    </a:lnTo>
                    <a:lnTo>
                      <a:pt x="435" y="261"/>
                    </a:lnTo>
                    <a:lnTo>
                      <a:pt x="435" y="262"/>
                    </a:lnTo>
                    <a:lnTo>
                      <a:pt x="433" y="262"/>
                    </a:lnTo>
                    <a:lnTo>
                      <a:pt x="428" y="261"/>
                    </a:lnTo>
                    <a:lnTo>
                      <a:pt x="427" y="257"/>
                    </a:lnTo>
                    <a:lnTo>
                      <a:pt x="427" y="256"/>
                    </a:lnTo>
                    <a:lnTo>
                      <a:pt x="423" y="251"/>
                    </a:lnTo>
                    <a:lnTo>
                      <a:pt x="418" y="249"/>
                    </a:lnTo>
                    <a:lnTo>
                      <a:pt x="415" y="246"/>
                    </a:lnTo>
                    <a:lnTo>
                      <a:pt x="412" y="244"/>
                    </a:lnTo>
                    <a:lnTo>
                      <a:pt x="410" y="242"/>
                    </a:lnTo>
                    <a:lnTo>
                      <a:pt x="408" y="239"/>
                    </a:lnTo>
                    <a:lnTo>
                      <a:pt x="408" y="236"/>
                    </a:lnTo>
                    <a:lnTo>
                      <a:pt x="407" y="234"/>
                    </a:lnTo>
                    <a:lnTo>
                      <a:pt x="405" y="234"/>
                    </a:lnTo>
                    <a:lnTo>
                      <a:pt x="405" y="236"/>
                    </a:lnTo>
                    <a:lnTo>
                      <a:pt x="403" y="236"/>
                    </a:lnTo>
                    <a:lnTo>
                      <a:pt x="402" y="232"/>
                    </a:lnTo>
                    <a:lnTo>
                      <a:pt x="400" y="232"/>
                    </a:lnTo>
                    <a:lnTo>
                      <a:pt x="400" y="227"/>
                    </a:lnTo>
                    <a:lnTo>
                      <a:pt x="400" y="224"/>
                    </a:lnTo>
                    <a:lnTo>
                      <a:pt x="398" y="224"/>
                    </a:lnTo>
                    <a:lnTo>
                      <a:pt x="393" y="222"/>
                    </a:lnTo>
                    <a:lnTo>
                      <a:pt x="390" y="222"/>
                    </a:lnTo>
                    <a:lnTo>
                      <a:pt x="392" y="224"/>
                    </a:lnTo>
                    <a:lnTo>
                      <a:pt x="387" y="227"/>
                    </a:lnTo>
                    <a:lnTo>
                      <a:pt x="383" y="229"/>
                    </a:lnTo>
                    <a:lnTo>
                      <a:pt x="377" y="236"/>
                    </a:lnTo>
                    <a:lnTo>
                      <a:pt x="377" y="239"/>
                    </a:lnTo>
                    <a:lnTo>
                      <a:pt x="377" y="242"/>
                    </a:lnTo>
                    <a:lnTo>
                      <a:pt x="375" y="247"/>
                    </a:lnTo>
                    <a:lnTo>
                      <a:pt x="367" y="249"/>
                    </a:lnTo>
                    <a:lnTo>
                      <a:pt x="363" y="252"/>
                    </a:lnTo>
                    <a:lnTo>
                      <a:pt x="362" y="257"/>
                    </a:lnTo>
                    <a:lnTo>
                      <a:pt x="362" y="266"/>
                    </a:lnTo>
                    <a:lnTo>
                      <a:pt x="367" y="276"/>
                    </a:lnTo>
                    <a:lnTo>
                      <a:pt x="372" y="281"/>
                    </a:lnTo>
                    <a:lnTo>
                      <a:pt x="372" y="284"/>
                    </a:lnTo>
                    <a:lnTo>
                      <a:pt x="365" y="289"/>
                    </a:lnTo>
                    <a:lnTo>
                      <a:pt x="360" y="291"/>
                    </a:lnTo>
                    <a:lnTo>
                      <a:pt x="355" y="296"/>
                    </a:lnTo>
                    <a:lnTo>
                      <a:pt x="352" y="297"/>
                    </a:lnTo>
                    <a:lnTo>
                      <a:pt x="350" y="296"/>
                    </a:lnTo>
                    <a:lnTo>
                      <a:pt x="348" y="294"/>
                    </a:lnTo>
                    <a:lnTo>
                      <a:pt x="345" y="294"/>
                    </a:lnTo>
                    <a:lnTo>
                      <a:pt x="335" y="296"/>
                    </a:lnTo>
                    <a:lnTo>
                      <a:pt x="329" y="296"/>
                    </a:lnTo>
                    <a:lnTo>
                      <a:pt x="319" y="292"/>
                    </a:lnTo>
                    <a:lnTo>
                      <a:pt x="314" y="291"/>
                    </a:lnTo>
                    <a:lnTo>
                      <a:pt x="310" y="292"/>
                    </a:lnTo>
                    <a:lnTo>
                      <a:pt x="309" y="302"/>
                    </a:lnTo>
                    <a:lnTo>
                      <a:pt x="307" y="307"/>
                    </a:lnTo>
                    <a:lnTo>
                      <a:pt x="305" y="312"/>
                    </a:lnTo>
                    <a:lnTo>
                      <a:pt x="304" y="325"/>
                    </a:lnTo>
                    <a:lnTo>
                      <a:pt x="304" y="335"/>
                    </a:lnTo>
                    <a:lnTo>
                      <a:pt x="302" y="339"/>
                    </a:lnTo>
                    <a:lnTo>
                      <a:pt x="305" y="340"/>
                    </a:lnTo>
                    <a:lnTo>
                      <a:pt x="310" y="342"/>
                    </a:lnTo>
                    <a:lnTo>
                      <a:pt x="309" y="347"/>
                    </a:lnTo>
                    <a:lnTo>
                      <a:pt x="309" y="350"/>
                    </a:lnTo>
                    <a:lnTo>
                      <a:pt x="305" y="350"/>
                    </a:lnTo>
                    <a:lnTo>
                      <a:pt x="302" y="352"/>
                    </a:lnTo>
                    <a:lnTo>
                      <a:pt x="299" y="352"/>
                    </a:lnTo>
                    <a:lnTo>
                      <a:pt x="295" y="350"/>
                    </a:lnTo>
                    <a:lnTo>
                      <a:pt x="292" y="350"/>
                    </a:lnTo>
                    <a:lnTo>
                      <a:pt x="287" y="352"/>
                    </a:lnTo>
                    <a:lnTo>
                      <a:pt x="275" y="354"/>
                    </a:lnTo>
                    <a:lnTo>
                      <a:pt x="269" y="357"/>
                    </a:lnTo>
                    <a:lnTo>
                      <a:pt x="265" y="357"/>
                    </a:lnTo>
                    <a:lnTo>
                      <a:pt x="262" y="355"/>
                    </a:lnTo>
                    <a:lnTo>
                      <a:pt x="259" y="357"/>
                    </a:lnTo>
                    <a:lnTo>
                      <a:pt x="254" y="360"/>
                    </a:lnTo>
                    <a:lnTo>
                      <a:pt x="254" y="364"/>
                    </a:lnTo>
                    <a:lnTo>
                      <a:pt x="257" y="367"/>
                    </a:lnTo>
                    <a:lnTo>
                      <a:pt x="264" y="367"/>
                    </a:lnTo>
                    <a:lnTo>
                      <a:pt x="270" y="367"/>
                    </a:lnTo>
                    <a:lnTo>
                      <a:pt x="270" y="369"/>
                    </a:lnTo>
                    <a:lnTo>
                      <a:pt x="267" y="372"/>
                    </a:lnTo>
                    <a:lnTo>
                      <a:pt x="269" y="379"/>
                    </a:lnTo>
                    <a:lnTo>
                      <a:pt x="269" y="382"/>
                    </a:lnTo>
                    <a:lnTo>
                      <a:pt x="272" y="385"/>
                    </a:lnTo>
                    <a:lnTo>
                      <a:pt x="272" y="389"/>
                    </a:lnTo>
                    <a:lnTo>
                      <a:pt x="277" y="395"/>
                    </a:lnTo>
                    <a:lnTo>
                      <a:pt x="277" y="400"/>
                    </a:lnTo>
                    <a:lnTo>
                      <a:pt x="284" y="404"/>
                    </a:lnTo>
                    <a:lnTo>
                      <a:pt x="285" y="412"/>
                    </a:lnTo>
                    <a:lnTo>
                      <a:pt x="282" y="413"/>
                    </a:lnTo>
                    <a:lnTo>
                      <a:pt x="280" y="418"/>
                    </a:lnTo>
                    <a:lnTo>
                      <a:pt x="285" y="422"/>
                    </a:lnTo>
                    <a:lnTo>
                      <a:pt x="282" y="423"/>
                    </a:lnTo>
                    <a:lnTo>
                      <a:pt x="282" y="427"/>
                    </a:lnTo>
                    <a:lnTo>
                      <a:pt x="277" y="428"/>
                    </a:lnTo>
                    <a:lnTo>
                      <a:pt x="277" y="435"/>
                    </a:lnTo>
                    <a:lnTo>
                      <a:pt x="272" y="437"/>
                    </a:lnTo>
                    <a:lnTo>
                      <a:pt x="262" y="435"/>
                    </a:lnTo>
                    <a:lnTo>
                      <a:pt x="252" y="423"/>
                    </a:lnTo>
                    <a:lnTo>
                      <a:pt x="247" y="425"/>
                    </a:lnTo>
                    <a:lnTo>
                      <a:pt x="237" y="422"/>
                    </a:lnTo>
                    <a:lnTo>
                      <a:pt x="222" y="420"/>
                    </a:lnTo>
                    <a:lnTo>
                      <a:pt x="216" y="423"/>
                    </a:lnTo>
                    <a:lnTo>
                      <a:pt x="202" y="420"/>
                    </a:lnTo>
                    <a:lnTo>
                      <a:pt x="191" y="422"/>
                    </a:lnTo>
                    <a:lnTo>
                      <a:pt x="186" y="423"/>
                    </a:lnTo>
                    <a:lnTo>
                      <a:pt x="179" y="422"/>
                    </a:lnTo>
                    <a:lnTo>
                      <a:pt x="176" y="425"/>
                    </a:lnTo>
                    <a:lnTo>
                      <a:pt x="171" y="427"/>
                    </a:lnTo>
                    <a:lnTo>
                      <a:pt x="157" y="425"/>
                    </a:lnTo>
                    <a:lnTo>
                      <a:pt x="147" y="423"/>
                    </a:lnTo>
                    <a:lnTo>
                      <a:pt x="142" y="420"/>
                    </a:lnTo>
                    <a:lnTo>
                      <a:pt x="134" y="420"/>
                    </a:lnTo>
                    <a:lnTo>
                      <a:pt x="132" y="422"/>
                    </a:lnTo>
                    <a:lnTo>
                      <a:pt x="126" y="422"/>
                    </a:lnTo>
                    <a:lnTo>
                      <a:pt x="123" y="420"/>
                    </a:lnTo>
                    <a:lnTo>
                      <a:pt x="119" y="422"/>
                    </a:lnTo>
                    <a:lnTo>
                      <a:pt x="119" y="427"/>
                    </a:lnTo>
                    <a:lnTo>
                      <a:pt x="121" y="432"/>
                    </a:lnTo>
                    <a:lnTo>
                      <a:pt x="121" y="437"/>
                    </a:lnTo>
                    <a:lnTo>
                      <a:pt x="114" y="438"/>
                    </a:lnTo>
                    <a:lnTo>
                      <a:pt x="99" y="438"/>
                    </a:lnTo>
                    <a:lnTo>
                      <a:pt x="81" y="437"/>
                    </a:lnTo>
                    <a:lnTo>
                      <a:pt x="76" y="435"/>
                    </a:lnTo>
                    <a:lnTo>
                      <a:pt x="69" y="433"/>
                    </a:lnTo>
                    <a:lnTo>
                      <a:pt x="64" y="438"/>
                    </a:lnTo>
                    <a:lnTo>
                      <a:pt x="66" y="440"/>
                    </a:lnTo>
                    <a:lnTo>
                      <a:pt x="61" y="443"/>
                    </a:lnTo>
                    <a:lnTo>
                      <a:pt x="59" y="445"/>
                    </a:lnTo>
                    <a:lnTo>
                      <a:pt x="63" y="447"/>
                    </a:lnTo>
                    <a:lnTo>
                      <a:pt x="63" y="450"/>
                    </a:lnTo>
                    <a:lnTo>
                      <a:pt x="54" y="462"/>
                    </a:lnTo>
                    <a:lnTo>
                      <a:pt x="51" y="467"/>
                    </a:lnTo>
                    <a:lnTo>
                      <a:pt x="56" y="470"/>
                    </a:lnTo>
                    <a:lnTo>
                      <a:pt x="66" y="472"/>
                    </a:lnTo>
                    <a:lnTo>
                      <a:pt x="71" y="477"/>
                    </a:lnTo>
                    <a:lnTo>
                      <a:pt x="76" y="477"/>
                    </a:lnTo>
                    <a:lnTo>
                      <a:pt x="79" y="473"/>
                    </a:lnTo>
                    <a:lnTo>
                      <a:pt x="81" y="467"/>
                    </a:lnTo>
                    <a:lnTo>
                      <a:pt x="83" y="468"/>
                    </a:lnTo>
                    <a:lnTo>
                      <a:pt x="96" y="477"/>
                    </a:lnTo>
                    <a:lnTo>
                      <a:pt x="96" y="480"/>
                    </a:lnTo>
                    <a:lnTo>
                      <a:pt x="89" y="488"/>
                    </a:lnTo>
                    <a:lnTo>
                      <a:pt x="81" y="487"/>
                    </a:lnTo>
                    <a:lnTo>
                      <a:pt x="69" y="488"/>
                    </a:lnTo>
                    <a:lnTo>
                      <a:pt x="68" y="485"/>
                    </a:lnTo>
                    <a:lnTo>
                      <a:pt x="63" y="482"/>
                    </a:lnTo>
                    <a:lnTo>
                      <a:pt x="54" y="488"/>
                    </a:lnTo>
                    <a:lnTo>
                      <a:pt x="49" y="488"/>
                    </a:lnTo>
                    <a:lnTo>
                      <a:pt x="43" y="492"/>
                    </a:lnTo>
                    <a:lnTo>
                      <a:pt x="38" y="493"/>
                    </a:lnTo>
                    <a:lnTo>
                      <a:pt x="36" y="500"/>
                    </a:lnTo>
                    <a:lnTo>
                      <a:pt x="44" y="503"/>
                    </a:lnTo>
                    <a:lnTo>
                      <a:pt x="44" y="506"/>
                    </a:lnTo>
                    <a:lnTo>
                      <a:pt x="36" y="510"/>
                    </a:lnTo>
                    <a:lnTo>
                      <a:pt x="26" y="511"/>
                    </a:lnTo>
                    <a:lnTo>
                      <a:pt x="28" y="513"/>
                    </a:lnTo>
                    <a:lnTo>
                      <a:pt x="30" y="518"/>
                    </a:lnTo>
                    <a:lnTo>
                      <a:pt x="20" y="520"/>
                    </a:lnTo>
                    <a:lnTo>
                      <a:pt x="20" y="525"/>
                    </a:lnTo>
                    <a:lnTo>
                      <a:pt x="15" y="526"/>
                    </a:lnTo>
                    <a:lnTo>
                      <a:pt x="5" y="525"/>
                    </a:lnTo>
                    <a:lnTo>
                      <a:pt x="0" y="528"/>
                    </a:lnTo>
                    <a:lnTo>
                      <a:pt x="0" y="535"/>
                    </a:lnTo>
                    <a:lnTo>
                      <a:pt x="5" y="543"/>
                    </a:lnTo>
                    <a:lnTo>
                      <a:pt x="10" y="541"/>
                    </a:lnTo>
                    <a:lnTo>
                      <a:pt x="16" y="541"/>
                    </a:lnTo>
                    <a:lnTo>
                      <a:pt x="18" y="546"/>
                    </a:lnTo>
                    <a:lnTo>
                      <a:pt x="15" y="551"/>
                    </a:lnTo>
                    <a:lnTo>
                      <a:pt x="18" y="556"/>
                    </a:lnTo>
                    <a:lnTo>
                      <a:pt x="23" y="558"/>
                    </a:lnTo>
                    <a:lnTo>
                      <a:pt x="23" y="565"/>
                    </a:lnTo>
                    <a:lnTo>
                      <a:pt x="21" y="568"/>
                    </a:lnTo>
                    <a:lnTo>
                      <a:pt x="16" y="578"/>
                    </a:lnTo>
                    <a:lnTo>
                      <a:pt x="15" y="591"/>
                    </a:lnTo>
                    <a:lnTo>
                      <a:pt x="13" y="590"/>
                    </a:lnTo>
                    <a:lnTo>
                      <a:pt x="18" y="596"/>
                    </a:lnTo>
                    <a:lnTo>
                      <a:pt x="21" y="596"/>
                    </a:lnTo>
                    <a:lnTo>
                      <a:pt x="30" y="595"/>
                    </a:lnTo>
                    <a:lnTo>
                      <a:pt x="34" y="593"/>
                    </a:lnTo>
                    <a:lnTo>
                      <a:pt x="38" y="590"/>
                    </a:lnTo>
                    <a:lnTo>
                      <a:pt x="39" y="588"/>
                    </a:lnTo>
                    <a:lnTo>
                      <a:pt x="43" y="586"/>
                    </a:lnTo>
                    <a:lnTo>
                      <a:pt x="44" y="588"/>
                    </a:lnTo>
                    <a:lnTo>
                      <a:pt x="48" y="591"/>
                    </a:lnTo>
                    <a:lnTo>
                      <a:pt x="56" y="591"/>
                    </a:lnTo>
                    <a:lnTo>
                      <a:pt x="56" y="588"/>
                    </a:lnTo>
                    <a:lnTo>
                      <a:pt x="54" y="586"/>
                    </a:lnTo>
                    <a:lnTo>
                      <a:pt x="54" y="583"/>
                    </a:lnTo>
                    <a:lnTo>
                      <a:pt x="59" y="581"/>
                    </a:lnTo>
                    <a:lnTo>
                      <a:pt x="61" y="580"/>
                    </a:lnTo>
                    <a:lnTo>
                      <a:pt x="64" y="580"/>
                    </a:lnTo>
                    <a:lnTo>
                      <a:pt x="64" y="581"/>
                    </a:lnTo>
                    <a:lnTo>
                      <a:pt x="69" y="581"/>
                    </a:lnTo>
                    <a:lnTo>
                      <a:pt x="73" y="576"/>
                    </a:lnTo>
                    <a:lnTo>
                      <a:pt x="71" y="571"/>
                    </a:lnTo>
                    <a:lnTo>
                      <a:pt x="74" y="568"/>
                    </a:lnTo>
                    <a:lnTo>
                      <a:pt x="76" y="565"/>
                    </a:lnTo>
                    <a:lnTo>
                      <a:pt x="78" y="560"/>
                    </a:lnTo>
                    <a:lnTo>
                      <a:pt x="79" y="555"/>
                    </a:lnTo>
                    <a:lnTo>
                      <a:pt x="86" y="555"/>
                    </a:lnTo>
                    <a:lnTo>
                      <a:pt x="89" y="558"/>
                    </a:lnTo>
                    <a:lnTo>
                      <a:pt x="94" y="560"/>
                    </a:lnTo>
                    <a:lnTo>
                      <a:pt x="94" y="563"/>
                    </a:lnTo>
                    <a:lnTo>
                      <a:pt x="93" y="568"/>
                    </a:lnTo>
                    <a:lnTo>
                      <a:pt x="94" y="573"/>
                    </a:lnTo>
                    <a:lnTo>
                      <a:pt x="99" y="573"/>
                    </a:lnTo>
                    <a:lnTo>
                      <a:pt x="101" y="576"/>
                    </a:lnTo>
                    <a:lnTo>
                      <a:pt x="101" y="581"/>
                    </a:lnTo>
                    <a:lnTo>
                      <a:pt x="101" y="586"/>
                    </a:lnTo>
                    <a:lnTo>
                      <a:pt x="101" y="595"/>
                    </a:lnTo>
                    <a:lnTo>
                      <a:pt x="104" y="600"/>
                    </a:lnTo>
                    <a:lnTo>
                      <a:pt x="104" y="603"/>
                    </a:lnTo>
                    <a:lnTo>
                      <a:pt x="109" y="604"/>
                    </a:lnTo>
                    <a:lnTo>
                      <a:pt x="116" y="604"/>
                    </a:lnTo>
                    <a:lnTo>
                      <a:pt x="119" y="601"/>
                    </a:lnTo>
                    <a:lnTo>
                      <a:pt x="121" y="600"/>
                    </a:lnTo>
                    <a:lnTo>
                      <a:pt x="129" y="595"/>
                    </a:lnTo>
                    <a:lnTo>
                      <a:pt x="132" y="593"/>
                    </a:lnTo>
                    <a:lnTo>
                      <a:pt x="134" y="588"/>
                    </a:lnTo>
                    <a:lnTo>
                      <a:pt x="137" y="586"/>
                    </a:lnTo>
                    <a:lnTo>
                      <a:pt x="147" y="580"/>
                    </a:lnTo>
                    <a:lnTo>
                      <a:pt x="156" y="578"/>
                    </a:lnTo>
                    <a:lnTo>
                      <a:pt x="156" y="583"/>
                    </a:lnTo>
                    <a:lnTo>
                      <a:pt x="166" y="581"/>
                    </a:lnTo>
                    <a:lnTo>
                      <a:pt x="169" y="578"/>
                    </a:lnTo>
                    <a:lnTo>
                      <a:pt x="179" y="578"/>
                    </a:lnTo>
                    <a:lnTo>
                      <a:pt x="181" y="581"/>
                    </a:lnTo>
                    <a:lnTo>
                      <a:pt x="172" y="588"/>
                    </a:lnTo>
                    <a:lnTo>
                      <a:pt x="176" y="588"/>
                    </a:lnTo>
                    <a:lnTo>
                      <a:pt x="176" y="588"/>
                    </a:lnTo>
                    <a:lnTo>
                      <a:pt x="179" y="586"/>
                    </a:lnTo>
                    <a:lnTo>
                      <a:pt x="182" y="586"/>
                    </a:lnTo>
                    <a:lnTo>
                      <a:pt x="186" y="590"/>
                    </a:lnTo>
                    <a:lnTo>
                      <a:pt x="189" y="588"/>
                    </a:lnTo>
                    <a:lnTo>
                      <a:pt x="192" y="588"/>
                    </a:lnTo>
                    <a:lnTo>
                      <a:pt x="196" y="586"/>
                    </a:lnTo>
                    <a:lnTo>
                      <a:pt x="197" y="585"/>
                    </a:lnTo>
                    <a:lnTo>
                      <a:pt x="201" y="585"/>
                    </a:lnTo>
                    <a:lnTo>
                      <a:pt x="204" y="588"/>
                    </a:lnTo>
                    <a:lnTo>
                      <a:pt x="207" y="595"/>
                    </a:lnTo>
                    <a:lnTo>
                      <a:pt x="217" y="609"/>
                    </a:lnTo>
                    <a:lnTo>
                      <a:pt x="224" y="613"/>
                    </a:lnTo>
                    <a:lnTo>
                      <a:pt x="224" y="619"/>
                    </a:lnTo>
                    <a:lnTo>
                      <a:pt x="229" y="621"/>
                    </a:lnTo>
                    <a:lnTo>
                      <a:pt x="230" y="624"/>
                    </a:lnTo>
                    <a:lnTo>
                      <a:pt x="240" y="626"/>
                    </a:lnTo>
                    <a:lnTo>
                      <a:pt x="250" y="626"/>
                    </a:lnTo>
                    <a:lnTo>
                      <a:pt x="255" y="626"/>
                    </a:lnTo>
                    <a:lnTo>
                      <a:pt x="255" y="631"/>
                    </a:lnTo>
                    <a:lnTo>
                      <a:pt x="265" y="634"/>
                    </a:lnTo>
                    <a:lnTo>
                      <a:pt x="274" y="638"/>
                    </a:lnTo>
                    <a:lnTo>
                      <a:pt x="277" y="649"/>
                    </a:lnTo>
                    <a:lnTo>
                      <a:pt x="284" y="656"/>
                    </a:lnTo>
                    <a:lnTo>
                      <a:pt x="292" y="659"/>
                    </a:lnTo>
                    <a:lnTo>
                      <a:pt x="295" y="664"/>
                    </a:lnTo>
                    <a:lnTo>
                      <a:pt x="295" y="676"/>
                    </a:lnTo>
                    <a:lnTo>
                      <a:pt x="300" y="684"/>
                    </a:lnTo>
                    <a:lnTo>
                      <a:pt x="305" y="686"/>
                    </a:lnTo>
                    <a:lnTo>
                      <a:pt x="309" y="696"/>
                    </a:lnTo>
                    <a:lnTo>
                      <a:pt x="310" y="704"/>
                    </a:lnTo>
                    <a:lnTo>
                      <a:pt x="307" y="709"/>
                    </a:lnTo>
                    <a:lnTo>
                      <a:pt x="307" y="706"/>
                    </a:lnTo>
                    <a:lnTo>
                      <a:pt x="302" y="704"/>
                    </a:lnTo>
                    <a:lnTo>
                      <a:pt x="295" y="711"/>
                    </a:lnTo>
                    <a:lnTo>
                      <a:pt x="295" y="711"/>
                    </a:lnTo>
                    <a:lnTo>
                      <a:pt x="297" y="714"/>
                    </a:lnTo>
                    <a:lnTo>
                      <a:pt x="297" y="717"/>
                    </a:lnTo>
                    <a:lnTo>
                      <a:pt x="304" y="721"/>
                    </a:lnTo>
                    <a:lnTo>
                      <a:pt x="304" y="729"/>
                    </a:lnTo>
                    <a:lnTo>
                      <a:pt x="305" y="732"/>
                    </a:lnTo>
                    <a:lnTo>
                      <a:pt x="304" y="736"/>
                    </a:lnTo>
                    <a:lnTo>
                      <a:pt x="307" y="737"/>
                    </a:lnTo>
                    <a:lnTo>
                      <a:pt x="309" y="741"/>
                    </a:lnTo>
                    <a:lnTo>
                      <a:pt x="309" y="744"/>
                    </a:lnTo>
                    <a:lnTo>
                      <a:pt x="312" y="744"/>
                    </a:lnTo>
                    <a:lnTo>
                      <a:pt x="314" y="749"/>
                    </a:lnTo>
                    <a:lnTo>
                      <a:pt x="319" y="752"/>
                    </a:lnTo>
                    <a:lnTo>
                      <a:pt x="322" y="747"/>
                    </a:lnTo>
                    <a:lnTo>
                      <a:pt x="327" y="747"/>
                    </a:lnTo>
                    <a:lnTo>
                      <a:pt x="329" y="751"/>
                    </a:lnTo>
                    <a:lnTo>
                      <a:pt x="335" y="751"/>
                    </a:lnTo>
                    <a:lnTo>
                      <a:pt x="340" y="756"/>
                    </a:lnTo>
                    <a:lnTo>
                      <a:pt x="343" y="757"/>
                    </a:lnTo>
                    <a:lnTo>
                      <a:pt x="345" y="762"/>
                    </a:lnTo>
                    <a:lnTo>
                      <a:pt x="350" y="762"/>
                    </a:lnTo>
                    <a:lnTo>
                      <a:pt x="352" y="766"/>
                    </a:lnTo>
                    <a:lnTo>
                      <a:pt x="352" y="766"/>
                    </a:lnTo>
                    <a:lnTo>
                      <a:pt x="353" y="764"/>
                    </a:lnTo>
                    <a:lnTo>
                      <a:pt x="360" y="767"/>
                    </a:lnTo>
                    <a:lnTo>
                      <a:pt x="362" y="771"/>
                    </a:lnTo>
                    <a:lnTo>
                      <a:pt x="367" y="771"/>
                    </a:lnTo>
                    <a:lnTo>
                      <a:pt x="370" y="771"/>
                    </a:lnTo>
                    <a:lnTo>
                      <a:pt x="373" y="767"/>
                    </a:lnTo>
                    <a:lnTo>
                      <a:pt x="378" y="767"/>
                    </a:lnTo>
                    <a:lnTo>
                      <a:pt x="387" y="771"/>
                    </a:lnTo>
                    <a:lnTo>
                      <a:pt x="390" y="772"/>
                    </a:lnTo>
                    <a:lnTo>
                      <a:pt x="395" y="772"/>
                    </a:lnTo>
                    <a:lnTo>
                      <a:pt x="400" y="774"/>
                    </a:lnTo>
                    <a:lnTo>
                      <a:pt x="407" y="782"/>
                    </a:lnTo>
                    <a:lnTo>
                      <a:pt x="412" y="782"/>
                    </a:lnTo>
                    <a:lnTo>
                      <a:pt x="417" y="784"/>
                    </a:lnTo>
                    <a:lnTo>
                      <a:pt x="420" y="787"/>
                    </a:lnTo>
                    <a:lnTo>
                      <a:pt x="423" y="792"/>
                    </a:lnTo>
                    <a:lnTo>
                      <a:pt x="425" y="796"/>
                    </a:lnTo>
                    <a:lnTo>
                      <a:pt x="428" y="796"/>
                    </a:lnTo>
                    <a:lnTo>
                      <a:pt x="428" y="789"/>
                    </a:lnTo>
                    <a:lnTo>
                      <a:pt x="431" y="786"/>
                    </a:lnTo>
                    <a:lnTo>
                      <a:pt x="433" y="789"/>
                    </a:lnTo>
                    <a:lnTo>
                      <a:pt x="438" y="789"/>
                    </a:lnTo>
                    <a:lnTo>
                      <a:pt x="443" y="791"/>
                    </a:lnTo>
                    <a:lnTo>
                      <a:pt x="443" y="797"/>
                    </a:lnTo>
                    <a:lnTo>
                      <a:pt x="450" y="802"/>
                    </a:lnTo>
                    <a:lnTo>
                      <a:pt x="458" y="800"/>
                    </a:lnTo>
                    <a:lnTo>
                      <a:pt x="463" y="800"/>
                    </a:lnTo>
                    <a:lnTo>
                      <a:pt x="463" y="810"/>
                    </a:lnTo>
                    <a:lnTo>
                      <a:pt x="465" y="815"/>
                    </a:lnTo>
                    <a:lnTo>
                      <a:pt x="470" y="814"/>
                    </a:lnTo>
                    <a:lnTo>
                      <a:pt x="476" y="817"/>
                    </a:lnTo>
                    <a:lnTo>
                      <a:pt x="478" y="814"/>
                    </a:lnTo>
                    <a:lnTo>
                      <a:pt x="485" y="814"/>
                    </a:lnTo>
                    <a:lnTo>
                      <a:pt x="488" y="809"/>
                    </a:lnTo>
                    <a:lnTo>
                      <a:pt x="498" y="810"/>
                    </a:lnTo>
                    <a:lnTo>
                      <a:pt x="503" y="812"/>
                    </a:lnTo>
                    <a:lnTo>
                      <a:pt x="505" y="817"/>
                    </a:lnTo>
                    <a:lnTo>
                      <a:pt x="511" y="820"/>
                    </a:lnTo>
                    <a:lnTo>
                      <a:pt x="516" y="825"/>
                    </a:lnTo>
                    <a:lnTo>
                      <a:pt x="521" y="827"/>
                    </a:lnTo>
                    <a:lnTo>
                      <a:pt x="528" y="825"/>
                    </a:lnTo>
                    <a:lnTo>
                      <a:pt x="529" y="825"/>
                    </a:lnTo>
                    <a:lnTo>
                      <a:pt x="536" y="824"/>
                    </a:lnTo>
                    <a:lnTo>
                      <a:pt x="541" y="824"/>
                    </a:lnTo>
                    <a:lnTo>
                      <a:pt x="541" y="824"/>
                    </a:lnTo>
                    <a:lnTo>
                      <a:pt x="546" y="820"/>
                    </a:lnTo>
                    <a:lnTo>
                      <a:pt x="551" y="820"/>
                    </a:lnTo>
                    <a:lnTo>
                      <a:pt x="554" y="824"/>
                    </a:lnTo>
                    <a:lnTo>
                      <a:pt x="554" y="830"/>
                    </a:lnTo>
                    <a:lnTo>
                      <a:pt x="559" y="834"/>
                    </a:lnTo>
                    <a:lnTo>
                      <a:pt x="559" y="834"/>
                    </a:lnTo>
                    <a:lnTo>
                      <a:pt x="564" y="830"/>
                    </a:lnTo>
                    <a:lnTo>
                      <a:pt x="569" y="822"/>
                    </a:lnTo>
                    <a:lnTo>
                      <a:pt x="581" y="815"/>
                    </a:lnTo>
                    <a:lnTo>
                      <a:pt x="589" y="814"/>
                    </a:lnTo>
                    <a:lnTo>
                      <a:pt x="591" y="817"/>
                    </a:lnTo>
                    <a:lnTo>
                      <a:pt x="603" y="819"/>
                    </a:lnTo>
                    <a:lnTo>
                      <a:pt x="608" y="820"/>
                    </a:lnTo>
                    <a:lnTo>
                      <a:pt x="614" y="819"/>
                    </a:lnTo>
                    <a:lnTo>
                      <a:pt x="621" y="819"/>
                    </a:lnTo>
                    <a:lnTo>
                      <a:pt x="624" y="824"/>
                    </a:lnTo>
                    <a:lnTo>
                      <a:pt x="626" y="824"/>
                    </a:lnTo>
                    <a:lnTo>
                      <a:pt x="629" y="824"/>
                    </a:lnTo>
                    <a:lnTo>
                      <a:pt x="637" y="820"/>
                    </a:lnTo>
                    <a:lnTo>
                      <a:pt x="641" y="820"/>
                    </a:lnTo>
                    <a:lnTo>
                      <a:pt x="644" y="815"/>
                    </a:lnTo>
                    <a:lnTo>
                      <a:pt x="647" y="814"/>
                    </a:lnTo>
                    <a:lnTo>
                      <a:pt x="651" y="814"/>
                    </a:lnTo>
                    <a:lnTo>
                      <a:pt x="651" y="812"/>
                    </a:lnTo>
                    <a:lnTo>
                      <a:pt x="656" y="810"/>
                    </a:lnTo>
                    <a:lnTo>
                      <a:pt x="657" y="805"/>
                    </a:lnTo>
                    <a:lnTo>
                      <a:pt x="662" y="800"/>
                    </a:lnTo>
                    <a:lnTo>
                      <a:pt x="667" y="800"/>
                    </a:lnTo>
                    <a:lnTo>
                      <a:pt x="676" y="799"/>
                    </a:lnTo>
                    <a:lnTo>
                      <a:pt x="682" y="792"/>
                    </a:lnTo>
                    <a:lnTo>
                      <a:pt x="681" y="787"/>
                    </a:lnTo>
                    <a:lnTo>
                      <a:pt x="684" y="787"/>
                    </a:lnTo>
                    <a:lnTo>
                      <a:pt x="691" y="784"/>
                    </a:lnTo>
                    <a:lnTo>
                      <a:pt x="694" y="789"/>
                    </a:lnTo>
                    <a:lnTo>
                      <a:pt x="701" y="787"/>
                    </a:lnTo>
                    <a:lnTo>
                      <a:pt x="711" y="791"/>
                    </a:lnTo>
                    <a:lnTo>
                      <a:pt x="712" y="789"/>
                    </a:lnTo>
                    <a:lnTo>
                      <a:pt x="712" y="784"/>
                    </a:lnTo>
                    <a:lnTo>
                      <a:pt x="722" y="779"/>
                    </a:lnTo>
                    <a:lnTo>
                      <a:pt x="725" y="779"/>
                    </a:lnTo>
                    <a:lnTo>
                      <a:pt x="729" y="782"/>
                    </a:lnTo>
                    <a:lnTo>
                      <a:pt x="732" y="782"/>
                    </a:lnTo>
                    <a:lnTo>
                      <a:pt x="734" y="784"/>
                    </a:lnTo>
                    <a:lnTo>
                      <a:pt x="730" y="791"/>
                    </a:lnTo>
                    <a:lnTo>
                      <a:pt x="732" y="794"/>
                    </a:lnTo>
                    <a:lnTo>
                      <a:pt x="735" y="792"/>
                    </a:lnTo>
                    <a:lnTo>
                      <a:pt x="737" y="792"/>
                    </a:lnTo>
                    <a:lnTo>
                      <a:pt x="739" y="796"/>
                    </a:lnTo>
                    <a:lnTo>
                      <a:pt x="742" y="799"/>
                    </a:lnTo>
                    <a:lnTo>
                      <a:pt x="742" y="802"/>
                    </a:lnTo>
                    <a:lnTo>
                      <a:pt x="739" y="807"/>
                    </a:lnTo>
                    <a:lnTo>
                      <a:pt x="740" y="810"/>
                    </a:lnTo>
                    <a:lnTo>
                      <a:pt x="745" y="810"/>
                    </a:lnTo>
                    <a:lnTo>
                      <a:pt x="749" y="810"/>
                    </a:lnTo>
                    <a:lnTo>
                      <a:pt x="752" y="812"/>
                    </a:lnTo>
                    <a:lnTo>
                      <a:pt x="757" y="815"/>
                    </a:lnTo>
                    <a:lnTo>
                      <a:pt x="760" y="814"/>
                    </a:lnTo>
                    <a:lnTo>
                      <a:pt x="765" y="815"/>
                    </a:lnTo>
                    <a:lnTo>
                      <a:pt x="770" y="814"/>
                    </a:lnTo>
                    <a:lnTo>
                      <a:pt x="775" y="814"/>
                    </a:lnTo>
                    <a:lnTo>
                      <a:pt x="779" y="819"/>
                    </a:lnTo>
                    <a:lnTo>
                      <a:pt x="784" y="822"/>
                    </a:lnTo>
                    <a:lnTo>
                      <a:pt x="784" y="829"/>
                    </a:lnTo>
                    <a:lnTo>
                      <a:pt x="789" y="829"/>
                    </a:lnTo>
                    <a:lnTo>
                      <a:pt x="794" y="834"/>
                    </a:lnTo>
                    <a:lnTo>
                      <a:pt x="794" y="840"/>
                    </a:lnTo>
                    <a:lnTo>
                      <a:pt x="797" y="847"/>
                    </a:lnTo>
                    <a:lnTo>
                      <a:pt x="797" y="854"/>
                    </a:lnTo>
                    <a:lnTo>
                      <a:pt x="797" y="864"/>
                    </a:lnTo>
                    <a:lnTo>
                      <a:pt x="797" y="869"/>
                    </a:lnTo>
                    <a:lnTo>
                      <a:pt x="795" y="870"/>
                    </a:lnTo>
                    <a:lnTo>
                      <a:pt x="790" y="872"/>
                    </a:lnTo>
                    <a:lnTo>
                      <a:pt x="790" y="877"/>
                    </a:lnTo>
                    <a:lnTo>
                      <a:pt x="787" y="877"/>
                    </a:lnTo>
                    <a:lnTo>
                      <a:pt x="787" y="880"/>
                    </a:lnTo>
                    <a:lnTo>
                      <a:pt x="789" y="885"/>
                    </a:lnTo>
                    <a:lnTo>
                      <a:pt x="787" y="887"/>
                    </a:lnTo>
                    <a:lnTo>
                      <a:pt x="784" y="887"/>
                    </a:lnTo>
                    <a:lnTo>
                      <a:pt x="780" y="889"/>
                    </a:lnTo>
                    <a:lnTo>
                      <a:pt x="779" y="894"/>
                    </a:lnTo>
                    <a:lnTo>
                      <a:pt x="780" y="895"/>
                    </a:lnTo>
                    <a:lnTo>
                      <a:pt x="779" y="898"/>
                    </a:lnTo>
                    <a:lnTo>
                      <a:pt x="779" y="903"/>
                    </a:lnTo>
                    <a:lnTo>
                      <a:pt x="782" y="905"/>
                    </a:lnTo>
                    <a:lnTo>
                      <a:pt x="784" y="907"/>
                    </a:lnTo>
                    <a:lnTo>
                      <a:pt x="787" y="910"/>
                    </a:lnTo>
                    <a:lnTo>
                      <a:pt x="787" y="915"/>
                    </a:lnTo>
                    <a:lnTo>
                      <a:pt x="789" y="920"/>
                    </a:lnTo>
                    <a:lnTo>
                      <a:pt x="795" y="917"/>
                    </a:lnTo>
                    <a:lnTo>
                      <a:pt x="805" y="915"/>
                    </a:lnTo>
                    <a:lnTo>
                      <a:pt x="807" y="918"/>
                    </a:lnTo>
                    <a:lnTo>
                      <a:pt x="805" y="920"/>
                    </a:lnTo>
                    <a:lnTo>
                      <a:pt x="809" y="923"/>
                    </a:lnTo>
                    <a:lnTo>
                      <a:pt x="815" y="922"/>
                    </a:lnTo>
                    <a:lnTo>
                      <a:pt x="815" y="925"/>
                    </a:lnTo>
                    <a:lnTo>
                      <a:pt x="814" y="928"/>
                    </a:lnTo>
                    <a:lnTo>
                      <a:pt x="817" y="932"/>
                    </a:lnTo>
                    <a:lnTo>
                      <a:pt x="824" y="933"/>
                    </a:lnTo>
                    <a:lnTo>
                      <a:pt x="822" y="935"/>
                    </a:lnTo>
                    <a:lnTo>
                      <a:pt x="824" y="938"/>
                    </a:lnTo>
                    <a:lnTo>
                      <a:pt x="825" y="937"/>
                    </a:lnTo>
                    <a:lnTo>
                      <a:pt x="832" y="937"/>
                    </a:lnTo>
                    <a:lnTo>
                      <a:pt x="837" y="938"/>
                    </a:lnTo>
                    <a:lnTo>
                      <a:pt x="837" y="942"/>
                    </a:lnTo>
                    <a:lnTo>
                      <a:pt x="835" y="947"/>
                    </a:lnTo>
                    <a:lnTo>
                      <a:pt x="835" y="948"/>
                    </a:lnTo>
                    <a:lnTo>
                      <a:pt x="828" y="957"/>
                    </a:lnTo>
                    <a:lnTo>
                      <a:pt x="825" y="960"/>
                    </a:lnTo>
                    <a:lnTo>
                      <a:pt x="825" y="963"/>
                    </a:lnTo>
                    <a:lnTo>
                      <a:pt x="828" y="962"/>
                    </a:lnTo>
                    <a:lnTo>
                      <a:pt x="837" y="963"/>
                    </a:lnTo>
                    <a:lnTo>
                      <a:pt x="838" y="963"/>
                    </a:lnTo>
                    <a:lnTo>
                      <a:pt x="842" y="962"/>
                    </a:lnTo>
                    <a:lnTo>
                      <a:pt x="845" y="965"/>
                    </a:lnTo>
                    <a:lnTo>
                      <a:pt x="843" y="970"/>
                    </a:lnTo>
                    <a:lnTo>
                      <a:pt x="845" y="975"/>
                    </a:lnTo>
                    <a:lnTo>
                      <a:pt x="850" y="977"/>
                    </a:lnTo>
                    <a:lnTo>
                      <a:pt x="853" y="975"/>
                    </a:lnTo>
                    <a:lnTo>
                      <a:pt x="860" y="975"/>
                    </a:lnTo>
                    <a:lnTo>
                      <a:pt x="870" y="970"/>
                    </a:lnTo>
                    <a:lnTo>
                      <a:pt x="875" y="972"/>
                    </a:lnTo>
                    <a:lnTo>
                      <a:pt x="875" y="975"/>
                    </a:lnTo>
                    <a:lnTo>
                      <a:pt x="868" y="982"/>
                    </a:lnTo>
                    <a:lnTo>
                      <a:pt x="872" y="977"/>
                    </a:lnTo>
                    <a:lnTo>
                      <a:pt x="875" y="980"/>
                    </a:lnTo>
                    <a:lnTo>
                      <a:pt x="878" y="983"/>
                    </a:lnTo>
                    <a:lnTo>
                      <a:pt x="883" y="982"/>
                    </a:lnTo>
                    <a:lnTo>
                      <a:pt x="888" y="982"/>
                    </a:lnTo>
                    <a:lnTo>
                      <a:pt x="887" y="977"/>
                    </a:lnTo>
                    <a:lnTo>
                      <a:pt x="887" y="972"/>
                    </a:lnTo>
                    <a:lnTo>
                      <a:pt x="885" y="967"/>
                    </a:lnTo>
                    <a:lnTo>
                      <a:pt x="885" y="960"/>
                    </a:lnTo>
                    <a:lnTo>
                      <a:pt x="888" y="957"/>
                    </a:lnTo>
                    <a:lnTo>
                      <a:pt x="888" y="955"/>
                    </a:lnTo>
                    <a:lnTo>
                      <a:pt x="897" y="953"/>
                    </a:lnTo>
                    <a:lnTo>
                      <a:pt x="898" y="957"/>
                    </a:lnTo>
                    <a:lnTo>
                      <a:pt x="897" y="955"/>
                    </a:lnTo>
                    <a:lnTo>
                      <a:pt x="898" y="953"/>
                    </a:lnTo>
                    <a:lnTo>
                      <a:pt x="900" y="953"/>
                    </a:lnTo>
                    <a:lnTo>
                      <a:pt x="902" y="950"/>
                    </a:lnTo>
                    <a:lnTo>
                      <a:pt x="905" y="948"/>
                    </a:lnTo>
                    <a:lnTo>
                      <a:pt x="910" y="947"/>
                    </a:lnTo>
                    <a:lnTo>
                      <a:pt x="913" y="947"/>
                    </a:lnTo>
                    <a:lnTo>
                      <a:pt x="912" y="950"/>
                    </a:lnTo>
                    <a:lnTo>
                      <a:pt x="915" y="952"/>
                    </a:lnTo>
                    <a:lnTo>
                      <a:pt x="918" y="952"/>
                    </a:lnTo>
                    <a:lnTo>
                      <a:pt x="918" y="948"/>
                    </a:lnTo>
                    <a:lnTo>
                      <a:pt x="922" y="945"/>
                    </a:lnTo>
                    <a:lnTo>
                      <a:pt x="926" y="950"/>
                    </a:lnTo>
                    <a:lnTo>
                      <a:pt x="930" y="947"/>
                    </a:lnTo>
                    <a:lnTo>
                      <a:pt x="933" y="947"/>
                    </a:lnTo>
                    <a:lnTo>
                      <a:pt x="933" y="950"/>
                    </a:lnTo>
                    <a:lnTo>
                      <a:pt x="940" y="947"/>
                    </a:lnTo>
                    <a:lnTo>
                      <a:pt x="940" y="943"/>
                    </a:lnTo>
                    <a:lnTo>
                      <a:pt x="946" y="942"/>
                    </a:lnTo>
                    <a:lnTo>
                      <a:pt x="951" y="945"/>
                    </a:lnTo>
                    <a:lnTo>
                      <a:pt x="958" y="943"/>
                    </a:lnTo>
                    <a:lnTo>
                      <a:pt x="958" y="935"/>
                    </a:lnTo>
                    <a:lnTo>
                      <a:pt x="963" y="933"/>
                    </a:lnTo>
                    <a:lnTo>
                      <a:pt x="970" y="933"/>
                    </a:lnTo>
                    <a:lnTo>
                      <a:pt x="973" y="930"/>
                    </a:lnTo>
                    <a:lnTo>
                      <a:pt x="978" y="933"/>
                    </a:lnTo>
                    <a:lnTo>
                      <a:pt x="978" y="937"/>
                    </a:lnTo>
                    <a:lnTo>
                      <a:pt x="983" y="938"/>
                    </a:lnTo>
                    <a:lnTo>
                      <a:pt x="986" y="940"/>
                    </a:lnTo>
                    <a:lnTo>
                      <a:pt x="996" y="940"/>
                    </a:lnTo>
                    <a:lnTo>
                      <a:pt x="998" y="943"/>
                    </a:lnTo>
                    <a:lnTo>
                      <a:pt x="1005" y="940"/>
                    </a:lnTo>
                    <a:lnTo>
                      <a:pt x="1010" y="943"/>
                    </a:lnTo>
                    <a:lnTo>
                      <a:pt x="1008" y="947"/>
                    </a:lnTo>
                    <a:lnTo>
                      <a:pt x="1005" y="948"/>
                    </a:lnTo>
                    <a:lnTo>
                      <a:pt x="1003" y="957"/>
                    </a:lnTo>
                    <a:lnTo>
                      <a:pt x="1005" y="957"/>
                    </a:lnTo>
                    <a:lnTo>
                      <a:pt x="1006" y="962"/>
                    </a:lnTo>
                    <a:lnTo>
                      <a:pt x="1016" y="965"/>
                    </a:lnTo>
                    <a:lnTo>
                      <a:pt x="1018" y="968"/>
                    </a:lnTo>
                    <a:lnTo>
                      <a:pt x="1023" y="970"/>
                    </a:lnTo>
                    <a:lnTo>
                      <a:pt x="1028" y="972"/>
                    </a:lnTo>
                    <a:lnTo>
                      <a:pt x="1033" y="970"/>
                    </a:lnTo>
                    <a:lnTo>
                      <a:pt x="1034" y="972"/>
                    </a:lnTo>
                    <a:lnTo>
                      <a:pt x="1038" y="972"/>
                    </a:lnTo>
                    <a:lnTo>
                      <a:pt x="1041" y="973"/>
                    </a:lnTo>
                    <a:lnTo>
                      <a:pt x="1043" y="973"/>
                    </a:lnTo>
                    <a:lnTo>
                      <a:pt x="1044" y="973"/>
                    </a:lnTo>
                    <a:lnTo>
                      <a:pt x="1048" y="973"/>
                    </a:lnTo>
                    <a:lnTo>
                      <a:pt x="1051" y="972"/>
                    </a:lnTo>
                    <a:lnTo>
                      <a:pt x="1051" y="970"/>
                    </a:lnTo>
                    <a:lnTo>
                      <a:pt x="1053" y="965"/>
                    </a:lnTo>
                    <a:lnTo>
                      <a:pt x="1054" y="970"/>
                    </a:lnTo>
                    <a:lnTo>
                      <a:pt x="1059" y="973"/>
                    </a:lnTo>
                    <a:lnTo>
                      <a:pt x="1061" y="973"/>
                    </a:lnTo>
                    <a:lnTo>
                      <a:pt x="1068" y="978"/>
                    </a:lnTo>
                    <a:lnTo>
                      <a:pt x="1071" y="977"/>
                    </a:lnTo>
                    <a:lnTo>
                      <a:pt x="1074" y="977"/>
                    </a:lnTo>
                    <a:lnTo>
                      <a:pt x="1076" y="973"/>
                    </a:lnTo>
                    <a:lnTo>
                      <a:pt x="1079" y="977"/>
                    </a:lnTo>
                    <a:lnTo>
                      <a:pt x="1083" y="975"/>
                    </a:lnTo>
                    <a:lnTo>
                      <a:pt x="1086" y="977"/>
                    </a:lnTo>
                    <a:lnTo>
                      <a:pt x="1086" y="978"/>
                    </a:lnTo>
                    <a:lnTo>
                      <a:pt x="1083" y="978"/>
                    </a:lnTo>
                    <a:lnTo>
                      <a:pt x="1081" y="982"/>
                    </a:lnTo>
                    <a:lnTo>
                      <a:pt x="1078" y="985"/>
                    </a:lnTo>
                    <a:lnTo>
                      <a:pt x="1078" y="988"/>
                    </a:lnTo>
                    <a:lnTo>
                      <a:pt x="1084" y="995"/>
                    </a:lnTo>
                    <a:lnTo>
                      <a:pt x="1088" y="998"/>
                    </a:lnTo>
                    <a:lnTo>
                      <a:pt x="1088" y="1000"/>
                    </a:lnTo>
                    <a:lnTo>
                      <a:pt x="1088" y="1005"/>
                    </a:lnTo>
                    <a:lnTo>
                      <a:pt x="1089" y="1003"/>
                    </a:lnTo>
                    <a:lnTo>
                      <a:pt x="1091" y="1000"/>
                    </a:lnTo>
                    <a:lnTo>
                      <a:pt x="1096" y="1001"/>
                    </a:lnTo>
                    <a:lnTo>
                      <a:pt x="1096" y="1003"/>
                    </a:lnTo>
                    <a:lnTo>
                      <a:pt x="1099" y="1003"/>
                    </a:lnTo>
                    <a:lnTo>
                      <a:pt x="1103" y="998"/>
                    </a:lnTo>
                    <a:lnTo>
                      <a:pt x="1103" y="995"/>
                    </a:lnTo>
                    <a:lnTo>
                      <a:pt x="1099" y="995"/>
                    </a:lnTo>
                    <a:lnTo>
                      <a:pt x="1099" y="995"/>
                    </a:lnTo>
                    <a:lnTo>
                      <a:pt x="1098" y="990"/>
                    </a:lnTo>
                    <a:lnTo>
                      <a:pt x="1094" y="990"/>
                    </a:lnTo>
                    <a:lnTo>
                      <a:pt x="1093" y="985"/>
                    </a:lnTo>
                    <a:lnTo>
                      <a:pt x="1094" y="983"/>
                    </a:lnTo>
                    <a:lnTo>
                      <a:pt x="1098" y="982"/>
                    </a:lnTo>
                    <a:lnTo>
                      <a:pt x="1098" y="978"/>
                    </a:lnTo>
                    <a:lnTo>
                      <a:pt x="1098" y="977"/>
                    </a:lnTo>
                    <a:lnTo>
                      <a:pt x="1099" y="977"/>
                    </a:lnTo>
                    <a:lnTo>
                      <a:pt x="1101" y="975"/>
                    </a:lnTo>
                    <a:lnTo>
                      <a:pt x="1101" y="975"/>
                    </a:lnTo>
                    <a:lnTo>
                      <a:pt x="1101" y="977"/>
                    </a:lnTo>
                    <a:lnTo>
                      <a:pt x="1103" y="977"/>
                    </a:lnTo>
                    <a:lnTo>
                      <a:pt x="1103" y="978"/>
                    </a:lnTo>
                    <a:lnTo>
                      <a:pt x="1103" y="978"/>
                    </a:lnTo>
                    <a:lnTo>
                      <a:pt x="1104" y="980"/>
                    </a:lnTo>
                    <a:lnTo>
                      <a:pt x="1104" y="980"/>
                    </a:lnTo>
                    <a:lnTo>
                      <a:pt x="1104" y="980"/>
                    </a:lnTo>
                    <a:lnTo>
                      <a:pt x="1108" y="978"/>
                    </a:lnTo>
                    <a:lnTo>
                      <a:pt x="1113" y="978"/>
                    </a:lnTo>
                    <a:lnTo>
                      <a:pt x="1114" y="975"/>
                    </a:lnTo>
                    <a:lnTo>
                      <a:pt x="1118" y="975"/>
                    </a:lnTo>
                    <a:lnTo>
                      <a:pt x="1122" y="975"/>
                    </a:lnTo>
                    <a:lnTo>
                      <a:pt x="1127" y="972"/>
                    </a:lnTo>
                    <a:lnTo>
                      <a:pt x="1126" y="968"/>
                    </a:lnTo>
                    <a:lnTo>
                      <a:pt x="1129" y="968"/>
                    </a:lnTo>
                    <a:lnTo>
                      <a:pt x="1134" y="968"/>
                    </a:lnTo>
                    <a:lnTo>
                      <a:pt x="1139" y="970"/>
                    </a:lnTo>
                    <a:lnTo>
                      <a:pt x="1142" y="968"/>
                    </a:lnTo>
                    <a:lnTo>
                      <a:pt x="1147" y="967"/>
                    </a:lnTo>
                    <a:lnTo>
                      <a:pt x="1152" y="962"/>
                    </a:lnTo>
                    <a:lnTo>
                      <a:pt x="1156" y="958"/>
                    </a:lnTo>
                    <a:lnTo>
                      <a:pt x="1156" y="957"/>
                    </a:lnTo>
                    <a:lnTo>
                      <a:pt x="1157" y="957"/>
                    </a:lnTo>
                    <a:lnTo>
                      <a:pt x="1159" y="958"/>
                    </a:lnTo>
                    <a:lnTo>
                      <a:pt x="1161" y="957"/>
                    </a:lnTo>
                    <a:lnTo>
                      <a:pt x="1164" y="953"/>
                    </a:lnTo>
                    <a:lnTo>
                      <a:pt x="1167" y="952"/>
                    </a:lnTo>
                    <a:lnTo>
                      <a:pt x="1166" y="947"/>
                    </a:lnTo>
                    <a:lnTo>
                      <a:pt x="1166" y="943"/>
                    </a:lnTo>
                    <a:lnTo>
                      <a:pt x="1166" y="940"/>
                    </a:lnTo>
                    <a:lnTo>
                      <a:pt x="1164" y="937"/>
                    </a:lnTo>
                    <a:lnTo>
                      <a:pt x="1167" y="940"/>
                    </a:lnTo>
                    <a:lnTo>
                      <a:pt x="1172" y="942"/>
                    </a:lnTo>
                    <a:lnTo>
                      <a:pt x="1174" y="945"/>
                    </a:lnTo>
                    <a:lnTo>
                      <a:pt x="1179" y="950"/>
                    </a:lnTo>
                    <a:lnTo>
                      <a:pt x="1182" y="948"/>
                    </a:lnTo>
                    <a:lnTo>
                      <a:pt x="1179" y="952"/>
                    </a:lnTo>
                    <a:lnTo>
                      <a:pt x="1176" y="953"/>
                    </a:lnTo>
                    <a:lnTo>
                      <a:pt x="1177" y="955"/>
                    </a:lnTo>
                    <a:lnTo>
                      <a:pt x="1186" y="952"/>
                    </a:lnTo>
                    <a:lnTo>
                      <a:pt x="1186" y="947"/>
                    </a:lnTo>
                    <a:lnTo>
                      <a:pt x="1191" y="945"/>
                    </a:lnTo>
                    <a:lnTo>
                      <a:pt x="1192" y="943"/>
                    </a:lnTo>
                    <a:lnTo>
                      <a:pt x="1196" y="945"/>
                    </a:lnTo>
                    <a:lnTo>
                      <a:pt x="1201" y="945"/>
                    </a:lnTo>
                    <a:lnTo>
                      <a:pt x="1201" y="942"/>
                    </a:lnTo>
                    <a:lnTo>
                      <a:pt x="1204" y="942"/>
                    </a:lnTo>
                    <a:lnTo>
                      <a:pt x="1206" y="938"/>
                    </a:lnTo>
                    <a:lnTo>
                      <a:pt x="1207" y="942"/>
                    </a:lnTo>
                    <a:lnTo>
                      <a:pt x="1211" y="945"/>
                    </a:lnTo>
                    <a:lnTo>
                      <a:pt x="1214" y="943"/>
                    </a:lnTo>
                    <a:lnTo>
                      <a:pt x="1214" y="940"/>
                    </a:lnTo>
                    <a:lnTo>
                      <a:pt x="1217" y="940"/>
                    </a:lnTo>
                    <a:lnTo>
                      <a:pt x="1217" y="940"/>
                    </a:lnTo>
                    <a:lnTo>
                      <a:pt x="1221" y="940"/>
                    </a:lnTo>
                    <a:lnTo>
                      <a:pt x="1222" y="938"/>
                    </a:lnTo>
                    <a:lnTo>
                      <a:pt x="1227" y="938"/>
                    </a:lnTo>
                    <a:lnTo>
                      <a:pt x="1230" y="935"/>
                    </a:lnTo>
                    <a:lnTo>
                      <a:pt x="1232" y="933"/>
                    </a:lnTo>
                    <a:lnTo>
                      <a:pt x="1232" y="937"/>
                    </a:lnTo>
                    <a:lnTo>
                      <a:pt x="1234" y="933"/>
                    </a:lnTo>
                    <a:lnTo>
                      <a:pt x="1237" y="935"/>
                    </a:lnTo>
                    <a:lnTo>
                      <a:pt x="1240" y="933"/>
                    </a:lnTo>
                    <a:lnTo>
                      <a:pt x="1239" y="930"/>
                    </a:lnTo>
                    <a:lnTo>
                      <a:pt x="1240" y="927"/>
                    </a:lnTo>
                    <a:lnTo>
                      <a:pt x="1242" y="923"/>
                    </a:lnTo>
                    <a:lnTo>
                      <a:pt x="1240" y="918"/>
                    </a:lnTo>
                    <a:lnTo>
                      <a:pt x="1244" y="918"/>
                    </a:lnTo>
                    <a:lnTo>
                      <a:pt x="1245" y="917"/>
                    </a:lnTo>
                    <a:lnTo>
                      <a:pt x="1250" y="917"/>
                    </a:lnTo>
                    <a:lnTo>
                      <a:pt x="1252" y="918"/>
                    </a:lnTo>
                    <a:lnTo>
                      <a:pt x="1255" y="918"/>
                    </a:lnTo>
                    <a:lnTo>
                      <a:pt x="1257" y="913"/>
                    </a:lnTo>
                    <a:lnTo>
                      <a:pt x="1259" y="913"/>
                    </a:lnTo>
                    <a:lnTo>
                      <a:pt x="1260" y="910"/>
                    </a:lnTo>
                    <a:lnTo>
                      <a:pt x="1262" y="908"/>
                    </a:lnTo>
                    <a:lnTo>
                      <a:pt x="1262" y="912"/>
                    </a:lnTo>
                    <a:lnTo>
                      <a:pt x="1264" y="910"/>
                    </a:lnTo>
                    <a:lnTo>
                      <a:pt x="1267" y="907"/>
                    </a:lnTo>
                    <a:lnTo>
                      <a:pt x="1270" y="908"/>
                    </a:lnTo>
                    <a:lnTo>
                      <a:pt x="1270" y="905"/>
                    </a:lnTo>
                    <a:lnTo>
                      <a:pt x="1274" y="905"/>
                    </a:lnTo>
                    <a:lnTo>
                      <a:pt x="1275" y="900"/>
                    </a:lnTo>
                    <a:lnTo>
                      <a:pt x="1270" y="900"/>
                    </a:lnTo>
                    <a:lnTo>
                      <a:pt x="1267" y="902"/>
                    </a:lnTo>
                    <a:lnTo>
                      <a:pt x="1262" y="897"/>
                    </a:lnTo>
                    <a:lnTo>
                      <a:pt x="1269" y="897"/>
                    </a:lnTo>
                    <a:lnTo>
                      <a:pt x="1274" y="892"/>
                    </a:lnTo>
                    <a:lnTo>
                      <a:pt x="1275" y="894"/>
                    </a:lnTo>
                    <a:lnTo>
                      <a:pt x="1277" y="892"/>
                    </a:lnTo>
                    <a:lnTo>
                      <a:pt x="1284" y="895"/>
                    </a:lnTo>
                    <a:lnTo>
                      <a:pt x="1285" y="890"/>
                    </a:lnTo>
                    <a:lnTo>
                      <a:pt x="1282" y="890"/>
                    </a:lnTo>
                    <a:lnTo>
                      <a:pt x="1280" y="887"/>
                    </a:lnTo>
                    <a:lnTo>
                      <a:pt x="1280" y="885"/>
                    </a:lnTo>
                    <a:lnTo>
                      <a:pt x="1285" y="887"/>
                    </a:lnTo>
                    <a:lnTo>
                      <a:pt x="1289" y="885"/>
                    </a:lnTo>
                    <a:lnTo>
                      <a:pt x="1289" y="884"/>
                    </a:lnTo>
                    <a:lnTo>
                      <a:pt x="1285" y="884"/>
                    </a:lnTo>
                    <a:lnTo>
                      <a:pt x="1284" y="880"/>
                    </a:lnTo>
                    <a:lnTo>
                      <a:pt x="1282" y="877"/>
                    </a:lnTo>
                    <a:lnTo>
                      <a:pt x="1285" y="877"/>
                    </a:lnTo>
                    <a:lnTo>
                      <a:pt x="1287" y="879"/>
                    </a:lnTo>
                    <a:lnTo>
                      <a:pt x="1289" y="879"/>
                    </a:lnTo>
                    <a:lnTo>
                      <a:pt x="1290" y="882"/>
                    </a:lnTo>
                    <a:lnTo>
                      <a:pt x="1290" y="877"/>
                    </a:lnTo>
                    <a:lnTo>
                      <a:pt x="1287" y="875"/>
                    </a:lnTo>
                    <a:lnTo>
                      <a:pt x="1287" y="872"/>
                    </a:lnTo>
                    <a:lnTo>
                      <a:pt x="1290" y="872"/>
                    </a:lnTo>
                    <a:lnTo>
                      <a:pt x="1292" y="869"/>
                    </a:lnTo>
                    <a:lnTo>
                      <a:pt x="1295" y="872"/>
                    </a:lnTo>
                    <a:lnTo>
                      <a:pt x="1295" y="875"/>
                    </a:lnTo>
                    <a:lnTo>
                      <a:pt x="1297" y="875"/>
                    </a:lnTo>
                    <a:lnTo>
                      <a:pt x="1300" y="879"/>
                    </a:lnTo>
                    <a:lnTo>
                      <a:pt x="1300" y="874"/>
                    </a:lnTo>
                    <a:lnTo>
                      <a:pt x="1299" y="870"/>
                    </a:lnTo>
                    <a:lnTo>
                      <a:pt x="1297" y="870"/>
                    </a:lnTo>
                    <a:lnTo>
                      <a:pt x="1295" y="867"/>
                    </a:lnTo>
                    <a:lnTo>
                      <a:pt x="1299" y="867"/>
                    </a:lnTo>
                    <a:lnTo>
                      <a:pt x="1299" y="864"/>
                    </a:lnTo>
                    <a:lnTo>
                      <a:pt x="1295" y="862"/>
                    </a:lnTo>
                    <a:lnTo>
                      <a:pt x="1300" y="859"/>
                    </a:lnTo>
                    <a:lnTo>
                      <a:pt x="1299" y="855"/>
                    </a:lnTo>
                    <a:lnTo>
                      <a:pt x="1294" y="855"/>
                    </a:lnTo>
                    <a:lnTo>
                      <a:pt x="1292" y="857"/>
                    </a:lnTo>
                    <a:lnTo>
                      <a:pt x="1294" y="854"/>
                    </a:lnTo>
                    <a:lnTo>
                      <a:pt x="1299" y="850"/>
                    </a:lnTo>
                    <a:lnTo>
                      <a:pt x="1307" y="849"/>
                    </a:lnTo>
                    <a:lnTo>
                      <a:pt x="1304" y="845"/>
                    </a:lnTo>
                    <a:lnTo>
                      <a:pt x="1300" y="849"/>
                    </a:lnTo>
                    <a:lnTo>
                      <a:pt x="1295" y="844"/>
                    </a:lnTo>
                    <a:lnTo>
                      <a:pt x="1300" y="844"/>
                    </a:lnTo>
                    <a:lnTo>
                      <a:pt x="1297" y="839"/>
                    </a:lnTo>
                    <a:lnTo>
                      <a:pt x="1294" y="839"/>
                    </a:lnTo>
                    <a:lnTo>
                      <a:pt x="1295" y="837"/>
                    </a:lnTo>
                    <a:lnTo>
                      <a:pt x="1294" y="835"/>
                    </a:lnTo>
                    <a:lnTo>
                      <a:pt x="1297" y="835"/>
                    </a:lnTo>
                    <a:lnTo>
                      <a:pt x="1297" y="832"/>
                    </a:lnTo>
                    <a:lnTo>
                      <a:pt x="1299" y="832"/>
                    </a:lnTo>
                    <a:lnTo>
                      <a:pt x="1302" y="832"/>
                    </a:lnTo>
                    <a:lnTo>
                      <a:pt x="1302" y="835"/>
                    </a:lnTo>
                    <a:lnTo>
                      <a:pt x="1305" y="835"/>
                    </a:lnTo>
                    <a:lnTo>
                      <a:pt x="1310" y="830"/>
                    </a:lnTo>
                    <a:lnTo>
                      <a:pt x="1310" y="827"/>
                    </a:lnTo>
                    <a:lnTo>
                      <a:pt x="1317" y="827"/>
                    </a:lnTo>
                    <a:lnTo>
                      <a:pt x="1314" y="824"/>
                    </a:lnTo>
                    <a:lnTo>
                      <a:pt x="1309" y="824"/>
                    </a:lnTo>
                    <a:lnTo>
                      <a:pt x="1310" y="820"/>
                    </a:lnTo>
                    <a:lnTo>
                      <a:pt x="1314" y="824"/>
                    </a:lnTo>
                    <a:lnTo>
                      <a:pt x="1319" y="822"/>
                    </a:lnTo>
                    <a:lnTo>
                      <a:pt x="1317" y="817"/>
                    </a:lnTo>
                    <a:lnTo>
                      <a:pt x="1319" y="815"/>
                    </a:lnTo>
                    <a:lnTo>
                      <a:pt x="1317" y="814"/>
                    </a:lnTo>
                    <a:lnTo>
                      <a:pt x="1317" y="810"/>
                    </a:lnTo>
                    <a:lnTo>
                      <a:pt x="1320" y="809"/>
                    </a:lnTo>
                    <a:lnTo>
                      <a:pt x="1319" y="805"/>
                    </a:lnTo>
                    <a:lnTo>
                      <a:pt x="1319" y="804"/>
                    </a:lnTo>
                    <a:lnTo>
                      <a:pt x="1314" y="802"/>
                    </a:lnTo>
                    <a:lnTo>
                      <a:pt x="1320" y="804"/>
                    </a:lnTo>
                    <a:lnTo>
                      <a:pt x="1323" y="802"/>
                    </a:lnTo>
                    <a:lnTo>
                      <a:pt x="1327" y="794"/>
                    </a:lnTo>
                    <a:lnTo>
                      <a:pt x="1330" y="794"/>
                    </a:lnTo>
                    <a:lnTo>
                      <a:pt x="1332" y="797"/>
                    </a:lnTo>
                    <a:lnTo>
                      <a:pt x="1333" y="799"/>
                    </a:lnTo>
                    <a:lnTo>
                      <a:pt x="1333" y="794"/>
                    </a:lnTo>
                    <a:lnTo>
                      <a:pt x="1337" y="792"/>
                    </a:lnTo>
                    <a:lnTo>
                      <a:pt x="1335" y="787"/>
                    </a:lnTo>
                    <a:lnTo>
                      <a:pt x="1330" y="787"/>
                    </a:lnTo>
                    <a:lnTo>
                      <a:pt x="1328" y="786"/>
                    </a:lnTo>
                    <a:lnTo>
                      <a:pt x="1330" y="784"/>
                    </a:lnTo>
                    <a:lnTo>
                      <a:pt x="1333" y="786"/>
                    </a:lnTo>
                    <a:lnTo>
                      <a:pt x="1335" y="782"/>
                    </a:lnTo>
                    <a:lnTo>
                      <a:pt x="1333" y="781"/>
                    </a:lnTo>
                    <a:lnTo>
                      <a:pt x="1330" y="779"/>
                    </a:lnTo>
                    <a:lnTo>
                      <a:pt x="1333" y="776"/>
                    </a:lnTo>
                    <a:lnTo>
                      <a:pt x="1335" y="777"/>
                    </a:lnTo>
                    <a:lnTo>
                      <a:pt x="1337" y="774"/>
                    </a:lnTo>
                    <a:lnTo>
                      <a:pt x="1333" y="772"/>
                    </a:lnTo>
                    <a:lnTo>
                      <a:pt x="1325" y="772"/>
                    </a:lnTo>
                    <a:lnTo>
                      <a:pt x="1327" y="771"/>
                    </a:lnTo>
                    <a:lnTo>
                      <a:pt x="1332" y="767"/>
                    </a:lnTo>
                    <a:lnTo>
                      <a:pt x="1335" y="767"/>
                    </a:lnTo>
                    <a:lnTo>
                      <a:pt x="1337" y="767"/>
                    </a:lnTo>
                    <a:lnTo>
                      <a:pt x="1338" y="764"/>
                    </a:lnTo>
                    <a:lnTo>
                      <a:pt x="1342" y="766"/>
                    </a:lnTo>
                    <a:lnTo>
                      <a:pt x="1342" y="767"/>
                    </a:lnTo>
                    <a:lnTo>
                      <a:pt x="1345" y="766"/>
                    </a:lnTo>
                    <a:lnTo>
                      <a:pt x="1343" y="762"/>
                    </a:lnTo>
                    <a:lnTo>
                      <a:pt x="1342" y="756"/>
                    </a:lnTo>
                    <a:lnTo>
                      <a:pt x="1340" y="756"/>
                    </a:lnTo>
                    <a:lnTo>
                      <a:pt x="1337" y="757"/>
                    </a:lnTo>
                    <a:lnTo>
                      <a:pt x="1337" y="759"/>
                    </a:lnTo>
                    <a:lnTo>
                      <a:pt x="1337" y="761"/>
                    </a:lnTo>
                    <a:lnTo>
                      <a:pt x="1332" y="759"/>
                    </a:lnTo>
                    <a:lnTo>
                      <a:pt x="1327" y="764"/>
                    </a:lnTo>
                    <a:lnTo>
                      <a:pt x="1323" y="764"/>
                    </a:lnTo>
                    <a:lnTo>
                      <a:pt x="1323" y="761"/>
                    </a:lnTo>
                    <a:lnTo>
                      <a:pt x="1330" y="759"/>
                    </a:lnTo>
                    <a:lnTo>
                      <a:pt x="1340" y="749"/>
                    </a:lnTo>
                    <a:lnTo>
                      <a:pt x="1340" y="749"/>
                    </a:lnTo>
                    <a:lnTo>
                      <a:pt x="1335" y="749"/>
                    </a:lnTo>
                    <a:lnTo>
                      <a:pt x="1333" y="746"/>
                    </a:lnTo>
                    <a:lnTo>
                      <a:pt x="1332" y="747"/>
                    </a:lnTo>
                    <a:lnTo>
                      <a:pt x="1323" y="739"/>
                    </a:lnTo>
                    <a:lnTo>
                      <a:pt x="1319" y="737"/>
                    </a:lnTo>
                    <a:lnTo>
                      <a:pt x="1310" y="744"/>
                    </a:lnTo>
                    <a:lnTo>
                      <a:pt x="1307" y="742"/>
                    </a:lnTo>
                    <a:lnTo>
                      <a:pt x="1302" y="736"/>
                    </a:lnTo>
                    <a:lnTo>
                      <a:pt x="1297" y="737"/>
                    </a:lnTo>
                    <a:lnTo>
                      <a:pt x="1292" y="741"/>
                    </a:lnTo>
                    <a:lnTo>
                      <a:pt x="1290" y="744"/>
                    </a:lnTo>
                    <a:lnTo>
                      <a:pt x="1290" y="739"/>
                    </a:lnTo>
                    <a:lnTo>
                      <a:pt x="1297" y="736"/>
                    </a:lnTo>
                    <a:lnTo>
                      <a:pt x="1300" y="736"/>
                    </a:lnTo>
                    <a:lnTo>
                      <a:pt x="1302" y="734"/>
                    </a:lnTo>
                    <a:lnTo>
                      <a:pt x="1309" y="736"/>
                    </a:lnTo>
                    <a:lnTo>
                      <a:pt x="1314" y="734"/>
                    </a:lnTo>
                    <a:lnTo>
                      <a:pt x="1314" y="731"/>
                    </a:lnTo>
                    <a:lnTo>
                      <a:pt x="1315" y="729"/>
                    </a:lnTo>
                    <a:lnTo>
                      <a:pt x="1319" y="729"/>
                    </a:lnTo>
                    <a:lnTo>
                      <a:pt x="1323" y="722"/>
                    </a:lnTo>
                    <a:lnTo>
                      <a:pt x="1330" y="722"/>
                    </a:lnTo>
                    <a:lnTo>
                      <a:pt x="1330" y="719"/>
                    </a:lnTo>
                    <a:lnTo>
                      <a:pt x="1325" y="711"/>
                    </a:lnTo>
                    <a:lnTo>
                      <a:pt x="1312" y="704"/>
                    </a:lnTo>
                    <a:lnTo>
                      <a:pt x="1305" y="699"/>
                    </a:lnTo>
                    <a:lnTo>
                      <a:pt x="1295" y="691"/>
                    </a:lnTo>
                    <a:lnTo>
                      <a:pt x="1290" y="691"/>
                    </a:lnTo>
                    <a:lnTo>
                      <a:pt x="1282" y="696"/>
                    </a:lnTo>
                    <a:lnTo>
                      <a:pt x="1279" y="694"/>
                    </a:lnTo>
                    <a:lnTo>
                      <a:pt x="1272" y="689"/>
                    </a:lnTo>
                    <a:lnTo>
                      <a:pt x="1272" y="688"/>
                    </a:lnTo>
                    <a:lnTo>
                      <a:pt x="1269" y="686"/>
                    </a:lnTo>
                    <a:lnTo>
                      <a:pt x="1264" y="688"/>
                    </a:lnTo>
                    <a:lnTo>
                      <a:pt x="1257" y="688"/>
                    </a:lnTo>
                    <a:lnTo>
                      <a:pt x="1252" y="689"/>
                    </a:lnTo>
                    <a:lnTo>
                      <a:pt x="1245" y="698"/>
                    </a:lnTo>
                    <a:lnTo>
                      <a:pt x="1252" y="688"/>
                    </a:lnTo>
                    <a:lnTo>
                      <a:pt x="1255" y="684"/>
                    </a:lnTo>
                    <a:lnTo>
                      <a:pt x="1259" y="686"/>
                    </a:lnTo>
                    <a:lnTo>
                      <a:pt x="1262" y="686"/>
                    </a:lnTo>
                    <a:lnTo>
                      <a:pt x="1264" y="684"/>
                    </a:lnTo>
                    <a:lnTo>
                      <a:pt x="1267" y="686"/>
                    </a:lnTo>
                    <a:lnTo>
                      <a:pt x="1274" y="683"/>
                    </a:lnTo>
                    <a:lnTo>
                      <a:pt x="1275" y="689"/>
                    </a:lnTo>
                    <a:lnTo>
                      <a:pt x="1279" y="693"/>
                    </a:lnTo>
                    <a:lnTo>
                      <a:pt x="1284" y="693"/>
                    </a:lnTo>
                    <a:lnTo>
                      <a:pt x="1287" y="689"/>
                    </a:lnTo>
                    <a:lnTo>
                      <a:pt x="1295" y="689"/>
                    </a:lnTo>
                    <a:lnTo>
                      <a:pt x="1300" y="693"/>
                    </a:lnTo>
                    <a:lnTo>
                      <a:pt x="1304" y="693"/>
                    </a:lnTo>
                    <a:lnTo>
                      <a:pt x="1309" y="698"/>
                    </a:lnTo>
                    <a:lnTo>
                      <a:pt x="1315" y="694"/>
                    </a:lnTo>
                    <a:lnTo>
                      <a:pt x="1325" y="698"/>
                    </a:lnTo>
                    <a:lnTo>
                      <a:pt x="1328" y="696"/>
                    </a:lnTo>
                    <a:lnTo>
                      <a:pt x="1325" y="689"/>
                    </a:lnTo>
                    <a:lnTo>
                      <a:pt x="1322" y="688"/>
                    </a:lnTo>
                    <a:lnTo>
                      <a:pt x="1315" y="683"/>
                    </a:lnTo>
                    <a:lnTo>
                      <a:pt x="1315" y="681"/>
                    </a:lnTo>
                    <a:lnTo>
                      <a:pt x="1314" y="678"/>
                    </a:lnTo>
                    <a:lnTo>
                      <a:pt x="1309" y="679"/>
                    </a:lnTo>
                    <a:lnTo>
                      <a:pt x="1304" y="678"/>
                    </a:lnTo>
                    <a:lnTo>
                      <a:pt x="1297" y="669"/>
                    </a:lnTo>
                    <a:lnTo>
                      <a:pt x="1297" y="663"/>
                    </a:lnTo>
                    <a:lnTo>
                      <a:pt x="1289" y="656"/>
                    </a:lnTo>
                    <a:lnTo>
                      <a:pt x="1287" y="649"/>
                    </a:lnTo>
                    <a:lnTo>
                      <a:pt x="1282" y="648"/>
                    </a:lnTo>
                    <a:lnTo>
                      <a:pt x="1285" y="643"/>
                    </a:lnTo>
                    <a:lnTo>
                      <a:pt x="1284" y="643"/>
                    </a:lnTo>
                    <a:lnTo>
                      <a:pt x="1275" y="629"/>
                    </a:lnTo>
                    <a:lnTo>
                      <a:pt x="1262" y="623"/>
                    </a:lnTo>
                    <a:lnTo>
                      <a:pt x="1259" y="624"/>
                    </a:lnTo>
                    <a:lnTo>
                      <a:pt x="1259" y="621"/>
                    </a:lnTo>
                    <a:lnTo>
                      <a:pt x="1247" y="616"/>
                    </a:lnTo>
                    <a:lnTo>
                      <a:pt x="1245" y="616"/>
                    </a:lnTo>
                    <a:lnTo>
                      <a:pt x="1245" y="606"/>
                    </a:lnTo>
                    <a:lnTo>
                      <a:pt x="1247" y="598"/>
                    </a:lnTo>
                    <a:lnTo>
                      <a:pt x="1245" y="593"/>
                    </a:lnTo>
                    <a:lnTo>
                      <a:pt x="1245" y="586"/>
                    </a:lnTo>
                    <a:lnTo>
                      <a:pt x="1247" y="588"/>
                    </a:lnTo>
                    <a:lnTo>
                      <a:pt x="1250" y="586"/>
                    </a:lnTo>
                    <a:lnTo>
                      <a:pt x="1255" y="580"/>
                    </a:lnTo>
                    <a:lnTo>
                      <a:pt x="1259" y="581"/>
                    </a:lnTo>
                    <a:lnTo>
                      <a:pt x="1262" y="576"/>
                    </a:lnTo>
                    <a:lnTo>
                      <a:pt x="1257" y="575"/>
                    </a:lnTo>
                    <a:lnTo>
                      <a:pt x="1255" y="571"/>
                    </a:lnTo>
                    <a:lnTo>
                      <a:pt x="1259" y="568"/>
                    </a:lnTo>
                    <a:lnTo>
                      <a:pt x="1267" y="568"/>
                    </a:lnTo>
                    <a:lnTo>
                      <a:pt x="1267" y="563"/>
                    </a:lnTo>
                    <a:lnTo>
                      <a:pt x="1274" y="563"/>
                    </a:lnTo>
                    <a:lnTo>
                      <a:pt x="1272" y="560"/>
                    </a:lnTo>
                    <a:lnTo>
                      <a:pt x="1267" y="556"/>
                    </a:lnTo>
                    <a:lnTo>
                      <a:pt x="1272" y="555"/>
                    </a:lnTo>
                    <a:lnTo>
                      <a:pt x="1277" y="558"/>
                    </a:lnTo>
                    <a:lnTo>
                      <a:pt x="1277" y="556"/>
                    </a:lnTo>
                    <a:lnTo>
                      <a:pt x="1282" y="556"/>
                    </a:lnTo>
                    <a:lnTo>
                      <a:pt x="1287" y="553"/>
                    </a:lnTo>
                    <a:lnTo>
                      <a:pt x="1289" y="553"/>
                    </a:lnTo>
                    <a:lnTo>
                      <a:pt x="1295" y="546"/>
                    </a:lnTo>
                    <a:lnTo>
                      <a:pt x="1297" y="550"/>
                    </a:lnTo>
                    <a:lnTo>
                      <a:pt x="1299" y="546"/>
                    </a:lnTo>
                    <a:lnTo>
                      <a:pt x="1299" y="548"/>
                    </a:lnTo>
                    <a:lnTo>
                      <a:pt x="1305" y="553"/>
                    </a:lnTo>
                    <a:lnTo>
                      <a:pt x="1310" y="548"/>
                    </a:lnTo>
                    <a:lnTo>
                      <a:pt x="1310" y="546"/>
                    </a:lnTo>
                    <a:lnTo>
                      <a:pt x="1307" y="545"/>
                    </a:lnTo>
                    <a:lnTo>
                      <a:pt x="1307" y="540"/>
                    </a:lnTo>
                    <a:lnTo>
                      <a:pt x="1310" y="540"/>
                    </a:lnTo>
                    <a:lnTo>
                      <a:pt x="1312" y="540"/>
                    </a:lnTo>
                    <a:lnTo>
                      <a:pt x="1309" y="535"/>
                    </a:lnTo>
                    <a:lnTo>
                      <a:pt x="1309" y="531"/>
                    </a:lnTo>
                    <a:lnTo>
                      <a:pt x="1314" y="530"/>
                    </a:lnTo>
                    <a:lnTo>
                      <a:pt x="1310" y="528"/>
                    </a:lnTo>
                    <a:lnTo>
                      <a:pt x="1305" y="530"/>
                    </a:lnTo>
                    <a:lnTo>
                      <a:pt x="1299" y="530"/>
                    </a:lnTo>
                    <a:lnTo>
                      <a:pt x="1299" y="528"/>
                    </a:lnTo>
                    <a:lnTo>
                      <a:pt x="1294" y="528"/>
                    </a:lnTo>
                    <a:lnTo>
                      <a:pt x="1292" y="530"/>
                    </a:lnTo>
                    <a:lnTo>
                      <a:pt x="1275" y="530"/>
                    </a:lnTo>
                    <a:lnTo>
                      <a:pt x="1274" y="528"/>
                    </a:lnTo>
                    <a:lnTo>
                      <a:pt x="1270" y="526"/>
                    </a:lnTo>
                    <a:lnTo>
                      <a:pt x="1267" y="523"/>
                    </a:lnTo>
                    <a:lnTo>
                      <a:pt x="1264" y="521"/>
                    </a:lnTo>
                    <a:lnTo>
                      <a:pt x="1264" y="520"/>
                    </a:lnTo>
                    <a:lnTo>
                      <a:pt x="1252" y="525"/>
                    </a:lnTo>
                    <a:lnTo>
                      <a:pt x="1245" y="525"/>
                    </a:lnTo>
                    <a:lnTo>
                      <a:pt x="1249" y="526"/>
                    </a:lnTo>
                    <a:lnTo>
                      <a:pt x="1249" y="530"/>
                    </a:lnTo>
                    <a:lnTo>
                      <a:pt x="1245" y="533"/>
                    </a:lnTo>
                    <a:lnTo>
                      <a:pt x="1239" y="535"/>
                    </a:lnTo>
                    <a:lnTo>
                      <a:pt x="1239" y="536"/>
                    </a:lnTo>
                    <a:lnTo>
                      <a:pt x="1242" y="538"/>
                    </a:lnTo>
                    <a:lnTo>
                      <a:pt x="1239" y="543"/>
                    </a:lnTo>
                    <a:lnTo>
                      <a:pt x="1237" y="545"/>
                    </a:lnTo>
                    <a:lnTo>
                      <a:pt x="1232" y="543"/>
                    </a:lnTo>
                    <a:lnTo>
                      <a:pt x="1227" y="545"/>
                    </a:lnTo>
                    <a:lnTo>
                      <a:pt x="1221" y="545"/>
                    </a:lnTo>
                    <a:lnTo>
                      <a:pt x="1214" y="533"/>
                    </a:lnTo>
                    <a:lnTo>
                      <a:pt x="1214" y="528"/>
                    </a:lnTo>
                    <a:lnTo>
                      <a:pt x="1214" y="523"/>
                    </a:lnTo>
                    <a:lnTo>
                      <a:pt x="1207" y="523"/>
                    </a:lnTo>
                    <a:lnTo>
                      <a:pt x="1204" y="525"/>
                    </a:lnTo>
                    <a:lnTo>
                      <a:pt x="1204" y="523"/>
                    </a:lnTo>
                    <a:lnTo>
                      <a:pt x="1201" y="523"/>
                    </a:lnTo>
                    <a:lnTo>
                      <a:pt x="1199" y="525"/>
                    </a:lnTo>
                    <a:lnTo>
                      <a:pt x="1197" y="523"/>
                    </a:lnTo>
                    <a:lnTo>
                      <a:pt x="1197" y="525"/>
                    </a:lnTo>
                    <a:lnTo>
                      <a:pt x="1194" y="520"/>
                    </a:lnTo>
                    <a:lnTo>
                      <a:pt x="1192" y="516"/>
                    </a:lnTo>
                    <a:lnTo>
                      <a:pt x="1184" y="511"/>
                    </a:lnTo>
                    <a:lnTo>
                      <a:pt x="1179" y="510"/>
                    </a:lnTo>
                    <a:lnTo>
                      <a:pt x="1179" y="505"/>
                    </a:lnTo>
                    <a:lnTo>
                      <a:pt x="1177" y="500"/>
                    </a:lnTo>
                    <a:lnTo>
                      <a:pt x="1179" y="498"/>
                    </a:lnTo>
                    <a:lnTo>
                      <a:pt x="1179" y="495"/>
                    </a:lnTo>
                    <a:lnTo>
                      <a:pt x="1179" y="493"/>
                    </a:lnTo>
                    <a:lnTo>
                      <a:pt x="1181" y="488"/>
                    </a:lnTo>
                    <a:lnTo>
                      <a:pt x="1182" y="487"/>
                    </a:lnTo>
                    <a:lnTo>
                      <a:pt x="1184" y="485"/>
                    </a:lnTo>
                    <a:lnTo>
                      <a:pt x="1192" y="487"/>
                    </a:lnTo>
                    <a:lnTo>
                      <a:pt x="1201" y="487"/>
                    </a:lnTo>
                    <a:lnTo>
                      <a:pt x="1207" y="487"/>
                    </a:lnTo>
                    <a:lnTo>
                      <a:pt x="1209" y="482"/>
                    </a:lnTo>
                    <a:lnTo>
                      <a:pt x="1207" y="480"/>
                    </a:lnTo>
                    <a:lnTo>
                      <a:pt x="1211" y="480"/>
                    </a:lnTo>
                    <a:lnTo>
                      <a:pt x="1211" y="475"/>
                    </a:lnTo>
                    <a:lnTo>
                      <a:pt x="1209" y="473"/>
                    </a:lnTo>
                    <a:lnTo>
                      <a:pt x="1211" y="472"/>
                    </a:lnTo>
                    <a:lnTo>
                      <a:pt x="1212" y="460"/>
                    </a:lnTo>
                    <a:lnTo>
                      <a:pt x="1222" y="455"/>
                    </a:lnTo>
                    <a:lnTo>
                      <a:pt x="1227" y="455"/>
                    </a:lnTo>
                    <a:lnTo>
                      <a:pt x="1230" y="450"/>
                    </a:lnTo>
                    <a:lnTo>
                      <a:pt x="1234" y="448"/>
                    </a:lnTo>
                    <a:lnTo>
                      <a:pt x="1234" y="440"/>
                    </a:lnTo>
                    <a:lnTo>
                      <a:pt x="1239" y="435"/>
                    </a:lnTo>
                    <a:lnTo>
                      <a:pt x="1239" y="430"/>
                    </a:lnTo>
                    <a:lnTo>
                      <a:pt x="1242" y="430"/>
                    </a:lnTo>
                    <a:lnTo>
                      <a:pt x="1245" y="425"/>
                    </a:lnTo>
                    <a:lnTo>
                      <a:pt x="1250" y="425"/>
                    </a:lnTo>
                    <a:lnTo>
                      <a:pt x="1252" y="425"/>
                    </a:lnTo>
                    <a:lnTo>
                      <a:pt x="1257" y="425"/>
                    </a:lnTo>
                    <a:lnTo>
                      <a:pt x="1259" y="422"/>
                    </a:lnTo>
                    <a:lnTo>
                      <a:pt x="1265" y="430"/>
                    </a:lnTo>
                    <a:lnTo>
                      <a:pt x="1277" y="435"/>
                    </a:lnTo>
                    <a:lnTo>
                      <a:pt x="1277" y="438"/>
                    </a:lnTo>
                    <a:lnTo>
                      <a:pt x="1274" y="440"/>
                    </a:lnTo>
                    <a:lnTo>
                      <a:pt x="1274" y="443"/>
                    </a:lnTo>
                    <a:lnTo>
                      <a:pt x="1269" y="450"/>
                    </a:lnTo>
                    <a:lnTo>
                      <a:pt x="1267" y="455"/>
                    </a:lnTo>
                    <a:lnTo>
                      <a:pt x="1262" y="455"/>
                    </a:lnTo>
                    <a:lnTo>
                      <a:pt x="1264" y="457"/>
                    </a:lnTo>
                    <a:lnTo>
                      <a:pt x="1262" y="463"/>
                    </a:lnTo>
                    <a:lnTo>
                      <a:pt x="1267" y="467"/>
                    </a:lnTo>
                    <a:lnTo>
                      <a:pt x="1267" y="470"/>
                    </a:lnTo>
                    <a:lnTo>
                      <a:pt x="1265" y="472"/>
                    </a:lnTo>
                    <a:lnTo>
                      <a:pt x="1265" y="473"/>
                    </a:lnTo>
                    <a:lnTo>
                      <a:pt x="1267" y="477"/>
                    </a:lnTo>
                    <a:lnTo>
                      <a:pt x="1272" y="475"/>
                    </a:lnTo>
                    <a:lnTo>
                      <a:pt x="1279" y="470"/>
                    </a:lnTo>
                    <a:lnTo>
                      <a:pt x="1277" y="475"/>
                    </a:lnTo>
                    <a:lnTo>
                      <a:pt x="1272" y="477"/>
                    </a:lnTo>
                    <a:lnTo>
                      <a:pt x="1272" y="480"/>
                    </a:lnTo>
                    <a:lnTo>
                      <a:pt x="1275" y="480"/>
                    </a:lnTo>
                    <a:lnTo>
                      <a:pt x="1274" y="482"/>
                    </a:lnTo>
                    <a:lnTo>
                      <a:pt x="1272" y="483"/>
                    </a:lnTo>
                    <a:lnTo>
                      <a:pt x="1267" y="483"/>
                    </a:lnTo>
                    <a:lnTo>
                      <a:pt x="1264" y="487"/>
                    </a:lnTo>
                    <a:lnTo>
                      <a:pt x="1260" y="487"/>
                    </a:lnTo>
                    <a:lnTo>
                      <a:pt x="1259" y="490"/>
                    </a:lnTo>
                    <a:lnTo>
                      <a:pt x="1262" y="492"/>
                    </a:lnTo>
                    <a:lnTo>
                      <a:pt x="1264" y="495"/>
                    </a:lnTo>
                    <a:lnTo>
                      <a:pt x="1265" y="495"/>
                    </a:lnTo>
                    <a:lnTo>
                      <a:pt x="1269" y="492"/>
                    </a:lnTo>
                    <a:lnTo>
                      <a:pt x="1272" y="492"/>
                    </a:lnTo>
                    <a:lnTo>
                      <a:pt x="1275" y="487"/>
                    </a:lnTo>
                    <a:lnTo>
                      <a:pt x="1282" y="483"/>
                    </a:lnTo>
                    <a:lnTo>
                      <a:pt x="1284" y="482"/>
                    </a:lnTo>
                    <a:lnTo>
                      <a:pt x="1282" y="478"/>
                    </a:lnTo>
                    <a:lnTo>
                      <a:pt x="1287" y="473"/>
                    </a:lnTo>
                    <a:lnTo>
                      <a:pt x="1299" y="467"/>
                    </a:lnTo>
                    <a:lnTo>
                      <a:pt x="1300" y="467"/>
                    </a:lnTo>
                    <a:lnTo>
                      <a:pt x="1302" y="462"/>
                    </a:lnTo>
                    <a:lnTo>
                      <a:pt x="1307" y="462"/>
                    </a:lnTo>
                    <a:lnTo>
                      <a:pt x="1314" y="458"/>
                    </a:lnTo>
                    <a:lnTo>
                      <a:pt x="1317" y="460"/>
                    </a:lnTo>
                    <a:lnTo>
                      <a:pt x="1319" y="458"/>
                    </a:lnTo>
                    <a:lnTo>
                      <a:pt x="1325" y="458"/>
                    </a:lnTo>
                    <a:lnTo>
                      <a:pt x="1332" y="452"/>
                    </a:lnTo>
                    <a:lnTo>
                      <a:pt x="1333" y="455"/>
                    </a:lnTo>
                    <a:lnTo>
                      <a:pt x="1333" y="455"/>
                    </a:lnTo>
                    <a:lnTo>
                      <a:pt x="1345" y="450"/>
                    </a:lnTo>
                    <a:lnTo>
                      <a:pt x="1417" y="405"/>
                    </a:lnTo>
                    <a:lnTo>
                      <a:pt x="1423" y="372"/>
                    </a:lnTo>
                    <a:lnTo>
                      <a:pt x="1443" y="357"/>
                    </a:lnTo>
                    <a:lnTo>
                      <a:pt x="1445" y="355"/>
                    </a:lnTo>
                    <a:lnTo>
                      <a:pt x="1445" y="352"/>
                    </a:lnTo>
                    <a:lnTo>
                      <a:pt x="1443" y="350"/>
                    </a:lnTo>
                    <a:lnTo>
                      <a:pt x="1441" y="347"/>
                    </a:lnTo>
                    <a:lnTo>
                      <a:pt x="1441" y="345"/>
                    </a:lnTo>
                    <a:lnTo>
                      <a:pt x="1445" y="344"/>
                    </a:lnTo>
                    <a:lnTo>
                      <a:pt x="1451" y="345"/>
                    </a:lnTo>
                    <a:lnTo>
                      <a:pt x="1451" y="344"/>
                    </a:lnTo>
                    <a:lnTo>
                      <a:pt x="1453" y="340"/>
                    </a:lnTo>
                    <a:lnTo>
                      <a:pt x="1451" y="339"/>
                    </a:lnTo>
                    <a:lnTo>
                      <a:pt x="1451" y="335"/>
                    </a:lnTo>
                    <a:lnTo>
                      <a:pt x="1453" y="334"/>
                    </a:lnTo>
                    <a:lnTo>
                      <a:pt x="1453" y="329"/>
                    </a:lnTo>
                    <a:lnTo>
                      <a:pt x="1453" y="325"/>
                    </a:lnTo>
                    <a:lnTo>
                      <a:pt x="1450" y="324"/>
                    </a:lnTo>
                    <a:lnTo>
                      <a:pt x="1450" y="315"/>
                    </a:lnTo>
                    <a:lnTo>
                      <a:pt x="1450" y="312"/>
                    </a:lnTo>
                    <a:lnTo>
                      <a:pt x="1448" y="307"/>
                    </a:lnTo>
                    <a:lnTo>
                      <a:pt x="1448" y="304"/>
                    </a:lnTo>
                    <a:lnTo>
                      <a:pt x="1446" y="299"/>
                    </a:lnTo>
                    <a:lnTo>
                      <a:pt x="1445" y="297"/>
                    </a:lnTo>
                    <a:lnTo>
                      <a:pt x="1443" y="294"/>
                    </a:lnTo>
                    <a:lnTo>
                      <a:pt x="1436" y="286"/>
                    </a:lnTo>
                    <a:lnTo>
                      <a:pt x="1435" y="282"/>
                    </a:lnTo>
                    <a:lnTo>
                      <a:pt x="1436" y="281"/>
                    </a:lnTo>
                    <a:lnTo>
                      <a:pt x="1440" y="279"/>
                    </a:lnTo>
                    <a:lnTo>
                      <a:pt x="1443" y="277"/>
                    </a:lnTo>
                    <a:lnTo>
                      <a:pt x="1445" y="276"/>
                    </a:lnTo>
                    <a:lnTo>
                      <a:pt x="1446" y="272"/>
                    </a:lnTo>
                    <a:lnTo>
                      <a:pt x="1450" y="266"/>
                    </a:lnTo>
                    <a:lnTo>
                      <a:pt x="1451" y="266"/>
                    </a:lnTo>
                    <a:lnTo>
                      <a:pt x="1456" y="267"/>
                    </a:lnTo>
                    <a:lnTo>
                      <a:pt x="1460" y="267"/>
                    </a:lnTo>
                    <a:lnTo>
                      <a:pt x="1475" y="271"/>
                    </a:lnTo>
                    <a:lnTo>
                      <a:pt x="1476" y="271"/>
                    </a:lnTo>
                    <a:lnTo>
                      <a:pt x="1480" y="271"/>
                    </a:lnTo>
                    <a:lnTo>
                      <a:pt x="1481" y="269"/>
                    </a:lnTo>
                    <a:lnTo>
                      <a:pt x="1481" y="266"/>
                    </a:lnTo>
                    <a:lnTo>
                      <a:pt x="1480" y="262"/>
                    </a:lnTo>
                    <a:lnTo>
                      <a:pt x="1480" y="261"/>
                    </a:lnTo>
                    <a:lnTo>
                      <a:pt x="1480" y="259"/>
                    </a:lnTo>
                    <a:lnTo>
                      <a:pt x="1480" y="257"/>
                    </a:lnTo>
                    <a:lnTo>
                      <a:pt x="1478" y="254"/>
                    </a:lnTo>
                    <a:lnTo>
                      <a:pt x="1480" y="251"/>
                    </a:lnTo>
                    <a:lnTo>
                      <a:pt x="1481" y="249"/>
                    </a:lnTo>
                    <a:lnTo>
                      <a:pt x="1481" y="246"/>
                    </a:lnTo>
                    <a:lnTo>
                      <a:pt x="1480" y="242"/>
                    </a:lnTo>
                    <a:lnTo>
                      <a:pt x="1481" y="241"/>
                    </a:lnTo>
                    <a:lnTo>
                      <a:pt x="1483" y="241"/>
                    </a:lnTo>
                    <a:lnTo>
                      <a:pt x="1483" y="237"/>
                    </a:lnTo>
                    <a:lnTo>
                      <a:pt x="1483" y="236"/>
                    </a:lnTo>
                    <a:lnTo>
                      <a:pt x="1481" y="232"/>
                    </a:lnTo>
                    <a:lnTo>
                      <a:pt x="1481" y="231"/>
                    </a:lnTo>
                    <a:lnTo>
                      <a:pt x="1485" y="229"/>
                    </a:lnTo>
                    <a:lnTo>
                      <a:pt x="1485" y="227"/>
                    </a:lnTo>
                    <a:lnTo>
                      <a:pt x="1483" y="224"/>
                    </a:lnTo>
                    <a:lnTo>
                      <a:pt x="1481" y="221"/>
                    </a:lnTo>
                    <a:lnTo>
                      <a:pt x="1481" y="214"/>
                    </a:lnTo>
                    <a:lnTo>
                      <a:pt x="1483" y="214"/>
                    </a:lnTo>
                    <a:lnTo>
                      <a:pt x="1483" y="214"/>
                    </a:lnTo>
                    <a:lnTo>
                      <a:pt x="1483" y="212"/>
                    </a:lnTo>
                    <a:lnTo>
                      <a:pt x="1483" y="211"/>
                    </a:lnTo>
                    <a:lnTo>
                      <a:pt x="1483" y="208"/>
                    </a:lnTo>
                    <a:lnTo>
                      <a:pt x="1480" y="206"/>
                    </a:lnTo>
                    <a:lnTo>
                      <a:pt x="1480" y="204"/>
                    </a:lnTo>
                    <a:lnTo>
                      <a:pt x="1480" y="201"/>
                    </a:lnTo>
                    <a:lnTo>
                      <a:pt x="1481" y="198"/>
                    </a:lnTo>
                    <a:lnTo>
                      <a:pt x="1480" y="196"/>
                    </a:lnTo>
                    <a:lnTo>
                      <a:pt x="1478" y="194"/>
                    </a:lnTo>
                    <a:lnTo>
                      <a:pt x="1478" y="193"/>
                    </a:lnTo>
                    <a:lnTo>
                      <a:pt x="1481" y="188"/>
                    </a:lnTo>
                    <a:lnTo>
                      <a:pt x="1485" y="188"/>
                    </a:lnTo>
                    <a:lnTo>
                      <a:pt x="1485" y="186"/>
                    </a:lnTo>
                    <a:lnTo>
                      <a:pt x="1486" y="183"/>
                    </a:lnTo>
                    <a:lnTo>
                      <a:pt x="1486" y="178"/>
                    </a:lnTo>
                    <a:lnTo>
                      <a:pt x="1483" y="17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63" name="Freeform 96"/>
              <p:cNvSpPr>
                <a:spLocks/>
              </p:cNvSpPr>
              <p:nvPr/>
            </p:nvSpPr>
            <p:spPr bwMode="auto">
              <a:xfrm>
                <a:off x="7958313" y="2956363"/>
                <a:ext cx="23545" cy="48767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6" y="6"/>
                  </a:cxn>
                  <a:cxn ang="0">
                    <a:pos x="35" y="1"/>
                  </a:cxn>
                  <a:cxn ang="0">
                    <a:pos x="30" y="0"/>
                  </a:cxn>
                  <a:cxn ang="0">
                    <a:pos x="26" y="1"/>
                  </a:cxn>
                  <a:cxn ang="0">
                    <a:pos x="26" y="5"/>
                  </a:cxn>
                  <a:cxn ang="0">
                    <a:pos x="21" y="6"/>
                  </a:cxn>
                  <a:cxn ang="0">
                    <a:pos x="16" y="11"/>
                  </a:cxn>
                  <a:cxn ang="0">
                    <a:pos x="11" y="20"/>
                  </a:cxn>
                  <a:cxn ang="0">
                    <a:pos x="13" y="21"/>
                  </a:cxn>
                  <a:cxn ang="0">
                    <a:pos x="11" y="25"/>
                  </a:cxn>
                  <a:cxn ang="0">
                    <a:pos x="10" y="26"/>
                  </a:cxn>
                  <a:cxn ang="0">
                    <a:pos x="5" y="34"/>
                  </a:cxn>
                  <a:cxn ang="0">
                    <a:pos x="1" y="43"/>
                  </a:cxn>
                  <a:cxn ang="0">
                    <a:pos x="0" y="44"/>
                  </a:cxn>
                  <a:cxn ang="0">
                    <a:pos x="1" y="46"/>
                  </a:cxn>
                  <a:cxn ang="0">
                    <a:pos x="1" y="54"/>
                  </a:cxn>
                  <a:cxn ang="0">
                    <a:pos x="3" y="63"/>
                  </a:cxn>
                  <a:cxn ang="0">
                    <a:pos x="5" y="64"/>
                  </a:cxn>
                  <a:cxn ang="0">
                    <a:pos x="6" y="68"/>
                  </a:cxn>
                  <a:cxn ang="0">
                    <a:pos x="5" y="68"/>
                  </a:cxn>
                  <a:cxn ang="0">
                    <a:pos x="5" y="71"/>
                  </a:cxn>
                  <a:cxn ang="0">
                    <a:pos x="8" y="74"/>
                  </a:cxn>
                  <a:cxn ang="0">
                    <a:pos x="10" y="74"/>
                  </a:cxn>
                  <a:cxn ang="0">
                    <a:pos x="11" y="78"/>
                  </a:cxn>
                  <a:cxn ang="0">
                    <a:pos x="18" y="79"/>
                  </a:cxn>
                  <a:cxn ang="0">
                    <a:pos x="21" y="84"/>
                  </a:cxn>
                  <a:cxn ang="0">
                    <a:pos x="21" y="89"/>
                  </a:cxn>
                  <a:cxn ang="0">
                    <a:pos x="21" y="93"/>
                  </a:cxn>
                  <a:cxn ang="0">
                    <a:pos x="25" y="91"/>
                  </a:cxn>
                  <a:cxn ang="0">
                    <a:pos x="28" y="93"/>
                  </a:cxn>
                  <a:cxn ang="0">
                    <a:pos x="26" y="88"/>
                  </a:cxn>
                  <a:cxn ang="0">
                    <a:pos x="28" y="83"/>
                  </a:cxn>
                  <a:cxn ang="0">
                    <a:pos x="26" y="76"/>
                  </a:cxn>
                  <a:cxn ang="0">
                    <a:pos x="30" y="73"/>
                  </a:cxn>
                  <a:cxn ang="0">
                    <a:pos x="36" y="63"/>
                  </a:cxn>
                  <a:cxn ang="0">
                    <a:pos x="36" y="58"/>
                  </a:cxn>
                  <a:cxn ang="0">
                    <a:pos x="38" y="56"/>
                  </a:cxn>
                  <a:cxn ang="0">
                    <a:pos x="35" y="56"/>
                  </a:cxn>
                  <a:cxn ang="0">
                    <a:pos x="36" y="48"/>
                  </a:cxn>
                  <a:cxn ang="0">
                    <a:pos x="38" y="41"/>
                  </a:cxn>
                  <a:cxn ang="0">
                    <a:pos x="36" y="34"/>
                  </a:cxn>
                  <a:cxn ang="0">
                    <a:pos x="40" y="31"/>
                  </a:cxn>
                  <a:cxn ang="0">
                    <a:pos x="40" y="20"/>
                  </a:cxn>
                  <a:cxn ang="0">
                    <a:pos x="41" y="13"/>
                  </a:cxn>
                  <a:cxn ang="0">
                    <a:pos x="43" y="13"/>
                  </a:cxn>
                  <a:cxn ang="0">
                    <a:pos x="43" y="10"/>
                  </a:cxn>
                  <a:cxn ang="0">
                    <a:pos x="38" y="6"/>
                  </a:cxn>
                </a:cxnLst>
                <a:rect l="0" t="0" r="r" b="b"/>
                <a:pathLst>
                  <a:path w="43" h="93">
                    <a:moveTo>
                      <a:pt x="38" y="6"/>
                    </a:moveTo>
                    <a:lnTo>
                      <a:pt x="36" y="6"/>
                    </a:lnTo>
                    <a:lnTo>
                      <a:pt x="35" y="1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6" y="5"/>
                    </a:lnTo>
                    <a:lnTo>
                      <a:pt x="21" y="6"/>
                    </a:lnTo>
                    <a:lnTo>
                      <a:pt x="16" y="11"/>
                    </a:lnTo>
                    <a:lnTo>
                      <a:pt x="11" y="20"/>
                    </a:lnTo>
                    <a:lnTo>
                      <a:pt x="13" y="21"/>
                    </a:lnTo>
                    <a:lnTo>
                      <a:pt x="11" y="25"/>
                    </a:lnTo>
                    <a:lnTo>
                      <a:pt x="10" y="26"/>
                    </a:lnTo>
                    <a:lnTo>
                      <a:pt x="5" y="34"/>
                    </a:lnTo>
                    <a:lnTo>
                      <a:pt x="1" y="43"/>
                    </a:lnTo>
                    <a:lnTo>
                      <a:pt x="0" y="44"/>
                    </a:lnTo>
                    <a:lnTo>
                      <a:pt x="1" y="46"/>
                    </a:lnTo>
                    <a:lnTo>
                      <a:pt x="1" y="54"/>
                    </a:lnTo>
                    <a:lnTo>
                      <a:pt x="3" y="63"/>
                    </a:lnTo>
                    <a:lnTo>
                      <a:pt x="5" y="64"/>
                    </a:lnTo>
                    <a:lnTo>
                      <a:pt x="6" y="68"/>
                    </a:lnTo>
                    <a:lnTo>
                      <a:pt x="5" y="68"/>
                    </a:lnTo>
                    <a:lnTo>
                      <a:pt x="5" y="71"/>
                    </a:lnTo>
                    <a:lnTo>
                      <a:pt x="8" y="74"/>
                    </a:lnTo>
                    <a:lnTo>
                      <a:pt x="10" y="74"/>
                    </a:lnTo>
                    <a:lnTo>
                      <a:pt x="11" y="78"/>
                    </a:lnTo>
                    <a:lnTo>
                      <a:pt x="18" y="79"/>
                    </a:lnTo>
                    <a:lnTo>
                      <a:pt x="21" y="84"/>
                    </a:lnTo>
                    <a:lnTo>
                      <a:pt x="21" y="89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8" y="93"/>
                    </a:lnTo>
                    <a:lnTo>
                      <a:pt x="26" y="88"/>
                    </a:lnTo>
                    <a:lnTo>
                      <a:pt x="28" y="83"/>
                    </a:lnTo>
                    <a:lnTo>
                      <a:pt x="26" y="76"/>
                    </a:lnTo>
                    <a:lnTo>
                      <a:pt x="30" y="73"/>
                    </a:lnTo>
                    <a:lnTo>
                      <a:pt x="36" y="63"/>
                    </a:lnTo>
                    <a:lnTo>
                      <a:pt x="36" y="58"/>
                    </a:lnTo>
                    <a:lnTo>
                      <a:pt x="38" y="56"/>
                    </a:lnTo>
                    <a:lnTo>
                      <a:pt x="35" y="56"/>
                    </a:lnTo>
                    <a:lnTo>
                      <a:pt x="36" y="48"/>
                    </a:lnTo>
                    <a:lnTo>
                      <a:pt x="38" y="41"/>
                    </a:lnTo>
                    <a:lnTo>
                      <a:pt x="36" y="34"/>
                    </a:lnTo>
                    <a:lnTo>
                      <a:pt x="40" y="31"/>
                    </a:lnTo>
                    <a:lnTo>
                      <a:pt x="40" y="20"/>
                    </a:lnTo>
                    <a:lnTo>
                      <a:pt x="41" y="13"/>
                    </a:lnTo>
                    <a:lnTo>
                      <a:pt x="43" y="13"/>
                    </a:lnTo>
                    <a:lnTo>
                      <a:pt x="43" y="10"/>
                    </a:lnTo>
                    <a:lnTo>
                      <a:pt x="3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6193473" y="2824589"/>
              <a:ext cx="889376" cy="858085"/>
              <a:chOff x="6193473" y="2824589"/>
              <a:chExt cx="889376" cy="858085"/>
            </a:xfrm>
            <a:grpFill/>
          </p:grpSpPr>
          <p:sp>
            <p:nvSpPr>
              <p:cNvPr id="168" name="Freeform 88"/>
              <p:cNvSpPr>
                <a:spLocks/>
              </p:cNvSpPr>
              <p:nvPr/>
            </p:nvSpPr>
            <p:spPr bwMode="auto">
              <a:xfrm>
                <a:off x="6727527" y="2895145"/>
                <a:ext cx="162678" cy="120360"/>
              </a:xfrm>
              <a:custGeom>
                <a:avLst/>
                <a:gdLst/>
                <a:ahLst/>
                <a:cxnLst>
                  <a:cxn ang="0">
                    <a:pos x="241" y="41"/>
                  </a:cxn>
                  <a:cxn ang="0">
                    <a:pos x="226" y="13"/>
                  </a:cxn>
                  <a:cxn ang="0">
                    <a:pos x="216" y="8"/>
                  </a:cxn>
                  <a:cxn ang="0">
                    <a:pos x="183" y="11"/>
                  </a:cxn>
                  <a:cxn ang="0">
                    <a:pos x="176" y="15"/>
                  </a:cxn>
                  <a:cxn ang="0">
                    <a:pos x="166" y="10"/>
                  </a:cxn>
                  <a:cxn ang="0">
                    <a:pos x="166" y="3"/>
                  </a:cxn>
                  <a:cxn ang="0">
                    <a:pos x="150" y="1"/>
                  </a:cxn>
                  <a:cxn ang="0">
                    <a:pos x="151" y="5"/>
                  </a:cxn>
                  <a:cxn ang="0">
                    <a:pos x="138" y="6"/>
                  </a:cxn>
                  <a:cxn ang="0">
                    <a:pos x="141" y="3"/>
                  </a:cxn>
                  <a:cxn ang="0">
                    <a:pos x="133" y="3"/>
                  </a:cxn>
                  <a:cxn ang="0">
                    <a:pos x="120" y="10"/>
                  </a:cxn>
                  <a:cxn ang="0">
                    <a:pos x="108" y="18"/>
                  </a:cxn>
                  <a:cxn ang="0">
                    <a:pos x="85" y="11"/>
                  </a:cxn>
                  <a:cxn ang="0">
                    <a:pos x="68" y="8"/>
                  </a:cxn>
                  <a:cxn ang="0">
                    <a:pos x="50" y="5"/>
                  </a:cxn>
                  <a:cxn ang="0">
                    <a:pos x="10" y="0"/>
                  </a:cxn>
                  <a:cxn ang="0">
                    <a:pos x="5" y="5"/>
                  </a:cxn>
                  <a:cxn ang="0">
                    <a:pos x="7" y="25"/>
                  </a:cxn>
                  <a:cxn ang="0">
                    <a:pos x="4" y="45"/>
                  </a:cxn>
                  <a:cxn ang="0">
                    <a:pos x="304" y="227"/>
                  </a:cxn>
                  <a:cxn ang="0">
                    <a:pos x="294" y="221"/>
                  </a:cxn>
                  <a:cxn ang="0">
                    <a:pos x="284" y="211"/>
                  </a:cxn>
                  <a:cxn ang="0">
                    <a:pos x="269" y="207"/>
                  </a:cxn>
                  <a:cxn ang="0">
                    <a:pos x="266" y="187"/>
                  </a:cxn>
                  <a:cxn ang="0">
                    <a:pos x="266" y="184"/>
                  </a:cxn>
                  <a:cxn ang="0">
                    <a:pos x="269" y="182"/>
                  </a:cxn>
                  <a:cxn ang="0">
                    <a:pos x="263" y="176"/>
                  </a:cxn>
                  <a:cxn ang="0">
                    <a:pos x="249" y="154"/>
                  </a:cxn>
                  <a:cxn ang="0">
                    <a:pos x="228" y="126"/>
                  </a:cxn>
                  <a:cxn ang="0">
                    <a:pos x="224" y="109"/>
                  </a:cxn>
                  <a:cxn ang="0">
                    <a:pos x="215" y="96"/>
                  </a:cxn>
                  <a:cxn ang="0">
                    <a:pos x="213" y="86"/>
                  </a:cxn>
                  <a:cxn ang="0">
                    <a:pos x="188" y="63"/>
                  </a:cxn>
                  <a:cxn ang="0">
                    <a:pos x="185" y="48"/>
                  </a:cxn>
                  <a:cxn ang="0">
                    <a:pos x="186" y="45"/>
                  </a:cxn>
                  <a:cxn ang="0">
                    <a:pos x="191" y="53"/>
                  </a:cxn>
                  <a:cxn ang="0">
                    <a:pos x="201" y="68"/>
                  </a:cxn>
                  <a:cxn ang="0">
                    <a:pos x="211" y="78"/>
                  </a:cxn>
                  <a:cxn ang="0">
                    <a:pos x="231" y="94"/>
                  </a:cxn>
                  <a:cxn ang="0">
                    <a:pos x="236" y="81"/>
                  </a:cxn>
                  <a:cxn ang="0">
                    <a:pos x="238" y="68"/>
                  </a:cxn>
                </a:cxnLst>
                <a:rect l="0" t="0" r="r" b="b"/>
                <a:pathLst>
                  <a:path w="304" h="231">
                    <a:moveTo>
                      <a:pt x="243" y="54"/>
                    </a:moveTo>
                    <a:lnTo>
                      <a:pt x="239" y="46"/>
                    </a:lnTo>
                    <a:lnTo>
                      <a:pt x="241" y="41"/>
                    </a:lnTo>
                    <a:lnTo>
                      <a:pt x="236" y="30"/>
                    </a:lnTo>
                    <a:lnTo>
                      <a:pt x="229" y="21"/>
                    </a:lnTo>
                    <a:lnTo>
                      <a:pt x="226" y="13"/>
                    </a:lnTo>
                    <a:lnTo>
                      <a:pt x="223" y="6"/>
                    </a:lnTo>
                    <a:lnTo>
                      <a:pt x="219" y="5"/>
                    </a:lnTo>
                    <a:lnTo>
                      <a:pt x="216" y="8"/>
                    </a:lnTo>
                    <a:lnTo>
                      <a:pt x="210" y="11"/>
                    </a:lnTo>
                    <a:lnTo>
                      <a:pt x="195" y="8"/>
                    </a:lnTo>
                    <a:lnTo>
                      <a:pt x="183" y="11"/>
                    </a:lnTo>
                    <a:lnTo>
                      <a:pt x="173" y="6"/>
                    </a:lnTo>
                    <a:lnTo>
                      <a:pt x="173" y="10"/>
                    </a:lnTo>
                    <a:lnTo>
                      <a:pt x="176" y="15"/>
                    </a:lnTo>
                    <a:lnTo>
                      <a:pt x="175" y="18"/>
                    </a:lnTo>
                    <a:lnTo>
                      <a:pt x="171" y="13"/>
                    </a:lnTo>
                    <a:lnTo>
                      <a:pt x="166" y="10"/>
                    </a:lnTo>
                    <a:lnTo>
                      <a:pt x="166" y="6"/>
                    </a:lnTo>
                    <a:lnTo>
                      <a:pt x="168" y="5"/>
                    </a:lnTo>
                    <a:lnTo>
                      <a:pt x="166" y="3"/>
                    </a:lnTo>
                    <a:lnTo>
                      <a:pt x="163" y="5"/>
                    </a:lnTo>
                    <a:lnTo>
                      <a:pt x="158" y="3"/>
                    </a:lnTo>
                    <a:lnTo>
                      <a:pt x="150" y="1"/>
                    </a:lnTo>
                    <a:lnTo>
                      <a:pt x="148" y="1"/>
                    </a:lnTo>
                    <a:lnTo>
                      <a:pt x="151" y="3"/>
                    </a:lnTo>
                    <a:lnTo>
                      <a:pt x="151" y="5"/>
                    </a:lnTo>
                    <a:lnTo>
                      <a:pt x="148" y="5"/>
                    </a:lnTo>
                    <a:lnTo>
                      <a:pt x="143" y="5"/>
                    </a:lnTo>
                    <a:lnTo>
                      <a:pt x="138" y="6"/>
                    </a:lnTo>
                    <a:lnTo>
                      <a:pt x="136" y="5"/>
                    </a:lnTo>
                    <a:lnTo>
                      <a:pt x="136" y="3"/>
                    </a:lnTo>
                    <a:lnTo>
                      <a:pt x="141" y="3"/>
                    </a:lnTo>
                    <a:lnTo>
                      <a:pt x="145" y="1"/>
                    </a:lnTo>
                    <a:lnTo>
                      <a:pt x="140" y="1"/>
                    </a:lnTo>
                    <a:lnTo>
                      <a:pt x="133" y="3"/>
                    </a:lnTo>
                    <a:lnTo>
                      <a:pt x="130" y="5"/>
                    </a:lnTo>
                    <a:lnTo>
                      <a:pt x="123" y="8"/>
                    </a:lnTo>
                    <a:lnTo>
                      <a:pt x="120" y="10"/>
                    </a:lnTo>
                    <a:lnTo>
                      <a:pt x="115" y="11"/>
                    </a:lnTo>
                    <a:lnTo>
                      <a:pt x="108" y="15"/>
                    </a:lnTo>
                    <a:lnTo>
                      <a:pt x="108" y="18"/>
                    </a:lnTo>
                    <a:lnTo>
                      <a:pt x="100" y="18"/>
                    </a:lnTo>
                    <a:lnTo>
                      <a:pt x="92" y="13"/>
                    </a:lnTo>
                    <a:lnTo>
                      <a:pt x="85" y="11"/>
                    </a:lnTo>
                    <a:lnTo>
                      <a:pt x="77" y="13"/>
                    </a:lnTo>
                    <a:lnTo>
                      <a:pt x="70" y="8"/>
                    </a:lnTo>
                    <a:lnTo>
                      <a:pt x="68" y="8"/>
                    </a:lnTo>
                    <a:lnTo>
                      <a:pt x="65" y="10"/>
                    </a:lnTo>
                    <a:lnTo>
                      <a:pt x="58" y="6"/>
                    </a:lnTo>
                    <a:lnTo>
                      <a:pt x="50" y="5"/>
                    </a:lnTo>
                    <a:lnTo>
                      <a:pt x="32" y="3"/>
                    </a:lnTo>
                    <a:lnTo>
                      <a:pt x="2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5" y="5"/>
                    </a:lnTo>
                    <a:lnTo>
                      <a:pt x="4" y="15"/>
                    </a:lnTo>
                    <a:lnTo>
                      <a:pt x="7" y="20"/>
                    </a:lnTo>
                    <a:lnTo>
                      <a:pt x="7" y="25"/>
                    </a:lnTo>
                    <a:lnTo>
                      <a:pt x="4" y="33"/>
                    </a:lnTo>
                    <a:lnTo>
                      <a:pt x="0" y="40"/>
                    </a:lnTo>
                    <a:lnTo>
                      <a:pt x="4" y="45"/>
                    </a:lnTo>
                    <a:lnTo>
                      <a:pt x="5" y="56"/>
                    </a:lnTo>
                    <a:lnTo>
                      <a:pt x="14" y="231"/>
                    </a:lnTo>
                    <a:lnTo>
                      <a:pt x="304" y="227"/>
                    </a:lnTo>
                    <a:lnTo>
                      <a:pt x="304" y="227"/>
                    </a:lnTo>
                    <a:lnTo>
                      <a:pt x="299" y="226"/>
                    </a:lnTo>
                    <a:lnTo>
                      <a:pt x="294" y="221"/>
                    </a:lnTo>
                    <a:lnTo>
                      <a:pt x="293" y="217"/>
                    </a:lnTo>
                    <a:lnTo>
                      <a:pt x="288" y="217"/>
                    </a:lnTo>
                    <a:lnTo>
                      <a:pt x="284" y="211"/>
                    </a:lnTo>
                    <a:lnTo>
                      <a:pt x="281" y="212"/>
                    </a:lnTo>
                    <a:lnTo>
                      <a:pt x="276" y="212"/>
                    </a:lnTo>
                    <a:lnTo>
                      <a:pt x="269" y="207"/>
                    </a:lnTo>
                    <a:lnTo>
                      <a:pt x="266" y="196"/>
                    </a:lnTo>
                    <a:lnTo>
                      <a:pt x="266" y="192"/>
                    </a:lnTo>
                    <a:lnTo>
                      <a:pt x="266" y="187"/>
                    </a:lnTo>
                    <a:lnTo>
                      <a:pt x="264" y="184"/>
                    </a:lnTo>
                    <a:lnTo>
                      <a:pt x="264" y="182"/>
                    </a:lnTo>
                    <a:lnTo>
                      <a:pt x="266" y="184"/>
                    </a:lnTo>
                    <a:lnTo>
                      <a:pt x="274" y="184"/>
                    </a:lnTo>
                    <a:lnTo>
                      <a:pt x="271" y="182"/>
                    </a:lnTo>
                    <a:lnTo>
                      <a:pt x="269" y="182"/>
                    </a:lnTo>
                    <a:lnTo>
                      <a:pt x="264" y="176"/>
                    </a:lnTo>
                    <a:lnTo>
                      <a:pt x="263" y="176"/>
                    </a:lnTo>
                    <a:lnTo>
                      <a:pt x="263" y="176"/>
                    </a:lnTo>
                    <a:lnTo>
                      <a:pt x="261" y="174"/>
                    </a:lnTo>
                    <a:lnTo>
                      <a:pt x="258" y="167"/>
                    </a:lnTo>
                    <a:lnTo>
                      <a:pt x="249" y="154"/>
                    </a:lnTo>
                    <a:lnTo>
                      <a:pt x="244" y="152"/>
                    </a:lnTo>
                    <a:lnTo>
                      <a:pt x="243" y="146"/>
                    </a:lnTo>
                    <a:lnTo>
                      <a:pt x="228" y="126"/>
                    </a:lnTo>
                    <a:lnTo>
                      <a:pt x="228" y="121"/>
                    </a:lnTo>
                    <a:lnTo>
                      <a:pt x="226" y="118"/>
                    </a:lnTo>
                    <a:lnTo>
                      <a:pt x="224" y="109"/>
                    </a:lnTo>
                    <a:lnTo>
                      <a:pt x="223" y="106"/>
                    </a:lnTo>
                    <a:lnTo>
                      <a:pt x="223" y="104"/>
                    </a:lnTo>
                    <a:lnTo>
                      <a:pt x="215" y="96"/>
                    </a:lnTo>
                    <a:lnTo>
                      <a:pt x="215" y="93"/>
                    </a:lnTo>
                    <a:lnTo>
                      <a:pt x="215" y="89"/>
                    </a:lnTo>
                    <a:lnTo>
                      <a:pt x="213" y="86"/>
                    </a:lnTo>
                    <a:lnTo>
                      <a:pt x="198" y="74"/>
                    </a:lnTo>
                    <a:lnTo>
                      <a:pt x="198" y="71"/>
                    </a:lnTo>
                    <a:lnTo>
                      <a:pt x="188" y="63"/>
                    </a:lnTo>
                    <a:lnTo>
                      <a:pt x="188" y="58"/>
                    </a:lnTo>
                    <a:lnTo>
                      <a:pt x="183" y="51"/>
                    </a:lnTo>
                    <a:lnTo>
                      <a:pt x="185" y="48"/>
                    </a:lnTo>
                    <a:lnTo>
                      <a:pt x="183" y="45"/>
                    </a:lnTo>
                    <a:lnTo>
                      <a:pt x="185" y="45"/>
                    </a:lnTo>
                    <a:lnTo>
                      <a:pt x="186" y="45"/>
                    </a:lnTo>
                    <a:lnTo>
                      <a:pt x="188" y="45"/>
                    </a:lnTo>
                    <a:lnTo>
                      <a:pt x="190" y="51"/>
                    </a:lnTo>
                    <a:lnTo>
                      <a:pt x="191" y="53"/>
                    </a:lnTo>
                    <a:lnTo>
                      <a:pt x="193" y="56"/>
                    </a:lnTo>
                    <a:lnTo>
                      <a:pt x="201" y="63"/>
                    </a:lnTo>
                    <a:lnTo>
                      <a:pt x="201" y="68"/>
                    </a:lnTo>
                    <a:lnTo>
                      <a:pt x="205" y="71"/>
                    </a:lnTo>
                    <a:lnTo>
                      <a:pt x="211" y="74"/>
                    </a:lnTo>
                    <a:lnTo>
                      <a:pt x="211" y="78"/>
                    </a:lnTo>
                    <a:lnTo>
                      <a:pt x="223" y="89"/>
                    </a:lnTo>
                    <a:lnTo>
                      <a:pt x="229" y="93"/>
                    </a:lnTo>
                    <a:lnTo>
                      <a:pt x="231" y="94"/>
                    </a:lnTo>
                    <a:lnTo>
                      <a:pt x="231" y="91"/>
                    </a:lnTo>
                    <a:lnTo>
                      <a:pt x="234" y="88"/>
                    </a:lnTo>
                    <a:lnTo>
                      <a:pt x="236" y="81"/>
                    </a:lnTo>
                    <a:lnTo>
                      <a:pt x="234" y="79"/>
                    </a:lnTo>
                    <a:lnTo>
                      <a:pt x="238" y="73"/>
                    </a:lnTo>
                    <a:lnTo>
                      <a:pt x="238" y="68"/>
                    </a:lnTo>
                    <a:lnTo>
                      <a:pt x="241" y="56"/>
                    </a:lnTo>
                    <a:lnTo>
                      <a:pt x="243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9" name="Freeform 89"/>
              <p:cNvSpPr>
                <a:spLocks/>
              </p:cNvSpPr>
              <p:nvPr/>
            </p:nvSpPr>
            <p:spPr bwMode="auto">
              <a:xfrm>
                <a:off x="6697560" y="3013430"/>
                <a:ext cx="215120" cy="216856"/>
              </a:xfrm>
              <a:custGeom>
                <a:avLst/>
                <a:gdLst/>
                <a:ahLst/>
                <a:cxnLst>
                  <a:cxn ang="0">
                    <a:pos x="359" y="7"/>
                  </a:cxn>
                  <a:cxn ang="0">
                    <a:pos x="363" y="17"/>
                  </a:cxn>
                  <a:cxn ang="0">
                    <a:pos x="363" y="20"/>
                  </a:cxn>
                  <a:cxn ang="0">
                    <a:pos x="368" y="58"/>
                  </a:cxn>
                  <a:cxn ang="0">
                    <a:pos x="391" y="87"/>
                  </a:cxn>
                  <a:cxn ang="0">
                    <a:pos x="399" y="97"/>
                  </a:cxn>
                  <a:cxn ang="0">
                    <a:pos x="381" y="103"/>
                  </a:cxn>
                  <a:cxn ang="0">
                    <a:pos x="369" y="112"/>
                  </a:cxn>
                  <a:cxn ang="0">
                    <a:pos x="369" y="125"/>
                  </a:cxn>
                  <a:cxn ang="0">
                    <a:pos x="358" y="155"/>
                  </a:cxn>
                  <a:cxn ang="0">
                    <a:pos x="359" y="176"/>
                  </a:cxn>
                  <a:cxn ang="0">
                    <a:pos x="346" y="210"/>
                  </a:cxn>
                  <a:cxn ang="0">
                    <a:pos x="333" y="226"/>
                  </a:cxn>
                  <a:cxn ang="0">
                    <a:pos x="314" y="253"/>
                  </a:cxn>
                  <a:cxn ang="0">
                    <a:pos x="308" y="273"/>
                  </a:cxn>
                  <a:cxn ang="0">
                    <a:pos x="299" y="306"/>
                  </a:cxn>
                  <a:cxn ang="0">
                    <a:pos x="281" y="306"/>
                  </a:cxn>
                  <a:cxn ang="0">
                    <a:pos x="281" y="321"/>
                  </a:cxn>
                  <a:cxn ang="0">
                    <a:pos x="301" y="332"/>
                  </a:cxn>
                  <a:cxn ang="0">
                    <a:pos x="316" y="344"/>
                  </a:cxn>
                  <a:cxn ang="0">
                    <a:pos x="329" y="366"/>
                  </a:cxn>
                  <a:cxn ang="0">
                    <a:pos x="309" y="394"/>
                  </a:cxn>
                  <a:cxn ang="0">
                    <a:pos x="296" y="404"/>
                  </a:cxn>
                  <a:cxn ang="0">
                    <a:pos x="268" y="410"/>
                  </a:cxn>
                  <a:cxn ang="0">
                    <a:pos x="256" y="417"/>
                  </a:cxn>
                  <a:cxn ang="0">
                    <a:pos x="240" y="412"/>
                  </a:cxn>
                  <a:cxn ang="0">
                    <a:pos x="226" y="415"/>
                  </a:cxn>
                  <a:cxn ang="0">
                    <a:pos x="216" y="414"/>
                  </a:cxn>
                  <a:cxn ang="0">
                    <a:pos x="203" y="401"/>
                  </a:cxn>
                  <a:cxn ang="0">
                    <a:pos x="190" y="389"/>
                  </a:cxn>
                  <a:cxn ang="0">
                    <a:pos x="176" y="394"/>
                  </a:cxn>
                  <a:cxn ang="0">
                    <a:pos x="160" y="399"/>
                  </a:cxn>
                  <a:cxn ang="0">
                    <a:pos x="142" y="387"/>
                  </a:cxn>
                  <a:cxn ang="0">
                    <a:pos x="135" y="377"/>
                  </a:cxn>
                  <a:cxn ang="0">
                    <a:pos x="120" y="362"/>
                  </a:cxn>
                  <a:cxn ang="0">
                    <a:pos x="108" y="351"/>
                  </a:cxn>
                  <a:cxn ang="0">
                    <a:pos x="93" y="336"/>
                  </a:cxn>
                  <a:cxn ang="0">
                    <a:pos x="85" y="329"/>
                  </a:cxn>
                  <a:cxn ang="0">
                    <a:pos x="78" y="317"/>
                  </a:cxn>
                  <a:cxn ang="0">
                    <a:pos x="60" y="308"/>
                  </a:cxn>
                  <a:cxn ang="0">
                    <a:pos x="49" y="301"/>
                  </a:cxn>
                  <a:cxn ang="0">
                    <a:pos x="42" y="286"/>
                  </a:cxn>
                  <a:cxn ang="0">
                    <a:pos x="30" y="259"/>
                  </a:cxn>
                  <a:cxn ang="0">
                    <a:pos x="24" y="246"/>
                  </a:cxn>
                  <a:cxn ang="0">
                    <a:pos x="14" y="231"/>
                  </a:cxn>
                  <a:cxn ang="0">
                    <a:pos x="14" y="214"/>
                  </a:cxn>
                  <a:cxn ang="0">
                    <a:pos x="0" y="208"/>
                  </a:cxn>
                  <a:cxn ang="0">
                    <a:pos x="7" y="186"/>
                  </a:cxn>
                  <a:cxn ang="0">
                    <a:pos x="15" y="170"/>
                  </a:cxn>
                  <a:cxn ang="0">
                    <a:pos x="27" y="146"/>
                  </a:cxn>
                  <a:cxn ang="0">
                    <a:pos x="50" y="143"/>
                  </a:cxn>
                  <a:cxn ang="0">
                    <a:pos x="69" y="4"/>
                  </a:cxn>
                </a:cxnLst>
                <a:rect l="0" t="0" r="r" b="b"/>
                <a:pathLst>
                  <a:path w="402" h="417">
                    <a:moveTo>
                      <a:pt x="69" y="4"/>
                    </a:moveTo>
                    <a:lnTo>
                      <a:pt x="359" y="0"/>
                    </a:lnTo>
                    <a:lnTo>
                      <a:pt x="358" y="4"/>
                    </a:lnTo>
                    <a:lnTo>
                      <a:pt x="358" y="5"/>
                    </a:lnTo>
                    <a:lnTo>
                      <a:pt x="359" y="7"/>
                    </a:lnTo>
                    <a:lnTo>
                      <a:pt x="359" y="7"/>
                    </a:lnTo>
                    <a:lnTo>
                      <a:pt x="359" y="9"/>
                    </a:lnTo>
                    <a:lnTo>
                      <a:pt x="359" y="10"/>
                    </a:lnTo>
                    <a:lnTo>
                      <a:pt x="361" y="10"/>
                    </a:lnTo>
                    <a:lnTo>
                      <a:pt x="363" y="17"/>
                    </a:lnTo>
                    <a:lnTo>
                      <a:pt x="366" y="22"/>
                    </a:lnTo>
                    <a:lnTo>
                      <a:pt x="366" y="23"/>
                    </a:lnTo>
                    <a:lnTo>
                      <a:pt x="366" y="23"/>
                    </a:lnTo>
                    <a:lnTo>
                      <a:pt x="364" y="22"/>
                    </a:lnTo>
                    <a:lnTo>
                      <a:pt x="363" y="20"/>
                    </a:lnTo>
                    <a:lnTo>
                      <a:pt x="363" y="22"/>
                    </a:lnTo>
                    <a:lnTo>
                      <a:pt x="363" y="25"/>
                    </a:lnTo>
                    <a:lnTo>
                      <a:pt x="369" y="40"/>
                    </a:lnTo>
                    <a:lnTo>
                      <a:pt x="369" y="50"/>
                    </a:lnTo>
                    <a:lnTo>
                      <a:pt x="368" y="58"/>
                    </a:lnTo>
                    <a:lnTo>
                      <a:pt x="371" y="67"/>
                    </a:lnTo>
                    <a:lnTo>
                      <a:pt x="376" y="75"/>
                    </a:lnTo>
                    <a:lnTo>
                      <a:pt x="381" y="75"/>
                    </a:lnTo>
                    <a:lnTo>
                      <a:pt x="391" y="82"/>
                    </a:lnTo>
                    <a:lnTo>
                      <a:pt x="391" y="87"/>
                    </a:lnTo>
                    <a:lnTo>
                      <a:pt x="396" y="87"/>
                    </a:lnTo>
                    <a:lnTo>
                      <a:pt x="401" y="88"/>
                    </a:lnTo>
                    <a:lnTo>
                      <a:pt x="401" y="92"/>
                    </a:lnTo>
                    <a:lnTo>
                      <a:pt x="402" y="92"/>
                    </a:lnTo>
                    <a:lnTo>
                      <a:pt x="399" y="97"/>
                    </a:lnTo>
                    <a:lnTo>
                      <a:pt x="396" y="98"/>
                    </a:lnTo>
                    <a:lnTo>
                      <a:pt x="391" y="98"/>
                    </a:lnTo>
                    <a:lnTo>
                      <a:pt x="389" y="102"/>
                    </a:lnTo>
                    <a:lnTo>
                      <a:pt x="384" y="102"/>
                    </a:lnTo>
                    <a:lnTo>
                      <a:pt x="381" y="103"/>
                    </a:lnTo>
                    <a:lnTo>
                      <a:pt x="376" y="105"/>
                    </a:lnTo>
                    <a:lnTo>
                      <a:pt x="376" y="107"/>
                    </a:lnTo>
                    <a:lnTo>
                      <a:pt x="377" y="108"/>
                    </a:lnTo>
                    <a:lnTo>
                      <a:pt x="376" y="112"/>
                    </a:lnTo>
                    <a:lnTo>
                      <a:pt x="369" y="112"/>
                    </a:lnTo>
                    <a:lnTo>
                      <a:pt x="368" y="113"/>
                    </a:lnTo>
                    <a:lnTo>
                      <a:pt x="368" y="116"/>
                    </a:lnTo>
                    <a:lnTo>
                      <a:pt x="364" y="121"/>
                    </a:lnTo>
                    <a:lnTo>
                      <a:pt x="368" y="123"/>
                    </a:lnTo>
                    <a:lnTo>
                      <a:pt x="369" y="125"/>
                    </a:lnTo>
                    <a:lnTo>
                      <a:pt x="366" y="128"/>
                    </a:lnTo>
                    <a:lnTo>
                      <a:pt x="364" y="135"/>
                    </a:lnTo>
                    <a:lnTo>
                      <a:pt x="363" y="145"/>
                    </a:lnTo>
                    <a:lnTo>
                      <a:pt x="358" y="151"/>
                    </a:lnTo>
                    <a:lnTo>
                      <a:pt x="358" y="155"/>
                    </a:lnTo>
                    <a:lnTo>
                      <a:pt x="356" y="156"/>
                    </a:lnTo>
                    <a:lnTo>
                      <a:pt x="354" y="161"/>
                    </a:lnTo>
                    <a:lnTo>
                      <a:pt x="358" y="171"/>
                    </a:lnTo>
                    <a:lnTo>
                      <a:pt x="359" y="176"/>
                    </a:lnTo>
                    <a:lnTo>
                      <a:pt x="359" y="176"/>
                    </a:lnTo>
                    <a:lnTo>
                      <a:pt x="359" y="178"/>
                    </a:lnTo>
                    <a:lnTo>
                      <a:pt x="356" y="185"/>
                    </a:lnTo>
                    <a:lnTo>
                      <a:pt x="356" y="191"/>
                    </a:lnTo>
                    <a:lnTo>
                      <a:pt x="349" y="203"/>
                    </a:lnTo>
                    <a:lnTo>
                      <a:pt x="346" y="210"/>
                    </a:lnTo>
                    <a:lnTo>
                      <a:pt x="344" y="210"/>
                    </a:lnTo>
                    <a:lnTo>
                      <a:pt x="339" y="210"/>
                    </a:lnTo>
                    <a:lnTo>
                      <a:pt x="339" y="213"/>
                    </a:lnTo>
                    <a:lnTo>
                      <a:pt x="334" y="223"/>
                    </a:lnTo>
                    <a:lnTo>
                      <a:pt x="333" y="226"/>
                    </a:lnTo>
                    <a:lnTo>
                      <a:pt x="326" y="229"/>
                    </a:lnTo>
                    <a:lnTo>
                      <a:pt x="323" y="238"/>
                    </a:lnTo>
                    <a:lnTo>
                      <a:pt x="319" y="253"/>
                    </a:lnTo>
                    <a:lnTo>
                      <a:pt x="316" y="253"/>
                    </a:lnTo>
                    <a:lnTo>
                      <a:pt x="314" y="253"/>
                    </a:lnTo>
                    <a:lnTo>
                      <a:pt x="313" y="256"/>
                    </a:lnTo>
                    <a:lnTo>
                      <a:pt x="308" y="261"/>
                    </a:lnTo>
                    <a:lnTo>
                      <a:pt x="306" y="266"/>
                    </a:lnTo>
                    <a:lnTo>
                      <a:pt x="308" y="268"/>
                    </a:lnTo>
                    <a:lnTo>
                      <a:pt x="308" y="273"/>
                    </a:lnTo>
                    <a:lnTo>
                      <a:pt x="304" y="279"/>
                    </a:lnTo>
                    <a:lnTo>
                      <a:pt x="303" y="284"/>
                    </a:lnTo>
                    <a:lnTo>
                      <a:pt x="303" y="294"/>
                    </a:lnTo>
                    <a:lnTo>
                      <a:pt x="303" y="304"/>
                    </a:lnTo>
                    <a:lnTo>
                      <a:pt x="299" y="306"/>
                    </a:lnTo>
                    <a:lnTo>
                      <a:pt x="298" y="309"/>
                    </a:lnTo>
                    <a:lnTo>
                      <a:pt x="294" y="308"/>
                    </a:lnTo>
                    <a:lnTo>
                      <a:pt x="291" y="306"/>
                    </a:lnTo>
                    <a:lnTo>
                      <a:pt x="288" y="308"/>
                    </a:lnTo>
                    <a:lnTo>
                      <a:pt x="281" y="306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76" y="317"/>
                    </a:lnTo>
                    <a:lnTo>
                      <a:pt x="278" y="321"/>
                    </a:lnTo>
                    <a:lnTo>
                      <a:pt x="281" y="321"/>
                    </a:lnTo>
                    <a:lnTo>
                      <a:pt x="291" y="321"/>
                    </a:lnTo>
                    <a:lnTo>
                      <a:pt x="294" y="324"/>
                    </a:lnTo>
                    <a:lnTo>
                      <a:pt x="298" y="327"/>
                    </a:lnTo>
                    <a:lnTo>
                      <a:pt x="299" y="331"/>
                    </a:lnTo>
                    <a:lnTo>
                      <a:pt x="301" y="332"/>
                    </a:lnTo>
                    <a:lnTo>
                      <a:pt x="306" y="339"/>
                    </a:lnTo>
                    <a:lnTo>
                      <a:pt x="309" y="341"/>
                    </a:lnTo>
                    <a:lnTo>
                      <a:pt x="309" y="342"/>
                    </a:lnTo>
                    <a:lnTo>
                      <a:pt x="311" y="344"/>
                    </a:lnTo>
                    <a:lnTo>
                      <a:pt x="316" y="344"/>
                    </a:lnTo>
                    <a:lnTo>
                      <a:pt x="319" y="347"/>
                    </a:lnTo>
                    <a:lnTo>
                      <a:pt x="321" y="352"/>
                    </a:lnTo>
                    <a:lnTo>
                      <a:pt x="324" y="356"/>
                    </a:lnTo>
                    <a:lnTo>
                      <a:pt x="326" y="364"/>
                    </a:lnTo>
                    <a:lnTo>
                      <a:pt x="329" y="366"/>
                    </a:lnTo>
                    <a:lnTo>
                      <a:pt x="329" y="374"/>
                    </a:lnTo>
                    <a:lnTo>
                      <a:pt x="323" y="382"/>
                    </a:lnTo>
                    <a:lnTo>
                      <a:pt x="316" y="391"/>
                    </a:lnTo>
                    <a:lnTo>
                      <a:pt x="314" y="389"/>
                    </a:lnTo>
                    <a:lnTo>
                      <a:pt x="309" y="394"/>
                    </a:lnTo>
                    <a:lnTo>
                      <a:pt x="306" y="396"/>
                    </a:lnTo>
                    <a:lnTo>
                      <a:pt x="304" y="397"/>
                    </a:lnTo>
                    <a:lnTo>
                      <a:pt x="303" y="401"/>
                    </a:lnTo>
                    <a:lnTo>
                      <a:pt x="303" y="401"/>
                    </a:lnTo>
                    <a:lnTo>
                      <a:pt x="296" y="404"/>
                    </a:lnTo>
                    <a:lnTo>
                      <a:pt x="293" y="407"/>
                    </a:lnTo>
                    <a:lnTo>
                      <a:pt x="288" y="409"/>
                    </a:lnTo>
                    <a:lnTo>
                      <a:pt x="283" y="409"/>
                    </a:lnTo>
                    <a:lnTo>
                      <a:pt x="274" y="409"/>
                    </a:lnTo>
                    <a:lnTo>
                      <a:pt x="268" y="410"/>
                    </a:lnTo>
                    <a:lnTo>
                      <a:pt x="265" y="410"/>
                    </a:lnTo>
                    <a:lnTo>
                      <a:pt x="263" y="412"/>
                    </a:lnTo>
                    <a:lnTo>
                      <a:pt x="260" y="410"/>
                    </a:lnTo>
                    <a:lnTo>
                      <a:pt x="256" y="414"/>
                    </a:lnTo>
                    <a:lnTo>
                      <a:pt x="256" y="417"/>
                    </a:lnTo>
                    <a:lnTo>
                      <a:pt x="255" y="417"/>
                    </a:lnTo>
                    <a:lnTo>
                      <a:pt x="248" y="415"/>
                    </a:lnTo>
                    <a:lnTo>
                      <a:pt x="248" y="412"/>
                    </a:lnTo>
                    <a:lnTo>
                      <a:pt x="243" y="410"/>
                    </a:lnTo>
                    <a:lnTo>
                      <a:pt x="240" y="412"/>
                    </a:lnTo>
                    <a:lnTo>
                      <a:pt x="233" y="410"/>
                    </a:lnTo>
                    <a:lnTo>
                      <a:pt x="228" y="409"/>
                    </a:lnTo>
                    <a:lnTo>
                      <a:pt x="226" y="410"/>
                    </a:lnTo>
                    <a:lnTo>
                      <a:pt x="225" y="414"/>
                    </a:lnTo>
                    <a:lnTo>
                      <a:pt x="226" y="415"/>
                    </a:lnTo>
                    <a:lnTo>
                      <a:pt x="226" y="417"/>
                    </a:lnTo>
                    <a:lnTo>
                      <a:pt x="225" y="415"/>
                    </a:lnTo>
                    <a:lnTo>
                      <a:pt x="218" y="415"/>
                    </a:lnTo>
                    <a:lnTo>
                      <a:pt x="218" y="415"/>
                    </a:lnTo>
                    <a:lnTo>
                      <a:pt x="216" y="414"/>
                    </a:lnTo>
                    <a:lnTo>
                      <a:pt x="216" y="410"/>
                    </a:lnTo>
                    <a:lnTo>
                      <a:pt x="215" y="409"/>
                    </a:lnTo>
                    <a:lnTo>
                      <a:pt x="213" y="404"/>
                    </a:lnTo>
                    <a:lnTo>
                      <a:pt x="210" y="402"/>
                    </a:lnTo>
                    <a:lnTo>
                      <a:pt x="203" y="401"/>
                    </a:lnTo>
                    <a:lnTo>
                      <a:pt x="201" y="399"/>
                    </a:lnTo>
                    <a:lnTo>
                      <a:pt x="200" y="396"/>
                    </a:lnTo>
                    <a:lnTo>
                      <a:pt x="196" y="391"/>
                    </a:lnTo>
                    <a:lnTo>
                      <a:pt x="195" y="389"/>
                    </a:lnTo>
                    <a:lnTo>
                      <a:pt x="190" y="389"/>
                    </a:lnTo>
                    <a:lnTo>
                      <a:pt x="186" y="392"/>
                    </a:lnTo>
                    <a:lnTo>
                      <a:pt x="185" y="394"/>
                    </a:lnTo>
                    <a:lnTo>
                      <a:pt x="180" y="396"/>
                    </a:lnTo>
                    <a:lnTo>
                      <a:pt x="176" y="396"/>
                    </a:lnTo>
                    <a:lnTo>
                      <a:pt x="176" y="394"/>
                    </a:lnTo>
                    <a:lnTo>
                      <a:pt x="173" y="394"/>
                    </a:lnTo>
                    <a:lnTo>
                      <a:pt x="168" y="394"/>
                    </a:lnTo>
                    <a:lnTo>
                      <a:pt x="165" y="396"/>
                    </a:lnTo>
                    <a:lnTo>
                      <a:pt x="163" y="399"/>
                    </a:lnTo>
                    <a:lnTo>
                      <a:pt x="160" y="399"/>
                    </a:lnTo>
                    <a:lnTo>
                      <a:pt x="155" y="397"/>
                    </a:lnTo>
                    <a:lnTo>
                      <a:pt x="150" y="394"/>
                    </a:lnTo>
                    <a:lnTo>
                      <a:pt x="148" y="391"/>
                    </a:lnTo>
                    <a:lnTo>
                      <a:pt x="145" y="391"/>
                    </a:lnTo>
                    <a:lnTo>
                      <a:pt x="142" y="387"/>
                    </a:lnTo>
                    <a:lnTo>
                      <a:pt x="142" y="384"/>
                    </a:lnTo>
                    <a:lnTo>
                      <a:pt x="140" y="384"/>
                    </a:lnTo>
                    <a:lnTo>
                      <a:pt x="140" y="382"/>
                    </a:lnTo>
                    <a:lnTo>
                      <a:pt x="138" y="381"/>
                    </a:lnTo>
                    <a:lnTo>
                      <a:pt x="135" y="377"/>
                    </a:lnTo>
                    <a:lnTo>
                      <a:pt x="132" y="376"/>
                    </a:lnTo>
                    <a:lnTo>
                      <a:pt x="132" y="369"/>
                    </a:lnTo>
                    <a:lnTo>
                      <a:pt x="132" y="367"/>
                    </a:lnTo>
                    <a:lnTo>
                      <a:pt x="128" y="364"/>
                    </a:lnTo>
                    <a:lnTo>
                      <a:pt x="120" y="362"/>
                    </a:lnTo>
                    <a:lnTo>
                      <a:pt x="118" y="361"/>
                    </a:lnTo>
                    <a:lnTo>
                      <a:pt x="118" y="356"/>
                    </a:lnTo>
                    <a:lnTo>
                      <a:pt x="117" y="354"/>
                    </a:lnTo>
                    <a:lnTo>
                      <a:pt x="112" y="352"/>
                    </a:lnTo>
                    <a:lnTo>
                      <a:pt x="108" y="351"/>
                    </a:lnTo>
                    <a:lnTo>
                      <a:pt x="108" y="344"/>
                    </a:lnTo>
                    <a:lnTo>
                      <a:pt x="107" y="342"/>
                    </a:lnTo>
                    <a:lnTo>
                      <a:pt x="98" y="337"/>
                    </a:lnTo>
                    <a:lnTo>
                      <a:pt x="97" y="337"/>
                    </a:lnTo>
                    <a:lnTo>
                      <a:pt x="93" y="336"/>
                    </a:lnTo>
                    <a:lnTo>
                      <a:pt x="92" y="337"/>
                    </a:lnTo>
                    <a:lnTo>
                      <a:pt x="87" y="336"/>
                    </a:lnTo>
                    <a:lnTo>
                      <a:pt x="82" y="332"/>
                    </a:lnTo>
                    <a:lnTo>
                      <a:pt x="83" y="331"/>
                    </a:lnTo>
                    <a:lnTo>
                      <a:pt x="85" y="329"/>
                    </a:lnTo>
                    <a:lnTo>
                      <a:pt x="88" y="326"/>
                    </a:lnTo>
                    <a:lnTo>
                      <a:pt x="88" y="322"/>
                    </a:lnTo>
                    <a:lnTo>
                      <a:pt x="87" y="321"/>
                    </a:lnTo>
                    <a:lnTo>
                      <a:pt x="83" y="321"/>
                    </a:lnTo>
                    <a:lnTo>
                      <a:pt x="78" y="317"/>
                    </a:lnTo>
                    <a:lnTo>
                      <a:pt x="77" y="316"/>
                    </a:lnTo>
                    <a:lnTo>
                      <a:pt x="73" y="312"/>
                    </a:lnTo>
                    <a:lnTo>
                      <a:pt x="69" y="312"/>
                    </a:lnTo>
                    <a:lnTo>
                      <a:pt x="64" y="311"/>
                    </a:lnTo>
                    <a:lnTo>
                      <a:pt x="60" y="308"/>
                    </a:lnTo>
                    <a:lnTo>
                      <a:pt x="59" y="304"/>
                    </a:lnTo>
                    <a:lnTo>
                      <a:pt x="60" y="301"/>
                    </a:lnTo>
                    <a:lnTo>
                      <a:pt x="59" y="299"/>
                    </a:lnTo>
                    <a:lnTo>
                      <a:pt x="50" y="299"/>
                    </a:lnTo>
                    <a:lnTo>
                      <a:pt x="49" y="301"/>
                    </a:lnTo>
                    <a:lnTo>
                      <a:pt x="44" y="301"/>
                    </a:lnTo>
                    <a:lnTo>
                      <a:pt x="40" y="298"/>
                    </a:lnTo>
                    <a:lnTo>
                      <a:pt x="39" y="291"/>
                    </a:lnTo>
                    <a:lnTo>
                      <a:pt x="40" y="288"/>
                    </a:lnTo>
                    <a:lnTo>
                      <a:pt x="42" y="286"/>
                    </a:lnTo>
                    <a:lnTo>
                      <a:pt x="44" y="281"/>
                    </a:lnTo>
                    <a:lnTo>
                      <a:pt x="42" y="278"/>
                    </a:lnTo>
                    <a:lnTo>
                      <a:pt x="37" y="269"/>
                    </a:lnTo>
                    <a:lnTo>
                      <a:pt x="32" y="261"/>
                    </a:lnTo>
                    <a:lnTo>
                      <a:pt x="30" y="259"/>
                    </a:lnTo>
                    <a:lnTo>
                      <a:pt x="25" y="254"/>
                    </a:lnTo>
                    <a:lnTo>
                      <a:pt x="27" y="253"/>
                    </a:lnTo>
                    <a:lnTo>
                      <a:pt x="27" y="251"/>
                    </a:lnTo>
                    <a:lnTo>
                      <a:pt x="24" y="248"/>
                    </a:lnTo>
                    <a:lnTo>
                      <a:pt x="24" y="246"/>
                    </a:lnTo>
                    <a:lnTo>
                      <a:pt x="24" y="244"/>
                    </a:lnTo>
                    <a:lnTo>
                      <a:pt x="27" y="241"/>
                    </a:lnTo>
                    <a:lnTo>
                      <a:pt x="24" y="238"/>
                    </a:lnTo>
                    <a:lnTo>
                      <a:pt x="15" y="234"/>
                    </a:lnTo>
                    <a:lnTo>
                      <a:pt x="14" y="231"/>
                    </a:lnTo>
                    <a:lnTo>
                      <a:pt x="14" y="226"/>
                    </a:lnTo>
                    <a:lnTo>
                      <a:pt x="12" y="221"/>
                    </a:lnTo>
                    <a:lnTo>
                      <a:pt x="14" y="219"/>
                    </a:lnTo>
                    <a:lnTo>
                      <a:pt x="10" y="216"/>
                    </a:lnTo>
                    <a:lnTo>
                      <a:pt x="14" y="214"/>
                    </a:lnTo>
                    <a:lnTo>
                      <a:pt x="14" y="211"/>
                    </a:lnTo>
                    <a:lnTo>
                      <a:pt x="10" y="211"/>
                    </a:lnTo>
                    <a:lnTo>
                      <a:pt x="4" y="214"/>
                    </a:lnTo>
                    <a:lnTo>
                      <a:pt x="0" y="213"/>
                    </a:lnTo>
                    <a:lnTo>
                      <a:pt x="0" y="208"/>
                    </a:lnTo>
                    <a:lnTo>
                      <a:pt x="9" y="200"/>
                    </a:lnTo>
                    <a:lnTo>
                      <a:pt x="12" y="196"/>
                    </a:lnTo>
                    <a:lnTo>
                      <a:pt x="10" y="191"/>
                    </a:lnTo>
                    <a:lnTo>
                      <a:pt x="7" y="190"/>
                    </a:lnTo>
                    <a:lnTo>
                      <a:pt x="7" y="186"/>
                    </a:lnTo>
                    <a:lnTo>
                      <a:pt x="12" y="185"/>
                    </a:lnTo>
                    <a:lnTo>
                      <a:pt x="15" y="180"/>
                    </a:lnTo>
                    <a:lnTo>
                      <a:pt x="12" y="176"/>
                    </a:lnTo>
                    <a:lnTo>
                      <a:pt x="12" y="173"/>
                    </a:lnTo>
                    <a:lnTo>
                      <a:pt x="15" y="170"/>
                    </a:lnTo>
                    <a:lnTo>
                      <a:pt x="19" y="170"/>
                    </a:lnTo>
                    <a:lnTo>
                      <a:pt x="27" y="161"/>
                    </a:lnTo>
                    <a:lnTo>
                      <a:pt x="29" y="155"/>
                    </a:lnTo>
                    <a:lnTo>
                      <a:pt x="27" y="153"/>
                    </a:lnTo>
                    <a:lnTo>
                      <a:pt x="27" y="146"/>
                    </a:lnTo>
                    <a:lnTo>
                      <a:pt x="32" y="145"/>
                    </a:lnTo>
                    <a:lnTo>
                      <a:pt x="37" y="145"/>
                    </a:lnTo>
                    <a:lnTo>
                      <a:pt x="42" y="146"/>
                    </a:lnTo>
                    <a:lnTo>
                      <a:pt x="45" y="143"/>
                    </a:lnTo>
                    <a:lnTo>
                      <a:pt x="50" y="143"/>
                    </a:lnTo>
                    <a:lnTo>
                      <a:pt x="49" y="57"/>
                    </a:lnTo>
                    <a:lnTo>
                      <a:pt x="49" y="55"/>
                    </a:lnTo>
                    <a:lnTo>
                      <a:pt x="49" y="48"/>
                    </a:lnTo>
                    <a:lnTo>
                      <a:pt x="72" y="45"/>
                    </a:lnTo>
                    <a:lnTo>
                      <a:pt x="69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0" name="Freeform 90"/>
              <p:cNvSpPr>
                <a:spLocks/>
              </p:cNvSpPr>
              <p:nvPr/>
            </p:nvSpPr>
            <p:spPr bwMode="auto">
              <a:xfrm>
                <a:off x="6845254" y="3098512"/>
                <a:ext cx="196926" cy="130736"/>
              </a:xfrm>
              <a:custGeom>
                <a:avLst/>
                <a:gdLst/>
                <a:ahLst/>
                <a:cxnLst>
                  <a:cxn ang="0">
                    <a:pos x="50" y="201"/>
                  </a:cxn>
                  <a:cxn ang="0">
                    <a:pos x="43" y="184"/>
                  </a:cxn>
                  <a:cxn ang="0">
                    <a:pos x="33" y="179"/>
                  </a:cxn>
                  <a:cxn ang="0">
                    <a:pos x="25" y="169"/>
                  </a:cxn>
                  <a:cxn ang="0">
                    <a:pos x="18" y="161"/>
                  </a:cxn>
                  <a:cxn ang="0">
                    <a:pos x="2" y="158"/>
                  </a:cxn>
                  <a:cxn ang="0">
                    <a:pos x="5" y="148"/>
                  </a:cxn>
                  <a:cxn ang="0">
                    <a:pos x="15" y="143"/>
                  </a:cxn>
                  <a:cxn ang="0">
                    <a:pos x="23" y="143"/>
                  </a:cxn>
                  <a:cxn ang="0">
                    <a:pos x="27" y="121"/>
                  </a:cxn>
                  <a:cxn ang="0">
                    <a:pos x="32" y="105"/>
                  </a:cxn>
                  <a:cxn ang="0">
                    <a:pos x="37" y="93"/>
                  </a:cxn>
                  <a:cxn ang="0">
                    <a:pos x="43" y="90"/>
                  </a:cxn>
                  <a:cxn ang="0">
                    <a:pos x="57" y="63"/>
                  </a:cxn>
                  <a:cxn ang="0">
                    <a:pos x="63" y="47"/>
                  </a:cxn>
                  <a:cxn ang="0">
                    <a:pos x="73" y="40"/>
                  </a:cxn>
                  <a:cxn ang="0">
                    <a:pos x="83" y="15"/>
                  </a:cxn>
                  <a:cxn ang="0">
                    <a:pos x="92" y="15"/>
                  </a:cxn>
                  <a:cxn ang="0">
                    <a:pos x="105" y="0"/>
                  </a:cxn>
                  <a:cxn ang="0">
                    <a:pos x="118" y="7"/>
                  </a:cxn>
                  <a:cxn ang="0">
                    <a:pos x="131" y="2"/>
                  </a:cxn>
                  <a:cxn ang="0">
                    <a:pos x="141" y="3"/>
                  </a:cxn>
                  <a:cxn ang="0">
                    <a:pos x="153" y="7"/>
                  </a:cxn>
                  <a:cxn ang="0">
                    <a:pos x="166" y="12"/>
                  </a:cxn>
                  <a:cxn ang="0">
                    <a:pos x="185" y="23"/>
                  </a:cxn>
                  <a:cxn ang="0">
                    <a:pos x="191" y="28"/>
                  </a:cxn>
                  <a:cxn ang="0">
                    <a:pos x="208" y="38"/>
                  </a:cxn>
                  <a:cxn ang="0">
                    <a:pos x="214" y="50"/>
                  </a:cxn>
                  <a:cxn ang="0">
                    <a:pos x="219" y="60"/>
                  </a:cxn>
                  <a:cxn ang="0">
                    <a:pos x="218" y="75"/>
                  </a:cxn>
                  <a:cxn ang="0">
                    <a:pos x="211" y="88"/>
                  </a:cxn>
                  <a:cxn ang="0">
                    <a:pos x="228" y="86"/>
                  </a:cxn>
                  <a:cxn ang="0">
                    <a:pos x="238" y="90"/>
                  </a:cxn>
                  <a:cxn ang="0">
                    <a:pos x="249" y="113"/>
                  </a:cxn>
                  <a:cxn ang="0">
                    <a:pos x="261" y="128"/>
                  </a:cxn>
                  <a:cxn ang="0">
                    <a:pos x="369" y="151"/>
                  </a:cxn>
                  <a:cxn ang="0">
                    <a:pos x="264" y="219"/>
                  </a:cxn>
                  <a:cxn ang="0">
                    <a:pos x="249" y="226"/>
                  </a:cxn>
                  <a:cxn ang="0">
                    <a:pos x="236" y="236"/>
                  </a:cxn>
                  <a:cxn ang="0">
                    <a:pos x="218" y="243"/>
                  </a:cxn>
                  <a:cxn ang="0">
                    <a:pos x="203" y="244"/>
                  </a:cxn>
                  <a:cxn ang="0">
                    <a:pos x="193" y="236"/>
                  </a:cxn>
                  <a:cxn ang="0">
                    <a:pos x="175" y="239"/>
                  </a:cxn>
                  <a:cxn ang="0">
                    <a:pos x="161" y="252"/>
                  </a:cxn>
                  <a:cxn ang="0">
                    <a:pos x="148" y="251"/>
                  </a:cxn>
                  <a:cxn ang="0">
                    <a:pos x="128" y="251"/>
                  </a:cxn>
                  <a:cxn ang="0">
                    <a:pos x="113" y="241"/>
                  </a:cxn>
                  <a:cxn ang="0">
                    <a:pos x="87" y="231"/>
                  </a:cxn>
                  <a:cxn ang="0">
                    <a:pos x="72" y="231"/>
                  </a:cxn>
                  <a:cxn ang="0">
                    <a:pos x="63" y="213"/>
                  </a:cxn>
                  <a:cxn ang="0">
                    <a:pos x="53" y="211"/>
                  </a:cxn>
                </a:cxnLst>
                <a:rect l="0" t="0" r="r" b="b"/>
                <a:pathLst>
                  <a:path w="369" h="252">
                    <a:moveTo>
                      <a:pt x="53" y="211"/>
                    </a:moveTo>
                    <a:lnTo>
                      <a:pt x="53" y="203"/>
                    </a:lnTo>
                    <a:lnTo>
                      <a:pt x="50" y="201"/>
                    </a:lnTo>
                    <a:lnTo>
                      <a:pt x="48" y="193"/>
                    </a:lnTo>
                    <a:lnTo>
                      <a:pt x="45" y="189"/>
                    </a:lnTo>
                    <a:lnTo>
                      <a:pt x="43" y="184"/>
                    </a:lnTo>
                    <a:lnTo>
                      <a:pt x="40" y="181"/>
                    </a:lnTo>
                    <a:lnTo>
                      <a:pt x="35" y="181"/>
                    </a:lnTo>
                    <a:lnTo>
                      <a:pt x="33" y="179"/>
                    </a:lnTo>
                    <a:lnTo>
                      <a:pt x="33" y="178"/>
                    </a:lnTo>
                    <a:lnTo>
                      <a:pt x="30" y="176"/>
                    </a:lnTo>
                    <a:lnTo>
                      <a:pt x="25" y="169"/>
                    </a:lnTo>
                    <a:lnTo>
                      <a:pt x="23" y="168"/>
                    </a:lnTo>
                    <a:lnTo>
                      <a:pt x="22" y="164"/>
                    </a:lnTo>
                    <a:lnTo>
                      <a:pt x="18" y="161"/>
                    </a:lnTo>
                    <a:lnTo>
                      <a:pt x="15" y="158"/>
                    </a:lnTo>
                    <a:lnTo>
                      <a:pt x="5" y="158"/>
                    </a:lnTo>
                    <a:lnTo>
                      <a:pt x="2" y="158"/>
                    </a:lnTo>
                    <a:lnTo>
                      <a:pt x="0" y="154"/>
                    </a:lnTo>
                    <a:lnTo>
                      <a:pt x="3" y="149"/>
                    </a:lnTo>
                    <a:lnTo>
                      <a:pt x="5" y="148"/>
                    </a:lnTo>
                    <a:lnTo>
                      <a:pt x="5" y="143"/>
                    </a:lnTo>
                    <a:lnTo>
                      <a:pt x="12" y="145"/>
                    </a:lnTo>
                    <a:lnTo>
                      <a:pt x="15" y="143"/>
                    </a:lnTo>
                    <a:lnTo>
                      <a:pt x="18" y="145"/>
                    </a:lnTo>
                    <a:lnTo>
                      <a:pt x="22" y="146"/>
                    </a:lnTo>
                    <a:lnTo>
                      <a:pt x="23" y="143"/>
                    </a:lnTo>
                    <a:lnTo>
                      <a:pt x="27" y="141"/>
                    </a:lnTo>
                    <a:lnTo>
                      <a:pt x="27" y="131"/>
                    </a:lnTo>
                    <a:lnTo>
                      <a:pt x="27" y="121"/>
                    </a:lnTo>
                    <a:lnTo>
                      <a:pt x="28" y="116"/>
                    </a:lnTo>
                    <a:lnTo>
                      <a:pt x="32" y="110"/>
                    </a:lnTo>
                    <a:lnTo>
                      <a:pt x="32" y="105"/>
                    </a:lnTo>
                    <a:lnTo>
                      <a:pt x="30" y="103"/>
                    </a:lnTo>
                    <a:lnTo>
                      <a:pt x="32" y="98"/>
                    </a:lnTo>
                    <a:lnTo>
                      <a:pt x="37" y="93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43" y="90"/>
                    </a:lnTo>
                    <a:lnTo>
                      <a:pt x="47" y="75"/>
                    </a:lnTo>
                    <a:lnTo>
                      <a:pt x="50" y="66"/>
                    </a:lnTo>
                    <a:lnTo>
                      <a:pt x="57" y="63"/>
                    </a:lnTo>
                    <a:lnTo>
                      <a:pt x="58" y="60"/>
                    </a:lnTo>
                    <a:lnTo>
                      <a:pt x="63" y="50"/>
                    </a:lnTo>
                    <a:lnTo>
                      <a:pt x="63" y="47"/>
                    </a:lnTo>
                    <a:lnTo>
                      <a:pt x="68" y="47"/>
                    </a:lnTo>
                    <a:lnTo>
                      <a:pt x="70" y="47"/>
                    </a:lnTo>
                    <a:lnTo>
                      <a:pt x="73" y="40"/>
                    </a:lnTo>
                    <a:lnTo>
                      <a:pt x="80" y="28"/>
                    </a:lnTo>
                    <a:lnTo>
                      <a:pt x="80" y="22"/>
                    </a:lnTo>
                    <a:lnTo>
                      <a:pt x="83" y="15"/>
                    </a:lnTo>
                    <a:lnTo>
                      <a:pt x="83" y="13"/>
                    </a:lnTo>
                    <a:lnTo>
                      <a:pt x="87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8" y="12"/>
                    </a:lnTo>
                    <a:lnTo>
                      <a:pt x="105" y="0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8" y="7"/>
                    </a:lnTo>
                    <a:lnTo>
                      <a:pt x="123" y="7"/>
                    </a:lnTo>
                    <a:lnTo>
                      <a:pt x="126" y="3"/>
                    </a:lnTo>
                    <a:lnTo>
                      <a:pt x="131" y="2"/>
                    </a:lnTo>
                    <a:lnTo>
                      <a:pt x="135" y="5"/>
                    </a:lnTo>
                    <a:lnTo>
                      <a:pt x="136" y="3"/>
                    </a:lnTo>
                    <a:lnTo>
                      <a:pt x="141" y="3"/>
                    </a:lnTo>
                    <a:lnTo>
                      <a:pt x="148" y="8"/>
                    </a:lnTo>
                    <a:lnTo>
                      <a:pt x="150" y="8"/>
                    </a:lnTo>
                    <a:lnTo>
                      <a:pt x="153" y="7"/>
                    </a:lnTo>
                    <a:lnTo>
                      <a:pt x="158" y="8"/>
                    </a:lnTo>
                    <a:lnTo>
                      <a:pt x="163" y="12"/>
                    </a:lnTo>
                    <a:lnTo>
                      <a:pt x="166" y="12"/>
                    </a:lnTo>
                    <a:lnTo>
                      <a:pt x="175" y="20"/>
                    </a:lnTo>
                    <a:lnTo>
                      <a:pt x="176" y="23"/>
                    </a:lnTo>
                    <a:lnTo>
                      <a:pt x="185" y="23"/>
                    </a:lnTo>
                    <a:lnTo>
                      <a:pt x="185" y="25"/>
                    </a:lnTo>
                    <a:lnTo>
                      <a:pt x="190" y="25"/>
                    </a:lnTo>
                    <a:lnTo>
                      <a:pt x="191" y="28"/>
                    </a:lnTo>
                    <a:lnTo>
                      <a:pt x="196" y="32"/>
                    </a:lnTo>
                    <a:lnTo>
                      <a:pt x="203" y="37"/>
                    </a:lnTo>
                    <a:lnTo>
                      <a:pt x="208" y="38"/>
                    </a:lnTo>
                    <a:lnTo>
                      <a:pt x="213" y="43"/>
                    </a:lnTo>
                    <a:lnTo>
                      <a:pt x="213" y="48"/>
                    </a:lnTo>
                    <a:lnTo>
                      <a:pt x="214" y="50"/>
                    </a:lnTo>
                    <a:lnTo>
                      <a:pt x="218" y="51"/>
                    </a:lnTo>
                    <a:lnTo>
                      <a:pt x="224" y="58"/>
                    </a:lnTo>
                    <a:lnTo>
                      <a:pt x="219" y="60"/>
                    </a:lnTo>
                    <a:lnTo>
                      <a:pt x="218" y="65"/>
                    </a:lnTo>
                    <a:lnTo>
                      <a:pt x="216" y="70"/>
                    </a:lnTo>
                    <a:lnTo>
                      <a:pt x="218" y="75"/>
                    </a:lnTo>
                    <a:lnTo>
                      <a:pt x="214" y="78"/>
                    </a:lnTo>
                    <a:lnTo>
                      <a:pt x="214" y="83"/>
                    </a:lnTo>
                    <a:lnTo>
                      <a:pt x="211" y="88"/>
                    </a:lnTo>
                    <a:lnTo>
                      <a:pt x="213" y="90"/>
                    </a:lnTo>
                    <a:lnTo>
                      <a:pt x="223" y="90"/>
                    </a:lnTo>
                    <a:lnTo>
                      <a:pt x="228" y="86"/>
                    </a:lnTo>
                    <a:lnTo>
                      <a:pt x="234" y="85"/>
                    </a:lnTo>
                    <a:lnTo>
                      <a:pt x="239" y="88"/>
                    </a:lnTo>
                    <a:lnTo>
                      <a:pt x="238" y="90"/>
                    </a:lnTo>
                    <a:lnTo>
                      <a:pt x="239" y="98"/>
                    </a:lnTo>
                    <a:lnTo>
                      <a:pt x="243" y="110"/>
                    </a:lnTo>
                    <a:lnTo>
                      <a:pt x="249" y="113"/>
                    </a:lnTo>
                    <a:lnTo>
                      <a:pt x="248" y="120"/>
                    </a:lnTo>
                    <a:lnTo>
                      <a:pt x="251" y="126"/>
                    </a:lnTo>
                    <a:lnTo>
                      <a:pt x="261" y="128"/>
                    </a:lnTo>
                    <a:lnTo>
                      <a:pt x="266" y="133"/>
                    </a:lnTo>
                    <a:lnTo>
                      <a:pt x="337" y="153"/>
                    </a:lnTo>
                    <a:lnTo>
                      <a:pt x="369" y="151"/>
                    </a:lnTo>
                    <a:lnTo>
                      <a:pt x="294" y="219"/>
                    </a:lnTo>
                    <a:lnTo>
                      <a:pt x="279" y="219"/>
                    </a:lnTo>
                    <a:lnTo>
                      <a:pt x="264" y="219"/>
                    </a:lnTo>
                    <a:lnTo>
                      <a:pt x="259" y="223"/>
                    </a:lnTo>
                    <a:lnTo>
                      <a:pt x="254" y="223"/>
                    </a:lnTo>
                    <a:lnTo>
                      <a:pt x="249" y="226"/>
                    </a:lnTo>
                    <a:lnTo>
                      <a:pt x="246" y="231"/>
                    </a:lnTo>
                    <a:lnTo>
                      <a:pt x="243" y="233"/>
                    </a:lnTo>
                    <a:lnTo>
                      <a:pt x="236" y="236"/>
                    </a:lnTo>
                    <a:lnTo>
                      <a:pt x="228" y="236"/>
                    </a:lnTo>
                    <a:lnTo>
                      <a:pt x="221" y="241"/>
                    </a:lnTo>
                    <a:lnTo>
                      <a:pt x="218" y="243"/>
                    </a:lnTo>
                    <a:lnTo>
                      <a:pt x="218" y="244"/>
                    </a:lnTo>
                    <a:lnTo>
                      <a:pt x="211" y="244"/>
                    </a:lnTo>
                    <a:lnTo>
                      <a:pt x="203" y="244"/>
                    </a:lnTo>
                    <a:lnTo>
                      <a:pt x="198" y="243"/>
                    </a:lnTo>
                    <a:lnTo>
                      <a:pt x="196" y="238"/>
                    </a:lnTo>
                    <a:lnTo>
                      <a:pt x="193" y="236"/>
                    </a:lnTo>
                    <a:lnTo>
                      <a:pt x="181" y="238"/>
                    </a:lnTo>
                    <a:lnTo>
                      <a:pt x="178" y="239"/>
                    </a:lnTo>
                    <a:lnTo>
                      <a:pt x="175" y="239"/>
                    </a:lnTo>
                    <a:lnTo>
                      <a:pt x="170" y="241"/>
                    </a:lnTo>
                    <a:lnTo>
                      <a:pt x="166" y="244"/>
                    </a:lnTo>
                    <a:lnTo>
                      <a:pt x="161" y="252"/>
                    </a:lnTo>
                    <a:lnTo>
                      <a:pt x="156" y="252"/>
                    </a:lnTo>
                    <a:lnTo>
                      <a:pt x="153" y="252"/>
                    </a:lnTo>
                    <a:lnTo>
                      <a:pt x="148" y="251"/>
                    </a:lnTo>
                    <a:lnTo>
                      <a:pt x="141" y="252"/>
                    </a:lnTo>
                    <a:lnTo>
                      <a:pt x="136" y="251"/>
                    </a:lnTo>
                    <a:lnTo>
                      <a:pt x="128" y="251"/>
                    </a:lnTo>
                    <a:lnTo>
                      <a:pt x="123" y="249"/>
                    </a:lnTo>
                    <a:lnTo>
                      <a:pt x="120" y="244"/>
                    </a:lnTo>
                    <a:lnTo>
                      <a:pt x="113" y="241"/>
                    </a:lnTo>
                    <a:lnTo>
                      <a:pt x="103" y="233"/>
                    </a:lnTo>
                    <a:lnTo>
                      <a:pt x="100" y="229"/>
                    </a:lnTo>
                    <a:lnTo>
                      <a:pt x="87" y="231"/>
                    </a:lnTo>
                    <a:lnTo>
                      <a:pt x="82" y="229"/>
                    </a:lnTo>
                    <a:lnTo>
                      <a:pt x="77" y="231"/>
                    </a:lnTo>
                    <a:lnTo>
                      <a:pt x="72" y="231"/>
                    </a:lnTo>
                    <a:lnTo>
                      <a:pt x="67" y="226"/>
                    </a:lnTo>
                    <a:lnTo>
                      <a:pt x="67" y="213"/>
                    </a:lnTo>
                    <a:lnTo>
                      <a:pt x="63" y="213"/>
                    </a:lnTo>
                    <a:lnTo>
                      <a:pt x="58" y="213"/>
                    </a:lnTo>
                    <a:lnTo>
                      <a:pt x="57" y="209"/>
                    </a:lnTo>
                    <a:lnTo>
                      <a:pt x="53" y="2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1" name="Freeform 91"/>
              <p:cNvSpPr>
                <a:spLocks/>
              </p:cNvSpPr>
              <p:nvPr/>
            </p:nvSpPr>
            <p:spPr bwMode="auto">
              <a:xfrm>
                <a:off x="6886994" y="3061159"/>
                <a:ext cx="87760" cy="67444"/>
              </a:xfrm>
              <a:custGeom>
                <a:avLst/>
                <a:gdLst/>
                <a:ahLst/>
                <a:cxnLst>
                  <a:cxn ang="0">
                    <a:pos x="140" y="122"/>
                  </a:cxn>
                  <a:cxn ang="0">
                    <a:pos x="135" y="119"/>
                  </a:cxn>
                  <a:cxn ang="0">
                    <a:pos x="130" y="109"/>
                  </a:cxn>
                  <a:cxn ang="0">
                    <a:pos x="118" y="103"/>
                  </a:cxn>
                  <a:cxn ang="0">
                    <a:pos x="112" y="96"/>
                  </a:cxn>
                  <a:cxn ang="0">
                    <a:pos x="107" y="94"/>
                  </a:cxn>
                  <a:cxn ang="0">
                    <a:pos x="97" y="91"/>
                  </a:cxn>
                  <a:cxn ang="0">
                    <a:pos x="85" y="83"/>
                  </a:cxn>
                  <a:cxn ang="0">
                    <a:pos x="75" y="78"/>
                  </a:cxn>
                  <a:cxn ang="0">
                    <a:pos x="70" y="79"/>
                  </a:cxn>
                  <a:cxn ang="0">
                    <a:pos x="58" y="74"/>
                  </a:cxn>
                  <a:cxn ang="0">
                    <a:pos x="53" y="73"/>
                  </a:cxn>
                  <a:cxn ang="0">
                    <a:pos x="45" y="78"/>
                  </a:cxn>
                  <a:cxn ang="0">
                    <a:pos x="30" y="74"/>
                  </a:cxn>
                  <a:cxn ang="0">
                    <a:pos x="27" y="71"/>
                  </a:cxn>
                  <a:cxn ang="0">
                    <a:pos x="15" y="83"/>
                  </a:cxn>
                  <a:cxn ang="0">
                    <a:pos x="9" y="86"/>
                  </a:cxn>
                  <a:cxn ang="0">
                    <a:pos x="4" y="79"/>
                  </a:cxn>
                  <a:cxn ang="0">
                    <a:pos x="2" y="64"/>
                  </a:cxn>
                  <a:cxn ang="0">
                    <a:pos x="4" y="59"/>
                  </a:cxn>
                  <a:cxn ang="0">
                    <a:pos x="10" y="43"/>
                  </a:cxn>
                  <a:cxn ang="0">
                    <a:pos x="15" y="33"/>
                  </a:cxn>
                  <a:cxn ang="0">
                    <a:pos x="10" y="29"/>
                  </a:cxn>
                  <a:cxn ang="0">
                    <a:pos x="14" y="21"/>
                  </a:cxn>
                  <a:cxn ang="0">
                    <a:pos x="22" y="20"/>
                  </a:cxn>
                  <a:cxn ang="0">
                    <a:pos x="22" y="15"/>
                  </a:cxn>
                  <a:cxn ang="0">
                    <a:pos x="27" y="11"/>
                  </a:cxn>
                  <a:cxn ang="0">
                    <a:pos x="35" y="10"/>
                  </a:cxn>
                  <a:cxn ang="0">
                    <a:pos x="42" y="6"/>
                  </a:cxn>
                  <a:cxn ang="0">
                    <a:pos x="48" y="0"/>
                  </a:cxn>
                  <a:cxn ang="0">
                    <a:pos x="55" y="5"/>
                  </a:cxn>
                  <a:cxn ang="0">
                    <a:pos x="68" y="44"/>
                  </a:cxn>
                  <a:cxn ang="0">
                    <a:pos x="70" y="51"/>
                  </a:cxn>
                  <a:cxn ang="0">
                    <a:pos x="73" y="54"/>
                  </a:cxn>
                  <a:cxn ang="0">
                    <a:pos x="77" y="66"/>
                  </a:cxn>
                  <a:cxn ang="0">
                    <a:pos x="82" y="61"/>
                  </a:cxn>
                  <a:cxn ang="0">
                    <a:pos x="80" y="56"/>
                  </a:cxn>
                  <a:cxn ang="0">
                    <a:pos x="87" y="61"/>
                  </a:cxn>
                  <a:cxn ang="0">
                    <a:pos x="90" y="68"/>
                  </a:cxn>
                  <a:cxn ang="0">
                    <a:pos x="95" y="69"/>
                  </a:cxn>
                  <a:cxn ang="0">
                    <a:pos x="100" y="69"/>
                  </a:cxn>
                  <a:cxn ang="0">
                    <a:pos x="107" y="73"/>
                  </a:cxn>
                  <a:cxn ang="0">
                    <a:pos x="116" y="78"/>
                  </a:cxn>
                  <a:cxn ang="0">
                    <a:pos x="126" y="88"/>
                  </a:cxn>
                  <a:cxn ang="0">
                    <a:pos x="135" y="96"/>
                  </a:cxn>
                  <a:cxn ang="0">
                    <a:pos x="140" y="99"/>
                  </a:cxn>
                  <a:cxn ang="0">
                    <a:pos x="141" y="99"/>
                  </a:cxn>
                  <a:cxn ang="0">
                    <a:pos x="148" y="109"/>
                  </a:cxn>
                  <a:cxn ang="0">
                    <a:pos x="151" y="114"/>
                  </a:cxn>
                  <a:cxn ang="0">
                    <a:pos x="156" y="119"/>
                  </a:cxn>
                  <a:cxn ang="0">
                    <a:pos x="160" y="119"/>
                  </a:cxn>
                  <a:cxn ang="0">
                    <a:pos x="163" y="121"/>
                  </a:cxn>
                  <a:cxn ang="0">
                    <a:pos x="155" y="126"/>
                  </a:cxn>
                  <a:cxn ang="0">
                    <a:pos x="146" y="129"/>
                  </a:cxn>
                </a:cxnLst>
                <a:rect l="0" t="0" r="r" b="b"/>
                <a:pathLst>
                  <a:path w="163" h="129">
                    <a:moveTo>
                      <a:pt x="146" y="129"/>
                    </a:moveTo>
                    <a:lnTo>
                      <a:pt x="140" y="122"/>
                    </a:lnTo>
                    <a:lnTo>
                      <a:pt x="136" y="121"/>
                    </a:lnTo>
                    <a:lnTo>
                      <a:pt x="135" y="119"/>
                    </a:lnTo>
                    <a:lnTo>
                      <a:pt x="135" y="114"/>
                    </a:lnTo>
                    <a:lnTo>
                      <a:pt x="130" y="109"/>
                    </a:lnTo>
                    <a:lnTo>
                      <a:pt x="125" y="108"/>
                    </a:lnTo>
                    <a:lnTo>
                      <a:pt x="118" y="103"/>
                    </a:lnTo>
                    <a:lnTo>
                      <a:pt x="113" y="99"/>
                    </a:lnTo>
                    <a:lnTo>
                      <a:pt x="112" y="96"/>
                    </a:lnTo>
                    <a:lnTo>
                      <a:pt x="107" y="96"/>
                    </a:lnTo>
                    <a:lnTo>
                      <a:pt x="107" y="94"/>
                    </a:lnTo>
                    <a:lnTo>
                      <a:pt x="98" y="94"/>
                    </a:lnTo>
                    <a:lnTo>
                      <a:pt x="97" y="91"/>
                    </a:lnTo>
                    <a:lnTo>
                      <a:pt x="88" y="83"/>
                    </a:lnTo>
                    <a:lnTo>
                      <a:pt x="85" y="83"/>
                    </a:lnTo>
                    <a:lnTo>
                      <a:pt x="80" y="79"/>
                    </a:lnTo>
                    <a:lnTo>
                      <a:pt x="75" y="78"/>
                    </a:lnTo>
                    <a:lnTo>
                      <a:pt x="72" y="79"/>
                    </a:lnTo>
                    <a:lnTo>
                      <a:pt x="70" y="79"/>
                    </a:lnTo>
                    <a:lnTo>
                      <a:pt x="63" y="74"/>
                    </a:lnTo>
                    <a:lnTo>
                      <a:pt x="58" y="74"/>
                    </a:lnTo>
                    <a:lnTo>
                      <a:pt x="57" y="76"/>
                    </a:lnTo>
                    <a:lnTo>
                      <a:pt x="53" y="73"/>
                    </a:lnTo>
                    <a:lnTo>
                      <a:pt x="48" y="74"/>
                    </a:lnTo>
                    <a:lnTo>
                      <a:pt x="45" y="78"/>
                    </a:lnTo>
                    <a:lnTo>
                      <a:pt x="40" y="78"/>
                    </a:lnTo>
                    <a:lnTo>
                      <a:pt x="30" y="74"/>
                    </a:lnTo>
                    <a:lnTo>
                      <a:pt x="28" y="73"/>
                    </a:lnTo>
                    <a:lnTo>
                      <a:pt x="27" y="71"/>
                    </a:lnTo>
                    <a:lnTo>
                      <a:pt x="20" y="83"/>
                    </a:lnTo>
                    <a:lnTo>
                      <a:pt x="15" y="83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5" y="84"/>
                    </a:lnTo>
                    <a:lnTo>
                      <a:pt x="4" y="79"/>
                    </a:lnTo>
                    <a:lnTo>
                      <a:pt x="0" y="69"/>
                    </a:lnTo>
                    <a:lnTo>
                      <a:pt x="2" y="64"/>
                    </a:lnTo>
                    <a:lnTo>
                      <a:pt x="4" y="63"/>
                    </a:lnTo>
                    <a:lnTo>
                      <a:pt x="4" y="59"/>
                    </a:lnTo>
                    <a:lnTo>
                      <a:pt x="9" y="53"/>
                    </a:lnTo>
                    <a:lnTo>
                      <a:pt x="10" y="43"/>
                    </a:lnTo>
                    <a:lnTo>
                      <a:pt x="12" y="36"/>
                    </a:lnTo>
                    <a:lnTo>
                      <a:pt x="15" y="33"/>
                    </a:lnTo>
                    <a:lnTo>
                      <a:pt x="14" y="31"/>
                    </a:lnTo>
                    <a:lnTo>
                      <a:pt x="10" y="29"/>
                    </a:lnTo>
                    <a:lnTo>
                      <a:pt x="14" y="24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22" y="20"/>
                    </a:lnTo>
                    <a:lnTo>
                      <a:pt x="23" y="16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27" y="11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6"/>
                    </a:lnTo>
                    <a:lnTo>
                      <a:pt x="42" y="6"/>
                    </a:lnTo>
                    <a:lnTo>
                      <a:pt x="45" y="5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55" y="5"/>
                    </a:lnTo>
                    <a:lnTo>
                      <a:pt x="65" y="2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70" y="51"/>
                    </a:lnTo>
                    <a:lnTo>
                      <a:pt x="70" y="53"/>
                    </a:lnTo>
                    <a:lnTo>
                      <a:pt x="73" y="54"/>
                    </a:lnTo>
                    <a:lnTo>
                      <a:pt x="77" y="59"/>
                    </a:lnTo>
                    <a:lnTo>
                      <a:pt x="77" y="66"/>
                    </a:lnTo>
                    <a:lnTo>
                      <a:pt x="82" y="66"/>
                    </a:lnTo>
                    <a:lnTo>
                      <a:pt x="82" y="61"/>
                    </a:lnTo>
                    <a:lnTo>
                      <a:pt x="80" y="61"/>
                    </a:lnTo>
                    <a:lnTo>
                      <a:pt x="80" y="56"/>
                    </a:lnTo>
                    <a:lnTo>
                      <a:pt x="82" y="56"/>
                    </a:lnTo>
                    <a:lnTo>
                      <a:pt x="87" y="61"/>
                    </a:lnTo>
                    <a:lnTo>
                      <a:pt x="85" y="63"/>
                    </a:lnTo>
                    <a:lnTo>
                      <a:pt x="90" y="68"/>
                    </a:lnTo>
                    <a:lnTo>
                      <a:pt x="92" y="71"/>
                    </a:lnTo>
                    <a:lnTo>
                      <a:pt x="95" y="69"/>
                    </a:lnTo>
                    <a:lnTo>
                      <a:pt x="98" y="69"/>
                    </a:lnTo>
                    <a:lnTo>
                      <a:pt x="100" y="69"/>
                    </a:lnTo>
                    <a:lnTo>
                      <a:pt x="103" y="69"/>
                    </a:lnTo>
                    <a:lnTo>
                      <a:pt x="107" y="73"/>
                    </a:lnTo>
                    <a:lnTo>
                      <a:pt x="110" y="76"/>
                    </a:lnTo>
                    <a:lnTo>
                      <a:pt x="116" y="78"/>
                    </a:lnTo>
                    <a:lnTo>
                      <a:pt x="118" y="79"/>
                    </a:lnTo>
                    <a:lnTo>
                      <a:pt x="126" y="88"/>
                    </a:lnTo>
                    <a:lnTo>
                      <a:pt x="130" y="93"/>
                    </a:lnTo>
                    <a:lnTo>
                      <a:pt x="135" y="96"/>
                    </a:lnTo>
                    <a:lnTo>
                      <a:pt x="138" y="99"/>
                    </a:lnTo>
                    <a:lnTo>
                      <a:pt x="140" y="99"/>
                    </a:lnTo>
                    <a:lnTo>
                      <a:pt x="140" y="98"/>
                    </a:lnTo>
                    <a:lnTo>
                      <a:pt x="141" y="99"/>
                    </a:lnTo>
                    <a:lnTo>
                      <a:pt x="146" y="109"/>
                    </a:lnTo>
                    <a:lnTo>
                      <a:pt x="148" y="109"/>
                    </a:lnTo>
                    <a:lnTo>
                      <a:pt x="151" y="114"/>
                    </a:lnTo>
                    <a:lnTo>
                      <a:pt x="151" y="114"/>
                    </a:lnTo>
                    <a:lnTo>
                      <a:pt x="153" y="119"/>
                    </a:lnTo>
                    <a:lnTo>
                      <a:pt x="156" y="119"/>
                    </a:lnTo>
                    <a:lnTo>
                      <a:pt x="158" y="121"/>
                    </a:lnTo>
                    <a:lnTo>
                      <a:pt x="160" y="119"/>
                    </a:lnTo>
                    <a:lnTo>
                      <a:pt x="161" y="121"/>
                    </a:lnTo>
                    <a:lnTo>
                      <a:pt x="163" y="121"/>
                    </a:lnTo>
                    <a:lnTo>
                      <a:pt x="158" y="126"/>
                    </a:lnTo>
                    <a:lnTo>
                      <a:pt x="155" y="126"/>
                    </a:lnTo>
                    <a:lnTo>
                      <a:pt x="151" y="127"/>
                    </a:lnTo>
                    <a:lnTo>
                      <a:pt x="146" y="1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2" name="Freeform 92"/>
              <p:cNvSpPr>
                <a:spLocks/>
              </p:cNvSpPr>
              <p:nvPr/>
            </p:nvSpPr>
            <p:spPr bwMode="auto">
              <a:xfrm>
                <a:off x="6958701" y="3123414"/>
                <a:ext cx="19264" cy="20752"/>
              </a:xfrm>
              <a:custGeom>
                <a:avLst/>
                <a:gdLst/>
                <a:ahLst/>
                <a:cxnLst>
                  <a:cxn ang="0">
                    <a:pos x="28" y="38"/>
                  </a:cxn>
                  <a:cxn ang="0">
                    <a:pos x="23" y="35"/>
                  </a:cxn>
                  <a:cxn ang="0">
                    <a:pos x="17" y="36"/>
                  </a:cxn>
                  <a:cxn ang="0">
                    <a:pos x="12" y="40"/>
                  </a:cxn>
                  <a:cxn ang="0">
                    <a:pos x="2" y="40"/>
                  </a:cxn>
                  <a:cxn ang="0">
                    <a:pos x="0" y="38"/>
                  </a:cxn>
                  <a:cxn ang="0">
                    <a:pos x="3" y="33"/>
                  </a:cxn>
                  <a:cxn ang="0">
                    <a:pos x="3" y="28"/>
                  </a:cxn>
                  <a:cxn ang="0">
                    <a:pos x="7" y="25"/>
                  </a:cxn>
                  <a:cxn ang="0">
                    <a:pos x="5" y="20"/>
                  </a:cxn>
                  <a:cxn ang="0">
                    <a:pos x="7" y="15"/>
                  </a:cxn>
                  <a:cxn ang="0">
                    <a:pos x="8" y="10"/>
                  </a:cxn>
                  <a:cxn ang="0">
                    <a:pos x="18" y="6"/>
                  </a:cxn>
                  <a:cxn ang="0">
                    <a:pos x="22" y="5"/>
                  </a:cxn>
                  <a:cxn ang="0">
                    <a:pos x="25" y="5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30" y="1"/>
                  </a:cxn>
                  <a:cxn ang="0">
                    <a:pos x="35" y="6"/>
                  </a:cxn>
                  <a:cxn ang="0">
                    <a:pos x="37" y="6"/>
                  </a:cxn>
                  <a:cxn ang="0">
                    <a:pos x="37" y="8"/>
                  </a:cxn>
                  <a:cxn ang="0">
                    <a:pos x="37" y="15"/>
                  </a:cxn>
                  <a:cxn ang="0">
                    <a:pos x="35" y="16"/>
                  </a:cxn>
                  <a:cxn ang="0">
                    <a:pos x="30" y="21"/>
                  </a:cxn>
                  <a:cxn ang="0">
                    <a:pos x="27" y="21"/>
                  </a:cxn>
                  <a:cxn ang="0">
                    <a:pos x="23" y="25"/>
                  </a:cxn>
                  <a:cxn ang="0">
                    <a:pos x="18" y="25"/>
                  </a:cxn>
                  <a:cxn ang="0">
                    <a:pos x="22" y="26"/>
                  </a:cxn>
                  <a:cxn ang="0">
                    <a:pos x="23" y="28"/>
                  </a:cxn>
                  <a:cxn ang="0">
                    <a:pos x="27" y="26"/>
                  </a:cxn>
                  <a:cxn ang="0">
                    <a:pos x="33" y="26"/>
                  </a:cxn>
                  <a:cxn ang="0">
                    <a:pos x="33" y="28"/>
                  </a:cxn>
                  <a:cxn ang="0">
                    <a:pos x="28" y="36"/>
                  </a:cxn>
                  <a:cxn ang="0">
                    <a:pos x="28" y="38"/>
                  </a:cxn>
                </a:cxnLst>
                <a:rect l="0" t="0" r="r" b="b"/>
                <a:pathLst>
                  <a:path w="37" h="40">
                    <a:moveTo>
                      <a:pt x="28" y="38"/>
                    </a:moveTo>
                    <a:lnTo>
                      <a:pt x="23" y="35"/>
                    </a:lnTo>
                    <a:lnTo>
                      <a:pt x="17" y="36"/>
                    </a:lnTo>
                    <a:lnTo>
                      <a:pt x="1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3" y="33"/>
                    </a:lnTo>
                    <a:lnTo>
                      <a:pt x="3" y="28"/>
                    </a:lnTo>
                    <a:lnTo>
                      <a:pt x="7" y="25"/>
                    </a:lnTo>
                    <a:lnTo>
                      <a:pt x="5" y="20"/>
                    </a:lnTo>
                    <a:lnTo>
                      <a:pt x="7" y="15"/>
                    </a:lnTo>
                    <a:lnTo>
                      <a:pt x="8" y="10"/>
                    </a:lnTo>
                    <a:lnTo>
                      <a:pt x="18" y="6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1"/>
                    </a:lnTo>
                    <a:lnTo>
                      <a:pt x="35" y="6"/>
                    </a:lnTo>
                    <a:lnTo>
                      <a:pt x="37" y="6"/>
                    </a:lnTo>
                    <a:lnTo>
                      <a:pt x="37" y="8"/>
                    </a:lnTo>
                    <a:lnTo>
                      <a:pt x="37" y="15"/>
                    </a:lnTo>
                    <a:lnTo>
                      <a:pt x="35" y="16"/>
                    </a:lnTo>
                    <a:lnTo>
                      <a:pt x="30" y="21"/>
                    </a:lnTo>
                    <a:lnTo>
                      <a:pt x="27" y="21"/>
                    </a:lnTo>
                    <a:lnTo>
                      <a:pt x="23" y="25"/>
                    </a:lnTo>
                    <a:lnTo>
                      <a:pt x="18" y="25"/>
                    </a:lnTo>
                    <a:lnTo>
                      <a:pt x="22" y="26"/>
                    </a:lnTo>
                    <a:lnTo>
                      <a:pt x="23" y="28"/>
                    </a:lnTo>
                    <a:lnTo>
                      <a:pt x="27" y="26"/>
                    </a:lnTo>
                    <a:lnTo>
                      <a:pt x="33" y="26"/>
                    </a:lnTo>
                    <a:lnTo>
                      <a:pt x="33" y="28"/>
                    </a:lnTo>
                    <a:lnTo>
                      <a:pt x="28" y="36"/>
                    </a:lnTo>
                    <a:lnTo>
                      <a:pt x="28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3" name="Freeform 93"/>
              <p:cNvSpPr>
                <a:spLocks/>
              </p:cNvSpPr>
              <p:nvPr/>
            </p:nvSpPr>
            <p:spPr bwMode="auto">
              <a:xfrm>
                <a:off x="6949068" y="3132753"/>
                <a:ext cx="133781" cy="153563"/>
              </a:xfrm>
              <a:custGeom>
                <a:avLst/>
                <a:gdLst/>
                <a:ahLst/>
                <a:cxnLst>
                  <a:cxn ang="0">
                    <a:pos x="27" y="175"/>
                  </a:cxn>
                  <a:cxn ang="0">
                    <a:pos x="49" y="167"/>
                  </a:cxn>
                  <a:cxn ang="0">
                    <a:pos x="60" y="157"/>
                  </a:cxn>
                  <a:cxn ang="0">
                    <a:pos x="85" y="153"/>
                  </a:cxn>
                  <a:cxn ang="0">
                    <a:pos x="143" y="87"/>
                  </a:cxn>
                  <a:cxn ang="0">
                    <a:pos x="57" y="60"/>
                  </a:cxn>
                  <a:cxn ang="0">
                    <a:pos x="49" y="44"/>
                  </a:cxn>
                  <a:cxn ang="0">
                    <a:pos x="45" y="20"/>
                  </a:cxn>
                  <a:cxn ang="0">
                    <a:pos x="54" y="14"/>
                  </a:cxn>
                  <a:cxn ang="0">
                    <a:pos x="74" y="32"/>
                  </a:cxn>
                  <a:cxn ang="0">
                    <a:pos x="92" y="39"/>
                  </a:cxn>
                  <a:cxn ang="0">
                    <a:pos x="103" y="32"/>
                  </a:cxn>
                  <a:cxn ang="0">
                    <a:pos x="117" y="27"/>
                  </a:cxn>
                  <a:cxn ang="0">
                    <a:pos x="130" y="29"/>
                  </a:cxn>
                  <a:cxn ang="0">
                    <a:pos x="157" y="19"/>
                  </a:cxn>
                  <a:cxn ang="0">
                    <a:pos x="172" y="20"/>
                  </a:cxn>
                  <a:cxn ang="0">
                    <a:pos x="188" y="17"/>
                  </a:cxn>
                  <a:cxn ang="0">
                    <a:pos x="206" y="12"/>
                  </a:cxn>
                  <a:cxn ang="0">
                    <a:pos x="216" y="12"/>
                  </a:cxn>
                  <a:cxn ang="0">
                    <a:pos x="230" y="7"/>
                  </a:cxn>
                  <a:cxn ang="0">
                    <a:pos x="233" y="0"/>
                  </a:cxn>
                  <a:cxn ang="0">
                    <a:pos x="238" y="2"/>
                  </a:cxn>
                  <a:cxn ang="0">
                    <a:pos x="248" y="4"/>
                  </a:cxn>
                  <a:cxn ang="0">
                    <a:pos x="245" y="15"/>
                  </a:cxn>
                  <a:cxn ang="0">
                    <a:pos x="246" y="19"/>
                  </a:cxn>
                  <a:cxn ang="0">
                    <a:pos x="243" y="27"/>
                  </a:cxn>
                  <a:cxn ang="0">
                    <a:pos x="243" y="37"/>
                  </a:cxn>
                  <a:cxn ang="0">
                    <a:pos x="248" y="35"/>
                  </a:cxn>
                  <a:cxn ang="0">
                    <a:pos x="248" y="39"/>
                  </a:cxn>
                  <a:cxn ang="0">
                    <a:pos x="238" y="44"/>
                  </a:cxn>
                  <a:cxn ang="0">
                    <a:pos x="238" y="54"/>
                  </a:cxn>
                  <a:cxn ang="0">
                    <a:pos x="225" y="82"/>
                  </a:cxn>
                  <a:cxn ang="0">
                    <a:pos x="213" y="90"/>
                  </a:cxn>
                  <a:cxn ang="0">
                    <a:pos x="213" y="98"/>
                  </a:cxn>
                  <a:cxn ang="0">
                    <a:pos x="190" y="140"/>
                  </a:cxn>
                  <a:cxn ang="0">
                    <a:pos x="172" y="168"/>
                  </a:cxn>
                  <a:cxn ang="0">
                    <a:pos x="123" y="211"/>
                  </a:cxn>
                  <a:cxn ang="0">
                    <a:pos x="97" y="226"/>
                  </a:cxn>
                  <a:cxn ang="0">
                    <a:pos x="69" y="248"/>
                  </a:cxn>
                  <a:cxn ang="0">
                    <a:pos x="50" y="266"/>
                  </a:cxn>
                  <a:cxn ang="0">
                    <a:pos x="39" y="276"/>
                  </a:cxn>
                  <a:cxn ang="0">
                    <a:pos x="0" y="283"/>
                  </a:cxn>
                  <a:cxn ang="0">
                    <a:pos x="24" y="178"/>
                  </a:cxn>
                </a:cxnLst>
                <a:rect l="0" t="0" r="r" b="b"/>
                <a:pathLst>
                  <a:path w="250" h="298">
                    <a:moveTo>
                      <a:pt x="24" y="178"/>
                    </a:moveTo>
                    <a:lnTo>
                      <a:pt x="24" y="177"/>
                    </a:lnTo>
                    <a:lnTo>
                      <a:pt x="27" y="175"/>
                    </a:lnTo>
                    <a:lnTo>
                      <a:pt x="34" y="170"/>
                    </a:lnTo>
                    <a:lnTo>
                      <a:pt x="42" y="170"/>
                    </a:lnTo>
                    <a:lnTo>
                      <a:pt x="49" y="167"/>
                    </a:lnTo>
                    <a:lnTo>
                      <a:pt x="52" y="165"/>
                    </a:lnTo>
                    <a:lnTo>
                      <a:pt x="55" y="160"/>
                    </a:lnTo>
                    <a:lnTo>
                      <a:pt x="60" y="157"/>
                    </a:lnTo>
                    <a:lnTo>
                      <a:pt x="65" y="157"/>
                    </a:lnTo>
                    <a:lnTo>
                      <a:pt x="70" y="153"/>
                    </a:lnTo>
                    <a:lnTo>
                      <a:pt x="85" y="153"/>
                    </a:lnTo>
                    <a:lnTo>
                      <a:pt x="100" y="153"/>
                    </a:lnTo>
                    <a:lnTo>
                      <a:pt x="175" y="85"/>
                    </a:lnTo>
                    <a:lnTo>
                      <a:pt x="143" y="87"/>
                    </a:lnTo>
                    <a:lnTo>
                      <a:pt x="72" y="67"/>
                    </a:lnTo>
                    <a:lnTo>
                      <a:pt x="67" y="62"/>
                    </a:lnTo>
                    <a:lnTo>
                      <a:pt x="57" y="60"/>
                    </a:lnTo>
                    <a:lnTo>
                      <a:pt x="54" y="54"/>
                    </a:lnTo>
                    <a:lnTo>
                      <a:pt x="55" y="47"/>
                    </a:lnTo>
                    <a:lnTo>
                      <a:pt x="49" y="44"/>
                    </a:lnTo>
                    <a:lnTo>
                      <a:pt x="45" y="32"/>
                    </a:lnTo>
                    <a:lnTo>
                      <a:pt x="44" y="24"/>
                    </a:lnTo>
                    <a:lnTo>
                      <a:pt x="45" y="20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69" y="29"/>
                    </a:lnTo>
                    <a:lnTo>
                      <a:pt x="70" y="32"/>
                    </a:lnTo>
                    <a:lnTo>
                      <a:pt x="74" y="32"/>
                    </a:lnTo>
                    <a:lnTo>
                      <a:pt x="79" y="37"/>
                    </a:lnTo>
                    <a:lnTo>
                      <a:pt x="85" y="39"/>
                    </a:lnTo>
                    <a:lnTo>
                      <a:pt x="92" y="39"/>
                    </a:lnTo>
                    <a:lnTo>
                      <a:pt x="94" y="35"/>
                    </a:lnTo>
                    <a:lnTo>
                      <a:pt x="100" y="32"/>
                    </a:lnTo>
                    <a:lnTo>
                      <a:pt x="103" y="32"/>
                    </a:lnTo>
                    <a:lnTo>
                      <a:pt x="112" y="27"/>
                    </a:lnTo>
                    <a:lnTo>
                      <a:pt x="115" y="27"/>
                    </a:lnTo>
                    <a:lnTo>
                      <a:pt x="117" y="27"/>
                    </a:lnTo>
                    <a:lnTo>
                      <a:pt x="123" y="27"/>
                    </a:lnTo>
                    <a:lnTo>
                      <a:pt x="125" y="27"/>
                    </a:lnTo>
                    <a:lnTo>
                      <a:pt x="130" y="29"/>
                    </a:lnTo>
                    <a:lnTo>
                      <a:pt x="137" y="29"/>
                    </a:lnTo>
                    <a:lnTo>
                      <a:pt x="152" y="20"/>
                    </a:lnTo>
                    <a:lnTo>
                      <a:pt x="157" y="19"/>
                    </a:lnTo>
                    <a:lnTo>
                      <a:pt x="162" y="20"/>
                    </a:lnTo>
                    <a:lnTo>
                      <a:pt x="165" y="20"/>
                    </a:lnTo>
                    <a:lnTo>
                      <a:pt x="172" y="20"/>
                    </a:lnTo>
                    <a:lnTo>
                      <a:pt x="178" y="17"/>
                    </a:lnTo>
                    <a:lnTo>
                      <a:pt x="185" y="17"/>
                    </a:lnTo>
                    <a:lnTo>
                      <a:pt x="188" y="17"/>
                    </a:lnTo>
                    <a:lnTo>
                      <a:pt x="190" y="17"/>
                    </a:lnTo>
                    <a:lnTo>
                      <a:pt x="201" y="15"/>
                    </a:lnTo>
                    <a:lnTo>
                      <a:pt x="206" y="12"/>
                    </a:lnTo>
                    <a:lnTo>
                      <a:pt x="213" y="12"/>
                    </a:lnTo>
                    <a:lnTo>
                      <a:pt x="216" y="14"/>
                    </a:lnTo>
                    <a:lnTo>
                      <a:pt x="216" y="12"/>
                    </a:lnTo>
                    <a:lnTo>
                      <a:pt x="225" y="10"/>
                    </a:lnTo>
                    <a:lnTo>
                      <a:pt x="228" y="7"/>
                    </a:lnTo>
                    <a:lnTo>
                      <a:pt x="230" y="7"/>
                    </a:lnTo>
                    <a:lnTo>
                      <a:pt x="231" y="4"/>
                    </a:lnTo>
                    <a:lnTo>
                      <a:pt x="230" y="4"/>
                    </a:lnTo>
                    <a:lnTo>
                      <a:pt x="233" y="0"/>
                    </a:lnTo>
                    <a:lnTo>
                      <a:pt x="235" y="0"/>
                    </a:lnTo>
                    <a:lnTo>
                      <a:pt x="235" y="0"/>
                    </a:lnTo>
                    <a:lnTo>
                      <a:pt x="238" y="2"/>
                    </a:lnTo>
                    <a:lnTo>
                      <a:pt x="245" y="4"/>
                    </a:lnTo>
                    <a:lnTo>
                      <a:pt x="246" y="4"/>
                    </a:lnTo>
                    <a:lnTo>
                      <a:pt x="248" y="4"/>
                    </a:lnTo>
                    <a:lnTo>
                      <a:pt x="246" y="7"/>
                    </a:lnTo>
                    <a:lnTo>
                      <a:pt x="245" y="12"/>
                    </a:lnTo>
                    <a:lnTo>
                      <a:pt x="245" y="15"/>
                    </a:lnTo>
                    <a:lnTo>
                      <a:pt x="243" y="17"/>
                    </a:lnTo>
                    <a:lnTo>
                      <a:pt x="243" y="19"/>
                    </a:lnTo>
                    <a:lnTo>
                      <a:pt x="246" y="19"/>
                    </a:lnTo>
                    <a:lnTo>
                      <a:pt x="246" y="20"/>
                    </a:lnTo>
                    <a:lnTo>
                      <a:pt x="245" y="22"/>
                    </a:lnTo>
                    <a:lnTo>
                      <a:pt x="243" y="27"/>
                    </a:lnTo>
                    <a:lnTo>
                      <a:pt x="245" y="29"/>
                    </a:lnTo>
                    <a:lnTo>
                      <a:pt x="245" y="34"/>
                    </a:lnTo>
                    <a:lnTo>
                      <a:pt x="243" y="37"/>
                    </a:lnTo>
                    <a:lnTo>
                      <a:pt x="246" y="37"/>
                    </a:lnTo>
                    <a:lnTo>
                      <a:pt x="246" y="35"/>
                    </a:lnTo>
                    <a:lnTo>
                      <a:pt x="248" y="35"/>
                    </a:lnTo>
                    <a:lnTo>
                      <a:pt x="250" y="39"/>
                    </a:lnTo>
                    <a:lnTo>
                      <a:pt x="248" y="39"/>
                    </a:lnTo>
                    <a:lnTo>
                      <a:pt x="248" y="39"/>
                    </a:lnTo>
                    <a:lnTo>
                      <a:pt x="245" y="39"/>
                    </a:lnTo>
                    <a:lnTo>
                      <a:pt x="241" y="39"/>
                    </a:lnTo>
                    <a:lnTo>
                      <a:pt x="238" y="44"/>
                    </a:lnTo>
                    <a:lnTo>
                      <a:pt x="240" y="47"/>
                    </a:lnTo>
                    <a:lnTo>
                      <a:pt x="240" y="52"/>
                    </a:lnTo>
                    <a:lnTo>
                      <a:pt x="238" y="54"/>
                    </a:lnTo>
                    <a:lnTo>
                      <a:pt x="238" y="60"/>
                    </a:lnTo>
                    <a:lnTo>
                      <a:pt x="230" y="70"/>
                    </a:lnTo>
                    <a:lnTo>
                      <a:pt x="225" y="82"/>
                    </a:lnTo>
                    <a:lnTo>
                      <a:pt x="221" y="85"/>
                    </a:lnTo>
                    <a:lnTo>
                      <a:pt x="218" y="85"/>
                    </a:lnTo>
                    <a:lnTo>
                      <a:pt x="213" y="90"/>
                    </a:lnTo>
                    <a:lnTo>
                      <a:pt x="213" y="93"/>
                    </a:lnTo>
                    <a:lnTo>
                      <a:pt x="215" y="97"/>
                    </a:lnTo>
                    <a:lnTo>
                      <a:pt x="213" y="98"/>
                    </a:lnTo>
                    <a:lnTo>
                      <a:pt x="198" y="122"/>
                    </a:lnTo>
                    <a:lnTo>
                      <a:pt x="198" y="128"/>
                    </a:lnTo>
                    <a:lnTo>
                      <a:pt x="190" y="140"/>
                    </a:lnTo>
                    <a:lnTo>
                      <a:pt x="188" y="143"/>
                    </a:lnTo>
                    <a:lnTo>
                      <a:pt x="172" y="163"/>
                    </a:lnTo>
                    <a:lnTo>
                      <a:pt x="172" y="168"/>
                    </a:lnTo>
                    <a:lnTo>
                      <a:pt x="163" y="175"/>
                    </a:lnTo>
                    <a:lnTo>
                      <a:pt x="150" y="190"/>
                    </a:lnTo>
                    <a:lnTo>
                      <a:pt x="123" y="211"/>
                    </a:lnTo>
                    <a:lnTo>
                      <a:pt x="112" y="220"/>
                    </a:lnTo>
                    <a:lnTo>
                      <a:pt x="103" y="221"/>
                    </a:lnTo>
                    <a:lnTo>
                      <a:pt x="97" y="226"/>
                    </a:lnTo>
                    <a:lnTo>
                      <a:pt x="89" y="231"/>
                    </a:lnTo>
                    <a:lnTo>
                      <a:pt x="72" y="248"/>
                    </a:lnTo>
                    <a:lnTo>
                      <a:pt x="69" y="248"/>
                    </a:lnTo>
                    <a:lnTo>
                      <a:pt x="55" y="261"/>
                    </a:lnTo>
                    <a:lnTo>
                      <a:pt x="52" y="263"/>
                    </a:lnTo>
                    <a:lnTo>
                      <a:pt x="50" y="266"/>
                    </a:lnTo>
                    <a:lnTo>
                      <a:pt x="45" y="268"/>
                    </a:lnTo>
                    <a:lnTo>
                      <a:pt x="40" y="271"/>
                    </a:lnTo>
                    <a:lnTo>
                      <a:pt x="39" y="276"/>
                    </a:lnTo>
                    <a:lnTo>
                      <a:pt x="19" y="296"/>
                    </a:lnTo>
                    <a:lnTo>
                      <a:pt x="19" y="298"/>
                    </a:lnTo>
                    <a:lnTo>
                      <a:pt x="0" y="283"/>
                    </a:lnTo>
                    <a:lnTo>
                      <a:pt x="2" y="196"/>
                    </a:lnTo>
                    <a:lnTo>
                      <a:pt x="24" y="178"/>
                    </a:lnTo>
                    <a:lnTo>
                      <a:pt x="24" y="1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4" name="Freeform 97"/>
              <p:cNvSpPr>
                <a:spLocks noEditPoints="1"/>
              </p:cNvSpPr>
              <p:nvPr/>
            </p:nvSpPr>
            <p:spPr bwMode="auto">
              <a:xfrm>
                <a:off x="6825990" y="3206421"/>
                <a:ext cx="135921" cy="115173"/>
              </a:xfrm>
              <a:custGeom>
                <a:avLst/>
                <a:gdLst/>
                <a:ahLst/>
                <a:cxnLst>
                  <a:cxn ang="0">
                    <a:pos x="64" y="25"/>
                  </a:cxn>
                  <a:cxn ang="0">
                    <a:pos x="69" y="22"/>
                  </a:cxn>
                  <a:cxn ang="0">
                    <a:pos x="76" y="19"/>
                  </a:cxn>
                  <a:cxn ang="0">
                    <a:pos x="93" y="0"/>
                  </a:cxn>
                  <a:cxn ang="0">
                    <a:pos x="99" y="4"/>
                  </a:cxn>
                  <a:cxn ang="0">
                    <a:pos x="103" y="17"/>
                  </a:cxn>
                  <a:cxn ang="0">
                    <a:pos x="113" y="22"/>
                  </a:cxn>
                  <a:cxn ang="0">
                    <a:pos x="123" y="22"/>
                  </a:cxn>
                  <a:cxn ang="0">
                    <a:pos x="139" y="24"/>
                  </a:cxn>
                  <a:cxn ang="0">
                    <a:pos x="156" y="35"/>
                  </a:cxn>
                  <a:cxn ang="0">
                    <a:pos x="164" y="42"/>
                  </a:cxn>
                  <a:cxn ang="0">
                    <a:pos x="177" y="43"/>
                  </a:cxn>
                  <a:cxn ang="0">
                    <a:pos x="189" y="43"/>
                  </a:cxn>
                  <a:cxn ang="0">
                    <a:pos x="197" y="43"/>
                  </a:cxn>
                  <a:cxn ang="0">
                    <a:pos x="206" y="32"/>
                  </a:cxn>
                  <a:cxn ang="0">
                    <a:pos x="214" y="30"/>
                  </a:cxn>
                  <a:cxn ang="0">
                    <a:pos x="229" y="27"/>
                  </a:cxn>
                  <a:cxn ang="0">
                    <a:pos x="234" y="34"/>
                  </a:cxn>
                  <a:cxn ang="0">
                    <a:pos x="247" y="35"/>
                  </a:cxn>
                  <a:cxn ang="0">
                    <a:pos x="232" y="53"/>
                  </a:cxn>
                  <a:cxn ang="0">
                    <a:pos x="249" y="155"/>
                  </a:cxn>
                  <a:cxn ang="0">
                    <a:pos x="240" y="165"/>
                  </a:cxn>
                  <a:cxn ang="0">
                    <a:pos x="235" y="168"/>
                  </a:cxn>
                  <a:cxn ang="0">
                    <a:pos x="229" y="173"/>
                  </a:cxn>
                  <a:cxn ang="0">
                    <a:pos x="217" y="178"/>
                  </a:cxn>
                  <a:cxn ang="0">
                    <a:pos x="214" y="181"/>
                  </a:cxn>
                  <a:cxn ang="0">
                    <a:pos x="209" y="186"/>
                  </a:cxn>
                  <a:cxn ang="0">
                    <a:pos x="207" y="193"/>
                  </a:cxn>
                  <a:cxn ang="0">
                    <a:pos x="204" y="203"/>
                  </a:cxn>
                  <a:cxn ang="0">
                    <a:pos x="191" y="221"/>
                  </a:cxn>
                  <a:cxn ang="0">
                    <a:pos x="184" y="223"/>
                  </a:cxn>
                  <a:cxn ang="0">
                    <a:pos x="151" y="201"/>
                  </a:cxn>
                  <a:cxn ang="0">
                    <a:pos x="152" y="196"/>
                  </a:cxn>
                  <a:cxn ang="0">
                    <a:pos x="58" y="143"/>
                  </a:cxn>
                  <a:cxn ang="0">
                    <a:pos x="58" y="122"/>
                  </a:cxn>
                  <a:cxn ang="0">
                    <a:pos x="63" y="112"/>
                  </a:cxn>
                  <a:cxn ang="0">
                    <a:pos x="69" y="103"/>
                  </a:cxn>
                  <a:cxn ang="0">
                    <a:pos x="74" y="97"/>
                  </a:cxn>
                  <a:cxn ang="0">
                    <a:pos x="83" y="95"/>
                  </a:cxn>
                  <a:cxn ang="0">
                    <a:pos x="84" y="87"/>
                  </a:cxn>
                  <a:cxn ang="0">
                    <a:pos x="91" y="77"/>
                  </a:cxn>
                  <a:cxn ang="0">
                    <a:pos x="86" y="68"/>
                  </a:cxn>
                  <a:cxn ang="0">
                    <a:pos x="84" y="63"/>
                  </a:cxn>
                  <a:cxn ang="0">
                    <a:pos x="79" y="57"/>
                  </a:cxn>
                  <a:cxn ang="0">
                    <a:pos x="73" y="47"/>
                  </a:cxn>
                  <a:cxn ang="0">
                    <a:pos x="68" y="42"/>
                  </a:cxn>
                  <a:cxn ang="0">
                    <a:pos x="66" y="37"/>
                  </a:cxn>
                  <a:cxn ang="0">
                    <a:pos x="63" y="29"/>
                  </a:cxn>
                  <a:cxn ang="0">
                    <a:pos x="63" y="29"/>
                  </a:cxn>
                  <a:cxn ang="0">
                    <a:pos x="0" y="145"/>
                  </a:cxn>
                  <a:cxn ang="0">
                    <a:pos x="18" y="145"/>
                  </a:cxn>
                  <a:cxn ang="0">
                    <a:pos x="0" y="145"/>
                  </a:cxn>
                </a:cxnLst>
                <a:rect l="0" t="0" r="r" b="b"/>
                <a:pathLst>
                  <a:path w="254" h="223">
                    <a:moveTo>
                      <a:pt x="63" y="29"/>
                    </a:moveTo>
                    <a:lnTo>
                      <a:pt x="64" y="25"/>
                    </a:lnTo>
                    <a:lnTo>
                      <a:pt x="66" y="24"/>
                    </a:lnTo>
                    <a:lnTo>
                      <a:pt x="69" y="22"/>
                    </a:lnTo>
                    <a:lnTo>
                      <a:pt x="74" y="17"/>
                    </a:lnTo>
                    <a:lnTo>
                      <a:pt x="76" y="19"/>
                    </a:lnTo>
                    <a:lnTo>
                      <a:pt x="83" y="10"/>
                    </a:lnTo>
                    <a:lnTo>
                      <a:pt x="93" y="0"/>
                    </a:lnTo>
                    <a:lnTo>
                      <a:pt x="94" y="4"/>
                    </a:lnTo>
                    <a:lnTo>
                      <a:pt x="99" y="4"/>
                    </a:lnTo>
                    <a:lnTo>
                      <a:pt x="103" y="4"/>
                    </a:lnTo>
                    <a:lnTo>
                      <a:pt x="103" y="17"/>
                    </a:lnTo>
                    <a:lnTo>
                      <a:pt x="108" y="22"/>
                    </a:lnTo>
                    <a:lnTo>
                      <a:pt x="113" y="22"/>
                    </a:lnTo>
                    <a:lnTo>
                      <a:pt x="118" y="20"/>
                    </a:lnTo>
                    <a:lnTo>
                      <a:pt x="123" y="22"/>
                    </a:lnTo>
                    <a:lnTo>
                      <a:pt x="136" y="20"/>
                    </a:lnTo>
                    <a:lnTo>
                      <a:pt x="139" y="24"/>
                    </a:lnTo>
                    <a:lnTo>
                      <a:pt x="149" y="32"/>
                    </a:lnTo>
                    <a:lnTo>
                      <a:pt x="156" y="35"/>
                    </a:lnTo>
                    <a:lnTo>
                      <a:pt x="159" y="40"/>
                    </a:lnTo>
                    <a:lnTo>
                      <a:pt x="164" y="42"/>
                    </a:lnTo>
                    <a:lnTo>
                      <a:pt x="172" y="42"/>
                    </a:lnTo>
                    <a:lnTo>
                      <a:pt x="177" y="43"/>
                    </a:lnTo>
                    <a:lnTo>
                      <a:pt x="184" y="42"/>
                    </a:lnTo>
                    <a:lnTo>
                      <a:pt x="189" y="43"/>
                    </a:lnTo>
                    <a:lnTo>
                      <a:pt x="192" y="43"/>
                    </a:lnTo>
                    <a:lnTo>
                      <a:pt x="197" y="43"/>
                    </a:lnTo>
                    <a:lnTo>
                      <a:pt x="202" y="35"/>
                    </a:lnTo>
                    <a:lnTo>
                      <a:pt x="206" y="32"/>
                    </a:lnTo>
                    <a:lnTo>
                      <a:pt x="211" y="30"/>
                    </a:lnTo>
                    <a:lnTo>
                      <a:pt x="214" y="30"/>
                    </a:lnTo>
                    <a:lnTo>
                      <a:pt x="217" y="29"/>
                    </a:lnTo>
                    <a:lnTo>
                      <a:pt x="229" y="27"/>
                    </a:lnTo>
                    <a:lnTo>
                      <a:pt x="232" y="29"/>
                    </a:lnTo>
                    <a:lnTo>
                      <a:pt x="234" y="34"/>
                    </a:lnTo>
                    <a:lnTo>
                      <a:pt x="239" y="35"/>
                    </a:lnTo>
                    <a:lnTo>
                      <a:pt x="247" y="35"/>
                    </a:lnTo>
                    <a:lnTo>
                      <a:pt x="254" y="35"/>
                    </a:lnTo>
                    <a:lnTo>
                      <a:pt x="232" y="53"/>
                    </a:lnTo>
                    <a:lnTo>
                      <a:pt x="230" y="140"/>
                    </a:lnTo>
                    <a:lnTo>
                      <a:pt x="249" y="155"/>
                    </a:lnTo>
                    <a:lnTo>
                      <a:pt x="247" y="156"/>
                    </a:lnTo>
                    <a:lnTo>
                      <a:pt x="240" y="165"/>
                    </a:lnTo>
                    <a:lnTo>
                      <a:pt x="237" y="165"/>
                    </a:lnTo>
                    <a:lnTo>
                      <a:pt x="235" y="168"/>
                    </a:lnTo>
                    <a:lnTo>
                      <a:pt x="237" y="170"/>
                    </a:lnTo>
                    <a:lnTo>
                      <a:pt x="229" y="173"/>
                    </a:lnTo>
                    <a:lnTo>
                      <a:pt x="224" y="178"/>
                    </a:lnTo>
                    <a:lnTo>
                      <a:pt x="217" y="178"/>
                    </a:lnTo>
                    <a:lnTo>
                      <a:pt x="214" y="180"/>
                    </a:lnTo>
                    <a:lnTo>
                      <a:pt x="214" y="181"/>
                    </a:lnTo>
                    <a:lnTo>
                      <a:pt x="211" y="185"/>
                    </a:lnTo>
                    <a:lnTo>
                      <a:pt x="209" y="186"/>
                    </a:lnTo>
                    <a:lnTo>
                      <a:pt x="211" y="188"/>
                    </a:lnTo>
                    <a:lnTo>
                      <a:pt x="207" y="193"/>
                    </a:lnTo>
                    <a:lnTo>
                      <a:pt x="204" y="198"/>
                    </a:lnTo>
                    <a:lnTo>
                      <a:pt x="204" y="203"/>
                    </a:lnTo>
                    <a:lnTo>
                      <a:pt x="199" y="210"/>
                    </a:lnTo>
                    <a:lnTo>
                      <a:pt x="191" y="221"/>
                    </a:lnTo>
                    <a:lnTo>
                      <a:pt x="186" y="223"/>
                    </a:lnTo>
                    <a:lnTo>
                      <a:pt x="184" y="223"/>
                    </a:lnTo>
                    <a:lnTo>
                      <a:pt x="154" y="205"/>
                    </a:lnTo>
                    <a:lnTo>
                      <a:pt x="151" y="201"/>
                    </a:lnTo>
                    <a:lnTo>
                      <a:pt x="151" y="200"/>
                    </a:lnTo>
                    <a:lnTo>
                      <a:pt x="152" y="196"/>
                    </a:lnTo>
                    <a:lnTo>
                      <a:pt x="147" y="190"/>
                    </a:lnTo>
                    <a:lnTo>
                      <a:pt x="58" y="143"/>
                    </a:lnTo>
                    <a:lnTo>
                      <a:pt x="51" y="143"/>
                    </a:lnTo>
                    <a:lnTo>
                      <a:pt x="58" y="122"/>
                    </a:lnTo>
                    <a:lnTo>
                      <a:pt x="58" y="115"/>
                    </a:lnTo>
                    <a:lnTo>
                      <a:pt x="63" y="112"/>
                    </a:lnTo>
                    <a:lnTo>
                      <a:pt x="66" y="107"/>
                    </a:lnTo>
                    <a:lnTo>
                      <a:pt x="69" y="103"/>
                    </a:lnTo>
                    <a:lnTo>
                      <a:pt x="71" y="100"/>
                    </a:lnTo>
                    <a:lnTo>
                      <a:pt x="74" y="97"/>
                    </a:lnTo>
                    <a:lnTo>
                      <a:pt x="74" y="95"/>
                    </a:lnTo>
                    <a:lnTo>
                      <a:pt x="83" y="95"/>
                    </a:lnTo>
                    <a:lnTo>
                      <a:pt x="84" y="90"/>
                    </a:lnTo>
                    <a:lnTo>
                      <a:pt x="84" y="87"/>
                    </a:lnTo>
                    <a:lnTo>
                      <a:pt x="89" y="80"/>
                    </a:lnTo>
                    <a:lnTo>
                      <a:pt x="91" y="77"/>
                    </a:lnTo>
                    <a:lnTo>
                      <a:pt x="89" y="72"/>
                    </a:lnTo>
                    <a:lnTo>
                      <a:pt x="86" y="68"/>
                    </a:lnTo>
                    <a:lnTo>
                      <a:pt x="88" y="67"/>
                    </a:lnTo>
                    <a:lnTo>
                      <a:pt x="84" y="63"/>
                    </a:lnTo>
                    <a:lnTo>
                      <a:pt x="81" y="63"/>
                    </a:lnTo>
                    <a:lnTo>
                      <a:pt x="79" y="57"/>
                    </a:lnTo>
                    <a:lnTo>
                      <a:pt x="73" y="52"/>
                    </a:lnTo>
                    <a:lnTo>
                      <a:pt x="73" y="47"/>
                    </a:lnTo>
                    <a:lnTo>
                      <a:pt x="71" y="42"/>
                    </a:lnTo>
                    <a:lnTo>
                      <a:pt x="68" y="42"/>
                    </a:lnTo>
                    <a:lnTo>
                      <a:pt x="69" y="37"/>
                    </a:lnTo>
                    <a:lnTo>
                      <a:pt x="66" y="37"/>
                    </a:lnTo>
                    <a:lnTo>
                      <a:pt x="64" y="30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close/>
                    <a:moveTo>
                      <a:pt x="0" y="145"/>
                    </a:moveTo>
                    <a:lnTo>
                      <a:pt x="8" y="145"/>
                    </a:lnTo>
                    <a:lnTo>
                      <a:pt x="18" y="145"/>
                    </a:lnTo>
                    <a:lnTo>
                      <a:pt x="0" y="145"/>
                    </a:lnTo>
                    <a:lnTo>
                      <a:pt x="0" y="1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5" name="Freeform 98"/>
              <p:cNvSpPr>
                <a:spLocks/>
              </p:cNvSpPr>
              <p:nvPr/>
            </p:nvSpPr>
            <p:spPr bwMode="auto">
              <a:xfrm>
                <a:off x="6799233" y="3220948"/>
                <a:ext cx="74917" cy="65368"/>
              </a:xfrm>
              <a:custGeom>
                <a:avLst/>
                <a:gdLst/>
                <a:ahLst/>
                <a:cxnLst>
                  <a:cxn ang="0">
                    <a:pos x="108" y="86"/>
                  </a:cxn>
                  <a:cxn ang="0">
                    <a:pos x="116" y="78"/>
                  </a:cxn>
                  <a:cxn ang="0">
                    <a:pos x="121" y="71"/>
                  </a:cxn>
                  <a:cxn ang="0">
                    <a:pos x="124" y="66"/>
                  </a:cxn>
                  <a:cxn ang="0">
                    <a:pos x="134" y="61"/>
                  </a:cxn>
                  <a:cxn ang="0">
                    <a:pos x="139" y="51"/>
                  </a:cxn>
                  <a:cxn ang="0">
                    <a:pos x="139" y="43"/>
                  </a:cxn>
                  <a:cxn ang="0">
                    <a:pos x="138" y="38"/>
                  </a:cxn>
                  <a:cxn ang="0">
                    <a:pos x="131" y="34"/>
                  </a:cxn>
                  <a:cxn ang="0">
                    <a:pos x="123" y="23"/>
                  </a:cxn>
                  <a:cxn ang="0">
                    <a:pos x="121" y="13"/>
                  </a:cxn>
                  <a:cxn ang="0">
                    <a:pos x="119" y="8"/>
                  </a:cxn>
                  <a:cxn ang="0">
                    <a:pos x="114" y="1"/>
                  </a:cxn>
                  <a:cxn ang="0">
                    <a:pos x="106" y="3"/>
                  </a:cxn>
                  <a:cxn ang="0">
                    <a:pos x="98" y="8"/>
                  </a:cxn>
                  <a:cxn ang="0">
                    <a:pos x="84" y="8"/>
                  </a:cxn>
                  <a:cxn ang="0">
                    <a:pos x="75" y="9"/>
                  </a:cxn>
                  <a:cxn ang="0">
                    <a:pos x="70" y="9"/>
                  </a:cxn>
                  <a:cxn ang="0">
                    <a:pos x="66" y="16"/>
                  </a:cxn>
                  <a:cxn ang="0">
                    <a:pos x="58" y="14"/>
                  </a:cxn>
                  <a:cxn ang="0">
                    <a:pos x="53" y="9"/>
                  </a:cxn>
                  <a:cxn ang="0">
                    <a:pos x="43" y="9"/>
                  </a:cxn>
                  <a:cxn ang="0">
                    <a:pos x="36" y="9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3"/>
                  </a:cxn>
                  <a:cxn ang="0">
                    <a:pos x="31" y="36"/>
                  </a:cxn>
                  <a:cxn ang="0">
                    <a:pos x="33" y="43"/>
                  </a:cxn>
                  <a:cxn ang="0">
                    <a:pos x="38" y="49"/>
                  </a:cxn>
                  <a:cxn ang="0">
                    <a:pos x="25" y="68"/>
                  </a:cxn>
                  <a:cxn ang="0">
                    <a:pos x="15" y="78"/>
                  </a:cxn>
                  <a:cxn ang="0">
                    <a:pos x="3" y="96"/>
                  </a:cxn>
                  <a:cxn ang="0">
                    <a:pos x="3" y="111"/>
                  </a:cxn>
                  <a:cxn ang="0">
                    <a:pos x="0" y="122"/>
                  </a:cxn>
                  <a:cxn ang="0">
                    <a:pos x="0" y="124"/>
                  </a:cxn>
                  <a:cxn ang="0">
                    <a:pos x="8" y="121"/>
                  </a:cxn>
                  <a:cxn ang="0">
                    <a:pos x="13" y="124"/>
                  </a:cxn>
                  <a:cxn ang="0">
                    <a:pos x="18" y="122"/>
                  </a:cxn>
                  <a:cxn ang="0">
                    <a:pos x="23" y="119"/>
                  </a:cxn>
                  <a:cxn ang="0">
                    <a:pos x="25" y="117"/>
                  </a:cxn>
                  <a:cxn ang="0">
                    <a:pos x="28" y="116"/>
                  </a:cxn>
                  <a:cxn ang="0">
                    <a:pos x="50" y="116"/>
                  </a:cxn>
                  <a:cxn ang="0">
                    <a:pos x="101" y="114"/>
                  </a:cxn>
                </a:cxnLst>
                <a:rect l="0" t="0" r="r" b="b"/>
                <a:pathLst>
                  <a:path w="141" h="124">
                    <a:moveTo>
                      <a:pt x="108" y="93"/>
                    </a:moveTo>
                    <a:lnTo>
                      <a:pt x="108" y="86"/>
                    </a:lnTo>
                    <a:lnTo>
                      <a:pt x="113" y="83"/>
                    </a:lnTo>
                    <a:lnTo>
                      <a:pt x="116" y="78"/>
                    </a:lnTo>
                    <a:lnTo>
                      <a:pt x="119" y="74"/>
                    </a:lnTo>
                    <a:lnTo>
                      <a:pt x="121" y="71"/>
                    </a:lnTo>
                    <a:lnTo>
                      <a:pt x="124" y="68"/>
                    </a:lnTo>
                    <a:lnTo>
                      <a:pt x="124" y="66"/>
                    </a:lnTo>
                    <a:lnTo>
                      <a:pt x="133" y="66"/>
                    </a:lnTo>
                    <a:lnTo>
                      <a:pt x="134" y="61"/>
                    </a:lnTo>
                    <a:lnTo>
                      <a:pt x="134" y="58"/>
                    </a:lnTo>
                    <a:lnTo>
                      <a:pt x="139" y="51"/>
                    </a:lnTo>
                    <a:lnTo>
                      <a:pt x="141" y="48"/>
                    </a:lnTo>
                    <a:lnTo>
                      <a:pt x="139" y="43"/>
                    </a:lnTo>
                    <a:lnTo>
                      <a:pt x="136" y="39"/>
                    </a:lnTo>
                    <a:lnTo>
                      <a:pt x="138" y="38"/>
                    </a:lnTo>
                    <a:lnTo>
                      <a:pt x="134" y="34"/>
                    </a:lnTo>
                    <a:lnTo>
                      <a:pt x="131" y="34"/>
                    </a:lnTo>
                    <a:lnTo>
                      <a:pt x="129" y="28"/>
                    </a:lnTo>
                    <a:lnTo>
                      <a:pt x="123" y="23"/>
                    </a:lnTo>
                    <a:lnTo>
                      <a:pt x="123" y="18"/>
                    </a:lnTo>
                    <a:lnTo>
                      <a:pt x="121" y="13"/>
                    </a:lnTo>
                    <a:lnTo>
                      <a:pt x="118" y="13"/>
                    </a:lnTo>
                    <a:lnTo>
                      <a:pt x="119" y="8"/>
                    </a:lnTo>
                    <a:lnTo>
                      <a:pt x="116" y="8"/>
                    </a:lnTo>
                    <a:lnTo>
                      <a:pt x="114" y="1"/>
                    </a:lnTo>
                    <a:lnTo>
                      <a:pt x="113" y="0"/>
                    </a:lnTo>
                    <a:lnTo>
                      <a:pt x="106" y="3"/>
                    </a:lnTo>
                    <a:lnTo>
                      <a:pt x="103" y="6"/>
                    </a:lnTo>
                    <a:lnTo>
                      <a:pt x="98" y="8"/>
                    </a:lnTo>
                    <a:lnTo>
                      <a:pt x="93" y="8"/>
                    </a:lnTo>
                    <a:lnTo>
                      <a:pt x="84" y="8"/>
                    </a:lnTo>
                    <a:lnTo>
                      <a:pt x="78" y="9"/>
                    </a:lnTo>
                    <a:lnTo>
                      <a:pt x="75" y="9"/>
                    </a:lnTo>
                    <a:lnTo>
                      <a:pt x="73" y="11"/>
                    </a:lnTo>
                    <a:lnTo>
                      <a:pt x="70" y="9"/>
                    </a:lnTo>
                    <a:lnTo>
                      <a:pt x="66" y="13"/>
                    </a:lnTo>
                    <a:lnTo>
                      <a:pt x="66" y="16"/>
                    </a:lnTo>
                    <a:lnTo>
                      <a:pt x="65" y="16"/>
                    </a:lnTo>
                    <a:lnTo>
                      <a:pt x="58" y="14"/>
                    </a:lnTo>
                    <a:lnTo>
                      <a:pt x="58" y="11"/>
                    </a:lnTo>
                    <a:lnTo>
                      <a:pt x="53" y="9"/>
                    </a:lnTo>
                    <a:lnTo>
                      <a:pt x="50" y="11"/>
                    </a:lnTo>
                    <a:lnTo>
                      <a:pt x="43" y="9"/>
                    </a:lnTo>
                    <a:lnTo>
                      <a:pt x="38" y="8"/>
                    </a:lnTo>
                    <a:lnTo>
                      <a:pt x="36" y="9"/>
                    </a:lnTo>
                    <a:lnTo>
                      <a:pt x="35" y="13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5" y="19"/>
                    </a:lnTo>
                    <a:lnTo>
                      <a:pt x="33" y="23"/>
                    </a:lnTo>
                    <a:lnTo>
                      <a:pt x="33" y="28"/>
                    </a:lnTo>
                    <a:lnTo>
                      <a:pt x="31" y="36"/>
                    </a:lnTo>
                    <a:lnTo>
                      <a:pt x="31" y="41"/>
                    </a:lnTo>
                    <a:lnTo>
                      <a:pt x="33" y="43"/>
                    </a:lnTo>
                    <a:lnTo>
                      <a:pt x="36" y="46"/>
                    </a:lnTo>
                    <a:lnTo>
                      <a:pt x="38" y="49"/>
                    </a:lnTo>
                    <a:lnTo>
                      <a:pt x="36" y="53"/>
                    </a:lnTo>
                    <a:lnTo>
                      <a:pt x="25" y="68"/>
                    </a:lnTo>
                    <a:lnTo>
                      <a:pt x="16" y="74"/>
                    </a:lnTo>
                    <a:lnTo>
                      <a:pt x="15" y="78"/>
                    </a:lnTo>
                    <a:lnTo>
                      <a:pt x="5" y="94"/>
                    </a:lnTo>
                    <a:lnTo>
                      <a:pt x="3" y="96"/>
                    </a:lnTo>
                    <a:lnTo>
                      <a:pt x="3" y="103"/>
                    </a:lnTo>
                    <a:lnTo>
                      <a:pt x="3" y="111"/>
                    </a:lnTo>
                    <a:lnTo>
                      <a:pt x="0" y="117"/>
                    </a:lnTo>
                    <a:lnTo>
                      <a:pt x="0" y="122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5" y="124"/>
                    </a:lnTo>
                    <a:lnTo>
                      <a:pt x="8" y="121"/>
                    </a:lnTo>
                    <a:lnTo>
                      <a:pt x="11" y="122"/>
                    </a:lnTo>
                    <a:lnTo>
                      <a:pt x="13" y="124"/>
                    </a:lnTo>
                    <a:lnTo>
                      <a:pt x="16" y="124"/>
                    </a:lnTo>
                    <a:lnTo>
                      <a:pt x="18" y="122"/>
                    </a:lnTo>
                    <a:lnTo>
                      <a:pt x="18" y="119"/>
                    </a:lnTo>
                    <a:lnTo>
                      <a:pt x="23" y="119"/>
                    </a:lnTo>
                    <a:lnTo>
                      <a:pt x="23" y="119"/>
                    </a:lnTo>
                    <a:lnTo>
                      <a:pt x="25" y="117"/>
                    </a:lnTo>
                    <a:lnTo>
                      <a:pt x="26" y="117"/>
                    </a:lnTo>
                    <a:lnTo>
                      <a:pt x="28" y="116"/>
                    </a:lnTo>
                    <a:lnTo>
                      <a:pt x="50" y="116"/>
                    </a:lnTo>
                    <a:lnTo>
                      <a:pt x="50" y="116"/>
                    </a:lnTo>
                    <a:lnTo>
                      <a:pt x="68" y="116"/>
                    </a:lnTo>
                    <a:lnTo>
                      <a:pt x="101" y="114"/>
                    </a:lnTo>
                    <a:lnTo>
                      <a:pt x="108" y="9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6" name="Freeform 99"/>
              <p:cNvSpPr>
                <a:spLocks/>
              </p:cNvSpPr>
              <p:nvPr/>
            </p:nvSpPr>
            <p:spPr bwMode="auto">
              <a:xfrm>
                <a:off x="6603378" y="3142091"/>
                <a:ext cx="169099" cy="99608"/>
              </a:xfrm>
              <a:custGeom>
                <a:avLst/>
                <a:gdLst/>
                <a:ahLst/>
                <a:cxnLst>
                  <a:cxn ang="0">
                    <a:pos x="201" y="6"/>
                  </a:cxn>
                  <a:cxn ang="0">
                    <a:pos x="218" y="30"/>
                  </a:cxn>
                  <a:cxn ang="0">
                    <a:pos x="215" y="43"/>
                  </a:cxn>
                  <a:cxn ang="0">
                    <a:pos x="226" y="51"/>
                  </a:cxn>
                  <a:cxn ang="0">
                    <a:pos x="236" y="60"/>
                  </a:cxn>
                  <a:cxn ang="0">
                    <a:pos x="253" y="68"/>
                  </a:cxn>
                  <a:cxn ang="0">
                    <a:pos x="264" y="74"/>
                  </a:cxn>
                  <a:cxn ang="0">
                    <a:pos x="258" y="84"/>
                  </a:cxn>
                  <a:cxn ang="0">
                    <a:pos x="273" y="89"/>
                  </a:cxn>
                  <a:cxn ang="0">
                    <a:pos x="284" y="103"/>
                  </a:cxn>
                  <a:cxn ang="0">
                    <a:pos x="294" y="113"/>
                  </a:cxn>
                  <a:cxn ang="0">
                    <a:pos x="308" y="121"/>
                  </a:cxn>
                  <a:cxn ang="0">
                    <a:pos x="316" y="134"/>
                  </a:cxn>
                  <a:cxn ang="0">
                    <a:pos x="306" y="133"/>
                  </a:cxn>
                  <a:cxn ang="0">
                    <a:pos x="284" y="133"/>
                  </a:cxn>
                  <a:cxn ang="0">
                    <a:pos x="271" y="131"/>
                  </a:cxn>
                  <a:cxn ang="0">
                    <a:pos x="266" y="133"/>
                  </a:cxn>
                  <a:cxn ang="0">
                    <a:pos x="249" y="138"/>
                  </a:cxn>
                  <a:cxn ang="0">
                    <a:pos x="243" y="136"/>
                  </a:cxn>
                  <a:cxn ang="0">
                    <a:pos x="225" y="139"/>
                  </a:cxn>
                  <a:cxn ang="0">
                    <a:pos x="206" y="141"/>
                  </a:cxn>
                  <a:cxn ang="0">
                    <a:pos x="190" y="148"/>
                  </a:cxn>
                  <a:cxn ang="0">
                    <a:pos x="186" y="154"/>
                  </a:cxn>
                  <a:cxn ang="0">
                    <a:pos x="171" y="151"/>
                  </a:cxn>
                  <a:cxn ang="0">
                    <a:pos x="153" y="149"/>
                  </a:cxn>
                  <a:cxn ang="0">
                    <a:pos x="137" y="143"/>
                  </a:cxn>
                  <a:cxn ang="0">
                    <a:pos x="122" y="134"/>
                  </a:cxn>
                  <a:cxn ang="0">
                    <a:pos x="110" y="138"/>
                  </a:cxn>
                  <a:cxn ang="0">
                    <a:pos x="105" y="148"/>
                  </a:cxn>
                  <a:cxn ang="0">
                    <a:pos x="103" y="156"/>
                  </a:cxn>
                  <a:cxn ang="0">
                    <a:pos x="98" y="166"/>
                  </a:cxn>
                  <a:cxn ang="0">
                    <a:pos x="87" y="162"/>
                  </a:cxn>
                  <a:cxn ang="0">
                    <a:pos x="65" y="167"/>
                  </a:cxn>
                  <a:cxn ang="0">
                    <a:pos x="42" y="192"/>
                  </a:cxn>
                  <a:cxn ang="0">
                    <a:pos x="40" y="182"/>
                  </a:cxn>
                  <a:cxn ang="0">
                    <a:pos x="20" y="161"/>
                  </a:cxn>
                  <a:cxn ang="0">
                    <a:pos x="5" y="146"/>
                  </a:cxn>
                  <a:cxn ang="0">
                    <a:pos x="4" y="123"/>
                  </a:cxn>
                  <a:cxn ang="0">
                    <a:pos x="5" y="108"/>
                  </a:cxn>
                  <a:cxn ang="0">
                    <a:pos x="20" y="84"/>
                  </a:cxn>
                  <a:cxn ang="0">
                    <a:pos x="30" y="78"/>
                  </a:cxn>
                  <a:cxn ang="0">
                    <a:pos x="47" y="81"/>
                  </a:cxn>
                  <a:cxn ang="0">
                    <a:pos x="55" y="73"/>
                  </a:cxn>
                  <a:cxn ang="0">
                    <a:pos x="68" y="74"/>
                  </a:cxn>
                  <a:cxn ang="0">
                    <a:pos x="103" y="64"/>
                  </a:cxn>
                  <a:cxn ang="0">
                    <a:pos x="110" y="55"/>
                  </a:cxn>
                  <a:cxn ang="0">
                    <a:pos x="113" y="45"/>
                  </a:cxn>
                  <a:cxn ang="0">
                    <a:pos x="135" y="46"/>
                  </a:cxn>
                  <a:cxn ang="0">
                    <a:pos x="155" y="36"/>
                  </a:cxn>
                  <a:cxn ang="0">
                    <a:pos x="158" y="25"/>
                  </a:cxn>
                  <a:cxn ang="0">
                    <a:pos x="170" y="15"/>
                  </a:cxn>
                  <a:cxn ang="0">
                    <a:pos x="180" y="5"/>
                  </a:cxn>
                  <a:cxn ang="0">
                    <a:pos x="200" y="1"/>
                  </a:cxn>
                </a:cxnLst>
                <a:rect l="0" t="0" r="r" b="b"/>
                <a:pathLst>
                  <a:path w="316" h="192">
                    <a:moveTo>
                      <a:pt x="200" y="0"/>
                    </a:moveTo>
                    <a:lnTo>
                      <a:pt x="203" y="3"/>
                    </a:lnTo>
                    <a:lnTo>
                      <a:pt x="203" y="5"/>
                    </a:lnTo>
                    <a:lnTo>
                      <a:pt x="201" y="6"/>
                    </a:lnTo>
                    <a:lnTo>
                      <a:pt x="206" y="11"/>
                    </a:lnTo>
                    <a:lnTo>
                      <a:pt x="208" y="13"/>
                    </a:lnTo>
                    <a:lnTo>
                      <a:pt x="213" y="21"/>
                    </a:lnTo>
                    <a:lnTo>
                      <a:pt x="218" y="30"/>
                    </a:lnTo>
                    <a:lnTo>
                      <a:pt x="220" y="33"/>
                    </a:lnTo>
                    <a:lnTo>
                      <a:pt x="218" y="38"/>
                    </a:lnTo>
                    <a:lnTo>
                      <a:pt x="216" y="40"/>
                    </a:lnTo>
                    <a:lnTo>
                      <a:pt x="215" y="43"/>
                    </a:lnTo>
                    <a:lnTo>
                      <a:pt x="216" y="50"/>
                    </a:lnTo>
                    <a:lnTo>
                      <a:pt x="220" y="53"/>
                    </a:lnTo>
                    <a:lnTo>
                      <a:pt x="225" y="53"/>
                    </a:lnTo>
                    <a:lnTo>
                      <a:pt x="226" y="51"/>
                    </a:lnTo>
                    <a:lnTo>
                      <a:pt x="235" y="51"/>
                    </a:lnTo>
                    <a:lnTo>
                      <a:pt x="236" y="53"/>
                    </a:lnTo>
                    <a:lnTo>
                      <a:pt x="235" y="56"/>
                    </a:lnTo>
                    <a:lnTo>
                      <a:pt x="236" y="60"/>
                    </a:lnTo>
                    <a:lnTo>
                      <a:pt x="240" y="63"/>
                    </a:lnTo>
                    <a:lnTo>
                      <a:pt x="245" y="64"/>
                    </a:lnTo>
                    <a:lnTo>
                      <a:pt x="249" y="64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9" y="73"/>
                    </a:lnTo>
                    <a:lnTo>
                      <a:pt x="263" y="73"/>
                    </a:lnTo>
                    <a:lnTo>
                      <a:pt x="264" y="74"/>
                    </a:lnTo>
                    <a:lnTo>
                      <a:pt x="264" y="78"/>
                    </a:lnTo>
                    <a:lnTo>
                      <a:pt x="261" y="81"/>
                    </a:lnTo>
                    <a:lnTo>
                      <a:pt x="259" y="83"/>
                    </a:lnTo>
                    <a:lnTo>
                      <a:pt x="258" y="84"/>
                    </a:lnTo>
                    <a:lnTo>
                      <a:pt x="263" y="88"/>
                    </a:lnTo>
                    <a:lnTo>
                      <a:pt x="268" y="89"/>
                    </a:lnTo>
                    <a:lnTo>
                      <a:pt x="269" y="88"/>
                    </a:lnTo>
                    <a:lnTo>
                      <a:pt x="273" y="89"/>
                    </a:lnTo>
                    <a:lnTo>
                      <a:pt x="274" y="89"/>
                    </a:lnTo>
                    <a:lnTo>
                      <a:pt x="283" y="94"/>
                    </a:lnTo>
                    <a:lnTo>
                      <a:pt x="284" y="96"/>
                    </a:lnTo>
                    <a:lnTo>
                      <a:pt x="284" y="103"/>
                    </a:lnTo>
                    <a:lnTo>
                      <a:pt x="288" y="104"/>
                    </a:lnTo>
                    <a:lnTo>
                      <a:pt x="293" y="106"/>
                    </a:lnTo>
                    <a:lnTo>
                      <a:pt x="294" y="108"/>
                    </a:lnTo>
                    <a:lnTo>
                      <a:pt x="294" y="113"/>
                    </a:lnTo>
                    <a:lnTo>
                      <a:pt x="296" y="114"/>
                    </a:lnTo>
                    <a:lnTo>
                      <a:pt x="304" y="116"/>
                    </a:lnTo>
                    <a:lnTo>
                      <a:pt x="308" y="119"/>
                    </a:lnTo>
                    <a:lnTo>
                      <a:pt x="308" y="121"/>
                    </a:lnTo>
                    <a:lnTo>
                      <a:pt x="308" y="128"/>
                    </a:lnTo>
                    <a:lnTo>
                      <a:pt x="311" y="129"/>
                    </a:lnTo>
                    <a:lnTo>
                      <a:pt x="314" y="133"/>
                    </a:lnTo>
                    <a:lnTo>
                      <a:pt x="316" y="134"/>
                    </a:lnTo>
                    <a:lnTo>
                      <a:pt x="316" y="136"/>
                    </a:lnTo>
                    <a:lnTo>
                      <a:pt x="316" y="136"/>
                    </a:lnTo>
                    <a:lnTo>
                      <a:pt x="311" y="133"/>
                    </a:lnTo>
                    <a:lnTo>
                      <a:pt x="306" y="133"/>
                    </a:lnTo>
                    <a:lnTo>
                      <a:pt x="298" y="136"/>
                    </a:lnTo>
                    <a:lnTo>
                      <a:pt x="298" y="134"/>
                    </a:lnTo>
                    <a:lnTo>
                      <a:pt x="288" y="134"/>
                    </a:lnTo>
                    <a:lnTo>
                      <a:pt x="284" y="133"/>
                    </a:lnTo>
                    <a:lnTo>
                      <a:pt x="281" y="133"/>
                    </a:lnTo>
                    <a:lnTo>
                      <a:pt x="278" y="131"/>
                    </a:lnTo>
                    <a:lnTo>
                      <a:pt x="276" y="131"/>
                    </a:lnTo>
                    <a:lnTo>
                      <a:pt x="271" y="131"/>
                    </a:lnTo>
                    <a:lnTo>
                      <a:pt x="268" y="128"/>
                    </a:lnTo>
                    <a:lnTo>
                      <a:pt x="264" y="129"/>
                    </a:lnTo>
                    <a:lnTo>
                      <a:pt x="264" y="131"/>
                    </a:lnTo>
                    <a:lnTo>
                      <a:pt x="266" y="133"/>
                    </a:lnTo>
                    <a:lnTo>
                      <a:pt x="263" y="136"/>
                    </a:lnTo>
                    <a:lnTo>
                      <a:pt x="259" y="136"/>
                    </a:lnTo>
                    <a:lnTo>
                      <a:pt x="256" y="138"/>
                    </a:lnTo>
                    <a:lnTo>
                      <a:pt x="249" y="138"/>
                    </a:lnTo>
                    <a:lnTo>
                      <a:pt x="248" y="139"/>
                    </a:lnTo>
                    <a:lnTo>
                      <a:pt x="245" y="139"/>
                    </a:lnTo>
                    <a:lnTo>
                      <a:pt x="245" y="136"/>
                    </a:lnTo>
                    <a:lnTo>
                      <a:pt x="243" y="136"/>
                    </a:lnTo>
                    <a:lnTo>
                      <a:pt x="241" y="134"/>
                    </a:lnTo>
                    <a:lnTo>
                      <a:pt x="238" y="134"/>
                    </a:lnTo>
                    <a:lnTo>
                      <a:pt x="228" y="138"/>
                    </a:lnTo>
                    <a:lnTo>
                      <a:pt x="225" y="139"/>
                    </a:lnTo>
                    <a:lnTo>
                      <a:pt x="223" y="141"/>
                    </a:lnTo>
                    <a:lnTo>
                      <a:pt x="213" y="143"/>
                    </a:lnTo>
                    <a:lnTo>
                      <a:pt x="210" y="144"/>
                    </a:lnTo>
                    <a:lnTo>
                      <a:pt x="206" y="141"/>
                    </a:lnTo>
                    <a:lnTo>
                      <a:pt x="201" y="141"/>
                    </a:lnTo>
                    <a:lnTo>
                      <a:pt x="198" y="141"/>
                    </a:lnTo>
                    <a:lnTo>
                      <a:pt x="193" y="144"/>
                    </a:lnTo>
                    <a:lnTo>
                      <a:pt x="190" y="148"/>
                    </a:lnTo>
                    <a:lnTo>
                      <a:pt x="190" y="151"/>
                    </a:lnTo>
                    <a:lnTo>
                      <a:pt x="193" y="153"/>
                    </a:lnTo>
                    <a:lnTo>
                      <a:pt x="191" y="154"/>
                    </a:lnTo>
                    <a:lnTo>
                      <a:pt x="186" y="154"/>
                    </a:lnTo>
                    <a:lnTo>
                      <a:pt x="185" y="154"/>
                    </a:lnTo>
                    <a:lnTo>
                      <a:pt x="178" y="153"/>
                    </a:lnTo>
                    <a:lnTo>
                      <a:pt x="175" y="151"/>
                    </a:lnTo>
                    <a:lnTo>
                      <a:pt x="171" y="151"/>
                    </a:lnTo>
                    <a:lnTo>
                      <a:pt x="168" y="153"/>
                    </a:lnTo>
                    <a:lnTo>
                      <a:pt x="165" y="153"/>
                    </a:lnTo>
                    <a:lnTo>
                      <a:pt x="158" y="151"/>
                    </a:lnTo>
                    <a:lnTo>
                      <a:pt x="153" y="149"/>
                    </a:lnTo>
                    <a:lnTo>
                      <a:pt x="148" y="149"/>
                    </a:lnTo>
                    <a:lnTo>
                      <a:pt x="147" y="148"/>
                    </a:lnTo>
                    <a:lnTo>
                      <a:pt x="140" y="143"/>
                    </a:lnTo>
                    <a:lnTo>
                      <a:pt x="137" y="143"/>
                    </a:lnTo>
                    <a:lnTo>
                      <a:pt x="130" y="136"/>
                    </a:lnTo>
                    <a:lnTo>
                      <a:pt x="127" y="136"/>
                    </a:lnTo>
                    <a:lnTo>
                      <a:pt x="123" y="134"/>
                    </a:lnTo>
                    <a:lnTo>
                      <a:pt x="122" y="134"/>
                    </a:lnTo>
                    <a:lnTo>
                      <a:pt x="120" y="136"/>
                    </a:lnTo>
                    <a:lnTo>
                      <a:pt x="117" y="136"/>
                    </a:lnTo>
                    <a:lnTo>
                      <a:pt x="112" y="138"/>
                    </a:lnTo>
                    <a:lnTo>
                      <a:pt x="110" y="138"/>
                    </a:lnTo>
                    <a:lnTo>
                      <a:pt x="108" y="139"/>
                    </a:lnTo>
                    <a:lnTo>
                      <a:pt x="107" y="143"/>
                    </a:lnTo>
                    <a:lnTo>
                      <a:pt x="105" y="146"/>
                    </a:lnTo>
                    <a:lnTo>
                      <a:pt x="105" y="148"/>
                    </a:lnTo>
                    <a:lnTo>
                      <a:pt x="103" y="149"/>
                    </a:lnTo>
                    <a:lnTo>
                      <a:pt x="100" y="149"/>
                    </a:lnTo>
                    <a:lnTo>
                      <a:pt x="100" y="153"/>
                    </a:lnTo>
                    <a:lnTo>
                      <a:pt x="103" y="156"/>
                    </a:lnTo>
                    <a:lnTo>
                      <a:pt x="102" y="159"/>
                    </a:lnTo>
                    <a:lnTo>
                      <a:pt x="100" y="161"/>
                    </a:lnTo>
                    <a:lnTo>
                      <a:pt x="100" y="166"/>
                    </a:lnTo>
                    <a:lnTo>
                      <a:pt x="98" y="166"/>
                    </a:lnTo>
                    <a:lnTo>
                      <a:pt x="95" y="166"/>
                    </a:lnTo>
                    <a:lnTo>
                      <a:pt x="92" y="164"/>
                    </a:lnTo>
                    <a:lnTo>
                      <a:pt x="90" y="162"/>
                    </a:lnTo>
                    <a:lnTo>
                      <a:pt x="87" y="162"/>
                    </a:lnTo>
                    <a:lnTo>
                      <a:pt x="82" y="162"/>
                    </a:lnTo>
                    <a:lnTo>
                      <a:pt x="80" y="164"/>
                    </a:lnTo>
                    <a:lnTo>
                      <a:pt x="75" y="164"/>
                    </a:lnTo>
                    <a:lnTo>
                      <a:pt x="65" y="167"/>
                    </a:lnTo>
                    <a:lnTo>
                      <a:pt x="63" y="171"/>
                    </a:lnTo>
                    <a:lnTo>
                      <a:pt x="58" y="171"/>
                    </a:lnTo>
                    <a:lnTo>
                      <a:pt x="53" y="176"/>
                    </a:lnTo>
                    <a:lnTo>
                      <a:pt x="42" y="192"/>
                    </a:lnTo>
                    <a:lnTo>
                      <a:pt x="42" y="192"/>
                    </a:lnTo>
                    <a:lnTo>
                      <a:pt x="40" y="191"/>
                    </a:lnTo>
                    <a:lnTo>
                      <a:pt x="40" y="187"/>
                    </a:lnTo>
                    <a:lnTo>
                      <a:pt x="40" y="182"/>
                    </a:lnTo>
                    <a:lnTo>
                      <a:pt x="32" y="177"/>
                    </a:lnTo>
                    <a:lnTo>
                      <a:pt x="29" y="174"/>
                    </a:lnTo>
                    <a:lnTo>
                      <a:pt x="25" y="167"/>
                    </a:lnTo>
                    <a:lnTo>
                      <a:pt x="20" y="161"/>
                    </a:lnTo>
                    <a:lnTo>
                      <a:pt x="19" y="156"/>
                    </a:lnTo>
                    <a:lnTo>
                      <a:pt x="14" y="151"/>
                    </a:lnTo>
                    <a:lnTo>
                      <a:pt x="7" y="148"/>
                    </a:lnTo>
                    <a:lnTo>
                      <a:pt x="5" y="146"/>
                    </a:lnTo>
                    <a:lnTo>
                      <a:pt x="5" y="138"/>
                    </a:lnTo>
                    <a:lnTo>
                      <a:pt x="4" y="133"/>
                    </a:lnTo>
                    <a:lnTo>
                      <a:pt x="2" y="128"/>
                    </a:lnTo>
                    <a:lnTo>
                      <a:pt x="4" y="123"/>
                    </a:lnTo>
                    <a:lnTo>
                      <a:pt x="2" y="116"/>
                    </a:lnTo>
                    <a:lnTo>
                      <a:pt x="0" y="111"/>
                    </a:lnTo>
                    <a:lnTo>
                      <a:pt x="4" y="108"/>
                    </a:lnTo>
                    <a:lnTo>
                      <a:pt x="5" y="108"/>
                    </a:lnTo>
                    <a:lnTo>
                      <a:pt x="10" y="101"/>
                    </a:lnTo>
                    <a:lnTo>
                      <a:pt x="14" y="96"/>
                    </a:lnTo>
                    <a:lnTo>
                      <a:pt x="17" y="89"/>
                    </a:lnTo>
                    <a:lnTo>
                      <a:pt x="20" y="84"/>
                    </a:lnTo>
                    <a:lnTo>
                      <a:pt x="24" y="83"/>
                    </a:lnTo>
                    <a:lnTo>
                      <a:pt x="29" y="78"/>
                    </a:lnTo>
                    <a:lnTo>
                      <a:pt x="29" y="76"/>
                    </a:lnTo>
                    <a:lnTo>
                      <a:pt x="30" y="78"/>
                    </a:lnTo>
                    <a:lnTo>
                      <a:pt x="32" y="83"/>
                    </a:lnTo>
                    <a:lnTo>
                      <a:pt x="35" y="83"/>
                    </a:lnTo>
                    <a:lnTo>
                      <a:pt x="40" y="83"/>
                    </a:lnTo>
                    <a:lnTo>
                      <a:pt x="47" y="81"/>
                    </a:lnTo>
                    <a:lnTo>
                      <a:pt x="50" y="76"/>
                    </a:lnTo>
                    <a:lnTo>
                      <a:pt x="50" y="73"/>
                    </a:lnTo>
                    <a:lnTo>
                      <a:pt x="52" y="69"/>
                    </a:lnTo>
                    <a:lnTo>
                      <a:pt x="55" y="73"/>
                    </a:lnTo>
                    <a:lnTo>
                      <a:pt x="57" y="78"/>
                    </a:lnTo>
                    <a:lnTo>
                      <a:pt x="58" y="79"/>
                    </a:lnTo>
                    <a:lnTo>
                      <a:pt x="63" y="78"/>
                    </a:lnTo>
                    <a:lnTo>
                      <a:pt x="68" y="74"/>
                    </a:lnTo>
                    <a:lnTo>
                      <a:pt x="77" y="71"/>
                    </a:lnTo>
                    <a:lnTo>
                      <a:pt x="82" y="68"/>
                    </a:lnTo>
                    <a:lnTo>
                      <a:pt x="97" y="64"/>
                    </a:lnTo>
                    <a:lnTo>
                      <a:pt x="103" y="64"/>
                    </a:lnTo>
                    <a:lnTo>
                      <a:pt x="107" y="61"/>
                    </a:lnTo>
                    <a:lnTo>
                      <a:pt x="113" y="58"/>
                    </a:lnTo>
                    <a:lnTo>
                      <a:pt x="112" y="55"/>
                    </a:lnTo>
                    <a:lnTo>
                      <a:pt x="110" y="55"/>
                    </a:lnTo>
                    <a:lnTo>
                      <a:pt x="105" y="50"/>
                    </a:lnTo>
                    <a:lnTo>
                      <a:pt x="105" y="46"/>
                    </a:lnTo>
                    <a:lnTo>
                      <a:pt x="108" y="45"/>
                    </a:lnTo>
                    <a:lnTo>
                      <a:pt x="113" y="45"/>
                    </a:lnTo>
                    <a:lnTo>
                      <a:pt x="118" y="45"/>
                    </a:lnTo>
                    <a:lnTo>
                      <a:pt x="122" y="46"/>
                    </a:lnTo>
                    <a:lnTo>
                      <a:pt x="128" y="46"/>
                    </a:lnTo>
                    <a:lnTo>
                      <a:pt x="135" y="46"/>
                    </a:lnTo>
                    <a:lnTo>
                      <a:pt x="145" y="45"/>
                    </a:lnTo>
                    <a:lnTo>
                      <a:pt x="150" y="41"/>
                    </a:lnTo>
                    <a:lnTo>
                      <a:pt x="153" y="40"/>
                    </a:lnTo>
                    <a:lnTo>
                      <a:pt x="155" y="36"/>
                    </a:lnTo>
                    <a:lnTo>
                      <a:pt x="153" y="33"/>
                    </a:lnTo>
                    <a:lnTo>
                      <a:pt x="155" y="30"/>
                    </a:lnTo>
                    <a:lnTo>
                      <a:pt x="158" y="28"/>
                    </a:lnTo>
                    <a:lnTo>
                      <a:pt x="158" y="25"/>
                    </a:lnTo>
                    <a:lnTo>
                      <a:pt x="161" y="21"/>
                    </a:lnTo>
                    <a:lnTo>
                      <a:pt x="163" y="21"/>
                    </a:lnTo>
                    <a:lnTo>
                      <a:pt x="165" y="21"/>
                    </a:lnTo>
                    <a:lnTo>
                      <a:pt x="170" y="15"/>
                    </a:lnTo>
                    <a:lnTo>
                      <a:pt x="173" y="15"/>
                    </a:lnTo>
                    <a:lnTo>
                      <a:pt x="173" y="11"/>
                    </a:lnTo>
                    <a:lnTo>
                      <a:pt x="173" y="8"/>
                    </a:lnTo>
                    <a:lnTo>
                      <a:pt x="180" y="5"/>
                    </a:lnTo>
                    <a:lnTo>
                      <a:pt x="185" y="3"/>
                    </a:lnTo>
                    <a:lnTo>
                      <a:pt x="190" y="3"/>
                    </a:lnTo>
                    <a:lnTo>
                      <a:pt x="193" y="5"/>
                    </a:lnTo>
                    <a:lnTo>
                      <a:pt x="200" y="1"/>
                    </a:lnTo>
                    <a:lnTo>
                      <a:pt x="2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7" name="Freeform 100"/>
              <p:cNvSpPr>
                <a:spLocks/>
              </p:cNvSpPr>
              <p:nvPr/>
            </p:nvSpPr>
            <p:spPr bwMode="auto">
              <a:xfrm>
                <a:off x="6533812" y="2878543"/>
                <a:ext cx="202277" cy="163939"/>
              </a:xfrm>
              <a:custGeom>
                <a:avLst/>
                <a:gdLst/>
                <a:ahLst/>
                <a:cxnLst>
                  <a:cxn ang="0">
                    <a:pos x="354" y="309"/>
                  </a:cxn>
                  <a:cxn ang="0">
                    <a:pos x="365" y="90"/>
                  </a:cxn>
                  <a:cxn ang="0">
                    <a:pos x="360" y="74"/>
                  </a:cxn>
                  <a:cxn ang="0">
                    <a:pos x="367" y="59"/>
                  </a:cxn>
                  <a:cxn ang="0">
                    <a:pos x="364" y="49"/>
                  </a:cxn>
                  <a:cxn ang="0">
                    <a:pos x="367" y="35"/>
                  </a:cxn>
                  <a:cxn ang="0">
                    <a:pos x="362" y="25"/>
                  </a:cxn>
                  <a:cxn ang="0">
                    <a:pos x="354" y="25"/>
                  </a:cxn>
                  <a:cxn ang="0">
                    <a:pos x="334" y="20"/>
                  </a:cxn>
                  <a:cxn ang="0">
                    <a:pos x="319" y="19"/>
                  </a:cxn>
                  <a:cxn ang="0">
                    <a:pos x="319" y="15"/>
                  </a:cxn>
                  <a:cxn ang="0">
                    <a:pos x="307" y="7"/>
                  </a:cxn>
                  <a:cxn ang="0">
                    <a:pos x="294" y="5"/>
                  </a:cxn>
                  <a:cxn ang="0">
                    <a:pos x="289" y="7"/>
                  </a:cxn>
                  <a:cxn ang="0">
                    <a:pos x="282" y="4"/>
                  </a:cxn>
                  <a:cxn ang="0">
                    <a:pos x="264" y="9"/>
                  </a:cxn>
                  <a:cxn ang="0">
                    <a:pos x="247" y="19"/>
                  </a:cxn>
                  <a:cxn ang="0">
                    <a:pos x="242" y="27"/>
                  </a:cxn>
                  <a:cxn ang="0">
                    <a:pos x="246" y="44"/>
                  </a:cxn>
                  <a:cxn ang="0">
                    <a:pos x="247" y="57"/>
                  </a:cxn>
                  <a:cxn ang="0">
                    <a:pos x="241" y="65"/>
                  </a:cxn>
                  <a:cxn ang="0">
                    <a:pos x="227" y="74"/>
                  </a:cxn>
                  <a:cxn ang="0">
                    <a:pos x="207" y="62"/>
                  </a:cxn>
                  <a:cxn ang="0">
                    <a:pos x="187" y="52"/>
                  </a:cxn>
                  <a:cxn ang="0">
                    <a:pos x="163" y="44"/>
                  </a:cxn>
                  <a:cxn ang="0">
                    <a:pos x="151" y="45"/>
                  </a:cxn>
                  <a:cxn ang="0">
                    <a:pos x="134" y="29"/>
                  </a:cxn>
                  <a:cxn ang="0">
                    <a:pos x="129" y="15"/>
                  </a:cxn>
                  <a:cxn ang="0">
                    <a:pos x="104" y="9"/>
                  </a:cxn>
                  <a:cxn ang="0">
                    <a:pos x="84" y="5"/>
                  </a:cxn>
                  <a:cxn ang="0">
                    <a:pos x="55" y="5"/>
                  </a:cxn>
                  <a:cxn ang="0">
                    <a:pos x="45" y="0"/>
                  </a:cxn>
                  <a:cxn ang="0">
                    <a:pos x="46" y="10"/>
                  </a:cxn>
                  <a:cxn ang="0">
                    <a:pos x="43" y="20"/>
                  </a:cxn>
                  <a:cxn ang="0">
                    <a:pos x="28" y="30"/>
                  </a:cxn>
                  <a:cxn ang="0">
                    <a:pos x="18" y="35"/>
                  </a:cxn>
                  <a:cxn ang="0">
                    <a:pos x="15" y="40"/>
                  </a:cxn>
                  <a:cxn ang="0">
                    <a:pos x="16" y="50"/>
                  </a:cxn>
                  <a:cxn ang="0">
                    <a:pos x="15" y="57"/>
                  </a:cxn>
                  <a:cxn ang="0">
                    <a:pos x="15" y="60"/>
                  </a:cxn>
                  <a:cxn ang="0">
                    <a:pos x="8" y="67"/>
                  </a:cxn>
                  <a:cxn ang="0">
                    <a:pos x="3" y="69"/>
                  </a:cxn>
                  <a:cxn ang="0">
                    <a:pos x="1" y="70"/>
                  </a:cxn>
                  <a:cxn ang="0">
                    <a:pos x="3" y="79"/>
                  </a:cxn>
                  <a:cxn ang="0">
                    <a:pos x="6" y="98"/>
                  </a:cxn>
                  <a:cxn ang="0">
                    <a:pos x="6" y="108"/>
                  </a:cxn>
                  <a:cxn ang="0">
                    <a:pos x="11" y="127"/>
                  </a:cxn>
                  <a:cxn ang="0">
                    <a:pos x="8" y="140"/>
                  </a:cxn>
                  <a:cxn ang="0">
                    <a:pos x="11" y="153"/>
                  </a:cxn>
                  <a:cxn ang="0">
                    <a:pos x="3" y="160"/>
                  </a:cxn>
                  <a:cxn ang="0">
                    <a:pos x="0" y="163"/>
                  </a:cxn>
                  <a:cxn ang="0">
                    <a:pos x="10" y="173"/>
                  </a:cxn>
                  <a:cxn ang="0">
                    <a:pos x="15" y="183"/>
                  </a:cxn>
                  <a:cxn ang="0">
                    <a:pos x="16" y="191"/>
                  </a:cxn>
                  <a:cxn ang="0">
                    <a:pos x="20" y="201"/>
                  </a:cxn>
                  <a:cxn ang="0">
                    <a:pos x="23" y="208"/>
                  </a:cxn>
                  <a:cxn ang="0">
                    <a:pos x="41" y="208"/>
                  </a:cxn>
                  <a:cxn ang="0">
                    <a:pos x="50" y="215"/>
                  </a:cxn>
                  <a:cxn ang="0">
                    <a:pos x="56" y="226"/>
                  </a:cxn>
                  <a:cxn ang="0">
                    <a:pos x="63" y="231"/>
                  </a:cxn>
                  <a:cxn ang="0">
                    <a:pos x="109" y="246"/>
                  </a:cxn>
                  <a:cxn ang="0">
                    <a:pos x="354" y="316"/>
                  </a:cxn>
                  <a:cxn ang="0">
                    <a:pos x="354" y="316"/>
                  </a:cxn>
                </a:cxnLst>
                <a:rect l="0" t="0" r="r" b="b"/>
                <a:pathLst>
                  <a:path w="377" h="318">
                    <a:moveTo>
                      <a:pt x="354" y="316"/>
                    </a:moveTo>
                    <a:lnTo>
                      <a:pt x="354" y="309"/>
                    </a:lnTo>
                    <a:lnTo>
                      <a:pt x="377" y="306"/>
                    </a:lnTo>
                    <a:lnTo>
                      <a:pt x="365" y="90"/>
                    </a:lnTo>
                    <a:lnTo>
                      <a:pt x="364" y="79"/>
                    </a:lnTo>
                    <a:lnTo>
                      <a:pt x="360" y="74"/>
                    </a:lnTo>
                    <a:lnTo>
                      <a:pt x="364" y="67"/>
                    </a:lnTo>
                    <a:lnTo>
                      <a:pt x="367" y="59"/>
                    </a:lnTo>
                    <a:lnTo>
                      <a:pt x="367" y="54"/>
                    </a:lnTo>
                    <a:lnTo>
                      <a:pt x="364" y="49"/>
                    </a:lnTo>
                    <a:lnTo>
                      <a:pt x="365" y="39"/>
                    </a:lnTo>
                    <a:lnTo>
                      <a:pt x="367" y="35"/>
                    </a:lnTo>
                    <a:lnTo>
                      <a:pt x="365" y="29"/>
                    </a:lnTo>
                    <a:lnTo>
                      <a:pt x="362" y="25"/>
                    </a:lnTo>
                    <a:lnTo>
                      <a:pt x="357" y="25"/>
                    </a:lnTo>
                    <a:lnTo>
                      <a:pt x="354" y="25"/>
                    </a:lnTo>
                    <a:lnTo>
                      <a:pt x="337" y="24"/>
                    </a:lnTo>
                    <a:lnTo>
                      <a:pt x="334" y="20"/>
                    </a:lnTo>
                    <a:lnTo>
                      <a:pt x="327" y="20"/>
                    </a:lnTo>
                    <a:lnTo>
                      <a:pt x="319" y="19"/>
                    </a:lnTo>
                    <a:lnTo>
                      <a:pt x="317" y="15"/>
                    </a:lnTo>
                    <a:lnTo>
                      <a:pt x="319" y="15"/>
                    </a:lnTo>
                    <a:lnTo>
                      <a:pt x="319" y="12"/>
                    </a:lnTo>
                    <a:lnTo>
                      <a:pt x="307" y="7"/>
                    </a:lnTo>
                    <a:lnTo>
                      <a:pt x="302" y="7"/>
                    </a:lnTo>
                    <a:lnTo>
                      <a:pt x="294" y="5"/>
                    </a:lnTo>
                    <a:lnTo>
                      <a:pt x="292" y="4"/>
                    </a:lnTo>
                    <a:lnTo>
                      <a:pt x="289" y="7"/>
                    </a:lnTo>
                    <a:lnTo>
                      <a:pt x="284" y="4"/>
                    </a:lnTo>
                    <a:lnTo>
                      <a:pt x="282" y="4"/>
                    </a:lnTo>
                    <a:lnTo>
                      <a:pt x="276" y="7"/>
                    </a:lnTo>
                    <a:lnTo>
                      <a:pt x="264" y="9"/>
                    </a:lnTo>
                    <a:lnTo>
                      <a:pt x="252" y="14"/>
                    </a:lnTo>
                    <a:lnTo>
                      <a:pt x="247" y="19"/>
                    </a:lnTo>
                    <a:lnTo>
                      <a:pt x="246" y="24"/>
                    </a:lnTo>
                    <a:lnTo>
                      <a:pt x="242" y="27"/>
                    </a:lnTo>
                    <a:lnTo>
                      <a:pt x="242" y="37"/>
                    </a:lnTo>
                    <a:lnTo>
                      <a:pt x="246" y="44"/>
                    </a:lnTo>
                    <a:lnTo>
                      <a:pt x="249" y="52"/>
                    </a:lnTo>
                    <a:lnTo>
                      <a:pt x="247" y="57"/>
                    </a:lnTo>
                    <a:lnTo>
                      <a:pt x="241" y="64"/>
                    </a:lnTo>
                    <a:lnTo>
                      <a:pt x="241" y="65"/>
                    </a:lnTo>
                    <a:lnTo>
                      <a:pt x="232" y="72"/>
                    </a:lnTo>
                    <a:lnTo>
                      <a:pt x="227" y="74"/>
                    </a:lnTo>
                    <a:lnTo>
                      <a:pt x="216" y="70"/>
                    </a:lnTo>
                    <a:lnTo>
                      <a:pt x="207" y="62"/>
                    </a:lnTo>
                    <a:lnTo>
                      <a:pt x="199" y="57"/>
                    </a:lnTo>
                    <a:lnTo>
                      <a:pt x="187" y="52"/>
                    </a:lnTo>
                    <a:lnTo>
                      <a:pt x="171" y="45"/>
                    </a:lnTo>
                    <a:lnTo>
                      <a:pt x="163" y="44"/>
                    </a:lnTo>
                    <a:lnTo>
                      <a:pt x="159" y="45"/>
                    </a:lnTo>
                    <a:lnTo>
                      <a:pt x="151" y="45"/>
                    </a:lnTo>
                    <a:lnTo>
                      <a:pt x="143" y="42"/>
                    </a:lnTo>
                    <a:lnTo>
                      <a:pt x="134" y="29"/>
                    </a:lnTo>
                    <a:lnTo>
                      <a:pt x="134" y="22"/>
                    </a:lnTo>
                    <a:lnTo>
                      <a:pt x="129" y="15"/>
                    </a:lnTo>
                    <a:lnTo>
                      <a:pt x="113" y="12"/>
                    </a:lnTo>
                    <a:lnTo>
                      <a:pt x="104" y="9"/>
                    </a:lnTo>
                    <a:lnTo>
                      <a:pt x="91" y="7"/>
                    </a:lnTo>
                    <a:lnTo>
                      <a:pt x="84" y="5"/>
                    </a:lnTo>
                    <a:lnTo>
                      <a:pt x="68" y="7"/>
                    </a:lnTo>
                    <a:lnTo>
                      <a:pt x="55" y="5"/>
                    </a:lnTo>
                    <a:lnTo>
                      <a:pt x="51" y="2"/>
                    </a:lnTo>
                    <a:lnTo>
                      <a:pt x="45" y="0"/>
                    </a:lnTo>
                    <a:lnTo>
                      <a:pt x="45" y="2"/>
                    </a:lnTo>
                    <a:lnTo>
                      <a:pt x="46" y="10"/>
                    </a:lnTo>
                    <a:lnTo>
                      <a:pt x="48" y="12"/>
                    </a:lnTo>
                    <a:lnTo>
                      <a:pt x="43" y="20"/>
                    </a:lnTo>
                    <a:lnTo>
                      <a:pt x="28" y="29"/>
                    </a:lnTo>
                    <a:lnTo>
                      <a:pt x="28" y="30"/>
                    </a:lnTo>
                    <a:lnTo>
                      <a:pt x="25" y="35"/>
                    </a:lnTo>
                    <a:lnTo>
                      <a:pt x="18" y="35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5" y="44"/>
                    </a:lnTo>
                    <a:lnTo>
                      <a:pt x="16" y="50"/>
                    </a:lnTo>
                    <a:lnTo>
                      <a:pt x="16" y="55"/>
                    </a:lnTo>
                    <a:lnTo>
                      <a:pt x="15" y="57"/>
                    </a:lnTo>
                    <a:lnTo>
                      <a:pt x="16" y="59"/>
                    </a:lnTo>
                    <a:lnTo>
                      <a:pt x="15" y="60"/>
                    </a:lnTo>
                    <a:lnTo>
                      <a:pt x="11" y="65"/>
                    </a:lnTo>
                    <a:lnTo>
                      <a:pt x="8" y="67"/>
                    </a:lnTo>
                    <a:lnTo>
                      <a:pt x="6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1" y="70"/>
                    </a:lnTo>
                    <a:lnTo>
                      <a:pt x="1" y="77"/>
                    </a:lnTo>
                    <a:lnTo>
                      <a:pt x="3" y="79"/>
                    </a:lnTo>
                    <a:lnTo>
                      <a:pt x="6" y="83"/>
                    </a:lnTo>
                    <a:lnTo>
                      <a:pt x="6" y="98"/>
                    </a:lnTo>
                    <a:lnTo>
                      <a:pt x="8" y="107"/>
                    </a:lnTo>
                    <a:lnTo>
                      <a:pt x="6" y="108"/>
                    </a:lnTo>
                    <a:lnTo>
                      <a:pt x="8" y="120"/>
                    </a:lnTo>
                    <a:lnTo>
                      <a:pt x="11" y="127"/>
                    </a:lnTo>
                    <a:lnTo>
                      <a:pt x="8" y="138"/>
                    </a:lnTo>
                    <a:lnTo>
                      <a:pt x="8" y="140"/>
                    </a:lnTo>
                    <a:lnTo>
                      <a:pt x="10" y="145"/>
                    </a:lnTo>
                    <a:lnTo>
                      <a:pt x="11" y="153"/>
                    </a:lnTo>
                    <a:lnTo>
                      <a:pt x="10" y="157"/>
                    </a:lnTo>
                    <a:lnTo>
                      <a:pt x="3" y="160"/>
                    </a:lnTo>
                    <a:lnTo>
                      <a:pt x="1" y="162"/>
                    </a:lnTo>
                    <a:lnTo>
                      <a:pt x="0" y="163"/>
                    </a:lnTo>
                    <a:lnTo>
                      <a:pt x="3" y="167"/>
                    </a:lnTo>
                    <a:lnTo>
                      <a:pt x="10" y="173"/>
                    </a:lnTo>
                    <a:lnTo>
                      <a:pt x="13" y="183"/>
                    </a:lnTo>
                    <a:lnTo>
                      <a:pt x="15" y="183"/>
                    </a:lnTo>
                    <a:lnTo>
                      <a:pt x="16" y="190"/>
                    </a:lnTo>
                    <a:lnTo>
                      <a:pt x="16" y="191"/>
                    </a:lnTo>
                    <a:lnTo>
                      <a:pt x="16" y="198"/>
                    </a:lnTo>
                    <a:lnTo>
                      <a:pt x="20" y="201"/>
                    </a:lnTo>
                    <a:lnTo>
                      <a:pt x="20" y="205"/>
                    </a:lnTo>
                    <a:lnTo>
                      <a:pt x="23" y="208"/>
                    </a:lnTo>
                    <a:lnTo>
                      <a:pt x="33" y="208"/>
                    </a:lnTo>
                    <a:lnTo>
                      <a:pt x="41" y="208"/>
                    </a:lnTo>
                    <a:lnTo>
                      <a:pt x="46" y="210"/>
                    </a:lnTo>
                    <a:lnTo>
                      <a:pt x="50" y="215"/>
                    </a:lnTo>
                    <a:lnTo>
                      <a:pt x="55" y="225"/>
                    </a:lnTo>
                    <a:lnTo>
                      <a:pt x="56" y="226"/>
                    </a:lnTo>
                    <a:lnTo>
                      <a:pt x="60" y="230"/>
                    </a:lnTo>
                    <a:lnTo>
                      <a:pt x="63" y="231"/>
                    </a:lnTo>
                    <a:lnTo>
                      <a:pt x="104" y="241"/>
                    </a:lnTo>
                    <a:lnTo>
                      <a:pt x="109" y="246"/>
                    </a:lnTo>
                    <a:lnTo>
                      <a:pt x="158" y="226"/>
                    </a:lnTo>
                    <a:lnTo>
                      <a:pt x="354" y="316"/>
                    </a:lnTo>
                    <a:lnTo>
                      <a:pt x="354" y="318"/>
                    </a:lnTo>
                    <a:lnTo>
                      <a:pt x="354" y="3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8" name="Freeform 101"/>
              <p:cNvSpPr>
                <a:spLocks noEditPoints="1"/>
              </p:cNvSpPr>
              <p:nvPr/>
            </p:nvSpPr>
            <p:spPr bwMode="auto">
              <a:xfrm>
                <a:off x="6509196" y="2824589"/>
                <a:ext cx="50301" cy="89233"/>
              </a:xfrm>
              <a:custGeom>
                <a:avLst/>
                <a:gdLst/>
                <a:ahLst/>
                <a:cxnLst>
                  <a:cxn ang="0">
                    <a:pos x="53" y="172"/>
                  </a:cxn>
                  <a:cxn ang="0">
                    <a:pos x="58" y="168"/>
                  </a:cxn>
                  <a:cxn ang="0">
                    <a:pos x="63" y="162"/>
                  </a:cxn>
                  <a:cxn ang="0">
                    <a:pos x="63" y="158"/>
                  </a:cxn>
                  <a:cxn ang="0">
                    <a:pos x="62" y="147"/>
                  </a:cxn>
                  <a:cxn ang="0">
                    <a:pos x="62" y="142"/>
                  </a:cxn>
                  <a:cxn ang="0">
                    <a:pos x="72" y="138"/>
                  </a:cxn>
                  <a:cxn ang="0">
                    <a:pos x="75" y="132"/>
                  </a:cxn>
                  <a:cxn ang="0">
                    <a:pos x="95" y="115"/>
                  </a:cxn>
                  <a:cxn ang="0">
                    <a:pos x="92" y="105"/>
                  </a:cxn>
                  <a:cxn ang="0">
                    <a:pos x="90" y="103"/>
                  </a:cxn>
                  <a:cxn ang="0">
                    <a:pos x="82" y="97"/>
                  </a:cxn>
                  <a:cxn ang="0">
                    <a:pos x="78" y="92"/>
                  </a:cxn>
                  <a:cxn ang="0">
                    <a:pos x="77" y="95"/>
                  </a:cxn>
                  <a:cxn ang="0">
                    <a:pos x="72" y="95"/>
                  </a:cxn>
                  <a:cxn ang="0">
                    <a:pos x="67" y="92"/>
                  </a:cxn>
                  <a:cxn ang="0">
                    <a:pos x="55" y="80"/>
                  </a:cxn>
                  <a:cxn ang="0">
                    <a:pos x="70" y="67"/>
                  </a:cxn>
                  <a:cxn ang="0">
                    <a:pos x="78" y="59"/>
                  </a:cxn>
                  <a:cxn ang="0">
                    <a:pos x="78" y="54"/>
                  </a:cxn>
                  <a:cxn ang="0">
                    <a:pos x="77" y="49"/>
                  </a:cxn>
                  <a:cxn ang="0">
                    <a:pos x="70" y="40"/>
                  </a:cxn>
                  <a:cxn ang="0">
                    <a:pos x="65" y="27"/>
                  </a:cxn>
                  <a:cxn ang="0">
                    <a:pos x="72" y="19"/>
                  </a:cxn>
                  <a:cxn ang="0">
                    <a:pos x="75" y="9"/>
                  </a:cxn>
                  <a:cxn ang="0">
                    <a:pos x="65" y="14"/>
                  </a:cxn>
                  <a:cxn ang="0">
                    <a:pos x="60" y="15"/>
                  </a:cxn>
                  <a:cxn ang="0">
                    <a:pos x="53" y="7"/>
                  </a:cxn>
                  <a:cxn ang="0">
                    <a:pos x="50" y="0"/>
                  </a:cxn>
                  <a:cxn ang="0">
                    <a:pos x="45" y="4"/>
                  </a:cxn>
                  <a:cxn ang="0">
                    <a:pos x="37" y="2"/>
                  </a:cxn>
                  <a:cxn ang="0">
                    <a:pos x="22" y="12"/>
                  </a:cxn>
                  <a:cxn ang="0">
                    <a:pos x="20" y="15"/>
                  </a:cxn>
                  <a:cxn ang="0">
                    <a:pos x="20" y="24"/>
                  </a:cxn>
                  <a:cxn ang="0">
                    <a:pos x="17" y="40"/>
                  </a:cxn>
                  <a:cxn ang="0">
                    <a:pos x="22" y="50"/>
                  </a:cxn>
                  <a:cxn ang="0">
                    <a:pos x="20" y="54"/>
                  </a:cxn>
                  <a:cxn ang="0">
                    <a:pos x="20" y="59"/>
                  </a:cxn>
                  <a:cxn ang="0">
                    <a:pos x="17" y="69"/>
                  </a:cxn>
                  <a:cxn ang="0">
                    <a:pos x="12" y="74"/>
                  </a:cxn>
                  <a:cxn ang="0">
                    <a:pos x="4" y="80"/>
                  </a:cxn>
                  <a:cxn ang="0">
                    <a:pos x="2" y="92"/>
                  </a:cxn>
                  <a:cxn ang="0">
                    <a:pos x="4" y="100"/>
                  </a:cxn>
                  <a:cxn ang="0">
                    <a:pos x="9" y="105"/>
                  </a:cxn>
                  <a:cxn ang="0">
                    <a:pos x="17" y="117"/>
                  </a:cxn>
                  <a:cxn ang="0">
                    <a:pos x="25" y="120"/>
                  </a:cxn>
                  <a:cxn ang="0">
                    <a:pos x="35" y="127"/>
                  </a:cxn>
                  <a:cxn ang="0">
                    <a:pos x="50" y="172"/>
                  </a:cxn>
                  <a:cxn ang="0">
                    <a:pos x="73" y="87"/>
                  </a:cxn>
                  <a:cxn ang="0">
                    <a:pos x="78" y="88"/>
                  </a:cxn>
                  <a:cxn ang="0">
                    <a:pos x="72" y="88"/>
                  </a:cxn>
                </a:cxnLst>
                <a:rect l="0" t="0" r="r" b="b"/>
                <a:pathLst>
                  <a:path w="95" h="172">
                    <a:moveTo>
                      <a:pt x="50" y="172"/>
                    </a:moveTo>
                    <a:lnTo>
                      <a:pt x="53" y="172"/>
                    </a:lnTo>
                    <a:lnTo>
                      <a:pt x="55" y="170"/>
                    </a:lnTo>
                    <a:lnTo>
                      <a:pt x="58" y="168"/>
                    </a:lnTo>
                    <a:lnTo>
                      <a:pt x="62" y="163"/>
                    </a:lnTo>
                    <a:lnTo>
                      <a:pt x="63" y="162"/>
                    </a:lnTo>
                    <a:lnTo>
                      <a:pt x="62" y="160"/>
                    </a:lnTo>
                    <a:lnTo>
                      <a:pt x="63" y="158"/>
                    </a:lnTo>
                    <a:lnTo>
                      <a:pt x="63" y="153"/>
                    </a:lnTo>
                    <a:lnTo>
                      <a:pt x="62" y="147"/>
                    </a:lnTo>
                    <a:lnTo>
                      <a:pt x="62" y="143"/>
                    </a:lnTo>
                    <a:lnTo>
                      <a:pt x="62" y="142"/>
                    </a:lnTo>
                    <a:lnTo>
                      <a:pt x="65" y="138"/>
                    </a:lnTo>
                    <a:lnTo>
                      <a:pt x="72" y="138"/>
                    </a:lnTo>
                    <a:lnTo>
                      <a:pt x="75" y="133"/>
                    </a:lnTo>
                    <a:lnTo>
                      <a:pt x="75" y="132"/>
                    </a:lnTo>
                    <a:lnTo>
                      <a:pt x="90" y="123"/>
                    </a:lnTo>
                    <a:lnTo>
                      <a:pt x="95" y="115"/>
                    </a:lnTo>
                    <a:lnTo>
                      <a:pt x="93" y="113"/>
                    </a:lnTo>
                    <a:lnTo>
                      <a:pt x="92" y="105"/>
                    </a:lnTo>
                    <a:lnTo>
                      <a:pt x="92" y="103"/>
                    </a:lnTo>
                    <a:lnTo>
                      <a:pt x="90" y="103"/>
                    </a:lnTo>
                    <a:lnTo>
                      <a:pt x="82" y="98"/>
                    </a:lnTo>
                    <a:lnTo>
                      <a:pt x="82" y="97"/>
                    </a:lnTo>
                    <a:lnTo>
                      <a:pt x="82" y="93"/>
                    </a:lnTo>
                    <a:lnTo>
                      <a:pt x="78" y="92"/>
                    </a:lnTo>
                    <a:lnTo>
                      <a:pt x="77" y="93"/>
                    </a:lnTo>
                    <a:lnTo>
                      <a:pt x="77" y="95"/>
                    </a:lnTo>
                    <a:lnTo>
                      <a:pt x="75" y="95"/>
                    </a:lnTo>
                    <a:lnTo>
                      <a:pt x="72" y="95"/>
                    </a:lnTo>
                    <a:lnTo>
                      <a:pt x="70" y="92"/>
                    </a:lnTo>
                    <a:lnTo>
                      <a:pt x="67" y="92"/>
                    </a:lnTo>
                    <a:lnTo>
                      <a:pt x="58" y="87"/>
                    </a:lnTo>
                    <a:lnTo>
                      <a:pt x="55" y="80"/>
                    </a:lnTo>
                    <a:lnTo>
                      <a:pt x="58" y="74"/>
                    </a:lnTo>
                    <a:lnTo>
                      <a:pt x="70" y="67"/>
                    </a:lnTo>
                    <a:lnTo>
                      <a:pt x="77" y="60"/>
                    </a:lnTo>
                    <a:lnTo>
                      <a:pt x="78" y="59"/>
                    </a:lnTo>
                    <a:lnTo>
                      <a:pt x="77" y="55"/>
                    </a:lnTo>
                    <a:lnTo>
                      <a:pt x="78" y="54"/>
                    </a:lnTo>
                    <a:lnTo>
                      <a:pt x="78" y="50"/>
                    </a:lnTo>
                    <a:lnTo>
                      <a:pt x="77" y="49"/>
                    </a:lnTo>
                    <a:lnTo>
                      <a:pt x="77" y="42"/>
                    </a:lnTo>
                    <a:lnTo>
                      <a:pt x="70" y="40"/>
                    </a:lnTo>
                    <a:lnTo>
                      <a:pt x="63" y="32"/>
                    </a:lnTo>
                    <a:lnTo>
                      <a:pt x="65" y="27"/>
                    </a:lnTo>
                    <a:lnTo>
                      <a:pt x="70" y="24"/>
                    </a:lnTo>
                    <a:lnTo>
                      <a:pt x="72" y="19"/>
                    </a:lnTo>
                    <a:lnTo>
                      <a:pt x="75" y="12"/>
                    </a:lnTo>
                    <a:lnTo>
                      <a:pt x="75" y="9"/>
                    </a:lnTo>
                    <a:lnTo>
                      <a:pt x="73" y="7"/>
                    </a:lnTo>
                    <a:lnTo>
                      <a:pt x="65" y="14"/>
                    </a:lnTo>
                    <a:lnTo>
                      <a:pt x="62" y="17"/>
                    </a:lnTo>
                    <a:lnTo>
                      <a:pt x="60" y="15"/>
                    </a:lnTo>
                    <a:lnTo>
                      <a:pt x="55" y="7"/>
                    </a:lnTo>
                    <a:lnTo>
                      <a:pt x="53" y="7"/>
                    </a:lnTo>
                    <a:lnTo>
                      <a:pt x="53" y="4"/>
                    </a:lnTo>
                    <a:lnTo>
                      <a:pt x="50" y="0"/>
                    </a:lnTo>
                    <a:lnTo>
                      <a:pt x="45" y="2"/>
                    </a:lnTo>
                    <a:lnTo>
                      <a:pt x="45" y="4"/>
                    </a:lnTo>
                    <a:lnTo>
                      <a:pt x="43" y="2"/>
                    </a:lnTo>
                    <a:lnTo>
                      <a:pt x="37" y="2"/>
                    </a:lnTo>
                    <a:lnTo>
                      <a:pt x="27" y="7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5"/>
                    </a:lnTo>
                    <a:lnTo>
                      <a:pt x="22" y="17"/>
                    </a:lnTo>
                    <a:lnTo>
                      <a:pt x="20" y="24"/>
                    </a:lnTo>
                    <a:lnTo>
                      <a:pt x="20" y="30"/>
                    </a:lnTo>
                    <a:lnTo>
                      <a:pt x="17" y="40"/>
                    </a:lnTo>
                    <a:lnTo>
                      <a:pt x="19" y="47"/>
                    </a:lnTo>
                    <a:lnTo>
                      <a:pt x="22" y="50"/>
                    </a:lnTo>
                    <a:lnTo>
                      <a:pt x="22" y="52"/>
                    </a:lnTo>
                    <a:lnTo>
                      <a:pt x="20" y="54"/>
                    </a:lnTo>
                    <a:lnTo>
                      <a:pt x="17" y="57"/>
                    </a:lnTo>
                    <a:lnTo>
                      <a:pt x="20" y="59"/>
                    </a:lnTo>
                    <a:lnTo>
                      <a:pt x="19" y="62"/>
                    </a:lnTo>
                    <a:lnTo>
                      <a:pt x="17" y="69"/>
                    </a:lnTo>
                    <a:lnTo>
                      <a:pt x="14" y="70"/>
                    </a:lnTo>
                    <a:lnTo>
                      <a:pt x="12" y="74"/>
                    </a:lnTo>
                    <a:lnTo>
                      <a:pt x="9" y="75"/>
                    </a:lnTo>
                    <a:lnTo>
                      <a:pt x="4" y="80"/>
                    </a:lnTo>
                    <a:lnTo>
                      <a:pt x="0" y="92"/>
                    </a:lnTo>
                    <a:lnTo>
                      <a:pt x="2" y="92"/>
                    </a:lnTo>
                    <a:lnTo>
                      <a:pt x="5" y="98"/>
                    </a:lnTo>
                    <a:lnTo>
                      <a:pt x="4" y="100"/>
                    </a:lnTo>
                    <a:lnTo>
                      <a:pt x="7" y="105"/>
                    </a:lnTo>
                    <a:lnTo>
                      <a:pt x="9" y="105"/>
                    </a:lnTo>
                    <a:lnTo>
                      <a:pt x="15" y="110"/>
                    </a:lnTo>
                    <a:lnTo>
                      <a:pt x="17" y="117"/>
                    </a:lnTo>
                    <a:lnTo>
                      <a:pt x="24" y="118"/>
                    </a:lnTo>
                    <a:lnTo>
                      <a:pt x="25" y="120"/>
                    </a:lnTo>
                    <a:lnTo>
                      <a:pt x="28" y="122"/>
                    </a:lnTo>
                    <a:lnTo>
                      <a:pt x="35" y="127"/>
                    </a:lnTo>
                    <a:lnTo>
                      <a:pt x="50" y="172"/>
                    </a:lnTo>
                    <a:lnTo>
                      <a:pt x="50" y="172"/>
                    </a:lnTo>
                    <a:close/>
                    <a:moveTo>
                      <a:pt x="72" y="88"/>
                    </a:moveTo>
                    <a:lnTo>
                      <a:pt x="73" y="87"/>
                    </a:lnTo>
                    <a:lnTo>
                      <a:pt x="77" y="87"/>
                    </a:lnTo>
                    <a:lnTo>
                      <a:pt x="78" y="88"/>
                    </a:lnTo>
                    <a:lnTo>
                      <a:pt x="75" y="90"/>
                    </a:lnTo>
                    <a:lnTo>
                      <a:pt x="72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9" name="Freeform 102"/>
              <p:cNvSpPr>
                <a:spLocks/>
              </p:cNvSpPr>
              <p:nvPr/>
            </p:nvSpPr>
            <p:spPr bwMode="auto">
              <a:xfrm>
                <a:off x="6307989" y="2828739"/>
                <a:ext cx="260070" cy="219969"/>
              </a:xfrm>
              <a:custGeom>
                <a:avLst/>
                <a:gdLst/>
                <a:ahLst/>
                <a:cxnLst>
                  <a:cxn ang="0">
                    <a:pos x="480" y="322"/>
                  </a:cxn>
                  <a:cxn ang="0">
                    <a:pos x="470" y="306"/>
                  </a:cxn>
                  <a:cxn ang="0">
                    <a:pos x="447" y="304"/>
                  </a:cxn>
                  <a:cxn ang="0">
                    <a:pos x="440" y="294"/>
                  </a:cxn>
                  <a:cxn ang="0">
                    <a:pos x="439" y="279"/>
                  </a:cxn>
                  <a:cxn ang="0">
                    <a:pos x="427" y="263"/>
                  </a:cxn>
                  <a:cxn ang="0">
                    <a:pos x="427" y="256"/>
                  </a:cxn>
                  <a:cxn ang="0">
                    <a:pos x="434" y="241"/>
                  </a:cxn>
                  <a:cxn ang="0">
                    <a:pos x="435" y="223"/>
                  </a:cxn>
                  <a:cxn ang="0">
                    <a:pos x="432" y="203"/>
                  </a:cxn>
                  <a:cxn ang="0">
                    <a:pos x="427" y="175"/>
                  </a:cxn>
                  <a:cxn ang="0">
                    <a:pos x="427" y="165"/>
                  </a:cxn>
                  <a:cxn ang="0">
                    <a:pos x="402" y="113"/>
                  </a:cxn>
                  <a:cxn ang="0">
                    <a:pos x="392" y="103"/>
                  </a:cxn>
                  <a:cxn ang="0">
                    <a:pos x="381" y="93"/>
                  </a:cxn>
                  <a:cxn ang="0">
                    <a:pos x="377" y="85"/>
                  </a:cxn>
                  <a:cxn ang="0">
                    <a:pos x="389" y="67"/>
                  </a:cxn>
                  <a:cxn ang="0">
                    <a:pos x="396" y="55"/>
                  </a:cxn>
                  <a:cxn ang="0">
                    <a:pos x="397" y="47"/>
                  </a:cxn>
                  <a:cxn ang="0">
                    <a:pos x="396" y="40"/>
                  </a:cxn>
                  <a:cxn ang="0">
                    <a:pos x="397" y="17"/>
                  </a:cxn>
                  <a:cxn ang="0">
                    <a:pos x="399" y="5"/>
                  </a:cxn>
                  <a:cxn ang="0">
                    <a:pos x="387" y="3"/>
                  </a:cxn>
                  <a:cxn ang="0">
                    <a:pos x="364" y="0"/>
                  </a:cxn>
                  <a:cxn ang="0">
                    <a:pos x="352" y="5"/>
                  </a:cxn>
                  <a:cxn ang="0">
                    <a:pos x="342" y="0"/>
                  </a:cxn>
                  <a:cxn ang="0">
                    <a:pos x="334" y="8"/>
                  </a:cxn>
                  <a:cxn ang="0">
                    <a:pos x="322" y="10"/>
                  </a:cxn>
                  <a:cxn ang="0">
                    <a:pos x="307" y="5"/>
                  </a:cxn>
                  <a:cxn ang="0">
                    <a:pos x="293" y="5"/>
                  </a:cxn>
                  <a:cxn ang="0">
                    <a:pos x="283" y="5"/>
                  </a:cxn>
                  <a:cxn ang="0">
                    <a:pos x="271" y="7"/>
                  </a:cxn>
                  <a:cxn ang="0">
                    <a:pos x="256" y="10"/>
                  </a:cxn>
                  <a:cxn ang="0">
                    <a:pos x="236" y="12"/>
                  </a:cxn>
                  <a:cxn ang="0">
                    <a:pos x="214" y="20"/>
                  </a:cxn>
                  <a:cxn ang="0">
                    <a:pos x="205" y="30"/>
                  </a:cxn>
                  <a:cxn ang="0">
                    <a:pos x="198" y="28"/>
                  </a:cxn>
                  <a:cxn ang="0">
                    <a:pos x="186" y="33"/>
                  </a:cxn>
                  <a:cxn ang="0">
                    <a:pos x="176" y="40"/>
                  </a:cxn>
                  <a:cxn ang="0">
                    <a:pos x="158" y="48"/>
                  </a:cxn>
                  <a:cxn ang="0">
                    <a:pos x="165" y="57"/>
                  </a:cxn>
                  <a:cxn ang="0">
                    <a:pos x="166" y="68"/>
                  </a:cxn>
                  <a:cxn ang="0">
                    <a:pos x="168" y="96"/>
                  </a:cxn>
                  <a:cxn ang="0">
                    <a:pos x="176" y="108"/>
                  </a:cxn>
                  <a:cxn ang="0">
                    <a:pos x="185" y="111"/>
                  </a:cxn>
                  <a:cxn ang="0">
                    <a:pos x="178" y="123"/>
                  </a:cxn>
                  <a:cxn ang="0">
                    <a:pos x="138" y="133"/>
                  </a:cxn>
                  <a:cxn ang="0">
                    <a:pos x="131" y="150"/>
                  </a:cxn>
                  <a:cxn ang="0">
                    <a:pos x="87" y="178"/>
                  </a:cxn>
                  <a:cxn ang="0">
                    <a:pos x="48" y="189"/>
                  </a:cxn>
                  <a:cxn ang="0">
                    <a:pos x="23" y="193"/>
                  </a:cxn>
                  <a:cxn ang="0">
                    <a:pos x="0" y="211"/>
                  </a:cxn>
                  <a:cxn ang="0">
                    <a:pos x="0" y="236"/>
                  </a:cxn>
                  <a:cxn ang="0">
                    <a:pos x="88" y="289"/>
                  </a:cxn>
                  <a:cxn ang="0">
                    <a:pos x="249" y="394"/>
                  </a:cxn>
                  <a:cxn ang="0">
                    <a:pos x="271" y="400"/>
                  </a:cxn>
                  <a:cxn ang="0">
                    <a:pos x="286" y="410"/>
                  </a:cxn>
                  <a:cxn ang="0">
                    <a:pos x="284" y="424"/>
                  </a:cxn>
                  <a:cxn ang="0">
                    <a:pos x="311" y="422"/>
                  </a:cxn>
                  <a:cxn ang="0">
                    <a:pos x="347" y="414"/>
                  </a:cxn>
                  <a:cxn ang="0">
                    <a:pos x="487" y="327"/>
                  </a:cxn>
                </a:cxnLst>
                <a:rect l="0" t="0" r="r" b="b"/>
                <a:pathLst>
                  <a:path w="487" h="425">
                    <a:moveTo>
                      <a:pt x="487" y="327"/>
                    </a:moveTo>
                    <a:lnTo>
                      <a:pt x="484" y="326"/>
                    </a:lnTo>
                    <a:lnTo>
                      <a:pt x="480" y="322"/>
                    </a:lnTo>
                    <a:lnTo>
                      <a:pt x="479" y="321"/>
                    </a:lnTo>
                    <a:lnTo>
                      <a:pt x="474" y="311"/>
                    </a:lnTo>
                    <a:lnTo>
                      <a:pt x="470" y="306"/>
                    </a:lnTo>
                    <a:lnTo>
                      <a:pt x="465" y="304"/>
                    </a:lnTo>
                    <a:lnTo>
                      <a:pt x="457" y="304"/>
                    </a:lnTo>
                    <a:lnTo>
                      <a:pt x="447" y="304"/>
                    </a:lnTo>
                    <a:lnTo>
                      <a:pt x="444" y="301"/>
                    </a:lnTo>
                    <a:lnTo>
                      <a:pt x="444" y="297"/>
                    </a:lnTo>
                    <a:lnTo>
                      <a:pt x="440" y="294"/>
                    </a:lnTo>
                    <a:lnTo>
                      <a:pt x="440" y="287"/>
                    </a:lnTo>
                    <a:lnTo>
                      <a:pt x="440" y="286"/>
                    </a:lnTo>
                    <a:lnTo>
                      <a:pt x="439" y="279"/>
                    </a:lnTo>
                    <a:lnTo>
                      <a:pt x="437" y="279"/>
                    </a:lnTo>
                    <a:lnTo>
                      <a:pt x="434" y="269"/>
                    </a:lnTo>
                    <a:lnTo>
                      <a:pt x="427" y="263"/>
                    </a:lnTo>
                    <a:lnTo>
                      <a:pt x="424" y="259"/>
                    </a:lnTo>
                    <a:lnTo>
                      <a:pt x="425" y="258"/>
                    </a:lnTo>
                    <a:lnTo>
                      <a:pt x="427" y="256"/>
                    </a:lnTo>
                    <a:lnTo>
                      <a:pt x="434" y="253"/>
                    </a:lnTo>
                    <a:lnTo>
                      <a:pt x="435" y="249"/>
                    </a:lnTo>
                    <a:lnTo>
                      <a:pt x="434" y="241"/>
                    </a:lnTo>
                    <a:lnTo>
                      <a:pt x="432" y="236"/>
                    </a:lnTo>
                    <a:lnTo>
                      <a:pt x="432" y="234"/>
                    </a:lnTo>
                    <a:lnTo>
                      <a:pt x="435" y="223"/>
                    </a:lnTo>
                    <a:lnTo>
                      <a:pt x="432" y="216"/>
                    </a:lnTo>
                    <a:lnTo>
                      <a:pt x="430" y="204"/>
                    </a:lnTo>
                    <a:lnTo>
                      <a:pt x="432" y="203"/>
                    </a:lnTo>
                    <a:lnTo>
                      <a:pt x="430" y="194"/>
                    </a:lnTo>
                    <a:lnTo>
                      <a:pt x="430" y="179"/>
                    </a:lnTo>
                    <a:lnTo>
                      <a:pt x="427" y="175"/>
                    </a:lnTo>
                    <a:lnTo>
                      <a:pt x="425" y="173"/>
                    </a:lnTo>
                    <a:lnTo>
                      <a:pt x="425" y="166"/>
                    </a:lnTo>
                    <a:lnTo>
                      <a:pt x="427" y="165"/>
                    </a:lnTo>
                    <a:lnTo>
                      <a:pt x="412" y="120"/>
                    </a:lnTo>
                    <a:lnTo>
                      <a:pt x="405" y="115"/>
                    </a:lnTo>
                    <a:lnTo>
                      <a:pt x="402" y="113"/>
                    </a:lnTo>
                    <a:lnTo>
                      <a:pt x="401" y="111"/>
                    </a:lnTo>
                    <a:lnTo>
                      <a:pt x="394" y="110"/>
                    </a:lnTo>
                    <a:lnTo>
                      <a:pt x="392" y="103"/>
                    </a:lnTo>
                    <a:lnTo>
                      <a:pt x="386" y="98"/>
                    </a:lnTo>
                    <a:lnTo>
                      <a:pt x="384" y="98"/>
                    </a:lnTo>
                    <a:lnTo>
                      <a:pt x="381" y="93"/>
                    </a:lnTo>
                    <a:lnTo>
                      <a:pt x="382" y="91"/>
                    </a:lnTo>
                    <a:lnTo>
                      <a:pt x="379" y="85"/>
                    </a:lnTo>
                    <a:lnTo>
                      <a:pt x="377" y="85"/>
                    </a:lnTo>
                    <a:lnTo>
                      <a:pt x="381" y="73"/>
                    </a:lnTo>
                    <a:lnTo>
                      <a:pt x="386" y="68"/>
                    </a:lnTo>
                    <a:lnTo>
                      <a:pt x="389" y="67"/>
                    </a:lnTo>
                    <a:lnTo>
                      <a:pt x="391" y="63"/>
                    </a:lnTo>
                    <a:lnTo>
                      <a:pt x="394" y="62"/>
                    </a:lnTo>
                    <a:lnTo>
                      <a:pt x="396" y="55"/>
                    </a:lnTo>
                    <a:lnTo>
                      <a:pt x="397" y="52"/>
                    </a:lnTo>
                    <a:lnTo>
                      <a:pt x="394" y="50"/>
                    </a:lnTo>
                    <a:lnTo>
                      <a:pt x="397" y="47"/>
                    </a:lnTo>
                    <a:lnTo>
                      <a:pt x="399" y="45"/>
                    </a:lnTo>
                    <a:lnTo>
                      <a:pt x="399" y="43"/>
                    </a:lnTo>
                    <a:lnTo>
                      <a:pt x="396" y="40"/>
                    </a:lnTo>
                    <a:lnTo>
                      <a:pt x="394" y="33"/>
                    </a:lnTo>
                    <a:lnTo>
                      <a:pt x="397" y="23"/>
                    </a:lnTo>
                    <a:lnTo>
                      <a:pt x="397" y="17"/>
                    </a:lnTo>
                    <a:lnTo>
                      <a:pt x="399" y="10"/>
                    </a:lnTo>
                    <a:lnTo>
                      <a:pt x="397" y="8"/>
                    </a:lnTo>
                    <a:lnTo>
                      <a:pt x="399" y="5"/>
                    </a:lnTo>
                    <a:lnTo>
                      <a:pt x="397" y="3"/>
                    </a:lnTo>
                    <a:lnTo>
                      <a:pt x="391" y="5"/>
                    </a:lnTo>
                    <a:lnTo>
                      <a:pt x="387" y="3"/>
                    </a:lnTo>
                    <a:lnTo>
                      <a:pt x="377" y="7"/>
                    </a:lnTo>
                    <a:lnTo>
                      <a:pt x="371" y="2"/>
                    </a:lnTo>
                    <a:lnTo>
                      <a:pt x="364" y="0"/>
                    </a:lnTo>
                    <a:lnTo>
                      <a:pt x="364" y="2"/>
                    </a:lnTo>
                    <a:lnTo>
                      <a:pt x="361" y="7"/>
                    </a:lnTo>
                    <a:lnTo>
                      <a:pt x="352" y="5"/>
                    </a:lnTo>
                    <a:lnTo>
                      <a:pt x="351" y="2"/>
                    </a:lnTo>
                    <a:lnTo>
                      <a:pt x="347" y="0"/>
                    </a:lnTo>
                    <a:lnTo>
                      <a:pt x="342" y="0"/>
                    </a:lnTo>
                    <a:lnTo>
                      <a:pt x="342" y="3"/>
                    </a:lnTo>
                    <a:lnTo>
                      <a:pt x="337" y="5"/>
                    </a:lnTo>
                    <a:lnTo>
                      <a:pt x="334" y="8"/>
                    </a:lnTo>
                    <a:lnTo>
                      <a:pt x="331" y="7"/>
                    </a:lnTo>
                    <a:lnTo>
                      <a:pt x="327" y="7"/>
                    </a:lnTo>
                    <a:lnTo>
                      <a:pt x="322" y="10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07" y="5"/>
                    </a:lnTo>
                    <a:lnTo>
                      <a:pt x="304" y="5"/>
                    </a:lnTo>
                    <a:lnTo>
                      <a:pt x="298" y="5"/>
                    </a:lnTo>
                    <a:lnTo>
                      <a:pt x="293" y="5"/>
                    </a:lnTo>
                    <a:lnTo>
                      <a:pt x="291" y="5"/>
                    </a:lnTo>
                    <a:lnTo>
                      <a:pt x="286" y="3"/>
                    </a:lnTo>
                    <a:lnTo>
                      <a:pt x="283" y="5"/>
                    </a:lnTo>
                    <a:lnTo>
                      <a:pt x="281" y="8"/>
                    </a:lnTo>
                    <a:lnTo>
                      <a:pt x="276" y="8"/>
                    </a:lnTo>
                    <a:lnTo>
                      <a:pt x="271" y="7"/>
                    </a:lnTo>
                    <a:lnTo>
                      <a:pt x="264" y="13"/>
                    </a:lnTo>
                    <a:lnTo>
                      <a:pt x="261" y="13"/>
                    </a:lnTo>
                    <a:lnTo>
                      <a:pt x="256" y="10"/>
                    </a:lnTo>
                    <a:lnTo>
                      <a:pt x="251" y="12"/>
                    </a:lnTo>
                    <a:lnTo>
                      <a:pt x="241" y="12"/>
                    </a:lnTo>
                    <a:lnTo>
                      <a:pt x="236" y="12"/>
                    </a:lnTo>
                    <a:lnTo>
                      <a:pt x="224" y="20"/>
                    </a:lnTo>
                    <a:lnTo>
                      <a:pt x="218" y="20"/>
                    </a:lnTo>
                    <a:lnTo>
                      <a:pt x="214" y="20"/>
                    </a:lnTo>
                    <a:lnTo>
                      <a:pt x="208" y="23"/>
                    </a:lnTo>
                    <a:lnTo>
                      <a:pt x="208" y="27"/>
                    </a:lnTo>
                    <a:lnTo>
                      <a:pt x="205" y="30"/>
                    </a:lnTo>
                    <a:lnTo>
                      <a:pt x="203" y="30"/>
                    </a:lnTo>
                    <a:lnTo>
                      <a:pt x="201" y="28"/>
                    </a:lnTo>
                    <a:lnTo>
                      <a:pt x="198" y="28"/>
                    </a:lnTo>
                    <a:lnTo>
                      <a:pt x="195" y="30"/>
                    </a:lnTo>
                    <a:lnTo>
                      <a:pt x="193" y="33"/>
                    </a:lnTo>
                    <a:lnTo>
                      <a:pt x="186" y="33"/>
                    </a:lnTo>
                    <a:lnTo>
                      <a:pt x="181" y="35"/>
                    </a:lnTo>
                    <a:lnTo>
                      <a:pt x="178" y="38"/>
                    </a:lnTo>
                    <a:lnTo>
                      <a:pt x="176" y="40"/>
                    </a:lnTo>
                    <a:lnTo>
                      <a:pt x="173" y="45"/>
                    </a:lnTo>
                    <a:lnTo>
                      <a:pt x="165" y="47"/>
                    </a:lnTo>
                    <a:lnTo>
                      <a:pt x="158" y="48"/>
                    </a:lnTo>
                    <a:lnTo>
                      <a:pt x="160" y="50"/>
                    </a:lnTo>
                    <a:lnTo>
                      <a:pt x="161" y="53"/>
                    </a:lnTo>
                    <a:lnTo>
                      <a:pt x="165" y="57"/>
                    </a:lnTo>
                    <a:lnTo>
                      <a:pt x="165" y="60"/>
                    </a:lnTo>
                    <a:lnTo>
                      <a:pt x="165" y="62"/>
                    </a:lnTo>
                    <a:lnTo>
                      <a:pt x="166" y="68"/>
                    </a:lnTo>
                    <a:lnTo>
                      <a:pt x="166" y="77"/>
                    </a:lnTo>
                    <a:lnTo>
                      <a:pt x="166" y="80"/>
                    </a:lnTo>
                    <a:lnTo>
                      <a:pt x="168" y="96"/>
                    </a:lnTo>
                    <a:lnTo>
                      <a:pt x="171" y="103"/>
                    </a:lnTo>
                    <a:lnTo>
                      <a:pt x="173" y="108"/>
                    </a:lnTo>
                    <a:lnTo>
                      <a:pt x="176" y="108"/>
                    </a:lnTo>
                    <a:lnTo>
                      <a:pt x="180" y="110"/>
                    </a:lnTo>
                    <a:lnTo>
                      <a:pt x="181" y="110"/>
                    </a:lnTo>
                    <a:lnTo>
                      <a:pt x="185" y="111"/>
                    </a:lnTo>
                    <a:lnTo>
                      <a:pt x="181" y="118"/>
                    </a:lnTo>
                    <a:lnTo>
                      <a:pt x="181" y="120"/>
                    </a:lnTo>
                    <a:lnTo>
                      <a:pt x="178" y="123"/>
                    </a:lnTo>
                    <a:lnTo>
                      <a:pt x="150" y="123"/>
                    </a:lnTo>
                    <a:lnTo>
                      <a:pt x="145" y="125"/>
                    </a:lnTo>
                    <a:lnTo>
                      <a:pt x="138" y="133"/>
                    </a:lnTo>
                    <a:lnTo>
                      <a:pt x="133" y="136"/>
                    </a:lnTo>
                    <a:lnTo>
                      <a:pt x="131" y="141"/>
                    </a:lnTo>
                    <a:lnTo>
                      <a:pt x="131" y="150"/>
                    </a:lnTo>
                    <a:lnTo>
                      <a:pt x="130" y="153"/>
                    </a:lnTo>
                    <a:lnTo>
                      <a:pt x="113" y="163"/>
                    </a:lnTo>
                    <a:lnTo>
                      <a:pt x="87" y="178"/>
                    </a:lnTo>
                    <a:lnTo>
                      <a:pt x="67" y="188"/>
                    </a:lnTo>
                    <a:lnTo>
                      <a:pt x="57" y="189"/>
                    </a:lnTo>
                    <a:lnTo>
                      <a:pt x="48" y="189"/>
                    </a:lnTo>
                    <a:lnTo>
                      <a:pt x="43" y="191"/>
                    </a:lnTo>
                    <a:lnTo>
                      <a:pt x="37" y="191"/>
                    </a:lnTo>
                    <a:lnTo>
                      <a:pt x="23" y="193"/>
                    </a:lnTo>
                    <a:lnTo>
                      <a:pt x="17" y="198"/>
                    </a:lnTo>
                    <a:lnTo>
                      <a:pt x="12" y="203"/>
                    </a:lnTo>
                    <a:lnTo>
                      <a:pt x="0" y="211"/>
                    </a:lnTo>
                    <a:lnTo>
                      <a:pt x="0" y="229"/>
                    </a:lnTo>
                    <a:lnTo>
                      <a:pt x="0" y="229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88" y="289"/>
                    </a:lnTo>
                    <a:lnTo>
                      <a:pt x="88" y="289"/>
                    </a:lnTo>
                    <a:lnTo>
                      <a:pt x="246" y="384"/>
                    </a:lnTo>
                    <a:lnTo>
                      <a:pt x="249" y="394"/>
                    </a:lnTo>
                    <a:lnTo>
                      <a:pt x="254" y="399"/>
                    </a:lnTo>
                    <a:lnTo>
                      <a:pt x="264" y="399"/>
                    </a:lnTo>
                    <a:lnTo>
                      <a:pt x="271" y="400"/>
                    </a:lnTo>
                    <a:lnTo>
                      <a:pt x="274" y="405"/>
                    </a:lnTo>
                    <a:lnTo>
                      <a:pt x="281" y="407"/>
                    </a:lnTo>
                    <a:lnTo>
                      <a:pt x="286" y="410"/>
                    </a:lnTo>
                    <a:lnTo>
                      <a:pt x="286" y="414"/>
                    </a:lnTo>
                    <a:lnTo>
                      <a:pt x="283" y="420"/>
                    </a:lnTo>
                    <a:lnTo>
                      <a:pt x="284" y="424"/>
                    </a:lnTo>
                    <a:lnTo>
                      <a:pt x="291" y="425"/>
                    </a:lnTo>
                    <a:lnTo>
                      <a:pt x="301" y="424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47" y="414"/>
                    </a:lnTo>
                    <a:lnTo>
                      <a:pt x="377" y="389"/>
                    </a:lnTo>
                    <a:lnTo>
                      <a:pt x="487" y="327"/>
                    </a:lnTo>
                    <a:lnTo>
                      <a:pt x="487" y="3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0" name="Freeform 103"/>
              <p:cNvSpPr>
                <a:spLocks/>
              </p:cNvSpPr>
              <p:nvPr/>
            </p:nvSpPr>
            <p:spPr bwMode="auto">
              <a:xfrm>
                <a:off x="6255547" y="2843265"/>
                <a:ext cx="150905" cy="103759"/>
              </a:xfrm>
              <a:custGeom>
                <a:avLst/>
                <a:gdLst/>
                <a:ahLst/>
                <a:cxnLst>
                  <a:cxn ang="0">
                    <a:pos x="98" y="183"/>
                  </a:cxn>
                  <a:cxn ang="0">
                    <a:pos x="115" y="170"/>
                  </a:cxn>
                  <a:cxn ang="0">
                    <a:pos x="135" y="163"/>
                  </a:cxn>
                  <a:cxn ang="0">
                    <a:pos x="146" y="161"/>
                  </a:cxn>
                  <a:cxn ang="0">
                    <a:pos x="165" y="160"/>
                  </a:cxn>
                  <a:cxn ang="0">
                    <a:pos x="211" y="135"/>
                  </a:cxn>
                  <a:cxn ang="0">
                    <a:pos x="229" y="122"/>
                  </a:cxn>
                  <a:cxn ang="0">
                    <a:pos x="231" y="108"/>
                  </a:cxn>
                  <a:cxn ang="0">
                    <a:pos x="243" y="97"/>
                  </a:cxn>
                  <a:cxn ang="0">
                    <a:pos x="276" y="95"/>
                  </a:cxn>
                  <a:cxn ang="0">
                    <a:pos x="279" y="90"/>
                  </a:cxn>
                  <a:cxn ang="0">
                    <a:pos x="279" y="82"/>
                  </a:cxn>
                  <a:cxn ang="0">
                    <a:pos x="274" y="80"/>
                  </a:cxn>
                  <a:cxn ang="0">
                    <a:pos x="269" y="75"/>
                  </a:cxn>
                  <a:cxn ang="0">
                    <a:pos x="264" y="52"/>
                  </a:cxn>
                  <a:cxn ang="0">
                    <a:pos x="264" y="40"/>
                  </a:cxn>
                  <a:cxn ang="0">
                    <a:pos x="263" y="32"/>
                  </a:cxn>
                  <a:cxn ang="0">
                    <a:pos x="259" y="25"/>
                  </a:cxn>
                  <a:cxn ang="0">
                    <a:pos x="256" y="20"/>
                  </a:cxn>
                  <a:cxn ang="0">
                    <a:pos x="239" y="19"/>
                  </a:cxn>
                  <a:cxn ang="0">
                    <a:pos x="234" y="12"/>
                  </a:cxn>
                  <a:cxn ang="0">
                    <a:pos x="233" y="12"/>
                  </a:cxn>
                  <a:cxn ang="0">
                    <a:pos x="221" y="17"/>
                  </a:cxn>
                  <a:cxn ang="0">
                    <a:pos x="209" y="15"/>
                  </a:cxn>
                  <a:cxn ang="0">
                    <a:pos x="196" y="19"/>
                  </a:cxn>
                  <a:cxn ang="0">
                    <a:pos x="185" y="10"/>
                  </a:cxn>
                  <a:cxn ang="0">
                    <a:pos x="181" y="5"/>
                  </a:cxn>
                  <a:cxn ang="0">
                    <a:pos x="181" y="2"/>
                  </a:cxn>
                  <a:cxn ang="0">
                    <a:pos x="176" y="2"/>
                  </a:cxn>
                  <a:cxn ang="0">
                    <a:pos x="170" y="4"/>
                  </a:cxn>
                  <a:cxn ang="0">
                    <a:pos x="165" y="20"/>
                  </a:cxn>
                  <a:cxn ang="0">
                    <a:pos x="158" y="35"/>
                  </a:cxn>
                  <a:cxn ang="0">
                    <a:pos x="143" y="50"/>
                  </a:cxn>
                  <a:cxn ang="0">
                    <a:pos x="136" y="53"/>
                  </a:cxn>
                  <a:cxn ang="0">
                    <a:pos x="120" y="62"/>
                  </a:cxn>
                  <a:cxn ang="0">
                    <a:pos x="108" y="68"/>
                  </a:cxn>
                  <a:cxn ang="0">
                    <a:pos x="98" y="75"/>
                  </a:cxn>
                  <a:cxn ang="0">
                    <a:pos x="92" y="90"/>
                  </a:cxn>
                  <a:cxn ang="0">
                    <a:pos x="82" y="103"/>
                  </a:cxn>
                  <a:cxn ang="0">
                    <a:pos x="75" y="118"/>
                  </a:cxn>
                  <a:cxn ang="0">
                    <a:pos x="75" y="135"/>
                  </a:cxn>
                  <a:cxn ang="0">
                    <a:pos x="80" y="140"/>
                  </a:cxn>
                  <a:cxn ang="0">
                    <a:pos x="63" y="161"/>
                  </a:cxn>
                  <a:cxn ang="0">
                    <a:pos x="55" y="175"/>
                  </a:cxn>
                  <a:cxn ang="0">
                    <a:pos x="30" y="188"/>
                  </a:cxn>
                  <a:cxn ang="0">
                    <a:pos x="0" y="200"/>
                  </a:cxn>
                  <a:cxn ang="0">
                    <a:pos x="98" y="201"/>
                  </a:cxn>
                </a:cxnLst>
                <a:rect l="0" t="0" r="r" b="b"/>
                <a:pathLst>
                  <a:path w="283" h="201">
                    <a:moveTo>
                      <a:pt x="98" y="201"/>
                    </a:moveTo>
                    <a:lnTo>
                      <a:pt x="98" y="183"/>
                    </a:lnTo>
                    <a:lnTo>
                      <a:pt x="110" y="175"/>
                    </a:lnTo>
                    <a:lnTo>
                      <a:pt x="115" y="170"/>
                    </a:lnTo>
                    <a:lnTo>
                      <a:pt x="121" y="165"/>
                    </a:lnTo>
                    <a:lnTo>
                      <a:pt x="135" y="163"/>
                    </a:lnTo>
                    <a:lnTo>
                      <a:pt x="141" y="163"/>
                    </a:lnTo>
                    <a:lnTo>
                      <a:pt x="146" y="161"/>
                    </a:lnTo>
                    <a:lnTo>
                      <a:pt x="155" y="161"/>
                    </a:lnTo>
                    <a:lnTo>
                      <a:pt x="165" y="160"/>
                    </a:lnTo>
                    <a:lnTo>
                      <a:pt x="185" y="150"/>
                    </a:lnTo>
                    <a:lnTo>
                      <a:pt x="211" y="135"/>
                    </a:lnTo>
                    <a:lnTo>
                      <a:pt x="228" y="125"/>
                    </a:lnTo>
                    <a:lnTo>
                      <a:pt x="229" y="122"/>
                    </a:lnTo>
                    <a:lnTo>
                      <a:pt x="229" y="113"/>
                    </a:lnTo>
                    <a:lnTo>
                      <a:pt x="231" y="108"/>
                    </a:lnTo>
                    <a:lnTo>
                      <a:pt x="236" y="105"/>
                    </a:lnTo>
                    <a:lnTo>
                      <a:pt x="243" y="97"/>
                    </a:lnTo>
                    <a:lnTo>
                      <a:pt x="248" y="95"/>
                    </a:lnTo>
                    <a:lnTo>
                      <a:pt x="276" y="95"/>
                    </a:lnTo>
                    <a:lnTo>
                      <a:pt x="279" y="92"/>
                    </a:lnTo>
                    <a:lnTo>
                      <a:pt x="279" y="90"/>
                    </a:lnTo>
                    <a:lnTo>
                      <a:pt x="283" y="83"/>
                    </a:lnTo>
                    <a:lnTo>
                      <a:pt x="279" y="82"/>
                    </a:lnTo>
                    <a:lnTo>
                      <a:pt x="278" y="82"/>
                    </a:lnTo>
                    <a:lnTo>
                      <a:pt x="274" y="80"/>
                    </a:lnTo>
                    <a:lnTo>
                      <a:pt x="271" y="80"/>
                    </a:lnTo>
                    <a:lnTo>
                      <a:pt x="269" y="75"/>
                    </a:lnTo>
                    <a:lnTo>
                      <a:pt x="266" y="68"/>
                    </a:lnTo>
                    <a:lnTo>
                      <a:pt x="264" y="52"/>
                    </a:lnTo>
                    <a:lnTo>
                      <a:pt x="264" y="49"/>
                    </a:lnTo>
                    <a:lnTo>
                      <a:pt x="264" y="40"/>
                    </a:lnTo>
                    <a:lnTo>
                      <a:pt x="263" y="34"/>
                    </a:lnTo>
                    <a:lnTo>
                      <a:pt x="263" y="32"/>
                    </a:lnTo>
                    <a:lnTo>
                      <a:pt x="263" y="29"/>
                    </a:lnTo>
                    <a:lnTo>
                      <a:pt x="259" y="25"/>
                    </a:lnTo>
                    <a:lnTo>
                      <a:pt x="258" y="22"/>
                    </a:lnTo>
                    <a:lnTo>
                      <a:pt x="256" y="20"/>
                    </a:lnTo>
                    <a:lnTo>
                      <a:pt x="253" y="20"/>
                    </a:lnTo>
                    <a:lnTo>
                      <a:pt x="239" y="19"/>
                    </a:lnTo>
                    <a:lnTo>
                      <a:pt x="236" y="15"/>
                    </a:lnTo>
                    <a:lnTo>
                      <a:pt x="234" y="12"/>
                    </a:lnTo>
                    <a:lnTo>
                      <a:pt x="233" y="12"/>
                    </a:lnTo>
                    <a:lnTo>
                      <a:pt x="233" y="12"/>
                    </a:lnTo>
                    <a:lnTo>
                      <a:pt x="228" y="15"/>
                    </a:lnTo>
                    <a:lnTo>
                      <a:pt x="221" y="17"/>
                    </a:lnTo>
                    <a:lnTo>
                      <a:pt x="213" y="15"/>
                    </a:lnTo>
                    <a:lnTo>
                      <a:pt x="209" y="15"/>
                    </a:lnTo>
                    <a:lnTo>
                      <a:pt x="205" y="17"/>
                    </a:lnTo>
                    <a:lnTo>
                      <a:pt x="196" y="19"/>
                    </a:lnTo>
                    <a:lnTo>
                      <a:pt x="191" y="17"/>
                    </a:lnTo>
                    <a:lnTo>
                      <a:pt x="185" y="10"/>
                    </a:lnTo>
                    <a:lnTo>
                      <a:pt x="181" y="9"/>
                    </a:lnTo>
                    <a:lnTo>
                      <a:pt x="181" y="5"/>
                    </a:lnTo>
                    <a:lnTo>
                      <a:pt x="181" y="4"/>
                    </a:lnTo>
                    <a:lnTo>
                      <a:pt x="181" y="2"/>
                    </a:lnTo>
                    <a:lnTo>
                      <a:pt x="180" y="0"/>
                    </a:lnTo>
                    <a:lnTo>
                      <a:pt x="176" y="2"/>
                    </a:lnTo>
                    <a:lnTo>
                      <a:pt x="173" y="4"/>
                    </a:lnTo>
                    <a:lnTo>
                      <a:pt x="170" y="4"/>
                    </a:lnTo>
                    <a:lnTo>
                      <a:pt x="165" y="7"/>
                    </a:lnTo>
                    <a:lnTo>
                      <a:pt x="165" y="20"/>
                    </a:lnTo>
                    <a:lnTo>
                      <a:pt x="160" y="25"/>
                    </a:lnTo>
                    <a:lnTo>
                      <a:pt x="158" y="35"/>
                    </a:lnTo>
                    <a:lnTo>
                      <a:pt x="155" y="40"/>
                    </a:lnTo>
                    <a:lnTo>
                      <a:pt x="143" y="50"/>
                    </a:lnTo>
                    <a:lnTo>
                      <a:pt x="141" y="50"/>
                    </a:lnTo>
                    <a:lnTo>
                      <a:pt x="136" y="53"/>
                    </a:lnTo>
                    <a:lnTo>
                      <a:pt x="126" y="55"/>
                    </a:lnTo>
                    <a:lnTo>
                      <a:pt x="120" y="62"/>
                    </a:lnTo>
                    <a:lnTo>
                      <a:pt x="118" y="62"/>
                    </a:lnTo>
                    <a:lnTo>
                      <a:pt x="108" y="68"/>
                    </a:lnTo>
                    <a:lnTo>
                      <a:pt x="102" y="70"/>
                    </a:lnTo>
                    <a:lnTo>
                      <a:pt x="98" y="75"/>
                    </a:lnTo>
                    <a:lnTo>
                      <a:pt x="88" y="82"/>
                    </a:lnTo>
                    <a:lnTo>
                      <a:pt x="92" y="90"/>
                    </a:lnTo>
                    <a:lnTo>
                      <a:pt x="92" y="95"/>
                    </a:lnTo>
                    <a:lnTo>
                      <a:pt x="82" y="103"/>
                    </a:lnTo>
                    <a:lnTo>
                      <a:pt x="75" y="115"/>
                    </a:lnTo>
                    <a:lnTo>
                      <a:pt x="75" y="118"/>
                    </a:lnTo>
                    <a:lnTo>
                      <a:pt x="78" y="127"/>
                    </a:lnTo>
                    <a:lnTo>
                      <a:pt x="75" y="135"/>
                    </a:lnTo>
                    <a:lnTo>
                      <a:pt x="78" y="137"/>
                    </a:lnTo>
                    <a:lnTo>
                      <a:pt x="80" y="140"/>
                    </a:lnTo>
                    <a:lnTo>
                      <a:pt x="78" y="147"/>
                    </a:lnTo>
                    <a:lnTo>
                      <a:pt x="63" y="161"/>
                    </a:lnTo>
                    <a:lnTo>
                      <a:pt x="62" y="168"/>
                    </a:lnTo>
                    <a:lnTo>
                      <a:pt x="55" y="175"/>
                    </a:lnTo>
                    <a:lnTo>
                      <a:pt x="47" y="175"/>
                    </a:lnTo>
                    <a:lnTo>
                      <a:pt x="30" y="188"/>
                    </a:lnTo>
                    <a:lnTo>
                      <a:pt x="7" y="193"/>
                    </a:lnTo>
                    <a:lnTo>
                      <a:pt x="0" y="200"/>
                    </a:lnTo>
                    <a:lnTo>
                      <a:pt x="98" y="201"/>
                    </a:lnTo>
                    <a:lnTo>
                      <a:pt x="98" y="201"/>
                    </a:lnTo>
                    <a:lnTo>
                      <a:pt x="98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1" name="Freeform 104"/>
              <p:cNvSpPr>
                <a:spLocks/>
              </p:cNvSpPr>
              <p:nvPr/>
            </p:nvSpPr>
            <p:spPr bwMode="auto">
              <a:xfrm>
                <a:off x="6202035" y="2945987"/>
                <a:ext cx="105954" cy="75744"/>
              </a:xfrm>
              <a:custGeom>
                <a:avLst/>
                <a:gdLst/>
                <a:ahLst/>
                <a:cxnLst>
                  <a:cxn ang="0">
                    <a:pos x="197" y="8"/>
                  </a:cxn>
                  <a:cxn ang="0">
                    <a:pos x="197" y="1"/>
                  </a:cxn>
                  <a:cxn ang="0">
                    <a:pos x="99" y="0"/>
                  </a:cxn>
                  <a:cxn ang="0">
                    <a:pos x="91" y="11"/>
                  </a:cxn>
                  <a:cxn ang="0">
                    <a:pos x="91" y="21"/>
                  </a:cxn>
                  <a:cxn ang="0">
                    <a:pos x="86" y="21"/>
                  </a:cxn>
                  <a:cxn ang="0">
                    <a:pos x="69" y="28"/>
                  </a:cxn>
                  <a:cxn ang="0">
                    <a:pos x="68" y="33"/>
                  </a:cxn>
                  <a:cxn ang="0">
                    <a:pos x="61" y="36"/>
                  </a:cxn>
                  <a:cxn ang="0">
                    <a:pos x="63" y="41"/>
                  </a:cxn>
                  <a:cxn ang="0">
                    <a:pos x="48" y="61"/>
                  </a:cxn>
                  <a:cxn ang="0">
                    <a:pos x="48" y="68"/>
                  </a:cxn>
                  <a:cxn ang="0">
                    <a:pos x="36" y="78"/>
                  </a:cxn>
                  <a:cxn ang="0">
                    <a:pos x="33" y="79"/>
                  </a:cxn>
                  <a:cxn ang="0">
                    <a:pos x="26" y="91"/>
                  </a:cxn>
                  <a:cxn ang="0">
                    <a:pos x="26" y="94"/>
                  </a:cxn>
                  <a:cxn ang="0">
                    <a:pos x="18" y="106"/>
                  </a:cxn>
                  <a:cxn ang="0">
                    <a:pos x="16" y="108"/>
                  </a:cxn>
                  <a:cxn ang="0">
                    <a:pos x="19" y="109"/>
                  </a:cxn>
                  <a:cxn ang="0">
                    <a:pos x="16" y="111"/>
                  </a:cxn>
                  <a:cxn ang="0">
                    <a:pos x="8" y="124"/>
                  </a:cxn>
                  <a:cxn ang="0">
                    <a:pos x="5" y="124"/>
                  </a:cxn>
                  <a:cxn ang="0">
                    <a:pos x="1" y="128"/>
                  </a:cxn>
                  <a:cxn ang="0">
                    <a:pos x="1" y="134"/>
                  </a:cxn>
                  <a:cxn ang="0">
                    <a:pos x="0" y="138"/>
                  </a:cxn>
                  <a:cxn ang="0">
                    <a:pos x="0" y="146"/>
                  </a:cxn>
                  <a:cxn ang="0">
                    <a:pos x="96" y="144"/>
                  </a:cxn>
                  <a:cxn ang="0">
                    <a:pos x="96" y="104"/>
                  </a:cxn>
                  <a:cxn ang="0">
                    <a:pos x="99" y="99"/>
                  </a:cxn>
                  <a:cxn ang="0">
                    <a:pos x="104" y="96"/>
                  </a:cxn>
                  <a:cxn ang="0">
                    <a:pos x="109" y="94"/>
                  </a:cxn>
                  <a:cxn ang="0">
                    <a:pos x="119" y="94"/>
                  </a:cxn>
                  <a:cxn ang="0">
                    <a:pos x="119" y="36"/>
                  </a:cxn>
                  <a:cxn ang="0">
                    <a:pos x="196" y="38"/>
                  </a:cxn>
                  <a:cxn ang="0">
                    <a:pos x="197" y="8"/>
                  </a:cxn>
                  <a:cxn ang="0">
                    <a:pos x="197" y="8"/>
                  </a:cxn>
                </a:cxnLst>
                <a:rect l="0" t="0" r="r" b="b"/>
                <a:pathLst>
                  <a:path w="197" h="146">
                    <a:moveTo>
                      <a:pt x="197" y="8"/>
                    </a:moveTo>
                    <a:lnTo>
                      <a:pt x="197" y="1"/>
                    </a:lnTo>
                    <a:lnTo>
                      <a:pt x="99" y="0"/>
                    </a:lnTo>
                    <a:lnTo>
                      <a:pt x="91" y="11"/>
                    </a:lnTo>
                    <a:lnTo>
                      <a:pt x="91" y="21"/>
                    </a:lnTo>
                    <a:lnTo>
                      <a:pt x="86" y="21"/>
                    </a:lnTo>
                    <a:lnTo>
                      <a:pt x="69" y="28"/>
                    </a:lnTo>
                    <a:lnTo>
                      <a:pt x="68" y="33"/>
                    </a:lnTo>
                    <a:lnTo>
                      <a:pt x="61" y="36"/>
                    </a:lnTo>
                    <a:lnTo>
                      <a:pt x="63" y="41"/>
                    </a:lnTo>
                    <a:lnTo>
                      <a:pt x="48" y="61"/>
                    </a:lnTo>
                    <a:lnTo>
                      <a:pt x="48" y="68"/>
                    </a:lnTo>
                    <a:lnTo>
                      <a:pt x="36" y="78"/>
                    </a:lnTo>
                    <a:lnTo>
                      <a:pt x="33" y="79"/>
                    </a:lnTo>
                    <a:lnTo>
                      <a:pt x="26" y="91"/>
                    </a:lnTo>
                    <a:lnTo>
                      <a:pt x="26" y="94"/>
                    </a:lnTo>
                    <a:lnTo>
                      <a:pt x="18" y="106"/>
                    </a:lnTo>
                    <a:lnTo>
                      <a:pt x="16" y="108"/>
                    </a:lnTo>
                    <a:lnTo>
                      <a:pt x="19" y="109"/>
                    </a:lnTo>
                    <a:lnTo>
                      <a:pt x="16" y="111"/>
                    </a:lnTo>
                    <a:lnTo>
                      <a:pt x="8" y="124"/>
                    </a:lnTo>
                    <a:lnTo>
                      <a:pt x="5" y="124"/>
                    </a:lnTo>
                    <a:lnTo>
                      <a:pt x="1" y="128"/>
                    </a:lnTo>
                    <a:lnTo>
                      <a:pt x="1" y="134"/>
                    </a:lnTo>
                    <a:lnTo>
                      <a:pt x="0" y="138"/>
                    </a:lnTo>
                    <a:lnTo>
                      <a:pt x="0" y="146"/>
                    </a:lnTo>
                    <a:lnTo>
                      <a:pt x="96" y="144"/>
                    </a:lnTo>
                    <a:lnTo>
                      <a:pt x="96" y="104"/>
                    </a:lnTo>
                    <a:lnTo>
                      <a:pt x="99" y="99"/>
                    </a:lnTo>
                    <a:lnTo>
                      <a:pt x="104" y="96"/>
                    </a:lnTo>
                    <a:lnTo>
                      <a:pt x="109" y="94"/>
                    </a:lnTo>
                    <a:lnTo>
                      <a:pt x="119" y="94"/>
                    </a:lnTo>
                    <a:lnTo>
                      <a:pt x="119" y="36"/>
                    </a:lnTo>
                    <a:lnTo>
                      <a:pt x="196" y="38"/>
                    </a:lnTo>
                    <a:lnTo>
                      <a:pt x="197" y="8"/>
                    </a:lnTo>
                    <a:lnTo>
                      <a:pt x="19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2" name="Freeform 105"/>
              <p:cNvSpPr>
                <a:spLocks/>
              </p:cNvSpPr>
              <p:nvPr/>
            </p:nvSpPr>
            <p:spPr bwMode="auto">
              <a:xfrm>
                <a:off x="6200965" y="2950137"/>
                <a:ext cx="154116" cy="148375"/>
              </a:xfrm>
              <a:custGeom>
                <a:avLst/>
                <a:gdLst/>
                <a:ahLst/>
                <a:cxnLst>
                  <a:cxn ang="0">
                    <a:pos x="98" y="136"/>
                  </a:cxn>
                  <a:cxn ang="0">
                    <a:pos x="101" y="91"/>
                  </a:cxn>
                  <a:cxn ang="0">
                    <a:pos x="111" y="86"/>
                  </a:cxn>
                  <a:cxn ang="0">
                    <a:pos x="121" y="28"/>
                  </a:cxn>
                  <a:cxn ang="0">
                    <a:pos x="199" y="0"/>
                  </a:cxn>
                  <a:cxn ang="0">
                    <a:pos x="287" y="53"/>
                  </a:cxn>
                  <a:cxn ang="0">
                    <a:pos x="257" y="53"/>
                  </a:cxn>
                  <a:cxn ang="0">
                    <a:pos x="284" y="251"/>
                  </a:cxn>
                  <a:cxn ang="0">
                    <a:pos x="189" y="271"/>
                  </a:cxn>
                  <a:cxn ang="0">
                    <a:pos x="184" y="266"/>
                  </a:cxn>
                  <a:cxn ang="0">
                    <a:pos x="178" y="271"/>
                  </a:cxn>
                  <a:cxn ang="0">
                    <a:pos x="174" y="261"/>
                  </a:cxn>
                  <a:cxn ang="0">
                    <a:pos x="156" y="264"/>
                  </a:cxn>
                  <a:cxn ang="0">
                    <a:pos x="148" y="274"/>
                  </a:cxn>
                  <a:cxn ang="0">
                    <a:pos x="143" y="261"/>
                  </a:cxn>
                  <a:cxn ang="0">
                    <a:pos x="129" y="262"/>
                  </a:cxn>
                  <a:cxn ang="0">
                    <a:pos x="129" y="274"/>
                  </a:cxn>
                  <a:cxn ang="0">
                    <a:pos x="119" y="281"/>
                  </a:cxn>
                  <a:cxn ang="0">
                    <a:pos x="114" y="284"/>
                  </a:cxn>
                  <a:cxn ang="0">
                    <a:pos x="106" y="277"/>
                  </a:cxn>
                  <a:cxn ang="0">
                    <a:pos x="101" y="271"/>
                  </a:cxn>
                  <a:cxn ang="0">
                    <a:pos x="95" y="266"/>
                  </a:cxn>
                  <a:cxn ang="0">
                    <a:pos x="90" y="256"/>
                  </a:cxn>
                  <a:cxn ang="0">
                    <a:pos x="83" y="254"/>
                  </a:cxn>
                  <a:cxn ang="0">
                    <a:pos x="78" y="256"/>
                  </a:cxn>
                  <a:cxn ang="0">
                    <a:pos x="75" y="252"/>
                  </a:cxn>
                  <a:cxn ang="0">
                    <a:pos x="63" y="244"/>
                  </a:cxn>
                  <a:cxn ang="0">
                    <a:pos x="46" y="241"/>
                  </a:cxn>
                  <a:cxn ang="0">
                    <a:pos x="21" y="247"/>
                  </a:cxn>
                  <a:cxn ang="0">
                    <a:pos x="13" y="252"/>
                  </a:cxn>
                  <a:cxn ang="0">
                    <a:pos x="10" y="246"/>
                  </a:cxn>
                  <a:cxn ang="0">
                    <a:pos x="20" y="224"/>
                  </a:cxn>
                  <a:cxn ang="0">
                    <a:pos x="16" y="186"/>
                  </a:cxn>
                  <a:cxn ang="0">
                    <a:pos x="13" y="174"/>
                  </a:cxn>
                  <a:cxn ang="0">
                    <a:pos x="18" y="168"/>
                  </a:cxn>
                  <a:cxn ang="0">
                    <a:pos x="18" y="159"/>
                  </a:cxn>
                  <a:cxn ang="0">
                    <a:pos x="10" y="153"/>
                  </a:cxn>
                  <a:cxn ang="0">
                    <a:pos x="5" y="146"/>
                  </a:cxn>
                  <a:cxn ang="0">
                    <a:pos x="0" y="143"/>
                  </a:cxn>
                  <a:cxn ang="0">
                    <a:pos x="2" y="138"/>
                  </a:cxn>
                </a:cxnLst>
                <a:rect l="0" t="0" r="r" b="b"/>
                <a:pathLst>
                  <a:path w="287" h="284">
                    <a:moveTo>
                      <a:pt x="2" y="138"/>
                    </a:moveTo>
                    <a:lnTo>
                      <a:pt x="98" y="136"/>
                    </a:lnTo>
                    <a:lnTo>
                      <a:pt x="98" y="96"/>
                    </a:lnTo>
                    <a:lnTo>
                      <a:pt x="101" y="91"/>
                    </a:lnTo>
                    <a:lnTo>
                      <a:pt x="106" y="88"/>
                    </a:lnTo>
                    <a:lnTo>
                      <a:pt x="111" y="86"/>
                    </a:lnTo>
                    <a:lnTo>
                      <a:pt x="121" y="86"/>
                    </a:lnTo>
                    <a:lnTo>
                      <a:pt x="121" y="28"/>
                    </a:lnTo>
                    <a:lnTo>
                      <a:pt x="198" y="30"/>
                    </a:lnTo>
                    <a:lnTo>
                      <a:pt x="199" y="0"/>
                    </a:lnTo>
                    <a:lnTo>
                      <a:pt x="287" y="53"/>
                    </a:lnTo>
                    <a:lnTo>
                      <a:pt x="287" y="53"/>
                    </a:lnTo>
                    <a:lnTo>
                      <a:pt x="287" y="53"/>
                    </a:lnTo>
                    <a:lnTo>
                      <a:pt x="257" y="53"/>
                    </a:lnTo>
                    <a:lnTo>
                      <a:pt x="276" y="246"/>
                    </a:lnTo>
                    <a:lnTo>
                      <a:pt x="284" y="251"/>
                    </a:lnTo>
                    <a:lnTo>
                      <a:pt x="276" y="271"/>
                    </a:lnTo>
                    <a:lnTo>
                      <a:pt x="189" y="271"/>
                    </a:lnTo>
                    <a:lnTo>
                      <a:pt x="188" y="269"/>
                    </a:lnTo>
                    <a:lnTo>
                      <a:pt x="184" y="266"/>
                    </a:lnTo>
                    <a:lnTo>
                      <a:pt x="181" y="266"/>
                    </a:lnTo>
                    <a:lnTo>
                      <a:pt x="178" y="271"/>
                    </a:lnTo>
                    <a:lnTo>
                      <a:pt x="174" y="267"/>
                    </a:lnTo>
                    <a:lnTo>
                      <a:pt x="174" y="261"/>
                    </a:lnTo>
                    <a:lnTo>
                      <a:pt x="168" y="259"/>
                    </a:lnTo>
                    <a:lnTo>
                      <a:pt x="156" y="264"/>
                    </a:lnTo>
                    <a:lnTo>
                      <a:pt x="149" y="274"/>
                    </a:lnTo>
                    <a:lnTo>
                      <a:pt x="148" y="274"/>
                    </a:lnTo>
                    <a:lnTo>
                      <a:pt x="143" y="266"/>
                    </a:lnTo>
                    <a:lnTo>
                      <a:pt x="143" y="261"/>
                    </a:lnTo>
                    <a:lnTo>
                      <a:pt x="138" y="261"/>
                    </a:lnTo>
                    <a:lnTo>
                      <a:pt x="129" y="262"/>
                    </a:lnTo>
                    <a:lnTo>
                      <a:pt x="129" y="271"/>
                    </a:lnTo>
                    <a:lnTo>
                      <a:pt x="129" y="274"/>
                    </a:lnTo>
                    <a:lnTo>
                      <a:pt x="128" y="281"/>
                    </a:lnTo>
                    <a:lnTo>
                      <a:pt x="119" y="281"/>
                    </a:lnTo>
                    <a:lnTo>
                      <a:pt x="114" y="284"/>
                    </a:lnTo>
                    <a:lnTo>
                      <a:pt x="114" y="284"/>
                    </a:lnTo>
                    <a:lnTo>
                      <a:pt x="113" y="281"/>
                    </a:lnTo>
                    <a:lnTo>
                      <a:pt x="106" y="277"/>
                    </a:lnTo>
                    <a:lnTo>
                      <a:pt x="101" y="276"/>
                    </a:lnTo>
                    <a:lnTo>
                      <a:pt x="101" y="271"/>
                    </a:lnTo>
                    <a:lnTo>
                      <a:pt x="95" y="271"/>
                    </a:lnTo>
                    <a:lnTo>
                      <a:pt x="95" y="266"/>
                    </a:lnTo>
                    <a:lnTo>
                      <a:pt x="90" y="261"/>
                    </a:lnTo>
                    <a:lnTo>
                      <a:pt x="90" y="256"/>
                    </a:lnTo>
                    <a:lnTo>
                      <a:pt x="88" y="254"/>
                    </a:lnTo>
                    <a:lnTo>
                      <a:pt x="83" y="254"/>
                    </a:lnTo>
                    <a:lnTo>
                      <a:pt x="81" y="254"/>
                    </a:lnTo>
                    <a:lnTo>
                      <a:pt x="78" y="256"/>
                    </a:lnTo>
                    <a:lnTo>
                      <a:pt x="75" y="254"/>
                    </a:lnTo>
                    <a:lnTo>
                      <a:pt x="75" y="252"/>
                    </a:lnTo>
                    <a:lnTo>
                      <a:pt x="70" y="246"/>
                    </a:lnTo>
                    <a:lnTo>
                      <a:pt x="63" y="244"/>
                    </a:lnTo>
                    <a:lnTo>
                      <a:pt x="51" y="241"/>
                    </a:lnTo>
                    <a:lnTo>
                      <a:pt x="46" y="241"/>
                    </a:lnTo>
                    <a:lnTo>
                      <a:pt x="35" y="246"/>
                    </a:lnTo>
                    <a:lnTo>
                      <a:pt x="21" y="247"/>
                    </a:lnTo>
                    <a:lnTo>
                      <a:pt x="16" y="252"/>
                    </a:lnTo>
                    <a:lnTo>
                      <a:pt x="13" y="252"/>
                    </a:lnTo>
                    <a:lnTo>
                      <a:pt x="8" y="254"/>
                    </a:lnTo>
                    <a:lnTo>
                      <a:pt x="10" y="246"/>
                    </a:lnTo>
                    <a:lnTo>
                      <a:pt x="15" y="233"/>
                    </a:lnTo>
                    <a:lnTo>
                      <a:pt x="20" y="224"/>
                    </a:lnTo>
                    <a:lnTo>
                      <a:pt x="21" y="209"/>
                    </a:lnTo>
                    <a:lnTo>
                      <a:pt x="16" y="186"/>
                    </a:lnTo>
                    <a:lnTo>
                      <a:pt x="10" y="176"/>
                    </a:lnTo>
                    <a:lnTo>
                      <a:pt x="13" y="174"/>
                    </a:lnTo>
                    <a:lnTo>
                      <a:pt x="16" y="174"/>
                    </a:lnTo>
                    <a:lnTo>
                      <a:pt x="18" y="168"/>
                    </a:lnTo>
                    <a:lnTo>
                      <a:pt x="16" y="163"/>
                    </a:lnTo>
                    <a:lnTo>
                      <a:pt x="18" y="159"/>
                    </a:lnTo>
                    <a:lnTo>
                      <a:pt x="11" y="151"/>
                    </a:lnTo>
                    <a:lnTo>
                      <a:pt x="10" y="153"/>
                    </a:lnTo>
                    <a:lnTo>
                      <a:pt x="7" y="151"/>
                    </a:lnTo>
                    <a:lnTo>
                      <a:pt x="5" y="146"/>
                    </a:lnTo>
                    <a:lnTo>
                      <a:pt x="0" y="151"/>
                    </a:lnTo>
                    <a:lnTo>
                      <a:pt x="0" y="143"/>
                    </a:lnTo>
                    <a:lnTo>
                      <a:pt x="2" y="138"/>
                    </a:lnTo>
                    <a:lnTo>
                      <a:pt x="2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3" name="Freeform 106"/>
              <p:cNvSpPr>
                <a:spLocks/>
              </p:cNvSpPr>
              <p:nvPr/>
            </p:nvSpPr>
            <p:spPr bwMode="auto">
              <a:xfrm>
                <a:off x="6261968" y="2978152"/>
                <a:ext cx="211909" cy="172240"/>
              </a:xfrm>
              <a:custGeom>
                <a:avLst/>
                <a:gdLst/>
                <a:ahLst/>
                <a:cxnLst>
                  <a:cxn ang="0">
                    <a:pos x="14" y="228"/>
                  </a:cxn>
                  <a:cxn ang="0">
                    <a:pos x="15" y="209"/>
                  </a:cxn>
                  <a:cxn ang="0">
                    <a:pos x="29" y="213"/>
                  </a:cxn>
                  <a:cxn ang="0">
                    <a:pos x="42" y="211"/>
                  </a:cxn>
                  <a:cxn ang="0">
                    <a:pos x="60" y="214"/>
                  </a:cxn>
                  <a:cxn ang="0">
                    <a:pos x="70" y="213"/>
                  </a:cxn>
                  <a:cxn ang="0">
                    <a:pos x="162" y="218"/>
                  </a:cxn>
                  <a:cxn ang="0">
                    <a:pos x="143" y="0"/>
                  </a:cxn>
                  <a:cxn ang="0">
                    <a:pos x="334" y="105"/>
                  </a:cxn>
                  <a:cxn ang="0">
                    <a:pos x="356" y="111"/>
                  </a:cxn>
                  <a:cxn ang="0">
                    <a:pos x="371" y="121"/>
                  </a:cxn>
                  <a:cxn ang="0">
                    <a:pos x="369" y="135"/>
                  </a:cxn>
                  <a:cxn ang="0">
                    <a:pos x="396" y="133"/>
                  </a:cxn>
                  <a:cxn ang="0">
                    <a:pos x="392" y="194"/>
                  </a:cxn>
                  <a:cxn ang="0">
                    <a:pos x="386" y="209"/>
                  </a:cxn>
                  <a:cxn ang="0">
                    <a:pos x="359" y="219"/>
                  </a:cxn>
                  <a:cxn ang="0">
                    <a:pos x="338" y="223"/>
                  </a:cxn>
                  <a:cxn ang="0">
                    <a:pos x="309" y="228"/>
                  </a:cxn>
                  <a:cxn ang="0">
                    <a:pos x="301" y="226"/>
                  </a:cxn>
                  <a:cxn ang="0">
                    <a:pos x="283" y="224"/>
                  </a:cxn>
                  <a:cxn ang="0">
                    <a:pos x="258" y="234"/>
                  </a:cxn>
                  <a:cxn ang="0">
                    <a:pos x="225" y="256"/>
                  </a:cxn>
                  <a:cxn ang="0">
                    <a:pos x="201" y="259"/>
                  </a:cxn>
                  <a:cxn ang="0">
                    <a:pos x="192" y="271"/>
                  </a:cxn>
                  <a:cxn ang="0">
                    <a:pos x="180" y="292"/>
                  </a:cxn>
                  <a:cxn ang="0">
                    <a:pos x="172" y="304"/>
                  </a:cxn>
                  <a:cxn ang="0">
                    <a:pos x="167" y="316"/>
                  </a:cxn>
                  <a:cxn ang="0">
                    <a:pos x="165" y="326"/>
                  </a:cxn>
                  <a:cxn ang="0">
                    <a:pos x="150" y="327"/>
                  </a:cxn>
                  <a:cxn ang="0">
                    <a:pos x="137" y="326"/>
                  </a:cxn>
                  <a:cxn ang="0">
                    <a:pos x="125" y="329"/>
                  </a:cxn>
                  <a:cxn ang="0">
                    <a:pos x="110" y="331"/>
                  </a:cxn>
                  <a:cxn ang="0">
                    <a:pos x="100" y="326"/>
                  </a:cxn>
                  <a:cxn ang="0">
                    <a:pos x="98" y="316"/>
                  </a:cxn>
                  <a:cxn ang="0">
                    <a:pos x="89" y="319"/>
                  </a:cxn>
                  <a:cxn ang="0">
                    <a:pos x="95" y="306"/>
                  </a:cxn>
                  <a:cxn ang="0">
                    <a:pos x="89" y="296"/>
                  </a:cxn>
                  <a:cxn ang="0">
                    <a:pos x="80" y="286"/>
                  </a:cxn>
                  <a:cxn ang="0">
                    <a:pos x="69" y="286"/>
                  </a:cxn>
                  <a:cxn ang="0">
                    <a:pos x="55" y="292"/>
                  </a:cxn>
                  <a:cxn ang="0">
                    <a:pos x="39" y="292"/>
                  </a:cxn>
                  <a:cxn ang="0">
                    <a:pos x="27" y="292"/>
                  </a:cxn>
                  <a:cxn ang="0">
                    <a:pos x="29" y="286"/>
                  </a:cxn>
                  <a:cxn ang="0">
                    <a:pos x="24" y="276"/>
                  </a:cxn>
                  <a:cxn ang="0">
                    <a:pos x="20" y="268"/>
                  </a:cxn>
                  <a:cxn ang="0">
                    <a:pos x="12" y="263"/>
                  </a:cxn>
                  <a:cxn ang="0">
                    <a:pos x="2" y="249"/>
                  </a:cxn>
                  <a:cxn ang="0">
                    <a:pos x="4" y="234"/>
                  </a:cxn>
                </a:cxnLst>
                <a:rect l="0" t="0" r="r" b="b"/>
                <a:pathLst>
                  <a:path w="396" h="332">
                    <a:moveTo>
                      <a:pt x="0" y="231"/>
                    </a:moveTo>
                    <a:lnTo>
                      <a:pt x="5" y="228"/>
                    </a:lnTo>
                    <a:lnTo>
                      <a:pt x="14" y="228"/>
                    </a:lnTo>
                    <a:lnTo>
                      <a:pt x="15" y="221"/>
                    </a:lnTo>
                    <a:lnTo>
                      <a:pt x="15" y="218"/>
                    </a:lnTo>
                    <a:lnTo>
                      <a:pt x="15" y="209"/>
                    </a:lnTo>
                    <a:lnTo>
                      <a:pt x="24" y="208"/>
                    </a:lnTo>
                    <a:lnTo>
                      <a:pt x="29" y="208"/>
                    </a:lnTo>
                    <a:lnTo>
                      <a:pt x="29" y="213"/>
                    </a:lnTo>
                    <a:lnTo>
                      <a:pt x="34" y="221"/>
                    </a:lnTo>
                    <a:lnTo>
                      <a:pt x="35" y="221"/>
                    </a:lnTo>
                    <a:lnTo>
                      <a:pt x="42" y="211"/>
                    </a:lnTo>
                    <a:lnTo>
                      <a:pt x="54" y="206"/>
                    </a:lnTo>
                    <a:lnTo>
                      <a:pt x="60" y="208"/>
                    </a:lnTo>
                    <a:lnTo>
                      <a:pt x="60" y="214"/>
                    </a:lnTo>
                    <a:lnTo>
                      <a:pt x="64" y="218"/>
                    </a:lnTo>
                    <a:lnTo>
                      <a:pt x="67" y="213"/>
                    </a:lnTo>
                    <a:lnTo>
                      <a:pt x="70" y="213"/>
                    </a:lnTo>
                    <a:lnTo>
                      <a:pt x="74" y="216"/>
                    </a:lnTo>
                    <a:lnTo>
                      <a:pt x="75" y="218"/>
                    </a:lnTo>
                    <a:lnTo>
                      <a:pt x="162" y="218"/>
                    </a:lnTo>
                    <a:lnTo>
                      <a:pt x="170" y="198"/>
                    </a:lnTo>
                    <a:lnTo>
                      <a:pt x="162" y="193"/>
                    </a:lnTo>
                    <a:lnTo>
                      <a:pt x="143" y="0"/>
                    </a:lnTo>
                    <a:lnTo>
                      <a:pt x="173" y="0"/>
                    </a:lnTo>
                    <a:lnTo>
                      <a:pt x="331" y="95"/>
                    </a:lnTo>
                    <a:lnTo>
                      <a:pt x="334" y="105"/>
                    </a:lnTo>
                    <a:lnTo>
                      <a:pt x="339" y="110"/>
                    </a:lnTo>
                    <a:lnTo>
                      <a:pt x="349" y="110"/>
                    </a:lnTo>
                    <a:lnTo>
                      <a:pt x="356" y="111"/>
                    </a:lnTo>
                    <a:lnTo>
                      <a:pt x="359" y="116"/>
                    </a:lnTo>
                    <a:lnTo>
                      <a:pt x="366" y="118"/>
                    </a:lnTo>
                    <a:lnTo>
                      <a:pt x="371" y="121"/>
                    </a:lnTo>
                    <a:lnTo>
                      <a:pt x="371" y="125"/>
                    </a:lnTo>
                    <a:lnTo>
                      <a:pt x="368" y="131"/>
                    </a:lnTo>
                    <a:lnTo>
                      <a:pt x="369" y="135"/>
                    </a:lnTo>
                    <a:lnTo>
                      <a:pt x="376" y="136"/>
                    </a:lnTo>
                    <a:lnTo>
                      <a:pt x="386" y="135"/>
                    </a:lnTo>
                    <a:lnTo>
                      <a:pt x="396" y="133"/>
                    </a:lnTo>
                    <a:lnTo>
                      <a:pt x="396" y="133"/>
                    </a:lnTo>
                    <a:lnTo>
                      <a:pt x="394" y="175"/>
                    </a:lnTo>
                    <a:lnTo>
                      <a:pt x="392" y="194"/>
                    </a:lnTo>
                    <a:lnTo>
                      <a:pt x="389" y="198"/>
                    </a:lnTo>
                    <a:lnTo>
                      <a:pt x="388" y="204"/>
                    </a:lnTo>
                    <a:lnTo>
                      <a:pt x="386" y="209"/>
                    </a:lnTo>
                    <a:lnTo>
                      <a:pt x="374" y="216"/>
                    </a:lnTo>
                    <a:lnTo>
                      <a:pt x="368" y="219"/>
                    </a:lnTo>
                    <a:lnTo>
                      <a:pt x="359" y="219"/>
                    </a:lnTo>
                    <a:lnTo>
                      <a:pt x="353" y="223"/>
                    </a:lnTo>
                    <a:lnTo>
                      <a:pt x="348" y="223"/>
                    </a:lnTo>
                    <a:lnTo>
                      <a:pt x="338" y="223"/>
                    </a:lnTo>
                    <a:lnTo>
                      <a:pt x="331" y="226"/>
                    </a:lnTo>
                    <a:lnTo>
                      <a:pt x="326" y="226"/>
                    </a:lnTo>
                    <a:lnTo>
                      <a:pt x="309" y="228"/>
                    </a:lnTo>
                    <a:lnTo>
                      <a:pt x="303" y="226"/>
                    </a:lnTo>
                    <a:lnTo>
                      <a:pt x="303" y="228"/>
                    </a:lnTo>
                    <a:lnTo>
                      <a:pt x="301" y="226"/>
                    </a:lnTo>
                    <a:lnTo>
                      <a:pt x="296" y="226"/>
                    </a:lnTo>
                    <a:lnTo>
                      <a:pt x="290" y="223"/>
                    </a:lnTo>
                    <a:lnTo>
                      <a:pt x="283" y="224"/>
                    </a:lnTo>
                    <a:lnTo>
                      <a:pt x="271" y="226"/>
                    </a:lnTo>
                    <a:lnTo>
                      <a:pt x="265" y="229"/>
                    </a:lnTo>
                    <a:lnTo>
                      <a:pt x="258" y="234"/>
                    </a:lnTo>
                    <a:lnTo>
                      <a:pt x="240" y="243"/>
                    </a:lnTo>
                    <a:lnTo>
                      <a:pt x="226" y="251"/>
                    </a:lnTo>
                    <a:lnTo>
                      <a:pt x="225" y="256"/>
                    </a:lnTo>
                    <a:lnTo>
                      <a:pt x="211" y="259"/>
                    </a:lnTo>
                    <a:lnTo>
                      <a:pt x="210" y="259"/>
                    </a:lnTo>
                    <a:lnTo>
                      <a:pt x="201" y="259"/>
                    </a:lnTo>
                    <a:lnTo>
                      <a:pt x="201" y="261"/>
                    </a:lnTo>
                    <a:lnTo>
                      <a:pt x="198" y="263"/>
                    </a:lnTo>
                    <a:lnTo>
                      <a:pt x="192" y="271"/>
                    </a:lnTo>
                    <a:lnTo>
                      <a:pt x="192" y="274"/>
                    </a:lnTo>
                    <a:lnTo>
                      <a:pt x="187" y="281"/>
                    </a:lnTo>
                    <a:lnTo>
                      <a:pt x="180" y="292"/>
                    </a:lnTo>
                    <a:lnTo>
                      <a:pt x="173" y="296"/>
                    </a:lnTo>
                    <a:lnTo>
                      <a:pt x="170" y="299"/>
                    </a:lnTo>
                    <a:lnTo>
                      <a:pt x="172" y="304"/>
                    </a:lnTo>
                    <a:lnTo>
                      <a:pt x="172" y="311"/>
                    </a:lnTo>
                    <a:lnTo>
                      <a:pt x="167" y="311"/>
                    </a:lnTo>
                    <a:lnTo>
                      <a:pt x="167" y="316"/>
                    </a:lnTo>
                    <a:lnTo>
                      <a:pt x="168" y="319"/>
                    </a:lnTo>
                    <a:lnTo>
                      <a:pt x="167" y="324"/>
                    </a:lnTo>
                    <a:lnTo>
                      <a:pt x="165" y="326"/>
                    </a:lnTo>
                    <a:lnTo>
                      <a:pt x="160" y="332"/>
                    </a:lnTo>
                    <a:lnTo>
                      <a:pt x="152" y="329"/>
                    </a:lnTo>
                    <a:lnTo>
                      <a:pt x="150" y="327"/>
                    </a:lnTo>
                    <a:lnTo>
                      <a:pt x="152" y="326"/>
                    </a:lnTo>
                    <a:lnTo>
                      <a:pt x="145" y="326"/>
                    </a:lnTo>
                    <a:lnTo>
                      <a:pt x="137" y="326"/>
                    </a:lnTo>
                    <a:lnTo>
                      <a:pt x="137" y="329"/>
                    </a:lnTo>
                    <a:lnTo>
                      <a:pt x="135" y="331"/>
                    </a:lnTo>
                    <a:lnTo>
                      <a:pt x="125" y="329"/>
                    </a:lnTo>
                    <a:lnTo>
                      <a:pt x="120" y="327"/>
                    </a:lnTo>
                    <a:lnTo>
                      <a:pt x="117" y="327"/>
                    </a:lnTo>
                    <a:lnTo>
                      <a:pt x="110" y="331"/>
                    </a:lnTo>
                    <a:lnTo>
                      <a:pt x="108" y="327"/>
                    </a:lnTo>
                    <a:lnTo>
                      <a:pt x="107" y="326"/>
                    </a:lnTo>
                    <a:lnTo>
                      <a:pt x="100" y="326"/>
                    </a:lnTo>
                    <a:lnTo>
                      <a:pt x="100" y="322"/>
                    </a:lnTo>
                    <a:lnTo>
                      <a:pt x="98" y="319"/>
                    </a:lnTo>
                    <a:lnTo>
                      <a:pt x="98" y="316"/>
                    </a:lnTo>
                    <a:lnTo>
                      <a:pt x="95" y="316"/>
                    </a:lnTo>
                    <a:lnTo>
                      <a:pt x="93" y="319"/>
                    </a:lnTo>
                    <a:lnTo>
                      <a:pt x="89" y="319"/>
                    </a:lnTo>
                    <a:lnTo>
                      <a:pt x="92" y="314"/>
                    </a:lnTo>
                    <a:lnTo>
                      <a:pt x="95" y="307"/>
                    </a:lnTo>
                    <a:lnTo>
                      <a:pt x="95" y="306"/>
                    </a:lnTo>
                    <a:lnTo>
                      <a:pt x="90" y="304"/>
                    </a:lnTo>
                    <a:lnTo>
                      <a:pt x="87" y="302"/>
                    </a:lnTo>
                    <a:lnTo>
                      <a:pt x="89" y="296"/>
                    </a:lnTo>
                    <a:lnTo>
                      <a:pt x="87" y="292"/>
                    </a:lnTo>
                    <a:lnTo>
                      <a:pt x="82" y="287"/>
                    </a:lnTo>
                    <a:lnTo>
                      <a:pt x="80" y="286"/>
                    </a:lnTo>
                    <a:lnTo>
                      <a:pt x="77" y="287"/>
                    </a:lnTo>
                    <a:lnTo>
                      <a:pt x="74" y="289"/>
                    </a:lnTo>
                    <a:lnTo>
                      <a:pt x="69" y="286"/>
                    </a:lnTo>
                    <a:lnTo>
                      <a:pt x="64" y="286"/>
                    </a:lnTo>
                    <a:lnTo>
                      <a:pt x="59" y="292"/>
                    </a:lnTo>
                    <a:lnTo>
                      <a:pt x="55" y="292"/>
                    </a:lnTo>
                    <a:lnTo>
                      <a:pt x="50" y="296"/>
                    </a:lnTo>
                    <a:lnTo>
                      <a:pt x="44" y="296"/>
                    </a:lnTo>
                    <a:lnTo>
                      <a:pt x="39" y="292"/>
                    </a:lnTo>
                    <a:lnTo>
                      <a:pt x="35" y="291"/>
                    </a:lnTo>
                    <a:lnTo>
                      <a:pt x="30" y="292"/>
                    </a:lnTo>
                    <a:lnTo>
                      <a:pt x="27" y="292"/>
                    </a:lnTo>
                    <a:lnTo>
                      <a:pt x="27" y="292"/>
                    </a:lnTo>
                    <a:lnTo>
                      <a:pt x="29" y="289"/>
                    </a:lnTo>
                    <a:lnTo>
                      <a:pt x="29" y="286"/>
                    </a:lnTo>
                    <a:lnTo>
                      <a:pt x="22" y="282"/>
                    </a:lnTo>
                    <a:lnTo>
                      <a:pt x="22" y="279"/>
                    </a:lnTo>
                    <a:lnTo>
                      <a:pt x="24" y="276"/>
                    </a:lnTo>
                    <a:lnTo>
                      <a:pt x="24" y="274"/>
                    </a:lnTo>
                    <a:lnTo>
                      <a:pt x="20" y="271"/>
                    </a:lnTo>
                    <a:lnTo>
                      <a:pt x="20" y="268"/>
                    </a:lnTo>
                    <a:lnTo>
                      <a:pt x="17" y="266"/>
                    </a:lnTo>
                    <a:lnTo>
                      <a:pt x="14" y="266"/>
                    </a:lnTo>
                    <a:lnTo>
                      <a:pt x="12" y="263"/>
                    </a:lnTo>
                    <a:lnTo>
                      <a:pt x="9" y="258"/>
                    </a:lnTo>
                    <a:lnTo>
                      <a:pt x="2" y="253"/>
                    </a:lnTo>
                    <a:lnTo>
                      <a:pt x="2" y="249"/>
                    </a:lnTo>
                    <a:lnTo>
                      <a:pt x="5" y="241"/>
                    </a:lnTo>
                    <a:lnTo>
                      <a:pt x="4" y="238"/>
                    </a:lnTo>
                    <a:lnTo>
                      <a:pt x="4" y="234"/>
                    </a:lnTo>
                    <a:lnTo>
                      <a:pt x="0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4" name="Freeform 107"/>
              <p:cNvSpPr>
                <a:spLocks/>
              </p:cNvSpPr>
              <p:nvPr/>
            </p:nvSpPr>
            <p:spPr bwMode="auto">
              <a:xfrm>
                <a:off x="6350799" y="3093325"/>
                <a:ext cx="98463" cy="63293"/>
              </a:xfrm>
              <a:custGeom>
                <a:avLst/>
                <a:gdLst/>
                <a:ahLst/>
                <a:cxnLst>
                  <a:cxn ang="0">
                    <a:pos x="1" y="96"/>
                  </a:cxn>
                  <a:cxn ang="0">
                    <a:pos x="0" y="88"/>
                  </a:cxn>
                  <a:cxn ang="0">
                    <a:pos x="5" y="81"/>
                  </a:cxn>
                  <a:cxn ang="0">
                    <a:pos x="6" y="73"/>
                  </a:cxn>
                  <a:cxn ang="0">
                    <a:pos x="20" y="58"/>
                  </a:cxn>
                  <a:cxn ang="0">
                    <a:pos x="25" y="48"/>
                  </a:cxn>
                  <a:cxn ang="0">
                    <a:pos x="34" y="38"/>
                  </a:cxn>
                  <a:cxn ang="0">
                    <a:pos x="43" y="36"/>
                  </a:cxn>
                  <a:cxn ang="0">
                    <a:pos x="58" y="33"/>
                  </a:cxn>
                  <a:cxn ang="0">
                    <a:pos x="73" y="20"/>
                  </a:cxn>
                  <a:cxn ang="0">
                    <a:pos x="98" y="6"/>
                  </a:cxn>
                  <a:cxn ang="0">
                    <a:pos x="116" y="1"/>
                  </a:cxn>
                  <a:cxn ang="0">
                    <a:pos x="129" y="3"/>
                  </a:cxn>
                  <a:cxn ang="0">
                    <a:pos x="136" y="5"/>
                  </a:cxn>
                  <a:cxn ang="0">
                    <a:pos x="134" y="11"/>
                  </a:cxn>
                  <a:cxn ang="0">
                    <a:pos x="131" y="23"/>
                  </a:cxn>
                  <a:cxn ang="0">
                    <a:pos x="154" y="46"/>
                  </a:cxn>
                  <a:cxn ang="0">
                    <a:pos x="172" y="46"/>
                  </a:cxn>
                  <a:cxn ang="0">
                    <a:pos x="176" y="50"/>
                  </a:cxn>
                  <a:cxn ang="0">
                    <a:pos x="179" y="56"/>
                  </a:cxn>
                  <a:cxn ang="0">
                    <a:pos x="181" y="66"/>
                  </a:cxn>
                  <a:cxn ang="0">
                    <a:pos x="182" y="69"/>
                  </a:cxn>
                  <a:cxn ang="0">
                    <a:pos x="174" y="74"/>
                  </a:cxn>
                  <a:cxn ang="0">
                    <a:pos x="162" y="78"/>
                  </a:cxn>
                  <a:cxn ang="0">
                    <a:pos x="159" y="84"/>
                  </a:cxn>
                  <a:cxn ang="0">
                    <a:pos x="156" y="91"/>
                  </a:cxn>
                  <a:cxn ang="0">
                    <a:pos x="149" y="94"/>
                  </a:cxn>
                  <a:cxn ang="0">
                    <a:pos x="121" y="89"/>
                  </a:cxn>
                  <a:cxn ang="0">
                    <a:pos x="119" y="88"/>
                  </a:cxn>
                  <a:cxn ang="0">
                    <a:pos x="108" y="91"/>
                  </a:cxn>
                  <a:cxn ang="0">
                    <a:pos x="86" y="93"/>
                  </a:cxn>
                  <a:cxn ang="0">
                    <a:pos x="66" y="93"/>
                  </a:cxn>
                  <a:cxn ang="0">
                    <a:pos x="58" y="98"/>
                  </a:cxn>
                  <a:cxn ang="0">
                    <a:pos x="61" y="108"/>
                  </a:cxn>
                  <a:cxn ang="0">
                    <a:pos x="64" y="119"/>
                  </a:cxn>
                  <a:cxn ang="0">
                    <a:pos x="56" y="118"/>
                  </a:cxn>
                  <a:cxn ang="0">
                    <a:pos x="48" y="119"/>
                  </a:cxn>
                  <a:cxn ang="0">
                    <a:pos x="34" y="118"/>
                  </a:cxn>
                  <a:cxn ang="0">
                    <a:pos x="28" y="111"/>
                  </a:cxn>
                  <a:cxn ang="0">
                    <a:pos x="21" y="109"/>
                  </a:cxn>
                  <a:cxn ang="0">
                    <a:pos x="8" y="106"/>
                  </a:cxn>
                  <a:cxn ang="0">
                    <a:pos x="0" y="101"/>
                  </a:cxn>
                </a:cxnLst>
                <a:rect l="0" t="0" r="r" b="b"/>
                <a:pathLst>
                  <a:path w="182" h="121">
                    <a:moveTo>
                      <a:pt x="0" y="101"/>
                    </a:moveTo>
                    <a:lnTo>
                      <a:pt x="1" y="96"/>
                    </a:lnTo>
                    <a:lnTo>
                      <a:pt x="0" y="93"/>
                    </a:lnTo>
                    <a:lnTo>
                      <a:pt x="0" y="88"/>
                    </a:lnTo>
                    <a:lnTo>
                      <a:pt x="5" y="88"/>
                    </a:lnTo>
                    <a:lnTo>
                      <a:pt x="5" y="81"/>
                    </a:lnTo>
                    <a:lnTo>
                      <a:pt x="3" y="76"/>
                    </a:lnTo>
                    <a:lnTo>
                      <a:pt x="6" y="73"/>
                    </a:lnTo>
                    <a:lnTo>
                      <a:pt x="13" y="69"/>
                    </a:lnTo>
                    <a:lnTo>
                      <a:pt x="20" y="58"/>
                    </a:lnTo>
                    <a:lnTo>
                      <a:pt x="25" y="51"/>
                    </a:lnTo>
                    <a:lnTo>
                      <a:pt x="25" y="48"/>
                    </a:lnTo>
                    <a:lnTo>
                      <a:pt x="31" y="40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43" y="36"/>
                    </a:lnTo>
                    <a:lnTo>
                      <a:pt x="44" y="36"/>
                    </a:lnTo>
                    <a:lnTo>
                      <a:pt x="58" y="33"/>
                    </a:lnTo>
                    <a:lnTo>
                      <a:pt x="59" y="28"/>
                    </a:lnTo>
                    <a:lnTo>
                      <a:pt x="73" y="20"/>
                    </a:lnTo>
                    <a:lnTo>
                      <a:pt x="91" y="11"/>
                    </a:lnTo>
                    <a:lnTo>
                      <a:pt x="98" y="6"/>
                    </a:lnTo>
                    <a:lnTo>
                      <a:pt x="104" y="3"/>
                    </a:lnTo>
                    <a:lnTo>
                      <a:pt x="116" y="1"/>
                    </a:lnTo>
                    <a:lnTo>
                      <a:pt x="123" y="0"/>
                    </a:lnTo>
                    <a:lnTo>
                      <a:pt x="129" y="3"/>
                    </a:lnTo>
                    <a:lnTo>
                      <a:pt x="134" y="3"/>
                    </a:lnTo>
                    <a:lnTo>
                      <a:pt x="136" y="5"/>
                    </a:lnTo>
                    <a:lnTo>
                      <a:pt x="134" y="6"/>
                    </a:lnTo>
                    <a:lnTo>
                      <a:pt x="134" y="11"/>
                    </a:lnTo>
                    <a:lnTo>
                      <a:pt x="131" y="16"/>
                    </a:lnTo>
                    <a:lnTo>
                      <a:pt x="131" y="23"/>
                    </a:lnTo>
                    <a:lnTo>
                      <a:pt x="154" y="36"/>
                    </a:lnTo>
                    <a:lnTo>
                      <a:pt x="154" y="46"/>
                    </a:lnTo>
                    <a:lnTo>
                      <a:pt x="162" y="51"/>
                    </a:lnTo>
                    <a:lnTo>
                      <a:pt x="172" y="46"/>
                    </a:lnTo>
                    <a:lnTo>
                      <a:pt x="176" y="48"/>
                    </a:lnTo>
                    <a:lnTo>
                      <a:pt x="176" y="50"/>
                    </a:lnTo>
                    <a:lnTo>
                      <a:pt x="179" y="53"/>
                    </a:lnTo>
                    <a:lnTo>
                      <a:pt x="179" y="56"/>
                    </a:lnTo>
                    <a:lnTo>
                      <a:pt x="176" y="59"/>
                    </a:lnTo>
                    <a:lnTo>
                      <a:pt x="181" y="66"/>
                    </a:lnTo>
                    <a:lnTo>
                      <a:pt x="182" y="66"/>
                    </a:lnTo>
                    <a:lnTo>
                      <a:pt x="182" y="69"/>
                    </a:lnTo>
                    <a:lnTo>
                      <a:pt x="177" y="74"/>
                    </a:lnTo>
                    <a:lnTo>
                      <a:pt x="174" y="74"/>
                    </a:lnTo>
                    <a:lnTo>
                      <a:pt x="166" y="79"/>
                    </a:lnTo>
                    <a:lnTo>
                      <a:pt x="162" y="78"/>
                    </a:lnTo>
                    <a:lnTo>
                      <a:pt x="157" y="79"/>
                    </a:lnTo>
                    <a:lnTo>
                      <a:pt x="159" y="84"/>
                    </a:lnTo>
                    <a:lnTo>
                      <a:pt x="154" y="86"/>
                    </a:lnTo>
                    <a:lnTo>
                      <a:pt x="156" y="91"/>
                    </a:lnTo>
                    <a:lnTo>
                      <a:pt x="149" y="93"/>
                    </a:lnTo>
                    <a:lnTo>
                      <a:pt x="149" y="94"/>
                    </a:lnTo>
                    <a:lnTo>
                      <a:pt x="123" y="88"/>
                    </a:lnTo>
                    <a:lnTo>
                      <a:pt x="121" y="89"/>
                    </a:lnTo>
                    <a:lnTo>
                      <a:pt x="121" y="89"/>
                    </a:lnTo>
                    <a:lnTo>
                      <a:pt x="119" y="88"/>
                    </a:lnTo>
                    <a:lnTo>
                      <a:pt x="114" y="91"/>
                    </a:lnTo>
                    <a:lnTo>
                      <a:pt x="108" y="91"/>
                    </a:lnTo>
                    <a:lnTo>
                      <a:pt x="99" y="93"/>
                    </a:lnTo>
                    <a:lnTo>
                      <a:pt x="86" y="93"/>
                    </a:lnTo>
                    <a:lnTo>
                      <a:pt x="84" y="93"/>
                    </a:lnTo>
                    <a:lnTo>
                      <a:pt x="66" y="93"/>
                    </a:lnTo>
                    <a:lnTo>
                      <a:pt x="58" y="93"/>
                    </a:lnTo>
                    <a:lnTo>
                      <a:pt x="58" y="98"/>
                    </a:lnTo>
                    <a:lnTo>
                      <a:pt x="59" y="106"/>
                    </a:lnTo>
                    <a:lnTo>
                      <a:pt x="61" y="108"/>
                    </a:lnTo>
                    <a:lnTo>
                      <a:pt x="64" y="113"/>
                    </a:lnTo>
                    <a:lnTo>
                      <a:pt x="64" y="119"/>
                    </a:lnTo>
                    <a:lnTo>
                      <a:pt x="59" y="119"/>
                    </a:lnTo>
                    <a:lnTo>
                      <a:pt x="56" y="118"/>
                    </a:lnTo>
                    <a:lnTo>
                      <a:pt x="53" y="116"/>
                    </a:lnTo>
                    <a:lnTo>
                      <a:pt x="48" y="119"/>
                    </a:lnTo>
                    <a:lnTo>
                      <a:pt x="43" y="121"/>
                    </a:lnTo>
                    <a:lnTo>
                      <a:pt x="34" y="118"/>
                    </a:lnTo>
                    <a:lnTo>
                      <a:pt x="33" y="114"/>
                    </a:lnTo>
                    <a:lnTo>
                      <a:pt x="28" y="111"/>
                    </a:lnTo>
                    <a:lnTo>
                      <a:pt x="23" y="111"/>
                    </a:lnTo>
                    <a:lnTo>
                      <a:pt x="21" y="109"/>
                    </a:lnTo>
                    <a:lnTo>
                      <a:pt x="18" y="109"/>
                    </a:lnTo>
                    <a:lnTo>
                      <a:pt x="8" y="106"/>
                    </a:lnTo>
                    <a:lnTo>
                      <a:pt x="1" y="101"/>
                    </a:lnTo>
                    <a:lnTo>
                      <a:pt x="0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5" name="Freeform 108"/>
              <p:cNvSpPr>
                <a:spLocks/>
              </p:cNvSpPr>
              <p:nvPr/>
            </p:nvSpPr>
            <p:spPr bwMode="auto">
              <a:xfrm>
                <a:off x="6193473" y="3075685"/>
                <a:ext cx="83479" cy="53955"/>
              </a:xfrm>
              <a:custGeom>
                <a:avLst/>
                <a:gdLst/>
                <a:ahLst/>
                <a:cxnLst>
                  <a:cxn ang="0">
                    <a:pos x="26" y="11"/>
                  </a:cxn>
                  <a:cxn ang="0">
                    <a:pos x="34" y="6"/>
                  </a:cxn>
                  <a:cxn ang="0">
                    <a:pos x="59" y="0"/>
                  </a:cxn>
                  <a:cxn ang="0">
                    <a:pos x="76" y="3"/>
                  </a:cxn>
                  <a:cxn ang="0">
                    <a:pos x="88" y="11"/>
                  </a:cxn>
                  <a:cxn ang="0">
                    <a:pos x="91" y="15"/>
                  </a:cxn>
                  <a:cxn ang="0">
                    <a:pos x="96" y="13"/>
                  </a:cxn>
                  <a:cxn ang="0">
                    <a:pos x="103" y="15"/>
                  </a:cxn>
                  <a:cxn ang="0">
                    <a:pos x="108" y="25"/>
                  </a:cxn>
                  <a:cxn ang="0">
                    <a:pos x="114" y="30"/>
                  </a:cxn>
                  <a:cxn ang="0">
                    <a:pos x="119" y="36"/>
                  </a:cxn>
                  <a:cxn ang="0">
                    <a:pos x="127" y="43"/>
                  </a:cxn>
                  <a:cxn ang="0">
                    <a:pos x="131" y="50"/>
                  </a:cxn>
                  <a:cxn ang="0">
                    <a:pos x="129" y="61"/>
                  </a:cxn>
                  <a:cxn ang="0">
                    <a:pos x="136" y="70"/>
                  </a:cxn>
                  <a:cxn ang="0">
                    <a:pos x="141" y="78"/>
                  </a:cxn>
                  <a:cxn ang="0">
                    <a:pos x="147" y="80"/>
                  </a:cxn>
                  <a:cxn ang="0">
                    <a:pos x="151" y="86"/>
                  </a:cxn>
                  <a:cxn ang="0">
                    <a:pos x="149" y="91"/>
                  </a:cxn>
                  <a:cxn ang="0">
                    <a:pos x="156" y="98"/>
                  </a:cxn>
                  <a:cxn ang="0">
                    <a:pos x="154" y="104"/>
                  </a:cxn>
                  <a:cxn ang="0">
                    <a:pos x="149" y="99"/>
                  </a:cxn>
                  <a:cxn ang="0">
                    <a:pos x="142" y="98"/>
                  </a:cxn>
                  <a:cxn ang="0">
                    <a:pos x="131" y="96"/>
                  </a:cxn>
                  <a:cxn ang="0">
                    <a:pos x="119" y="94"/>
                  </a:cxn>
                  <a:cxn ang="0">
                    <a:pos x="94" y="90"/>
                  </a:cxn>
                  <a:cxn ang="0">
                    <a:pos x="89" y="91"/>
                  </a:cxn>
                  <a:cxn ang="0">
                    <a:pos x="61" y="88"/>
                  </a:cxn>
                  <a:cxn ang="0">
                    <a:pos x="48" y="98"/>
                  </a:cxn>
                  <a:cxn ang="0">
                    <a:pos x="23" y="99"/>
                  </a:cxn>
                  <a:cxn ang="0">
                    <a:pos x="18" y="93"/>
                  </a:cxn>
                  <a:cxn ang="0">
                    <a:pos x="20" y="93"/>
                  </a:cxn>
                  <a:cxn ang="0">
                    <a:pos x="28" y="91"/>
                  </a:cxn>
                  <a:cxn ang="0">
                    <a:pos x="15" y="91"/>
                  </a:cxn>
                  <a:cxn ang="0">
                    <a:pos x="15" y="86"/>
                  </a:cxn>
                  <a:cxn ang="0">
                    <a:pos x="18" y="80"/>
                  </a:cxn>
                  <a:cxn ang="0">
                    <a:pos x="36" y="75"/>
                  </a:cxn>
                  <a:cxn ang="0">
                    <a:pos x="46" y="71"/>
                  </a:cxn>
                  <a:cxn ang="0">
                    <a:pos x="51" y="73"/>
                  </a:cxn>
                  <a:cxn ang="0">
                    <a:pos x="58" y="70"/>
                  </a:cxn>
                  <a:cxn ang="0">
                    <a:pos x="68" y="73"/>
                  </a:cxn>
                  <a:cxn ang="0">
                    <a:pos x="83" y="78"/>
                  </a:cxn>
                  <a:cxn ang="0">
                    <a:pos x="89" y="75"/>
                  </a:cxn>
                  <a:cxn ang="0">
                    <a:pos x="86" y="73"/>
                  </a:cxn>
                  <a:cxn ang="0">
                    <a:pos x="71" y="66"/>
                  </a:cxn>
                  <a:cxn ang="0">
                    <a:pos x="56" y="63"/>
                  </a:cxn>
                  <a:cxn ang="0">
                    <a:pos x="46" y="63"/>
                  </a:cxn>
                  <a:cxn ang="0">
                    <a:pos x="33" y="70"/>
                  </a:cxn>
                  <a:cxn ang="0">
                    <a:pos x="20" y="71"/>
                  </a:cxn>
                  <a:cxn ang="0">
                    <a:pos x="21" y="66"/>
                  </a:cxn>
                  <a:cxn ang="0">
                    <a:pos x="18" y="63"/>
                  </a:cxn>
                  <a:cxn ang="0">
                    <a:pos x="13" y="58"/>
                  </a:cxn>
                  <a:cxn ang="0">
                    <a:pos x="0" y="43"/>
                  </a:cxn>
                  <a:cxn ang="0">
                    <a:pos x="21" y="21"/>
                  </a:cxn>
                </a:cxnLst>
                <a:rect l="0" t="0" r="r" b="b"/>
                <a:pathLst>
                  <a:path w="156" h="104">
                    <a:moveTo>
                      <a:pt x="21" y="13"/>
                    </a:moveTo>
                    <a:lnTo>
                      <a:pt x="26" y="11"/>
                    </a:lnTo>
                    <a:lnTo>
                      <a:pt x="29" y="11"/>
                    </a:lnTo>
                    <a:lnTo>
                      <a:pt x="34" y="6"/>
                    </a:lnTo>
                    <a:lnTo>
                      <a:pt x="48" y="5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76" y="3"/>
                    </a:lnTo>
                    <a:lnTo>
                      <a:pt x="83" y="5"/>
                    </a:lnTo>
                    <a:lnTo>
                      <a:pt x="88" y="11"/>
                    </a:lnTo>
                    <a:lnTo>
                      <a:pt x="88" y="13"/>
                    </a:lnTo>
                    <a:lnTo>
                      <a:pt x="91" y="15"/>
                    </a:lnTo>
                    <a:lnTo>
                      <a:pt x="94" y="13"/>
                    </a:lnTo>
                    <a:lnTo>
                      <a:pt x="96" y="13"/>
                    </a:lnTo>
                    <a:lnTo>
                      <a:pt x="101" y="13"/>
                    </a:lnTo>
                    <a:lnTo>
                      <a:pt x="103" y="15"/>
                    </a:lnTo>
                    <a:lnTo>
                      <a:pt x="103" y="20"/>
                    </a:lnTo>
                    <a:lnTo>
                      <a:pt x="108" y="25"/>
                    </a:lnTo>
                    <a:lnTo>
                      <a:pt x="108" y="30"/>
                    </a:lnTo>
                    <a:lnTo>
                      <a:pt x="114" y="30"/>
                    </a:lnTo>
                    <a:lnTo>
                      <a:pt x="114" y="35"/>
                    </a:lnTo>
                    <a:lnTo>
                      <a:pt x="119" y="36"/>
                    </a:lnTo>
                    <a:lnTo>
                      <a:pt x="126" y="40"/>
                    </a:lnTo>
                    <a:lnTo>
                      <a:pt x="127" y="43"/>
                    </a:lnTo>
                    <a:lnTo>
                      <a:pt x="131" y="46"/>
                    </a:lnTo>
                    <a:lnTo>
                      <a:pt x="131" y="50"/>
                    </a:lnTo>
                    <a:lnTo>
                      <a:pt x="132" y="53"/>
                    </a:lnTo>
                    <a:lnTo>
                      <a:pt x="129" y="61"/>
                    </a:lnTo>
                    <a:lnTo>
                      <a:pt x="129" y="65"/>
                    </a:lnTo>
                    <a:lnTo>
                      <a:pt x="136" y="70"/>
                    </a:lnTo>
                    <a:lnTo>
                      <a:pt x="139" y="75"/>
                    </a:lnTo>
                    <a:lnTo>
                      <a:pt x="141" y="78"/>
                    </a:lnTo>
                    <a:lnTo>
                      <a:pt x="144" y="78"/>
                    </a:lnTo>
                    <a:lnTo>
                      <a:pt x="147" y="80"/>
                    </a:lnTo>
                    <a:lnTo>
                      <a:pt x="147" y="83"/>
                    </a:lnTo>
                    <a:lnTo>
                      <a:pt x="151" y="86"/>
                    </a:lnTo>
                    <a:lnTo>
                      <a:pt x="151" y="88"/>
                    </a:lnTo>
                    <a:lnTo>
                      <a:pt x="149" y="91"/>
                    </a:lnTo>
                    <a:lnTo>
                      <a:pt x="149" y="94"/>
                    </a:lnTo>
                    <a:lnTo>
                      <a:pt x="156" y="98"/>
                    </a:lnTo>
                    <a:lnTo>
                      <a:pt x="156" y="101"/>
                    </a:lnTo>
                    <a:lnTo>
                      <a:pt x="154" y="104"/>
                    </a:lnTo>
                    <a:lnTo>
                      <a:pt x="154" y="99"/>
                    </a:lnTo>
                    <a:lnTo>
                      <a:pt x="149" y="99"/>
                    </a:lnTo>
                    <a:lnTo>
                      <a:pt x="147" y="98"/>
                    </a:lnTo>
                    <a:lnTo>
                      <a:pt x="142" y="98"/>
                    </a:lnTo>
                    <a:lnTo>
                      <a:pt x="137" y="99"/>
                    </a:lnTo>
                    <a:lnTo>
                      <a:pt x="131" y="96"/>
                    </a:lnTo>
                    <a:lnTo>
                      <a:pt x="122" y="96"/>
                    </a:lnTo>
                    <a:lnTo>
                      <a:pt x="119" y="94"/>
                    </a:lnTo>
                    <a:lnTo>
                      <a:pt x="109" y="90"/>
                    </a:lnTo>
                    <a:lnTo>
                      <a:pt x="94" y="90"/>
                    </a:lnTo>
                    <a:lnTo>
                      <a:pt x="89" y="90"/>
                    </a:lnTo>
                    <a:lnTo>
                      <a:pt x="89" y="91"/>
                    </a:lnTo>
                    <a:lnTo>
                      <a:pt x="83" y="90"/>
                    </a:lnTo>
                    <a:lnTo>
                      <a:pt x="61" y="88"/>
                    </a:lnTo>
                    <a:lnTo>
                      <a:pt x="53" y="91"/>
                    </a:lnTo>
                    <a:lnTo>
                      <a:pt x="48" y="98"/>
                    </a:lnTo>
                    <a:lnTo>
                      <a:pt x="31" y="96"/>
                    </a:lnTo>
                    <a:lnTo>
                      <a:pt x="23" y="99"/>
                    </a:lnTo>
                    <a:lnTo>
                      <a:pt x="18" y="98"/>
                    </a:lnTo>
                    <a:lnTo>
                      <a:pt x="18" y="93"/>
                    </a:lnTo>
                    <a:lnTo>
                      <a:pt x="16" y="93"/>
                    </a:lnTo>
                    <a:lnTo>
                      <a:pt x="20" y="93"/>
                    </a:lnTo>
                    <a:lnTo>
                      <a:pt x="23" y="94"/>
                    </a:lnTo>
                    <a:lnTo>
                      <a:pt x="28" y="91"/>
                    </a:lnTo>
                    <a:lnTo>
                      <a:pt x="20" y="88"/>
                    </a:lnTo>
                    <a:lnTo>
                      <a:pt x="15" y="91"/>
                    </a:lnTo>
                    <a:lnTo>
                      <a:pt x="13" y="90"/>
                    </a:lnTo>
                    <a:lnTo>
                      <a:pt x="15" y="86"/>
                    </a:lnTo>
                    <a:lnTo>
                      <a:pt x="15" y="81"/>
                    </a:lnTo>
                    <a:lnTo>
                      <a:pt x="18" y="80"/>
                    </a:lnTo>
                    <a:lnTo>
                      <a:pt x="33" y="80"/>
                    </a:lnTo>
                    <a:lnTo>
                      <a:pt x="36" y="75"/>
                    </a:lnTo>
                    <a:lnTo>
                      <a:pt x="41" y="75"/>
                    </a:lnTo>
                    <a:lnTo>
                      <a:pt x="46" y="71"/>
                    </a:lnTo>
                    <a:lnTo>
                      <a:pt x="49" y="71"/>
                    </a:lnTo>
                    <a:lnTo>
                      <a:pt x="51" y="73"/>
                    </a:lnTo>
                    <a:lnTo>
                      <a:pt x="54" y="70"/>
                    </a:lnTo>
                    <a:lnTo>
                      <a:pt x="58" y="70"/>
                    </a:lnTo>
                    <a:lnTo>
                      <a:pt x="63" y="73"/>
                    </a:lnTo>
                    <a:lnTo>
                      <a:pt x="68" y="73"/>
                    </a:lnTo>
                    <a:lnTo>
                      <a:pt x="74" y="75"/>
                    </a:lnTo>
                    <a:lnTo>
                      <a:pt x="83" y="78"/>
                    </a:lnTo>
                    <a:lnTo>
                      <a:pt x="88" y="78"/>
                    </a:lnTo>
                    <a:lnTo>
                      <a:pt x="89" y="75"/>
                    </a:lnTo>
                    <a:lnTo>
                      <a:pt x="88" y="73"/>
                    </a:lnTo>
                    <a:lnTo>
                      <a:pt x="86" y="73"/>
                    </a:lnTo>
                    <a:lnTo>
                      <a:pt x="74" y="66"/>
                    </a:lnTo>
                    <a:lnTo>
                      <a:pt x="71" y="66"/>
                    </a:lnTo>
                    <a:lnTo>
                      <a:pt x="63" y="63"/>
                    </a:lnTo>
                    <a:lnTo>
                      <a:pt x="56" y="63"/>
                    </a:lnTo>
                    <a:lnTo>
                      <a:pt x="53" y="61"/>
                    </a:lnTo>
                    <a:lnTo>
                      <a:pt x="46" y="63"/>
                    </a:lnTo>
                    <a:lnTo>
                      <a:pt x="38" y="70"/>
                    </a:lnTo>
                    <a:lnTo>
                      <a:pt x="33" y="70"/>
                    </a:lnTo>
                    <a:lnTo>
                      <a:pt x="29" y="71"/>
                    </a:lnTo>
                    <a:lnTo>
                      <a:pt x="20" y="71"/>
                    </a:lnTo>
                    <a:lnTo>
                      <a:pt x="18" y="70"/>
                    </a:lnTo>
                    <a:lnTo>
                      <a:pt x="21" y="66"/>
                    </a:lnTo>
                    <a:lnTo>
                      <a:pt x="16" y="63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13" y="58"/>
                    </a:lnTo>
                    <a:lnTo>
                      <a:pt x="8" y="50"/>
                    </a:lnTo>
                    <a:lnTo>
                      <a:pt x="0" y="43"/>
                    </a:lnTo>
                    <a:lnTo>
                      <a:pt x="15" y="31"/>
                    </a:lnTo>
                    <a:lnTo>
                      <a:pt x="21" y="21"/>
                    </a:lnTo>
                    <a:lnTo>
                      <a:pt x="21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6" name="Freeform 110"/>
              <p:cNvSpPr>
                <a:spLocks/>
              </p:cNvSpPr>
              <p:nvPr/>
            </p:nvSpPr>
            <p:spPr bwMode="auto">
              <a:xfrm>
                <a:off x="6203105" y="3121339"/>
                <a:ext cx="39599" cy="2179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5" y="11"/>
                  </a:cxn>
                  <a:cxn ang="0">
                    <a:pos x="13" y="8"/>
                  </a:cxn>
                  <a:cxn ang="0">
                    <a:pos x="30" y="10"/>
                  </a:cxn>
                  <a:cxn ang="0">
                    <a:pos x="35" y="3"/>
                  </a:cxn>
                  <a:cxn ang="0">
                    <a:pos x="43" y="0"/>
                  </a:cxn>
                  <a:cxn ang="0">
                    <a:pos x="65" y="2"/>
                  </a:cxn>
                  <a:cxn ang="0">
                    <a:pos x="71" y="3"/>
                  </a:cxn>
                  <a:cxn ang="0">
                    <a:pos x="71" y="10"/>
                  </a:cxn>
                  <a:cxn ang="0">
                    <a:pos x="71" y="13"/>
                  </a:cxn>
                  <a:cxn ang="0">
                    <a:pos x="71" y="20"/>
                  </a:cxn>
                  <a:cxn ang="0">
                    <a:pos x="73" y="23"/>
                  </a:cxn>
                  <a:cxn ang="0">
                    <a:pos x="73" y="26"/>
                  </a:cxn>
                  <a:cxn ang="0">
                    <a:pos x="70" y="30"/>
                  </a:cxn>
                  <a:cxn ang="0">
                    <a:pos x="61" y="30"/>
                  </a:cxn>
                  <a:cxn ang="0">
                    <a:pos x="55" y="35"/>
                  </a:cxn>
                  <a:cxn ang="0">
                    <a:pos x="50" y="35"/>
                  </a:cxn>
                  <a:cxn ang="0">
                    <a:pos x="46" y="40"/>
                  </a:cxn>
                  <a:cxn ang="0">
                    <a:pos x="41" y="41"/>
                  </a:cxn>
                  <a:cxn ang="0">
                    <a:pos x="40" y="40"/>
                  </a:cxn>
                  <a:cxn ang="0">
                    <a:pos x="40" y="36"/>
                  </a:cxn>
                  <a:cxn ang="0">
                    <a:pos x="30" y="38"/>
                  </a:cxn>
                  <a:cxn ang="0">
                    <a:pos x="35" y="31"/>
                  </a:cxn>
                  <a:cxn ang="0">
                    <a:pos x="33" y="31"/>
                  </a:cxn>
                  <a:cxn ang="0">
                    <a:pos x="35" y="30"/>
                  </a:cxn>
                  <a:cxn ang="0">
                    <a:pos x="31" y="28"/>
                  </a:cxn>
                  <a:cxn ang="0">
                    <a:pos x="28" y="28"/>
                  </a:cxn>
                  <a:cxn ang="0">
                    <a:pos x="26" y="25"/>
                  </a:cxn>
                  <a:cxn ang="0">
                    <a:pos x="38" y="25"/>
                  </a:cxn>
                  <a:cxn ang="0">
                    <a:pos x="41" y="25"/>
                  </a:cxn>
                  <a:cxn ang="0">
                    <a:pos x="35" y="21"/>
                  </a:cxn>
                  <a:cxn ang="0">
                    <a:pos x="28" y="21"/>
                  </a:cxn>
                  <a:cxn ang="0">
                    <a:pos x="21" y="23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3" y="21"/>
                  </a:cxn>
                  <a:cxn ang="0">
                    <a:pos x="8" y="16"/>
                  </a:cxn>
                  <a:cxn ang="0">
                    <a:pos x="13" y="13"/>
                  </a:cxn>
                  <a:cxn ang="0">
                    <a:pos x="10" y="13"/>
                  </a:cxn>
                  <a:cxn ang="0">
                    <a:pos x="2" y="13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73" h="41">
                    <a:moveTo>
                      <a:pt x="0" y="10"/>
                    </a:moveTo>
                    <a:lnTo>
                      <a:pt x="5" y="11"/>
                    </a:lnTo>
                    <a:lnTo>
                      <a:pt x="13" y="8"/>
                    </a:lnTo>
                    <a:lnTo>
                      <a:pt x="30" y="10"/>
                    </a:lnTo>
                    <a:lnTo>
                      <a:pt x="35" y="3"/>
                    </a:lnTo>
                    <a:lnTo>
                      <a:pt x="43" y="0"/>
                    </a:lnTo>
                    <a:lnTo>
                      <a:pt x="65" y="2"/>
                    </a:lnTo>
                    <a:lnTo>
                      <a:pt x="71" y="3"/>
                    </a:lnTo>
                    <a:lnTo>
                      <a:pt x="71" y="10"/>
                    </a:lnTo>
                    <a:lnTo>
                      <a:pt x="71" y="13"/>
                    </a:lnTo>
                    <a:lnTo>
                      <a:pt x="71" y="20"/>
                    </a:lnTo>
                    <a:lnTo>
                      <a:pt x="73" y="23"/>
                    </a:lnTo>
                    <a:lnTo>
                      <a:pt x="73" y="26"/>
                    </a:lnTo>
                    <a:lnTo>
                      <a:pt x="70" y="30"/>
                    </a:lnTo>
                    <a:lnTo>
                      <a:pt x="61" y="30"/>
                    </a:lnTo>
                    <a:lnTo>
                      <a:pt x="55" y="35"/>
                    </a:lnTo>
                    <a:lnTo>
                      <a:pt x="50" y="35"/>
                    </a:lnTo>
                    <a:lnTo>
                      <a:pt x="46" y="40"/>
                    </a:lnTo>
                    <a:lnTo>
                      <a:pt x="41" y="41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30" y="38"/>
                    </a:lnTo>
                    <a:lnTo>
                      <a:pt x="35" y="31"/>
                    </a:lnTo>
                    <a:lnTo>
                      <a:pt x="33" y="31"/>
                    </a:lnTo>
                    <a:lnTo>
                      <a:pt x="35" y="30"/>
                    </a:lnTo>
                    <a:lnTo>
                      <a:pt x="31" y="28"/>
                    </a:lnTo>
                    <a:lnTo>
                      <a:pt x="28" y="28"/>
                    </a:lnTo>
                    <a:lnTo>
                      <a:pt x="26" y="25"/>
                    </a:lnTo>
                    <a:lnTo>
                      <a:pt x="38" y="25"/>
                    </a:lnTo>
                    <a:lnTo>
                      <a:pt x="41" y="25"/>
                    </a:lnTo>
                    <a:lnTo>
                      <a:pt x="35" y="21"/>
                    </a:lnTo>
                    <a:lnTo>
                      <a:pt x="28" y="21"/>
                    </a:lnTo>
                    <a:lnTo>
                      <a:pt x="21" y="23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3" y="21"/>
                    </a:lnTo>
                    <a:lnTo>
                      <a:pt x="8" y="16"/>
                    </a:lnTo>
                    <a:lnTo>
                      <a:pt x="13" y="13"/>
                    </a:lnTo>
                    <a:lnTo>
                      <a:pt x="10" y="13"/>
                    </a:lnTo>
                    <a:lnTo>
                      <a:pt x="2" y="13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7" name="Freeform 111"/>
              <p:cNvSpPr>
                <a:spLocks/>
              </p:cNvSpPr>
              <p:nvPr/>
            </p:nvSpPr>
            <p:spPr bwMode="auto">
              <a:xfrm>
                <a:off x="6228791" y="3122377"/>
                <a:ext cx="92041" cy="78857"/>
              </a:xfrm>
              <a:custGeom>
                <a:avLst/>
                <a:gdLst/>
                <a:ahLst/>
                <a:cxnLst>
                  <a:cxn ang="0">
                    <a:pos x="4" y="33"/>
                  </a:cxn>
                  <a:cxn ang="0">
                    <a:pos x="15" y="28"/>
                  </a:cxn>
                  <a:cxn ang="0">
                    <a:pos x="27" y="24"/>
                  </a:cxn>
                  <a:cxn ang="0">
                    <a:pos x="25" y="18"/>
                  </a:cxn>
                  <a:cxn ang="0">
                    <a:pos x="25" y="8"/>
                  </a:cxn>
                  <a:cxn ang="0">
                    <a:pos x="30" y="0"/>
                  </a:cxn>
                  <a:cxn ang="0">
                    <a:pos x="55" y="4"/>
                  </a:cxn>
                  <a:cxn ang="0">
                    <a:pos x="67" y="6"/>
                  </a:cxn>
                  <a:cxn ang="0">
                    <a:pos x="78" y="8"/>
                  </a:cxn>
                  <a:cxn ang="0">
                    <a:pos x="85" y="9"/>
                  </a:cxn>
                  <a:cxn ang="0">
                    <a:pos x="90" y="14"/>
                  </a:cxn>
                  <a:cxn ang="0">
                    <a:pos x="98" y="13"/>
                  </a:cxn>
                  <a:cxn ang="0">
                    <a:pos x="107" y="18"/>
                  </a:cxn>
                  <a:cxn ang="0">
                    <a:pos x="118" y="14"/>
                  </a:cxn>
                  <a:cxn ang="0">
                    <a:pos x="127" y="8"/>
                  </a:cxn>
                  <a:cxn ang="0">
                    <a:pos x="137" y="11"/>
                  </a:cxn>
                  <a:cxn ang="0">
                    <a:pos x="143" y="8"/>
                  </a:cxn>
                  <a:cxn ang="0">
                    <a:pos x="150" y="14"/>
                  </a:cxn>
                  <a:cxn ang="0">
                    <a:pos x="150" y="24"/>
                  </a:cxn>
                  <a:cxn ang="0">
                    <a:pos x="158" y="28"/>
                  </a:cxn>
                  <a:cxn ang="0">
                    <a:pos x="155" y="36"/>
                  </a:cxn>
                  <a:cxn ang="0">
                    <a:pos x="156" y="41"/>
                  </a:cxn>
                  <a:cxn ang="0">
                    <a:pos x="161" y="38"/>
                  </a:cxn>
                  <a:cxn ang="0">
                    <a:pos x="163" y="44"/>
                  </a:cxn>
                  <a:cxn ang="0">
                    <a:pos x="170" y="48"/>
                  </a:cxn>
                  <a:cxn ang="0">
                    <a:pos x="173" y="53"/>
                  </a:cxn>
                  <a:cxn ang="0">
                    <a:pos x="161" y="56"/>
                  </a:cxn>
                  <a:cxn ang="0">
                    <a:pos x="163" y="63"/>
                  </a:cxn>
                  <a:cxn ang="0">
                    <a:pos x="163" y="76"/>
                  </a:cxn>
                  <a:cxn ang="0">
                    <a:pos x="166" y="84"/>
                  </a:cxn>
                  <a:cxn ang="0">
                    <a:pos x="168" y="93"/>
                  </a:cxn>
                  <a:cxn ang="0">
                    <a:pos x="161" y="93"/>
                  </a:cxn>
                  <a:cxn ang="0">
                    <a:pos x="166" y="101"/>
                  </a:cxn>
                  <a:cxn ang="0">
                    <a:pos x="168" y="107"/>
                  </a:cxn>
                  <a:cxn ang="0">
                    <a:pos x="156" y="121"/>
                  </a:cxn>
                  <a:cxn ang="0">
                    <a:pos x="156" y="127"/>
                  </a:cxn>
                  <a:cxn ang="0">
                    <a:pos x="150" y="139"/>
                  </a:cxn>
                  <a:cxn ang="0">
                    <a:pos x="113" y="152"/>
                  </a:cxn>
                  <a:cxn ang="0">
                    <a:pos x="100" y="147"/>
                  </a:cxn>
                  <a:cxn ang="0">
                    <a:pos x="90" y="137"/>
                  </a:cxn>
                  <a:cxn ang="0">
                    <a:pos x="92" y="134"/>
                  </a:cxn>
                  <a:cxn ang="0">
                    <a:pos x="103" y="99"/>
                  </a:cxn>
                  <a:cxn ang="0">
                    <a:pos x="102" y="94"/>
                  </a:cxn>
                  <a:cxn ang="0">
                    <a:pos x="105" y="89"/>
                  </a:cxn>
                  <a:cxn ang="0">
                    <a:pos x="100" y="81"/>
                  </a:cxn>
                  <a:cxn ang="0">
                    <a:pos x="95" y="68"/>
                  </a:cxn>
                  <a:cxn ang="0">
                    <a:pos x="90" y="59"/>
                  </a:cxn>
                  <a:cxn ang="0">
                    <a:pos x="62" y="61"/>
                  </a:cxn>
                  <a:cxn ang="0">
                    <a:pos x="52" y="71"/>
                  </a:cxn>
                  <a:cxn ang="0">
                    <a:pos x="45" y="78"/>
                  </a:cxn>
                  <a:cxn ang="0">
                    <a:pos x="37" y="74"/>
                  </a:cxn>
                  <a:cxn ang="0">
                    <a:pos x="29" y="64"/>
                  </a:cxn>
                  <a:cxn ang="0">
                    <a:pos x="22" y="63"/>
                  </a:cxn>
                  <a:cxn ang="0">
                    <a:pos x="24" y="58"/>
                  </a:cxn>
                  <a:cxn ang="0">
                    <a:pos x="17" y="59"/>
                  </a:cxn>
                  <a:cxn ang="0">
                    <a:pos x="9" y="58"/>
                  </a:cxn>
                  <a:cxn ang="0">
                    <a:pos x="5" y="43"/>
                  </a:cxn>
                  <a:cxn ang="0">
                    <a:pos x="0" y="38"/>
                  </a:cxn>
                </a:cxnLst>
                <a:rect l="0" t="0" r="r" b="b"/>
                <a:pathLst>
                  <a:path w="173" h="152">
                    <a:moveTo>
                      <a:pt x="0" y="38"/>
                    </a:moveTo>
                    <a:lnTo>
                      <a:pt x="4" y="33"/>
                    </a:lnTo>
                    <a:lnTo>
                      <a:pt x="9" y="33"/>
                    </a:lnTo>
                    <a:lnTo>
                      <a:pt x="15" y="28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27" y="21"/>
                    </a:lnTo>
                    <a:lnTo>
                      <a:pt x="25" y="18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5" y="0"/>
                    </a:lnTo>
                    <a:lnTo>
                      <a:pt x="30" y="0"/>
                    </a:lnTo>
                    <a:lnTo>
                      <a:pt x="45" y="0"/>
                    </a:lnTo>
                    <a:lnTo>
                      <a:pt x="55" y="4"/>
                    </a:lnTo>
                    <a:lnTo>
                      <a:pt x="58" y="6"/>
                    </a:lnTo>
                    <a:lnTo>
                      <a:pt x="67" y="6"/>
                    </a:lnTo>
                    <a:lnTo>
                      <a:pt x="73" y="9"/>
                    </a:lnTo>
                    <a:lnTo>
                      <a:pt x="78" y="8"/>
                    </a:lnTo>
                    <a:lnTo>
                      <a:pt x="83" y="8"/>
                    </a:lnTo>
                    <a:lnTo>
                      <a:pt x="85" y="9"/>
                    </a:lnTo>
                    <a:lnTo>
                      <a:pt x="90" y="9"/>
                    </a:lnTo>
                    <a:lnTo>
                      <a:pt x="90" y="14"/>
                    </a:lnTo>
                    <a:lnTo>
                      <a:pt x="93" y="14"/>
                    </a:lnTo>
                    <a:lnTo>
                      <a:pt x="98" y="13"/>
                    </a:lnTo>
                    <a:lnTo>
                      <a:pt x="102" y="14"/>
                    </a:lnTo>
                    <a:lnTo>
                      <a:pt x="107" y="18"/>
                    </a:lnTo>
                    <a:lnTo>
                      <a:pt x="113" y="18"/>
                    </a:lnTo>
                    <a:lnTo>
                      <a:pt x="118" y="14"/>
                    </a:lnTo>
                    <a:lnTo>
                      <a:pt x="122" y="14"/>
                    </a:lnTo>
                    <a:lnTo>
                      <a:pt x="127" y="8"/>
                    </a:lnTo>
                    <a:lnTo>
                      <a:pt x="132" y="8"/>
                    </a:lnTo>
                    <a:lnTo>
                      <a:pt x="137" y="11"/>
                    </a:lnTo>
                    <a:lnTo>
                      <a:pt x="140" y="9"/>
                    </a:lnTo>
                    <a:lnTo>
                      <a:pt x="143" y="8"/>
                    </a:lnTo>
                    <a:lnTo>
                      <a:pt x="145" y="9"/>
                    </a:lnTo>
                    <a:lnTo>
                      <a:pt x="150" y="14"/>
                    </a:lnTo>
                    <a:lnTo>
                      <a:pt x="152" y="18"/>
                    </a:lnTo>
                    <a:lnTo>
                      <a:pt x="150" y="24"/>
                    </a:lnTo>
                    <a:lnTo>
                      <a:pt x="153" y="26"/>
                    </a:lnTo>
                    <a:lnTo>
                      <a:pt x="158" y="28"/>
                    </a:lnTo>
                    <a:lnTo>
                      <a:pt x="158" y="29"/>
                    </a:lnTo>
                    <a:lnTo>
                      <a:pt x="155" y="36"/>
                    </a:lnTo>
                    <a:lnTo>
                      <a:pt x="152" y="41"/>
                    </a:lnTo>
                    <a:lnTo>
                      <a:pt x="156" y="41"/>
                    </a:lnTo>
                    <a:lnTo>
                      <a:pt x="158" y="38"/>
                    </a:lnTo>
                    <a:lnTo>
                      <a:pt x="161" y="38"/>
                    </a:lnTo>
                    <a:lnTo>
                      <a:pt x="161" y="41"/>
                    </a:lnTo>
                    <a:lnTo>
                      <a:pt x="163" y="44"/>
                    </a:lnTo>
                    <a:lnTo>
                      <a:pt x="163" y="48"/>
                    </a:lnTo>
                    <a:lnTo>
                      <a:pt x="170" y="48"/>
                    </a:lnTo>
                    <a:lnTo>
                      <a:pt x="171" y="49"/>
                    </a:lnTo>
                    <a:lnTo>
                      <a:pt x="173" y="53"/>
                    </a:lnTo>
                    <a:lnTo>
                      <a:pt x="170" y="54"/>
                    </a:lnTo>
                    <a:lnTo>
                      <a:pt x="161" y="56"/>
                    </a:lnTo>
                    <a:lnTo>
                      <a:pt x="161" y="61"/>
                    </a:lnTo>
                    <a:lnTo>
                      <a:pt x="163" y="63"/>
                    </a:lnTo>
                    <a:lnTo>
                      <a:pt x="165" y="73"/>
                    </a:lnTo>
                    <a:lnTo>
                      <a:pt x="163" y="76"/>
                    </a:lnTo>
                    <a:lnTo>
                      <a:pt x="163" y="83"/>
                    </a:lnTo>
                    <a:lnTo>
                      <a:pt x="166" y="84"/>
                    </a:lnTo>
                    <a:lnTo>
                      <a:pt x="170" y="89"/>
                    </a:lnTo>
                    <a:lnTo>
                      <a:pt x="168" y="93"/>
                    </a:lnTo>
                    <a:lnTo>
                      <a:pt x="165" y="91"/>
                    </a:lnTo>
                    <a:lnTo>
                      <a:pt x="161" y="93"/>
                    </a:lnTo>
                    <a:lnTo>
                      <a:pt x="161" y="96"/>
                    </a:lnTo>
                    <a:lnTo>
                      <a:pt x="166" y="101"/>
                    </a:lnTo>
                    <a:lnTo>
                      <a:pt x="168" y="102"/>
                    </a:lnTo>
                    <a:lnTo>
                      <a:pt x="168" y="107"/>
                    </a:lnTo>
                    <a:lnTo>
                      <a:pt x="161" y="121"/>
                    </a:lnTo>
                    <a:lnTo>
                      <a:pt x="156" y="121"/>
                    </a:lnTo>
                    <a:lnTo>
                      <a:pt x="155" y="124"/>
                    </a:lnTo>
                    <a:lnTo>
                      <a:pt x="156" y="127"/>
                    </a:lnTo>
                    <a:lnTo>
                      <a:pt x="153" y="136"/>
                    </a:lnTo>
                    <a:lnTo>
                      <a:pt x="150" y="139"/>
                    </a:lnTo>
                    <a:lnTo>
                      <a:pt x="150" y="142"/>
                    </a:lnTo>
                    <a:lnTo>
                      <a:pt x="113" y="152"/>
                    </a:lnTo>
                    <a:lnTo>
                      <a:pt x="105" y="147"/>
                    </a:lnTo>
                    <a:lnTo>
                      <a:pt x="100" y="147"/>
                    </a:lnTo>
                    <a:lnTo>
                      <a:pt x="95" y="139"/>
                    </a:lnTo>
                    <a:lnTo>
                      <a:pt x="90" y="137"/>
                    </a:lnTo>
                    <a:lnTo>
                      <a:pt x="92" y="134"/>
                    </a:lnTo>
                    <a:lnTo>
                      <a:pt x="92" y="134"/>
                    </a:lnTo>
                    <a:lnTo>
                      <a:pt x="102" y="127"/>
                    </a:lnTo>
                    <a:lnTo>
                      <a:pt x="103" y="99"/>
                    </a:lnTo>
                    <a:lnTo>
                      <a:pt x="105" y="96"/>
                    </a:lnTo>
                    <a:lnTo>
                      <a:pt x="102" y="94"/>
                    </a:lnTo>
                    <a:lnTo>
                      <a:pt x="102" y="91"/>
                    </a:lnTo>
                    <a:lnTo>
                      <a:pt x="105" y="89"/>
                    </a:lnTo>
                    <a:lnTo>
                      <a:pt x="105" y="86"/>
                    </a:lnTo>
                    <a:lnTo>
                      <a:pt x="100" y="81"/>
                    </a:lnTo>
                    <a:lnTo>
                      <a:pt x="102" y="78"/>
                    </a:lnTo>
                    <a:lnTo>
                      <a:pt x="95" y="68"/>
                    </a:lnTo>
                    <a:lnTo>
                      <a:pt x="93" y="64"/>
                    </a:lnTo>
                    <a:lnTo>
                      <a:pt x="90" y="59"/>
                    </a:lnTo>
                    <a:lnTo>
                      <a:pt x="68" y="59"/>
                    </a:lnTo>
                    <a:lnTo>
                      <a:pt x="62" y="61"/>
                    </a:lnTo>
                    <a:lnTo>
                      <a:pt x="58" y="64"/>
                    </a:lnTo>
                    <a:lnTo>
                      <a:pt x="52" y="71"/>
                    </a:lnTo>
                    <a:lnTo>
                      <a:pt x="52" y="73"/>
                    </a:lnTo>
                    <a:lnTo>
                      <a:pt x="45" y="78"/>
                    </a:lnTo>
                    <a:lnTo>
                      <a:pt x="40" y="78"/>
                    </a:lnTo>
                    <a:lnTo>
                      <a:pt x="37" y="74"/>
                    </a:lnTo>
                    <a:lnTo>
                      <a:pt x="30" y="71"/>
                    </a:lnTo>
                    <a:lnTo>
                      <a:pt x="29" y="64"/>
                    </a:lnTo>
                    <a:lnTo>
                      <a:pt x="24" y="64"/>
                    </a:lnTo>
                    <a:lnTo>
                      <a:pt x="22" y="63"/>
                    </a:lnTo>
                    <a:lnTo>
                      <a:pt x="22" y="59"/>
                    </a:lnTo>
                    <a:lnTo>
                      <a:pt x="24" y="58"/>
                    </a:lnTo>
                    <a:lnTo>
                      <a:pt x="20" y="56"/>
                    </a:lnTo>
                    <a:lnTo>
                      <a:pt x="17" y="59"/>
                    </a:lnTo>
                    <a:lnTo>
                      <a:pt x="14" y="58"/>
                    </a:lnTo>
                    <a:lnTo>
                      <a:pt x="9" y="58"/>
                    </a:lnTo>
                    <a:lnTo>
                      <a:pt x="2" y="49"/>
                    </a:lnTo>
                    <a:lnTo>
                      <a:pt x="5" y="43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8" name="Freeform 112"/>
              <p:cNvSpPr>
                <a:spLocks noEditPoints="1"/>
              </p:cNvSpPr>
              <p:nvPr/>
            </p:nvSpPr>
            <p:spPr bwMode="auto">
              <a:xfrm>
                <a:off x="6249125" y="3153505"/>
                <a:ext cx="35318" cy="38391"/>
              </a:xfrm>
              <a:custGeom>
                <a:avLst/>
                <a:gdLst/>
                <a:ahLst/>
                <a:cxnLst>
                  <a:cxn ang="0">
                    <a:pos x="18" y="63"/>
                  </a:cxn>
                  <a:cxn ang="0">
                    <a:pos x="16" y="60"/>
                  </a:cxn>
                  <a:cxn ang="0">
                    <a:pos x="15" y="58"/>
                  </a:cxn>
                  <a:cxn ang="0">
                    <a:pos x="13" y="58"/>
                  </a:cxn>
                  <a:cxn ang="0">
                    <a:pos x="11" y="60"/>
                  </a:cxn>
                  <a:cxn ang="0">
                    <a:pos x="13" y="62"/>
                  </a:cxn>
                  <a:cxn ang="0">
                    <a:pos x="15" y="63"/>
                  </a:cxn>
                  <a:cxn ang="0">
                    <a:pos x="18" y="63"/>
                  </a:cxn>
                  <a:cxn ang="0">
                    <a:pos x="18" y="63"/>
                  </a:cxn>
                  <a:cxn ang="0">
                    <a:pos x="1" y="19"/>
                  </a:cxn>
                  <a:cxn ang="0">
                    <a:pos x="6" y="19"/>
                  </a:cxn>
                  <a:cxn ang="0">
                    <a:pos x="13" y="14"/>
                  </a:cxn>
                  <a:cxn ang="0">
                    <a:pos x="13" y="12"/>
                  </a:cxn>
                  <a:cxn ang="0">
                    <a:pos x="19" y="5"/>
                  </a:cxn>
                  <a:cxn ang="0">
                    <a:pos x="23" y="2"/>
                  </a:cxn>
                  <a:cxn ang="0">
                    <a:pos x="29" y="0"/>
                  </a:cxn>
                  <a:cxn ang="0">
                    <a:pos x="51" y="0"/>
                  </a:cxn>
                  <a:cxn ang="0">
                    <a:pos x="54" y="5"/>
                  </a:cxn>
                  <a:cxn ang="0">
                    <a:pos x="56" y="9"/>
                  </a:cxn>
                  <a:cxn ang="0">
                    <a:pos x="63" y="19"/>
                  </a:cxn>
                  <a:cxn ang="0">
                    <a:pos x="61" y="22"/>
                  </a:cxn>
                  <a:cxn ang="0">
                    <a:pos x="66" y="27"/>
                  </a:cxn>
                  <a:cxn ang="0">
                    <a:pos x="66" y="30"/>
                  </a:cxn>
                  <a:cxn ang="0">
                    <a:pos x="63" y="32"/>
                  </a:cxn>
                  <a:cxn ang="0">
                    <a:pos x="63" y="35"/>
                  </a:cxn>
                  <a:cxn ang="0">
                    <a:pos x="66" y="37"/>
                  </a:cxn>
                  <a:cxn ang="0">
                    <a:pos x="64" y="40"/>
                  </a:cxn>
                  <a:cxn ang="0">
                    <a:pos x="63" y="68"/>
                  </a:cxn>
                  <a:cxn ang="0">
                    <a:pos x="53" y="75"/>
                  </a:cxn>
                  <a:cxn ang="0">
                    <a:pos x="49" y="73"/>
                  </a:cxn>
                  <a:cxn ang="0">
                    <a:pos x="41" y="73"/>
                  </a:cxn>
                  <a:cxn ang="0">
                    <a:pos x="28" y="67"/>
                  </a:cxn>
                  <a:cxn ang="0">
                    <a:pos x="21" y="67"/>
                  </a:cxn>
                  <a:cxn ang="0">
                    <a:pos x="23" y="63"/>
                  </a:cxn>
                  <a:cxn ang="0">
                    <a:pos x="19" y="60"/>
                  </a:cxn>
                  <a:cxn ang="0">
                    <a:pos x="16" y="57"/>
                  </a:cxn>
                  <a:cxn ang="0">
                    <a:pos x="19" y="53"/>
                  </a:cxn>
                  <a:cxn ang="0">
                    <a:pos x="18" y="52"/>
                  </a:cxn>
                  <a:cxn ang="0">
                    <a:pos x="15" y="53"/>
                  </a:cxn>
                  <a:cxn ang="0">
                    <a:pos x="8" y="48"/>
                  </a:cxn>
                  <a:cxn ang="0">
                    <a:pos x="8" y="43"/>
                  </a:cxn>
                  <a:cxn ang="0">
                    <a:pos x="6" y="37"/>
                  </a:cxn>
                  <a:cxn ang="0">
                    <a:pos x="1" y="37"/>
                  </a:cxn>
                  <a:cxn ang="0">
                    <a:pos x="0" y="34"/>
                  </a:cxn>
                  <a:cxn ang="0">
                    <a:pos x="3" y="27"/>
                  </a:cxn>
                  <a:cxn ang="0">
                    <a:pos x="0" y="25"/>
                  </a:cxn>
                  <a:cxn ang="0">
                    <a:pos x="0" y="22"/>
                  </a:cxn>
                  <a:cxn ang="0">
                    <a:pos x="3" y="19"/>
                  </a:cxn>
                  <a:cxn ang="0">
                    <a:pos x="1" y="19"/>
                  </a:cxn>
                </a:cxnLst>
                <a:rect l="0" t="0" r="r" b="b"/>
                <a:pathLst>
                  <a:path w="66" h="75">
                    <a:moveTo>
                      <a:pt x="18" y="63"/>
                    </a:moveTo>
                    <a:lnTo>
                      <a:pt x="16" y="60"/>
                    </a:lnTo>
                    <a:lnTo>
                      <a:pt x="15" y="58"/>
                    </a:lnTo>
                    <a:lnTo>
                      <a:pt x="13" y="58"/>
                    </a:lnTo>
                    <a:lnTo>
                      <a:pt x="11" y="60"/>
                    </a:lnTo>
                    <a:lnTo>
                      <a:pt x="13" y="62"/>
                    </a:lnTo>
                    <a:lnTo>
                      <a:pt x="15" y="63"/>
                    </a:lnTo>
                    <a:lnTo>
                      <a:pt x="18" y="63"/>
                    </a:lnTo>
                    <a:lnTo>
                      <a:pt x="18" y="63"/>
                    </a:lnTo>
                    <a:close/>
                    <a:moveTo>
                      <a:pt x="1" y="19"/>
                    </a:moveTo>
                    <a:lnTo>
                      <a:pt x="6" y="19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9" y="0"/>
                    </a:lnTo>
                    <a:lnTo>
                      <a:pt x="51" y="0"/>
                    </a:lnTo>
                    <a:lnTo>
                      <a:pt x="54" y="5"/>
                    </a:lnTo>
                    <a:lnTo>
                      <a:pt x="56" y="9"/>
                    </a:lnTo>
                    <a:lnTo>
                      <a:pt x="63" y="19"/>
                    </a:lnTo>
                    <a:lnTo>
                      <a:pt x="61" y="22"/>
                    </a:lnTo>
                    <a:lnTo>
                      <a:pt x="66" y="27"/>
                    </a:lnTo>
                    <a:lnTo>
                      <a:pt x="66" y="30"/>
                    </a:lnTo>
                    <a:lnTo>
                      <a:pt x="63" y="32"/>
                    </a:lnTo>
                    <a:lnTo>
                      <a:pt x="63" y="35"/>
                    </a:lnTo>
                    <a:lnTo>
                      <a:pt x="66" y="37"/>
                    </a:lnTo>
                    <a:lnTo>
                      <a:pt x="64" y="40"/>
                    </a:lnTo>
                    <a:lnTo>
                      <a:pt x="63" y="68"/>
                    </a:lnTo>
                    <a:lnTo>
                      <a:pt x="53" y="75"/>
                    </a:lnTo>
                    <a:lnTo>
                      <a:pt x="49" y="73"/>
                    </a:lnTo>
                    <a:lnTo>
                      <a:pt x="41" y="73"/>
                    </a:lnTo>
                    <a:lnTo>
                      <a:pt x="28" y="67"/>
                    </a:lnTo>
                    <a:lnTo>
                      <a:pt x="21" y="67"/>
                    </a:lnTo>
                    <a:lnTo>
                      <a:pt x="23" y="63"/>
                    </a:lnTo>
                    <a:lnTo>
                      <a:pt x="19" y="60"/>
                    </a:lnTo>
                    <a:lnTo>
                      <a:pt x="16" y="57"/>
                    </a:lnTo>
                    <a:lnTo>
                      <a:pt x="19" y="53"/>
                    </a:lnTo>
                    <a:lnTo>
                      <a:pt x="18" y="52"/>
                    </a:lnTo>
                    <a:lnTo>
                      <a:pt x="15" y="53"/>
                    </a:lnTo>
                    <a:lnTo>
                      <a:pt x="8" y="48"/>
                    </a:lnTo>
                    <a:lnTo>
                      <a:pt x="8" y="43"/>
                    </a:lnTo>
                    <a:lnTo>
                      <a:pt x="6" y="37"/>
                    </a:lnTo>
                    <a:lnTo>
                      <a:pt x="1" y="37"/>
                    </a:lnTo>
                    <a:lnTo>
                      <a:pt x="0" y="34"/>
                    </a:lnTo>
                    <a:lnTo>
                      <a:pt x="3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19"/>
                    </a:lnTo>
                    <a:lnTo>
                      <a:pt x="1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9" name="Freeform 113"/>
              <p:cNvSpPr>
                <a:spLocks/>
              </p:cNvSpPr>
              <p:nvPr/>
            </p:nvSpPr>
            <p:spPr bwMode="auto">
              <a:xfrm>
                <a:off x="6271601" y="3170106"/>
                <a:ext cx="52442" cy="49804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1" y="36"/>
                  </a:cxn>
                  <a:cxn ang="0">
                    <a:pos x="3" y="31"/>
                  </a:cxn>
                  <a:cxn ang="0">
                    <a:pos x="10" y="28"/>
                  </a:cxn>
                  <a:cxn ang="0">
                    <a:pos x="15" y="23"/>
                  </a:cxn>
                  <a:cxn ang="0">
                    <a:pos x="15" y="19"/>
                  </a:cxn>
                  <a:cxn ang="0">
                    <a:pos x="16" y="13"/>
                  </a:cxn>
                  <a:cxn ang="0">
                    <a:pos x="20" y="11"/>
                  </a:cxn>
                  <a:cxn ang="0">
                    <a:pos x="20" y="9"/>
                  </a:cxn>
                  <a:cxn ang="0">
                    <a:pos x="21" y="5"/>
                  </a:cxn>
                  <a:cxn ang="0">
                    <a:pos x="28" y="1"/>
                  </a:cxn>
                  <a:cxn ang="0">
                    <a:pos x="30" y="3"/>
                  </a:cxn>
                  <a:cxn ang="0">
                    <a:pos x="40" y="0"/>
                  </a:cxn>
                  <a:cxn ang="0">
                    <a:pos x="45" y="1"/>
                  </a:cxn>
                  <a:cxn ang="0">
                    <a:pos x="48" y="6"/>
                  </a:cxn>
                  <a:cxn ang="0">
                    <a:pos x="51" y="9"/>
                  </a:cxn>
                  <a:cxn ang="0">
                    <a:pos x="51" y="18"/>
                  </a:cxn>
                  <a:cxn ang="0">
                    <a:pos x="51" y="23"/>
                  </a:cxn>
                  <a:cxn ang="0">
                    <a:pos x="56" y="28"/>
                  </a:cxn>
                  <a:cxn ang="0">
                    <a:pos x="60" y="28"/>
                  </a:cxn>
                  <a:cxn ang="0">
                    <a:pos x="66" y="23"/>
                  </a:cxn>
                  <a:cxn ang="0">
                    <a:pos x="70" y="23"/>
                  </a:cxn>
                  <a:cxn ang="0">
                    <a:pos x="73" y="26"/>
                  </a:cxn>
                  <a:cxn ang="0">
                    <a:pos x="74" y="29"/>
                  </a:cxn>
                  <a:cxn ang="0">
                    <a:pos x="73" y="31"/>
                  </a:cxn>
                  <a:cxn ang="0">
                    <a:pos x="74" y="34"/>
                  </a:cxn>
                  <a:cxn ang="0">
                    <a:pos x="71" y="43"/>
                  </a:cxn>
                  <a:cxn ang="0">
                    <a:pos x="68" y="46"/>
                  </a:cxn>
                  <a:cxn ang="0">
                    <a:pos x="70" y="51"/>
                  </a:cxn>
                  <a:cxn ang="0">
                    <a:pos x="73" y="53"/>
                  </a:cxn>
                  <a:cxn ang="0">
                    <a:pos x="74" y="51"/>
                  </a:cxn>
                  <a:cxn ang="0">
                    <a:pos x="79" y="51"/>
                  </a:cxn>
                  <a:cxn ang="0">
                    <a:pos x="81" y="54"/>
                  </a:cxn>
                  <a:cxn ang="0">
                    <a:pos x="84" y="54"/>
                  </a:cxn>
                  <a:cxn ang="0">
                    <a:pos x="88" y="54"/>
                  </a:cxn>
                  <a:cxn ang="0">
                    <a:pos x="89" y="59"/>
                  </a:cxn>
                  <a:cxn ang="0">
                    <a:pos x="93" y="61"/>
                  </a:cxn>
                  <a:cxn ang="0">
                    <a:pos x="96" y="61"/>
                  </a:cxn>
                  <a:cxn ang="0">
                    <a:pos x="98" y="66"/>
                  </a:cxn>
                  <a:cxn ang="0">
                    <a:pos x="94" y="68"/>
                  </a:cxn>
                  <a:cxn ang="0">
                    <a:pos x="96" y="71"/>
                  </a:cxn>
                  <a:cxn ang="0">
                    <a:pos x="94" y="74"/>
                  </a:cxn>
                  <a:cxn ang="0">
                    <a:pos x="93" y="78"/>
                  </a:cxn>
                  <a:cxn ang="0">
                    <a:pos x="94" y="81"/>
                  </a:cxn>
                  <a:cxn ang="0">
                    <a:pos x="93" y="86"/>
                  </a:cxn>
                  <a:cxn ang="0">
                    <a:pos x="94" y="89"/>
                  </a:cxn>
                  <a:cxn ang="0">
                    <a:pos x="94" y="94"/>
                  </a:cxn>
                  <a:cxn ang="0">
                    <a:pos x="71" y="88"/>
                  </a:cxn>
                  <a:cxn ang="0">
                    <a:pos x="53" y="74"/>
                  </a:cxn>
                  <a:cxn ang="0">
                    <a:pos x="48" y="74"/>
                  </a:cxn>
                  <a:cxn ang="0">
                    <a:pos x="33" y="61"/>
                  </a:cxn>
                  <a:cxn ang="0">
                    <a:pos x="23" y="54"/>
                  </a:cxn>
                  <a:cxn ang="0">
                    <a:pos x="18" y="54"/>
                  </a:cxn>
                  <a:cxn ang="0">
                    <a:pos x="13" y="46"/>
                  </a:cxn>
                  <a:cxn ang="0">
                    <a:pos x="8" y="44"/>
                  </a:cxn>
                  <a:cxn ang="0">
                    <a:pos x="10" y="41"/>
                  </a:cxn>
                  <a:cxn ang="0">
                    <a:pos x="6" y="39"/>
                  </a:cxn>
                  <a:cxn ang="0">
                    <a:pos x="0" y="39"/>
                  </a:cxn>
                </a:cxnLst>
                <a:rect l="0" t="0" r="r" b="b"/>
                <a:pathLst>
                  <a:path w="98" h="94">
                    <a:moveTo>
                      <a:pt x="0" y="39"/>
                    </a:moveTo>
                    <a:lnTo>
                      <a:pt x="1" y="36"/>
                    </a:lnTo>
                    <a:lnTo>
                      <a:pt x="3" y="31"/>
                    </a:lnTo>
                    <a:lnTo>
                      <a:pt x="10" y="28"/>
                    </a:lnTo>
                    <a:lnTo>
                      <a:pt x="15" y="23"/>
                    </a:lnTo>
                    <a:lnTo>
                      <a:pt x="15" y="19"/>
                    </a:lnTo>
                    <a:lnTo>
                      <a:pt x="16" y="13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40" y="0"/>
                    </a:lnTo>
                    <a:lnTo>
                      <a:pt x="45" y="1"/>
                    </a:lnTo>
                    <a:lnTo>
                      <a:pt x="48" y="6"/>
                    </a:lnTo>
                    <a:lnTo>
                      <a:pt x="51" y="9"/>
                    </a:lnTo>
                    <a:lnTo>
                      <a:pt x="51" y="18"/>
                    </a:lnTo>
                    <a:lnTo>
                      <a:pt x="51" y="23"/>
                    </a:lnTo>
                    <a:lnTo>
                      <a:pt x="56" y="28"/>
                    </a:lnTo>
                    <a:lnTo>
                      <a:pt x="60" y="28"/>
                    </a:lnTo>
                    <a:lnTo>
                      <a:pt x="66" y="23"/>
                    </a:lnTo>
                    <a:lnTo>
                      <a:pt x="70" y="23"/>
                    </a:lnTo>
                    <a:lnTo>
                      <a:pt x="73" y="26"/>
                    </a:lnTo>
                    <a:lnTo>
                      <a:pt x="74" y="29"/>
                    </a:lnTo>
                    <a:lnTo>
                      <a:pt x="73" y="31"/>
                    </a:lnTo>
                    <a:lnTo>
                      <a:pt x="74" y="34"/>
                    </a:lnTo>
                    <a:lnTo>
                      <a:pt x="71" y="43"/>
                    </a:lnTo>
                    <a:lnTo>
                      <a:pt x="68" y="46"/>
                    </a:lnTo>
                    <a:lnTo>
                      <a:pt x="70" y="51"/>
                    </a:lnTo>
                    <a:lnTo>
                      <a:pt x="73" y="53"/>
                    </a:lnTo>
                    <a:lnTo>
                      <a:pt x="74" y="51"/>
                    </a:lnTo>
                    <a:lnTo>
                      <a:pt x="79" y="51"/>
                    </a:lnTo>
                    <a:lnTo>
                      <a:pt x="81" y="54"/>
                    </a:lnTo>
                    <a:lnTo>
                      <a:pt x="84" y="54"/>
                    </a:lnTo>
                    <a:lnTo>
                      <a:pt x="88" y="54"/>
                    </a:lnTo>
                    <a:lnTo>
                      <a:pt x="89" y="59"/>
                    </a:lnTo>
                    <a:lnTo>
                      <a:pt x="93" y="61"/>
                    </a:lnTo>
                    <a:lnTo>
                      <a:pt x="96" y="61"/>
                    </a:lnTo>
                    <a:lnTo>
                      <a:pt x="98" y="66"/>
                    </a:lnTo>
                    <a:lnTo>
                      <a:pt x="94" y="68"/>
                    </a:lnTo>
                    <a:lnTo>
                      <a:pt x="96" y="71"/>
                    </a:lnTo>
                    <a:lnTo>
                      <a:pt x="94" y="74"/>
                    </a:lnTo>
                    <a:lnTo>
                      <a:pt x="93" y="78"/>
                    </a:lnTo>
                    <a:lnTo>
                      <a:pt x="94" y="81"/>
                    </a:lnTo>
                    <a:lnTo>
                      <a:pt x="93" y="86"/>
                    </a:lnTo>
                    <a:lnTo>
                      <a:pt x="94" y="89"/>
                    </a:lnTo>
                    <a:lnTo>
                      <a:pt x="94" y="94"/>
                    </a:lnTo>
                    <a:lnTo>
                      <a:pt x="71" y="88"/>
                    </a:lnTo>
                    <a:lnTo>
                      <a:pt x="53" y="74"/>
                    </a:lnTo>
                    <a:lnTo>
                      <a:pt x="48" y="74"/>
                    </a:lnTo>
                    <a:lnTo>
                      <a:pt x="33" y="61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3" y="46"/>
                    </a:lnTo>
                    <a:lnTo>
                      <a:pt x="8" y="44"/>
                    </a:lnTo>
                    <a:lnTo>
                      <a:pt x="10" y="41"/>
                    </a:lnTo>
                    <a:lnTo>
                      <a:pt x="6" y="39"/>
                    </a:lnTo>
                    <a:lnTo>
                      <a:pt x="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0" name="Freeform 114"/>
              <p:cNvSpPr>
                <a:spLocks/>
              </p:cNvSpPr>
              <p:nvPr/>
            </p:nvSpPr>
            <p:spPr bwMode="auto">
              <a:xfrm>
                <a:off x="6307989" y="3146241"/>
                <a:ext cx="81339" cy="73669"/>
              </a:xfrm>
              <a:custGeom>
                <a:avLst/>
                <a:gdLst/>
                <a:ahLst/>
                <a:cxnLst>
                  <a:cxn ang="0">
                    <a:pos x="26" y="136"/>
                  </a:cxn>
                  <a:cxn ang="0">
                    <a:pos x="26" y="128"/>
                  </a:cxn>
                  <a:cxn ang="0">
                    <a:pos x="26" y="121"/>
                  </a:cxn>
                  <a:cxn ang="0">
                    <a:pos x="26" y="115"/>
                  </a:cxn>
                  <a:cxn ang="0">
                    <a:pos x="28" y="108"/>
                  </a:cxn>
                  <a:cxn ang="0">
                    <a:pos x="21" y="106"/>
                  </a:cxn>
                  <a:cxn ang="0">
                    <a:pos x="16" y="101"/>
                  </a:cxn>
                  <a:cxn ang="0">
                    <a:pos x="11" y="98"/>
                  </a:cxn>
                  <a:cxn ang="0">
                    <a:pos x="5" y="100"/>
                  </a:cxn>
                  <a:cxn ang="0">
                    <a:pos x="0" y="93"/>
                  </a:cxn>
                  <a:cxn ang="0">
                    <a:pos x="6" y="81"/>
                  </a:cxn>
                  <a:cxn ang="0">
                    <a:pos x="6" y="75"/>
                  </a:cxn>
                  <a:cxn ang="0">
                    <a:pos x="18" y="61"/>
                  </a:cxn>
                  <a:cxn ang="0">
                    <a:pos x="16" y="55"/>
                  </a:cxn>
                  <a:cxn ang="0">
                    <a:pos x="11" y="47"/>
                  </a:cxn>
                  <a:cxn ang="0">
                    <a:pos x="18" y="47"/>
                  </a:cxn>
                  <a:cxn ang="0">
                    <a:pos x="16" y="38"/>
                  </a:cxn>
                  <a:cxn ang="0">
                    <a:pos x="13" y="30"/>
                  </a:cxn>
                  <a:cxn ang="0">
                    <a:pos x="13" y="17"/>
                  </a:cxn>
                  <a:cxn ang="0">
                    <a:pos x="11" y="10"/>
                  </a:cxn>
                  <a:cxn ang="0">
                    <a:pos x="30" y="3"/>
                  </a:cxn>
                  <a:cxn ang="0">
                    <a:pos x="38" y="5"/>
                  </a:cxn>
                  <a:cxn ang="0">
                    <a:pos x="50" y="5"/>
                  </a:cxn>
                  <a:cxn ang="0">
                    <a:pos x="58" y="2"/>
                  </a:cxn>
                  <a:cxn ang="0">
                    <a:pos x="63" y="3"/>
                  </a:cxn>
                  <a:cxn ang="0">
                    <a:pos x="73" y="8"/>
                  </a:cxn>
                  <a:cxn ang="0">
                    <a:pos x="81" y="0"/>
                  </a:cxn>
                  <a:cxn ang="0">
                    <a:pos x="98" y="8"/>
                  </a:cxn>
                  <a:cxn ang="0">
                    <a:pos x="103" y="10"/>
                  </a:cxn>
                  <a:cxn ang="0">
                    <a:pos x="113" y="13"/>
                  </a:cxn>
                  <a:cxn ang="0">
                    <a:pos x="123" y="20"/>
                  </a:cxn>
                  <a:cxn ang="0">
                    <a:pos x="133" y="15"/>
                  </a:cxn>
                  <a:cxn ang="0">
                    <a:pos x="139" y="18"/>
                  </a:cxn>
                  <a:cxn ang="0">
                    <a:pos x="144" y="20"/>
                  </a:cxn>
                  <a:cxn ang="0">
                    <a:pos x="144" y="32"/>
                  </a:cxn>
                  <a:cxn ang="0">
                    <a:pos x="149" y="38"/>
                  </a:cxn>
                  <a:cxn ang="0">
                    <a:pos x="149" y="50"/>
                  </a:cxn>
                  <a:cxn ang="0">
                    <a:pos x="144" y="56"/>
                  </a:cxn>
                  <a:cxn ang="0">
                    <a:pos x="136" y="71"/>
                  </a:cxn>
                  <a:cxn ang="0">
                    <a:pos x="134" y="80"/>
                  </a:cxn>
                  <a:cxn ang="0">
                    <a:pos x="133" y="91"/>
                  </a:cxn>
                  <a:cxn ang="0">
                    <a:pos x="129" y="95"/>
                  </a:cxn>
                  <a:cxn ang="0">
                    <a:pos x="136" y="106"/>
                  </a:cxn>
                  <a:cxn ang="0">
                    <a:pos x="143" y="113"/>
                  </a:cxn>
                  <a:cxn ang="0">
                    <a:pos x="144" y="123"/>
                  </a:cxn>
                  <a:cxn ang="0">
                    <a:pos x="136" y="123"/>
                  </a:cxn>
                  <a:cxn ang="0">
                    <a:pos x="131" y="120"/>
                  </a:cxn>
                  <a:cxn ang="0">
                    <a:pos x="126" y="126"/>
                  </a:cxn>
                  <a:cxn ang="0">
                    <a:pos x="103" y="125"/>
                  </a:cxn>
                  <a:cxn ang="0">
                    <a:pos x="61" y="126"/>
                  </a:cxn>
                  <a:cxn ang="0">
                    <a:pos x="45" y="133"/>
                  </a:cxn>
                  <a:cxn ang="0">
                    <a:pos x="38" y="136"/>
                  </a:cxn>
                  <a:cxn ang="0">
                    <a:pos x="26" y="141"/>
                  </a:cxn>
                </a:cxnLst>
                <a:rect l="0" t="0" r="r" b="b"/>
                <a:pathLst>
                  <a:path w="151" h="143">
                    <a:moveTo>
                      <a:pt x="26" y="141"/>
                    </a:moveTo>
                    <a:lnTo>
                      <a:pt x="26" y="136"/>
                    </a:lnTo>
                    <a:lnTo>
                      <a:pt x="25" y="133"/>
                    </a:lnTo>
                    <a:lnTo>
                      <a:pt x="26" y="128"/>
                    </a:lnTo>
                    <a:lnTo>
                      <a:pt x="25" y="125"/>
                    </a:lnTo>
                    <a:lnTo>
                      <a:pt x="26" y="121"/>
                    </a:lnTo>
                    <a:lnTo>
                      <a:pt x="28" y="118"/>
                    </a:lnTo>
                    <a:lnTo>
                      <a:pt x="26" y="115"/>
                    </a:lnTo>
                    <a:lnTo>
                      <a:pt x="30" y="113"/>
                    </a:lnTo>
                    <a:lnTo>
                      <a:pt x="28" y="108"/>
                    </a:lnTo>
                    <a:lnTo>
                      <a:pt x="25" y="108"/>
                    </a:lnTo>
                    <a:lnTo>
                      <a:pt x="21" y="106"/>
                    </a:lnTo>
                    <a:lnTo>
                      <a:pt x="20" y="101"/>
                    </a:lnTo>
                    <a:lnTo>
                      <a:pt x="16" y="101"/>
                    </a:lnTo>
                    <a:lnTo>
                      <a:pt x="13" y="101"/>
                    </a:lnTo>
                    <a:lnTo>
                      <a:pt x="11" y="98"/>
                    </a:lnTo>
                    <a:lnTo>
                      <a:pt x="6" y="98"/>
                    </a:lnTo>
                    <a:lnTo>
                      <a:pt x="5" y="100"/>
                    </a:lnTo>
                    <a:lnTo>
                      <a:pt x="2" y="98"/>
                    </a:lnTo>
                    <a:lnTo>
                      <a:pt x="0" y="93"/>
                    </a:lnTo>
                    <a:lnTo>
                      <a:pt x="3" y="90"/>
                    </a:lnTo>
                    <a:lnTo>
                      <a:pt x="6" y="81"/>
                    </a:lnTo>
                    <a:lnTo>
                      <a:pt x="5" y="78"/>
                    </a:lnTo>
                    <a:lnTo>
                      <a:pt x="6" y="75"/>
                    </a:lnTo>
                    <a:lnTo>
                      <a:pt x="11" y="75"/>
                    </a:lnTo>
                    <a:lnTo>
                      <a:pt x="18" y="61"/>
                    </a:lnTo>
                    <a:lnTo>
                      <a:pt x="18" y="56"/>
                    </a:lnTo>
                    <a:lnTo>
                      <a:pt x="16" y="55"/>
                    </a:lnTo>
                    <a:lnTo>
                      <a:pt x="11" y="50"/>
                    </a:lnTo>
                    <a:lnTo>
                      <a:pt x="11" y="47"/>
                    </a:lnTo>
                    <a:lnTo>
                      <a:pt x="15" y="45"/>
                    </a:lnTo>
                    <a:lnTo>
                      <a:pt x="18" y="47"/>
                    </a:lnTo>
                    <a:lnTo>
                      <a:pt x="20" y="43"/>
                    </a:lnTo>
                    <a:lnTo>
                      <a:pt x="16" y="38"/>
                    </a:lnTo>
                    <a:lnTo>
                      <a:pt x="13" y="37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3" y="17"/>
                    </a:lnTo>
                    <a:lnTo>
                      <a:pt x="11" y="15"/>
                    </a:lnTo>
                    <a:lnTo>
                      <a:pt x="11" y="10"/>
                    </a:lnTo>
                    <a:lnTo>
                      <a:pt x="20" y="8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8" y="5"/>
                    </a:lnTo>
                    <a:lnTo>
                      <a:pt x="48" y="7"/>
                    </a:lnTo>
                    <a:lnTo>
                      <a:pt x="50" y="5"/>
                    </a:lnTo>
                    <a:lnTo>
                      <a:pt x="50" y="2"/>
                    </a:lnTo>
                    <a:lnTo>
                      <a:pt x="58" y="2"/>
                    </a:lnTo>
                    <a:lnTo>
                      <a:pt x="65" y="2"/>
                    </a:lnTo>
                    <a:lnTo>
                      <a:pt x="63" y="3"/>
                    </a:lnTo>
                    <a:lnTo>
                      <a:pt x="65" y="5"/>
                    </a:lnTo>
                    <a:lnTo>
                      <a:pt x="73" y="8"/>
                    </a:lnTo>
                    <a:lnTo>
                      <a:pt x="78" y="2"/>
                    </a:lnTo>
                    <a:lnTo>
                      <a:pt x="81" y="0"/>
                    </a:lnTo>
                    <a:lnTo>
                      <a:pt x="88" y="5"/>
                    </a:lnTo>
                    <a:lnTo>
                      <a:pt x="98" y="8"/>
                    </a:lnTo>
                    <a:lnTo>
                      <a:pt x="101" y="8"/>
                    </a:lnTo>
                    <a:lnTo>
                      <a:pt x="103" y="10"/>
                    </a:lnTo>
                    <a:lnTo>
                      <a:pt x="108" y="10"/>
                    </a:lnTo>
                    <a:lnTo>
                      <a:pt x="113" y="13"/>
                    </a:lnTo>
                    <a:lnTo>
                      <a:pt x="114" y="17"/>
                    </a:lnTo>
                    <a:lnTo>
                      <a:pt x="123" y="20"/>
                    </a:lnTo>
                    <a:lnTo>
                      <a:pt x="128" y="18"/>
                    </a:lnTo>
                    <a:lnTo>
                      <a:pt x="133" y="15"/>
                    </a:lnTo>
                    <a:lnTo>
                      <a:pt x="136" y="17"/>
                    </a:lnTo>
                    <a:lnTo>
                      <a:pt x="139" y="18"/>
                    </a:lnTo>
                    <a:lnTo>
                      <a:pt x="144" y="18"/>
                    </a:lnTo>
                    <a:lnTo>
                      <a:pt x="144" y="20"/>
                    </a:lnTo>
                    <a:lnTo>
                      <a:pt x="143" y="27"/>
                    </a:lnTo>
                    <a:lnTo>
                      <a:pt x="144" y="32"/>
                    </a:lnTo>
                    <a:lnTo>
                      <a:pt x="144" y="37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9" y="53"/>
                    </a:lnTo>
                    <a:lnTo>
                      <a:pt x="144" y="56"/>
                    </a:lnTo>
                    <a:lnTo>
                      <a:pt x="136" y="66"/>
                    </a:lnTo>
                    <a:lnTo>
                      <a:pt x="136" y="71"/>
                    </a:lnTo>
                    <a:lnTo>
                      <a:pt x="134" y="75"/>
                    </a:lnTo>
                    <a:lnTo>
                      <a:pt x="134" y="80"/>
                    </a:lnTo>
                    <a:lnTo>
                      <a:pt x="133" y="83"/>
                    </a:lnTo>
                    <a:lnTo>
                      <a:pt x="133" y="91"/>
                    </a:lnTo>
                    <a:lnTo>
                      <a:pt x="129" y="93"/>
                    </a:lnTo>
                    <a:lnTo>
                      <a:pt x="129" y="95"/>
                    </a:lnTo>
                    <a:lnTo>
                      <a:pt x="133" y="98"/>
                    </a:lnTo>
                    <a:lnTo>
                      <a:pt x="136" y="106"/>
                    </a:lnTo>
                    <a:lnTo>
                      <a:pt x="138" y="111"/>
                    </a:lnTo>
                    <a:lnTo>
                      <a:pt x="143" y="113"/>
                    </a:lnTo>
                    <a:lnTo>
                      <a:pt x="144" y="116"/>
                    </a:lnTo>
                    <a:lnTo>
                      <a:pt x="144" y="123"/>
                    </a:lnTo>
                    <a:lnTo>
                      <a:pt x="141" y="123"/>
                    </a:lnTo>
                    <a:lnTo>
                      <a:pt x="136" y="123"/>
                    </a:lnTo>
                    <a:lnTo>
                      <a:pt x="136" y="125"/>
                    </a:lnTo>
                    <a:lnTo>
                      <a:pt x="131" y="120"/>
                    </a:lnTo>
                    <a:lnTo>
                      <a:pt x="128" y="121"/>
                    </a:lnTo>
                    <a:lnTo>
                      <a:pt x="126" y="126"/>
                    </a:lnTo>
                    <a:lnTo>
                      <a:pt x="114" y="121"/>
                    </a:lnTo>
                    <a:lnTo>
                      <a:pt x="103" y="125"/>
                    </a:lnTo>
                    <a:lnTo>
                      <a:pt x="71" y="125"/>
                    </a:lnTo>
                    <a:lnTo>
                      <a:pt x="61" y="126"/>
                    </a:lnTo>
                    <a:lnTo>
                      <a:pt x="61" y="128"/>
                    </a:lnTo>
                    <a:lnTo>
                      <a:pt x="45" y="133"/>
                    </a:lnTo>
                    <a:lnTo>
                      <a:pt x="43" y="136"/>
                    </a:lnTo>
                    <a:lnTo>
                      <a:pt x="38" y="136"/>
                    </a:lnTo>
                    <a:lnTo>
                      <a:pt x="30" y="143"/>
                    </a:lnTo>
                    <a:lnTo>
                      <a:pt x="26" y="1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1" name="Freeform 115"/>
              <p:cNvSpPr>
                <a:spLocks/>
              </p:cNvSpPr>
              <p:nvPr/>
            </p:nvSpPr>
            <p:spPr bwMode="auto">
              <a:xfrm>
                <a:off x="6377555" y="3138978"/>
                <a:ext cx="55653" cy="75744"/>
              </a:xfrm>
              <a:custGeom>
                <a:avLst/>
                <a:gdLst/>
                <a:ahLst/>
                <a:cxnLst>
                  <a:cxn ang="0">
                    <a:pos x="7" y="136"/>
                  </a:cxn>
                  <a:cxn ang="0">
                    <a:pos x="15" y="136"/>
                  </a:cxn>
                  <a:cxn ang="0">
                    <a:pos x="14" y="126"/>
                  </a:cxn>
                  <a:cxn ang="0">
                    <a:pos x="7" y="119"/>
                  </a:cxn>
                  <a:cxn ang="0">
                    <a:pos x="0" y="108"/>
                  </a:cxn>
                  <a:cxn ang="0">
                    <a:pos x="4" y="104"/>
                  </a:cxn>
                  <a:cxn ang="0">
                    <a:pos x="5" y="93"/>
                  </a:cxn>
                  <a:cxn ang="0">
                    <a:pos x="7" y="84"/>
                  </a:cxn>
                  <a:cxn ang="0">
                    <a:pos x="15" y="69"/>
                  </a:cxn>
                  <a:cxn ang="0">
                    <a:pos x="20" y="63"/>
                  </a:cxn>
                  <a:cxn ang="0">
                    <a:pos x="20" y="51"/>
                  </a:cxn>
                  <a:cxn ang="0">
                    <a:pos x="15" y="45"/>
                  </a:cxn>
                  <a:cxn ang="0">
                    <a:pos x="15" y="33"/>
                  </a:cxn>
                  <a:cxn ang="0">
                    <a:pos x="12" y="20"/>
                  </a:cxn>
                  <a:cxn ang="0">
                    <a:pos x="9" y="10"/>
                  </a:cxn>
                  <a:cxn ang="0">
                    <a:pos x="17" y="5"/>
                  </a:cxn>
                  <a:cxn ang="0">
                    <a:pos x="37" y="5"/>
                  </a:cxn>
                  <a:cxn ang="0">
                    <a:pos x="59" y="3"/>
                  </a:cxn>
                  <a:cxn ang="0">
                    <a:pos x="70" y="0"/>
                  </a:cxn>
                  <a:cxn ang="0">
                    <a:pos x="74" y="6"/>
                  </a:cxn>
                  <a:cxn ang="0">
                    <a:pos x="77" y="11"/>
                  </a:cxn>
                  <a:cxn ang="0">
                    <a:pos x="85" y="20"/>
                  </a:cxn>
                  <a:cxn ang="0">
                    <a:pos x="88" y="28"/>
                  </a:cxn>
                  <a:cxn ang="0">
                    <a:pos x="90" y="38"/>
                  </a:cxn>
                  <a:cxn ang="0">
                    <a:pos x="93" y="46"/>
                  </a:cxn>
                  <a:cxn ang="0">
                    <a:pos x="92" y="53"/>
                  </a:cxn>
                  <a:cxn ang="0">
                    <a:pos x="93" y="58"/>
                  </a:cxn>
                  <a:cxn ang="0">
                    <a:pos x="93" y="65"/>
                  </a:cxn>
                  <a:cxn ang="0">
                    <a:pos x="95" y="74"/>
                  </a:cxn>
                  <a:cxn ang="0">
                    <a:pos x="93" y="93"/>
                  </a:cxn>
                  <a:cxn ang="0">
                    <a:pos x="92" y="101"/>
                  </a:cxn>
                  <a:cxn ang="0">
                    <a:pos x="95" y="113"/>
                  </a:cxn>
                  <a:cxn ang="0">
                    <a:pos x="100" y="116"/>
                  </a:cxn>
                  <a:cxn ang="0">
                    <a:pos x="90" y="121"/>
                  </a:cxn>
                  <a:cxn ang="0">
                    <a:pos x="65" y="136"/>
                  </a:cxn>
                  <a:cxn ang="0">
                    <a:pos x="30" y="146"/>
                  </a:cxn>
                  <a:cxn ang="0">
                    <a:pos x="7" y="141"/>
                  </a:cxn>
                </a:cxnLst>
                <a:rect l="0" t="0" r="r" b="b"/>
                <a:pathLst>
                  <a:path w="103" h="146">
                    <a:moveTo>
                      <a:pt x="7" y="138"/>
                    </a:moveTo>
                    <a:lnTo>
                      <a:pt x="7" y="136"/>
                    </a:lnTo>
                    <a:lnTo>
                      <a:pt x="12" y="136"/>
                    </a:lnTo>
                    <a:lnTo>
                      <a:pt x="15" y="136"/>
                    </a:lnTo>
                    <a:lnTo>
                      <a:pt x="15" y="129"/>
                    </a:lnTo>
                    <a:lnTo>
                      <a:pt x="14" y="126"/>
                    </a:lnTo>
                    <a:lnTo>
                      <a:pt x="9" y="124"/>
                    </a:lnTo>
                    <a:lnTo>
                      <a:pt x="7" y="119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06"/>
                    </a:lnTo>
                    <a:lnTo>
                      <a:pt x="4" y="104"/>
                    </a:lnTo>
                    <a:lnTo>
                      <a:pt x="4" y="96"/>
                    </a:lnTo>
                    <a:lnTo>
                      <a:pt x="5" y="93"/>
                    </a:lnTo>
                    <a:lnTo>
                      <a:pt x="5" y="88"/>
                    </a:lnTo>
                    <a:lnTo>
                      <a:pt x="7" y="84"/>
                    </a:lnTo>
                    <a:lnTo>
                      <a:pt x="7" y="79"/>
                    </a:lnTo>
                    <a:lnTo>
                      <a:pt x="15" y="69"/>
                    </a:lnTo>
                    <a:lnTo>
                      <a:pt x="20" y="66"/>
                    </a:lnTo>
                    <a:lnTo>
                      <a:pt x="20" y="63"/>
                    </a:lnTo>
                    <a:lnTo>
                      <a:pt x="22" y="58"/>
                    </a:lnTo>
                    <a:lnTo>
                      <a:pt x="20" y="51"/>
                    </a:lnTo>
                    <a:lnTo>
                      <a:pt x="15" y="50"/>
                    </a:lnTo>
                    <a:lnTo>
                      <a:pt x="15" y="45"/>
                    </a:lnTo>
                    <a:lnTo>
                      <a:pt x="14" y="40"/>
                    </a:lnTo>
                    <a:lnTo>
                      <a:pt x="15" y="33"/>
                    </a:lnTo>
                    <a:lnTo>
                      <a:pt x="15" y="25"/>
                    </a:lnTo>
                    <a:lnTo>
                      <a:pt x="12" y="20"/>
                    </a:lnTo>
                    <a:lnTo>
                      <a:pt x="10" y="18"/>
                    </a:lnTo>
                    <a:lnTo>
                      <a:pt x="9" y="10"/>
                    </a:lnTo>
                    <a:lnTo>
                      <a:pt x="9" y="5"/>
                    </a:lnTo>
                    <a:lnTo>
                      <a:pt x="17" y="5"/>
                    </a:lnTo>
                    <a:lnTo>
                      <a:pt x="35" y="5"/>
                    </a:lnTo>
                    <a:lnTo>
                      <a:pt x="37" y="5"/>
                    </a:lnTo>
                    <a:lnTo>
                      <a:pt x="50" y="5"/>
                    </a:lnTo>
                    <a:lnTo>
                      <a:pt x="59" y="3"/>
                    </a:lnTo>
                    <a:lnTo>
                      <a:pt x="65" y="3"/>
                    </a:lnTo>
                    <a:lnTo>
                      <a:pt x="70" y="0"/>
                    </a:lnTo>
                    <a:lnTo>
                      <a:pt x="72" y="1"/>
                    </a:lnTo>
                    <a:lnTo>
                      <a:pt x="74" y="6"/>
                    </a:lnTo>
                    <a:lnTo>
                      <a:pt x="77" y="8"/>
                    </a:lnTo>
                    <a:lnTo>
                      <a:pt x="77" y="11"/>
                    </a:lnTo>
                    <a:lnTo>
                      <a:pt x="82" y="16"/>
                    </a:lnTo>
                    <a:lnTo>
                      <a:pt x="85" y="20"/>
                    </a:lnTo>
                    <a:lnTo>
                      <a:pt x="90" y="23"/>
                    </a:lnTo>
                    <a:lnTo>
                      <a:pt x="88" y="28"/>
                    </a:lnTo>
                    <a:lnTo>
                      <a:pt x="88" y="36"/>
                    </a:lnTo>
                    <a:lnTo>
                      <a:pt x="90" y="38"/>
                    </a:lnTo>
                    <a:lnTo>
                      <a:pt x="93" y="38"/>
                    </a:lnTo>
                    <a:lnTo>
                      <a:pt x="93" y="46"/>
                    </a:lnTo>
                    <a:lnTo>
                      <a:pt x="92" y="50"/>
                    </a:lnTo>
                    <a:lnTo>
                      <a:pt x="92" y="53"/>
                    </a:lnTo>
                    <a:lnTo>
                      <a:pt x="93" y="55"/>
                    </a:lnTo>
                    <a:lnTo>
                      <a:pt x="93" y="58"/>
                    </a:lnTo>
                    <a:lnTo>
                      <a:pt x="92" y="61"/>
                    </a:lnTo>
                    <a:lnTo>
                      <a:pt x="93" y="65"/>
                    </a:lnTo>
                    <a:lnTo>
                      <a:pt x="93" y="71"/>
                    </a:lnTo>
                    <a:lnTo>
                      <a:pt x="95" y="74"/>
                    </a:lnTo>
                    <a:lnTo>
                      <a:pt x="95" y="88"/>
                    </a:lnTo>
                    <a:lnTo>
                      <a:pt x="93" y="93"/>
                    </a:lnTo>
                    <a:lnTo>
                      <a:pt x="93" y="96"/>
                    </a:lnTo>
                    <a:lnTo>
                      <a:pt x="92" y="101"/>
                    </a:lnTo>
                    <a:lnTo>
                      <a:pt x="93" y="106"/>
                    </a:lnTo>
                    <a:lnTo>
                      <a:pt x="95" y="113"/>
                    </a:lnTo>
                    <a:lnTo>
                      <a:pt x="98" y="113"/>
                    </a:lnTo>
                    <a:lnTo>
                      <a:pt x="100" y="116"/>
                    </a:lnTo>
                    <a:lnTo>
                      <a:pt x="103" y="119"/>
                    </a:lnTo>
                    <a:lnTo>
                      <a:pt x="90" y="121"/>
                    </a:lnTo>
                    <a:lnTo>
                      <a:pt x="78" y="126"/>
                    </a:lnTo>
                    <a:lnTo>
                      <a:pt x="65" y="136"/>
                    </a:lnTo>
                    <a:lnTo>
                      <a:pt x="50" y="136"/>
                    </a:lnTo>
                    <a:lnTo>
                      <a:pt x="30" y="146"/>
                    </a:lnTo>
                    <a:lnTo>
                      <a:pt x="20" y="143"/>
                    </a:lnTo>
                    <a:lnTo>
                      <a:pt x="7" y="141"/>
                    </a:lnTo>
                    <a:lnTo>
                      <a:pt x="7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2" name="Freeform 116"/>
              <p:cNvSpPr>
                <a:spLocks/>
              </p:cNvSpPr>
              <p:nvPr/>
            </p:nvSpPr>
            <p:spPr bwMode="auto">
              <a:xfrm>
                <a:off x="6416084" y="3138978"/>
                <a:ext cx="26756" cy="62255"/>
              </a:xfrm>
              <a:custGeom>
                <a:avLst/>
                <a:gdLst/>
                <a:ahLst/>
                <a:cxnLst>
                  <a:cxn ang="0">
                    <a:pos x="28" y="6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5" y="11"/>
                  </a:cxn>
                  <a:cxn ang="0">
                    <a:pos x="10" y="16"/>
                  </a:cxn>
                  <a:cxn ang="0">
                    <a:pos x="13" y="20"/>
                  </a:cxn>
                  <a:cxn ang="0">
                    <a:pos x="18" y="23"/>
                  </a:cxn>
                  <a:cxn ang="0">
                    <a:pos x="16" y="28"/>
                  </a:cxn>
                  <a:cxn ang="0">
                    <a:pos x="16" y="36"/>
                  </a:cxn>
                  <a:cxn ang="0">
                    <a:pos x="18" y="38"/>
                  </a:cxn>
                  <a:cxn ang="0">
                    <a:pos x="21" y="38"/>
                  </a:cxn>
                  <a:cxn ang="0">
                    <a:pos x="21" y="46"/>
                  </a:cxn>
                  <a:cxn ang="0">
                    <a:pos x="20" y="50"/>
                  </a:cxn>
                  <a:cxn ang="0">
                    <a:pos x="20" y="53"/>
                  </a:cxn>
                  <a:cxn ang="0">
                    <a:pos x="21" y="55"/>
                  </a:cxn>
                  <a:cxn ang="0">
                    <a:pos x="21" y="58"/>
                  </a:cxn>
                  <a:cxn ang="0">
                    <a:pos x="20" y="61"/>
                  </a:cxn>
                  <a:cxn ang="0">
                    <a:pos x="21" y="65"/>
                  </a:cxn>
                  <a:cxn ang="0">
                    <a:pos x="21" y="71"/>
                  </a:cxn>
                  <a:cxn ang="0">
                    <a:pos x="23" y="74"/>
                  </a:cxn>
                  <a:cxn ang="0">
                    <a:pos x="23" y="88"/>
                  </a:cxn>
                  <a:cxn ang="0">
                    <a:pos x="21" y="93"/>
                  </a:cxn>
                  <a:cxn ang="0">
                    <a:pos x="21" y="96"/>
                  </a:cxn>
                  <a:cxn ang="0">
                    <a:pos x="20" y="101"/>
                  </a:cxn>
                  <a:cxn ang="0">
                    <a:pos x="21" y="106"/>
                  </a:cxn>
                  <a:cxn ang="0">
                    <a:pos x="23" y="113"/>
                  </a:cxn>
                  <a:cxn ang="0">
                    <a:pos x="26" y="113"/>
                  </a:cxn>
                  <a:cxn ang="0">
                    <a:pos x="28" y="116"/>
                  </a:cxn>
                  <a:cxn ang="0">
                    <a:pos x="31" y="119"/>
                  </a:cxn>
                  <a:cxn ang="0">
                    <a:pos x="33" y="119"/>
                  </a:cxn>
                  <a:cxn ang="0">
                    <a:pos x="46" y="111"/>
                  </a:cxn>
                  <a:cxn ang="0">
                    <a:pos x="48" y="113"/>
                  </a:cxn>
                  <a:cxn ang="0">
                    <a:pos x="50" y="108"/>
                  </a:cxn>
                  <a:cxn ang="0">
                    <a:pos x="46" y="103"/>
                  </a:cxn>
                  <a:cxn ang="0">
                    <a:pos x="46" y="96"/>
                  </a:cxn>
                  <a:cxn ang="0">
                    <a:pos x="45" y="91"/>
                  </a:cxn>
                  <a:cxn ang="0">
                    <a:pos x="45" y="65"/>
                  </a:cxn>
                  <a:cxn ang="0">
                    <a:pos x="45" y="61"/>
                  </a:cxn>
                  <a:cxn ang="0">
                    <a:pos x="48" y="58"/>
                  </a:cxn>
                  <a:cxn ang="0">
                    <a:pos x="48" y="53"/>
                  </a:cxn>
                  <a:cxn ang="0">
                    <a:pos x="46" y="50"/>
                  </a:cxn>
                  <a:cxn ang="0">
                    <a:pos x="46" y="43"/>
                  </a:cxn>
                  <a:cxn ang="0">
                    <a:pos x="45" y="35"/>
                  </a:cxn>
                  <a:cxn ang="0">
                    <a:pos x="40" y="23"/>
                  </a:cxn>
                  <a:cxn ang="0">
                    <a:pos x="36" y="21"/>
                  </a:cxn>
                  <a:cxn ang="0">
                    <a:pos x="33" y="18"/>
                  </a:cxn>
                  <a:cxn ang="0">
                    <a:pos x="28" y="16"/>
                  </a:cxn>
                  <a:cxn ang="0">
                    <a:pos x="26" y="10"/>
                  </a:cxn>
                  <a:cxn ang="0">
                    <a:pos x="28" y="6"/>
                  </a:cxn>
                </a:cxnLst>
                <a:rect l="0" t="0" r="r" b="b"/>
                <a:pathLst>
                  <a:path w="50" h="119">
                    <a:moveTo>
                      <a:pt x="28" y="6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6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10" y="16"/>
                    </a:lnTo>
                    <a:lnTo>
                      <a:pt x="13" y="20"/>
                    </a:lnTo>
                    <a:lnTo>
                      <a:pt x="18" y="23"/>
                    </a:lnTo>
                    <a:lnTo>
                      <a:pt x="16" y="28"/>
                    </a:lnTo>
                    <a:lnTo>
                      <a:pt x="16" y="36"/>
                    </a:lnTo>
                    <a:lnTo>
                      <a:pt x="18" y="38"/>
                    </a:lnTo>
                    <a:lnTo>
                      <a:pt x="21" y="38"/>
                    </a:lnTo>
                    <a:lnTo>
                      <a:pt x="21" y="46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5"/>
                    </a:lnTo>
                    <a:lnTo>
                      <a:pt x="21" y="58"/>
                    </a:lnTo>
                    <a:lnTo>
                      <a:pt x="20" y="61"/>
                    </a:lnTo>
                    <a:lnTo>
                      <a:pt x="21" y="65"/>
                    </a:lnTo>
                    <a:lnTo>
                      <a:pt x="21" y="71"/>
                    </a:lnTo>
                    <a:lnTo>
                      <a:pt x="23" y="74"/>
                    </a:lnTo>
                    <a:lnTo>
                      <a:pt x="23" y="88"/>
                    </a:lnTo>
                    <a:lnTo>
                      <a:pt x="21" y="93"/>
                    </a:lnTo>
                    <a:lnTo>
                      <a:pt x="21" y="96"/>
                    </a:lnTo>
                    <a:lnTo>
                      <a:pt x="20" y="101"/>
                    </a:lnTo>
                    <a:lnTo>
                      <a:pt x="21" y="106"/>
                    </a:lnTo>
                    <a:lnTo>
                      <a:pt x="23" y="113"/>
                    </a:lnTo>
                    <a:lnTo>
                      <a:pt x="26" y="113"/>
                    </a:lnTo>
                    <a:lnTo>
                      <a:pt x="28" y="116"/>
                    </a:lnTo>
                    <a:lnTo>
                      <a:pt x="31" y="119"/>
                    </a:lnTo>
                    <a:lnTo>
                      <a:pt x="33" y="119"/>
                    </a:lnTo>
                    <a:lnTo>
                      <a:pt x="46" y="111"/>
                    </a:lnTo>
                    <a:lnTo>
                      <a:pt x="48" y="113"/>
                    </a:lnTo>
                    <a:lnTo>
                      <a:pt x="50" y="108"/>
                    </a:lnTo>
                    <a:lnTo>
                      <a:pt x="46" y="103"/>
                    </a:lnTo>
                    <a:lnTo>
                      <a:pt x="46" y="96"/>
                    </a:lnTo>
                    <a:lnTo>
                      <a:pt x="45" y="91"/>
                    </a:lnTo>
                    <a:lnTo>
                      <a:pt x="45" y="65"/>
                    </a:lnTo>
                    <a:lnTo>
                      <a:pt x="45" y="61"/>
                    </a:lnTo>
                    <a:lnTo>
                      <a:pt x="48" y="58"/>
                    </a:lnTo>
                    <a:lnTo>
                      <a:pt x="48" y="53"/>
                    </a:lnTo>
                    <a:lnTo>
                      <a:pt x="46" y="50"/>
                    </a:lnTo>
                    <a:lnTo>
                      <a:pt x="46" y="43"/>
                    </a:lnTo>
                    <a:lnTo>
                      <a:pt x="45" y="35"/>
                    </a:lnTo>
                    <a:lnTo>
                      <a:pt x="40" y="23"/>
                    </a:lnTo>
                    <a:lnTo>
                      <a:pt x="36" y="21"/>
                    </a:lnTo>
                    <a:lnTo>
                      <a:pt x="33" y="18"/>
                    </a:lnTo>
                    <a:lnTo>
                      <a:pt x="28" y="16"/>
                    </a:lnTo>
                    <a:lnTo>
                      <a:pt x="26" y="10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3" name="Freeform 117"/>
              <p:cNvSpPr>
                <a:spLocks/>
              </p:cNvSpPr>
              <p:nvPr/>
            </p:nvSpPr>
            <p:spPr bwMode="auto">
              <a:xfrm>
                <a:off x="6429998" y="3123414"/>
                <a:ext cx="40669" cy="74706"/>
              </a:xfrm>
              <a:custGeom>
                <a:avLst/>
                <a:gdLst/>
                <a:ahLst/>
                <a:cxnLst>
                  <a:cxn ang="0">
                    <a:pos x="35" y="11"/>
                  </a:cxn>
                  <a:cxn ang="0">
                    <a:pos x="27" y="16"/>
                  </a:cxn>
                  <a:cxn ang="0">
                    <a:pos x="15" y="20"/>
                  </a:cxn>
                  <a:cxn ang="0">
                    <a:pos x="12" y="26"/>
                  </a:cxn>
                  <a:cxn ang="0">
                    <a:pos x="9" y="33"/>
                  </a:cxn>
                  <a:cxn ang="0">
                    <a:pos x="0" y="40"/>
                  </a:cxn>
                  <a:cxn ang="0">
                    <a:pos x="7" y="48"/>
                  </a:cxn>
                  <a:cxn ang="0">
                    <a:pos x="14" y="53"/>
                  </a:cxn>
                  <a:cxn ang="0">
                    <a:pos x="20" y="73"/>
                  </a:cxn>
                  <a:cxn ang="0">
                    <a:pos x="22" y="83"/>
                  </a:cxn>
                  <a:cxn ang="0">
                    <a:pos x="19" y="91"/>
                  </a:cxn>
                  <a:cxn ang="0">
                    <a:pos x="19" y="121"/>
                  </a:cxn>
                  <a:cxn ang="0">
                    <a:pos x="20" y="133"/>
                  </a:cxn>
                  <a:cxn ang="0">
                    <a:pos x="22" y="143"/>
                  </a:cxn>
                  <a:cxn ang="0">
                    <a:pos x="49" y="138"/>
                  </a:cxn>
                  <a:cxn ang="0">
                    <a:pos x="49" y="134"/>
                  </a:cxn>
                  <a:cxn ang="0">
                    <a:pos x="49" y="119"/>
                  </a:cxn>
                  <a:cxn ang="0">
                    <a:pos x="47" y="106"/>
                  </a:cxn>
                  <a:cxn ang="0">
                    <a:pos x="49" y="101"/>
                  </a:cxn>
                  <a:cxn ang="0">
                    <a:pos x="47" y="98"/>
                  </a:cxn>
                  <a:cxn ang="0">
                    <a:pos x="47" y="93"/>
                  </a:cxn>
                  <a:cxn ang="0">
                    <a:pos x="47" y="85"/>
                  </a:cxn>
                  <a:cxn ang="0">
                    <a:pos x="49" y="78"/>
                  </a:cxn>
                  <a:cxn ang="0">
                    <a:pos x="55" y="76"/>
                  </a:cxn>
                  <a:cxn ang="0">
                    <a:pos x="60" y="71"/>
                  </a:cxn>
                  <a:cxn ang="0">
                    <a:pos x="65" y="61"/>
                  </a:cxn>
                  <a:cxn ang="0">
                    <a:pos x="72" y="60"/>
                  </a:cxn>
                  <a:cxn ang="0">
                    <a:pos x="67" y="53"/>
                  </a:cxn>
                  <a:cxn ang="0">
                    <a:pos x="70" y="48"/>
                  </a:cxn>
                  <a:cxn ang="0">
                    <a:pos x="77" y="45"/>
                  </a:cxn>
                  <a:cxn ang="0">
                    <a:pos x="74" y="31"/>
                  </a:cxn>
                  <a:cxn ang="0">
                    <a:pos x="65" y="23"/>
                  </a:cxn>
                  <a:cxn ang="0">
                    <a:pos x="67" y="18"/>
                  </a:cxn>
                  <a:cxn ang="0">
                    <a:pos x="57" y="11"/>
                  </a:cxn>
                  <a:cxn ang="0">
                    <a:pos x="44" y="0"/>
                  </a:cxn>
                  <a:cxn ang="0">
                    <a:pos x="44" y="6"/>
                  </a:cxn>
                  <a:cxn ang="0">
                    <a:pos x="35" y="8"/>
                  </a:cxn>
                </a:cxnLst>
                <a:rect l="0" t="0" r="r" b="b"/>
                <a:pathLst>
                  <a:path w="77" h="143">
                    <a:moveTo>
                      <a:pt x="35" y="8"/>
                    </a:moveTo>
                    <a:lnTo>
                      <a:pt x="35" y="11"/>
                    </a:lnTo>
                    <a:lnTo>
                      <a:pt x="30" y="16"/>
                    </a:lnTo>
                    <a:lnTo>
                      <a:pt x="27" y="16"/>
                    </a:lnTo>
                    <a:lnTo>
                      <a:pt x="19" y="21"/>
                    </a:lnTo>
                    <a:lnTo>
                      <a:pt x="15" y="20"/>
                    </a:lnTo>
                    <a:lnTo>
                      <a:pt x="10" y="21"/>
                    </a:lnTo>
                    <a:lnTo>
                      <a:pt x="12" y="26"/>
                    </a:lnTo>
                    <a:lnTo>
                      <a:pt x="7" y="28"/>
                    </a:lnTo>
                    <a:lnTo>
                      <a:pt x="9" y="33"/>
                    </a:lnTo>
                    <a:lnTo>
                      <a:pt x="2" y="35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7" y="48"/>
                    </a:lnTo>
                    <a:lnTo>
                      <a:pt x="10" y="51"/>
                    </a:lnTo>
                    <a:lnTo>
                      <a:pt x="14" y="53"/>
                    </a:lnTo>
                    <a:lnTo>
                      <a:pt x="19" y="65"/>
                    </a:lnTo>
                    <a:lnTo>
                      <a:pt x="20" y="73"/>
                    </a:lnTo>
                    <a:lnTo>
                      <a:pt x="20" y="80"/>
                    </a:lnTo>
                    <a:lnTo>
                      <a:pt x="22" y="83"/>
                    </a:lnTo>
                    <a:lnTo>
                      <a:pt x="22" y="88"/>
                    </a:lnTo>
                    <a:lnTo>
                      <a:pt x="19" y="91"/>
                    </a:lnTo>
                    <a:lnTo>
                      <a:pt x="19" y="95"/>
                    </a:lnTo>
                    <a:lnTo>
                      <a:pt x="19" y="121"/>
                    </a:lnTo>
                    <a:lnTo>
                      <a:pt x="20" y="126"/>
                    </a:lnTo>
                    <a:lnTo>
                      <a:pt x="20" y="133"/>
                    </a:lnTo>
                    <a:lnTo>
                      <a:pt x="24" y="138"/>
                    </a:lnTo>
                    <a:lnTo>
                      <a:pt x="22" y="143"/>
                    </a:lnTo>
                    <a:lnTo>
                      <a:pt x="30" y="143"/>
                    </a:lnTo>
                    <a:lnTo>
                      <a:pt x="49" y="138"/>
                    </a:lnTo>
                    <a:lnTo>
                      <a:pt x="49" y="138"/>
                    </a:lnTo>
                    <a:lnTo>
                      <a:pt x="49" y="134"/>
                    </a:lnTo>
                    <a:lnTo>
                      <a:pt x="49" y="123"/>
                    </a:lnTo>
                    <a:lnTo>
                      <a:pt x="49" y="119"/>
                    </a:lnTo>
                    <a:lnTo>
                      <a:pt x="49" y="116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9" y="101"/>
                    </a:lnTo>
                    <a:lnTo>
                      <a:pt x="47" y="99"/>
                    </a:lnTo>
                    <a:lnTo>
                      <a:pt x="47" y="98"/>
                    </a:lnTo>
                    <a:lnTo>
                      <a:pt x="47" y="95"/>
                    </a:lnTo>
                    <a:lnTo>
                      <a:pt x="47" y="93"/>
                    </a:lnTo>
                    <a:lnTo>
                      <a:pt x="47" y="88"/>
                    </a:lnTo>
                    <a:lnTo>
                      <a:pt x="47" y="85"/>
                    </a:lnTo>
                    <a:lnTo>
                      <a:pt x="47" y="81"/>
                    </a:lnTo>
                    <a:lnTo>
                      <a:pt x="49" y="78"/>
                    </a:lnTo>
                    <a:lnTo>
                      <a:pt x="54" y="76"/>
                    </a:lnTo>
                    <a:lnTo>
                      <a:pt x="55" y="76"/>
                    </a:lnTo>
                    <a:lnTo>
                      <a:pt x="59" y="75"/>
                    </a:lnTo>
                    <a:lnTo>
                      <a:pt x="60" y="71"/>
                    </a:lnTo>
                    <a:lnTo>
                      <a:pt x="64" y="65"/>
                    </a:lnTo>
                    <a:lnTo>
                      <a:pt x="65" y="61"/>
                    </a:lnTo>
                    <a:lnTo>
                      <a:pt x="69" y="60"/>
                    </a:lnTo>
                    <a:lnTo>
                      <a:pt x="72" y="60"/>
                    </a:lnTo>
                    <a:lnTo>
                      <a:pt x="74" y="58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8"/>
                    </a:lnTo>
                    <a:lnTo>
                      <a:pt x="75" y="48"/>
                    </a:lnTo>
                    <a:lnTo>
                      <a:pt x="77" y="45"/>
                    </a:lnTo>
                    <a:lnTo>
                      <a:pt x="74" y="36"/>
                    </a:lnTo>
                    <a:lnTo>
                      <a:pt x="74" y="31"/>
                    </a:lnTo>
                    <a:lnTo>
                      <a:pt x="67" y="26"/>
                    </a:lnTo>
                    <a:lnTo>
                      <a:pt x="65" y="23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2" y="11"/>
                    </a:lnTo>
                    <a:lnTo>
                      <a:pt x="57" y="11"/>
                    </a:lnTo>
                    <a:lnTo>
                      <a:pt x="52" y="5"/>
                    </a:lnTo>
                    <a:lnTo>
                      <a:pt x="44" y="0"/>
                    </a:lnTo>
                    <a:lnTo>
                      <a:pt x="42" y="3"/>
                    </a:lnTo>
                    <a:lnTo>
                      <a:pt x="44" y="6"/>
                    </a:lnTo>
                    <a:lnTo>
                      <a:pt x="39" y="8"/>
                    </a:lnTo>
                    <a:lnTo>
                      <a:pt x="35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4" name="Freeform 118"/>
              <p:cNvSpPr>
                <a:spLocks noEditPoints="1"/>
              </p:cNvSpPr>
              <p:nvPr/>
            </p:nvSpPr>
            <p:spPr bwMode="auto">
              <a:xfrm>
                <a:off x="6572341" y="2995791"/>
                <a:ext cx="151975" cy="188841"/>
              </a:xfrm>
              <a:custGeom>
                <a:avLst/>
                <a:gdLst/>
                <a:ahLst/>
                <a:cxnLst>
                  <a:cxn ang="0">
                    <a:pos x="283" y="90"/>
                  </a:cxn>
                  <a:cxn ang="0">
                    <a:pos x="276" y="181"/>
                  </a:cxn>
                  <a:cxn ang="0">
                    <a:pos x="261" y="181"/>
                  </a:cxn>
                  <a:cxn ang="0">
                    <a:pos x="261" y="196"/>
                  </a:cxn>
                  <a:cxn ang="0">
                    <a:pos x="246" y="208"/>
                  </a:cxn>
                  <a:cxn ang="0">
                    <a:pos x="246" y="220"/>
                  </a:cxn>
                  <a:cxn ang="0">
                    <a:pos x="244" y="226"/>
                  </a:cxn>
                  <a:cxn ang="0">
                    <a:pos x="234" y="243"/>
                  </a:cxn>
                  <a:cxn ang="0">
                    <a:pos x="244" y="246"/>
                  </a:cxn>
                  <a:cxn ang="0">
                    <a:pos x="244" y="251"/>
                  </a:cxn>
                  <a:cxn ang="0">
                    <a:pos x="248" y="261"/>
                  </a:cxn>
                  <a:cxn ang="0">
                    <a:pos x="258" y="273"/>
                  </a:cxn>
                  <a:cxn ang="0">
                    <a:pos x="258" y="281"/>
                  </a:cxn>
                  <a:cxn ang="0">
                    <a:pos x="248" y="286"/>
                  </a:cxn>
                  <a:cxn ang="0">
                    <a:pos x="231" y="291"/>
                  </a:cxn>
                  <a:cxn ang="0">
                    <a:pos x="228" y="298"/>
                  </a:cxn>
                  <a:cxn ang="0">
                    <a:pos x="219" y="304"/>
                  </a:cxn>
                  <a:cxn ang="0">
                    <a:pos x="213" y="313"/>
                  </a:cxn>
                  <a:cxn ang="0">
                    <a:pos x="211" y="323"/>
                  </a:cxn>
                  <a:cxn ang="0">
                    <a:pos x="193" y="329"/>
                  </a:cxn>
                  <a:cxn ang="0">
                    <a:pos x="176" y="328"/>
                  </a:cxn>
                  <a:cxn ang="0">
                    <a:pos x="163" y="329"/>
                  </a:cxn>
                  <a:cxn ang="0">
                    <a:pos x="170" y="338"/>
                  </a:cxn>
                  <a:cxn ang="0">
                    <a:pos x="161" y="347"/>
                  </a:cxn>
                  <a:cxn ang="0">
                    <a:pos x="135" y="354"/>
                  </a:cxn>
                  <a:cxn ang="0">
                    <a:pos x="116" y="362"/>
                  </a:cxn>
                  <a:cxn ang="0">
                    <a:pos x="110" y="352"/>
                  </a:cxn>
                  <a:cxn ang="0">
                    <a:pos x="105" y="364"/>
                  </a:cxn>
                  <a:cxn ang="0">
                    <a:pos x="90" y="366"/>
                  </a:cxn>
                  <a:cxn ang="0">
                    <a:pos x="85" y="356"/>
                  </a:cxn>
                  <a:cxn ang="0">
                    <a:pos x="73" y="341"/>
                  </a:cxn>
                  <a:cxn ang="0">
                    <a:pos x="52" y="324"/>
                  </a:cxn>
                  <a:cxn ang="0">
                    <a:pos x="48" y="318"/>
                  </a:cxn>
                  <a:cxn ang="0">
                    <a:pos x="50" y="308"/>
                  </a:cxn>
                  <a:cxn ang="0">
                    <a:pos x="60" y="308"/>
                  </a:cxn>
                  <a:cxn ang="0">
                    <a:pos x="72" y="308"/>
                  </a:cxn>
                  <a:cxn ang="0">
                    <a:pos x="83" y="311"/>
                  </a:cxn>
                  <a:cxn ang="0">
                    <a:pos x="77" y="303"/>
                  </a:cxn>
                  <a:cxn ang="0">
                    <a:pos x="67" y="291"/>
                  </a:cxn>
                  <a:cxn ang="0">
                    <a:pos x="72" y="278"/>
                  </a:cxn>
                  <a:cxn ang="0">
                    <a:pos x="70" y="271"/>
                  </a:cxn>
                  <a:cxn ang="0">
                    <a:pos x="67" y="258"/>
                  </a:cxn>
                  <a:cxn ang="0">
                    <a:pos x="58" y="246"/>
                  </a:cxn>
                  <a:cxn ang="0">
                    <a:pos x="42" y="235"/>
                  </a:cxn>
                  <a:cxn ang="0">
                    <a:pos x="32" y="198"/>
                  </a:cxn>
                  <a:cxn ang="0">
                    <a:pos x="37" y="195"/>
                  </a:cxn>
                  <a:cxn ang="0">
                    <a:pos x="77" y="123"/>
                  </a:cxn>
                  <a:cxn ang="0">
                    <a:pos x="88" y="70"/>
                  </a:cxn>
                  <a:cxn ang="0">
                    <a:pos x="73" y="45"/>
                  </a:cxn>
                  <a:cxn ang="0">
                    <a:pos x="60" y="12"/>
                  </a:cxn>
                  <a:cxn ang="0">
                    <a:pos x="4" y="241"/>
                  </a:cxn>
                </a:cxnLst>
                <a:rect l="0" t="0" r="r" b="b"/>
                <a:pathLst>
                  <a:path w="284" h="366">
                    <a:moveTo>
                      <a:pt x="60" y="12"/>
                    </a:moveTo>
                    <a:lnTo>
                      <a:pt x="87" y="0"/>
                    </a:lnTo>
                    <a:lnTo>
                      <a:pt x="283" y="90"/>
                    </a:lnTo>
                    <a:lnTo>
                      <a:pt x="284" y="178"/>
                    </a:lnTo>
                    <a:lnTo>
                      <a:pt x="279" y="178"/>
                    </a:lnTo>
                    <a:lnTo>
                      <a:pt x="276" y="181"/>
                    </a:lnTo>
                    <a:lnTo>
                      <a:pt x="271" y="180"/>
                    </a:lnTo>
                    <a:lnTo>
                      <a:pt x="266" y="180"/>
                    </a:lnTo>
                    <a:lnTo>
                      <a:pt x="261" y="181"/>
                    </a:lnTo>
                    <a:lnTo>
                      <a:pt x="261" y="188"/>
                    </a:lnTo>
                    <a:lnTo>
                      <a:pt x="263" y="190"/>
                    </a:lnTo>
                    <a:lnTo>
                      <a:pt x="261" y="196"/>
                    </a:lnTo>
                    <a:lnTo>
                      <a:pt x="253" y="205"/>
                    </a:lnTo>
                    <a:lnTo>
                      <a:pt x="249" y="205"/>
                    </a:lnTo>
                    <a:lnTo>
                      <a:pt x="246" y="208"/>
                    </a:lnTo>
                    <a:lnTo>
                      <a:pt x="246" y="211"/>
                    </a:lnTo>
                    <a:lnTo>
                      <a:pt x="249" y="215"/>
                    </a:lnTo>
                    <a:lnTo>
                      <a:pt x="246" y="220"/>
                    </a:lnTo>
                    <a:lnTo>
                      <a:pt x="241" y="221"/>
                    </a:lnTo>
                    <a:lnTo>
                      <a:pt x="241" y="225"/>
                    </a:lnTo>
                    <a:lnTo>
                      <a:pt x="244" y="226"/>
                    </a:lnTo>
                    <a:lnTo>
                      <a:pt x="246" y="231"/>
                    </a:lnTo>
                    <a:lnTo>
                      <a:pt x="243" y="235"/>
                    </a:lnTo>
                    <a:lnTo>
                      <a:pt x="234" y="243"/>
                    </a:lnTo>
                    <a:lnTo>
                      <a:pt x="234" y="248"/>
                    </a:lnTo>
                    <a:lnTo>
                      <a:pt x="238" y="249"/>
                    </a:lnTo>
                    <a:lnTo>
                      <a:pt x="244" y="246"/>
                    </a:lnTo>
                    <a:lnTo>
                      <a:pt x="248" y="246"/>
                    </a:lnTo>
                    <a:lnTo>
                      <a:pt x="248" y="249"/>
                    </a:lnTo>
                    <a:lnTo>
                      <a:pt x="244" y="251"/>
                    </a:lnTo>
                    <a:lnTo>
                      <a:pt x="248" y="254"/>
                    </a:lnTo>
                    <a:lnTo>
                      <a:pt x="246" y="256"/>
                    </a:lnTo>
                    <a:lnTo>
                      <a:pt x="248" y="261"/>
                    </a:lnTo>
                    <a:lnTo>
                      <a:pt x="248" y="266"/>
                    </a:lnTo>
                    <a:lnTo>
                      <a:pt x="249" y="269"/>
                    </a:lnTo>
                    <a:lnTo>
                      <a:pt x="258" y="273"/>
                    </a:lnTo>
                    <a:lnTo>
                      <a:pt x="261" y="276"/>
                    </a:lnTo>
                    <a:lnTo>
                      <a:pt x="258" y="279"/>
                    </a:lnTo>
                    <a:lnTo>
                      <a:pt x="258" y="281"/>
                    </a:lnTo>
                    <a:lnTo>
                      <a:pt x="258" y="284"/>
                    </a:lnTo>
                    <a:lnTo>
                      <a:pt x="251" y="288"/>
                    </a:lnTo>
                    <a:lnTo>
                      <a:pt x="248" y="286"/>
                    </a:lnTo>
                    <a:lnTo>
                      <a:pt x="243" y="286"/>
                    </a:lnTo>
                    <a:lnTo>
                      <a:pt x="238" y="288"/>
                    </a:lnTo>
                    <a:lnTo>
                      <a:pt x="231" y="291"/>
                    </a:lnTo>
                    <a:lnTo>
                      <a:pt x="231" y="294"/>
                    </a:lnTo>
                    <a:lnTo>
                      <a:pt x="231" y="298"/>
                    </a:lnTo>
                    <a:lnTo>
                      <a:pt x="228" y="298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19" y="304"/>
                    </a:lnTo>
                    <a:lnTo>
                      <a:pt x="216" y="308"/>
                    </a:lnTo>
                    <a:lnTo>
                      <a:pt x="216" y="311"/>
                    </a:lnTo>
                    <a:lnTo>
                      <a:pt x="213" y="313"/>
                    </a:lnTo>
                    <a:lnTo>
                      <a:pt x="211" y="316"/>
                    </a:lnTo>
                    <a:lnTo>
                      <a:pt x="213" y="319"/>
                    </a:lnTo>
                    <a:lnTo>
                      <a:pt x="211" y="323"/>
                    </a:lnTo>
                    <a:lnTo>
                      <a:pt x="208" y="324"/>
                    </a:lnTo>
                    <a:lnTo>
                      <a:pt x="203" y="328"/>
                    </a:lnTo>
                    <a:lnTo>
                      <a:pt x="193" y="329"/>
                    </a:lnTo>
                    <a:lnTo>
                      <a:pt x="186" y="329"/>
                    </a:lnTo>
                    <a:lnTo>
                      <a:pt x="180" y="329"/>
                    </a:lnTo>
                    <a:lnTo>
                      <a:pt x="176" y="328"/>
                    </a:lnTo>
                    <a:lnTo>
                      <a:pt x="171" y="328"/>
                    </a:lnTo>
                    <a:lnTo>
                      <a:pt x="166" y="328"/>
                    </a:lnTo>
                    <a:lnTo>
                      <a:pt x="163" y="329"/>
                    </a:lnTo>
                    <a:lnTo>
                      <a:pt x="163" y="333"/>
                    </a:lnTo>
                    <a:lnTo>
                      <a:pt x="168" y="338"/>
                    </a:lnTo>
                    <a:lnTo>
                      <a:pt x="170" y="338"/>
                    </a:lnTo>
                    <a:lnTo>
                      <a:pt x="171" y="341"/>
                    </a:lnTo>
                    <a:lnTo>
                      <a:pt x="165" y="344"/>
                    </a:lnTo>
                    <a:lnTo>
                      <a:pt x="161" y="347"/>
                    </a:lnTo>
                    <a:lnTo>
                      <a:pt x="155" y="347"/>
                    </a:lnTo>
                    <a:lnTo>
                      <a:pt x="140" y="351"/>
                    </a:lnTo>
                    <a:lnTo>
                      <a:pt x="135" y="354"/>
                    </a:lnTo>
                    <a:lnTo>
                      <a:pt x="126" y="357"/>
                    </a:lnTo>
                    <a:lnTo>
                      <a:pt x="121" y="361"/>
                    </a:lnTo>
                    <a:lnTo>
                      <a:pt x="116" y="362"/>
                    </a:lnTo>
                    <a:lnTo>
                      <a:pt x="115" y="361"/>
                    </a:lnTo>
                    <a:lnTo>
                      <a:pt x="113" y="356"/>
                    </a:lnTo>
                    <a:lnTo>
                      <a:pt x="110" y="352"/>
                    </a:lnTo>
                    <a:lnTo>
                      <a:pt x="108" y="356"/>
                    </a:lnTo>
                    <a:lnTo>
                      <a:pt x="108" y="359"/>
                    </a:lnTo>
                    <a:lnTo>
                      <a:pt x="105" y="364"/>
                    </a:lnTo>
                    <a:lnTo>
                      <a:pt x="98" y="366"/>
                    </a:lnTo>
                    <a:lnTo>
                      <a:pt x="93" y="366"/>
                    </a:lnTo>
                    <a:lnTo>
                      <a:pt x="90" y="366"/>
                    </a:lnTo>
                    <a:lnTo>
                      <a:pt x="88" y="361"/>
                    </a:lnTo>
                    <a:lnTo>
                      <a:pt x="87" y="359"/>
                    </a:lnTo>
                    <a:lnTo>
                      <a:pt x="85" y="356"/>
                    </a:lnTo>
                    <a:lnTo>
                      <a:pt x="82" y="349"/>
                    </a:lnTo>
                    <a:lnTo>
                      <a:pt x="78" y="344"/>
                    </a:lnTo>
                    <a:lnTo>
                      <a:pt x="73" y="341"/>
                    </a:lnTo>
                    <a:lnTo>
                      <a:pt x="65" y="333"/>
                    </a:lnTo>
                    <a:lnTo>
                      <a:pt x="57" y="326"/>
                    </a:lnTo>
                    <a:lnTo>
                      <a:pt x="52" y="324"/>
                    </a:lnTo>
                    <a:lnTo>
                      <a:pt x="52" y="321"/>
                    </a:lnTo>
                    <a:lnTo>
                      <a:pt x="50" y="319"/>
                    </a:lnTo>
                    <a:lnTo>
                      <a:pt x="48" y="318"/>
                    </a:lnTo>
                    <a:lnTo>
                      <a:pt x="48" y="314"/>
                    </a:lnTo>
                    <a:lnTo>
                      <a:pt x="50" y="311"/>
                    </a:lnTo>
                    <a:lnTo>
                      <a:pt x="50" y="308"/>
                    </a:lnTo>
                    <a:lnTo>
                      <a:pt x="53" y="308"/>
                    </a:lnTo>
                    <a:lnTo>
                      <a:pt x="58" y="308"/>
                    </a:lnTo>
                    <a:lnTo>
                      <a:pt x="60" y="308"/>
                    </a:lnTo>
                    <a:lnTo>
                      <a:pt x="65" y="308"/>
                    </a:lnTo>
                    <a:lnTo>
                      <a:pt x="68" y="308"/>
                    </a:lnTo>
                    <a:lnTo>
                      <a:pt x="72" y="308"/>
                    </a:lnTo>
                    <a:lnTo>
                      <a:pt x="77" y="308"/>
                    </a:lnTo>
                    <a:lnTo>
                      <a:pt x="80" y="309"/>
                    </a:lnTo>
                    <a:lnTo>
                      <a:pt x="83" y="311"/>
                    </a:lnTo>
                    <a:lnTo>
                      <a:pt x="85" y="309"/>
                    </a:lnTo>
                    <a:lnTo>
                      <a:pt x="83" y="308"/>
                    </a:lnTo>
                    <a:lnTo>
                      <a:pt x="77" y="303"/>
                    </a:lnTo>
                    <a:lnTo>
                      <a:pt x="75" y="298"/>
                    </a:lnTo>
                    <a:lnTo>
                      <a:pt x="72" y="296"/>
                    </a:lnTo>
                    <a:lnTo>
                      <a:pt x="67" y="291"/>
                    </a:lnTo>
                    <a:lnTo>
                      <a:pt x="67" y="286"/>
                    </a:lnTo>
                    <a:lnTo>
                      <a:pt x="70" y="284"/>
                    </a:lnTo>
                    <a:lnTo>
                      <a:pt x="72" y="278"/>
                    </a:lnTo>
                    <a:lnTo>
                      <a:pt x="68" y="276"/>
                    </a:lnTo>
                    <a:lnTo>
                      <a:pt x="70" y="273"/>
                    </a:lnTo>
                    <a:lnTo>
                      <a:pt x="70" y="271"/>
                    </a:lnTo>
                    <a:lnTo>
                      <a:pt x="70" y="268"/>
                    </a:lnTo>
                    <a:lnTo>
                      <a:pt x="68" y="263"/>
                    </a:lnTo>
                    <a:lnTo>
                      <a:pt x="67" y="258"/>
                    </a:lnTo>
                    <a:lnTo>
                      <a:pt x="65" y="256"/>
                    </a:lnTo>
                    <a:lnTo>
                      <a:pt x="63" y="249"/>
                    </a:lnTo>
                    <a:lnTo>
                      <a:pt x="58" y="246"/>
                    </a:lnTo>
                    <a:lnTo>
                      <a:pt x="47" y="240"/>
                    </a:lnTo>
                    <a:lnTo>
                      <a:pt x="45" y="240"/>
                    </a:lnTo>
                    <a:lnTo>
                      <a:pt x="42" y="235"/>
                    </a:lnTo>
                    <a:lnTo>
                      <a:pt x="37" y="228"/>
                    </a:lnTo>
                    <a:lnTo>
                      <a:pt x="33" y="226"/>
                    </a:lnTo>
                    <a:lnTo>
                      <a:pt x="32" y="198"/>
                    </a:lnTo>
                    <a:lnTo>
                      <a:pt x="32" y="196"/>
                    </a:lnTo>
                    <a:lnTo>
                      <a:pt x="35" y="196"/>
                    </a:lnTo>
                    <a:lnTo>
                      <a:pt x="37" y="195"/>
                    </a:lnTo>
                    <a:lnTo>
                      <a:pt x="38" y="193"/>
                    </a:lnTo>
                    <a:lnTo>
                      <a:pt x="78" y="155"/>
                    </a:lnTo>
                    <a:lnTo>
                      <a:pt x="77" y="123"/>
                    </a:lnTo>
                    <a:lnTo>
                      <a:pt x="83" y="82"/>
                    </a:lnTo>
                    <a:lnTo>
                      <a:pt x="88" y="78"/>
                    </a:lnTo>
                    <a:lnTo>
                      <a:pt x="88" y="70"/>
                    </a:lnTo>
                    <a:lnTo>
                      <a:pt x="72" y="53"/>
                    </a:lnTo>
                    <a:lnTo>
                      <a:pt x="73" y="50"/>
                    </a:lnTo>
                    <a:lnTo>
                      <a:pt x="73" y="45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60" y="12"/>
                    </a:lnTo>
                    <a:close/>
                    <a:moveTo>
                      <a:pt x="9" y="236"/>
                    </a:moveTo>
                    <a:lnTo>
                      <a:pt x="7" y="240"/>
                    </a:lnTo>
                    <a:lnTo>
                      <a:pt x="4" y="241"/>
                    </a:lnTo>
                    <a:lnTo>
                      <a:pt x="0" y="240"/>
                    </a:lnTo>
                    <a:lnTo>
                      <a:pt x="9" y="2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5" name="Freeform 119"/>
              <p:cNvSpPr>
                <a:spLocks/>
              </p:cNvSpPr>
              <p:nvPr/>
            </p:nvSpPr>
            <p:spPr bwMode="auto">
              <a:xfrm>
                <a:off x="6421436" y="2997866"/>
                <a:ext cx="197996" cy="135924"/>
              </a:xfrm>
              <a:custGeom>
                <a:avLst/>
                <a:gdLst/>
                <a:ahLst/>
                <a:cxnLst>
                  <a:cxn ang="0">
                    <a:pos x="78" y="254"/>
                  </a:cxn>
                  <a:cxn ang="0">
                    <a:pos x="68" y="248"/>
                  </a:cxn>
                  <a:cxn ang="0">
                    <a:pos x="58" y="246"/>
                  </a:cxn>
                  <a:cxn ang="0">
                    <a:pos x="55" y="251"/>
                  </a:cxn>
                  <a:cxn ang="0">
                    <a:pos x="45" y="244"/>
                  </a:cxn>
                  <a:cxn ang="0">
                    <a:pos x="48" y="238"/>
                  </a:cxn>
                  <a:cxn ang="0">
                    <a:pos x="45" y="233"/>
                  </a:cxn>
                  <a:cxn ang="0">
                    <a:pos x="31" y="236"/>
                  </a:cxn>
                  <a:cxn ang="0">
                    <a:pos x="23" y="221"/>
                  </a:cxn>
                  <a:cxn ang="0">
                    <a:pos x="0" y="201"/>
                  </a:cxn>
                  <a:cxn ang="0">
                    <a:pos x="3" y="191"/>
                  </a:cxn>
                  <a:cxn ang="0">
                    <a:pos x="11" y="190"/>
                  </a:cxn>
                  <a:cxn ang="0">
                    <a:pos x="33" y="188"/>
                  </a:cxn>
                  <a:cxn ang="0">
                    <a:pos x="50" y="185"/>
                  </a:cxn>
                  <a:cxn ang="0">
                    <a:pos x="61" y="181"/>
                  </a:cxn>
                  <a:cxn ang="0">
                    <a:pos x="76" y="178"/>
                  </a:cxn>
                  <a:cxn ang="0">
                    <a:pos x="90" y="166"/>
                  </a:cxn>
                  <a:cxn ang="0">
                    <a:pos x="94" y="156"/>
                  </a:cxn>
                  <a:cxn ang="0">
                    <a:pos x="98" y="95"/>
                  </a:cxn>
                  <a:cxn ang="0">
                    <a:pos x="164" y="62"/>
                  </a:cxn>
                  <a:cxn ang="0">
                    <a:pos x="315" y="10"/>
                  </a:cxn>
                  <a:cxn ang="0">
                    <a:pos x="342" y="7"/>
                  </a:cxn>
                  <a:cxn ang="0">
                    <a:pos x="355" y="40"/>
                  </a:cxn>
                  <a:cxn ang="0">
                    <a:pos x="354" y="48"/>
                  </a:cxn>
                  <a:cxn ang="0">
                    <a:pos x="370" y="73"/>
                  </a:cxn>
                  <a:cxn ang="0">
                    <a:pos x="359" y="118"/>
                  </a:cxn>
                  <a:cxn ang="0">
                    <a:pos x="320" y="188"/>
                  </a:cxn>
                  <a:cxn ang="0">
                    <a:pos x="317" y="191"/>
                  </a:cxn>
                  <a:cxn ang="0">
                    <a:pos x="314" y="193"/>
                  </a:cxn>
                  <a:cxn ang="0">
                    <a:pos x="310" y="220"/>
                  </a:cxn>
                  <a:cxn ang="0">
                    <a:pos x="307" y="226"/>
                  </a:cxn>
                  <a:cxn ang="0">
                    <a:pos x="300" y="226"/>
                  </a:cxn>
                  <a:cxn ang="0">
                    <a:pos x="295" y="230"/>
                  </a:cxn>
                  <a:cxn ang="0">
                    <a:pos x="291" y="231"/>
                  </a:cxn>
                  <a:cxn ang="0">
                    <a:pos x="281" y="233"/>
                  </a:cxn>
                  <a:cxn ang="0">
                    <a:pos x="266" y="230"/>
                  </a:cxn>
                  <a:cxn ang="0">
                    <a:pos x="249" y="230"/>
                  </a:cxn>
                  <a:cxn ang="0">
                    <a:pos x="232" y="231"/>
                  </a:cxn>
                  <a:cxn ang="0">
                    <a:pos x="219" y="243"/>
                  </a:cxn>
                  <a:cxn ang="0">
                    <a:pos x="206" y="238"/>
                  </a:cxn>
                  <a:cxn ang="0">
                    <a:pos x="192" y="233"/>
                  </a:cxn>
                  <a:cxn ang="0">
                    <a:pos x="188" y="230"/>
                  </a:cxn>
                  <a:cxn ang="0">
                    <a:pos x="179" y="226"/>
                  </a:cxn>
                  <a:cxn ang="0">
                    <a:pos x="171" y="230"/>
                  </a:cxn>
                  <a:cxn ang="0">
                    <a:pos x="164" y="231"/>
                  </a:cxn>
                  <a:cxn ang="0">
                    <a:pos x="159" y="235"/>
                  </a:cxn>
                  <a:cxn ang="0">
                    <a:pos x="149" y="225"/>
                  </a:cxn>
                  <a:cxn ang="0">
                    <a:pos x="139" y="220"/>
                  </a:cxn>
                  <a:cxn ang="0">
                    <a:pos x="133" y="218"/>
                  </a:cxn>
                  <a:cxn ang="0">
                    <a:pos x="124" y="216"/>
                  </a:cxn>
                  <a:cxn ang="0">
                    <a:pos x="118" y="218"/>
                  </a:cxn>
                  <a:cxn ang="0">
                    <a:pos x="108" y="218"/>
                  </a:cxn>
                  <a:cxn ang="0">
                    <a:pos x="99" y="218"/>
                  </a:cxn>
                  <a:cxn ang="0">
                    <a:pos x="94" y="221"/>
                  </a:cxn>
                  <a:cxn ang="0">
                    <a:pos x="90" y="226"/>
                  </a:cxn>
                  <a:cxn ang="0">
                    <a:pos x="90" y="230"/>
                  </a:cxn>
                  <a:cxn ang="0">
                    <a:pos x="90" y="236"/>
                  </a:cxn>
                  <a:cxn ang="0">
                    <a:pos x="91" y="241"/>
                  </a:cxn>
                  <a:cxn ang="0">
                    <a:pos x="81" y="246"/>
                  </a:cxn>
                  <a:cxn ang="0">
                    <a:pos x="81" y="249"/>
                  </a:cxn>
                  <a:cxn ang="0">
                    <a:pos x="86" y="256"/>
                  </a:cxn>
                  <a:cxn ang="0">
                    <a:pos x="83" y="261"/>
                  </a:cxn>
                </a:cxnLst>
                <a:rect l="0" t="0" r="r" b="b"/>
                <a:pathLst>
                  <a:path w="370" h="261">
                    <a:moveTo>
                      <a:pt x="83" y="261"/>
                    </a:moveTo>
                    <a:lnTo>
                      <a:pt x="78" y="254"/>
                    </a:lnTo>
                    <a:lnTo>
                      <a:pt x="73" y="254"/>
                    </a:lnTo>
                    <a:lnTo>
                      <a:pt x="68" y="248"/>
                    </a:lnTo>
                    <a:lnTo>
                      <a:pt x="60" y="243"/>
                    </a:lnTo>
                    <a:lnTo>
                      <a:pt x="58" y="246"/>
                    </a:lnTo>
                    <a:lnTo>
                      <a:pt x="60" y="249"/>
                    </a:lnTo>
                    <a:lnTo>
                      <a:pt x="55" y="251"/>
                    </a:lnTo>
                    <a:lnTo>
                      <a:pt x="50" y="251"/>
                    </a:lnTo>
                    <a:lnTo>
                      <a:pt x="45" y="244"/>
                    </a:lnTo>
                    <a:lnTo>
                      <a:pt x="48" y="241"/>
                    </a:lnTo>
                    <a:lnTo>
                      <a:pt x="48" y="238"/>
                    </a:lnTo>
                    <a:lnTo>
                      <a:pt x="45" y="235"/>
                    </a:lnTo>
                    <a:lnTo>
                      <a:pt x="45" y="233"/>
                    </a:lnTo>
                    <a:lnTo>
                      <a:pt x="41" y="231"/>
                    </a:lnTo>
                    <a:lnTo>
                      <a:pt x="31" y="236"/>
                    </a:lnTo>
                    <a:lnTo>
                      <a:pt x="23" y="231"/>
                    </a:lnTo>
                    <a:lnTo>
                      <a:pt x="23" y="221"/>
                    </a:lnTo>
                    <a:lnTo>
                      <a:pt x="0" y="208"/>
                    </a:lnTo>
                    <a:lnTo>
                      <a:pt x="0" y="201"/>
                    </a:lnTo>
                    <a:lnTo>
                      <a:pt x="3" y="196"/>
                    </a:lnTo>
                    <a:lnTo>
                      <a:pt x="3" y="191"/>
                    </a:lnTo>
                    <a:lnTo>
                      <a:pt x="5" y="188"/>
                    </a:lnTo>
                    <a:lnTo>
                      <a:pt x="11" y="190"/>
                    </a:lnTo>
                    <a:lnTo>
                      <a:pt x="28" y="188"/>
                    </a:lnTo>
                    <a:lnTo>
                      <a:pt x="33" y="188"/>
                    </a:lnTo>
                    <a:lnTo>
                      <a:pt x="40" y="185"/>
                    </a:lnTo>
                    <a:lnTo>
                      <a:pt x="50" y="185"/>
                    </a:lnTo>
                    <a:lnTo>
                      <a:pt x="55" y="185"/>
                    </a:lnTo>
                    <a:lnTo>
                      <a:pt x="61" y="181"/>
                    </a:lnTo>
                    <a:lnTo>
                      <a:pt x="70" y="181"/>
                    </a:lnTo>
                    <a:lnTo>
                      <a:pt x="76" y="178"/>
                    </a:lnTo>
                    <a:lnTo>
                      <a:pt x="88" y="171"/>
                    </a:lnTo>
                    <a:lnTo>
                      <a:pt x="90" y="166"/>
                    </a:lnTo>
                    <a:lnTo>
                      <a:pt x="91" y="160"/>
                    </a:lnTo>
                    <a:lnTo>
                      <a:pt x="94" y="156"/>
                    </a:lnTo>
                    <a:lnTo>
                      <a:pt x="96" y="137"/>
                    </a:lnTo>
                    <a:lnTo>
                      <a:pt x="98" y="95"/>
                    </a:lnTo>
                    <a:lnTo>
                      <a:pt x="134" y="87"/>
                    </a:lnTo>
                    <a:lnTo>
                      <a:pt x="164" y="62"/>
                    </a:lnTo>
                    <a:lnTo>
                      <a:pt x="274" y="0"/>
                    </a:lnTo>
                    <a:lnTo>
                      <a:pt x="315" y="10"/>
                    </a:lnTo>
                    <a:lnTo>
                      <a:pt x="320" y="15"/>
                    </a:lnTo>
                    <a:lnTo>
                      <a:pt x="342" y="7"/>
                    </a:lnTo>
                    <a:lnTo>
                      <a:pt x="344" y="9"/>
                    </a:lnTo>
                    <a:lnTo>
                      <a:pt x="355" y="40"/>
                    </a:lnTo>
                    <a:lnTo>
                      <a:pt x="355" y="45"/>
                    </a:lnTo>
                    <a:lnTo>
                      <a:pt x="354" y="48"/>
                    </a:lnTo>
                    <a:lnTo>
                      <a:pt x="370" y="65"/>
                    </a:lnTo>
                    <a:lnTo>
                      <a:pt x="370" y="73"/>
                    </a:lnTo>
                    <a:lnTo>
                      <a:pt x="365" y="77"/>
                    </a:lnTo>
                    <a:lnTo>
                      <a:pt x="359" y="118"/>
                    </a:lnTo>
                    <a:lnTo>
                      <a:pt x="360" y="150"/>
                    </a:lnTo>
                    <a:lnTo>
                      <a:pt x="320" y="188"/>
                    </a:lnTo>
                    <a:lnTo>
                      <a:pt x="319" y="190"/>
                    </a:lnTo>
                    <a:lnTo>
                      <a:pt x="317" y="191"/>
                    </a:lnTo>
                    <a:lnTo>
                      <a:pt x="314" y="191"/>
                    </a:lnTo>
                    <a:lnTo>
                      <a:pt x="314" y="193"/>
                    </a:lnTo>
                    <a:lnTo>
                      <a:pt x="315" y="221"/>
                    </a:lnTo>
                    <a:lnTo>
                      <a:pt x="310" y="220"/>
                    </a:lnTo>
                    <a:lnTo>
                      <a:pt x="307" y="223"/>
                    </a:lnTo>
                    <a:lnTo>
                      <a:pt x="307" y="226"/>
                    </a:lnTo>
                    <a:lnTo>
                      <a:pt x="304" y="228"/>
                    </a:lnTo>
                    <a:lnTo>
                      <a:pt x="300" y="226"/>
                    </a:lnTo>
                    <a:lnTo>
                      <a:pt x="297" y="226"/>
                    </a:lnTo>
                    <a:lnTo>
                      <a:pt x="295" y="230"/>
                    </a:lnTo>
                    <a:lnTo>
                      <a:pt x="291" y="231"/>
                    </a:lnTo>
                    <a:lnTo>
                      <a:pt x="291" y="231"/>
                    </a:lnTo>
                    <a:lnTo>
                      <a:pt x="282" y="235"/>
                    </a:lnTo>
                    <a:lnTo>
                      <a:pt x="281" y="233"/>
                    </a:lnTo>
                    <a:lnTo>
                      <a:pt x="274" y="233"/>
                    </a:lnTo>
                    <a:lnTo>
                      <a:pt x="266" y="230"/>
                    </a:lnTo>
                    <a:lnTo>
                      <a:pt x="254" y="228"/>
                    </a:lnTo>
                    <a:lnTo>
                      <a:pt x="249" y="230"/>
                    </a:lnTo>
                    <a:lnTo>
                      <a:pt x="237" y="230"/>
                    </a:lnTo>
                    <a:lnTo>
                      <a:pt x="232" y="231"/>
                    </a:lnTo>
                    <a:lnTo>
                      <a:pt x="226" y="238"/>
                    </a:lnTo>
                    <a:lnTo>
                      <a:pt x="219" y="243"/>
                    </a:lnTo>
                    <a:lnTo>
                      <a:pt x="216" y="241"/>
                    </a:lnTo>
                    <a:lnTo>
                      <a:pt x="206" y="238"/>
                    </a:lnTo>
                    <a:lnTo>
                      <a:pt x="201" y="238"/>
                    </a:lnTo>
                    <a:lnTo>
                      <a:pt x="192" y="233"/>
                    </a:lnTo>
                    <a:lnTo>
                      <a:pt x="188" y="231"/>
                    </a:lnTo>
                    <a:lnTo>
                      <a:pt x="188" y="230"/>
                    </a:lnTo>
                    <a:lnTo>
                      <a:pt x="183" y="226"/>
                    </a:lnTo>
                    <a:lnTo>
                      <a:pt x="179" y="226"/>
                    </a:lnTo>
                    <a:lnTo>
                      <a:pt x="179" y="228"/>
                    </a:lnTo>
                    <a:lnTo>
                      <a:pt x="171" y="230"/>
                    </a:lnTo>
                    <a:lnTo>
                      <a:pt x="168" y="231"/>
                    </a:lnTo>
                    <a:lnTo>
                      <a:pt x="164" y="231"/>
                    </a:lnTo>
                    <a:lnTo>
                      <a:pt x="163" y="235"/>
                    </a:lnTo>
                    <a:lnTo>
                      <a:pt x="159" y="235"/>
                    </a:lnTo>
                    <a:lnTo>
                      <a:pt x="154" y="231"/>
                    </a:lnTo>
                    <a:lnTo>
                      <a:pt x="149" y="225"/>
                    </a:lnTo>
                    <a:lnTo>
                      <a:pt x="148" y="223"/>
                    </a:lnTo>
                    <a:lnTo>
                      <a:pt x="139" y="220"/>
                    </a:lnTo>
                    <a:lnTo>
                      <a:pt x="136" y="220"/>
                    </a:lnTo>
                    <a:lnTo>
                      <a:pt x="133" y="218"/>
                    </a:lnTo>
                    <a:lnTo>
                      <a:pt x="126" y="216"/>
                    </a:lnTo>
                    <a:lnTo>
                      <a:pt x="124" y="216"/>
                    </a:lnTo>
                    <a:lnTo>
                      <a:pt x="119" y="216"/>
                    </a:lnTo>
                    <a:lnTo>
                      <a:pt x="118" y="218"/>
                    </a:lnTo>
                    <a:lnTo>
                      <a:pt x="109" y="218"/>
                    </a:lnTo>
                    <a:lnTo>
                      <a:pt x="108" y="218"/>
                    </a:lnTo>
                    <a:lnTo>
                      <a:pt x="104" y="218"/>
                    </a:lnTo>
                    <a:lnTo>
                      <a:pt x="99" y="218"/>
                    </a:lnTo>
                    <a:lnTo>
                      <a:pt x="98" y="220"/>
                    </a:lnTo>
                    <a:lnTo>
                      <a:pt x="94" y="221"/>
                    </a:lnTo>
                    <a:lnTo>
                      <a:pt x="90" y="225"/>
                    </a:lnTo>
                    <a:lnTo>
                      <a:pt x="90" y="226"/>
                    </a:lnTo>
                    <a:lnTo>
                      <a:pt x="90" y="230"/>
                    </a:lnTo>
                    <a:lnTo>
                      <a:pt x="90" y="230"/>
                    </a:lnTo>
                    <a:lnTo>
                      <a:pt x="88" y="231"/>
                    </a:lnTo>
                    <a:lnTo>
                      <a:pt x="90" y="236"/>
                    </a:lnTo>
                    <a:lnTo>
                      <a:pt x="91" y="238"/>
                    </a:lnTo>
                    <a:lnTo>
                      <a:pt x="91" y="241"/>
                    </a:lnTo>
                    <a:lnTo>
                      <a:pt x="86" y="241"/>
                    </a:lnTo>
                    <a:lnTo>
                      <a:pt x="81" y="246"/>
                    </a:lnTo>
                    <a:lnTo>
                      <a:pt x="83" y="248"/>
                    </a:lnTo>
                    <a:lnTo>
                      <a:pt x="81" y="249"/>
                    </a:lnTo>
                    <a:lnTo>
                      <a:pt x="85" y="256"/>
                    </a:lnTo>
                    <a:lnTo>
                      <a:pt x="86" y="256"/>
                    </a:lnTo>
                    <a:lnTo>
                      <a:pt x="88" y="259"/>
                    </a:lnTo>
                    <a:lnTo>
                      <a:pt x="8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6" name="Freeform 120"/>
              <p:cNvSpPr>
                <a:spLocks/>
              </p:cNvSpPr>
              <p:nvPr/>
            </p:nvSpPr>
            <p:spPr bwMode="auto">
              <a:xfrm>
                <a:off x="6454613" y="3109926"/>
                <a:ext cx="148764" cy="111022"/>
              </a:xfrm>
              <a:custGeom>
                <a:avLst/>
                <a:gdLst/>
                <a:ahLst/>
                <a:cxnLst>
                  <a:cxn ang="0">
                    <a:pos x="261" y="14"/>
                  </a:cxn>
                  <a:cxn ang="0">
                    <a:pos x="244" y="7"/>
                  </a:cxn>
                  <a:cxn ang="0">
                    <a:pos x="237" y="10"/>
                  </a:cxn>
                  <a:cxn ang="0">
                    <a:pos x="228" y="15"/>
                  </a:cxn>
                  <a:cxn ang="0">
                    <a:pos x="218" y="17"/>
                  </a:cxn>
                  <a:cxn ang="0">
                    <a:pos x="191" y="12"/>
                  </a:cxn>
                  <a:cxn ang="0">
                    <a:pos x="169" y="15"/>
                  </a:cxn>
                  <a:cxn ang="0">
                    <a:pos x="153" y="25"/>
                  </a:cxn>
                  <a:cxn ang="0">
                    <a:pos x="129" y="17"/>
                  </a:cxn>
                  <a:cxn ang="0">
                    <a:pos x="120" y="10"/>
                  </a:cxn>
                  <a:cxn ang="0">
                    <a:pos x="108" y="14"/>
                  </a:cxn>
                  <a:cxn ang="0">
                    <a:pos x="100" y="19"/>
                  </a:cxn>
                  <a:cxn ang="0">
                    <a:pos x="86" y="9"/>
                  </a:cxn>
                  <a:cxn ang="0">
                    <a:pos x="73" y="4"/>
                  </a:cxn>
                  <a:cxn ang="0">
                    <a:pos x="61" y="0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7" y="9"/>
                  </a:cxn>
                  <a:cxn ang="0">
                    <a:pos x="27" y="14"/>
                  </a:cxn>
                  <a:cxn ang="0">
                    <a:pos x="28" y="22"/>
                  </a:cxn>
                  <a:cxn ang="0">
                    <a:pos x="18" y="30"/>
                  </a:cxn>
                  <a:cxn ang="0">
                    <a:pos x="22" y="40"/>
                  </a:cxn>
                  <a:cxn ang="0">
                    <a:pos x="20" y="45"/>
                  </a:cxn>
                  <a:cxn ang="0">
                    <a:pos x="27" y="58"/>
                  </a:cxn>
                  <a:cxn ang="0">
                    <a:pos x="28" y="75"/>
                  </a:cxn>
                  <a:cxn ang="0">
                    <a:pos x="20" y="80"/>
                  </a:cxn>
                  <a:cxn ang="0">
                    <a:pos x="22" y="87"/>
                  </a:cxn>
                  <a:cxn ang="0">
                    <a:pos x="13" y="98"/>
                  </a:cxn>
                  <a:cxn ang="0">
                    <a:pos x="7" y="103"/>
                  </a:cxn>
                  <a:cxn ang="0">
                    <a:pos x="0" y="112"/>
                  </a:cxn>
                  <a:cxn ang="0">
                    <a:pos x="0" y="122"/>
                  </a:cxn>
                  <a:cxn ang="0">
                    <a:pos x="2" y="128"/>
                  </a:cxn>
                  <a:cxn ang="0">
                    <a:pos x="2" y="143"/>
                  </a:cxn>
                  <a:cxn ang="0">
                    <a:pos x="2" y="161"/>
                  </a:cxn>
                  <a:cxn ang="0">
                    <a:pos x="18" y="165"/>
                  </a:cxn>
                  <a:cxn ang="0">
                    <a:pos x="53" y="191"/>
                  </a:cxn>
                  <a:cxn ang="0">
                    <a:pos x="58" y="208"/>
                  </a:cxn>
                  <a:cxn ang="0">
                    <a:pos x="96" y="215"/>
                  </a:cxn>
                  <a:cxn ang="0">
                    <a:pos x="116" y="210"/>
                  </a:cxn>
                  <a:cxn ang="0">
                    <a:pos x="128" y="203"/>
                  </a:cxn>
                  <a:cxn ang="0">
                    <a:pos x="134" y="206"/>
                  </a:cxn>
                  <a:cxn ang="0">
                    <a:pos x="144" y="191"/>
                  </a:cxn>
                  <a:cxn ang="0">
                    <a:pos x="146" y="180"/>
                  </a:cxn>
                  <a:cxn ang="0">
                    <a:pos x="154" y="171"/>
                  </a:cxn>
                  <a:cxn ang="0">
                    <a:pos x="163" y="160"/>
                  </a:cxn>
                  <a:cxn ang="0">
                    <a:pos x="171" y="155"/>
                  </a:cxn>
                  <a:cxn ang="0">
                    <a:pos x="181" y="156"/>
                  </a:cxn>
                  <a:cxn ang="0">
                    <a:pos x="193" y="166"/>
                  </a:cxn>
                  <a:cxn ang="0">
                    <a:pos x="204" y="160"/>
                  </a:cxn>
                  <a:cxn ang="0">
                    <a:pos x="209" y="155"/>
                  </a:cxn>
                  <a:cxn ang="0">
                    <a:pos x="214" y="141"/>
                  </a:cxn>
                  <a:cxn ang="0">
                    <a:pos x="221" y="128"/>
                  </a:cxn>
                  <a:cxn ang="0">
                    <a:pos x="236" y="117"/>
                  </a:cxn>
                  <a:cxn ang="0">
                    <a:pos x="236" y="102"/>
                  </a:cxn>
                  <a:cxn ang="0">
                    <a:pos x="251" y="92"/>
                  </a:cxn>
                  <a:cxn ang="0">
                    <a:pos x="251" y="78"/>
                  </a:cxn>
                  <a:cxn ang="0">
                    <a:pos x="261" y="65"/>
                  </a:cxn>
                  <a:cxn ang="0">
                    <a:pos x="269" y="60"/>
                  </a:cxn>
                  <a:cxn ang="0">
                    <a:pos x="277" y="52"/>
                  </a:cxn>
                  <a:cxn ang="0">
                    <a:pos x="274" y="40"/>
                  </a:cxn>
                  <a:cxn ang="0">
                    <a:pos x="267" y="28"/>
                  </a:cxn>
                  <a:cxn ang="0">
                    <a:pos x="266" y="19"/>
                  </a:cxn>
                </a:cxnLst>
                <a:rect l="0" t="0" r="r" b="b"/>
                <a:pathLst>
                  <a:path w="277" h="215">
                    <a:moveTo>
                      <a:pt x="266" y="19"/>
                    </a:moveTo>
                    <a:lnTo>
                      <a:pt x="264" y="19"/>
                    </a:lnTo>
                    <a:lnTo>
                      <a:pt x="261" y="14"/>
                    </a:lnTo>
                    <a:lnTo>
                      <a:pt x="256" y="7"/>
                    </a:lnTo>
                    <a:lnTo>
                      <a:pt x="247" y="4"/>
                    </a:lnTo>
                    <a:lnTo>
                      <a:pt x="244" y="7"/>
                    </a:lnTo>
                    <a:lnTo>
                      <a:pt x="244" y="10"/>
                    </a:lnTo>
                    <a:lnTo>
                      <a:pt x="241" y="12"/>
                    </a:lnTo>
                    <a:lnTo>
                      <a:pt x="237" y="10"/>
                    </a:lnTo>
                    <a:lnTo>
                      <a:pt x="234" y="10"/>
                    </a:lnTo>
                    <a:lnTo>
                      <a:pt x="232" y="14"/>
                    </a:lnTo>
                    <a:lnTo>
                      <a:pt x="228" y="15"/>
                    </a:lnTo>
                    <a:lnTo>
                      <a:pt x="226" y="19"/>
                    </a:lnTo>
                    <a:lnTo>
                      <a:pt x="223" y="20"/>
                    </a:lnTo>
                    <a:lnTo>
                      <a:pt x="218" y="17"/>
                    </a:lnTo>
                    <a:lnTo>
                      <a:pt x="211" y="17"/>
                    </a:lnTo>
                    <a:lnTo>
                      <a:pt x="203" y="14"/>
                    </a:lnTo>
                    <a:lnTo>
                      <a:pt x="191" y="12"/>
                    </a:lnTo>
                    <a:lnTo>
                      <a:pt x="186" y="14"/>
                    </a:lnTo>
                    <a:lnTo>
                      <a:pt x="174" y="14"/>
                    </a:lnTo>
                    <a:lnTo>
                      <a:pt x="169" y="15"/>
                    </a:lnTo>
                    <a:lnTo>
                      <a:pt x="163" y="22"/>
                    </a:lnTo>
                    <a:lnTo>
                      <a:pt x="156" y="27"/>
                    </a:lnTo>
                    <a:lnTo>
                      <a:pt x="153" y="25"/>
                    </a:lnTo>
                    <a:lnTo>
                      <a:pt x="143" y="22"/>
                    </a:lnTo>
                    <a:lnTo>
                      <a:pt x="138" y="22"/>
                    </a:lnTo>
                    <a:lnTo>
                      <a:pt x="129" y="17"/>
                    </a:lnTo>
                    <a:lnTo>
                      <a:pt x="125" y="15"/>
                    </a:lnTo>
                    <a:lnTo>
                      <a:pt x="125" y="14"/>
                    </a:lnTo>
                    <a:lnTo>
                      <a:pt x="120" y="10"/>
                    </a:lnTo>
                    <a:lnTo>
                      <a:pt x="116" y="10"/>
                    </a:lnTo>
                    <a:lnTo>
                      <a:pt x="116" y="12"/>
                    </a:lnTo>
                    <a:lnTo>
                      <a:pt x="108" y="14"/>
                    </a:lnTo>
                    <a:lnTo>
                      <a:pt x="105" y="15"/>
                    </a:lnTo>
                    <a:lnTo>
                      <a:pt x="101" y="15"/>
                    </a:lnTo>
                    <a:lnTo>
                      <a:pt x="100" y="19"/>
                    </a:lnTo>
                    <a:lnTo>
                      <a:pt x="96" y="19"/>
                    </a:lnTo>
                    <a:lnTo>
                      <a:pt x="91" y="15"/>
                    </a:lnTo>
                    <a:lnTo>
                      <a:pt x="86" y="9"/>
                    </a:lnTo>
                    <a:lnTo>
                      <a:pt x="85" y="7"/>
                    </a:lnTo>
                    <a:lnTo>
                      <a:pt x="76" y="4"/>
                    </a:lnTo>
                    <a:lnTo>
                      <a:pt x="73" y="4"/>
                    </a:lnTo>
                    <a:lnTo>
                      <a:pt x="70" y="2"/>
                    </a:lnTo>
                    <a:lnTo>
                      <a:pt x="63" y="0"/>
                    </a:lnTo>
                    <a:lnTo>
                      <a:pt x="61" y="0"/>
                    </a:lnTo>
                    <a:lnTo>
                      <a:pt x="56" y="0"/>
                    </a:lnTo>
                    <a:lnTo>
                      <a:pt x="55" y="2"/>
                    </a:lnTo>
                    <a:lnTo>
                      <a:pt x="46" y="2"/>
                    </a:lnTo>
                    <a:lnTo>
                      <a:pt x="45" y="2"/>
                    </a:lnTo>
                    <a:lnTo>
                      <a:pt x="41" y="2"/>
                    </a:lnTo>
                    <a:lnTo>
                      <a:pt x="36" y="2"/>
                    </a:lnTo>
                    <a:lnTo>
                      <a:pt x="35" y="4"/>
                    </a:lnTo>
                    <a:lnTo>
                      <a:pt x="31" y="5"/>
                    </a:lnTo>
                    <a:lnTo>
                      <a:pt x="27" y="9"/>
                    </a:lnTo>
                    <a:lnTo>
                      <a:pt x="27" y="10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5" y="15"/>
                    </a:lnTo>
                    <a:lnTo>
                      <a:pt x="27" y="20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3" y="25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18" y="33"/>
                    </a:lnTo>
                    <a:lnTo>
                      <a:pt x="22" y="40"/>
                    </a:lnTo>
                    <a:lnTo>
                      <a:pt x="23" y="40"/>
                    </a:lnTo>
                    <a:lnTo>
                      <a:pt x="25" y="43"/>
                    </a:lnTo>
                    <a:lnTo>
                      <a:pt x="20" y="45"/>
                    </a:lnTo>
                    <a:lnTo>
                      <a:pt x="18" y="50"/>
                    </a:lnTo>
                    <a:lnTo>
                      <a:pt x="20" y="53"/>
                    </a:lnTo>
                    <a:lnTo>
                      <a:pt x="27" y="58"/>
                    </a:lnTo>
                    <a:lnTo>
                      <a:pt x="27" y="63"/>
                    </a:lnTo>
                    <a:lnTo>
                      <a:pt x="30" y="72"/>
                    </a:lnTo>
                    <a:lnTo>
                      <a:pt x="28" y="75"/>
                    </a:lnTo>
                    <a:lnTo>
                      <a:pt x="23" y="75"/>
                    </a:lnTo>
                    <a:lnTo>
                      <a:pt x="22" y="77"/>
                    </a:lnTo>
                    <a:lnTo>
                      <a:pt x="20" y="80"/>
                    </a:lnTo>
                    <a:lnTo>
                      <a:pt x="27" y="85"/>
                    </a:lnTo>
                    <a:lnTo>
                      <a:pt x="25" y="87"/>
                    </a:lnTo>
                    <a:lnTo>
                      <a:pt x="22" y="87"/>
                    </a:lnTo>
                    <a:lnTo>
                      <a:pt x="18" y="88"/>
                    </a:lnTo>
                    <a:lnTo>
                      <a:pt x="17" y="92"/>
                    </a:lnTo>
                    <a:lnTo>
                      <a:pt x="13" y="98"/>
                    </a:lnTo>
                    <a:lnTo>
                      <a:pt x="12" y="102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2" y="105"/>
                    </a:lnTo>
                    <a:lnTo>
                      <a:pt x="0" y="108"/>
                    </a:lnTo>
                    <a:lnTo>
                      <a:pt x="0" y="112"/>
                    </a:lnTo>
                    <a:lnTo>
                      <a:pt x="0" y="115"/>
                    </a:lnTo>
                    <a:lnTo>
                      <a:pt x="0" y="120"/>
                    </a:lnTo>
                    <a:lnTo>
                      <a:pt x="0" y="122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2" y="128"/>
                    </a:lnTo>
                    <a:lnTo>
                      <a:pt x="2" y="130"/>
                    </a:lnTo>
                    <a:lnTo>
                      <a:pt x="0" y="133"/>
                    </a:lnTo>
                    <a:lnTo>
                      <a:pt x="2" y="143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2" y="161"/>
                    </a:lnTo>
                    <a:lnTo>
                      <a:pt x="2" y="165"/>
                    </a:lnTo>
                    <a:lnTo>
                      <a:pt x="12" y="166"/>
                    </a:lnTo>
                    <a:lnTo>
                      <a:pt x="18" y="165"/>
                    </a:lnTo>
                    <a:lnTo>
                      <a:pt x="36" y="173"/>
                    </a:lnTo>
                    <a:lnTo>
                      <a:pt x="46" y="181"/>
                    </a:lnTo>
                    <a:lnTo>
                      <a:pt x="53" y="191"/>
                    </a:lnTo>
                    <a:lnTo>
                      <a:pt x="53" y="200"/>
                    </a:lnTo>
                    <a:lnTo>
                      <a:pt x="56" y="200"/>
                    </a:lnTo>
                    <a:lnTo>
                      <a:pt x="58" y="208"/>
                    </a:lnTo>
                    <a:lnTo>
                      <a:pt x="65" y="213"/>
                    </a:lnTo>
                    <a:lnTo>
                      <a:pt x="73" y="215"/>
                    </a:lnTo>
                    <a:lnTo>
                      <a:pt x="96" y="215"/>
                    </a:lnTo>
                    <a:lnTo>
                      <a:pt x="101" y="211"/>
                    </a:lnTo>
                    <a:lnTo>
                      <a:pt x="105" y="213"/>
                    </a:lnTo>
                    <a:lnTo>
                      <a:pt x="116" y="210"/>
                    </a:lnTo>
                    <a:lnTo>
                      <a:pt x="120" y="211"/>
                    </a:lnTo>
                    <a:lnTo>
                      <a:pt x="126" y="210"/>
                    </a:lnTo>
                    <a:lnTo>
                      <a:pt x="128" y="203"/>
                    </a:lnTo>
                    <a:lnTo>
                      <a:pt x="133" y="208"/>
                    </a:lnTo>
                    <a:lnTo>
                      <a:pt x="134" y="206"/>
                    </a:lnTo>
                    <a:lnTo>
                      <a:pt x="134" y="206"/>
                    </a:lnTo>
                    <a:lnTo>
                      <a:pt x="134" y="205"/>
                    </a:lnTo>
                    <a:lnTo>
                      <a:pt x="141" y="198"/>
                    </a:lnTo>
                    <a:lnTo>
                      <a:pt x="144" y="191"/>
                    </a:lnTo>
                    <a:lnTo>
                      <a:pt x="143" y="186"/>
                    </a:lnTo>
                    <a:lnTo>
                      <a:pt x="143" y="181"/>
                    </a:lnTo>
                    <a:lnTo>
                      <a:pt x="146" y="180"/>
                    </a:lnTo>
                    <a:lnTo>
                      <a:pt x="146" y="176"/>
                    </a:lnTo>
                    <a:lnTo>
                      <a:pt x="149" y="173"/>
                    </a:lnTo>
                    <a:lnTo>
                      <a:pt x="154" y="171"/>
                    </a:lnTo>
                    <a:lnTo>
                      <a:pt x="156" y="170"/>
                    </a:lnTo>
                    <a:lnTo>
                      <a:pt x="163" y="165"/>
                    </a:lnTo>
                    <a:lnTo>
                      <a:pt x="163" y="160"/>
                    </a:lnTo>
                    <a:lnTo>
                      <a:pt x="164" y="158"/>
                    </a:lnTo>
                    <a:lnTo>
                      <a:pt x="169" y="156"/>
                    </a:lnTo>
                    <a:lnTo>
                      <a:pt x="171" y="155"/>
                    </a:lnTo>
                    <a:lnTo>
                      <a:pt x="173" y="155"/>
                    </a:lnTo>
                    <a:lnTo>
                      <a:pt x="179" y="158"/>
                    </a:lnTo>
                    <a:lnTo>
                      <a:pt x="181" y="156"/>
                    </a:lnTo>
                    <a:lnTo>
                      <a:pt x="186" y="160"/>
                    </a:lnTo>
                    <a:lnTo>
                      <a:pt x="189" y="163"/>
                    </a:lnTo>
                    <a:lnTo>
                      <a:pt x="193" y="166"/>
                    </a:lnTo>
                    <a:lnTo>
                      <a:pt x="196" y="168"/>
                    </a:lnTo>
                    <a:lnTo>
                      <a:pt x="201" y="165"/>
                    </a:lnTo>
                    <a:lnTo>
                      <a:pt x="204" y="160"/>
                    </a:lnTo>
                    <a:lnTo>
                      <a:pt x="204" y="158"/>
                    </a:lnTo>
                    <a:lnTo>
                      <a:pt x="206" y="155"/>
                    </a:lnTo>
                    <a:lnTo>
                      <a:pt x="209" y="155"/>
                    </a:lnTo>
                    <a:lnTo>
                      <a:pt x="213" y="150"/>
                    </a:lnTo>
                    <a:lnTo>
                      <a:pt x="213" y="146"/>
                    </a:lnTo>
                    <a:lnTo>
                      <a:pt x="214" y="141"/>
                    </a:lnTo>
                    <a:lnTo>
                      <a:pt x="223" y="135"/>
                    </a:lnTo>
                    <a:lnTo>
                      <a:pt x="223" y="131"/>
                    </a:lnTo>
                    <a:lnTo>
                      <a:pt x="221" y="128"/>
                    </a:lnTo>
                    <a:lnTo>
                      <a:pt x="224" y="125"/>
                    </a:lnTo>
                    <a:lnTo>
                      <a:pt x="231" y="120"/>
                    </a:lnTo>
                    <a:lnTo>
                      <a:pt x="236" y="117"/>
                    </a:lnTo>
                    <a:lnTo>
                      <a:pt x="236" y="112"/>
                    </a:lnTo>
                    <a:lnTo>
                      <a:pt x="237" y="108"/>
                    </a:lnTo>
                    <a:lnTo>
                      <a:pt x="236" y="102"/>
                    </a:lnTo>
                    <a:lnTo>
                      <a:pt x="239" y="98"/>
                    </a:lnTo>
                    <a:lnTo>
                      <a:pt x="246" y="97"/>
                    </a:lnTo>
                    <a:lnTo>
                      <a:pt x="251" y="92"/>
                    </a:lnTo>
                    <a:lnTo>
                      <a:pt x="251" y="87"/>
                    </a:lnTo>
                    <a:lnTo>
                      <a:pt x="251" y="82"/>
                    </a:lnTo>
                    <a:lnTo>
                      <a:pt x="251" y="78"/>
                    </a:lnTo>
                    <a:lnTo>
                      <a:pt x="254" y="73"/>
                    </a:lnTo>
                    <a:lnTo>
                      <a:pt x="257" y="67"/>
                    </a:lnTo>
                    <a:lnTo>
                      <a:pt x="261" y="65"/>
                    </a:lnTo>
                    <a:lnTo>
                      <a:pt x="261" y="63"/>
                    </a:lnTo>
                    <a:lnTo>
                      <a:pt x="266" y="60"/>
                    </a:lnTo>
                    <a:lnTo>
                      <a:pt x="269" y="60"/>
                    </a:lnTo>
                    <a:lnTo>
                      <a:pt x="271" y="57"/>
                    </a:lnTo>
                    <a:lnTo>
                      <a:pt x="277" y="53"/>
                    </a:lnTo>
                    <a:lnTo>
                      <a:pt x="277" y="52"/>
                    </a:lnTo>
                    <a:lnTo>
                      <a:pt x="276" y="45"/>
                    </a:lnTo>
                    <a:lnTo>
                      <a:pt x="276" y="43"/>
                    </a:lnTo>
                    <a:lnTo>
                      <a:pt x="274" y="40"/>
                    </a:lnTo>
                    <a:lnTo>
                      <a:pt x="269" y="38"/>
                    </a:lnTo>
                    <a:lnTo>
                      <a:pt x="267" y="35"/>
                    </a:lnTo>
                    <a:lnTo>
                      <a:pt x="267" y="28"/>
                    </a:lnTo>
                    <a:lnTo>
                      <a:pt x="267" y="25"/>
                    </a:lnTo>
                    <a:lnTo>
                      <a:pt x="266" y="19"/>
                    </a:lnTo>
                    <a:lnTo>
                      <a:pt x="266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7" name="Freeform 121"/>
              <p:cNvSpPr>
                <a:spLocks/>
              </p:cNvSpPr>
              <p:nvPr/>
            </p:nvSpPr>
            <p:spPr bwMode="auto">
              <a:xfrm>
                <a:off x="6498494" y="3265564"/>
                <a:ext cx="4281" cy="4150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9" y="2"/>
                  </a:cxn>
                  <a:cxn ang="0">
                    <a:pos x="7" y="5"/>
                  </a:cxn>
                  <a:cxn ang="0">
                    <a:pos x="4" y="7"/>
                  </a:cxn>
                  <a:cxn ang="0">
                    <a:pos x="2" y="7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9" y="2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8" name="Freeform 122"/>
              <p:cNvSpPr>
                <a:spLocks/>
              </p:cNvSpPr>
              <p:nvPr/>
            </p:nvSpPr>
            <p:spPr bwMode="auto">
              <a:xfrm>
                <a:off x="6523109" y="3225098"/>
                <a:ext cx="7491" cy="9339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10"/>
                  </a:cxn>
                  <a:cxn ang="0">
                    <a:pos x="3" y="10"/>
                  </a:cxn>
                  <a:cxn ang="0">
                    <a:pos x="5" y="5"/>
                  </a:cxn>
                  <a:cxn ang="0">
                    <a:pos x="10" y="0"/>
                  </a:cxn>
                  <a:cxn ang="0">
                    <a:pos x="11" y="1"/>
                  </a:cxn>
                  <a:cxn ang="0">
                    <a:pos x="13" y="8"/>
                  </a:cxn>
                  <a:cxn ang="0">
                    <a:pos x="10" y="16"/>
                  </a:cxn>
                  <a:cxn ang="0">
                    <a:pos x="5" y="16"/>
                  </a:cxn>
                  <a:cxn ang="0">
                    <a:pos x="0" y="13"/>
                  </a:cxn>
                </a:cxnLst>
                <a:rect l="0" t="0" r="r" b="b"/>
                <a:pathLst>
                  <a:path w="13" h="16">
                    <a:moveTo>
                      <a:pt x="0" y="13"/>
                    </a:moveTo>
                    <a:lnTo>
                      <a:pt x="0" y="10"/>
                    </a:lnTo>
                    <a:lnTo>
                      <a:pt x="3" y="10"/>
                    </a:lnTo>
                    <a:lnTo>
                      <a:pt x="5" y="5"/>
                    </a:lnTo>
                    <a:lnTo>
                      <a:pt x="10" y="0"/>
                    </a:lnTo>
                    <a:lnTo>
                      <a:pt x="11" y="1"/>
                    </a:lnTo>
                    <a:lnTo>
                      <a:pt x="13" y="8"/>
                    </a:lnTo>
                    <a:lnTo>
                      <a:pt x="10" y="16"/>
                    </a:lnTo>
                    <a:lnTo>
                      <a:pt x="5" y="16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9" name="Freeform 123"/>
              <p:cNvSpPr>
                <a:spLocks/>
              </p:cNvSpPr>
              <p:nvPr/>
            </p:nvSpPr>
            <p:spPr bwMode="auto">
              <a:xfrm>
                <a:off x="6527390" y="3119264"/>
                <a:ext cx="98463" cy="130736"/>
              </a:xfrm>
              <a:custGeom>
                <a:avLst/>
                <a:gdLst/>
                <a:ahLst/>
                <a:cxnLst>
                  <a:cxn ang="0">
                    <a:pos x="7" y="179"/>
                  </a:cxn>
                  <a:cxn ang="0">
                    <a:pos x="9" y="162"/>
                  </a:cxn>
                  <a:cxn ang="0">
                    <a:pos x="15" y="154"/>
                  </a:cxn>
                  <a:cxn ang="0">
                    <a:pos x="29" y="146"/>
                  </a:cxn>
                  <a:cxn ang="0">
                    <a:pos x="35" y="137"/>
                  </a:cxn>
                  <a:cxn ang="0">
                    <a:pos x="45" y="139"/>
                  </a:cxn>
                  <a:cxn ang="0">
                    <a:pos x="55" y="144"/>
                  </a:cxn>
                  <a:cxn ang="0">
                    <a:pos x="67" y="146"/>
                  </a:cxn>
                  <a:cxn ang="0">
                    <a:pos x="72" y="136"/>
                  </a:cxn>
                  <a:cxn ang="0">
                    <a:pos x="79" y="127"/>
                  </a:cxn>
                  <a:cxn ang="0">
                    <a:pos x="89" y="112"/>
                  </a:cxn>
                  <a:cxn ang="0">
                    <a:pos x="97" y="101"/>
                  </a:cxn>
                  <a:cxn ang="0">
                    <a:pos x="103" y="89"/>
                  </a:cxn>
                  <a:cxn ang="0">
                    <a:pos x="112" y="78"/>
                  </a:cxn>
                  <a:cxn ang="0">
                    <a:pos x="117" y="63"/>
                  </a:cxn>
                  <a:cxn ang="0">
                    <a:pos x="123" y="48"/>
                  </a:cxn>
                  <a:cxn ang="0">
                    <a:pos x="132" y="41"/>
                  </a:cxn>
                  <a:cxn ang="0">
                    <a:pos x="143" y="34"/>
                  </a:cxn>
                  <a:cxn ang="0">
                    <a:pos x="142" y="24"/>
                  </a:cxn>
                  <a:cxn ang="0">
                    <a:pos x="133" y="16"/>
                  </a:cxn>
                  <a:cxn ang="0">
                    <a:pos x="132" y="0"/>
                  </a:cxn>
                  <a:cxn ang="0">
                    <a:pos x="150" y="16"/>
                  </a:cxn>
                  <a:cxn ang="0">
                    <a:pos x="155" y="28"/>
                  </a:cxn>
                  <a:cxn ang="0">
                    <a:pos x="153" y="36"/>
                  </a:cxn>
                  <a:cxn ang="0">
                    <a:pos x="152" y="46"/>
                  </a:cxn>
                  <a:cxn ang="0">
                    <a:pos x="160" y="58"/>
                  </a:cxn>
                  <a:cxn ang="0">
                    <a:pos x="170" y="69"/>
                  </a:cxn>
                  <a:cxn ang="0">
                    <a:pos x="162" y="68"/>
                  </a:cxn>
                  <a:cxn ang="0">
                    <a:pos x="150" y="68"/>
                  </a:cxn>
                  <a:cxn ang="0">
                    <a:pos x="138" y="68"/>
                  </a:cxn>
                  <a:cxn ang="0">
                    <a:pos x="133" y="74"/>
                  </a:cxn>
                  <a:cxn ang="0">
                    <a:pos x="137" y="81"/>
                  </a:cxn>
                  <a:cxn ang="0">
                    <a:pos x="150" y="93"/>
                  </a:cxn>
                  <a:cxn ang="0">
                    <a:pos x="167" y="109"/>
                  </a:cxn>
                  <a:cxn ang="0">
                    <a:pos x="167" y="126"/>
                  </a:cxn>
                  <a:cxn ang="0">
                    <a:pos x="157" y="139"/>
                  </a:cxn>
                  <a:cxn ang="0">
                    <a:pos x="147" y="151"/>
                  </a:cxn>
                  <a:cxn ang="0">
                    <a:pos x="147" y="166"/>
                  </a:cxn>
                  <a:cxn ang="0">
                    <a:pos x="148" y="181"/>
                  </a:cxn>
                  <a:cxn ang="0">
                    <a:pos x="157" y="194"/>
                  </a:cxn>
                  <a:cxn ang="0">
                    <a:pos x="168" y="210"/>
                  </a:cxn>
                  <a:cxn ang="0">
                    <a:pos x="183" y="225"/>
                  </a:cxn>
                  <a:cxn ang="0">
                    <a:pos x="185" y="235"/>
                  </a:cxn>
                  <a:cxn ang="0">
                    <a:pos x="183" y="239"/>
                  </a:cxn>
                  <a:cxn ang="0">
                    <a:pos x="182" y="249"/>
                  </a:cxn>
                  <a:cxn ang="0">
                    <a:pos x="178" y="249"/>
                  </a:cxn>
                  <a:cxn ang="0">
                    <a:pos x="172" y="249"/>
                  </a:cxn>
                  <a:cxn ang="0">
                    <a:pos x="162" y="247"/>
                  </a:cxn>
                  <a:cxn ang="0">
                    <a:pos x="157" y="249"/>
                  </a:cxn>
                  <a:cxn ang="0">
                    <a:pos x="148" y="247"/>
                  </a:cxn>
                  <a:cxn ang="0">
                    <a:pos x="143" y="245"/>
                  </a:cxn>
                  <a:cxn ang="0">
                    <a:pos x="108" y="242"/>
                  </a:cxn>
                  <a:cxn ang="0">
                    <a:pos x="98" y="242"/>
                  </a:cxn>
                  <a:cxn ang="0">
                    <a:pos x="90" y="242"/>
                  </a:cxn>
                  <a:cxn ang="0">
                    <a:pos x="79" y="240"/>
                  </a:cxn>
                  <a:cxn ang="0">
                    <a:pos x="67" y="242"/>
                  </a:cxn>
                  <a:cxn ang="0">
                    <a:pos x="65" y="244"/>
                  </a:cxn>
                  <a:cxn ang="0">
                    <a:pos x="32" y="242"/>
                  </a:cxn>
                  <a:cxn ang="0">
                    <a:pos x="29" y="237"/>
                  </a:cxn>
                  <a:cxn ang="0">
                    <a:pos x="27" y="215"/>
                  </a:cxn>
                  <a:cxn ang="0">
                    <a:pos x="25" y="201"/>
                  </a:cxn>
                  <a:cxn ang="0">
                    <a:pos x="10" y="201"/>
                  </a:cxn>
                  <a:cxn ang="0">
                    <a:pos x="0" y="187"/>
                  </a:cxn>
                </a:cxnLst>
                <a:rect l="0" t="0" r="r" b="b"/>
                <a:pathLst>
                  <a:path w="185" h="250">
                    <a:moveTo>
                      <a:pt x="0" y="187"/>
                    </a:moveTo>
                    <a:lnTo>
                      <a:pt x="0" y="186"/>
                    </a:lnTo>
                    <a:lnTo>
                      <a:pt x="7" y="179"/>
                    </a:lnTo>
                    <a:lnTo>
                      <a:pt x="10" y="172"/>
                    </a:lnTo>
                    <a:lnTo>
                      <a:pt x="9" y="167"/>
                    </a:lnTo>
                    <a:lnTo>
                      <a:pt x="9" y="162"/>
                    </a:lnTo>
                    <a:lnTo>
                      <a:pt x="12" y="161"/>
                    </a:lnTo>
                    <a:lnTo>
                      <a:pt x="12" y="157"/>
                    </a:lnTo>
                    <a:lnTo>
                      <a:pt x="15" y="154"/>
                    </a:lnTo>
                    <a:lnTo>
                      <a:pt x="20" y="152"/>
                    </a:lnTo>
                    <a:lnTo>
                      <a:pt x="22" y="151"/>
                    </a:lnTo>
                    <a:lnTo>
                      <a:pt x="29" y="146"/>
                    </a:lnTo>
                    <a:lnTo>
                      <a:pt x="29" y="141"/>
                    </a:lnTo>
                    <a:lnTo>
                      <a:pt x="30" y="139"/>
                    </a:lnTo>
                    <a:lnTo>
                      <a:pt x="35" y="137"/>
                    </a:lnTo>
                    <a:lnTo>
                      <a:pt x="37" y="136"/>
                    </a:lnTo>
                    <a:lnTo>
                      <a:pt x="39" y="136"/>
                    </a:lnTo>
                    <a:lnTo>
                      <a:pt x="45" y="139"/>
                    </a:lnTo>
                    <a:lnTo>
                      <a:pt x="47" y="137"/>
                    </a:lnTo>
                    <a:lnTo>
                      <a:pt x="52" y="141"/>
                    </a:lnTo>
                    <a:lnTo>
                      <a:pt x="55" y="144"/>
                    </a:lnTo>
                    <a:lnTo>
                      <a:pt x="59" y="147"/>
                    </a:lnTo>
                    <a:lnTo>
                      <a:pt x="62" y="149"/>
                    </a:lnTo>
                    <a:lnTo>
                      <a:pt x="67" y="146"/>
                    </a:lnTo>
                    <a:lnTo>
                      <a:pt x="70" y="141"/>
                    </a:lnTo>
                    <a:lnTo>
                      <a:pt x="70" y="139"/>
                    </a:lnTo>
                    <a:lnTo>
                      <a:pt x="72" y="136"/>
                    </a:lnTo>
                    <a:lnTo>
                      <a:pt x="75" y="136"/>
                    </a:lnTo>
                    <a:lnTo>
                      <a:pt x="79" y="131"/>
                    </a:lnTo>
                    <a:lnTo>
                      <a:pt x="79" y="127"/>
                    </a:lnTo>
                    <a:lnTo>
                      <a:pt x="80" y="122"/>
                    </a:lnTo>
                    <a:lnTo>
                      <a:pt x="89" y="116"/>
                    </a:lnTo>
                    <a:lnTo>
                      <a:pt x="89" y="112"/>
                    </a:lnTo>
                    <a:lnTo>
                      <a:pt x="87" y="109"/>
                    </a:lnTo>
                    <a:lnTo>
                      <a:pt x="90" y="106"/>
                    </a:lnTo>
                    <a:lnTo>
                      <a:pt x="97" y="101"/>
                    </a:lnTo>
                    <a:lnTo>
                      <a:pt x="102" y="98"/>
                    </a:lnTo>
                    <a:lnTo>
                      <a:pt x="102" y="93"/>
                    </a:lnTo>
                    <a:lnTo>
                      <a:pt x="103" y="89"/>
                    </a:lnTo>
                    <a:lnTo>
                      <a:pt x="102" y="83"/>
                    </a:lnTo>
                    <a:lnTo>
                      <a:pt x="105" y="79"/>
                    </a:lnTo>
                    <a:lnTo>
                      <a:pt x="112" y="78"/>
                    </a:lnTo>
                    <a:lnTo>
                      <a:pt x="117" y="73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20" y="54"/>
                    </a:lnTo>
                    <a:lnTo>
                      <a:pt x="123" y="48"/>
                    </a:lnTo>
                    <a:lnTo>
                      <a:pt x="127" y="46"/>
                    </a:lnTo>
                    <a:lnTo>
                      <a:pt x="127" y="44"/>
                    </a:lnTo>
                    <a:lnTo>
                      <a:pt x="132" y="41"/>
                    </a:lnTo>
                    <a:lnTo>
                      <a:pt x="135" y="41"/>
                    </a:lnTo>
                    <a:lnTo>
                      <a:pt x="137" y="38"/>
                    </a:lnTo>
                    <a:lnTo>
                      <a:pt x="143" y="34"/>
                    </a:lnTo>
                    <a:lnTo>
                      <a:pt x="143" y="33"/>
                    </a:lnTo>
                    <a:lnTo>
                      <a:pt x="142" y="26"/>
                    </a:lnTo>
                    <a:lnTo>
                      <a:pt x="142" y="24"/>
                    </a:lnTo>
                    <a:lnTo>
                      <a:pt x="140" y="21"/>
                    </a:lnTo>
                    <a:lnTo>
                      <a:pt x="135" y="19"/>
                    </a:lnTo>
                    <a:lnTo>
                      <a:pt x="133" y="16"/>
                    </a:lnTo>
                    <a:lnTo>
                      <a:pt x="133" y="9"/>
                    </a:lnTo>
                    <a:lnTo>
                      <a:pt x="133" y="6"/>
                    </a:lnTo>
                    <a:lnTo>
                      <a:pt x="132" y="0"/>
                    </a:lnTo>
                    <a:lnTo>
                      <a:pt x="143" y="6"/>
                    </a:lnTo>
                    <a:lnTo>
                      <a:pt x="148" y="9"/>
                    </a:lnTo>
                    <a:lnTo>
                      <a:pt x="150" y="16"/>
                    </a:lnTo>
                    <a:lnTo>
                      <a:pt x="152" y="18"/>
                    </a:lnTo>
                    <a:lnTo>
                      <a:pt x="153" y="23"/>
                    </a:lnTo>
                    <a:lnTo>
                      <a:pt x="155" y="28"/>
                    </a:lnTo>
                    <a:lnTo>
                      <a:pt x="155" y="31"/>
                    </a:lnTo>
                    <a:lnTo>
                      <a:pt x="155" y="33"/>
                    </a:lnTo>
                    <a:lnTo>
                      <a:pt x="153" y="36"/>
                    </a:lnTo>
                    <a:lnTo>
                      <a:pt x="157" y="38"/>
                    </a:lnTo>
                    <a:lnTo>
                      <a:pt x="155" y="44"/>
                    </a:lnTo>
                    <a:lnTo>
                      <a:pt x="152" y="46"/>
                    </a:lnTo>
                    <a:lnTo>
                      <a:pt x="152" y="51"/>
                    </a:lnTo>
                    <a:lnTo>
                      <a:pt x="157" y="56"/>
                    </a:lnTo>
                    <a:lnTo>
                      <a:pt x="160" y="58"/>
                    </a:lnTo>
                    <a:lnTo>
                      <a:pt x="162" y="63"/>
                    </a:lnTo>
                    <a:lnTo>
                      <a:pt x="168" y="68"/>
                    </a:lnTo>
                    <a:lnTo>
                      <a:pt x="170" y="69"/>
                    </a:lnTo>
                    <a:lnTo>
                      <a:pt x="168" y="71"/>
                    </a:lnTo>
                    <a:lnTo>
                      <a:pt x="165" y="69"/>
                    </a:lnTo>
                    <a:lnTo>
                      <a:pt x="162" y="68"/>
                    </a:lnTo>
                    <a:lnTo>
                      <a:pt x="157" y="68"/>
                    </a:lnTo>
                    <a:lnTo>
                      <a:pt x="153" y="68"/>
                    </a:lnTo>
                    <a:lnTo>
                      <a:pt x="150" y="68"/>
                    </a:lnTo>
                    <a:lnTo>
                      <a:pt x="145" y="68"/>
                    </a:lnTo>
                    <a:lnTo>
                      <a:pt x="143" y="68"/>
                    </a:lnTo>
                    <a:lnTo>
                      <a:pt x="138" y="68"/>
                    </a:lnTo>
                    <a:lnTo>
                      <a:pt x="135" y="68"/>
                    </a:lnTo>
                    <a:lnTo>
                      <a:pt x="135" y="71"/>
                    </a:lnTo>
                    <a:lnTo>
                      <a:pt x="133" y="74"/>
                    </a:lnTo>
                    <a:lnTo>
                      <a:pt x="133" y="78"/>
                    </a:lnTo>
                    <a:lnTo>
                      <a:pt x="135" y="79"/>
                    </a:lnTo>
                    <a:lnTo>
                      <a:pt x="137" y="81"/>
                    </a:lnTo>
                    <a:lnTo>
                      <a:pt x="137" y="84"/>
                    </a:lnTo>
                    <a:lnTo>
                      <a:pt x="142" y="86"/>
                    </a:lnTo>
                    <a:lnTo>
                      <a:pt x="150" y="93"/>
                    </a:lnTo>
                    <a:lnTo>
                      <a:pt x="158" y="101"/>
                    </a:lnTo>
                    <a:lnTo>
                      <a:pt x="163" y="104"/>
                    </a:lnTo>
                    <a:lnTo>
                      <a:pt x="167" y="109"/>
                    </a:lnTo>
                    <a:lnTo>
                      <a:pt x="170" y="116"/>
                    </a:lnTo>
                    <a:lnTo>
                      <a:pt x="172" y="121"/>
                    </a:lnTo>
                    <a:lnTo>
                      <a:pt x="167" y="126"/>
                    </a:lnTo>
                    <a:lnTo>
                      <a:pt x="163" y="127"/>
                    </a:lnTo>
                    <a:lnTo>
                      <a:pt x="160" y="132"/>
                    </a:lnTo>
                    <a:lnTo>
                      <a:pt x="157" y="139"/>
                    </a:lnTo>
                    <a:lnTo>
                      <a:pt x="153" y="144"/>
                    </a:lnTo>
                    <a:lnTo>
                      <a:pt x="148" y="151"/>
                    </a:lnTo>
                    <a:lnTo>
                      <a:pt x="147" y="151"/>
                    </a:lnTo>
                    <a:lnTo>
                      <a:pt x="143" y="154"/>
                    </a:lnTo>
                    <a:lnTo>
                      <a:pt x="145" y="159"/>
                    </a:lnTo>
                    <a:lnTo>
                      <a:pt x="147" y="166"/>
                    </a:lnTo>
                    <a:lnTo>
                      <a:pt x="145" y="171"/>
                    </a:lnTo>
                    <a:lnTo>
                      <a:pt x="147" y="176"/>
                    </a:lnTo>
                    <a:lnTo>
                      <a:pt x="148" y="181"/>
                    </a:lnTo>
                    <a:lnTo>
                      <a:pt x="148" y="189"/>
                    </a:lnTo>
                    <a:lnTo>
                      <a:pt x="150" y="191"/>
                    </a:lnTo>
                    <a:lnTo>
                      <a:pt x="157" y="194"/>
                    </a:lnTo>
                    <a:lnTo>
                      <a:pt x="162" y="199"/>
                    </a:lnTo>
                    <a:lnTo>
                      <a:pt x="163" y="204"/>
                    </a:lnTo>
                    <a:lnTo>
                      <a:pt x="168" y="210"/>
                    </a:lnTo>
                    <a:lnTo>
                      <a:pt x="172" y="217"/>
                    </a:lnTo>
                    <a:lnTo>
                      <a:pt x="175" y="220"/>
                    </a:lnTo>
                    <a:lnTo>
                      <a:pt x="183" y="225"/>
                    </a:lnTo>
                    <a:lnTo>
                      <a:pt x="183" y="230"/>
                    </a:lnTo>
                    <a:lnTo>
                      <a:pt x="183" y="234"/>
                    </a:lnTo>
                    <a:lnTo>
                      <a:pt x="185" y="235"/>
                    </a:lnTo>
                    <a:lnTo>
                      <a:pt x="185" y="235"/>
                    </a:lnTo>
                    <a:lnTo>
                      <a:pt x="185" y="237"/>
                    </a:lnTo>
                    <a:lnTo>
                      <a:pt x="183" y="239"/>
                    </a:lnTo>
                    <a:lnTo>
                      <a:pt x="180" y="244"/>
                    </a:lnTo>
                    <a:lnTo>
                      <a:pt x="180" y="245"/>
                    </a:lnTo>
                    <a:lnTo>
                      <a:pt x="182" y="249"/>
                    </a:lnTo>
                    <a:lnTo>
                      <a:pt x="182" y="250"/>
                    </a:lnTo>
                    <a:lnTo>
                      <a:pt x="178" y="250"/>
                    </a:lnTo>
                    <a:lnTo>
                      <a:pt x="178" y="249"/>
                    </a:lnTo>
                    <a:lnTo>
                      <a:pt x="175" y="250"/>
                    </a:lnTo>
                    <a:lnTo>
                      <a:pt x="173" y="249"/>
                    </a:lnTo>
                    <a:lnTo>
                      <a:pt x="172" y="249"/>
                    </a:lnTo>
                    <a:lnTo>
                      <a:pt x="167" y="249"/>
                    </a:lnTo>
                    <a:lnTo>
                      <a:pt x="165" y="249"/>
                    </a:lnTo>
                    <a:lnTo>
                      <a:pt x="162" y="247"/>
                    </a:lnTo>
                    <a:lnTo>
                      <a:pt x="158" y="247"/>
                    </a:lnTo>
                    <a:lnTo>
                      <a:pt x="158" y="247"/>
                    </a:lnTo>
                    <a:lnTo>
                      <a:pt x="157" y="249"/>
                    </a:lnTo>
                    <a:lnTo>
                      <a:pt x="155" y="247"/>
                    </a:lnTo>
                    <a:lnTo>
                      <a:pt x="152" y="245"/>
                    </a:lnTo>
                    <a:lnTo>
                      <a:pt x="148" y="247"/>
                    </a:lnTo>
                    <a:lnTo>
                      <a:pt x="147" y="244"/>
                    </a:lnTo>
                    <a:lnTo>
                      <a:pt x="145" y="244"/>
                    </a:lnTo>
                    <a:lnTo>
                      <a:pt x="143" y="245"/>
                    </a:lnTo>
                    <a:lnTo>
                      <a:pt x="140" y="244"/>
                    </a:lnTo>
                    <a:lnTo>
                      <a:pt x="110" y="244"/>
                    </a:lnTo>
                    <a:lnTo>
                      <a:pt x="108" y="242"/>
                    </a:lnTo>
                    <a:lnTo>
                      <a:pt x="107" y="242"/>
                    </a:lnTo>
                    <a:lnTo>
                      <a:pt x="105" y="242"/>
                    </a:lnTo>
                    <a:lnTo>
                      <a:pt x="98" y="242"/>
                    </a:lnTo>
                    <a:lnTo>
                      <a:pt x="98" y="240"/>
                    </a:lnTo>
                    <a:lnTo>
                      <a:pt x="95" y="240"/>
                    </a:lnTo>
                    <a:lnTo>
                      <a:pt x="90" y="242"/>
                    </a:lnTo>
                    <a:lnTo>
                      <a:pt x="89" y="240"/>
                    </a:lnTo>
                    <a:lnTo>
                      <a:pt x="82" y="240"/>
                    </a:lnTo>
                    <a:lnTo>
                      <a:pt x="79" y="240"/>
                    </a:lnTo>
                    <a:lnTo>
                      <a:pt x="72" y="240"/>
                    </a:lnTo>
                    <a:lnTo>
                      <a:pt x="70" y="242"/>
                    </a:lnTo>
                    <a:lnTo>
                      <a:pt x="67" y="242"/>
                    </a:lnTo>
                    <a:lnTo>
                      <a:pt x="65" y="242"/>
                    </a:lnTo>
                    <a:lnTo>
                      <a:pt x="65" y="244"/>
                    </a:lnTo>
                    <a:lnTo>
                      <a:pt x="65" y="244"/>
                    </a:lnTo>
                    <a:lnTo>
                      <a:pt x="35" y="244"/>
                    </a:lnTo>
                    <a:lnTo>
                      <a:pt x="34" y="242"/>
                    </a:lnTo>
                    <a:lnTo>
                      <a:pt x="32" y="242"/>
                    </a:lnTo>
                    <a:lnTo>
                      <a:pt x="29" y="244"/>
                    </a:lnTo>
                    <a:lnTo>
                      <a:pt x="32" y="240"/>
                    </a:lnTo>
                    <a:lnTo>
                      <a:pt x="29" y="237"/>
                    </a:lnTo>
                    <a:lnTo>
                      <a:pt x="32" y="229"/>
                    </a:lnTo>
                    <a:lnTo>
                      <a:pt x="30" y="220"/>
                    </a:lnTo>
                    <a:lnTo>
                      <a:pt x="27" y="215"/>
                    </a:lnTo>
                    <a:lnTo>
                      <a:pt x="27" y="209"/>
                    </a:lnTo>
                    <a:lnTo>
                      <a:pt x="29" y="205"/>
                    </a:lnTo>
                    <a:lnTo>
                      <a:pt x="25" y="201"/>
                    </a:lnTo>
                    <a:lnTo>
                      <a:pt x="17" y="204"/>
                    </a:lnTo>
                    <a:lnTo>
                      <a:pt x="15" y="201"/>
                    </a:lnTo>
                    <a:lnTo>
                      <a:pt x="10" y="201"/>
                    </a:lnTo>
                    <a:lnTo>
                      <a:pt x="9" y="187"/>
                    </a:lnTo>
                    <a:lnTo>
                      <a:pt x="4" y="189"/>
                    </a:lnTo>
                    <a:lnTo>
                      <a:pt x="0" y="18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0" name="Freeform 124"/>
              <p:cNvSpPr>
                <a:spLocks/>
              </p:cNvSpPr>
              <p:nvPr/>
            </p:nvSpPr>
            <p:spPr bwMode="auto">
              <a:xfrm>
                <a:off x="6528461" y="3244812"/>
                <a:ext cx="73847" cy="70556"/>
              </a:xfrm>
              <a:custGeom>
                <a:avLst/>
                <a:gdLst/>
                <a:ahLst/>
                <a:cxnLst>
                  <a:cxn ang="0">
                    <a:pos x="63" y="2"/>
                  </a:cxn>
                  <a:cxn ang="0">
                    <a:pos x="68" y="2"/>
                  </a:cxn>
                  <a:cxn ang="0">
                    <a:pos x="77" y="0"/>
                  </a:cxn>
                  <a:cxn ang="0">
                    <a:pos x="87" y="0"/>
                  </a:cxn>
                  <a:cxn ang="0">
                    <a:pos x="93" y="0"/>
                  </a:cxn>
                  <a:cxn ang="0">
                    <a:pos x="96" y="2"/>
                  </a:cxn>
                  <a:cxn ang="0">
                    <a:pos x="105" y="2"/>
                  </a:cxn>
                  <a:cxn ang="0">
                    <a:pos x="108" y="4"/>
                  </a:cxn>
                  <a:cxn ang="0">
                    <a:pos x="106" y="7"/>
                  </a:cxn>
                  <a:cxn ang="0">
                    <a:pos x="108" y="17"/>
                  </a:cxn>
                  <a:cxn ang="0">
                    <a:pos x="108" y="24"/>
                  </a:cxn>
                  <a:cxn ang="0">
                    <a:pos x="115" y="24"/>
                  </a:cxn>
                  <a:cxn ang="0">
                    <a:pos x="123" y="22"/>
                  </a:cxn>
                  <a:cxn ang="0">
                    <a:pos x="136" y="20"/>
                  </a:cxn>
                  <a:cxn ang="0">
                    <a:pos x="138" y="29"/>
                  </a:cxn>
                  <a:cxn ang="0">
                    <a:pos x="138" y="34"/>
                  </a:cxn>
                  <a:cxn ang="0">
                    <a:pos x="133" y="39"/>
                  </a:cxn>
                  <a:cxn ang="0">
                    <a:pos x="128" y="45"/>
                  </a:cxn>
                  <a:cxn ang="0">
                    <a:pos x="130" y="49"/>
                  </a:cxn>
                  <a:cxn ang="0">
                    <a:pos x="128" y="50"/>
                  </a:cxn>
                  <a:cxn ang="0">
                    <a:pos x="125" y="54"/>
                  </a:cxn>
                  <a:cxn ang="0">
                    <a:pos x="128" y="57"/>
                  </a:cxn>
                  <a:cxn ang="0">
                    <a:pos x="131" y="60"/>
                  </a:cxn>
                  <a:cxn ang="0">
                    <a:pos x="136" y="65"/>
                  </a:cxn>
                  <a:cxn ang="0">
                    <a:pos x="138" y="72"/>
                  </a:cxn>
                  <a:cxn ang="0">
                    <a:pos x="130" y="97"/>
                  </a:cxn>
                  <a:cxn ang="0">
                    <a:pos x="131" y="105"/>
                  </a:cxn>
                  <a:cxn ang="0">
                    <a:pos x="126" y="102"/>
                  </a:cxn>
                  <a:cxn ang="0">
                    <a:pos x="116" y="100"/>
                  </a:cxn>
                  <a:cxn ang="0">
                    <a:pos x="111" y="102"/>
                  </a:cxn>
                  <a:cxn ang="0">
                    <a:pos x="101" y="98"/>
                  </a:cxn>
                  <a:cxn ang="0">
                    <a:pos x="93" y="90"/>
                  </a:cxn>
                  <a:cxn ang="0">
                    <a:pos x="92" y="98"/>
                  </a:cxn>
                  <a:cxn ang="0">
                    <a:pos x="83" y="102"/>
                  </a:cxn>
                  <a:cxn ang="0">
                    <a:pos x="78" y="103"/>
                  </a:cxn>
                  <a:cxn ang="0">
                    <a:pos x="70" y="103"/>
                  </a:cxn>
                  <a:cxn ang="0">
                    <a:pos x="63" y="107"/>
                  </a:cxn>
                  <a:cxn ang="0">
                    <a:pos x="65" y="113"/>
                  </a:cxn>
                  <a:cxn ang="0">
                    <a:pos x="72" y="112"/>
                  </a:cxn>
                  <a:cxn ang="0">
                    <a:pos x="78" y="117"/>
                  </a:cxn>
                  <a:cxn ang="0">
                    <a:pos x="78" y="130"/>
                  </a:cxn>
                  <a:cxn ang="0">
                    <a:pos x="70" y="125"/>
                  </a:cxn>
                  <a:cxn ang="0">
                    <a:pos x="63" y="128"/>
                  </a:cxn>
                  <a:cxn ang="0">
                    <a:pos x="62" y="132"/>
                  </a:cxn>
                  <a:cxn ang="0">
                    <a:pos x="57" y="137"/>
                  </a:cxn>
                  <a:cxn ang="0">
                    <a:pos x="52" y="130"/>
                  </a:cxn>
                  <a:cxn ang="0">
                    <a:pos x="40" y="122"/>
                  </a:cxn>
                  <a:cxn ang="0">
                    <a:pos x="23" y="108"/>
                  </a:cxn>
                  <a:cxn ang="0">
                    <a:pos x="18" y="102"/>
                  </a:cxn>
                  <a:cxn ang="0">
                    <a:pos x="13" y="93"/>
                  </a:cxn>
                  <a:cxn ang="0">
                    <a:pos x="8" y="82"/>
                  </a:cxn>
                  <a:cxn ang="0">
                    <a:pos x="5" y="77"/>
                  </a:cxn>
                  <a:cxn ang="0">
                    <a:pos x="0" y="65"/>
                  </a:cxn>
                  <a:cxn ang="0">
                    <a:pos x="12" y="63"/>
                  </a:cxn>
                  <a:cxn ang="0">
                    <a:pos x="13" y="45"/>
                  </a:cxn>
                  <a:cxn ang="0">
                    <a:pos x="27" y="45"/>
                  </a:cxn>
                  <a:cxn ang="0">
                    <a:pos x="13" y="37"/>
                  </a:cxn>
                  <a:cxn ang="0">
                    <a:pos x="20" y="30"/>
                  </a:cxn>
                  <a:cxn ang="0">
                    <a:pos x="25" y="29"/>
                  </a:cxn>
                  <a:cxn ang="0">
                    <a:pos x="30" y="29"/>
                  </a:cxn>
                  <a:cxn ang="0">
                    <a:pos x="63" y="4"/>
                  </a:cxn>
                </a:cxnLst>
                <a:rect l="0" t="0" r="r" b="b"/>
                <a:pathLst>
                  <a:path w="138" h="137">
                    <a:moveTo>
                      <a:pt x="63" y="4"/>
                    </a:moveTo>
                    <a:lnTo>
                      <a:pt x="63" y="2"/>
                    </a:lnTo>
                    <a:lnTo>
                      <a:pt x="65" y="2"/>
                    </a:lnTo>
                    <a:lnTo>
                      <a:pt x="68" y="2"/>
                    </a:lnTo>
                    <a:lnTo>
                      <a:pt x="70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7" y="0"/>
                    </a:lnTo>
                    <a:lnTo>
                      <a:pt x="88" y="2"/>
                    </a:lnTo>
                    <a:lnTo>
                      <a:pt x="93" y="0"/>
                    </a:lnTo>
                    <a:lnTo>
                      <a:pt x="96" y="0"/>
                    </a:lnTo>
                    <a:lnTo>
                      <a:pt x="96" y="2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6" y="7"/>
                    </a:lnTo>
                    <a:lnTo>
                      <a:pt x="108" y="12"/>
                    </a:lnTo>
                    <a:lnTo>
                      <a:pt x="108" y="17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10" y="25"/>
                    </a:lnTo>
                    <a:lnTo>
                      <a:pt x="115" y="24"/>
                    </a:lnTo>
                    <a:lnTo>
                      <a:pt x="118" y="24"/>
                    </a:lnTo>
                    <a:lnTo>
                      <a:pt x="123" y="22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38" y="22"/>
                    </a:lnTo>
                    <a:lnTo>
                      <a:pt x="138" y="29"/>
                    </a:lnTo>
                    <a:lnTo>
                      <a:pt x="136" y="32"/>
                    </a:lnTo>
                    <a:lnTo>
                      <a:pt x="138" y="34"/>
                    </a:lnTo>
                    <a:lnTo>
                      <a:pt x="138" y="39"/>
                    </a:lnTo>
                    <a:lnTo>
                      <a:pt x="133" y="39"/>
                    </a:lnTo>
                    <a:lnTo>
                      <a:pt x="128" y="42"/>
                    </a:lnTo>
                    <a:lnTo>
                      <a:pt x="128" y="45"/>
                    </a:lnTo>
                    <a:lnTo>
                      <a:pt x="130" y="45"/>
                    </a:lnTo>
                    <a:lnTo>
                      <a:pt x="130" y="49"/>
                    </a:lnTo>
                    <a:lnTo>
                      <a:pt x="130" y="49"/>
                    </a:lnTo>
                    <a:lnTo>
                      <a:pt x="128" y="50"/>
                    </a:lnTo>
                    <a:lnTo>
                      <a:pt x="125" y="52"/>
                    </a:lnTo>
                    <a:lnTo>
                      <a:pt x="125" y="54"/>
                    </a:lnTo>
                    <a:lnTo>
                      <a:pt x="126" y="55"/>
                    </a:lnTo>
                    <a:lnTo>
                      <a:pt x="128" y="57"/>
                    </a:lnTo>
                    <a:lnTo>
                      <a:pt x="130" y="59"/>
                    </a:lnTo>
                    <a:lnTo>
                      <a:pt x="131" y="60"/>
                    </a:lnTo>
                    <a:lnTo>
                      <a:pt x="135" y="63"/>
                    </a:lnTo>
                    <a:lnTo>
                      <a:pt x="136" y="65"/>
                    </a:lnTo>
                    <a:lnTo>
                      <a:pt x="138" y="67"/>
                    </a:lnTo>
                    <a:lnTo>
                      <a:pt x="138" y="72"/>
                    </a:lnTo>
                    <a:lnTo>
                      <a:pt x="136" y="80"/>
                    </a:lnTo>
                    <a:lnTo>
                      <a:pt x="130" y="97"/>
                    </a:lnTo>
                    <a:lnTo>
                      <a:pt x="131" y="100"/>
                    </a:lnTo>
                    <a:lnTo>
                      <a:pt x="131" y="105"/>
                    </a:lnTo>
                    <a:lnTo>
                      <a:pt x="128" y="105"/>
                    </a:lnTo>
                    <a:lnTo>
                      <a:pt x="126" y="102"/>
                    </a:lnTo>
                    <a:lnTo>
                      <a:pt x="123" y="100"/>
                    </a:lnTo>
                    <a:lnTo>
                      <a:pt x="116" y="100"/>
                    </a:lnTo>
                    <a:lnTo>
                      <a:pt x="115" y="102"/>
                    </a:lnTo>
                    <a:lnTo>
                      <a:pt x="111" y="102"/>
                    </a:lnTo>
                    <a:lnTo>
                      <a:pt x="105" y="103"/>
                    </a:lnTo>
                    <a:lnTo>
                      <a:pt x="101" y="98"/>
                    </a:lnTo>
                    <a:lnTo>
                      <a:pt x="98" y="90"/>
                    </a:lnTo>
                    <a:lnTo>
                      <a:pt x="93" y="90"/>
                    </a:lnTo>
                    <a:lnTo>
                      <a:pt x="92" y="92"/>
                    </a:lnTo>
                    <a:lnTo>
                      <a:pt x="92" y="98"/>
                    </a:lnTo>
                    <a:lnTo>
                      <a:pt x="92" y="102"/>
                    </a:lnTo>
                    <a:lnTo>
                      <a:pt x="83" y="102"/>
                    </a:lnTo>
                    <a:lnTo>
                      <a:pt x="78" y="102"/>
                    </a:lnTo>
                    <a:lnTo>
                      <a:pt x="78" y="103"/>
                    </a:lnTo>
                    <a:lnTo>
                      <a:pt x="75" y="105"/>
                    </a:lnTo>
                    <a:lnTo>
                      <a:pt x="70" y="103"/>
                    </a:lnTo>
                    <a:lnTo>
                      <a:pt x="65" y="103"/>
                    </a:lnTo>
                    <a:lnTo>
                      <a:pt x="63" y="107"/>
                    </a:lnTo>
                    <a:lnTo>
                      <a:pt x="65" y="108"/>
                    </a:lnTo>
                    <a:lnTo>
                      <a:pt x="65" y="113"/>
                    </a:lnTo>
                    <a:lnTo>
                      <a:pt x="68" y="112"/>
                    </a:lnTo>
                    <a:lnTo>
                      <a:pt x="72" y="112"/>
                    </a:lnTo>
                    <a:lnTo>
                      <a:pt x="75" y="113"/>
                    </a:lnTo>
                    <a:lnTo>
                      <a:pt x="78" y="117"/>
                    </a:lnTo>
                    <a:lnTo>
                      <a:pt x="78" y="127"/>
                    </a:lnTo>
                    <a:lnTo>
                      <a:pt x="78" y="130"/>
                    </a:lnTo>
                    <a:lnTo>
                      <a:pt x="72" y="125"/>
                    </a:lnTo>
                    <a:lnTo>
                      <a:pt x="70" y="125"/>
                    </a:lnTo>
                    <a:lnTo>
                      <a:pt x="68" y="128"/>
                    </a:lnTo>
                    <a:lnTo>
                      <a:pt x="63" y="128"/>
                    </a:lnTo>
                    <a:lnTo>
                      <a:pt x="62" y="130"/>
                    </a:lnTo>
                    <a:lnTo>
                      <a:pt x="62" y="132"/>
                    </a:lnTo>
                    <a:lnTo>
                      <a:pt x="58" y="137"/>
                    </a:lnTo>
                    <a:lnTo>
                      <a:pt x="57" y="137"/>
                    </a:lnTo>
                    <a:lnTo>
                      <a:pt x="53" y="135"/>
                    </a:lnTo>
                    <a:lnTo>
                      <a:pt x="52" y="130"/>
                    </a:lnTo>
                    <a:lnTo>
                      <a:pt x="43" y="127"/>
                    </a:lnTo>
                    <a:lnTo>
                      <a:pt x="40" y="122"/>
                    </a:lnTo>
                    <a:lnTo>
                      <a:pt x="30" y="113"/>
                    </a:lnTo>
                    <a:lnTo>
                      <a:pt x="23" y="108"/>
                    </a:lnTo>
                    <a:lnTo>
                      <a:pt x="25" y="107"/>
                    </a:lnTo>
                    <a:lnTo>
                      <a:pt x="18" y="102"/>
                    </a:lnTo>
                    <a:lnTo>
                      <a:pt x="17" y="97"/>
                    </a:lnTo>
                    <a:lnTo>
                      <a:pt x="13" y="93"/>
                    </a:lnTo>
                    <a:lnTo>
                      <a:pt x="13" y="87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5" y="77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7" y="67"/>
                    </a:lnTo>
                    <a:lnTo>
                      <a:pt x="12" y="63"/>
                    </a:lnTo>
                    <a:lnTo>
                      <a:pt x="12" y="50"/>
                    </a:lnTo>
                    <a:lnTo>
                      <a:pt x="13" y="45"/>
                    </a:lnTo>
                    <a:lnTo>
                      <a:pt x="15" y="47"/>
                    </a:lnTo>
                    <a:lnTo>
                      <a:pt x="27" y="45"/>
                    </a:lnTo>
                    <a:lnTo>
                      <a:pt x="18" y="44"/>
                    </a:lnTo>
                    <a:lnTo>
                      <a:pt x="13" y="37"/>
                    </a:lnTo>
                    <a:lnTo>
                      <a:pt x="18" y="35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63" y="30"/>
                    </a:lnTo>
                    <a:lnTo>
                      <a:pt x="63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1" name="Freeform 125"/>
              <p:cNvSpPr>
                <a:spLocks/>
              </p:cNvSpPr>
              <p:nvPr/>
            </p:nvSpPr>
            <p:spPr bwMode="auto">
              <a:xfrm>
                <a:off x="6534882" y="3245850"/>
                <a:ext cx="26756" cy="14526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9" y="28"/>
                  </a:cxn>
                  <a:cxn ang="0">
                    <a:pos x="12" y="27"/>
                  </a:cxn>
                  <a:cxn ang="0">
                    <a:pos x="15" y="27"/>
                  </a:cxn>
                  <a:cxn ang="0">
                    <a:pos x="17" y="27"/>
                  </a:cxn>
                  <a:cxn ang="0">
                    <a:pos x="50" y="28"/>
                  </a:cxn>
                  <a:cxn ang="0">
                    <a:pos x="50" y="2"/>
                  </a:cxn>
                  <a:cxn ang="0">
                    <a:pos x="20" y="2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4" y="7"/>
                  </a:cxn>
                  <a:cxn ang="0">
                    <a:pos x="7" y="13"/>
                  </a:cxn>
                  <a:cxn ang="0">
                    <a:pos x="0" y="25"/>
                  </a:cxn>
                  <a:cxn ang="0">
                    <a:pos x="7" y="27"/>
                  </a:cxn>
                  <a:cxn ang="0">
                    <a:pos x="7" y="28"/>
                  </a:cxn>
                </a:cxnLst>
                <a:rect l="0" t="0" r="r" b="b"/>
                <a:pathLst>
                  <a:path w="50" h="28">
                    <a:moveTo>
                      <a:pt x="7" y="28"/>
                    </a:moveTo>
                    <a:lnTo>
                      <a:pt x="9" y="28"/>
                    </a:lnTo>
                    <a:lnTo>
                      <a:pt x="12" y="27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50" y="28"/>
                    </a:lnTo>
                    <a:lnTo>
                      <a:pt x="50" y="2"/>
                    </a:lnTo>
                    <a:lnTo>
                      <a:pt x="20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4" y="7"/>
                    </a:lnTo>
                    <a:lnTo>
                      <a:pt x="7" y="13"/>
                    </a:lnTo>
                    <a:lnTo>
                      <a:pt x="0" y="25"/>
                    </a:lnTo>
                    <a:lnTo>
                      <a:pt x="7" y="27"/>
                    </a:lnTo>
                    <a:lnTo>
                      <a:pt x="7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2" name="Freeform 126"/>
              <p:cNvSpPr>
                <a:spLocks/>
              </p:cNvSpPr>
              <p:nvPr/>
            </p:nvSpPr>
            <p:spPr bwMode="auto">
              <a:xfrm>
                <a:off x="6559498" y="3226136"/>
                <a:ext cx="99533" cy="102722"/>
              </a:xfrm>
              <a:custGeom>
                <a:avLst/>
                <a:gdLst/>
                <a:ahLst/>
                <a:cxnLst>
                  <a:cxn ang="0">
                    <a:pos x="4" y="165"/>
                  </a:cxn>
                  <a:cxn ang="0">
                    <a:pos x="12" y="160"/>
                  </a:cxn>
                  <a:cxn ang="0">
                    <a:pos x="20" y="162"/>
                  </a:cxn>
                  <a:cxn ang="0">
                    <a:pos x="14" y="147"/>
                  </a:cxn>
                  <a:cxn ang="0">
                    <a:pos x="7" y="143"/>
                  </a:cxn>
                  <a:cxn ang="0">
                    <a:pos x="12" y="138"/>
                  </a:cxn>
                  <a:cxn ang="0">
                    <a:pos x="20" y="137"/>
                  </a:cxn>
                  <a:cxn ang="0">
                    <a:pos x="34" y="133"/>
                  </a:cxn>
                  <a:cxn ang="0">
                    <a:pos x="40" y="125"/>
                  </a:cxn>
                  <a:cxn ang="0">
                    <a:pos x="53" y="137"/>
                  </a:cxn>
                  <a:cxn ang="0">
                    <a:pos x="65" y="135"/>
                  </a:cxn>
                  <a:cxn ang="0">
                    <a:pos x="73" y="140"/>
                  </a:cxn>
                  <a:cxn ang="0">
                    <a:pos x="78" y="115"/>
                  </a:cxn>
                  <a:cxn ang="0">
                    <a:pos x="78" y="100"/>
                  </a:cxn>
                  <a:cxn ang="0">
                    <a:pos x="72" y="94"/>
                  </a:cxn>
                  <a:cxn ang="0">
                    <a:pos x="67" y="89"/>
                  </a:cxn>
                  <a:cxn ang="0">
                    <a:pos x="72" y="84"/>
                  </a:cxn>
                  <a:cxn ang="0">
                    <a:pos x="70" y="80"/>
                  </a:cxn>
                  <a:cxn ang="0">
                    <a:pos x="80" y="74"/>
                  </a:cxn>
                  <a:cxn ang="0">
                    <a:pos x="80" y="64"/>
                  </a:cxn>
                  <a:cxn ang="0">
                    <a:pos x="70" y="55"/>
                  </a:cxn>
                  <a:cxn ang="0">
                    <a:pos x="57" y="59"/>
                  </a:cxn>
                  <a:cxn ang="0">
                    <a:pos x="50" y="55"/>
                  </a:cxn>
                  <a:cxn ang="0">
                    <a:pos x="48" y="42"/>
                  </a:cxn>
                  <a:cxn ang="0">
                    <a:pos x="83" y="40"/>
                  </a:cxn>
                  <a:cxn ang="0">
                    <a:pos x="88" y="42"/>
                  </a:cxn>
                  <a:cxn ang="0">
                    <a:pos x="97" y="44"/>
                  </a:cxn>
                  <a:cxn ang="0">
                    <a:pos x="102" y="42"/>
                  </a:cxn>
                  <a:cxn ang="0">
                    <a:pos x="112" y="44"/>
                  </a:cxn>
                  <a:cxn ang="0">
                    <a:pos x="118" y="44"/>
                  </a:cxn>
                  <a:cxn ang="0">
                    <a:pos x="122" y="44"/>
                  </a:cxn>
                  <a:cxn ang="0">
                    <a:pos x="123" y="34"/>
                  </a:cxn>
                  <a:cxn ang="0">
                    <a:pos x="141" y="9"/>
                  </a:cxn>
                  <a:cxn ang="0">
                    <a:pos x="158" y="2"/>
                  </a:cxn>
                  <a:cxn ang="0">
                    <a:pos x="170" y="0"/>
                  </a:cxn>
                  <a:cxn ang="0">
                    <a:pos x="178" y="4"/>
                  </a:cxn>
                  <a:cxn ang="0">
                    <a:pos x="183" y="4"/>
                  </a:cxn>
                  <a:cxn ang="0">
                    <a:pos x="181" y="20"/>
                  </a:cxn>
                  <a:cxn ang="0">
                    <a:pos x="171" y="44"/>
                  </a:cxn>
                  <a:cxn ang="0">
                    <a:pos x="166" y="57"/>
                  </a:cxn>
                  <a:cxn ang="0">
                    <a:pos x="165" y="74"/>
                  </a:cxn>
                  <a:cxn ang="0">
                    <a:pos x="161" y="82"/>
                  </a:cxn>
                  <a:cxn ang="0">
                    <a:pos x="151" y="108"/>
                  </a:cxn>
                  <a:cxn ang="0">
                    <a:pos x="140" y="112"/>
                  </a:cxn>
                  <a:cxn ang="0">
                    <a:pos x="130" y="125"/>
                  </a:cxn>
                  <a:cxn ang="0">
                    <a:pos x="120" y="142"/>
                  </a:cxn>
                  <a:cxn ang="0">
                    <a:pos x="120" y="162"/>
                  </a:cxn>
                  <a:cxn ang="0">
                    <a:pos x="112" y="173"/>
                  </a:cxn>
                  <a:cxn ang="0">
                    <a:pos x="97" y="187"/>
                  </a:cxn>
                  <a:cxn ang="0">
                    <a:pos x="82" y="192"/>
                  </a:cxn>
                  <a:cxn ang="0">
                    <a:pos x="82" y="182"/>
                  </a:cxn>
                  <a:cxn ang="0">
                    <a:pos x="68" y="185"/>
                  </a:cxn>
                  <a:cxn ang="0">
                    <a:pos x="62" y="190"/>
                  </a:cxn>
                  <a:cxn ang="0">
                    <a:pos x="55" y="190"/>
                  </a:cxn>
                  <a:cxn ang="0">
                    <a:pos x="47" y="190"/>
                  </a:cxn>
                  <a:cxn ang="0">
                    <a:pos x="43" y="183"/>
                  </a:cxn>
                  <a:cxn ang="0">
                    <a:pos x="35" y="185"/>
                  </a:cxn>
                  <a:cxn ang="0">
                    <a:pos x="27" y="192"/>
                  </a:cxn>
                  <a:cxn ang="0">
                    <a:pos x="20" y="198"/>
                  </a:cxn>
                  <a:cxn ang="0">
                    <a:pos x="14" y="187"/>
                  </a:cxn>
                  <a:cxn ang="0">
                    <a:pos x="5" y="177"/>
                  </a:cxn>
                </a:cxnLst>
                <a:rect l="0" t="0" r="r" b="b"/>
                <a:pathLst>
                  <a:path w="186" h="198">
                    <a:moveTo>
                      <a:pt x="0" y="172"/>
                    </a:moveTo>
                    <a:lnTo>
                      <a:pt x="4" y="167"/>
                    </a:lnTo>
                    <a:lnTo>
                      <a:pt x="4" y="165"/>
                    </a:lnTo>
                    <a:lnTo>
                      <a:pt x="5" y="163"/>
                    </a:lnTo>
                    <a:lnTo>
                      <a:pt x="10" y="163"/>
                    </a:lnTo>
                    <a:lnTo>
                      <a:pt x="12" y="160"/>
                    </a:lnTo>
                    <a:lnTo>
                      <a:pt x="14" y="160"/>
                    </a:lnTo>
                    <a:lnTo>
                      <a:pt x="20" y="165"/>
                    </a:lnTo>
                    <a:lnTo>
                      <a:pt x="20" y="162"/>
                    </a:lnTo>
                    <a:lnTo>
                      <a:pt x="20" y="152"/>
                    </a:lnTo>
                    <a:lnTo>
                      <a:pt x="17" y="148"/>
                    </a:lnTo>
                    <a:lnTo>
                      <a:pt x="14" y="147"/>
                    </a:lnTo>
                    <a:lnTo>
                      <a:pt x="10" y="147"/>
                    </a:lnTo>
                    <a:lnTo>
                      <a:pt x="7" y="148"/>
                    </a:lnTo>
                    <a:lnTo>
                      <a:pt x="7" y="143"/>
                    </a:lnTo>
                    <a:lnTo>
                      <a:pt x="5" y="142"/>
                    </a:lnTo>
                    <a:lnTo>
                      <a:pt x="7" y="138"/>
                    </a:lnTo>
                    <a:lnTo>
                      <a:pt x="12" y="138"/>
                    </a:lnTo>
                    <a:lnTo>
                      <a:pt x="17" y="140"/>
                    </a:lnTo>
                    <a:lnTo>
                      <a:pt x="20" y="138"/>
                    </a:lnTo>
                    <a:lnTo>
                      <a:pt x="20" y="137"/>
                    </a:lnTo>
                    <a:lnTo>
                      <a:pt x="25" y="137"/>
                    </a:lnTo>
                    <a:lnTo>
                      <a:pt x="34" y="137"/>
                    </a:lnTo>
                    <a:lnTo>
                      <a:pt x="34" y="133"/>
                    </a:lnTo>
                    <a:lnTo>
                      <a:pt x="34" y="127"/>
                    </a:lnTo>
                    <a:lnTo>
                      <a:pt x="35" y="125"/>
                    </a:lnTo>
                    <a:lnTo>
                      <a:pt x="40" y="125"/>
                    </a:lnTo>
                    <a:lnTo>
                      <a:pt x="43" y="133"/>
                    </a:lnTo>
                    <a:lnTo>
                      <a:pt x="47" y="138"/>
                    </a:lnTo>
                    <a:lnTo>
                      <a:pt x="53" y="137"/>
                    </a:lnTo>
                    <a:lnTo>
                      <a:pt x="57" y="137"/>
                    </a:lnTo>
                    <a:lnTo>
                      <a:pt x="58" y="135"/>
                    </a:lnTo>
                    <a:lnTo>
                      <a:pt x="65" y="135"/>
                    </a:lnTo>
                    <a:lnTo>
                      <a:pt x="68" y="137"/>
                    </a:lnTo>
                    <a:lnTo>
                      <a:pt x="70" y="140"/>
                    </a:lnTo>
                    <a:lnTo>
                      <a:pt x="73" y="140"/>
                    </a:lnTo>
                    <a:lnTo>
                      <a:pt x="73" y="135"/>
                    </a:lnTo>
                    <a:lnTo>
                      <a:pt x="72" y="132"/>
                    </a:lnTo>
                    <a:lnTo>
                      <a:pt x="78" y="115"/>
                    </a:lnTo>
                    <a:lnTo>
                      <a:pt x="80" y="107"/>
                    </a:lnTo>
                    <a:lnTo>
                      <a:pt x="80" y="102"/>
                    </a:lnTo>
                    <a:lnTo>
                      <a:pt x="78" y="100"/>
                    </a:lnTo>
                    <a:lnTo>
                      <a:pt x="77" y="98"/>
                    </a:lnTo>
                    <a:lnTo>
                      <a:pt x="73" y="95"/>
                    </a:lnTo>
                    <a:lnTo>
                      <a:pt x="72" y="94"/>
                    </a:lnTo>
                    <a:lnTo>
                      <a:pt x="70" y="92"/>
                    </a:lnTo>
                    <a:lnTo>
                      <a:pt x="68" y="90"/>
                    </a:lnTo>
                    <a:lnTo>
                      <a:pt x="67" y="89"/>
                    </a:lnTo>
                    <a:lnTo>
                      <a:pt x="67" y="87"/>
                    </a:lnTo>
                    <a:lnTo>
                      <a:pt x="70" y="85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2" y="80"/>
                    </a:lnTo>
                    <a:lnTo>
                      <a:pt x="70" y="80"/>
                    </a:lnTo>
                    <a:lnTo>
                      <a:pt x="70" y="77"/>
                    </a:lnTo>
                    <a:lnTo>
                      <a:pt x="75" y="74"/>
                    </a:lnTo>
                    <a:lnTo>
                      <a:pt x="80" y="74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80" y="64"/>
                    </a:lnTo>
                    <a:lnTo>
                      <a:pt x="80" y="57"/>
                    </a:lnTo>
                    <a:lnTo>
                      <a:pt x="78" y="55"/>
                    </a:lnTo>
                    <a:lnTo>
                      <a:pt x="70" y="55"/>
                    </a:lnTo>
                    <a:lnTo>
                      <a:pt x="65" y="57"/>
                    </a:lnTo>
                    <a:lnTo>
                      <a:pt x="60" y="59"/>
                    </a:lnTo>
                    <a:lnTo>
                      <a:pt x="57" y="59"/>
                    </a:lnTo>
                    <a:lnTo>
                      <a:pt x="52" y="60"/>
                    </a:lnTo>
                    <a:lnTo>
                      <a:pt x="50" y="59"/>
                    </a:lnTo>
                    <a:lnTo>
                      <a:pt x="50" y="55"/>
                    </a:lnTo>
                    <a:lnTo>
                      <a:pt x="50" y="52"/>
                    </a:lnTo>
                    <a:lnTo>
                      <a:pt x="50" y="47"/>
                    </a:lnTo>
                    <a:lnTo>
                      <a:pt x="48" y="42"/>
                    </a:lnTo>
                    <a:lnTo>
                      <a:pt x="50" y="39"/>
                    </a:lnTo>
                    <a:lnTo>
                      <a:pt x="80" y="39"/>
                    </a:lnTo>
                    <a:lnTo>
                      <a:pt x="83" y="40"/>
                    </a:lnTo>
                    <a:lnTo>
                      <a:pt x="85" y="39"/>
                    </a:lnTo>
                    <a:lnTo>
                      <a:pt x="87" y="39"/>
                    </a:lnTo>
                    <a:lnTo>
                      <a:pt x="88" y="42"/>
                    </a:lnTo>
                    <a:lnTo>
                      <a:pt x="92" y="40"/>
                    </a:lnTo>
                    <a:lnTo>
                      <a:pt x="95" y="42"/>
                    </a:lnTo>
                    <a:lnTo>
                      <a:pt x="97" y="4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102" y="42"/>
                    </a:lnTo>
                    <a:lnTo>
                      <a:pt x="105" y="44"/>
                    </a:lnTo>
                    <a:lnTo>
                      <a:pt x="107" y="44"/>
                    </a:lnTo>
                    <a:lnTo>
                      <a:pt x="112" y="44"/>
                    </a:lnTo>
                    <a:lnTo>
                      <a:pt x="113" y="44"/>
                    </a:lnTo>
                    <a:lnTo>
                      <a:pt x="115" y="45"/>
                    </a:lnTo>
                    <a:lnTo>
                      <a:pt x="118" y="44"/>
                    </a:lnTo>
                    <a:lnTo>
                      <a:pt x="118" y="45"/>
                    </a:lnTo>
                    <a:lnTo>
                      <a:pt x="122" y="45"/>
                    </a:lnTo>
                    <a:lnTo>
                      <a:pt x="122" y="44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3" y="34"/>
                    </a:lnTo>
                    <a:lnTo>
                      <a:pt x="125" y="32"/>
                    </a:lnTo>
                    <a:lnTo>
                      <a:pt x="136" y="14"/>
                    </a:lnTo>
                    <a:lnTo>
                      <a:pt x="141" y="9"/>
                    </a:lnTo>
                    <a:lnTo>
                      <a:pt x="146" y="9"/>
                    </a:lnTo>
                    <a:lnTo>
                      <a:pt x="148" y="5"/>
                    </a:lnTo>
                    <a:lnTo>
                      <a:pt x="158" y="2"/>
                    </a:lnTo>
                    <a:lnTo>
                      <a:pt x="163" y="2"/>
                    </a:lnTo>
                    <a:lnTo>
                      <a:pt x="165" y="0"/>
                    </a:lnTo>
                    <a:lnTo>
                      <a:pt x="170" y="0"/>
                    </a:lnTo>
                    <a:lnTo>
                      <a:pt x="173" y="0"/>
                    </a:lnTo>
                    <a:lnTo>
                      <a:pt x="175" y="2"/>
                    </a:lnTo>
                    <a:lnTo>
                      <a:pt x="178" y="4"/>
                    </a:lnTo>
                    <a:lnTo>
                      <a:pt x="181" y="4"/>
                    </a:lnTo>
                    <a:lnTo>
                      <a:pt x="183" y="4"/>
                    </a:lnTo>
                    <a:lnTo>
                      <a:pt x="183" y="4"/>
                    </a:lnTo>
                    <a:lnTo>
                      <a:pt x="186" y="9"/>
                    </a:lnTo>
                    <a:lnTo>
                      <a:pt x="186" y="17"/>
                    </a:lnTo>
                    <a:lnTo>
                      <a:pt x="181" y="20"/>
                    </a:lnTo>
                    <a:lnTo>
                      <a:pt x="180" y="24"/>
                    </a:lnTo>
                    <a:lnTo>
                      <a:pt x="170" y="35"/>
                    </a:lnTo>
                    <a:lnTo>
                      <a:pt x="171" y="44"/>
                    </a:lnTo>
                    <a:lnTo>
                      <a:pt x="170" y="49"/>
                    </a:lnTo>
                    <a:lnTo>
                      <a:pt x="170" y="54"/>
                    </a:lnTo>
                    <a:lnTo>
                      <a:pt x="166" y="57"/>
                    </a:lnTo>
                    <a:lnTo>
                      <a:pt x="166" y="64"/>
                    </a:lnTo>
                    <a:lnTo>
                      <a:pt x="166" y="67"/>
                    </a:lnTo>
                    <a:lnTo>
                      <a:pt x="165" y="74"/>
                    </a:lnTo>
                    <a:lnTo>
                      <a:pt x="166" y="74"/>
                    </a:lnTo>
                    <a:lnTo>
                      <a:pt x="165" y="80"/>
                    </a:lnTo>
                    <a:lnTo>
                      <a:pt x="161" y="82"/>
                    </a:lnTo>
                    <a:lnTo>
                      <a:pt x="160" y="89"/>
                    </a:lnTo>
                    <a:lnTo>
                      <a:pt x="160" y="97"/>
                    </a:lnTo>
                    <a:lnTo>
                      <a:pt x="151" y="108"/>
                    </a:lnTo>
                    <a:lnTo>
                      <a:pt x="146" y="108"/>
                    </a:lnTo>
                    <a:lnTo>
                      <a:pt x="143" y="112"/>
                    </a:lnTo>
                    <a:lnTo>
                      <a:pt x="140" y="112"/>
                    </a:lnTo>
                    <a:lnTo>
                      <a:pt x="135" y="115"/>
                    </a:lnTo>
                    <a:lnTo>
                      <a:pt x="130" y="120"/>
                    </a:lnTo>
                    <a:lnTo>
                      <a:pt x="130" y="125"/>
                    </a:lnTo>
                    <a:lnTo>
                      <a:pt x="122" y="132"/>
                    </a:lnTo>
                    <a:lnTo>
                      <a:pt x="120" y="137"/>
                    </a:lnTo>
                    <a:lnTo>
                      <a:pt x="120" y="142"/>
                    </a:lnTo>
                    <a:lnTo>
                      <a:pt x="122" y="143"/>
                    </a:lnTo>
                    <a:lnTo>
                      <a:pt x="122" y="157"/>
                    </a:lnTo>
                    <a:lnTo>
                      <a:pt x="120" y="162"/>
                    </a:lnTo>
                    <a:lnTo>
                      <a:pt x="120" y="167"/>
                    </a:lnTo>
                    <a:lnTo>
                      <a:pt x="115" y="172"/>
                    </a:lnTo>
                    <a:lnTo>
                      <a:pt x="112" y="173"/>
                    </a:lnTo>
                    <a:lnTo>
                      <a:pt x="108" y="175"/>
                    </a:lnTo>
                    <a:lnTo>
                      <a:pt x="107" y="178"/>
                    </a:lnTo>
                    <a:lnTo>
                      <a:pt x="97" y="187"/>
                    </a:lnTo>
                    <a:lnTo>
                      <a:pt x="92" y="192"/>
                    </a:lnTo>
                    <a:lnTo>
                      <a:pt x="87" y="195"/>
                    </a:lnTo>
                    <a:lnTo>
                      <a:pt x="82" y="192"/>
                    </a:lnTo>
                    <a:lnTo>
                      <a:pt x="80" y="188"/>
                    </a:lnTo>
                    <a:lnTo>
                      <a:pt x="78" y="187"/>
                    </a:lnTo>
                    <a:lnTo>
                      <a:pt x="82" y="182"/>
                    </a:lnTo>
                    <a:lnTo>
                      <a:pt x="82" y="180"/>
                    </a:lnTo>
                    <a:lnTo>
                      <a:pt x="73" y="182"/>
                    </a:lnTo>
                    <a:lnTo>
                      <a:pt x="68" y="185"/>
                    </a:lnTo>
                    <a:lnTo>
                      <a:pt x="65" y="185"/>
                    </a:lnTo>
                    <a:lnTo>
                      <a:pt x="62" y="185"/>
                    </a:lnTo>
                    <a:lnTo>
                      <a:pt x="62" y="190"/>
                    </a:lnTo>
                    <a:lnTo>
                      <a:pt x="60" y="193"/>
                    </a:lnTo>
                    <a:lnTo>
                      <a:pt x="55" y="193"/>
                    </a:lnTo>
                    <a:lnTo>
                      <a:pt x="55" y="190"/>
                    </a:lnTo>
                    <a:lnTo>
                      <a:pt x="53" y="188"/>
                    </a:lnTo>
                    <a:lnTo>
                      <a:pt x="50" y="190"/>
                    </a:lnTo>
                    <a:lnTo>
                      <a:pt x="47" y="190"/>
                    </a:lnTo>
                    <a:lnTo>
                      <a:pt x="47" y="190"/>
                    </a:lnTo>
                    <a:lnTo>
                      <a:pt x="47" y="187"/>
                    </a:lnTo>
                    <a:lnTo>
                      <a:pt x="43" y="183"/>
                    </a:lnTo>
                    <a:lnTo>
                      <a:pt x="42" y="182"/>
                    </a:lnTo>
                    <a:lnTo>
                      <a:pt x="40" y="182"/>
                    </a:lnTo>
                    <a:lnTo>
                      <a:pt x="35" y="185"/>
                    </a:lnTo>
                    <a:lnTo>
                      <a:pt x="32" y="185"/>
                    </a:lnTo>
                    <a:lnTo>
                      <a:pt x="30" y="190"/>
                    </a:lnTo>
                    <a:lnTo>
                      <a:pt x="27" y="192"/>
                    </a:lnTo>
                    <a:lnTo>
                      <a:pt x="25" y="192"/>
                    </a:lnTo>
                    <a:lnTo>
                      <a:pt x="22" y="196"/>
                    </a:lnTo>
                    <a:lnTo>
                      <a:pt x="20" y="198"/>
                    </a:lnTo>
                    <a:lnTo>
                      <a:pt x="17" y="195"/>
                    </a:lnTo>
                    <a:lnTo>
                      <a:pt x="17" y="192"/>
                    </a:lnTo>
                    <a:lnTo>
                      <a:pt x="14" y="187"/>
                    </a:lnTo>
                    <a:lnTo>
                      <a:pt x="14" y="183"/>
                    </a:lnTo>
                    <a:lnTo>
                      <a:pt x="7" y="178"/>
                    </a:lnTo>
                    <a:lnTo>
                      <a:pt x="5" y="177"/>
                    </a:lnTo>
                    <a:lnTo>
                      <a:pt x="0" y="1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3" name="Freeform 127"/>
              <p:cNvSpPr>
                <a:spLocks/>
              </p:cNvSpPr>
              <p:nvPr/>
            </p:nvSpPr>
            <p:spPr bwMode="auto">
              <a:xfrm>
                <a:off x="6570200" y="3320556"/>
                <a:ext cx="13913" cy="16601"/>
              </a:xfrm>
              <a:custGeom>
                <a:avLst/>
                <a:gdLst/>
                <a:ahLst/>
                <a:cxnLst>
                  <a:cxn ang="0">
                    <a:pos x="27" y="8"/>
                  </a:cxn>
                  <a:cxn ang="0">
                    <a:pos x="27" y="5"/>
                  </a:cxn>
                  <a:cxn ang="0">
                    <a:pos x="23" y="1"/>
                  </a:cxn>
                  <a:cxn ang="0">
                    <a:pos x="22" y="0"/>
                  </a:cxn>
                  <a:cxn ang="0">
                    <a:pos x="20" y="0"/>
                  </a:cxn>
                  <a:cxn ang="0">
                    <a:pos x="15" y="3"/>
                  </a:cxn>
                  <a:cxn ang="0">
                    <a:pos x="12" y="3"/>
                  </a:cxn>
                  <a:cxn ang="0">
                    <a:pos x="10" y="8"/>
                  </a:cxn>
                  <a:cxn ang="0">
                    <a:pos x="7" y="10"/>
                  </a:cxn>
                  <a:cxn ang="0">
                    <a:pos x="5" y="10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4" y="19"/>
                  </a:cxn>
                  <a:cxn ang="0">
                    <a:pos x="5" y="24"/>
                  </a:cxn>
                  <a:cxn ang="0">
                    <a:pos x="2" y="29"/>
                  </a:cxn>
                  <a:cxn ang="0">
                    <a:pos x="4" y="33"/>
                  </a:cxn>
                  <a:cxn ang="0">
                    <a:pos x="9" y="29"/>
                  </a:cxn>
                  <a:cxn ang="0">
                    <a:pos x="12" y="29"/>
                  </a:cxn>
                  <a:cxn ang="0">
                    <a:pos x="15" y="26"/>
                  </a:cxn>
                  <a:cxn ang="0">
                    <a:pos x="15" y="18"/>
                  </a:cxn>
                  <a:cxn ang="0">
                    <a:pos x="17" y="16"/>
                  </a:cxn>
                  <a:cxn ang="0">
                    <a:pos x="22" y="13"/>
                  </a:cxn>
                  <a:cxn ang="0">
                    <a:pos x="27" y="8"/>
                  </a:cxn>
                </a:cxnLst>
                <a:rect l="0" t="0" r="r" b="b"/>
                <a:pathLst>
                  <a:path w="27" h="33">
                    <a:moveTo>
                      <a:pt x="27" y="8"/>
                    </a:moveTo>
                    <a:lnTo>
                      <a:pt x="27" y="5"/>
                    </a:lnTo>
                    <a:lnTo>
                      <a:pt x="23" y="1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0" y="8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4" y="19"/>
                    </a:lnTo>
                    <a:lnTo>
                      <a:pt x="5" y="24"/>
                    </a:lnTo>
                    <a:lnTo>
                      <a:pt x="2" y="29"/>
                    </a:lnTo>
                    <a:lnTo>
                      <a:pt x="4" y="33"/>
                    </a:lnTo>
                    <a:lnTo>
                      <a:pt x="9" y="29"/>
                    </a:lnTo>
                    <a:lnTo>
                      <a:pt x="12" y="29"/>
                    </a:lnTo>
                    <a:lnTo>
                      <a:pt x="15" y="26"/>
                    </a:lnTo>
                    <a:lnTo>
                      <a:pt x="15" y="18"/>
                    </a:lnTo>
                    <a:lnTo>
                      <a:pt x="17" y="16"/>
                    </a:lnTo>
                    <a:lnTo>
                      <a:pt x="22" y="13"/>
                    </a:lnTo>
                    <a:lnTo>
                      <a:pt x="2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4" name="Freeform 128"/>
              <p:cNvSpPr>
                <a:spLocks/>
              </p:cNvSpPr>
              <p:nvPr/>
            </p:nvSpPr>
            <p:spPr bwMode="auto">
              <a:xfrm>
                <a:off x="6796023" y="3281128"/>
                <a:ext cx="144483" cy="129699"/>
              </a:xfrm>
              <a:custGeom>
                <a:avLst/>
                <a:gdLst/>
                <a:ahLst/>
                <a:cxnLst>
                  <a:cxn ang="0">
                    <a:pos x="33" y="3"/>
                  </a:cxn>
                  <a:cxn ang="0">
                    <a:pos x="115" y="0"/>
                  </a:cxn>
                  <a:cxn ang="0">
                    <a:pos x="208" y="57"/>
                  </a:cxn>
                  <a:cxn ang="0">
                    <a:pos x="241" y="80"/>
                  </a:cxn>
                  <a:cxn ang="0">
                    <a:pos x="241" y="85"/>
                  </a:cxn>
                  <a:cxn ang="0">
                    <a:pos x="231" y="111"/>
                  </a:cxn>
                  <a:cxn ang="0">
                    <a:pos x="243" y="126"/>
                  </a:cxn>
                  <a:cxn ang="0">
                    <a:pos x="248" y="136"/>
                  </a:cxn>
                  <a:cxn ang="0">
                    <a:pos x="241" y="143"/>
                  </a:cxn>
                  <a:cxn ang="0">
                    <a:pos x="244" y="160"/>
                  </a:cxn>
                  <a:cxn ang="0">
                    <a:pos x="244" y="173"/>
                  </a:cxn>
                  <a:cxn ang="0">
                    <a:pos x="246" y="180"/>
                  </a:cxn>
                  <a:cxn ang="0">
                    <a:pos x="249" y="188"/>
                  </a:cxn>
                  <a:cxn ang="0">
                    <a:pos x="259" y="206"/>
                  </a:cxn>
                  <a:cxn ang="0">
                    <a:pos x="271" y="213"/>
                  </a:cxn>
                  <a:cxn ang="0">
                    <a:pos x="268" y="216"/>
                  </a:cxn>
                  <a:cxn ang="0">
                    <a:pos x="258" y="221"/>
                  </a:cxn>
                  <a:cxn ang="0">
                    <a:pos x="243" y="224"/>
                  </a:cxn>
                  <a:cxn ang="0">
                    <a:pos x="234" y="226"/>
                  </a:cxn>
                  <a:cxn ang="0">
                    <a:pos x="218" y="231"/>
                  </a:cxn>
                  <a:cxn ang="0">
                    <a:pos x="208" y="229"/>
                  </a:cxn>
                  <a:cxn ang="0">
                    <a:pos x="204" y="236"/>
                  </a:cxn>
                  <a:cxn ang="0">
                    <a:pos x="191" y="236"/>
                  </a:cxn>
                  <a:cxn ang="0">
                    <a:pos x="185" y="234"/>
                  </a:cxn>
                  <a:cxn ang="0">
                    <a:pos x="175" y="239"/>
                  </a:cxn>
                  <a:cxn ang="0">
                    <a:pos x="166" y="236"/>
                  </a:cxn>
                  <a:cxn ang="0">
                    <a:pos x="156" y="234"/>
                  </a:cxn>
                  <a:cxn ang="0">
                    <a:pos x="151" y="234"/>
                  </a:cxn>
                  <a:cxn ang="0">
                    <a:pos x="120" y="251"/>
                  </a:cxn>
                  <a:cxn ang="0">
                    <a:pos x="111" y="198"/>
                  </a:cxn>
                  <a:cxn ang="0">
                    <a:pos x="105" y="193"/>
                  </a:cxn>
                  <a:cxn ang="0">
                    <a:pos x="98" y="189"/>
                  </a:cxn>
                  <a:cxn ang="0">
                    <a:pos x="93" y="189"/>
                  </a:cxn>
                  <a:cxn ang="0">
                    <a:pos x="88" y="188"/>
                  </a:cxn>
                  <a:cxn ang="0">
                    <a:pos x="82" y="183"/>
                  </a:cxn>
                  <a:cxn ang="0">
                    <a:pos x="75" y="176"/>
                  </a:cxn>
                  <a:cxn ang="0">
                    <a:pos x="57" y="173"/>
                  </a:cxn>
                  <a:cxn ang="0">
                    <a:pos x="50" y="166"/>
                  </a:cxn>
                  <a:cxn ang="0">
                    <a:pos x="40" y="166"/>
                  </a:cxn>
                  <a:cxn ang="0">
                    <a:pos x="8" y="123"/>
                  </a:cxn>
                  <a:cxn ang="0">
                    <a:pos x="12" y="80"/>
                  </a:cxn>
                  <a:cxn ang="0">
                    <a:pos x="30" y="65"/>
                  </a:cxn>
                  <a:cxn ang="0">
                    <a:pos x="40" y="57"/>
                  </a:cxn>
                  <a:cxn ang="0">
                    <a:pos x="37" y="47"/>
                  </a:cxn>
                  <a:cxn ang="0">
                    <a:pos x="32" y="40"/>
                  </a:cxn>
                  <a:cxn ang="0">
                    <a:pos x="32" y="37"/>
                  </a:cxn>
                  <a:cxn ang="0">
                    <a:pos x="38" y="33"/>
                  </a:cxn>
                  <a:cxn ang="0">
                    <a:pos x="40" y="23"/>
                  </a:cxn>
                  <a:cxn ang="0">
                    <a:pos x="37" y="12"/>
                  </a:cxn>
                </a:cxnLst>
                <a:rect l="0" t="0" r="r" b="b"/>
                <a:pathLst>
                  <a:path w="271" h="251">
                    <a:moveTo>
                      <a:pt x="30" y="5"/>
                    </a:moveTo>
                    <a:lnTo>
                      <a:pt x="32" y="3"/>
                    </a:lnTo>
                    <a:lnTo>
                      <a:pt x="33" y="3"/>
                    </a:lnTo>
                    <a:lnTo>
                      <a:pt x="35" y="2"/>
                    </a:lnTo>
                    <a:lnTo>
                      <a:pt x="65" y="2"/>
                    </a:lnTo>
                    <a:lnTo>
                      <a:pt x="115" y="0"/>
                    </a:lnTo>
                    <a:lnTo>
                      <a:pt x="204" y="47"/>
                    </a:lnTo>
                    <a:lnTo>
                      <a:pt x="209" y="53"/>
                    </a:lnTo>
                    <a:lnTo>
                      <a:pt x="208" y="57"/>
                    </a:lnTo>
                    <a:lnTo>
                      <a:pt x="208" y="58"/>
                    </a:lnTo>
                    <a:lnTo>
                      <a:pt x="211" y="62"/>
                    </a:lnTo>
                    <a:lnTo>
                      <a:pt x="241" y="80"/>
                    </a:lnTo>
                    <a:lnTo>
                      <a:pt x="239" y="80"/>
                    </a:lnTo>
                    <a:lnTo>
                      <a:pt x="241" y="82"/>
                    </a:lnTo>
                    <a:lnTo>
                      <a:pt x="241" y="85"/>
                    </a:lnTo>
                    <a:lnTo>
                      <a:pt x="239" y="87"/>
                    </a:lnTo>
                    <a:lnTo>
                      <a:pt x="234" y="101"/>
                    </a:lnTo>
                    <a:lnTo>
                      <a:pt x="231" y="111"/>
                    </a:lnTo>
                    <a:lnTo>
                      <a:pt x="231" y="116"/>
                    </a:lnTo>
                    <a:lnTo>
                      <a:pt x="238" y="121"/>
                    </a:lnTo>
                    <a:lnTo>
                      <a:pt x="243" y="126"/>
                    </a:lnTo>
                    <a:lnTo>
                      <a:pt x="246" y="126"/>
                    </a:lnTo>
                    <a:lnTo>
                      <a:pt x="249" y="135"/>
                    </a:lnTo>
                    <a:lnTo>
                      <a:pt x="248" y="136"/>
                    </a:lnTo>
                    <a:lnTo>
                      <a:pt x="246" y="136"/>
                    </a:lnTo>
                    <a:lnTo>
                      <a:pt x="243" y="138"/>
                    </a:lnTo>
                    <a:lnTo>
                      <a:pt x="241" y="143"/>
                    </a:lnTo>
                    <a:lnTo>
                      <a:pt x="241" y="151"/>
                    </a:lnTo>
                    <a:lnTo>
                      <a:pt x="246" y="155"/>
                    </a:lnTo>
                    <a:lnTo>
                      <a:pt x="244" y="160"/>
                    </a:lnTo>
                    <a:lnTo>
                      <a:pt x="241" y="161"/>
                    </a:lnTo>
                    <a:lnTo>
                      <a:pt x="243" y="166"/>
                    </a:lnTo>
                    <a:lnTo>
                      <a:pt x="244" y="173"/>
                    </a:lnTo>
                    <a:lnTo>
                      <a:pt x="244" y="173"/>
                    </a:lnTo>
                    <a:lnTo>
                      <a:pt x="244" y="176"/>
                    </a:lnTo>
                    <a:lnTo>
                      <a:pt x="246" y="180"/>
                    </a:lnTo>
                    <a:lnTo>
                      <a:pt x="249" y="183"/>
                    </a:lnTo>
                    <a:lnTo>
                      <a:pt x="246" y="186"/>
                    </a:lnTo>
                    <a:lnTo>
                      <a:pt x="249" y="188"/>
                    </a:lnTo>
                    <a:lnTo>
                      <a:pt x="251" y="194"/>
                    </a:lnTo>
                    <a:lnTo>
                      <a:pt x="251" y="198"/>
                    </a:lnTo>
                    <a:lnTo>
                      <a:pt x="259" y="206"/>
                    </a:lnTo>
                    <a:lnTo>
                      <a:pt x="266" y="206"/>
                    </a:lnTo>
                    <a:lnTo>
                      <a:pt x="271" y="211"/>
                    </a:lnTo>
                    <a:lnTo>
                      <a:pt x="271" y="213"/>
                    </a:lnTo>
                    <a:lnTo>
                      <a:pt x="271" y="213"/>
                    </a:lnTo>
                    <a:lnTo>
                      <a:pt x="271" y="213"/>
                    </a:lnTo>
                    <a:lnTo>
                      <a:pt x="268" y="216"/>
                    </a:lnTo>
                    <a:lnTo>
                      <a:pt x="264" y="214"/>
                    </a:lnTo>
                    <a:lnTo>
                      <a:pt x="261" y="218"/>
                    </a:lnTo>
                    <a:lnTo>
                      <a:pt x="258" y="221"/>
                    </a:lnTo>
                    <a:lnTo>
                      <a:pt x="253" y="221"/>
                    </a:lnTo>
                    <a:lnTo>
                      <a:pt x="249" y="224"/>
                    </a:lnTo>
                    <a:lnTo>
                      <a:pt x="243" y="224"/>
                    </a:lnTo>
                    <a:lnTo>
                      <a:pt x="241" y="226"/>
                    </a:lnTo>
                    <a:lnTo>
                      <a:pt x="238" y="228"/>
                    </a:lnTo>
                    <a:lnTo>
                      <a:pt x="234" y="226"/>
                    </a:lnTo>
                    <a:lnTo>
                      <a:pt x="224" y="229"/>
                    </a:lnTo>
                    <a:lnTo>
                      <a:pt x="223" y="231"/>
                    </a:lnTo>
                    <a:lnTo>
                      <a:pt x="218" y="231"/>
                    </a:lnTo>
                    <a:lnTo>
                      <a:pt x="216" y="229"/>
                    </a:lnTo>
                    <a:lnTo>
                      <a:pt x="211" y="229"/>
                    </a:lnTo>
                    <a:lnTo>
                      <a:pt x="208" y="229"/>
                    </a:lnTo>
                    <a:lnTo>
                      <a:pt x="206" y="229"/>
                    </a:lnTo>
                    <a:lnTo>
                      <a:pt x="208" y="233"/>
                    </a:lnTo>
                    <a:lnTo>
                      <a:pt x="204" y="236"/>
                    </a:lnTo>
                    <a:lnTo>
                      <a:pt x="198" y="236"/>
                    </a:lnTo>
                    <a:lnTo>
                      <a:pt x="193" y="238"/>
                    </a:lnTo>
                    <a:lnTo>
                      <a:pt x="191" y="236"/>
                    </a:lnTo>
                    <a:lnTo>
                      <a:pt x="188" y="236"/>
                    </a:lnTo>
                    <a:lnTo>
                      <a:pt x="186" y="234"/>
                    </a:lnTo>
                    <a:lnTo>
                      <a:pt x="185" y="234"/>
                    </a:lnTo>
                    <a:lnTo>
                      <a:pt x="183" y="234"/>
                    </a:lnTo>
                    <a:lnTo>
                      <a:pt x="180" y="236"/>
                    </a:lnTo>
                    <a:lnTo>
                      <a:pt x="175" y="239"/>
                    </a:lnTo>
                    <a:lnTo>
                      <a:pt x="168" y="241"/>
                    </a:lnTo>
                    <a:lnTo>
                      <a:pt x="168" y="239"/>
                    </a:lnTo>
                    <a:lnTo>
                      <a:pt x="166" y="236"/>
                    </a:lnTo>
                    <a:lnTo>
                      <a:pt x="163" y="236"/>
                    </a:lnTo>
                    <a:lnTo>
                      <a:pt x="160" y="234"/>
                    </a:lnTo>
                    <a:lnTo>
                      <a:pt x="156" y="234"/>
                    </a:lnTo>
                    <a:lnTo>
                      <a:pt x="156" y="231"/>
                    </a:lnTo>
                    <a:lnTo>
                      <a:pt x="153" y="233"/>
                    </a:lnTo>
                    <a:lnTo>
                      <a:pt x="151" y="234"/>
                    </a:lnTo>
                    <a:lnTo>
                      <a:pt x="148" y="234"/>
                    </a:lnTo>
                    <a:lnTo>
                      <a:pt x="125" y="234"/>
                    </a:lnTo>
                    <a:lnTo>
                      <a:pt x="120" y="251"/>
                    </a:lnTo>
                    <a:lnTo>
                      <a:pt x="120" y="214"/>
                    </a:lnTo>
                    <a:lnTo>
                      <a:pt x="118" y="206"/>
                    </a:lnTo>
                    <a:lnTo>
                      <a:pt x="111" y="198"/>
                    </a:lnTo>
                    <a:lnTo>
                      <a:pt x="108" y="194"/>
                    </a:lnTo>
                    <a:lnTo>
                      <a:pt x="105" y="193"/>
                    </a:lnTo>
                    <a:lnTo>
                      <a:pt x="105" y="193"/>
                    </a:lnTo>
                    <a:lnTo>
                      <a:pt x="103" y="191"/>
                    </a:lnTo>
                    <a:lnTo>
                      <a:pt x="101" y="191"/>
                    </a:lnTo>
                    <a:lnTo>
                      <a:pt x="98" y="189"/>
                    </a:lnTo>
                    <a:lnTo>
                      <a:pt x="96" y="191"/>
                    </a:lnTo>
                    <a:lnTo>
                      <a:pt x="95" y="189"/>
                    </a:lnTo>
                    <a:lnTo>
                      <a:pt x="93" y="189"/>
                    </a:lnTo>
                    <a:lnTo>
                      <a:pt x="91" y="186"/>
                    </a:lnTo>
                    <a:lnTo>
                      <a:pt x="88" y="186"/>
                    </a:lnTo>
                    <a:lnTo>
                      <a:pt x="88" y="188"/>
                    </a:lnTo>
                    <a:lnTo>
                      <a:pt x="88" y="188"/>
                    </a:lnTo>
                    <a:lnTo>
                      <a:pt x="85" y="188"/>
                    </a:lnTo>
                    <a:lnTo>
                      <a:pt x="82" y="183"/>
                    </a:lnTo>
                    <a:lnTo>
                      <a:pt x="80" y="180"/>
                    </a:lnTo>
                    <a:lnTo>
                      <a:pt x="77" y="180"/>
                    </a:lnTo>
                    <a:lnTo>
                      <a:pt x="75" y="176"/>
                    </a:lnTo>
                    <a:lnTo>
                      <a:pt x="72" y="176"/>
                    </a:lnTo>
                    <a:lnTo>
                      <a:pt x="62" y="173"/>
                    </a:lnTo>
                    <a:lnTo>
                      <a:pt x="57" y="173"/>
                    </a:lnTo>
                    <a:lnTo>
                      <a:pt x="53" y="171"/>
                    </a:lnTo>
                    <a:lnTo>
                      <a:pt x="53" y="170"/>
                    </a:lnTo>
                    <a:lnTo>
                      <a:pt x="50" y="166"/>
                    </a:lnTo>
                    <a:lnTo>
                      <a:pt x="47" y="166"/>
                    </a:lnTo>
                    <a:lnTo>
                      <a:pt x="43" y="166"/>
                    </a:lnTo>
                    <a:lnTo>
                      <a:pt x="40" y="166"/>
                    </a:lnTo>
                    <a:lnTo>
                      <a:pt x="32" y="163"/>
                    </a:lnTo>
                    <a:lnTo>
                      <a:pt x="25" y="145"/>
                    </a:lnTo>
                    <a:lnTo>
                      <a:pt x="8" y="123"/>
                    </a:lnTo>
                    <a:lnTo>
                      <a:pt x="3" y="98"/>
                    </a:lnTo>
                    <a:lnTo>
                      <a:pt x="0" y="80"/>
                    </a:lnTo>
                    <a:lnTo>
                      <a:pt x="12" y="80"/>
                    </a:lnTo>
                    <a:lnTo>
                      <a:pt x="20" y="78"/>
                    </a:lnTo>
                    <a:lnTo>
                      <a:pt x="25" y="72"/>
                    </a:lnTo>
                    <a:lnTo>
                      <a:pt x="30" y="65"/>
                    </a:lnTo>
                    <a:lnTo>
                      <a:pt x="33" y="63"/>
                    </a:lnTo>
                    <a:lnTo>
                      <a:pt x="37" y="60"/>
                    </a:lnTo>
                    <a:lnTo>
                      <a:pt x="40" y="57"/>
                    </a:lnTo>
                    <a:lnTo>
                      <a:pt x="42" y="53"/>
                    </a:lnTo>
                    <a:lnTo>
                      <a:pt x="40" y="47"/>
                    </a:lnTo>
                    <a:lnTo>
                      <a:pt x="37" y="47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37"/>
                    </a:lnTo>
                    <a:lnTo>
                      <a:pt x="32" y="35"/>
                    </a:lnTo>
                    <a:lnTo>
                      <a:pt x="32" y="37"/>
                    </a:lnTo>
                    <a:lnTo>
                      <a:pt x="35" y="37"/>
                    </a:lnTo>
                    <a:lnTo>
                      <a:pt x="37" y="35"/>
                    </a:lnTo>
                    <a:lnTo>
                      <a:pt x="38" y="33"/>
                    </a:lnTo>
                    <a:lnTo>
                      <a:pt x="40" y="30"/>
                    </a:lnTo>
                    <a:lnTo>
                      <a:pt x="42" y="28"/>
                    </a:lnTo>
                    <a:lnTo>
                      <a:pt x="40" y="23"/>
                    </a:lnTo>
                    <a:lnTo>
                      <a:pt x="38" y="17"/>
                    </a:lnTo>
                    <a:lnTo>
                      <a:pt x="37" y="13"/>
                    </a:lnTo>
                    <a:lnTo>
                      <a:pt x="37" y="12"/>
                    </a:lnTo>
                    <a:lnTo>
                      <a:pt x="33" y="10"/>
                    </a:lnTo>
                    <a:lnTo>
                      <a:pt x="3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5" name="Freeform 129"/>
              <p:cNvSpPr>
                <a:spLocks/>
              </p:cNvSpPr>
              <p:nvPr/>
            </p:nvSpPr>
            <p:spPr bwMode="auto">
              <a:xfrm>
                <a:off x="6790671" y="3283203"/>
                <a:ext cx="26756" cy="18677"/>
              </a:xfrm>
              <a:custGeom>
                <a:avLst/>
                <a:gdLst/>
                <a:ahLst/>
                <a:cxnLst>
                  <a:cxn ang="0">
                    <a:pos x="15" y="5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6" y="3"/>
                  </a:cxn>
                  <a:cxn ang="0">
                    <a:pos x="28" y="5"/>
                  </a:cxn>
                  <a:cxn ang="0">
                    <a:pos x="31" y="5"/>
                  </a:cxn>
                  <a:cxn ang="0">
                    <a:pos x="33" y="3"/>
                  </a:cxn>
                  <a:cxn ang="0">
                    <a:pos x="33" y="0"/>
                  </a:cxn>
                  <a:cxn ang="0">
                    <a:pos x="38" y="0"/>
                  </a:cxn>
                  <a:cxn ang="0">
                    <a:pos x="41" y="5"/>
                  </a:cxn>
                  <a:cxn ang="0">
                    <a:pos x="45" y="7"/>
                  </a:cxn>
                  <a:cxn ang="0">
                    <a:pos x="45" y="8"/>
                  </a:cxn>
                  <a:cxn ang="0">
                    <a:pos x="46" y="12"/>
                  </a:cxn>
                  <a:cxn ang="0">
                    <a:pos x="48" y="18"/>
                  </a:cxn>
                  <a:cxn ang="0">
                    <a:pos x="50" y="23"/>
                  </a:cxn>
                  <a:cxn ang="0">
                    <a:pos x="48" y="25"/>
                  </a:cxn>
                  <a:cxn ang="0">
                    <a:pos x="46" y="28"/>
                  </a:cxn>
                  <a:cxn ang="0">
                    <a:pos x="45" y="30"/>
                  </a:cxn>
                  <a:cxn ang="0">
                    <a:pos x="43" y="32"/>
                  </a:cxn>
                  <a:cxn ang="0">
                    <a:pos x="40" y="32"/>
                  </a:cxn>
                  <a:cxn ang="0">
                    <a:pos x="40" y="30"/>
                  </a:cxn>
                  <a:cxn ang="0">
                    <a:pos x="40" y="28"/>
                  </a:cxn>
                  <a:cxn ang="0">
                    <a:pos x="36" y="28"/>
                  </a:cxn>
                  <a:cxn ang="0">
                    <a:pos x="35" y="25"/>
                  </a:cxn>
                  <a:cxn ang="0">
                    <a:pos x="31" y="23"/>
                  </a:cxn>
                  <a:cxn ang="0">
                    <a:pos x="30" y="22"/>
                  </a:cxn>
                  <a:cxn ang="0">
                    <a:pos x="28" y="22"/>
                  </a:cxn>
                  <a:cxn ang="0">
                    <a:pos x="28" y="27"/>
                  </a:cxn>
                  <a:cxn ang="0">
                    <a:pos x="25" y="33"/>
                  </a:cxn>
                  <a:cxn ang="0">
                    <a:pos x="25" y="35"/>
                  </a:cxn>
                  <a:cxn ang="0">
                    <a:pos x="20" y="37"/>
                  </a:cxn>
                  <a:cxn ang="0">
                    <a:pos x="18" y="35"/>
                  </a:cxn>
                  <a:cxn ang="0">
                    <a:pos x="16" y="35"/>
                  </a:cxn>
                  <a:cxn ang="0">
                    <a:pos x="15" y="37"/>
                  </a:cxn>
                  <a:cxn ang="0">
                    <a:pos x="11" y="35"/>
                  </a:cxn>
                  <a:cxn ang="0">
                    <a:pos x="10" y="32"/>
                  </a:cxn>
                  <a:cxn ang="0">
                    <a:pos x="6" y="30"/>
                  </a:cxn>
                  <a:cxn ang="0">
                    <a:pos x="3" y="30"/>
                  </a:cxn>
                  <a:cxn ang="0">
                    <a:pos x="0" y="32"/>
                  </a:cxn>
                  <a:cxn ang="0">
                    <a:pos x="1" y="27"/>
                  </a:cxn>
                  <a:cxn ang="0">
                    <a:pos x="5" y="13"/>
                  </a:cxn>
                  <a:cxn ang="0">
                    <a:pos x="8" y="10"/>
                  </a:cxn>
                  <a:cxn ang="0">
                    <a:pos x="15" y="5"/>
                  </a:cxn>
                </a:cxnLst>
                <a:rect l="0" t="0" r="r" b="b"/>
                <a:pathLst>
                  <a:path w="50" h="37">
                    <a:moveTo>
                      <a:pt x="15" y="5"/>
                    </a:moveTo>
                    <a:lnTo>
                      <a:pt x="15" y="5"/>
                    </a:lnTo>
                    <a:lnTo>
                      <a:pt x="20" y="5"/>
                    </a:lnTo>
                    <a:lnTo>
                      <a:pt x="23" y="2"/>
                    </a:lnTo>
                    <a:lnTo>
                      <a:pt x="26" y="3"/>
                    </a:lnTo>
                    <a:lnTo>
                      <a:pt x="28" y="5"/>
                    </a:lnTo>
                    <a:lnTo>
                      <a:pt x="31" y="5"/>
                    </a:lnTo>
                    <a:lnTo>
                      <a:pt x="33" y="3"/>
                    </a:lnTo>
                    <a:lnTo>
                      <a:pt x="33" y="0"/>
                    </a:lnTo>
                    <a:lnTo>
                      <a:pt x="38" y="0"/>
                    </a:lnTo>
                    <a:lnTo>
                      <a:pt x="41" y="5"/>
                    </a:lnTo>
                    <a:lnTo>
                      <a:pt x="45" y="7"/>
                    </a:lnTo>
                    <a:lnTo>
                      <a:pt x="45" y="8"/>
                    </a:lnTo>
                    <a:lnTo>
                      <a:pt x="46" y="12"/>
                    </a:lnTo>
                    <a:lnTo>
                      <a:pt x="48" y="18"/>
                    </a:lnTo>
                    <a:lnTo>
                      <a:pt x="50" y="23"/>
                    </a:lnTo>
                    <a:lnTo>
                      <a:pt x="48" y="25"/>
                    </a:lnTo>
                    <a:lnTo>
                      <a:pt x="46" y="28"/>
                    </a:lnTo>
                    <a:lnTo>
                      <a:pt x="45" y="30"/>
                    </a:lnTo>
                    <a:lnTo>
                      <a:pt x="43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36" y="28"/>
                    </a:lnTo>
                    <a:lnTo>
                      <a:pt x="35" y="25"/>
                    </a:lnTo>
                    <a:lnTo>
                      <a:pt x="31" y="23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7"/>
                    </a:lnTo>
                    <a:lnTo>
                      <a:pt x="25" y="33"/>
                    </a:lnTo>
                    <a:lnTo>
                      <a:pt x="25" y="35"/>
                    </a:lnTo>
                    <a:lnTo>
                      <a:pt x="20" y="37"/>
                    </a:lnTo>
                    <a:lnTo>
                      <a:pt x="18" y="35"/>
                    </a:lnTo>
                    <a:lnTo>
                      <a:pt x="16" y="35"/>
                    </a:lnTo>
                    <a:lnTo>
                      <a:pt x="15" y="37"/>
                    </a:lnTo>
                    <a:lnTo>
                      <a:pt x="11" y="35"/>
                    </a:lnTo>
                    <a:lnTo>
                      <a:pt x="10" y="32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0" y="32"/>
                    </a:lnTo>
                    <a:lnTo>
                      <a:pt x="1" y="27"/>
                    </a:lnTo>
                    <a:lnTo>
                      <a:pt x="5" y="13"/>
                    </a:lnTo>
                    <a:lnTo>
                      <a:pt x="8" y="10"/>
                    </a:lnTo>
                    <a:lnTo>
                      <a:pt x="15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6" name="Freeform 130"/>
              <p:cNvSpPr>
                <a:spLocks/>
              </p:cNvSpPr>
              <p:nvPr/>
            </p:nvSpPr>
            <p:spPr bwMode="auto">
              <a:xfrm>
                <a:off x="6790671" y="3294617"/>
                <a:ext cx="26756" cy="26977"/>
              </a:xfrm>
              <a:custGeom>
                <a:avLst/>
                <a:gdLst/>
                <a:ahLst/>
                <a:cxnLst>
                  <a:cxn ang="0">
                    <a:pos x="8" y="53"/>
                  </a:cxn>
                  <a:cxn ang="0">
                    <a:pos x="20" y="53"/>
                  </a:cxn>
                  <a:cxn ang="0">
                    <a:pos x="28" y="51"/>
                  </a:cxn>
                  <a:cxn ang="0">
                    <a:pos x="33" y="45"/>
                  </a:cxn>
                  <a:cxn ang="0">
                    <a:pos x="38" y="38"/>
                  </a:cxn>
                  <a:cxn ang="0">
                    <a:pos x="41" y="36"/>
                  </a:cxn>
                  <a:cxn ang="0">
                    <a:pos x="45" y="33"/>
                  </a:cxn>
                  <a:cxn ang="0">
                    <a:pos x="48" y="30"/>
                  </a:cxn>
                  <a:cxn ang="0">
                    <a:pos x="50" y="26"/>
                  </a:cxn>
                  <a:cxn ang="0">
                    <a:pos x="48" y="20"/>
                  </a:cxn>
                  <a:cxn ang="0">
                    <a:pos x="45" y="20"/>
                  </a:cxn>
                  <a:cxn ang="0">
                    <a:pos x="43" y="16"/>
                  </a:cxn>
                  <a:cxn ang="0">
                    <a:pos x="40" y="15"/>
                  </a:cxn>
                  <a:cxn ang="0">
                    <a:pos x="40" y="13"/>
                  </a:cxn>
                  <a:cxn ang="0">
                    <a:pos x="40" y="10"/>
                  </a:cxn>
                  <a:cxn ang="0">
                    <a:pos x="40" y="6"/>
                  </a:cxn>
                  <a:cxn ang="0">
                    <a:pos x="36" y="6"/>
                  </a:cxn>
                  <a:cxn ang="0">
                    <a:pos x="35" y="3"/>
                  </a:cxn>
                  <a:cxn ang="0">
                    <a:pos x="31" y="1"/>
                  </a:cxn>
                  <a:cxn ang="0">
                    <a:pos x="30" y="0"/>
                  </a:cxn>
                  <a:cxn ang="0">
                    <a:pos x="28" y="0"/>
                  </a:cxn>
                  <a:cxn ang="0">
                    <a:pos x="28" y="5"/>
                  </a:cxn>
                  <a:cxn ang="0">
                    <a:pos x="25" y="11"/>
                  </a:cxn>
                  <a:cxn ang="0">
                    <a:pos x="25" y="13"/>
                  </a:cxn>
                  <a:cxn ang="0">
                    <a:pos x="20" y="15"/>
                  </a:cxn>
                  <a:cxn ang="0">
                    <a:pos x="18" y="13"/>
                  </a:cxn>
                  <a:cxn ang="0">
                    <a:pos x="16" y="13"/>
                  </a:cxn>
                  <a:cxn ang="0">
                    <a:pos x="15" y="15"/>
                  </a:cxn>
                  <a:cxn ang="0">
                    <a:pos x="11" y="13"/>
                  </a:cxn>
                  <a:cxn ang="0">
                    <a:pos x="10" y="10"/>
                  </a:cxn>
                  <a:cxn ang="0">
                    <a:pos x="6" y="8"/>
                  </a:cxn>
                  <a:cxn ang="0">
                    <a:pos x="3" y="8"/>
                  </a:cxn>
                  <a:cxn ang="0">
                    <a:pos x="0" y="10"/>
                  </a:cxn>
                  <a:cxn ang="0">
                    <a:pos x="0" y="11"/>
                  </a:cxn>
                  <a:cxn ang="0">
                    <a:pos x="3" y="16"/>
                  </a:cxn>
                  <a:cxn ang="0">
                    <a:pos x="3" y="21"/>
                  </a:cxn>
                  <a:cxn ang="0">
                    <a:pos x="3" y="26"/>
                  </a:cxn>
                  <a:cxn ang="0">
                    <a:pos x="8" y="53"/>
                  </a:cxn>
                </a:cxnLst>
                <a:rect l="0" t="0" r="r" b="b"/>
                <a:pathLst>
                  <a:path w="50" h="53">
                    <a:moveTo>
                      <a:pt x="8" y="53"/>
                    </a:moveTo>
                    <a:lnTo>
                      <a:pt x="20" y="53"/>
                    </a:lnTo>
                    <a:lnTo>
                      <a:pt x="28" y="51"/>
                    </a:lnTo>
                    <a:lnTo>
                      <a:pt x="33" y="45"/>
                    </a:lnTo>
                    <a:lnTo>
                      <a:pt x="38" y="38"/>
                    </a:lnTo>
                    <a:lnTo>
                      <a:pt x="41" y="36"/>
                    </a:lnTo>
                    <a:lnTo>
                      <a:pt x="45" y="33"/>
                    </a:lnTo>
                    <a:lnTo>
                      <a:pt x="48" y="30"/>
                    </a:lnTo>
                    <a:lnTo>
                      <a:pt x="50" y="26"/>
                    </a:lnTo>
                    <a:lnTo>
                      <a:pt x="48" y="20"/>
                    </a:lnTo>
                    <a:lnTo>
                      <a:pt x="45" y="20"/>
                    </a:lnTo>
                    <a:lnTo>
                      <a:pt x="43" y="16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6" y="6"/>
                    </a:lnTo>
                    <a:lnTo>
                      <a:pt x="35" y="3"/>
                    </a:lnTo>
                    <a:lnTo>
                      <a:pt x="31" y="1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5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20" y="15"/>
                    </a:lnTo>
                    <a:lnTo>
                      <a:pt x="18" y="13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1" y="13"/>
                    </a:lnTo>
                    <a:lnTo>
                      <a:pt x="10" y="10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3" y="16"/>
                    </a:lnTo>
                    <a:lnTo>
                      <a:pt x="3" y="21"/>
                    </a:lnTo>
                    <a:lnTo>
                      <a:pt x="3" y="26"/>
                    </a:lnTo>
                    <a:lnTo>
                      <a:pt x="8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7" name="Freeform 131"/>
              <p:cNvSpPr>
                <a:spLocks/>
              </p:cNvSpPr>
              <p:nvPr/>
            </p:nvSpPr>
            <p:spPr bwMode="auto">
              <a:xfrm>
                <a:off x="6571271" y="3208496"/>
                <a:ext cx="248298" cy="215818"/>
              </a:xfrm>
              <a:custGeom>
                <a:avLst/>
                <a:gdLst/>
                <a:ahLst/>
                <a:cxnLst>
                  <a:cxn ang="0">
                    <a:pos x="13" y="232"/>
                  </a:cxn>
                  <a:cxn ang="0">
                    <a:pos x="31" y="227"/>
                  </a:cxn>
                  <a:cxn ang="0">
                    <a:pos x="49" y="216"/>
                  </a:cxn>
                  <a:cxn ang="0">
                    <a:pos x="63" y="229"/>
                  </a:cxn>
                  <a:cxn ang="0">
                    <a:pos x="91" y="206"/>
                  </a:cxn>
                  <a:cxn ang="0">
                    <a:pos x="96" y="171"/>
                  </a:cxn>
                  <a:cxn ang="0">
                    <a:pos x="119" y="146"/>
                  </a:cxn>
                  <a:cxn ang="0">
                    <a:pos x="141" y="114"/>
                  </a:cxn>
                  <a:cxn ang="0">
                    <a:pos x="146" y="88"/>
                  </a:cxn>
                  <a:cxn ang="0">
                    <a:pos x="162" y="51"/>
                  </a:cxn>
                  <a:cxn ang="0">
                    <a:pos x="159" y="25"/>
                  </a:cxn>
                  <a:cxn ang="0">
                    <a:pos x="167" y="11"/>
                  </a:cxn>
                  <a:cxn ang="0">
                    <a:pos x="182" y="6"/>
                  </a:cxn>
                  <a:cxn ang="0">
                    <a:pos x="207" y="21"/>
                  </a:cxn>
                  <a:cxn ang="0">
                    <a:pos x="234" y="23"/>
                  </a:cxn>
                  <a:cxn ang="0">
                    <a:pos x="249" y="23"/>
                  </a:cxn>
                  <a:cxn ang="0">
                    <a:pos x="269" y="16"/>
                  </a:cxn>
                  <a:cxn ang="0">
                    <a:pos x="300" y="6"/>
                  </a:cxn>
                  <a:cxn ang="0">
                    <a:pos x="315" y="10"/>
                  </a:cxn>
                  <a:cxn ang="0">
                    <a:pos x="327" y="0"/>
                  </a:cxn>
                  <a:cxn ang="0">
                    <a:pos x="347" y="6"/>
                  </a:cxn>
                  <a:cxn ang="0">
                    <a:pos x="377" y="8"/>
                  </a:cxn>
                  <a:cxn ang="0">
                    <a:pos x="395" y="23"/>
                  </a:cxn>
                  <a:cxn ang="0">
                    <a:pos x="411" y="20"/>
                  </a:cxn>
                  <a:cxn ang="0">
                    <a:pos x="431" y="15"/>
                  </a:cxn>
                  <a:cxn ang="0">
                    <a:pos x="450" y="33"/>
                  </a:cxn>
                  <a:cxn ang="0">
                    <a:pos x="461" y="41"/>
                  </a:cxn>
                  <a:cxn ang="0">
                    <a:pos x="458" y="68"/>
                  </a:cxn>
                  <a:cxn ang="0">
                    <a:pos x="440" y="103"/>
                  </a:cxn>
                  <a:cxn ang="0">
                    <a:pos x="425" y="147"/>
                  </a:cxn>
                  <a:cxn ang="0">
                    <a:pos x="413" y="187"/>
                  </a:cxn>
                  <a:cxn ang="0">
                    <a:pos x="446" y="300"/>
                  </a:cxn>
                  <a:cxn ang="0">
                    <a:pos x="403" y="337"/>
                  </a:cxn>
                  <a:cxn ang="0">
                    <a:pos x="400" y="352"/>
                  </a:cxn>
                  <a:cxn ang="0">
                    <a:pos x="395" y="380"/>
                  </a:cxn>
                  <a:cxn ang="0">
                    <a:pos x="418" y="395"/>
                  </a:cxn>
                  <a:cxn ang="0">
                    <a:pos x="425" y="417"/>
                  </a:cxn>
                  <a:cxn ang="0">
                    <a:pos x="408" y="417"/>
                  </a:cxn>
                  <a:cxn ang="0">
                    <a:pos x="375" y="392"/>
                  </a:cxn>
                  <a:cxn ang="0">
                    <a:pos x="360" y="377"/>
                  </a:cxn>
                  <a:cxn ang="0">
                    <a:pos x="343" y="385"/>
                  </a:cxn>
                  <a:cxn ang="0">
                    <a:pos x="318" y="378"/>
                  </a:cxn>
                  <a:cxn ang="0">
                    <a:pos x="308" y="368"/>
                  </a:cxn>
                  <a:cxn ang="0">
                    <a:pos x="295" y="372"/>
                  </a:cxn>
                  <a:cxn ang="0">
                    <a:pos x="285" y="363"/>
                  </a:cxn>
                  <a:cxn ang="0">
                    <a:pos x="265" y="368"/>
                  </a:cxn>
                  <a:cxn ang="0">
                    <a:pos x="247" y="367"/>
                  </a:cxn>
                  <a:cxn ang="0">
                    <a:pos x="244" y="360"/>
                  </a:cxn>
                  <a:cxn ang="0">
                    <a:pos x="240" y="343"/>
                  </a:cxn>
                  <a:cxn ang="0">
                    <a:pos x="235" y="332"/>
                  </a:cxn>
                  <a:cxn ang="0">
                    <a:pos x="234" y="310"/>
                  </a:cxn>
                  <a:cxn ang="0">
                    <a:pos x="232" y="294"/>
                  </a:cxn>
                  <a:cxn ang="0">
                    <a:pos x="206" y="277"/>
                  </a:cxn>
                  <a:cxn ang="0">
                    <a:pos x="174" y="280"/>
                  </a:cxn>
                  <a:cxn ang="0">
                    <a:pos x="151" y="297"/>
                  </a:cxn>
                  <a:cxn ang="0">
                    <a:pos x="124" y="289"/>
                  </a:cxn>
                  <a:cxn ang="0">
                    <a:pos x="114" y="270"/>
                  </a:cxn>
                  <a:cxn ang="0">
                    <a:pos x="109" y="254"/>
                  </a:cxn>
                  <a:cxn ang="0">
                    <a:pos x="53" y="249"/>
                  </a:cxn>
                  <a:cxn ang="0">
                    <a:pos x="24" y="249"/>
                  </a:cxn>
                  <a:cxn ang="0">
                    <a:pos x="11" y="252"/>
                  </a:cxn>
                </a:cxnLst>
                <a:rect l="0" t="0" r="r" b="b"/>
                <a:pathLst>
                  <a:path w="463" h="417">
                    <a:moveTo>
                      <a:pt x="0" y="249"/>
                    </a:moveTo>
                    <a:lnTo>
                      <a:pt x="5" y="245"/>
                    </a:lnTo>
                    <a:lnTo>
                      <a:pt x="8" y="245"/>
                    </a:lnTo>
                    <a:lnTo>
                      <a:pt x="11" y="242"/>
                    </a:lnTo>
                    <a:lnTo>
                      <a:pt x="11" y="234"/>
                    </a:lnTo>
                    <a:lnTo>
                      <a:pt x="13" y="232"/>
                    </a:lnTo>
                    <a:lnTo>
                      <a:pt x="18" y="229"/>
                    </a:lnTo>
                    <a:lnTo>
                      <a:pt x="23" y="224"/>
                    </a:lnTo>
                    <a:lnTo>
                      <a:pt x="26" y="224"/>
                    </a:lnTo>
                    <a:lnTo>
                      <a:pt x="29" y="222"/>
                    </a:lnTo>
                    <a:lnTo>
                      <a:pt x="31" y="224"/>
                    </a:lnTo>
                    <a:lnTo>
                      <a:pt x="31" y="227"/>
                    </a:lnTo>
                    <a:lnTo>
                      <a:pt x="36" y="227"/>
                    </a:lnTo>
                    <a:lnTo>
                      <a:pt x="38" y="224"/>
                    </a:lnTo>
                    <a:lnTo>
                      <a:pt x="38" y="219"/>
                    </a:lnTo>
                    <a:lnTo>
                      <a:pt x="41" y="219"/>
                    </a:lnTo>
                    <a:lnTo>
                      <a:pt x="44" y="219"/>
                    </a:lnTo>
                    <a:lnTo>
                      <a:pt x="49" y="216"/>
                    </a:lnTo>
                    <a:lnTo>
                      <a:pt x="58" y="214"/>
                    </a:lnTo>
                    <a:lnTo>
                      <a:pt x="58" y="216"/>
                    </a:lnTo>
                    <a:lnTo>
                      <a:pt x="54" y="221"/>
                    </a:lnTo>
                    <a:lnTo>
                      <a:pt x="56" y="222"/>
                    </a:lnTo>
                    <a:lnTo>
                      <a:pt x="58" y="226"/>
                    </a:lnTo>
                    <a:lnTo>
                      <a:pt x="63" y="229"/>
                    </a:lnTo>
                    <a:lnTo>
                      <a:pt x="68" y="226"/>
                    </a:lnTo>
                    <a:lnTo>
                      <a:pt x="73" y="221"/>
                    </a:lnTo>
                    <a:lnTo>
                      <a:pt x="83" y="212"/>
                    </a:lnTo>
                    <a:lnTo>
                      <a:pt x="84" y="209"/>
                    </a:lnTo>
                    <a:lnTo>
                      <a:pt x="88" y="207"/>
                    </a:lnTo>
                    <a:lnTo>
                      <a:pt x="91" y="206"/>
                    </a:lnTo>
                    <a:lnTo>
                      <a:pt x="96" y="201"/>
                    </a:lnTo>
                    <a:lnTo>
                      <a:pt x="96" y="196"/>
                    </a:lnTo>
                    <a:lnTo>
                      <a:pt x="98" y="191"/>
                    </a:lnTo>
                    <a:lnTo>
                      <a:pt x="98" y="177"/>
                    </a:lnTo>
                    <a:lnTo>
                      <a:pt x="96" y="176"/>
                    </a:lnTo>
                    <a:lnTo>
                      <a:pt x="96" y="171"/>
                    </a:lnTo>
                    <a:lnTo>
                      <a:pt x="98" y="166"/>
                    </a:lnTo>
                    <a:lnTo>
                      <a:pt x="106" y="159"/>
                    </a:lnTo>
                    <a:lnTo>
                      <a:pt x="106" y="154"/>
                    </a:lnTo>
                    <a:lnTo>
                      <a:pt x="111" y="149"/>
                    </a:lnTo>
                    <a:lnTo>
                      <a:pt x="116" y="146"/>
                    </a:lnTo>
                    <a:lnTo>
                      <a:pt x="119" y="146"/>
                    </a:lnTo>
                    <a:lnTo>
                      <a:pt x="122" y="142"/>
                    </a:lnTo>
                    <a:lnTo>
                      <a:pt x="127" y="142"/>
                    </a:lnTo>
                    <a:lnTo>
                      <a:pt x="136" y="131"/>
                    </a:lnTo>
                    <a:lnTo>
                      <a:pt x="136" y="123"/>
                    </a:lnTo>
                    <a:lnTo>
                      <a:pt x="137" y="116"/>
                    </a:lnTo>
                    <a:lnTo>
                      <a:pt x="141" y="114"/>
                    </a:lnTo>
                    <a:lnTo>
                      <a:pt x="142" y="108"/>
                    </a:lnTo>
                    <a:lnTo>
                      <a:pt x="141" y="108"/>
                    </a:lnTo>
                    <a:lnTo>
                      <a:pt x="142" y="101"/>
                    </a:lnTo>
                    <a:lnTo>
                      <a:pt x="142" y="98"/>
                    </a:lnTo>
                    <a:lnTo>
                      <a:pt x="142" y="91"/>
                    </a:lnTo>
                    <a:lnTo>
                      <a:pt x="146" y="88"/>
                    </a:lnTo>
                    <a:lnTo>
                      <a:pt x="146" y="83"/>
                    </a:lnTo>
                    <a:lnTo>
                      <a:pt x="147" y="78"/>
                    </a:lnTo>
                    <a:lnTo>
                      <a:pt x="146" y="69"/>
                    </a:lnTo>
                    <a:lnTo>
                      <a:pt x="156" y="58"/>
                    </a:lnTo>
                    <a:lnTo>
                      <a:pt x="157" y="54"/>
                    </a:lnTo>
                    <a:lnTo>
                      <a:pt x="162" y="51"/>
                    </a:lnTo>
                    <a:lnTo>
                      <a:pt x="162" y="43"/>
                    </a:lnTo>
                    <a:lnTo>
                      <a:pt x="159" y="38"/>
                    </a:lnTo>
                    <a:lnTo>
                      <a:pt x="159" y="33"/>
                    </a:lnTo>
                    <a:lnTo>
                      <a:pt x="161" y="31"/>
                    </a:lnTo>
                    <a:lnTo>
                      <a:pt x="162" y="28"/>
                    </a:lnTo>
                    <a:lnTo>
                      <a:pt x="159" y="25"/>
                    </a:lnTo>
                    <a:lnTo>
                      <a:pt x="159" y="21"/>
                    </a:lnTo>
                    <a:lnTo>
                      <a:pt x="162" y="21"/>
                    </a:lnTo>
                    <a:lnTo>
                      <a:pt x="164" y="20"/>
                    </a:lnTo>
                    <a:lnTo>
                      <a:pt x="164" y="18"/>
                    </a:lnTo>
                    <a:lnTo>
                      <a:pt x="166" y="15"/>
                    </a:lnTo>
                    <a:lnTo>
                      <a:pt x="167" y="11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6" y="8"/>
                    </a:lnTo>
                    <a:lnTo>
                      <a:pt x="179" y="8"/>
                    </a:lnTo>
                    <a:lnTo>
                      <a:pt x="181" y="6"/>
                    </a:lnTo>
                    <a:lnTo>
                      <a:pt x="182" y="6"/>
                    </a:lnTo>
                    <a:lnTo>
                      <a:pt x="186" y="8"/>
                    </a:lnTo>
                    <a:lnTo>
                      <a:pt x="189" y="8"/>
                    </a:lnTo>
                    <a:lnTo>
                      <a:pt x="196" y="15"/>
                    </a:lnTo>
                    <a:lnTo>
                      <a:pt x="199" y="15"/>
                    </a:lnTo>
                    <a:lnTo>
                      <a:pt x="206" y="20"/>
                    </a:lnTo>
                    <a:lnTo>
                      <a:pt x="207" y="21"/>
                    </a:lnTo>
                    <a:lnTo>
                      <a:pt x="212" y="21"/>
                    </a:lnTo>
                    <a:lnTo>
                      <a:pt x="217" y="23"/>
                    </a:lnTo>
                    <a:lnTo>
                      <a:pt x="224" y="25"/>
                    </a:lnTo>
                    <a:lnTo>
                      <a:pt x="227" y="25"/>
                    </a:lnTo>
                    <a:lnTo>
                      <a:pt x="230" y="23"/>
                    </a:lnTo>
                    <a:lnTo>
                      <a:pt x="234" y="23"/>
                    </a:lnTo>
                    <a:lnTo>
                      <a:pt x="237" y="25"/>
                    </a:lnTo>
                    <a:lnTo>
                      <a:pt x="244" y="26"/>
                    </a:lnTo>
                    <a:lnTo>
                      <a:pt x="245" y="26"/>
                    </a:lnTo>
                    <a:lnTo>
                      <a:pt x="250" y="26"/>
                    </a:lnTo>
                    <a:lnTo>
                      <a:pt x="252" y="25"/>
                    </a:lnTo>
                    <a:lnTo>
                      <a:pt x="249" y="23"/>
                    </a:lnTo>
                    <a:lnTo>
                      <a:pt x="249" y="20"/>
                    </a:lnTo>
                    <a:lnTo>
                      <a:pt x="252" y="16"/>
                    </a:lnTo>
                    <a:lnTo>
                      <a:pt x="257" y="13"/>
                    </a:lnTo>
                    <a:lnTo>
                      <a:pt x="260" y="13"/>
                    </a:lnTo>
                    <a:lnTo>
                      <a:pt x="265" y="13"/>
                    </a:lnTo>
                    <a:lnTo>
                      <a:pt x="269" y="16"/>
                    </a:lnTo>
                    <a:lnTo>
                      <a:pt x="272" y="15"/>
                    </a:lnTo>
                    <a:lnTo>
                      <a:pt x="282" y="13"/>
                    </a:lnTo>
                    <a:lnTo>
                      <a:pt x="284" y="11"/>
                    </a:lnTo>
                    <a:lnTo>
                      <a:pt x="287" y="10"/>
                    </a:lnTo>
                    <a:lnTo>
                      <a:pt x="297" y="6"/>
                    </a:lnTo>
                    <a:lnTo>
                      <a:pt x="300" y="6"/>
                    </a:lnTo>
                    <a:lnTo>
                      <a:pt x="302" y="8"/>
                    </a:lnTo>
                    <a:lnTo>
                      <a:pt x="304" y="8"/>
                    </a:lnTo>
                    <a:lnTo>
                      <a:pt x="304" y="11"/>
                    </a:lnTo>
                    <a:lnTo>
                      <a:pt x="307" y="11"/>
                    </a:lnTo>
                    <a:lnTo>
                      <a:pt x="308" y="10"/>
                    </a:lnTo>
                    <a:lnTo>
                      <a:pt x="315" y="10"/>
                    </a:lnTo>
                    <a:lnTo>
                      <a:pt x="318" y="8"/>
                    </a:lnTo>
                    <a:lnTo>
                      <a:pt x="322" y="8"/>
                    </a:lnTo>
                    <a:lnTo>
                      <a:pt x="325" y="5"/>
                    </a:lnTo>
                    <a:lnTo>
                      <a:pt x="323" y="3"/>
                    </a:lnTo>
                    <a:lnTo>
                      <a:pt x="323" y="1"/>
                    </a:lnTo>
                    <a:lnTo>
                      <a:pt x="327" y="0"/>
                    </a:lnTo>
                    <a:lnTo>
                      <a:pt x="330" y="3"/>
                    </a:lnTo>
                    <a:lnTo>
                      <a:pt x="335" y="3"/>
                    </a:lnTo>
                    <a:lnTo>
                      <a:pt x="337" y="3"/>
                    </a:lnTo>
                    <a:lnTo>
                      <a:pt x="340" y="5"/>
                    </a:lnTo>
                    <a:lnTo>
                      <a:pt x="343" y="5"/>
                    </a:lnTo>
                    <a:lnTo>
                      <a:pt x="347" y="6"/>
                    </a:lnTo>
                    <a:lnTo>
                      <a:pt x="357" y="6"/>
                    </a:lnTo>
                    <a:lnTo>
                      <a:pt x="357" y="8"/>
                    </a:lnTo>
                    <a:lnTo>
                      <a:pt x="365" y="5"/>
                    </a:lnTo>
                    <a:lnTo>
                      <a:pt x="370" y="5"/>
                    </a:lnTo>
                    <a:lnTo>
                      <a:pt x="375" y="8"/>
                    </a:lnTo>
                    <a:lnTo>
                      <a:pt x="377" y="8"/>
                    </a:lnTo>
                    <a:lnTo>
                      <a:pt x="377" y="11"/>
                    </a:lnTo>
                    <a:lnTo>
                      <a:pt x="380" y="15"/>
                    </a:lnTo>
                    <a:lnTo>
                      <a:pt x="383" y="15"/>
                    </a:lnTo>
                    <a:lnTo>
                      <a:pt x="385" y="18"/>
                    </a:lnTo>
                    <a:lnTo>
                      <a:pt x="390" y="21"/>
                    </a:lnTo>
                    <a:lnTo>
                      <a:pt x="395" y="23"/>
                    </a:lnTo>
                    <a:lnTo>
                      <a:pt x="398" y="23"/>
                    </a:lnTo>
                    <a:lnTo>
                      <a:pt x="400" y="20"/>
                    </a:lnTo>
                    <a:lnTo>
                      <a:pt x="403" y="18"/>
                    </a:lnTo>
                    <a:lnTo>
                      <a:pt x="408" y="18"/>
                    </a:lnTo>
                    <a:lnTo>
                      <a:pt x="411" y="18"/>
                    </a:lnTo>
                    <a:lnTo>
                      <a:pt x="411" y="20"/>
                    </a:lnTo>
                    <a:lnTo>
                      <a:pt x="415" y="20"/>
                    </a:lnTo>
                    <a:lnTo>
                      <a:pt x="420" y="18"/>
                    </a:lnTo>
                    <a:lnTo>
                      <a:pt x="421" y="16"/>
                    </a:lnTo>
                    <a:lnTo>
                      <a:pt x="425" y="13"/>
                    </a:lnTo>
                    <a:lnTo>
                      <a:pt x="430" y="13"/>
                    </a:lnTo>
                    <a:lnTo>
                      <a:pt x="431" y="15"/>
                    </a:lnTo>
                    <a:lnTo>
                      <a:pt x="435" y="20"/>
                    </a:lnTo>
                    <a:lnTo>
                      <a:pt x="436" y="23"/>
                    </a:lnTo>
                    <a:lnTo>
                      <a:pt x="438" y="25"/>
                    </a:lnTo>
                    <a:lnTo>
                      <a:pt x="445" y="26"/>
                    </a:lnTo>
                    <a:lnTo>
                      <a:pt x="448" y="28"/>
                    </a:lnTo>
                    <a:lnTo>
                      <a:pt x="450" y="33"/>
                    </a:lnTo>
                    <a:lnTo>
                      <a:pt x="451" y="34"/>
                    </a:lnTo>
                    <a:lnTo>
                      <a:pt x="451" y="38"/>
                    </a:lnTo>
                    <a:lnTo>
                      <a:pt x="453" y="39"/>
                    </a:lnTo>
                    <a:lnTo>
                      <a:pt x="453" y="39"/>
                    </a:lnTo>
                    <a:lnTo>
                      <a:pt x="460" y="39"/>
                    </a:lnTo>
                    <a:lnTo>
                      <a:pt x="461" y="41"/>
                    </a:lnTo>
                    <a:lnTo>
                      <a:pt x="460" y="44"/>
                    </a:lnTo>
                    <a:lnTo>
                      <a:pt x="458" y="48"/>
                    </a:lnTo>
                    <a:lnTo>
                      <a:pt x="458" y="53"/>
                    </a:lnTo>
                    <a:lnTo>
                      <a:pt x="456" y="61"/>
                    </a:lnTo>
                    <a:lnTo>
                      <a:pt x="456" y="66"/>
                    </a:lnTo>
                    <a:lnTo>
                      <a:pt x="458" y="68"/>
                    </a:lnTo>
                    <a:lnTo>
                      <a:pt x="461" y="71"/>
                    </a:lnTo>
                    <a:lnTo>
                      <a:pt x="463" y="74"/>
                    </a:lnTo>
                    <a:lnTo>
                      <a:pt x="461" y="78"/>
                    </a:lnTo>
                    <a:lnTo>
                      <a:pt x="450" y="93"/>
                    </a:lnTo>
                    <a:lnTo>
                      <a:pt x="441" y="99"/>
                    </a:lnTo>
                    <a:lnTo>
                      <a:pt x="440" y="103"/>
                    </a:lnTo>
                    <a:lnTo>
                      <a:pt x="430" y="119"/>
                    </a:lnTo>
                    <a:lnTo>
                      <a:pt x="428" y="121"/>
                    </a:lnTo>
                    <a:lnTo>
                      <a:pt x="428" y="128"/>
                    </a:lnTo>
                    <a:lnTo>
                      <a:pt x="428" y="136"/>
                    </a:lnTo>
                    <a:lnTo>
                      <a:pt x="425" y="142"/>
                    </a:lnTo>
                    <a:lnTo>
                      <a:pt x="425" y="147"/>
                    </a:lnTo>
                    <a:lnTo>
                      <a:pt x="418" y="154"/>
                    </a:lnTo>
                    <a:lnTo>
                      <a:pt x="415" y="157"/>
                    </a:lnTo>
                    <a:lnTo>
                      <a:pt x="411" y="171"/>
                    </a:lnTo>
                    <a:lnTo>
                      <a:pt x="410" y="177"/>
                    </a:lnTo>
                    <a:lnTo>
                      <a:pt x="413" y="182"/>
                    </a:lnTo>
                    <a:lnTo>
                      <a:pt x="413" y="187"/>
                    </a:lnTo>
                    <a:lnTo>
                      <a:pt x="413" y="192"/>
                    </a:lnTo>
                    <a:lnTo>
                      <a:pt x="421" y="237"/>
                    </a:lnTo>
                    <a:lnTo>
                      <a:pt x="426" y="262"/>
                    </a:lnTo>
                    <a:lnTo>
                      <a:pt x="443" y="284"/>
                    </a:lnTo>
                    <a:lnTo>
                      <a:pt x="450" y="302"/>
                    </a:lnTo>
                    <a:lnTo>
                      <a:pt x="446" y="300"/>
                    </a:lnTo>
                    <a:lnTo>
                      <a:pt x="407" y="309"/>
                    </a:lnTo>
                    <a:lnTo>
                      <a:pt x="397" y="325"/>
                    </a:lnTo>
                    <a:lnTo>
                      <a:pt x="398" y="330"/>
                    </a:lnTo>
                    <a:lnTo>
                      <a:pt x="402" y="332"/>
                    </a:lnTo>
                    <a:lnTo>
                      <a:pt x="403" y="333"/>
                    </a:lnTo>
                    <a:lnTo>
                      <a:pt x="403" y="337"/>
                    </a:lnTo>
                    <a:lnTo>
                      <a:pt x="402" y="337"/>
                    </a:lnTo>
                    <a:lnTo>
                      <a:pt x="402" y="340"/>
                    </a:lnTo>
                    <a:lnTo>
                      <a:pt x="402" y="343"/>
                    </a:lnTo>
                    <a:lnTo>
                      <a:pt x="402" y="347"/>
                    </a:lnTo>
                    <a:lnTo>
                      <a:pt x="402" y="352"/>
                    </a:lnTo>
                    <a:lnTo>
                      <a:pt x="400" y="352"/>
                    </a:lnTo>
                    <a:lnTo>
                      <a:pt x="400" y="353"/>
                    </a:lnTo>
                    <a:lnTo>
                      <a:pt x="398" y="357"/>
                    </a:lnTo>
                    <a:lnTo>
                      <a:pt x="393" y="360"/>
                    </a:lnTo>
                    <a:lnTo>
                      <a:pt x="393" y="363"/>
                    </a:lnTo>
                    <a:lnTo>
                      <a:pt x="393" y="375"/>
                    </a:lnTo>
                    <a:lnTo>
                      <a:pt x="395" y="380"/>
                    </a:lnTo>
                    <a:lnTo>
                      <a:pt x="397" y="383"/>
                    </a:lnTo>
                    <a:lnTo>
                      <a:pt x="403" y="390"/>
                    </a:lnTo>
                    <a:lnTo>
                      <a:pt x="405" y="393"/>
                    </a:lnTo>
                    <a:lnTo>
                      <a:pt x="408" y="395"/>
                    </a:lnTo>
                    <a:lnTo>
                      <a:pt x="418" y="395"/>
                    </a:lnTo>
                    <a:lnTo>
                      <a:pt x="418" y="395"/>
                    </a:lnTo>
                    <a:lnTo>
                      <a:pt x="416" y="393"/>
                    </a:lnTo>
                    <a:lnTo>
                      <a:pt x="416" y="390"/>
                    </a:lnTo>
                    <a:lnTo>
                      <a:pt x="421" y="390"/>
                    </a:lnTo>
                    <a:lnTo>
                      <a:pt x="425" y="390"/>
                    </a:lnTo>
                    <a:lnTo>
                      <a:pt x="426" y="413"/>
                    </a:lnTo>
                    <a:lnTo>
                      <a:pt x="425" y="417"/>
                    </a:lnTo>
                    <a:lnTo>
                      <a:pt x="421" y="415"/>
                    </a:lnTo>
                    <a:lnTo>
                      <a:pt x="421" y="413"/>
                    </a:lnTo>
                    <a:lnTo>
                      <a:pt x="418" y="413"/>
                    </a:lnTo>
                    <a:lnTo>
                      <a:pt x="415" y="415"/>
                    </a:lnTo>
                    <a:lnTo>
                      <a:pt x="411" y="417"/>
                    </a:lnTo>
                    <a:lnTo>
                      <a:pt x="408" y="417"/>
                    </a:lnTo>
                    <a:lnTo>
                      <a:pt x="403" y="412"/>
                    </a:lnTo>
                    <a:lnTo>
                      <a:pt x="398" y="407"/>
                    </a:lnTo>
                    <a:lnTo>
                      <a:pt x="393" y="403"/>
                    </a:lnTo>
                    <a:lnTo>
                      <a:pt x="388" y="397"/>
                    </a:lnTo>
                    <a:lnTo>
                      <a:pt x="383" y="393"/>
                    </a:lnTo>
                    <a:lnTo>
                      <a:pt x="375" y="392"/>
                    </a:lnTo>
                    <a:lnTo>
                      <a:pt x="368" y="388"/>
                    </a:lnTo>
                    <a:lnTo>
                      <a:pt x="368" y="385"/>
                    </a:lnTo>
                    <a:lnTo>
                      <a:pt x="365" y="382"/>
                    </a:lnTo>
                    <a:lnTo>
                      <a:pt x="365" y="375"/>
                    </a:lnTo>
                    <a:lnTo>
                      <a:pt x="363" y="375"/>
                    </a:lnTo>
                    <a:lnTo>
                      <a:pt x="360" y="377"/>
                    </a:lnTo>
                    <a:lnTo>
                      <a:pt x="357" y="377"/>
                    </a:lnTo>
                    <a:lnTo>
                      <a:pt x="355" y="382"/>
                    </a:lnTo>
                    <a:lnTo>
                      <a:pt x="355" y="385"/>
                    </a:lnTo>
                    <a:lnTo>
                      <a:pt x="347" y="387"/>
                    </a:lnTo>
                    <a:lnTo>
                      <a:pt x="343" y="387"/>
                    </a:lnTo>
                    <a:lnTo>
                      <a:pt x="343" y="385"/>
                    </a:lnTo>
                    <a:lnTo>
                      <a:pt x="337" y="385"/>
                    </a:lnTo>
                    <a:lnTo>
                      <a:pt x="333" y="383"/>
                    </a:lnTo>
                    <a:lnTo>
                      <a:pt x="327" y="380"/>
                    </a:lnTo>
                    <a:lnTo>
                      <a:pt x="325" y="380"/>
                    </a:lnTo>
                    <a:lnTo>
                      <a:pt x="320" y="378"/>
                    </a:lnTo>
                    <a:lnTo>
                      <a:pt x="318" y="378"/>
                    </a:lnTo>
                    <a:lnTo>
                      <a:pt x="318" y="377"/>
                    </a:lnTo>
                    <a:lnTo>
                      <a:pt x="318" y="373"/>
                    </a:lnTo>
                    <a:lnTo>
                      <a:pt x="317" y="372"/>
                    </a:lnTo>
                    <a:lnTo>
                      <a:pt x="317" y="367"/>
                    </a:lnTo>
                    <a:lnTo>
                      <a:pt x="315" y="367"/>
                    </a:lnTo>
                    <a:lnTo>
                      <a:pt x="308" y="368"/>
                    </a:lnTo>
                    <a:lnTo>
                      <a:pt x="307" y="370"/>
                    </a:lnTo>
                    <a:lnTo>
                      <a:pt x="304" y="370"/>
                    </a:lnTo>
                    <a:lnTo>
                      <a:pt x="300" y="372"/>
                    </a:lnTo>
                    <a:lnTo>
                      <a:pt x="297" y="373"/>
                    </a:lnTo>
                    <a:lnTo>
                      <a:pt x="295" y="373"/>
                    </a:lnTo>
                    <a:lnTo>
                      <a:pt x="295" y="372"/>
                    </a:lnTo>
                    <a:lnTo>
                      <a:pt x="295" y="367"/>
                    </a:lnTo>
                    <a:lnTo>
                      <a:pt x="294" y="367"/>
                    </a:lnTo>
                    <a:lnTo>
                      <a:pt x="290" y="365"/>
                    </a:lnTo>
                    <a:lnTo>
                      <a:pt x="287" y="365"/>
                    </a:lnTo>
                    <a:lnTo>
                      <a:pt x="285" y="363"/>
                    </a:lnTo>
                    <a:lnTo>
                      <a:pt x="285" y="363"/>
                    </a:lnTo>
                    <a:lnTo>
                      <a:pt x="280" y="363"/>
                    </a:lnTo>
                    <a:lnTo>
                      <a:pt x="277" y="365"/>
                    </a:lnTo>
                    <a:lnTo>
                      <a:pt x="272" y="367"/>
                    </a:lnTo>
                    <a:lnTo>
                      <a:pt x="270" y="368"/>
                    </a:lnTo>
                    <a:lnTo>
                      <a:pt x="267" y="368"/>
                    </a:lnTo>
                    <a:lnTo>
                      <a:pt x="265" y="368"/>
                    </a:lnTo>
                    <a:lnTo>
                      <a:pt x="259" y="368"/>
                    </a:lnTo>
                    <a:lnTo>
                      <a:pt x="257" y="367"/>
                    </a:lnTo>
                    <a:lnTo>
                      <a:pt x="254" y="365"/>
                    </a:lnTo>
                    <a:lnTo>
                      <a:pt x="250" y="365"/>
                    </a:lnTo>
                    <a:lnTo>
                      <a:pt x="249" y="365"/>
                    </a:lnTo>
                    <a:lnTo>
                      <a:pt x="247" y="367"/>
                    </a:lnTo>
                    <a:lnTo>
                      <a:pt x="245" y="368"/>
                    </a:lnTo>
                    <a:lnTo>
                      <a:pt x="244" y="368"/>
                    </a:lnTo>
                    <a:lnTo>
                      <a:pt x="242" y="367"/>
                    </a:lnTo>
                    <a:lnTo>
                      <a:pt x="242" y="362"/>
                    </a:lnTo>
                    <a:lnTo>
                      <a:pt x="244" y="360"/>
                    </a:lnTo>
                    <a:lnTo>
                      <a:pt x="244" y="360"/>
                    </a:lnTo>
                    <a:lnTo>
                      <a:pt x="245" y="357"/>
                    </a:lnTo>
                    <a:lnTo>
                      <a:pt x="242" y="353"/>
                    </a:lnTo>
                    <a:lnTo>
                      <a:pt x="242" y="350"/>
                    </a:lnTo>
                    <a:lnTo>
                      <a:pt x="242" y="348"/>
                    </a:lnTo>
                    <a:lnTo>
                      <a:pt x="242" y="347"/>
                    </a:lnTo>
                    <a:lnTo>
                      <a:pt x="240" y="343"/>
                    </a:lnTo>
                    <a:lnTo>
                      <a:pt x="240" y="340"/>
                    </a:lnTo>
                    <a:lnTo>
                      <a:pt x="240" y="338"/>
                    </a:lnTo>
                    <a:lnTo>
                      <a:pt x="240" y="335"/>
                    </a:lnTo>
                    <a:lnTo>
                      <a:pt x="239" y="335"/>
                    </a:lnTo>
                    <a:lnTo>
                      <a:pt x="237" y="332"/>
                    </a:lnTo>
                    <a:lnTo>
                      <a:pt x="235" y="332"/>
                    </a:lnTo>
                    <a:lnTo>
                      <a:pt x="235" y="328"/>
                    </a:lnTo>
                    <a:lnTo>
                      <a:pt x="234" y="327"/>
                    </a:lnTo>
                    <a:lnTo>
                      <a:pt x="234" y="324"/>
                    </a:lnTo>
                    <a:lnTo>
                      <a:pt x="232" y="322"/>
                    </a:lnTo>
                    <a:lnTo>
                      <a:pt x="234" y="319"/>
                    </a:lnTo>
                    <a:lnTo>
                      <a:pt x="234" y="310"/>
                    </a:lnTo>
                    <a:lnTo>
                      <a:pt x="232" y="307"/>
                    </a:lnTo>
                    <a:lnTo>
                      <a:pt x="232" y="305"/>
                    </a:lnTo>
                    <a:lnTo>
                      <a:pt x="234" y="304"/>
                    </a:lnTo>
                    <a:lnTo>
                      <a:pt x="234" y="300"/>
                    </a:lnTo>
                    <a:lnTo>
                      <a:pt x="230" y="297"/>
                    </a:lnTo>
                    <a:lnTo>
                      <a:pt x="232" y="294"/>
                    </a:lnTo>
                    <a:lnTo>
                      <a:pt x="234" y="290"/>
                    </a:lnTo>
                    <a:lnTo>
                      <a:pt x="234" y="287"/>
                    </a:lnTo>
                    <a:lnTo>
                      <a:pt x="234" y="284"/>
                    </a:lnTo>
                    <a:lnTo>
                      <a:pt x="234" y="280"/>
                    </a:lnTo>
                    <a:lnTo>
                      <a:pt x="206" y="279"/>
                    </a:lnTo>
                    <a:lnTo>
                      <a:pt x="206" y="277"/>
                    </a:lnTo>
                    <a:lnTo>
                      <a:pt x="206" y="275"/>
                    </a:lnTo>
                    <a:lnTo>
                      <a:pt x="207" y="272"/>
                    </a:lnTo>
                    <a:lnTo>
                      <a:pt x="199" y="272"/>
                    </a:lnTo>
                    <a:lnTo>
                      <a:pt x="199" y="274"/>
                    </a:lnTo>
                    <a:lnTo>
                      <a:pt x="176" y="274"/>
                    </a:lnTo>
                    <a:lnTo>
                      <a:pt x="174" y="280"/>
                    </a:lnTo>
                    <a:lnTo>
                      <a:pt x="172" y="284"/>
                    </a:lnTo>
                    <a:lnTo>
                      <a:pt x="171" y="285"/>
                    </a:lnTo>
                    <a:lnTo>
                      <a:pt x="172" y="289"/>
                    </a:lnTo>
                    <a:lnTo>
                      <a:pt x="172" y="295"/>
                    </a:lnTo>
                    <a:lnTo>
                      <a:pt x="154" y="295"/>
                    </a:lnTo>
                    <a:lnTo>
                      <a:pt x="151" y="297"/>
                    </a:lnTo>
                    <a:lnTo>
                      <a:pt x="142" y="297"/>
                    </a:lnTo>
                    <a:lnTo>
                      <a:pt x="139" y="297"/>
                    </a:lnTo>
                    <a:lnTo>
                      <a:pt x="134" y="297"/>
                    </a:lnTo>
                    <a:lnTo>
                      <a:pt x="129" y="297"/>
                    </a:lnTo>
                    <a:lnTo>
                      <a:pt x="126" y="295"/>
                    </a:lnTo>
                    <a:lnTo>
                      <a:pt x="124" y="289"/>
                    </a:lnTo>
                    <a:lnTo>
                      <a:pt x="121" y="284"/>
                    </a:lnTo>
                    <a:lnTo>
                      <a:pt x="119" y="282"/>
                    </a:lnTo>
                    <a:lnTo>
                      <a:pt x="117" y="280"/>
                    </a:lnTo>
                    <a:lnTo>
                      <a:pt x="117" y="277"/>
                    </a:lnTo>
                    <a:lnTo>
                      <a:pt x="116" y="275"/>
                    </a:lnTo>
                    <a:lnTo>
                      <a:pt x="114" y="270"/>
                    </a:lnTo>
                    <a:lnTo>
                      <a:pt x="112" y="267"/>
                    </a:lnTo>
                    <a:lnTo>
                      <a:pt x="112" y="264"/>
                    </a:lnTo>
                    <a:lnTo>
                      <a:pt x="112" y="260"/>
                    </a:lnTo>
                    <a:lnTo>
                      <a:pt x="112" y="259"/>
                    </a:lnTo>
                    <a:lnTo>
                      <a:pt x="111" y="255"/>
                    </a:lnTo>
                    <a:lnTo>
                      <a:pt x="109" y="254"/>
                    </a:lnTo>
                    <a:lnTo>
                      <a:pt x="111" y="252"/>
                    </a:lnTo>
                    <a:lnTo>
                      <a:pt x="111" y="249"/>
                    </a:lnTo>
                    <a:lnTo>
                      <a:pt x="86" y="249"/>
                    </a:lnTo>
                    <a:lnTo>
                      <a:pt x="68" y="249"/>
                    </a:lnTo>
                    <a:lnTo>
                      <a:pt x="59" y="250"/>
                    </a:lnTo>
                    <a:lnTo>
                      <a:pt x="53" y="249"/>
                    </a:lnTo>
                    <a:lnTo>
                      <a:pt x="48" y="249"/>
                    </a:lnTo>
                    <a:lnTo>
                      <a:pt x="41" y="249"/>
                    </a:lnTo>
                    <a:lnTo>
                      <a:pt x="36" y="250"/>
                    </a:lnTo>
                    <a:lnTo>
                      <a:pt x="31" y="250"/>
                    </a:lnTo>
                    <a:lnTo>
                      <a:pt x="28" y="249"/>
                    </a:lnTo>
                    <a:lnTo>
                      <a:pt x="24" y="249"/>
                    </a:lnTo>
                    <a:lnTo>
                      <a:pt x="19" y="250"/>
                    </a:lnTo>
                    <a:lnTo>
                      <a:pt x="16" y="250"/>
                    </a:lnTo>
                    <a:lnTo>
                      <a:pt x="14" y="252"/>
                    </a:lnTo>
                    <a:lnTo>
                      <a:pt x="13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8" y="250"/>
                    </a:lnTo>
                    <a:lnTo>
                      <a:pt x="1" y="250"/>
                    </a:lnTo>
                    <a:lnTo>
                      <a:pt x="0" y="2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8" name="Freeform 132"/>
              <p:cNvSpPr>
                <a:spLocks/>
              </p:cNvSpPr>
              <p:nvPr/>
            </p:nvSpPr>
            <p:spPr bwMode="auto">
              <a:xfrm>
                <a:off x="6837762" y="3377624"/>
                <a:ext cx="41739" cy="9130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3" y="3"/>
                  </a:cxn>
                  <a:cxn ang="0">
                    <a:pos x="16" y="5"/>
                  </a:cxn>
                  <a:cxn ang="0">
                    <a:pos x="21" y="5"/>
                  </a:cxn>
                  <a:cxn ang="0">
                    <a:pos x="25" y="7"/>
                  </a:cxn>
                  <a:cxn ang="0">
                    <a:pos x="28" y="8"/>
                  </a:cxn>
                  <a:cxn ang="0">
                    <a:pos x="38" y="20"/>
                  </a:cxn>
                  <a:cxn ang="0">
                    <a:pos x="40" y="65"/>
                  </a:cxn>
                  <a:cxn ang="0">
                    <a:pos x="43" y="88"/>
                  </a:cxn>
                  <a:cxn ang="0">
                    <a:pos x="53" y="95"/>
                  </a:cxn>
                  <a:cxn ang="0">
                    <a:pos x="58" y="98"/>
                  </a:cxn>
                  <a:cxn ang="0">
                    <a:pos x="68" y="110"/>
                  </a:cxn>
                  <a:cxn ang="0">
                    <a:pos x="75" y="121"/>
                  </a:cxn>
                  <a:cxn ang="0">
                    <a:pos x="76" y="126"/>
                  </a:cxn>
                  <a:cxn ang="0">
                    <a:pos x="73" y="130"/>
                  </a:cxn>
                  <a:cxn ang="0">
                    <a:pos x="70" y="131"/>
                  </a:cxn>
                  <a:cxn ang="0">
                    <a:pos x="70" y="135"/>
                  </a:cxn>
                  <a:cxn ang="0">
                    <a:pos x="73" y="146"/>
                  </a:cxn>
                  <a:cxn ang="0">
                    <a:pos x="68" y="151"/>
                  </a:cxn>
                  <a:cxn ang="0">
                    <a:pos x="60" y="160"/>
                  </a:cxn>
                  <a:cxn ang="0">
                    <a:pos x="56" y="166"/>
                  </a:cxn>
                  <a:cxn ang="0">
                    <a:pos x="58" y="176"/>
                  </a:cxn>
                  <a:cxn ang="0">
                    <a:pos x="51" y="175"/>
                  </a:cxn>
                  <a:cxn ang="0">
                    <a:pos x="50" y="168"/>
                  </a:cxn>
                  <a:cxn ang="0">
                    <a:pos x="45" y="165"/>
                  </a:cxn>
                  <a:cxn ang="0">
                    <a:pos x="36" y="156"/>
                  </a:cxn>
                  <a:cxn ang="0">
                    <a:pos x="33" y="148"/>
                  </a:cxn>
                  <a:cxn ang="0">
                    <a:pos x="36" y="140"/>
                  </a:cxn>
                  <a:cxn ang="0">
                    <a:pos x="41" y="130"/>
                  </a:cxn>
                  <a:cxn ang="0">
                    <a:pos x="43" y="118"/>
                  </a:cxn>
                  <a:cxn ang="0">
                    <a:pos x="35" y="115"/>
                  </a:cxn>
                  <a:cxn ang="0">
                    <a:pos x="26" y="116"/>
                  </a:cxn>
                  <a:cxn ang="0">
                    <a:pos x="21" y="116"/>
                  </a:cxn>
                  <a:cxn ang="0">
                    <a:pos x="18" y="113"/>
                  </a:cxn>
                  <a:cxn ang="0">
                    <a:pos x="15" y="108"/>
                  </a:cxn>
                  <a:cxn ang="0">
                    <a:pos x="7" y="106"/>
                  </a:cxn>
                  <a:cxn ang="0">
                    <a:pos x="5" y="101"/>
                  </a:cxn>
                  <a:cxn ang="0">
                    <a:pos x="0" y="95"/>
                  </a:cxn>
                  <a:cxn ang="0">
                    <a:pos x="7" y="90"/>
                  </a:cxn>
                  <a:cxn ang="0">
                    <a:pos x="7" y="85"/>
                  </a:cxn>
                  <a:cxn ang="0">
                    <a:pos x="7" y="80"/>
                  </a:cxn>
                  <a:cxn ang="0">
                    <a:pos x="13" y="75"/>
                  </a:cxn>
                  <a:cxn ang="0">
                    <a:pos x="16" y="70"/>
                  </a:cxn>
                  <a:cxn ang="0">
                    <a:pos x="20" y="68"/>
                  </a:cxn>
                  <a:cxn ang="0">
                    <a:pos x="16" y="65"/>
                  </a:cxn>
                  <a:cxn ang="0">
                    <a:pos x="16" y="62"/>
                  </a:cxn>
                  <a:cxn ang="0">
                    <a:pos x="15" y="55"/>
                  </a:cxn>
                  <a:cxn ang="0">
                    <a:pos x="16" y="50"/>
                  </a:cxn>
                  <a:cxn ang="0">
                    <a:pos x="15" y="43"/>
                  </a:cxn>
                  <a:cxn ang="0">
                    <a:pos x="20" y="33"/>
                  </a:cxn>
                  <a:cxn ang="0">
                    <a:pos x="21" y="32"/>
                  </a:cxn>
                  <a:cxn ang="0">
                    <a:pos x="20" y="23"/>
                  </a:cxn>
                  <a:cxn ang="0">
                    <a:pos x="15" y="18"/>
                  </a:cxn>
                  <a:cxn ang="0">
                    <a:pos x="18" y="12"/>
                  </a:cxn>
                  <a:cxn ang="0">
                    <a:pos x="11" y="8"/>
                  </a:cxn>
                  <a:cxn ang="0">
                    <a:pos x="8" y="5"/>
                  </a:cxn>
                </a:cxnLst>
                <a:rect l="0" t="0" r="r" b="b"/>
                <a:pathLst>
                  <a:path w="76" h="178">
                    <a:moveTo>
                      <a:pt x="8" y="2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18" y="3"/>
                    </a:lnTo>
                    <a:lnTo>
                      <a:pt x="21" y="5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8" y="8"/>
                    </a:lnTo>
                    <a:lnTo>
                      <a:pt x="31" y="12"/>
                    </a:lnTo>
                    <a:lnTo>
                      <a:pt x="38" y="20"/>
                    </a:lnTo>
                    <a:lnTo>
                      <a:pt x="40" y="28"/>
                    </a:lnTo>
                    <a:lnTo>
                      <a:pt x="40" y="65"/>
                    </a:lnTo>
                    <a:lnTo>
                      <a:pt x="38" y="68"/>
                    </a:lnTo>
                    <a:lnTo>
                      <a:pt x="43" y="88"/>
                    </a:lnTo>
                    <a:lnTo>
                      <a:pt x="50" y="93"/>
                    </a:lnTo>
                    <a:lnTo>
                      <a:pt x="53" y="95"/>
                    </a:lnTo>
                    <a:lnTo>
                      <a:pt x="55" y="98"/>
                    </a:lnTo>
                    <a:lnTo>
                      <a:pt x="58" y="98"/>
                    </a:lnTo>
                    <a:lnTo>
                      <a:pt x="66" y="105"/>
                    </a:lnTo>
                    <a:lnTo>
                      <a:pt x="68" y="110"/>
                    </a:lnTo>
                    <a:lnTo>
                      <a:pt x="73" y="116"/>
                    </a:lnTo>
                    <a:lnTo>
                      <a:pt x="75" y="121"/>
                    </a:lnTo>
                    <a:lnTo>
                      <a:pt x="76" y="125"/>
                    </a:lnTo>
                    <a:lnTo>
                      <a:pt x="76" y="126"/>
                    </a:lnTo>
                    <a:lnTo>
                      <a:pt x="75" y="128"/>
                    </a:lnTo>
                    <a:lnTo>
                      <a:pt x="73" y="130"/>
                    </a:lnTo>
                    <a:lnTo>
                      <a:pt x="70" y="130"/>
                    </a:lnTo>
                    <a:lnTo>
                      <a:pt x="70" y="131"/>
                    </a:lnTo>
                    <a:lnTo>
                      <a:pt x="71" y="133"/>
                    </a:lnTo>
                    <a:lnTo>
                      <a:pt x="70" y="135"/>
                    </a:lnTo>
                    <a:lnTo>
                      <a:pt x="73" y="138"/>
                    </a:lnTo>
                    <a:lnTo>
                      <a:pt x="73" y="146"/>
                    </a:lnTo>
                    <a:lnTo>
                      <a:pt x="71" y="150"/>
                    </a:lnTo>
                    <a:lnTo>
                      <a:pt x="68" y="151"/>
                    </a:lnTo>
                    <a:lnTo>
                      <a:pt x="63" y="153"/>
                    </a:lnTo>
                    <a:lnTo>
                      <a:pt x="60" y="160"/>
                    </a:lnTo>
                    <a:lnTo>
                      <a:pt x="60" y="163"/>
                    </a:lnTo>
                    <a:lnTo>
                      <a:pt x="56" y="166"/>
                    </a:lnTo>
                    <a:lnTo>
                      <a:pt x="58" y="173"/>
                    </a:lnTo>
                    <a:lnTo>
                      <a:pt x="58" y="176"/>
                    </a:lnTo>
                    <a:lnTo>
                      <a:pt x="53" y="178"/>
                    </a:lnTo>
                    <a:lnTo>
                      <a:pt x="51" y="175"/>
                    </a:lnTo>
                    <a:lnTo>
                      <a:pt x="53" y="171"/>
                    </a:lnTo>
                    <a:lnTo>
                      <a:pt x="50" y="168"/>
                    </a:lnTo>
                    <a:lnTo>
                      <a:pt x="48" y="166"/>
                    </a:lnTo>
                    <a:lnTo>
                      <a:pt x="45" y="165"/>
                    </a:lnTo>
                    <a:lnTo>
                      <a:pt x="40" y="160"/>
                    </a:lnTo>
                    <a:lnTo>
                      <a:pt x="36" y="156"/>
                    </a:lnTo>
                    <a:lnTo>
                      <a:pt x="35" y="153"/>
                    </a:lnTo>
                    <a:lnTo>
                      <a:pt x="33" y="148"/>
                    </a:lnTo>
                    <a:lnTo>
                      <a:pt x="33" y="145"/>
                    </a:lnTo>
                    <a:lnTo>
                      <a:pt x="36" y="140"/>
                    </a:lnTo>
                    <a:lnTo>
                      <a:pt x="36" y="135"/>
                    </a:lnTo>
                    <a:lnTo>
                      <a:pt x="41" y="130"/>
                    </a:lnTo>
                    <a:lnTo>
                      <a:pt x="43" y="125"/>
                    </a:lnTo>
                    <a:lnTo>
                      <a:pt x="43" y="118"/>
                    </a:lnTo>
                    <a:lnTo>
                      <a:pt x="40" y="115"/>
                    </a:lnTo>
                    <a:lnTo>
                      <a:pt x="35" y="115"/>
                    </a:lnTo>
                    <a:lnTo>
                      <a:pt x="30" y="115"/>
                    </a:lnTo>
                    <a:lnTo>
                      <a:pt x="26" y="116"/>
                    </a:lnTo>
                    <a:lnTo>
                      <a:pt x="23" y="116"/>
                    </a:lnTo>
                    <a:lnTo>
                      <a:pt x="21" y="116"/>
                    </a:lnTo>
                    <a:lnTo>
                      <a:pt x="18" y="115"/>
                    </a:lnTo>
                    <a:lnTo>
                      <a:pt x="18" y="113"/>
                    </a:lnTo>
                    <a:lnTo>
                      <a:pt x="15" y="110"/>
                    </a:lnTo>
                    <a:lnTo>
                      <a:pt x="15" y="108"/>
                    </a:lnTo>
                    <a:lnTo>
                      <a:pt x="13" y="106"/>
                    </a:lnTo>
                    <a:lnTo>
                      <a:pt x="7" y="106"/>
                    </a:lnTo>
                    <a:lnTo>
                      <a:pt x="7" y="105"/>
                    </a:lnTo>
                    <a:lnTo>
                      <a:pt x="5" y="101"/>
                    </a:lnTo>
                    <a:lnTo>
                      <a:pt x="0" y="97"/>
                    </a:lnTo>
                    <a:lnTo>
                      <a:pt x="0" y="95"/>
                    </a:lnTo>
                    <a:lnTo>
                      <a:pt x="3" y="93"/>
                    </a:lnTo>
                    <a:lnTo>
                      <a:pt x="7" y="90"/>
                    </a:lnTo>
                    <a:lnTo>
                      <a:pt x="7" y="87"/>
                    </a:lnTo>
                    <a:lnTo>
                      <a:pt x="7" y="85"/>
                    </a:lnTo>
                    <a:lnTo>
                      <a:pt x="7" y="83"/>
                    </a:lnTo>
                    <a:lnTo>
                      <a:pt x="7" y="80"/>
                    </a:lnTo>
                    <a:lnTo>
                      <a:pt x="7" y="78"/>
                    </a:lnTo>
                    <a:lnTo>
                      <a:pt x="13" y="75"/>
                    </a:lnTo>
                    <a:lnTo>
                      <a:pt x="16" y="73"/>
                    </a:lnTo>
                    <a:lnTo>
                      <a:pt x="16" y="70"/>
                    </a:lnTo>
                    <a:lnTo>
                      <a:pt x="20" y="70"/>
                    </a:lnTo>
                    <a:lnTo>
                      <a:pt x="20" y="68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5" y="62"/>
                    </a:lnTo>
                    <a:lnTo>
                      <a:pt x="16" y="62"/>
                    </a:lnTo>
                    <a:lnTo>
                      <a:pt x="16" y="58"/>
                    </a:lnTo>
                    <a:lnTo>
                      <a:pt x="15" y="55"/>
                    </a:lnTo>
                    <a:lnTo>
                      <a:pt x="16" y="53"/>
                    </a:lnTo>
                    <a:lnTo>
                      <a:pt x="16" y="50"/>
                    </a:lnTo>
                    <a:lnTo>
                      <a:pt x="16" y="47"/>
                    </a:lnTo>
                    <a:lnTo>
                      <a:pt x="15" y="43"/>
                    </a:lnTo>
                    <a:lnTo>
                      <a:pt x="15" y="38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21" y="32"/>
                    </a:lnTo>
                    <a:lnTo>
                      <a:pt x="21" y="27"/>
                    </a:lnTo>
                    <a:lnTo>
                      <a:pt x="20" y="23"/>
                    </a:lnTo>
                    <a:lnTo>
                      <a:pt x="16" y="20"/>
                    </a:lnTo>
                    <a:lnTo>
                      <a:pt x="15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5" y="10"/>
                    </a:lnTo>
                    <a:lnTo>
                      <a:pt x="11" y="8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9" name="Freeform 133"/>
              <p:cNvSpPr>
                <a:spLocks/>
              </p:cNvSpPr>
              <p:nvPr/>
            </p:nvSpPr>
            <p:spPr bwMode="auto">
              <a:xfrm>
                <a:off x="6696489" y="3364135"/>
                <a:ext cx="153045" cy="114135"/>
              </a:xfrm>
              <a:custGeom>
                <a:avLst/>
                <a:gdLst/>
                <a:ahLst/>
                <a:cxnLst>
                  <a:cxn ang="0">
                    <a:pos x="62" y="67"/>
                  </a:cxn>
                  <a:cxn ang="0">
                    <a:pos x="65" y="73"/>
                  </a:cxn>
                  <a:cxn ang="0">
                    <a:pos x="76" y="68"/>
                  </a:cxn>
                  <a:cxn ang="0">
                    <a:pos x="86" y="73"/>
                  </a:cxn>
                  <a:cxn ang="0">
                    <a:pos x="93" y="80"/>
                  </a:cxn>
                  <a:cxn ang="0">
                    <a:pos x="111" y="85"/>
                  </a:cxn>
                  <a:cxn ang="0">
                    <a:pos x="123" y="82"/>
                  </a:cxn>
                  <a:cxn ang="0">
                    <a:pos x="133" y="75"/>
                  </a:cxn>
                  <a:cxn ang="0">
                    <a:pos x="143" y="92"/>
                  </a:cxn>
                  <a:cxn ang="0">
                    <a:pos x="166" y="107"/>
                  </a:cxn>
                  <a:cxn ang="0">
                    <a:pos x="183" y="115"/>
                  </a:cxn>
                  <a:cxn ang="0">
                    <a:pos x="193" y="117"/>
                  </a:cxn>
                  <a:cxn ang="0">
                    <a:pos x="184" y="90"/>
                  </a:cxn>
                  <a:cxn ang="0">
                    <a:pos x="176" y="95"/>
                  </a:cxn>
                  <a:cxn ang="0">
                    <a:pos x="163" y="80"/>
                  </a:cxn>
                  <a:cxn ang="0">
                    <a:pos x="166" y="57"/>
                  </a:cxn>
                  <a:cxn ang="0">
                    <a:pos x="170" y="47"/>
                  </a:cxn>
                  <a:cxn ang="0">
                    <a:pos x="171" y="37"/>
                  </a:cxn>
                  <a:cxn ang="0">
                    <a:pos x="165" y="25"/>
                  </a:cxn>
                  <a:cxn ang="0">
                    <a:pos x="229" y="5"/>
                  </a:cxn>
                  <a:cxn ang="0">
                    <a:pos x="239" y="10"/>
                  </a:cxn>
                  <a:cxn ang="0">
                    <a:pos x="261" y="15"/>
                  </a:cxn>
                  <a:cxn ang="0">
                    <a:pos x="271" y="27"/>
                  </a:cxn>
                  <a:cxn ang="0">
                    <a:pos x="277" y="33"/>
                  </a:cxn>
                  <a:cxn ang="0">
                    <a:pos x="281" y="43"/>
                  </a:cxn>
                  <a:cxn ang="0">
                    <a:pos x="287" y="57"/>
                  </a:cxn>
                  <a:cxn ang="0">
                    <a:pos x="281" y="68"/>
                  </a:cxn>
                  <a:cxn ang="0">
                    <a:pos x="281" y="80"/>
                  </a:cxn>
                  <a:cxn ang="0">
                    <a:pos x="282" y="90"/>
                  </a:cxn>
                  <a:cxn ang="0">
                    <a:pos x="282" y="95"/>
                  </a:cxn>
                  <a:cxn ang="0">
                    <a:pos x="273" y="105"/>
                  </a:cxn>
                  <a:cxn ang="0">
                    <a:pos x="273" y="115"/>
                  </a:cxn>
                  <a:cxn ang="0">
                    <a:pos x="271" y="126"/>
                  </a:cxn>
                  <a:cxn ang="0">
                    <a:pos x="266" y="135"/>
                  </a:cxn>
                  <a:cxn ang="0">
                    <a:pos x="216" y="150"/>
                  </a:cxn>
                  <a:cxn ang="0">
                    <a:pos x="208" y="166"/>
                  </a:cxn>
                  <a:cxn ang="0">
                    <a:pos x="196" y="166"/>
                  </a:cxn>
                  <a:cxn ang="0">
                    <a:pos x="181" y="168"/>
                  </a:cxn>
                  <a:cxn ang="0">
                    <a:pos x="170" y="178"/>
                  </a:cxn>
                  <a:cxn ang="0">
                    <a:pos x="166" y="185"/>
                  </a:cxn>
                  <a:cxn ang="0">
                    <a:pos x="125" y="218"/>
                  </a:cxn>
                  <a:cxn ang="0">
                    <a:pos x="110" y="216"/>
                  </a:cxn>
                  <a:cxn ang="0">
                    <a:pos x="100" y="216"/>
                  </a:cxn>
                  <a:cxn ang="0">
                    <a:pos x="85" y="215"/>
                  </a:cxn>
                  <a:cxn ang="0">
                    <a:pos x="73" y="210"/>
                  </a:cxn>
                  <a:cxn ang="0">
                    <a:pos x="67" y="208"/>
                  </a:cxn>
                  <a:cxn ang="0">
                    <a:pos x="33" y="213"/>
                  </a:cxn>
                  <a:cxn ang="0">
                    <a:pos x="25" y="203"/>
                  </a:cxn>
                  <a:cxn ang="0">
                    <a:pos x="10" y="191"/>
                  </a:cxn>
                  <a:cxn ang="0">
                    <a:pos x="0" y="180"/>
                  </a:cxn>
                  <a:cxn ang="0">
                    <a:pos x="53" y="98"/>
                  </a:cxn>
                  <a:cxn ang="0">
                    <a:pos x="53" y="85"/>
                  </a:cxn>
                  <a:cxn ang="0">
                    <a:pos x="53" y="65"/>
                  </a:cxn>
                </a:cxnLst>
                <a:rect l="0" t="0" r="r" b="b"/>
                <a:pathLst>
                  <a:path w="287" h="220">
                    <a:moveTo>
                      <a:pt x="53" y="63"/>
                    </a:moveTo>
                    <a:lnTo>
                      <a:pt x="55" y="65"/>
                    </a:lnTo>
                    <a:lnTo>
                      <a:pt x="58" y="65"/>
                    </a:lnTo>
                    <a:lnTo>
                      <a:pt x="62" y="67"/>
                    </a:lnTo>
                    <a:lnTo>
                      <a:pt x="63" y="67"/>
                    </a:lnTo>
                    <a:lnTo>
                      <a:pt x="63" y="72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8" y="72"/>
                    </a:lnTo>
                    <a:lnTo>
                      <a:pt x="72" y="70"/>
                    </a:lnTo>
                    <a:lnTo>
                      <a:pt x="75" y="70"/>
                    </a:lnTo>
                    <a:lnTo>
                      <a:pt x="76" y="68"/>
                    </a:lnTo>
                    <a:lnTo>
                      <a:pt x="83" y="67"/>
                    </a:lnTo>
                    <a:lnTo>
                      <a:pt x="85" y="67"/>
                    </a:lnTo>
                    <a:lnTo>
                      <a:pt x="85" y="72"/>
                    </a:lnTo>
                    <a:lnTo>
                      <a:pt x="86" y="73"/>
                    </a:lnTo>
                    <a:lnTo>
                      <a:pt x="86" y="77"/>
                    </a:lnTo>
                    <a:lnTo>
                      <a:pt x="86" y="78"/>
                    </a:lnTo>
                    <a:lnTo>
                      <a:pt x="88" y="78"/>
                    </a:lnTo>
                    <a:lnTo>
                      <a:pt x="93" y="80"/>
                    </a:lnTo>
                    <a:lnTo>
                      <a:pt x="95" y="80"/>
                    </a:lnTo>
                    <a:lnTo>
                      <a:pt x="101" y="83"/>
                    </a:lnTo>
                    <a:lnTo>
                      <a:pt x="105" y="85"/>
                    </a:lnTo>
                    <a:lnTo>
                      <a:pt x="111" y="85"/>
                    </a:lnTo>
                    <a:lnTo>
                      <a:pt x="111" y="87"/>
                    </a:lnTo>
                    <a:lnTo>
                      <a:pt x="115" y="87"/>
                    </a:lnTo>
                    <a:lnTo>
                      <a:pt x="123" y="85"/>
                    </a:lnTo>
                    <a:lnTo>
                      <a:pt x="123" y="82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31" y="75"/>
                    </a:lnTo>
                    <a:lnTo>
                      <a:pt x="133" y="75"/>
                    </a:lnTo>
                    <a:lnTo>
                      <a:pt x="133" y="82"/>
                    </a:lnTo>
                    <a:lnTo>
                      <a:pt x="136" y="85"/>
                    </a:lnTo>
                    <a:lnTo>
                      <a:pt x="136" y="88"/>
                    </a:lnTo>
                    <a:lnTo>
                      <a:pt x="143" y="92"/>
                    </a:lnTo>
                    <a:lnTo>
                      <a:pt x="151" y="93"/>
                    </a:lnTo>
                    <a:lnTo>
                      <a:pt x="156" y="97"/>
                    </a:lnTo>
                    <a:lnTo>
                      <a:pt x="161" y="103"/>
                    </a:lnTo>
                    <a:lnTo>
                      <a:pt x="166" y="107"/>
                    </a:lnTo>
                    <a:lnTo>
                      <a:pt x="171" y="112"/>
                    </a:lnTo>
                    <a:lnTo>
                      <a:pt x="176" y="117"/>
                    </a:lnTo>
                    <a:lnTo>
                      <a:pt x="179" y="117"/>
                    </a:lnTo>
                    <a:lnTo>
                      <a:pt x="183" y="115"/>
                    </a:lnTo>
                    <a:lnTo>
                      <a:pt x="186" y="113"/>
                    </a:lnTo>
                    <a:lnTo>
                      <a:pt x="189" y="113"/>
                    </a:lnTo>
                    <a:lnTo>
                      <a:pt x="189" y="115"/>
                    </a:lnTo>
                    <a:lnTo>
                      <a:pt x="193" y="117"/>
                    </a:lnTo>
                    <a:lnTo>
                      <a:pt x="194" y="113"/>
                    </a:lnTo>
                    <a:lnTo>
                      <a:pt x="193" y="90"/>
                    </a:lnTo>
                    <a:lnTo>
                      <a:pt x="189" y="90"/>
                    </a:lnTo>
                    <a:lnTo>
                      <a:pt x="184" y="90"/>
                    </a:lnTo>
                    <a:lnTo>
                      <a:pt x="184" y="93"/>
                    </a:lnTo>
                    <a:lnTo>
                      <a:pt x="186" y="95"/>
                    </a:lnTo>
                    <a:lnTo>
                      <a:pt x="186" y="95"/>
                    </a:lnTo>
                    <a:lnTo>
                      <a:pt x="176" y="95"/>
                    </a:lnTo>
                    <a:lnTo>
                      <a:pt x="173" y="93"/>
                    </a:lnTo>
                    <a:lnTo>
                      <a:pt x="171" y="90"/>
                    </a:lnTo>
                    <a:lnTo>
                      <a:pt x="165" y="83"/>
                    </a:lnTo>
                    <a:lnTo>
                      <a:pt x="163" y="80"/>
                    </a:lnTo>
                    <a:lnTo>
                      <a:pt x="161" y="75"/>
                    </a:lnTo>
                    <a:lnTo>
                      <a:pt x="161" y="63"/>
                    </a:lnTo>
                    <a:lnTo>
                      <a:pt x="161" y="60"/>
                    </a:lnTo>
                    <a:lnTo>
                      <a:pt x="166" y="57"/>
                    </a:lnTo>
                    <a:lnTo>
                      <a:pt x="168" y="53"/>
                    </a:lnTo>
                    <a:lnTo>
                      <a:pt x="168" y="52"/>
                    </a:lnTo>
                    <a:lnTo>
                      <a:pt x="170" y="52"/>
                    </a:lnTo>
                    <a:lnTo>
                      <a:pt x="170" y="47"/>
                    </a:lnTo>
                    <a:lnTo>
                      <a:pt x="170" y="43"/>
                    </a:lnTo>
                    <a:lnTo>
                      <a:pt x="170" y="40"/>
                    </a:lnTo>
                    <a:lnTo>
                      <a:pt x="170" y="37"/>
                    </a:lnTo>
                    <a:lnTo>
                      <a:pt x="171" y="37"/>
                    </a:lnTo>
                    <a:lnTo>
                      <a:pt x="171" y="33"/>
                    </a:lnTo>
                    <a:lnTo>
                      <a:pt x="170" y="32"/>
                    </a:lnTo>
                    <a:lnTo>
                      <a:pt x="166" y="30"/>
                    </a:lnTo>
                    <a:lnTo>
                      <a:pt x="165" y="25"/>
                    </a:lnTo>
                    <a:lnTo>
                      <a:pt x="175" y="9"/>
                    </a:lnTo>
                    <a:lnTo>
                      <a:pt x="214" y="0"/>
                    </a:lnTo>
                    <a:lnTo>
                      <a:pt x="226" y="5"/>
                    </a:lnTo>
                    <a:lnTo>
                      <a:pt x="229" y="5"/>
                    </a:lnTo>
                    <a:lnTo>
                      <a:pt x="233" y="5"/>
                    </a:lnTo>
                    <a:lnTo>
                      <a:pt x="236" y="5"/>
                    </a:lnTo>
                    <a:lnTo>
                      <a:pt x="239" y="9"/>
                    </a:lnTo>
                    <a:lnTo>
                      <a:pt x="239" y="10"/>
                    </a:lnTo>
                    <a:lnTo>
                      <a:pt x="243" y="12"/>
                    </a:lnTo>
                    <a:lnTo>
                      <a:pt x="248" y="12"/>
                    </a:lnTo>
                    <a:lnTo>
                      <a:pt x="258" y="15"/>
                    </a:lnTo>
                    <a:lnTo>
                      <a:pt x="261" y="15"/>
                    </a:lnTo>
                    <a:lnTo>
                      <a:pt x="263" y="19"/>
                    </a:lnTo>
                    <a:lnTo>
                      <a:pt x="266" y="19"/>
                    </a:lnTo>
                    <a:lnTo>
                      <a:pt x="268" y="22"/>
                    </a:lnTo>
                    <a:lnTo>
                      <a:pt x="271" y="27"/>
                    </a:lnTo>
                    <a:lnTo>
                      <a:pt x="274" y="27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277" y="33"/>
                    </a:lnTo>
                    <a:lnTo>
                      <a:pt x="281" y="35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1" y="43"/>
                    </a:lnTo>
                    <a:lnTo>
                      <a:pt x="282" y="45"/>
                    </a:lnTo>
                    <a:lnTo>
                      <a:pt x="286" y="48"/>
                    </a:lnTo>
                    <a:lnTo>
                      <a:pt x="287" y="52"/>
                    </a:lnTo>
                    <a:lnTo>
                      <a:pt x="287" y="57"/>
                    </a:lnTo>
                    <a:lnTo>
                      <a:pt x="286" y="58"/>
                    </a:lnTo>
                    <a:lnTo>
                      <a:pt x="286" y="58"/>
                    </a:lnTo>
                    <a:lnTo>
                      <a:pt x="281" y="63"/>
                    </a:lnTo>
                    <a:lnTo>
                      <a:pt x="281" y="68"/>
                    </a:lnTo>
                    <a:lnTo>
                      <a:pt x="282" y="72"/>
                    </a:lnTo>
                    <a:lnTo>
                      <a:pt x="282" y="75"/>
                    </a:lnTo>
                    <a:lnTo>
                      <a:pt x="282" y="78"/>
                    </a:lnTo>
                    <a:lnTo>
                      <a:pt x="281" y="80"/>
                    </a:lnTo>
                    <a:lnTo>
                      <a:pt x="282" y="83"/>
                    </a:lnTo>
                    <a:lnTo>
                      <a:pt x="282" y="87"/>
                    </a:lnTo>
                    <a:lnTo>
                      <a:pt x="281" y="87"/>
                    </a:lnTo>
                    <a:lnTo>
                      <a:pt x="282" y="90"/>
                    </a:lnTo>
                    <a:lnTo>
                      <a:pt x="282" y="92"/>
                    </a:lnTo>
                    <a:lnTo>
                      <a:pt x="286" y="93"/>
                    </a:lnTo>
                    <a:lnTo>
                      <a:pt x="286" y="95"/>
                    </a:lnTo>
                    <a:lnTo>
                      <a:pt x="282" y="95"/>
                    </a:lnTo>
                    <a:lnTo>
                      <a:pt x="282" y="98"/>
                    </a:lnTo>
                    <a:lnTo>
                      <a:pt x="279" y="100"/>
                    </a:lnTo>
                    <a:lnTo>
                      <a:pt x="273" y="103"/>
                    </a:lnTo>
                    <a:lnTo>
                      <a:pt x="273" y="105"/>
                    </a:lnTo>
                    <a:lnTo>
                      <a:pt x="273" y="108"/>
                    </a:lnTo>
                    <a:lnTo>
                      <a:pt x="273" y="110"/>
                    </a:lnTo>
                    <a:lnTo>
                      <a:pt x="273" y="112"/>
                    </a:lnTo>
                    <a:lnTo>
                      <a:pt x="273" y="115"/>
                    </a:lnTo>
                    <a:lnTo>
                      <a:pt x="269" y="118"/>
                    </a:lnTo>
                    <a:lnTo>
                      <a:pt x="266" y="120"/>
                    </a:lnTo>
                    <a:lnTo>
                      <a:pt x="266" y="122"/>
                    </a:lnTo>
                    <a:lnTo>
                      <a:pt x="271" y="126"/>
                    </a:lnTo>
                    <a:lnTo>
                      <a:pt x="273" y="130"/>
                    </a:lnTo>
                    <a:lnTo>
                      <a:pt x="273" y="131"/>
                    </a:lnTo>
                    <a:lnTo>
                      <a:pt x="273" y="131"/>
                    </a:lnTo>
                    <a:lnTo>
                      <a:pt x="266" y="135"/>
                    </a:lnTo>
                    <a:lnTo>
                      <a:pt x="251" y="140"/>
                    </a:lnTo>
                    <a:lnTo>
                      <a:pt x="246" y="140"/>
                    </a:lnTo>
                    <a:lnTo>
                      <a:pt x="221" y="150"/>
                    </a:lnTo>
                    <a:lnTo>
                      <a:pt x="216" y="150"/>
                    </a:lnTo>
                    <a:lnTo>
                      <a:pt x="208" y="155"/>
                    </a:lnTo>
                    <a:lnTo>
                      <a:pt x="206" y="158"/>
                    </a:lnTo>
                    <a:lnTo>
                      <a:pt x="208" y="165"/>
                    </a:lnTo>
                    <a:lnTo>
                      <a:pt x="208" y="166"/>
                    </a:lnTo>
                    <a:lnTo>
                      <a:pt x="206" y="166"/>
                    </a:lnTo>
                    <a:lnTo>
                      <a:pt x="204" y="166"/>
                    </a:lnTo>
                    <a:lnTo>
                      <a:pt x="199" y="166"/>
                    </a:lnTo>
                    <a:lnTo>
                      <a:pt x="196" y="166"/>
                    </a:lnTo>
                    <a:lnTo>
                      <a:pt x="196" y="165"/>
                    </a:lnTo>
                    <a:lnTo>
                      <a:pt x="189" y="165"/>
                    </a:lnTo>
                    <a:lnTo>
                      <a:pt x="184" y="166"/>
                    </a:lnTo>
                    <a:lnTo>
                      <a:pt x="181" y="168"/>
                    </a:lnTo>
                    <a:lnTo>
                      <a:pt x="178" y="170"/>
                    </a:lnTo>
                    <a:lnTo>
                      <a:pt x="170" y="173"/>
                    </a:lnTo>
                    <a:lnTo>
                      <a:pt x="168" y="176"/>
                    </a:lnTo>
                    <a:lnTo>
                      <a:pt x="170" y="178"/>
                    </a:lnTo>
                    <a:lnTo>
                      <a:pt x="168" y="180"/>
                    </a:lnTo>
                    <a:lnTo>
                      <a:pt x="168" y="181"/>
                    </a:lnTo>
                    <a:lnTo>
                      <a:pt x="168" y="183"/>
                    </a:lnTo>
                    <a:lnTo>
                      <a:pt x="166" y="185"/>
                    </a:lnTo>
                    <a:lnTo>
                      <a:pt x="158" y="188"/>
                    </a:lnTo>
                    <a:lnTo>
                      <a:pt x="143" y="196"/>
                    </a:lnTo>
                    <a:lnTo>
                      <a:pt x="131" y="210"/>
                    </a:lnTo>
                    <a:lnTo>
                      <a:pt x="125" y="218"/>
                    </a:lnTo>
                    <a:lnTo>
                      <a:pt x="118" y="220"/>
                    </a:lnTo>
                    <a:lnTo>
                      <a:pt x="113" y="220"/>
                    </a:lnTo>
                    <a:lnTo>
                      <a:pt x="110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6" y="216"/>
                    </a:lnTo>
                    <a:lnTo>
                      <a:pt x="105" y="215"/>
                    </a:lnTo>
                    <a:lnTo>
                      <a:pt x="100" y="216"/>
                    </a:lnTo>
                    <a:lnTo>
                      <a:pt x="95" y="218"/>
                    </a:lnTo>
                    <a:lnTo>
                      <a:pt x="93" y="218"/>
                    </a:lnTo>
                    <a:lnTo>
                      <a:pt x="90" y="216"/>
                    </a:lnTo>
                    <a:lnTo>
                      <a:pt x="85" y="215"/>
                    </a:lnTo>
                    <a:lnTo>
                      <a:pt x="80" y="215"/>
                    </a:lnTo>
                    <a:lnTo>
                      <a:pt x="78" y="213"/>
                    </a:lnTo>
                    <a:lnTo>
                      <a:pt x="73" y="210"/>
                    </a:lnTo>
                    <a:lnTo>
                      <a:pt x="73" y="210"/>
                    </a:lnTo>
                    <a:lnTo>
                      <a:pt x="72" y="208"/>
                    </a:lnTo>
                    <a:lnTo>
                      <a:pt x="68" y="210"/>
                    </a:lnTo>
                    <a:lnTo>
                      <a:pt x="67" y="208"/>
                    </a:lnTo>
                    <a:lnTo>
                      <a:pt x="67" y="208"/>
                    </a:lnTo>
                    <a:lnTo>
                      <a:pt x="65" y="206"/>
                    </a:lnTo>
                    <a:lnTo>
                      <a:pt x="60" y="208"/>
                    </a:lnTo>
                    <a:lnTo>
                      <a:pt x="57" y="208"/>
                    </a:lnTo>
                    <a:lnTo>
                      <a:pt x="33" y="213"/>
                    </a:lnTo>
                    <a:lnTo>
                      <a:pt x="32" y="210"/>
                    </a:lnTo>
                    <a:lnTo>
                      <a:pt x="30" y="208"/>
                    </a:lnTo>
                    <a:lnTo>
                      <a:pt x="27" y="205"/>
                    </a:lnTo>
                    <a:lnTo>
                      <a:pt x="25" y="203"/>
                    </a:lnTo>
                    <a:lnTo>
                      <a:pt x="22" y="201"/>
                    </a:lnTo>
                    <a:lnTo>
                      <a:pt x="18" y="198"/>
                    </a:lnTo>
                    <a:lnTo>
                      <a:pt x="13" y="193"/>
                    </a:lnTo>
                    <a:lnTo>
                      <a:pt x="10" y="191"/>
                    </a:lnTo>
                    <a:lnTo>
                      <a:pt x="8" y="190"/>
                    </a:lnTo>
                    <a:lnTo>
                      <a:pt x="5" y="186"/>
                    </a:lnTo>
                    <a:lnTo>
                      <a:pt x="2" y="183"/>
                    </a:lnTo>
                    <a:lnTo>
                      <a:pt x="0" y="180"/>
                    </a:lnTo>
                    <a:lnTo>
                      <a:pt x="2" y="108"/>
                    </a:lnTo>
                    <a:lnTo>
                      <a:pt x="55" y="108"/>
                    </a:lnTo>
                    <a:lnTo>
                      <a:pt x="53" y="105"/>
                    </a:lnTo>
                    <a:lnTo>
                      <a:pt x="53" y="98"/>
                    </a:lnTo>
                    <a:lnTo>
                      <a:pt x="55" y="97"/>
                    </a:lnTo>
                    <a:lnTo>
                      <a:pt x="55" y="93"/>
                    </a:lnTo>
                    <a:lnTo>
                      <a:pt x="53" y="90"/>
                    </a:lnTo>
                    <a:lnTo>
                      <a:pt x="53" y="85"/>
                    </a:lnTo>
                    <a:lnTo>
                      <a:pt x="53" y="77"/>
                    </a:lnTo>
                    <a:lnTo>
                      <a:pt x="52" y="68"/>
                    </a:lnTo>
                    <a:lnTo>
                      <a:pt x="53" y="67"/>
                    </a:lnTo>
                    <a:lnTo>
                      <a:pt x="53" y="65"/>
                    </a:lnTo>
                    <a:lnTo>
                      <a:pt x="53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0" name="Freeform 134"/>
              <p:cNvSpPr>
                <a:spLocks/>
              </p:cNvSpPr>
              <p:nvPr/>
            </p:nvSpPr>
            <p:spPr bwMode="auto">
              <a:xfrm>
                <a:off x="6562709" y="3337157"/>
                <a:ext cx="162678" cy="142150"/>
              </a:xfrm>
              <a:custGeom>
                <a:avLst/>
                <a:gdLst/>
                <a:ahLst/>
                <a:cxnLst>
                  <a:cxn ang="0">
                    <a:pos x="276" y="256"/>
                  </a:cxn>
                  <a:cxn ang="0">
                    <a:pos x="262" y="244"/>
                  </a:cxn>
                  <a:cxn ang="0">
                    <a:pos x="251" y="234"/>
                  </a:cxn>
                  <a:cxn ang="0">
                    <a:pos x="302" y="156"/>
                  </a:cxn>
                  <a:cxn ang="0">
                    <a:pos x="302" y="141"/>
                  </a:cxn>
                  <a:cxn ang="0">
                    <a:pos x="302" y="118"/>
                  </a:cxn>
                  <a:cxn ang="0">
                    <a:pos x="294" y="116"/>
                  </a:cxn>
                  <a:cxn ang="0">
                    <a:pos x="282" y="119"/>
                  </a:cxn>
                  <a:cxn ang="0">
                    <a:pos x="267" y="116"/>
                  </a:cxn>
                  <a:cxn ang="0">
                    <a:pos x="261" y="119"/>
                  </a:cxn>
                  <a:cxn ang="0">
                    <a:pos x="261" y="111"/>
                  </a:cxn>
                  <a:cxn ang="0">
                    <a:pos x="259" y="99"/>
                  </a:cxn>
                  <a:cxn ang="0">
                    <a:pos x="257" y="89"/>
                  </a:cxn>
                  <a:cxn ang="0">
                    <a:pos x="252" y="83"/>
                  </a:cxn>
                  <a:cxn ang="0">
                    <a:pos x="249" y="73"/>
                  </a:cxn>
                  <a:cxn ang="0">
                    <a:pos x="249" y="56"/>
                  </a:cxn>
                  <a:cxn ang="0">
                    <a:pos x="249" y="45"/>
                  </a:cxn>
                  <a:cxn ang="0">
                    <a:pos x="251" y="31"/>
                  </a:cxn>
                  <a:cxn ang="0">
                    <a:pos x="224" y="23"/>
                  </a:cxn>
                  <a:cxn ang="0">
                    <a:pos x="191" y="31"/>
                  </a:cxn>
                  <a:cxn ang="0">
                    <a:pos x="189" y="46"/>
                  </a:cxn>
                  <a:cxn ang="0">
                    <a:pos x="156" y="48"/>
                  </a:cxn>
                  <a:cxn ang="0">
                    <a:pos x="141" y="40"/>
                  </a:cxn>
                  <a:cxn ang="0">
                    <a:pos x="134" y="28"/>
                  </a:cxn>
                  <a:cxn ang="0">
                    <a:pos x="129" y="15"/>
                  </a:cxn>
                  <a:cxn ang="0">
                    <a:pos x="126" y="5"/>
                  </a:cxn>
                  <a:cxn ang="0">
                    <a:pos x="85" y="0"/>
                  </a:cxn>
                  <a:cxn ang="0">
                    <a:pos x="58" y="0"/>
                  </a:cxn>
                  <a:cxn ang="0">
                    <a:pos x="41" y="0"/>
                  </a:cxn>
                  <a:cxn ang="0">
                    <a:pos x="30" y="3"/>
                  </a:cxn>
                  <a:cxn ang="0">
                    <a:pos x="20" y="8"/>
                  </a:cxn>
                  <a:cxn ang="0">
                    <a:pos x="36" y="45"/>
                  </a:cxn>
                  <a:cxn ang="0">
                    <a:pos x="40" y="73"/>
                  </a:cxn>
                  <a:cxn ang="0">
                    <a:pos x="53" y="106"/>
                  </a:cxn>
                  <a:cxn ang="0">
                    <a:pos x="46" y="148"/>
                  </a:cxn>
                  <a:cxn ang="0">
                    <a:pos x="18" y="171"/>
                  </a:cxn>
                  <a:cxn ang="0">
                    <a:pos x="10" y="204"/>
                  </a:cxn>
                  <a:cxn ang="0">
                    <a:pos x="2" y="236"/>
                  </a:cxn>
                  <a:cxn ang="0">
                    <a:pos x="0" y="256"/>
                  </a:cxn>
                  <a:cxn ang="0">
                    <a:pos x="8" y="252"/>
                  </a:cxn>
                  <a:cxn ang="0">
                    <a:pos x="22" y="254"/>
                  </a:cxn>
                  <a:cxn ang="0">
                    <a:pos x="36" y="247"/>
                  </a:cxn>
                  <a:cxn ang="0">
                    <a:pos x="43" y="247"/>
                  </a:cxn>
                  <a:cxn ang="0">
                    <a:pos x="48" y="252"/>
                  </a:cxn>
                  <a:cxn ang="0">
                    <a:pos x="63" y="257"/>
                  </a:cxn>
                  <a:cxn ang="0">
                    <a:pos x="161" y="256"/>
                  </a:cxn>
                  <a:cxn ang="0">
                    <a:pos x="171" y="264"/>
                  </a:cxn>
                  <a:cxn ang="0">
                    <a:pos x="184" y="267"/>
                  </a:cxn>
                  <a:cxn ang="0">
                    <a:pos x="201" y="267"/>
                  </a:cxn>
                  <a:cxn ang="0">
                    <a:pos x="209" y="264"/>
                  </a:cxn>
                  <a:cxn ang="0">
                    <a:pos x="226" y="271"/>
                  </a:cxn>
                  <a:cxn ang="0">
                    <a:pos x="232" y="269"/>
                  </a:cxn>
                  <a:cxn ang="0">
                    <a:pos x="239" y="271"/>
                  </a:cxn>
                  <a:cxn ang="0">
                    <a:pos x="282" y="264"/>
                  </a:cxn>
                </a:cxnLst>
                <a:rect l="0" t="0" r="r" b="b"/>
                <a:pathLst>
                  <a:path w="304" h="272">
                    <a:moveTo>
                      <a:pt x="282" y="264"/>
                    </a:moveTo>
                    <a:lnTo>
                      <a:pt x="281" y="261"/>
                    </a:lnTo>
                    <a:lnTo>
                      <a:pt x="279" y="259"/>
                    </a:lnTo>
                    <a:lnTo>
                      <a:pt x="276" y="256"/>
                    </a:lnTo>
                    <a:lnTo>
                      <a:pt x="274" y="254"/>
                    </a:lnTo>
                    <a:lnTo>
                      <a:pt x="271" y="252"/>
                    </a:lnTo>
                    <a:lnTo>
                      <a:pt x="267" y="249"/>
                    </a:lnTo>
                    <a:lnTo>
                      <a:pt x="262" y="244"/>
                    </a:lnTo>
                    <a:lnTo>
                      <a:pt x="259" y="242"/>
                    </a:lnTo>
                    <a:lnTo>
                      <a:pt x="257" y="241"/>
                    </a:lnTo>
                    <a:lnTo>
                      <a:pt x="254" y="237"/>
                    </a:lnTo>
                    <a:lnTo>
                      <a:pt x="251" y="234"/>
                    </a:lnTo>
                    <a:lnTo>
                      <a:pt x="249" y="231"/>
                    </a:lnTo>
                    <a:lnTo>
                      <a:pt x="251" y="159"/>
                    </a:lnTo>
                    <a:lnTo>
                      <a:pt x="304" y="159"/>
                    </a:lnTo>
                    <a:lnTo>
                      <a:pt x="302" y="156"/>
                    </a:lnTo>
                    <a:lnTo>
                      <a:pt x="302" y="149"/>
                    </a:lnTo>
                    <a:lnTo>
                      <a:pt x="304" y="148"/>
                    </a:lnTo>
                    <a:lnTo>
                      <a:pt x="304" y="144"/>
                    </a:lnTo>
                    <a:lnTo>
                      <a:pt x="302" y="141"/>
                    </a:lnTo>
                    <a:lnTo>
                      <a:pt x="302" y="136"/>
                    </a:lnTo>
                    <a:lnTo>
                      <a:pt x="302" y="128"/>
                    </a:lnTo>
                    <a:lnTo>
                      <a:pt x="301" y="119"/>
                    </a:lnTo>
                    <a:lnTo>
                      <a:pt x="302" y="118"/>
                    </a:lnTo>
                    <a:lnTo>
                      <a:pt x="302" y="116"/>
                    </a:lnTo>
                    <a:lnTo>
                      <a:pt x="302" y="114"/>
                    </a:lnTo>
                    <a:lnTo>
                      <a:pt x="297" y="114"/>
                    </a:lnTo>
                    <a:lnTo>
                      <a:pt x="294" y="116"/>
                    </a:lnTo>
                    <a:lnTo>
                      <a:pt x="289" y="118"/>
                    </a:lnTo>
                    <a:lnTo>
                      <a:pt x="287" y="119"/>
                    </a:lnTo>
                    <a:lnTo>
                      <a:pt x="284" y="119"/>
                    </a:lnTo>
                    <a:lnTo>
                      <a:pt x="282" y="119"/>
                    </a:lnTo>
                    <a:lnTo>
                      <a:pt x="276" y="119"/>
                    </a:lnTo>
                    <a:lnTo>
                      <a:pt x="274" y="118"/>
                    </a:lnTo>
                    <a:lnTo>
                      <a:pt x="271" y="116"/>
                    </a:lnTo>
                    <a:lnTo>
                      <a:pt x="267" y="116"/>
                    </a:lnTo>
                    <a:lnTo>
                      <a:pt x="266" y="116"/>
                    </a:lnTo>
                    <a:lnTo>
                      <a:pt x="264" y="118"/>
                    </a:lnTo>
                    <a:lnTo>
                      <a:pt x="262" y="119"/>
                    </a:lnTo>
                    <a:lnTo>
                      <a:pt x="261" y="119"/>
                    </a:lnTo>
                    <a:lnTo>
                      <a:pt x="259" y="118"/>
                    </a:lnTo>
                    <a:lnTo>
                      <a:pt x="259" y="113"/>
                    </a:lnTo>
                    <a:lnTo>
                      <a:pt x="261" y="111"/>
                    </a:lnTo>
                    <a:lnTo>
                      <a:pt x="261" y="111"/>
                    </a:lnTo>
                    <a:lnTo>
                      <a:pt x="262" y="108"/>
                    </a:lnTo>
                    <a:lnTo>
                      <a:pt x="259" y="104"/>
                    </a:lnTo>
                    <a:lnTo>
                      <a:pt x="259" y="101"/>
                    </a:lnTo>
                    <a:lnTo>
                      <a:pt x="259" y="99"/>
                    </a:lnTo>
                    <a:lnTo>
                      <a:pt x="259" y="98"/>
                    </a:lnTo>
                    <a:lnTo>
                      <a:pt x="257" y="94"/>
                    </a:lnTo>
                    <a:lnTo>
                      <a:pt x="257" y="91"/>
                    </a:lnTo>
                    <a:lnTo>
                      <a:pt x="257" y="89"/>
                    </a:lnTo>
                    <a:lnTo>
                      <a:pt x="257" y="86"/>
                    </a:lnTo>
                    <a:lnTo>
                      <a:pt x="256" y="86"/>
                    </a:lnTo>
                    <a:lnTo>
                      <a:pt x="254" y="83"/>
                    </a:lnTo>
                    <a:lnTo>
                      <a:pt x="252" y="83"/>
                    </a:lnTo>
                    <a:lnTo>
                      <a:pt x="252" y="79"/>
                    </a:lnTo>
                    <a:lnTo>
                      <a:pt x="251" y="78"/>
                    </a:lnTo>
                    <a:lnTo>
                      <a:pt x="251" y="75"/>
                    </a:lnTo>
                    <a:lnTo>
                      <a:pt x="249" y="73"/>
                    </a:lnTo>
                    <a:lnTo>
                      <a:pt x="251" y="70"/>
                    </a:lnTo>
                    <a:lnTo>
                      <a:pt x="251" y="61"/>
                    </a:lnTo>
                    <a:lnTo>
                      <a:pt x="249" y="58"/>
                    </a:lnTo>
                    <a:lnTo>
                      <a:pt x="249" y="56"/>
                    </a:lnTo>
                    <a:lnTo>
                      <a:pt x="251" y="55"/>
                    </a:lnTo>
                    <a:lnTo>
                      <a:pt x="251" y="51"/>
                    </a:lnTo>
                    <a:lnTo>
                      <a:pt x="247" y="48"/>
                    </a:lnTo>
                    <a:lnTo>
                      <a:pt x="249" y="45"/>
                    </a:lnTo>
                    <a:lnTo>
                      <a:pt x="251" y="41"/>
                    </a:lnTo>
                    <a:lnTo>
                      <a:pt x="251" y="38"/>
                    </a:lnTo>
                    <a:lnTo>
                      <a:pt x="251" y="35"/>
                    </a:lnTo>
                    <a:lnTo>
                      <a:pt x="251" y="31"/>
                    </a:lnTo>
                    <a:lnTo>
                      <a:pt x="223" y="30"/>
                    </a:lnTo>
                    <a:lnTo>
                      <a:pt x="223" y="28"/>
                    </a:lnTo>
                    <a:lnTo>
                      <a:pt x="223" y="26"/>
                    </a:lnTo>
                    <a:lnTo>
                      <a:pt x="224" y="23"/>
                    </a:lnTo>
                    <a:lnTo>
                      <a:pt x="216" y="23"/>
                    </a:lnTo>
                    <a:lnTo>
                      <a:pt x="216" y="25"/>
                    </a:lnTo>
                    <a:lnTo>
                      <a:pt x="193" y="25"/>
                    </a:lnTo>
                    <a:lnTo>
                      <a:pt x="191" y="31"/>
                    </a:lnTo>
                    <a:lnTo>
                      <a:pt x="189" y="35"/>
                    </a:lnTo>
                    <a:lnTo>
                      <a:pt x="188" y="36"/>
                    </a:lnTo>
                    <a:lnTo>
                      <a:pt x="189" y="40"/>
                    </a:lnTo>
                    <a:lnTo>
                      <a:pt x="189" y="46"/>
                    </a:lnTo>
                    <a:lnTo>
                      <a:pt x="171" y="46"/>
                    </a:lnTo>
                    <a:lnTo>
                      <a:pt x="168" y="48"/>
                    </a:lnTo>
                    <a:lnTo>
                      <a:pt x="159" y="48"/>
                    </a:lnTo>
                    <a:lnTo>
                      <a:pt x="156" y="48"/>
                    </a:lnTo>
                    <a:lnTo>
                      <a:pt x="151" y="48"/>
                    </a:lnTo>
                    <a:lnTo>
                      <a:pt x="146" y="48"/>
                    </a:lnTo>
                    <a:lnTo>
                      <a:pt x="143" y="46"/>
                    </a:lnTo>
                    <a:lnTo>
                      <a:pt x="141" y="40"/>
                    </a:lnTo>
                    <a:lnTo>
                      <a:pt x="138" y="35"/>
                    </a:lnTo>
                    <a:lnTo>
                      <a:pt x="136" y="33"/>
                    </a:lnTo>
                    <a:lnTo>
                      <a:pt x="134" y="31"/>
                    </a:lnTo>
                    <a:lnTo>
                      <a:pt x="134" y="28"/>
                    </a:lnTo>
                    <a:lnTo>
                      <a:pt x="133" y="26"/>
                    </a:lnTo>
                    <a:lnTo>
                      <a:pt x="131" y="21"/>
                    </a:lnTo>
                    <a:lnTo>
                      <a:pt x="129" y="18"/>
                    </a:lnTo>
                    <a:lnTo>
                      <a:pt x="129" y="15"/>
                    </a:lnTo>
                    <a:lnTo>
                      <a:pt x="129" y="11"/>
                    </a:lnTo>
                    <a:lnTo>
                      <a:pt x="129" y="10"/>
                    </a:lnTo>
                    <a:lnTo>
                      <a:pt x="128" y="6"/>
                    </a:lnTo>
                    <a:lnTo>
                      <a:pt x="126" y="5"/>
                    </a:lnTo>
                    <a:lnTo>
                      <a:pt x="128" y="3"/>
                    </a:lnTo>
                    <a:lnTo>
                      <a:pt x="128" y="0"/>
                    </a:lnTo>
                    <a:lnTo>
                      <a:pt x="103" y="0"/>
                    </a:lnTo>
                    <a:lnTo>
                      <a:pt x="85" y="0"/>
                    </a:lnTo>
                    <a:lnTo>
                      <a:pt x="76" y="1"/>
                    </a:lnTo>
                    <a:lnTo>
                      <a:pt x="70" y="0"/>
                    </a:lnTo>
                    <a:lnTo>
                      <a:pt x="65" y="0"/>
                    </a:lnTo>
                    <a:lnTo>
                      <a:pt x="58" y="0"/>
                    </a:lnTo>
                    <a:lnTo>
                      <a:pt x="53" y="1"/>
                    </a:lnTo>
                    <a:lnTo>
                      <a:pt x="48" y="1"/>
                    </a:lnTo>
                    <a:lnTo>
                      <a:pt x="45" y="0"/>
                    </a:lnTo>
                    <a:lnTo>
                      <a:pt x="41" y="0"/>
                    </a:lnTo>
                    <a:lnTo>
                      <a:pt x="36" y="1"/>
                    </a:lnTo>
                    <a:lnTo>
                      <a:pt x="33" y="1"/>
                    </a:lnTo>
                    <a:lnTo>
                      <a:pt x="31" y="3"/>
                    </a:lnTo>
                    <a:lnTo>
                      <a:pt x="30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0" y="8"/>
                    </a:lnTo>
                    <a:lnTo>
                      <a:pt x="23" y="10"/>
                    </a:lnTo>
                    <a:lnTo>
                      <a:pt x="23" y="13"/>
                    </a:lnTo>
                    <a:lnTo>
                      <a:pt x="36" y="26"/>
                    </a:lnTo>
                    <a:lnTo>
                      <a:pt x="36" y="45"/>
                    </a:lnTo>
                    <a:lnTo>
                      <a:pt x="45" y="53"/>
                    </a:lnTo>
                    <a:lnTo>
                      <a:pt x="43" y="61"/>
                    </a:lnTo>
                    <a:lnTo>
                      <a:pt x="35" y="71"/>
                    </a:lnTo>
                    <a:lnTo>
                      <a:pt x="40" y="73"/>
                    </a:lnTo>
                    <a:lnTo>
                      <a:pt x="40" y="81"/>
                    </a:lnTo>
                    <a:lnTo>
                      <a:pt x="43" y="86"/>
                    </a:lnTo>
                    <a:lnTo>
                      <a:pt x="43" y="91"/>
                    </a:lnTo>
                    <a:lnTo>
                      <a:pt x="53" y="106"/>
                    </a:lnTo>
                    <a:lnTo>
                      <a:pt x="53" y="109"/>
                    </a:lnTo>
                    <a:lnTo>
                      <a:pt x="55" y="113"/>
                    </a:lnTo>
                    <a:lnTo>
                      <a:pt x="55" y="131"/>
                    </a:lnTo>
                    <a:lnTo>
                      <a:pt x="46" y="148"/>
                    </a:lnTo>
                    <a:lnTo>
                      <a:pt x="43" y="148"/>
                    </a:lnTo>
                    <a:lnTo>
                      <a:pt x="31" y="154"/>
                    </a:lnTo>
                    <a:lnTo>
                      <a:pt x="31" y="161"/>
                    </a:lnTo>
                    <a:lnTo>
                      <a:pt x="18" y="171"/>
                    </a:lnTo>
                    <a:lnTo>
                      <a:pt x="18" y="177"/>
                    </a:lnTo>
                    <a:lnTo>
                      <a:pt x="17" y="179"/>
                    </a:lnTo>
                    <a:lnTo>
                      <a:pt x="17" y="197"/>
                    </a:lnTo>
                    <a:lnTo>
                      <a:pt x="10" y="204"/>
                    </a:lnTo>
                    <a:lnTo>
                      <a:pt x="8" y="212"/>
                    </a:lnTo>
                    <a:lnTo>
                      <a:pt x="2" y="221"/>
                    </a:lnTo>
                    <a:lnTo>
                      <a:pt x="2" y="227"/>
                    </a:lnTo>
                    <a:lnTo>
                      <a:pt x="2" y="236"/>
                    </a:lnTo>
                    <a:lnTo>
                      <a:pt x="2" y="246"/>
                    </a:lnTo>
                    <a:lnTo>
                      <a:pt x="0" y="252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5" y="256"/>
                    </a:lnTo>
                    <a:lnTo>
                      <a:pt x="5" y="257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10" y="252"/>
                    </a:lnTo>
                    <a:lnTo>
                      <a:pt x="17" y="254"/>
                    </a:lnTo>
                    <a:lnTo>
                      <a:pt x="20" y="256"/>
                    </a:lnTo>
                    <a:lnTo>
                      <a:pt x="22" y="254"/>
                    </a:lnTo>
                    <a:lnTo>
                      <a:pt x="22" y="251"/>
                    </a:lnTo>
                    <a:lnTo>
                      <a:pt x="28" y="246"/>
                    </a:lnTo>
                    <a:lnTo>
                      <a:pt x="31" y="246"/>
                    </a:lnTo>
                    <a:lnTo>
                      <a:pt x="36" y="247"/>
                    </a:lnTo>
                    <a:lnTo>
                      <a:pt x="36" y="247"/>
                    </a:lnTo>
                    <a:lnTo>
                      <a:pt x="38" y="247"/>
                    </a:lnTo>
                    <a:lnTo>
                      <a:pt x="40" y="246"/>
                    </a:lnTo>
                    <a:lnTo>
                      <a:pt x="43" y="247"/>
                    </a:lnTo>
                    <a:lnTo>
                      <a:pt x="43" y="249"/>
                    </a:lnTo>
                    <a:lnTo>
                      <a:pt x="46" y="251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53" y="257"/>
                    </a:lnTo>
                    <a:lnTo>
                      <a:pt x="58" y="259"/>
                    </a:lnTo>
                    <a:lnTo>
                      <a:pt x="61" y="257"/>
                    </a:lnTo>
                    <a:lnTo>
                      <a:pt x="63" y="257"/>
                    </a:lnTo>
                    <a:lnTo>
                      <a:pt x="66" y="256"/>
                    </a:lnTo>
                    <a:lnTo>
                      <a:pt x="70" y="256"/>
                    </a:lnTo>
                    <a:lnTo>
                      <a:pt x="70" y="256"/>
                    </a:lnTo>
                    <a:lnTo>
                      <a:pt x="161" y="256"/>
                    </a:lnTo>
                    <a:lnTo>
                      <a:pt x="163" y="257"/>
                    </a:lnTo>
                    <a:lnTo>
                      <a:pt x="164" y="261"/>
                    </a:lnTo>
                    <a:lnTo>
                      <a:pt x="168" y="262"/>
                    </a:lnTo>
                    <a:lnTo>
                      <a:pt x="171" y="264"/>
                    </a:lnTo>
                    <a:lnTo>
                      <a:pt x="178" y="266"/>
                    </a:lnTo>
                    <a:lnTo>
                      <a:pt x="181" y="266"/>
                    </a:lnTo>
                    <a:lnTo>
                      <a:pt x="183" y="266"/>
                    </a:lnTo>
                    <a:lnTo>
                      <a:pt x="184" y="267"/>
                    </a:lnTo>
                    <a:lnTo>
                      <a:pt x="188" y="269"/>
                    </a:lnTo>
                    <a:lnTo>
                      <a:pt x="191" y="267"/>
                    </a:lnTo>
                    <a:lnTo>
                      <a:pt x="194" y="266"/>
                    </a:lnTo>
                    <a:lnTo>
                      <a:pt x="201" y="267"/>
                    </a:lnTo>
                    <a:lnTo>
                      <a:pt x="204" y="267"/>
                    </a:lnTo>
                    <a:lnTo>
                      <a:pt x="204" y="264"/>
                    </a:lnTo>
                    <a:lnTo>
                      <a:pt x="206" y="264"/>
                    </a:lnTo>
                    <a:lnTo>
                      <a:pt x="209" y="264"/>
                    </a:lnTo>
                    <a:lnTo>
                      <a:pt x="214" y="269"/>
                    </a:lnTo>
                    <a:lnTo>
                      <a:pt x="219" y="271"/>
                    </a:lnTo>
                    <a:lnTo>
                      <a:pt x="224" y="271"/>
                    </a:lnTo>
                    <a:lnTo>
                      <a:pt x="226" y="271"/>
                    </a:lnTo>
                    <a:lnTo>
                      <a:pt x="226" y="269"/>
                    </a:lnTo>
                    <a:lnTo>
                      <a:pt x="227" y="267"/>
                    </a:lnTo>
                    <a:lnTo>
                      <a:pt x="231" y="269"/>
                    </a:lnTo>
                    <a:lnTo>
                      <a:pt x="232" y="269"/>
                    </a:lnTo>
                    <a:lnTo>
                      <a:pt x="234" y="269"/>
                    </a:lnTo>
                    <a:lnTo>
                      <a:pt x="236" y="271"/>
                    </a:lnTo>
                    <a:lnTo>
                      <a:pt x="237" y="271"/>
                    </a:lnTo>
                    <a:lnTo>
                      <a:pt x="239" y="271"/>
                    </a:lnTo>
                    <a:lnTo>
                      <a:pt x="241" y="272"/>
                    </a:lnTo>
                    <a:lnTo>
                      <a:pt x="242" y="271"/>
                    </a:lnTo>
                    <a:lnTo>
                      <a:pt x="244" y="271"/>
                    </a:lnTo>
                    <a:lnTo>
                      <a:pt x="282" y="2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1" name="Freeform 135"/>
              <p:cNvSpPr>
                <a:spLocks/>
              </p:cNvSpPr>
              <p:nvPr/>
            </p:nvSpPr>
            <p:spPr bwMode="auto">
              <a:xfrm>
                <a:off x="6738229" y="3449217"/>
                <a:ext cx="100603" cy="80932"/>
              </a:xfrm>
              <a:custGeom>
                <a:avLst/>
                <a:gdLst/>
                <a:ahLst/>
                <a:cxnLst>
                  <a:cxn ang="0">
                    <a:pos x="7" y="50"/>
                  </a:cxn>
                  <a:cxn ang="0">
                    <a:pos x="17" y="53"/>
                  </a:cxn>
                  <a:cxn ang="0">
                    <a:pos x="28" y="51"/>
                  </a:cxn>
                  <a:cxn ang="0">
                    <a:pos x="32" y="51"/>
                  </a:cxn>
                  <a:cxn ang="0">
                    <a:pos x="47" y="53"/>
                  </a:cxn>
                  <a:cxn ang="0">
                    <a:pos x="80" y="23"/>
                  </a:cxn>
                  <a:cxn ang="0">
                    <a:pos x="90" y="16"/>
                  </a:cxn>
                  <a:cxn ang="0">
                    <a:pos x="90" y="11"/>
                  </a:cxn>
                  <a:cxn ang="0">
                    <a:pos x="103" y="3"/>
                  </a:cxn>
                  <a:cxn ang="0">
                    <a:pos x="118" y="0"/>
                  </a:cxn>
                  <a:cxn ang="0">
                    <a:pos x="126" y="1"/>
                  </a:cxn>
                  <a:cxn ang="0">
                    <a:pos x="130" y="10"/>
                  </a:cxn>
                  <a:cxn ang="0">
                    <a:pos x="143" y="13"/>
                  </a:cxn>
                  <a:cxn ang="0">
                    <a:pos x="155" y="11"/>
                  </a:cxn>
                  <a:cxn ang="0">
                    <a:pos x="170" y="20"/>
                  </a:cxn>
                  <a:cxn ang="0">
                    <a:pos x="185" y="26"/>
                  </a:cxn>
                  <a:cxn ang="0">
                    <a:pos x="188" y="35"/>
                  </a:cxn>
                  <a:cxn ang="0">
                    <a:pos x="188" y="43"/>
                  </a:cxn>
                  <a:cxn ang="0">
                    <a:pos x="185" y="56"/>
                  </a:cxn>
                  <a:cxn ang="0">
                    <a:pos x="188" y="61"/>
                  </a:cxn>
                  <a:cxn ang="0">
                    <a:pos x="183" y="71"/>
                  </a:cxn>
                  <a:cxn ang="0">
                    <a:pos x="180" y="79"/>
                  </a:cxn>
                  <a:cxn ang="0">
                    <a:pos x="183" y="88"/>
                  </a:cxn>
                  <a:cxn ang="0">
                    <a:pos x="186" y="96"/>
                  </a:cxn>
                  <a:cxn ang="0">
                    <a:pos x="176" y="106"/>
                  </a:cxn>
                  <a:cxn ang="0">
                    <a:pos x="175" y="113"/>
                  </a:cxn>
                  <a:cxn ang="0">
                    <a:pos x="171" y="124"/>
                  </a:cxn>
                  <a:cxn ang="0">
                    <a:pos x="140" y="154"/>
                  </a:cxn>
                  <a:cxn ang="0">
                    <a:pos x="121" y="154"/>
                  </a:cxn>
                  <a:cxn ang="0">
                    <a:pos x="111" y="151"/>
                  </a:cxn>
                  <a:cxn ang="0">
                    <a:pos x="97" y="148"/>
                  </a:cxn>
                  <a:cxn ang="0">
                    <a:pos x="92" y="141"/>
                  </a:cxn>
                  <a:cxn ang="0">
                    <a:pos x="82" y="138"/>
                  </a:cxn>
                  <a:cxn ang="0">
                    <a:pos x="70" y="136"/>
                  </a:cxn>
                  <a:cxn ang="0">
                    <a:pos x="57" y="128"/>
                  </a:cxn>
                  <a:cxn ang="0">
                    <a:pos x="55" y="116"/>
                  </a:cxn>
                  <a:cxn ang="0">
                    <a:pos x="47" y="109"/>
                  </a:cxn>
                  <a:cxn ang="0">
                    <a:pos x="47" y="104"/>
                  </a:cxn>
                  <a:cxn ang="0">
                    <a:pos x="37" y="98"/>
                  </a:cxn>
                  <a:cxn ang="0">
                    <a:pos x="23" y="83"/>
                  </a:cxn>
                  <a:cxn ang="0">
                    <a:pos x="18" y="78"/>
                  </a:cxn>
                  <a:cxn ang="0">
                    <a:pos x="13" y="68"/>
                  </a:cxn>
                  <a:cxn ang="0">
                    <a:pos x="8" y="63"/>
                  </a:cxn>
                  <a:cxn ang="0">
                    <a:pos x="0" y="56"/>
                  </a:cxn>
                  <a:cxn ang="0">
                    <a:pos x="0" y="51"/>
                  </a:cxn>
                  <a:cxn ang="0">
                    <a:pos x="0" y="48"/>
                  </a:cxn>
                </a:cxnLst>
                <a:rect l="0" t="0" r="r" b="b"/>
                <a:pathLst>
                  <a:path w="190" h="156">
                    <a:moveTo>
                      <a:pt x="0" y="48"/>
                    </a:moveTo>
                    <a:lnTo>
                      <a:pt x="2" y="50"/>
                    </a:lnTo>
                    <a:lnTo>
                      <a:pt x="7" y="50"/>
                    </a:lnTo>
                    <a:lnTo>
                      <a:pt x="12" y="51"/>
                    </a:lnTo>
                    <a:lnTo>
                      <a:pt x="15" y="53"/>
                    </a:lnTo>
                    <a:lnTo>
                      <a:pt x="17" y="53"/>
                    </a:lnTo>
                    <a:lnTo>
                      <a:pt x="22" y="51"/>
                    </a:lnTo>
                    <a:lnTo>
                      <a:pt x="27" y="50"/>
                    </a:lnTo>
                    <a:lnTo>
                      <a:pt x="28" y="51"/>
                    </a:lnTo>
                    <a:lnTo>
                      <a:pt x="30" y="51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35" y="55"/>
                    </a:lnTo>
                    <a:lnTo>
                      <a:pt x="40" y="55"/>
                    </a:lnTo>
                    <a:lnTo>
                      <a:pt x="47" y="53"/>
                    </a:lnTo>
                    <a:lnTo>
                      <a:pt x="53" y="45"/>
                    </a:lnTo>
                    <a:lnTo>
                      <a:pt x="65" y="31"/>
                    </a:lnTo>
                    <a:lnTo>
                      <a:pt x="80" y="23"/>
                    </a:lnTo>
                    <a:lnTo>
                      <a:pt x="88" y="20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0" y="11"/>
                    </a:lnTo>
                    <a:lnTo>
                      <a:pt x="92" y="8"/>
                    </a:lnTo>
                    <a:lnTo>
                      <a:pt x="100" y="5"/>
                    </a:lnTo>
                    <a:lnTo>
                      <a:pt x="103" y="3"/>
                    </a:lnTo>
                    <a:lnTo>
                      <a:pt x="106" y="1"/>
                    </a:lnTo>
                    <a:lnTo>
                      <a:pt x="111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21" y="1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30" y="1"/>
                    </a:lnTo>
                    <a:lnTo>
                      <a:pt x="130" y="10"/>
                    </a:lnTo>
                    <a:lnTo>
                      <a:pt x="138" y="10"/>
                    </a:lnTo>
                    <a:lnTo>
                      <a:pt x="141" y="10"/>
                    </a:lnTo>
                    <a:lnTo>
                      <a:pt x="143" y="13"/>
                    </a:lnTo>
                    <a:lnTo>
                      <a:pt x="146" y="11"/>
                    </a:lnTo>
                    <a:lnTo>
                      <a:pt x="148" y="10"/>
                    </a:lnTo>
                    <a:lnTo>
                      <a:pt x="155" y="11"/>
                    </a:lnTo>
                    <a:lnTo>
                      <a:pt x="161" y="15"/>
                    </a:lnTo>
                    <a:lnTo>
                      <a:pt x="165" y="20"/>
                    </a:lnTo>
                    <a:lnTo>
                      <a:pt x="170" y="20"/>
                    </a:lnTo>
                    <a:lnTo>
                      <a:pt x="176" y="21"/>
                    </a:lnTo>
                    <a:lnTo>
                      <a:pt x="181" y="25"/>
                    </a:lnTo>
                    <a:lnTo>
                      <a:pt x="185" y="26"/>
                    </a:lnTo>
                    <a:lnTo>
                      <a:pt x="190" y="28"/>
                    </a:lnTo>
                    <a:lnTo>
                      <a:pt x="190" y="31"/>
                    </a:lnTo>
                    <a:lnTo>
                      <a:pt x="188" y="35"/>
                    </a:lnTo>
                    <a:lnTo>
                      <a:pt x="188" y="38"/>
                    </a:lnTo>
                    <a:lnTo>
                      <a:pt x="188" y="41"/>
                    </a:lnTo>
                    <a:lnTo>
                      <a:pt x="188" y="43"/>
                    </a:lnTo>
                    <a:lnTo>
                      <a:pt x="188" y="46"/>
                    </a:lnTo>
                    <a:lnTo>
                      <a:pt x="186" y="50"/>
                    </a:lnTo>
                    <a:lnTo>
                      <a:pt x="185" y="56"/>
                    </a:lnTo>
                    <a:lnTo>
                      <a:pt x="183" y="60"/>
                    </a:lnTo>
                    <a:lnTo>
                      <a:pt x="185" y="61"/>
                    </a:lnTo>
                    <a:lnTo>
                      <a:pt x="188" y="61"/>
                    </a:lnTo>
                    <a:lnTo>
                      <a:pt x="186" y="64"/>
                    </a:lnTo>
                    <a:lnTo>
                      <a:pt x="183" y="66"/>
                    </a:lnTo>
                    <a:lnTo>
                      <a:pt x="183" y="71"/>
                    </a:lnTo>
                    <a:lnTo>
                      <a:pt x="183" y="74"/>
                    </a:lnTo>
                    <a:lnTo>
                      <a:pt x="180" y="76"/>
                    </a:lnTo>
                    <a:lnTo>
                      <a:pt x="180" y="79"/>
                    </a:lnTo>
                    <a:lnTo>
                      <a:pt x="185" y="81"/>
                    </a:lnTo>
                    <a:lnTo>
                      <a:pt x="185" y="86"/>
                    </a:lnTo>
                    <a:lnTo>
                      <a:pt x="183" y="88"/>
                    </a:lnTo>
                    <a:lnTo>
                      <a:pt x="183" y="91"/>
                    </a:lnTo>
                    <a:lnTo>
                      <a:pt x="185" y="93"/>
                    </a:lnTo>
                    <a:lnTo>
                      <a:pt x="186" y="96"/>
                    </a:lnTo>
                    <a:lnTo>
                      <a:pt x="183" y="101"/>
                    </a:lnTo>
                    <a:lnTo>
                      <a:pt x="178" y="104"/>
                    </a:lnTo>
                    <a:lnTo>
                      <a:pt x="176" y="106"/>
                    </a:lnTo>
                    <a:lnTo>
                      <a:pt x="173" y="106"/>
                    </a:lnTo>
                    <a:lnTo>
                      <a:pt x="173" y="109"/>
                    </a:lnTo>
                    <a:lnTo>
                      <a:pt x="175" y="113"/>
                    </a:lnTo>
                    <a:lnTo>
                      <a:pt x="173" y="116"/>
                    </a:lnTo>
                    <a:lnTo>
                      <a:pt x="173" y="123"/>
                    </a:lnTo>
                    <a:lnTo>
                      <a:pt x="171" y="124"/>
                    </a:lnTo>
                    <a:lnTo>
                      <a:pt x="171" y="133"/>
                    </a:lnTo>
                    <a:lnTo>
                      <a:pt x="145" y="156"/>
                    </a:lnTo>
                    <a:lnTo>
                      <a:pt x="140" y="154"/>
                    </a:lnTo>
                    <a:lnTo>
                      <a:pt x="131" y="153"/>
                    </a:lnTo>
                    <a:lnTo>
                      <a:pt x="125" y="153"/>
                    </a:lnTo>
                    <a:lnTo>
                      <a:pt x="121" y="154"/>
                    </a:lnTo>
                    <a:lnTo>
                      <a:pt x="120" y="153"/>
                    </a:lnTo>
                    <a:lnTo>
                      <a:pt x="115" y="151"/>
                    </a:lnTo>
                    <a:lnTo>
                      <a:pt x="111" y="151"/>
                    </a:lnTo>
                    <a:lnTo>
                      <a:pt x="110" y="148"/>
                    </a:lnTo>
                    <a:lnTo>
                      <a:pt x="103" y="148"/>
                    </a:lnTo>
                    <a:lnTo>
                      <a:pt x="97" y="148"/>
                    </a:lnTo>
                    <a:lnTo>
                      <a:pt x="93" y="146"/>
                    </a:lnTo>
                    <a:lnTo>
                      <a:pt x="92" y="144"/>
                    </a:lnTo>
                    <a:lnTo>
                      <a:pt x="92" y="141"/>
                    </a:lnTo>
                    <a:lnTo>
                      <a:pt x="90" y="139"/>
                    </a:lnTo>
                    <a:lnTo>
                      <a:pt x="87" y="139"/>
                    </a:lnTo>
                    <a:lnTo>
                      <a:pt x="82" y="138"/>
                    </a:lnTo>
                    <a:lnTo>
                      <a:pt x="78" y="138"/>
                    </a:lnTo>
                    <a:lnTo>
                      <a:pt x="73" y="134"/>
                    </a:lnTo>
                    <a:lnTo>
                      <a:pt x="70" y="136"/>
                    </a:lnTo>
                    <a:lnTo>
                      <a:pt x="65" y="134"/>
                    </a:lnTo>
                    <a:lnTo>
                      <a:pt x="62" y="131"/>
                    </a:lnTo>
                    <a:lnTo>
                      <a:pt x="57" y="128"/>
                    </a:lnTo>
                    <a:lnTo>
                      <a:pt x="55" y="124"/>
                    </a:lnTo>
                    <a:lnTo>
                      <a:pt x="55" y="121"/>
                    </a:lnTo>
                    <a:lnTo>
                      <a:pt x="55" y="116"/>
                    </a:lnTo>
                    <a:lnTo>
                      <a:pt x="55" y="113"/>
                    </a:lnTo>
                    <a:lnTo>
                      <a:pt x="52" y="111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7" y="106"/>
                    </a:lnTo>
                    <a:lnTo>
                      <a:pt x="47" y="104"/>
                    </a:lnTo>
                    <a:lnTo>
                      <a:pt x="43" y="103"/>
                    </a:lnTo>
                    <a:lnTo>
                      <a:pt x="42" y="101"/>
                    </a:lnTo>
                    <a:lnTo>
                      <a:pt x="37" y="98"/>
                    </a:lnTo>
                    <a:lnTo>
                      <a:pt x="32" y="94"/>
                    </a:lnTo>
                    <a:lnTo>
                      <a:pt x="25" y="86"/>
                    </a:lnTo>
                    <a:lnTo>
                      <a:pt x="23" y="83"/>
                    </a:lnTo>
                    <a:lnTo>
                      <a:pt x="22" y="83"/>
                    </a:lnTo>
                    <a:lnTo>
                      <a:pt x="20" y="81"/>
                    </a:lnTo>
                    <a:lnTo>
                      <a:pt x="18" y="78"/>
                    </a:lnTo>
                    <a:lnTo>
                      <a:pt x="17" y="76"/>
                    </a:lnTo>
                    <a:lnTo>
                      <a:pt x="15" y="71"/>
                    </a:lnTo>
                    <a:lnTo>
                      <a:pt x="13" y="68"/>
                    </a:lnTo>
                    <a:lnTo>
                      <a:pt x="12" y="68"/>
                    </a:lnTo>
                    <a:lnTo>
                      <a:pt x="10" y="64"/>
                    </a:lnTo>
                    <a:lnTo>
                      <a:pt x="8" y="63"/>
                    </a:lnTo>
                    <a:lnTo>
                      <a:pt x="5" y="61"/>
                    </a:lnTo>
                    <a:lnTo>
                      <a:pt x="3" y="60"/>
                    </a:lnTo>
                    <a:lnTo>
                      <a:pt x="0" y="56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2" name="Freeform 136"/>
              <p:cNvSpPr>
                <a:spLocks/>
              </p:cNvSpPr>
              <p:nvPr/>
            </p:nvSpPr>
            <p:spPr bwMode="auto">
              <a:xfrm>
                <a:off x="6667593" y="3474119"/>
                <a:ext cx="122008" cy="106872"/>
              </a:xfrm>
              <a:custGeom>
                <a:avLst/>
                <a:gdLst/>
                <a:ahLst/>
                <a:cxnLst>
                  <a:cxn ang="0">
                    <a:pos x="131" y="5"/>
                  </a:cxn>
                  <a:cxn ang="0">
                    <a:pos x="134" y="12"/>
                  </a:cxn>
                  <a:cxn ang="0">
                    <a:pos x="141" y="16"/>
                  </a:cxn>
                  <a:cxn ang="0">
                    <a:pos x="146" y="23"/>
                  </a:cxn>
                  <a:cxn ang="0">
                    <a:pos x="151" y="33"/>
                  </a:cxn>
                  <a:cxn ang="0">
                    <a:pos x="156" y="38"/>
                  </a:cxn>
                  <a:cxn ang="0">
                    <a:pos x="173" y="53"/>
                  </a:cxn>
                  <a:cxn ang="0">
                    <a:pos x="178" y="58"/>
                  </a:cxn>
                  <a:cxn ang="0">
                    <a:pos x="183" y="63"/>
                  </a:cxn>
                  <a:cxn ang="0">
                    <a:pos x="186" y="73"/>
                  </a:cxn>
                  <a:cxn ang="0">
                    <a:pos x="193" y="83"/>
                  </a:cxn>
                  <a:cxn ang="0">
                    <a:pos x="204" y="86"/>
                  </a:cxn>
                  <a:cxn ang="0">
                    <a:pos x="218" y="91"/>
                  </a:cxn>
                  <a:cxn ang="0">
                    <a:pos x="223" y="96"/>
                  </a:cxn>
                  <a:cxn ang="0">
                    <a:pos x="224" y="101"/>
                  </a:cxn>
                  <a:cxn ang="0">
                    <a:pos x="214" y="105"/>
                  </a:cxn>
                  <a:cxn ang="0">
                    <a:pos x="211" y="111"/>
                  </a:cxn>
                  <a:cxn ang="0">
                    <a:pos x="201" y="114"/>
                  </a:cxn>
                  <a:cxn ang="0">
                    <a:pos x="189" y="118"/>
                  </a:cxn>
                  <a:cxn ang="0">
                    <a:pos x="183" y="123"/>
                  </a:cxn>
                  <a:cxn ang="0">
                    <a:pos x="174" y="128"/>
                  </a:cxn>
                  <a:cxn ang="0">
                    <a:pos x="164" y="141"/>
                  </a:cxn>
                  <a:cxn ang="0">
                    <a:pos x="163" y="148"/>
                  </a:cxn>
                  <a:cxn ang="0">
                    <a:pos x="154" y="153"/>
                  </a:cxn>
                  <a:cxn ang="0">
                    <a:pos x="149" y="159"/>
                  </a:cxn>
                  <a:cxn ang="0">
                    <a:pos x="138" y="161"/>
                  </a:cxn>
                  <a:cxn ang="0">
                    <a:pos x="134" y="173"/>
                  </a:cxn>
                  <a:cxn ang="0">
                    <a:pos x="134" y="183"/>
                  </a:cxn>
                  <a:cxn ang="0">
                    <a:pos x="125" y="181"/>
                  </a:cxn>
                  <a:cxn ang="0">
                    <a:pos x="110" y="183"/>
                  </a:cxn>
                  <a:cxn ang="0">
                    <a:pos x="93" y="178"/>
                  </a:cxn>
                  <a:cxn ang="0">
                    <a:pos x="80" y="174"/>
                  </a:cxn>
                  <a:cxn ang="0">
                    <a:pos x="63" y="189"/>
                  </a:cxn>
                  <a:cxn ang="0">
                    <a:pos x="48" y="198"/>
                  </a:cxn>
                  <a:cxn ang="0">
                    <a:pos x="35" y="204"/>
                  </a:cxn>
                  <a:cxn ang="0">
                    <a:pos x="20" y="204"/>
                  </a:cxn>
                  <a:cxn ang="0">
                    <a:pos x="17" y="194"/>
                  </a:cxn>
                  <a:cxn ang="0">
                    <a:pos x="8" y="169"/>
                  </a:cxn>
                  <a:cxn ang="0">
                    <a:pos x="0" y="164"/>
                  </a:cxn>
                  <a:cxn ang="0">
                    <a:pos x="25" y="95"/>
                  </a:cxn>
                  <a:cxn ang="0">
                    <a:pos x="71" y="12"/>
                  </a:cxn>
                  <a:cxn ang="0">
                    <a:pos x="83" y="10"/>
                  </a:cxn>
                  <a:cxn ang="0">
                    <a:pos x="88" y="15"/>
                  </a:cxn>
                  <a:cxn ang="0">
                    <a:pos x="88" y="20"/>
                  </a:cxn>
                  <a:cxn ang="0">
                    <a:pos x="105" y="5"/>
                  </a:cxn>
                  <a:cxn ang="0">
                    <a:pos x="115" y="7"/>
                  </a:cxn>
                  <a:cxn ang="0">
                    <a:pos x="131" y="0"/>
                  </a:cxn>
                </a:cxnLst>
                <a:rect l="0" t="0" r="r" b="b"/>
                <a:pathLst>
                  <a:path w="228" h="206">
                    <a:moveTo>
                      <a:pt x="131" y="0"/>
                    </a:moveTo>
                    <a:lnTo>
                      <a:pt x="131" y="3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1" y="8"/>
                    </a:lnTo>
                    <a:lnTo>
                      <a:pt x="134" y="12"/>
                    </a:lnTo>
                    <a:lnTo>
                      <a:pt x="136" y="13"/>
                    </a:lnTo>
                    <a:lnTo>
                      <a:pt x="139" y="15"/>
                    </a:lnTo>
                    <a:lnTo>
                      <a:pt x="141" y="16"/>
                    </a:lnTo>
                    <a:lnTo>
                      <a:pt x="143" y="20"/>
                    </a:lnTo>
                    <a:lnTo>
                      <a:pt x="144" y="20"/>
                    </a:lnTo>
                    <a:lnTo>
                      <a:pt x="146" y="23"/>
                    </a:lnTo>
                    <a:lnTo>
                      <a:pt x="148" y="28"/>
                    </a:lnTo>
                    <a:lnTo>
                      <a:pt x="149" y="30"/>
                    </a:lnTo>
                    <a:lnTo>
                      <a:pt x="151" y="33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6" y="38"/>
                    </a:lnTo>
                    <a:lnTo>
                      <a:pt x="163" y="46"/>
                    </a:lnTo>
                    <a:lnTo>
                      <a:pt x="168" y="50"/>
                    </a:lnTo>
                    <a:lnTo>
                      <a:pt x="173" y="53"/>
                    </a:lnTo>
                    <a:lnTo>
                      <a:pt x="174" y="55"/>
                    </a:lnTo>
                    <a:lnTo>
                      <a:pt x="178" y="56"/>
                    </a:lnTo>
                    <a:lnTo>
                      <a:pt x="178" y="58"/>
                    </a:lnTo>
                    <a:lnTo>
                      <a:pt x="178" y="60"/>
                    </a:lnTo>
                    <a:lnTo>
                      <a:pt x="178" y="61"/>
                    </a:lnTo>
                    <a:lnTo>
                      <a:pt x="183" y="63"/>
                    </a:lnTo>
                    <a:lnTo>
                      <a:pt x="186" y="65"/>
                    </a:lnTo>
                    <a:lnTo>
                      <a:pt x="186" y="68"/>
                    </a:lnTo>
                    <a:lnTo>
                      <a:pt x="186" y="73"/>
                    </a:lnTo>
                    <a:lnTo>
                      <a:pt x="186" y="76"/>
                    </a:lnTo>
                    <a:lnTo>
                      <a:pt x="188" y="80"/>
                    </a:lnTo>
                    <a:lnTo>
                      <a:pt x="193" y="83"/>
                    </a:lnTo>
                    <a:lnTo>
                      <a:pt x="196" y="86"/>
                    </a:lnTo>
                    <a:lnTo>
                      <a:pt x="201" y="88"/>
                    </a:lnTo>
                    <a:lnTo>
                      <a:pt x="204" y="86"/>
                    </a:lnTo>
                    <a:lnTo>
                      <a:pt x="209" y="90"/>
                    </a:lnTo>
                    <a:lnTo>
                      <a:pt x="213" y="90"/>
                    </a:lnTo>
                    <a:lnTo>
                      <a:pt x="218" y="91"/>
                    </a:lnTo>
                    <a:lnTo>
                      <a:pt x="221" y="91"/>
                    </a:lnTo>
                    <a:lnTo>
                      <a:pt x="223" y="93"/>
                    </a:lnTo>
                    <a:lnTo>
                      <a:pt x="223" y="96"/>
                    </a:lnTo>
                    <a:lnTo>
                      <a:pt x="224" y="98"/>
                    </a:lnTo>
                    <a:lnTo>
                      <a:pt x="228" y="100"/>
                    </a:lnTo>
                    <a:lnTo>
                      <a:pt x="224" y="101"/>
                    </a:lnTo>
                    <a:lnTo>
                      <a:pt x="221" y="101"/>
                    </a:lnTo>
                    <a:lnTo>
                      <a:pt x="218" y="103"/>
                    </a:lnTo>
                    <a:lnTo>
                      <a:pt x="214" y="105"/>
                    </a:lnTo>
                    <a:lnTo>
                      <a:pt x="216" y="106"/>
                    </a:lnTo>
                    <a:lnTo>
                      <a:pt x="214" y="110"/>
                    </a:lnTo>
                    <a:lnTo>
                      <a:pt x="211" y="111"/>
                    </a:lnTo>
                    <a:lnTo>
                      <a:pt x="208" y="113"/>
                    </a:lnTo>
                    <a:lnTo>
                      <a:pt x="203" y="113"/>
                    </a:lnTo>
                    <a:lnTo>
                      <a:pt x="201" y="114"/>
                    </a:lnTo>
                    <a:lnTo>
                      <a:pt x="199" y="113"/>
                    </a:lnTo>
                    <a:lnTo>
                      <a:pt x="194" y="113"/>
                    </a:lnTo>
                    <a:lnTo>
                      <a:pt x="189" y="118"/>
                    </a:lnTo>
                    <a:lnTo>
                      <a:pt x="186" y="119"/>
                    </a:lnTo>
                    <a:lnTo>
                      <a:pt x="184" y="121"/>
                    </a:lnTo>
                    <a:lnTo>
                      <a:pt x="183" y="123"/>
                    </a:lnTo>
                    <a:lnTo>
                      <a:pt x="179" y="124"/>
                    </a:lnTo>
                    <a:lnTo>
                      <a:pt x="178" y="126"/>
                    </a:lnTo>
                    <a:lnTo>
                      <a:pt x="174" y="128"/>
                    </a:lnTo>
                    <a:lnTo>
                      <a:pt x="171" y="129"/>
                    </a:lnTo>
                    <a:lnTo>
                      <a:pt x="164" y="136"/>
                    </a:lnTo>
                    <a:lnTo>
                      <a:pt x="164" y="141"/>
                    </a:lnTo>
                    <a:lnTo>
                      <a:pt x="166" y="144"/>
                    </a:lnTo>
                    <a:lnTo>
                      <a:pt x="166" y="148"/>
                    </a:lnTo>
                    <a:lnTo>
                      <a:pt x="163" y="148"/>
                    </a:lnTo>
                    <a:lnTo>
                      <a:pt x="161" y="149"/>
                    </a:lnTo>
                    <a:lnTo>
                      <a:pt x="158" y="149"/>
                    </a:lnTo>
                    <a:lnTo>
                      <a:pt x="154" y="153"/>
                    </a:lnTo>
                    <a:lnTo>
                      <a:pt x="153" y="156"/>
                    </a:lnTo>
                    <a:lnTo>
                      <a:pt x="151" y="156"/>
                    </a:lnTo>
                    <a:lnTo>
                      <a:pt x="149" y="159"/>
                    </a:lnTo>
                    <a:lnTo>
                      <a:pt x="146" y="159"/>
                    </a:lnTo>
                    <a:lnTo>
                      <a:pt x="143" y="161"/>
                    </a:lnTo>
                    <a:lnTo>
                      <a:pt x="138" y="161"/>
                    </a:lnTo>
                    <a:lnTo>
                      <a:pt x="136" y="166"/>
                    </a:lnTo>
                    <a:lnTo>
                      <a:pt x="136" y="171"/>
                    </a:lnTo>
                    <a:lnTo>
                      <a:pt x="134" y="173"/>
                    </a:lnTo>
                    <a:lnTo>
                      <a:pt x="134" y="176"/>
                    </a:lnTo>
                    <a:lnTo>
                      <a:pt x="133" y="179"/>
                    </a:lnTo>
                    <a:lnTo>
                      <a:pt x="134" y="183"/>
                    </a:lnTo>
                    <a:lnTo>
                      <a:pt x="129" y="184"/>
                    </a:lnTo>
                    <a:lnTo>
                      <a:pt x="126" y="184"/>
                    </a:lnTo>
                    <a:lnTo>
                      <a:pt x="125" y="181"/>
                    </a:lnTo>
                    <a:lnTo>
                      <a:pt x="121" y="183"/>
                    </a:lnTo>
                    <a:lnTo>
                      <a:pt x="115" y="183"/>
                    </a:lnTo>
                    <a:lnTo>
                      <a:pt x="110" y="183"/>
                    </a:lnTo>
                    <a:lnTo>
                      <a:pt x="105" y="183"/>
                    </a:lnTo>
                    <a:lnTo>
                      <a:pt x="101" y="183"/>
                    </a:lnTo>
                    <a:lnTo>
                      <a:pt x="93" y="178"/>
                    </a:lnTo>
                    <a:lnTo>
                      <a:pt x="90" y="178"/>
                    </a:lnTo>
                    <a:lnTo>
                      <a:pt x="88" y="174"/>
                    </a:lnTo>
                    <a:lnTo>
                      <a:pt x="80" y="174"/>
                    </a:lnTo>
                    <a:lnTo>
                      <a:pt x="73" y="174"/>
                    </a:lnTo>
                    <a:lnTo>
                      <a:pt x="66" y="179"/>
                    </a:lnTo>
                    <a:lnTo>
                      <a:pt x="63" y="189"/>
                    </a:lnTo>
                    <a:lnTo>
                      <a:pt x="58" y="193"/>
                    </a:lnTo>
                    <a:lnTo>
                      <a:pt x="50" y="196"/>
                    </a:lnTo>
                    <a:lnTo>
                      <a:pt x="48" y="198"/>
                    </a:lnTo>
                    <a:lnTo>
                      <a:pt x="45" y="201"/>
                    </a:lnTo>
                    <a:lnTo>
                      <a:pt x="40" y="203"/>
                    </a:lnTo>
                    <a:lnTo>
                      <a:pt x="35" y="204"/>
                    </a:lnTo>
                    <a:lnTo>
                      <a:pt x="30" y="204"/>
                    </a:lnTo>
                    <a:lnTo>
                      <a:pt x="25" y="206"/>
                    </a:lnTo>
                    <a:lnTo>
                      <a:pt x="20" y="204"/>
                    </a:lnTo>
                    <a:lnTo>
                      <a:pt x="13" y="206"/>
                    </a:lnTo>
                    <a:lnTo>
                      <a:pt x="13" y="201"/>
                    </a:lnTo>
                    <a:lnTo>
                      <a:pt x="17" y="194"/>
                    </a:lnTo>
                    <a:lnTo>
                      <a:pt x="17" y="188"/>
                    </a:lnTo>
                    <a:lnTo>
                      <a:pt x="10" y="176"/>
                    </a:lnTo>
                    <a:lnTo>
                      <a:pt x="8" y="169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3" y="95"/>
                    </a:lnTo>
                    <a:lnTo>
                      <a:pt x="25" y="95"/>
                    </a:lnTo>
                    <a:lnTo>
                      <a:pt x="30" y="16"/>
                    </a:lnTo>
                    <a:lnTo>
                      <a:pt x="48" y="16"/>
                    </a:lnTo>
                    <a:lnTo>
                      <a:pt x="71" y="12"/>
                    </a:lnTo>
                    <a:lnTo>
                      <a:pt x="78" y="10"/>
                    </a:lnTo>
                    <a:lnTo>
                      <a:pt x="81" y="10"/>
                    </a:lnTo>
                    <a:lnTo>
                      <a:pt x="83" y="10"/>
                    </a:lnTo>
                    <a:lnTo>
                      <a:pt x="85" y="10"/>
                    </a:lnTo>
                    <a:lnTo>
                      <a:pt x="86" y="13"/>
                    </a:lnTo>
                    <a:lnTo>
                      <a:pt x="88" y="15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6" y="15"/>
                    </a:lnTo>
                    <a:lnTo>
                      <a:pt x="100" y="10"/>
                    </a:lnTo>
                    <a:lnTo>
                      <a:pt x="105" y="5"/>
                    </a:lnTo>
                    <a:lnTo>
                      <a:pt x="110" y="5"/>
                    </a:lnTo>
                    <a:lnTo>
                      <a:pt x="111" y="7"/>
                    </a:lnTo>
                    <a:lnTo>
                      <a:pt x="115" y="7"/>
                    </a:lnTo>
                    <a:lnTo>
                      <a:pt x="118" y="5"/>
                    </a:lnTo>
                    <a:lnTo>
                      <a:pt x="126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3" name="Freeform 137"/>
              <p:cNvSpPr>
                <a:spLocks/>
              </p:cNvSpPr>
              <p:nvPr/>
            </p:nvSpPr>
            <p:spPr bwMode="auto">
              <a:xfrm>
                <a:off x="6562709" y="3464781"/>
                <a:ext cx="175521" cy="144225"/>
              </a:xfrm>
              <a:custGeom>
                <a:avLst/>
                <a:gdLst/>
                <a:ahLst/>
                <a:cxnLst>
                  <a:cxn ang="0">
                    <a:pos x="199" y="113"/>
                  </a:cxn>
                  <a:cxn ang="0">
                    <a:pos x="244" y="34"/>
                  </a:cxn>
                  <a:cxn ang="0">
                    <a:pos x="277" y="28"/>
                  </a:cxn>
                  <a:cxn ang="0">
                    <a:pos x="282" y="31"/>
                  </a:cxn>
                  <a:cxn ang="0">
                    <a:pos x="282" y="38"/>
                  </a:cxn>
                  <a:cxn ang="0">
                    <a:pos x="296" y="28"/>
                  </a:cxn>
                  <a:cxn ang="0">
                    <a:pos x="307" y="25"/>
                  </a:cxn>
                  <a:cxn ang="0">
                    <a:pos x="322" y="20"/>
                  </a:cxn>
                  <a:cxn ang="0">
                    <a:pos x="322" y="15"/>
                  </a:cxn>
                  <a:cxn ang="0">
                    <a:pos x="316" y="13"/>
                  </a:cxn>
                  <a:cxn ang="0">
                    <a:pos x="309" y="13"/>
                  </a:cxn>
                  <a:cxn ang="0">
                    <a:pos x="242" y="25"/>
                  </a:cxn>
                  <a:cxn ang="0">
                    <a:pos x="237" y="25"/>
                  </a:cxn>
                  <a:cxn ang="0">
                    <a:pos x="232" y="23"/>
                  </a:cxn>
                  <a:cxn ang="0">
                    <a:pos x="226" y="23"/>
                  </a:cxn>
                  <a:cxn ang="0">
                    <a:pos x="219" y="25"/>
                  </a:cxn>
                  <a:cxn ang="0">
                    <a:pos x="206" y="18"/>
                  </a:cxn>
                  <a:cxn ang="0">
                    <a:pos x="201" y="21"/>
                  </a:cxn>
                  <a:cxn ang="0">
                    <a:pos x="188" y="23"/>
                  </a:cxn>
                  <a:cxn ang="0">
                    <a:pos x="181" y="20"/>
                  </a:cxn>
                  <a:cxn ang="0">
                    <a:pos x="168" y="16"/>
                  </a:cxn>
                  <a:cxn ang="0">
                    <a:pos x="161" y="10"/>
                  </a:cxn>
                  <a:cxn ang="0">
                    <a:pos x="66" y="10"/>
                  </a:cxn>
                  <a:cxn ang="0">
                    <a:pos x="58" y="13"/>
                  </a:cxn>
                  <a:cxn ang="0">
                    <a:pos x="46" y="6"/>
                  </a:cxn>
                  <a:cxn ang="0">
                    <a:pos x="43" y="1"/>
                  </a:cxn>
                  <a:cxn ang="0">
                    <a:pos x="36" y="1"/>
                  </a:cxn>
                  <a:cxn ang="0">
                    <a:pos x="28" y="0"/>
                  </a:cxn>
                  <a:cxn ang="0">
                    <a:pos x="20" y="10"/>
                  </a:cxn>
                  <a:cxn ang="0">
                    <a:pos x="8" y="6"/>
                  </a:cxn>
                  <a:cxn ang="0">
                    <a:pos x="5" y="10"/>
                  </a:cxn>
                  <a:cxn ang="0">
                    <a:pos x="2" y="28"/>
                  </a:cxn>
                  <a:cxn ang="0">
                    <a:pos x="36" y="78"/>
                  </a:cxn>
                  <a:cxn ang="0">
                    <a:pos x="50" y="109"/>
                  </a:cxn>
                  <a:cxn ang="0">
                    <a:pos x="60" y="136"/>
                  </a:cxn>
                  <a:cxn ang="0">
                    <a:pos x="71" y="181"/>
                  </a:cxn>
                  <a:cxn ang="0">
                    <a:pos x="68" y="199"/>
                  </a:cxn>
                  <a:cxn ang="0">
                    <a:pos x="76" y="216"/>
                  </a:cxn>
                  <a:cxn ang="0">
                    <a:pos x="76" y="226"/>
                  </a:cxn>
                  <a:cxn ang="0">
                    <a:pos x="85" y="242"/>
                  </a:cxn>
                  <a:cxn ang="0">
                    <a:pos x="98" y="262"/>
                  </a:cxn>
                  <a:cxn ang="0">
                    <a:pos x="115" y="264"/>
                  </a:cxn>
                  <a:cxn ang="0">
                    <a:pos x="116" y="255"/>
                  </a:cxn>
                  <a:cxn ang="0">
                    <a:pos x="129" y="259"/>
                  </a:cxn>
                  <a:cxn ang="0">
                    <a:pos x="139" y="272"/>
                  </a:cxn>
                  <a:cxn ang="0">
                    <a:pos x="151" y="274"/>
                  </a:cxn>
                  <a:cxn ang="0">
                    <a:pos x="159" y="274"/>
                  </a:cxn>
                  <a:cxn ang="0">
                    <a:pos x="168" y="277"/>
                  </a:cxn>
                  <a:cxn ang="0">
                    <a:pos x="174" y="269"/>
                  </a:cxn>
                  <a:cxn ang="0">
                    <a:pos x="189" y="262"/>
                  </a:cxn>
                  <a:cxn ang="0">
                    <a:pos x="196" y="182"/>
                  </a:cxn>
                </a:cxnLst>
                <a:rect l="0" t="0" r="r" b="b"/>
                <a:pathLst>
                  <a:path w="327" h="277">
                    <a:moveTo>
                      <a:pt x="196" y="182"/>
                    </a:moveTo>
                    <a:lnTo>
                      <a:pt x="196" y="182"/>
                    </a:lnTo>
                    <a:lnTo>
                      <a:pt x="199" y="113"/>
                    </a:lnTo>
                    <a:lnTo>
                      <a:pt x="221" y="113"/>
                    </a:lnTo>
                    <a:lnTo>
                      <a:pt x="226" y="34"/>
                    </a:lnTo>
                    <a:lnTo>
                      <a:pt x="244" y="34"/>
                    </a:lnTo>
                    <a:lnTo>
                      <a:pt x="267" y="30"/>
                    </a:lnTo>
                    <a:lnTo>
                      <a:pt x="274" y="28"/>
                    </a:lnTo>
                    <a:lnTo>
                      <a:pt x="277" y="28"/>
                    </a:lnTo>
                    <a:lnTo>
                      <a:pt x="279" y="28"/>
                    </a:lnTo>
                    <a:lnTo>
                      <a:pt x="281" y="28"/>
                    </a:lnTo>
                    <a:lnTo>
                      <a:pt x="282" y="31"/>
                    </a:lnTo>
                    <a:lnTo>
                      <a:pt x="284" y="33"/>
                    </a:lnTo>
                    <a:lnTo>
                      <a:pt x="282" y="34"/>
                    </a:lnTo>
                    <a:lnTo>
                      <a:pt x="282" y="38"/>
                    </a:lnTo>
                    <a:lnTo>
                      <a:pt x="284" y="38"/>
                    </a:lnTo>
                    <a:lnTo>
                      <a:pt x="292" y="33"/>
                    </a:lnTo>
                    <a:lnTo>
                      <a:pt x="296" y="28"/>
                    </a:lnTo>
                    <a:lnTo>
                      <a:pt x="301" y="23"/>
                    </a:lnTo>
                    <a:lnTo>
                      <a:pt x="306" y="23"/>
                    </a:lnTo>
                    <a:lnTo>
                      <a:pt x="307" y="25"/>
                    </a:lnTo>
                    <a:lnTo>
                      <a:pt x="311" y="25"/>
                    </a:lnTo>
                    <a:lnTo>
                      <a:pt x="314" y="23"/>
                    </a:lnTo>
                    <a:lnTo>
                      <a:pt x="322" y="20"/>
                    </a:lnTo>
                    <a:lnTo>
                      <a:pt x="327" y="18"/>
                    </a:lnTo>
                    <a:lnTo>
                      <a:pt x="322" y="15"/>
                    </a:lnTo>
                    <a:lnTo>
                      <a:pt x="322" y="15"/>
                    </a:lnTo>
                    <a:lnTo>
                      <a:pt x="321" y="13"/>
                    </a:lnTo>
                    <a:lnTo>
                      <a:pt x="317" y="15"/>
                    </a:lnTo>
                    <a:lnTo>
                      <a:pt x="316" y="13"/>
                    </a:lnTo>
                    <a:lnTo>
                      <a:pt x="316" y="13"/>
                    </a:lnTo>
                    <a:lnTo>
                      <a:pt x="314" y="11"/>
                    </a:lnTo>
                    <a:lnTo>
                      <a:pt x="309" y="13"/>
                    </a:lnTo>
                    <a:lnTo>
                      <a:pt x="306" y="13"/>
                    </a:lnTo>
                    <a:lnTo>
                      <a:pt x="244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39" y="25"/>
                    </a:lnTo>
                    <a:lnTo>
                      <a:pt x="237" y="25"/>
                    </a:lnTo>
                    <a:lnTo>
                      <a:pt x="236" y="25"/>
                    </a:lnTo>
                    <a:lnTo>
                      <a:pt x="234" y="23"/>
                    </a:lnTo>
                    <a:lnTo>
                      <a:pt x="232" y="23"/>
                    </a:lnTo>
                    <a:lnTo>
                      <a:pt x="231" y="23"/>
                    </a:lnTo>
                    <a:lnTo>
                      <a:pt x="227" y="21"/>
                    </a:lnTo>
                    <a:lnTo>
                      <a:pt x="226" y="23"/>
                    </a:lnTo>
                    <a:lnTo>
                      <a:pt x="226" y="25"/>
                    </a:lnTo>
                    <a:lnTo>
                      <a:pt x="224" y="25"/>
                    </a:lnTo>
                    <a:lnTo>
                      <a:pt x="219" y="25"/>
                    </a:lnTo>
                    <a:lnTo>
                      <a:pt x="214" y="23"/>
                    </a:lnTo>
                    <a:lnTo>
                      <a:pt x="209" y="18"/>
                    </a:lnTo>
                    <a:lnTo>
                      <a:pt x="206" y="18"/>
                    </a:lnTo>
                    <a:lnTo>
                      <a:pt x="204" y="18"/>
                    </a:lnTo>
                    <a:lnTo>
                      <a:pt x="204" y="21"/>
                    </a:lnTo>
                    <a:lnTo>
                      <a:pt x="201" y="21"/>
                    </a:lnTo>
                    <a:lnTo>
                      <a:pt x="194" y="20"/>
                    </a:lnTo>
                    <a:lnTo>
                      <a:pt x="191" y="21"/>
                    </a:lnTo>
                    <a:lnTo>
                      <a:pt x="188" y="23"/>
                    </a:lnTo>
                    <a:lnTo>
                      <a:pt x="184" y="21"/>
                    </a:lnTo>
                    <a:lnTo>
                      <a:pt x="183" y="20"/>
                    </a:lnTo>
                    <a:lnTo>
                      <a:pt x="181" y="20"/>
                    </a:lnTo>
                    <a:lnTo>
                      <a:pt x="178" y="20"/>
                    </a:lnTo>
                    <a:lnTo>
                      <a:pt x="171" y="18"/>
                    </a:lnTo>
                    <a:lnTo>
                      <a:pt x="168" y="16"/>
                    </a:lnTo>
                    <a:lnTo>
                      <a:pt x="164" y="15"/>
                    </a:lnTo>
                    <a:lnTo>
                      <a:pt x="163" y="11"/>
                    </a:lnTo>
                    <a:lnTo>
                      <a:pt x="161" y="10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66" y="10"/>
                    </a:lnTo>
                    <a:lnTo>
                      <a:pt x="63" y="11"/>
                    </a:lnTo>
                    <a:lnTo>
                      <a:pt x="61" y="11"/>
                    </a:lnTo>
                    <a:lnTo>
                      <a:pt x="58" y="13"/>
                    </a:lnTo>
                    <a:lnTo>
                      <a:pt x="53" y="11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6" y="5"/>
                    </a:lnTo>
                    <a:lnTo>
                      <a:pt x="43" y="3"/>
                    </a:lnTo>
                    <a:lnTo>
                      <a:pt x="43" y="1"/>
                    </a:lnTo>
                    <a:lnTo>
                      <a:pt x="40" y="0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20" y="10"/>
                    </a:lnTo>
                    <a:lnTo>
                      <a:pt x="17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5" y="11"/>
                    </a:lnTo>
                    <a:lnTo>
                      <a:pt x="5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28"/>
                    </a:lnTo>
                    <a:lnTo>
                      <a:pt x="17" y="41"/>
                    </a:lnTo>
                    <a:lnTo>
                      <a:pt x="23" y="53"/>
                    </a:lnTo>
                    <a:lnTo>
                      <a:pt x="36" y="78"/>
                    </a:lnTo>
                    <a:lnTo>
                      <a:pt x="38" y="86"/>
                    </a:lnTo>
                    <a:lnTo>
                      <a:pt x="50" y="103"/>
                    </a:lnTo>
                    <a:lnTo>
                      <a:pt x="50" y="109"/>
                    </a:lnTo>
                    <a:lnTo>
                      <a:pt x="63" y="126"/>
                    </a:lnTo>
                    <a:lnTo>
                      <a:pt x="63" y="134"/>
                    </a:lnTo>
                    <a:lnTo>
                      <a:pt x="60" y="136"/>
                    </a:lnTo>
                    <a:lnTo>
                      <a:pt x="63" y="147"/>
                    </a:lnTo>
                    <a:lnTo>
                      <a:pt x="63" y="164"/>
                    </a:lnTo>
                    <a:lnTo>
                      <a:pt x="71" y="181"/>
                    </a:lnTo>
                    <a:lnTo>
                      <a:pt x="70" y="191"/>
                    </a:lnTo>
                    <a:lnTo>
                      <a:pt x="71" y="196"/>
                    </a:lnTo>
                    <a:lnTo>
                      <a:pt x="68" y="199"/>
                    </a:lnTo>
                    <a:lnTo>
                      <a:pt x="71" y="202"/>
                    </a:lnTo>
                    <a:lnTo>
                      <a:pt x="73" y="214"/>
                    </a:lnTo>
                    <a:lnTo>
                      <a:pt x="76" y="216"/>
                    </a:lnTo>
                    <a:lnTo>
                      <a:pt x="80" y="219"/>
                    </a:lnTo>
                    <a:lnTo>
                      <a:pt x="76" y="221"/>
                    </a:lnTo>
                    <a:lnTo>
                      <a:pt x="76" y="226"/>
                    </a:lnTo>
                    <a:lnTo>
                      <a:pt x="80" y="229"/>
                    </a:lnTo>
                    <a:lnTo>
                      <a:pt x="81" y="237"/>
                    </a:lnTo>
                    <a:lnTo>
                      <a:pt x="85" y="242"/>
                    </a:lnTo>
                    <a:lnTo>
                      <a:pt x="91" y="254"/>
                    </a:lnTo>
                    <a:lnTo>
                      <a:pt x="96" y="259"/>
                    </a:lnTo>
                    <a:lnTo>
                      <a:pt x="98" y="262"/>
                    </a:lnTo>
                    <a:lnTo>
                      <a:pt x="106" y="267"/>
                    </a:lnTo>
                    <a:lnTo>
                      <a:pt x="110" y="265"/>
                    </a:lnTo>
                    <a:lnTo>
                      <a:pt x="115" y="264"/>
                    </a:lnTo>
                    <a:lnTo>
                      <a:pt x="115" y="260"/>
                    </a:lnTo>
                    <a:lnTo>
                      <a:pt x="113" y="260"/>
                    </a:lnTo>
                    <a:lnTo>
                      <a:pt x="116" y="255"/>
                    </a:lnTo>
                    <a:lnTo>
                      <a:pt x="121" y="254"/>
                    </a:lnTo>
                    <a:lnTo>
                      <a:pt x="125" y="259"/>
                    </a:lnTo>
                    <a:lnTo>
                      <a:pt x="129" y="259"/>
                    </a:lnTo>
                    <a:lnTo>
                      <a:pt x="128" y="264"/>
                    </a:lnTo>
                    <a:lnTo>
                      <a:pt x="131" y="270"/>
                    </a:lnTo>
                    <a:lnTo>
                      <a:pt x="139" y="272"/>
                    </a:lnTo>
                    <a:lnTo>
                      <a:pt x="144" y="274"/>
                    </a:lnTo>
                    <a:lnTo>
                      <a:pt x="148" y="274"/>
                    </a:lnTo>
                    <a:lnTo>
                      <a:pt x="151" y="274"/>
                    </a:lnTo>
                    <a:lnTo>
                      <a:pt x="154" y="275"/>
                    </a:lnTo>
                    <a:lnTo>
                      <a:pt x="156" y="274"/>
                    </a:lnTo>
                    <a:lnTo>
                      <a:pt x="159" y="274"/>
                    </a:lnTo>
                    <a:lnTo>
                      <a:pt x="163" y="275"/>
                    </a:lnTo>
                    <a:lnTo>
                      <a:pt x="166" y="275"/>
                    </a:lnTo>
                    <a:lnTo>
                      <a:pt x="168" y="277"/>
                    </a:lnTo>
                    <a:lnTo>
                      <a:pt x="169" y="272"/>
                    </a:lnTo>
                    <a:lnTo>
                      <a:pt x="171" y="270"/>
                    </a:lnTo>
                    <a:lnTo>
                      <a:pt x="174" y="269"/>
                    </a:lnTo>
                    <a:lnTo>
                      <a:pt x="176" y="264"/>
                    </a:lnTo>
                    <a:lnTo>
                      <a:pt x="183" y="262"/>
                    </a:lnTo>
                    <a:lnTo>
                      <a:pt x="189" y="262"/>
                    </a:lnTo>
                    <a:lnTo>
                      <a:pt x="193" y="262"/>
                    </a:lnTo>
                    <a:lnTo>
                      <a:pt x="196" y="182"/>
                    </a:lnTo>
                    <a:lnTo>
                      <a:pt x="196" y="1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4" name="Freeform 138"/>
              <p:cNvSpPr>
                <a:spLocks noEditPoints="1"/>
              </p:cNvSpPr>
              <p:nvPr/>
            </p:nvSpPr>
            <p:spPr bwMode="auto">
              <a:xfrm>
                <a:off x="6966192" y="3407713"/>
                <a:ext cx="98463" cy="161864"/>
              </a:xfrm>
              <a:custGeom>
                <a:avLst/>
                <a:gdLst/>
                <a:ahLst/>
                <a:cxnLst>
                  <a:cxn ang="0">
                    <a:pos x="53" y="306"/>
                  </a:cxn>
                  <a:cxn ang="0">
                    <a:pos x="85" y="299"/>
                  </a:cxn>
                  <a:cxn ang="0">
                    <a:pos x="98" y="282"/>
                  </a:cxn>
                  <a:cxn ang="0">
                    <a:pos x="101" y="267"/>
                  </a:cxn>
                  <a:cxn ang="0">
                    <a:pos x="108" y="257"/>
                  </a:cxn>
                  <a:cxn ang="0">
                    <a:pos x="121" y="224"/>
                  </a:cxn>
                  <a:cxn ang="0">
                    <a:pos x="141" y="181"/>
                  </a:cxn>
                  <a:cxn ang="0">
                    <a:pos x="153" y="154"/>
                  </a:cxn>
                  <a:cxn ang="0">
                    <a:pos x="161" y="125"/>
                  </a:cxn>
                  <a:cxn ang="0">
                    <a:pos x="165" y="106"/>
                  </a:cxn>
                  <a:cxn ang="0">
                    <a:pos x="168" y="91"/>
                  </a:cxn>
                  <a:cxn ang="0">
                    <a:pos x="168" y="78"/>
                  </a:cxn>
                  <a:cxn ang="0">
                    <a:pos x="178" y="90"/>
                  </a:cxn>
                  <a:cxn ang="0">
                    <a:pos x="183" y="78"/>
                  </a:cxn>
                  <a:cxn ang="0">
                    <a:pos x="178" y="63"/>
                  </a:cxn>
                  <a:cxn ang="0">
                    <a:pos x="179" y="48"/>
                  </a:cxn>
                  <a:cxn ang="0">
                    <a:pos x="173" y="18"/>
                  </a:cxn>
                  <a:cxn ang="0">
                    <a:pos x="163" y="8"/>
                  </a:cxn>
                  <a:cxn ang="0">
                    <a:pos x="158" y="8"/>
                  </a:cxn>
                  <a:cxn ang="0">
                    <a:pos x="151" y="13"/>
                  </a:cxn>
                  <a:cxn ang="0">
                    <a:pos x="150" y="23"/>
                  </a:cxn>
                  <a:cxn ang="0">
                    <a:pos x="140" y="38"/>
                  </a:cxn>
                  <a:cxn ang="0">
                    <a:pos x="133" y="37"/>
                  </a:cxn>
                  <a:cxn ang="0">
                    <a:pos x="131" y="48"/>
                  </a:cxn>
                  <a:cxn ang="0">
                    <a:pos x="123" y="51"/>
                  </a:cxn>
                  <a:cxn ang="0">
                    <a:pos x="128" y="63"/>
                  </a:cxn>
                  <a:cxn ang="0">
                    <a:pos x="115" y="70"/>
                  </a:cxn>
                  <a:cxn ang="0">
                    <a:pos x="110" y="65"/>
                  </a:cxn>
                  <a:cxn ang="0">
                    <a:pos x="108" y="75"/>
                  </a:cxn>
                  <a:cxn ang="0">
                    <a:pos x="103" y="81"/>
                  </a:cxn>
                  <a:cxn ang="0">
                    <a:pos x="101" y="73"/>
                  </a:cxn>
                  <a:cxn ang="0">
                    <a:pos x="90" y="91"/>
                  </a:cxn>
                  <a:cxn ang="0">
                    <a:pos x="83" y="83"/>
                  </a:cxn>
                  <a:cxn ang="0">
                    <a:pos x="68" y="86"/>
                  </a:cxn>
                  <a:cxn ang="0">
                    <a:pos x="65" y="90"/>
                  </a:cxn>
                  <a:cxn ang="0">
                    <a:pos x="48" y="96"/>
                  </a:cxn>
                  <a:cxn ang="0">
                    <a:pos x="37" y="98"/>
                  </a:cxn>
                  <a:cxn ang="0">
                    <a:pos x="23" y="123"/>
                  </a:cxn>
                  <a:cxn ang="0">
                    <a:pos x="27" y="140"/>
                  </a:cxn>
                  <a:cxn ang="0">
                    <a:pos x="37" y="164"/>
                  </a:cxn>
                  <a:cxn ang="0">
                    <a:pos x="32" y="181"/>
                  </a:cxn>
                  <a:cxn ang="0">
                    <a:pos x="22" y="194"/>
                  </a:cxn>
                  <a:cxn ang="0">
                    <a:pos x="7" y="211"/>
                  </a:cxn>
                  <a:cxn ang="0">
                    <a:pos x="2" y="231"/>
                  </a:cxn>
                  <a:cxn ang="0">
                    <a:pos x="7" y="251"/>
                  </a:cxn>
                  <a:cxn ang="0">
                    <a:pos x="12" y="259"/>
                  </a:cxn>
                  <a:cxn ang="0">
                    <a:pos x="7" y="274"/>
                  </a:cxn>
                  <a:cxn ang="0">
                    <a:pos x="10" y="289"/>
                  </a:cxn>
                  <a:cxn ang="0">
                    <a:pos x="22" y="301"/>
                  </a:cxn>
                  <a:cxn ang="0">
                    <a:pos x="35" y="307"/>
                  </a:cxn>
                  <a:cxn ang="0">
                    <a:pos x="38" y="311"/>
                  </a:cxn>
                  <a:cxn ang="0">
                    <a:pos x="146" y="18"/>
                  </a:cxn>
                  <a:cxn ang="0">
                    <a:pos x="143" y="28"/>
                  </a:cxn>
                  <a:cxn ang="0">
                    <a:pos x="143" y="30"/>
                  </a:cxn>
                  <a:cxn ang="0">
                    <a:pos x="140" y="30"/>
                  </a:cxn>
                  <a:cxn ang="0">
                    <a:pos x="135" y="28"/>
                  </a:cxn>
                  <a:cxn ang="0">
                    <a:pos x="168" y="110"/>
                  </a:cxn>
                  <a:cxn ang="0">
                    <a:pos x="171" y="110"/>
                  </a:cxn>
                </a:cxnLst>
                <a:rect l="0" t="0" r="r" b="b"/>
                <a:pathLst>
                  <a:path w="184" h="311">
                    <a:moveTo>
                      <a:pt x="38" y="311"/>
                    </a:moveTo>
                    <a:lnTo>
                      <a:pt x="42" y="309"/>
                    </a:lnTo>
                    <a:lnTo>
                      <a:pt x="47" y="309"/>
                    </a:lnTo>
                    <a:lnTo>
                      <a:pt x="53" y="306"/>
                    </a:lnTo>
                    <a:lnTo>
                      <a:pt x="57" y="302"/>
                    </a:lnTo>
                    <a:lnTo>
                      <a:pt x="71" y="301"/>
                    </a:lnTo>
                    <a:lnTo>
                      <a:pt x="76" y="301"/>
                    </a:lnTo>
                    <a:lnTo>
                      <a:pt x="85" y="299"/>
                    </a:lnTo>
                    <a:lnTo>
                      <a:pt x="86" y="294"/>
                    </a:lnTo>
                    <a:lnTo>
                      <a:pt x="91" y="294"/>
                    </a:lnTo>
                    <a:lnTo>
                      <a:pt x="93" y="287"/>
                    </a:lnTo>
                    <a:lnTo>
                      <a:pt x="98" y="282"/>
                    </a:lnTo>
                    <a:lnTo>
                      <a:pt x="98" y="277"/>
                    </a:lnTo>
                    <a:lnTo>
                      <a:pt x="103" y="276"/>
                    </a:lnTo>
                    <a:lnTo>
                      <a:pt x="101" y="269"/>
                    </a:lnTo>
                    <a:lnTo>
                      <a:pt x="101" y="267"/>
                    </a:lnTo>
                    <a:lnTo>
                      <a:pt x="105" y="266"/>
                    </a:lnTo>
                    <a:lnTo>
                      <a:pt x="106" y="257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11" y="251"/>
                    </a:lnTo>
                    <a:lnTo>
                      <a:pt x="115" y="236"/>
                    </a:lnTo>
                    <a:lnTo>
                      <a:pt x="118" y="228"/>
                    </a:lnTo>
                    <a:lnTo>
                      <a:pt x="121" y="224"/>
                    </a:lnTo>
                    <a:lnTo>
                      <a:pt x="123" y="216"/>
                    </a:lnTo>
                    <a:lnTo>
                      <a:pt x="130" y="204"/>
                    </a:lnTo>
                    <a:lnTo>
                      <a:pt x="136" y="188"/>
                    </a:lnTo>
                    <a:lnTo>
                      <a:pt x="141" y="181"/>
                    </a:lnTo>
                    <a:lnTo>
                      <a:pt x="141" y="173"/>
                    </a:lnTo>
                    <a:lnTo>
                      <a:pt x="146" y="164"/>
                    </a:lnTo>
                    <a:lnTo>
                      <a:pt x="146" y="161"/>
                    </a:lnTo>
                    <a:lnTo>
                      <a:pt x="153" y="154"/>
                    </a:lnTo>
                    <a:lnTo>
                      <a:pt x="155" y="141"/>
                    </a:lnTo>
                    <a:lnTo>
                      <a:pt x="158" y="133"/>
                    </a:lnTo>
                    <a:lnTo>
                      <a:pt x="160" y="131"/>
                    </a:lnTo>
                    <a:lnTo>
                      <a:pt x="161" y="125"/>
                    </a:lnTo>
                    <a:lnTo>
                      <a:pt x="158" y="121"/>
                    </a:lnTo>
                    <a:lnTo>
                      <a:pt x="160" y="115"/>
                    </a:lnTo>
                    <a:lnTo>
                      <a:pt x="165" y="110"/>
                    </a:lnTo>
                    <a:lnTo>
                      <a:pt x="165" y="106"/>
                    </a:lnTo>
                    <a:lnTo>
                      <a:pt x="168" y="103"/>
                    </a:lnTo>
                    <a:lnTo>
                      <a:pt x="166" y="96"/>
                    </a:lnTo>
                    <a:lnTo>
                      <a:pt x="165" y="95"/>
                    </a:lnTo>
                    <a:lnTo>
                      <a:pt x="168" y="91"/>
                    </a:lnTo>
                    <a:lnTo>
                      <a:pt x="166" y="86"/>
                    </a:lnTo>
                    <a:lnTo>
                      <a:pt x="165" y="85"/>
                    </a:lnTo>
                    <a:lnTo>
                      <a:pt x="165" y="80"/>
                    </a:lnTo>
                    <a:lnTo>
                      <a:pt x="168" y="78"/>
                    </a:lnTo>
                    <a:lnTo>
                      <a:pt x="171" y="80"/>
                    </a:lnTo>
                    <a:lnTo>
                      <a:pt x="171" y="85"/>
                    </a:lnTo>
                    <a:lnTo>
                      <a:pt x="176" y="90"/>
                    </a:lnTo>
                    <a:lnTo>
                      <a:pt x="178" y="90"/>
                    </a:lnTo>
                    <a:lnTo>
                      <a:pt x="179" y="88"/>
                    </a:lnTo>
                    <a:lnTo>
                      <a:pt x="181" y="83"/>
                    </a:lnTo>
                    <a:lnTo>
                      <a:pt x="181" y="81"/>
                    </a:lnTo>
                    <a:lnTo>
                      <a:pt x="183" y="78"/>
                    </a:lnTo>
                    <a:lnTo>
                      <a:pt x="184" y="76"/>
                    </a:lnTo>
                    <a:lnTo>
                      <a:pt x="184" y="73"/>
                    </a:lnTo>
                    <a:lnTo>
                      <a:pt x="179" y="66"/>
                    </a:lnTo>
                    <a:lnTo>
                      <a:pt x="178" y="63"/>
                    </a:lnTo>
                    <a:lnTo>
                      <a:pt x="179" y="60"/>
                    </a:lnTo>
                    <a:lnTo>
                      <a:pt x="179" y="56"/>
                    </a:lnTo>
                    <a:lnTo>
                      <a:pt x="178" y="50"/>
                    </a:lnTo>
                    <a:lnTo>
                      <a:pt x="179" y="48"/>
                    </a:lnTo>
                    <a:lnTo>
                      <a:pt x="179" y="37"/>
                    </a:lnTo>
                    <a:lnTo>
                      <a:pt x="176" y="32"/>
                    </a:lnTo>
                    <a:lnTo>
                      <a:pt x="174" y="22"/>
                    </a:lnTo>
                    <a:lnTo>
                      <a:pt x="173" y="18"/>
                    </a:lnTo>
                    <a:lnTo>
                      <a:pt x="171" y="20"/>
                    </a:lnTo>
                    <a:lnTo>
                      <a:pt x="168" y="15"/>
                    </a:lnTo>
                    <a:lnTo>
                      <a:pt x="166" y="10"/>
                    </a:lnTo>
                    <a:lnTo>
                      <a:pt x="163" y="8"/>
                    </a:lnTo>
                    <a:lnTo>
                      <a:pt x="165" y="5"/>
                    </a:lnTo>
                    <a:lnTo>
                      <a:pt x="163" y="0"/>
                    </a:lnTo>
                    <a:lnTo>
                      <a:pt x="158" y="5"/>
                    </a:lnTo>
                    <a:lnTo>
                      <a:pt x="158" y="8"/>
                    </a:lnTo>
                    <a:lnTo>
                      <a:pt x="155" y="10"/>
                    </a:lnTo>
                    <a:lnTo>
                      <a:pt x="150" y="8"/>
                    </a:lnTo>
                    <a:lnTo>
                      <a:pt x="148" y="8"/>
                    </a:lnTo>
                    <a:lnTo>
                      <a:pt x="151" y="13"/>
                    </a:lnTo>
                    <a:lnTo>
                      <a:pt x="151" y="15"/>
                    </a:lnTo>
                    <a:lnTo>
                      <a:pt x="155" y="18"/>
                    </a:lnTo>
                    <a:lnTo>
                      <a:pt x="155" y="20"/>
                    </a:lnTo>
                    <a:lnTo>
                      <a:pt x="150" y="23"/>
                    </a:lnTo>
                    <a:lnTo>
                      <a:pt x="150" y="30"/>
                    </a:lnTo>
                    <a:lnTo>
                      <a:pt x="146" y="35"/>
                    </a:lnTo>
                    <a:lnTo>
                      <a:pt x="143" y="33"/>
                    </a:lnTo>
                    <a:lnTo>
                      <a:pt x="140" y="38"/>
                    </a:lnTo>
                    <a:lnTo>
                      <a:pt x="140" y="41"/>
                    </a:lnTo>
                    <a:lnTo>
                      <a:pt x="136" y="43"/>
                    </a:lnTo>
                    <a:lnTo>
                      <a:pt x="133" y="41"/>
                    </a:lnTo>
                    <a:lnTo>
                      <a:pt x="133" y="37"/>
                    </a:lnTo>
                    <a:lnTo>
                      <a:pt x="131" y="37"/>
                    </a:lnTo>
                    <a:lnTo>
                      <a:pt x="128" y="38"/>
                    </a:lnTo>
                    <a:lnTo>
                      <a:pt x="126" y="45"/>
                    </a:lnTo>
                    <a:lnTo>
                      <a:pt x="131" y="48"/>
                    </a:lnTo>
                    <a:lnTo>
                      <a:pt x="133" y="50"/>
                    </a:lnTo>
                    <a:lnTo>
                      <a:pt x="131" y="51"/>
                    </a:lnTo>
                    <a:lnTo>
                      <a:pt x="128" y="51"/>
                    </a:lnTo>
                    <a:lnTo>
                      <a:pt x="123" y="51"/>
                    </a:lnTo>
                    <a:lnTo>
                      <a:pt x="125" y="56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28" y="63"/>
                    </a:lnTo>
                    <a:lnTo>
                      <a:pt x="126" y="60"/>
                    </a:lnTo>
                    <a:lnTo>
                      <a:pt x="121" y="61"/>
                    </a:lnTo>
                    <a:lnTo>
                      <a:pt x="121" y="65"/>
                    </a:lnTo>
                    <a:lnTo>
                      <a:pt x="115" y="70"/>
                    </a:lnTo>
                    <a:lnTo>
                      <a:pt x="115" y="65"/>
                    </a:lnTo>
                    <a:lnTo>
                      <a:pt x="115" y="63"/>
                    </a:lnTo>
                    <a:lnTo>
                      <a:pt x="113" y="60"/>
                    </a:lnTo>
                    <a:lnTo>
                      <a:pt x="110" y="65"/>
                    </a:lnTo>
                    <a:lnTo>
                      <a:pt x="111" y="66"/>
                    </a:lnTo>
                    <a:lnTo>
                      <a:pt x="111" y="68"/>
                    </a:lnTo>
                    <a:lnTo>
                      <a:pt x="105" y="70"/>
                    </a:lnTo>
                    <a:lnTo>
                      <a:pt x="108" y="75"/>
                    </a:lnTo>
                    <a:lnTo>
                      <a:pt x="111" y="76"/>
                    </a:lnTo>
                    <a:lnTo>
                      <a:pt x="110" y="78"/>
                    </a:lnTo>
                    <a:lnTo>
                      <a:pt x="108" y="78"/>
                    </a:lnTo>
                    <a:lnTo>
                      <a:pt x="103" y="81"/>
                    </a:lnTo>
                    <a:lnTo>
                      <a:pt x="103" y="78"/>
                    </a:lnTo>
                    <a:lnTo>
                      <a:pt x="101" y="78"/>
                    </a:lnTo>
                    <a:lnTo>
                      <a:pt x="103" y="75"/>
                    </a:lnTo>
                    <a:lnTo>
                      <a:pt x="101" y="73"/>
                    </a:lnTo>
                    <a:lnTo>
                      <a:pt x="91" y="80"/>
                    </a:lnTo>
                    <a:lnTo>
                      <a:pt x="91" y="86"/>
                    </a:lnTo>
                    <a:lnTo>
                      <a:pt x="91" y="88"/>
                    </a:lnTo>
                    <a:lnTo>
                      <a:pt x="90" y="91"/>
                    </a:lnTo>
                    <a:lnTo>
                      <a:pt x="88" y="90"/>
                    </a:lnTo>
                    <a:lnTo>
                      <a:pt x="85" y="88"/>
                    </a:lnTo>
                    <a:lnTo>
                      <a:pt x="85" y="83"/>
                    </a:lnTo>
                    <a:lnTo>
                      <a:pt x="83" y="83"/>
                    </a:lnTo>
                    <a:lnTo>
                      <a:pt x="78" y="88"/>
                    </a:lnTo>
                    <a:lnTo>
                      <a:pt x="71" y="85"/>
                    </a:lnTo>
                    <a:lnTo>
                      <a:pt x="70" y="86"/>
                    </a:lnTo>
                    <a:lnTo>
                      <a:pt x="68" y="86"/>
                    </a:lnTo>
                    <a:lnTo>
                      <a:pt x="68" y="93"/>
                    </a:lnTo>
                    <a:lnTo>
                      <a:pt x="67" y="91"/>
                    </a:lnTo>
                    <a:lnTo>
                      <a:pt x="65" y="93"/>
                    </a:lnTo>
                    <a:lnTo>
                      <a:pt x="65" y="90"/>
                    </a:lnTo>
                    <a:lnTo>
                      <a:pt x="63" y="88"/>
                    </a:lnTo>
                    <a:lnTo>
                      <a:pt x="60" y="91"/>
                    </a:lnTo>
                    <a:lnTo>
                      <a:pt x="58" y="88"/>
                    </a:lnTo>
                    <a:lnTo>
                      <a:pt x="48" y="96"/>
                    </a:lnTo>
                    <a:lnTo>
                      <a:pt x="45" y="96"/>
                    </a:lnTo>
                    <a:lnTo>
                      <a:pt x="43" y="95"/>
                    </a:lnTo>
                    <a:lnTo>
                      <a:pt x="38" y="95"/>
                    </a:lnTo>
                    <a:lnTo>
                      <a:pt x="37" y="98"/>
                    </a:lnTo>
                    <a:lnTo>
                      <a:pt x="37" y="105"/>
                    </a:lnTo>
                    <a:lnTo>
                      <a:pt x="30" y="115"/>
                    </a:lnTo>
                    <a:lnTo>
                      <a:pt x="30" y="116"/>
                    </a:lnTo>
                    <a:lnTo>
                      <a:pt x="23" y="123"/>
                    </a:lnTo>
                    <a:lnTo>
                      <a:pt x="23" y="126"/>
                    </a:lnTo>
                    <a:lnTo>
                      <a:pt x="27" y="130"/>
                    </a:lnTo>
                    <a:lnTo>
                      <a:pt x="23" y="133"/>
                    </a:lnTo>
                    <a:lnTo>
                      <a:pt x="27" y="140"/>
                    </a:lnTo>
                    <a:lnTo>
                      <a:pt x="27" y="144"/>
                    </a:lnTo>
                    <a:lnTo>
                      <a:pt x="33" y="156"/>
                    </a:lnTo>
                    <a:lnTo>
                      <a:pt x="32" y="159"/>
                    </a:lnTo>
                    <a:lnTo>
                      <a:pt x="37" y="164"/>
                    </a:lnTo>
                    <a:lnTo>
                      <a:pt x="37" y="166"/>
                    </a:lnTo>
                    <a:lnTo>
                      <a:pt x="33" y="169"/>
                    </a:lnTo>
                    <a:lnTo>
                      <a:pt x="35" y="171"/>
                    </a:lnTo>
                    <a:lnTo>
                      <a:pt x="32" y="181"/>
                    </a:lnTo>
                    <a:lnTo>
                      <a:pt x="27" y="184"/>
                    </a:lnTo>
                    <a:lnTo>
                      <a:pt x="27" y="191"/>
                    </a:lnTo>
                    <a:lnTo>
                      <a:pt x="23" y="191"/>
                    </a:lnTo>
                    <a:lnTo>
                      <a:pt x="22" y="194"/>
                    </a:lnTo>
                    <a:lnTo>
                      <a:pt x="17" y="198"/>
                    </a:lnTo>
                    <a:lnTo>
                      <a:pt x="17" y="206"/>
                    </a:lnTo>
                    <a:lnTo>
                      <a:pt x="13" y="209"/>
                    </a:lnTo>
                    <a:lnTo>
                      <a:pt x="7" y="211"/>
                    </a:lnTo>
                    <a:lnTo>
                      <a:pt x="5" y="213"/>
                    </a:lnTo>
                    <a:lnTo>
                      <a:pt x="5" y="219"/>
                    </a:lnTo>
                    <a:lnTo>
                      <a:pt x="0" y="224"/>
                    </a:lnTo>
                    <a:lnTo>
                      <a:pt x="2" y="231"/>
                    </a:lnTo>
                    <a:lnTo>
                      <a:pt x="0" y="234"/>
                    </a:lnTo>
                    <a:lnTo>
                      <a:pt x="0" y="236"/>
                    </a:lnTo>
                    <a:lnTo>
                      <a:pt x="0" y="242"/>
                    </a:lnTo>
                    <a:lnTo>
                      <a:pt x="7" y="251"/>
                    </a:lnTo>
                    <a:lnTo>
                      <a:pt x="7" y="256"/>
                    </a:lnTo>
                    <a:lnTo>
                      <a:pt x="7" y="257"/>
                    </a:lnTo>
                    <a:lnTo>
                      <a:pt x="10" y="259"/>
                    </a:lnTo>
                    <a:lnTo>
                      <a:pt x="12" y="259"/>
                    </a:lnTo>
                    <a:lnTo>
                      <a:pt x="10" y="261"/>
                    </a:lnTo>
                    <a:lnTo>
                      <a:pt x="5" y="262"/>
                    </a:lnTo>
                    <a:lnTo>
                      <a:pt x="5" y="266"/>
                    </a:lnTo>
                    <a:lnTo>
                      <a:pt x="7" y="274"/>
                    </a:lnTo>
                    <a:lnTo>
                      <a:pt x="5" y="282"/>
                    </a:lnTo>
                    <a:lnTo>
                      <a:pt x="7" y="284"/>
                    </a:lnTo>
                    <a:lnTo>
                      <a:pt x="8" y="287"/>
                    </a:lnTo>
                    <a:lnTo>
                      <a:pt x="10" y="289"/>
                    </a:lnTo>
                    <a:lnTo>
                      <a:pt x="13" y="294"/>
                    </a:lnTo>
                    <a:lnTo>
                      <a:pt x="17" y="296"/>
                    </a:lnTo>
                    <a:lnTo>
                      <a:pt x="18" y="297"/>
                    </a:lnTo>
                    <a:lnTo>
                      <a:pt x="22" y="301"/>
                    </a:lnTo>
                    <a:lnTo>
                      <a:pt x="25" y="301"/>
                    </a:lnTo>
                    <a:lnTo>
                      <a:pt x="27" y="302"/>
                    </a:lnTo>
                    <a:lnTo>
                      <a:pt x="30" y="302"/>
                    </a:lnTo>
                    <a:lnTo>
                      <a:pt x="35" y="307"/>
                    </a:lnTo>
                    <a:lnTo>
                      <a:pt x="37" y="307"/>
                    </a:lnTo>
                    <a:lnTo>
                      <a:pt x="37" y="311"/>
                    </a:lnTo>
                    <a:lnTo>
                      <a:pt x="38" y="311"/>
                    </a:lnTo>
                    <a:lnTo>
                      <a:pt x="38" y="311"/>
                    </a:lnTo>
                    <a:close/>
                    <a:moveTo>
                      <a:pt x="145" y="22"/>
                    </a:moveTo>
                    <a:lnTo>
                      <a:pt x="143" y="20"/>
                    </a:lnTo>
                    <a:lnTo>
                      <a:pt x="146" y="17"/>
                    </a:lnTo>
                    <a:lnTo>
                      <a:pt x="146" y="18"/>
                    </a:lnTo>
                    <a:lnTo>
                      <a:pt x="145" y="22"/>
                    </a:lnTo>
                    <a:lnTo>
                      <a:pt x="145" y="22"/>
                    </a:lnTo>
                    <a:close/>
                    <a:moveTo>
                      <a:pt x="143" y="30"/>
                    </a:moveTo>
                    <a:lnTo>
                      <a:pt x="143" y="28"/>
                    </a:lnTo>
                    <a:lnTo>
                      <a:pt x="145" y="30"/>
                    </a:lnTo>
                    <a:lnTo>
                      <a:pt x="143" y="32"/>
                    </a:lnTo>
                    <a:lnTo>
                      <a:pt x="143" y="30"/>
                    </a:lnTo>
                    <a:lnTo>
                      <a:pt x="143" y="30"/>
                    </a:lnTo>
                    <a:close/>
                    <a:moveTo>
                      <a:pt x="135" y="28"/>
                    </a:moveTo>
                    <a:lnTo>
                      <a:pt x="136" y="27"/>
                    </a:lnTo>
                    <a:lnTo>
                      <a:pt x="136" y="28"/>
                    </a:lnTo>
                    <a:lnTo>
                      <a:pt x="140" y="30"/>
                    </a:lnTo>
                    <a:lnTo>
                      <a:pt x="138" y="33"/>
                    </a:lnTo>
                    <a:lnTo>
                      <a:pt x="136" y="32"/>
                    </a:lnTo>
                    <a:lnTo>
                      <a:pt x="133" y="32"/>
                    </a:lnTo>
                    <a:lnTo>
                      <a:pt x="135" y="28"/>
                    </a:lnTo>
                    <a:lnTo>
                      <a:pt x="135" y="28"/>
                    </a:lnTo>
                    <a:close/>
                    <a:moveTo>
                      <a:pt x="168" y="116"/>
                    </a:moveTo>
                    <a:lnTo>
                      <a:pt x="168" y="113"/>
                    </a:lnTo>
                    <a:lnTo>
                      <a:pt x="168" y="110"/>
                    </a:lnTo>
                    <a:lnTo>
                      <a:pt x="169" y="108"/>
                    </a:lnTo>
                    <a:lnTo>
                      <a:pt x="171" y="108"/>
                    </a:lnTo>
                    <a:lnTo>
                      <a:pt x="173" y="105"/>
                    </a:lnTo>
                    <a:lnTo>
                      <a:pt x="171" y="110"/>
                    </a:lnTo>
                    <a:lnTo>
                      <a:pt x="169" y="111"/>
                    </a:lnTo>
                    <a:lnTo>
                      <a:pt x="168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5" name="Freeform 139"/>
              <p:cNvSpPr>
                <a:spLocks/>
              </p:cNvSpPr>
              <p:nvPr/>
            </p:nvSpPr>
            <p:spPr bwMode="auto">
              <a:xfrm>
                <a:off x="6806725" y="3391112"/>
                <a:ext cx="134851" cy="190916"/>
              </a:xfrm>
              <a:custGeom>
                <a:avLst/>
                <a:gdLst/>
                <a:ahLst/>
                <a:cxnLst>
                  <a:cxn ang="0">
                    <a:pos x="45" y="229"/>
                  </a:cxn>
                  <a:cxn ang="0">
                    <a:pos x="50" y="217"/>
                  </a:cxn>
                  <a:cxn ang="0">
                    <a:pos x="55" y="201"/>
                  </a:cxn>
                  <a:cxn ang="0">
                    <a:pos x="55" y="187"/>
                  </a:cxn>
                  <a:cxn ang="0">
                    <a:pos x="57" y="174"/>
                  </a:cxn>
                  <a:cxn ang="0">
                    <a:pos x="60" y="156"/>
                  </a:cxn>
                  <a:cxn ang="0">
                    <a:pos x="62" y="141"/>
                  </a:cxn>
                  <a:cxn ang="0">
                    <a:pos x="37" y="133"/>
                  </a:cxn>
                  <a:cxn ang="0">
                    <a:pos x="15" y="126"/>
                  </a:cxn>
                  <a:cxn ang="0">
                    <a:pos x="0" y="106"/>
                  </a:cxn>
                  <a:cxn ang="0">
                    <a:pos x="45" y="88"/>
                  </a:cxn>
                  <a:cxn ang="0">
                    <a:pos x="75" y="83"/>
                  </a:cxn>
                  <a:cxn ang="0">
                    <a:pos x="86" y="89"/>
                  </a:cxn>
                  <a:cxn ang="0">
                    <a:pos x="103" y="98"/>
                  </a:cxn>
                  <a:cxn ang="0">
                    <a:pos x="93" y="121"/>
                  </a:cxn>
                  <a:cxn ang="0">
                    <a:pos x="108" y="139"/>
                  </a:cxn>
                  <a:cxn ang="0">
                    <a:pos x="118" y="149"/>
                  </a:cxn>
                  <a:cxn ang="0">
                    <a:pos x="123" y="126"/>
                  </a:cxn>
                  <a:cxn ang="0">
                    <a:pos x="130" y="108"/>
                  </a:cxn>
                  <a:cxn ang="0">
                    <a:pos x="135" y="101"/>
                  </a:cxn>
                  <a:cxn ang="0">
                    <a:pos x="128" y="83"/>
                  </a:cxn>
                  <a:cxn ang="0">
                    <a:pos x="110" y="66"/>
                  </a:cxn>
                  <a:cxn ang="0">
                    <a:pos x="131" y="21"/>
                  </a:cxn>
                  <a:cxn ang="0">
                    <a:pos x="143" y="23"/>
                  </a:cxn>
                  <a:cxn ang="0">
                    <a:pos x="160" y="23"/>
                  </a:cxn>
                  <a:cxn ang="0">
                    <a:pos x="171" y="23"/>
                  </a:cxn>
                  <a:cxn ang="0">
                    <a:pos x="186" y="16"/>
                  </a:cxn>
                  <a:cxn ang="0">
                    <a:pos x="203" y="18"/>
                  </a:cxn>
                  <a:cxn ang="0">
                    <a:pos x="223" y="11"/>
                  </a:cxn>
                  <a:cxn ang="0">
                    <a:pos x="244" y="1"/>
                  </a:cxn>
                  <a:cxn ang="0">
                    <a:pos x="253" y="6"/>
                  </a:cxn>
                  <a:cxn ang="0">
                    <a:pos x="248" y="20"/>
                  </a:cxn>
                  <a:cxn ang="0">
                    <a:pos x="248" y="36"/>
                  </a:cxn>
                  <a:cxn ang="0">
                    <a:pos x="248" y="58"/>
                  </a:cxn>
                  <a:cxn ang="0">
                    <a:pos x="243" y="81"/>
                  </a:cxn>
                  <a:cxn ang="0">
                    <a:pos x="251" y="93"/>
                  </a:cxn>
                  <a:cxn ang="0">
                    <a:pos x="244" y="101"/>
                  </a:cxn>
                  <a:cxn ang="0">
                    <a:pos x="244" y="108"/>
                  </a:cxn>
                  <a:cxn ang="0">
                    <a:pos x="229" y="128"/>
                  </a:cxn>
                  <a:cxn ang="0">
                    <a:pos x="206" y="144"/>
                  </a:cxn>
                  <a:cxn ang="0">
                    <a:pos x="168" y="161"/>
                  </a:cxn>
                  <a:cxn ang="0">
                    <a:pos x="155" y="166"/>
                  </a:cxn>
                  <a:cxn ang="0">
                    <a:pos x="141" y="182"/>
                  </a:cxn>
                  <a:cxn ang="0">
                    <a:pos x="118" y="196"/>
                  </a:cxn>
                  <a:cxn ang="0">
                    <a:pos x="101" y="204"/>
                  </a:cxn>
                  <a:cxn ang="0">
                    <a:pos x="98" y="214"/>
                  </a:cxn>
                  <a:cxn ang="0">
                    <a:pos x="101" y="236"/>
                  </a:cxn>
                  <a:cxn ang="0">
                    <a:pos x="108" y="264"/>
                  </a:cxn>
                  <a:cxn ang="0">
                    <a:pos x="115" y="264"/>
                  </a:cxn>
                  <a:cxn ang="0">
                    <a:pos x="113" y="279"/>
                  </a:cxn>
                  <a:cxn ang="0">
                    <a:pos x="106" y="295"/>
                  </a:cxn>
                  <a:cxn ang="0">
                    <a:pos x="108" y="310"/>
                  </a:cxn>
                  <a:cxn ang="0">
                    <a:pos x="48" y="337"/>
                  </a:cxn>
                  <a:cxn ang="0">
                    <a:pos x="37" y="349"/>
                  </a:cxn>
                  <a:cxn ang="0">
                    <a:pos x="45" y="357"/>
                  </a:cxn>
                  <a:cxn ang="0">
                    <a:pos x="45" y="365"/>
                  </a:cxn>
                  <a:cxn ang="0">
                    <a:pos x="28" y="365"/>
                  </a:cxn>
                  <a:cxn ang="0">
                    <a:pos x="25" y="352"/>
                  </a:cxn>
                  <a:cxn ang="0">
                    <a:pos x="25" y="329"/>
                  </a:cxn>
                  <a:cxn ang="0">
                    <a:pos x="22" y="297"/>
                  </a:cxn>
                  <a:cxn ang="0">
                    <a:pos x="17" y="269"/>
                  </a:cxn>
                </a:cxnLst>
                <a:rect l="0" t="0" r="r" b="b"/>
                <a:pathLst>
                  <a:path w="253" h="369">
                    <a:moveTo>
                      <a:pt x="17" y="269"/>
                    </a:moveTo>
                    <a:lnTo>
                      <a:pt x="43" y="246"/>
                    </a:lnTo>
                    <a:lnTo>
                      <a:pt x="43" y="237"/>
                    </a:lnTo>
                    <a:lnTo>
                      <a:pt x="45" y="236"/>
                    </a:lnTo>
                    <a:lnTo>
                      <a:pt x="45" y="229"/>
                    </a:lnTo>
                    <a:lnTo>
                      <a:pt x="47" y="226"/>
                    </a:lnTo>
                    <a:lnTo>
                      <a:pt x="45" y="222"/>
                    </a:lnTo>
                    <a:lnTo>
                      <a:pt x="45" y="219"/>
                    </a:lnTo>
                    <a:lnTo>
                      <a:pt x="48" y="219"/>
                    </a:lnTo>
                    <a:lnTo>
                      <a:pt x="50" y="217"/>
                    </a:lnTo>
                    <a:lnTo>
                      <a:pt x="55" y="214"/>
                    </a:lnTo>
                    <a:lnTo>
                      <a:pt x="58" y="209"/>
                    </a:lnTo>
                    <a:lnTo>
                      <a:pt x="57" y="206"/>
                    </a:lnTo>
                    <a:lnTo>
                      <a:pt x="55" y="204"/>
                    </a:lnTo>
                    <a:lnTo>
                      <a:pt x="55" y="201"/>
                    </a:lnTo>
                    <a:lnTo>
                      <a:pt x="57" y="199"/>
                    </a:lnTo>
                    <a:lnTo>
                      <a:pt x="57" y="194"/>
                    </a:lnTo>
                    <a:lnTo>
                      <a:pt x="52" y="192"/>
                    </a:lnTo>
                    <a:lnTo>
                      <a:pt x="52" y="189"/>
                    </a:lnTo>
                    <a:lnTo>
                      <a:pt x="55" y="187"/>
                    </a:lnTo>
                    <a:lnTo>
                      <a:pt x="55" y="184"/>
                    </a:lnTo>
                    <a:lnTo>
                      <a:pt x="55" y="179"/>
                    </a:lnTo>
                    <a:lnTo>
                      <a:pt x="58" y="177"/>
                    </a:lnTo>
                    <a:lnTo>
                      <a:pt x="60" y="174"/>
                    </a:lnTo>
                    <a:lnTo>
                      <a:pt x="57" y="174"/>
                    </a:lnTo>
                    <a:lnTo>
                      <a:pt x="55" y="173"/>
                    </a:lnTo>
                    <a:lnTo>
                      <a:pt x="57" y="169"/>
                    </a:lnTo>
                    <a:lnTo>
                      <a:pt x="58" y="163"/>
                    </a:lnTo>
                    <a:lnTo>
                      <a:pt x="60" y="159"/>
                    </a:lnTo>
                    <a:lnTo>
                      <a:pt x="60" y="156"/>
                    </a:lnTo>
                    <a:lnTo>
                      <a:pt x="60" y="154"/>
                    </a:lnTo>
                    <a:lnTo>
                      <a:pt x="60" y="151"/>
                    </a:lnTo>
                    <a:lnTo>
                      <a:pt x="60" y="148"/>
                    </a:lnTo>
                    <a:lnTo>
                      <a:pt x="62" y="144"/>
                    </a:lnTo>
                    <a:lnTo>
                      <a:pt x="62" y="141"/>
                    </a:lnTo>
                    <a:lnTo>
                      <a:pt x="57" y="139"/>
                    </a:lnTo>
                    <a:lnTo>
                      <a:pt x="53" y="138"/>
                    </a:lnTo>
                    <a:lnTo>
                      <a:pt x="48" y="134"/>
                    </a:lnTo>
                    <a:lnTo>
                      <a:pt x="42" y="133"/>
                    </a:lnTo>
                    <a:lnTo>
                      <a:pt x="37" y="133"/>
                    </a:lnTo>
                    <a:lnTo>
                      <a:pt x="33" y="128"/>
                    </a:lnTo>
                    <a:lnTo>
                      <a:pt x="27" y="124"/>
                    </a:lnTo>
                    <a:lnTo>
                      <a:pt x="20" y="123"/>
                    </a:lnTo>
                    <a:lnTo>
                      <a:pt x="18" y="124"/>
                    </a:lnTo>
                    <a:lnTo>
                      <a:pt x="15" y="126"/>
                    </a:lnTo>
                    <a:lnTo>
                      <a:pt x="13" y="123"/>
                    </a:lnTo>
                    <a:lnTo>
                      <a:pt x="10" y="123"/>
                    </a:lnTo>
                    <a:lnTo>
                      <a:pt x="2" y="123"/>
                    </a:lnTo>
                    <a:lnTo>
                      <a:pt x="2" y="113"/>
                    </a:lnTo>
                    <a:lnTo>
                      <a:pt x="0" y="106"/>
                    </a:lnTo>
                    <a:lnTo>
                      <a:pt x="2" y="103"/>
                    </a:lnTo>
                    <a:lnTo>
                      <a:pt x="10" y="98"/>
                    </a:lnTo>
                    <a:lnTo>
                      <a:pt x="15" y="98"/>
                    </a:lnTo>
                    <a:lnTo>
                      <a:pt x="40" y="88"/>
                    </a:lnTo>
                    <a:lnTo>
                      <a:pt x="45" y="88"/>
                    </a:lnTo>
                    <a:lnTo>
                      <a:pt x="60" y="83"/>
                    </a:lnTo>
                    <a:lnTo>
                      <a:pt x="67" y="79"/>
                    </a:lnTo>
                    <a:lnTo>
                      <a:pt x="73" y="79"/>
                    </a:lnTo>
                    <a:lnTo>
                      <a:pt x="75" y="81"/>
                    </a:lnTo>
                    <a:lnTo>
                      <a:pt x="75" y="83"/>
                    </a:lnTo>
                    <a:lnTo>
                      <a:pt x="78" y="86"/>
                    </a:lnTo>
                    <a:lnTo>
                      <a:pt x="78" y="88"/>
                    </a:lnTo>
                    <a:lnTo>
                      <a:pt x="81" y="89"/>
                    </a:lnTo>
                    <a:lnTo>
                      <a:pt x="83" y="89"/>
                    </a:lnTo>
                    <a:lnTo>
                      <a:pt x="86" y="89"/>
                    </a:lnTo>
                    <a:lnTo>
                      <a:pt x="90" y="88"/>
                    </a:lnTo>
                    <a:lnTo>
                      <a:pt x="95" y="88"/>
                    </a:lnTo>
                    <a:lnTo>
                      <a:pt x="100" y="88"/>
                    </a:lnTo>
                    <a:lnTo>
                      <a:pt x="103" y="91"/>
                    </a:lnTo>
                    <a:lnTo>
                      <a:pt x="103" y="98"/>
                    </a:lnTo>
                    <a:lnTo>
                      <a:pt x="101" y="103"/>
                    </a:lnTo>
                    <a:lnTo>
                      <a:pt x="96" y="108"/>
                    </a:lnTo>
                    <a:lnTo>
                      <a:pt x="96" y="113"/>
                    </a:lnTo>
                    <a:lnTo>
                      <a:pt x="93" y="118"/>
                    </a:lnTo>
                    <a:lnTo>
                      <a:pt x="93" y="121"/>
                    </a:lnTo>
                    <a:lnTo>
                      <a:pt x="95" y="126"/>
                    </a:lnTo>
                    <a:lnTo>
                      <a:pt x="96" y="129"/>
                    </a:lnTo>
                    <a:lnTo>
                      <a:pt x="100" y="133"/>
                    </a:lnTo>
                    <a:lnTo>
                      <a:pt x="105" y="138"/>
                    </a:lnTo>
                    <a:lnTo>
                      <a:pt x="108" y="139"/>
                    </a:lnTo>
                    <a:lnTo>
                      <a:pt x="110" y="141"/>
                    </a:lnTo>
                    <a:lnTo>
                      <a:pt x="113" y="144"/>
                    </a:lnTo>
                    <a:lnTo>
                      <a:pt x="111" y="148"/>
                    </a:lnTo>
                    <a:lnTo>
                      <a:pt x="113" y="151"/>
                    </a:lnTo>
                    <a:lnTo>
                      <a:pt x="118" y="149"/>
                    </a:lnTo>
                    <a:lnTo>
                      <a:pt x="118" y="146"/>
                    </a:lnTo>
                    <a:lnTo>
                      <a:pt x="116" y="139"/>
                    </a:lnTo>
                    <a:lnTo>
                      <a:pt x="120" y="136"/>
                    </a:lnTo>
                    <a:lnTo>
                      <a:pt x="120" y="133"/>
                    </a:lnTo>
                    <a:lnTo>
                      <a:pt x="123" y="126"/>
                    </a:lnTo>
                    <a:lnTo>
                      <a:pt x="128" y="124"/>
                    </a:lnTo>
                    <a:lnTo>
                      <a:pt x="131" y="123"/>
                    </a:lnTo>
                    <a:lnTo>
                      <a:pt x="133" y="119"/>
                    </a:lnTo>
                    <a:lnTo>
                      <a:pt x="133" y="111"/>
                    </a:lnTo>
                    <a:lnTo>
                      <a:pt x="130" y="108"/>
                    </a:lnTo>
                    <a:lnTo>
                      <a:pt x="131" y="106"/>
                    </a:lnTo>
                    <a:lnTo>
                      <a:pt x="130" y="104"/>
                    </a:lnTo>
                    <a:lnTo>
                      <a:pt x="130" y="103"/>
                    </a:lnTo>
                    <a:lnTo>
                      <a:pt x="133" y="103"/>
                    </a:lnTo>
                    <a:lnTo>
                      <a:pt x="135" y="101"/>
                    </a:lnTo>
                    <a:lnTo>
                      <a:pt x="136" y="99"/>
                    </a:lnTo>
                    <a:lnTo>
                      <a:pt x="136" y="98"/>
                    </a:lnTo>
                    <a:lnTo>
                      <a:pt x="135" y="94"/>
                    </a:lnTo>
                    <a:lnTo>
                      <a:pt x="133" y="89"/>
                    </a:lnTo>
                    <a:lnTo>
                      <a:pt x="128" y="83"/>
                    </a:lnTo>
                    <a:lnTo>
                      <a:pt x="126" y="78"/>
                    </a:lnTo>
                    <a:lnTo>
                      <a:pt x="118" y="71"/>
                    </a:lnTo>
                    <a:lnTo>
                      <a:pt x="115" y="71"/>
                    </a:lnTo>
                    <a:lnTo>
                      <a:pt x="113" y="68"/>
                    </a:lnTo>
                    <a:lnTo>
                      <a:pt x="110" y="66"/>
                    </a:lnTo>
                    <a:lnTo>
                      <a:pt x="103" y="61"/>
                    </a:lnTo>
                    <a:lnTo>
                      <a:pt x="98" y="41"/>
                    </a:lnTo>
                    <a:lnTo>
                      <a:pt x="105" y="21"/>
                    </a:lnTo>
                    <a:lnTo>
                      <a:pt x="128" y="21"/>
                    </a:lnTo>
                    <a:lnTo>
                      <a:pt x="131" y="21"/>
                    </a:lnTo>
                    <a:lnTo>
                      <a:pt x="133" y="20"/>
                    </a:lnTo>
                    <a:lnTo>
                      <a:pt x="136" y="18"/>
                    </a:lnTo>
                    <a:lnTo>
                      <a:pt x="136" y="21"/>
                    </a:lnTo>
                    <a:lnTo>
                      <a:pt x="140" y="21"/>
                    </a:lnTo>
                    <a:lnTo>
                      <a:pt x="143" y="23"/>
                    </a:lnTo>
                    <a:lnTo>
                      <a:pt x="146" y="23"/>
                    </a:lnTo>
                    <a:lnTo>
                      <a:pt x="148" y="26"/>
                    </a:lnTo>
                    <a:lnTo>
                      <a:pt x="148" y="28"/>
                    </a:lnTo>
                    <a:lnTo>
                      <a:pt x="155" y="26"/>
                    </a:lnTo>
                    <a:lnTo>
                      <a:pt x="160" y="23"/>
                    </a:lnTo>
                    <a:lnTo>
                      <a:pt x="163" y="21"/>
                    </a:lnTo>
                    <a:lnTo>
                      <a:pt x="165" y="21"/>
                    </a:lnTo>
                    <a:lnTo>
                      <a:pt x="166" y="21"/>
                    </a:lnTo>
                    <a:lnTo>
                      <a:pt x="168" y="23"/>
                    </a:lnTo>
                    <a:lnTo>
                      <a:pt x="171" y="23"/>
                    </a:lnTo>
                    <a:lnTo>
                      <a:pt x="173" y="25"/>
                    </a:lnTo>
                    <a:lnTo>
                      <a:pt x="178" y="23"/>
                    </a:lnTo>
                    <a:lnTo>
                      <a:pt x="184" y="23"/>
                    </a:lnTo>
                    <a:lnTo>
                      <a:pt x="188" y="20"/>
                    </a:lnTo>
                    <a:lnTo>
                      <a:pt x="186" y="16"/>
                    </a:lnTo>
                    <a:lnTo>
                      <a:pt x="188" y="16"/>
                    </a:lnTo>
                    <a:lnTo>
                      <a:pt x="191" y="16"/>
                    </a:lnTo>
                    <a:lnTo>
                      <a:pt x="196" y="16"/>
                    </a:lnTo>
                    <a:lnTo>
                      <a:pt x="198" y="18"/>
                    </a:lnTo>
                    <a:lnTo>
                      <a:pt x="203" y="18"/>
                    </a:lnTo>
                    <a:lnTo>
                      <a:pt x="204" y="16"/>
                    </a:lnTo>
                    <a:lnTo>
                      <a:pt x="214" y="13"/>
                    </a:lnTo>
                    <a:lnTo>
                      <a:pt x="218" y="15"/>
                    </a:lnTo>
                    <a:lnTo>
                      <a:pt x="221" y="13"/>
                    </a:lnTo>
                    <a:lnTo>
                      <a:pt x="223" y="11"/>
                    </a:lnTo>
                    <a:lnTo>
                      <a:pt x="229" y="11"/>
                    </a:lnTo>
                    <a:lnTo>
                      <a:pt x="233" y="8"/>
                    </a:lnTo>
                    <a:lnTo>
                      <a:pt x="238" y="8"/>
                    </a:lnTo>
                    <a:lnTo>
                      <a:pt x="241" y="5"/>
                    </a:lnTo>
                    <a:lnTo>
                      <a:pt x="244" y="1"/>
                    </a:lnTo>
                    <a:lnTo>
                      <a:pt x="248" y="3"/>
                    </a:lnTo>
                    <a:lnTo>
                      <a:pt x="251" y="0"/>
                    </a:lnTo>
                    <a:lnTo>
                      <a:pt x="251" y="0"/>
                    </a:lnTo>
                    <a:lnTo>
                      <a:pt x="253" y="1"/>
                    </a:lnTo>
                    <a:lnTo>
                      <a:pt x="253" y="6"/>
                    </a:lnTo>
                    <a:lnTo>
                      <a:pt x="251" y="8"/>
                    </a:lnTo>
                    <a:lnTo>
                      <a:pt x="253" y="10"/>
                    </a:lnTo>
                    <a:lnTo>
                      <a:pt x="248" y="16"/>
                    </a:lnTo>
                    <a:lnTo>
                      <a:pt x="246" y="18"/>
                    </a:lnTo>
                    <a:lnTo>
                      <a:pt x="248" y="20"/>
                    </a:lnTo>
                    <a:lnTo>
                      <a:pt x="248" y="21"/>
                    </a:lnTo>
                    <a:lnTo>
                      <a:pt x="246" y="23"/>
                    </a:lnTo>
                    <a:lnTo>
                      <a:pt x="248" y="31"/>
                    </a:lnTo>
                    <a:lnTo>
                      <a:pt x="249" y="36"/>
                    </a:lnTo>
                    <a:lnTo>
                      <a:pt x="248" y="36"/>
                    </a:lnTo>
                    <a:lnTo>
                      <a:pt x="248" y="43"/>
                    </a:lnTo>
                    <a:lnTo>
                      <a:pt x="249" y="45"/>
                    </a:lnTo>
                    <a:lnTo>
                      <a:pt x="249" y="50"/>
                    </a:lnTo>
                    <a:lnTo>
                      <a:pt x="248" y="51"/>
                    </a:lnTo>
                    <a:lnTo>
                      <a:pt x="248" y="58"/>
                    </a:lnTo>
                    <a:lnTo>
                      <a:pt x="246" y="68"/>
                    </a:lnTo>
                    <a:lnTo>
                      <a:pt x="246" y="68"/>
                    </a:lnTo>
                    <a:lnTo>
                      <a:pt x="248" y="70"/>
                    </a:lnTo>
                    <a:lnTo>
                      <a:pt x="248" y="79"/>
                    </a:lnTo>
                    <a:lnTo>
                      <a:pt x="243" y="81"/>
                    </a:lnTo>
                    <a:lnTo>
                      <a:pt x="243" y="81"/>
                    </a:lnTo>
                    <a:lnTo>
                      <a:pt x="244" y="83"/>
                    </a:lnTo>
                    <a:lnTo>
                      <a:pt x="249" y="83"/>
                    </a:lnTo>
                    <a:lnTo>
                      <a:pt x="251" y="84"/>
                    </a:lnTo>
                    <a:lnTo>
                      <a:pt x="251" y="93"/>
                    </a:lnTo>
                    <a:lnTo>
                      <a:pt x="249" y="96"/>
                    </a:lnTo>
                    <a:lnTo>
                      <a:pt x="246" y="98"/>
                    </a:lnTo>
                    <a:lnTo>
                      <a:pt x="248" y="99"/>
                    </a:lnTo>
                    <a:lnTo>
                      <a:pt x="248" y="101"/>
                    </a:lnTo>
                    <a:lnTo>
                      <a:pt x="244" y="101"/>
                    </a:lnTo>
                    <a:lnTo>
                      <a:pt x="241" y="104"/>
                    </a:lnTo>
                    <a:lnTo>
                      <a:pt x="243" y="106"/>
                    </a:lnTo>
                    <a:lnTo>
                      <a:pt x="243" y="104"/>
                    </a:lnTo>
                    <a:lnTo>
                      <a:pt x="246" y="104"/>
                    </a:lnTo>
                    <a:lnTo>
                      <a:pt x="244" y="108"/>
                    </a:lnTo>
                    <a:lnTo>
                      <a:pt x="243" y="113"/>
                    </a:lnTo>
                    <a:lnTo>
                      <a:pt x="241" y="113"/>
                    </a:lnTo>
                    <a:lnTo>
                      <a:pt x="234" y="119"/>
                    </a:lnTo>
                    <a:lnTo>
                      <a:pt x="234" y="121"/>
                    </a:lnTo>
                    <a:lnTo>
                      <a:pt x="229" y="128"/>
                    </a:lnTo>
                    <a:lnTo>
                      <a:pt x="226" y="128"/>
                    </a:lnTo>
                    <a:lnTo>
                      <a:pt x="226" y="133"/>
                    </a:lnTo>
                    <a:lnTo>
                      <a:pt x="211" y="141"/>
                    </a:lnTo>
                    <a:lnTo>
                      <a:pt x="208" y="141"/>
                    </a:lnTo>
                    <a:lnTo>
                      <a:pt x="206" y="144"/>
                    </a:lnTo>
                    <a:lnTo>
                      <a:pt x="191" y="151"/>
                    </a:lnTo>
                    <a:lnTo>
                      <a:pt x="184" y="151"/>
                    </a:lnTo>
                    <a:lnTo>
                      <a:pt x="184" y="151"/>
                    </a:lnTo>
                    <a:lnTo>
                      <a:pt x="178" y="154"/>
                    </a:lnTo>
                    <a:lnTo>
                      <a:pt x="168" y="161"/>
                    </a:lnTo>
                    <a:lnTo>
                      <a:pt x="166" y="159"/>
                    </a:lnTo>
                    <a:lnTo>
                      <a:pt x="166" y="161"/>
                    </a:lnTo>
                    <a:lnTo>
                      <a:pt x="160" y="168"/>
                    </a:lnTo>
                    <a:lnTo>
                      <a:pt x="156" y="169"/>
                    </a:lnTo>
                    <a:lnTo>
                      <a:pt x="155" y="166"/>
                    </a:lnTo>
                    <a:lnTo>
                      <a:pt x="155" y="171"/>
                    </a:lnTo>
                    <a:lnTo>
                      <a:pt x="151" y="173"/>
                    </a:lnTo>
                    <a:lnTo>
                      <a:pt x="151" y="176"/>
                    </a:lnTo>
                    <a:lnTo>
                      <a:pt x="141" y="181"/>
                    </a:lnTo>
                    <a:lnTo>
                      <a:pt x="141" y="182"/>
                    </a:lnTo>
                    <a:lnTo>
                      <a:pt x="138" y="184"/>
                    </a:lnTo>
                    <a:lnTo>
                      <a:pt x="136" y="186"/>
                    </a:lnTo>
                    <a:lnTo>
                      <a:pt x="136" y="189"/>
                    </a:lnTo>
                    <a:lnTo>
                      <a:pt x="130" y="189"/>
                    </a:lnTo>
                    <a:lnTo>
                      <a:pt x="118" y="196"/>
                    </a:lnTo>
                    <a:lnTo>
                      <a:pt x="118" y="201"/>
                    </a:lnTo>
                    <a:lnTo>
                      <a:pt x="113" y="204"/>
                    </a:lnTo>
                    <a:lnTo>
                      <a:pt x="108" y="204"/>
                    </a:lnTo>
                    <a:lnTo>
                      <a:pt x="105" y="207"/>
                    </a:lnTo>
                    <a:lnTo>
                      <a:pt x="101" y="204"/>
                    </a:lnTo>
                    <a:lnTo>
                      <a:pt x="98" y="204"/>
                    </a:lnTo>
                    <a:lnTo>
                      <a:pt x="98" y="207"/>
                    </a:lnTo>
                    <a:lnTo>
                      <a:pt x="101" y="209"/>
                    </a:lnTo>
                    <a:lnTo>
                      <a:pt x="101" y="212"/>
                    </a:lnTo>
                    <a:lnTo>
                      <a:pt x="98" y="214"/>
                    </a:lnTo>
                    <a:lnTo>
                      <a:pt x="100" y="217"/>
                    </a:lnTo>
                    <a:lnTo>
                      <a:pt x="96" y="221"/>
                    </a:lnTo>
                    <a:lnTo>
                      <a:pt x="103" y="231"/>
                    </a:lnTo>
                    <a:lnTo>
                      <a:pt x="105" y="232"/>
                    </a:lnTo>
                    <a:lnTo>
                      <a:pt x="101" y="236"/>
                    </a:lnTo>
                    <a:lnTo>
                      <a:pt x="103" y="236"/>
                    </a:lnTo>
                    <a:lnTo>
                      <a:pt x="106" y="241"/>
                    </a:lnTo>
                    <a:lnTo>
                      <a:pt x="106" y="246"/>
                    </a:lnTo>
                    <a:lnTo>
                      <a:pt x="110" y="251"/>
                    </a:lnTo>
                    <a:lnTo>
                      <a:pt x="108" y="264"/>
                    </a:lnTo>
                    <a:lnTo>
                      <a:pt x="110" y="269"/>
                    </a:lnTo>
                    <a:lnTo>
                      <a:pt x="111" y="269"/>
                    </a:lnTo>
                    <a:lnTo>
                      <a:pt x="111" y="264"/>
                    </a:lnTo>
                    <a:lnTo>
                      <a:pt x="113" y="259"/>
                    </a:lnTo>
                    <a:lnTo>
                      <a:pt x="115" y="264"/>
                    </a:lnTo>
                    <a:lnTo>
                      <a:pt x="115" y="264"/>
                    </a:lnTo>
                    <a:lnTo>
                      <a:pt x="115" y="269"/>
                    </a:lnTo>
                    <a:lnTo>
                      <a:pt x="113" y="272"/>
                    </a:lnTo>
                    <a:lnTo>
                      <a:pt x="113" y="277"/>
                    </a:lnTo>
                    <a:lnTo>
                      <a:pt x="113" y="279"/>
                    </a:lnTo>
                    <a:lnTo>
                      <a:pt x="111" y="285"/>
                    </a:lnTo>
                    <a:lnTo>
                      <a:pt x="111" y="289"/>
                    </a:lnTo>
                    <a:lnTo>
                      <a:pt x="108" y="292"/>
                    </a:lnTo>
                    <a:lnTo>
                      <a:pt x="108" y="295"/>
                    </a:lnTo>
                    <a:lnTo>
                      <a:pt x="106" y="295"/>
                    </a:lnTo>
                    <a:lnTo>
                      <a:pt x="108" y="300"/>
                    </a:lnTo>
                    <a:lnTo>
                      <a:pt x="111" y="299"/>
                    </a:lnTo>
                    <a:lnTo>
                      <a:pt x="113" y="300"/>
                    </a:lnTo>
                    <a:lnTo>
                      <a:pt x="110" y="305"/>
                    </a:lnTo>
                    <a:lnTo>
                      <a:pt x="108" y="310"/>
                    </a:lnTo>
                    <a:lnTo>
                      <a:pt x="98" y="319"/>
                    </a:lnTo>
                    <a:lnTo>
                      <a:pt x="83" y="325"/>
                    </a:lnTo>
                    <a:lnTo>
                      <a:pt x="62" y="329"/>
                    </a:lnTo>
                    <a:lnTo>
                      <a:pt x="53" y="335"/>
                    </a:lnTo>
                    <a:lnTo>
                      <a:pt x="48" y="337"/>
                    </a:lnTo>
                    <a:lnTo>
                      <a:pt x="45" y="340"/>
                    </a:lnTo>
                    <a:lnTo>
                      <a:pt x="43" y="342"/>
                    </a:lnTo>
                    <a:lnTo>
                      <a:pt x="42" y="347"/>
                    </a:lnTo>
                    <a:lnTo>
                      <a:pt x="38" y="347"/>
                    </a:lnTo>
                    <a:lnTo>
                      <a:pt x="37" y="349"/>
                    </a:lnTo>
                    <a:lnTo>
                      <a:pt x="37" y="350"/>
                    </a:lnTo>
                    <a:lnTo>
                      <a:pt x="40" y="354"/>
                    </a:lnTo>
                    <a:lnTo>
                      <a:pt x="40" y="359"/>
                    </a:lnTo>
                    <a:lnTo>
                      <a:pt x="42" y="355"/>
                    </a:lnTo>
                    <a:lnTo>
                      <a:pt x="45" y="357"/>
                    </a:lnTo>
                    <a:lnTo>
                      <a:pt x="47" y="354"/>
                    </a:lnTo>
                    <a:lnTo>
                      <a:pt x="48" y="352"/>
                    </a:lnTo>
                    <a:lnTo>
                      <a:pt x="48" y="355"/>
                    </a:lnTo>
                    <a:lnTo>
                      <a:pt x="47" y="360"/>
                    </a:lnTo>
                    <a:lnTo>
                      <a:pt x="45" y="365"/>
                    </a:lnTo>
                    <a:lnTo>
                      <a:pt x="45" y="369"/>
                    </a:lnTo>
                    <a:lnTo>
                      <a:pt x="40" y="369"/>
                    </a:lnTo>
                    <a:lnTo>
                      <a:pt x="32" y="367"/>
                    </a:lnTo>
                    <a:lnTo>
                      <a:pt x="28" y="367"/>
                    </a:lnTo>
                    <a:lnTo>
                      <a:pt x="28" y="365"/>
                    </a:lnTo>
                    <a:lnTo>
                      <a:pt x="30" y="362"/>
                    </a:lnTo>
                    <a:lnTo>
                      <a:pt x="30" y="359"/>
                    </a:lnTo>
                    <a:lnTo>
                      <a:pt x="30" y="357"/>
                    </a:lnTo>
                    <a:lnTo>
                      <a:pt x="28" y="354"/>
                    </a:lnTo>
                    <a:lnTo>
                      <a:pt x="25" y="352"/>
                    </a:lnTo>
                    <a:lnTo>
                      <a:pt x="23" y="350"/>
                    </a:lnTo>
                    <a:lnTo>
                      <a:pt x="23" y="350"/>
                    </a:lnTo>
                    <a:lnTo>
                      <a:pt x="23" y="342"/>
                    </a:lnTo>
                    <a:lnTo>
                      <a:pt x="23" y="335"/>
                    </a:lnTo>
                    <a:lnTo>
                      <a:pt x="25" y="329"/>
                    </a:lnTo>
                    <a:lnTo>
                      <a:pt x="25" y="312"/>
                    </a:lnTo>
                    <a:lnTo>
                      <a:pt x="23" y="307"/>
                    </a:lnTo>
                    <a:lnTo>
                      <a:pt x="22" y="302"/>
                    </a:lnTo>
                    <a:lnTo>
                      <a:pt x="22" y="299"/>
                    </a:lnTo>
                    <a:lnTo>
                      <a:pt x="22" y="297"/>
                    </a:lnTo>
                    <a:lnTo>
                      <a:pt x="22" y="287"/>
                    </a:lnTo>
                    <a:lnTo>
                      <a:pt x="20" y="282"/>
                    </a:lnTo>
                    <a:lnTo>
                      <a:pt x="18" y="275"/>
                    </a:lnTo>
                    <a:lnTo>
                      <a:pt x="17" y="271"/>
                    </a:lnTo>
                    <a:lnTo>
                      <a:pt x="17" y="2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6" name="Freeform 140"/>
              <p:cNvSpPr>
                <a:spLocks/>
              </p:cNvSpPr>
              <p:nvPr/>
            </p:nvSpPr>
            <p:spPr bwMode="auto">
              <a:xfrm>
                <a:off x="6803514" y="3568540"/>
                <a:ext cx="18194" cy="17639"/>
              </a:xfrm>
              <a:custGeom>
                <a:avLst/>
                <a:gdLst/>
                <a:ahLst/>
                <a:cxnLst>
                  <a:cxn ang="0">
                    <a:pos x="28" y="8"/>
                  </a:cxn>
                  <a:cxn ang="0">
                    <a:pos x="28" y="8"/>
                  </a:cxn>
                  <a:cxn ang="0">
                    <a:pos x="30" y="10"/>
                  </a:cxn>
                  <a:cxn ang="0">
                    <a:pos x="33" y="12"/>
                  </a:cxn>
                  <a:cxn ang="0">
                    <a:pos x="35" y="15"/>
                  </a:cxn>
                  <a:cxn ang="0">
                    <a:pos x="35" y="17"/>
                  </a:cxn>
                  <a:cxn ang="0">
                    <a:pos x="35" y="20"/>
                  </a:cxn>
                  <a:cxn ang="0">
                    <a:pos x="33" y="23"/>
                  </a:cxn>
                  <a:cxn ang="0">
                    <a:pos x="33" y="25"/>
                  </a:cxn>
                  <a:cxn ang="0">
                    <a:pos x="32" y="25"/>
                  </a:cxn>
                  <a:cxn ang="0">
                    <a:pos x="30" y="27"/>
                  </a:cxn>
                  <a:cxn ang="0">
                    <a:pos x="30" y="30"/>
                  </a:cxn>
                  <a:cxn ang="0">
                    <a:pos x="28" y="33"/>
                  </a:cxn>
                  <a:cxn ang="0">
                    <a:pos x="25" y="35"/>
                  </a:cxn>
                  <a:cxn ang="0">
                    <a:pos x="15" y="35"/>
                  </a:cxn>
                  <a:cxn ang="0">
                    <a:pos x="7" y="30"/>
                  </a:cxn>
                  <a:cxn ang="0">
                    <a:pos x="5" y="27"/>
                  </a:cxn>
                  <a:cxn ang="0">
                    <a:pos x="2" y="23"/>
                  </a:cxn>
                  <a:cxn ang="0">
                    <a:pos x="0" y="22"/>
                  </a:cxn>
                  <a:cxn ang="0">
                    <a:pos x="3" y="17"/>
                  </a:cxn>
                  <a:cxn ang="0">
                    <a:pos x="8" y="7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20" y="3"/>
                  </a:cxn>
                  <a:cxn ang="0">
                    <a:pos x="23" y="7"/>
                  </a:cxn>
                  <a:cxn ang="0">
                    <a:pos x="28" y="8"/>
                  </a:cxn>
                  <a:cxn ang="0">
                    <a:pos x="28" y="8"/>
                  </a:cxn>
                </a:cxnLst>
                <a:rect l="0" t="0" r="r" b="b"/>
                <a:pathLst>
                  <a:path w="35" h="35">
                    <a:moveTo>
                      <a:pt x="28" y="8"/>
                    </a:moveTo>
                    <a:lnTo>
                      <a:pt x="28" y="8"/>
                    </a:lnTo>
                    <a:lnTo>
                      <a:pt x="30" y="10"/>
                    </a:lnTo>
                    <a:lnTo>
                      <a:pt x="33" y="12"/>
                    </a:lnTo>
                    <a:lnTo>
                      <a:pt x="35" y="15"/>
                    </a:lnTo>
                    <a:lnTo>
                      <a:pt x="35" y="17"/>
                    </a:lnTo>
                    <a:lnTo>
                      <a:pt x="35" y="20"/>
                    </a:lnTo>
                    <a:lnTo>
                      <a:pt x="33" y="23"/>
                    </a:lnTo>
                    <a:lnTo>
                      <a:pt x="33" y="25"/>
                    </a:lnTo>
                    <a:lnTo>
                      <a:pt x="32" y="25"/>
                    </a:lnTo>
                    <a:lnTo>
                      <a:pt x="30" y="27"/>
                    </a:lnTo>
                    <a:lnTo>
                      <a:pt x="30" y="30"/>
                    </a:lnTo>
                    <a:lnTo>
                      <a:pt x="28" y="33"/>
                    </a:lnTo>
                    <a:lnTo>
                      <a:pt x="25" y="35"/>
                    </a:lnTo>
                    <a:lnTo>
                      <a:pt x="15" y="35"/>
                    </a:lnTo>
                    <a:lnTo>
                      <a:pt x="7" y="30"/>
                    </a:lnTo>
                    <a:lnTo>
                      <a:pt x="5" y="27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3" y="17"/>
                    </a:lnTo>
                    <a:lnTo>
                      <a:pt x="8" y="7"/>
                    </a:lnTo>
                    <a:lnTo>
                      <a:pt x="10" y="2"/>
                    </a:lnTo>
                    <a:lnTo>
                      <a:pt x="13" y="0"/>
                    </a:lnTo>
                    <a:lnTo>
                      <a:pt x="20" y="3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7" name="Freeform 141"/>
              <p:cNvSpPr>
                <a:spLocks noEditPoints="1"/>
              </p:cNvSpPr>
              <p:nvPr/>
            </p:nvSpPr>
            <p:spPr bwMode="auto">
              <a:xfrm>
                <a:off x="6619431" y="3525998"/>
                <a:ext cx="210839" cy="156676"/>
              </a:xfrm>
              <a:custGeom>
                <a:avLst/>
                <a:gdLst/>
                <a:ahLst/>
                <a:cxnLst>
                  <a:cxn ang="0">
                    <a:pos x="7" y="142"/>
                  </a:cxn>
                  <a:cxn ang="0">
                    <a:pos x="22" y="146"/>
                  </a:cxn>
                  <a:cxn ang="0">
                    <a:pos x="45" y="156"/>
                  </a:cxn>
                  <a:cxn ang="0">
                    <a:pos x="60" y="157"/>
                  </a:cxn>
                  <a:cxn ang="0">
                    <a:pos x="70" y="146"/>
                  </a:cxn>
                  <a:cxn ang="0">
                    <a:pos x="98" y="69"/>
                  </a:cxn>
                  <a:cxn ang="0">
                    <a:pos x="103" y="106"/>
                  </a:cxn>
                  <a:cxn ang="0">
                    <a:pos x="130" y="103"/>
                  </a:cxn>
                  <a:cxn ang="0">
                    <a:pos x="153" y="89"/>
                  </a:cxn>
                  <a:cxn ang="0">
                    <a:pos x="180" y="78"/>
                  </a:cxn>
                  <a:cxn ang="0">
                    <a:pos x="205" y="83"/>
                  </a:cxn>
                  <a:cxn ang="0">
                    <a:pos x="224" y="83"/>
                  </a:cxn>
                  <a:cxn ang="0">
                    <a:pos x="226" y="66"/>
                  </a:cxn>
                  <a:cxn ang="0">
                    <a:pos x="241" y="56"/>
                  </a:cxn>
                  <a:cxn ang="0">
                    <a:pos x="253" y="48"/>
                  </a:cxn>
                  <a:cxn ang="0">
                    <a:pos x="261" y="29"/>
                  </a:cxn>
                  <a:cxn ang="0">
                    <a:pos x="274" y="21"/>
                  </a:cxn>
                  <a:cxn ang="0">
                    <a:pos x="291" y="14"/>
                  </a:cxn>
                  <a:cxn ang="0">
                    <a:pos x="306" y="6"/>
                  </a:cxn>
                  <a:cxn ang="0">
                    <a:pos x="324" y="0"/>
                  </a:cxn>
                  <a:cxn ang="0">
                    <a:pos x="342" y="6"/>
                  </a:cxn>
                  <a:cxn ang="0">
                    <a:pos x="367" y="14"/>
                  </a:cxn>
                  <a:cxn ang="0">
                    <a:pos x="371" y="41"/>
                  </a:cxn>
                  <a:cxn ang="0">
                    <a:pos x="372" y="81"/>
                  </a:cxn>
                  <a:cxn ang="0">
                    <a:pos x="354" y="83"/>
                  </a:cxn>
                  <a:cxn ang="0">
                    <a:pos x="349" y="108"/>
                  </a:cxn>
                  <a:cxn ang="0">
                    <a:pos x="374" y="111"/>
                  </a:cxn>
                  <a:cxn ang="0">
                    <a:pos x="394" y="108"/>
                  </a:cxn>
                  <a:cxn ang="0">
                    <a:pos x="387" y="126"/>
                  </a:cxn>
                  <a:cxn ang="0">
                    <a:pos x="371" y="156"/>
                  </a:cxn>
                  <a:cxn ang="0">
                    <a:pos x="354" y="166"/>
                  </a:cxn>
                  <a:cxn ang="0">
                    <a:pos x="339" y="184"/>
                  </a:cxn>
                  <a:cxn ang="0">
                    <a:pos x="313" y="219"/>
                  </a:cxn>
                  <a:cxn ang="0">
                    <a:pos x="276" y="249"/>
                  </a:cxn>
                  <a:cxn ang="0">
                    <a:pos x="246" y="269"/>
                  </a:cxn>
                  <a:cxn ang="0">
                    <a:pos x="223" y="274"/>
                  </a:cxn>
                  <a:cxn ang="0">
                    <a:pos x="210" y="284"/>
                  </a:cxn>
                  <a:cxn ang="0">
                    <a:pos x="191" y="287"/>
                  </a:cxn>
                  <a:cxn ang="0">
                    <a:pos x="156" y="284"/>
                  </a:cxn>
                  <a:cxn ang="0">
                    <a:pos x="130" y="285"/>
                  </a:cxn>
                  <a:cxn ang="0">
                    <a:pos x="118" y="292"/>
                  </a:cxn>
                  <a:cxn ang="0">
                    <a:pos x="95" y="294"/>
                  </a:cxn>
                  <a:cxn ang="0">
                    <a:pos x="75" y="300"/>
                  </a:cxn>
                  <a:cxn ang="0">
                    <a:pos x="53" y="290"/>
                  </a:cxn>
                  <a:cxn ang="0">
                    <a:pos x="43" y="284"/>
                  </a:cxn>
                  <a:cxn ang="0">
                    <a:pos x="37" y="280"/>
                  </a:cxn>
                  <a:cxn ang="0">
                    <a:pos x="27" y="254"/>
                  </a:cxn>
                  <a:cxn ang="0">
                    <a:pos x="37" y="245"/>
                  </a:cxn>
                  <a:cxn ang="0">
                    <a:pos x="30" y="214"/>
                  </a:cxn>
                  <a:cxn ang="0">
                    <a:pos x="10" y="161"/>
                  </a:cxn>
                  <a:cxn ang="0">
                    <a:pos x="259" y="191"/>
                  </a:cxn>
                  <a:cxn ang="0">
                    <a:pos x="276" y="197"/>
                  </a:cxn>
                  <a:cxn ang="0">
                    <a:pos x="291" y="186"/>
                  </a:cxn>
                  <a:cxn ang="0">
                    <a:pos x="298" y="176"/>
                  </a:cxn>
                  <a:cxn ang="0">
                    <a:pos x="298" y="154"/>
                  </a:cxn>
                  <a:cxn ang="0">
                    <a:pos x="283" y="151"/>
                  </a:cxn>
                  <a:cxn ang="0">
                    <a:pos x="263" y="162"/>
                  </a:cxn>
                  <a:cxn ang="0">
                    <a:pos x="254" y="182"/>
                  </a:cxn>
                </a:cxnLst>
                <a:rect l="0" t="0" r="r" b="b"/>
                <a:pathLst>
                  <a:path w="394" h="302">
                    <a:moveTo>
                      <a:pt x="0" y="149"/>
                    </a:moveTo>
                    <a:lnTo>
                      <a:pt x="4" y="147"/>
                    </a:lnTo>
                    <a:lnTo>
                      <a:pt x="9" y="146"/>
                    </a:lnTo>
                    <a:lnTo>
                      <a:pt x="9" y="142"/>
                    </a:lnTo>
                    <a:lnTo>
                      <a:pt x="7" y="142"/>
                    </a:lnTo>
                    <a:lnTo>
                      <a:pt x="10" y="137"/>
                    </a:lnTo>
                    <a:lnTo>
                      <a:pt x="15" y="136"/>
                    </a:lnTo>
                    <a:lnTo>
                      <a:pt x="19" y="141"/>
                    </a:lnTo>
                    <a:lnTo>
                      <a:pt x="23" y="141"/>
                    </a:lnTo>
                    <a:lnTo>
                      <a:pt x="22" y="146"/>
                    </a:lnTo>
                    <a:lnTo>
                      <a:pt x="25" y="152"/>
                    </a:lnTo>
                    <a:lnTo>
                      <a:pt x="33" y="154"/>
                    </a:lnTo>
                    <a:lnTo>
                      <a:pt x="38" y="156"/>
                    </a:lnTo>
                    <a:lnTo>
                      <a:pt x="42" y="156"/>
                    </a:lnTo>
                    <a:lnTo>
                      <a:pt x="45" y="156"/>
                    </a:lnTo>
                    <a:lnTo>
                      <a:pt x="48" y="157"/>
                    </a:lnTo>
                    <a:lnTo>
                      <a:pt x="50" y="156"/>
                    </a:lnTo>
                    <a:lnTo>
                      <a:pt x="53" y="156"/>
                    </a:lnTo>
                    <a:lnTo>
                      <a:pt x="57" y="157"/>
                    </a:lnTo>
                    <a:lnTo>
                      <a:pt x="60" y="157"/>
                    </a:lnTo>
                    <a:lnTo>
                      <a:pt x="62" y="159"/>
                    </a:lnTo>
                    <a:lnTo>
                      <a:pt x="63" y="154"/>
                    </a:lnTo>
                    <a:lnTo>
                      <a:pt x="65" y="152"/>
                    </a:lnTo>
                    <a:lnTo>
                      <a:pt x="68" y="151"/>
                    </a:lnTo>
                    <a:lnTo>
                      <a:pt x="70" y="146"/>
                    </a:lnTo>
                    <a:lnTo>
                      <a:pt x="77" y="144"/>
                    </a:lnTo>
                    <a:lnTo>
                      <a:pt x="83" y="144"/>
                    </a:lnTo>
                    <a:lnTo>
                      <a:pt x="87" y="144"/>
                    </a:lnTo>
                    <a:lnTo>
                      <a:pt x="90" y="64"/>
                    </a:lnTo>
                    <a:lnTo>
                      <a:pt x="98" y="69"/>
                    </a:lnTo>
                    <a:lnTo>
                      <a:pt x="100" y="76"/>
                    </a:lnTo>
                    <a:lnTo>
                      <a:pt x="107" y="88"/>
                    </a:lnTo>
                    <a:lnTo>
                      <a:pt x="107" y="94"/>
                    </a:lnTo>
                    <a:lnTo>
                      <a:pt x="103" y="101"/>
                    </a:lnTo>
                    <a:lnTo>
                      <a:pt x="103" y="106"/>
                    </a:lnTo>
                    <a:lnTo>
                      <a:pt x="110" y="104"/>
                    </a:lnTo>
                    <a:lnTo>
                      <a:pt x="115" y="106"/>
                    </a:lnTo>
                    <a:lnTo>
                      <a:pt x="120" y="104"/>
                    </a:lnTo>
                    <a:lnTo>
                      <a:pt x="125" y="104"/>
                    </a:lnTo>
                    <a:lnTo>
                      <a:pt x="130" y="103"/>
                    </a:lnTo>
                    <a:lnTo>
                      <a:pt x="135" y="101"/>
                    </a:lnTo>
                    <a:lnTo>
                      <a:pt x="138" y="98"/>
                    </a:lnTo>
                    <a:lnTo>
                      <a:pt x="140" y="96"/>
                    </a:lnTo>
                    <a:lnTo>
                      <a:pt x="148" y="93"/>
                    </a:lnTo>
                    <a:lnTo>
                      <a:pt x="153" y="89"/>
                    </a:lnTo>
                    <a:lnTo>
                      <a:pt x="156" y="79"/>
                    </a:lnTo>
                    <a:lnTo>
                      <a:pt x="163" y="74"/>
                    </a:lnTo>
                    <a:lnTo>
                      <a:pt x="170" y="74"/>
                    </a:lnTo>
                    <a:lnTo>
                      <a:pt x="178" y="74"/>
                    </a:lnTo>
                    <a:lnTo>
                      <a:pt x="180" y="78"/>
                    </a:lnTo>
                    <a:lnTo>
                      <a:pt x="183" y="78"/>
                    </a:lnTo>
                    <a:lnTo>
                      <a:pt x="191" y="83"/>
                    </a:lnTo>
                    <a:lnTo>
                      <a:pt x="195" y="83"/>
                    </a:lnTo>
                    <a:lnTo>
                      <a:pt x="200" y="83"/>
                    </a:lnTo>
                    <a:lnTo>
                      <a:pt x="205" y="83"/>
                    </a:lnTo>
                    <a:lnTo>
                      <a:pt x="211" y="83"/>
                    </a:lnTo>
                    <a:lnTo>
                      <a:pt x="215" y="81"/>
                    </a:lnTo>
                    <a:lnTo>
                      <a:pt x="216" y="84"/>
                    </a:lnTo>
                    <a:lnTo>
                      <a:pt x="219" y="84"/>
                    </a:lnTo>
                    <a:lnTo>
                      <a:pt x="224" y="83"/>
                    </a:lnTo>
                    <a:lnTo>
                      <a:pt x="223" y="79"/>
                    </a:lnTo>
                    <a:lnTo>
                      <a:pt x="224" y="76"/>
                    </a:lnTo>
                    <a:lnTo>
                      <a:pt x="224" y="73"/>
                    </a:lnTo>
                    <a:lnTo>
                      <a:pt x="226" y="71"/>
                    </a:lnTo>
                    <a:lnTo>
                      <a:pt x="226" y="66"/>
                    </a:lnTo>
                    <a:lnTo>
                      <a:pt x="228" y="61"/>
                    </a:lnTo>
                    <a:lnTo>
                      <a:pt x="233" y="61"/>
                    </a:lnTo>
                    <a:lnTo>
                      <a:pt x="236" y="59"/>
                    </a:lnTo>
                    <a:lnTo>
                      <a:pt x="239" y="59"/>
                    </a:lnTo>
                    <a:lnTo>
                      <a:pt x="241" y="56"/>
                    </a:lnTo>
                    <a:lnTo>
                      <a:pt x="243" y="56"/>
                    </a:lnTo>
                    <a:lnTo>
                      <a:pt x="244" y="53"/>
                    </a:lnTo>
                    <a:lnTo>
                      <a:pt x="248" y="49"/>
                    </a:lnTo>
                    <a:lnTo>
                      <a:pt x="251" y="49"/>
                    </a:lnTo>
                    <a:lnTo>
                      <a:pt x="253" y="48"/>
                    </a:lnTo>
                    <a:lnTo>
                      <a:pt x="256" y="48"/>
                    </a:lnTo>
                    <a:lnTo>
                      <a:pt x="256" y="44"/>
                    </a:lnTo>
                    <a:lnTo>
                      <a:pt x="254" y="41"/>
                    </a:lnTo>
                    <a:lnTo>
                      <a:pt x="254" y="36"/>
                    </a:lnTo>
                    <a:lnTo>
                      <a:pt x="261" y="29"/>
                    </a:lnTo>
                    <a:lnTo>
                      <a:pt x="264" y="28"/>
                    </a:lnTo>
                    <a:lnTo>
                      <a:pt x="268" y="26"/>
                    </a:lnTo>
                    <a:lnTo>
                      <a:pt x="269" y="24"/>
                    </a:lnTo>
                    <a:lnTo>
                      <a:pt x="273" y="23"/>
                    </a:lnTo>
                    <a:lnTo>
                      <a:pt x="274" y="21"/>
                    </a:lnTo>
                    <a:lnTo>
                      <a:pt x="276" y="19"/>
                    </a:lnTo>
                    <a:lnTo>
                      <a:pt x="279" y="18"/>
                    </a:lnTo>
                    <a:lnTo>
                      <a:pt x="284" y="13"/>
                    </a:lnTo>
                    <a:lnTo>
                      <a:pt x="289" y="13"/>
                    </a:lnTo>
                    <a:lnTo>
                      <a:pt x="291" y="14"/>
                    </a:lnTo>
                    <a:lnTo>
                      <a:pt x="293" y="13"/>
                    </a:lnTo>
                    <a:lnTo>
                      <a:pt x="298" y="13"/>
                    </a:lnTo>
                    <a:lnTo>
                      <a:pt x="301" y="11"/>
                    </a:lnTo>
                    <a:lnTo>
                      <a:pt x="304" y="10"/>
                    </a:lnTo>
                    <a:lnTo>
                      <a:pt x="306" y="6"/>
                    </a:lnTo>
                    <a:lnTo>
                      <a:pt x="304" y="5"/>
                    </a:lnTo>
                    <a:lnTo>
                      <a:pt x="308" y="3"/>
                    </a:lnTo>
                    <a:lnTo>
                      <a:pt x="311" y="1"/>
                    </a:lnTo>
                    <a:lnTo>
                      <a:pt x="314" y="1"/>
                    </a:lnTo>
                    <a:lnTo>
                      <a:pt x="324" y="0"/>
                    </a:lnTo>
                    <a:lnTo>
                      <a:pt x="331" y="0"/>
                    </a:lnTo>
                    <a:lnTo>
                      <a:pt x="332" y="3"/>
                    </a:lnTo>
                    <a:lnTo>
                      <a:pt x="336" y="3"/>
                    </a:lnTo>
                    <a:lnTo>
                      <a:pt x="341" y="5"/>
                    </a:lnTo>
                    <a:lnTo>
                      <a:pt x="342" y="6"/>
                    </a:lnTo>
                    <a:lnTo>
                      <a:pt x="346" y="5"/>
                    </a:lnTo>
                    <a:lnTo>
                      <a:pt x="352" y="5"/>
                    </a:lnTo>
                    <a:lnTo>
                      <a:pt x="361" y="6"/>
                    </a:lnTo>
                    <a:lnTo>
                      <a:pt x="366" y="10"/>
                    </a:lnTo>
                    <a:lnTo>
                      <a:pt x="367" y="14"/>
                    </a:lnTo>
                    <a:lnTo>
                      <a:pt x="369" y="21"/>
                    </a:lnTo>
                    <a:lnTo>
                      <a:pt x="371" y="26"/>
                    </a:lnTo>
                    <a:lnTo>
                      <a:pt x="371" y="36"/>
                    </a:lnTo>
                    <a:lnTo>
                      <a:pt x="371" y="38"/>
                    </a:lnTo>
                    <a:lnTo>
                      <a:pt x="371" y="41"/>
                    </a:lnTo>
                    <a:lnTo>
                      <a:pt x="372" y="46"/>
                    </a:lnTo>
                    <a:lnTo>
                      <a:pt x="374" y="51"/>
                    </a:lnTo>
                    <a:lnTo>
                      <a:pt x="374" y="68"/>
                    </a:lnTo>
                    <a:lnTo>
                      <a:pt x="372" y="74"/>
                    </a:lnTo>
                    <a:lnTo>
                      <a:pt x="372" y="81"/>
                    </a:lnTo>
                    <a:lnTo>
                      <a:pt x="372" y="89"/>
                    </a:lnTo>
                    <a:lnTo>
                      <a:pt x="367" y="88"/>
                    </a:lnTo>
                    <a:lnTo>
                      <a:pt x="364" y="84"/>
                    </a:lnTo>
                    <a:lnTo>
                      <a:pt x="357" y="81"/>
                    </a:lnTo>
                    <a:lnTo>
                      <a:pt x="354" y="83"/>
                    </a:lnTo>
                    <a:lnTo>
                      <a:pt x="352" y="88"/>
                    </a:lnTo>
                    <a:lnTo>
                      <a:pt x="347" y="98"/>
                    </a:lnTo>
                    <a:lnTo>
                      <a:pt x="344" y="103"/>
                    </a:lnTo>
                    <a:lnTo>
                      <a:pt x="346" y="104"/>
                    </a:lnTo>
                    <a:lnTo>
                      <a:pt x="349" y="108"/>
                    </a:lnTo>
                    <a:lnTo>
                      <a:pt x="351" y="111"/>
                    </a:lnTo>
                    <a:lnTo>
                      <a:pt x="359" y="116"/>
                    </a:lnTo>
                    <a:lnTo>
                      <a:pt x="369" y="116"/>
                    </a:lnTo>
                    <a:lnTo>
                      <a:pt x="372" y="114"/>
                    </a:lnTo>
                    <a:lnTo>
                      <a:pt x="374" y="111"/>
                    </a:lnTo>
                    <a:lnTo>
                      <a:pt x="374" y="108"/>
                    </a:lnTo>
                    <a:lnTo>
                      <a:pt x="376" y="106"/>
                    </a:lnTo>
                    <a:lnTo>
                      <a:pt x="381" y="106"/>
                    </a:lnTo>
                    <a:lnTo>
                      <a:pt x="389" y="108"/>
                    </a:lnTo>
                    <a:lnTo>
                      <a:pt x="394" y="108"/>
                    </a:lnTo>
                    <a:lnTo>
                      <a:pt x="394" y="108"/>
                    </a:lnTo>
                    <a:lnTo>
                      <a:pt x="391" y="111"/>
                    </a:lnTo>
                    <a:lnTo>
                      <a:pt x="392" y="112"/>
                    </a:lnTo>
                    <a:lnTo>
                      <a:pt x="389" y="119"/>
                    </a:lnTo>
                    <a:lnTo>
                      <a:pt x="387" y="126"/>
                    </a:lnTo>
                    <a:lnTo>
                      <a:pt x="384" y="132"/>
                    </a:lnTo>
                    <a:lnTo>
                      <a:pt x="382" y="141"/>
                    </a:lnTo>
                    <a:lnTo>
                      <a:pt x="379" y="146"/>
                    </a:lnTo>
                    <a:lnTo>
                      <a:pt x="377" y="149"/>
                    </a:lnTo>
                    <a:lnTo>
                      <a:pt x="371" y="156"/>
                    </a:lnTo>
                    <a:lnTo>
                      <a:pt x="369" y="156"/>
                    </a:lnTo>
                    <a:lnTo>
                      <a:pt x="367" y="159"/>
                    </a:lnTo>
                    <a:lnTo>
                      <a:pt x="362" y="161"/>
                    </a:lnTo>
                    <a:lnTo>
                      <a:pt x="361" y="162"/>
                    </a:lnTo>
                    <a:lnTo>
                      <a:pt x="354" y="166"/>
                    </a:lnTo>
                    <a:lnTo>
                      <a:pt x="351" y="171"/>
                    </a:lnTo>
                    <a:lnTo>
                      <a:pt x="346" y="176"/>
                    </a:lnTo>
                    <a:lnTo>
                      <a:pt x="346" y="179"/>
                    </a:lnTo>
                    <a:lnTo>
                      <a:pt x="344" y="184"/>
                    </a:lnTo>
                    <a:lnTo>
                      <a:pt x="339" y="184"/>
                    </a:lnTo>
                    <a:lnTo>
                      <a:pt x="336" y="191"/>
                    </a:lnTo>
                    <a:lnTo>
                      <a:pt x="326" y="206"/>
                    </a:lnTo>
                    <a:lnTo>
                      <a:pt x="318" y="212"/>
                    </a:lnTo>
                    <a:lnTo>
                      <a:pt x="316" y="217"/>
                    </a:lnTo>
                    <a:lnTo>
                      <a:pt x="313" y="219"/>
                    </a:lnTo>
                    <a:lnTo>
                      <a:pt x="308" y="224"/>
                    </a:lnTo>
                    <a:lnTo>
                      <a:pt x="306" y="224"/>
                    </a:lnTo>
                    <a:lnTo>
                      <a:pt x="304" y="225"/>
                    </a:lnTo>
                    <a:lnTo>
                      <a:pt x="279" y="249"/>
                    </a:lnTo>
                    <a:lnTo>
                      <a:pt x="276" y="249"/>
                    </a:lnTo>
                    <a:lnTo>
                      <a:pt x="276" y="250"/>
                    </a:lnTo>
                    <a:lnTo>
                      <a:pt x="271" y="254"/>
                    </a:lnTo>
                    <a:lnTo>
                      <a:pt x="254" y="264"/>
                    </a:lnTo>
                    <a:lnTo>
                      <a:pt x="251" y="267"/>
                    </a:lnTo>
                    <a:lnTo>
                      <a:pt x="246" y="269"/>
                    </a:lnTo>
                    <a:lnTo>
                      <a:pt x="246" y="270"/>
                    </a:lnTo>
                    <a:lnTo>
                      <a:pt x="236" y="272"/>
                    </a:lnTo>
                    <a:lnTo>
                      <a:pt x="231" y="275"/>
                    </a:lnTo>
                    <a:lnTo>
                      <a:pt x="226" y="277"/>
                    </a:lnTo>
                    <a:lnTo>
                      <a:pt x="223" y="274"/>
                    </a:lnTo>
                    <a:lnTo>
                      <a:pt x="216" y="275"/>
                    </a:lnTo>
                    <a:lnTo>
                      <a:pt x="210" y="277"/>
                    </a:lnTo>
                    <a:lnTo>
                      <a:pt x="206" y="280"/>
                    </a:lnTo>
                    <a:lnTo>
                      <a:pt x="211" y="284"/>
                    </a:lnTo>
                    <a:lnTo>
                      <a:pt x="210" y="284"/>
                    </a:lnTo>
                    <a:lnTo>
                      <a:pt x="201" y="284"/>
                    </a:lnTo>
                    <a:lnTo>
                      <a:pt x="196" y="282"/>
                    </a:lnTo>
                    <a:lnTo>
                      <a:pt x="193" y="282"/>
                    </a:lnTo>
                    <a:lnTo>
                      <a:pt x="190" y="285"/>
                    </a:lnTo>
                    <a:lnTo>
                      <a:pt x="191" y="287"/>
                    </a:lnTo>
                    <a:lnTo>
                      <a:pt x="190" y="289"/>
                    </a:lnTo>
                    <a:lnTo>
                      <a:pt x="178" y="287"/>
                    </a:lnTo>
                    <a:lnTo>
                      <a:pt x="175" y="285"/>
                    </a:lnTo>
                    <a:lnTo>
                      <a:pt x="163" y="282"/>
                    </a:lnTo>
                    <a:lnTo>
                      <a:pt x="156" y="284"/>
                    </a:lnTo>
                    <a:lnTo>
                      <a:pt x="156" y="285"/>
                    </a:lnTo>
                    <a:lnTo>
                      <a:pt x="151" y="285"/>
                    </a:lnTo>
                    <a:lnTo>
                      <a:pt x="146" y="284"/>
                    </a:lnTo>
                    <a:lnTo>
                      <a:pt x="133" y="284"/>
                    </a:lnTo>
                    <a:lnTo>
                      <a:pt x="130" y="285"/>
                    </a:lnTo>
                    <a:lnTo>
                      <a:pt x="128" y="289"/>
                    </a:lnTo>
                    <a:lnTo>
                      <a:pt x="126" y="287"/>
                    </a:lnTo>
                    <a:lnTo>
                      <a:pt x="123" y="289"/>
                    </a:lnTo>
                    <a:lnTo>
                      <a:pt x="120" y="290"/>
                    </a:lnTo>
                    <a:lnTo>
                      <a:pt x="118" y="292"/>
                    </a:lnTo>
                    <a:lnTo>
                      <a:pt x="113" y="292"/>
                    </a:lnTo>
                    <a:lnTo>
                      <a:pt x="110" y="294"/>
                    </a:lnTo>
                    <a:lnTo>
                      <a:pt x="102" y="292"/>
                    </a:lnTo>
                    <a:lnTo>
                      <a:pt x="97" y="292"/>
                    </a:lnTo>
                    <a:lnTo>
                      <a:pt x="95" y="294"/>
                    </a:lnTo>
                    <a:lnTo>
                      <a:pt x="88" y="292"/>
                    </a:lnTo>
                    <a:lnTo>
                      <a:pt x="83" y="297"/>
                    </a:lnTo>
                    <a:lnTo>
                      <a:pt x="80" y="299"/>
                    </a:lnTo>
                    <a:lnTo>
                      <a:pt x="78" y="302"/>
                    </a:lnTo>
                    <a:lnTo>
                      <a:pt x="75" y="300"/>
                    </a:lnTo>
                    <a:lnTo>
                      <a:pt x="73" y="302"/>
                    </a:lnTo>
                    <a:lnTo>
                      <a:pt x="62" y="297"/>
                    </a:lnTo>
                    <a:lnTo>
                      <a:pt x="58" y="297"/>
                    </a:lnTo>
                    <a:lnTo>
                      <a:pt x="58" y="292"/>
                    </a:lnTo>
                    <a:lnTo>
                      <a:pt x="53" y="290"/>
                    </a:lnTo>
                    <a:lnTo>
                      <a:pt x="50" y="292"/>
                    </a:lnTo>
                    <a:lnTo>
                      <a:pt x="48" y="290"/>
                    </a:lnTo>
                    <a:lnTo>
                      <a:pt x="50" y="289"/>
                    </a:lnTo>
                    <a:lnTo>
                      <a:pt x="48" y="285"/>
                    </a:lnTo>
                    <a:lnTo>
                      <a:pt x="43" y="284"/>
                    </a:lnTo>
                    <a:lnTo>
                      <a:pt x="38" y="287"/>
                    </a:lnTo>
                    <a:lnTo>
                      <a:pt x="38" y="292"/>
                    </a:lnTo>
                    <a:lnTo>
                      <a:pt x="37" y="289"/>
                    </a:lnTo>
                    <a:lnTo>
                      <a:pt x="35" y="285"/>
                    </a:lnTo>
                    <a:lnTo>
                      <a:pt x="37" y="280"/>
                    </a:lnTo>
                    <a:lnTo>
                      <a:pt x="37" y="275"/>
                    </a:lnTo>
                    <a:lnTo>
                      <a:pt x="40" y="270"/>
                    </a:lnTo>
                    <a:lnTo>
                      <a:pt x="35" y="264"/>
                    </a:lnTo>
                    <a:lnTo>
                      <a:pt x="32" y="260"/>
                    </a:lnTo>
                    <a:lnTo>
                      <a:pt x="27" y="254"/>
                    </a:lnTo>
                    <a:lnTo>
                      <a:pt x="27" y="249"/>
                    </a:lnTo>
                    <a:lnTo>
                      <a:pt x="30" y="247"/>
                    </a:lnTo>
                    <a:lnTo>
                      <a:pt x="32" y="249"/>
                    </a:lnTo>
                    <a:lnTo>
                      <a:pt x="35" y="249"/>
                    </a:lnTo>
                    <a:lnTo>
                      <a:pt x="37" y="245"/>
                    </a:lnTo>
                    <a:lnTo>
                      <a:pt x="38" y="239"/>
                    </a:lnTo>
                    <a:lnTo>
                      <a:pt x="37" y="232"/>
                    </a:lnTo>
                    <a:lnTo>
                      <a:pt x="37" y="229"/>
                    </a:lnTo>
                    <a:lnTo>
                      <a:pt x="30" y="219"/>
                    </a:lnTo>
                    <a:lnTo>
                      <a:pt x="30" y="214"/>
                    </a:lnTo>
                    <a:lnTo>
                      <a:pt x="23" y="206"/>
                    </a:lnTo>
                    <a:lnTo>
                      <a:pt x="20" y="192"/>
                    </a:lnTo>
                    <a:lnTo>
                      <a:pt x="15" y="181"/>
                    </a:lnTo>
                    <a:lnTo>
                      <a:pt x="15" y="174"/>
                    </a:lnTo>
                    <a:lnTo>
                      <a:pt x="10" y="161"/>
                    </a:lnTo>
                    <a:lnTo>
                      <a:pt x="2" y="15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9"/>
                    </a:lnTo>
                    <a:close/>
                    <a:moveTo>
                      <a:pt x="259" y="191"/>
                    </a:moveTo>
                    <a:lnTo>
                      <a:pt x="263" y="194"/>
                    </a:lnTo>
                    <a:lnTo>
                      <a:pt x="264" y="197"/>
                    </a:lnTo>
                    <a:lnTo>
                      <a:pt x="271" y="199"/>
                    </a:lnTo>
                    <a:lnTo>
                      <a:pt x="274" y="199"/>
                    </a:lnTo>
                    <a:lnTo>
                      <a:pt x="276" y="197"/>
                    </a:lnTo>
                    <a:lnTo>
                      <a:pt x="278" y="196"/>
                    </a:lnTo>
                    <a:lnTo>
                      <a:pt x="279" y="189"/>
                    </a:lnTo>
                    <a:lnTo>
                      <a:pt x="284" y="189"/>
                    </a:lnTo>
                    <a:lnTo>
                      <a:pt x="288" y="187"/>
                    </a:lnTo>
                    <a:lnTo>
                      <a:pt x="291" y="186"/>
                    </a:lnTo>
                    <a:lnTo>
                      <a:pt x="294" y="187"/>
                    </a:lnTo>
                    <a:lnTo>
                      <a:pt x="299" y="184"/>
                    </a:lnTo>
                    <a:lnTo>
                      <a:pt x="299" y="181"/>
                    </a:lnTo>
                    <a:lnTo>
                      <a:pt x="298" y="179"/>
                    </a:lnTo>
                    <a:lnTo>
                      <a:pt x="298" y="176"/>
                    </a:lnTo>
                    <a:lnTo>
                      <a:pt x="303" y="174"/>
                    </a:lnTo>
                    <a:lnTo>
                      <a:pt x="306" y="171"/>
                    </a:lnTo>
                    <a:lnTo>
                      <a:pt x="306" y="166"/>
                    </a:lnTo>
                    <a:lnTo>
                      <a:pt x="303" y="157"/>
                    </a:lnTo>
                    <a:lnTo>
                      <a:pt x="298" y="154"/>
                    </a:lnTo>
                    <a:lnTo>
                      <a:pt x="293" y="154"/>
                    </a:lnTo>
                    <a:lnTo>
                      <a:pt x="289" y="152"/>
                    </a:lnTo>
                    <a:lnTo>
                      <a:pt x="288" y="152"/>
                    </a:lnTo>
                    <a:lnTo>
                      <a:pt x="286" y="152"/>
                    </a:lnTo>
                    <a:lnTo>
                      <a:pt x="283" y="151"/>
                    </a:lnTo>
                    <a:lnTo>
                      <a:pt x="281" y="152"/>
                    </a:lnTo>
                    <a:lnTo>
                      <a:pt x="279" y="154"/>
                    </a:lnTo>
                    <a:lnTo>
                      <a:pt x="276" y="157"/>
                    </a:lnTo>
                    <a:lnTo>
                      <a:pt x="268" y="159"/>
                    </a:lnTo>
                    <a:lnTo>
                      <a:pt x="263" y="162"/>
                    </a:lnTo>
                    <a:lnTo>
                      <a:pt x="259" y="169"/>
                    </a:lnTo>
                    <a:lnTo>
                      <a:pt x="253" y="172"/>
                    </a:lnTo>
                    <a:lnTo>
                      <a:pt x="251" y="176"/>
                    </a:lnTo>
                    <a:lnTo>
                      <a:pt x="253" y="179"/>
                    </a:lnTo>
                    <a:lnTo>
                      <a:pt x="254" y="182"/>
                    </a:lnTo>
                    <a:lnTo>
                      <a:pt x="256" y="184"/>
                    </a:lnTo>
                    <a:lnTo>
                      <a:pt x="259" y="187"/>
                    </a:lnTo>
                    <a:lnTo>
                      <a:pt x="259" y="1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8" name="Freeform 142"/>
              <p:cNvSpPr>
                <a:spLocks/>
              </p:cNvSpPr>
              <p:nvPr/>
            </p:nvSpPr>
            <p:spPr bwMode="auto">
              <a:xfrm>
                <a:off x="6754283" y="3604855"/>
                <a:ext cx="28896" cy="24902"/>
              </a:xfrm>
              <a:custGeom>
                <a:avLst/>
                <a:gdLst/>
                <a:ahLst/>
                <a:cxnLst>
                  <a:cxn ang="0">
                    <a:pos x="8" y="40"/>
                  </a:cxn>
                  <a:cxn ang="0">
                    <a:pos x="8" y="36"/>
                  </a:cxn>
                  <a:cxn ang="0">
                    <a:pos x="5" y="33"/>
                  </a:cxn>
                  <a:cxn ang="0">
                    <a:pos x="3" y="31"/>
                  </a:cxn>
                  <a:cxn ang="0">
                    <a:pos x="2" y="28"/>
                  </a:cxn>
                  <a:cxn ang="0">
                    <a:pos x="0" y="25"/>
                  </a:cxn>
                  <a:cxn ang="0">
                    <a:pos x="2" y="21"/>
                  </a:cxn>
                  <a:cxn ang="0">
                    <a:pos x="8" y="18"/>
                  </a:cxn>
                  <a:cxn ang="0">
                    <a:pos x="12" y="11"/>
                  </a:cxn>
                  <a:cxn ang="0">
                    <a:pos x="17" y="8"/>
                  </a:cxn>
                  <a:cxn ang="0">
                    <a:pos x="25" y="6"/>
                  </a:cxn>
                  <a:cxn ang="0">
                    <a:pos x="28" y="3"/>
                  </a:cxn>
                  <a:cxn ang="0">
                    <a:pos x="30" y="1"/>
                  </a:cxn>
                  <a:cxn ang="0">
                    <a:pos x="32" y="0"/>
                  </a:cxn>
                  <a:cxn ang="0">
                    <a:pos x="35" y="1"/>
                  </a:cxn>
                  <a:cxn ang="0">
                    <a:pos x="37" y="1"/>
                  </a:cxn>
                  <a:cxn ang="0">
                    <a:pos x="38" y="1"/>
                  </a:cxn>
                  <a:cxn ang="0">
                    <a:pos x="42" y="3"/>
                  </a:cxn>
                  <a:cxn ang="0">
                    <a:pos x="47" y="3"/>
                  </a:cxn>
                  <a:cxn ang="0">
                    <a:pos x="52" y="6"/>
                  </a:cxn>
                  <a:cxn ang="0">
                    <a:pos x="55" y="15"/>
                  </a:cxn>
                  <a:cxn ang="0">
                    <a:pos x="55" y="20"/>
                  </a:cxn>
                  <a:cxn ang="0">
                    <a:pos x="52" y="23"/>
                  </a:cxn>
                  <a:cxn ang="0">
                    <a:pos x="47" y="25"/>
                  </a:cxn>
                  <a:cxn ang="0">
                    <a:pos x="47" y="28"/>
                  </a:cxn>
                  <a:cxn ang="0">
                    <a:pos x="48" y="30"/>
                  </a:cxn>
                  <a:cxn ang="0">
                    <a:pos x="48" y="33"/>
                  </a:cxn>
                  <a:cxn ang="0">
                    <a:pos x="43" y="36"/>
                  </a:cxn>
                  <a:cxn ang="0">
                    <a:pos x="40" y="35"/>
                  </a:cxn>
                  <a:cxn ang="0">
                    <a:pos x="37" y="36"/>
                  </a:cxn>
                  <a:cxn ang="0">
                    <a:pos x="33" y="38"/>
                  </a:cxn>
                  <a:cxn ang="0">
                    <a:pos x="28" y="38"/>
                  </a:cxn>
                  <a:cxn ang="0">
                    <a:pos x="27" y="45"/>
                  </a:cxn>
                  <a:cxn ang="0">
                    <a:pos x="25" y="46"/>
                  </a:cxn>
                  <a:cxn ang="0">
                    <a:pos x="23" y="48"/>
                  </a:cxn>
                  <a:cxn ang="0">
                    <a:pos x="20" y="48"/>
                  </a:cxn>
                  <a:cxn ang="0">
                    <a:pos x="13" y="46"/>
                  </a:cxn>
                  <a:cxn ang="0">
                    <a:pos x="12" y="43"/>
                  </a:cxn>
                  <a:cxn ang="0">
                    <a:pos x="8" y="40"/>
                  </a:cxn>
                </a:cxnLst>
                <a:rect l="0" t="0" r="r" b="b"/>
                <a:pathLst>
                  <a:path w="55" h="48">
                    <a:moveTo>
                      <a:pt x="8" y="40"/>
                    </a:moveTo>
                    <a:lnTo>
                      <a:pt x="8" y="36"/>
                    </a:lnTo>
                    <a:lnTo>
                      <a:pt x="5" y="33"/>
                    </a:lnTo>
                    <a:lnTo>
                      <a:pt x="3" y="31"/>
                    </a:lnTo>
                    <a:lnTo>
                      <a:pt x="2" y="28"/>
                    </a:lnTo>
                    <a:lnTo>
                      <a:pt x="0" y="25"/>
                    </a:lnTo>
                    <a:lnTo>
                      <a:pt x="2" y="21"/>
                    </a:lnTo>
                    <a:lnTo>
                      <a:pt x="8" y="18"/>
                    </a:lnTo>
                    <a:lnTo>
                      <a:pt x="12" y="11"/>
                    </a:lnTo>
                    <a:lnTo>
                      <a:pt x="17" y="8"/>
                    </a:lnTo>
                    <a:lnTo>
                      <a:pt x="25" y="6"/>
                    </a:lnTo>
                    <a:lnTo>
                      <a:pt x="28" y="3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1"/>
                    </a:lnTo>
                    <a:lnTo>
                      <a:pt x="38" y="1"/>
                    </a:lnTo>
                    <a:lnTo>
                      <a:pt x="42" y="3"/>
                    </a:lnTo>
                    <a:lnTo>
                      <a:pt x="47" y="3"/>
                    </a:lnTo>
                    <a:lnTo>
                      <a:pt x="52" y="6"/>
                    </a:lnTo>
                    <a:lnTo>
                      <a:pt x="55" y="15"/>
                    </a:lnTo>
                    <a:lnTo>
                      <a:pt x="55" y="20"/>
                    </a:lnTo>
                    <a:lnTo>
                      <a:pt x="52" y="23"/>
                    </a:lnTo>
                    <a:lnTo>
                      <a:pt x="47" y="25"/>
                    </a:lnTo>
                    <a:lnTo>
                      <a:pt x="47" y="28"/>
                    </a:lnTo>
                    <a:lnTo>
                      <a:pt x="48" y="30"/>
                    </a:lnTo>
                    <a:lnTo>
                      <a:pt x="48" y="33"/>
                    </a:lnTo>
                    <a:lnTo>
                      <a:pt x="43" y="36"/>
                    </a:lnTo>
                    <a:lnTo>
                      <a:pt x="40" y="35"/>
                    </a:lnTo>
                    <a:lnTo>
                      <a:pt x="37" y="36"/>
                    </a:lnTo>
                    <a:lnTo>
                      <a:pt x="33" y="38"/>
                    </a:lnTo>
                    <a:lnTo>
                      <a:pt x="28" y="38"/>
                    </a:lnTo>
                    <a:lnTo>
                      <a:pt x="27" y="45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20" y="48"/>
                    </a:lnTo>
                    <a:lnTo>
                      <a:pt x="13" y="46"/>
                    </a:lnTo>
                    <a:lnTo>
                      <a:pt x="12" y="43"/>
                    </a:lnTo>
                    <a:lnTo>
                      <a:pt x="8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sp>
          <p:nvSpPr>
            <p:cNvPr id="26" name="Freeform 143"/>
            <p:cNvSpPr>
              <a:spLocks noEditPoints="1"/>
            </p:cNvSpPr>
            <p:nvPr/>
          </p:nvSpPr>
          <p:spPr bwMode="auto">
            <a:xfrm>
              <a:off x="7860920" y="3393187"/>
              <a:ext cx="526562" cy="494930"/>
            </a:xfrm>
            <a:custGeom>
              <a:avLst/>
              <a:gdLst/>
              <a:ahLst/>
              <a:cxnLst>
                <a:cxn ang="0">
                  <a:pos x="975" y="400"/>
                </a:cxn>
                <a:cxn ang="0">
                  <a:pos x="839" y="199"/>
                </a:cxn>
                <a:cxn ang="0">
                  <a:pos x="679" y="170"/>
                </a:cxn>
                <a:cxn ang="0">
                  <a:pos x="621" y="138"/>
                </a:cxn>
                <a:cxn ang="0">
                  <a:pos x="616" y="90"/>
                </a:cxn>
                <a:cxn ang="0">
                  <a:pos x="610" y="33"/>
                </a:cxn>
                <a:cxn ang="0">
                  <a:pos x="583" y="47"/>
                </a:cxn>
                <a:cxn ang="0">
                  <a:pos x="493" y="33"/>
                </a:cxn>
                <a:cxn ang="0">
                  <a:pos x="465" y="38"/>
                </a:cxn>
                <a:cxn ang="0">
                  <a:pos x="309" y="130"/>
                </a:cxn>
                <a:cxn ang="0">
                  <a:pos x="3" y="369"/>
                </a:cxn>
                <a:cxn ang="0">
                  <a:pos x="535" y="683"/>
                </a:cxn>
                <a:cxn ang="0">
                  <a:pos x="723" y="789"/>
                </a:cxn>
                <a:cxn ang="0">
                  <a:pos x="661" y="839"/>
                </a:cxn>
                <a:cxn ang="0">
                  <a:pos x="744" y="839"/>
                </a:cxn>
                <a:cxn ang="0">
                  <a:pos x="741" y="852"/>
                </a:cxn>
                <a:cxn ang="0">
                  <a:pos x="661" y="942"/>
                </a:cxn>
                <a:cxn ang="0">
                  <a:pos x="655" y="856"/>
                </a:cxn>
                <a:cxn ang="0">
                  <a:pos x="728" y="862"/>
                </a:cxn>
                <a:cxn ang="0">
                  <a:pos x="718" y="920"/>
                </a:cxn>
                <a:cxn ang="0">
                  <a:pos x="686" y="937"/>
                </a:cxn>
                <a:cxn ang="0">
                  <a:pos x="38" y="626"/>
                </a:cxn>
                <a:cxn ang="0">
                  <a:pos x="113" y="615"/>
                </a:cxn>
                <a:cxn ang="0">
                  <a:pos x="203" y="606"/>
                </a:cxn>
                <a:cxn ang="0">
                  <a:pos x="317" y="560"/>
                </a:cxn>
                <a:cxn ang="0">
                  <a:pos x="457" y="565"/>
                </a:cxn>
                <a:cxn ang="0">
                  <a:pos x="490" y="635"/>
                </a:cxn>
                <a:cxn ang="0">
                  <a:pos x="548" y="601"/>
                </a:cxn>
                <a:cxn ang="0">
                  <a:pos x="523" y="658"/>
                </a:cxn>
                <a:cxn ang="0">
                  <a:pos x="578" y="666"/>
                </a:cxn>
                <a:cxn ang="0">
                  <a:pos x="606" y="759"/>
                </a:cxn>
                <a:cxn ang="0">
                  <a:pos x="686" y="766"/>
                </a:cxn>
                <a:cxn ang="0">
                  <a:pos x="718" y="801"/>
                </a:cxn>
                <a:cxn ang="0">
                  <a:pos x="802" y="762"/>
                </a:cxn>
                <a:cxn ang="0">
                  <a:pos x="876" y="640"/>
                </a:cxn>
                <a:cxn ang="0">
                  <a:pos x="942" y="562"/>
                </a:cxn>
                <a:cxn ang="0">
                  <a:pos x="969" y="434"/>
                </a:cxn>
                <a:cxn ang="0">
                  <a:pos x="942" y="347"/>
                </a:cxn>
                <a:cxn ang="0">
                  <a:pos x="914" y="312"/>
                </a:cxn>
                <a:cxn ang="0">
                  <a:pos x="879" y="243"/>
                </a:cxn>
                <a:cxn ang="0">
                  <a:pos x="836" y="196"/>
                </a:cxn>
                <a:cxn ang="0">
                  <a:pos x="806" y="98"/>
                </a:cxn>
                <a:cxn ang="0">
                  <a:pos x="769" y="42"/>
                </a:cxn>
                <a:cxn ang="0">
                  <a:pos x="739" y="73"/>
                </a:cxn>
                <a:cxn ang="0">
                  <a:pos x="693" y="188"/>
                </a:cxn>
                <a:cxn ang="0">
                  <a:pos x="608" y="138"/>
                </a:cxn>
                <a:cxn ang="0">
                  <a:pos x="608" y="76"/>
                </a:cxn>
                <a:cxn ang="0">
                  <a:pos x="600" y="50"/>
                </a:cxn>
                <a:cxn ang="0">
                  <a:pos x="557" y="42"/>
                </a:cxn>
                <a:cxn ang="0">
                  <a:pos x="513" y="32"/>
                </a:cxn>
                <a:cxn ang="0">
                  <a:pos x="470" y="63"/>
                </a:cxn>
                <a:cxn ang="0">
                  <a:pos x="440" y="110"/>
                </a:cxn>
                <a:cxn ang="0">
                  <a:pos x="405" y="115"/>
                </a:cxn>
                <a:cxn ang="0">
                  <a:pos x="376" y="90"/>
                </a:cxn>
                <a:cxn ang="0">
                  <a:pos x="341" y="103"/>
                </a:cxn>
                <a:cxn ang="0">
                  <a:pos x="316" y="143"/>
                </a:cxn>
                <a:cxn ang="0">
                  <a:pos x="294" y="166"/>
                </a:cxn>
                <a:cxn ang="0">
                  <a:pos x="254" y="191"/>
                </a:cxn>
                <a:cxn ang="0">
                  <a:pos x="140" y="248"/>
                </a:cxn>
                <a:cxn ang="0">
                  <a:pos x="47" y="279"/>
                </a:cxn>
                <a:cxn ang="0">
                  <a:pos x="22" y="390"/>
                </a:cxn>
                <a:cxn ang="0">
                  <a:pos x="33" y="482"/>
                </a:cxn>
              </a:cxnLst>
              <a:rect l="0" t="0" r="r" b="b"/>
              <a:pathLst>
                <a:path w="985" h="955">
                  <a:moveTo>
                    <a:pt x="974" y="455"/>
                  </a:moveTo>
                  <a:lnTo>
                    <a:pt x="975" y="449"/>
                  </a:lnTo>
                  <a:lnTo>
                    <a:pt x="977" y="452"/>
                  </a:lnTo>
                  <a:lnTo>
                    <a:pt x="974" y="455"/>
                  </a:lnTo>
                  <a:lnTo>
                    <a:pt x="974" y="455"/>
                  </a:lnTo>
                  <a:close/>
                  <a:moveTo>
                    <a:pt x="975" y="400"/>
                  </a:moveTo>
                  <a:lnTo>
                    <a:pt x="974" y="394"/>
                  </a:lnTo>
                  <a:lnTo>
                    <a:pt x="974" y="390"/>
                  </a:lnTo>
                  <a:lnTo>
                    <a:pt x="975" y="385"/>
                  </a:lnTo>
                  <a:lnTo>
                    <a:pt x="978" y="382"/>
                  </a:lnTo>
                  <a:lnTo>
                    <a:pt x="982" y="377"/>
                  </a:lnTo>
                  <a:lnTo>
                    <a:pt x="980" y="374"/>
                  </a:lnTo>
                  <a:lnTo>
                    <a:pt x="982" y="370"/>
                  </a:lnTo>
                  <a:lnTo>
                    <a:pt x="983" y="370"/>
                  </a:lnTo>
                  <a:lnTo>
                    <a:pt x="985" y="375"/>
                  </a:lnTo>
                  <a:lnTo>
                    <a:pt x="983" y="382"/>
                  </a:lnTo>
                  <a:lnTo>
                    <a:pt x="978" y="389"/>
                  </a:lnTo>
                  <a:lnTo>
                    <a:pt x="977" y="397"/>
                  </a:lnTo>
                  <a:lnTo>
                    <a:pt x="978" y="402"/>
                  </a:lnTo>
                  <a:lnTo>
                    <a:pt x="975" y="400"/>
                  </a:lnTo>
                  <a:lnTo>
                    <a:pt x="975" y="400"/>
                  </a:lnTo>
                  <a:close/>
                  <a:moveTo>
                    <a:pt x="935" y="336"/>
                  </a:moveTo>
                  <a:lnTo>
                    <a:pt x="939" y="342"/>
                  </a:lnTo>
                  <a:lnTo>
                    <a:pt x="942" y="346"/>
                  </a:lnTo>
                  <a:lnTo>
                    <a:pt x="944" y="342"/>
                  </a:lnTo>
                  <a:lnTo>
                    <a:pt x="940" y="339"/>
                  </a:lnTo>
                  <a:lnTo>
                    <a:pt x="942" y="337"/>
                  </a:lnTo>
                  <a:lnTo>
                    <a:pt x="939" y="336"/>
                  </a:lnTo>
                  <a:lnTo>
                    <a:pt x="935" y="336"/>
                  </a:lnTo>
                  <a:lnTo>
                    <a:pt x="935" y="336"/>
                  </a:lnTo>
                  <a:lnTo>
                    <a:pt x="935" y="336"/>
                  </a:lnTo>
                  <a:close/>
                  <a:moveTo>
                    <a:pt x="929" y="306"/>
                  </a:moveTo>
                  <a:lnTo>
                    <a:pt x="929" y="302"/>
                  </a:lnTo>
                  <a:lnTo>
                    <a:pt x="927" y="304"/>
                  </a:lnTo>
                  <a:lnTo>
                    <a:pt x="929" y="306"/>
                  </a:lnTo>
                  <a:lnTo>
                    <a:pt x="929" y="306"/>
                  </a:lnTo>
                  <a:close/>
                  <a:moveTo>
                    <a:pt x="837" y="208"/>
                  </a:moveTo>
                  <a:lnTo>
                    <a:pt x="839" y="204"/>
                  </a:lnTo>
                  <a:lnTo>
                    <a:pt x="834" y="201"/>
                  </a:lnTo>
                  <a:lnTo>
                    <a:pt x="839" y="199"/>
                  </a:lnTo>
                  <a:lnTo>
                    <a:pt x="841" y="199"/>
                  </a:lnTo>
                  <a:lnTo>
                    <a:pt x="841" y="206"/>
                  </a:lnTo>
                  <a:lnTo>
                    <a:pt x="839" y="211"/>
                  </a:lnTo>
                  <a:lnTo>
                    <a:pt x="837" y="208"/>
                  </a:lnTo>
                  <a:lnTo>
                    <a:pt x="837" y="208"/>
                  </a:lnTo>
                  <a:close/>
                  <a:moveTo>
                    <a:pt x="758" y="0"/>
                  </a:moveTo>
                  <a:lnTo>
                    <a:pt x="759" y="3"/>
                  </a:lnTo>
                  <a:lnTo>
                    <a:pt x="761" y="0"/>
                  </a:lnTo>
                  <a:lnTo>
                    <a:pt x="758" y="0"/>
                  </a:lnTo>
                  <a:lnTo>
                    <a:pt x="758" y="0"/>
                  </a:lnTo>
                  <a:close/>
                  <a:moveTo>
                    <a:pt x="754" y="12"/>
                  </a:moveTo>
                  <a:lnTo>
                    <a:pt x="754" y="17"/>
                  </a:lnTo>
                  <a:lnTo>
                    <a:pt x="756" y="15"/>
                  </a:lnTo>
                  <a:lnTo>
                    <a:pt x="759" y="15"/>
                  </a:lnTo>
                  <a:lnTo>
                    <a:pt x="758" y="12"/>
                  </a:lnTo>
                  <a:lnTo>
                    <a:pt x="754" y="12"/>
                  </a:lnTo>
                  <a:lnTo>
                    <a:pt x="754" y="12"/>
                  </a:lnTo>
                  <a:close/>
                  <a:moveTo>
                    <a:pt x="676" y="170"/>
                  </a:moveTo>
                  <a:lnTo>
                    <a:pt x="678" y="171"/>
                  </a:lnTo>
                  <a:lnTo>
                    <a:pt x="679" y="170"/>
                  </a:lnTo>
                  <a:lnTo>
                    <a:pt x="679" y="168"/>
                  </a:lnTo>
                  <a:lnTo>
                    <a:pt x="676" y="170"/>
                  </a:lnTo>
                  <a:lnTo>
                    <a:pt x="676" y="170"/>
                  </a:lnTo>
                  <a:close/>
                  <a:moveTo>
                    <a:pt x="670" y="160"/>
                  </a:moveTo>
                  <a:lnTo>
                    <a:pt x="673" y="161"/>
                  </a:lnTo>
                  <a:lnTo>
                    <a:pt x="675" y="161"/>
                  </a:lnTo>
                  <a:lnTo>
                    <a:pt x="678" y="158"/>
                  </a:lnTo>
                  <a:lnTo>
                    <a:pt x="683" y="156"/>
                  </a:lnTo>
                  <a:lnTo>
                    <a:pt x="683" y="155"/>
                  </a:lnTo>
                  <a:lnTo>
                    <a:pt x="678" y="155"/>
                  </a:lnTo>
                  <a:lnTo>
                    <a:pt x="671" y="156"/>
                  </a:lnTo>
                  <a:lnTo>
                    <a:pt x="671" y="156"/>
                  </a:lnTo>
                  <a:lnTo>
                    <a:pt x="670" y="160"/>
                  </a:lnTo>
                  <a:lnTo>
                    <a:pt x="670" y="160"/>
                  </a:lnTo>
                  <a:close/>
                  <a:moveTo>
                    <a:pt x="621" y="138"/>
                  </a:moveTo>
                  <a:lnTo>
                    <a:pt x="620" y="136"/>
                  </a:lnTo>
                  <a:lnTo>
                    <a:pt x="620" y="133"/>
                  </a:lnTo>
                  <a:lnTo>
                    <a:pt x="623" y="136"/>
                  </a:lnTo>
                  <a:lnTo>
                    <a:pt x="621" y="138"/>
                  </a:lnTo>
                  <a:lnTo>
                    <a:pt x="621" y="138"/>
                  </a:lnTo>
                  <a:close/>
                  <a:moveTo>
                    <a:pt x="605" y="91"/>
                  </a:moveTo>
                  <a:lnTo>
                    <a:pt x="605" y="90"/>
                  </a:lnTo>
                  <a:lnTo>
                    <a:pt x="603" y="90"/>
                  </a:lnTo>
                  <a:lnTo>
                    <a:pt x="603" y="88"/>
                  </a:lnTo>
                  <a:lnTo>
                    <a:pt x="605" y="86"/>
                  </a:lnTo>
                  <a:lnTo>
                    <a:pt x="608" y="88"/>
                  </a:lnTo>
                  <a:lnTo>
                    <a:pt x="605" y="91"/>
                  </a:lnTo>
                  <a:lnTo>
                    <a:pt x="605" y="91"/>
                  </a:lnTo>
                  <a:close/>
                  <a:moveTo>
                    <a:pt x="611" y="96"/>
                  </a:moveTo>
                  <a:lnTo>
                    <a:pt x="608" y="98"/>
                  </a:lnTo>
                  <a:lnTo>
                    <a:pt x="610" y="100"/>
                  </a:lnTo>
                  <a:lnTo>
                    <a:pt x="615" y="98"/>
                  </a:lnTo>
                  <a:lnTo>
                    <a:pt x="621" y="98"/>
                  </a:lnTo>
                  <a:lnTo>
                    <a:pt x="621" y="95"/>
                  </a:lnTo>
                  <a:lnTo>
                    <a:pt x="620" y="95"/>
                  </a:lnTo>
                  <a:lnTo>
                    <a:pt x="618" y="95"/>
                  </a:lnTo>
                  <a:lnTo>
                    <a:pt x="618" y="93"/>
                  </a:lnTo>
                  <a:lnTo>
                    <a:pt x="621" y="90"/>
                  </a:lnTo>
                  <a:lnTo>
                    <a:pt x="621" y="90"/>
                  </a:lnTo>
                  <a:lnTo>
                    <a:pt x="616" y="90"/>
                  </a:lnTo>
                  <a:lnTo>
                    <a:pt x="616" y="86"/>
                  </a:lnTo>
                  <a:lnTo>
                    <a:pt x="613" y="88"/>
                  </a:lnTo>
                  <a:lnTo>
                    <a:pt x="613" y="90"/>
                  </a:lnTo>
                  <a:lnTo>
                    <a:pt x="610" y="90"/>
                  </a:lnTo>
                  <a:lnTo>
                    <a:pt x="610" y="91"/>
                  </a:lnTo>
                  <a:lnTo>
                    <a:pt x="610" y="91"/>
                  </a:lnTo>
                  <a:lnTo>
                    <a:pt x="611" y="96"/>
                  </a:lnTo>
                  <a:lnTo>
                    <a:pt x="611" y="96"/>
                  </a:lnTo>
                  <a:close/>
                  <a:moveTo>
                    <a:pt x="615" y="30"/>
                  </a:moveTo>
                  <a:lnTo>
                    <a:pt x="618" y="32"/>
                  </a:lnTo>
                  <a:lnTo>
                    <a:pt x="618" y="28"/>
                  </a:lnTo>
                  <a:lnTo>
                    <a:pt x="623" y="25"/>
                  </a:lnTo>
                  <a:lnTo>
                    <a:pt x="621" y="22"/>
                  </a:lnTo>
                  <a:lnTo>
                    <a:pt x="616" y="27"/>
                  </a:lnTo>
                  <a:lnTo>
                    <a:pt x="615" y="30"/>
                  </a:lnTo>
                  <a:lnTo>
                    <a:pt x="615" y="30"/>
                  </a:lnTo>
                  <a:close/>
                  <a:moveTo>
                    <a:pt x="610" y="33"/>
                  </a:moveTo>
                  <a:lnTo>
                    <a:pt x="611" y="35"/>
                  </a:lnTo>
                  <a:lnTo>
                    <a:pt x="611" y="32"/>
                  </a:lnTo>
                  <a:lnTo>
                    <a:pt x="610" y="33"/>
                  </a:lnTo>
                  <a:lnTo>
                    <a:pt x="610" y="33"/>
                  </a:lnTo>
                  <a:close/>
                  <a:moveTo>
                    <a:pt x="605" y="35"/>
                  </a:moveTo>
                  <a:lnTo>
                    <a:pt x="606" y="37"/>
                  </a:lnTo>
                  <a:lnTo>
                    <a:pt x="608" y="35"/>
                  </a:lnTo>
                  <a:lnTo>
                    <a:pt x="605" y="35"/>
                  </a:lnTo>
                  <a:lnTo>
                    <a:pt x="605" y="35"/>
                  </a:lnTo>
                  <a:close/>
                  <a:moveTo>
                    <a:pt x="596" y="38"/>
                  </a:moveTo>
                  <a:lnTo>
                    <a:pt x="600" y="40"/>
                  </a:lnTo>
                  <a:lnTo>
                    <a:pt x="600" y="37"/>
                  </a:lnTo>
                  <a:lnTo>
                    <a:pt x="596" y="38"/>
                  </a:lnTo>
                  <a:lnTo>
                    <a:pt x="596" y="38"/>
                  </a:lnTo>
                  <a:close/>
                  <a:moveTo>
                    <a:pt x="591" y="45"/>
                  </a:moveTo>
                  <a:lnTo>
                    <a:pt x="590" y="43"/>
                  </a:lnTo>
                  <a:lnTo>
                    <a:pt x="595" y="40"/>
                  </a:lnTo>
                  <a:lnTo>
                    <a:pt x="598" y="40"/>
                  </a:lnTo>
                  <a:lnTo>
                    <a:pt x="598" y="43"/>
                  </a:lnTo>
                  <a:lnTo>
                    <a:pt x="593" y="43"/>
                  </a:lnTo>
                  <a:lnTo>
                    <a:pt x="591" y="45"/>
                  </a:lnTo>
                  <a:lnTo>
                    <a:pt x="591" y="45"/>
                  </a:lnTo>
                  <a:close/>
                  <a:moveTo>
                    <a:pt x="583" y="47"/>
                  </a:moveTo>
                  <a:lnTo>
                    <a:pt x="585" y="48"/>
                  </a:lnTo>
                  <a:lnTo>
                    <a:pt x="590" y="47"/>
                  </a:lnTo>
                  <a:lnTo>
                    <a:pt x="588" y="45"/>
                  </a:lnTo>
                  <a:lnTo>
                    <a:pt x="583" y="47"/>
                  </a:lnTo>
                  <a:lnTo>
                    <a:pt x="583" y="47"/>
                  </a:lnTo>
                  <a:close/>
                  <a:moveTo>
                    <a:pt x="522" y="30"/>
                  </a:moveTo>
                  <a:lnTo>
                    <a:pt x="518" y="25"/>
                  </a:lnTo>
                  <a:lnTo>
                    <a:pt x="520" y="22"/>
                  </a:lnTo>
                  <a:lnTo>
                    <a:pt x="523" y="22"/>
                  </a:lnTo>
                  <a:lnTo>
                    <a:pt x="522" y="25"/>
                  </a:lnTo>
                  <a:lnTo>
                    <a:pt x="522" y="30"/>
                  </a:lnTo>
                  <a:lnTo>
                    <a:pt x="522" y="30"/>
                  </a:lnTo>
                  <a:close/>
                  <a:moveTo>
                    <a:pt x="469" y="27"/>
                  </a:moveTo>
                  <a:lnTo>
                    <a:pt x="469" y="32"/>
                  </a:lnTo>
                  <a:lnTo>
                    <a:pt x="472" y="37"/>
                  </a:lnTo>
                  <a:lnTo>
                    <a:pt x="475" y="40"/>
                  </a:lnTo>
                  <a:lnTo>
                    <a:pt x="482" y="43"/>
                  </a:lnTo>
                  <a:lnTo>
                    <a:pt x="490" y="35"/>
                  </a:lnTo>
                  <a:lnTo>
                    <a:pt x="493" y="35"/>
                  </a:lnTo>
                  <a:lnTo>
                    <a:pt x="493" y="33"/>
                  </a:lnTo>
                  <a:lnTo>
                    <a:pt x="495" y="32"/>
                  </a:lnTo>
                  <a:lnTo>
                    <a:pt x="493" y="30"/>
                  </a:lnTo>
                  <a:lnTo>
                    <a:pt x="492" y="27"/>
                  </a:lnTo>
                  <a:lnTo>
                    <a:pt x="490" y="27"/>
                  </a:lnTo>
                  <a:lnTo>
                    <a:pt x="487" y="28"/>
                  </a:lnTo>
                  <a:lnTo>
                    <a:pt x="480" y="28"/>
                  </a:lnTo>
                  <a:lnTo>
                    <a:pt x="479" y="32"/>
                  </a:lnTo>
                  <a:lnTo>
                    <a:pt x="475" y="30"/>
                  </a:lnTo>
                  <a:lnTo>
                    <a:pt x="474" y="28"/>
                  </a:lnTo>
                  <a:lnTo>
                    <a:pt x="472" y="28"/>
                  </a:lnTo>
                  <a:lnTo>
                    <a:pt x="469" y="25"/>
                  </a:lnTo>
                  <a:lnTo>
                    <a:pt x="467" y="25"/>
                  </a:lnTo>
                  <a:lnTo>
                    <a:pt x="469" y="27"/>
                  </a:lnTo>
                  <a:lnTo>
                    <a:pt x="469" y="27"/>
                  </a:lnTo>
                  <a:close/>
                  <a:moveTo>
                    <a:pt x="465" y="28"/>
                  </a:moveTo>
                  <a:lnTo>
                    <a:pt x="469" y="37"/>
                  </a:lnTo>
                  <a:lnTo>
                    <a:pt x="472" y="37"/>
                  </a:lnTo>
                  <a:lnTo>
                    <a:pt x="474" y="38"/>
                  </a:lnTo>
                  <a:lnTo>
                    <a:pt x="467" y="38"/>
                  </a:lnTo>
                  <a:lnTo>
                    <a:pt x="465" y="38"/>
                  </a:lnTo>
                  <a:lnTo>
                    <a:pt x="460" y="37"/>
                  </a:lnTo>
                  <a:lnTo>
                    <a:pt x="460" y="33"/>
                  </a:lnTo>
                  <a:lnTo>
                    <a:pt x="462" y="33"/>
                  </a:lnTo>
                  <a:lnTo>
                    <a:pt x="464" y="35"/>
                  </a:lnTo>
                  <a:lnTo>
                    <a:pt x="464" y="33"/>
                  </a:lnTo>
                  <a:lnTo>
                    <a:pt x="464" y="33"/>
                  </a:lnTo>
                  <a:lnTo>
                    <a:pt x="464" y="30"/>
                  </a:lnTo>
                  <a:lnTo>
                    <a:pt x="462" y="30"/>
                  </a:lnTo>
                  <a:lnTo>
                    <a:pt x="465" y="28"/>
                  </a:lnTo>
                  <a:lnTo>
                    <a:pt x="465" y="28"/>
                  </a:lnTo>
                  <a:close/>
                  <a:moveTo>
                    <a:pt x="311" y="123"/>
                  </a:moveTo>
                  <a:lnTo>
                    <a:pt x="312" y="125"/>
                  </a:lnTo>
                  <a:lnTo>
                    <a:pt x="317" y="125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1" y="123"/>
                  </a:lnTo>
                  <a:lnTo>
                    <a:pt x="311" y="123"/>
                  </a:lnTo>
                  <a:close/>
                  <a:moveTo>
                    <a:pt x="312" y="138"/>
                  </a:moveTo>
                  <a:lnTo>
                    <a:pt x="312" y="133"/>
                  </a:lnTo>
                  <a:lnTo>
                    <a:pt x="309" y="130"/>
                  </a:lnTo>
                  <a:lnTo>
                    <a:pt x="311" y="136"/>
                  </a:lnTo>
                  <a:lnTo>
                    <a:pt x="312" y="138"/>
                  </a:lnTo>
                  <a:lnTo>
                    <a:pt x="312" y="138"/>
                  </a:lnTo>
                  <a:close/>
                  <a:moveTo>
                    <a:pt x="332" y="105"/>
                  </a:moveTo>
                  <a:lnTo>
                    <a:pt x="331" y="105"/>
                  </a:lnTo>
                  <a:lnTo>
                    <a:pt x="331" y="103"/>
                  </a:lnTo>
                  <a:lnTo>
                    <a:pt x="334" y="103"/>
                  </a:lnTo>
                  <a:lnTo>
                    <a:pt x="332" y="105"/>
                  </a:lnTo>
                  <a:lnTo>
                    <a:pt x="332" y="105"/>
                  </a:lnTo>
                  <a:close/>
                  <a:moveTo>
                    <a:pt x="77" y="256"/>
                  </a:moveTo>
                  <a:lnTo>
                    <a:pt x="75" y="254"/>
                  </a:lnTo>
                  <a:lnTo>
                    <a:pt x="80" y="248"/>
                  </a:lnTo>
                  <a:lnTo>
                    <a:pt x="78" y="253"/>
                  </a:lnTo>
                  <a:lnTo>
                    <a:pt x="77" y="256"/>
                  </a:lnTo>
                  <a:lnTo>
                    <a:pt x="77" y="256"/>
                  </a:lnTo>
                  <a:close/>
                  <a:moveTo>
                    <a:pt x="3" y="369"/>
                  </a:moveTo>
                  <a:lnTo>
                    <a:pt x="5" y="361"/>
                  </a:lnTo>
                  <a:lnTo>
                    <a:pt x="7" y="366"/>
                  </a:lnTo>
                  <a:lnTo>
                    <a:pt x="7" y="366"/>
                  </a:lnTo>
                  <a:lnTo>
                    <a:pt x="3" y="369"/>
                  </a:lnTo>
                  <a:lnTo>
                    <a:pt x="3" y="369"/>
                  </a:lnTo>
                  <a:close/>
                  <a:moveTo>
                    <a:pt x="3" y="387"/>
                  </a:moveTo>
                  <a:lnTo>
                    <a:pt x="0" y="377"/>
                  </a:lnTo>
                  <a:lnTo>
                    <a:pt x="3" y="372"/>
                  </a:lnTo>
                  <a:lnTo>
                    <a:pt x="5" y="380"/>
                  </a:lnTo>
                  <a:lnTo>
                    <a:pt x="3" y="387"/>
                  </a:lnTo>
                  <a:lnTo>
                    <a:pt x="3" y="387"/>
                  </a:lnTo>
                  <a:close/>
                  <a:moveTo>
                    <a:pt x="540" y="671"/>
                  </a:moveTo>
                  <a:lnTo>
                    <a:pt x="540" y="674"/>
                  </a:lnTo>
                  <a:lnTo>
                    <a:pt x="540" y="676"/>
                  </a:lnTo>
                  <a:lnTo>
                    <a:pt x="543" y="676"/>
                  </a:lnTo>
                  <a:lnTo>
                    <a:pt x="542" y="678"/>
                  </a:lnTo>
                  <a:lnTo>
                    <a:pt x="547" y="678"/>
                  </a:lnTo>
                  <a:lnTo>
                    <a:pt x="548" y="676"/>
                  </a:lnTo>
                  <a:lnTo>
                    <a:pt x="552" y="678"/>
                  </a:lnTo>
                  <a:lnTo>
                    <a:pt x="548" y="681"/>
                  </a:lnTo>
                  <a:lnTo>
                    <a:pt x="540" y="679"/>
                  </a:lnTo>
                  <a:lnTo>
                    <a:pt x="538" y="681"/>
                  </a:lnTo>
                  <a:lnTo>
                    <a:pt x="537" y="683"/>
                  </a:lnTo>
                  <a:lnTo>
                    <a:pt x="535" y="683"/>
                  </a:lnTo>
                  <a:lnTo>
                    <a:pt x="533" y="683"/>
                  </a:lnTo>
                  <a:lnTo>
                    <a:pt x="532" y="681"/>
                  </a:lnTo>
                  <a:lnTo>
                    <a:pt x="528" y="683"/>
                  </a:lnTo>
                  <a:lnTo>
                    <a:pt x="523" y="681"/>
                  </a:lnTo>
                  <a:lnTo>
                    <a:pt x="522" y="681"/>
                  </a:lnTo>
                  <a:lnTo>
                    <a:pt x="517" y="681"/>
                  </a:lnTo>
                  <a:lnTo>
                    <a:pt x="513" y="679"/>
                  </a:lnTo>
                  <a:lnTo>
                    <a:pt x="513" y="678"/>
                  </a:lnTo>
                  <a:lnTo>
                    <a:pt x="520" y="674"/>
                  </a:lnTo>
                  <a:lnTo>
                    <a:pt x="532" y="671"/>
                  </a:lnTo>
                  <a:lnTo>
                    <a:pt x="537" y="671"/>
                  </a:lnTo>
                  <a:lnTo>
                    <a:pt x="540" y="671"/>
                  </a:lnTo>
                  <a:lnTo>
                    <a:pt x="540" y="671"/>
                  </a:lnTo>
                  <a:close/>
                  <a:moveTo>
                    <a:pt x="698" y="774"/>
                  </a:moveTo>
                  <a:lnTo>
                    <a:pt x="701" y="774"/>
                  </a:lnTo>
                  <a:lnTo>
                    <a:pt x="703" y="776"/>
                  </a:lnTo>
                  <a:lnTo>
                    <a:pt x="701" y="777"/>
                  </a:lnTo>
                  <a:lnTo>
                    <a:pt x="698" y="774"/>
                  </a:lnTo>
                  <a:lnTo>
                    <a:pt x="698" y="774"/>
                  </a:lnTo>
                  <a:close/>
                  <a:moveTo>
                    <a:pt x="723" y="789"/>
                  </a:moveTo>
                  <a:lnTo>
                    <a:pt x="726" y="791"/>
                  </a:lnTo>
                  <a:lnTo>
                    <a:pt x="728" y="789"/>
                  </a:lnTo>
                  <a:lnTo>
                    <a:pt x="723" y="789"/>
                  </a:lnTo>
                  <a:lnTo>
                    <a:pt x="723" y="789"/>
                  </a:lnTo>
                  <a:close/>
                  <a:moveTo>
                    <a:pt x="665" y="847"/>
                  </a:moveTo>
                  <a:lnTo>
                    <a:pt x="666" y="851"/>
                  </a:lnTo>
                  <a:lnTo>
                    <a:pt x="670" y="852"/>
                  </a:lnTo>
                  <a:lnTo>
                    <a:pt x="671" y="849"/>
                  </a:lnTo>
                  <a:lnTo>
                    <a:pt x="668" y="847"/>
                  </a:lnTo>
                  <a:lnTo>
                    <a:pt x="665" y="847"/>
                  </a:lnTo>
                  <a:lnTo>
                    <a:pt x="665" y="847"/>
                  </a:lnTo>
                  <a:close/>
                  <a:moveTo>
                    <a:pt x="666" y="839"/>
                  </a:moveTo>
                  <a:lnTo>
                    <a:pt x="668" y="842"/>
                  </a:lnTo>
                  <a:lnTo>
                    <a:pt x="670" y="842"/>
                  </a:lnTo>
                  <a:lnTo>
                    <a:pt x="670" y="839"/>
                  </a:lnTo>
                  <a:lnTo>
                    <a:pt x="666" y="839"/>
                  </a:lnTo>
                  <a:lnTo>
                    <a:pt x="666" y="839"/>
                  </a:lnTo>
                  <a:close/>
                  <a:moveTo>
                    <a:pt x="663" y="844"/>
                  </a:moveTo>
                  <a:lnTo>
                    <a:pt x="660" y="842"/>
                  </a:lnTo>
                  <a:lnTo>
                    <a:pt x="661" y="839"/>
                  </a:lnTo>
                  <a:lnTo>
                    <a:pt x="665" y="837"/>
                  </a:lnTo>
                  <a:lnTo>
                    <a:pt x="665" y="842"/>
                  </a:lnTo>
                  <a:lnTo>
                    <a:pt x="663" y="844"/>
                  </a:lnTo>
                  <a:lnTo>
                    <a:pt x="663" y="844"/>
                  </a:lnTo>
                  <a:close/>
                  <a:moveTo>
                    <a:pt x="648" y="829"/>
                  </a:moveTo>
                  <a:lnTo>
                    <a:pt x="648" y="826"/>
                  </a:lnTo>
                  <a:lnTo>
                    <a:pt x="646" y="822"/>
                  </a:lnTo>
                  <a:lnTo>
                    <a:pt x="650" y="817"/>
                  </a:lnTo>
                  <a:lnTo>
                    <a:pt x="650" y="814"/>
                  </a:lnTo>
                  <a:lnTo>
                    <a:pt x="653" y="811"/>
                  </a:lnTo>
                  <a:lnTo>
                    <a:pt x="656" y="809"/>
                  </a:lnTo>
                  <a:lnTo>
                    <a:pt x="658" y="811"/>
                  </a:lnTo>
                  <a:lnTo>
                    <a:pt x="658" y="817"/>
                  </a:lnTo>
                  <a:lnTo>
                    <a:pt x="660" y="821"/>
                  </a:lnTo>
                  <a:lnTo>
                    <a:pt x="656" y="826"/>
                  </a:lnTo>
                  <a:lnTo>
                    <a:pt x="655" y="827"/>
                  </a:lnTo>
                  <a:lnTo>
                    <a:pt x="651" y="831"/>
                  </a:lnTo>
                  <a:lnTo>
                    <a:pt x="648" y="829"/>
                  </a:lnTo>
                  <a:lnTo>
                    <a:pt x="648" y="829"/>
                  </a:lnTo>
                  <a:close/>
                  <a:moveTo>
                    <a:pt x="744" y="839"/>
                  </a:moveTo>
                  <a:lnTo>
                    <a:pt x="753" y="836"/>
                  </a:lnTo>
                  <a:lnTo>
                    <a:pt x="753" y="832"/>
                  </a:lnTo>
                  <a:lnTo>
                    <a:pt x="744" y="826"/>
                  </a:lnTo>
                  <a:lnTo>
                    <a:pt x="741" y="826"/>
                  </a:lnTo>
                  <a:lnTo>
                    <a:pt x="743" y="831"/>
                  </a:lnTo>
                  <a:lnTo>
                    <a:pt x="741" y="834"/>
                  </a:lnTo>
                  <a:lnTo>
                    <a:pt x="743" y="836"/>
                  </a:lnTo>
                  <a:lnTo>
                    <a:pt x="744" y="839"/>
                  </a:lnTo>
                  <a:lnTo>
                    <a:pt x="744" y="839"/>
                  </a:lnTo>
                  <a:close/>
                  <a:moveTo>
                    <a:pt x="739" y="844"/>
                  </a:moveTo>
                  <a:lnTo>
                    <a:pt x="741" y="847"/>
                  </a:lnTo>
                  <a:lnTo>
                    <a:pt x="748" y="847"/>
                  </a:lnTo>
                  <a:lnTo>
                    <a:pt x="753" y="849"/>
                  </a:lnTo>
                  <a:lnTo>
                    <a:pt x="753" y="846"/>
                  </a:lnTo>
                  <a:lnTo>
                    <a:pt x="748" y="842"/>
                  </a:lnTo>
                  <a:lnTo>
                    <a:pt x="743" y="842"/>
                  </a:lnTo>
                  <a:lnTo>
                    <a:pt x="739" y="844"/>
                  </a:lnTo>
                  <a:lnTo>
                    <a:pt x="739" y="844"/>
                  </a:lnTo>
                  <a:close/>
                  <a:moveTo>
                    <a:pt x="744" y="856"/>
                  </a:moveTo>
                  <a:lnTo>
                    <a:pt x="741" y="852"/>
                  </a:lnTo>
                  <a:lnTo>
                    <a:pt x="744" y="851"/>
                  </a:lnTo>
                  <a:lnTo>
                    <a:pt x="744" y="856"/>
                  </a:lnTo>
                  <a:lnTo>
                    <a:pt x="744" y="856"/>
                  </a:lnTo>
                  <a:close/>
                  <a:moveTo>
                    <a:pt x="718" y="925"/>
                  </a:moveTo>
                  <a:lnTo>
                    <a:pt x="718" y="922"/>
                  </a:lnTo>
                  <a:lnTo>
                    <a:pt x="721" y="924"/>
                  </a:lnTo>
                  <a:lnTo>
                    <a:pt x="718" y="925"/>
                  </a:lnTo>
                  <a:lnTo>
                    <a:pt x="718" y="925"/>
                  </a:lnTo>
                  <a:close/>
                  <a:moveTo>
                    <a:pt x="689" y="952"/>
                  </a:moveTo>
                  <a:lnTo>
                    <a:pt x="686" y="950"/>
                  </a:lnTo>
                  <a:lnTo>
                    <a:pt x="691" y="945"/>
                  </a:lnTo>
                  <a:lnTo>
                    <a:pt x="691" y="940"/>
                  </a:lnTo>
                  <a:lnTo>
                    <a:pt x="693" y="940"/>
                  </a:lnTo>
                  <a:lnTo>
                    <a:pt x="694" y="942"/>
                  </a:lnTo>
                  <a:lnTo>
                    <a:pt x="691" y="945"/>
                  </a:lnTo>
                  <a:lnTo>
                    <a:pt x="689" y="952"/>
                  </a:lnTo>
                  <a:lnTo>
                    <a:pt x="689" y="952"/>
                  </a:lnTo>
                  <a:close/>
                  <a:moveTo>
                    <a:pt x="658" y="949"/>
                  </a:moveTo>
                  <a:lnTo>
                    <a:pt x="658" y="944"/>
                  </a:lnTo>
                  <a:lnTo>
                    <a:pt x="661" y="942"/>
                  </a:lnTo>
                  <a:lnTo>
                    <a:pt x="656" y="940"/>
                  </a:lnTo>
                  <a:lnTo>
                    <a:pt x="655" y="935"/>
                  </a:lnTo>
                  <a:lnTo>
                    <a:pt x="656" y="932"/>
                  </a:lnTo>
                  <a:lnTo>
                    <a:pt x="655" y="930"/>
                  </a:lnTo>
                  <a:lnTo>
                    <a:pt x="653" y="919"/>
                  </a:lnTo>
                  <a:lnTo>
                    <a:pt x="655" y="917"/>
                  </a:lnTo>
                  <a:lnTo>
                    <a:pt x="651" y="914"/>
                  </a:lnTo>
                  <a:lnTo>
                    <a:pt x="651" y="905"/>
                  </a:lnTo>
                  <a:lnTo>
                    <a:pt x="653" y="902"/>
                  </a:lnTo>
                  <a:lnTo>
                    <a:pt x="658" y="905"/>
                  </a:lnTo>
                  <a:lnTo>
                    <a:pt x="663" y="907"/>
                  </a:lnTo>
                  <a:lnTo>
                    <a:pt x="658" y="902"/>
                  </a:lnTo>
                  <a:lnTo>
                    <a:pt x="658" y="899"/>
                  </a:lnTo>
                  <a:lnTo>
                    <a:pt x="656" y="899"/>
                  </a:lnTo>
                  <a:lnTo>
                    <a:pt x="656" y="892"/>
                  </a:lnTo>
                  <a:lnTo>
                    <a:pt x="656" y="884"/>
                  </a:lnTo>
                  <a:lnTo>
                    <a:pt x="655" y="875"/>
                  </a:lnTo>
                  <a:lnTo>
                    <a:pt x="656" y="869"/>
                  </a:lnTo>
                  <a:lnTo>
                    <a:pt x="655" y="860"/>
                  </a:lnTo>
                  <a:lnTo>
                    <a:pt x="655" y="856"/>
                  </a:lnTo>
                  <a:lnTo>
                    <a:pt x="656" y="856"/>
                  </a:lnTo>
                  <a:lnTo>
                    <a:pt x="656" y="851"/>
                  </a:lnTo>
                  <a:lnTo>
                    <a:pt x="658" y="847"/>
                  </a:lnTo>
                  <a:lnTo>
                    <a:pt x="663" y="851"/>
                  </a:lnTo>
                  <a:lnTo>
                    <a:pt x="668" y="852"/>
                  </a:lnTo>
                  <a:lnTo>
                    <a:pt x="671" y="856"/>
                  </a:lnTo>
                  <a:lnTo>
                    <a:pt x="673" y="854"/>
                  </a:lnTo>
                  <a:lnTo>
                    <a:pt x="675" y="851"/>
                  </a:lnTo>
                  <a:lnTo>
                    <a:pt x="675" y="857"/>
                  </a:lnTo>
                  <a:lnTo>
                    <a:pt x="683" y="862"/>
                  </a:lnTo>
                  <a:lnTo>
                    <a:pt x="689" y="867"/>
                  </a:lnTo>
                  <a:lnTo>
                    <a:pt x="693" y="870"/>
                  </a:lnTo>
                  <a:lnTo>
                    <a:pt x="696" y="869"/>
                  </a:lnTo>
                  <a:lnTo>
                    <a:pt x="701" y="867"/>
                  </a:lnTo>
                  <a:lnTo>
                    <a:pt x="704" y="870"/>
                  </a:lnTo>
                  <a:lnTo>
                    <a:pt x="704" y="867"/>
                  </a:lnTo>
                  <a:lnTo>
                    <a:pt x="708" y="865"/>
                  </a:lnTo>
                  <a:lnTo>
                    <a:pt x="723" y="865"/>
                  </a:lnTo>
                  <a:lnTo>
                    <a:pt x="724" y="864"/>
                  </a:lnTo>
                  <a:lnTo>
                    <a:pt x="728" y="862"/>
                  </a:lnTo>
                  <a:lnTo>
                    <a:pt x="731" y="862"/>
                  </a:lnTo>
                  <a:lnTo>
                    <a:pt x="733" y="864"/>
                  </a:lnTo>
                  <a:lnTo>
                    <a:pt x="736" y="859"/>
                  </a:lnTo>
                  <a:lnTo>
                    <a:pt x="738" y="859"/>
                  </a:lnTo>
                  <a:lnTo>
                    <a:pt x="743" y="862"/>
                  </a:lnTo>
                  <a:lnTo>
                    <a:pt x="741" y="867"/>
                  </a:lnTo>
                  <a:lnTo>
                    <a:pt x="739" y="879"/>
                  </a:lnTo>
                  <a:lnTo>
                    <a:pt x="734" y="882"/>
                  </a:lnTo>
                  <a:lnTo>
                    <a:pt x="734" y="890"/>
                  </a:lnTo>
                  <a:lnTo>
                    <a:pt x="731" y="895"/>
                  </a:lnTo>
                  <a:lnTo>
                    <a:pt x="733" y="900"/>
                  </a:lnTo>
                  <a:lnTo>
                    <a:pt x="731" y="902"/>
                  </a:lnTo>
                  <a:lnTo>
                    <a:pt x="731" y="907"/>
                  </a:lnTo>
                  <a:lnTo>
                    <a:pt x="729" y="912"/>
                  </a:lnTo>
                  <a:lnTo>
                    <a:pt x="728" y="909"/>
                  </a:lnTo>
                  <a:lnTo>
                    <a:pt x="726" y="902"/>
                  </a:lnTo>
                  <a:lnTo>
                    <a:pt x="724" y="907"/>
                  </a:lnTo>
                  <a:lnTo>
                    <a:pt x="721" y="909"/>
                  </a:lnTo>
                  <a:lnTo>
                    <a:pt x="721" y="917"/>
                  </a:lnTo>
                  <a:lnTo>
                    <a:pt x="718" y="920"/>
                  </a:lnTo>
                  <a:lnTo>
                    <a:pt x="714" y="920"/>
                  </a:lnTo>
                  <a:lnTo>
                    <a:pt x="714" y="925"/>
                  </a:lnTo>
                  <a:lnTo>
                    <a:pt x="711" y="929"/>
                  </a:lnTo>
                  <a:lnTo>
                    <a:pt x="714" y="930"/>
                  </a:lnTo>
                  <a:lnTo>
                    <a:pt x="714" y="934"/>
                  </a:lnTo>
                  <a:lnTo>
                    <a:pt x="709" y="940"/>
                  </a:lnTo>
                  <a:lnTo>
                    <a:pt x="708" y="940"/>
                  </a:lnTo>
                  <a:lnTo>
                    <a:pt x="703" y="942"/>
                  </a:lnTo>
                  <a:lnTo>
                    <a:pt x="703" y="935"/>
                  </a:lnTo>
                  <a:lnTo>
                    <a:pt x="708" y="937"/>
                  </a:lnTo>
                  <a:lnTo>
                    <a:pt x="709" y="934"/>
                  </a:lnTo>
                  <a:lnTo>
                    <a:pt x="706" y="932"/>
                  </a:lnTo>
                  <a:lnTo>
                    <a:pt x="701" y="932"/>
                  </a:lnTo>
                  <a:lnTo>
                    <a:pt x="699" y="935"/>
                  </a:lnTo>
                  <a:lnTo>
                    <a:pt x="696" y="935"/>
                  </a:lnTo>
                  <a:lnTo>
                    <a:pt x="696" y="930"/>
                  </a:lnTo>
                  <a:lnTo>
                    <a:pt x="694" y="935"/>
                  </a:lnTo>
                  <a:lnTo>
                    <a:pt x="689" y="939"/>
                  </a:lnTo>
                  <a:lnTo>
                    <a:pt x="689" y="940"/>
                  </a:lnTo>
                  <a:lnTo>
                    <a:pt x="686" y="937"/>
                  </a:lnTo>
                  <a:lnTo>
                    <a:pt x="683" y="945"/>
                  </a:lnTo>
                  <a:lnTo>
                    <a:pt x="683" y="949"/>
                  </a:lnTo>
                  <a:lnTo>
                    <a:pt x="678" y="955"/>
                  </a:lnTo>
                  <a:lnTo>
                    <a:pt x="675" y="955"/>
                  </a:lnTo>
                  <a:lnTo>
                    <a:pt x="671" y="950"/>
                  </a:lnTo>
                  <a:lnTo>
                    <a:pt x="671" y="947"/>
                  </a:lnTo>
                  <a:lnTo>
                    <a:pt x="668" y="952"/>
                  </a:lnTo>
                  <a:lnTo>
                    <a:pt x="665" y="949"/>
                  </a:lnTo>
                  <a:lnTo>
                    <a:pt x="660" y="950"/>
                  </a:lnTo>
                  <a:lnTo>
                    <a:pt x="660" y="950"/>
                  </a:lnTo>
                  <a:lnTo>
                    <a:pt x="658" y="949"/>
                  </a:lnTo>
                  <a:lnTo>
                    <a:pt x="658" y="949"/>
                  </a:lnTo>
                  <a:close/>
                  <a:moveTo>
                    <a:pt x="12" y="606"/>
                  </a:moveTo>
                  <a:lnTo>
                    <a:pt x="15" y="608"/>
                  </a:lnTo>
                  <a:lnTo>
                    <a:pt x="18" y="608"/>
                  </a:lnTo>
                  <a:lnTo>
                    <a:pt x="28" y="618"/>
                  </a:lnTo>
                  <a:lnTo>
                    <a:pt x="28" y="621"/>
                  </a:lnTo>
                  <a:lnTo>
                    <a:pt x="30" y="623"/>
                  </a:lnTo>
                  <a:lnTo>
                    <a:pt x="35" y="625"/>
                  </a:lnTo>
                  <a:lnTo>
                    <a:pt x="38" y="626"/>
                  </a:lnTo>
                  <a:lnTo>
                    <a:pt x="45" y="628"/>
                  </a:lnTo>
                  <a:lnTo>
                    <a:pt x="48" y="628"/>
                  </a:lnTo>
                  <a:lnTo>
                    <a:pt x="50" y="630"/>
                  </a:lnTo>
                  <a:lnTo>
                    <a:pt x="55" y="630"/>
                  </a:lnTo>
                  <a:lnTo>
                    <a:pt x="62" y="628"/>
                  </a:lnTo>
                  <a:lnTo>
                    <a:pt x="63" y="631"/>
                  </a:lnTo>
                  <a:lnTo>
                    <a:pt x="65" y="630"/>
                  </a:lnTo>
                  <a:lnTo>
                    <a:pt x="67" y="631"/>
                  </a:lnTo>
                  <a:lnTo>
                    <a:pt x="73" y="630"/>
                  </a:lnTo>
                  <a:lnTo>
                    <a:pt x="80" y="630"/>
                  </a:lnTo>
                  <a:lnTo>
                    <a:pt x="80" y="626"/>
                  </a:lnTo>
                  <a:lnTo>
                    <a:pt x="85" y="626"/>
                  </a:lnTo>
                  <a:lnTo>
                    <a:pt x="88" y="620"/>
                  </a:lnTo>
                  <a:lnTo>
                    <a:pt x="95" y="621"/>
                  </a:lnTo>
                  <a:lnTo>
                    <a:pt x="95" y="618"/>
                  </a:lnTo>
                  <a:lnTo>
                    <a:pt x="100" y="615"/>
                  </a:lnTo>
                  <a:lnTo>
                    <a:pt x="103" y="615"/>
                  </a:lnTo>
                  <a:lnTo>
                    <a:pt x="108" y="618"/>
                  </a:lnTo>
                  <a:lnTo>
                    <a:pt x="111" y="613"/>
                  </a:lnTo>
                  <a:lnTo>
                    <a:pt x="113" y="615"/>
                  </a:lnTo>
                  <a:lnTo>
                    <a:pt x="115" y="613"/>
                  </a:lnTo>
                  <a:lnTo>
                    <a:pt x="116" y="608"/>
                  </a:lnTo>
                  <a:lnTo>
                    <a:pt x="130" y="601"/>
                  </a:lnTo>
                  <a:lnTo>
                    <a:pt x="135" y="601"/>
                  </a:lnTo>
                  <a:lnTo>
                    <a:pt x="138" y="603"/>
                  </a:lnTo>
                  <a:lnTo>
                    <a:pt x="143" y="601"/>
                  </a:lnTo>
                  <a:lnTo>
                    <a:pt x="156" y="598"/>
                  </a:lnTo>
                  <a:lnTo>
                    <a:pt x="158" y="600"/>
                  </a:lnTo>
                  <a:lnTo>
                    <a:pt x="166" y="598"/>
                  </a:lnTo>
                  <a:lnTo>
                    <a:pt x="168" y="600"/>
                  </a:lnTo>
                  <a:lnTo>
                    <a:pt x="171" y="601"/>
                  </a:lnTo>
                  <a:lnTo>
                    <a:pt x="176" y="600"/>
                  </a:lnTo>
                  <a:lnTo>
                    <a:pt x="178" y="603"/>
                  </a:lnTo>
                  <a:lnTo>
                    <a:pt x="181" y="603"/>
                  </a:lnTo>
                  <a:lnTo>
                    <a:pt x="186" y="601"/>
                  </a:lnTo>
                  <a:lnTo>
                    <a:pt x="188" y="605"/>
                  </a:lnTo>
                  <a:lnTo>
                    <a:pt x="191" y="601"/>
                  </a:lnTo>
                  <a:lnTo>
                    <a:pt x="201" y="601"/>
                  </a:lnTo>
                  <a:lnTo>
                    <a:pt x="201" y="605"/>
                  </a:lnTo>
                  <a:lnTo>
                    <a:pt x="203" y="606"/>
                  </a:lnTo>
                  <a:lnTo>
                    <a:pt x="208" y="601"/>
                  </a:lnTo>
                  <a:lnTo>
                    <a:pt x="213" y="603"/>
                  </a:lnTo>
                  <a:lnTo>
                    <a:pt x="219" y="598"/>
                  </a:lnTo>
                  <a:lnTo>
                    <a:pt x="221" y="593"/>
                  </a:lnTo>
                  <a:lnTo>
                    <a:pt x="224" y="593"/>
                  </a:lnTo>
                  <a:lnTo>
                    <a:pt x="229" y="588"/>
                  </a:lnTo>
                  <a:lnTo>
                    <a:pt x="233" y="580"/>
                  </a:lnTo>
                  <a:lnTo>
                    <a:pt x="238" y="576"/>
                  </a:lnTo>
                  <a:lnTo>
                    <a:pt x="244" y="575"/>
                  </a:lnTo>
                  <a:lnTo>
                    <a:pt x="248" y="576"/>
                  </a:lnTo>
                  <a:lnTo>
                    <a:pt x="258" y="573"/>
                  </a:lnTo>
                  <a:lnTo>
                    <a:pt x="271" y="565"/>
                  </a:lnTo>
                  <a:lnTo>
                    <a:pt x="278" y="560"/>
                  </a:lnTo>
                  <a:lnTo>
                    <a:pt x="282" y="558"/>
                  </a:lnTo>
                  <a:lnTo>
                    <a:pt x="286" y="558"/>
                  </a:lnTo>
                  <a:lnTo>
                    <a:pt x="289" y="558"/>
                  </a:lnTo>
                  <a:lnTo>
                    <a:pt x="297" y="560"/>
                  </a:lnTo>
                  <a:lnTo>
                    <a:pt x="304" y="562"/>
                  </a:lnTo>
                  <a:lnTo>
                    <a:pt x="307" y="560"/>
                  </a:lnTo>
                  <a:lnTo>
                    <a:pt x="317" y="560"/>
                  </a:lnTo>
                  <a:lnTo>
                    <a:pt x="331" y="555"/>
                  </a:lnTo>
                  <a:lnTo>
                    <a:pt x="339" y="553"/>
                  </a:lnTo>
                  <a:lnTo>
                    <a:pt x="344" y="550"/>
                  </a:lnTo>
                  <a:lnTo>
                    <a:pt x="349" y="550"/>
                  </a:lnTo>
                  <a:lnTo>
                    <a:pt x="356" y="545"/>
                  </a:lnTo>
                  <a:lnTo>
                    <a:pt x="366" y="545"/>
                  </a:lnTo>
                  <a:lnTo>
                    <a:pt x="392" y="543"/>
                  </a:lnTo>
                  <a:lnTo>
                    <a:pt x="400" y="545"/>
                  </a:lnTo>
                  <a:lnTo>
                    <a:pt x="405" y="545"/>
                  </a:lnTo>
                  <a:lnTo>
                    <a:pt x="414" y="543"/>
                  </a:lnTo>
                  <a:lnTo>
                    <a:pt x="419" y="543"/>
                  </a:lnTo>
                  <a:lnTo>
                    <a:pt x="427" y="550"/>
                  </a:lnTo>
                  <a:lnTo>
                    <a:pt x="432" y="558"/>
                  </a:lnTo>
                  <a:lnTo>
                    <a:pt x="437" y="560"/>
                  </a:lnTo>
                  <a:lnTo>
                    <a:pt x="440" y="558"/>
                  </a:lnTo>
                  <a:lnTo>
                    <a:pt x="444" y="557"/>
                  </a:lnTo>
                  <a:lnTo>
                    <a:pt x="445" y="560"/>
                  </a:lnTo>
                  <a:lnTo>
                    <a:pt x="449" y="558"/>
                  </a:lnTo>
                  <a:lnTo>
                    <a:pt x="454" y="560"/>
                  </a:lnTo>
                  <a:lnTo>
                    <a:pt x="457" y="565"/>
                  </a:lnTo>
                  <a:lnTo>
                    <a:pt x="464" y="565"/>
                  </a:lnTo>
                  <a:lnTo>
                    <a:pt x="467" y="565"/>
                  </a:lnTo>
                  <a:lnTo>
                    <a:pt x="477" y="571"/>
                  </a:lnTo>
                  <a:lnTo>
                    <a:pt x="475" y="575"/>
                  </a:lnTo>
                  <a:lnTo>
                    <a:pt x="479" y="575"/>
                  </a:lnTo>
                  <a:lnTo>
                    <a:pt x="483" y="578"/>
                  </a:lnTo>
                  <a:lnTo>
                    <a:pt x="482" y="581"/>
                  </a:lnTo>
                  <a:lnTo>
                    <a:pt x="477" y="581"/>
                  </a:lnTo>
                  <a:lnTo>
                    <a:pt x="477" y="585"/>
                  </a:lnTo>
                  <a:lnTo>
                    <a:pt x="480" y="593"/>
                  </a:lnTo>
                  <a:lnTo>
                    <a:pt x="485" y="593"/>
                  </a:lnTo>
                  <a:lnTo>
                    <a:pt x="490" y="598"/>
                  </a:lnTo>
                  <a:lnTo>
                    <a:pt x="492" y="605"/>
                  </a:lnTo>
                  <a:lnTo>
                    <a:pt x="490" y="610"/>
                  </a:lnTo>
                  <a:lnTo>
                    <a:pt x="497" y="620"/>
                  </a:lnTo>
                  <a:lnTo>
                    <a:pt x="495" y="625"/>
                  </a:lnTo>
                  <a:lnTo>
                    <a:pt x="497" y="626"/>
                  </a:lnTo>
                  <a:lnTo>
                    <a:pt x="495" y="633"/>
                  </a:lnTo>
                  <a:lnTo>
                    <a:pt x="493" y="636"/>
                  </a:lnTo>
                  <a:lnTo>
                    <a:pt x="490" y="635"/>
                  </a:lnTo>
                  <a:lnTo>
                    <a:pt x="488" y="636"/>
                  </a:lnTo>
                  <a:lnTo>
                    <a:pt x="493" y="640"/>
                  </a:lnTo>
                  <a:lnTo>
                    <a:pt x="497" y="641"/>
                  </a:lnTo>
                  <a:lnTo>
                    <a:pt x="498" y="646"/>
                  </a:lnTo>
                  <a:lnTo>
                    <a:pt x="502" y="645"/>
                  </a:lnTo>
                  <a:lnTo>
                    <a:pt x="507" y="648"/>
                  </a:lnTo>
                  <a:lnTo>
                    <a:pt x="507" y="645"/>
                  </a:lnTo>
                  <a:lnTo>
                    <a:pt x="505" y="641"/>
                  </a:lnTo>
                  <a:lnTo>
                    <a:pt x="507" y="638"/>
                  </a:lnTo>
                  <a:lnTo>
                    <a:pt x="510" y="635"/>
                  </a:lnTo>
                  <a:lnTo>
                    <a:pt x="513" y="633"/>
                  </a:lnTo>
                  <a:lnTo>
                    <a:pt x="515" y="630"/>
                  </a:lnTo>
                  <a:lnTo>
                    <a:pt x="520" y="628"/>
                  </a:lnTo>
                  <a:lnTo>
                    <a:pt x="522" y="625"/>
                  </a:lnTo>
                  <a:lnTo>
                    <a:pt x="525" y="620"/>
                  </a:lnTo>
                  <a:lnTo>
                    <a:pt x="537" y="615"/>
                  </a:lnTo>
                  <a:lnTo>
                    <a:pt x="537" y="611"/>
                  </a:lnTo>
                  <a:lnTo>
                    <a:pt x="538" y="611"/>
                  </a:lnTo>
                  <a:lnTo>
                    <a:pt x="547" y="608"/>
                  </a:lnTo>
                  <a:lnTo>
                    <a:pt x="548" y="601"/>
                  </a:lnTo>
                  <a:lnTo>
                    <a:pt x="555" y="593"/>
                  </a:lnTo>
                  <a:lnTo>
                    <a:pt x="563" y="591"/>
                  </a:lnTo>
                  <a:lnTo>
                    <a:pt x="565" y="588"/>
                  </a:lnTo>
                  <a:lnTo>
                    <a:pt x="563" y="583"/>
                  </a:lnTo>
                  <a:lnTo>
                    <a:pt x="565" y="578"/>
                  </a:lnTo>
                  <a:lnTo>
                    <a:pt x="568" y="585"/>
                  </a:lnTo>
                  <a:lnTo>
                    <a:pt x="568" y="590"/>
                  </a:lnTo>
                  <a:lnTo>
                    <a:pt x="568" y="595"/>
                  </a:lnTo>
                  <a:lnTo>
                    <a:pt x="565" y="598"/>
                  </a:lnTo>
                  <a:lnTo>
                    <a:pt x="563" y="610"/>
                  </a:lnTo>
                  <a:lnTo>
                    <a:pt x="553" y="616"/>
                  </a:lnTo>
                  <a:lnTo>
                    <a:pt x="552" y="621"/>
                  </a:lnTo>
                  <a:lnTo>
                    <a:pt x="548" y="625"/>
                  </a:lnTo>
                  <a:lnTo>
                    <a:pt x="548" y="630"/>
                  </a:lnTo>
                  <a:lnTo>
                    <a:pt x="543" y="636"/>
                  </a:lnTo>
                  <a:lnTo>
                    <a:pt x="545" y="638"/>
                  </a:lnTo>
                  <a:lnTo>
                    <a:pt x="542" y="650"/>
                  </a:lnTo>
                  <a:lnTo>
                    <a:pt x="530" y="648"/>
                  </a:lnTo>
                  <a:lnTo>
                    <a:pt x="527" y="655"/>
                  </a:lnTo>
                  <a:lnTo>
                    <a:pt x="523" y="658"/>
                  </a:lnTo>
                  <a:lnTo>
                    <a:pt x="523" y="660"/>
                  </a:lnTo>
                  <a:lnTo>
                    <a:pt x="532" y="658"/>
                  </a:lnTo>
                  <a:lnTo>
                    <a:pt x="538" y="656"/>
                  </a:lnTo>
                  <a:lnTo>
                    <a:pt x="547" y="658"/>
                  </a:lnTo>
                  <a:lnTo>
                    <a:pt x="555" y="646"/>
                  </a:lnTo>
                  <a:lnTo>
                    <a:pt x="557" y="635"/>
                  </a:lnTo>
                  <a:lnTo>
                    <a:pt x="563" y="628"/>
                  </a:lnTo>
                  <a:lnTo>
                    <a:pt x="565" y="631"/>
                  </a:lnTo>
                  <a:lnTo>
                    <a:pt x="565" y="641"/>
                  </a:lnTo>
                  <a:lnTo>
                    <a:pt x="568" y="648"/>
                  </a:lnTo>
                  <a:lnTo>
                    <a:pt x="567" y="648"/>
                  </a:lnTo>
                  <a:lnTo>
                    <a:pt x="567" y="658"/>
                  </a:lnTo>
                  <a:lnTo>
                    <a:pt x="562" y="668"/>
                  </a:lnTo>
                  <a:lnTo>
                    <a:pt x="552" y="671"/>
                  </a:lnTo>
                  <a:lnTo>
                    <a:pt x="553" y="673"/>
                  </a:lnTo>
                  <a:lnTo>
                    <a:pt x="560" y="673"/>
                  </a:lnTo>
                  <a:lnTo>
                    <a:pt x="565" y="673"/>
                  </a:lnTo>
                  <a:lnTo>
                    <a:pt x="568" y="671"/>
                  </a:lnTo>
                  <a:lnTo>
                    <a:pt x="573" y="669"/>
                  </a:lnTo>
                  <a:lnTo>
                    <a:pt x="578" y="666"/>
                  </a:lnTo>
                  <a:lnTo>
                    <a:pt x="581" y="666"/>
                  </a:lnTo>
                  <a:lnTo>
                    <a:pt x="585" y="666"/>
                  </a:lnTo>
                  <a:lnTo>
                    <a:pt x="583" y="669"/>
                  </a:lnTo>
                  <a:lnTo>
                    <a:pt x="580" y="674"/>
                  </a:lnTo>
                  <a:lnTo>
                    <a:pt x="575" y="673"/>
                  </a:lnTo>
                  <a:lnTo>
                    <a:pt x="575" y="676"/>
                  </a:lnTo>
                  <a:lnTo>
                    <a:pt x="578" y="681"/>
                  </a:lnTo>
                  <a:lnTo>
                    <a:pt x="580" y="686"/>
                  </a:lnTo>
                  <a:lnTo>
                    <a:pt x="583" y="693"/>
                  </a:lnTo>
                  <a:lnTo>
                    <a:pt x="585" y="701"/>
                  </a:lnTo>
                  <a:lnTo>
                    <a:pt x="583" y="711"/>
                  </a:lnTo>
                  <a:lnTo>
                    <a:pt x="577" y="718"/>
                  </a:lnTo>
                  <a:lnTo>
                    <a:pt x="578" y="719"/>
                  </a:lnTo>
                  <a:lnTo>
                    <a:pt x="577" y="728"/>
                  </a:lnTo>
                  <a:lnTo>
                    <a:pt x="581" y="731"/>
                  </a:lnTo>
                  <a:lnTo>
                    <a:pt x="585" y="736"/>
                  </a:lnTo>
                  <a:lnTo>
                    <a:pt x="586" y="744"/>
                  </a:lnTo>
                  <a:lnTo>
                    <a:pt x="595" y="754"/>
                  </a:lnTo>
                  <a:lnTo>
                    <a:pt x="601" y="756"/>
                  </a:lnTo>
                  <a:lnTo>
                    <a:pt x="606" y="759"/>
                  </a:lnTo>
                  <a:lnTo>
                    <a:pt x="608" y="764"/>
                  </a:lnTo>
                  <a:lnTo>
                    <a:pt x="613" y="764"/>
                  </a:lnTo>
                  <a:lnTo>
                    <a:pt x="615" y="762"/>
                  </a:lnTo>
                  <a:lnTo>
                    <a:pt x="618" y="761"/>
                  </a:lnTo>
                  <a:lnTo>
                    <a:pt x="623" y="762"/>
                  </a:lnTo>
                  <a:lnTo>
                    <a:pt x="628" y="769"/>
                  </a:lnTo>
                  <a:lnTo>
                    <a:pt x="635" y="769"/>
                  </a:lnTo>
                  <a:lnTo>
                    <a:pt x="640" y="774"/>
                  </a:lnTo>
                  <a:lnTo>
                    <a:pt x="641" y="779"/>
                  </a:lnTo>
                  <a:lnTo>
                    <a:pt x="646" y="781"/>
                  </a:lnTo>
                  <a:lnTo>
                    <a:pt x="651" y="786"/>
                  </a:lnTo>
                  <a:lnTo>
                    <a:pt x="655" y="786"/>
                  </a:lnTo>
                  <a:lnTo>
                    <a:pt x="656" y="782"/>
                  </a:lnTo>
                  <a:lnTo>
                    <a:pt x="666" y="779"/>
                  </a:lnTo>
                  <a:lnTo>
                    <a:pt x="668" y="776"/>
                  </a:lnTo>
                  <a:lnTo>
                    <a:pt x="675" y="774"/>
                  </a:lnTo>
                  <a:lnTo>
                    <a:pt x="681" y="769"/>
                  </a:lnTo>
                  <a:lnTo>
                    <a:pt x="684" y="771"/>
                  </a:lnTo>
                  <a:lnTo>
                    <a:pt x="686" y="767"/>
                  </a:lnTo>
                  <a:lnTo>
                    <a:pt x="686" y="766"/>
                  </a:lnTo>
                  <a:lnTo>
                    <a:pt x="681" y="764"/>
                  </a:lnTo>
                  <a:lnTo>
                    <a:pt x="683" y="761"/>
                  </a:lnTo>
                  <a:lnTo>
                    <a:pt x="691" y="756"/>
                  </a:lnTo>
                  <a:lnTo>
                    <a:pt x="699" y="761"/>
                  </a:lnTo>
                  <a:lnTo>
                    <a:pt x="699" y="766"/>
                  </a:lnTo>
                  <a:lnTo>
                    <a:pt x="689" y="771"/>
                  </a:lnTo>
                  <a:lnTo>
                    <a:pt x="691" y="774"/>
                  </a:lnTo>
                  <a:lnTo>
                    <a:pt x="694" y="776"/>
                  </a:lnTo>
                  <a:lnTo>
                    <a:pt x="698" y="772"/>
                  </a:lnTo>
                  <a:lnTo>
                    <a:pt x="703" y="769"/>
                  </a:lnTo>
                  <a:lnTo>
                    <a:pt x="708" y="771"/>
                  </a:lnTo>
                  <a:lnTo>
                    <a:pt x="706" y="776"/>
                  </a:lnTo>
                  <a:lnTo>
                    <a:pt x="704" y="776"/>
                  </a:lnTo>
                  <a:lnTo>
                    <a:pt x="699" y="779"/>
                  </a:lnTo>
                  <a:lnTo>
                    <a:pt x="706" y="786"/>
                  </a:lnTo>
                  <a:lnTo>
                    <a:pt x="708" y="794"/>
                  </a:lnTo>
                  <a:lnTo>
                    <a:pt x="709" y="792"/>
                  </a:lnTo>
                  <a:lnTo>
                    <a:pt x="713" y="792"/>
                  </a:lnTo>
                  <a:lnTo>
                    <a:pt x="714" y="797"/>
                  </a:lnTo>
                  <a:lnTo>
                    <a:pt x="718" y="801"/>
                  </a:lnTo>
                  <a:lnTo>
                    <a:pt x="721" y="796"/>
                  </a:lnTo>
                  <a:lnTo>
                    <a:pt x="721" y="791"/>
                  </a:lnTo>
                  <a:lnTo>
                    <a:pt x="716" y="792"/>
                  </a:lnTo>
                  <a:lnTo>
                    <a:pt x="716" y="791"/>
                  </a:lnTo>
                  <a:lnTo>
                    <a:pt x="718" y="787"/>
                  </a:lnTo>
                  <a:lnTo>
                    <a:pt x="731" y="787"/>
                  </a:lnTo>
                  <a:lnTo>
                    <a:pt x="733" y="789"/>
                  </a:lnTo>
                  <a:lnTo>
                    <a:pt x="734" y="787"/>
                  </a:lnTo>
                  <a:lnTo>
                    <a:pt x="739" y="779"/>
                  </a:lnTo>
                  <a:lnTo>
                    <a:pt x="753" y="772"/>
                  </a:lnTo>
                  <a:lnTo>
                    <a:pt x="759" y="767"/>
                  </a:lnTo>
                  <a:lnTo>
                    <a:pt x="756" y="767"/>
                  </a:lnTo>
                  <a:lnTo>
                    <a:pt x="753" y="769"/>
                  </a:lnTo>
                  <a:lnTo>
                    <a:pt x="754" y="767"/>
                  </a:lnTo>
                  <a:lnTo>
                    <a:pt x="749" y="766"/>
                  </a:lnTo>
                  <a:lnTo>
                    <a:pt x="754" y="766"/>
                  </a:lnTo>
                  <a:lnTo>
                    <a:pt x="761" y="766"/>
                  </a:lnTo>
                  <a:lnTo>
                    <a:pt x="769" y="764"/>
                  </a:lnTo>
                  <a:lnTo>
                    <a:pt x="787" y="761"/>
                  </a:lnTo>
                  <a:lnTo>
                    <a:pt x="802" y="762"/>
                  </a:lnTo>
                  <a:lnTo>
                    <a:pt x="809" y="759"/>
                  </a:lnTo>
                  <a:lnTo>
                    <a:pt x="809" y="756"/>
                  </a:lnTo>
                  <a:lnTo>
                    <a:pt x="814" y="756"/>
                  </a:lnTo>
                  <a:lnTo>
                    <a:pt x="819" y="753"/>
                  </a:lnTo>
                  <a:lnTo>
                    <a:pt x="822" y="746"/>
                  </a:lnTo>
                  <a:lnTo>
                    <a:pt x="821" y="736"/>
                  </a:lnTo>
                  <a:lnTo>
                    <a:pt x="821" y="733"/>
                  </a:lnTo>
                  <a:lnTo>
                    <a:pt x="829" y="724"/>
                  </a:lnTo>
                  <a:lnTo>
                    <a:pt x="829" y="711"/>
                  </a:lnTo>
                  <a:lnTo>
                    <a:pt x="832" y="706"/>
                  </a:lnTo>
                  <a:lnTo>
                    <a:pt x="834" y="698"/>
                  </a:lnTo>
                  <a:lnTo>
                    <a:pt x="839" y="696"/>
                  </a:lnTo>
                  <a:lnTo>
                    <a:pt x="839" y="691"/>
                  </a:lnTo>
                  <a:lnTo>
                    <a:pt x="854" y="674"/>
                  </a:lnTo>
                  <a:lnTo>
                    <a:pt x="857" y="674"/>
                  </a:lnTo>
                  <a:lnTo>
                    <a:pt x="861" y="666"/>
                  </a:lnTo>
                  <a:lnTo>
                    <a:pt x="866" y="658"/>
                  </a:lnTo>
                  <a:lnTo>
                    <a:pt x="869" y="650"/>
                  </a:lnTo>
                  <a:lnTo>
                    <a:pt x="876" y="645"/>
                  </a:lnTo>
                  <a:lnTo>
                    <a:pt x="876" y="640"/>
                  </a:lnTo>
                  <a:lnTo>
                    <a:pt x="879" y="636"/>
                  </a:lnTo>
                  <a:lnTo>
                    <a:pt x="882" y="628"/>
                  </a:lnTo>
                  <a:lnTo>
                    <a:pt x="880" y="626"/>
                  </a:lnTo>
                  <a:lnTo>
                    <a:pt x="887" y="623"/>
                  </a:lnTo>
                  <a:lnTo>
                    <a:pt x="892" y="616"/>
                  </a:lnTo>
                  <a:lnTo>
                    <a:pt x="895" y="613"/>
                  </a:lnTo>
                  <a:lnTo>
                    <a:pt x="899" y="606"/>
                  </a:lnTo>
                  <a:lnTo>
                    <a:pt x="907" y="605"/>
                  </a:lnTo>
                  <a:lnTo>
                    <a:pt x="910" y="601"/>
                  </a:lnTo>
                  <a:lnTo>
                    <a:pt x="904" y="601"/>
                  </a:lnTo>
                  <a:lnTo>
                    <a:pt x="905" y="600"/>
                  </a:lnTo>
                  <a:lnTo>
                    <a:pt x="914" y="600"/>
                  </a:lnTo>
                  <a:lnTo>
                    <a:pt x="922" y="595"/>
                  </a:lnTo>
                  <a:lnTo>
                    <a:pt x="924" y="590"/>
                  </a:lnTo>
                  <a:lnTo>
                    <a:pt x="922" y="586"/>
                  </a:lnTo>
                  <a:lnTo>
                    <a:pt x="924" y="581"/>
                  </a:lnTo>
                  <a:lnTo>
                    <a:pt x="930" y="576"/>
                  </a:lnTo>
                  <a:lnTo>
                    <a:pt x="932" y="571"/>
                  </a:lnTo>
                  <a:lnTo>
                    <a:pt x="937" y="570"/>
                  </a:lnTo>
                  <a:lnTo>
                    <a:pt x="942" y="562"/>
                  </a:lnTo>
                  <a:lnTo>
                    <a:pt x="942" y="558"/>
                  </a:lnTo>
                  <a:lnTo>
                    <a:pt x="944" y="552"/>
                  </a:lnTo>
                  <a:lnTo>
                    <a:pt x="942" y="548"/>
                  </a:lnTo>
                  <a:lnTo>
                    <a:pt x="942" y="545"/>
                  </a:lnTo>
                  <a:lnTo>
                    <a:pt x="950" y="532"/>
                  </a:lnTo>
                  <a:lnTo>
                    <a:pt x="952" y="523"/>
                  </a:lnTo>
                  <a:lnTo>
                    <a:pt x="960" y="510"/>
                  </a:lnTo>
                  <a:lnTo>
                    <a:pt x="960" y="503"/>
                  </a:lnTo>
                  <a:lnTo>
                    <a:pt x="964" y="493"/>
                  </a:lnTo>
                  <a:lnTo>
                    <a:pt x="970" y="488"/>
                  </a:lnTo>
                  <a:lnTo>
                    <a:pt x="974" y="483"/>
                  </a:lnTo>
                  <a:lnTo>
                    <a:pt x="972" y="477"/>
                  </a:lnTo>
                  <a:lnTo>
                    <a:pt x="975" y="472"/>
                  </a:lnTo>
                  <a:lnTo>
                    <a:pt x="972" y="462"/>
                  </a:lnTo>
                  <a:lnTo>
                    <a:pt x="972" y="457"/>
                  </a:lnTo>
                  <a:lnTo>
                    <a:pt x="969" y="449"/>
                  </a:lnTo>
                  <a:lnTo>
                    <a:pt x="967" y="445"/>
                  </a:lnTo>
                  <a:lnTo>
                    <a:pt x="967" y="442"/>
                  </a:lnTo>
                  <a:lnTo>
                    <a:pt x="969" y="439"/>
                  </a:lnTo>
                  <a:lnTo>
                    <a:pt x="969" y="434"/>
                  </a:lnTo>
                  <a:lnTo>
                    <a:pt x="974" y="427"/>
                  </a:lnTo>
                  <a:lnTo>
                    <a:pt x="974" y="425"/>
                  </a:lnTo>
                  <a:lnTo>
                    <a:pt x="972" y="412"/>
                  </a:lnTo>
                  <a:lnTo>
                    <a:pt x="975" y="409"/>
                  </a:lnTo>
                  <a:lnTo>
                    <a:pt x="974" y="405"/>
                  </a:lnTo>
                  <a:lnTo>
                    <a:pt x="972" y="402"/>
                  </a:lnTo>
                  <a:lnTo>
                    <a:pt x="972" y="394"/>
                  </a:lnTo>
                  <a:lnTo>
                    <a:pt x="970" y="392"/>
                  </a:lnTo>
                  <a:lnTo>
                    <a:pt x="972" y="387"/>
                  </a:lnTo>
                  <a:lnTo>
                    <a:pt x="969" y="385"/>
                  </a:lnTo>
                  <a:lnTo>
                    <a:pt x="965" y="382"/>
                  </a:lnTo>
                  <a:lnTo>
                    <a:pt x="965" y="377"/>
                  </a:lnTo>
                  <a:lnTo>
                    <a:pt x="960" y="372"/>
                  </a:lnTo>
                  <a:lnTo>
                    <a:pt x="957" y="366"/>
                  </a:lnTo>
                  <a:lnTo>
                    <a:pt x="955" y="359"/>
                  </a:lnTo>
                  <a:lnTo>
                    <a:pt x="952" y="354"/>
                  </a:lnTo>
                  <a:lnTo>
                    <a:pt x="949" y="354"/>
                  </a:lnTo>
                  <a:lnTo>
                    <a:pt x="945" y="356"/>
                  </a:lnTo>
                  <a:lnTo>
                    <a:pt x="942" y="352"/>
                  </a:lnTo>
                  <a:lnTo>
                    <a:pt x="942" y="347"/>
                  </a:lnTo>
                  <a:lnTo>
                    <a:pt x="939" y="346"/>
                  </a:lnTo>
                  <a:lnTo>
                    <a:pt x="939" y="342"/>
                  </a:lnTo>
                  <a:lnTo>
                    <a:pt x="932" y="339"/>
                  </a:lnTo>
                  <a:lnTo>
                    <a:pt x="930" y="336"/>
                  </a:lnTo>
                  <a:lnTo>
                    <a:pt x="930" y="332"/>
                  </a:lnTo>
                  <a:lnTo>
                    <a:pt x="927" y="327"/>
                  </a:lnTo>
                  <a:lnTo>
                    <a:pt x="932" y="322"/>
                  </a:lnTo>
                  <a:lnTo>
                    <a:pt x="934" y="316"/>
                  </a:lnTo>
                  <a:lnTo>
                    <a:pt x="932" y="312"/>
                  </a:lnTo>
                  <a:lnTo>
                    <a:pt x="932" y="307"/>
                  </a:lnTo>
                  <a:lnTo>
                    <a:pt x="929" y="306"/>
                  </a:lnTo>
                  <a:lnTo>
                    <a:pt x="929" y="309"/>
                  </a:lnTo>
                  <a:lnTo>
                    <a:pt x="930" y="311"/>
                  </a:lnTo>
                  <a:lnTo>
                    <a:pt x="929" y="312"/>
                  </a:lnTo>
                  <a:lnTo>
                    <a:pt x="917" y="304"/>
                  </a:lnTo>
                  <a:lnTo>
                    <a:pt x="915" y="299"/>
                  </a:lnTo>
                  <a:lnTo>
                    <a:pt x="914" y="301"/>
                  </a:lnTo>
                  <a:lnTo>
                    <a:pt x="914" y="302"/>
                  </a:lnTo>
                  <a:lnTo>
                    <a:pt x="912" y="306"/>
                  </a:lnTo>
                  <a:lnTo>
                    <a:pt x="914" y="312"/>
                  </a:lnTo>
                  <a:lnTo>
                    <a:pt x="909" y="307"/>
                  </a:lnTo>
                  <a:lnTo>
                    <a:pt x="907" y="311"/>
                  </a:lnTo>
                  <a:lnTo>
                    <a:pt x="907" y="306"/>
                  </a:lnTo>
                  <a:lnTo>
                    <a:pt x="904" y="302"/>
                  </a:lnTo>
                  <a:lnTo>
                    <a:pt x="904" y="291"/>
                  </a:lnTo>
                  <a:lnTo>
                    <a:pt x="905" y="289"/>
                  </a:lnTo>
                  <a:lnTo>
                    <a:pt x="905" y="286"/>
                  </a:lnTo>
                  <a:lnTo>
                    <a:pt x="900" y="282"/>
                  </a:lnTo>
                  <a:lnTo>
                    <a:pt x="902" y="279"/>
                  </a:lnTo>
                  <a:lnTo>
                    <a:pt x="899" y="277"/>
                  </a:lnTo>
                  <a:lnTo>
                    <a:pt x="900" y="272"/>
                  </a:lnTo>
                  <a:lnTo>
                    <a:pt x="892" y="268"/>
                  </a:lnTo>
                  <a:lnTo>
                    <a:pt x="890" y="263"/>
                  </a:lnTo>
                  <a:lnTo>
                    <a:pt x="889" y="258"/>
                  </a:lnTo>
                  <a:lnTo>
                    <a:pt x="894" y="259"/>
                  </a:lnTo>
                  <a:lnTo>
                    <a:pt x="894" y="254"/>
                  </a:lnTo>
                  <a:lnTo>
                    <a:pt x="890" y="248"/>
                  </a:lnTo>
                  <a:lnTo>
                    <a:pt x="887" y="249"/>
                  </a:lnTo>
                  <a:lnTo>
                    <a:pt x="884" y="249"/>
                  </a:lnTo>
                  <a:lnTo>
                    <a:pt x="879" y="243"/>
                  </a:lnTo>
                  <a:lnTo>
                    <a:pt x="876" y="243"/>
                  </a:lnTo>
                  <a:lnTo>
                    <a:pt x="871" y="239"/>
                  </a:lnTo>
                  <a:lnTo>
                    <a:pt x="869" y="241"/>
                  </a:lnTo>
                  <a:lnTo>
                    <a:pt x="866" y="239"/>
                  </a:lnTo>
                  <a:lnTo>
                    <a:pt x="861" y="238"/>
                  </a:lnTo>
                  <a:lnTo>
                    <a:pt x="857" y="239"/>
                  </a:lnTo>
                  <a:lnTo>
                    <a:pt x="861" y="236"/>
                  </a:lnTo>
                  <a:lnTo>
                    <a:pt x="866" y="234"/>
                  </a:lnTo>
                  <a:lnTo>
                    <a:pt x="866" y="231"/>
                  </a:lnTo>
                  <a:lnTo>
                    <a:pt x="864" y="229"/>
                  </a:lnTo>
                  <a:lnTo>
                    <a:pt x="859" y="229"/>
                  </a:lnTo>
                  <a:lnTo>
                    <a:pt x="854" y="229"/>
                  </a:lnTo>
                  <a:lnTo>
                    <a:pt x="852" y="226"/>
                  </a:lnTo>
                  <a:lnTo>
                    <a:pt x="851" y="226"/>
                  </a:lnTo>
                  <a:lnTo>
                    <a:pt x="841" y="221"/>
                  </a:lnTo>
                  <a:lnTo>
                    <a:pt x="836" y="214"/>
                  </a:lnTo>
                  <a:lnTo>
                    <a:pt x="836" y="206"/>
                  </a:lnTo>
                  <a:lnTo>
                    <a:pt x="832" y="201"/>
                  </a:lnTo>
                  <a:lnTo>
                    <a:pt x="832" y="196"/>
                  </a:lnTo>
                  <a:lnTo>
                    <a:pt x="836" y="196"/>
                  </a:lnTo>
                  <a:lnTo>
                    <a:pt x="837" y="186"/>
                  </a:lnTo>
                  <a:lnTo>
                    <a:pt x="834" y="174"/>
                  </a:lnTo>
                  <a:lnTo>
                    <a:pt x="831" y="170"/>
                  </a:lnTo>
                  <a:lnTo>
                    <a:pt x="834" y="170"/>
                  </a:lnTo>
                  <a:lnTo>
                    <a:pt x="831" y="166"/>
                  </a:lnTo>
                  <a:lnTo>
                    <a:pt x="827" y="166"/>
                  </a:lnTo>
                  <a:lnTo>
                    <a:pt x="822" y="158"/>
                  </a:lnTo>
                  <a:lnTo>
                    <a:pt x="822" y="146"/>
                  </a:lnTo>
                  <a:lnTo>
                    <a:pt x="824" y="145"/>
                  </a:lnTo>
                  <a:lnTo>
                    <a:pt x="824" y="143"/>
                  </a:lnTo>
                  <a:lnTo>
                    <a:pt x="822" y="141"/>
                  </a:lnTo>
                  <a:lnTo>
                    <a:pt x="821" y="126"/>
                  </a:lnTo>
                  <a:lnTo>
                    <a:pt x="822" y="123"/>
                  </a:lnTo>
                  <a:lnTo>
                    <a:pt x="821" y="120"/>
                  </a:lnTo>
                  <a:lnTo>
                    <a:pt x="822" y="118"/>
                  </a:lnTo>
                  <a:lnTo>
                    <a:pt x="822" y="115"/>
                  </a:lnTo>
                  <a:lnTo>
                    <a:pt x="814" y="108"/>
                  </a:lnTo>
                  <a:lnTo>
                    <a:pt x="809" y="105"/>
                  </a:lnTo>
                  <a:lnTo>
                    <a:pt x="811" y="103"/>
                  </a:lnTo>
                  <a:lnTo>
                    <a:pt x="806" y="98"/>
                  </a:lnTo>
                  <a:lnTo>
                    <a:pt x="801" y="100"/>
                  </a:lnTo>
                  <a:lnTo>
                    <a:pt x="797" y="100"/>
                  </a:lnTo>
                  <a:lnTo>
                    <a:pt x="796" y="103"/>
                  </a:lnTo>
                  <a:lnTo>
                    <a:pt x="791" y="105"/>
                  </a:lnTo>
                  <a:lnTo>
                    <a:pt x="786" y="96"/>
                  </a:lnTo>
                  <a:lnTo>
                    <a:pt x="787" y="93"/>
                  </a:lnTo>
                  <a:lnTo>
                    <a:pt x="784" y="88"/>
                  </a:lnTo>
                  <a:lnTo>
                    <a:pt x="786" y="80"/>
                  </a:lnTo>
                  <a:lnTo>
                    <a:pt x="784" y="70"/>
                  </a:lnTo>
                  <a:lnTo>
                    <a:pt x="782" y="70"/>
                  </a:lnTo>
                  <a:lnTo>
                    <a:pt x="781" y="67"/>
                  </a:lnTo>
                  <a:lnTo>
                    <a:pt x="782" y="63"/>
                  </a:lnTo>
                  <a:lnTo>
                    <a:pt x="779" y="58"/>
                  </a:lnTo>
                  <a:lnTo>
                    <a:pt x="779" y="55"/>
                  </a:lnTo>
                  <a:lnTo>
                    <a:pt x="776" y="53"/>
                  </a:lnTo>
                  <a:lnTo>
                    <a:pt x="777" y="47"/>
                  </a:lnTo>
                  <a:lnTo>
                    <a:pt x="779" y="45"/>
                  </a:lnTo>
                  <a:lnTo>
                    <a:pt x="776" y="43"/>
                  </a:lnTo>
                  <a:lnTo>
                    <a:pt x="773" y="43"/>
                  </a:lnTo>
                  <a:lnTo>
                    <a:pt x="769" y="42"/>
                  </a:lnTo>
                  <a:lnTo>
                    <a:pt x="771" y="30"/>
                  </a:lnTo>
                  <a:lnTo>
                    <a:pt x="769" y="28"/>
                  </a:lnTo>
                  <a:lnTo>
                    <a:pt x="768" y="22"/>
                  </a:lnTo>
                  <a:lnTo>
                    <a:pt x="763" y="22"/>
                  </a:lnTo>
                  <a:lnTo>
                    <a:pt x="763" y="18"/>
                  </a:lnTo>
                  <a:lnTo>
                    <a:pt x="758" y="20"/>
                  </a:lnTo>
                  <a:lnTo>
                    <a:pt x="754" y="23"/>
                  </a:lnTo>
                  <a:lnTo>
                    <a:pt x="754" y="32"/>
                  </a:lnTo>
                  <a:lnTo>
                    <a:pt x="753" y="38"/>
                  </a:lnTo>
                  <a:lnTo>
                    <a:pt x="753" y="40"/>
                  </a:lnTo>
                  <a:lnTo>
                    <a:pt x="751" y="45"/>
                  </a:lnTo>
                  <a:lnTo>
                    <a:pt x="748" y="45"/>
                  </a:lnTo>
                  <a:lnTo>
                    <a:pt x="746" y="52"/>
                  </a:lnTo>
                  <a:lnTo>
                    <a:pt x="741" y="57"/>
                  </a:lnTo>
                  <a:lnTo>
                    <a:pt x="744" y="60"/>
                  </a:lnTo>
                  <a:lnTo>
                    <a:pt x="749" y="63"/>
                  </a:lnTo>
                  <a:lnTo>
                    <a:pt x="746" y="65"/>
                  </a:lnTo>
                  <a:lnTo>
                    <a:pt x="743" y="65"/>
                  </a:lnTo>
                  <a:lnTo>
                    <a:pt x="741" y="68"/>
                  </a:lnTo>
                  <a:lnTo>
                    <a:pt x="739" y="73"/>
                  </a:lnTo>
                  <a:lnTo>
                    <a:pt x="743" y="78"/>
                  </a:lnTo>
                  <a:lnTo>
                    <a:pt x="743" y="81"/>
                  </a:lnTo>
                  <a:lnTo>
                    <a:pt x="739" y="80"/>
                  </a:lnTo>
                  <a:lnTo>
                    <a:pt x="736" y="83"/>
                  </a:lnTo>
                  <a:lnTo>
                    <a:pt x="734" y="93"/>
                  </a:lnTo>
                  <a:lnTo>
                    <a:pt x="736" y="100"/>
                  </a:lnTo>
                  <a:lnTo>
                    <a:pt x="734" y="108"/>
                  </a:lnTo>
                  <a:lnTo>
                    <a:pt x="738" y="115"/>
                  </a:lnTo>
                  <a:lnTo>
                    <a:pt x="736" y="121"/>
                  </a:lnTo>
                  <a:lnTo>
                    <a:pt x="733" y="125"/>
                  </a:lnTo>
                  <a:lnTo>
                    <a:pt x="733" y="128"/>
                  </a:lnTo>
                  <a:lnTo>
                    <a:pt x="728" y="136"/>
                  </a:lnTo>
                  <a:lnTo>
                    <a:pt x="726" y="150"/>
                  </a:lnTo>
                  <a:lnTo>
                    <a:pt x="721" y="153"/>
                  </a:lnTo>
                  <a:lnTo>
                    <a:pt x="723" y="158"/>
                  </a:lnTo>
                  <a:lnTo>
                    <a:pt x="721" y="165"/>
                  </a:lnTo>
                  <a:lnTo>
                    <a:pt x="716" y="168"/>
                  </a:lnTo>
                  <a:lnTo>
                    <a:pt x="716" y="176"/>
                  </a:lnTo>
                  <a:lnTo>
                    <a:pt x="708" y="181"/>
                  </a:lnTo>
                  <a:lnTo>
                    <a:pt x="693" y="188"/>
                  </a:lnTo>
                  <a:lnTo>
                    <a:pt x="686" y="183"/>
                  </a:lnTo>
                  <a:lnTo>
                    <a:pt x="679" y="183"/>
                  </a:lnTo>
                  <a:lnTo>
                    <a:pt x="676" y="179"/>
                  </a:lnTo>
                  <a:lnTo>
                    <a:pt x="671" y="174"/>
                  </a:lnTo>
                  <a:lnTo>
                    <a:pt x="671" y="171"/>
                  </a:lnTo>
                  <a:lnTo>
                    <a:pt x="670" y="170"/>
                  </a:lnTo>
                  <a:lnTo>
                    <a:pt x="668" y="165"/>
                  </a:lnTo>
                  <a:lnTo>
                    <a:pt x="661" y="165"/>
                  </a:lnTo>
                  <a:lnTo>
                    <a:pt x="658" y="163"/>
                  </a:lnTo>
                  <a:lnTo>
                    <a:pt x="650" y="163"/>
                  </a:lnTo>
                  <a:lnTo>
                    <a:pt x="643" y="158"/>
                  </a:lnTo>
                  <a:lnTo>
                    <a:pt x="641" y="155"/>
                  </a:lnTo>
                  <a:lnTo>
                    <a:pt x="636" y="148"/>
                  </a:lnTo>
                  <a:lnTo>
                    <a:pt x="630" y="148"/>
                  </a:lnTo>
                  <a:lnTo>
                    <a:pt x="625" y="145"/>
                  </a:lnTo>
                  <a:lnTo>
                    <a:pt x="623" y="141"/>
                  </a:lnTo>
                  <a:lnTo>
                    <a:pt x="620" y="141"/>
                  </a:lnTo>
                  <a:lnTo>
                    <a:pt x="618" y="140"/>
                  </a:lnTo>
                  <a:lnTo>
                    <a:pt x="613" y="140"/>
                  </a:lnTo>
                  <a:lnTo>
                    <a:pt x="608" y="138"/>
                  </a:lnTo>
                  <a:lnTo>
                    <a:pt x="610" y="136"/>
                  </a:lnTo>
                  <a:lnTo>
                    <a:pt x="603" y="133"/>
                  </a:lnTo>
                  <a:lnTo>
                    <a:pt x="601" y="128"/>
                  </a:lnTo>
                  <a:lnTo>
                    <a:pt x="596" y="121"/>
                  </a:lnTo>
                  <a:lnTo>
                    <a:pt x="591" y="121"/>
                  </a:lnTo>
                  <a:lnTo>
                    <a:pt x="586" y="116"/>
                  </a:lnTo>
                  <a:lnTo>
                    <a:pt x="586" y="111"/>
                  </a:lnTo>
                  <a:lnTo>
                    <a:pt x="591" y="105"/>
                  </a:lnTo>
                  <a:lnTo>
                    <a:pt x="591" y="98"/>
                  </a:lnTo>
                  <a:lnTo>
                    <a:pt x="596" y="96"/>
                  </a:lnTo>
                  <a:lnTo>
                    <a:pt x="598" y="90"/>
                  </a:lnTo>
                  <a:lnTo>
                    <a:pt x="600" y="85"/>
                  </a:lnTo>
                  <a:lnTo>
                    <a:pt x="596" y="88"/>
                  </a:lnTo>
                  <a:lnTo>
                    <a:pt x="593" y="83"/>
                  </a:lnTo>
                  <a:lnTo>
                    <a:pt x="598" y="80"/>
                  </a:lnTo>
                  <a:lnTo>
                    <a:pt x="596" y="75"/>
                  </a:lnTo>
                  <a:lnTo>
                    <a:pt x="600" y="75"/>
                  </a:lnTo>
                  <a:lnTo>
                    <a:pt x="601" y="73"/>
                  </a:lnTo>
                  <a:lnTo>
                    <a:pt x="603" y="75"/>
                  </a:lnTo>
                  <a:lnTo>
                    <a:pt x="608" y="76"/>
                  </a:lnTo>
                  <a:lnTo>
                    <a:pt x="615" y="73"/>
                  </a:lnTo>
                  <a:lnTo>
                    <a:pt x="616" y="68"/>
                  </a:lnTo>
                  <a:lnTo>
                    <a:pt x="611" y="67"/>
                  </a:lnTo>
                  <a:lnTo>
                    <a:pt x="615" y="63"/>
                  </a:lnTo>
                  <a:lnTo>
                    <a:pt x="618" y="65"/>
                  </a:lnTo>
                  <a:lnTo>
                    <a:pt x="621" y="57"/>
                  </a:lnTo>
                  <a:lnTo>
                    <a:pt x="625" y="55"/>
                  </a:lnTo>
                  <a:lnTo>
                    <a:pt x="628" y="52"/>
                  </a:lnTo>
                  <a:lnTo>
                    <a:pt x="628" y="50"/>
                  </a:lnTo>
                  <a:lnTo>
                    <a:pt x="623" y="47"/>
                  </a:lnTo>
                  <a:lnTo>
                    <a:pt x="620" y="50"/>
                  </a:lnTo>
                  <a:lnTo>
                    <a:pt x="616" y="50"/>
                  </a:lnTo>
                  <a:lnTo>
                    <a:pt x="616" y="42"/>
                  </a:lnTo>
                  <a:lnTo>
                    <a:pt x="611" y="43"/>
                  </a:lnTo>
                  <a:lnTo>
                    <a:pt x="606" y="50"/>
                  </a:lnTo>
                  <a:lnTo>
                    <a:pt x="608" y="50"/>
                  </a:lnTo>
                  <a:lnTo>
                    <a:pt x="608" y="53"/>
                  </a:lnTo>
                  <a:lnTo>
                    <a:pt x="605" y="55"/>
                  </a:lnTo>
                  <a:lnTo>
                    <a:pt x="601" y="53"/>
                  </a:lnTo>
                  <a:lnTo>
                    <a:pt x="600" y="50"/>
                  </a:lnTo>
                  <a:lnTo>
                    <a:pt x="598" y="48"/>
                  </a:lnTo>
                  <a:lnTo>
                    <a:pt x="596" y="52"/>
                  </a:lnTo>
                  <a:lnTo>
                    <a:pt x="593" y="52"/>
                  </a:lnTo>
                  <a:lnTo>
                    <a:pt x="593" y="48"/>
                  </a:lnTo>
                  <a:lnTo>
                    <a:pt x="596" y="47"/>
                  </a:lnTo>
                  <a:lnTo>
                    <a:pt x="596" y="45"/>
                  </a:lnTo>
                  <a:lnTo>
                    <a:pt x="593" y="45"/>
                  </a:lnTo>
                  <a:lnTo>
                    <a:pt x="591" y="48"/>
                  </a:lnTo>
                  <a:lnTo>
                    <a:pt x="585" y="50"/>
                  </a:lnTo>
                  <a:lnTo>
                    <a:pt x="585" y="52"/>
                  </a:lnTo>
                  <a:lnTo>
                    <a:pt x="581" y="52"/>
                  </a:lnTo>
                  <a:lnTo>
                    <a:pt x="580" y="50"/>
                  </a:lnTo>
                  <a:lnTo>
                    <a:pt x="577" y="50"/>
                  </a:lnTo>
                  <a:lnTo>
                    <a:pt x="575" y="48"/>
                  </a:lnTo>
                  <a:lnTo>
                    <a:pt x="572" y="43"/>
                  </a:lnTo>
                  <a:lnTo>
                    <a:pt x="570" y="43"/>
                  </a:lnTo>
                  <a:lnTo>
                    <a:pt x="565" y="45"/>
                  </a:lnTo>
                  <a:lnTo>
                    <a:pt x="560" y="45"/>
                  </a:lnTo>
                  <a:lnTo>
                    <a:pt x="558" y="45"/>
                  </a:lnTo>
                  <a:lnTo>
                    <a:pt x="557" y="42"/>
                  </a:lnTo>
                  <a:lnTo>
                    <a:pt x="553" y="42"/>
                  </a:lnTo>
                  <a:lnTo>
                    <a:pt x="552" y="37"/>
                  </a:lnTo>
                  <a:lnTo>
                    <a:pt x="545" y="40"/>
                  </a:lnTo>
                  <a:lnTo>
                    <a:pt x="540" y="38"/>
                  </a:lnTo>
                  <a:lnTo>
                    <a:pt x="535" y="37"/>
                  </a:lnTo>
                  <a:lnTo>
                    <a:pt x="535" y="33"/>
                  </a:lnTo>
                  <a:lnTo>
                    <a:pt x="532" y="30"/>
                  </a:lnTo>
                  <a:lnTo>
                    <a:pt x="528" y="30"/>
                  </a:lnTo>
                  <a:lnTo>
                    <a:pt x="530" y="32"/>
                  </a:lnTo>
                  <a:lnTo>
                    <a:pt x="522" y="33"/>
                  </a:lnTo>
                  <a:lnTo>
                    <a:pt x="520" y="30"/>
                  </a:lnTo>
                  <a:lnTo>
                    <a:pt x="517" y="28"/>
                  </a:lnTo>
                  <a:lnTo>
                    <a:pt x="510" y="25"/>
                  </a:lnTo>
                  <a:lnTo>
                    <a:pt x="508" y="27"/>
                  </a:lnTo>
                  <a:lnTo>
                    <a:pt x="505" y="25"/>
                  </a:lnTo>
                  <a:lnTo>
                    <a:pt x="502" y="27"/>
                  </a:lnTo>
                  <a:lnTo>
                    <a:pt x="507" y="30"/>
                  </a:lnTo>
                  <a:lnTo>
                    <a:pt x="505" y="32"/>
                  </a:lnTo>
                  <a:lnTo>
                    <a:pt x="510" y="33"/>
                  </a:lnTo>
                  <a:lnTo>
                    <a:pt x="513" y="32"/>
                  </a:lnTo>
                  <a:lnTo>
                    <a:pt x="520" y="37"/>
                  </a:lnTo>
                  <a:lnTo>
                    <a:pt x="520" y="40"/>
                  </a:lnTo>
                  <a:lnTo>
                    <a:pt x="522" y="47"/>
                  </a:lnTo>
                  <a:lnTo>
                    <a:pt x="517" y="47"/>
                  </a:lnTo>
                  <a:lnTo>
                    <a:pt x="515" y="52"/>
                  </a:lnTo>
                  <a:lnTo>
                    <a:pt x="513" y="48"/>
                  </a:lnTo>
                  <a:lnTo>
                    <a:pt x="510" y="48"/>
                  </a:lnTo>
                  <a:lnTo>
                    <a:pt x="505" y="50"/>
                  </a:lnTo>
                  <a:lnTo>
                    <a:pt x="492" y="50"/>
                  </a:lnTo>
                  <a:lnTo>
                    <a:pt x="487" y="47"/>
                  </a:lnTo>
                  <a:lnTo>
                    <a:pt x="485" y="48"/>
                  </a:lnTo>
                  <a:lnTo>
                    <a:pt x="480" y="50"/>
                  </a:lnTo>
                  <a:lnTo>
                    <a:pt x="480" y="55"/>
                  </a:lnTo>
                  <a:lnTo>
                    <a:pt x="475" y="53"/>
                  </a:lnTo>
                  <a:lnTo>
                    <a:pt x="477" y="60"/>
                  </a:lnTo>
                  <a:lnTo>
                    <a:pt x="475" y="57"/>
                  </a:lnTo>
                  <a:lnTo>
                    <a:pt x="470" y="55"/>
                  </a:lnTo>
                  <a:lnTo>
                    <a:pt x="469" y="58"/>
                  </a:lnTo>
                  <a:lnTo>
                    <a:pt x="470" y="62"/>
                  </a:lnTo>
                  <a:lnTo>
                    <a:pt x="470" y="63"/>
                  </a:lnTo>
                  <a:lnTo>
                    <a:pt x="464" y="62"/>
                  </a:lnTo>
                  <a:lnTo>
                    <a:pt x="460" y="65"/>
                  </a:lnTo>
                  <a:lnTo>
                    <a:pt x="464" y="67"/>
                  </a:lnTo>
                  <a:lnTo>
                    <a:pt x="460" y="68"/>
                  </a:lnTo>
                  <a:lnTo>
                    <a:pt x="457" y="70"/>
                  </a:lnTo>
                  <a:lnTo>
                    <a:pt x="457" y="73"/>
                  </a:lnTo>
                  <a:lnTo>
                    <a:pt x="460" y="76"/>
                  </a:lnTo>
                  <a:lnTo>
                    <a:pt x="462" y="78"/>
                  </a:lnTo>
                  <a:lnTo>
                    <a:pt x="457" y="76"/>
                  </a:lnTo>
                  <a:lnTo>
                    <a:pt x="454" y="78"/>
                  </a:lnTo>
                  <a:lnTo>
                    <a:pt x="449" y="78"/>
                  </a:lnTo>
                  <a:lnTo>
                    <a:pt x="445" y="85"/>
                  </a:lnTo>
                  <a:lnTo>
                    <a:pt x="442" y="91"/>
                  </a:lnTo>
                  <a:lnTo>
                    <a:pt x="439" y="93"/>
                  </a:lnTo>
                  <a:lnTo>
                    <a:pt x="437" y="98"/>
                  </a:lnTo>
                  <a:lnTo>
                    <a:pt x="434" y="101"/>
                  </a:lnTo>
                  <a:lnTo>
                    <a:pt x="437" y="103"/>
                  </a:lnTo>
                  <a:lnTo>
                    <a:pt x="445" y="105"/>
                  </a:lnTo>
                  <a:lnTo>
                    <a:pt x="442" y="106"/>
                  </a:lnTo>
                  <a:lnTo>
                    <a:pt x="440" y="110"/>
                  </a:lnTo>
                  <a:lnTo>
                    <a:pt x="449" y="111"/>
                  </a:lnTo>
                  <a:lnTo>
                    <a:pt x="445" y="113"/>
                  </a:lnTo>
                  <a:lnTo>
                    <a:pt x="439" y="113"/>
                  </a:lnTo>
                  <a:lnTo>
                    <a:pt x="437" y="110"/>
                  </a:lnTo>
                  <a:lnTo>
                    <a:pt x="437" y="113"/>
                  </a:lnTo>
                  <a:lnTo>
                    <a:pt x="442" y="116"/>
                  </a:lnTo>
                  <a:lnTo>
                    <a:pt x="442" y="121"/>
                  </a:lnTo>
                  <a:lnTo>
                    <a:pt x="445" y="126"/>
                  </a:lnTo>
                  <a:lnTo>
                    <a:pt x="439" y="121"/>
                  </a:lnTo>
                  <a:lnTo>
                    <a:pt x="435" y="115"/>
                  </a:lnTo>
                  <a:lnTo>
                    <a:pt x="430" y="115"/>
                  </a:lnTo>
                  <a:lnTo>
                    <a:pt x="430" y="116"/>
                  </a:lnTo>
                  <a:lnTo>
                    <a:pt x="429" y="120"/>
                  </a:lnTo>
                  <a:lnTo>
                    <a:pt x="429" y="116"/>
                  </a:lnTo>
                  <a:lnTo>
                    <a:pt x="419" y="110"/>
                  </a:lnTo>
                  <a:lnTo>
                    <a:pt x="410" y="111"/>
                  </a:lnTo>
                  <a:lnTo>
                    <a:pt x="414" y="115"/>
                  </a:lnTo>
                  <a:lnTo>
                    <a:pt x="410" y="116"/>
                  </a:lnTo>
                  <a:lnTo>
                    <a:pt x="407" y="115"/>
                  </a:lnTo>
                  <a:lnTo>
                    <a:pt x="405" y="115"/>
                  </a:lnTo>
                  <a:lnTo>
                    <a:pt x="404" y="116"/>
                  </a:lnTo>
                  <a:lnTo>
                    <a:pt x="407" y="121"/>
                  </a:lnTo>
                  <a:lnTo>
                    <a:pt x="405" y="123"/>
                  </a:lnTo>
                  <a:lnTo>
                    <a:pt x="405" y="121"/>
                  </a:lnTo>
                  <a:lnTo>
                    <a:pt x="404" y="123"/>
                  </a:lnTo>
                  <a:lnTo>
                    <a:pt x="404" y="125"/>
                  </a:lnTo>
                  <a:lnTo>
                    <a:pt x="399" y="126"/>
                  </a:lnTo>
                  <a:lnTo>
                    <a:pt x="392" y="128"/>
                  </a:lnTo>
                  <a:lnTo>
                    <a:pt x="397" y="126"/>
                  </a:lnTo>
                  <a:lnTo>
                    <a:pt x="400" y="121"/>
                  </a:lnTo>
                  <a:lnTo>
                    <a:pt x="400" y="115"/>
                  </a:lnTo>
                  <a:lnTo>
                    <a:pt x="404" y="110"/>
                  </a:lnTo>
                  <a:lnTo>
                    <a:pt x="402" y="108"/>
                  </a:lnTo>
                  <a:lnTo>
                    <a:pt x="397" y="106"/>
                  </a:lnTo>
                  <a:lnTo>
                    <a:pt x="390" y="96"/>
                  </a:lnTo>
                  <a:lnTo>
                    <a:pt x="387" y="91"/>
                  </a:lnTo>
                  <a:lnTo>
                    <a:pt x="380" y="90"/>
                  </a:lnTo>
                  <a:lnTo>
                    <a:pt x="376" y="86"/>
                  </a:lnTo>
                  <a:lnTo>
                    <a:pt x="372" y="88"/>
                  </a:lnTo>
                  <a:lnTo>
                    <a:pt x="376" y="90"/>
                  </a:lnTo>
                  <a:lnTo>
                    <a:pt x="372" y="91"/>
                  </a:lnTo>
                  <a:lnTo>
                    <a:pt x="369" y="96"/>
                  </a:lnTo>
                  <a:lnTo>
                    <a:pt x="366" y="95"/>
                  </a:lnTo>
                  <a:lnTo>
                    <a:pt x="367" y="93"/>
                  </a:lnTo>
                  <a:lnTo>
                    <a:pt x="362" y="93"/>
                  </a:lnTo>
                  <a:lnTo>
                    <a:pt x="361" y="96"/>
                  </a:lnTo>
                  <a:lnTo>
                    <a:pt x="357" y="90"/>
                  </a:lnTo>
                  <a:lnTo>
                    <a:pt x="356" y="90"/>
                  </a:lnTo>
                  <a:lnTo>
                    <a:pt x="354" y="93"/>
                  </a:lnTo>
                  <a:lnTo>
                    <a:pt x="357" y="95"/>
                  </a:lnTo>
                  <a:lnTo>
                    <a:pt x="354" y="98"/>
                  </a:lnTo>
                  <a:lnTo>
                    <a:pt x="352" y="103"/>
                  </a:lnTo>
                  <a:lnTo>
                    <a:pt x="354" y="105"/>
                  </a:lnTo>
                  <a:lnTo>
                    <a:pt x="349" y="108"/>
                  </a:lnTo>
                  <a:lnTo>
                    <a:pt x="346" y="105"/>
                  </a:lnTo>
                  <a:lnTo>
                    <a:pt x="344" y="105"/>
                  </a:lnTo>
                  <a:lnTo>
                    <a:pt x="342" y="103"/>
                  </a:lnTo>
                  <a:lnTo>
                    <a:pt x="346" y="98"/>
                  </a:lnTo>
                  <a:lnTo>
                    <a:pt x="342" y="98"/>
                  </a:lnTo>
                  <a:lnTo>
                    <a:pt x="341" y="103"/>
                  </a:lnTo>
                  <a:lnTo>
                    <a:pt x="336" y="105"/>
                  </a:lnTo>
                  <a:lnTo>
                    <a:pt x="334" y="108"/>
                  </a:lnTo>
                  <a:lnTo>
                    <a:pt x="332" y="111"/>
                  </a:lnTo>
                  <a:lnTo>
                    <a:pt x="339" y="115"/>
                  </a:lnTo>
                  <a:lnTo>
                    <a:pt x="334" y="118"/>
                  </a:lnTo>
                  <a:lnTo>
                    <a:pt x="329" y="116"/>
                  </a:lnTo>
                  <a:lnTo>
                    <a:pt x="322" y="120"/>
                  </a:lnTo>
                  <a:lnTo>
                    <a:pt x="324" y="123"/>
                  </a:lnTo>
                  <a:lnTo>
                    <a:pt x="331" y="123"/>
                  </a:lnTo>
                  <a:lnTo>
                    <a:pt x="329" y="128"/>
                  </a:lnTo>
                  <a:lnTo>
                    <a:pt x="326" y="128"/>
                  </a:lnTo>
                  <a:lnTo>
                    <a:pt x="321" y="123"/>
                  </a:lnTo>
                  <a:lnTo>
                    <a:pt x="316" y="126"/>
                  </a:lnTo>
                  <a:lnTo>
                    <a:pt x="312" y="128"/>
                  </a:lnTo>
                  <a:lnTo>
                    <a:pt x="312" y="131"/>
                  </a:lnTo>
                  <a:lnTo>
                    <a:pt x="314" y="135"/>
                  </a:lnTo>
                  <a:lnTo>
                    <a:pt x="314" y="136"/>
                  </a:lnTo>
                  <a:lnTo>
                    <a:pt x="317" y="136"/>
                  </a:lnTo>
                  <a:lnTo>
                    <a:pt x="314" y="140"/>
                  </a:lnTo>
                  <a:lnTo>
                    <a:pt x="316" y="143"/>
                  </a:lnTo>
                  <a:lnTo>
                    <a:pt x="312" y="145"/>
                  </a:lnTo>
                  <a:lnTo>
                    <a:pt x="309" y="148"/>
                  </a:lnTo>
                  <a:lnTo>
                    <a:pt x="317" y="150"/>
                  </a:lnTo>
                  <a:lnTo>
                    <a:pt x="312" y="151"/>
                  </a:lnTo>
                  <a:lnTo>
                    <a:pt x="311" y="155"/>
                  </a:lnTo>
                  <a:lnTo>
                    <a:pt x="306" y="153"/>
                  </a:lnTo>
                  <a:lnTo>
                    <a:pt x="304" y="150"/>
                  </a:lnTo>
                  <a:lnTo>
                    <a:pt x="301" y="148"/>
                  </a:lnTo>
                  <a:lnTo>
                    <a:pt x="296" y="150"/>
                  </a:lnTo>
                  <a:lnTo>
                    <a:pt x="294" y="146"/>
                  </a:lnTo>
                  <a:lnTo>
                    <a:pt x="291" y="145"/>
                  </a:lnTo>
                  <a:lnTo>
                    <a:pt x="287" y="146"/>
                  </a:lnTo>
                  <a:lnTo>
                    <a:pt x="292" y="151"/>
                  </a:lnTo>
                  <a:lnTo>
                    <a:pt x="291" y="151"/>
                  </a:lnTo>
                  <a:lnTo>
                    <a:pt x="287" y="156"/>
                  </a:lnTo>
                  <a:lnTo>
                    <a:pt x="292" y="160"/>
                  </a:lnTo>
                  <a:lnTo>
                    <a:pt x="297" y="160"/>
                  </a:lnTo>
                  <a:lnTo>
                    <a:pt x="296" y="163"/>
                  </a:lnTo>
                  <a:lnTo>
                    <a:pt x="296" y="168"/>
                  </a:lnTo>
                  <a:lnTo>
                    <a:pt x="294" y="166"/>
                  </a:lnTo>
                  <a:lnTo>
                    <a:pt x="291" y="166"/>
                  </a:lnTo>
                  <a:lnTo>
                    <a:pt x="292" y="171"/>
                  </a:lnTo>
                  <a:lnTo>
                    <a:pt x="291" y="174"/>
                  </a:lnTo>
                  <a:lnTo>
                    <a:pt x="289" y="181"/>
                  </a:lnTo>
                  <a:lnTo>
                    <a:pt x="281" y="166"/>
                  </a:lnTo>
                  <a:lnTo>
                    <a:pt x="276" y="156"/>
                  </a:lnTo>
                  <a:lnTo>
                    <a:pt x="274" y="153"/>
                  </a:lnTo>
                  <a:lnTo>
                    <a:pt x="276" y="148"/>
                  </a:lnTo>
                  <a:lnTo>
                    <a:pt x="273" y="151"/>
                  </a:lnTo>
                  <a:lnTo>
                    <a:pt x="268" y="155"/>
                  </a:lnTo>
                  <a:lnTo>
                    <a:pt x="268" y="160"/>
                  </a:lnTo>
                  <a:lnTo>
                    <a:pt x="263" y="161"/>
                  </a:lnTo>
                  <a:lnTo>
                    <a:pt x="263" y="163"/>
                  </a:lnTo>
                  <a:lnTo>
                    <a:pt x="258" y="163"/>
                  </a:lnTo>
                  <a:lnTo>
                    <a:pt x="254" y="166"/>
                  </a:lnTo>
                  <a:lnTo>
                    <a:pt x="251" y="170"/>
                  </a:lnTo>
                  <a:lnTo>
                    <a:pt x="253" y="174"/>
                  </a:lnTo>
                  <a:lnTo>
                    <a:pt x="253" y="186"/>
                  </a:lnTo>
                  <a:lnTo>
                    <a:pt x="254" y="188"/>
                  </a:lnTo>
                  <a:lnTo>
                    <a:pt x="254" y="191"/>
                  </a:lnTo>
                  <a:lnTo>
                    <a:pt x="249" y="193"/>
                  </a:lnTo>
                  <a:lnTo>
                    <a:pt x="248" y="198"/>
                  </a:lnTo>
                  <a:lnTo>
                    <a:pt x="241" y="199"/>
                  </a:lnTo>
                  <a:lnTo>
                    <a:pt x="241" y="203"/>
                  </a:lnTo>
                  <a:lnTo>
                    <a:pt x="236" y="206"/>
                  </a:lnTo>
                  <a:lnTo>
                    <a:pt x="236" y="211"/>
                  </a:lnTo>
                  <a:lnTo>
                    <a:pt x="233" y="214"/>
                  </a:lnTo>
                  <a:lnTo>
                    <a:pt x="224" y="223"/>
                  </a:lnTo>
                  <a:lnTo>
                    <a:pt x="211" y="231"/>
                  </a:lnTo>
                  <a:lnTo>
                    <a:pt x="198" y="231"/>
                  </a:lnTo>
                  <a:lnTo>
                    <a:pt x="193" y="233"/>
                  </a:lnTo>
                  <a:lnTo>
                    <a:pt x="186" y="234"/>
                  </a:lnTo>
                  <a:lnTo>
                    <a:pt x="180" y="236"/>
                  </a:lnTo>
                  <a:lnTo>
                    <a:pt x="175" y="234"/>
                  </a:lnTo>
                  <a:lnTo>
                    <a:pt x="166" y="236"/>
                  </a:lnTo>
                  <a:lnTo>
                    <a:pt x="166" y="241"/>
                  </a:lnTo>
                  <a:lnTo>
                    <a:pt x="161" y="243"/>
                  </a:lnTo>
                  <a:lnTo>
                    <a:pt x="145" y="243"/>
                  </a:lnTo>
                  <a:lnTo>
                    <a:pt x="141" y="244"/>
                  </a:lnTo>
                  <a:lnTo>
                    <a:pt x="140" y="248"/>
                  </a:lnTo>
                  <a:lnTo>
                    <a:pt x="130" y="253"/>
                  </a:lnTo>
                  <a:lnTo>
                    <a:pt x="121" y="253"/>
                  </a:lnTo>
                  <a:lnTo>
                    <a:pt x="118" y="251"/>
                  </a:lnTo>
                  <a:lnTo>
                    <a:pt x="115" y="251"/>
                  </a:lnTo>
                  <a:lnTo>
                    <a:pt x="113" y="248"/>
                  </a:lnTo>
                  <a:lnTo>
                    <a:pt x="108" y="249"/>
                  </a:lnTo>
                  <a:lnTo>
                    <a:pt x="105" y="256"/>
                  </a:lnTo>
                  <a:lnTo>
                    <a:pt x="95" y="258"/>
                  </a:lnTo>
                  <a:lnTo>
                    <a:pt x="93" y="259"/>
                  </a:lnTo>
                  <a:lnTo>
                    <a:pt x="91" y="259"/>
                  </a:lnTo>
                  <a:lnTo>
                    <a:pt x="83" y="266"/>
                  </a:lnTo>
                  <a:lnTo>
                    <a:pt x="73" y="269"/>
                  </a:lnTo>
                  <a:lnTo>
                    <a:pt x="58" y="274"/>
                  </a:lnTo>
                  <a:lnTo>
                    <a:pt x="53" y="281"/>
                  </a:lnTo>
                  <a:lnTo>
                    <a:pt x="53" y="287"/>
                  </a:lnTo>
                  <a:lnTo>
                    <a:pt x="47" y="292"/>
                  </a:lnTo>
                  <a:lnTo>
                    <a:pt x="43" y="291"/>
                  </a:lnTo>
                  <a:lnTo>
                    <a:pt x="45" y="287"/>
                  </a:lnTo>
                  <a:lnTo>
                    <a:pt x="45" y="284"/>
                  </a:lnTo>
                  <a:lnTo>
                    <a:pt x="47" y="279"/>
                  </a:lnTo>
                  <a:lnTo>
                    <a:pt x="47" y="274"/>
                  </a:lnTo>
                  <a:lnTo>
                    <a:pt x="38" y="281"/>
                  </a:lnTo>
                  <a:lnTo>
                    <a:pt x="37" y="286"/>
                  </a:lnTo>
                  <a:lnTo>
                    <a:pt x="32" y="296"/>
                  </a:lnTo>
                  <a:lnTo>
                    <a:pt x="35" y="302"/>
                  </a:lnTo>
                  <a:lnTo>
                    <a:pt x="33" y="307"/>
                  </a:lnTo>
                  <a:lnTo>
                    <a:pt x="33" y="319"/>
                  </a:lnTo>
                  <a:lnTo>
                    <a:pt x="23" y="329"/>
                  </a:lnTo>
                  <a:lnTo>
                    <a:pt x="20" y="344"/>
                  </a:lnTo>
                  <a:lnTo>
                    <a:pt x="23" y="351"/>
                  </a:lnTo>
                  <a:lnTo>
                    <a:pt x="22" y="361"/>
                  </a:lnTo>
                  <a:lnTo>
                    <a:pt x="30" y="374"/>
                  </a:lnTo>
                  <a:lnTo>
                    <a:pt x="30" y="379"/>
                  </a:lnTo>
                  <a:lnTo>
                    <a:pt x="33" y="382"/>
                  </a:lnTo>
                  <a:lnTo>
                    <a:pt x="30" y="389"/>
                  </a:lnTo>
                  <a:lnTo>
                    <a:pt x="32" y="395"/>
                  </a:lnTo>
                  <a:lnTo>
                    <a:pt x="27" y="397"/>
                  </a:lnTo>
                  <a:lnTo>
                    <a:pt x="25" y="394"/>
                  </a:lnTo>
                  <a:lnTo>
                    <a:pt x="25" y="385"/>
                  </a:lnTo>
                  <a:lnTo>
                    <a:pt x="22" y="390"/>
                  </a:lnTo>
                  <a:lnTo>
                    <a:pt x="20" y="389"/>
                  </a:lnTo>
                  <a:lnTo>
                    <a:pt x="20" y="382"/>
                  </a:lnTo>
                  <a:lnTo>
                    <a:pt x="15" y="372"/>
                  </a:lnTo>
                  <a:lnTo>
                    <a:pt x="12" y="377"/>
                  </a:lnTo>
                  <a:lnTo>
                    <a:pt x="13" y="385"/>
                  </a:lnTo>
                  <a:lnTo>
                    <a:pt x="20" y="392"/>
                  </a:lnTo>
                  <a:lnTo>
                    <a:pt x="25" y="400"/>
                  </a:lnTo>
                  <a:lnTo>
                    <a:pt x="18" y="402"/>
                  </a:lnTo>
                  <a:lnTo>
                    <a:pt x="12" y="395"/>
                  </a:lnTo>
                  <a:lnTo>
                    <a:pt x="12" y="387"/>
                  </a:lnTo>
                  <a:lnTo>
                    <a:pt x="8" y="390"/>
                  </a:lnTo>
                  <a:lnTo>
                    <a:pt x="7" y="392"/>
                  </a:lnTo>
                  <a:lnTo>
                    <a:pt x="10" y="399"/>
                  </a:lnTo>
                  <a:lnTo>
                    <a:pt x="18" y="409"/>
                  </a:lnTo>
                  <a:lnTo>
                    <a:pt x="23" y="420"/>
                  </a:lnTo>
                  <a:lnTo>
                    <a:pt x="23" y="444"/>
                  </a:lnTo>
                  <a:lnTo>
                    <a:pt x="27" y="447"/>
                  </a:lnTo>
                  <a:lnTo>
                    <a:pt x="28" y="460"/>
                  </a:lnTo>
                  <a:lnTo>
                    <a:pt x="37" y="475"/>
                  </a:lnTo>
                  <a:lnTo>
                    <a:pt x="33" y="482"/>
                  </a:lnTo>
                  <a:lnTo>
                    <a:pt x="35" y="507"/>
                  </a:lnTo>
                  <a:lnTo>
                    <a:pt x="33" y="510"/>
                  </a:lnTo>
                  <a:lnTo>
                    <a:pt x="35" y="517"/>
                  </a:lnTo>
                  <a:lnTo>
                    <a:pt x="35" y="523"/>
                  </a:lnTo>
                  <a:lnTo>
                    <a:pt x="40" y="535"/>
                  </a:lnTo>
                  <a:lnTo>
                    <a:pt x="42" y="540"/>
                  </a:lnTo>
                  <a:lnTo>
                    <a:pt x="37" y="543"/>
                  </a:lnTo>
                  <a:lnTo>
                    <a:pt x="38" y="545"/>
                  </a:lnTo>
                  <a:lnTo>
                    <a:pt x="37" y="552"/>
                  </a:lnTo>
                  <a:lnTo>
                    <a:pt x="37" y="560"/>
                  </a:lnTo>
                  <a:lnTo>
                    <a:pt x="32" y="565"/>
                  </a:lnTo>
                  <a:lnTo>
                    <a:pt x="33" y="566"/>
                  </a:lnTo>
                  <a:lnTo>
                    <a:pt x="32" y="573"/>
                  </a:lnTo>
                  <a:lnTo>
                    <a:pt x="28" y="575"/>
                  </a:lnTo>
                  <a:lnTo>
                    <a:pt x="28" y="581"/>
                  </a:lnTo>
                  <a:lnTo>
                    <a:pt x="20" y="586"/>
                  </a:lnTo>
                  <a:lnTo>
                    <a:pt x="17" y="583"/>
                  </a:lnTo>
                  <a:lnTo>
                    <a:pt x="12" y="591"/>
                  </a:lnTo>
                  <a:lnTo>
                    <a:pt x="12" y="6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6156014" y="1963391"/>
              <a:ext cx="2252873" cy="885062"/>
              <a:chOff x="6156014" y="1963391"/>
              <a:chExt cx="2252873" cy="885062"/>
            </a:xfrm>
            <a:grpFill/>
          </p:grpSpPr>
          <p:sp>
            <p:nvSpPr>
              <p:cNvPr id="126" name="Freeform 6"/>
              <p:cNvSpPr>
                <a:spLocks noEditPoints="1"/>
              </p:cNvSpPr>
              <p:nvPr/>
            </p:nvSpPr>
            <p:spPr bwMode="auto">
              <a:xfrm>
                <a:off x="6700770" y="1963391"/>
                <a:ext cx="1708117" cy="804131"/>
              </a:xfrm>
              <a:custGeom>
                <a:avLst/>
                <a:gdLst/>
                <a:ahLst/>
                <a:cxnLst>
                  <a:cxn ang="0">
                    <a:pos x="2490" y="1201"/>
                  </a:cxn>
                  <a:cxn ang="0">
                    <a:pos x="2291" y="1125"/>
                  </a:cxn>
                  <a:cxn ang="0">
                    <a:pos x="2137" y="1103"/>
                  </a:cxn>
                  <a:cxn ang="0">
                    <a:pos x="1789" y="1206"/>
                  </a:cxn>
                  <a:cxn ang="0">
                    <a:pos x="1494" y="1221"/>
                  </a:cxn>
                  <a:cxn ang="0">
                    <a:pos x="1110" y="1140"/>
                  </a:cxn>
                  <a:cxn ang="0">
                    <a:pos x="828" y="1160"/>
                  </a:cxn>
                  <a:cxn ang="0">
                    <a:pos x="668" y="1274"/>
                  </a:cxn>
                  <a:cxn ang="0">
                    <a:pos x="550" y="1411"/>
                  </a:cxn>
                  <a:cxn ang="0">
                    <a:pos x="376" y="1489"/>
                  </a:cxn>
                  <a:cxn ang="0">
                    <a:pos x="228" y="1264"/>
                  </a:cxn>
                  <a:cxn ang="0">
                    <a:pos x="60" y="987"/>
                  </a:cxn>
                  <a:cxn ang="0">
                    <a:pos x="67" y="618"/>
                  </a:cxn>
                  <a:cxn ang="0">
                    <a:pos x="246" y="756"/>
                  </a:cxn>
                  <a:cxn ang="0">
                    <a:pos x="203" y="851"/>
                  </a:cxn>
                  <a:cxn ang="0">
                    <a:pos x="311" y="658"/>
                  </a:cxn>
                  <a:cxn ang="0">
                    <a:pos x="485" y="652"/>
                  </a:cxn>
                  <a:cxn ang="0">
                    <a:pos x="723" y="595"/>
                  </a:cxn>
                  <a:cxn ang="0">
                    <a:pos x="788" y="439"/>
                  </a:cxn>
                  <a:cxn ang="0">
                    <a:pos x="901" y="670"/>
                  </a:cxn>
                  <a:cxn ang="0">
                    <a:pos x="823" y="434"/>
                  </a:cxn>
                  <a:cxn ang="0">
                    <a:pos x="999" y="467"/>
                  </a:cxn>
                  <a:cxn ang="0">
                    <a:pos x="951" y="319"/>
                  </a:cxn>
                  <a:cxn ang="0">
                    <a:pos x="1027" y="178"/>
                  </a:cxn>
                  <a:cxn ang="0">
                    <a:pos x="1142" y="78"/>
                  </a:cxn>
                  <a:cxn ang="0">
                    <a:pos x="1351" y="47"/>
                  </a:cxn>
                  <a:cxn ang="0">
                    <a:pos x="1366" y="255"/>
                  </a:cxn>
                  <a:cxn ang="0">
                    <a:pos x="1578" y="183"/>
                  </a:cxn>
                  <a:cxn ang="0">
                    <a:pos x="1798" y="173"/>
                  </a:cxn>
                  <a:cxn ang="0">
                    <a:pos x="2019" y="205"/>
                  </a:cxn>
                  <a:cxn ang="0">
                    <a:pos x="2120" y="137"/>
                  </a:cxn>
                  <a:cxn ang="0">
                    <a:pos x="2500" y="155"/>
                  </a:cxn>
                  <a:cxn ang="0">
                    <a:pos x="2710" y="59"/>
                  </a:cxn>
                  <a:cxn ang="0">
                    <a:pos x="3053" y="105"/>
                  </a:cxn>
                  <a:cxn ang="0">
                    <a:pos x="3142" y="138"/>
                  </a:cxn>
                  <a:cxn ang="0">
                    <a:pos x="3035" y="198"/>
                  </a:cxn>
                  <a:cxn ang="0">
                    <a:pos x="3087" y="349"/>
                  </a:cxn>
                  <a:cxn ang="0">
                    <a:pos x="3053" y="595"/>
                  </a:cxn>
                  <a:cxn ang="0">
                    <a:pos x="2969" y="735"/>
                  </a:cxn>
                  <a:cxn ang="0">
                    <a:pos x="2974" y="1022"/>
                  </a:cxn>
                  <a:cxn ang="0">
                    <a:pos x="2879" y="567"/>
                  </a:cxn>
                  <a:cxn ang="0">
                    <a:pos x="2796" y="562"/>
                  </a:cxn>
                  <a:cxn ang="0">
                    <a:pos x="2681" y="735"/>
                  </a:cxn>
                  <a:cxn ang="0">
                    <a:pos x="2452" y="858"/>
                  </a:cxn>
                  <a:cxn ang="0">
                    <a:pos x="2588" y="1027"/>
                  </a:cxn>
                  <a:cxn ang="0">
                    <a:pos x="2529" y="1392"/>
                  </a:cxn>
                  <a:cxn ang="0">
                    <a:pos x="469" y="416"/>
                  </a:cxn>
                  <a:cxn ang="0">
                    <a:pos x="607" y="196"/>
                  </a:cxn>
                  <a:cxn ang="0">
                    <a:pos x="421" y="318"/>
                  </a:cxn>
                  <a:cxn ang="0">
                    <a:pos x="449" y="525"/>
                  </a:cxn>
                  <a:cxn ang="0">
                    <a:pos x="404" y="497"/>
                  </a:cxn>
                  <a:cxn ang="0">
                    <a:pos x="163" y="804"/>
                  </a:cxn>
                  <a:cxn ang="0">
                    <a:pos x="514" y="622"/>
                  </a:cxn>
                  <a:cxn ang="0">
                    <a:pos x="731" y="394"/>
                  </a:cxn>
                  <a:cxn ang="0">
                    <a:pos x="884" y="397"/>
                  </a:cxn>
                  <a:cxn ang="0">
                    <a:pos x="962" y="271"/>
                  </a:cxn>
                  <a:cxn ang="0">
                    <a:pos x="1446" y="175"/>
                  </a:cxn>
                  <a:cxn ang="0">
                    <a:pos x="2625" y="88"/>
                  </a:cxn>
                  <a:cxn ang="0">
                    <a:pos x="2653" y="1063"/>
                  </a:cxn>
                  <a:cxn ang="0">
                    <a:pos x="2666" y="1176"/>
                  </a:cxn>
                  <a:cxn ang="0">
                    <a:pos x="2663" y="723"/>
                  </a:cxn>
                  <a:cxn ang="0">
                    <a:pos x="2941" y="1117"/>
                  </a:cxn>
                  <a:cxn ang="0">
                    <a:pos x="2847" y="1274"/>
                  </a:cxn>
                </a:cxnLst>
                <a:rect l="0" t="0" r="r" b="b"/>
                <a:pathLst>
                  <a:path w="3193" h="1550">
                    <a:moveTo>
                      <a:pt x="2477" y="1409"/>
                    </a:moveTo>
                    <a:lnTo>
                      <a:pt x="2477" y="1407"/>
                    </a:lnTo>
                    <a:lnTo>
                      <a:pt x="2472" y="1404"/>
                    </a:lnTo>
                    <a:lnTo>
                      <a:pt x="2472" y="1404"/>
                    </a:lnTo>
                    <a:lnTo>
                      <a:pt x="2474" y="1402"/>
                    </a:lnTo>
                    <a:lnTo>
                      <a:pt x="2474" y="1399"/>
                    </a:lnTo>
                    <a:lnTo>
                      <a:pt x="2472" y="1399"/>
                    </a:lnTo>
                    <a:lnTo>
                      <a:pt x="2470" y="1394"/>
                    </a:lnTo>
                    <a:lnTo>
                      <a:pt x="2470" y="1392"/>
                    </a:lnTo>
                    <a:lnTo>
                      <a:pt x="2474" y="1391"/>
                    </a:lnTo>
                    <a:lnTo>
                      <a:pt x="2480" y="1392"/>
                    </a:lnTo>
                    <a:lnTo>
                      <a:pt x="2480" y="1391"/>
                    </a:lnTo>
                    <a:lnTo>
                      <a:pt x="2482" y="1387"/>
                    </a:lnTo>
                    <a:lnTo>
                      <a:pt x="2480" y="1386"/>
                    </a:lnTo>
                    <a:lnTo>
                      <a:pt x="2480" y="1382"/>
                    </a:lnTo>
                    <a:lnTo>
                      <a:pt x="2482" y="1381"/>
                    </a:lnTo>
                    <a:lnTo>
                      <a:pt x="2482" y="1376"/>
                    </a:lnTo>
                    <a:lnTo>
                      <a:pt x="2482" y="1372"/>
                    </a:lnTo>
                    <a:lnTo>
                      <a:pt x="2479" y="1371"/>
                    </a:lnTo>
                    <a:lnTo>
                      <a:pt x="2479" y="1362"/>
                    </a:lnTo>
                    <a:lnTo>
                      <a:pt x="2479" y="1359"/>
                    </a:lnTo>
                    <a:lnTo>
                      <a:pt x="2477" y="1354"/>
                    </a:lnTo>
                    <a:lnTo>
                      <a:pt x="2477" y="1351"/>
                    </a:lnTo>
                    <a:lnTo>
                      <a:pt x="2475" y="1346"/>
                    </a:lnTo>
                    <a:lnTo>
                      <a:pt x="2474" y="1344"/>
                    </a:lnTo>
                    <a:lnTo>
                      <a:pt x="2472" y="1341"/>
                    </a:lnTo>
                    <a:lnTo>
                      <a:pt x="2465" y="1333"/>
                    </a:lnTo>
                    <a:lnTo>
                      <a:pt x="2464" y="1329"/>
                    </a:lnTo>
                    <a:lnTo>
                      <a:pt x="2465" y="1328"/>
                    </a:lnTo>
                    <a:lnTo>
                      <a:pt x="2469" y="1326"/>
                    </a:lnTo>
                    <a:lnTo>
                      <a:pt x="2472" y="1324"/>
                    </a:lnTo>
                    <a:lnTo>
                      <a:pt x="2474" y="1323"/>
                    </a:lnTo>
                    <a:lnTo>
                      <a:pt x="2475" y="1319"/>
                    </a:lnTo>
                    <a:lnTo>
                      <a:pt x="2479" y="1313"/>
                    </a:lnTo>
                    <a:lnTo>
                      <a:pt x="2480" y="1313"/>
                    </a:lnTo>
                    <a:lnTo>
                      <a:pt x="2485" y="1314"/>
                    </a:lnTo>
                    <a:lnTo>
                      <a:pt x="2489" y="1314"/>
                    </a:lnTo>
                    <a:lnTo>
                      <a:pt x="2504" y="1318"/>
                    </a:lnTo>
                    <a:lnTo>
                      <a:pt x="2505" y="1318"/>
                    </a:lnTo>
                    <a:lnTo>
                      <a:pt x="2509" y="1318"/>
                    </a:lnTo>
                    <a:lnTo>
                      <a:pt x="2510" y="1316"/>
                    </a:lnTo>
                    <a:lnTo>
                      <a:pt x="2510" y="1313"/>
                    </a:lnTo>
                    <a:lnTo>
                      <a:pt x="2509" y="1309"/>
                    </a:lnTo>
                    <a:lnTo>
                      <a:pt x="2509" y="1308"/>
                    </a:lnTo>
                    <a:lnTo>
                      <a:pt x="2509" y="1306"/>
                    </a:lnTo>
                    <a:lnTo>
                      <a:pt x="2509" y="1304"/>
                    </a:lnTo>
                    <a:lnTo>
                      <a:pt x="2507" y="1301"/>
                    </a:lnTo>
                    <a:lnTo>
                      <a:pt x="2509" y="1298"/>
                    </a:lnTo>
                    <a:lnTo>
                      <a:pt x="2510" y="1296"/>
                    </a:lnTo>
                    <a:lnTo>
                      <a:pt x="2510" y="1293"/>
                    </a:lnTo>
                    <a:lnTo>
                      <a:pt x="2509" y="1289"/>
                    </a:lnTo>
                    <a:lnTo>
                      <a:pt x="2510" y="1288"/>
                    </a:lnTo>
                    <a:lnTo>
                      <a:pt x="2512" y="1288"/>
                    </a:lnTo>
                    <a:lnTo>
                      <a:pt x="2512" y="1284"/>
                    </a:lnTo>
                    <a:lnTo>
                      <a:pt x="2512" y="1283"/>
                    </a:lnTo>
                    <a:lnTo>
                      <a:pt x="2510" y="1279"/>
                    </a:lnTo>
                    <a:lnTo>
                      <a:pt x="2510" y="1278"/>
                    </a:lnTo>
                    <a:lnTo>
                      <a:pt x="2514" y="1276"/>
                    </a:lnTo>
                    <a:lnTo>
                      <a:pt x="2514" y="1274"/>
                    </a:lnTo>
                    <a:lnTo>
                      <a:pt x="2512" y="1271"/>
                    </a:lnTo>
                    <a:lnTo>
                      <a:pt x="2510" y="1268"/>
                    </a:lnTo>
                    <a:lnTo>
                      <a:pt x="2510" y="1263"/>
                    </a:lnTo>
                    <a:lnTo>
                      <a:pt x="2512" y="1261"/>
                    </a:lnTo>
                    <a:lnTo>
                      <a:pt x="2512" y="1261"/>
                    </a:lnTo>
                    <a:lnTo>
                      <a:pt x="2512" y="1259"/>
                    </a:lnTo>
                    <a:lnTo>
                      <a:pt x="2512" y="1258"/>
                    </a:lnTo>
                    <a:lnTo>
                      <a:pt x="2512" y="1255"/>
                    </a:lnTo>
                    <a:lnTo>
                      <a:pt x="2509" y="1253"/>
                    </a:lnTo>
                    <a:lnTo>
                      <a:pt x="2509" y="1251"/>
                    </a:lnTo>
                    <a:lnTo>
                      <a:pt x="2509" y="1248"/>
                    </a:lnTo>
                    <a:lnTo>
                      <a:pt x="2510" y="1245"/>
                    </a:lnTo>
                    <a:lnTo>
                      <a:pt x="2509" y="1243"/>
                    </a:lnTo>
                    <a:lnTo>
                      <a:pt x="2507" y="1241"/>
                    </a:lnTo>
                    <a:lnTo>
                      <a:pt x="2507" y="1240"/>
                    </a:lnTo>
                    <a:lnTo>
                      <a:pt x="2510" y="1235"/>
                    </a:lnTo>
                    <a:lnTo>
                      <a:pt x="2514" y="1235"/>
                    </a:lnTo>
                    <a:lnTo>
                      <a:pt x="2514" y="1233"/>
                    </a:lnTo>
                    <a:lnTo>
                      <a:pt x="2515" y="1230"/>
                    </a:lnTo>
                    <a:lnTo>
                      <a:pt x="2515" y="1225"/>
                    </a:lnTo>
                    <a:lnTo>
                      <a:pt x="2512" y="1223"/>
                    </a:lnTo>
                    <a:lnTo>
                      <a:pt x="2510" y="1221"/>
                    </a:lnTo>
                    <a:lnTo>
                      <a:pt x="2510" y="1218"/>
                    </a:lnTo>
                    <a:lnTo>
                      <a:pt x="2505" y="1213"/>
                    </a:lnTo>
                    <a:lnTo>
                      <a:pt x="2505" y="1211"/>
                    </a:lnTo>
                    <a:lnTo>
                      <a:pt x="2507" y="1210"/>
                    </a:lnTo>
                    <a:lnTo>
                      <a:pt x="2505" y="1206"/>
                    </a:lnTo>
                    <a:lnTo>
                      <a:pt x="2504" y="1203"/>
                    </a:lnTo>
                    <a:lnTo>
                      <a:pt x="2499" y="1203"/>
                    </a:lnTo>
                    <a:lnTo>
                      <a:pt x="2497" y="1201"/>
                    </a:lnTo>
                    <a:lnTo>
                      <a:pt x="2492" y="1200"/>
                    </a:lnTo>
                    <a:lnTo>
                      <a:pt x="2490" y="1201"/>
                    </a:lnTo>
                    <a:lnTo>
                      <a:pt x="2485" y="1203"/>
                    </a:lnTo>
                    <a:lnTo>
                      <a:pt x="2484" y="1205"/>
                    </a:lnTo>
                    <a:lnTo>
                      <a:pt x="2482" y="1208"/>
                    </a:lnTo>
                    <a:lnTo>
                      <a:pt x="2480" y="1208"/>
                    </a:lnTo>
                    <a:lnTo>
                      <a:pt x="2477" y="1210"/>
                    </a:lnTo>
                    <a:lnTo>
                      <a:pt x="2477" y="1213"/>
                    </a:lnTo>
                    <a:lnTo>
                      <a:pt x="2472" y="1213"/>
                    </a:lnTo>
                    <a:lnTo>
                      <a:pt x="2469" y="1213"/>
                    </a:lnTo>
                    <a:lnTo>
                      <a:pt x="2467" y="1216"/>
                    </a:lnTo>
                    <a:lnTo>
                      <a:pt x="2467" y="1220"/>
                    </a:lnTo>
                    <a:lnTo>
                      <a:pt x="2464" y="1221"/>
                    </a:lnTo>
                    <a:lnTo>
                      <a:pt x="2462" y="1226"/>
                    </a:lnTo>
                    <a:lnTo>
                      <a:pt x="2462" y="1228"/>
                    </a:lnTo>
                    <a:lnTo>
                      <a:pt x="2460" y="1230"/>
                    </a:lnTo>
                    <a:lnTo>
                      <a:pt x="2457" y="1231"/>
                    </a:lnTo>
                    <a:lnTo>
                      <a:pt x="2450" y="1233"/>
                    </a:lnTo>
                    <a:lnTo>
                      <a:pt x="2449" y="1233"/>
                    </a:lnTo>
                    <a:lnTo>
                      <a:pt x="2444" y="1233"/>
                    </a:lnTo>
                    <a:lnTo>
                      <a:pt x="2442" y="1235"/>
                    </a:lnTo>
                    <a:lnTo>
                      <a:pt x="2441" y="1236"/>
                    </a:lnTo>
                    <a:lnTo>
                      <a:pt x="2439" y="1233"/>
                    </a:lnTo>
                    <a:lnTo>
                      <a:pt x="2436" y="1230"/>
                    </a:lnTo>
                    <a:lnTo>
                      <a:pt x="2432" y="1230"/>
                    </a:lnTo>
                    <a:lnTo>
                      <a:pt x="2429" y="1231"/>
                    </a:lnTo>
                    <a:lnTo>
                      <a:pt x="2426" y="1233"/>
                    </a:lnTo>
                    <a:lnTo>
                      <a:pt x="2424" y="1231"/>
                    </a:lnTo>
                    <a:lnTo>
                      <a:pt x="2421" y="1226"/>
                    </a:lnTo>
                    <a:lnTo>
                      <a:pt x="2419" y="1225"/>
                    </a:lnTo>
                    <a:lnTo>
                      <a:pt x="2414" y="1220"/>
                    </a:lnTo>
                    <a:lnTo>
                      <a:pt x="2414" y="1216"/>
                    </a:lnTo>
                    <a:lnTo>
                      <a:pt x="2416" y="1216"/>
                    </a:lnTo>
                    <a:lnTo>
                      <a:pt x="2416" y="1211"/>
                    </a:lnTo>
                    <a:lnTo>
                      <a:pt x="2414" y="1208"/>
                    </a:lnTo>
                    <a:lnTo>
                      <a:pt x="2414" y="1205"/>
                    </a:lnTo>
                    <a:lnTo>
                      <a:pt x="2409" y="1205"/>
                    </a:lnTo>
                    <a:lnTo>
                      <a:pt x="2409" y="1201"/>
                    </a:lnTo>
                    <a:lnTo>
                      <a:pt x="2409" y="1198"/>
                    </a:lnTo>
                    <a:lnTo>
                      <a:pt x="2411" y="1196"/>
                    </a:lnTo>
                    <a:lnTo>
                      <a:pt x="2412" y="1193"/>
                    </a:lnTo>
                    <a:lnTo>
                      <a:pt x="2409" y="1193"/>
                    </a:lnTo>
                    <a:lnTo>
                      <a:pt x="2407" y="1193"/>
                    </a:lnTo>
                    <a:lnTo>
                      <a:pt x="2406" y="1195"/>
                    </a:lnTo>
                    <a:lnTo>
                      <a:pt x="2402" y="1195"/>
                    </a:lnTo>
                    <a:lnTo>
                      <a:pt x="2399" y="1195"/>
                    </a:lnTo>
                    <a:lnTo>
                      <a:pt x="2396" y="1195"/>
                    </a:lnTo>
                    <a:lnTo>
                      <a:pt x="2394" y="1193"/>
                    </a:lnTo>
                    <a:lnTo>
                      <a:pt x="2392" y="1193"/>
                    </a:lnTo>
                    <a:lnTo>
                      <a:pt x="2391" y="1191"/>
                    </a:lnTo>
                    <a:lnTo>
                      <a:pt x="2386" y="1190"/>
                    </a:lnTo>
                    <a:lnTo>
                      <a:pt x="2384" y="1188"/>
                    </a:lnTo>
                    <a:lnTo>
                      <a:pt x="2382" y="1185"/>
                    </a:lnTo>
                    <a:lnTo>
                      <a:pt x="2381" y="1186"/>
                    </a:lnTo>
                    <a:lnTo>
                      <a:pt x="2379" y="1183"/>
                    </a:lnTo>
                    <a:lnTo>
                      <a:pt x="2377" y="1181"/>
                    </a:lnTo>
                    <a:lnTo>
                      <a:pt x="2376" y="1181"/>
                    </a:lnTo>
                    <a:lnTo>
                      <a:pt x="2372" y="1178"/>
                    </a:lnTo>
                    <a:lnTo>
                      <a:pt x="2372" y="1176"/>
                    </a:lnTo>
                    <a:lnTo>
                      <a:pt x="2371" y="1175"/>
                    </a:lnTo>
                    <a:lnTo>
                      <a:pt x="2367" y="1175"/>
                    </a:lnTo>
                    <a:lnTo>
                      <a:pt x="2366" y="1178"/>
                    </a:lnTo>
                    <a:lnTo>
                      <a:pt x="2364" y="1176"/>
                    </a:lnTo>
                    <a:lnTo>
                      <a:pt x="2361" y="1178"/>
                    </a:lnTo>
                    <a:lnTo>
                      <a:pt x="2361" y="1180"/>
                    </a:lnTo>
                    <a:lnTo>
                      <a:pt x="2357" y="1178"/>
                    </a:lnTo>
                    <a:lnTo>
                      <a:pt x="2356" y="1176"/>
                    </a:lnTo>
                    <a:lnTo>
                      <a:pt x="2354" y="1175"/>
                    </a:lnTo>
                    <a:lnTo>
                      <a:pt x="2349" y="1175"/>
                    </a:lnTo>
                    <a:lnTo>
                      <a:pt x="2348" y="1173"/>
                    </a:lnTo>
                    <a:lnTo>
                      <a:pt x="2349" y="1171"/>
                    </a:lnTo>
                    <a:lnTo>
                      <a:pt x="2349" y="1170"/>
                    </a:lnTo>
                    <a:lnTo>
                      <a:pt x="2346" y="1170"/>
                    </a:lnTo>
                    <a:lnTo>
                      <a:pt x="2343" y="1171"/>
                    </a:lnTo>
                    <a:lnTo>
                      <a:pt x="2338" y="1171"/>
                    </a:lnTo>
                    <a:lnTo>
                      <a:pt x="2336" y="1173"/>
                    </a:lnTo>
                    <a:lnTo>
                      <a:pt x="2334" y="1171"/>
                    </a:lnTo>
                    <a:lnTo>
                      <a:pt x="2331" y="1171"/>
                    </a:lnTo>
                    <a:lnTo>
                      <a:pt x="2328" y="1171"/>
                    </a:lnTo>
                    <a:lnTo>
                      <a:pt x="2326" y="1168"/>
                    </a:lnTo>
                    <a:lnTo>
                      <a:pt x="2323" y="1168"/>
                    </a:lnTo>
                    <a:lnTo>
                      <a:pt x="2316" y="1161"/>
                    </a:lnTo>
                    <a:lnTo>
                      <a:pt x="2314" y="1158"/>
                    </a:lnTo>
                    <a:lnTo>
                      <a:pt x="2314" y="1155"/>
                    </a:lnTo>
                    <a:lnTo>
                      <a:pt x="2314" y="1152"/>
                    </a:lnTo>
                    <a:lnTo>
                      <a:pt x="2311" y="1152"/>
                    </a:lnTo>
                    <a:lnTo>
                      <a:pt x="2308" y="1150"/>
                    </a:lnTo>
                    <a:lnTo>
                      <a:pt x="2308" y="1145"/>
                    </a:lnTo>
                    <a:lnTo>
                      <a:pt x="2306" y="1143"/>
                    </a:lnTo>
                    <a:lnTo>
                      <a:pt x="2306" y="1140"/>
                    </a:lnTo>
                    <a:lnTo>
                      <a:pt x="2304" y="1135"/>
                    </a:lnTo>
                    <a:lnTo>
                      <a:pt x="2294" y="1130"/>
                    </a:lnTo>
                    <a:lnTo>
                      <a:pt x="2291" y="1125"/>
                    </a:lnTo>
                    <a:lnTo>
                      <a:pt x="2289" y="1122"/>
                    </a:lnTo>
                    <a:lnTo>
                      <a:pt x="2288" y="1118"/>
                    </a:lnTo>
                    <a:lnTo>
                      <a:pt x="2284" y="1120"/>
                    </a:lnTo>
                    <a:lnTo>
                      <a:pt x="2284" y="1118"/>
                    </a:lnTo>
                    <a:lnTo>
                      <a:pt x="2284" y="1117"/>
                    </a:lnTo>
                    <a:lnTo>
                      <a:pt x="2284" y="1115"/>
                    </a:lnTo>
                    <a:lnTo>
                      <a:pt x="2281" y="1112"/>
                    </a:lnTo>
                    <a:lnTo>
                      <a:pt x="2279" y="1108"/>
                    </a:lnTo>
                    <a:lnTo>
                      <a:pt x="2278" y="1107"/>
                    </a:lnTo>
                    <a:lnTo>
                      <a:pt x="2276" y="1105"/>
                    </a:lnTo>
                    <a:lnTo>
                      <a:pt x="2273" y="1100"/>
                    </a:lnTo>
                    <a:lnTo>
                      <a:pt x="2271" y="1097"/>
                    </a:lnTo>
                    <a:lnTo>
                      <a:pt x="2266" y="1093"/>
                    </a:lnTo>
                    <a:lnTo>
                      <a:pt x="2266" y="1092"/>
                    </a:lnTo>
                    <a:lnTo>
                      <a:pt x="2268" y="1088"/>
                    </a:lnTo>
                    <a:lnTo>
                      <a:pt x="2266" y="1087"/>
                    </a:lnTo>
                    <a:lnTo>
                      <a:pt x="2259" y="1087"/>
                    </a:lnTo>
                    <a:lnTo>
                      <a:pt x="2259" y="1085"/>
                    </a:lnTo>
                    <a:lnTo>
                      <a:pt x="2259" y="1082"/>
                    </a:lnTo>
                    <a:lnTo>
                      <a:pt x="2258" y="1080"/>
                    </a:lnTo>
                    <a:lnTo>
                      <a:pt x="2258" y="1077"/>
                    </a:lnTo>
                    <a:lnTo>
                      <a:pt x="2256" y="1075"/>
                    </a:lnTo>
                    <a:lnTo>
                      <a:pt x="2253" y="1073"/>
                    </a:lnTo>
                    <a:lnTo>
                      <a:pt x="2253" y="1072"/>
                    </a:lnTo>
                    <a:lnTo>
                      <a:pt x="2251" y="1070"/>
                    </a:lnTo>
                    <a:lnTo>
                      <a:pt x="2250" y="1070"/>
                    </a:lnTo>
                    <a:lnTo>
                      <a:pt x="2246" y="1068"/>
                    </a:lnTo>
                    <a:lnTo>
                      <a:pt x="2245" y="1067"/>
                    </a:lnTo>
                    <a:lnTo>
                      <a:pt x="2246" y="1065"/>
                    </a:lnTo>
                    <a:lnTo>
                      <a:pt x="2245" y="1063"/>
                    </a:lnTo>
                    <a:lnTo>
                      <a:pt x="2241" y="1062"/>
                    </a:lnTo>
                    <a:lnTo>
                      <a:pt x="2240" y="1063"/>
                    </a:lnTo>
                    <a:lnTo>
                      <a:pt x="2238" y="1062"/>
                    </a:lnTo>
                    <a:lnTo>
                      <a:pt x="2235" y="1062"/>
                    </a:lnTo>
                    <a:lnTo>
                      <a:pt x="2235" y="1060"/>
                    </a:lnTo>
                    <a:lnTo>
                      <a:pt x="2235" y="1059"/>
                    </a:lnTo>
                    <a:lnTo>
                      <a:pt x="2233" y="1055"/>
                    </a:lnTo>
                    <a:lnTo>
                      <a:pt x="2230" y="1055"/>
                    </a:lnTo>
                    <a:lnTo>
                      <a:pt x="2228" y="1055"/>
                    </a:lnTo>
                    <a:lnTo>
                      <a:pt x="2226" y="1052"/>
                    </a:lnTo>
                    <a:lnTo>
                      <a:pt x="2223" y="1054"/>
                    </a:lnTo>
                    <a:lnTo>
                      <a:pt x="2220" y="1054"/>
                    </a:lnTo>
                    <a:lnTo>
                      <a:pt x="2218" y="1052"/>
                    </a:lnTo>
                    <a:lnTo>
                      <a:pt x="2216" y="1054"/>
                    </a:lnTo>
                    <a:lnTo>
                      <a:pt x="2216" y="1057"/>
                    </a:lnTo>
                    <a:lnTo>
                      <a:pt x="2215" y="1057"/>
                    </a:lnTo>
                    <a:lnTo>
                      <a:pt x="2210" y="1055"/>
                    </a:lnTo>
                    <a:lnTo>
                      <a:pt x="2208" y="1054"/>
                    </a:lnTo>
                    <a:lnTo>
                      <a:pt x="2205" y="1055"/>
                    </a:lnTo>
                    <a:lnTo>
                      <a:pt x="2200" y="1055"/>
                    </a:lnTo>
                    <a:lnTo>
                      <a:pt x="2198" y="1054"/>
                    </a:lnTo>
                    <a:lnTo>
                      <a:pt x="2196" y="1050"/>
                    </a:lnTo>
                    <a:lnTo>
                      <a:pt x="2188" y="1050"/>
                    </a:lnTo>
                    <a:lnTo>
                      <a:pt x="2185" y="1049"/>
                    </a:lnTo>
                    <a:lnTo>
                      <a:pt x="2181" y="1047"/>
                    </a:lnTo>
                    <a:lnTo>
                      <a:pt x="2178" y="1047"/>
                    </a:lnTo>
                    <a:lnTo>
                      <a:pt x="2176" y="1047"/>
                    </a:lnTo>
                    <a:lnTo>
                      <a:pt x="2170" y="1049"/>
                    </a:lnTo>
                    <a:lnTo>
                      <a:pt x="2168" y="1052"/>
                    </a:lnTo>
                    <a:lnTo>
                      <a:pt x="2166" y="1052"/>
                    </a:lnTo>
                    <a:lnTo>
                      <a:pt x="2165" y="1054"/>
                    </a:lnTo>
                    <a:lnTo>
                      <a:pt x="2160" y="1054"/>
                    </a:lnTo>
                    <a:lnTo>
                      <a:pt x="2156" y="1054"/>
                    </a:lnTo>
                    <a:lnTo>
                      <a:pt x="2151" y="1054"/>
                    </a:lnTo>
                    <a:lnTo>
                      <a:pt x="2148" y="1055"/>
                    </a:lnTo>
                    <a:lnTo>
                      <a:pt x="2145" y="1055"/>
                    </a:lnTo>
                    <a:lnTo>
                      <a:pt x="2142" y="1059"/>
                    </a:lnTo>
                    <a:lnTo>
                      <a:pt x="2138" y="1060"/>
                    </a:lnTo>
                    <a:lnTo>
                      <a:pt x="2135" y="1060"/>
                    </a:lnTo>
                    <a:lnTo>
                      <a:pt x="2135" y="1060"/>
                    </a:lnTo>
                    <a:lnTo>
                      <a:pt x="2132" y="1062"/>
                    </a:lnTo>
                    <a:lnTo>
                      <a:pt x="2128" y="1062"/>
                    </a:lnTo>
                    <a:lnTo>
                      <a:pt x="2122" y="1062"/>
                    </a:lnTo>
                    <a:lnTo>
                      <a:pt x="2120" y="1065"/>
                    </a:lnTo>
                    <a:lnTo>
                      <a:pt x="2120" y="1067"/>
                    </a:lnTo>
                    <a:lnTo>
                      <a:pt x="2115" y="1072"/>
                    </a:lnTo>
                    <a:lnTo>
                      <a:pt x="2115" y="1075"/>
                    </a:lnTo>
                    <a:lnTo>
                      <a:pt x="2112" y="1077"/>
                    </a:lnTo>
                    <a:lnTo>
                      <a:pt x="2112" y="1080"/>
                    </a:lnTo>
                    <a:lnTo>
                      <a:pt x="2110" y="1082"/>
                    </a:lnTo>
                    <a:lnTo>
                      <a:pt x="2110" y="1087"/>
                    </a:lnTo>
                    <a:lnTo>
                      <a:pt x="2112" y="1088"/>
                    </a:lnTo>
                    <a:lnTo>
                      <a:pt x="2115" y="1088"/>
                    </a:lnTo>
                    <a:lnTo>
                      <a:pt x="2120" y="1087"/>
                    </a:lnTo>
                    <a:lnTo>
                      <a:pt x="2123" y="1085"/>
                    </a:lnTo>
                    <a:lnTo>
                      <a:pt x="2127" y="1085"/>
                    </a:lnTo>
                    <a:lnTo>
                      <a:pt x="2130" y="1090"/>
                    </a:lnTo>
                    <a:lnTo>
                      <a:pt x="2132" y="1095"/>
                    </a:lnTo>
                    <a:lnTo>
                      <a:pt x="2135" y="1097"/>
                    </a:lnTo>
                    <a:lnTo>
                      <a:pt x="2135" y="1100"/>
                    </a:lnTo>
                    <a:lnTo>
                      <a:pt x="2137" y="1103"/>
                    </a:lnTo>
                    <a:lnTo>
                      <a:pt x="2137" y="1108"/>
                    </a:lnTo>
                    <a:lnTo>
                      <a:pt x="2133" y="1110"/>
                    </a:lnTo>
                    <a:lnTo>
                      <a:pt x="2130" y="1115"/>
                    </a:lnTo>
                    <a:lnTo>
                      <a:pt x="2128" y="1120"/>
                    </a:lnTo>
                    <a:lnTo>
                      <a:pt x="2127" y="1122"/>
                    </a:lnTo>
                    <a:lnTo>
                      <a:pt x="2123" y="1127"/>
                    </a:lnTo>
                    <a:lnTo>
                      <a:pt x="2123" y="1130"/>
                    </a:lnTo>
                    <a:lnTo>
                      <a:pt x="2125" y="1133"/>
                    </a:lnTo>
                    <a:lnTo>
                      <a:pt x="2125" y="1137"/>
                    </a:lnTo>
                    <a:lnTo>
                      <a:pt x="2125" y="1140"/>
                    </a:lnTo>
                    <a:lnTo>
                      <a:pt x="2128" y="1143"/>
                    </a:lnTo>
                    <a:lnTo>
                      <a:pt x="2128" y="1147"/>
                    </a:lnTo>
                    <a:lnTo>
                      <a:pt x="2125" y="1148"/>
                    </a:lnTo>
                    <a:lnTo>
                      <a:pt x="2123" y="1152"/>
                    </a:lnTo>
                    <a:lnTo>
                      <a:pt x="2125" y="1155"/>
                    </a:lnTo>
                    <a:lnTo>
                      <a:pt x="2125" y="1161"/>
                    </a:lnTo>
                    <a:lnTo>
                      <a:pt x="2125" y="1163"/>
                    </a:lnTo>
                    <a:lnTo>
                      <a:pt x="2125" y="1170"/>
                    </a:lnTo>
                    <a:lnTo>
                      <a:pt x="2127" y="1170"/>
                    </a:lnTo>
                    <a:lnTo>
                      <a:pt x="2128" y="1171"/>
                    </a:lnTo>
                    <a:lnTo>
                      <a:pt x="2132" y="1170"/>
                    </a:lnTo>
                    <a:lnTo>
                      <a:pt x="2133" y="1171"/>
                    </a:lnTo>
                    <a:lnTo>
                      <a:pt x="2133" y="1175"/>
                    </a:lnTo>
                    <a:lnTo>
                      <a:pt x="2132" y="1180"/>
                    </a:lnTo>
                    <a:lnTo>
                      <a:pt x="2128" y="1183"/>
                    </a:lnTo>
                    <a:lnTo>
                      <a:pt x="2120" y="1185"/>
                    </a:lnTo>
                    <a:lnTo>
                      <a:pt x="2115" y="1188"/>
                    </a:lnTo>
                    <a:lnTo>
                      <a:pt x="2103" y="1198"/>
                    </a:lnTo>
                    <a:lnTo>
                      <a:pt x="2100" y="1198"/>
                    </a:lnTo>
                    <a:lnTo>
                      <a:pt x="2097" y="1195"/>
                    </a:lnTo>
                    <a:lnTo>
                      <a:pt x="2090" y="1195"/>
                    </a:lnTo>
                    <a:lnTo>
                      <a:pt x="2085" y="1195"/>
                    </a:lnTo>
                    <a:lnTo>
                      <a:pt x="2085" y="1193"/>
                    </a:lnTo>
                    <a:lnTo>
                      <a:pt x="2080" y="1193"/>
                    </a:lnTo>
                    <a:lnTo>
                      <a:pt x="2078" y="1195"/>
                    </a:lnTo>
                    <a:lnTo>
                      <a:pt x="2075" y="1191"/>
                    </a:lnTo>
                    <a:lnTo>
                      <a:pt x="2067" y="1190"/>
                    </a:lnTo>
                    <a:lnTo>
                      <a:pt x="2058" y="1190"/>
                    </a:lnTo>
                    <a:lnTo>
                      <a:pt x="2058" y="1193"/>
                    </a:lnTo>
                    <a:lnTo>
                      <a:pt x="2053" y="1196"/>
                    </a:lnTo>
                    <a:lnTo>
                      <a:pt x="2049" y="1196"/>
                    </a:lnTo>
                    <a:lnTo>
                      <a:pt x="2047" y="1195"/>
                    </a:lnTo>
                    <a:lnTo>
                      <a:pt x="2042" y="1196"/>
                    </a:lnTo>
                    <a:lnTo>
                      <a:pt x="2039" y="1195"/>
                    </a:lnTo>
                    <a:lnTo>
                      <a:pt x="2035" y="1191"/>
                    </a:lnTo>
                    <a:lnTo>
                      <a:pt x="2030" y="1188"/>
                    </a:lnTo>
                    <a:lnTo>
                      <a:pt x="2025" y="1188"/>
                    </a:lnTo>
                    <a:lnTo>
                      <a:pt x="2019" y="1190"/>
                    </a:lnTo>
                    <a:lnTo>
                      <a:pt x="2017" y="1188"/>
                    </a:lnTo>
                    <a:lnTo>
                      <a:pt x="2012" y="1188"/>
                    </a:lnTo>
                    <a:lnTo>
                      <a:pt x="2009" y="1191"/>
                    </a:lnTo>
                    <a:lnTo>
                      <a:pt x="2007" y="1196"/>
                    </a:lnTo>
                    <a:lnTo>
                      <a:pt x="2004" y="1200"/>
                    </a:lnTo>
                    <a:lnTo>
                      <a:pt x="1999" y="1201"/>
                    </a:lnTo>
                    <a:lnTo>
                      <a:pt x="1995" y="1205"/>
                    </a:lnTo>
                    <a:lnTo>
                      <a:pt x="1995" y="1208"/>
                    </a:lnTo>
                    <a:lnTo>
                      <a:pt x="1994" y="1211"/>
                    </a:lnTo>
                    <a:lnTo>
                      <a:pt x="1989" y="1215"/>
                    </a:lnTo>
                    <a:lnTo>
                      <a:pt x="1977" y="1215"/>
                    </a:lnTo>
                    <a:lnTo>
                      <a:pt x="1974" y="1216"/>
                    </a:lnTo>
                    <a:lnTo>
                      <a:pt x="1970" y="1220"/>
                    </a:lnTo>
                    <a:lnTo>
                      <a:pt x="1964" y="1220"/>
                    </a:lnTo>
                    <a:lnTo>
                      <a:pt x="1955" y="1225"/>
                    </a:lnTo>
                    <a:lnTo>
                      <a:pt x="1951" y="1230"/>
                    </a:lnTo>
                    <a:lnTo>
                      <a:pt x="1949" y="1230"/>
                    </a:lnTo>
                    <a:lnTo>
                      <a:pt x="1944" y="1228"/>
                    </a:lnTo>
                    <a:lnTo>
                      <a:pt x="1939" y="1228"/>
                    </a:lnTo>
                    <a:lnTo>
                      <a:pt x="1936" y="1230"/>
                    </a:lnTo>
                    <a:lnTo>
                      <a:pt x="1931" y="1231"/>
                    </a:lnTo>
                    <a:lnTo>
                      <a:pt x="1916" y="1231"/>
                    </a:lnTo>
                    <a:lnTo>
                      <a:pt x="1906" y="1228"/>
                    </a:lnTo>
                    <a:lnTo>
                      <a:pt x="1896" y="1230"/>
                    </a:lnTo>
                    <a:lnTo>
                      <a:pt x="1891" y="1230"/>
                    </a:lnTo>
                    <a:lnTo>
                      <a:pt x="1887" y="1225"/>
                    </a:lnTo>
                    <a:lnTo>
                      <a:pt x="1884" y="1225"/>
                    </a:lnTo>
                    <a:lnTo>
                      <a:pt x="1881" y="1223"/>
                    </a:lnTo>
                    <a:lnTo>
                      <a:pt x="1876" y="1220"/>
                    </a:lnTo>
                    <a:lnTo>
                      <a:pt x="1874" y="1213"/>
                    </a:lnTo>
                    <a:lnTo>
                      <a:pt x="1871" y="1211"/>
                    </a:lnTo>
                    <a:lnTo>
                      <a:pt x="1866" y="1211"/>
                    </a:lnTo>
                    <a:lnTo>
                      <a:pt x="1859" y="1211"/>
                    </a:lnTo>
                    <a:lnTo>
                      <a:pt x="1851" y="1210"/>
                    </a:lnTo>
                    <a:lnTo>
                      <a:pt x="1846" y="1203"/>
                    </a:lnTo>
                    <a:lnTo>
                      <a:pt x="1836" y="1203"/>
                    </a:lnTo>
                    <a:lnTo>
                      <a:pt x="1829" y="1201"/>
                    </a:lnTo>
                    <a:lnTo>
                      <a:pt x="1824" y="1200"/>
                    </a:lnTo>
                    <a:lnTo>
                      <a:pt x="1818" y="1201"/>
                    </a:lnTo>
                    <a:lnTo>
                      <a:pt x="1811" y="1201"/>
                    </a:lnTo>
                    <a:lnTo>
                      <a:pt x="1806" y="1203"/>
                    </a:lnTo>
                    <a:lnTo>
                      <a:pt x="1796" y="1205"/>
                    </a:lnTo>
                    <a:lnTo>
                      <a:pt x="1789" y="1206"/>
                    </a:lnTo>
                    <a:lnTo>
                      <a:pt x="1786" y="1211"/>
                    </a:lnTo>
                    <a:lnTo>
                      <a:pt x="1783" y="1211"/>
                    </a:lnTo>
                    <a:lnTo>
                      <a:pt x="1779" y="1210"/>
                    </a:lnTo>
                    <a:lnTo>
                      <a:pt x="1776" y="1210"/>
                    </a:lnTo>
                    <a:lnTo>
                      <a:pt x="1773" y="1213"/>
                    </a:lnTo>
                    <a:lnTo>
                      <a:pt x="1764" y="1211"/>
                    </a:lnTo>
                    <a:lnTo>
                      <a:pt x="1763" y="1213"/>
                    </a:lnTo>
                    <a:lnTo>
                      <a:pt x="1759" y="1213"/>
                    </a:lnTo>
                    <a:lnTo>
                      <a:pt x="1753" y="1210"/>
                    </a:lnTo>
                    <a:lnTo>
                      <a:pt x="1745" y="1208"/>
                    </a:lnTo>
                    <a:lnTo>
                      <a:pt x="1745" y="1206"/>
                    </a:lnTo>
                    <a:lnTo>
                      <a:pt x="1740" y="1201"/>
                    </a:lnTo>
                    <a:lnTo>
                      <a:pt x="1736" y="1201"/>
                    </a:lnTo>
                    <a:lnTo>
                      <a:pt x="1733" y="1200"/>
                    </a:lnTo>
                    <a:lnTo>
                      <a:pt x="1733" y="1195"/>
                    </a:lnTo>
                    <a:lnTo>
                      <a:pt x="1731" y="1190"/>
                    </a:lnTo>
                    <a:lnTo>
                      <a:pt x="1728" y="1188"/>
                    </a:lnTo>
                    <a:lnTo>
                      <a:pt x="1728" y="1185"/>
                    </a:lnTo>
                    <a:lnTo>
                      <a:pt x="1726" y="1181"/>
                    </a:lnTo>
                    <a:lnTo>
                      <a:pt x="1726" y="1180"/>
                    </a:lnTo>
                    <a:lnTo>
                      <a:pt x="1725" y="1176"/>
                    </a:lnTo>
                    <a:lnTo>
                      <a:pt x="1721" y="1175"/>
                    </a:lnTo>
                    <a:lnTo>
                      <a:pt x="1710" y="1175"/>
                    </a:lnTo>
                    <a:lnTo>
                      <a:pt x="1706" y="1175"/>
                    </a:lnTo>
                    <a:lnTo>
                      <a:pt x="1703" y="1173"/>
                    </a:lnTo>
                    <a:lnTo>
                      <a:pt x="1696" y="1171"/>
                    </a:lnTo>
                    <a:lnTo>
                      <a:pt x="1695" y="1170"/>
                    </a:lnTo>
                    <a:lnTo>
                      <a:pt x="1691" y="1168"/>
                    </a:lnTo>
                    <a:lnTo>
                      <a:pt x="1681" y="1168"/>
                    </a:lnTo>
                    <a:lnTo>
                      <a:pt x="1676" y="1168"/>
                    </a:lnTo>
                    <a:lnTo>
                      <a:pt x="1670" y="1166"/>
                    </a:lnTo>
                    <a:lnTo>
                      <a:pt x="1670" y="1165"/>
                    </a:lnTo>
                    <a:lnTo>
                      <a:pt x="1663" y="1161"/>
                    </a:lnTo>
                    <a:lnTo>
                      <a:pt x="1656" y="1160"/>
                    </a:lnTo>
                    <a:lnTo>
                      <a:pt x="1653" y="1158"/>
                    </a:lnTo>
                    <a:lnTo>
                      <a:pt x="1648" y="1158"/>
                    </a:lnTo>
                    <a:lnTo>
                      <a:pt x="1647" y="1160"/>
                    </a:lnTo>
                    <a:lnTo>
                      <a:pt x="1645" y="1163"/>
                    </a:lnTo>
                    <a:lnTo>
                      <a:pt x="1647" y="1168"/>
                    </a:lnTo>
                    <a:lnTo>
                      <a:pt x="1645" y="1171"/>
                    </a:lnTo>
                    <a:lnTo>
                      <a:pt x="1643" y="1170"/>
                    </a:lnTo>
                    <a:lnTo>
                      <a:pt x="1638" y="1171"/>
                    </a:lnTo>
                    <a:lnTo>
                      <a:pt x="1637" y="1175"/>
                    </a:lnTo>
                    <a:lnTo>
                      <a:pt x="1637" y="1178"/>
                    </a:lnTo>
                    <a:lnTo>
                      <a:pt x="1632" y="1183"/>
                    </a:lnTo>
                    <a:lnTo>
                      <a:pt x="1632" y="1195"/>
                    </a:lnTo>
                    <a:lnTo>
                      <a:pt x="1633" y="1200"/>
                    </a:lnTo>
                    <a:lnTo>
                      <a:pt x="1640" y="1201"/>
                    </a:lnTo>
                    <a:lnTo>
                      <a:pt x="1642" y="1205"/>
                    </a:lnTo>
                    <a:lnTo>
                      <a:pt x="1647" y="1206"/>
                    </a:lnTo>
                    <a:lnTo>
                      <a:pt x="1648" y="1208"/>
                    </a:lnTo>
                    <a:lnTo>
                      <a:pt x="1647" y="1216"/>
                    </a:lnTo>
                    <a:lnTo>
                      <a:pt x="1647" y="1223"/>
                    </a:lnTo>
                    <a:lnTo>
                      <a:pt x="1652" y="1225"/>
                    </a:lnTo>
                    <a:lnTo>
                      <a:pt x="1653" y="1228"/>
                    </a:lnTo>
                    <a:lnTo>
                      <a:pt x="1648" y="1235"/>
                    </a:lnTo>
                    <a:lnTo>
                      <a:pt x="1642" y="1236"/>
                    </a:lnTo>
                    <a:lnTo>
                      <a:pt x="1637" y="1235"/>
                    </a:lnTo>
                    <a:lnTo>
                      <a:pt x="1635" y="1236"/>
                    </a:lnTo>
                    <a:lnTo>
                      <a:pt x="1630" y="1236"/>
                    </a:lnTo>
                    <a:lnTo>
                      <a:pt x="1627" y="1235"/>
                    </a:lnTo>
                    <a:lnTo>
                      <a:pt x="1617" y="1235"/>
                    </a:lnTo>
                    <a:lnTo>
                      <a:pt x="1612" y="1236"/>
                    </a:lnTo>
                    <a:lnTo>
                      <a:pt x="1608" y="1233"/>
                    </a:lnTo>
                    <a:lnTo>
                      <a:pt x="1605" y="1231"/>
                    </a:lnTo>
                    <a:lnTo>
                      <a:pt x="1600" y="1233"/>
                    </a:lnTo>
                    <a:lnTo>
                      <a:pt x="1595" y="1236"/>
                    </a:lnTo>
                    <a:lnTo>
                      <a:pt x="1590" y="1238"/>
                    </a:lnTo>
                    <a:lnTo>
                      <a:pt x="1587" y="1240"/>
                    </a:lnTo>
                    <a:lnTo>
                      <a:pt x="1578" y="1236"/>
                    </a:lnTo>
                    <a:lnTo>
                      <a:pt x="1573" y="1233"/>
                    </a:lnTo>
                    <a:lnTo>
                      <a:pt x="1562" y="1226"/>
                    </a:lnTo>
                    <a:lnTo>
                      <a:pt x="1560" y="1223"/>
                    </a:lnTo>
                    <a:lnTo>
                      <a:pt x="1558" y="1220"/>
                    </a:lnTo>
                    <a:lnTo>
                      <a:pt x="1558" y="1216"/>
                    </a:lnTo>
                    <a:lnTo>
                      <a:pt x="1550" y="1216"/>
                    </a:lnTo>
                    <a:lnTo>
                      <a:pt x="1547" y="1218"/>
                    </a:lnTo>
                    <a:lnTo>
                      <a:pt x="1542" y="1218"/>
                    </a:lnTo>
                    <a:lnTo>
                      <a:pt x="1540" y="1220"/>
                    </a:lnTo>
                    <a:lnTo>
                      <a:pt x="1534" y="1220"/>
                    </a:lnTo>
                    <a:lnTo>
                      <a:pt x="1532" y="1216"/>
                    </a:lnTo>
                    <a:lnTo>
                      <a:pt x="1530" y="1215"/>
                    </a:lnTo>
                    <a:lnTo>
                      <a:pt x="1529" y="1211"/>
                    </a:lnTo>
                    <a:lnTo>
                      <a:pt x="1527" y="1211"/>
                    </a:lnTo>
                    <a:lnTo>
                      <a:pt x="1524" y="1213"/>
                    </a:lnTo>
                    <a:lnTo>
                      <a:pt x="1517" y="1213"/>
                    </a:lnTo>
                    <a:lnTo>
                      <a:pt x="1514" y="1213"/>
                    </a:lnTo>
                    <a:lnTo>
                      <a:pt x="1509" y="1213"/>
                    </a:lnTo>
                    <a:lnTo>
                      <a:pt x="1500" y="1215"/>
                    </a:lnTo>
                    <a:lnTo>
                      <a:pt x="1497" y="1216"/>
                    </a:lnTo>
                    <a:lnTo>
                      <a:pt x="1494" y="1221"/>
                    </a:lnTo>
                    <a:lnTo>
                      <a:pt x="1490" y="1223"/>
                    </a:lnTo>
                    <a:lnTo>
                      <a:pt x="1482" y="1221"/>
                    </a:lnTo>
                    <a:lnTo>
                      <a:pt x="1480" y="1223"/>
                    </a:lnTo>
                    <a:lnTo>
                      <a:pt x="1482" y="1226"/>
                    </a:lnTo>
                    <a:lnTo>
                      <a:pt x="1484" y="1228"/>
                    </a:lnTo>
                    <a:lnTo>
                      <a:pt x="1482" y="1230"/>
                    </a:lnTo>
                    <a:lnTo>
                      <a:pt x="1479" y="1235"/>
                    </a:lnTo>
                    <a:lnTo>
                      <a:pt x="1474" y="1235"/>
                    </a:lnTo>
                    <a:lnTo>
                      <a:pt x="1470" y="1238"/>
                    </a:lnTo>
                    <a:lnTo>
                      <a:pt x="1470" y="1241"/>
                    </a:lnTo>
                    <a:lnTo>
                      <a:pt x="1464" y="1245"/>
                    </a:lnTo>
                    <a:lnTo>
                      <a:pt x="1462" y="1248"/>
                    </a:lnTo>
                    <a:lnTo>
                      <a:pt x="1462" y="1253"/>
                    </a:lnTo>
                    <a:lnTo>
                      <a:pt x="1454" y="1256"/>
                    </a:lnTo>
                    <a:lnTo>
                      <a:pt x="1451" y="1259"/>
                    </a:lnTo>
                    <a:lnTo>
                      <a:pt x="1449" y="1261"/>
                    </a:lnTo>
                    <a:lnTo>
                      <a:pt x="1437" y="1261"/>
                    </a:lnTo>
                    <a:lnTo>
                      <a:pt x="1432" y="1263"/>
                    </a:lnTo>
                    <a:lnTo>
                      <a:pt x="1429" y="1271"/>
                    </a:lnTo>
                    <a:lnTo>
                      <a:pt x="1429" y="1271"/>
                    </a:lnTo>
                    <a:lnTo>
                      <a:pt x="1427" y="1271"/>
                    </a:lnTo>
                    <a:lnTo>
                      <a:pt x="1422" y="1269"/>
                    </a:lnTo>
                    <a:lnTo>
                      <a:pt x="1419" y="1269"/>
                    </a:lnTo>
                    <a:lnTo>
                      <a:pt x="1417" y="1269"/>
                    </a:lnTo>
                    <a:lnTo>
                      <a:pt x="1411" y="1266"/>
                    </a:lnTo>
                    <a:lnTo>
                      <a:pt x="1406" y="1263"/>
                    </a:lnTo>
                    <a:lnTo>
                      <a:pt x="1402" y="1261"/>
                    </a:lnTo>
                    <a:lnTo>
                      <a:pt x="1401" y="1258"/>
                    </a:lnTo>
                    <a:lnTo>
                      <a:pt x="1402" y="1253"/>
                    </a:lnTo>
                    <a:lnTo>
                      <a:pt x="1401" y="1251"/>
                    </a:lnTo>
                    <a:lnTo>
                      <a:pt x="1396" y="1255"/>
                    </a:lnTo>
                    <a:lnTo>
                      <a:pt x="1392" y="1258"/>
                    </a:lnTo>
                    <a:lnTo>
                      <a:pt x="1387" y="1259"/>
                    </a:lnTo>
                    <a:lnTo>
                      <a:pt x="1376" y="1259"/>
                    </a:lnTo>
                    <a:lnTo>
                      <a:pt x="1372" y="1261"/>
                    </a:lnTo>
                    <a:lnTo>
                      <a:pt x="1371" y="1264"/>
                    </a:lnTo>
                    <a:lnTo>
                      <a:pt x="1367" y="1263"/>
                    </a:lnTo>
                    <a:lnTo>
                      <a:pt x="1362" y="1261"/>
                    </a:lnTo>
                    <a:lnTo>
                      <a:pt x="1361" y="1261"/>
                    </a:lnTo>
                    <a:lnTo>
                      <a:pt x="1359" y="1259"/>
                    </a:lnTo>
                    <a:lnTo>
                      <a:pt x="1358" y="1258"/>
                    </a:lnTo>
                    <a:lnTo>
                      <a:pt x="1356" y="1255"/>
                    </a:lnTo>
                    <a:lnTo>
                      <a:pt x="1356" y="1251"/>
                    </a:lnTo>
                    <a:lnTo>
                      <a:pt x="1356" y="1250"/>
                    </a:lnTo>
                    <a:lnTo>
                      <a:pt x="1356" y="1246"/>
                    </a:lnTo>
                    <a:lnTo>
                      <a:pt x="1353" y="1245"/>
                    </a:lnTo>
                    <a:lnTo>
                      <a:pt x="1351" y="1245"/>
                    </a:lnTo>
                    <a:lnTo>
                      <a:pt x="1346" y="1241"/>
                    </a:lnTo>
                    <a:lnTo>
                      <a:pt x="1341" y="1240"/>
                    </a:lnTo>
                    <a:lnTo>
                      <a:pt x="1338" y="1240"/>
                    </a:lnTo>
                    <a:lnTo>
                      <a:pt x="1336" y="1235"/>
                    </a:lnTo>
                    <a:lnTo>
                      <a:pt x="1331" y="1228"/>
                    </a:lnTo>
                    <a:lnTo>
                      <a:pt x="1324" y="1225"/>
                    </a:lnTo>
                    <a:lnTo>
                      <a:pt x="1318" y="1221"/>
                    </a:lnTo>
                    <a:lnTo>
                      <a:pt x="1308" y="1221"/>
                    </a:lnTo>
                    <a:lnTo>
                      <a:pt x="1301" y="1223"/>
                    </a:lnTo>
                    <a:lnTo>
                      <a:pt x="1299" y="1225"/>
                    </a:lnTo>
                    <a:lnTo>
                      <a:pt x="1301" y="1228"/>
                    </a:lnTo>
                    <a:lnTo>
                      <a:pt x="1299" y="1230"/>
                    </a:lnTo>
                    <a:lnTo>
                      <a:pt x="1294" y="1231"/>
                    </a:lnTo>
                    <a:lnTo>
                      <a:pt x="1291" y="1231"/>
                    </a:lnTo>
                    <a:lnTo>
                      <a:pt x="1286" y="1233"/>
                    </a:lnTo>
                    <a:lnTo>
                      <a:pt x="1279" y="1230"/>
                    </a:lnTo>
                    <a:lnTo>
                      <a:pt x="1276" y="1230"/>
                    </a:lnTo>
                    <a:lnTo>
                      <a:pt x="1273" y="1233"/>
                    </a:lnTo>
                    <a:lnTo>
                      <a:pt x="1268" y="1233"/>
                    </a:lnTo>
                    <a:lnTo>
                      <a:pt x="1264" y="1230"/>
                    </a:lnTo>
                    <a:lnTo>
                      <a:pt x="1259" y="1228"/>
                    </a:lnTo>
                    <a:lnTo>
                      <a:pt x="1258" y="1225"/>
                    </a:lnTo>
                    <a:lnTo>
                      <a:pt x="1259" y="1221"/>
                    </a:lnTo>
                    <a:lnTo>
                      <a:pt x="1253" y="1218"/>
                    </a:lnTo>
                    <a:lnTo>
                      <a:pt x="1248" y="1220"/>
                    </a:lnTo>
                    <a:lnTo>
                      <a:pt x="1248" y="1225"/>
                    </a:lnTo>
                    <a:lnTo>
                      <a:pt x="1250" y="1226"/>
                    </a:lnTo>
                    <a:lnTo>
                      <a:pt x="1250" y="1228"/>
                    </a:lnTo>
                    <a:lnTo>
                      <a:pt x="1245" y="1231"/>
                    </a:lnTo>
                    <a:lnTo>
                      <a:pt x="1240" y="1231"/>
                    </a:lnTo>
                    <a:lnTo>
                      <a:pt x="1180" y="1165"/>
                    </a:lnTo>
                    <a:lnTo>
                      <a:pt x="1137" y="1135"/>
                    </a:lnTo>
                    <a:lnTo>
                      <a:pt x="1133" y="1132"/>
                    </a:lnTo>
                    <a:lnTo>
                      <a:pt x="1138" y="1132"/>
                    </a:lnTo>
                    <a:lnTo>
                      <a:pt x="1142" y="1127"/>
                    </a:lnTo>
                    <a:lnTo>
                      <a:pt x="1142" y="1123"/>
                    </a:lnTo>
                    <a:lnTo>
                      <a:pt x="1140" y="1122"/>
                    </a:lnTo>
                    <a:lnTo>
                      <a:pt x="1133" y="1123"/>
                    </a:lnTo>
                    <a:lnTo>
                      <a:pt x="1128" y="1125"/>
                    </a:lnTo>
                    <a:lnTo>
                      <a:pt x="1123" y="1128"/>
                    </a:lnTo>
                    <a:lnTo>
                      <a:pt x="1120" y="1130"/>
                    </a:lnTo>
                    <a:lnTo>
                      <a:pt x="1115" y="1133"/>
                    </a:lnTo>
                    <a:lnTo>
                      <a:pt x="1115" y="1137"/>
                    </a:lnTo>
                    <a:lnTo>
                      <a:pt x="1110" y="1140"/>
                    </a:lnTo>
                    <a:lnTo>
                      <a:pt x="1108" y="1143"/>
                    </a:lnTo>
                    <a:lnTo>
                      <a:pt x="1105" y="1147"/>
                    </a:lnTo>
                    <a:lnTo>
                      <a:pt x="1097" y="1147"/>
                    </a:lnTo>
                    <a:lnTo>
                      <a:pt x="1093" y="1148"/>
                    </a:lnTo>
                    <a:lnTo>
                      <a:pt x="1093" y="1153"/>
                    </a:lnTo>
                    <a:lnTo>
                      <a:pt x="1090" y="1157"/>
                    </a:lnTo>
                    <a:lnTo>
                      <a:pt x="1088" y="1155"/>
                    </a:lnTo>
                    <a:lnTo>
                      <a:pt x="1078" y="1152"/>
                    </a:lnTo>
                    <a:lnTo>
                      <a:pt x="1073" y="1153"/>
                    </a:lnTo>
                    <a:lnTo>
                      <a:pt x="1070" y="1157"/>
                    </a:lnTo>
                    <a:lnTo>
                      <a:pt x="1067" y="1157"/>
                    </a:lnTo>
                    <a:lnTo>
                      <a:pt x="1063" y="1153"/>
                    </a:lnTo>
                    <a:lnTo>
                      <a:pt x="1063" y="1147"/>
                    </a:lnTo>
                    <a:lnTo>
                      <a:pt x="1067" y="1145"/>
                    </a:lnTo>
                    <a:lnTo>
                      <a:pt x="1068" y="1140"/>
                    </a:lnTo>
                    <a:lnTo>
                      <a:pt x="1065" y="1140"/>
                    </a:lnTo>
                    <a:lnTo>
                      <a:pt x="1062" y="1142"/>
                    </a:lnTo>
                    <a:lnTo>
                      <a:pt x="1059" y="1142"/>
                    </a:lnTo>
                    <a:lnTo>
                      <a:pt x="1050" y="1138"/>
                    </a:lnTo>
                    <a:lnTo>
                      <a:pt x="1045" y="1138"/>
                    </a:lnTo>
                    <a:lnTo>
                      <a:pt x="1047" y="1142"/>
                    </a:lnTo>
                    <a:lnTo>
                      <a:pt x="1049" y="1143"/>
                    </a:lnTo>
                    <a:lnTo>
                      <a:pt x="1045" y="1147"/>
                    </a:lnTo>
                    <a:lnTo>
                      <a:pt x="1042" y="1147"/>
                    </a:lnTo>
                    <a:lnTo>
                      <a:pt x="1039" y="1142"/>
                    </a:lnTo>
                    <a:lnTo>
                      <a:pt x="1039" y="1133"/>
                    </a:lnTo>
                    <a:lnTo>
                      <a:pt x="1030" y="1128"/>
                    </a:lnTo>
                    <a:lnTo>
                      <a:pt x="1029" y="1130"/>
                    </a:lnTo>
                    <a:lnTo>
                      <a:pt x="1030" y="1133"/>
                    </a:lnTo>
                    <a:lnTo>
                      <a:pt x="1030" y="1137"/>
                    </a:lnTo>
                    <a:lnTo>
                      <a:pt x="1027" y="1137"/>
                    </a:lnTo>
                    <a:lnTo>
                      <a:pt x="1025" y="1133"/>
                    </a:lnTo>
                    <a:lnTo>
                      <a:pt x="1022" y="1133"/>
                    </a:lnTo>
                    <a:lnTo>
                      <a:pt x="1022" y="1138"/>
                    </a:lnTo>
                    <a:lnTo>
                      <a:pt x="1019" y="1138"/>
                    </a:lnTo>
                    <a:lnTo>
                      <a:pt x="1015" y="1137"/>
                    </a:lnTo>
                    <a:lnTo>
                      <a:pt x="1009" y="1138"/>
                    </a:lnTo>
                    <a:lnTo>
                      <a:pt x="1007" y="1137"/>
                    </a:lnTo>
                    <a:lnTo>
                      <a:pt x="1004" y="1133"/>
                    </a:lnTo>
                    <a:lnTo>
                      <a:pt x="1009" y="1132"/>
                    </a:lnTo>
                    <a:lnTo>
                      <a:pt x="1009" y="1130"/>
                    </a:lnTo>
                    <a:lnTo>
                      <a:pt x="1007" y="1127"/>
                    </a:lnTo>
                    <a:lnTo>
                      <a:pt x="1009" y="1122"/>
                    </a:lnTo>
                    <a:lnTo>
                      <a:pt x="1009" y="1120"/>
                    </a:lnTo>
                    <a:lnTo>
                      <a:pt x="1005" y="1118"/>
                    </a:lnTo>
                    <a:lnTo>
                      <a:pt x="1002" y="1115"/>
                    </a:lnTo>
                    <a:lnTo>
                      <a:pt x="1000" y="1110"/>
                    </a:lnTo>
                    <a:lnTo>
                      <a:pt x="999" y="1108"/>
                    </a:lnTo>
                    <a:lnTo>
                      <a:pt x="995" y="1103"/>
                    </a:lnTo>
                    <a:lnTo>
                      <a:pt x="990" y="1103"/>
                    </a:lnTo>
                    <a:lnTo>
                      <a:pt x="985" y="1105"/>
                    </a:lnTo>
                    <a:lnTo>
                      <a:pt x="980" y="1105"/>
                    </a:lnTo>
                    <a:lnTo>
                      <a:pt x="974" y="1102"/>
                    </a:lnTo>
                    <a:lnTo>
                      <a:pt x="967" y="1102"/>
                    </a:lnTo>
                    <a:lnTo>
                      <a:pt x="962" y="1100"/>
                    </a:lnTo>
                    <a:lnTo>
                      <a:pt x="957" y="1102"/>
                    </a:lnTo>
                    <a:lnTo>
                      <a:pt x="956" y="1100"/>
                    </a:lnTo>
                    <a:lnTo>
                      <a:pt x="951" y="1103"/>
                    </a:lnTo>
                    <a:lnTo>
                      <a:pt x="949" y="1107"/>
                    </a:lnTo>
                    <a:lnTo>
                      <a:pt x="942" y="1107"/>
                    </a:lnTo>
                    <a:lnTo>
                      <a:pt x="941" y="1108"/>
                    </a:lnTo>
                    <a:lnTo>
                      <a:pt x="942" y="1112"/>
                    </a:lnTo>
                    <a:lnTo>
                      <a:pt x="942" y="1115"/>
                    </a:lnTo>
                    <a:lnTo>
                      <a:pt x="936" y="1117"/>
                    </a:lnTo>
                    <a:lnTo>
                      <a:pt x="932" y="1115"/>
                    </a:lnTo>
                    <a:lnTo>
                      <a:pt x="929" y="1120"/>
                    </a:lnTo>
                    <a:lnTo>
                      <a:pt x="924" y="1120"/>
                    </a:lnTo>
                    <a:lnTo>
                      <a:pt x="922" y="1122"/>
                    </a:lnTo>
                    <a:lnTo>
                      <a:pt x="919" y="1122"/>
                    </a:lnTo>
                    <a:lnTo>
                      <a:pt x="909" y="1128"/>
                    </a:lnTo>
                    <a:lnTo>
                      <a:pt x="904" y="1130"/>
                    </a:lnTo>
                    <a:lnTo>
                      <a:pt x="899" y="1132"/>
                    </a:lnTo>
                    <a:lnTo>
                      <a:pt x="896" y="1132"/>
                    </a:lnTo>
                    <a:lnTo>
                      <a:pt x="892" y="1130"/>
                    </a:lnTo>
                    <a:lnTo>
                      <a:pt x="889" y="1132"/>
                    </a:lnTo>
                    <a:lnTo>
                      <a:pt x="889" y="1135"/>
                    </a:lnTo>
                    <a:lnTo>
                      <a:pt x="884" y="1135"/>
                    </a:lnTo>
                    <a:lnTo>
                      <a:pt x="881" y="1137"/>
                    </a:lnTo>
                    <a:lnTo>
                      <a:pt x="881" y="1142"/>
                    </a:lnTo>
                    <a:lnTo>
                      <a:pt x="879" y="1143"/>
                    </a:lnTo>
                    <a:lnTo>
                      <a:pt x="876" y="1142"/>
                    </a:lnTo>
                    <a:lnTo>
                      <a:pt x="872" y="1142"/>
                    </a:lnTo>
                    <a:lnTo>
                      <a:pt x="869" y="1145"/>
                    </a:lnTo>
                    <a:lnTo>
                      <a:pt x="862" y="1145"/>
                    </a:lnTo>
                    <a:lnTo>
                      <a:pt x="856" y="1148"/>
                    </a:lnTo>
                    <a:lnTo>
                      <a:pt x="854" y="1150"/>
                    </a:lnTo>
                    <a:lnTo>
                      <a:pt x="849" y="1150"/>
                    </a:lnTo>
                    <a:lnTo>
                      <a:pt x="843" y="1153"/>
                    </a:lnTo>
                    <a:lnTo>
                      <a:pt x="838" y="1153"/>
                    </a:lnTo>
                    <a:lnTo>
                      <a:pt x="829" y="1157"/>
                    </a:lnTo>
                    <a:lnTo>
                      <a:pt x="828" y="1160"/>
                    </a:lnTo>
                    <a:lnTo>
                      <a:pt x="826" y="1161"/>
                    </a:lnTo>
                    <a:lnTo>
                      <a:pt x="823" y="1158"/>
                    </a:lnTo>
                    <a:lnTo>
                      <a:pt x="819" y="1158"/>
                    </a:lnTo>
                    <a:lnTo>
                      <a:pt x="814" y="1160"/>
                    </a:lnTo>
                    <a:lnTo>
                      <a:pt x="814" y="1163"/>
                    </a:lnTo>
                    <a:lnTo>
                      <a:pt x="813" y="1165"/>
                    </a:lnTo>
                    <a:lnTo>
                      <a:pt x="808" y="1161"/>
                    </a:lnTo>
                    <a:lnTo>
                      <a:pt x="803" y="1163"/>
                    </a:lnTo>
                    <a:lnTo>
                      <a:pt x="801" y="1160"/>
                    </a:lnTo>
                    <a:lnTo>
                      <a:pt x="798" y="1160"/>
                    </a:lnTo>
                    <a:lnTo>
                      <a:pt x="794" y="1163"/>
                    </a:lnTo>
                    <a:lnTo>
                      <a:pt x="789" y="1163"/>
                    </a:lnTo>
                    <a:lnTo>
                      <a:pt x="788" y="1165"/>
                    </a:lnTo>
                    <a:lnTo>
                      <a:pt x="791" y="1170"/>
                    </a:lnTo>
                    <a:lnTo>
                      <a:pt x="788" y="1171"/>
                    </a:lnTo>
                    <a:lnTo>
                      <a:pt x="793" y="1173"/>
                    </a:lnTo>
                    <a:lnTo>
                      <a:pt x="799" y="1173"/>
                    </a:lnTo>
                    <a:lnTo>
                      <a:pt x="801" y="1178"/>
                    </a:lnTo>
                    <a:lnTo>
                      <a:pt x="794" y="1178"/>
                    </a:lnTo>
                    <a:lnTo>
                      <a:pt x="793" y="1180"/>
                    </a:lnTo>
                    <a:lnTo>
                      <a:pt x="793" y="1181"/>
                    </a:lnTo>
                    <a:lnTo>
                      <a:pt x="799" y="1181"/>
                    </a:lnTo>
                    <a:lnTo>
                      <a:pt x="804" y="1185"/>
                    </a:lnTo>
                    <a:lnTo>
                      <a:pt x="806" y="1181"/>
                    </a:lnTo>
                    <a:lnTo>
                      <a:pt x="811" y="1181"/>
                    </a:lnTo>
                    <a:lnTo>
                      <a:pt x="814" y="1185"/>
                    </a:lnTo>
                    <a:lnTo>
                      <a:pt x="819" y="1186"/>
                    </a:lnTo>
                    <a:lnTo>
                      <a:pt x="819" y="1191"/>
                    </a:lnTo>
                    <a:lnTo>
                      <a:pt x="816" y="1193"/>
                    </a:lnTo>
                    <a:lnTo>
                      <a:pt x="813" y="1191"/>
                    </a:lnTo>
                    <a:lnTo>
                      <a:pt x="803" y="1193"/>
                    </a:lnTo>
                    <a:lnTo>
                      <a:pt x="796" y="1196"/>
                    </a:lnTo>
                    <a:lnTo>
                      <a:pt x="791" y="1205"/>
                    </a:lnTo>
                    <a:lnTo>
                      <a:pt x="791" y="1210"/>
                    </a:lnTo>
                    <a:lnTo>
                      <a:pt x="794" y="1210"/>
                    </a:lnTo>
                    <a:lnTo>
                      <a:pt x="796" y="1215"/>
                    </a:lnTo>
                    <a:lnTo>
                      <a:pt x="793" y="1218"/>
                    </a:lnTo>
                    <a:lnTo>
                      <a:pt x="791" y="1223"/>
                    </a:lnTo>
                    <a:lnTo>
                      <a:pt x="788" y="1223"/>
                    </a:lnTo>
                    <a:lnTo>
                      <a:pt x="786" y="1226"/>
                    </a:lnTo>
                    <a:lnTo>
                      <a:pt x="788" y="1228"/>
                    </a:lnTo>
                    <a:lnTo>
                      <a:pt x="788" y="1231"/>
                    </a:lnTo>
                    <a:lnTo>
                      <a:pt x="794" y="1231"/>
                    </a:lnTo>
                    <a:lnTo>
                      <a:pt x="798" y="1235"/>
                    </a:lnTo>
                    <a:lnTo>
                      <a:pt x="803" y="1235"/>
                    </a:lnTo>
                    <a:lnTo>
                      <a:pt x="804" y="1238"/>
                    </a:lnTo>
                    <a:lnTo>
                      <a:pt x="808" y="1241"/>
                    </a:lnTo>
                    <a:lnTo>
                      <a:pt x="816" y="1241"/>
                    </a:lnTo>
                    <a:lnTo>
                      <a:pt x="818" y="1243"/>
                    </a:lnTo>
                    <a:lnTo>
                      <a:pt x="819" y="1259"/>
                    </a:lnTo>
                    <a:lnTo>
                      <a:pt x="816" y="1263"/>
                    </a:lnTo>
                    <a:lnTo>
                      <a:pt x="809" y="1266"/>
                    </a:lnTo>
                    <a:lnTo>
                      <a:pt x="801" y="1264"/>
                    </a:lnTo>
                    <a:lnTo>
                      <a:pt x="794" y="1261"/>
                    </a:lnTo>
                    <a:lnTo>
                      <a:pt x="791" y="1263"/>
                    </a:lnTo>
                    <a:lnTo>
                      <a:pt x="791" y="1268"/>
                    </a:lnTo>
                    <a:lnTo>
                      <a:pt x="789" y="1273"/>
                    </a:lnTo>
                    <a:lnTo>
                      <a:pt x="783" y="1273"/>
                    </a:lnTo>
                    <a:lnTo>
                      <a:pt x="774" y="1268"/>
                    </a:lnTo>
                    <a:lnTo>
                      <a:pt x="768" y="1269"/>
                    </a:lnTo>
                    <a:lnTo>
                      <a:pt x="764" y="1268"/>
                    </a:lnTo>
                    <a:lnTo>
                      <a:pt x="763" y="1268"/>
                    </a:lnTo>
                    <a:lnTo>
                      <a:pt x="758" y="1268"/>
                    </a:lnTo>
                    <a:lnTo>
                      <a:pt x="753" y="1263"/>
                    </a:lnTo>
                    <a:lnTo>
                      <a:pt x="756" y="1261"/>
                    </a:lnTo>
                    <a:lnTo>
                      <a:pt x="758" y="1258"/>
                    </a:lnTo>
                    <a:lnTo>
                      <a:pt x="755" y="1256"/>
                    </a:lnTo>
                    <a:lnTo>
                      <a:pt x="750" y="1253"/>
                    </a:lnTo>
                    <a:lnTo>
                      <a:pt x="746" y="1256"/>
                    </a:lnTo>
                    <a:lnTo>
                      <a:pt x="741" y="1256"/>
                    </a:lnTo>
                    <a:lnTo>
                      <a:pt x="738" y="1256"/>
                    </a:lnTo>
                    <a:lnTo>
                      <a:pt x="738" y="1263"/>
                    </a:lnTo>
                    <a:lnTo>
                      <a:pt x="731" y="1263"/>
                    </a:lnTo>
                    <a:lnTo>
                      <a:pt x="730" y="1259"/>
                    </a:lnTo>
                    <a:lnTo>
                      <a:pt x="723" y="1255"/>
                    </a:lnTo>
                    <a:lnTo>
                      <a:pt x="718" y="1255"/>
                    </a:lnTo>
                    <a:lnTo>
                      <a:pt x="715" y="1259"/>
                    </a:lnTo>
                    <a:lnTo>
                      <a:pt x="713" y="1256"/>
                    </a:lnTo>
                    <a:lnTo>
                      <a:pt x="708" y="1256"/>
                    </a:lnTo>
                    <a:lnTo>
                      <a:pt x="708" y="1261"/>
                    </a:lnTo>
                    <a:lnTo>
                      <a:pt x="703" y="1261"/>
                    </a:lnTo>
                    <a:lnTo>
                      <a:pt x="703" y="1269"/>
                    </a:lnTo>
                    <a:lnTo>
                      <a:pt x="696" y="1273"/>
                    </a:lnTo>
                    <a:lnTo>
                      <a:pt x="693" y="1273"/>
                    </a:lnTo>
                    <a:lnTo>
                      <a:pt x="690" y="1268"/>
                    </a:lnTo>
                    <a:lnTo>
                      <a:pt x="681" y="1266"/>
                    </a:lnTo>
                    <a:lnTo>
                      <a:pt x="678" y="1263"/>
                    </a:lnTo>
                    <a:lnTo>
                      <a:pt x="673" y="1264"/>
                    </a:lnTo>
                    <a:lnTo>
                      <a:pt x="673" y="1271"/>
                    </a:lnTo>
                    <a:lnTo>
                      <a:pt x="670" y="1274"/>
                    </a:lnTo>
                    <a:lnTo>
                      <a:pt x="668" y="1274"/>
                    </a:lnTo>
                    <a:lnTo>
                      <a:pt x="666" y="1269"/>
                    </a:lnTo>
                    <a:lnTo>
                      <a:pt x="665" y="1266"/>
                    </a:lnTo>
                    <a:lnTo>
                      <a:pt x="662" y="1266"/>
                    </a:lnTo>
                    <a:lnTo>
                      <a:pt x="655" y="1261"/>
                    </a:lnTo>
                    <a:lnTo>
                      <a:pt x="652" y="1256"/>
                    </a:lnTo>
                    <a:lnTo>
                      <a:pt x="645" y="1256"/>
                    </a:lnTo>
                    <a:lnTo>
                      <a:pt x="640" y="1251"/>
                    </a:lnTo>
                    <a:lnTo>
                      <a:pt x="638" y="1251"/>
                    </a:lnTo>
                    <a:lnTo>
                      <a:pt x="635" y="1248"/>
                    </a:lnTo>
                    <a:lnTo>
                      <a:pt x="632" y="1248"/>
                    </a:lnTo>
                    <a:lnTo>
                      <a:pt x="623" y="1250"/>
                    </a:lnTo>
                    <a:lnTo>
                      <a:pt x="617" y="1246"/>
                    </a:lnTo>
                    <a:lnTo>
                      <a:pt x="615" y="1241"/>
                    </a:lnTo>
                    <a:lnTo>
                      <a:pt x="610" y="1241"/>
                    </a:lnTo>
                    <a:lnTo>
                      <a:pt x="605" y="1245"/>
                    </a:lnTo>
                    <a:lnTo>
                      <a:pt x="600" y="1245"/>
                    </a:lnTo>
                    <a:lnTo>
                      <a:pt x="600" y="1246"/>
                    </a:lnTo>
                    <a:lnTo>
                      <a:pt x="597" y="1250"/>
                    </a:lnTo>
                    <a:lnTo>
                      <a:pt x="597" y="1246"/>
                    </a:lnTo>
                    <a:lnTo>
                      <a:pt x="593" y="1248"/>
                    </a:lnTo>
                    <a:lnTo>
                      <a:pt x="592" y="1251"/>
                    </a:lnTo>
                    <a:lnTo>
                      <a:pt x="587" y="1255"/>
                    </a:lnTo>
                    <a:lnTo>
                      <a:pt x="585" y="1251"/>
                    </a:lnTo>
                    <a:lnTo>
                      <a:pt x="588" y="1248"/>
                    </a:lnTo>
                    <a:lnTo>
                      <a:pt x="588" y="1245"/>
                    </a:lnTo>
                    <a:lnTo>
                      <a:pt x="583" y="1243"/>
                    </a:lnTo>
                    <a:lnTo>
                      <a:pt x="577" y="1240"/>
                    </a:lnTo>
                    <a:lnTo>
                      <a:pt x="575" y="1241"/>
                    </a:lnTo>
                    <a:lnTo>
                      <a:pt x="577" y="1246"/>
                    </a:lnTo>
                    <a:lnTo>
                      <a:pt x="575" y="1250"/>
                    </a:lnTo>
                    <a:lnTo>
                      <a:pt x="570" y="1248"/>
                    </a:lnTo>
                    <a:lnTo>
                      <a:pt x="567" y="1251"/>
                    </a:lnTo>
                    <a:lnTo>
                      <a:pt x="565" y="1256"/>
                    </a:lnTo>
                    <a:lnTo>
                      <a:pt x="562" y="1258"/>
                    </a:lnTo>
                    <a:lnTo>
                      <a:pt x="554" y="1261"/>
                    </a:lnTo>
                    <a:lnTo>
                      <a:pt x="552" y="1266"/>
                    </a:lnTo>
                    <a:lnTo>
                      <a:pt x="555" y="1269"/>
                    </a:lnTo>
                    <a:lnTo>
                      <a:pt x="555" y="1276"/>
                    </a:lnTo>
                    <a:lnTo>
                      <a:pt x="549" y="1276"/>
                    </a:lnTo>
                    <a:lnTo>
                      <a:pt x="540" y="1276"/>
                    </a:lnTo>
                    <a:lnTo>
                      <a:pt x="547" y="1294"/>
                    </a:lnTo>
                    <a:lnTo>
                      <a:pt x="544" y="1296"/>
                    </a:lnTo>
                    <a:lnTo>
                      <a:pt x="544" y="1303"/>
                    </a:lnTo>
                    <a:lnTo>
                      <a:pt x="537" y="1303"/>
                    </a:lnTo>
                    <a:lnTo>
                      <a:pt x="529" y="1299"/>
                    </a:lnTo>
                    <a:lnTo>
                      <a:pt x="527" y="1294"/>
                    </a:lnTo>
                    <a:lnTo>
                      <a:pt x="515" y="1284"/>
                    </a:lnTo>
                    <a:lnTo>
                      <a:pt x="510" y="1289"/>
                    </a:lnTo>
                    <a:lnTo>
                      <a:pt x="510" y="1294"/>
                    </a:lnTo>
                    <a:lnTo>
                      <a:pt x="505" y="1301"/>
                    </a:lnTo>
                    <a:lnTo>
                      <a:pt x="500" y="1303"/>
                    </a:lnTo>
                    <a:lnTo>
                      <a:pt x="502" y="1314"/>
                    </a:lnTo>
                    <a:lnTo>
                      <a:pt x="505" y="1318"/>
                    </a:lnTo>
                    <a:lnTo>
                      <a:pt x="502" y="1331"/>
                    </a:lnTo>
                    <a:lnTo>
                      <a:pt x="499" y="1339"/>
                    </a:lnTo>
                    <a:lnTo>
                      <a:pt x="509" y="1343"/>
                    </a:lnTo>
                    <a:lnTo>
                      <a:pt x="514" y="1348"/>
                    </a:lnTo>
                    <a:lnTo>
                      <a:pt x="512" y="1351"/>
                    </a:lnTo>
                    <a:lnTo>
                      <a:pt x="520" y="1357"/>
                    </a:lnTo>
                    <a:lnTo>
                      <a:pt x="522" y="1354"/>
                    </a:lnTo>
                    <a:lnTo>
                      <a:pt x="537" y="1357"/>
                    </a:lnTo>
                    <a:lnTo>
                      <a:pt x="549" y="1367"/>
                    </a:lnTo>
                    <a:lnTo>
                      <a:pt x="559" y="1382"/>
                    </a:lnTo>
                    <a:lnTo>
                      <a:pt x="549" y="1382"/>
                    </a:lnTo>
                    <a:lnTo>
                      <a:pt x="549" y="1386"/>
                    </a:lnTo>
                    <a:lnTo>
                      <a:pt x="557" y="1391"/>
                    </a:lnTo>
                    <a:lnTo>
                      <a:pt x="564" y="1389"/>
                    </a:lnTo>
                    <a:lnTo>
                      <a:pt x="570" y="1392"/>
                    </a:lnTo>
                    <a:lnTo>
                      <a:pt x="570" y="1392"/>
                    </a:lnTo>
                    <a:lnTo>
                      <a:pt x="568" y="1392"/>
                    </a:lnTo>
                    <a:lnTo>
                      <a:pt x="568" y="1396"/>
                    </a:lnTo>
                    <a:lnTo>
                      <a:pt x="568" y="1397"/>
                    </a:lnTo>
                    <a:lnTo>
                      <a:pt x="565" y="1397"/>
                    </a:lnTo>
                    <a:lnTo>
                      <a:pt x="567" y="1399"/>
                    </a:lnTo>
                    <a:lnTo>
                      <a:pt x="567" y="1402"/>
                    </a:lnTo>
                    <a:lnTo>
                      <a:pt x="565" y="1402"/>
                    </a:lnTo>
                    <a:lnTo>
                      <a:pt x="567" y="1404"/>
                    </a:lnTo>
                    <a:lnTo>
                      <a:pt x="567" y="1406"/>
                    </a:lnTo>
                    <a:lnTo>
                      <a:pt x="564" y="1406"/>
                    </a:lnTo>
                    <a:lnTo>
                      <a:pt x="562" y="1406"/>
                    </a:lnTo>
                    <a:lnTo>
                      <a:pt x="557" y="1404"/>
                    </a:lnTo>
                    <a:lnTo>
                      <a:pt x="554" y="1406"/>
                    </a:lnTo>
                    <a:lnTo>
                      <a:pt x="560" y="1409"/>
                    </a:lnTo>
                    <a:lnTo>
                      <a:pt x="562" y="1411"/>
                    </a:lnTo>
                    <a:lnTo>
                      <a:pt x="560" y="1412"/>
                    </a:lnTo>
                    <a:lnTo>
                      <a:pt x="557" y="1411"/>
                    </a:lnTo>
                    <a:lnTo>
                      <a:pt x="557" y="1411"/>
                    </a:lnTo>
                    <a:lnTo>
                      <a:pt x="554" y="1412"/>
                    </a:lnTo>
                    <a:lnTo>
                      <a:pt x="554" y="1412"/>
                    </a:lnTo>
                    <a:lnTo>
                      <a:pt x="552" y="1411"/>
                    </a:lnTo>
                    <a:lnTo>
                      <a:pt x="550" y="1411"/>
                    </a:lnTo>
                    <a:lnTo>
                      <a:pt x="554" y="1412"/>
                    </a:lnTo>
                    <a:lnTo>
                      <a:pt x="554" y="1414"/>
                    </a:lnTo>
                    <a:lnTo>
                      <a:pt x="550" y="1416"/>
                    </a:lnTo>
                    <a:lnTo>
                      <a:pt x="547" y="1416"/>
                    </a:lnTo>
                    <a:lnTo>
                      <a:pt x="545" y="1417"/>
                    </a:lnTo>
                    <a:lnTo>
                      <a:pt x="544" y="1416"/>
                    </a:lnTo>
                    <a:lnTo>
                      <a:pt x="542" y="1419"/>
                    </a:lnTo>
                    <a:lnTo>
                      <a:pt x="540" y="1419"/>
                    </a:lnTo>
                    <a:lnTo>
                      <a:pt x="537" y="1417"/>
                    </a:lnTo>
                    <a:lnTo>
                      <a:pt x="535" y="1417"/>
                    </a:lnTo>
                    <a:lnTo>
                      <a:pt x="535" y="1419"/>
                    </a:lnTo>
                    <a:lnTo>
                      <a:pt x="532" y="1424"/>
                    </a:lnTo>
                    <a:lnTo>
                      <a:pt x="532" y="1427"/>
                    </a:lnTo>
                    <a:lnTo>
                      <a:pt x="529" y="1429"/>
                    </a:lnTo>
                    <a:lnTo>
                      <a:pt x="527" y="1434"/>
                    </a:lnTo>
                    <a:lnTo>
                      <a:pt x="525" y="1437"/>
                    </a:lnTo>
                    <a:lnTo>
                      <a:pt x="525" y="1446"/>
                    </a:lnTo>
                    <a:lnTo>
                      <a:pt x="524" y="1447"/>
                    </a:lnTo>
                    <a:lnTo>
                      <a:pt x="522" y="1452"/>
                    </a:lnTo>
                    <a:lnTo>
                      <a:pt x="524" y="1459"/>
                    </a:lnTo>
                    <a:lnTo>
                      <a:pt x="527" y="1459"/>
                    </a:lnTo>
                    <a:lnTo>
                      <a:pt x="530" y="1459"/>
                    </a:lnTo>
                    <a:lnTo>
                      <a:pt x="534" y="1462"/>
                    </a:lnTo>
                    <a:lnTo>
                      <a:pt x="539" y="1464"/>
                    </a:lnTo>
                    <a:lnTo>
                      <a:pt x="539" y="1470"/>
                    </a:lnTo>
                    <a:lnTo>
                      <a:pt x="544" y="1474"/>
                    </a:lnTo>
                    <a:lnTo>
                      <a:pt x="547" y="1472"/>
                    </a:lnTo>
                    <a:lnTo>
                      <a:pt x="549" y="1472"/>
                    </a:lnTo>
                    <a:lnTo>
                      <a:pt x="547" y="1475"/>
                    </a:lnTo>
                    <a:lnTo>
                      <a:pt x="545" y="1479"/>
                    </a:lnTo>
                    <a:lnTo>
                      <a:pt x="544" y="1479"/>
                    </a:lnTo>
                    <a:lnTo>
                      <a:pt x="544" y="1482"/>
                    </a:lnTo>
                    <a:lnTo>
                      <a:pt x="547" y="1482"/>
                    </a:lnTo>
                    <a:lnTo>
                      <a:pt x="547" y="1484"/>
                    </a:lnTo>
                    <a:lnTo>
                      <a:pt x="549" y="1487"/>
                    </a:lnTo>
                    <a:lnTo>
                      <a:pt x="549" y="1494"/>
                    </a:lnTo>
                    <a:lnTo>
                      <a:pt x="552" y="1497"/>
                    </a:lnTo>
                    <a:lnTo>
                      <a:pt x="554" y="1504"/>
                    </a:lnTo>
                    <a:lnTo>
                      <a:pt x="564" y="1514"/>
                    </a:lnTo>
                    <a:lnTo>
                      <a:pt x="577" y="1524"/>
                    </a:lnTo>
                    <a:lnTo>
                      <a:pt x="578" y="1525"/>
                    </a:lnTo>
                    <a:lnTo>
                      <a:pt x="578" y="1525"/>
                    </a:lnTo>
                    <a:lnTo>
                      <a:pt x="570" y="1534"/>
                    </a:lnTo>
                    <a:lnTo>
                      <a:pt x="564" y="1537"/>
                    </a:lnTo>
                    <a:lnTo>
                      <a:pt x="560" y="1542"/>
                    </a:lnTo>
                    <a:lnTo>
                      <a:pt x="550" y="1540"/>
                    </a:lnTo>
                    <a:lnTo>
                      <a:pt x="547" y="1535"/>
                    </a:lnTo>
                    <a:lnTo>
                      <a:pt x="535" y="1527"/>
                    </a:lnTo>
                    <a:lnTo>
                      <a:pt x="529" y="1527"/>
                    </a:lnTo>
                    <a:lnTo>
                      <a:pt x="525" y="1534"/>
                    </a:lnTo>
                    <a:lnTo>
                      <a:pt x="532" y="1537"/>
                    </a:lnTo>
                    <a:lnTo>
                      <a:pt x="535" y="1542"/>
                    </a:lnTo>
                    <a:lnTo>
                      <a:pt x="534" y="1550"/>
                    </a:lnTo>
                    <a:lnTo>
                      <a:pt x="525" y="1545"/>
                    </a:lnTo>
                    <a:lnTo>
                      <a:pt x="517" y="1545"/>
                    </a:lnTo>
                    <a:lnTo>
                      <a:pt x="502" y="1539"/>
                    </a:lnTo>
                    <a:lnTo>
                      <a:pt x="494" y="1542"/>
                    </a:lnTo>
                    <a:lnTo>
                      <a:pt x="494" y="1545"/>
                    </a:lnTo>
                    <a:lnTo>
                      <a:pt x="497" y="1550"/>
                    </a:lnTo>
                    <a:lnTo>
                      <a:pt x="492" y="1545"/>
                    </a:lnTo>
                    <a:lnTo>
                      <a:pt x="479" y="1545"/>
                    </a:lnTo>
                    <a:lnTo>
                      <a:pt x="475" y="1544"/>
                    </a:lnTo>
                    <a:lnTo>
                      <a:pt x="464" y="1547"/>
                    </a:lnTo>
                    <a:lnTo>
                      <a:pt x="457" y="1549"/>
                    </a:lnTo>
                    <a:lnTo>
                      <a:pt x="457" y="1549"/>
                    </a:lnTo>
                    <a:lnTo>
                      <a:pt x="452" y="1547"/>
                    </a:lnTo>
                    <a:lnTo>
                      <a:pt x="442" y="1540"/>
                    </a:lnTo>
                    <a:lnTo>
                      <a:pt x="437" y="1539"/>
                    </a:lnTo>
                    <a:lnTo>
                      <a:pt x="434" y="1542"/>
                    </a:lnTo>
                    <a:lnTo>
                      <a:pt x="432" y="1542"/>
                    </a:lnTo>
                    <a:lnTo>
                      <a:pt x="426" y="1540"/>
                    </a:lnTo>
                    <a:lnTo>
                      <a:pt x="422" y="1542"/>
                    </a:lnTo>
                    <a:lnTo>
                      <a:pt x="421" y="1542"/>
                    </a:lnTo>
                    <a:lnTo>
                      <a:pt x="419" y="1537"/>
                    </a:lnTo>
                    <a:lnTo>
                      <a:pt x="416" y="1537"/>
                    </a:lnTo>
                    <a:lnTo>
                      <a:pt x="416" y="1537"/>
                    </a:lnTo>
                    <a:lnTo>
                      <a:pt x="417" y="1537"/>
                    </a:lnTo>
                    <a:lnTo>
                      <a:pt x="416" y="1532"/>
                    </a:lnTo>
                    <a:lnTo>
                      <a:pt x="417" y="1530"/>
                    </a:lnTo>
                    <a:lnTo>
                      <a:pt x="412" y="1524"/>
                    </a:lnTo>
                    <a:lnTo>
                      <a:pt x="412" y="1514"/>
                    </a:lnTo>
                    <a:lnTo>
                      <a:pt x="409" y="1510"/>
                    </a:lnTo>
                    <a:lnTo>
                      <a:pt x="404" y="1504"/>
                    </a:lnTo>
                    <a:lnTo>
                      <a:pt x="397" y="1502"/>
                    </a:lnTo>
                    <a:lnTo>
                      <a:pt x="397" y="1500"/>
                    </a:lnTo>
                    <a:lnTo>
                      <a:pt x="391" y="1495"/>
                    </a:lnTo>
                    <a:lnTo>
                      <a:pt x="389" y="1497"/>
                    </a:lnTo>
                    <a:lnTo>
                      <a:pt x="386" y="1495"/>
                    </a:lnTo>
                    <a:lnTo>
                      <a:pt x="381" y="1495"/>
                    </a:lnTo>
                    <a:lnTo>
                      <a:pt x="377" y="1489"/>
                    </a:lnTo>
                    <a:lnTo>
                      <a:pt x="376" y="1489"/>
                    </a:lnTo>
                    <a:lnTo>
                      <a:pt x="371" y="1487"/>
                    </a:lnTo>
                    <a:lnTo>
                      <a:pt x="369" y="1485"/>
                    </a:lnTo>
                    <a:lnTo>
                      <a:pt x="366" y="1485"/>
                    </a:lnTo>
                    <a:lnTo>
                      <a:pt x="361" y="1482"/>
                    </a:lnTo>
                    <a:lnTo>
                      <a:pt x="359" y="1479"/>
                    </a:lnTo>
                    <a:lnTo>
                      <a:pt x="356" y="1477"/>
                    </a:lnTo>
                    <a:lnTo>
                      <a:pt x="353" y="1472"/>
                    </a:lnTo>
                    <a:lnTo>
                      <a:pt x="338" y="1462"/>
                    </a:lnTo>
                    <a:lnTo>
                      <a:pt x="331" y="1460"/>
                    </a:lnTo>
                    <a:lnTo>
                      <a:pt x="321" y="1455"/>
                    </a:lnTo>
                    <a:lnTo>
                      <a:pt x="313" y="1455"/>
                    </a:lnTo>
                    <a:lnTo>
                      <a:pt x="306" y="1451"/>
                    </a:lnTo>
                    <a:lnTo>
                      <a:pt x="306" y="1447"/>
                    </a:lnTo>
                    <a:lnTo>
                      <a:pt x="299" y="1442"/>
                    </a:lnTo>
                    <a:lnTo>
                      <a:pt x="298" y="1444"/>
                    </a:lnTo>
                    <a:lnTo>
                      <a:pt x="291" y="1442"/>
                    </a:lnTo>
                    <a:lnTo>
                      <a:pt x="294" y="1441"/>
                    </a:lnTo>
                    <a:lnTo>
                      <a:pt x="298" y="1439"/>
                    </a:lnTo>
                    <a:lnTo>
                      <a:pt x="296" y="1436"/>
                    </a:lnTo>
                    <a:lnTo>
                      <a:pt x="296" y="1434"/>
                    </a:lnTo>
                    <a:lnTo>
                      <a:pt x="303" y="1434"/>
                    </a:lnTo>
                    <a:lnTo>
                      <a:pt x="306" y="1437"/>
                    </a:lnTo>
                    <a:lnTo>
                      <a:pt x="308" y="1437"/>
                    </a:lnTo>
                    <a:lnTo>
                      <a:pt x="311" y="1437"/>
                    </a:lnTo>
                    <a:lnTo>
                      <a:pt x="313" y="1431"/>
                    </a:lnTo>
                    <a:lnTo>
                      <a:pt x="311" y="1429"/>
                    </a:lnTo>
                    <a:lnTo>
                      <a:pt x="311" y="1426"/>
                    </a:lnTo>
                    <a:lnTo>
                      <a:pt x="316" y="1421"/>
                    </a:lnTo>
                    <a:lnTo>
                      <a:pt x="316" y="1419"/>
                    </a:lnTo>
                    <a:lnTo>
                      <a:pt x="318" y="1417"/>
                    </a:lnTo>
                    <a:lnTo>
                      <a:pt x="321" y="1417"/>
                    </a:lnTo>
                    <a:lnTo>
                      <a:pt x="323" y="1414"/>
                    </a:lnTo>
                    <a:lnTo>
                      <a:pt x="326" y="1414"/>
                    </a:lnTo>
                    <a:lnTo>
                      <a:pt x="326" y="1412"/>
                    </a:lnTo>
                    <a:lnTo>
                      <a:pt x="321" y="1411"/>
                    </a:lnTo>
                    <a:lnTo>
                      <a:pt x="319" y="1409"/>
                    </a:lnTo>
                    <a:lnTo>
                      <a:pt x="318" y="1411"/>
                    </a:lnTo>
                    <a:lnTo>
                      <a:pt x="314" y="1407"/>
                    </a:lnTo>
                    <a:lnTo>
                      <a:pt x="311" y="1401"/>
                    </a:lnTo>
                    <a:lnTo>
                      <a:pt x="319" y="1401"/>
                    </a:lnTo>
                    <a:lnTo>
                      <a:pt x="324" y="1401"/>
                    </a:lnTo>
                    <a:lnTo>
                      <a:pt x="328" y="1397"/>
                    </a:lnTo>
                    <a:lnTo>
                      <a:pt x="324" y="1397"/>
                    </a:lnTo>
                    <a:lnTo>
                      <a:pt x="323" y="1396"/>
                    </a:lnTo>
                    <a:lnTo>
                      <a:pt x="328" y="1392"/>
                    </a:lnTo>
                    <a:lnTo>
                      <a:pt x="341" y="1386"/>
                    </a:lnTo>
                    <a:lnTo>
                      <a:pt x="341" y="1382"/>
                    </a:lnTo>
                    <a:lnTo>
                      <a:pt x="339" y="1381"/>
                    </a:lnTo>
                    <a:lnTo>
                      <a:pt x="334" y="1381"/>
                    </a:lnTo>
                    <a:lnTo>
                      <a:pt x="328" y="1384"/>
                    </a:lnTo>
                    <a:lnTo>
                      <a:pt x="323" y="1384"/>
                    </a:lnTo>
                    <a:lnTo>
                      <a:pt x="323" y="1384"/>
                    </a:lnTo>
                    <a:lnTo>
                      <a:pt x="323" y="1384"/>
                    </a:lnTo>
                    <a:lnTo>
                      <a:pt x="324" y="1374"/>
                    </a:lnTo>
                    <a:lnTo>
                      <a:pt x="326" y="1372"/>
                    </a:lnTo>
                    <a:lnTo>
                      <a:pt x="333" y="1366"/>
                    </a:lnTo>
                    <a:lnTo>
                      <a:pt x="344" y="1364"/>
                    </a:lnTo>
                    <a:lnTo>
                      <a:pt x="348" y="1362"/>
                    </a:lnTo>
                    <a:lnTo>
                      <a:pt x="348" y="1356"/>
                    </a:lnTo>
                    <a:lnTo>
                      <a:pt x="351" y="1348"/>
                    </a:lnTo>
                    <a:lnTo>
                      <a:pt x="349" y="1343"/>
                    </a:lnTo>
                    <a:lnTo>
                      <a:pt x="343" y="1338"/>
                    </a:lnTo>
                    <a:lnTo>
                      <a:pt x="344" y="1328"/>
                    </a:lnTo>
                    <a:lnTo>
                      <a:pt x="349" y="1328"/>
                    </a:lnTo>
                    <a:lnTo>
                      <a:pt x="353" y="1323"/>
                    </a:lnTo>
                    <a:lnTo>
                      <a:pt x="353" y="1316"/>
                    </a:lnTo>
                    <a:lnTo>
                      <a:pt x="349" y="1314"/>
                    </a:lnTo>
                    <a:lnTo>
                      <a:pt x="348" y="1309"/>
                    </a:lnTo>
                    <a:lnTo>
                      <a:pt x="344" y="1313"/>
                    </a:lnTo>
                    <a:lnTo>
                      <a:pt x="336" y="1311"/>
                    </a:lnTo>
                    <a:lnTo>
                      <a:pt x="329" y="1308"/>
                    </a:lnTo>
                    <a:lnTo>
                      <a:pt x="324" y="1309"/>
                    </a:lnTo>
                    <a:lnTo>
                      <a:pt x="319" y="1306"/>
                    </a:lnTo>
                    <a:lnTo>
                      <a:pt x="314" y="1306"/>
                    </a:lnTo>
                    <a:lnTo>
                      <a:pt x="304" y="1304"/>
                    </a:lnTo>
                    <a:lnTo>
                      <a:pt x="301" y="1308"/>
                    </a:lnTo>
                    <a:lnTo>
                      <a:pt x="299" y="1303"/>
                    </a:lnTo>
                    <a:lnTo>
                      <a:pt x="291" y="1299"/>
                    </a:lnTo>
                    <a:lnTo>
                      <a:pt x="286" y="1288"/>
                    </a:lnTo>
                    <a:lnTo>
                      <a:pt x="283" y="1289"/>
                    </a:lnTo>
                    <a:lnTo>
                      <a:pt x="274" y="1294"/>
                    </a:lnTo>
                    <a:lnTo>
                      <a:pt x="269" y="1293"/>
                    </a:lnTo>
                    <a:lnTo>
                      <a:pt x="263" y="1294"/>
                    </a:lnTo>
                    <a:lnTo>
                      <a:pt x="256" y="1291"/>
                    </a:lnTo>
                    <a:lnTo>
                      <a:pt x="253" y="1296"/>
                    </a:lnTo>
                    <a:lnTo>
                      <a:pt x="241" y="1286"/>
                    </a:lnTo>
                    <a:lnTo>
                      <a:pt x="240" y="1279"/>
                    </a:lnTo>
                    <a:lnTo>
                      <a:pt x="240" y="1273"/>
                    </a:lnTo>
                    <a:lnTo>
                      <a:pt x="235" y="1273"/>
                    </a:lnTo>
                    <a:lnTo>
                      <a:pt x="233" y="1268"/>
                    </a:lnTo>
                    <a:lnTo>
                      <a:pt x="228" y="1264"/>
                    </a:lnTo>
                    <a:lnTo>
                      <a:pt x="215" y="1266"/>
                    </a:lnTo>
                    <a:lnTo>
                      <a:pt x="208" y="1258"/>
                    </a:lnTo>
                    <a:lnTo>
                      <a:pt x="211" y="1253"/>
                    </a:lnTo>
                    <a:lnTo>
                      <a:pt x="206" y="1250"/>
                    </a:lnTo>
                    <a:lnTo>
                      <a:pt x="203" y="1240"/>
                    </a:lnTo>
                    <a:lnTo>
                      <a:pt x="196" y="1240"/>
                    </a:lnTo>
                    <a:lnTo>
                      <a:pt x="191" y="1241"/>
                    </a:lnTo>
                    <a:lnTo>
                      <a:pt x="178" y="1241"/>
                    </a:lnTo>
                    <a:lnTo>
                      <a:pt x="167" y="1238"/>
                    </a:lnTo>
                    <a:lnTo>
                      <a:pt x="163" y="1241"/>
                    </a:lnTo>
                    <a:lnTo>
                      <a:pt x="163" y="1246"/>
                    </a:lnTo>
                    <a:lnTo>
                      <a:pt x="158" y="1246"/>
                    </a:lnTo>
                    <a:lnTo>
                      <a:pt x="153" y="1246"/>
                    </a:lnTo>
                    <a:lnTo>
                      <a:pt x="153" y="1241"/>
                    </a:lnTo>
                    <a:lnTo>
                      <a:pt x="148" y="1235"/>
                    </a:lnTo>
                    <a:lnTo>
                      <a:pt x="148" y="1230"/>
                    </a:lnTo>
                    <a:lnTo>
                      <a:pt x="145" y="1221"/>
                    </a:lnTo>
                    <a:lnTo>
                      <a:pt x="143" y="1216"/>
                    </a:lnTo>
                    <a:lnTo>
                      <a:pt x="147" y="1213"/>
                    </a:lnTo>
                    <a:lnTo>
                      <a:pt x="152" y="1218"/>
                    </a:lnTo>
                    <a:lnTo>
                      <a:pt x="163" y="1216"/>
                    </a:lnTo>
                    <a:lnTo>
                      <a:pt x="168" y="1208"/>
                    </a:lnTo>
                    <a:lnTo>
                      <a:pt x="171" y="1206"/>
                    </a:lnTo>
                    <a:lnTo>
                      <a:pt x="165" y="1203"/>
                    </a:lnTo>
                    <a:lnTo>
                      <a:pt x="165" y="1198"/>
                    </a:lnTo>
                    <a:lnTo>
                      <a:pt x="155" y="1191"/>
                    </a:lnTo>
                    <a:lnTo>
                      <a:pt x="147" y="1190"/>
                    </a:lnTo>
                    <a:lnTo>
                      <a:pt x="145" y="1181"/>
                    </a:lnTo>
                    <a:lnTo>
                      <a:pt x="140" y="1180"/>
                    </a:lnTo>
                    <a:lnTo>
                      <a:pt x="133" y="1171"/>
                    </a:lnTo>
                    <a:lnTo>
                      <a:pt x="132" y="1165"/>
                    </a:lnTo>
                    <a:lnTo>
                      <a:pt x="125" y="1160"/>
                    </a:lnTo>
                    <a:lnTo>
                      <a:pt x="125" y="1153"/>
                    </a:lnTo>
                    <a:lnTo>
                      <a:pt x="122" y="1148"/>
                    </a:lnTo>
                    <a:lnTo>
                      <a:pt x="123" y="1143"/>
                    </a:lnTo>
                    <a:lnTo>
                      <a:pt x="122" y="1138"/>
                    </a:lnTo>
                    <a:lnTo>
                      <a:pt x="112" y="1135"/>
                    </a:lnTo>
                    <a:lnTo>
                      <a:pt x="108" y="1135"/>
                    </a:lnTo>
                    <a:lnTo>
                      <a:pt x="105" y="1132"/>
                    </a:lnTo>
                    <a:lnTo>
                      <a:pt x="98" y="1133"/>
                    </a:lnTo>
                    <a:lnTo>
                      <a:pt x="92" y="1138"/>
                    </a:lnTo>
                    <a:lnTo>
                      <a:pt x="87" y="1130"/>
                    </a:lnTo>
                    <a:lnTo>
                      <a:pt x="82" y="1130"/>
                    </a:lnTo>
                    <a:lnTo>
                      <a:pt x="77" y="1132"/>
                    </a:lnTo>
                    <a:lnTo>
                      <a:pt x="72" y="1125"/>
                    </a:lnTo>
                    <a:lnTo>
                      <a:pt x="65" y="1128"/>
                    </a:lnTo>
                    <a:lnTo>
                      <a:pt x="62" y="1125"/>
                    </a:lnTo>
                    <a:lnTo>
                      <a:pt x="60" y="1127"/>
                    </a:lnTo>
                    <a:lnTo>
                      <a:pt x="59" y="1120"/>
                    </a:lnTo>
                    <a:lnTo>
                      <a:pt x="55" y="1115"/>
                    </a:lnTo>
                    <a:lnTo>
                      <a:pt x="54" y="1110"/>
                    </a:lnTo>
                    <a:lnTo>
                      <a:pt x="52" y="1107"/>
                    </a:lnTo>
                    <a:lnTo>
                      <a:pt x="49" y="1102"/>
                    </a:lnTo>
                    <a:lnTo>
                      <a:pt x="49" y="1098"/>
                    </a:lnTo>
                    <a:lnTo>
                      <a:pt x="47" y="1095"/>
                    </a:lnTo>
                    <a:lnTo>
                      <a:pt x="45" y="1093"/>
                    </a:lnTo>
                    <a:lnTo>
                      <a:pt x="47" y="1092"/>
                    </a:lnTo>
                    <a:lnTo>
                      <a:pt x="45" y="1088"/>
                    </a:lnTo>
                    <a:lnTo>
                      <a:pt x="40" y="1087"/>
                    </a:lnTo>
                    <a:lnTo>
                      <a:pt x="45" y="1082"/>
                    </a:lnTo>
                    <a:lnTo>
                      <a:pt x="44" y="1078"/>
                    </a:lnTo>
                    <a:lnTo>
                      <a:pt x="47" y="1075"/>
                    </a:lnTo>
                    <a:lnTo>
                      <a:pt x="47" y="1070"/>
                    </a:lnTo>
                    <a:lnTo>
                      <a:pt x="37" y="1052"/>
                    </a:lnTo>
                    <a:lnTo>
                      <a:pt x="39" y="1037"/>
                    </a:lnTo>
                    <a:lnTo>
                      <a:pt x="40" y="1035"/>
                    </a:lnTo>
                    <a:lnTo>
                      <a:pt x="42" y="1029"/>
                    </a:lnTo>
                    <a:lnTo>
                      <a:pt x="47" y="1024"/>
                    </a:lnTo>
                    <a:lnTo>
                      <a:pt x="47" y="1022"/>
                    </a:lnTo>
                    <a:lnTo>
                      <a:pt x="47" y="1022"/>
                    </a:lnTo>
                    <a:lnTo>
                      <a:pt x="45" y="1019"/>
                    </a:lnTo>
                    <a:lnTo>
                      <a:pt x="45" y="1019"/>
                    </a:lnTo>
                    <a:lnTo>
                      <a:pt x="47" y="1014"/>
                    </a:lnTo>
                    <a:lnTo>
                      <a:pt x="44" y="1010"/>
                    </a:lnTo>
                    <a:lnTo>
                      <a:pt x="44" y="1007"/>
                    </a:lnTo>
                    <a:lnTo>
                      <a:pt x="47" y="1007"/>
                    </a:lnTo>
                    <a:lnTo>
                      <a:pt x="49" y="1010"/>
                    </a:lnTo>
                    <a:lnTo>
                      <a:pt x="52" y="1009"/>
                    </a:lnTo>
                    <a:lnTo>
                      <a:pt x="52" y="1005"/>
                    </a:lnTo>
                    <a:lnTo>
                      <a:pt x="55" y="1002"/>
                    </a:lnTo>
                    <a:lnTo>
                      <a:pt x="60" y="1005"/>
                    </a:lnTo>
                    <a:lnTo>
                      <a:pt x="65" y="1002"/>
                    </a:lnTo>
                    <a:lnTo>
                      <a:pt x="67" y="997"/>
                    </a:lnTo>
                    <a:lnTo>
                      <a:pt x="70" y="997"/>
                    </a:lnTo>
                    <a:lnTo>
                      <a:pt x="77" y="999"/>
                    </a:lnTo>
                    <a:lnTo>
                      <a:pt x="80" y="995"/>
                    </a:lnTo>
                    <a:lnTo>
                      <a:pt x="75" y="990"/>
                    </a:lnTo>
                    <a:lnTo>
                      <a:pt x="72" y="990"/>
                    </a:lnTo>
                    <a:lnTo>
                      <a:pt x="70" y="990"/>
                    </a:lnTo>
                    <a:lnTo>
                      <a:pt x="64" y="990"/>
                    </a:lnTo>
                    <a:lnTo>
                      <a:pt x="60" y="987"/>
                    </a:lnTo>
                    <a:lnTo>
                      <a:pt x="55" y="987"/>
                    </a:lnTo>
                    <a:lnTo>
                      <a:pt x="50" y="980"/>
                    </a:lnTo>
                    <a:lnTo>
                      <a:pt x="50" y="977"/>
                    </a:lnTo>
                    <a:lnTo>
                      <a:pt x="55" y="982"/>
                    </a:lnTo>
                    <a:lnTo>
                      <a:pt x="55" y="979"/>
                    </a:lnTo>
                    <a:lnTo>
                      <a:pt x="54" y="975"/>
                    </a:lnTo>
                    <a:lnTo>
                      <a:pt x="57" y="972"/>
                    </a:lnTo>
                    <a:lnTo>
                      <a:pt x="52" y="974"/>
                    </a:lnTo>
                    <a:lnTo>
                      <a:pt x="52" y="974"/>
                    </a:lnTo>
                    <a:lnTo>
                      <a:pt x="45" y="977"/>
                    </a:lnTo>
                    <a:lnTo>
                      <a:pt x="45" y="977"/>
                    </a:lnTo>
                    <a:lnTo>
                      <a:pt x="45" y="977"/>
                    </a:lnTo>
                    <a:lnTo>
                      <a:pt x="44" y="977"/>
                    </a:lnTo>
                    <a:lnTo>
                      <a:pt x="44" y="972"/>
                    </a:lnTo>
                    <a:lnTo>
                      <a:pt x="55" y="962"/>
                    </a:lnTo>
                    <a:lnTo>
                      <a:pt x="60" y="961"/>
                    </a:lnTo>
                    <a:lnTo>
                      <a:pt x="67" y="949"/>
                    </a:lnTo>
                    <a:lnTo>
                      <a:pt x="73" y="941"/>
                    </a:lnTo>
                    <a:lnTo>
                      <a:pt x="78" y="929"/>
                    </a:lnTo>
                    <a:lnTo>
                      <a:pt x="88" y="914"/>
                    </a:lnTo>
                    <a:lnTo>
                      <a:pt x="95" y="899"/>
                    </a:lnTo>
                    <a:lnTo>
                      <a:pt x="93" y="892"/>
                    </a:lnTo>
                    <a:lnTo>
                      <a:pt x="83" y="881"/>
                    </a:lnTo>
                    <a:lnTo>
                      <a:pt x="77" y="879"/>
                    </a:lnTo>
                    <a:lnTo>
                      <a:pt x="65" y="866"/>
                    </a:lnTo>
                    <a:lnTo>
                      <a:pt x="68" y="859"/>
                    </a:lnTo>
                    <a:lnTo>
                      <a:pt x="72" y="853"/>
                    </a:lnTo>
                    <a:lnTo>
                      <a:pt x="72" y="846"/>
                    </a:lnTo>
                    <a:lnTo>
                      <a:pt x="65" y="843"/>
                    </a:lnTo>
                    <a:lnTo>
                      <a:pt x="62" y="838"/>
                    </a:lnTo>
                    <a:lnTo>
                      <a:pt x="62" y="829"/>
                    </a:lnTo>
                    <a:lnTo>
                      <a:pt x="64" y="826"/>
                    </a:lnTo>
                    <a:lnTo>
                      <a:pt x="62" y="823"/>
                    </a:lnTo>
                    <a:lnTo>
                      <a:pt x="55" y="821"/>
                    </a:lnTo>
                    <a:lnTo>
                      <a:pt x="52" y="818"/>
                    </a:lnTo>
                    <a:lnTo>
                      <a:pt x="52" y="811"/>
                    </a:lnTo>
                    <a:lnTo>
                      <a:pt x="55" y="806"/>
                    </a:lnTo>
                    <a:lnTo>
                      <a:pt x="50" y="806"/>
                    </a:lnTo>
                    <a:lnTo>
                      <a:pt x="50" y="803"/>
                    </a:lnTo>
                    <a:lnTo>
                      <a:pt x="52" y="788"/>
                    </a:lnTo>
                    <a:lnTo>
                      <a:pt x="57" y="786"/>
                    </a:lnTo>
                    <a:lnTo>
                      <a:pt x="45" y="764"/>
                    </a:lnTo>
                    <a:lnTo>
                      <a:pt x="35" y="748"/>
                    </a:lnTo>
                    <a:lnTo>
                      <a:pt x="34" y="741"/>
                    </a:lnTo>
                    <a:lnTo>
                      <a:pt x="27" y="736"/>
                    </a:lnTo>
                    <a:lnTo>
                      <a:pt x="32" y="725"/>
                    </a:lnTo>
                    <a:lnTo>
                      <a:pt x="37" y="718"/>
                    </a:lnTo>
                    <a:lnTo>
                      <a:pt x="39" y="711"/>
                    </a:lnTo>
                    <a:lnTo>
                      <a:pt x="35" y="710"/>
                    </a:lnTo>
                    <a:lnTo>
                      <a:pt x="25" y="703"/>
                    </a:lnTo>
                    <a:lnTo>
                      <a:pt x="24" y="698"/>
                    </a:lnTo>
                    <a:lnTo>
                      <a:pt x="19" y="693"/>
                    </a:lnTo>
                    <a:lnTo>
                      <a:pt x="12" y="690"/>
                    </a:lnTo>
                    <a:lnTo>
                      <a:pt x="9" y="690"/>
                    </a:lnTo>
                    <a:lnTo>
                      <a:pt x="5" y="680"/>
                    </a:lnTo>
                    <a:lnTo>
                      <a:pt x="2" y="676"/>
                    </a:lnTo>
                    <a:lnTo>
                      <a:pt x="4" y="668"/>
                    </a:lnTo>
                    <a:lnTo>
                      <a:pt x="5" y="663"/>
                    </a:lnTo>
                    <a:lnTo>
                      <a:pt x="0" y="662"/>
                    </a:lnTo>
                    <a:lnTo>
                      <a:pt x="5" y="660"/>
                    </a:lnTo>
                    <a:lnTo>
                      <a:pt x="10" y="657"/>
                    </a:lnTo>
                    <a:lnTo>
                      <a:pt x="10" y="657"/>
                    </a:lnTo>
                    <a:lnTo>
                      <a:pt x="14" y="657"/>
                    </a:lnTo>
                    <a:lnTo>
                      <a:pt x="14" y="648"/>
                    </a:lnTo>
                    <a:lnTo>
                      <a:pt x="20" y="643"/>
                    </a:lnTo>
                    <a:lnTo>
                      <a:pt x="27" y="643"/>
                    </a:lnTo>
                    <a:lnTo>
                      <a:pt x="30" y="638"/>
                    </a:lnTo>
                    <a:lnTo>
                      <a:pt x="30" y="632"/>
                    </a:lnTo>
                    <a:lnTo>
                      <a:pt x="34" y="632"/>
                    </a:lnTo>
                    <a:lnTo>
                      <a:pt x="39" y="633"/>
                    </a:lnTo>
                    <a:lnTo>
                      <a:pt x="42" y="630"/>
                    </a:lnTo>
                    <a:lnTo>
                      <a:pt x="42" y="625"/>
                    </a:lnTo>
                    <a:lnTo>
                      <a:pt x="42" y="625"/>
                    </a:lnTo>
                    <a:lnTo>
                      <a:pt x="47" y="625"/>
                    </a:lnTo>
                    <a:lnTo>
                      <a:pt x="49" y="627"/>
                    </a:lnTo>
                    <a:lnTo>
                      <a:pt x="49" y="632"/>
                    </a:lnTo>
                    <a:lnTo>
                      <a:pt x="50" y="635"/>
                    </a:lnTo>
                    <a:lnTo>
                      <a:pt x="52" y="628"/>
                    </a:lnTo>
                    <a:lnTo>
                      <a:pt x="54" y="627"/>
                    </a:lnTo>
                    <a:lnTo>
                      <a:pt x="57" y="627"/>
                    </a:lnTo>
                    <a:lnTo>
                      <a:pt x="59" y="625"/>
                    </a:lnTo>
                    <a:lnTo>
                      <a:pt x="55" y="623"/>
                    </a:lnTo>
                    <a:lnTo>
                      <a:pt x="55" y="622"/>
                    </a:lnTo>
                    <a:lnTo>
                      <a:pt x="57" y="622"/>
                    </a:lnTo>
                    <a:lnTo>
                      <a:pt x="60" y="622"/>
                    </a:lnTo>
                    <a:lnTo>
                      <a:pt x="60" y="620"/>
                    </a:lnTo>
                    <a:lnTo>
                      <a:pt x="59" y="618"/>
                    </a:lnTo>
                    <a:lnTo>
                      <a:pt x="57" y="617"/>
                    </a:lnTo>
                    <a:lnTo>
                      <a:pt x="59" y="615"/>
                    </a:lnTo>
                    <a:lnTo>
                      <a:pt x="62" y="615"/>
                    </a:lnTo>
                    <a:lnTo>
                      <a:pt x="67" y="618"/>
                    </a:lnTo>
                    <a:lnTo>
                      <a:pt x="70" y="622"/>
                    </a:lnTo>
                    <a:lnTo>
                      <a:pt x="72" y="623"/>
                    </a:lnTo>
                    <a:lnTo>
                      <a:pt x="75" y="622"/>
                    </a:lnTo>
                    <a:lnTo>
                      <a:pt x="78" y="623"/>
                    </a:lnTo>
                    <a:lnTo>
                      <a:pt x="80" y="623"/>
                    </a:lnTo>
                    <a:lnTo>
                      <a:pt x="82" y="625"/>
                    </a:lnTo>
                    <a:lnTo>
                      <a:pt x="83" y="628"/>
                    </a:lnTo>
                    <a:lnTo>
                      <a:pt x="78" y="632"/>
                    </a:lnTo>
                    <a:lnTo>
                      <a:pt x="75" y="630"/>
                    </a:lnTo>
                    <a:lnTo>
                      <a:pt x="68" y="630"/>
                    </a:lnTo>
                    <a:lnTo>
                      <a:pt x="65" y="627"/>
                    </a:lnTo>
                    <a:lnTo>
                      <a:pt x="65" y="623"/>
                    </a:lnTo>
                    <a:lnTo>
                      <a:pt x="62" y="627"/>
                    </a:lnTo>
                    <a:lnTo>
                      <a:pt x="62" y="632"/>
                    </a:lnTo>
                    <a:lnTo>
                      <a:pt x="64" y="637"/>
                    </a:lnTo>
                    <a:lnTo>
                      <a:pt x="67" y="633"/>
                    </a:lnTo>
                    <a:lnTo>
                      <a:pt x="68" y="635"/>
                    </a:lnTo>
                    <a:lnTo>
                      <a:pt x="70" y="638"/>
                    </a:lnTo>
                    <a:lnTo>
                      <a:pt x="73" y="635"/>
                    </a:lnTo>
                    <a:lnTo>
                      <a:pt x="78" y="637"/>
                    </a:lnTo>
                    <a:lnTo>
                      <a:pt x="78" y="640"/>
                    </a:lnTo>
                    <a:lnTo>
                      <a:pt x="80" y="640"/>
                    </a:lnTo>
                    <a:lnTo>
                      <a:pt x="82" y="637"/>
                    </a:lnTo>
                    <a:lnTo>
                      <a:pt x="83" y="638"/>
                    </a:lnTo>
                    <a:lnTo>
                      <a:pt x="83" y="640"/>
                    </a:lnTo>
                    <a:lnTo>
                      <a:pt x="83" y="642"/>
                    </a:lnTo>
                    <a:lnTo>
                      <a:pt x="87" y="638"/>
                    </a:lnTo>
                    <a:lnTo>
                      <a:pt x="88" y="635"/>
                    </a:lnTo>
                    <a:lnTo>
                      <a:pt x="92" y="637"/>
                    </a:lnTo>
                    <a:lnTo>
                      <a:pt x="90" y="638"/>
                    </a:lnTo>
                    <a:lnTo>
                      <a:pt x="88" y="642"/>
                    </a:lnTo>
                    <a:lnTo>
                      <a:pt x="92" y="642"/>
                    </a:lnTo>
                    <a:lnTo>
                      <a:pt x="93" y="643"/>
                    </a:lnTo>
                    <a:lnTo>
                      <a:pt x="92" y="645"/>
                    </a:lnTo>
                    <a:lnTo>
                      <a:pt x="88" y="648"/>
                    </a:lnTo>
                    <a:lnTo>
                      <a:pt x="93" y="648"/>
                    </a:lnTo>
                    <a:lnTo>
                      <a:pt x="97" y="643"/>
                    </a:lnTo>
                    <a:lnTo>
                      <a:pt x="95" y="640"/>
                    </a:lnTo>
                    <a:lnTo>
                      <a:pt x="97" y="638"/>
                    </a:lnTo>
                    <a:lnTo>
                      <a:pt x="102" y="638"/>
                    </a:lnTo>
                    <a:lnTo>
                      <a:pt x="105" y="640"/>
                    </a:lnTo>
                    <a:lnTo>
                      <a:pt x="107" y="638"/>
                    </a:lnTo>
                    <a:lnTo>
                      <a:pt x="103" y="635"/>
                    </a:lnTo>
                    <a:lnTo>
                      <a:pt x="103" y="633"/>
                    </a:lnTo>
                    <a:lnTo>
                      <a:pt x="108" y="635"/>
                    </a:lnTo>
                    <a:lnTo>
                      <a:pt x="112" y="640"/>
                    </a:lnTo>
                    <a:lnTo>
                      <a:pt x="118" y="640"/>
                    </a:lnTo>
                    <a:lnTo>
                      <a:pt x="123" y="642"/>
                    </a:lnTo>
                    <a:lnTo>
                      <a:pt x="127" y="640"/>
                    </a:lnTo>
                    <a:lnTo>
                      <a:pt x="127" y="637"/>
                    </a:lnTo>
                    <a:lnTo>
                      <a:pt x="132" y="638"/>
                    </a:lnTo>
                    <a:lnTo>
                      <a:pt x="138" y="642"/>
                    </a:lnTo>
                    <a:lnTo>
                      <a:pt x="138" y="640"/>
                    </a:lnTo>
                    <a:lnTo>
                      <a:pt x="143" y="642"/>
                    </a:lnTo>
                    <a:lnTo>
                      <a:pt x="168" y="653"/>
                    </a:lnTo>
                    <a:lnTo>
                      <a:pt x="185" y="663"/>
                    </a:lnTo>
                    <a:lnTo>
                      <a:pt x="188" y="666"/>
                    </a:lnTo>
                    <a:lnTo>
                      <a:pt x="193" y="668"/>
                    </a:lnTo>
                    <a:lnTo>
                      <a:pt x="200" y="676"/>
                    </a:lnTo>
                    <a:lnTo>
                      <a:pt x="203" y="676"/>
                    </a:lnTo>
                    <a:lnTo>
                      <a:pt x="201" y="675"/>
                    </a:lnTo>
                    <a:lnTo>
                      <a:pt x="201" y="673"/>
                    </a:lnTo>
                    <a:lnTo>
                      <a:pt x="205" y="673"/>
                    </a:lnTo>
                    <a:lnTo>
                      <a:pt x="211" y="678"/>
                    </a:lnTo>
                    <a:lnTo>
                      <a:pt x="215" y="678"/>
                    </a:lnTo>
                    <a:lnTo>
                      <a:pt x="221" y="683"/>
                    </a:lnTo>
                    <a:lnTo>
                      <a:pt x="225" y="681"/>
                    </a:lnTo>
                    <a:lnTo>
                      <a:pt x="221" y="676"/>
                    </a:lnTo>
                    <a:lnTo>
                      <a:pt x="220" y="675"/>
                    </a:lnTo>
                    <a:lnTo>
                      <a:pt x="223" y="675"/>
                    </a:lnTo>
                    <a:lnTo>
                      <a:pt x="228" y="680"/>
                    </a:lnTo>
                    <a:lnTo>
                      <a:pt x="226" y="683"/>
                    </a:lnTo>
                    <a:lnTo>
                      <a:pt x="236" y="690"/>
                    </a:lnTo>
                    <a:lnTo>
                      <a:pt x="236" y="693"/>
                    </a:lnTo>
                    <a:lnTo>
                      <a:pt x="241" y="695"/>
                    </a:lnTo>
                    <a:lnTo>
                      <a:pt x="243" y="693"/>
                    </a:lnTo>
                    <a:lnTo>
                      <a:pt x="246" y="693"/>
                    </a:lnTo>
                    <a:lnTo>
                      <a:pt x="251" y="698"/>
                    </a:lnTo>
                    <a:lnTo>
                      <a:pt x="253" y="705"/>
                    </a:lnTo>
                    <a:lnTo>
                      <a:pt x="256" y="706"/>
                    </a:lnTo>
                    <a:lnTo>
                      <a:pt x="261" y="711"/>
                    </a:lnTo>
                    <a:lnTo>
                      <a:pt x="263" y="711"/>
                    </a:lnTo>
                    <a:lnTo>
                      <a:pt x="265" y="713"/>
                    </a:lnTo>
                    <a:lnTo>
                      <a:pt x="265" y="718"/>
                    </a:lnTo>
                    <a:lnTo>
                      <a:pt x="265" y="723"/>
                    </a:lnTo>
                    <a:lnTo>
                      <a:pt x="263" y="730"/>
                    </a:lnTo>
                    <a:lnTo>
                      <a:pt x="261" y="733"/>
                    </a:lnTo>
                    <a:lnTo>
                      <a:pt x="261" y="736"/>
                    </a:lnTo>
                    <a:lnTo>
                      <a:pt x="256" y="741"/>
                    </a:lnTo>
                    <a:lnTo>
                      <a:pt x="256" y="745"/>
                    </a:lnTo>
                    <a:lnTo>
                      <a:pt x="246" y="756"/>
                    </a:lnTo>
                    <a:lnTo>
                      <a:pt x="240" y="760"/>
                    </a:lnTo>
                    <a:lnTo>
                      <a:pt x="231" y="761"/>
                    </a:lnTo>
                    <a:lnTo>
                      <a:pt x="228" y="763"/>
                    </a:lnTo>
                    <a:lnTo>
                      <a:pt x="221" y="763"/>
                    </a:lnTo>
                    <a:lnTo>
                      <a:pt x="220" y="764"/>
                    </a:lnTo>
                    <a:lnTo>
                      <a:pt x="208" y="766"/>
                    </a:lnTo>
                    <a:lnTo>
                      <a:pt x="195" y="766"/>
                    </a:lnTo>
                    <a:lnTo>
                      <a:pt x="186" y="763"/>
                    </a:lnTo>
                    <a:lnTo>
                      <a:pt x="181" y="760"/>
                    </a:lnTo>
                    <a:lnTo>
                      <a:pt x="178" y="761"/>
                    </a:lnTo>
                    <a:lnTo>
                      <a:pt x="173" y="761"/>
                    </a:lnTo>
                    <a:lnTo>
                      <a:pt x="167" y="761"/>
                    </a:lnTo>
                    <a:lnTo>
                      <a:pt x="167" y="758"/>
                    </a:lnTo>
                    <a:lnTo>
                      <a:pt x="162" y="758"/>
                    </a:lnTo>
                    <a:lnTo>
                      <a:pt x="158" y="760"/>
                    </a:lnTo>
                    <a:lnTo>
                      <a:pt x="152" y="755"/>
                    </a:lnTo>
                    <a:lnTo>
                      <a:pt x="152" y="751"/>
                    </a:lnTo>
                    <a:lnTo>
                      <a:pt x="148" y="753"/>
                    </a:lnTo>
                    <a:lnTo>
                      <a:pt x="143" y="751"/>
                    </a:lnTo>
                    <a:lnTo>
                      <a:pt x="145" y="751"/>
                    </a:lnTo>
                    <a:lnTo>
                      <a:pt x="138" y="751"/>
                    </a:lnTo>
                    <a:lnTo>
                      <a:pt x="135" y="753"/>
                    </a:lnTo>
                    <a:lnTo>
                      <a:pt x="130" y="753"/>
                    </a:lnTo>
                    <a:lnTo>
                      <a:pt x="130" y="750"/>
                    </a:lnTo>
                    <a:lnTo>
                      <a:pt x="128" y="750"/>
                    </a:lnTo>
                    <a:lnTo>
                      <a:pt x="132" y="748"/>
                    </a:lnTo>
                    <a:lnTo>
                      <a:pt x="128" y="745"/>
                    </a:lnTo>
                    <a:lnTo>
                      <a:pt x="128" y="746"/>
                    </a:lnTo>
                    <a:lnTo>
                      <a:pt x="120" y="746"/>
                    </a:lnTo>
                    <a:lnTo>
                      <a:pt x="115" y="743"/>
                    </a:lnTo>
                    <a:lnTo>
                      <a:pt x="113" y="745"/>
                    </a:lnTo>
                    <a:lnTo>
                      <a:pt x="110" y="745"/>
                    </a:lnTo>
                    <a:lnTo>
                      <a:pt x="100" y="736"/>
                    </a:lnTo>
                    <a:lnTo>
                      <a:pt x="100" y="731"/>
                    </a:lnTo>
                    <a:lnTo>
                      <a:pt x="93" y="731"/>
                    </a:lnTo>
                    <a:lnTo>
                      <a:pt x="92" y="730"/>
                    </a:lnTo>
                    <a:lnTo>
                      <a:pt x="87" y="730"/>
                    </a:lnTo>
                    <a:lnTo>
                      <a:pt x="87" y="731"/>
                    </a:lnTo>
                    <a:lnTo>
                      <a:pt x="92" y="735"/>
                    </a:lnTo>
                    <a:lnTo>
                      <a:pt x="93" y="741"/>
                    </a:lnTo>
                    <a:lnTo>
                      <a:pt x="98" y="745"/>
                    </a:lnTo>
                    <a:lnTo>
                      <a:pt x="100" y="748"/>
                    </a:lnTo>
                    <a:lnTo>
                      <a:pt x="107" y="750"/>
                    </a:lnTo>
                    <a:lnTo>
                      <a:pt x="108" y="751"/>
                    </a:lnTo>
                    <a:lnTo>
                      <a:pt x="103" y="753"/>
                    </a:lnTo>
                    <a:lnTo>
                      <a:pt x="102" y="756"/>
                    </a:lnTo>
                    <a:lnTo>
                      <a:pt x="102" y="756"/>
                    </a:lnTo>
                    <a:lnTo>
                      <a:pt x="110" y="755"/>
                    </a:lnTo>
                    <a:lnTo>
                      <a:pt x="113" y="753"/>
                    </a:lnTo>
                    <a:lnTo>
                      <a:pt x="117" y="755"/>
                    </a:lnTo>
                    <a:lnTo>
                      <a:pt x="113" y="756"/>
                    </a:lnTo>
                    <a:lnTo>
                      <a:pt x="113" y="758"/>
                    </a:lnTo>
                    <a:lnTo>
                      <a:pt x="118" y="758"/>
                    </a:lnTo>
                    <a:lnTo>
                      <a:pt x="117" y="761"/>
                    </a:lnTo>
                    <a:lnTo>
                      <a:pt x="113" y="763"/>
                    </a:lnTo>
                    <a:lnTo>
                      <a:pt x="110" y="764"/>
                    </a:lnTo>
                    <a:lnTo>
                      <a:pt x="117" y="766"/>
                    </a:lnTo>
                    <a:lnTo>
                      <a:pt x="118" y="764"/>
                    </a:lnTo>
                    <a:lnTo>
                      <a:pt x="122" y="764"/>
                    </a:lnTo>
                    <a:lnTo>
                      <a:pt x="125" y="766"/>
                    </a:lnTo>
                    <a:lnTo>
                      <a:pt x="127" y="764"/>
                    </a:lnTo>
                    <a:lnTo>
                      <a:pt x="138" y="768"/>
                    </a:lnTo>
                    <a:lnTo>
                      <a:pt x="143" y="774"/>
                    </a:lnTo>
                    <a:lnTo>
                      <a:pt x="147" y="776"/>
                    </a:lnTo>
                    <a:lnTo>
                      <a:pt x="145" y="778"/>
                    </a:lnTo>
                    <a:lnTo>
                      <a:pt x="145" y="781"/>
                    </a:lnTo>
                    <a:lnTo>
                      <a:pt x="147" y="781"/>
                    </a:lnTo>
                    <a:lnTo>
                      <a:pt x="147" y="786"/>
                    </a:lnTo>
                    <a:lnTo>
                      <a:pt x="145" y="793"/>
                    </a:lnTo>
                    <a:lnTo>
                      <a:pt x="142" y="794"/>
                    </a:lnTo>
                    <a:lnTo>
                      <a:pt x="142" y="798"/>
                    </a:lnTo>
                    <a:lnTo>
                      <a:pt x="145" y="799"/>
                    </a:lnTo>
                    <a:lnTo>
                      <a:pt x="145" y="804"/>
                    </a:lnTo>
                    <a:lnTo>
                      <a:pt x="152" y="809"/>
                    </a:lnTo>
                    <a:lnTo>
                      <a:pt x="152" y="813"/>
                    </a:lnTo>
                    <a:lnTo>
                      <a:pt x="157" y="816"/>
                    </a:lnTo>
                    <a:lnTo>
                      <a:pt x="157" y="821"/>
                    </a:lnTo>
                    <a:lnTo>
                      <a:pt x="157" y="826"/>
                    </a:lnTo>
                    <a:lnTo>
                      <a:pt x="155" y="829"/>
                    </a:lnTo>
                    <a:lnTo>
                      <a:pt x="158" y="831"/>
                    </a:lnTo>
                    <a:lnTo>
                      <a:pt x="160" y="834"/>
                    </a:lnTo>
                    <a:lnTo>
                      <a:pt x="170" y="838"/>
                    </a:lnTo>
                    <a:lnTo>
                      <a:pt x="173" y="834"/>
                    </a:lnTo>
                    <a:lnTo>
                      <a:pt x="176" y="836"/>
                    </a:lnTo>
                    <a:lnTo>
                      <a:pt x="180" y="839"/>
                    </a:lnTo>
                    <a:lnTo>
                      <a:pt x="183" y="841"/>
                    </a:lnTo>
                    <a:lnTo>
                      <a:pt x="183" y="848"/>
                    </a:lnTo>
                    <a:lnTo>
                      <a:pt x="186" y="849"/>
                    </a:lnTo>
                    <a:lnTo>
                      <a:pt x="193" y="849"/>
                    </a:lnTo>
                    <a:lnTo>
                      <a:pt x="196" y="851"/>
                    </a:lnTo>
                    <a:lnTo>
                      <a:pt x="203" y="851"/>
                    </a:lnTo>
                    <a:lnTo>
                      <a:pt x="208" y="854"/>
                    </a:lnTo>
                    <a:lnTo>
                      <a:pt x="211" y="854"/>
                    </a:lnTo>
                    <a:lnTo>
                      <a:pt x="216" y="849"/>
                    </a:lnTo>
                    <a:lnTo>
                      <a:pt x="220" y="849"/>
                    </a:lnTo>
                    <a:lnTo>
                      <a:pt x="223" y="848"/>
                    </a:lnTo>
                    <a:lnTo>
                      <a:pt x="223" y="841"/>
                    </a:lnTo>
                    <a:lnTo>
                      <a:pt x="220" y="839"/>
                    </a:lnTo>
                    <a:lnTo>
                      <a:pt x="221" y="836"/>
                    </a:lnTo>
                    <a:lnTo>
                      <a:pt x="221" y="834"/>
                    </a:lnTo>
                    <a:lnTo>
                      <a:pt x="216" y="833"/>
                    </a:lnTo>
                    <a:lnTo>
                      <a:pt x="215" y="829"/>
                    </a:lnTo>
                    <a:lnTo>
                      <a:pt x="211" y="833"/>
                    </a:lnTo>
                    <a:lnTo>
                      <a:pt x="208" y="833"/>
                    </a:lnTo>
                    <a:lnTo>
                      <a:pt x="203" y="834"/>
                    </a:lnTo>
                    <a:lnTo>
                      <a:pt x="198" y="831"/>
                    </a:lnTo>
                    <a:lnTo>
                      <a:pt x="193" y="826"/>
                    </a:lnTo>
                    <a:lnTo>
                      <a:pt x="186" y="823"/>
                    </a:lnTo>
                    <a:lnTo>
                      <a:pt x="186" y="818"/>
                    </a:lnTo>
                    <a:lnTo>
                      <a:pt x="183" y="813"/>
                    </a:lnTo>
                    <a:lnTo>
                      <a:pt x="186" y="813"/>
                    </a:lnTo>
                    <a:lnTo>
                      <a:pt x="190" y="809"/>
                    </a:lnTo>
                    <a:lnTo>
                      <a:pt x="188" y="808"/>
                    </a:lnTo>
                    <a:lnTo>
                      <a:pt x="190" y="804"/>
                    </a:lnTo>
                    <a:lnTo>
                      <a:pt x="188" y="803"/>
                    </a:lnTo>
                    <a:lnTo>
                      <a:pt x="190" y="799"/>
                    </a:lnTo>
                    <a:lnTo>
                      <a:pt x="195" y="799"/>
                    </a:lnTo>
                    <a:lnTo>
                      <a:pt x="200" y="803"/>
                    </a:lnTo>
                    <a:lnTo>
                      <a:pt x="206" y="804"/>
                    </a:lnTo>
                    <a:lnTo>
                      <a:pt x="210" y="808"/>
                    </a:lnTo>
                    <a:lnTo>
                      <a:pt x="215" y="811"/>
                    </a:lnTo>
                    <a:lnTo>
                      <a:pt x="223" y="813"/>
                    </a:lnTo>
                    <a:lnTo>
                      <a:pt x="225" y="814"/>
                    </a:lnTo>
                    <a:lnTo>
                      <a:pt x="230" y="816"/>
                    </a:lnTo>
                    <a:lnTo>
                      <a:pt x="246" y="823"/>
                    </a:lnTo>
                    <a:lnTo>
                      <a:pt x="251" y="828"/>
                    </a:lnTo>
                    <a:lnTo>
                      <a:pt x="255" y="824"/>
                    </a:lnTo>
                    <a:lnTo>
                      <a:pt x="260" y="821"/>
                    </a:lnTo>
                    <a:lnTo>
                      <a:pt x="258" y="816"/>
                    </a:lnTo>
                    <a:lnTo>
                      <a:pt x="263" y="816"/>
                    </a:lnTo>
                    <a:lnTo>
                      <a:pt x="266" y="813"/>
                    </a:lnTo>
                    <a:lnTo>
                      <a:pt x="260" y="803"/>
                    </a:lnTo>
                    <a:lnTo>
                      <a:pt x="250" y="793"/>
                    </a:lnTo>
                    <a:lnTo>
                      <a:pt x="246" y="788"/>
                    </a:lnTo>
                    <a:lnTo>
                      <a:pt x="246" y="783"/>
                    </a:lnTo>
                    <a:lnTo>
                      <a:pt x="253" y="778"/>
                    </a:lnTo>
                    <a:lnTo>
                      <a:pt x="260" y="773"/>
                    </a:lnTo>
                    <a:lnTo>
                      <a:pt x="260" y="766"/>
                    </a:lnTo>
                    <a:lnTo>
                      <a:pt x="265" y="763"/>
                    </a:lnTo>
                    <a:lnTo>
                      <a:pt x="269" y="761"/>
                    </a:lnTo>
                    <a:lnTo>
                      <a:pt x="278" y="756"/>
                    </a:lnTo>
                    <a:lnTo>
                      <a:pt x="283" y="746"/>
                    </a:lnTo>
                    <a:lnTo>
                      <a:pt x="286" y="743"/>
                    </a:lnTo>
                    <a:lnTo>
                      <a:pt x="293" y="745"/>
                    </a:lnTo>
                    <a:lnTo>
                      <a:pt x="298" y="748"/>
                    </a:lnTo>
                    <a:lnTo>
                      <a:pt x="304" y="746"/>
                    </a:lnTo>
                    <a:lnTo>
                      <a:pt x="313" y="748"/>
                    </a:lnTo>
                    <a:lnTo>
                      <a:pt x="314" y="751"/>
                    </a:lnTo>
                    <a:lnTo>
                      <a:pt x="314" y="755"/>
                    </a:lnTo>
                    <a:lnTo>
                      <a:pt x="319" y="750"/>
                    </a:lnTo>
                    <a:lnTo>
                      <a:pt x="326" y="755"/>
                    </a:lnTo>
                    <a:lnTo>
                      <a:pt x="328" y="760"/>
                    </a:lnTo>
                    <a:lnTo>
                      <a:pt x="331" y="763"/>
                    </a:lnTo>
                    <a:lnTo>
                      <a:pt x="329" y="755"/>
                    </a:lnTo>
                    <a:lnTo>
                      <a:pt x="326" y="748"/>
                    </a:lnTo>
                    <a:lnTo>
                      <a:pt x="329" y="746"/>
                    </a:lnTo>
                    <a:lnTo>
                      <a:pt x="329" y="736"/>
                    </a:lnTo>
                    <a:lnTo>
                      <a:pt x="329" y="733"/>
                    </a:lnTo>
                    <a:lnTo>
                      <a:pt x="328" y="731"/>
                    </a:lnTo>
                    <a:lnTo>
                      <a:pt x="328" y="730"/>
                    </a:lnTo>
                    <a:lnTo>
                      <a:pt x="329" y="726"/>
                    </a:lnTo>
                    <a:lnTo>
                      <a:pt x="328" y="723"/>
                    </a:lnTo>
                    <a:lnTo>
                      <a:pt x="329" y="721"/>
                    </a:lnTo>
                    <a:lnTo>
                      <a:pt x="326" y="718"/>
                    </a:lnTo>
                    <a:lnTo>
                      <a:pt x="319" y="715"/>
                    </a:lnTo>
                    <a:lnTo>
                      <a:pt x="313" y="716"/>
                    </a:lnTo>
                    <a:lnTo>
                      <a:pt x="311" y="710"/>
                    </a:lnTo>
                    <a:lnTo>
                      <a:pt x="313" y="705"/>
                    </a:lnTo>
                    <a:lnTo>
                      <a:pt x="313" y="695"/>
                    </a:lnTo>
                    <a:lnTo>
                      <a:pt x="314" y="693"/>
                    </a:lnTo>
                    <a:lnTo>
                      <a:pt x="313" y="690"/>
                    </a:lnTo>
                    <a:lnTo>
                      <a:pt x="313" y="686"/>
                    </a:lnTo>
                    <a:lnTo>
                      <a:pt x="316" y="685"/>
                    </a:lnTo>
                    <a:lnTo>
                      <a:pt x="313" y="681"/>
                    </a:lnTo>
                    <a:lnTo>
                      <a:pt x="313" y="676"/>
                    </a:lnTo>
                    <a:lnTo>
                      <a:pt x="309" y="666"/>
                    </a:lnTo>
                    <a:lnTo>
                      <a:pt x="303" y="663"/>
                    </a:lnTo>
                    <a:lnTo>
                      <a:pt x="291" y="653"/>
                    </a:lnTo>
                    <a:lnTo>
                      <a:pt x="289" y="652"/>
                    </a:lnTo>
                    <a:lnTo>
                      <a:pt x="296" y="652"/>
                    </a:lnTo>
                    <a:lnTo>
                      <a:pt x="306" y="658"/>
                    </a:lnTo>
                    <a:lnTo>
                      <a:pt x="311" y="658"/>
                    </a:lnTo>
                    <a:lnTo>
                      <a:pt x="316" y="655"/>
                    </a:lnTo>
                    <a:lnTo>
                      <a:pt x="324" y="655"/>
                    </a:lnTo>
                    <a:lnTo>
                      <a:pt x="338" y="657"/>
                    </a:lnTo>
                    <a:lnTo>
                      <a:pt x="343" y="660"/>
                    </a:lnTo>
                    <a:lnTo>
                      <a:pt x="343" y="663"/>
                    </a:lnTo>
                    <a:lnTo>
                      <a:pt x="348" y="670"/>
                    </a:lnTo>
                    <a:lnTo>
                      <a:pt x="354" y="670"/>
                    </a:lnTo>
                    <a:lnTo>
                      <a:pt x="354" y="673"/>
                    </a:lnTo>
                    <a:lnTo>
                      <a:pt x="361" y="681"/>
                    </a:lnTo>
                    <a:lnTo>
                      <a:pt x="361" y="685"/>
                    </a:lnTo>
                    <a:lnTo>
                      <a:pt x="353" y="685"/>
                    </a:lnTo>
                    <a:lnTo>
                      <a:pt x="349" y="686"/>
                    </a:lnTo>
                    <a:lnTo>
                      <a:pt x="343" y="686"/>
                    </a:lnTo>
                    <a:lnTo>
                      <a:pt x="339" y="690"/>
                    </a:lnTo>
                    <a:lnTo>
                      <a:pt x="341" y="691"/>
                    </a:lnTo>
                    <a:lnTo>
                      <a:pt x="339" y="695"/>
                    </a:lnTo>
                    <a:lnTo>
                      <a:pt x="336" y="693"/>
                    </a:lnTo>
                    <a:lnTo>
                      <a:pt x="334" y="696"/>
                    </a:lnTo>
                    <a:lnTo>
                      <a:pt x="334" y="703"/>
                    </a:lnTo>
                    <a:lnTo>
                      <a:pt x="338" y="705"/>
                    </a:lnTo>
                    <a:lnTo>
                      <a:pt x="348" y="711"/>
                    </a:lnTo>
                    <a:lnTo>
                      <a:pt x="358" y="723"/>
                    </a:lnTo>
                    <a:lnTo>
                      <a:pt x="363" y="723"/>
                    </a:lnTo>
                    <a:lnTo>
                      <a:pt x="367" y="720"/>
                    </a:lnTo>
                    <a:lnTo>
                      <a:pt x="371" y="725"/>
                    </a:lnTo>
                    <a:lnTo>
                      <a:pt x="374" y="721"/>
                    </a:lnTo>
                    <a:lnTo>
                      <a:pt x="379" y="721"/>
                    </a:lnTo>
                    <a:lnTo>
                      <a:pt x="379" y="720"/>
                    </a:lnTo>
                    <a:lnTo>
                      <a:pt x="389" y="716"/>
                    </a:lnTo>
                    <a:lnTo>
                      <a:pt x="391" y="711"/>
                    </a:lnTo>
                    <a:lnTo>
                      <a:pt x="387" y="705"/>
                    </a:lnTo>
                    <a:lnTo>
                      <a:pt x="391" y="700"/>
                    </a:lnTo>
                    <a:lnTo>
                      <a:pt x="391" y="695"/>
                    </a:lnTo>
                    <a:lnTo>
                      <a:pt x="387" y="691"/>
                    </a:lnTo>
                    <a:lnTo>
                      <a:pt x="389" y="690"/>
                    </a:lnTo>
                    <a:lnTo>
                      <a:pt x="402" y="688"/>
                    </a:lnTo>
                    <a:lnTo>
                      <a:pt x="404" y="686"/>
                    </a:lnTo>
                    <a:lnTo>
                      <a:pt x="412" y="688"/>
                    </a:lnTo>
                    <a:lnTo>
                      <a:pt x="412" y="685"/>
                    </a:lnTo>
                    <a:lnTo>
                      <a:pt x="406" y="681"/>
                    </a:lnTo>
                    <a:lnTo>
                      <a:pt x="402" y="676"/>
                    </a:lnTo>
                    <a:lnTo>
                      <a:pt x="406" y="676"/>
                    </a:lnTo>
                    <a:lnTo>
                      <a:pt x="409" y="680"/>
                    </a:lnTo>
                    <a:lnTo>
                      <a:pt x="414" y="678"/>
                    </a:lnTo>
                    <a:lnTo>
                      <a:pt x="422" y="668"/>
                    </a:lnTo>
                    <a:lnTo>
                      <a:pt x="426" y="666"/>
                    </a:lnTo>
                    <a:lnTo>
                      <a:pt x="436" y="657"/>
                    </a:lnTo>
                    <a:lnTo>
                      <a:pt x="436" y="653"/>
                    </a:lnTo>
                    <a:lnTo>
                      <a:pt x="437" y="652"/>
                    </a:lnTo>
                    <a:lnTo>
                      <a:pt x="442" y="653"/>
                    </a:lnTo>
                    <a:lnTo>
                      <a:pt x="449" y="650"/>
                    </a:lnTo>
                    <a:lnTo>
                      <a:pt x="451" y="648"/>
                    </a:lnTo>
                    <a:lnTo>
                      <a:pt x="461" y="645"/>
                    </a:lnTo>
                    <a:lnTo>
                      <a:pt x="461" y="648"/>
                    </a:lnTo>
                    <a:lnTo>
                      <a:pt x="462" y="648"/>
                    </a:lnTo>
                    <a:lnTo>
                      <a:pt x="464" y="652"/>
                    </a:lnTo>
                    <a:lnTo>
                      <a:pt x="462" y="655"/>
                    </a:lnTo>
                    <a:lnTo>
                      <a:pt x="464" y="657"/>
                    </a:lnTo>
                    <a:lnTo>
                      <a:pt x="470" y="652"/>
                    </a:lnTo>
                    <a:lnTo>
                      <a:pt x="470" y="648"/>
                    </a:lnTo>
                    <a:lnTo>
                      <a:pt x="467" y="647"/>
                    </a:lnTo>
                    <a:lnTo>
                      <a:pt x="464" y="643"/>
                    </a:lnTo>
                    <a:lnTo>
                      <a:pt x="464" y="642"/>
                    </a:lnTo>
                    <a:lnTo>
                      <a:pt x="472" y="633"/>
                    </a:lnTo>
                    <a:lnTo>
                      <a:pt x="474" y="633"/>
                    </a:lnTo>
                    <a:lnTo>
                      <a:pt x="475" y="637"/>
                    </a:lnTo>
                    <a:lnTo>
                      <a:pt x="474" y="637"/>
                    </a:lnTo>
                    <a:lnTo>
                      <a:pt x="472" y="638"/>
                    </a:lnTo>
                    <a:lnTo>
                      <a:pt x="475" y="643"/>
                    </a:lnTo>
                    <a:lnTo>
                      <a:pt x="479" y="643"/>
                    </a:lnTo>
                    <a:lnTo>
                      <a:pt x="482" y="640"/>
                    </a:lnTo>
                    <a:lnTo>
                      <a:pt x="480" y="637"/>
                    </a:lnTo>
                    <a:lnTo>
                      <a:pt x="479" y="633"/>
                    </a:lnTo>
                    <a:lnTo>
                      <a:pt x="477" y="632"/>
                    </a:lnTo>
                    <a:lnTo>
                      <a:pt x="480" y="628"/>
                    </a:lnTo>
                    <a:lnTo>
                      <a:pt x="494" y="623"/>
                    </a:lnTo>
                    <a:lnTo>
                      <a:pt x="502" y="622"/>
                    </a:lnTo>
                    <a:lnTo>
                      <a:pt x="504" y="623"/>
                    </a:lnTo>
                    <a:lnTo>
                      <a:pt x="499" y="627"/>
                    </a:lnTo>
                    <a:lnTo>
                      <a:pt x="494" y="627"/>
                    </a:lnTo>
                    <a:lnTo>
                      <a:pt x="485" y="630"/>
                    </a:lnTo>
                    <a:lnTo>
                      <a:pt x="487" y="632"/>
                    </a:lnTo>
                    <a:lnTo>
                      <a:pt x="490" y="633"/>
                    </a:lnTo>
                    <a:lnTo>
                      <a:pt x="494" y="632"/>
                    </a:lnTo>
                    <a:lnTo>
                      <a:pt x="499" y="637"/>
                    </a:lnTo>
                    <a:lnTo>
                      <a:pt x="495" y="638"/>
                    </a:lnTo>
                    <a:lnTo>
                      <a:pt x="495" y="640"/>
                    </a:lnTo>
                    <a:lnTo>
                      <a:pt x="497" y="643"/>
                    </a:lnTo>
                    <a:lnTo>
                      <a:pt x="495" y="647"/>
                    </a:lnTo>
                    <a:lnTo>
                      <a:pt x="490" y="647"/>
                    </a:lnTo>
                    <a:lnTo>
                      <a:pt x="485" y="652"/>
                    </a:lnTo>
                    <a:lnTo>
                      <a:pt x="487" y="655"/>
                    </a:lnTo>
                    <a:lnTo>
                      <a:pt x="490" y="657"/>
                    </a:lnTo>
                    <a:lnTo>
                      <a:pt x="494" y="655"/>
                    </a:lnTo>
                    <a:lnTo>
                      <a:pt x="497" y="655"/>
                    </a:lnTo>
                    <a:lnTo>
                      <a:pt x="500" y="653"/>
                    </a:lnTo>
                    <a:lnTo>
                      <a:pt x="505" y="655"/>
                    </a:lnTo>
                    <a:lnTo>
                      <a:pt x="505" y="660"/>
                    </a:lnTo>
                    <a:lnTo>
                      <a:pt x="509" y="655"/>
                    </a:lnTo>
                    <a:lnTo>
                      <a:pt x="514" y="650"/>
                    </a:lnTo>
                    <a:lnTo>
                      <a:pt x="515" y="650"/>
                    </a:lnTo>
                    <a:lnTo>
                      <a:pt x="517" y="652"/>
                    </a:lnTo>
                    <a:lnTo>
                      <a:pt x="522" y="655"/>
                    </a:lnTo>
                    <a:lnTo>
                      <a:pt x="524" y="653"/>
                    </a:lnTo>
                    <a:lnTo>
                      <a:pt x="522" y="650"/>
                    </a:lnTo>
                    <a:lnTo>
                      <a:pt x="524" y="648"/>
                    </a:lnTo>
                    <a:lnTo>
                      <a:pt x="520" y="645"/>
                    </a:lnTo>
                    <a:lnTo>
                      <a:pt x="520" y="643"/>
                    </a:lnTo>
                    <a:lnTo>
                      <a:pt x="524" y="640"/>
                    </a:lnTo>
                    <a:lnTo>
                      <a:pt x="529" y="638"/>
                    </a:lnTo>
                    <a:lnTo>
                      <a:pt x="530" y="637"/>
                    </a:lnTo>
                    <a:lnTo>
                      <a:pt x="537" y="633"/>
                    </a:lnTo>
                    <a:lnTo>
                      <a:pt x="539" y="635"/>
                    </a:lnTo>
                    <a:lnTo>
                      <a:pt x="542" y="635"/>
                    </a:lnTo>
                    <a:lnTo>
                      <a:pt x="545" y="633"/>
                    </a:lnTo>
                    <a:lnTo>
                      <a:pt x="549" y="635"/>
                    </a:lnTo>
                    <a:lnTo>
                      <a:pt x="559" y="635"/>
                    </a:lnTo>
                    <a:lnTo>
                      <a:pt x="562" y="632"/>
                    </a:lnTo>
                    <a:lnTo>
                      <a:pt x="562" y="630"/>
                    </a:lnTo>
                    <a:lnTo>
                      <a:pt x="565" y="627"/>
                    </a:lnTo>
                    <a:lnTo>
                      <a:pt x="572" y="627"/>
                    </a:lnTo>
                    <a:lnTo>
                      <a:pt x="572" y="625"/>
                    </a:lnTo>
                    <a:lnTo>
                      <a:pt x="577" y="620"/>
                    </a:lnTo>
                    <a:lnTo>
                      <a:pt x="580" y="620"/>
                    </a:lnTo>
                    <a:lnTo>
                      <a:pt x="587" y="613"/>
                    </a:lnTo>
                    <a:lnTo>
                      <a:pt x="588" y="613"/>
                    </a:lnTo>
                    <a:lnTo>
                      <a:pt x="592" y="612"/>
                    </a:lnTo>
                    <a:lnTo>
                      <a:pt x="593" y="613"/>
                    </a:lnTo>
                    <a:lnTo>
                      <a:pt x="590" y="618"/>
                    </a:lnTo>
                    <a:lnTo>
                      <a:pt x="593" y="618"/>
                    </a:lnTo>
                    <a:lnTo>
                      <a:pt x="598" y="623"/>
                    </a:lnTo>
                    <a:lnTo>
                      <a:pt x="598" y="625"/>
                    </a:lnTo>
                    <a:lnTo>
                      <a:pt x="595" y="628"/>
                    </a:lnTo>
                    <a:lnTo>
                      <a:pt x="597" y="633"/>
                    </a:lnTo>
                    <a:lnTo>
                      <a:pt x="595" y="637"/>
                    </a:lnTo>
                    <a:lnTo>
                      <a:pt x="598" y="640"/>
                    </a:lnTo>
                    <a:lnTo>
                      <a:pt x="612" y="640"/>
                    </a:lnTo>
                    <a:lnTo>
                      <a:pt x="613" y="638"/>
                    </a:lnTo>
                    <a:lnTo>
                      <a:pt x="613" y="635"/>
                    </a:lnTo>
                    <a:lnTo>
                      <a:pt x="612" y="633"/>
                    </a:lnTo>
                    <a:lnTo>
                      <a:pt x="607" y="628"/>
                    </a:lnTo>
                    <a:lnTo>
                      <a:pt x="607" y="625"/>
                    </a:lnTo>
                    <a:lnTo>
                      <a:pt x="610" y="623"/>
                    </a:lnTo>
                    <a:lnTo>
                      <a:pt x="617" y="625"/>
                    </a:lnTo>
                    <a:lnTo>
                      <a:pt x="622" y="623"/>
                    </a:lnTo>
                    <a:lnTo>
                      <a:pt x="623" y="615"/>
                    </a:lnTo>
                    <a:lnTo>
                      <a:pt x="627" y="615"/>
                    </a:lnTo>
                    <a:lnTo>
                      <a:pt x="630" y="617"/>
                    </a:lnTo>
                    <a:lnTo>
                      <a:pt x="637" y="618"/>
                    </a:lnTo>
                    <a:lnTo>
                      <a:pt x="630" y="612"/>
                    </a:lnTo>
                    <a:lnTo>
                      <a:pt x="623" y="610"/>
                    </a:lnTo>
                    <a:lnTo>
                      <a:pt x="623" y="607"/>
                    </a:lnTo>
                    <a:lnTo>
                      <a:pt x="618" y="600"/>
                    </a:lnTo>
                    <a:lnTo>
                      <a:pt x="617" y="598"/>
                    </a:lnTo>
                    <a:lnTo>
                      <a:pt x="615" y="603"/>
                    </a:lnTo>
                    <a:lnTo>
                      <a:pt x="613" y="598"/>
                    </a:lnTo>
                    <a:lnTo>
                      <a:pt x="610" y="592"/>
                    </a:lnTo>
                    <a:lnTo>
                      <a:pt x="607" y="590"/>
                    </a:lnTo>
                    <a:lnTo>
                      <a:pt x="603" y="585"/>
                    </a:lnTo>
                    <a:lnTo>
                      <a:pt x="603" y="583"/>
                    </a:lnTo>
                    <a:lnTo>
                      <a:pt x="608" y="582"/>
                    </a:lnTo>
                    <a:lnTo>
                      <a:pt x="608" y="577"/>
                    </a:lnTo>
                    <a:lnTo>
                      <a:pt x="607" y="573"/>
                    </a:lnTo>
                    <a:lnTo>
                      <a:pt x="610" y="570"/>
                    </a:lnTo>
                    <a:lnTo>
                      <a:pt x="613" y="572"/>
                    </a:lnTo>
                    <a:lnTo>
                      <a:pt x="615" y="570"/>
                    </a:lnTo>
                    <a:lnTo>
                      <a:pt x="620" y="572"/>
                    </a:lnTo>
                    <a:lnTo>
                      <a:pt x="623" y="572"/>
                    </a:lnTo>
                    <a:lnTo>
                      <a:pt x="628" y="573"/>
                    </a:lnTo>
                    <a:lnTo>
                      <a:pt x="647" y="570"/>
                    </a:lnTo>
                    <a:lnTo>
                      <a:pt x="670" y="572"/>
                    </a:lnTo>
                    <a:lnTo>
                      <a:pt x="676" y="577"/>
                    </a:lnTo>
                    <a:lnTo>
                      <a:pt x="693" y="582"/>
                    </a:lnTo>
                    <a:lnTo>
                      <a:pt x="693" y="585"/>
                    </a:lnTo>
                    <a:lnTo>
                      <a:pt x="693" y="587"/>
                    </a:lnTo>
                    <a:lnTo>
                      <a:pt x="695" y="592"/>
                    </a:lnTo>
                    <a:lnTo>
                      <a:pt x="700" y="588"/>
                    </a:lnTo>
                    <a:lnTo>
                      <a:pt x="706" y="585"/>
                    </a:lnTo>
                    <a:lnTo>
                      <a:pt x="710" y="588"/>
                    </a:lnTo>
                    <a:lnTo>
                      <a:pt x="713" y="590"/>
                    </a:lnTo>
                    <a:lnTo>
                      <a:pt x="715" y="593"/>
                    </a:lnTo>
                    <a:lnTo>
                      <a:pt x="723" y="595"/>
                    </a:lnTo>
                    <a:lnTo>
                      <a:pt x="736" y="602"/>
                    </a:lnTo>
                    <a:lnTo>
                      <a:pt x="750" y="602"/>
                    </a:lnTo>
                    <a:lnTo>
                      <a:pt x="755" y="607"/>
                    </a:lnTo>
                    <a:lnTo>
                      <a:pt x="758" y="612"/>
                    </a:lnTo>
                    <a:lnTo>
                      <a:pt x="764" y="613"/>
                    </a:lnTo>
                    <a:lnTo>
                      <a:pt x="771" y="618"/>
                    </a:lnTo>
                    <a:lnTo>
                      <a:pt x="778" y="628"/>
                    </a:lnTo>
                    <a:lnTo>
                      <a:pt x="783" y="628"/>
                    </a:lnTo>
                    <a:lnTo>
                      <a:pt x="783" y="627"/>
                    </a:lnTo>
                    <a:lnTo>
                      <a:pt x="781" y="620"/>
                    </a:lnTo>
                    <a:lnTo>
                      <a:pt x="784" y="620"/>
                    </a:lnTo>
                    <a:lnTo>
                      <a:pt x="786" y="618"/>
                    </a:lnTo>
                    <a:lnTo>
                      <a:pt x="783" y="613"/>
                    </a:lnTo>
                    <a:lnTo>
                      <a:pt x="783" y="610"/>
                    </a:lnTo>
                    <a:lnTo>
                      <a:pt x="783" y="598"/>
                    </a:lnTo>
                    <a:lnTo>
                      <a:pt x="788" y="595"/>
                    </a:lnTo>
                    <a:lnTo>
                      <a:pt x="783" y="595"/>
                    </a:lnTo>
                    <a:lnTo>
                      <a:pt x="783" y="593"/>
                    </a:lnTo>
                    <a:lnTo>
                      <a:pt x="778" y="593"/>
                    </a:lnTo>
                    <a:lnTo>
                      <a:pt x="774" y="595"/>
                    </a:lnTo>
                    <a:lnTo>
                      <a:pt x="769" y="595"/>
                    </a:lnTo>
                    <a:lnTo>
                      <a:pt x="760" y="583"/>
                    </a:lnTo>
                    <a:lnTo>
                      <a:pt x="756" y="583"/>
                    </a:lnTo>
                    <a:lnTo>
                      <a:pt x="753" y="578"/>
                    </a:lnTo>
                    <a:lnTo>
                      <a:pt x="753" y="572"/>
                    </a:lnTo>
                    <a:lnTo>
                      <a:pt x="751" y="568"/>
                    </a:lnTo>
                    <a:lnTo>
                      <a:pt x="746" y="575"/>
                    </a:lnTo>
                    <a:lnTo>
                      <a:pt x="741" y="572"/>
                    </a:lnTo>
                    <a:lnTo>
                      <a:pt x="735" y="572"/>
                    </a:lnTo>
                    <a:lnTo>
                      <a:pt x="731" y="568"/>
                    </a:lnTo>
                    <a:lnTo>
                      <a:pt x="728" y="572"/>
                    </a:lnTo>
                    <a:lnTo>
                      <a:pt x="726" y="565"/>
                    </a:lnTo>
                    <a:lnTo>
                      <a:pt x="723" y="562"/>
                    </a:lnTo>
                    <a:lnTo>
                      <a:pt x="720" y="552"/>
                    </a:lnTo>
                    <a:lnTo>
                      <a:pt x="720" y="549"/>
                    </a:lnTo>
                    <a:lnTo>
                      <a:pt x="723" y="552"/>
                    </a:lnTo>
                    <a:lnTo>
                      <a:pt x="726" y="549"/>
                    </a:lnTo>
                    <a:lnTo>
                      <a:pt x="726" y="544"/>
                    </a:lnTo>
                    <a:lnTo>
                      <a:pt x="718" y="539"/>
                    </a:lnTo>
                    <a:lnTo>
                      <a:pt x="718" y="534"/>
                    </a:lnTo>
                    <a:lnTo>
                      <a:pt x="721" y="529"/>
                    </a:lnTo>
                    <a:lnTo>
                      <a:pt x="725" y="530"/>
                    </a:lnTo>
                    <a:lnTo>
                      <a:pt x="721" y="527"/>
                    </a:lnTo>
                    <a:lnTo>
                      <a:pt x="715" y="525"/>
                    </a:lnTo>
                    <a:lnTo>
                      <a:pt x="711" y="519"/>
                    </a:lnTo>
                    <a:lnTo>
                      <a:pt x="708" y="515"/>
                    </a:lnTo>
                    <a:lnTo>
                      <a:pt x="705" y="517"/>
                    </a:lnTo>
                    <a:lnTo>
                      <a:pt x="700" y="512"/>
                    </a:lnTo>
                    <a:lnTo>
                      <a:pt x="700" y="505"/>
                    </a:lnTo>
                    <a:lnTo>
                      <a:pt x="703" y="500"/>
                    </a:lnTo>
                    <a:lnTo>
                      <a:pt x="700" y="497"/>
                    </a:lnTo>
                    <a:lnTo>
                      <a:pt x="700" y="494"/>
                    </a:lnTo>
                    <a:lnTo>
                      <a:pt x="703" y="490"/>
                    </a:lnTo>
                    <a:lnTo>
                      <a:pt x="711" y="479"/>
                    </a:lnTo>
                    <a:lnTo>
                      <a:pt x="716" y="475"/>
                    </a:lnTo>
                    <a:lnTo>
                      <a:pt x="718" y="474"/>
                    </a:lnTo>
                    <a:lnTo>
                      <a:pt x="715" y="467"/>
                    </a:lnTo>
                    <a:lnTo>
                      <a:pt x="715" y="464"/>
                    </a:lnTo>
                    <a:lnTo>
                      <a:pt x="718" y="457"/>
                    </a:lnTo>
                    <a:lnTo>
                      <a:pt x="715" y="452"/>
                    </a:lnTo>
                    <a:lnTo>
                      <a:pt x="713" y="446"/>
                    </a:lnTo>
                    <a:lnTo>
                      <a:pt x="716" y="442"/>
                    </a:lnTo>
                    <a:lnTo>
                      <a:pt x="715" y="439"/>
                    </a:lnTo>
                    <a:lnTo>
                      <a:pt x="715" y="434"/>
                    </a:lnTo>
                    <a:lnTo>
                      <a:pt x="711" y="432"/>
                    </a:lnTo>
                    <a:lnTo>
                      <a:pt x="713" y="424"/>
                    </a:lnTo>
                    <a:lnTo>
                      <a:pt x="715" y="422"/>
                    </a:lnTo>
                    <a:lnTo>
                      <a:pt x="711" y="417"/>
                    </a:lnTo>
                    <a:lnTo>
                      <a:pt x="713" y="409"/>
                    </a:lnTo>
                    <a:lnTo>
                      <a:pt x="711" y="401"/>
                    </a:lnTo>
                    <a:lnTo>
                      <a:pt x="716" y="399"/>
                    </a:lnTo>
                    <a:lnTo>
                      <a:pt x="720" y="401"/>
                    </a:lnTo>
                    <a:lnTo>
                      <a:pt x="718" y="402"/>
                    </a:lnTo>
                    <a:lnTo>
                      <a:pt x="720" y="406"/>
                    </a:lnTo>
                    <a:lnTo>
                      <a:pt x="725" y="402"/>
                    </a:lnTo>
                    <a:lnTo>
                      <a:pt x="731" y="402"/>
                    </a:lnTo>
                    <a:lnTo>
                      <a:pt x="738" y="399"/>
                    </a:lnTo>
                    <a:lnTo>
                      <a:pt x="743" y="401"/>
                    </a:lnTo>
                    <a:lnTo>
                      <a:pt x="746" y="402"/>
                    </a:lnTo>
                    <a:lnTo>
                      <a:pt x="750" y="399"/>
                    </a:lnTo>
                    <a:lnTo>
                      <a:pt x="755" y="399"/>
                    </a:lnTo>
                    <a:lnTo>
                      <a:pt x="769" y="406"/>
                    </a:lnTo>
                    <a:lnTo>
                      <a:pt x="776" y="406"/>
                    </a:lnTo>
                    <a:lnTo>
                      <a:pt x="781" y="406"/>
                    </a:lnTo>
                    <a:lnTo>
                      <a:pt x="783" y="411"/>
                    </a:lnTo>
                    <a:lnTo>
                      <a:pt x="779" y="412"/>
                    </a:lnTo>
                    <a:lnTo>
                      <a:pt x="783" y="417"/>
                    </a:lnTo>
                    <a:lnTo>
                      <a:pt x="783" y="422"/>
                    </a:lnTo>
                    <a:lnTo>
                      <a:pt x="784" y="424"/>
                    </a:lnTo>
                    <a:lnTo>
                      <a:pt x="784" y="432"/>
                    </a:lnTo>
                    <a:lnTo>
                      <a:pt x="788" y="439"/>
                    </a:lnTo>
                    <a:lnTo>
                      <a:pt x="786" y="451"/>
                    </a:lnTo>
                    <a:lnTo>
                      <a:pt x="788" y="454"/>
                    </a:lnTo>
                    <a:lnTo>
                      <a:pt x="788" y="457"/>
                    </a:lnTo>
                    <a:lnTo>
                      <a:pt x="789" y="461"/>
                    </a:lnTo>
                    <a:lnTo>
                      <a:pt x="788" y="466"/>
                    </a:lnTo>
                    <a:lnTo>
                      <a:pt x="786" y="467"/>
                    </a:lnTo>
                    <a:lnTo>
                      <a:pt x="788" y="472"/>
                    </a:lnTo>
                    <a:lnTo>
                      <a:pt x="793" y="475"/>
                    </a:lnTo>
                    <a:lnTo>
                      <a:pt x="796" y="482"/>
                    </a:lnTo>
                    <a:lnTo>
                      <a:pt x="801" y="484"/>
                    </a:lnTo>
                    <a:lnTo>
                      <a:pt x="801" y="484"/>
                    </a:lnTo>
                    <a:lnTo>
                      <a:pt x="804" y="484"/>
                    </a:lnTo>
                    <a:lnTo>
                      <a:pt x="808" y="485"/>
                    </a:lnTo>
                    <a:lnTo>
                      <a:pt x="809" y="494"/>
                    </a:lnTo>
                    <a:lnTo>
                      <a:pt x="816" y="497"/>
                    </a:lnTo>
                    <a:lnTo>
                      <a:pt x="818" y="502"/>
                    </a:lnTo>
                    <a:lnTo>
                      <a:pt x="821" y="515"/>
                    </a:lnTo>
                    <a:lnTo>
                      <a:pt x="824" y="519"/>
                    </a:lnTo>
                    <a:lnTo>
                      <a:pt x="824" y="522"/>
                    </a:lnTo>
                    <a:lnTo>
                      <a:pt x="823" y="525"/>
                    </a:lnTo>
                    <a:lnTo>
                      <a:pt x="828" y="530"/>
                    </a:lnTo>
                    <a:lnTo>
                      <a:pt x="828" y="537"/>
                    </a:lnTo>
                    <a:lnTo>
                      <a:pt x="836" y="547"/>
                    </a:lnTo>
                    <a:lnTo>
                      <a:pt x="834" y="552"/>
                    </a:lnTo>
                    <a:lnTo>
                      <a:pt x="836" y="557"/>
                    </a:lnTo>
                    <a:lnTo>
                      <a:pt x="841" y="560"/>
                    </a:lnTo>
                    <a:lnTo>
                      <a:pt x="839" y="564"/>
                    </a:lnTo>
                    <a:lnTo>
                      <a:pt x="841" y="565"/>
                    </a:lnTo>
                    <a:lnTo>
                      <a:pt x="844" y="575"/>
                    </a:lnTo>
                    <a:lnTo>
                      <a:pt x="854" y="587"/>
                    </a:lnTo>
                    <a:lnTo>
                      <a:pt x="861" y="588"/>
                    </a:lnTo>
                    <a:lnTo>
                      <a:pt x="864" y="592"/>
                    </a:lnTo>
                    <a:lnTo>
                      <a:pt x="867" y="593"/>
                    </a:lnTo>
                    <a:lnTo>
                      <a:pt x="876" y="600"/>
                    </a:lnTo>
                    <a:lnTo>
                      <a:pt x="876" y="603"/>
                    </a:lnTo>
                    <a:lnTo>
                      <a:pt x="872" y="602"/>
                    </a:lnTo>
                    <a:lnTo>
                      <a:pt x="872" y="607"/>
                    </a:lnTo>
                    <a:lnTo>
                      <a:pt x="871" y="613"/>
                    </a:lnTo>
                    <a:lnTo>
                      <a:pt x="874" y="622"/>
                    </a:lnTo>
                    <a:lnTo>
                      <a:pt x="881" y="627"/>
                    </a:lnTo>
                    <a:lnTo>
                      <a:pt x="881" y="633"/>
                    </a:lnTo>
                    <a:lnTo>
                      <a:pt x="876" y="637"/>
                    </a:lnTo>
                    <a:lnTo>
                      <a:pt x="877" y="638"/>
                    </a:lnTo>
                    <a:lnTo>
                      <a:pt x="874" y="642"/>
                    </a:lnTo>
                    <a:lnTo>
                      <a:pt x="876" y="645"/>
                    </a:lnTo>
                    <a:lnTo>
                      <a:pt x="876" y="655"/>
                    </a:lnTo>
                    <a:lnTo>
                      <a:pt x="869" y="657"/>
                    </a:lnTo>
                    <a:lnTo>
                      <a:pt x="871" y="658"/>
                    </a:lnTo>
                    <a:lnTo>
                      <a:pt x="874" y="658"/>
                    </a:lnTo>
                    <a:lnTo>
                      <a:pt x="876" y="660"/>
                    </a:lnTo>
                    <a:lnTo>
                      <a:pt x="869" y="663"/>
                    </a:lnTo>
                    <a:lnTo>
                      <a:pt x="869" y="673"/>
                    </a:lnTo>
                    <a:lnTo>
                      <a:pt x="867" y="675"/>
                    </a:lnTo>
                    <a:lnTo>
                      <a:pt x="861" y="673"/>
                    </a:lnTo>
                    <a:lnTo>
                      <a:pt x="861" y="675"/>
                    </a:lnTo>
                    <a:lnTo>
                      <a:pt x="866" y="680"/>
                    </a:lnTo>
                    <a:lnTo>
                      <a:pt x="867" y="683"/>
                    </a:lnTo>
                    <a:lnTo>
                      <a:pt x="861" y="686"/>
                    </a:lnTo>
                    <a:lnTo>
                      <a:pt x="858" y="690"/>
                    </a:lnTo>
                    <a:lnTo>
                      <a:pt x="849" y="691"/>
                    </a:lnTo>
                    <a:lnTo>
                      <a:pt x="844" y="686"/>
                    </a:lnTo>
                    <a:lnTo>
                      <a:pt x="851" y="683"/>
                    </a:lnTo>
                    <a:lnTo>
                      <a:pt x="853" y="680"/>
                    </a:lnTo>
                    <a:lnTo>
                      <a:pt x="846" y="680"/>
                    </a:lnTo>
                    <a:lnTo>
                      <a:pt x="846" y="683"/>
                    </a:lnTo>
                    <a:lnTo>
                      <a:pt x="843" y="683"/>
                    </a:lnTo>
                    <a:lnTo>
                      <a:pt x="831" y="678"/>
                    </a:lnTo>
                    <a:lnTo>
                      <a:pt x="829" y="680"/>
                    </a:lnTo>
                    <a:lnTo>
                      <a:pt x="814" y="681"/>
                    </a:lnTo>
                    <a:lnTo>
                      <a:pt x="808" y="683"/>
                    </a:lnTo>
                    <a:lnTo>
                      <a:pt x="804" y="688"/>
                    </a:lnTo>
                    <a:lnTo>
                      <a:pt x="808" y="690"/>
                    </a:lnTo>
                    <a:lnTo>
                      <a:pt x="809" y="691"/>
                    </a:lnTo>
                    <a:lnTo>
                      <a:pt x="813" y="686"/>
                    </a:lnTo>
                    <a:lnTo>
                      <a:pt x="819" y="685"/>
                    </a:lnTo>
                    <a:lnTo>
                      <a:pt x="821" y="690"/>
                    </a:lnTo>
                    <a:lnTo>
                      <a:pt x="828" y="695"/>
                    </a:lnTo>
                    <a:lnTo>
                      <a:pt x="846" y="698"/>
                    </a:lnTo>
                    <a:lnTo>
                      <a:pt x="854" y="700"/>
                    </a:lnTo>
                    <a:lnTo>
                      <a:pt x="862" y="698"/>
                    </a:lnTo>
                    <a:lnTo>
                      <a:pt x="871" y="698"/>
                    </a:lnTo>
                    <a:lnTo>
                      <a:pt x="872" y="700"/>
                    </a:lnTo>
                    <a:lnTo>
                      <a:pt x="882" y="703"/>
                    </a:lnTo>
                    <a:lnTo>
                      <a:pt x="889" y="698"/>
                    </a:lnTo>
                    <a:lnTo>
                      <a:pt x="889" y="695"/>
                    </a:lnTo>
                    <a:lnTo>
                      <a:pt x="886" y="691"/>
                    </a:lnTo>
                    <a:lnTo>
                      <a:pt x="886" y="685"/>
                    </a:lnTo>
                    <a:lnTo>
                      <a:pt x="889" y="681"/>
                    </a:lnTo>
                    <a:lnTo>
                      <a:pt x="894" y="680"/>
                    </a:lnTo>
                    <a:lnTo>
                      <a:pt x="894" y="676"/>
                    </a:lnTo>
                    <a:lnTo>
                      <a:pt x="901" y="670"/>
                    </a:lnTo>
                    <a:lnTo>
                      <a:pt x="902" y="666"/>
                    </a:lnTo>
                    <a:lnTo>
                      <a:pt x="906" y="657"/>
                    </a:lnTo>
                    <a:lnTo>
                      <a:pt x="902" y="650"/>
                    </a:lnTo>
                    <a:lnTo>
                      <a:pt x="902" y="643"/>
                    </a:lnTo>
                    <a:lnTo>
                      <a:pt x="911" y="630"/>
                    </a:lnTo>
                    <a:lnTo>
                      <a:pt x="911" y="627"/>
                    </a:lnTo>
                    <a:lnTo>
                      <a:pt x="904" y="610"/>
                    </a:lnTo>
                    <a:lnTo>
                      <a:pt x="894" y="605"/>
                    </a:lnTo>
                    <a:lnTo>
                      <a:pt x="891" y="602"/>
                    </a:lnTo>
                    <a:lnTo>
                      <a:pt x="891" y="588"/>
                    </a:lnTo>
                    <a:lnTo>
                      <a:pt x="897" y="583"/>
                    </a:lnTo>
                    <a:lnTo>
                      <a:pt x="901" y="578"/>
                    </a:lnTo>
                    <a:lnTo>
                      <a:pt x="907" y="577"/>
                    </a:lnTo>
                    <a:lnTo>
                      <a:pt x="917" y="568"/>
                    </a:lnTo>
                    <a:lnTo>
                      <a:pt x="924" y="568"/>
                    </a:lnTo>
                    <a:lnTo>
                      <a:pt x="932" y="575"/>
                    </a:lnTo>
                    <a:lnTo>
                      <a:pt x="932" y="582"/>
                    </a:lnTo>
                    <a:lnTo>
                      <a:pt x="941" y="585"/>
                    </a:lnTo>
                    <a:lnTo>
                      <a:pt x="942" y="588"/>
                    </a:lnTo>
                    <a:lnTo>
                      <a:pt x="944" y="588"/>
                    </a:lnTo>
                    <a:lnTo>
                      <a:pt x="951" y="595"/>
                    </a:lnTo>
                    <a:lnTo>
                      <a:pt x="949" y="600"/>
                    </a:lnTo>
                    <a:lnTo>
                      <a:pt x="954" y="603"/>
                    </a:lnTo>
                    <a:lnTo>
                      <a:pt x="956" y="608"/>
                    </a:lnTo>
                    <a:lnTo>
                      <a:pt x="959" y="613"/>
                    </a:lnTo>
                    <a:lnTo>
                      <a:pt x="961" y="618"/>
                    </a:lnTo>
                    <a:lnTo>
                      <a:pt x="957" y="620"/>
                    </a:lnTo>
                    <a:lnTo>
                      <a:pt x="962" y="625"/>
                    </a:lnTo>
                    <a:lnTo>
                      <a:pt x="967" y="625"/>
                    </a:lnTo>
                    <a:lnTo>
                      <a:pt x="974" y="630"/>
                    </a:lnTo>
                    <a:lnTo>
                      <a:pt x="980" y="628"/>
                    </a:lnTo>
                    <a:lnTo>
                      <a:pt x="984" y="627"/>
                    </a:lnTo>
                    <a:lnTo>
                      <a:pt x="992" y="627"/>
                    </a:lnTo>
                    <a:lnTo>
                      <a:pt x="994" y="623"/>
                    </a:lnTo>
                    <a:lnTo>
                      <a:pt x="995" y="623"/>
                    </a:lnTo>
                    <a:lnTo>
                      <a:pt x="992" y="622"/>
                    </a:lnTo>
                    <a:lnTo>
                      <a:pt x="989" y="623"/>
                    </a:lnTo>
                    <a:lnTo>
                      <a:pt x="987" y="620"/>
                    </a:lnTo>
                    <a:lnTo>
                      <a:pt x="982" y="625"/>
                    </a:lnTo>
                    <a:lnTo>
                      <a:pt x="975" y="625"/>
                    </a:lnTo>
                    <a:lnTo>
                      <a:pt x="972" y="622"/>
                    </a:lnTo>
                    <a:lnTo>
                      <a:pt x="967" y="622"/>
                    </a:lnTo>
                    <a:lnTo>
                      <a:pt x="964" y="617"/>
                    </a:lnTo>
                    <a:lnTo>
                      <a:pt x="965" y="613"/>
                    </a:lnTo>
                    <a:lnTo>
                      <a:pt x="962" y="612"/>
                    </a:lnTo>
                    <a:lnTo>
                      <a:pt x="959" y="605"/>
                    </a:lnTo>
                    <a:lnTo>
                      <a:pt x="961" y="598"/>
                    </a:lnTo>
                    <a:lnTo>
                      <a:pt x="965" y="597"/>
                    </a:lnTo>
                    <a:lnTo>
                      <a:pt x="969" y="593"/>
                    </a:lnTo>
                    <a:lnTo>
                      <a:pt x="965" y="592"/>
                    </a:lnTo>
                    <a:lnTo>
                      <a:pt x="964" y="588"/>
                    </a:lnTo>
                    <a:lnTo>
                      <a:pt x="962" y="587"/>
                    </a:lnTo>
                    <a:lnTo>
                      <a:pt x="961" y="583"/>
                    </a:lnTo>
                    <a:lnTo>
                      <a:pt x="954" y="580"/>
                    </a:lnTo>
                    <a:lnTo>
                      <a:pt x="954" y="577"/>
                    </a:lnTo>
                    <a:lnTo>
                      <a:pt x="947" y="570"/>
                    </a:lnTo>
                    <a:lnTo>
                      <a:pt x="939" y="570"/>
                    </a:lnTo>
                    <a:lnTo>
                      <a:pt x="927" y="565"/>
                    </a:lnTo>
                    <a:lnTo>
                      <a:pt x="926" y="560"/>
                    </a:lnTo>
                    <a:lnTo>
                      <a:pt x="921" y="562"/>
                    </a:lnTo>
                    <a:lnTo>
                      <a:pt x="911" y="559"/>
                    </a:lnTo>
                    <a:lnTo>
                      <a:pt x="907" y="559"/>
                    </a:lnTo>
                    <a:lnTo>
                      <a:pt x="901" y="557"/>
                    </a:lnTo>
                    <a:lnTo>
                      <a:pt x="896" y="564"/>
                    </a:lnTo>
                    <a:lnTo>
                      <a:pt x="894" y="568"/>
                    </a:lnTo>
                    <a:lnTo>
                      <a:pt x="891" y="572"/>
                    </a:lnTo>
                    <a:lnTo>
                      <a:pt x="881" y="568"/>
                    </a:lnTo>
                    <a:lnTo>
                      <a:pt x="874" y="573"/>
                    </a:lnTo>
                    <a:lnTo>
                      <a:pt x="867" y="572"/>
                    </a:lnTo>
                    <a:lnTo>
                      <a:pt x="864" y="568"/>
                    </a:lnTo>
                    <a:lnTo>
                      <a:pt x="866" y="562"/>
                    </a:lnTo>
                    <a:lnTo>
                      <a:pt x="864" y="559"/>
                    </a:lnTo>
                    <a:lnTo>
                      <a:pt x="856" y="549"/>
                    </a:lnTo>
                    <a:lnTo>
                      <a:pt x="853" y="544"/>
                    </a:lnTo>
                    <a:lnTo>
                      <a:pt x="854" y="534"/>
                    </a:lnTo>
                    <a:lnTo>
                      <a:pt x="848" y="527"/>
                    </a:lnTo>
                    <a:lnTo>
                      <a:pt x="849" y="520"/>
                    </a:lnTo>
                    <a:lnTo>
                      <a:pt x="851" y="507"/>
                    </a:lnTo>
                    <a:lnTo>
                      <a:pt x="846" y="499"/>
                    </a:lnTo>
                    <a:lnTo>
                      <a:pt x="841" y="492"/>
                    </a:lnTo>
                    <a:lnTo>
                      <a:pt x="834" y="492"/>
                    </a:lnTo>
                    <a:lnTo>
                      <a:pt x="833" y="487"/>
                    </a:lnTo>
                    <a:lnTo>
                      <a:pt x="821" y="479"/>
                    </a:lnTo>
                    <a:lnTo>
                      <a:pt x="813" y="474"/>
                    </a:lnTo>
                    <a:lnTo>
                      <a:pt x="813" y="467"/>
                    </a:lnTo>
                    <a:lnTo>
                      <a:pt x="816" y="459"/>
                    </a:lnTo>
                    <a:lnTo>
                      <a:pt x="814" y="452"/>
                    </a:lnTo>
                    <a:lnTo>
                      <a:pt x="811" y="449"/>
                    </a:lnTo>
                    <a:lnTo>
                      <a:pt x="811" y="447"/>
                    </a:lnTo>
                    <a:lnTo>
                      <a:pt x="816" y="442"/>
                    </a:lnTo>
                    <a:lnTo>
                      <a:pt x="823" y="434"/>
                    </a:lnTo>
                    <a:lnTo>
                      <a:pt x="826" y="424"/>
                    </a:lnTo>
                    <a:lnTo>
                      <a:pt x="823" y="412"/>
                    </a:lnTo>
                    <a:lnTo>
                      <a:pt x="813" y="394"/>
                    </a:lnTo>
                    <a:lnTo>
                      <a:pt x="816" y="394"/>
                    </a:lnTo>
                    <a:lnTo>
                      <a:pt x="823" y="397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9" y="407"/>
                    </a:lnTo>
                    <a:lnTo>
                      <a:pt x="829" y="414"/>
                    </a:lnTo>
                    <a:lnTo>
                      <a:pt x="834" y="419"/>
                    </a:lnTo>
                    <a:lnTo>
                      <a:pt x="834" y="427"/>
                    </a:lnTo>
                    <a:lnTo>
                      <a:pt x="838" y="434"/>
                    </a:lnTo>
                    <a:lnTo>
                      <a:pt x="836" y="439"/>
                    </a:lnTo>
                    <a:lnTo>
                      <a:pt x="839" y="444"/>
                    </a:lnTo>
                    <a:lnTo>
                      <a:pt x="846" y="451"/>
                    </a:lnTo>
                    <a:lnTo>
                      <a:pt x="846" y="454"/>
                    </a:lnTo>
                    <a:lnTo>
                      <a:pt x="851" y="457"/>
                    </a:lnTo>
                    <a:lnTo>
                      <a:pt x="851" y="461"/>
                    </a:lnTo>
                    <a:lnTo>
                      <a:pt x="846" y="462"/>
                    </a:lnTo>
                    <a:lnTo>
                      <a:pt x="849" y="466"/>
                    </a:lnTo>
                    <a:lnTo>
                      <a:pt x="854" y="466"/>
                    </a:lnTo>
                    <a:lnTo>
                      <a:pt x="861" y="469"/>
                    </a:lnTo>
                    <a:lnTo>
                      <a:pt x="869" y="469"/>
                    </a:lnTo>
                    <a:lnTo>
                      <a:pt x="874" y="467"/>
                    </a:lnTo>
                    <a:lnTo>
                      <a:pt x="879" y="470"/>
                    </a:lnTo>
                    <a:lnTo>
                      <a:pt x="881" y="474"/>
                    </a:lnTo>
                    <a:lnTo>
                      <a:pt x="886" y="469"/>
                    </a:lnTo>
                    <a:lnTo>
                      <a:pt x="891" y="467"/>
                    </a:lnTo>
                    <a:lnTo>
                      <a:pt x="896" y="466"/>
                    </a:lnTo>
                    <a:lnTo>
                      <a:pt x="899" y="467"/>
                    </a:lnTo>
                    <a:lnTo>
                      <a:pt x="906" y="474"/>
                    </a:lnTo>
                    <a:lnTo>
                      <a:pt x="911" y="474"/>
                    </a:lnTo>
                    <a:lnTo>
                      <a:pt x="917" y="477"/>
                    </a:lnTo>
                    <a:lnTo>
                      <a:pt x="927" y="475"/>
                    </a:lnTo>
                    <a:lnTo>
                      <a:pt x="931" y="472"/>
                    </a:lnTo>
                    <a:lnTo>
                      <a:pt x="926" y="474"/>
                    </a:lnTo>
                    <a:lnTo>
                      <a:pt x="916" y="474"/>
                    </a:lnTo>
                    <a:lnTo>
                      <a:pt x="916" y="469"/>
                    </a:lnTo>
                    <a:lnTo>
                      <a:pt x="912" y="469"/>
                    </a:lnTo>
                    <a:lnTo>
                      <a:pt x="909" y="462"/>
                    </a:lnTo>
                    <a:lnTo>
                      <a:pt x="901" y="462"/>
                    </a:lnTo>
                    <a:lnTo>
                      <a:pt x="901" y="459"/>
                    </a:lnTo>
                    <a:lnTo>
                      <a:pt x="897" y="457"/>
                    </a:lnTo>
                    <a:lnTo>
                      <a:pt x="894" y="461"/>
                    </a:lnTo>
                    <a:lnTo>
                      <a:pt x="882" y="461"/>
                    </a:lnTo>
                    <a:lnTo>
                      <a:pt x="879" y="457"/>
                    </a:lnTo>
                    <a:lnTo>
                      <a:pt x="871" y="456"/>
                    </a:lnTo>
                    <a:lnTo>
                      <a:pt x="862" y="449"/>
                    </a:lnTo>
                    <a:lnTo>
                      <a:pt x="861" y="444"/>
                    </a:lnTo>
                    <a:lnTo>
                      <a:pt x="858" y="444"/>
                    </a:lnTo>
                    <a:lnTo>
                      <a:pt x="849" y="434"/>
                    </a:lnTo>
                    <a:lnTo>
                      <a:pt x="853" y="432"/>
                    </a:lnTo>
                    <a:lnTo>
                      <a:pt x="856" y="431"/>
                    </a:lnTo>
                    <a:lnTo>
                      <a:pt x="862" y="426"/>
                    </a:lnTo>
                    <a:lnTo>
                      <a:pt x="866" y="426"/>
                    </a:lnTo>
                    <a:lnTo>
                      <a:pt x="872" y="432"/>
                    </a:lnTo>
                    <a:lnTo>
                      <a:pt x="884" y="437"/>
                    </a:lnTo>
                    <a:lnTo>
                      <a:pt x="891" y="436"/>
                    </a:lnTo>
                    <a:lnTo>
                      <a:pt x="896" y="427"/>
                    </a:lnTo>
                    <a:lnTo>
                      <a:pt x="891" y="419"/>
                    </a:lnTo>
                    <a:lnTo>
                      <a:pt x="882" y="417"/>
                    </a:lnTo>
                    <a:lnTo>
                      <a:pt x="874" y="421"/>
                    </a:lnTo>
                    <a:lnTo>
                      <a:pt x="871" y="419"/>
                    </a:lnTo>
                    <a:lnTo>
                      <a:pt x="872" y="416"/>
                    </a:lnTo>
                    <a:lnTo>
                      <a:pt x="874" y="417"/>
                    </a:lnTo>
                    <a:lnTo>
                      <a:pt x="877" y="416"/>
                    </a:lnTo>
                    <a:lnTo>
                      <a:pt x="877" y="411"/>
                    </a:lnTo>
                    <a:lnTo>
                      <a:pt x="884" y="402"/>
                    </a:lnTo>
                    <a:lnTo>
                      <a:pt x="889" y="399"/>
                    </a:lnTo>
                    <a:lnTo>
                      <a:pt x="894" y="401"/>
                    </a:lnTo>
                    <a:lnTo>
                      <a:pt x="911" y="401"/>
                    </a:lnTo>
                    <a:lnTo>
                      <a:pt x="917" y="406"/>
                    </a:lnTo>
                    <a:lnTo>
                      <a:pt x="922" y="411"/>
                    </a:lnTo>
                    <a:lnTo>
                      <a:pt x="937" y="412"/>
                    </a:lnTo>
                    <a:lnTo>
                      <a:pt x="937" y="416"/>
                    </a:lnTo>
                    <a:lnTo>
                      <a:pt x="944" y="419"/>
                    </a:lnTo>
                    <a:lnTo>
                      <a:pt x="954" y="427"/>
                    </a:lnTo>
                    <a:lnTo>
                      <a:pt x="961" y="429"/>
                    </a:lnTo>
                    <a:lnTo>
                      <a:pt x="974" y="427"/>
                    </a:lnTo>
                    <a:lnTo>
                      <a:pt x="984" y="421"/>
                    </a:lnTo>
                    <a:lnTo>
                      <a:pt x="987" y="424"/>
                    </a:lnTo>
                    <a:lnTo>
                      <a:pt x="989" y="424"/>
                    </a:lnTo>
                    <a:lnTo>
                      <a:pt x="995" y="424"/>
                    </a:lnTo>
                    <a:lnTo>
                      <a:pt x="994" y="432"/>
                    </a:lnTo>
                    <a:lnTo>
                      <a:pt x="995" y="436"/>
                    </a:lnTo>
                    <a:lnTo>
                      <a:pt x="994" y="439"/>
                    </a:lnTo>
                    <a:lnTo>
                      <a:pt x="987" y="444"/>
                    </a:lnTo>
                    <a:lnTo>
                      <a:pt x="987" y="449"/>
                    </a:lnTo>
                    <a:lnTo>
                      <a:pt x="990" y="454"/>
                    </a:lnTo>
                    <a:lnTo>
                      <a:pt x="990" y="462"/>
                    </a:lnTo>
                    <a:lnTo>
                      <a:pt x="999" y="467"/>
                    </a:lnTo>
                    <a:lnTo>
                      <a:pt x="999" y="472"/>
                    </a:lnTo>
                    <a:lnTo>
                      <a:pt x="995" y="475"/>
                    </a:lnTo>
                    <a:lnTo>
                      <a:pt x="997" y="490"/>
                    </a:lnTo>
                    <a:lnTo>
                      <a:pt x="1000" y="489"/>
                    </a:lnTo>
                    <a:lnTo>
                      <a:pt x="1002" y="485"/>
                    </a:lnTo>
                    <a:lnTo>
                      <a:pt x="1000" y="482"/>
                    </a:lnTo>
                    <a:lnTo>
                      <a:pt x="1004" y="479"/>
                    </a:lnTo>
                    <a:lnTo>
                      <a:pt x="1004" y="474"/>
                    </a:lnTo>
                    <a:lnTo>
                      <a:pt x="1007" y="472"/>
                    </a:lnTo>
                    <a:lnTo>
                      <a:pt x="1010" y="466"/>
                    </a:lnTo>
                    <a:lnTo>
                      <a:pt x="1014" y="467"/>
                    </a:lnTo>
                    <a:lnTo>
                      <a:pt x="1017" y="475"/>
                    </a:lnTo>
                    <a:lnTo>
                      <a:pt x="1017" y="485"/>
                    </a:lnTo>
                    <a:lnTo>
                      <a:pt x="1019" y="489"/>
                    </a:lnTo>
                    <a:lnTo>
                      <a:pt x="1015" y="490"/>
                    </a:lnTo>
                    <a:lnTo>
                      <a:pt x="1015" y="495"/>
                    </a:lnTo>
                    <a:lnTo>
                      <a:pt x="1012" y="497"/>
                    </a:lnTo>
                    <a:lnTo>
                      <a:pt x="1022" y="502"/>
                    </a:lnTo>
                    <a:lnTo>
                      <a:pt x="1029" y="502"/>
                    </a:lnTo>
                    <a:lnTo>
                      <a:pt x="1037" y="504"/>
                    </a:lnTo>
                    <a:lnTo>
                      <a:pt x="1042" y="509"/>
                    </a:lnTo>
                    <a:lnTo>
                      <a:pt x="1040" y="514"/>
                    </a:lnTo>
                    <a:lnTo>
                      <a:pt x="1047" y="517"/>
                    </a:lnTo>
                    <a:lnTo>
                      <a:pt x="1057" y="519"/>
                    </a:lnTo>
                    <a:lnTo>
                      <a:pt x="1065" y="527"/>
                    </a:lnTo>
                    <a:lnTo>
                      <a:pt x="1065" y="524"/>
                    </a:lnTo>
                    <a:lnTo>
                      <a:pt x="1065" y="517"/>
                    </a:lnTo>
                    <a:lnTo>
                      <a:pt x="1072" y="510"/>
                    </a:lnTo>
                    <a:lnTo>
                      <a:pt x="1078" y="510"/>
                    </a:lnTo>
                    <a:lnTo>
                      <a:pt x="1088" y="519"/>
                    </a:lnTo>
                    <a:lnTo>
                      <a:pt x="1095" y="519"/>
                    </a:lnTo>
                    <a:lnTo>
                      <a:pt x="1100" y="522"/>
                    </a:lnTo>
                    <a:lnTo>
                      <a:pt x="1102" y="530"/>
                    </a:lnTo>
                    <a:lnTo>
                      <a:pt x="1100" y="522"/>
                    </a:lnTo>
                    <a:lnTo>
                      <a:pt x="1098" y="515"/>
                    </a:lnTo>
                    <a:lnTo>
                      <a:pt x="1093" y="515"/>
                    </a:lnTo>
                    <a:lnTo>
                      <a:pt x="1087" y="514"/>
                    </a:lnTo>
                    <a:lnTo>
                      <a:pt x="1078" y="509"/>
                    </a:lnTo>
                    <a:lnTo>
                      <a:pt x="1070" y="510"/>
                    </a:lnTo>
                    <a:lnTo>
                      <a:pt x="1062" y="515"/>
                    </a:lnTo>
                    <a:lnTo>
                      <a:pt x="1059" y="514"/>
                    </a:lnTo>
                    <a:lnTo>
                      <a:pt x="1057" y="515"/>
                    </a:lnTo>
                    <a:lnTo>
                      <a:pt x="1049" y="512"/>
                    </a:lnTo>
                    <a:lnTo>
                      <a:pt x="1040" y="504"/>
                    </a:lnTo>
                    <a:lnTo>
                      <a:pt x="1035" y="500"/>
                    </a:lnTo>
                    <a:lnTo>
                      <a:pt x="1027" y="499"/>
                    </a:lnTo>
                    <a:lnTo>
                      <a:pt x="1022" y="492"/>
                    </a:lnTo>
                    <a:lnTo>
                      <a:pt x="1027" y="494"/>
                    </a:lnTo>
                    <a:lnTo>
                      <a:pt x="1029" y="494"/>
                    </a:lnTo>
                    <a:lnTo>
                      <a:pt x="1035" y="484"/>
                    </a:lnTo>
                    <a:lnTo>
                      <a:pt x="1034" y="479"/>
                    </a:lnTo>
                    <a:lnTo>
                      <a:pt x="1027" y="474"/>
                    </a:lnTo>
                    <a:lnTo>
                      <a:pt x="1024" y="464"/>
                    </a:lnTo>
                    <a:lnTo>
                      <a:pt x="1015" y="454"/>
                    </a:lnTo>
                    <a:lnTo>
                      <a:pt x="1010" y="451"/>
                    </a:lnTo>
                    <a:lnTo>
                      <a:pt x="1005" y="446"/>
                    </a:lnTo>
                    <a:lnTo>
                      <a:pt x="1007" y="441"/>
                    </a:lnTo>
                    <a:lnTo>
                      <a:pt x="1005" y="436"/>
                    </a:lnTo>
                    <a:lnTo>
                      <a:pt x="1004" y="424"/>
                    </a:lnTo>
                    <a:lnTo>
                      <a:pt x="999" y="419"/>
                    </a:lnTo>
                    <a:lnTo>
                      <a:pt x="995" y="419"/>
                    </a:lnTo>
                    <a:lnTo>
                      <a:pt x="987" y="414"/>
                    </a:lnTo>
                    <a:lnTo>
                      <a:pt x="974" y="414"/>
                    </a:lnTo>
                    <a:lnTo>
                      <a:pt x="970" y="407"/>
                    </a:lnTo>
                    <a:lnTo>
                      <a:pt x="964" y="404"/>
                    </a:lnTo>
                    <a:lnTo>
                      <a:pt x="964" y="399"/>
                    </a:lnTo>
                    <a:lnTo>
                      <a:pt x="961" y="394"/>
                    </a:lnTo>
                    <a:lnTo>
                      <a:pt x="961" y="392"/>
                    </a:lnTo>
                    <a:lnTo>
                      <a:pt x="956" y="394"/>
                    </a:lnTo>
                    <a:lnTo>
                      <a:pt x="939" y="394"/>
                    </a:lnTo>
                    <a:lnTo>
                      <a:pt x="934" y="394"/>
                    </a:lnTo>
                    <a:lnTo>
                      <a:pt x="926" y="391"/>
                    </a:lnTo>
                    <a:lnTo>
                      <a:pt x="926" y="384"/>
                    </a:lnTo>
                    <a:lnTo>
                      <a:pt x="922" y="384"/>
                    </a:lnTo>
                    <a:lnTo>
                      <a:pt x="921" y="381"/>
                    </a:lnTo>
                    <a:lnTo>
                      <a:pt x="922" y="372"/>
                    </a:lnTo>
                    <a:lnTo>
                      <a:pt x="916" y="363"/>
                    </a:lnTo>
                    <a:lnTo>
                      <a:pt x="907" y="359"/>
                    </a:lnTo>
                    <a:lnTo>
                      <a:pt x="909" y="356"/>
                    </a:lnTo>
                    <a:lnTo>
                      <a:pt x="907" y="353"/>
                    </a:lnTo>
                    <a:lnTo>
                      <a:pt x="904" y="353"/>
                    </a:lnTo>
                    <a:lnTo>
                      <a:pt x="901" y="349"/>
                    </a:lnTo>
                    <a:lnTo>
                      <a:pt x="902" y="346"/>
                    </a:lnTo>
                    <a:lnTo>
                      <a:pt x="902" y="341"/>
                    </a:lnTo>
                    <a:lnTo>
                      <a:pt x="897" y="336"/>
                    </a:lnTo>
                    <a:lnTo>
                      <a:pt x="901" y="334"/>
                    </a:lnTo>
                    <a:lnTo>
                      <a:pt x="907" y="334"/>
                    </a:lnTo>
                    <a:lnTo>
                      <a:pt x="914" y="328"/>
                    </a:lnTo>
                    <a:lnTo>
                      <a:pt x="919" y="328"/>
                    </a:lnTo>
                    <a:lnTo>
                      <a:pt x="932" y="326"/>
                    </a:lnTo>
                    <a:lnTo>
                      <a:pt x="951" y="319"/>
                    </a:lnTo>
                    <a:lnTo>
                      <a:pt x="957" y="314"/>
                    </a:lnTo>
                    <a:lnTo>
                      <a:pt x="964" y="313"/>
                    </a:lnTo>
                    <a:lnTo>
                      <a:pt x="969" y="314"/>
                    </a:lnTo>
                    <a:lnTo>
                      <a:pt x="974" y="313"/>
                    </a:lnTo>
                    <a:lnTo>
                      <a:pt x="977" y="308"/>
                    </a:lnTo>
                    <a:lnTo>
                      <a:pt x="985" y="304"/>
                    </a:lnTo>
                    <a:lnTo>
                      <a:pt x="1002" y="298"/>
                    </a:lnTo>
                    <a:lnTo>
                      <a:pt x="1004" y="299"/>
                    </a:lnTo>
                    <a:lnTo>
                      <a:pt x="1002" y="304"/>
                    </a:lnTo>
                    <a:lnTo>
                      <a:pt x="1002" y="308"/>
                    </a:lnTo>
                    <a:lnTo>
                      <a:pt x="999" y="309"/>
                    </a:lnTo>
                    <a:lnTo>
                      <a:pt x="994" y="319"/>
                    </a:lnTo>
                    <a:lnTo>
                      <a:pt x="994" y="323"/>
                    </a:lnTo>
                    <a:lnTo>
                      <a:pt x="1004" y="331"/>
                    </a:lnTo>
                    <a:lnTo>
                      <a:pt x="1012" y="331"/>
                    </a:lnTo>
                    <a:lnTo>
                      <a:pt x="1007" y="328"/>
                    </a:lnTo>
                    <a:lnTo>
                      <a:pt x="999" y="321"/>
                    </a:lnTo>
                    <a:lnTo>
                      <a:pt x="999" y="318"/>
                    </a:lnTo>
                    <a:lnTo>
                      <a:pt x="1002" y="313"/>
                    </a:lnTo>
                    <a:lnTo>
                      <a:pt x="1012" y="308"/>
                    </a:lnTo>
                    <a:lnTo>
                      <a:pt x="1015" y="299"/>
                    </a:lnTo>
                    <a:lnTo>
                      <a:pt x="1012" y="293"/>
                    </a:lnTo>
                    <a:lnTo>
                      <a:pt x="1007" y="293"/>
                    </a:lnTo>
                    <a:lnTo>
                      <a:pt x="1000" y="289"/>
                    </a:lnTo>
                    <a:lnTo>
                      <a:pt x="1000" y="286"/>
                    </a:lnTo>
                    <a:lnTo>
                      <a:pt x="994" y="284"/>
                    </a:lnTo>
                    <a:lnTo>
                      <a:pt x="990" y="288"/>
                    </a:lnTo>
                    <a:lnTo>
                      <a:pt x="989" y="286"/>
                    </a:lnTo>
                    <a:lnTo>
                      <a:pt x="985" y="279"/>
                    </a:lnTo>
                    <a:lnTo>
                      <a:pt x="977" y="279"/>
                    </a:lnTo>
                    <a:lnTo>
                      <a:pt x="974" y="281"/>
                    </a:lnTo>
                    <a:lnTo>
                      <a:pt x="969" y="274"/>
                    </a:lnTo>
                    <a:lnTo>
                      <a:pt x="970" y="274"/>
                    </a:lnTo>
                    <a:lnTo>
                      <a:pt x="972" y="270"/>
                    </a:lnTo>
                    <a:lnTo>
                      <a:pt x="974" y="270"/>
                    </a:lnTo>
                    <a:lnTo>
                      <a:pt x="979" y="273"/>
                    </a:lnTo>
                    <a:lnTo>
                      <a:pt x="985" y="273"/>
                    </a:lnTo>
                    <a:lnTo>
                      <a:pt x="989" y="270"/>
                    </a:lnTo>
                    <a:lnTo>
                      <a:pt x="987" y="268"/>
                    </a:lnTo>
                    <a:lnTo>
                      <a:pt x="985" y="270"/>
                    </a:lnTo>
                    <a:lnTo>
                      <a:pt x="980" y="270"/>
                    </a:lnTo>
                    <a:lnTo>
                      <a:pt x="975" y="266"/>
                    </a:lnTo>
                    <a:lnTo>
                      <a:pt x="975" y="263"/>
                    </a:lnTo>
                    <a:lnTo>
                      <a:pt x="969" y="261"/>
                    </a:lnTo>
                    <a:lnTo>
                      <a:pt x="962" y="260"/>
                    </a:lnTo>
                    <a:lnTo>
                      <a:pt x="957" y="261"/>
                    </a:lnTo>
                    <a:lnTo>
                      <a:pt x="954" y="258"/>
                    </a:lnTo>
                    <a:lnTo>
                      <a:pt x="957" y="255"/>
                    </a:lnTo>
                    <a:lnTo>
                      <a:pt x="956" y="250"/>
                    </a:lnTo>
                    <a:lnTo>
                      <a:pt x="954" y="248"/>
                    </a:lnTo>
                    <a:lnTo>
                      <a:pt x="954" y="246"/>
                    </a:lnTo>
                    <a:lnTo>
                      <a:pt x="957" y="246"/>
                    </a:lnTo>
                    <a:lnTo>
                      <a:pt x="962" y="253"/>
                    </a:lnTo>
                    <a:lnTo>
                      <a:pt x="967" y="251"/>
                    </a:lnTo>
                    <a:lnTo>
                      <a:pt x="972" y="260"/>
                    </a:lnTo>
                    <a:lnTo>
                      <a:pt x="974" y="255"/>
                    </a:lnTo>
                    <a:lnTo>
                      <a:pt x="972" y="251"/>
                    </a:lnTo>
                    <a:lnTo>
                      <a:pt x="977" y="248"/>
                    </a:lnTo>
                    <a:lnTo>
                      <a:pt x="977" y="240"/>
                    </a:lnTo>
                    <a:lnTo>
                      <a:pt x="974" y="238"/>
                    </a:lnTo>
                    <a:lnTo>
                      <a:pt x="975" y="236"/>
                    </a:lnTo>
                    <a:lnTo>
                      <a:pt x="980" y="236"/>
                    </a:lnTo>
                    <a:lnTo>
                      <a:pt x="982" y="233"/>
                    </a:lnTo>
                    <a:lnTo>
                      <a:pt x="970" y="231"/>
                    </a:lnTo>
                    <a:lnTo>
                      <a:pt x="969" y="233"/>
                    </a:lnTo>
                    <a:lnTo>
                      <a:pt x="965" y="233"/>
                    </a:lnTo>
                    <a:lnTo>
                      <a:pt x="965" y="230"/>
                    </a:lnTo>
                    <a:lnTo>
                      <a:pt x="970" y="226"/>
                    </a:lnTo>
                    <a:lnTo>
                      <a:pt x="979" y="225"/>
                    </a:lnTo>
                    <a:lnTo>
                      <a:pt x="984" y="223"/>
                    </a:lnTo>
                    <a:lnTo>
                      <a:pt x="984" y="220"/>
                    </a:lnTo>
                    <a:lnTo>
                      <a:pt x="989" y="215"/>
                    </a:lnTo>
                    <a:lnTo>
                      <a:pt x="989" y="211"/>
                    </a:lnTo>
                    <a:lnTo>
                      <a:pt x="990" y="210"/>
                    </a:lnTo>
                    <a:lnTo>
                      <a:pt x="989" y="206"/>
                    </a:lnTo>
                    <a:lnTo>
                      <a:pt x="994" y="201"/>
                    </a:lnTo>
                    <a:lnTo>
                      <a:pt x="995" y="201"/>
                    </a:lnTo>
                    <a:lnTo>
                      <a:pt x="997" y="203"/>
                    </a:lnTo>
                    <a:lnTo>
                      <a:pt x="1000" y="203"/>
                    </a:lnTo>
                    <a:lnTo>
                      <a:pt x="1002" y="198"/>
                    </a:lnTo>
                    <a:lnTo>
                      <a:pt x="1004" y="198"/>
                    </a:lnTo>
                    <a:lnTo>
                      <a:pt x="1000" y="195"/>
                    </a:lnTo>
                    <a:lnTo>
                      <a:pt x="1002" y="191"/>
                    </a:lnTo>
                    <a:lnTo>
                      <a:pt x="1009" y="190"/>
                    </a:lnTo>
                    <a:lnTo>
                      <a:pt x="1012" y="190"/>
                    </a:lnTo>
                    <a:lnTo>
                      <a:pt x="1014" y="185"/>
                    </a:lnTo>
                    <a:lnTo>
                      <a:pt x="1015" y="185"/>
                    </a:lnTo>
                    <a:lnTo>
                      <a:pt x="1020" y="186"/>
                    </a:lnTo>
                    <a:lnTo>
                      <a:pt x="1029" y="185"/>
                    </a:lnTo>
                    <a:lnTo>
                      <a:pt x="1027" y="181"/>
                    </a:lnTo>
                    <a:lnTo>
                      <a:pt x="1027" y="178"/>
                    </a:lnTo>
                    <a:lnTo>
                      <a:pt x="1037" y="176"/>
                    </a:lnTo>
                    <a:lnTo>
                      <a:pt x="1044" y="175"/>
                    </a:lnTo>
                    <a:lnTo>
                      <a:pt x="1045" y="170"/>
                    </a:lnTo>
                    <a:lnTo>
                      <a:pt x="1060" y="165"/>
                    </a:lnTo>
                    <a:lnTo>
                      <a:pt x="1060" y="160"/>
                    </a:lnTo>
                    <a:lnTo>
                      <a:pt x="1059" y="160"/>
                    </a:lnTo>
                    <a:lnTo>
                      <a:pt x="1050" y="163"/>
                    </a:lnTo>
                    <a:lnTo>
                      <a:pt x="1047" y="162"/>
                    </a:lnTo>
                    <a:lnTo>
                      <a:pt x="1042" y="167"/>
                    </a:lnTo>
                    <a:lnTo>
                      <a:pt x="1039" y="163"/>
                    </a:lnTo>
                    <a:lnTo>
                      <a:pt x="1039" y="155"/>
                    </a:lnTo>
                    <a:lnTo>
                      <a:pt x="1042" y="153"/>
                    </a:lnTo>
                    <a:lnTo>
                      <a:pt x="1044" y="148"/>
                    </a:lnTo>
                    <a:lnTo>
                      <a:pt x="1045" y="150"/>
                    </a:lnTo>
                    <a:lnTo>
                      <a:pt x="1045" y="152"/>
                    </a:lnTo>
                    <a:lnTo>
                      <a:pt x="1047" y="152"/>
                    </a:lnTo>
                    <a:lnTo>
                      <a:pt x="1052" y="148"/>
                    </a:lnTo>
                    <a:lnTo>
                      <a:pt x="1045" y="145"/>
                    </a:lnTo>
                    <a:lnTo>
                      <a:pt x="1052" y="143"/>
                    </a:lnTo>
                    <a:lnTo>
                      <a:pt x="1057" y="147"/>
                    </a:lnTo>
                    <a:lnTo>
                      <a:pt x="1060" y="147"/>
                    </a:lnTo>
                    <a:lnTo>
                      <a:pt x="1067" y="142"/>
                    </a:lnTo>
                    <a:lnTo>
                      <a:pt x="1072" y="143"/>
                    </a:lnTo>
                    <a:lnTo>
                      <a:pt x="1085" y="140"/>
                    </a:lnTo>
                    <a:lnTo>
                      <a:pt x="1090" y="140"/>
                    </a:lnTo>
                    <a:lnTo>
                      <a:pt x="1092" y="143"/>
                    </a:lnTo>
                    <a:lnTo>
                      <a:pt x="1087" y="153"/>
                    </a:lnTo>
                    <a:lnTo>
                      <a:pt x="1087" y="157"/>
                    </a:lnTo>
                    <a:lnTo>
                      <a:pt x="1092" y="160"/>
                    </a:lnTo>
                    <a:lnTo>
                      <a:pt x="1093" y="153"/>
                    </a:lnTo>
                    <a:lnTo>
                      <a:pt x="1098" y="147"/>
                    </a:lnTo>
                    <a:lnTo>
                      <a:pt x="1097" y="143"/>
                    </a:lnTo>
                    <a:lnTo>
                      <a:pt x="1098" y="142"/>
                    </a:lnTo>
                    <a:lnTo>
                      <a:pt x="1102" y="145"/>
                    </a:lnTo>
                    <a:lnTo>
                      <a:pt x="1103" y="152"/>
                    </a:lnTo>
                    <a:lnTo>
                      <a:pt x="1107" y="152"/>
                    </a:lnTo>
                    <a:lnTo>
                      <a:pt x="1108" y="147"/>
                    </a:lnTo>
                    <a:lnTo>
                      <a:pt x="1107" y="143"/>
                    </a:lnTo>
                    <a:lnTo>
                      <a:pt x="1112" y="140"/>
                    </a:lnTo>
                    <a:lnTo>
                      <a:pt x="1113" y="140"/>
                    </a:lnTo>
                    <a:lnTo>
                      <a:pt x="1113" y="145"/>
                    </a:lnTo>
                    <a:lnTo>
                      <a:pt x="1122" y="140"/>
                    </a:lnTo>
                    <a:lnTo>
                      <a:pt x="1122" y="138"/>
                    </a:lnTo>
                    <a:lnTo>
                      <a:pt x="1118" y="133"/>
                    </a:lnTo>
                    <a:lnTo>
                      <a:pt x="1123" y="135"/>
                    </a:lnTo>
                    <a:lnTo>
                      <a:pt x="1127" y="132"/>
                    </a:lnTo>
                    <a:lnTo>
                      <a:pt x="1122" y="130"/>
                    </a:lnTo>
                    <a:lnTo>
                      <a:pt x="1127" y="125"/>
                    </a:lnTo>
                    <a:lnTo>
                      <a:pt x="1133" y="125"/>
                    </a:lnTo>
                    <a:lnTo>
                      <a:pt x="1138" y="122"/>
                    </a:lnTo>
                    <a:lnTo>
                      <a:pt x="1140" y="123"/>
                    </a:lnTo>
                    <a:lnTo>
                      <a:pt x="1140" y="127"/>
                    </a:lnTo>
                    <a:lnTo>
                      <a:pt x="1143" y="127"/>
                    </a:lnTo>
                    <a:lnTo>
                      <a:pt x="1150" y="128"/>
                    </a:lnTo>
                    <a:lnTo>
                      <a:pt x="1150" y="133"/>
                    </a:lnTo>
                    <a:lnTo>
                      <a:pt x="1153" y="137"/>
                    </a:lnTo>
                    <a:lnTo>
                      <a:pt x="1148" y="147"/>
                    </a:lnTo>
                    <a:lnTo>
                      <a:pt x="1155" y="143"/>
                    </a:lnTo>
                    <a:lnTo>
                      <a:pt x="1160" y="135"/>
                    </a:lnTo>
                    <a:lnTo>
                      <a:pt x="1155" y="125"/>
                    </a:lnTo>
                    <a:lnTo>
                      <a:pt x="1148" y="122"/>
                    </a:lnTo>
                    <a:lnTo>
                      <a:pt x="1143" y="117"/>
                    </a:lnTo>
                    <a:lnTo>
                      <a:pt x="1138" y="120"/>
                    </a:lnTo>
                    <a:lnTo>
                      <a:pt x="1137" y="117"/>
                    </a:lnTo>
                    <a:lnTo>
                      <a:pt x="1130" y="118"/>
                    </a:lnTo>
                    <a:lnTo>
                      <a:pt x="1130" y="115"/>
                    </a:lnTo>
                    <a:lnTo>
                      <a:pt x="1125" y="113"/>
                    </a:lnTo>
                    <a:lnTo>
                      <a:pt x="1123" y="112"/>
                    </a:lnTo>
                    <a:lnTo>
                      <a:pt x="1127" y="108"/>
                    </a:lnTo>
                    <a:lnTo>
                      <a:pt x="1137" y="108"/>
                    </a:lnTo>
                    <a:lnTo>
                      <a:pt x="1140" y="105"/>
                    </a:lnTo>
                    <a:lnTo>
                      <a:pt x="1145" y="105"/>
                    </a:lnTo>
                    <a:lnTo>
                      <a:pt x="1150" y="107"/>
                    </a:lnTo>
                    <a:lnTo>
                      <a:pt x="1153" y="105"/>
                    </a:lnTo>
                    <a:lnTo>
                      <a:pt x="1157" y="107"/>
                    </a:lnTo>
                    <a:lnTo>
                      <a:pt x="1168" y="102"/>
                    </a:lnTo>
                    <a:lnTo>
                      <a:pt x="1175" y="105"/>
                    </a:lnTo>
                    <a:lnTo>
                      <a:pt x="1178" y="105"/>
                    </a:lnTo>
                    <a:lnTo>
                      <a:pt x="1181" y="105"/>
                    </a:lnTo>
                    <a:lnTo>
                      <a:pt x="1186" y="102"/>
                    </a:lnTo>
                    <a:lnTo>
                      <a:pt x="1185" y="100"/>
                    </a:lnTo>
                    <a:lnTo>
                      <a:pt x="1176" y="100"/>
                    </a:lnTo>
                    <a:lnTo>
                      <a:pt x="1168" y="97"/>
                    </a:lnTo>
                    <a:lnTo>
                      <a:pt x="1163" y="98"/>
                    </a:lnTo>
                    <a:lnTo>
                      <a:pt x="1155" y="98"/>
                    </a:lnTo>
                    <a:lnTo>
                      <a:pt x="1155" y="95"/>
                    </a:lnTo>
                    <a:lnTo>
                      <a:pt x="1152" y="90"/>
                    </a:lnTo>
                    <a:lnTo>
                      <a:pt x="1158" y="85"/>
                    </a:lnTo>
                    <a:lnTo>
                      <a:pt x="1152" y="83"/>
                    </a:lnTo>
                    <a:lnTo>
                      <a:pt x="1147" y="77"/>
                    </a:lnTo>
                    <a:lnTo>
                      <a:pt x="1142" y="78"/>
                    </a:lnTo>
                    <a:lnTo>
                      <a:pt x="1137" y="72"/>
                    </a:lnTo>
                    <a:lnTo>
                      <a:pt x="1137" y="67"/>
                    </a:lnTo>
                    <a:lnTo>
                      <a:pt x="1142" y="67"/>
                    </a:lnTo>
                    <a:lnTo>
                      <a:pt x="1142" y="62"/>
                    </a:lnTo>
                    <a:lnTo>
                      <a:pt x="1135" y="57"/>
                    </a:lnTo>
                    <a:lnTo>
                      <a:pt x="1137" y="37"/>
                    </a:lnTo>
                    <a:lnTo>
                      <a:pt x="1142" y="32"/>
                    </a:lnTo>
                    <a:lnTo>
                      <a:pt x="1140" y="27"/>
                    </a:lnTo>
                    <a:lnTo>
                      <a:pt x="1140" y="19"/>
                    </a:lnTo>
                    <a:lnTo>
                      <a:pt x="1145" y="15"/>
                    </a:lnTo>
                    <a:lnTo>
                      <a:pt x="1142" y="10"/>
                    </a:lnTo>
                    <a:lnTo>
                      <a:pt x="1147" y="9"/>
                    </a:lnTo>
                    <a:lnTo>
                      <a:pt x="1147" y="5"/>
                    </a:lnTo>
                    <a:lnTo>
                      <a:pt x="1155" y="0"/>
                    </a:lnTo>
                    <a:lnTo>
                      <a:pt x="1158" y="0"/>
                    </a:lnTo>
                    <a:lnTo>
                      <a:pt x="1163" y="7"/>
                    </a:lnTo>
                    <a:lnTo>
                      <a:pt x="1168" y="2"/>
                    </a:lnTo>
                    <a:lnTo>
                      <a:pt x="1171" y="2"/>
                    </a:lnTo>
                    <a:lnTo>
                      <a:pt x="1175" y="9"/>
                    </a:lnTo>
                    <a:lnTo>
                      <a:pt x="1181" y="9"/>
                    </a:lnTo>
                    <a:lnTo>
                      <a:pt x="1188" y="4"/>
                    </a:lnTo>
                    <a:lnTo>
                      <a:pt x="1190" y="5"/>
                    </a:lnTo>
                    <a:lnTo>
                      <a:pt x="1190" y="12"/>
                    </a:lnTo>
                    <a:lnTo>
                      <a:pt x="1191" y="14"/>
                    </a:lnTo>
                    <a:lnTo>
                      <a:pt x="1200" y="15"/>
                    </a:lnTo>
                    <a:lnTo>
                      <a:pt x="1200" y="17"/>
                    </a:lnTo>
                    <a:lnTo>
                      <a:pt x="1195" y="20"/>
                    </a:lnTo>
                    <a:lnTo>
                      <a:pt x="1195" y="22"/>
                    </a:lnTo>
                    <a:lnTo>
                      <a:pt x="1193" y="25"/>
                    </a:lnTo>
                    <a:lnTo>
                      <a:pt x="1195" y="30"/>
                    </a:lnTo>
                    <a:lnTo>
                      <a:pt x="1190" y="37"/>
                    </a:lnTo>
                    <a:lnTo>
                      <a:pt x="1183" y="39"/>
                    </a:lnTo>
                    <a:lnTo>
                      <a:pt x="1180" y="44"/>
                    </a:lnTo>
                    <a:lnTo>
                      <a:pt x="1183" y="45"/>
                    </a:lnTo>
                    <a:lnTo>
                      <a:pt x="1195" y="40"/>
                    </a:lnTo>
                    <a:lnTo>
                      <a:pt x="1203" y="30"/>
                    </a:lnTo>
                    <a:lnTo>
                      <a:pt x="1206" y="30"/>
                    </a:lnTo>
                    <a:lnTo>
                      <a:pt x="1206" y="34"/>
                    </a:lnTo>
                    <a:lnTo>
                      <a:pt x="1203" y="39"/>
                    </a:lnTo>
                    <a:lnTo>
                      <a:pt x="1203" y="42"/>
                    </a:lnTo>
                    <a:lnTo>
                      <a:pt x="1208" y="42"/>
                    </a:lnTo>
                    <a:lnTo>
                      <a:pt x="1211" y="35"/>
                    </a:lnTo>
                    <a:lnTo>
                      <a:pt x="1216" y="34"/>
                    </a:lnTo>
                    <a:lnTo>
                      <a:pt x="1220" y="35"/>
                    </a:lnTo>
                    <a:lnTo>
                      <a:pt x="1225" y="35"/>
                    </a:lnTo>
                    <a:lnTo>
                      <a:pt x="1226" y="30"/>
                    </a:lnTo>
                    <a:lnTo>
                      <a:pt x="1230" y="30"/>
                    </a:lnTo>
                    <a:lnTo>
                      <a:pt x="1233" y="32"/>
                    </a:lnTo>
                    <a:lnTo>
                      <a:pt x="1236" y="30"/>
                    </a:lnTo>
                    <a:lnTo>
                      <a:pt x="1243" y="35"/>
                    </a:lnTo>
                    <a:lnTo>
                      <a:pt x="1243" y="40"/>
                    </a:lnTo>
                    <a:lnTo>
                      <a:pt x="1246" y="47"/>
                    </a:lnTo>
                    <a:lnTo>
                      <a:pt x="1245" y="49"/>
                    </a:lnTo>
                    <a:lnTo>
                      <a:pt x="1243" y="54"/>
                    </a:lnTo>
                    <a:lnTo>
                      <a:pt x="1240" y="60"/>
                    </a:lnTo>
                    <a:lnTo>
                      <a:pt x="1246" y="69"/>
                    </a:lnTo>
                    <a:lnTo>
                      <a:pt x="1246" y="74"/>
                    </a:lnTo>
                    <a:lnTo>
                      <a:pt x="1241" y="75"/>
                    </a:lnTo>
                    <a:lnTo>
                      <a:pt x="1238" y="78"/>
                    </a:lnTo>
                    <a:lnTo>
                      <a:pt x="1241" y="78"/>
                    </a:lnTo>
                    <a:lnTo>
                      <a:pt x="1251" y="77"/>
                    </a:lnTo>
                    <a:lnTo>
                      <a:pt x="1256" y="72"/>
                    </a:lnTo>
                    <a:lnTo>
                      <a:pt x="1263" y="70"/>
                    </a:lnTo>
                    <a:lnTo>
                      <a:pt x="1266" y="65"/>
                    </a:lnTo>
                    <a:lnTo>
                      <a:pt x="1266" y="57"/>
                    </a:lnTo>
                    <a:lnTo>
                      <a:pt x="1263" y="50"/>
                    </a:lnTo>
                    <a:lnTo>
                      <a:pt x="1261" y="52"/>
                    </a:lnTo>
                    <a:lnTo>
                      <a:pt x="1258" y="50"/>
                    </a:lnTo>
                    <a:lnTo>
                      <a:pt x="1256" y="45"/>
                    </a:lnTo>
                    <a:lnTo>
                      <a:pt x="1259" y="44"/>
                    </a:lnTo>
                    <a:lnTo>
                      <a:pt x="1263" y="44"/>
                    </a:lnTo>
                    <a:lnTo>
                      <a:pt x="1264" y="45"/>
                    </a:lnTo>
                    <a:lnTo>
                      <a:pt x="1268" y="45"/>
                    </a:lnTo>
                    <a:lnTo>
                      <a:pt x="1276" y="42"/>
                    </a:lnTo>
                    <a:lnTo>
                      <a:pt x="1283" y="37"/>
                    </a:lnTo>
                    <a:lnTo>
                      <a:pt x="1286" y="37"/>
                    </a:lnTo>
                    <a:lnTo>
                      <a:pt x="1293" y="37"/>
                    </a:lnTo>
                    <a:lnTo>
                      <a:pt x="1294" y="34"/>
                    </a:lnTo>
                    <a:lnTo>
                      <a:pt x="1299" y="30"/>
                    </a:lnTo>
                    <a:lnTo>
                      <a:pt x="1301" y="30"/>
                    </a:lnTo>
                    <a:lnTo>
                      <a:pt x="1304" y="27"/>
                    </a:lnTo>
                    <a:lnTo>
                      <a:pt x="1309" y="27"/>
                    </a:lnTo>
                    <a:lnTo>
                      <a:pt x="1311" y="29"/>
                    </a:lnTo>
                    <a:lnTo>
                      <a:pt x="1316" y="27"/>
                    </a:lnTo>
                    <a:lnTo>
                      <a:pt x="1318" y="30"/>
                    </a:lnTo>
                    <a:lnTo>
                      <a:pt x="1316" y="32"/>
                    </a:lnTo>
                    <a:lnTo>
                      <a:pt x="1316" y="35"/>
                    </a:lnTo>
                    <a:lnTo>
                      <a:pt x="1328" y="35"/>
                    </a:lnTo>
                    <a:lnTo>
                      <a:pt x="1328" y="37"/>
                    </a:lnTo>
                    <a:lnTo>
                      <a:pt x="1333" y="37"/>
                    </a:lnTo>
                    <a:lnTo>
                      <a:pt x="1351" y="47"/>
                    </a:lnTo>
                    <a:lnTo>
                      <a:pt x="1356" y="49"/>
                    </a:lnTo>
                    <a:lnTo>
                      <a:pt x="1358" y="54"/>
                    </a:lnTo>
                    <a:lnTo>
                      <a:pt x="1358" y="55"/>
                    </a:lnTo>
                    <a:lnTo>
                      <a:pt x="1366" y="65"/>
                    </a:lnTo>
                    <a:lnTo>
                      <a:pt x="1367" y="64"/>
                    </a:lnTo>
                    <a:lnTo>
                      <a:pt x="1367" y="60"/>
                    </a:lnTo>
                    <a:lnTo>
                      <a:pt x="1371" y="59"/>
                    </a:lnTo>
                    <a:lnTo>
                      <a:pt x="1372" y="57"/>
                    </a:lnTo>
                    <a:lnTo>
                      <a:pt x="1369" y="55"/>
                    </a:lnTo>
                    <a:lnTo>
                      <a:pt x="1364" y="54"/>
                    </a:lnTo>
                    <a:lnTo>
                      <a:pt x="1364" y="50"/>
                    </a:lnTo>
                    <a:lnTo>
                      <a:pt x="1367" y="47"/>
                    </a:lnTo>
                    <a:lnTo>
                      <a:pt x="1371" y="49"/>
                    </a:lnTo>
                    <a:lnTo>
                      <a:pt x="1374" y="52"/>
                    </a:lnTo>
                    <a:lnTo>
                      <a:pt x="1377" y="54"/>
                    </a:lnTo>
                    <a:lnTo>
                      <a:pt x="1377" y="59"/>
                    </a:lnTo>
                    <a:lnTo>
                      <a:pt x="1384" y="64"/>
                    </a:lnTo>
                    <a:lnTo>
                      <a:pt x="1386" y="69"/>
                    </a:lnTo>
                    <a:lnTo>
                      <a:pt x="1389" y="70"/>
                    </a:lnTo>
                    <a:lnTo>
                      <a:pt x="1391" y="69"/>
                    </a:lnTo>
                    <a:lnTo>
                      <a:pt x="1394" y="69"/>
                    </a:lnTo>
                    <a:lnTo>
                      <a:pt x="1396" y="70"/>
                    </a:lnTo>
                    <a:lnTo>
                      <a:pt x="1399" y="74"/>
                    </a:lnTo>
                    <a:lnTo>
                      <a:pt x="1401" y="78"/>
                    </a:lnTo>
                    <a:lnTo>
                      <a:pt x="1404" y="83"/>
                    </a:lnTo>
                    <a:lnTo>
                      <a:pt x="1404" y="87"/>
                    </a:lnTo>
                    <a:lnTo>
                      <a:pt x="1402" y="85"/>
                    </a:lnTo>
                    <a:lnTo>
                      <a:pt x="1401" y="83"/>
                    </a:lnTo>
                    <a:lnTo>
                      <a:pt x="1399" y="80"/>
                    </a:lnTo>
                    <a:lnTo>
                      <a:pt x="1397" y="80"/>
                    </a:lnTo>
                    <a:lnTo>
                      <a:pt x="1396" y="83"/>
                    </a:lnTo>
                    <a:lnTo>
                      <a:pt x="1391" y="80"/>
                    </a:lnTo>
                    <a:lnTo>
                      <a:pt x="1382" y="77"/>
                    </a:lnTo>
                    <a:lnTo>
                      <a:pt x="1376" y="77"/>
                    </a:lnTo>
                    <a:lnTo>
                      <a:pt x="1376" y="78"/>
                    </a:lnTo>
                    <a:lnTo>
                      <a:pt x="1379" y="82"/>
                    </a:lnTo>
                    <a:lnTo>
                      <a:pt x="1386" y="83"/>
                    </a:lnTo>
                    <a:lnTo>
                      <a:pt x="1387" y="85"/>
                    </a:lnTo>
                    <a:lnTo>
                      <a:pt x="1386" y="87"/>
                    </a:lnTo>
                    <a:lnTo>
                      <a:pt x="1389" y="92"/>
                    </a:lnTo>
                    <a:lnTo>
                      <a:pt x="1392" y="93"/>
                    </a:lnTo>
                    <a:lnTo>
                      <a:pt x="1394" y="92"/>
                    </a:lnTo>
                    <a:lnTo>
                      <a:pt x="1396" y="87"/>
                    </a:lnTo>
                    <a:lnTo>
                      <a:pt x="1397" y="87"/>
                    </a:lnTo>
                    <a:lnTo>
                      <a:pt x="1401" y="90"/>
                    </a:lnTo>
                    <a:lnTo>
                      <a:pt x="1404" y="92"/>
                    </a:lnTo>
                    <a:lnTo>
                      <a:pt x="1406" y="90"/>
                    </a:lnTo>
                    <a:lnTo>
                      <a:pt x="1409" y="92"/>
                    </a:lnTo>
                    <a:lnTo>
                      <a:pt x="1411" y="93"/>
                    </a:lnTo>
                    <a:lnTo>
                      <a:pt x="1409" y="97"/>
                    </a:lnTo>
                    <a:lnTo>
                      <a:pt x="1412" y="103"/>
                    </a:lnTo>
                    <a:lnTo>
                      <a:pt x="1414" y="110"/>
                    </a:lnTo>
                    <a:lnTo>
                      <a:pt x="1414" y="120"/>
                    </a:lnTo>
                    <a:lnTo>
                      <a:pt x="1411" y="127"/>
                    </a:lnTo>
                    <a:lnTo>
                      <a:pt x="1409" y="127"/>
                    </a:lnTo>
                    <a:lnTo>
                      <a:pt x="1407" y="130"/>
                    </a:lnTo>
                    <a:lnTo>
                      <a:pt x="1409" y="135"/>
                    </a:lnTo>
                    <a:lnTo>
                      <a:pt x="1404" y="140"/>
                    </a:lnTo>
                    <a:lnTo>
                      <a:pt x="1406" y="142"/>
                    </a:lnTo>
                    <a:lnTo>
                      <a:pt x="1407" y="145"/>
                    </a:lnTo>
                    <a:lnTo>
                      <a:pt x="1409" y="148"/>
                    </a:lnTo>
                    <a:lnTo>
                      <a:pt x="1402" y="152"/>
                    </a:lnTo>
                    <a:lnTo>
                      <a:pt x="1401" y="155"/>
                    </a:lnTo>
                    <a:lnTo>
                      <a:pt x="1402" y="158"/>
                    </a:lnTo>
                    <a:lnTo>
                      <a:pt x="1397" y="165"/>
                    </a:lnTo>
                    <a:lnTo>
                      <a:pt x="1396" y="168"/>
                    </a:lnTo>
                    <a:lnTo>
                      <a:pt x="1396" y="170"/>
                    </a:lnTo>
                    <a:lnTo>
                      <a:pt x="1394" y="175"/>
                    </a:lnTo>
                    <a:lnTo>
                      <a:pt x="1389" y="176"/>
                    </a:lnTo>
                    <a:lnTo>
                      <a:pt x="1384" y="181"/>
                    </a:lnTo>
                    <a:lnTo>
                      <a:pt x="1379" y="181"/>
                    </a:lnTo>
                    <a:lnTo>
                      <a:pt x="1384" y="183"/>
                    </a:lnTo>
                    <a:lnTo>
                      <a:pt x="1387" y="181"/>
                    </a:lnTo>
                    <a:lnTo>
                      <a:pt x="1391" y="180"/>
                    </a:lnTo>
                    <a:lnTo>
                      <a:pt x="1392" y="180"/>
                    </a:lnTo>
                    <a:lnTo>
                      <a:pt x="1396" y="185"/>
                    </a:lnTo>
                    <a:lnTo>
                      <a:pt x="1391" y="193"/>
                    </a:lnTo>
                    <a:lnTo>
                      <a:pt x="1387" y="198"/>
                    </a:lnTo>
                    <a:lnTo>
                      <a:pt x="1384" y="208"/>
                    </a:lnTo>
                    <a:lnTo>
                      <a:pt x="1387" y="213"/>
                    </a:lnTo>
                    <a:lnTo>
                      <a:pt x="1387" y="216"/>
                    </a:lnTo>
                    <a:lnTo>
                      <a:pt x="1384" y="226"/>
                    </a:lnTo>
                    <a:lnTo>
                      <a:pt x="1377" y="228"/>
                    </a:lnTo>
                    <a:lnTo>
                      <a:pt x="1376" y="228"/>
                    </a:lnTo>
                    <a:lnTo>
                      <a:pt x="1372" y="228"/>
                    </a:lnTo>
                    <a:lnTo>
                      <a:pt x="1371" y="231"/>
                    </a:lnTo>
                    <a:lnTo>
                      <a:pt x="1372" y="233"/>
                    </a:lnTo>
                    <a:lnTo>
                      <a:pt x="1374" y="241"/>
                    </a:lnTo>
                    <a:lnTo>
                      <a:pt x="1372" y="246"/>
                    </a:lnTo>
                    <a:lnTo>
                      <a:pt x="1367" y="248"/>
                    </a:lnTo>
                    <a:lnTo>
                      <a:pt x="1366" y="255"/>
                    </a:lnTo>
                    <a:lnTo>
                      <a:pt x="1367" y="260"/>
                    </a:lnTo>
                    <a:lnTo>
                      <a:pt x="1367" y="266"/>
                    </a:lnTo>
                    <a:lnTo>
                      <a:pt x="1366" y="268"/>
                    </a:lnTo>
                    <a:lnTo>
                      <a:pt x="1367" y="271"/>
                    </a:lnTo>
                    <a:lnTo>
                      <a:pt x="1371" y="273"/>
                    </a:lnTo>
                    <a:lnTo>
                      <a:pt x="1367" y="284"/>
                    </a:lnTo>
                    <a:lnTo>
                      <a:pt x="1362" y="288"/>
                    </a:lnTo>
                    <a:lnTo>
                      <a:pt x="1362" y="293"/>
                    </a:lnTo>
                    <a:lnTo>
                      <a:pt x="1364" y="289"/>
                    </a:lnTo>
                    <a:lnTo>
                      <a:pt x="1367" y="289"/>
                    </a:lnTo>
                    <a:lnTo>
                      <a:pt x="1372" y="284"/>
                    </a:lnTo>
                    <a:lnTo>
                      <a:pt x="1374" y="281"/>
                    </a:lnTo>
                    <a:lnTo>
                      <a:pt x="1374" y="279"/>
                    </a:lnTo>
                    <a:lnTo>
                      <a:pt x="1376" y="276"/>
                    </a:lnTo>
                    <a:lnTo>
                      <a:pt x="1382" y="276"/>
                    </a:lnTo>
                    <a:lnTo>
                      <a:pt x="1386" y="274"/>
                    </a:lnTo>
                    <a:lnTo>
                      <a:pt x="1381" y="274"/>
                    </a:lnTo>
                    <a:lnTo>
                      <a:pt x="1374" y="266"/>
                    </a:lnTo>
                    <a:lnTo>
                      <a:pt x="1371" y="260"/>
                    </a:lnTo>
                    <a:lnTo>
                      <a:pt x="1374" y="256"/>
                    </a:lnTo>
                    <a:lnTo>
                      <a:pt x="1382" y="255"/>
                    </a:lnTo>
                    <a:lnTo>
                      <a:pt x="1391" y="255"/>
                    </a:lnTo>
                    <a:lnTo>
                      <a:pt x="1397" y="248"/>
                    </a:lnTo>
                    <a:lnTo>
                      <a:pt x="1401" y="248"/>
                    </a:lnTo>
                    <a:lnTo>
                      <a:pt x="1404" y="246"/>
                    </a:lnTo>
                    <a:lnTo>
                      <a:pt x="1401" y="243"/>
                    </a:lnTo>
                    <a:lnTo>
                      <a:pt x="1409" y="236"/>
                    </a:lnTo>
                    <a:lnTo>
                      <a:pt x="1412" y="231"/>
                    </a:lnTo>
                    <a:lnTo>
                      <a:pt x="1409" y="228"/>
                    </a:lnTo>
                    <a:lnTo>
                      <a:pt x="1409" y="226"/>
                    </a:lnTo>
                    <a:lnTo>
                      <a:pt x="1414" y="228"/>
                    </a:lnTo>
                    <a:lnTo>
                      <a:pt x="1421" y="226"/>
                    </a:lnTo>
                    <a:lnTo>
                      <a:pt x="1424" y="221"/>
                    </a:lnTo>
                    <a:lnTo>
                      <a:pt x="1421" y="218"/>
                    </a:lnTo>
                    <a:lnTo>
                      <a:pt x="1431" y="213"/>
                    </a:lnTo>
                    <a:lnTo>
                      <a:pt x="1431" y="208"/>
                    </a:lnTo>
                    <a:lnTo>
                      <a:pt x="1429" y="205"/>
                    </a:lnTo>
                    <a:lnTo>
                      <a:pt x="1419" y="210"/>
                    </a:lnTo>
                    <a:lnTo>
                      <a:pt x="1419" y="211"/>
                    </a:lnTo>
                    <a:lnTo>
                      <a:pt x="1412" y="216"/>
                    </a:lnTo>
                    <a:lnTo>
                      <a:pt x="1406" y="215"/>
                    </a:lnTo>
                    <a:lnTo>
                      <a:pt x="1402" y="208"/>
                    </a:lnTo>
                    <a:lnTo>
                      <a:pt x="1407" y="203"/>
                    </a:lnTo>
                    <a:lnTo>
                      <a:pt x="1406" y="196"/>
                    </a:lnTo>
                    <a:lnTo>
                      <a:pt x="1411" y="193"/>
                    </a:lnTo>
                    <a:lnTo>
                      <a:pt x="1417" y="193"/>
                    </a:lnTo>
                    <a:lnTo>
                      <a:pt x="1426" y="198"/>
                    </a:lnTo>
                    <a:lnTo>
                      <a:pt x="1429" y="195"/>
                    </a:lnTo>
                    <a:lnTo>
                      <a:pt x="1429" y="190"/>
                    </a:lnTo>
                    <a:lnTo>
                      <a:pt x="1436" y="186"/>
                    </a:lnTo>
                    <a:lnTo>
                      <a:pt x="1436" y="190"/>
                    </a:lnTo>
                    <a:lnTo>
                      <a:pt x="1432" y="193"/>
                    </a:lnTo>
                    <a:lnTo>
                      <a:pt x="1434" y="196"/>
                    </a:lnTo>
                    <a:lnTo>
                      <a:pt x="1447" y="206"/>
                    </a:lnTo>
                    <a:lnTo>
                      <a:pt x="1454" y="208"/>
                    </a:lnTo>
                    <a:lnTo>
                      <a:pt x="1456" y="205"/>
                    </a:lnTo>
                    <a:lnTo>
                      <a:pt x="1465" y="205"/>
                    </a:lnTo>
                    <a:lnTo>
                      <a:pt x="1469" y="200"/>
                    </a:lnTo>
                    <a:lnTo>
                      <a:pt x="1469" y="195"/>
                    </a:lnTo>
                    <a:lnTo>
                      <a:pt x="1460" y="188"/>
                    </a:lnTo>
                    <a:lnTo>
                      <a:pt x="1460" y="185"/>
                    </a:lnTo>
                    <a:lnTo>
                      <a:pt x="1464" y="185"/>
                    </a:lnTo>
                    <a:lnTo>
                      <a:pt x="1474" y="193"/>
                    </a:lnTo>
                    <a:lnTo>
                      <a:pt x="1477" y="195"/>
                    </a:lnTo>
                    <a:lnTo>
                      <a:pt x="1482" y="198"/>
                    </a:lnTo>
                    <a:lnTo>
                      <a:pt x="1480" y="201"/>
                    </a:lnTo>
                    <a:lnTo>
                      <a:pt x="1482" y="205"/>
                    </a:lnTo>
                    <a:lnTo>
                      <a:pt x="1487" y="210"/>
                    </a:lnTo>
                    <a:lnTo>
                      <a:pt x="1489" y="218"/>
                    </a:lnTo>
                    <a:lnTo>
                      <a:pt x="1490" y="220"/>
                    </a:lnTo>
                    <a:lnTo>
                      <a:pt x="1490" y="216"/>
                    </a:lnTo>
                    <a:lnTo>
                      <a:pt x="1495" y="213"/>
                    </a:lnTo>
                    <a:lnTo>
                      <a:pt x="1497" y="211"/>
                    </a:lnTo>
                    <a:lnTo>
                      <a:pt x="1500" y="208"/>
                    </a:lnTo>
                    <a:lnTo>
                      <a:pt x="1497" y="208"/>
                    </a:lnTo>
                    <a:lnTo>
                      <a:pt x="1494" y="210"/>
                    </a:lnTo>
                    <a:lnTo>
                      <a:pt x="1490" y="208"/>
                    </a:lnTo>
                    <a:lnTo>
                      <a:pt x="1487" y="203"/>
                    </a:lnTo>
                    <a:lnTo>
                      <a:pt x="1494" y="198"/>
                    </a:lnTo>
                    <a:lnTo>
                      <a:pt x="1499" y="195"/>
                    </a:lnTo>
                    <a:lnTo>
                      <a:pt x="1500" y="191"/>
                    </a:lnTo>
                    <a:lnTo>
                      <a:pt x="1504" y="191"/>
                    </a:lnTo>
                    <a:lnTo>
                      <a:pt x="1505" y="188"/>
                    </a:lnTo>
                    <a:lnTo>
                      <a:pt x="1515" y="186"/>
                    </a:lnTo>
                    <a:lnTo>
                      <a:pt x="1532" y="183"/>
                    </a:lnTo>
                    <a:lnTo>
                      <a:pt x="1552" y="183"/>
                    </a:lnTo>
                    <a:lnTo>
                      <a:pt x="1567" y="176"/>
                    </a:lnTo>
                    <a:lnTo>
                      <a:pt x="1573" y="176"/>
                    </a:lnTo>
                    <a:lnTo>
                      <a:pt x="1580" y="178"/>
                    </a:lnTo>
                    <a:lnTo>
                      <a:pt x="1580" y="181"/>
                    </a:lnTo>
                    <a:lnTo>
                      <a:pt x="1578" y="183"/>
                    </a:lnTo>
                    <a:lnTo>
                      <a:pt x="1575" y="188"/>
                    </a:lnTo>
                    <a:lnTo>
                      <a:pt x="1577" y="196"/>
                    </a:lnTo>
                    <a:lnTo>
                      <a:pt x="1583" y="201"/>
                    </a:lnTo>
                    <a:lnTo>
                      <a:pt x="1605" y="201"/>
                    </a:lnTo>
                    <a:lnTo>
                      <a:pt x="1610" y="203"/>
                    </a:lnTo>
                    <a:lnTo>
                      <a:pt x="1612" y="201"/>
                    </a:lnTo>
                    <a:lnTo>
                      <a:pt x="1618" y="203"/>
                    </a:lnTo>
                    <a:lnTo>
                      <a:pt x="1625" y="205"/>
                    </a:lnTo>
                    <a:lnTo>
                      <a:pt x="1640" y="201"/>
                    </a:lnTo>
                    <a:lnTo>
                      <a:pt x="1650" y="196"/>
                    </a:lnTo>
                    <a:lnTo>
                      <a:pt x="1655" y="198"/>
                    </a:lnTo>
                    <a:lnTo>
                      <a:pt x="1660" y="198"/>
                    </a:lnTo>
                    <a:lnTo>
                      <a:pt x="1661" y="193"/>
                    </a:lnTo>
                    <a:lnTo>
                      <a:pt x="1660" y="190"/>
                    </a:lnTo>
                    <a:lnTo>
                      <a:pt x="1665" y="190"/>
                    </a:lnTo>
                    <a:lnTo>
                      <a:pt x="1670" y="190"/>
                    </a:lnTo>
                    <a:lnTo>
                      <a:pt x="1675" y="188"/>
                    </a:lnTo>
                    <a:lnTo>
                      <a:pt x="1676" y="191"/>
                    </a:lnTo>
                    <a:lnTo>
                      <a:pt x="1680" y="193"/>
                    </a:lnTo>
                    <a:lnTo>
                      <a:pt x="1683" y="188"/>
                    </a:lnTo>
                    <a:lnTo>
                      <a:pt x="1681" y="185"/>
                    </a:lnTo>
                    <a:lnTo>
                      <a:pt x="1676" y="181"/>
                    </a:lnTo>
                    <a:lnTo>
                      <a:pt x="1678" y="176"/>
                    </a:lnTo>
                    <a:lnTo>
                      <a:pt x="1675" y="173"/>
                    </a:lnTo>
                    <a:lnTo>
                      <a:pt x="1670" y="173"/>
                    </a:lnTo>
                    <a:lnTo>
                      <a:pt x="1670" y="167"/>
                    </a:lnTo>
                    <a:lnTo>
                      <a:pt x="1666" y="167"/>
                    </a:lnTo>
                    <a:lnTo>
                      <a:pt x="1665" y="162"/>
                    </a:lnTo>
                    <a:lnTo>
                      <a:pt x="1661" y="158"/>
                    </a:lnTo>
                    <a:lnTo>
                      <a:pt x="1661" y="153"/>
                    </a:lnTo>
                    <a:lnTo>
                      <a:pt x="1663" y="148"/>
                    </a:lnTo>
                    <a:lnTo>
                      <a:pt x="1665" y="152"/>
                    </a:lnTo>
                    <a:lnTo>
                      <a:pt x="1666" y="153"/>
                    </a:lnTo>
                    <a:lnTo>
                      <a:pt x="1673" y="148"/>
                    </a:lnTo>
                    <a:lnTo>
                      <a:pt x="1671" y="147"/>
                    </a:lnTo>
                    <a:lnTo>
                      <a:pt x="1670" y="143"/>
                    </a:lnTo>
                    <a:lnTo>
                      <a:pt x="1673" y="143"/>
                    </a:lnTo>
                    <a:lnTo>
                      <a:pt x="1680" y="147"/>
                    </a:lnTo>
                    <a:lnTo>
                      <a:pt x="1683" y="145"/>
                    </a:lnTo>
                    <a:lnTo>
                      <a:pt x="1683" y="142"/>
                    </a:lnTo>
                    <a:lnTo>
                      <a:pt x="1685" y="143"/>
                    </a:lnTo>
                    <a:lnTo>
                      <a:pt x="1691" y="143"/>
                    </a:lnTo>
                    <a:lnTo>
                      <a:pt x="1695" y="143"/>
                    </a:lnTo>
                    <a:lnTo>
                      <a:pt x="1696" y="140"/>
                    </a:lnTo>
                    <a:lnTo>
                      <a:pt x="1701" y="145"/>
                    </a:lnTo>
                    <a:lnTo>
                      <a:pt x="1705" y="145"/>
                    </a:lnTo>
                    <a:lnTo>
                      <a:pt x="1708" y="150"/>
                    </a:lnTo>
                    <a:lnTo>
                      <a:pt x="1711" y="147"/>
                    </a:lnTo>
                    <a:lnTo>
                      <a:pt x="1711" y="143"/>
                    </a:lnTo>
                    <a:lnTo>
                      <a:pt x="1715" y="143"/>
                    </a:lnTo>
                    <a:lnTo>
                      <a:pt x="1718" y="148"/>
                    </a:lnTo>
                    <a:lnTo>
                      <a:pt x="1715" y="150"/>
                    </a:lnTo>
                    <a:lnTo>
                      <a:pt x="1713" y="155"/>
                    </a:lnTo>
                    <a:lnTo>
                      <a:pt x="1715" y="155"/>
                    </a:lnTo>
                    <a:lnTo>
                      <a:pt x="1720" y="155"/>
                    </a:lnTo>
                    <a:lnTo>
                      <a:pt x="1721" y="155"/>
                    </a:lnTo>
                    <a:lnTo>
                      <a:pt x="1721" y="152"/>
                    </a:lnTo>
                    <a:lnTo>
                      <a:pt x="1723" y="150"/>
                    </a:lnTo>
                    <a:lnTo>
                      <a:pt x="1726" y="152"/>
                    </a:lnTo>
                    <a:lnTo>
                      <a:pt x="1725" y="147"/>
                    </a:lnTo>
                    <a:lnTo>
                      <a:pt x="1723" y="145"/>
                    </a:lnTo>
                    <a:lnTo>
                      <a:pt x="1723" y="143"/>
                    </a:lnTo>
                    <a:lnTo>
                      <a:pt x="1728" y="143"/>
                    </a:lnTo>
                    <a:lnTo>
                      <a:pt x="1735" y="142"/>
                    </a:lnTo>
                    <a:lnTo>
                      <a:pt x="1738" y="143"/>
                    </a:lnTo>
                    <a:lnTo>
                      <a:pt x="1741" y="142"/>
                    </a:lnTo>
                    <a:lnTo>
                      <a:pt x="1746" y="142"/>
                    </a:lnTo>
                    <a:lnTo>
                      <a:pt x="1748" y="145"/>
                    </a:lnTo>
                    <a:lnTo>
                      <a:pt x="1748" y="150"/>
                    </a:lnTo>
                    <a:lnTo>
                      <a:pt x="1750" y="148"/>
                    </a:lnTo>
                    <a:lnTo>
                      <a:pt x="1753" y="148"/>
                    </a:lnTo>
                    <a:lnTo>
                      <a:pt x="1756" y="143"/>
                    </a:lnTo>
                    <a:lnTo>
                      <a:pt x="1758" y="150"/>
                    </a:lnTo>
                    <a:lnTo>
                      <a:pt x="1761" y="150"/>
                    </a:lnTo>
                    <a:lnTo>
                      <a:pt x="1766" y="147"/>
                    </a:lnTo>
                    <a:lnTo>
                      <a:pt x="1769" y="150"/>
                    </a:lnTo>
                    <a:lnTo>
                      <a:pt x="1771" y="158"/>
                    </a:lnTo>
                    <a:lnTo>
                      <a:pt x="1774" y="153"/>
                    </a:lnTo>
                    <a:lnTo>
                      <a:pt x="1778" y="152"/>
                    </a:lnTo>
                    <a:lnTo>
                      <a:pt x="1779" y="153"/>
                    </a:lnTo>
                    <a:lnTo>
                      <a:pt x="1778" y="160"/>
                    </a:lnTo>
                    <a:lnTo>
                      <a:pt x="1781" y="162"/>
                    </a:lnTo>
                    <a:lnTo>
                      <a:pt x="1783" y="163"/>
                    </a:lnTo>
                    <a:lnTo>
                      <a:pt x="1788" y="163"/>
                    </a:lnTo>
                    <a:lnTo>
                      <a:pt x="1788" y="168"/>
                    </a:lnTo>
                    <a:lnTo>
                      <a:pt x="1791" y="167"/>
                    </a:lnTo>
                    <a:lnTo>
                      <a:pt x="1793" y="167"/>
                    </a:lnTo>
                    <a:lnTo>
                      <a:pt x="1794" y="170"/>
                    </a:lnTo>
                    <a:lnTo>
                      <a:pt x="1789" y="175"/>
                    </a:lnTo>
                    <a:lnTo>
                      <a:pt x="1791" y="180"/>
                    </a:lnTo>
                    <a:lnTo>
                      <a:pt x="1798" y="173"/>
                    </a:lnTo>
                    <a:lnTo>
                      <a:pt x="1801" y="173"/>
                    </a:lnTo>
                    <a:lnTo>
                      <a:pt x="1803" y="176"/>
                    </a:lnTo>
                    <a:lnTo>
                      <a:pt x="1793" y="185"/>
                    </a:lnTo>
                    <a:lnTo>
                      <a:pt x="1794" y="190"/>
                    </a:lnTo>
                    <a:lnTo>
                      <a:pt x="1801" y="191"/>
                    </a:lnTo>
                    <a:lnTo>
                      <a:pt x="1803" y="188"/>
                    </a:lnTo>
                    <a:lnTo>
                      <a:pt x="1806" y="186"/>
                    </a:lnTo>
                    <a:lnTo>
                      <a:pt x="1809" y="188"/>
                    </a:lnTo>
                    <a:lnTo>
                      <a:pt x="1811" y="191"/>
                    </a:lnTo>
                    <a:lnTo>
                      <a:pt x="1814" y="190"/>
                    </a:lnTo>
                    <a:lnTo>
                      <a:pt x="1819" y="195"/>
                    </a:lnTo>
                    <a:lnTo>
                      <a:pt x="1818" y="201"/>
                    </a:lnTo>
                    <a:lnTo>
                      <a:pt x="1823" y="201"/>
                    </a:lnTo>
                    <a:lnTo>
                      <a:pt x="1823" y="205"/>
                    </a:lnTo>
                    <a:lnTo>
                      <a:pt x="1828" y="203"/>
                    </a:lnTo>
                    <a:lnTo>
                      <a:pt x="1828" y="206"/>
                    </a:lnTo>
                    <a:lnTo>
                      <a:pt x="1824" y="213"/>
                    </a:lnTo>
                    <a:lnTo>
                      <a:pt x="1818" y="215"/>
                    </a:lnTo>
                    <a:lnTo>
                      <a:pt x="1814" y="213"/>
                    </a:lnTo>
                    <a:lnTo>
                      <a:pt x="1804" y="210"/>
                    </a:lnTo>
                    <a:lnTo>
                      <a:pt x="1794" y="210"/>
                    </a:lnTo>
                    <a:lnTo>
                      <a:pt x="1798" y="213"/>
                    </a:lnTo>
                    <a:lnTo>
                      <a:pt x="1799" y="218"/>
                    </a:lnTo>
                    <a:lnTo>
                      <a:pt x="1809" y="218"/>
                    </a:lnTo>
                    <a:lnTo>
                      <a:pt x="1811" y="221"/>
                    </a:lnTo>
                    <a:lnTo>
                      <a:pt x="1821" y="228"/>
                    </a:lnTo>
                    <a:lnTo>
                      <a:pt x="1829" y="230"/>
                    </a:lnTo>
                    <a:lnTo>
                      <a:pt x="1834" y="226"/>
                    </a:lnTo>
                    <a:lnTo>
                      <a:pt x="1836" y="221"/>
                    </a:lnTo>
                    <a:lnTo>
                      <a:pt x="1831" y="218"/>
                    </a:lnTo>
                    <a:lnTo>
                      <a:pt x="1829" y="215"/>
                    </a:lnTo>
                    <a:lnTo>
                      <a:pt x="1831" y="215"/>
                    </a:lnTo>
                    <a:lnTo>
                      <a:pt x="1836" y="220"/>
                    </a:lnTo>
                    <a:lnTo>
                      <a:pt x="1843" y="223"/>
                    </a:lnTo>
                    <a:lnTo>
                      <a:pt x="1844" y="225"/>
                    </a:lnTo>
                    <a:lnTo>
                      <a:pt x="1841" y="225"/>
                    </a:lnTo>
                    <a:lnTo>
                      <a:pt x="1831" y="233"/>
                    </a:lnTo>
                    <a:lnTo>
                      <a:pt x="1834" y="235"/>
                    </a:lnTo>
                    <a:lnTo>
                      <a:pt x="1838" y="235"/>
                    </a:lnTo>
                    <a:lnTo>
                      <a:pt x="1841" y="233"/>
                    </a:lnTo>
                    <a:lnTo>
                      <a:pt x="1844" y="233"/>
                    </a:lnTo>
                    <a:lnTo>
                      <a:pt x="1859" y="246"/>
                    </a:lnTo>
                    <a:lnTo>
                      <a:pt x="1864" y="248"/>
                    </a:lnTo>
                    <a:lnTo>
                      <a:pt x="1869" y="253"/>
                    </a:lnTo>
                    <a:lnTo>
                      <a:pt x="1881" y="255"/>
                    </a:lnTo>
                    <a:lnTo>
                      <a:pt x="1887" y="261"/>
                    </a:lnTo>
                    <a:lnTo>
                      <a:pt x="1894" y="263"/>
                    </a:lnTo>
                    <a:lnTo>
                      <a:pt x="1896" y="261"/>
                    </a:lnTo>
                    <a:lnTo>
                      <a:pt x="1894" y="258"/>
                    </a:lnTo>
                    <a:lnTo>
                      <a:pt x="1897" y="256"/>
                    </a:lnTo>
                    <a:lnTo>
                      <a:pt x="1901" y="260"/>
                    </a:lnTo>
                    <a:lnTo>
                      <a:pt x="1902" y="263"/>
                    </a:lnTo>
                    <a:lnTo>
                      <a:pt x="1906" y="268"/>
                    </a:lnTo>
                    <a:lnTo>
                      <a:pt x="1907" y="268"/>
                    </a:lnTo>
                    <a:lnTo>
                      <a:pt x="1909" y="263"/>
                    </a:lnTo>
                    <a:lnTo>
                      <a:pt x="1904" y="240"/>
                    </a:lnTo>
                    <a:lnTo>
                      <a:pt x="1899" y="228"/>
                    </a:lnTo>
                    <a:lnTo>
                      <a:pt x="1892" y="216"/>
                    </a:lnTo>
                    <a:lnTo>
                      <a:pt x="1891" y="205"/>
                    </a:lnTo>
                    <a:lnTo>
                      <a:pt x="1887" y="196"/>
                    </a:lnTo>
                    <a:lnTo>
                      <a:pt x="1887" y="193"/>
                    </a:lnTo>
                    <a:lnTo>
                      <a:pt x="1891" y="195"/>
                    </a:lnTo>
                    <a:lnTo>
                      <a:pt x="1894" y="201"/>
                    </a:lnTo>
                    <a:lnTo>
                      <a:pt x="1899" y="206"/>
                    </a:lnTo>
                    <a:lnTo>
                      <a:pt x="1906" y="208"/>
                    </a:lnTo>
                    <a:lnTo>
                      <a:pt x="1911" y="213"/>
                    </a:lnTo>
                    <a:lnTo>
                      <a:pt x="1919" y="213"/>
                    </a:lnTo>
                    <a:lnTo>
                      <a:pt x="1939" y="211"/>
                    </a:lnTo>
                    <a:lnTo>
                      <a:pt x="1942" y="213"/>
                    </a:lnTo>
                    <a:lnTo>
                      <a:pt x="1946" y="211"/>
                    </a:lnTo>
                    <a:lnTo>
                      <a:pt x="1951" y="215"/>
                    </a:lnTo>
                    <a:lnTo>
                      <a:pt x="1952" y="213"/>
                    </a:lnTo>
                    <a:lnTo>
                      <a:pt x="1949" y="208"/>
                    </a:lnTo>
                    <a:lnTo>
                      <a:pt x="1949" y="206"/>
                    </a:lnTo>
                    <a:lnTo>
                      <a:pt x="1946" y="203"/>
                    </a:lnTo>
                    <a:lnTo>
                      <a:pt x="1947" y="201"/>
                    </a:lnTo>
                    <a:lnTo>
                      <a:pt x="1949" y="196"/>
                    </a:lnTo>
                    <a:lnTo>
                      <a:pt x="1965" y="190"/>
                    </a:lnTo>
                    <a:lnTo>
                      <a:pt x="1967" y="191"/>
                    </a:lnTo>
                    <a:lnTo>
                      <a:pt x="1970" y="191"/>
                    </a:lnTo>
                    <a:lnTo>
                      <a:pt x="1977" y="193"/>
                    </a:lnTo>
                    <a:lnTo>
                      <a:pt x="1984" y="193"/>
                    </a:lnTo>
                    <a:lnTo>
                      <a:pt x="1990" y="198"/>
                    </a:lnTo>
                    <a:lnTo>
                      <a:pt x="1995" y="200"/>
                    </a:lnTo>
                    <a:lnTo>
                      <a:pt x="1999" y="205"/>
                    </a:lnTo>
                    <a:lnTo>
                      <a:pt x="2007" y="205"/>
                    </a:lnTo>
                    <a:lnTo>
                      <a:pt x="2009" y="210"/>
                    </a:lnTo>
                    <a:lnTo>
                      <a:pt x="2020" y="210"/>
                    </a:lnTo>
                    <a:lnTo>
                      <a:pt x="2014" y="206"/>
                    </a:lnTo>
                    <a:lnTo>
                      <a:pt x="2012" y="203"/>
                    </a:lnTo>
                    <a:lnTo>
                      <a:pt x="2019" y="205"/>
                    </a:lnTo>
                    <a:lnTo>
                      <a:pt x="2024" y="201"/>
                    </a:lnTo>
                    <a:lnTo>
                      <a:pt x="2019" y="200"/>
                    </a:lnTo>
                    <a:lnTo>
                      <a:pt x="2022" y="196"/>
                    </a:lnTo>
                    <a:lnTo>
                      <a:pt x="2019" y="193"/>
                    </a:lnTo>
                    <a:lnTo>
                      <a:pt x="2012" y="196"/>
                    </a:lnTo>
                    <a:lnTo>
                      <a:pt x="2007" y="195"/>
                    </a:lnTo>
                    <a:lnTo>
                      <a:pt x="2005" y="188"/>
                    </a:lnTo>
                    <a:lnTo>
                      <a:pt x="2004" y="183"/>
                    </a:lnTo>
                    <a:lnTo>
                      <a:pt x="2007" y="180"/>
                    </a:lnTo>
                    <a:lnTo>
                      <a:pt x="2009" y="183"/>
                    </a:lnTo>
                    <a:lnTo>
                      <a:pt x="2014" y="180"/>
                    </a:lnTo>
                    <a:lnTo>
                      <a:pt x="2010" y="176"/>
                    </a:lnTo>
                    <a:lnTo>
                      <a:pt x="2015" y="175"/>
                    </a:lnTo>
                    <a:lnTo>
                      <a:pt x="2022" y="180"/>
                    </a:lnTo>
                    <a:lnTo>
                      <a:pt x="2024" y="185"/>
                    </a:lnTo>
                    <a:lnTo>
                      <a:pt x="2027" y="185"/>
                    </a:lnTo>
                    <a:lnTo>
                      <a:pt x="2030" y="186"/>
                    </a:lnTo>
                    <a:lnTo>
                      <a:pt x="2034" y="185"/>
                    </a:lnTo>
                    <a:lnTo>
                      <a:pt x="2032" y="180"/>
                    </a:lnTo>
                    <a:lnTo>
                      <a:pt x="2037" y="178"/>
                    </a:lnTo>
                    <a:lnTo>
                      <a:pt x="2040" y="180"/>
                    </a:lnTo>
                    <a:lnTo>
                      <a:pt x="2042" y="176"/>
                    </a:lnTo>
                    <a:lnTo>
                      <a:pt x="2034" y="168"/>
                    </a:lnTo>
                    <a:lnTo>
                      <a:pt x="2029" y="168"/>
                    </a:lnTo>
                    <a:lnTo>
                      <a:pt x="2022" y="163"/>
                    </a:lnTo>
                    <a:lnTo>
                      <a:pt x="2024" y="158"/>
                    </a:lnTo>
                    <a:lnTo>
                      <a:pt x="2020" y="155"/>
                    </a:lnTo>
                    <a:lnTo>
                      <a:pt x="2015" y="157"/>
                    </a:lnTo>
                    <a:lnTo>
                      <a:pt x="2010" y="155"/>
                    </a:lnTo>
                    <a:lnTo>
                      <a:pt x="2017" y="152"/>
                    </a:lnTo>
                    <a:lnTo>
                      <a:pt x="2014" y="148"/>
                    </a:lnTo>
                    <a:lnTo>
                      <a:pt x="2015" y="147"/>
                    </a:lnTo>
                    <a:lnTo>
                      <a:pt x="2012" y="142"/>
                    </a:lnTo>
                    <a:lnTo>
                      <a:pt x="2020" y="142"/>
                    </a:lnTo>
                    <a:lnTo>
                      <a:pt x="2022" y="133"/>
                    </a:lnTo>
                    <a:lnTo>
                      <a:pt x="2012" y="137"/>
                    </a:lnTo>
                    <a:lnTo>
                      <a:pt x="2007" y="140"/>
                    </a:lnTo>
                    <a:lnTo>
                      <a:pt x="2007" y="145"/>
                    </a:lnTo>
                    <a:lnTo>
                      <a:pt x="1997" y="143"/>
                    </a:lnTo>
                    <a:lnTo>
                      <a:pt x="1992" y="135"/>
                    </a:lnTo>
                    <a:lnTo>
                      <a:pt x="1995" y="130"/>
                    </a:lnTo>
                    <a:lnTo>
                      <a:pt x="1997" y="125"/>
                    </a:lnTo>
                    <a:lnTo>
                      <a:pt x="2005" y="122"/>
                    </a:lnTo>
                    <a:lnTo>
                      <a:pt x="2010" y="122"/>
                    </a:lnTo>
                    <a:lnTo>
                      <a:pt x="2019" y="115"/>
                    </a:lnTo>
                    <a:lnTo>
                      <a:pt x="2019" y="112"/>
                    </a:lnTo>
                    <a:lnTo>
                      <a:pt x="2014" y="107"/>
                    </a:lnTo>
                    <a:lnTo>
                      <a:pt x="2009" y="107"/>
                    </a:lnTo>
                    <a:lnTo>
                      <a:pt x="2005" y="105"/>
                    </a:lnTo>
                    <a:lnTo>
                      <a:pt x="1997" y="105"/>
                    </a:lnTo>
                    <a:lnTo>
                      <a:pt x="1990" y="100"/>
                    </a:lnTo>
                    <a:lnTo>
                      <a:pt x="1999" y="97"/>
                    </a:lnTo>
                    <a:lnTo>
                      <a:pt x="2007" y="97"/>
                    </a:lnTo>
                    <a:lnTo>
                      <a:pt x="2019" y="100"/>
                    </a:lnTo>
                    <a:lnTo>
                      <a:pt x="2029" y="98"/>
                    </a:lnTo>
                    <a:lnTo>
                      <a:pt x="2045" y="98"/>
                    </a:lnTo>
                    <a:lnTo>
                      <a:pt x="2073" y="97"/>
                    </a:lnTo>
                    <a:lnTo>
                      <a:pt x="2077" y="93"/>
                    </a:lnTo>
                    <a:lnTo>
                      <a:pt x="2098" y="93"/>
                    </a:lnTo>
                    <a:lnTo>
                      <a:pt x="2107" y="95"/>
                    </a:lnTo>
                    <a:lnTo>
                      <a:pt x="2115" y="93"/>
                    </a:lnTo>
                    <a:lnTo>
                      <a:pt x="2127" y="93"/>
                    </a:lnTo>
                    <a:lnTo>
                      <a:pt x="2120" y="95"/>
                    </a:lnTo>
                    <a:lnTo>
                      <a:pt x="2103" y="102"/>
                    </a:lnTo>
                    <a:lnTo>
                      <a:pt x="2098" y="100"/>
                    </a:lnTo>
                    <a:lnTo>
                      <a:pt x="2095" y="100"/>
                    </a:lnTo>
                    <a:lnTo>
                      <a:pt x="2090" y="98"/>
                    </a:lnTo>
                    <a:lnTo>
                      <a:pt x="2088" y="108"/>
                    </a:lnTo>
                    <a:lnTo>
                      <a:pt x="2092" y="113"/>
                    </a:lnTo>
                    <a:lnTo>
                      <a:pt x="2088" y="115"/>
                    </a:lnTo>
                    <a:lnTo>
                      <a:pt x="2087" y="118"/>
                    </a:lnTo>
                    <a:lnTo>
                      <a:pt x="2092" y="120"/>
                    </a:lnTo>
                    <a:lnTo>
                      <a:pt x="2100" y="115"/>
                    </a:lnTo>
                    <a:lnTo>
                      <a:pt x="2100" y="112"/>
                    </a:lnTo>
                    <a:lnTo>
                      <a:pt x="2112" y="103"/>
                    </a:lnTo>
                    <a:lnTo>
                      <a:pt x="2128" y="97"/>
                    </a:lnTo>
                    <a:lnTo>
                      <a:pt x="2132" y="105"/>
                    </a:lnTo>
                    <a:lnTo>
                      <a:pt x="2132" y="117"/>
                    </a:lnTo>
                    <a:lnTo>
                      <a:pt x="2130" y="118"/>
                    </a:lnTo>
                    <a:lnTo>
                      <a:pt x="2127" y="112"/>
                    </a:lnTo>
                    <a:lnTo>
                      <a:pt x="2123" y="108"/>
                    </a:lnTo>
                    <a:lnTo>
                      <a:pt x="2122" y="103"/>
                    </a:lnTo>
                    <a:lnTo>
                      <a:pt x="2117" y="107"/>
                    </a:lnTo>
                    <a:lnTo>
                      <a:pt x="2115" y="107"/>
                    </a:lnTo>
                    <a:lnTo>
                      <a:pt x="2117" y="113"/>
                    </a:lnTo>
                    <a:lnTo>
                      <a:pt x="2122" y="115"/>
                    </a:lnTo>
                    <a:lnTo>
                      <a:pt x="2123" y="125"/>
                    </a:lnTo>
                    <a:lnTo>
                      <a:pt x="2120" y="132"/>
                    </a:lnTo>
                    <a:lnTo>
                      <a:pt x="2117" y="130"/>
                    </a:lnTo>
                    <a:lnTo>
                      <a:pt x="2113" y="133"/>
                    </a:lnTo>
                    <a:lnTo>
                      <a:pt x="2120" y="137"/>
                    </a:lnTo>
                    <a:lnTo>
                      <a:pt x="2120" y="140"/>
                    </a:lnTo>
                    <a:lnTo>
                      <a:pt x="2122" y="142"/>
                    </a:lnTo>
                    <a:lnTo>
                      <a:pt x="2125" y="142"/>
                    </a:lnTo>
                    <a:lnTo>
                      <a:pt x="2132" y="137"/>
                    </a:lnTo>
                    <a:lnTo>
                      <a:pt x="2132" y="132"/>
                    </a:lnTo>
                    <a:lnTo>
                      <a:pt x="2137" y="125"/>
                    </a:lnTo>
                    <a:lnTo>
                      <a:pt x="2135" y="120"/>
                    </a:lnTo>
                    <a:lnTo>
                      <a:pt x="2135" y="115"/>
                    </a:lnTo>
                    <a:lnTo>
                      <a:pt x="2133" y="92"/>
                    </a:lnTo>
                    <a:lnTo>
                      <a:pt x="2142" y="87"/>
                    </a:lnTo>
                    <a:lnTo>
                      <a:pt x="2155" y="83"/>
                    </a:lnTo>
                    <a:lnTo>
                      <a:pt x="2168" y="80"/>
                    </a:lnTo>
                    <a:lnTo>
                      <a:pt x="2181" y="82"/>
                    </a:lnTo>
                    <a:lnTo>
                      <a:pt x="2198" y="87"/>
                    </a:lnTo>
                    <a:lnTo>
                      <a:pt x="2206" y="97"/>
                    </a:lnTo>
                    <a:lnTo>
                      <a:pt x="2205" y="102"/>
                    </a:lnTo>
                    <a:lnTo>
                      <a:pt x="2201" y="105"/>
                    </a:lnTo>
                    <a:lnTo>
                      <a:pt x="2191" y="98"/>
                    </a:lnTo>
                    <a:lnTo>
                      <a:pt x="2191" y="100"/>
                    </a:lnTo>
                    <a:lnTo>
                      <a:pt x="2193" y="103"/>
                    </a:lnTo>
                    <a:lnTo>
                      <a:pt x="2193" y="108"/>
                    </a:lnTo>
                    <a:lnTo>
                      <a:pt x="2193" y="113"/>
                    </a:lnTo>
                    <a:lnTo>
                      <a:pt x="2190" y="115"/>
                    </a:lnTo>
                    <a:lnTo>
                      <a:pt x="2193" y="117"/>
                    </a:lnTo>
                    <a:lnTo>
                      <a:pt x="2198" y="113"/>
                    </a:lnTo>
                    <a:lnTo>
                      <a:pt x="2206" y="113"/>
                    </a:lnTo>
                    <a:lnTo>
                      <a:pt x="2211" y="108"/>
                    </a:lnTo>
                    <a:lnTo>
                      <a:pt x="2213" y="115"/>
                    </a:lnTo>
                    <a:lnTo>
                      <a:pt x="2216" y="120"/>
                    </a:lnTo>
                    <a:lnTo>
                      <a:pt x="2216" y="125"/>
                    </a:lnTo>
                    <a:lnTo>
                      <a:pt x="2220" y="128"/>
                    </a:lnTo>
                    <a:lnTo>
                      <a:pt x="2223" y="123"/>
                    </a:lnTo>
                    <a:lnTo>
                      <a:pt x="2223" y="120"/>
                    </a:lnTo>
                    <a:lnTo>
                      <a:pt x="2228" y="115"/>
                    </a:lnTo>
                    <a:lnTo>
                      <a:pt x="2235" y="118"/>
                    </a:lnTo>
                    <a:lnTo>
                      <a:pt x="2236" y="123"/>
                    </a:lnTo>
                    <a:lnTo>
                      <a:pt x="2235" y="127"/>
                    </a:lnTo>
                    <a:lnTo>
                      <a:pt x="2233" y="133"/>
                    </a:lnTo>
                    <a:lnTo>
                      <a:pt x="2233" y="135"/>
                    </a:lnTo>
                    <a:lnTo>
                      <a:pt x="2238" y="133"/>
                    </a:lnTo>
                    <a:lnTo>
                      <a:pt x="2240" y="128"/>
                    </a:lnTo>
                    <a:lnTo>
                      <a:pt x="2243" y="127"/>
                    </a:lnTo>
                    <a:lnTo>
                      <a:pt x="2245" y="130"/>
                    </a:lnTo>
                    <a:lnTo>
                      <a:pt x="2245" y="125"/>
                    </a:lnTo>
                    <a:lnTo>
                      <a:pt x="2250" y="117"/>
                    </a:lnTo>
                    <a:lnTo>
                      <a:pt x="2251" y="115"/>
                    </a:lnTo>
                    <a:lnTo>
                      <a:pt x="2254" y="117"/>
                    </a:lnTo>
                    <a:lnTo>
                      <a:pt x="2266" y="123"/>
                    </a:lnTo>
                    <a:lnTo>
                      <a:pt x="2278" y="127"/>
                    </a:lnTo>
                    <a:lnTo>
                      <a:pt x="2284" y="133"/>
                    </a:lnTo>
                    <a:lnTo>
                      <a:pt x="2284" y="137"/>
                    </a:lnTo>
                    <a:lnTo>
                      <a:pt x="2276" y="142"/>
                    </a:lnTo>
                    <a:lnTo>
                      <a:pt x="2271" y="147"/>
                    </a:lnTo>
                    <a:lnTo>
                      <a:pt x="2278" y="143"/>
                    </a:lnTo>
                    <a:lnTo>
                      <a:pt x="2288" y="142"/>
                    </a:lnTo>
                    <a:lnTo>
                      <a:pt x="2294" y="143"/>
                    </a:lnTo>
                    <a:lnTo>
                      <a:pt x="2303" y="142"/>
                    </a:lnTo>
                    <a:lnTo>
                      <a:pt x="2309" y="137"/>
                    </a:lnTo>
                    <a:lnTo>
                      <a:pt x="2314" y="135"/>
                    </a:lnTo>
                    <a:lnTo>
                      <a:pt x="2324" y="127"/>
                    </a:lnTo>
                    <a:lnTo>
                      <a:pt x="2329" y="125"/>
                    </a:lnTo>
                    <a:lnTo>
                      <a:pt x="2336" y="118"/>
                    </a:lnTo>
                    <a:lnTo>
                      <a:pt x="2343" y="117"/>
                    </a:lnTo>
                    <a:lnTo>
                      <a:pt x="2361" y="108"/>
                    </a:lnTo>
                    <a:lnTo>
                      <a:pt x="2371" y="105"/>
                    </a:lnTo>
                    <a:lnTo>
                      <a:pt x="2376" y="107"/>
                    </a:lnTo>
                    <a:lnTo>
                      <a:pt x="2376" y="105"/>
                    </a:lnTo>
                    <a:lnTo>
                      <a:pt x="2386" y="98"/>
                    </a:lnTo>
                    <a:lnTo>
                      <a:pt x="2392" y="98"/>
                    </a:lnTo>
                    <a:lnTo>
                      <a:pt x="2404" y="98"/>
                    </a:lnTo>
                    <a:lnTo>
                      <a:pt x="2429" y="105"/>
                    </a:lnTo>
                    <a:lnTo>
                      <a:pt x="2439" y="115"/>
                    </a:lnTo>
                    <a:lnTo>
                      <a:pt x="2449" y="120"/>
                    </a:lnTo>
                    <a:lnTo>
                      <a:pt x="2457" y="128"/>
                    </a:lnTo>
                    <a:lnTo>
                      <a:pt x="2462" y="137"/>
                    </a:lnTo>
                    <a:lnTo>
                      <a:pt x="2462" y="140"/>
                    </a:lnTo>
                    <a:lnTo>
                      <a:pt x="2464" y="143"/>
                    </a:lnTo>
                    <a:lnTo>
                      <a:pt x="2464" y="150"/>
                    </a:lnTo>
                    <a:lnTo>
                      <a:pt x="2469" y="158"/>
                    </a:lnTo>
                    <a:lnTo>
                      <a:pt x="2469" y="162"/>
                    </a:lnTo>
                    <a:lnTo>
                      <a:pt x="2465" y="167"/>
                    </a:lnTo>
                    <a:lnTo>
                      <a:pt x="2472" y="165"/>
                    </a:lnTo>
                    <a:lnTo>
                      <a:pt x="2477" y="160"/>
                    </a:lnTo>
                    <a:lnTo>
                      <a:pt x="2484" y="160"/>
                    </a:lnTo>
                    <a:lnTo>
                      <a:pt x="2487" y="162"/>
                    </a:lnTo>
                    <a:lnTo>
                      <a:pt x="2487" y="158"/>
                    </a:lnTo>
                    <a:lnTo>
                      <a:pt x="2494" y="158"/>
                    </a:lnTo>
                    <a:lnTo>
                      <a:pt x="2499" y="162"/>
                    </a:lnTo>
                    <a:lnTo>
                      <a:pt x="2502" y="167"/>
                    </a:lnTo>
                    <a:lnTo>
                      <a:pt x="2502" y="162"/>
                    </a:lnTo>
                    <a:lnTo>
                      <a:pt x="2500" y="155"/>
                    </a:lnTo>
                    <a:lnTo>
                      <a:pt x="2505" y="155"/>
                    </a:lnTo>
                    <a:lnTo>
                      <a:pt x="2509" y="160"/>
                    </a:lnTo>
                    <a:lnTo>
                      <a:pt x="2517" y="168"/>
                    </a:lnTo>
                    <a:lnTo>
                      <a:pt x="2519" y="175"/>
                    </a:lnTo>
                    <a:lnTo>
                      <a:pt x="2522" y="175"/>
                    </a:lnTo>
                    <a:lnTo>
                      <a:pt x="2530" y="183"/>
                    </a:lnTo>
                    <a:lnTo>
                      <a:pt x="2529" y="181"/>
                    </a:lnTo>
                    <a:lnTo>
                      <a:pt x="2527" y="175"/>
                    </a:lnTo>
                    <a:lnTo>
                      <a:pt x="2522" y="172"/>
                    </a:lnTo>
                    <a:lnTo>
                      <a:pt x="2522" y="168"/>
                    </a:lnTo>
                    <a:lnTo>
                      <a:pt x="2527" y="172"/>
                    </a:lnTo>
                    <a:lnTo>
                      <a:pt x="2530" y="170"/>
                    </a:lnTo>
                    <a:lnTo>
                      <a:pt x="2535" y="175"/>
                    </a:lnTo>
                    <a:lnTo>
                      <a:pt x="2542" y="183"/>
                    </a:lnTo>
                    <a:lnTo>
                      <a:pt x="2540" y="176"/>
                    </a:lnTo>
                    <a:lnTo>
                      <a:pt x="2532" y="165"/>
                    </a:lnTo>
                    <a:lnTo>
                      <a:pt x="2532" y="155"/>
                    </a:lnTo>
                    <a:lnTo>
                      <a:pt x="2532" y="147"/>
                    </a:lnTo>
                    <a:lnTo>
                      <a:pt x="2539" y="140"/>
                    </a:lnTo>
                    <a:lnTo>
                      <a:pt x="2547" y="140"/>
                    </a:lnTo>
                    <a:lnTo>
                      <a:pt x="2552" y="137"/>
                    </a:lnTo>
                    <a:lnTo>
                      <a:pt x="2560" y="133"/>
                    </a:lnTo>
                    <a:lnTo>
                      <a:pt x="2560" y="130"/>
                    </a:lnTo>
                    <a:lnTo>
                      <a:pt x="2562" y="128"/>
                    </a:lnTo>
                    <a:lnTo>
                      <a:pt x="2565" y="128"/>
                    </a:lnTo>
                    <a:lnTo>
                      <a:pt x="2570" y="132"/>
                    </a:lnTo>
                    <a:lnTo>
                      <a:pt x="2573" y="133"/>
                    </a:lnTo>
                    <a:lnTo>
                      <a:pt x="2580" y="132"/>
                    </a:lnTo>
                    <a:lnTo>
                      <a:pt x="2587" y="128"/>
                    </a:lnTo>
                    <a:lnTo>
                      <a:pt x="2590" y="128"/>
                    </a:lnTo>
                    <a:lnTo>
                      <a:pt x="2600" y="127"/>
                    </a:lnTo>
                    <a:lnTo>
                      <a:pt x="2610" y="127"/>
                    </a:lnTo>
                    <a:lnTo>
                      <a:pt x="2613" y="123"/>
                    </a:lnTo>
                    <a:lnTo>
                      <a:pt x="2617" y="123"/>
                    </a:lnTo>
                    <a:lnTo>
                      <a:pt x="2617" y="127"/>
                    </a:lnTo>
                    <a:lnTo>
                      <a:pt x="2620" y="130"/>
                    </a:lnTo>
                    <a:lnTo>
                      <a:pt x="2622" y="125"/>
                    </a:lnTo>
                    <a:lnTo>
                      <a:pt x="2628" y="118"/>
                    </a:lnTo>
                    <a:lnTo>
                      <a:pt x="2627" y="115"/>
                    </a:lnTo>
                    <a:lnTo>
                      <a:pt x="2627" y="108"/>
                    </a:lnTo>
                    <a:lnTo>
                      <a:pt x="2627" y="103"/>
                    </a:lnTo>
                    <a:lnTo>
                      <a:pt x="2630" y="102"/>
                    </a:lnTo>
                    <a:lnTo>
                      <a:pt x="2638" y="103"/>
                    </a:lnTo>
                    <a:lnTo>
                      <a:pt x="2640" y="108"/>
                    </a:lnTo>
                    <a:lnTo>
                      <a:pt x="2642" y="112"/>
                    </a:lnTo>
                    <a:lnTo>
                      <a:pt x="2648" y="112"/>
                    </a:lnTo>
                    <a:lnTo>
                      <a:pt x="2651" y="115"/>
                    </a:lnTo>
                    <a:lnTo>
                      <a:pt x="2651" y="120"/>
                    </a:lnTo>
                    <a:lnTo>
                      <a:pt x="2658" y="127"/>
                    </a:lnTo>
                    <a:lnTo>
                      <a:pt x="2661" y="128"/>
                    </a:lnTo>
                    <a:lnTo>
                      <a:pt x="2670" y="128"/>
                    </a:lnTo>
                    <a:lnTo>
                      <a:pt x="2681" y="130"/>
                    </a:lnTo>
                    <a:lnTo>
                      <a:pt x="2683" y="128"/>
                    </a:lnTo>
                    <a:lnTo>
                      <a:pt x="2686" y="130"/>
                    </a:lnTo>
                    <a:lnTo>
                      <a:pt x="2695" y="140"/>
                    </a:lnTo>
                    <a:lnTo>
                      <a:pt x="2695" y="145"/>
                    </a:lnTo>
                    <a:lnTo>
                      <a:pt x="2698" y="147"/>
                    </a:lnTo>
                    <a:lnTo>
                      <a:pt x="2705" y="148"/>
                    </a:lnTo>
                    <a:lnTo>
                      <a:pt x="2710" y="145"/>
                    </a:lnTo>
                    <a:lnTo>
                      <a:pt x="2715" y="145"/>
                    </a:lnTo>
                    <a:lnTo>
                      <a:pt x="2715" y="142"/>
                    </a:lnTo>
                    <a:lnTo>
                      <a:pt x="2720" y="138"/>
                    </a:lnTo>
                    <a:lnTo>
                      <a:pt x="2723" y="138"/>
                    </a:lnTo>
                    <a:lnTo>
                      <a:pt x="2726" y="137"/>
                    </a:lnTo>
                    <a:lnTo>
                      <a:pt x="2723" y="133"/>
                    </a:lnTo>
                    <a:lnTo>
                      <a:pt x="2725" y="132"/>
                    </a:lnTo>
                    <a:lnTo>
                      <a:pt x="2723" y="128"/>
                    </a:lnTo>
                    <a:lnTo>
                      <a:pt x="2723" y="125"/>
                    </a:lnTo>
                    <a:lnTo>
                      <a:pt x="2718" y="120"/>
                    </a:lnTo>
                    <a:lnTo>
                      <a:pt x="2711" y="118"/>
                    </a:lnTo>
                    <a:lnTo>
                      <a:pt x="2710" y="112"/>
                    </a:lnTo>
                    <a:lnTo>
                      <a:pt x="2701" y="103"/>
                    </a:lnTo>
                    <a:lnTo>
                      <a:pt x="2698" y="102"/>
                    </a:lnTo>
                    <a:lnTo>
                      <a:pt x="2696" y="98"/>
                    </a:lnTo>
                    <a:lnTo>
                      <a:pt x="2686" y="95"/>
                    </a:lnTo>
                    <a:lnTo>
                      <a:pt x="2683" y="98"/>
                    </a:lnTo>
                    <a:lnTo>
                      <a:pt x="2680" y="98"/>
                    </a:lnTo>
                    <a:lnTo>
                      <a:pt x="2680" y="93"/>
                    </a:lnTo>
                    <a:lnTo>
                      <a:pt x="2681" y="90"/>
                    </a:lnTo>
                    <a:lnTo>
                      <a:pt x="2678" y="83"/>
                    </a:lnTo>
                    <a:lnTo>
                      <a:pt x="2676" y="80"/>
                    </a:lnTo>
                    <a:lnTo>
                      <a:pt x="2673" y="77"/>
                    </a:lnTo>
                    <a:lnTo>
                      <a:pt x="2670" y="70"/>
                    </a:lnTo>
                    <a:lnTo>
                      <a:pt x="2663" y="65"/>
                    </a:lnTo>
                    <a:lnTo>
                      <a:pt x="2665" y="65"/>
                    </a:lnTo>
                    <a:lnTo>
                      <a:pt x="2676" y="64"/>
                    </a:lnTo>
                    <a:lnTo>
                      <a:pt x="2680" y="65"/>
                    </a:lnTo>
                    <a:lnTo>
                      <a:pt x="2691" y="64"/>
                    </a:lnTo>
                    <a:lnTo>
                      <a:pt x="2703" y="64"/>
                    </a:lnTo>
                    <a:lnTo>
                      <a:pt x="2703" y="60"/>
                    </a:lnTo>
                    <a:lnTo>
                      <a:pt x="2710" y="59"/>
                    </a:lnTo>
                    <a:lnTo>
                      <a:pt x="2716" y="62"/>
                    </a:lnTo>
                    <a:lnTo>
                      <a:pt x="2720" y="60"/>
                    </a:lnTo>
                    <a:lnTo>
                      <a:pt x="2723" y="62"/>
                    </a:lnTo>
                    <a:lnTo>
                      <a:pt x="2723" y="57"/>
                    </a:lnTo>
                    <a:lnTo>
                      <a:pt x="2730" y="57"/>
                    </a:lnTo>
                    <a:lnTo>
                      <a:pt x="2731" y="60"/>
                    </a:lnTo>
                    <a:lnTo>
                      <a:pt x="2733" y="59"/>
                    </a:lnTo>
                    <a:lnTo>
                      <a:pt x="2736" y="55"/>
                    </a:lnTo>
                    <a:lnTo>
                      <a:pt x="2741" y="55"/>
                    </a:lnTo>
                    <a:lnTo>
                      <a:pt x="2741" y="52"/>
                    </a:lnTo>
                    <a:lnTo>
                      <a:pt x="2761" y="47"/>
                    </a:lnTo>
                    <a:lnTo>
                      <a:pt x="2763" y="52"/>
                    </a:lnTo>
                    <a:lnTo>
                      <a:pt x="2764" y="47"/>
                    </a:lnTo>
                    <a:lnTo>
                      <a:pt x="2766" y="44"/>
                    </a:lnTo>
                    <a:lnTo>
                      <a:pt x="2769" y="45"/>
                    </a:lnTo>
                    <a:lnTo>
                      <a:pt x="2776" y="44"/>
                    </a:lnTo>
                    <a:lnTo>
                      <a:pt x="2779" y="44"/>
                    </a:lnTo>
                    <a:lnTo>
                      <a:pt x="2783" y="47"/>
                    </a:lnTo>
                    <a:lnTo>
                      <a:pt x="2793" y="47"/>
                    </a:lnTo>
                    <a:lnTo>
                      <a:pt x="2796" y="45"/>
                    </a:lnTo>
                    <a:lnTo>
                      <a:pt x="2799" y="49"/>
                    </a:lnTo>
                    <a:lnTo>
                      <a:pt x="2803" y="50"/>
                    </a:lnTo>
                    <a:lnTo>
                      <a:pt x="2804" y="47"/>
                    </a:lnTo>
                    <a:lnTo>
                      <a:pt x="2813" y="45"/>
                    </a:lnTo>
                    <a:lnTo>
                      <a:pt x="2828" y="50"/>
                    </a:lnTo>
                    <a:lnTo>
                      <a:pt x="2834" y="52"/>
                    </a:lnTo>
                    <a:lnTo>
                      <a:pt x="2838" y="52"/>
                    </a:lnTo>
                    <a:lnTo>
                      <a:pt x="2836" y="50"/>
                    </a:lnTo>
                    <a:lnTo>
                      <a:pt x="2841" y="49"/>
                    </a:lnTo>
                    <a:lnTo>
                      <a:pt x="2844" y="52"/>
                    </a:lnTo>
                    <a:lnTo>
                      <a:pt x="2841" y="54"/>
                    </a:lnTo>
                    <a:lnTo>
                      <a:pt x="2844" y="55"/>
                    </a:lnTo>
                    <a:lnTo>
                      <a:pt x="2851" y="54"/>
                    </a:lnTo>
                    <a:lnTo>
                      <a:pt x="2867" y="55"/>
                    </a:lnTo>
                    <a:lnTo>
                      <a:pt x="2882" y="64"/>
                    </a:lnTo>
                    <a:lnTo>
                      <a:pt x="2881" y="65"/>
                    </a:lnTo>
                    <a:lnTo>
                      <a:pt x="2877" y="64"/>
                    </a:lnTo>
                    <a:lnTo>
                      <a:pt x="2869" y="60"/>
                    </a:lnTo>
                    <a:lnTo>
                      <a:pt x="2867" y="62"/>
                    </a:lnTo>
                    <a:lnTo>
                      <a:pt x="2882" y="67"/>
                    </a:lnTo>
                    <a:lnTo>
                      <a:pt x="2889" y="67"/>
                    </a:lnTo>
                    <a:lnTo>
                      <a:pt x="2891" y="64"/>
                    </a:lnTo>
                    <a:lnTo>
                      <a:pt x="2897" y="64"/>
                    </a:lnTo>
                    <a:lnTo>
                      <a:pt x="2904" y="64"/>
                    </a:lnTo>
                    <a:lnTo>
                      <a:pt x="2902" y="60"/>
                    </a:lnTo>
                    <a:lnTo>
                      <a:pt x="2906" y="59"/>
                    </a:lnTo>
                    <a:lnTo>
                      <a:pt x="2911" y="62"/>
                    </a:lnTo>
                    <a:lnTo>
                      <a:pt x="2916" y="64"/>
                    </a:lnTo>
                    <a:lnTo>
                      <a:pt x="2917" y="65"/>
                    </a:lnTo>
                    <a:lnTo>
                      <a:pt x="2917" y="62"/>
                    </a:lnTo>
                    <a:lnTo>
                      <a:pt x="2919" y="62"/>
                    </a:lnTo>
                    <a:lnTo>
                      <a:pt x="2926" y="64"/>
                    </a:lnTo>
                    <a:lnTo>
                      <a:pt x="2926" y="65"/>
                    </a:lnTo>
                    <a:lnTo>
                      <a:pt x="2934" y="69"/>
                    </a:lnTo>
                    <a:lnTo>
                      <a:pt x="2939" y="67"/>
                    </a:lnTo>
                    <a:lnTo>
                      <a:pt x="2960" y="70"/>
                    </a:lnTo>
                    <a:lnTo>
                      <a:pt x="2957" y="67"/>
                    </a:lnTo>
                    <a:lnTo>
                      <a:pt x="2965" y="67"/>
                    </a:lnTo>
                    <a:lnTo>
                      <a:pt x="2967" y="70"/>
                    </a:lnTo>
                    <a:lnTo>
                      <a:pt x="2970" y="72"/>
                    </a:lnTo>
                    <a:lnTo>
                      <a:pt x="2970" y="67"/>
                    </a:lnTo>
                    <a:lnTo>
                      <a:pt x="2972" y="67"/>
                    </a:lnTo>
                    <a:lnTo>
                      <a:pt x="2980" y="69"/>
                    </a:lnTo>
                    <a:lnTo>
                      <a:pt x="2979" y="70"/>
                    </a:lnTo>
                    <a:lnTo>
                      <a:pt x="2982" y="74"/>
                    </a:lnTo>
                    <a:lnTo>
                      <a:pt x="2989" y="72"/>
                    </a:lnTo>
                    <a:lnTo>
                      <a:pt x="2989" y="70"/>
                    </a:lnTo>
                    <a:lnTo>
                      <a:pt x="2987" y="69"/>
                    </a:lnTo>
                    <a:lnTo>
                      <a:pt x="2994" y="69"/>
                    </a:lnTo>
                    <a:lnTo>
                      <a:pt x="2997" y="70"/>
                    </a:lnTo>
                    <a:lnTo>
                      <a:pt x="2995" y="74"/>
                    </a:lnTo>
                    <a:lnTo>
                      <a:pt x="3000" y="78"/>
                    </a:lnTo>
                    <a:lnTo>
                      <a:pt x="3009" y="80"/>
                    </a:lnTo>
                    <a:lnTo>
                      <a:pt x="3015" y="78"/>
                    </a:lnTo>
                    <a:lnTo>
                      <a:pt x="3005" y="75"/>
                    </a:lnTo>
                    <a:lnTo>
                      <a:pt x="3002" y="74"/>
                    </a:lnTo>
                    <a:lnTo>
                      <a:pt x="3000" y="70"/>
                    </a:lnTo>
                    <a:lnTo>
                      <a:pt x="3005" y="70"/>
                    </a:lnTo>
                    <a:lnTo>
                      <a:pt x="3010" y="70"/>
                    </a:lnTo>
                    <a:lnTo>
                      <a:pt x="3020" y="75"/>
                    </a:lnTo>
                    <a:lnTo>
                      <a:pt x="3024" y="80"/>
                    </a:lnTo>
                    <a:lnTo>
                      <a:pt x="3025" y="82"/>
                    </a:lnTo>
                    <a:lnTo>
                      <a:pt x="3027" y="77"/>
                    </a:lnTo>
                    <a:lnTo>
                      <a:pt x="3025" y="75"/>
                    </a:lnTo>
                    <a:lnTo>
                      <a:pt x="3029" y="77"/>
                    </a:lnTo>
                    <a:lnTo>
                      <a:pt x="3032" y="78"/>
                    </a:lnTo>
                    <a:lnTo>
                      <a:pt x="3032" y="80"/>
                    </a:lnTo>
                    <a:lnTo>
                      <a:pt x="3037" y="87"/>
                    </a:lnTo>
                    <a:lnTo>
                      <a:pt x="3044" y="98"/>
                    </a:lnTo>
                    <a:lnTo>
                      <a:pt x="3052" y="102"/>
                    </a:lnTo>
                    <a:lnTo>
                      <a:pt x="3053" y="105"/>
                    </a:lnTo>
                    <a:lnTo>
                      <a:pt x="3058" y="110"/>
                    </a:lnTo>
                    <a:lnTo>
                      <a:pt x="3060" y="113"/>
                    </a:lnTo>
                    <a:lnTo>
                      <a:pt x="3058" y="117"/>
                    </a:lnTo>
                    <a:lnTo>
                      <a:pt x="3060" y="120"/>
                    </a:lnTo>
                    <a:lnTo>
                      <a:pt x="3063" y="122"/>
                    </a:lnTo>
                    <a:lnTo>
                      <a:pt x="3068" y="118"/>
                    </a:lnTo>
                    <a:lnTo>
                      <a:pt x="3075" y="118"/>
                    </a:lnTo>
                    <a:lnTo>
                      <a:pt x="3078" y="125"/>
                    </a:lnTo>
                    <a:lnTo>
                      <a:pt x="3083" y="127"/>
                    </a:lnTo>
                    <a:lnTo>
                      <a:pt x="3083" y="125"/>
                    </a:lnTo>
                    <a:lnTo>
                      <a:pt x="3082" y="123"/>
                    </a:lnTo>
                    <a:lnTo>
                      <a:pt x="3080" y="120"/>
                    </a:lnTo>
                    <a:lnTo>
                      <a:pt x="3083" y="115"/>
                    </a:lnTo>
                    <a:lnTo>
                      <a:pt x="3087" y="117"/>
                    </a:lnTo>
                    <a:lnTo>
                      <a:pt x="3088" y="122"/>
                    </a:lnTo>
                    <a:lnTo>
                      <a:pt x="3093" y="127"/>
                    </a:lnTo>
                    <a:lnTo>
                      <a:pt x="3093" y="125"/>
                    </a:lnTo>
                    <a:lnTo>
                      <a:pt x="3090" y="118"/>
                    </a:lnTo>
                    <a:lnTo>
                      <a:pt x="3090" y="113"/>
                    </a:lnTo>
                    <a:lnTo>
                      <a:pt x="3087" y="110"/>
                    </a:lnTo>
                    <a:lnTo>
                      <a:pt x="3080" y="113"/>
                    </a:lnTo>
                    <a:lnTo>
                      <a:pt x="3073" y="113"/>
                    </a:lnTo>
                    <a:lnTo>
                      <a:pt x="3073" y="110"/>
                    </a:lnTo>
                    <a:lnTo>
                      <a:pt x="3077" y="107"/>
                    </a:lnTo>
                    <a:lnTo>
                      <a:pt x="3075" y="102"/>
                    </a:lnTo>
                    <a:lnTo>
                      <a:pt x="3065" y="97"/>
                    </a:lnTo>
                    <a:lnTo>
                      <a:pt x="3062" y="93"/>
                    </a:lnTo>
                    <a:lnTo>
                      <a:pt x="3058" y="88"/>
                    </a:lnTo>
                    <a:lnTo>
                      <a:pt x="3055" y="88"/>
                    </a:lnTo>
                    <a:lnTo>
                      <a:pt x="3050" y="93"/>
                    </a:lnTo>
                    <a:lnTo>
                      <a:pt x="3048" y="90"/>
                    </a:lnTo>
                    <a:lnTo>
                      <a:pt x="3053" y="87"/>
                    </a:lnTo>
                    <a:lnTo>
                      <a:pt x="3057" y="80"/>
                    </a:lnTo>
                    <a:lnTo>
                      <a:pt x="3063" y="72"/>
                    </a:lnTo>
                    <a:lnTo>
                      <a:pt x="3067" y="72"/>
                    </a:lnTo>
                    <a:lnTo>
                      <a:pt x="3067" y="74"/>
                    </a:lnTo>
                    <a:lnTo>
                      <a:pt x="3070" y="82"/>
                    </a:lnTo>
                    <a:lnTo>
                      <a:pt x="3075" y="83"/>
                    </a:lnTo>
                    <a:lnTo>
                      <a:pt x="3077" y="82"/>
                    </a:lnTo>
                    <a:lnTo>
                      <a:pt x="3072" y="78"/>
                    </a:lnTo>
                    <a:lnTo>
                      <a:pt x="3070" y="75"/>
                    </a:lnTo>
                    <a:lnTo>
                      <a:pt x="3072" y="74"/>
                    </a:lnTo>
                    <a:lnTo>
                      <a:pt x="3078" y="70"/>
                    </a:lnTo>
                    <a:lnTo>
                      <a:pt x="3080" y="69"/>
                    </a:lnTo>
                    <a:lnTo>
                      <a:pt x="3073" y="69"/>
                    </a:lnTo>
                    <a:lnTo>
                      <a:pt x="3077" y="65"/>
                    </a:lnTo>
                    <a:lnTo>
                      <a:pt x="3078" y="65"/>
                    </a:lnTo>
                    <a:lnTo>
                      <a:pt x="3083" y="64"/>
                    </a:lnTo>
                    <a:lnTo>
                      <a:pt x="3087" y="57"/>
                    </a:lnTo>
                    <a:lnTo>
                      <a:pt x="3092" y="59"/>
                    </a:lnTo>
                    <a:lnTo>
                      <a:pt x="3093" y="60"/>
                    </a:lnTo>
                    <a:lnTo>
                      <a:pt x="3097" y="60"/>
                    </a:lnTo>
                    <a:lnTo>
                      <a:pt x="3100" y="60"/>
                    </a:lnTo>
                    <a:lnTo>
                      <a:pt x="3102" y="64"/>
                    </a:lnTo>
                    <a:lnTo>
                      <a:pt x="3105" y="67"/>
                    </a:lnTo>
                    <a:lnTo>
                      <a:pt x="3112" y="67"/>
                    </a:lnTo>
                    <a:lnTo>
                      <a:pt x="3115" y="65"/>
                    </a:lnTo>
                    <a:lnTo>
                      <a:pt x="3130" y="69"/>
                    </a:lnTo>
                    <a:lnTo>
                      <a:pt x="3130" y="74"/>
                    </a:lnTo>
                    <a:lnTo>
                      <a:pt x="3130" y="75"/>
                    </a:lnTo>
                    <a:lnTo>
                      <a:pt x="3133" y="74"/>
                    </a:lnTo>
                    <a:lnTo>
                      <a:pt x="3133" y="70"/>
                    </a:lnTo>
                    <a:lnTo>
                      <a:pt x="3138" y="72"/>
                    </a:lnTo>
                    <a:lnTo>
                      <a:pt x="3138" y="77"/>
                    </a:lnTo>
                    <a:lnTo>
                      <a:pt x="3143" y="74"/>
                    </a:lnTo>
                    <a:lnTo>
                      <a:pt x="3146" y="69"/>
                    </a:lnTo>
                    <a:lnTo>
                      <a:pt x="3151" y="70"/>
                    </a:lnTo>
                    <a:lnTo>
                      <a:pt x="3151" y="74"/>
                    </a:lnTo>
                    <a:lnTo>
                      <a:pt x="3148" y="77"/>
                    </a:lnTo>
                    <a:lnTo>
                      <a:pt x="3148" y="80"/>
                    </a:lnTo>
                    <a:lnTo>
                      <a:pt x="3151" y="92"/>
                    </a:lnTo>
                    <a:lnTo>
                      <a:pt x="3150" y="97"/>
                    </a:lnTo>
                    <a:lnTo>
                      <a:pt x="3151" y="100"/>
                    </a:lnTo>
                    <a:lnTo>
                      <a:pt x="3155" y="98"/>
                    </a:lnTo>
                    <a:lnTo>
                      <a:pt x="3158" y="103"/>
                    </a:lnTo>
                    <a:lnTo>
                      <a:pt x="3163" y="105"/>
                    </a:lnTo>
                    <a:lnTo>
                      <a:pt x="3165" y="110"/>
                    </a:lnTo>
                    <a:lnTo>
                      <a:pt x="3163" y="113"/>
                    </a:lnTo>
                    <a:lnTo>
                      <a:pt x="3155" y="113"/>
                    </a:lnTo>
                    <a:lnTo>
                      <a:pt x="3146" y="113"/>
                    </a:lnTo>
                    <a:lnTo>
                      <a:pt x="3158" y="117"/>
                    </a:lnTo>
                    <a:lnTo>
                      <a:pt x="3161" y="120"/>
                    </a:lnTo>
                    <a:lnTo>
                      <a:pt x="3160" y="123"/>
                    </a:lnTo>
                    <a:lnTo>
                      <a:pt x="3155" y="125"/>
                    </a:lnTo>
                    <a:lnTo>
                      <a:pt x="3150" y="132"/>
                    </a:lnTo>
                    <a:lnTo>
                      <a:pt x="3148" y="130"/>
                    </a:lnTo>
                    <a:lnTo>
                      <a:pt x="3142" y="135"/>
                    </a:lnTo>
                    <a:lnTo>
                      <a:pt x="3135" y="133"/>
                    </a:lnTo>
                    <a:lnTo>
                      <a:pt x="3130" y="138"/>
                    </a:lnTo>
                    <a:lnTo>
                      <a:pt x="3138" y="137"/>
                    </a:lnTo>
                    <a:lnTo>
                      <a:pt x="3142" y="138"/>
                    </a:lnTo>
                    <a:lnTo>
                      <a:pt x="3143" y="142"/>
                    </a:lnTo>
                    <a:lnTo>
                      <a:pt x="3146" y="138"/>
                    </a:lnTo>
                    <a:lnTo>
                      <a:pt x="3150" y="138"/>
                    </a:lnTo>
                    <a:lnTo>
                      <a:pt x="3150" y="143"/>
                    </a:lnTo>
                    <a:lnTo>
                      <a:pt x="3155" y="148"/>
                    </a:lnTo>
                    <a:lnTo>
                      <a:pt x="3150" y="150"/>
                    </a:lnTo>
                    <a:lnTo>
                      <a:pt x="3150" y="158"/>
                    </a:lnTo>
                    <a:lnTo>
                      <a:pt x="3155" y="152"/>
                    </a:lnTo>
                    <a:lnTo>
                      <a:pt x="3161" y="152"/>
                    </a:lnTo>
                    <a:lnTo>
                      <a:pt x="3168" y="157"/>
                    </a:lnTo>
                    <a:lnTo>
                      <a:pt x="3166" y="160"/>
                    </a:lnTo>
                    <a:lnTo>
                      <a:pt x="3171" y="165"/>
                    </a:lnTo>
                    <a:lnTo>
                      <a:pt x="3165" y="168"/>
                    </a:lnTo>
                    <a:lnTo>
                      <a:pt x="3168" y="170"/>
                    </a:lnTo>
                    <a:lnTo>
                      <a:pt x="3170" y="176"/>
                    </a:lnTo>
                    <a:lnTo>
                      <a:pt x="3163" y="178"/>
                    </a:lnTo>
                    <a:lnTo>
                      <a:pt x="3163" y="181"/>
                    </a:lnTo>
                    <a:lnTo>
                      <a:pt x="3165" y="185"/>
                    </a:lnTo>
                    <a:lnTo>
                      <a:pt x="3166" y="181"/>
                    </a:lnTo>
                    <a:lnTo>
                      <a:pt x="3170" y="180"/>
                    </a:lnTo>
                    <a:lnTo>
                      <a:pt x="3173" y="183"/>
                    </a:lnTo>
                    <a:lnTo>
                      <a:pt x="3171" y="190"/>
                    </a:lnTo>
                    <a:lnTo>
                      <a:pt x="3178" y="188"/>
                    </a:lnTo>
                    <a:lnTo>
                      <a:pt x="3180" y="191"/>
                    </a:lnTo>
                    <a:lnTo>
                      <a:pt x="3180" y="188"/>
                    </a:lnTo>
                    <a:lnTo>
                      <a:pt x="3183" y="185"/>
                    </a:lnTo>
                    <a:lnTo>
                      <a:pt x="3186" y="186"/>
                    </a:lnTo>
                    <a:lnTo>
                      <a:pt x="3191" y="188"/>
                    </a:lnTo>
                    <a:lnTo>
                      <a:pt x="3191" y="193"/>
                    </a:lnTo>
                    <a:lnTo>
                      <a:pt x="3188" y="195"/>
                    </a:lnTo>
                    <a:lnTo>
                      <a:pt x="3183" y="191"/>
                    </a:lnTo>
                    <a:lnTo>
                      <a:pt x="3180" y="196"/>
                    </a:lnTo>
                    <a:lnTo>
                      <a:pt x="3185" y="198"/>
                    </a:lnTo>
                    <a:lnTo>
                      <a:pt x="3190" y="198"/>
                    </a:lnTo>
                    <a:lnTo>
                      <a:pt x="3193" y="205"/>
                    </a:lnTo>
                    <a:lnTo>
                      <a:pt x="3193" y="206"/>
                    </a:lnTo>
                    <a:lnTo>
                      <a:pt x="3186" y="210"/>
                    </a:lnTo>
                    <a:lnTo>
                      <a:pt x="3180" y="203"/>
                    </a:lnTo>
                    <a:lnTo>
                      <a:pt x="3178" y="201"/>
                    </a:lnTo>
                    <a:lnTo>
                      <a:pt x="3181" y="210"/>
                    </a:lnTo>
                    <a:lnTo>
                      <a:pt x="3178" y="213"/>
                    </a:lnTo>
                    <a:lnTo>
                      <a:pt x="3175" y="213"/>
                    </a:lnTo>
                    <a:lnTo>
                      <a:pt x="3175" y="211"/>
                    </a:lnTo>
                    <a:lnTo>
                      <a:pt x="3170" y="211"/>
                    </a:lnTo>
                    <a:lnTo>
                      <a:pt x="3166" y="210"/>
                    </a:lnTo>
                    <a:lnTo>
                      <a:pt x="3156" y="208"/>
                    </a:lnTo>
                    <a:lnTo>
                      <a:pt x="3151" y="211"/>
                    </a:lnTo>
                    <a:lnTo>
                      <a:pt x="3146" y="211"/>
                    </a:lnTo>
                    <a:lnTo>
                      <a:pt x="3148" y="208"/>
                    </a:lnTo>
                    <a:lnTo>
                      <a:pt x="3146" y="205"/>
                    </a:lnTo>
                    <a:lnTo>
                      <a:pt x="3143" y="205"/>
                    </a:lnTo>
                    <a:lnTo>
                      <a:pt x="3143" y="210"/>
                    </a:lnTo>
                    <a:lnTo>
                      <a:pt x="3142" y="210"/>
                    </a:lnTo>
                    <a:lnTo>
                      <a:pt x="3140" y="211"/>
                    </a:lnTo>
                    <a:lnTo>
                      <a:pt x="3142" y="215"/>
                    </a:lnTo>
                    <a:lnTo>
                      <a:pt x="3138" y="218"/>
                    </a:lnTo>
                    <a:lnTo>
                      <a:pt x="3137" y="218"/>
                    </a:lnTo>
                    <a:lnTo>
                      <a:pt x="3137" y="216"/>
                    </a:lnTo>
                    <a:lnTo>
                      <a:pt x="3135" y="215"/>
                    </a:lnTo>
                    <a:lnTo>
                      <a:pt x="3125" y="218"/>
                    </a:lnTo>
                    <a:lnTo>
                      <a:pt x="3122" y="216"/>
                    </a:lnTo>
                    <a:lnTo>
                      <a:pt x="3123" y="213"/>
                    </a:lnTo>
                    <a:lnTo>
                      <a:pt x="3122" y="208"/>
                    </a:lnTo>
                    <a:lnTo>
                      <a:pt x="3118" y="206"/>
                    </a:lnTo>
                    <a:lnTo>
                      <a:pt x="3107" y="200"/>
                    </a:lnTo>
                    <a:lnTo>
                      <a:pt x="3107" y="198"/>
                    </a:lnTo>
                    <a:lnTo>
                      <a:pt x="3107" y="196"/>
                    </a:lnTo>
                    <a:lnTo>
                      <a:pt x="3098" y="193"/>
                    </a:lnTo>
                    <a:lnTo>
                      <a:pt x="3098" y="198"/>
                    </a:lnTo>
                    <a:lnTo>
                      <a:pt x="3090" y="200"/>
                    </a:lnTo>
                    <a:lnTo>
                      <a:pt x="3085" y="205"/>
                    </a:lnTo>
                    <a:lnTo>
                      <a:pt x="3083" y="205"/>
                    </a:lnTo>
                    <a:lnTo>
                      <a:pt x="3082" y="198"/>
                    </a:lnTo>
                    <a:lnTo>
                      <a:pt x="3080" y="195"/>
                    </a:lnTo>
                    <a:lnTo>
                      <a:pt x="3080" y="198"/>
                    </a:lnTo>
                    <a:lnTo>
                      <a:pt x="3080" y="208"/>
                    </a:lnTo>
                    <a:lnTo>
                      <a:pt x="3082" y="213"/>
                    </a:lnTo>
                    <a:lnTo>
                      <a:pt x="3080" y="218"/>
                    </a:lnTo>
                    <a:lnTo>
                      <a:pt x="3072" y="230"/>
                    </a:lnTo>
                    <a:lnTo>
                      <a:pt x="3067" y="228"/>
                    </a:lnTo>
                    <a:lnTo>
                      <a:pt x="3067" y="221"/>
                    </a:lnTo>
                    <a:lnTo>
                      <a:pt x="3062" y="220"/>
                    </a:lnTo>
                    <a:lnTo>
                      <a:pt x="3057" y="221"/>
                    </a:lnTo>
                    <a:lnTo>
                      <a:pt x="3045" y="213"/>
                    </a:lnTo>
                    <a:lnTo>
                      <a:pt x="3045" y="210"/>
                    </a:lnTo>
                    <a:lnTo>
                      <a:pt x="3044" y="200"/>
                    </a:lnTo>
                    <a:lnTo>
                      <a:pt x="3040" y="198"/>
                    </a:lnTo>
                    <a:lnTo>
                      <a:pt x="3039" y="195"/>
                    </a:lnTo>
                    <a:lnTo>
                      <a:pt x="3035" y="191"/>
                    </a:lnTo>
                    <a:lnTo>
                      <a:pt x="3034" y="195"/>
                    </a:lnTo>
                    <a:lnTo>
                      <a:pt x="3035" y="198"/>
                    </a:lnTo>
                    <a:lnTo>
                      <a:pt x="3034" y="201"/>
                    </a:lnTo>
                    <a:lnTo>
                      <a:pt x="3037" y="205"/>
                    </a:lnTo>
                    <a:lnTo>
                      <a:pt x="3035" y="208"/>
                    </a:lnTo>
                    <a:lnTo>
                      <a:pt x="3029" y="203"/>
                    </a:lnTo>
                    <a:lnTo>
                      <a:pt x="3024" y="198"/>
                    </a:lnTo>
                    <a:lnTo>
                      <a:pt x="3022" y="198"/>
                    </a:lnTo>
                    <a:lnTo>
                      <a:pt x="3025" y="203"/>
                    </a:lnTo>
                    <a:lnTo>
                      <a:pt x="3022" y="206"/>
                    </a:lnTo>
                    <a:lnTo>
                      <a:pt x="3024" y="208"/>
                    </a:lnTo>
                    <a:lnTo>
                      <a:pt x="3030" y="208"/>
                    </a:lnTo>
                    <a:lnTo>
                      <a:pt x="3032" y="211"/>
                    </a:lnTo>
                    <a:lnTo>
                      <a:pt x="3030" y="216"/>
                    </a:lnTo>
                    <a:lnTo>
                      <a:pt x="3024" y="216"/>
                    </a:lnTo>
                    <a:lnTo>
                      <a:pt x="3024" y="220"/>
                    </a:lnTo>
                    <a:lnTo>
                      <a:pt x="3025" y="221"/>
                    </a:lnTo>
                    <a:lnTo>
                      <a:pt x="3040" y="235"/>
                    </a:lnTo>
                    <a:lnTo>
                      <a:pt x="3048" y="238"/>
                    </a:lnTo>
                    <a:lnTo>
                      <a:pt x="3055" y="235"/>
                    </a:lnTo>
                    <a:lnTo>
                      <a:pt x="3060" y="238"/>
                    </a:lnTo>
                    <a:lnTo>
                      <a:pt x="3063" y="245"/>
                    </a:lnTo>
                    <a:lnTo>
                      <a:pt x="3062" y="245"/>
                    </a:lnTo>
                    <a:lnTo>
                      <a:pt x="3057" y="240"/>
                    </a:lnTo>
                    <a:lnTo>
                      <a:pt x="3055" y="240"/>
                    </a:lnTo>
                    <a:lnTo>
                      <a:pt x="3058" y="246"/>
                    </a:lnTo>
                    <a:lnTo>
                      <a:pt x="3065" y="250"/>
                    </a:lnTo>
                    <a:lnTo>
                      <a:pt x="3067" y="256"/>
                    </a:lnTo>
                    <a:lnTo>
                      <a:pt x="3072" y="261"/>
                    </a:lnTo>
                    <a:lnTo>
                      <a:pt x="3072" y="270"/>
                    </a:lnTo>
                    <a:lnTo>
                      <a:pt x="3067" y="284"/>
                    </a:lnTo>
                    <a:lnTo>
                      <a:pt x="3070" y="293"/>
                    </a:lnTo>
                    <a:lnTo>
                      <a:pt x="3070" y="299"/>
                    </a:lnTo>
                    <a:lnTo>
                      <a:pt x="3072" y="301"/>
                    </a:lnTo>
                    <a:lnTo>
                      <a:pt x="3065" y="309"/>
                    </a:lnTo>
                    <a:lnTo>
                      <a:pt x="3065" y="316"/>
                    </a:lnTo>
                    <a:lnTo>
                      <a:pt x="3062" y="318"/>
                    </a:lnTo>
                    <a:lnTo>
                      <a:pt x="3062" y="314"/>
                    </a:lnTo>
                    <a:lnTo>
                      <a:pt x="3062" y="313"/>
                    </a:lnTo>
                    <a:lnTo>
                      <a:pt x="3050" y="319"/>
                    </a:lnTo>
                    <a:lnTo>
                      <a:pt x="3047" y="318"/>
                    </a:lnTo>
                    <a:lnTo>
                      <a:pt x="3042" y="319"/>
                    </a:lnTo>
                    <a:lnTo>
                      <a:pt x="3039" y="319"/>
                    </a:lnTo>
                    <a:lnTo>
                      <a:pt x="3035" y="316"/>
                    </a:lnTo>
                    <a:lnTo>
                      <a:pt x="3030" y="314"/>
                    </a:lnTo>
                    <a:lnTo>
                      <a:pt x="3024" y="308"/>
                    </a:lnTo>
                    <a:lnTo>
                      <a:pt x="3019" y="304"/>
                    </a:lnTo>
                    <a:lnTo>
                      <a:pt x="3012" y="304"/>
                    </a:lnTo>
                    <a:lnTo>
                      <a:pt x="3009" y="301"/>
                    </a:lnTo>
                    <a:lnTo>
                      <a:pt x="3004" y="303"/>
                    </a:lnTo>
                    <a:lnTo>
                      <a:pt x="2999" y="308"/>
                    </a:lnTo>
                    <a:lnTo>
                      <a:pt x="2994" y="308"/>
                    </a:lnTo>
                    <a:lnTo>
                      <a:pt x="2999" y="309"/>
                    </a:lnTo>
                    <a:lnTo>
                      <a:pt x="3005" y="309"/>
                    </a:lnTo>
                    <a:lnTo>
                      <a:pt x="3009" y="306"/>
                    </a:lnTo>
                    <a:lnTo>
                      <a:pt x="3022" y="311"/>
                    </a:lnTo>
                    <a:lnTo>
                      <a:pt x="3025" y="314"/>
                    </a:lnTo>
                    <a:lnTo>
                      <a:pt x="3019" y="318"/>
                    </a:lnTo>
                    <a:lnTo>
                      <a:pt x="3014" y="316"/>
                    </a:lnTo>
                    <a:lnTo>
                      <a:pt x="3009" y="316"/>
                    </a:lnTo>
                    <a:lnTo>
                      <a:pt x="3009" y="321"/>
                    </a:lnTo>
                    <a:lnTo>
                      <a:pt x="3004" y="316"/>
                    </a:lnTo>
                    <a:lnTo>
                      <a:pt x="2999" y="316"/>
                    </a:lnTo>
                    <a:lnTo>
                      <a:pt x="3002" y="316"/>
                    </a:lnTo>
                    <a:lnTo>
                      <a:pt x="3004" y="323"/>
                    </a:lnTo>
                    <a:lnTo>
                      <a:pt x="3010" y="326"/>
                    </a:lnTo>
                    <a:lnTo>
                      <a:pt x="3009" y="333"/>
                    </a:lnTo>
                    <a:lnTo>
                      <a:pt x="3012" y="339"/>
                    </a:lnTo>
                    <a:lnTo>
                      <a:pt x="3017" y="343"/>
                    </a:lnTo>
                    <a:lnTo>
                      <a:pt x="3014" y="339"/>
                    </a:lnTo>
                    <a:lnTo>
                      <a:pt x="3015" y="331"/>
                    </a:lnTo>
                    <a:lnTo>
                      <a:pt x="3019" y="328"/>
                    </a:lnTo>
                    <a:lnTo>
                      <a:pt x="3022" y="329"/>
                    </a:lnTo>
                    <a:lnTo>
                      <a:pt x="3022" y="328"/>
                    </a:lnTo>
                    <a:lnTo>
                      <a:pt x="3030" y="321"/>
                    </a:lnTo>
                    <a:lnTo>
                      <a:pt x="3034" y="319"/>
                    </a:lnTo>
                    <a:lnTo>
                      <a:pt x="3037" y="323"/>
                    </a:lnTo>
                    <a:lnTo>
                      <a:pt x="3037" y="324"/>
                    </a:lnTo>
                    <a:lnTo>
                      <a:pt x="3044" y="333"/>
                    </a:lnTo>
                    <a:lnTo>
                      <a:pt x="3048" y="334"/>
                    </a:lnTo>
                    <a:lnTo>
                      <a:pt x="3055" y="339"/>
                    </a:lnTo>
                    <a:lnTo>
                      <a:pt x="3062" y="339"/>
                    </a:lnTo>
                    <a:lnTo>
                      <a:pt x="3063" y="336"/>
                    </a:lnTo>
                    <a:lnTo>
                      <a:pt x="3062" y="333"/>
                    </a:lnTo>
                    <a:lnTo>
                      <a:pt x="3065" y="333"/>
                    </a:lnTo>
                    <a:lnTo>
                      <a:pt x="3077" y="343"/>
                    </a:lnTo>
                    <a:lnTo>
                      <a:pt x="3078" y="346"/>
                    </a:lnTo>
                    <a:lnTo>
                      <a:pt x="3075" y="346"/>
                    </a:lnTo>
                    <a:lnTo>
                      <a:pt x="3073" y="349"/>
                    </a:lnTo>
                    <a:lnTo>
                      <a:pt x="3083" y="358"/>
                    </a:lnTo>
                    <a:lnTo>
                      <a:pt x="3087" y="358"/>
                    </a:lnTo>
                    <a:lnTo>
                      <a:pt x="3085" y="354"/>
                    </a:lnTo>
                    <a:lnTo>
                      <a:pt x="3087" y="349"/>
                    </a:lnTo>
                    <a:lnTo>
                      <a:pt x="3093" y="353"/>
                    </a:lnTo>
                    <a:lnTo>
                      <a:pt x="3103" y="368"/>
                    </a:lnTo>
                    <a:lnTo>
                      <a:pt x="3098" y="364"/>
                    </a:lnTo>
                    <a:lnTo>
                      <a:pt x="3097" y="364"/>
                    </a:lnTo>
                    <a:lnTo>
                      <a:pt x="3095" y="366"/>
                    </a:lnTo>
                    <a:lnTo>
                      <a:pt x="3098" y="371"/>
                    </a:lnTo>
                    <a:lnTo>
                      <a:pt x="3093" y="372"/>
                    </a:lnTo>
                    <a:lnTo>
                      <a:pt x="3093" y="377"/>
                    </a:lnTo>
                    <a:lnTo>
                      <a:pt x="3095" y="381"/>
                    </a:lnTo>
                    <a:lnTo>
                      <a:pt x="3100" y="379"/>
                    </a:lnTo>
                    <a:lnTo>
                      <a:pt x="3100" y="374"/>
                    </a:lnTo>
                    <a:lnTo>
                      <a:pt x="3103" y="372"/>
                    </a:lnTo>
                    <a:lnTo>
                      <a:pt x="3107" y="374"/>
                    </a:lnTo>
                    <a:lnTo>
                      <a:pt x="3107" y="371"/>
                    </a:lnTo>
                    <a:lnTo>
                      <a:pt x="3112" y="376"/>
                    </a:lnTo>
                    <a:lnTo>
                      <a:pt x="3122" y="382"/>
                    </a:lnTo>
                    <a:lnTo>
                      <a:pt x="3133" y="386"/>
                    </a:lnTo>
                    <a:lnTo>
                      <a:pt x="3140" y="391"/>
                    </a:lnTo>
                    <a:lnTo>
                      <a:pt x="3137" y="394"/>
                    </a:lnTo>
                    <a:lnTo>
                      <a:pt x="3143" y="402"/>
                    </a:lnTo>
                    <a:lnTo>
                      <a:pt x="3148" y="402"/>
                    </a:lnTo>
                    <a:lnTo>
                      <a:pt x="3155" y="412"/>
                    </a:lnTo>
                    <a:lnTo>
                      <a:pt x="3155" y="426"/>
                    </a:lnTo>
                    <a:lnTo>
                      <a:pt x="3151" y="426"/>
                    </a:lnTo>
                    <a:lnTo>
                      <a:pt x="3151" y="429"/>
                    </a:lnTo>
                    <a:lnTo>
                      <a:pt x="3156" y="431"/>
                    </a:lnTo>
                    <a:lnTo>
                      <a:pt x="3158" y="436"/>
                    </a:lnTo>
                    <a:lnTo>
                      <a:pt x="3156" y="437"/>
                    </a:lnTo>
                    <a:lnTo>
                      <a:pt x="3153" y="434"/>
                    </a:lnTo>
                    <a:lnTo>
                      <a:pt x="3135" y="434"/>
                    </a:lnTo>
                    <a:lnTo>
                      <a:pt x="3130" y="432"/>
                    </a:lnTo>
                    <a:lnTo>
                      <a:pt x="3127" y="434"/>
                    </a:lnTo>
                    <a:lnTo>
                      <a:pt x="3122" y="432"/>
                    </a:lnTo>
                    <a:lnTo>
                      <a:pt x="3122" y="429"/>
                    </a:lnTo>
                    <a:lnTo>
                      <a:pt x="3118" y="427"/>
                    </a:lnTo>
                    <a:lnTo>
                      <a:pt x="3117" y="429"/>
                    </a:lnTo>
                    <a:lnTo>
                      <a:pt x="3120" y="432"/>
                    </a:lnTo>
                    <a:lnTo>
                      <a:pt x="3112" y="437"/>
                    </a:lnTo>
                    <a:lnTo>
                      <a:pt x="3105" y="436"/>
                    </a:lnTo>
                    <a:lnTo>
                      <a:pt x="3103" y="439"/>
                    </a:lnTo>
                    <a:lnTo>
                      <a:pt x="3107" y="441"/>
                    </a:lnTo>
                    <a:lnTo>
                      <a:pt x="3098" y="447"/>
                    </a:lnTo>
                    <a:lnTo>
                      <a:pt x="3095" y="447"/>
                    </a:lnTo>
                    <a:lnTo>
                      <a:pt x="3095" y="451"/>
                    </a:lnTo>
                    <a:lnTo>
                      <a:pt x="3098" y="452"/>
                    </a:lnTo>
                    <a:lnTo>
                      <a:pt x="3090" y="461"/>
                    </a:lnTo>
                    <a:lnTo>
                      <a:pt x="3088" y="464"/>
                    </a:lnTo>
                    <a:lnTo>
                      <a:pt x="3087" y="462"/>
                    </a:lnTo>
                    <a:lnTo>
                      <a:pt x="3083" y="462"/>
                    </a:lnTo>
                    <a:lnTo>
                      <a:pt x="3083" y="469"/>
                    </a:lnTo>
                    <a:lnTo>
                      <a:pt x="3087" y="474"/>
                    </a:lnTo>
                    <a:lnTo>
                      <a:pt x="3082" y="479"/>
                    </a:lnTo>
                    <a:lnTo>
                      <a:pt x="3078" y="475"/>
                    </a:lnTo>
                    <a:lnTo>
                      <a:pt x="3077" y="480"/>
                    </a:lnTo>
                    <a:lnTo>
                      <a:pt x="3080" y="484"/>
                    </a:lnTo>
                    <a:lnTo>
                      <a:pt x="3073" y="489"/>
                    </a:lnTo>
                    <a:lnTo>
                      <a:pt x="3070" y="490"/>
                    </a:lnTo>
                    <a:lnTo>
                      <a:pt x="3073" y="492"/>
                    </a:lnTo>
                    <a:lnTo>
                      <a:pt x="3072" y="494"/>
                    </a:lnTo>
                    <a:lnTo>
                      <a:pt x="3070" y="499"/>
                    </a:lnTo>
                    <a:lnTo>
                      <a:pt x="3067" y="497"/>
                    </a:lnTo>
                    <a:lnTo>
                      <a:pt x="3063" y="499"/>
                    </a:lnTo>
                    <a:lnTo>
                      <a:pt x="3065" y="502"/>
                    </a:lnTo>
                    <a:lnTo>
                      <a:pt x="3067" y="505"/>
                    </a:lnTo>
                    <a:lnTo>
                      <a:pt x="3062" y="509"/>
                    </a:lnTo>
                    <a:lnTo>
                      <a:pt x="3063" y="512"/>
                    </a:lnTo>
                    <a:lnTo>
                      <a:pt x="3062" y="515"/>
                    </a:lnTo>
                    <a:lnTo>
                      <a:pt x="3058" y="515"/>
                    </a:lnTo>
                    <a:lnTo>
                      <a:pt x="3057" y="514"/>
                    </a:lnTo>
                    <a:lnTo>
                      <a:pt x="3053" y="514"/>
                    </a:lnTo>
                    <a:lnTo>
                      <a:pt x="3057" y="519"/>
                    </a:lnTo>
                    <a:lnTo>
                      <a:pt x="3063" y="520"/>
                    </a:lnTo>
                    <a:lnTo>
                      <a:pt x="3060" y="525"/>
                    </a:lnTo>
                    <a:lnTo>
                      <a:pt x="3053" y="527"/>
                    </a:lnTo>
                    <a:lnTo>
                      <a:pt x="3053" y="529"/>
                    </a:lnTo>
                    <a:lnTo>
                      <a:pt x="3057" y="530"/>
                    </a:lnTo>
                    <a:lnTo>
                      <a:pt x="3060" y="537"/>
                    </a:lnTo>
                    <a:lnTo>
                      <a:pt x="3058" y="540"/>
                    </a:lnTo>
                    <a:lnTo>
                      <a:pt x="3060" y="542"/>
                    </a:lnTo>
                    <a:lnTo>
                      <a:pt x="3055" y="549"/>
                    </a:lnTo>
                    <a:lnTo>
                      <a:pt x="3055" y="552"/>
                    </a:lnTo>
                    <a:lnTo>
                      <a:pt x="3052" y="560"/>
                    </a:lnTo>
                    <a:lnTo>
                      <a:pt x="3050" y="570"/>
                    </a:lnTo>
                    <a:lnTo>
                      <a:pt x="3048" y="573"/>
                    </a:lnTo>
                    <a:lnTo>
                      <a:pt x="3047" y="578"/>
                    </a:lnTo>
                    <a:lnTo>
                      <a:pt x="3050" y="578"/>
                    </a:lnTo>
                    <a:lnTo>
                      <a:pt x="3052" y="582"/>
                    </a:lnTo>
                    <a:lnTo>
                      <a:pt x="3050" y="585"/>
                    </a:lnTo>
                    <a:lnTo>
                      <a:pt x="3057" y="593"/>
                    </a:lnTo>
                    <a:lnTo>
                      <a:pt x="3057" y="597"/>
                    </a:lnTo>
                    <a:lnTo>
                      <a:pt x="3053" y="595"/>
                    </a:lnTo>
                    <a:lnTo>
                      <a:pt x="3048" y="597"/>
                    </a:lnTo>
                    <a:lnTo>
                      <a:pt x="3044" y="592"/>
                    </a:lnTo>
                    <a:lnTo>
                      <a:pt x="3042" y="595"/>
                    </a:lnTo>
                    <a:lnTo>
                      <a:pt x="3034" y="587"/>
                    </a:lnTo>
                    <a:lnTo>
                      <a:pt x="3037" y="587"/>
                    </a:lnTo>
                    <a:lnTo>
                      <a:pt x="3034" y="585"/>
                    </a:lnTo>
                    <a:lnTo>
                      <a:pt x="3030" y="585"/>
                    </a:lnTo>
                    <a:lnTo>
                      <a:pt x="3027" y="585"/>
                    </a:lnTo>
                    <a:lnTo>
                      <a:pt x="3025" y="582"/>
                    </a:lnTo>
                    <a:lnTo>
                      <a:pt x="3012" y="575"/>
                    </a:lnTo>
                    <a:lnTo>
                      <a:pt x="3005" y="573"/>
                    </a:lnTo>
                    <a:lnTo>
                      <a:pt x="2997" y="578"/>
                    </a:lnTo>
                    <a:lnTo>
                      <a:pt x="2995" y="577"/>
                    </a:lnTo>
                    <a:lnTo>
                      <a:pt x="2990" y="577"/>
                    </a:lnTo>
                    <a:lnTo>
                      <a:pt x="2985" y="583"/>
                    </a:lnTo>
                    <a:lnTo>
                      <a:pt x="2980" y="583"/>
                    </a:lnTo>
                    <a:lnTo>
                      <a:pt x="2977" y="592"/>
                    </a:lnTo>
                    <a:lnTo>
                      <a:pt x="2974" y="595"/>
                    </a:lnTo>
                    <a:lnTo>
                      <a:pt x="2970" y="592"/>
                    </a:lnTo>
                    <a:lnTo>
                      <a:pt x="2974" y="598"/>
                    </a:lnTo>
                    <a:lnTo>
                      <a:pt x="2970" y="602"/>
                    </a:lnTo>
                    <a:lnTo>
                      <a:pt x="2972" y="607"/>
                    </a:lnTo>
                    <a:lnTo>
                      <a:pt x="2970" y="610"/>
                    </a:lnTo>
                    <a:lnTo>
                      <a:pt x="2969" y="622"/>
                    </a:lnTo>
                    <a:lnTo>
                      <a:pt x="2965" y="623"/>
                    </a:lnTo>
                    <a:lnTo>
                      <a:pt x="2962" y="620"/>
                    </a:lnTo>
                    <a:lnTo>
                      <a:pt x="2957" y="607"/>
                    </a:lnTo>
                    <a:lnTo>
                      <a:pt x="2957" y="602"/>
                    </a:lnTo>
                    <a:lnTo>
                      <a:pt x="2952" y="600"/>
                    </a:lnTo>
                    <a:lnTo>
                      <a:pt x="2949" y="595"/>
                    </a:lnTo>
                    <a:lnTo>
                      <a:pt x="2947" y="600"/>
                    </a:lnTo>
                    <a:lnTo>
                      <a:pt x="2942" y="610"/>
                    </a:lnTo>
                    <a:lnTo>
                      <a:pt x="2939" y="612"/>
                    </a:lnTo>
                    <a:lnTo>
                      <a:pt x="2937" y="617"/>
                    </a:lnTo>
                    <a:lnTo>
                      <a:pt x="2942" y="618"/>
                    </a:lnTo>
                    <a:lnTo>
                      <a:pt x="2937" y="628"/>
                    </a:lnTo>
                    <a:lnTo>
                      <a:pt x="2934" y="623"/>
                    </a:lnTo>
                    <a:lnTo>
                      <a:pt x="2931" y="623"/>
                    </a:lnTo>
                    <a:lnTo>
                      <a:pt x="2929" y="620"/>
                    </a:lnTo>
                    <a:lnTo>
                      <a:pt x="2926" y="620"/>
                    </a:lnTo>
                    <a:lnTo>
                      <a:pt x="2924" y="627"/>
                    </a:lnTo>
                    <a:lnTo>
                      <a:pt x="2921" y="627"/>
                    </a:lnTo>
                    <a:lnTo>
                      <a:pt x="2916" y="625"/>
                    </a:lnTo>
                    <a:lnTo>
                      <a:pt x="2912" y="625"/>
                    </a:lnTo>
                    <a:lnTo>
                      <a:pt x="2912" y="628"/>
                    </a:lnTo>
                    <a:lnTo>
                      <a:pt x="2914" y="632"/>
                    </a:lnTo>
                    <a:lnTo>
                      <a:pt x="2912" y="633"/>
                    </a:lnTo>
                    <a:lnTo>
                      <a:pt x="2911" y="637"/>
                    </a:lnTo>
                    <a:lnTo>
                      <a:pt x="2911" y="642"/>
                    </a:lnTo>
                    <a:lnTo>
                      <a:pt x="2914" y="645"/>
                    </a:lnTo>
                    <a:lnTo>
                      <a:pt x="2916" y="650"/>
                    </a:lnTo>
                    <a:lnTo>
                      <a:pt x="2914" y="652"/>
                    </a:lnTo>
                    <a:lnTo>
                      <a:pt x="2914" y="655"/>
                    </a:lnTo>
                    <a:lnTo>
                      <a:pt x="2919" y="657"/>
                    </a:lnTo>
                    <a:lnTo>
                      <a:pt x="2924" y="660"/>
                    </a:lnTo>
                    <a:lnTo>
                      <a:pt x="2924" y="662"/>
                    </a:lnTo>
                    <a:lnTo>
                      <a:pt x="2922" y="662"/>
                    </a:lnTo>
                    <a:lnTo>
                      <a:pt x="2921" y="665"/>
                    </a:lnTo>
                    <a:lnTo>
                      <a:pt x="2924" y="668"/>
                    </a:lnTo>
                    <a:lnTo>
                      <a:pt x="2927" y="671"/>
                    </a:lnTo>
                    <a:lnTo>
                      <a:pt x="2927" y="673"/>
                    </a:lnTo>
                    <a:lnTo>
                      <a:pt x="2924" y="670"/>
                    </a:lnTo>
                    <a:lnTo>
                      <a:pt x="2921" y="671"/>
                    </a:lnTo>
                    <a:lnTo>
                      <a:pt x="2919" y="673"/>
                    </a:lnTo>
                    <a:lnTo>
                      <a:pt x="2924" y="678"/>
                    </a:lnTo>
                    <a:lnTo>
                      <a:pt x="2927" y="676"/>
                    </a:lnTo>
                    <a:lnTo>
                      <a:pt x="2927" y="681"/>
                    </a:lnTo>
                    <a:lnTo>
                      <a:pt x="2926" y="686"/>
                    </a:lnTo>
                    <a:lnTo>
                      <a:pt x="2926" y="690"/>
                    </a:lnTo>
                    <a:lnTo>
                      <a:pt x="2922" y="693"/>
                    </a:lnTo>
                    <a:lnTo>
                      <a:pt x="2926" y="700"/>
                    </a:lnTo>
                    <a:lnTo>
                      <a:pt x="2924" y="703"/>
                    </a:lnTo>
                    <a:lnTo>
                      <a:pt x="2926" y="706"/>
                    </a:lnTo>
                    <a:lnTo>
                      <a:pt x="2926" y="710"/>
                    </a:lnTo>
                    <a:lnTo>
                      <a:pt x="2926" y="715"/>
                    </a:lnTo>
                    <a:lnTo>
                      <a:pt x="2931" y="723"/>
                    </a:lnTo>
                    <a:lnTo>
                      <a:pt x="2927" y="725"/>
                    </a:lnTo>
                    <a:lnTo>
                      <a:pt x="2932" y="726"/>
                    </a:lnTo>
                    <a:lnTo>
                      <a:pt x="2936" y="731"/>
                    </a:lnTo>
                    <a:lnTo>
                      <a:pt x="2942" y="738"/>
                    </a:lnTo>
                    <a:lnTo>
                      <a:pt x="2949" y="741"/>
                    </a:lnTo>
                    <a:lnTo>
                      <a:pt x="2950" y="740"/>
                    </a:lnTo>
                    <a:lnTo>
                      <a:pt x="2950" y="736"/>
                    </a:lnTo>
                    <a:lnTo>
                      <a:pt x="2945" y="730"/>
                    </a:lnTo>
                    <a:lnTo>
                      <a:pt x="2945" y="726"/>
                    </a:lnTo>
                    <a:lnTo>
                      <a:pt x="2949" y="723"/>
                    </a:lnTo>
                    <a:lnTo>
                      <a:pt x="2954" y="725"/>
                    </a:lnTo>
                    <a:lnTo>
                      <a:pt x="2962" y="730"/>
                    </a:lnTo>
                    <a:lnTo>
                      <a:pt x="2965" y="730"/>
                    </a:lnTo>
                    <a:lnTo>
                      <a:pt x="2969" y="731"/>
                    </a:lnTo>
                    <a:lnTo>
                      <a:pt x="2969" y="735"/>
                    </a:lnTo>
                    <a:lnTo>
                      <a:pt x="2969" y="736"/>
                    </a:lnTo>
                    <a:lnTo>
                      <a:pt x="2970" y="740"/>
                    </a:lnTo>
                    <a:lnTo>
                      <a:pt x="2969" y="745"/>
                    </a:lnTo>
                    <a:lnTo>
                      <a:pt x="2969" y="748"/>
                    </a:lnTo>
                    <a:lnTo>
                      <a:pt x="2967" y="750"/>
                    </a:lnTo>
                    <a:lnTo>
                      <a:pt x="2964" y="753"/>
                    </a:lnTo>
                    <a:lnTo>
                      <a:pt x="2969" y="761"/>
                    </a:lnTo>
                    <a:lnTo>
                      <a:pt x="2972" y="766"/>
                    </a:lnTo>
                    <a:lnTo>
                      <a:pt x="2972" y="774"/>
                    </a:lnTo>
                    <a:lnTo>
                      <a:pt x="2977" y="778"/>
                    </a:lnTo>
                    <a:lnTo>
                      <a:pt x="2979" y="776"/>
                    </a:lnTo>
                    <a:lnTo>
                      <a:pt x="2979" y="773"/>
                    </a:lnTo>
                    <a:lnTo>
                      <a:pt x="2984" y="771"/>
                    </a:lnTo>
                    <a:lnTo>
                      <a:pt x="2985" y="769"/>
                    </a:lnTo>
                    <a:lnTo>
                      <a:pt x="2985" y="769"/>
                    </a:lnTo>
                    <a:lnTo>
                      <a:pt x="2990" y="773"/>
                    </a:lnTo>
                    <a:lnTo>
                      <a:pt x="2990" y="783"/>
                    </a:lnTo>
                    <a:lnTo>
                      <a:pt x="3002" y="791"/>
                    </a:lnTo>
                    <a:lnTo>
                      <a:pt x="3005" y="798"/>
                    </a:lnTo>
                    <a:lnTo>
                      <a:pt x="3004" y="801"/>
                    </a:lnTo>
                    <a:lnTo>
                      <a:pt x="3004" y="806"/>
                    </a:lnTo>
                    <a:lnTo>
                      <a:pt x="3000" y="808"/>
                    </a:lnTo>
                    <a:lnTo>
                      <a:pt x="2994" y="804"/>
                    </a:lnTo>
                    <a:lnTo>
                      <a:pt x="2985" y="801"/>
                    </a:lnTo>
                    <a:lnTo>
                      <a:pt x="2985" y="794"/>
                    </a:lnTo>
                    <a:lnTo>
                      <a:pt x="2987" y="791"/>
                    </a:lnTo>
                    <a:lnTo>
                      <a:pt x="2989" y="784"/>
                    </a:lnTo>
                    <a:lnTo>
                      <a:pt x="2987" y="781"/>
                    </a:lnTo>
                    <a:lnTo>
                      <a:pt x="2984" y="783"/>
                    </a:lnTo>
                    <a:lnTo>
                      <a:pt x="2985" y="784"/>
                    </a:lnTo>
                    <a:lnTo>
                      <a:pt x="2985" y="788"/>
                    </a:lnTo>
                    <a:lnTo>
                      <a:pt x="2980" y="789"/>
                    </a:lnTo>
                    <a:lnTo>
                      <a:pt x="2975" y="796"/>
                    </a:lnTo>
                    <a:lnTo>
                      <a:pt x="2977" y="798"/>
                    </a:lnTo>
                    <a:lnTo>
                      <a:pt x="2984" y="796"/>
                    </a:lnTo>
                    <a:lnTo>
                      <a:pt x="2984" y="801"/>
                    </a:lnTo>
                    <a:lnTo>
                      <a:pt x="2980" y="806"/>
                    </a:lnTo>
                    <a:lnTo>
                      <a:pt x="2982" y="813"/>
                    </a:lnTo>
                    <a:lnTo>
                      <a:pt x="2980" y="816"/>
                    </a:lnTo>
                    <a:lnTo>
                      <a:pt x="2980" y="831"/>
                    </a:lnTo>
                    <a:lnTo>
                      <a:pt x="2985" y="834"/>
                    </a:lnTo>
                    <a:lnTo>
                      <a:pt x="2984" y="838"/>
                    </a:lnTo>
                    <a:lnTo>
                      <a:pt x="2997" y="854"/>
                    </a:lnTo>
                    <a:lnTo>
                      <a:pt x="3000" y="854"/>
                    </a:lnTo>
                    <a:lnTo>
                      <a:pt x="3009" y="864"/>
                    </a:lnTo>
                    <a:lnTo>
                      <a:pt x="3014" y="867"/>
                    </a:lnTo>
                    <a:lnTo>
                      <a:pt x="3010" y="871"/>
                    </a:lnTo>
                    <a:lnTo>
                      <a:pt x="3012" y="876"/>
                    </a:lnTo>
                    <a:lnTo>
                      <a:pt x="2997" y="881"/>
                    </a:lnTo>
                    <a:lnTo>
                      <a:pt x="2995" y="879"/>
                    </a:lnTo>
                    <a:lnTo>
                      <a:pt x="2989" y="884"/>
                    </a:lnTo>
                    <a:lnTo>
                      <a:pt x="2984" y="882"/>
                    </a:lnTo>
                    <a:lnTo>
                      <a:pt x="2987" y="884"/>
                    </a:lnTo>
                    <a:lnTo>
                      <a:pt x="2982" y="894"/>
                    </a:lnTo>
                    <a:lnTo>
                      <a:pt x="2980" y="899"/>
                    </a:lnTo>
                    <a:lnTo>
                      <a:pt x="2979" y="902"/>
                    </a:lnTo>
                    <a:lnTo>
                      <a:pt x="2982" y="906"/>
                    </a:lnTo>
                    <a:lnTo>
                      <a:pt x="2979" y="917"/>
                    </a:lnTo>
                    <a:lnTo>
                      <a:pt x="2984" y="929"/>
                    </a:lnTo>
                    <a:lnTo>
                      <a:pt x="2990" y="932"/>
                    </a:lnTo>
                    <a:lnTo>
                      <a:pt x="2990" y="939"/>
                    </a:lnTo>
                    <a:lnTo>
                      <a:pt x="2997" y="941"/>
                    </a:lnTo>
                    <a:lnTo>
                      <a:pt x="3000" y="946"/>
                    </a:lnTo>
                    <a:lnTo>
                      <a:pt x="2995" y="946"/>
                    </a:lnTo>
                    <a:lnTo>
                      <a:pt x="2994" y="944"/>
                    </a:lnTo>
                    <a:lnTo>
                      <a:pt x="2989" y="946"/>
                    </a:lnTo>
                    <a:lnTo>
                      <a:pt x="2985" y="949"/>
                    </a:lnTo>
                    <a:lnTo>
                      <a:pt x="2980" y="949"/>
                    </a:lnTo>
                    <a:lnTo>
                      <a:pt x="2974" y="956"/>
                    </a:lnTo>
                    <a:lnTo>
                      <a:pt x="2969" y="952"/>
                    </a:lnTo>
                    <a:lnTo>
                      <a:pt x="2967" y="956"/>
                    </a:lnTo>
                    <a:lnTo>
                      <a:pt x="2969" y="959"/>
                    </a:lnTo>
                    <a:lnTo>
                      <a:pt x="2975" y="957"/>
                    </a:lnTo>
                    <a:lnTo>
                      <a:pt x="2974" y="962"/>
                    </a:lnTo>
                    <a:lnTo>
                      <a:pt x="2972" y="965"/>
                    </a:lnTo>
                    <a:lnTo>
                      <a:pt x="2977" y="970"/>
                    </a:lnTo>
                    <a:lnTo>
                      <a:pt x="2975" y="972"/>
                    </a:lnTo>
                    <a:lnTo>
                      <a:pt x="2972" y="970"/>
                    </a:lnTo>
                    <a:lnTo>
                      <a:pt x="2975" y="977"/>
                    </a:lnTo>
                    <a:lnTo>
                      <a:pt x="2974" y="980"/>
                    </a:lnTo>
                    <a:lnTo>
                      <a:pt x="2977" y="982"/>
                    </a:lnTo>
                    <a:lnTo>
                      <a:pt x="2980" y="980"/>
                    </a:lnTo>
                    <a:lnTo>
                      <a:pt x="2984" y="984"/>
                    </a:lnTo>
                    <a:lnTo>
                      <a:pt x="2980" y="987"/>
                    </a:lnTo>
                    <a:lnTo>
                      <a:pt x="2980" y="994"/>
                    </a:lnTo>
                    <a:lnTo>
                      <a:pt x="2982" y="997"/>
                    </a:lnTo>
                    <a:lnTo>
                      <a:pt x="2980" y="1007"/>
                    </a:lnTo>
                    <a:lnTo>
                      <a:pt x="2979" y="1010"/>
                    </a:lnTo>
                    <a:lnTo>
                      <a:pt x="2980" y="1014"/>
                    </a:lnTo>
                    <a:lnTo>
                      <a:pt x="2979" y="1017"/>
                    </a:lnTo>
                    <a:lnTo>
                      <a:pt x="2974" y="1022"/>
                    </a:lnTo>
                    <a:lnTo>
                      <a:pt x="2972" y="1025"/>
                    </a:lnTo>
                    <a:lnTo>
                      <a:pt x="2970" y="1027"/>
                    </a:lnTo>
                    <a:lnTo>
                      <a:pt x="2969" y="1037"/>
                    </a:lnTo>
                    <a:lnTo>
                      <a:pt x="2964" y="1047"/>
                    </a:lnTo>
                    <a:lnTo>
                      <a:pt x="2964" y="1042"/>
                    </a:lnTo>
                    <a:lnTo>
                      <a:pt x="2962" y="1039"/>
                    </a:lnTo>
                    <a:lnTo>
                      <a:pt x="2964" y="1034"/>
                    </a:lnTo>
                    <a:lnTo>
                      <a:pt x="2962" y="1032"/>
                    </a:lnTo>
                    <a:lnTo>
                      <a:pt x="2952" y="1030"/>
                    </a:lnTo>
                    <a:lnTo>
                      <a:pt x="2947" y="1024"/>
                    </a:lnTo>
                    <a:lnTo>
                      <a:pt x="2945" y="1015"/>
                    </a:lnTo>
                    <a:lnTo>
                      <a:pt x="2937" y="997"/>
                    </a:lnTo>
                    <a:lnTo>
                      <a:pt x="2931" y="989"/>
                    </a:lnTo>
                    <a:lnTo>
                      <a:pt x="2934" y="989"/>
                    </a:lnTo>
                    <a:lnTo>
                      <a:pt x="2937" y="987"/>
                    </a:lnTo>
                    <a:lnTo>
                      <a:pt x="2939" y="982"/>
                    </a:lnTo>
                    <a:lnTo>
                      <a:pt x="2936" y="984"/>
                    </a:lnTo>
                    <a:lnTo>
                      <a:pt x="2929" y="984"/>
                    </a:lnTo>
                    <a:lnTo>
                      <a:pt x="2921" y="980"/>
                    </a:lnTo>
                    <a:lnTo>
                      <a:pt x="2902" y="949"/>
                    </a:lnTo>
                    <a:lnTo>
                      <a:pt x="2886" y="932"/>
                    </a:lnTo>
                    <a:lnTo>
                      <a:pt x="2884" y="926"/>
                    </a:lnTo>
                    <a:lnTo>
                      <a:pt x="2879" y="919"/>
                    </a:lnTo>
                    <a:lnTo>
                      <a:pt x="2866" y="899"/>
                    </a:lnTo>
                    <a:lnTo>
                      <a:pt x="2852" y="876"/>
                    </a:lnTo>
                    <a:lnTo>
                      <a:pt x="2841" y="854"/>
                    </a:lnTo>
                    <a:lnTo>
                      <a:pt x="2841" y="848"/>
                    </a:lnTo>
                    <a:lnTo>
                      <a:pt x="2834" y="838"/>
                    </a:lnTo>
                    <a:lnTo>
                      <a:pt x="2833" y="823"/>
                    </a:lnTo>
                    <a:lnTo>
                      <a:pt x="2829" y="814"/>
                    </a:lnTo>
                    <a:lnTo>
                      <a:pt x="2829" y="804"/>
                    </a:lnTo>
                    <a:lnTo>
                      <a:pt x="2836" y="799"/>
                    </a:lnTo>
                    <a:lnTo>
                      <a:pt x="2836" y="791"/>
                    </a:lnTo>
                    <a:lnTo>
                      <a:pt x="2841" y="791"/>
                    </a:lnTo>
                    <a:lnTo>
                      <a:pt x="2838" y="788"/>
                    </a:lnTo>
                    <a:lnTo>
                      <a:pt x="2839" y="784"/>
                    </a:lnTo>
                    <a:lnTo>
                      <a:pt x="2841" y="774"/>
                    </a:lnTo>
                    <a:lnTo>
                      <a:pt x="2831" y="763"/>
                    </a:lnTo>
                    <a:lnTo>
                      <a:pt x="2824" y="763"/>
                    </a:lnTo>
                    <a:lnTo>
                      <a:pt x="2824" y="760"/>
                    </a:lnTo>
                    <a:lnTo>
                      <a:pt x="2829" y="756"/>
                    </a:lnTo>
                    <a:lnTo>
                      <a:pt x="2839" y="760"/>
                    </a:lnTo>
                    <a:lnTo>
                      <a:pt x="2844" y="755"/>
                    </a:lnTo>
                    <a:lnTo>
                      <a:pt x="2843" y="751"/>
                    </a:lnTo>
                    <a:lnTo>
                      <a:pt x="2843" y="743"/>
                    </a:lnTo>
                    <a:lnTo>
                      <a:pt x="2851" y="741"/>
                    </a:lnTo>
                    <a:lnTo>
                      <a:pt x="2856" y="743"/>
                    </a:lnTo>
                    <a:lnTo>
                      <a:pt x="2851" y="738"/>
                    </a:lnTo>
                    <a:lnTo>
                      <a:pt x="2859" y="725"/>
                    </a:lnTo>
                    <a:lnTo>
                      <a:pt x="2856" y="716"/>
                    </a:lnTo>
                    <a:lnTo>
                      <a:pt x="2856" y="708"/>
                    </a:lnTo>
                    <a:lnTo>
                      <a:pt x="2852" y="703"/>
                    </a:lnTo>
                    <a:lnTo>
                      <a:pt x="2857" y="700"/>
                    </a:lnTo>
                    <a:lnTo>
                      <a:pt x="2857" y="693"/>
                    </a:lnTo>
                    <a:lnTo>
                      <a:pt x="2856" y="691"/>
                    </a:lnTo>
                    <a:lnTo>
                      <a:pt x="2857" y="683"/>
                    </a:lnTo>
                    <a:lnTo>
                      <a:pt x="2861" y="683"/>
                    </a:lnTo>
                    <a:lnTo>
                      <a:pt x="2856" y="680"/>
                    </a:lnTo>
                    <a:lnTo>
                      <a:pt x="2856" y="676"/>
                    </a:lnTo>
                    <a:lnTo>
                      <a:pt x="2857" y="675"/>
                    </a:lnTo>
                    <a:lnTo>
                      <a:pt x="2857" y="666"/>
                    </a:lnTo>
                    <a:lnTo>
                      <a:pt x="2856" y="665"/>
                    </a:lnTo>
                    <a:lnTo>
                      <a:pt x="2857" y="660"/>
                    </a:lnTo>
                    <a:lnTo>
                      <a:pt x="2862" y="658"/>
                    </a:lnTo>
                    <a:lnTo>
                      <a:pt x="2864" y="655"/>
                    </a:lnTo>
                    <a:lnTo>
                      <a:pt x="2862" y="648"/>
                    </a:lnTo>
                    <a:lnTo>
                      <a:pt x="2864" y="638"/>
                    </a:lnTo>
                    <a:lnTo>
                      <a:pt x="2862" y="637"/>
                    </a:lnTo>
                    <a:lnTo>
                      <a:pt x="2861" y="635"/>
                    </a:lnTo>
                    <a:lnTo>
                      <a:pt x="2866" y="628"/>
                    </a:lnTo>
                    <a:lnTo>
                      <a:pt x="2866" y="622"/>
                    </a:lnTo>
                    <a:lnTo>
                      <a:pt x="2862" y="623"/>
                    </a:lnTo>
                    <a:lnTo>
                      <a:pt x="2861" y="617"/>
                    </a:lnTo>
                    <a:lnTo>
                      <a:pt x="2862" y="613"/>
                    </a:lnTo>
                    <a:lnTo>
                      <a:pt x="2864" y="610"/>
                    </a:lnTo>
                    <a:lnTo>
                      <a:pt x="2867" y="608"/>
                    </a:lnTo>
                    <a:lnTo>
                      <a:pt x="2867" y="607"/>
                    </a:lnTo>
                    <a:lnTo>
                      <a:pt x="2874" y="603"/>
                    </a:lnTo>
                    <a:lnTo>
                      <a:pt x="2874" y="598"/>
                    </a:lnTo>
                    <a:lnTo>
                      <a:pt x="2881" y="593"/>
                    </a:lnTo>
                    <a:lnTo>
                      <a:pt x="2882" y="593"/>
                    </a:lnTo>
                    <a:lnTo>
                      <a:pt x="2886" y="590"/>
                    </a:lnTo>
                    <a:lnTo>
                      <a:pt x="2889" y="590"/>
                    </a:lnTo>
                    <a:lnTo>
                      <a:pt x="2891" y="588"/>
                    </a:lnTo>
                    <a:lnTo>
                      <a:pt x="2889" y="587"/>
                    </a:lnTo>
                    <a:lnTo>
                      <a:pt x="2884" y="585"/>
                    </a:lnTo>
                    <a:lnTo>
                      <a:pt x="2881" y="587"/>
                    </a:lnTo>
                    <a:lnTo>
                      <a:pt x="2877" y="585"/>
                    </a:lnTo>
                    <a:lnTo>
                      <a:pt x="2877" y="577"/>
                    </a:lnTo>
                    <a:lnTo>
                      <a:pt x="2881" y="570"/>
                    </a:lnTo>
                    <a:lnTo>
                      <a:pt x="2879" y="567"/>
                    </a:lnTo>
                    <a:lnTo>
                      <a:pt x="2876" y="562"/>
                    </a:lnTo>
                    <a:lnTo>
                      <a:pt x="2874" y="562"/>
                    </a:lnTo>
                    <a:lnTo>
                      <a:pt x="2872" y="565"/>
                    </a:lnTo>
                    <a:lnTo>
                      <a:pt x="2871" y="565"/>
                    </a:lnTo>
                    <a:lnTo>
                      <a:pt x="2869" y="554"/>
                    </a:lnTo>
                    <a:lnTo>
                      <a:pt x="2872" y="552"/>
                    </a:lnTo>
                    <a:lnTo>
                      <a:pt x="2872" y="550"/>
                    </a:lnTo>
                    <a:lnTo>
                      <a:pt x="2871" y="544"/>
                    </a:lnTo>
                    <a:lnTo>
                      <a:pt x="2866" y="542"/>
                    </a:lnTo>
                    <a:lnTo>
                      <a:pt x="2867" y="540"/>
                    </a:lnTo>
                    <a:lnTo>
                      <a:pt x="2866" y="540"/>
                    </a:lnTo>
                    <a:lnTo>
                      <a:pt x="2866" y="539"/>
                    </a:lnTo>
                    <a:lnTo>
                      <a:pt x="2861" y="532"/>
                    </a:lnTo>
                    <a:lnTo>
                      <a:pt x="2859" y="529"/>
                    </a:lnTo>
                    <a:lnTo>
                      <a:pt x="2857" y="527"/>
                    </a:lnTo>
                    <a:lnTo>
                      <a:pt x="2856" y="522"/>
                    </a:lnTo>
                    <a:lnTo>
                      <a:pt x="2854" y="517"/>
                    </a:lnTo>
                    <a:lnTo>
                      <a:pt x="2854" y="514"/>
                    </a:lnTo>
                    <a:lnTo>
                      <a:pt x="2861" y="507"/>
                    </a:lnTo>
                    <a:lnTo>
                      <a:pt x="2866" y="509"/>
                    </a:lnTo>
                    <a:lnTo>
                      <a:pt x="2871" y="507"/>
                    </a:lnTo>
                    <a:lnTo>
                      <a:pt x="2867" y="504"/>
                    </a:lnTo>
                    <a:lnTo>
                      <a:pt x="2874" y="502"/>
                    </a:lnTo>
                    <a:lnTo>
                      <a:pt x="2871" y="502"/>
                    </a:lnTo>
                    <a:lnTo>
                      <a:pt x="2866" y="502"/>
                    </a:lnTo>
                    <a:lnTo>
                      <a:pt x="2864" y="500"/>
                    </a:lnTo>
                    <a:lnTo>
                      <a:pt x="2857" y="500"/>
                    </a:lnTo>
                    <a:lnTo>
                      <a:pt x="2851" y="495"/>
                    </a:lnTo>
                    <a:lnTo>
                      <a:pt x="2847" y="497"/>
                    </a:lnTo>
                    <a:lnTo>
                      <a:pt x="2843" y="497"/>
                    </a:lnTo>
                    <a:lnTo>
                      <a:pt x="2838" y="502"/>
                    </a:lnTo>
                    <a:lnTo>
                      <a:pt x="2833" y="502"/>
                    </a:lnTo>
                    <a:lnTo>
                      <a:pt x="2826" y="507"/>
                    </a:lnTo>
                    <a:lnTo>
                      <a:pt x="2829" y="509"/>
                    </a:lnTo>
                    <a:lnTo>
                      <a:pt x="2828" y="514"/>
                    </a:lnTo>
                    <a:lnTo>
                      <a:pt x="2833" y="517"/>
                    </a:lnTo>
                    <a:lnTo>
                      <a:pt x="2834" y="522"/>
                    </a:lnTo>
                    <a:lnTo>
                      <a:pt x="2833" y="524"/>
                    </a:lnTo>
                    <a:lnTo>
                      <a:pt x="2834" y="530"/>
                    </a:lnTo>
                    <a:lnTo>
                      <a:pt x="2839" y="532"/>
                    </a:lnTo>
                    <a:lnTo>
                      <a:pt x="2839" y="535"/>
                    </a:lnTo>
                    <a:lnTo>
                      <a:pt x="2843" y="537"/>
                    </a:lnTo>
                    <a:lnTo>
                      <a:pt x="2844" y="545"/>
                    </a:lnTo>
                    <a:lnTo>
                      <a:pt x="2851" y="549"/>
                    </a:lnTo>
                    <a:lnTo>
                      <a:pt x="2851" y="554"/>
                    </a:lnTo>
                    <a:lnTo>
                      <a:pt x="2854" y="557"/>
                    </a:lnTo>
                    <a:lnTo>
                      <a:pt x="2852" y="559"/>
                    </a:lnTo>
                    <a:lnTo>
                      <a:pt x="2847" y="557"/>
                    </a:lnTo>
                    <a:lnTo>
                      <a:pt x="2846" y="554"/>
                    </a:lnTo>
                    <a:lnTo>
                      <a:pt x="2839" y="554"/>
                    </a:lnTo>
                    <a:lnTo>
                      <a:pt x="2836" y="557"/>
                    </a:lnTo>
                    <a:lnTo>
                      <a:pt x="2834" y="564"/>
                    </a:lnTo>
                    <a:lnTo>
                      <a:pt x="2836" y="567"/>
                    </a:lnTo>
                    <a:lnTo>
                      <a:pt x="2836" y="573"/>
                    </a:lnTo>
                    <a:lnTo>
                      <a:pt x="2834" y="573"/>
                    </a:lnTo>
                    <a:lnTo>
                      <a:pt x="2833" y="575"/>
                    </a:lnTo>
                    <a:lnTo>
                      <a:pt x="2836" y="577"/>
                    </a:lnTo>
                    <a:lnTo>
                      <a:pt x="2834" y="580"/>
                    </a:lnTo>
                    <a:lnTo>
                      <a:pt x="2831" y="583"/>
                    </a:lnTo>
                    <a:lnTo>
                      <a:pt x="2834" y="587"/>
                    </a:lnTo>
                    <a:lnTo>
                      <a:pt x="2831" y="590"/>
                    </a:lnTo>
                    <a:lnTo>
                      <a:pt x="2831" y="600"/>
                    </a:lnTo>
                    <a:lnTo>
                      <a:pt x="2829" y="603"/>
                    </a:lnTo>
                    <a:lnTo>
                      <a:pt x="2829" y="605"/>
                    </a:lnTo>
                    <a:lnTo>
                      <a:pt x="2826" y="608"/>
                    </a:lnTo>
                    <a:lnTo>
                      <a:pt x="2823" y="613"/>
                    </a:lnTo>
                    <a:lnTo>
                      <a:pt x="2821" y="610"/>
                    </a:lnTo>
                    <a:lnTo>
                      <a:pt x="2816" y="605"/>
                    </a:lnTo>
                    <a:lnTo>
                      <a:pt x="2821" y="600"/>
                    </a:lnTo>
                    <a:lnTo>
                      <a:pt x="2819" y="597"/>
                    </a:lnTo>
                    <a:lnTo>
                      <a:pt x="2816" y="597"/>
                    </a:lnTo>
                    <a:lnTo>
                      <a:pt x="2811" y="600"/>
                    </a:lnTo>
                    <a:lnTo>
                      <a:pt x="2811" y="603"/>
                    </a:lnTo>
                    <a:lnTo>
                      <a:pt x="2808" y="605"/>
                    </a:lnTo>
                    <a:lnTo>
                      <a:pt x="2808" y="597"/>
                    </a:lnTo>
                    <a:lnTo>
                      <a:pt x="2803" y="597"/>
                    </a:lnTo>
                    <a:lnTo>
                      <a:pt x="2801" y="593"/>
                    </a:lnTo>
                    <a:lnTo>
                      <a:pt x="2796" y="597"/>
                    </a:lnTo>
                    <a:lnTo>
                      <a:pt x="2794" y="595"/>
                    </a:lnTo>
                    <a:lnTo>
                      <a:pt x="2796" y="593"/>
                    </a:lnTo>
                    <a:lnTo>
                      <a:pt x="2799" y="590"/>
                    </a:lnTo>
                    <a:lnTo>
                      <a:pt x="2798" y="588"/>
                    </a:lnTo>
                    <a:lnTo>
                      <a:pt x="2798" y="585"/>
                    </a:lnTo>
                    <a:lnTo>
                      <a:pt x="2799" y="585"/>
                    </a:lnTo>
                    <a:lnTo>
                      <a:pt x="2798" y="580"/>
                    </a:lnTo>
                    <a:lnTo>
                      <a:pt x="2794" y="578"/>
                    </a:lnTo>
                    <a:lnTo>
                      <a:pt x="2798" y="575"/>
                    </a:lnTo>
                    <a:lnTo>
                      <a:pt x="2796" y="572"/>
                    </a:lnTo>
                    <a:lnTo>
                      <a:pt x="2794" y="570"/>
                    </a:lnTo>
                    <a:lnTo>
                      <a:pt x="2796" y="567"/>
                    </a:lnTo>
                    <a:lnTo>
                      <a:pt x="2796" y="562"/>
                    </a:lnTo>
                    <a:lnTo>
                      <a:pt x="2791" y="559"/>
                    </a:lnTo>
                    <a:lnTo>
                      <a:pt x="2789" y="555"/>
                    </a:lnTo>
                    <a:lnTo>
                      <a:pt x="2788" y="555"/>
                    </a:lnTo>
                    <a:lnTo>
                      <a:pt x="2786" y="562"/>
                    </a:lnTo>
                    <a:lnTo>
                      <a:pt x="2783" y="562"/>
                    </a:lnTo>
                    <a:lnTo>
                      <a:pt x="2783" y="567"/>
                    </a:lnTo>
                    <a:lnTo>
                      <a:pt x="2779" y="572"/>
                    </a:lnTo>
                    <a:lnTo>
                      <a:pt x="2778" y="572"/>
                    </a:lnTo>
                    <a:lnTo>
                      <a:pt x="2774" y="567"/>
                    </a:lnTo>
                    <a:lnTo>
                      <a:pt x="2773" y="567"/>
                    </a:lnTo>
                    <a:lnTo>
                      <a:pt x="2771" y="567"/>
                    </a:lnTo>
                    <a:lnTo>
                      <a:pt x="2769" y="564"/>
                    </a:lnTo>
                    <a:lnTo>
                      <a:pt x="2764" y="564"/>
                    </a:lnTo>
                    <a:lnTo>
                      <a:pt x="2763" y="565"/>
                    </a:lnTo>
                    <a:lnTo>
                      <a:pt x="2761" y="565"/>
                    </a:lnTo>
                    <a:lnTo>
                      <a:pt x="2759" y="568"/>
                    </a:lnTo>
                    <a:lnTo>
                      <a:pt x="2756" y="570"/>
                    </a:lnTo>
                    <a:lnTo>
                      <a:pt x="2754" y="572"/>
                    </a:lnTo>
                    <a:lnTo>
                      <a:pt x="2746" y="572"/>
                    </a:lnTo>
                    <a:lnTo>
                      <a:pt x="2743" y="575"/>
                    </a:lnTo>
                    <a:lnTo>
                      <a:pt x="2740" y="575"/>
                    </a:lnTo>
                    <a:lnTo>
                      <a:pt x="2738" y="577"/>
                    </a:lnTo>
                    <a:lnTo>
                      <a:pt x="2731" y="575"/>
                    </a:lnTo>
                    <a:lnTo>
                      <a:pt x="2726" y="583"/>
                    </a:lnTo>
                    <a:lnTo>
                      <a:pt x="2723" y="585"/>
                    </a:lnTo>
                    <a:lnTo>
                      <a:pt x="2725" y="592"/>
                    </a:lnTo>
                    <a:lnTo>
                      <a:pt x="2720" y="593"/>
                    </a:lnTo>
                    <a:lnTo>
                      <a:pt x="2720" y="597"/>
                    </a:lnTo>
                    <a:lnTo>
                      <a:pt x="2723" y="598"/>
                    </a:lnTo>
                    <a:lnTo>
                      <a:pt x="2723" y="603"/>
                    </a:lnTo>
                    <a:lnTo>
                      <a:pt x="2728" y="610"/>
                    </a:lnTo>
                    <a:lnTo>
                      <a:pt x="2725" y="613"/>
                    </a:lnTo>
                    <a:lnTo>
                      <a:pt x="2721" y="628"/>
                    </a:lnTo>
                    <a:lnTo>
                      <a:pt x="2728" y="635"/>
                    </a:lnTo>
                    <a:lnTo>
                      <a:pt x="2723" y="637"/>
                    </a:lnTo>
                    <a:lnTo>
                      <a:pt x="2725" y="637"/>
                    </a:lnTo>
                    <a:lnTo>
                      <a:pt x="2725" y="642"/>
                    </a:lnTo>
                    <a:lnTo>
                      <a:pt x="2720" y="647"/>
                    </a:lnTo>
                    <a:lnTo>
                      <a:pt x="2720" y="653"/>
                    </a:lnTo>
                    <a:lnTo>
                      <a:pt x="2716" y="657"/>
                    </a:lnTo>
                    <a:lnTo>
                      <a:pt x="2716" y="662"/>
                    </a:lnTo>
                    <a:lnTo>
                      <a:pt x="2713" y="670"/>
                    </a:lnTo>
                    <a:lnTo>
                      <a:pt x="2718" y="675"/>
                    </a:lnTo>
                    <a:lnTo>
                      <a:pt x="2715" y="678"/>
                    </a:lnTo>
                    <a:lnTo>
                      <a:pt x="2721" y="686"/>
                    </a:lnTo>
                    <a:lnTo>
                      <a:pt x="2718" y="688"/>
                    </a:lnTo>
                    <a:lnTo>
                      <a:pt x="2716" y="691"/>
                    </a:lnTo>
                    <a:lnTo>
                      <a:pt x="2721" y="693"/>
                    </a:lnTo>
                    <a:lnTo>
                      <a:pt x="2723" y="691"/>
                    </a:lnTo>
                    <a:lnTo>
                      <a:pt x="2728" y="691"/>
                    </a:lnTo>
                    <a:lnTo>
                      <a:pt x="2726" y="690"/>
                    </a:lnTo>
                    <a:lnTo>
                      <a:pt x="2728" y="688"/>
                    </a:lnTo>
                    <a:lnTo>
                      <a:pt x="2733" y="691"/>
                    </a:lnTo>
                    <a:lnTo>
                      <a:pt x="2735" y="691"/>
                    </a:lnTo>
                    <a:lnTo>
                      <a:pt x="2735" y="688"/>
                    </a:lnTo>
                    <a:lnTo>
                      <a:pt x="2735" y="688"/>
                    </a:lnTo>
                    <a:lnTo>
                      <a:pt x="2738" y="690"/>
                    </a:lnTo>
                    <a:lnTo>
                      <a:pt x="2743" y="691"/>
                    </a:lnTo>
                    <a:lnTo>
                      <a:pt x="2743" y="693"/>
                    </a:lnTo>
                    <a:lnTo>
                      <a:pt x="2743" y="695"/>
                    </a:lnTo>
                    <a:lnTo>
                      <a:pt x="2746" y="700"/>
                    </a:lnTo>
                    <a:lnTo>
                      <a:pt x="2746" y="701"/>
                    </a:lnTo>
                    <a:lnTo>
                      <a:pt x="2743" y="701"/>
                    </a:lnTo>
                    <a:lnTo>
                      <a:pt x="2740" y="703"/>
                    </a:lnTo>
                    <a:lnTo>
                      <a:pt x="2736" y="701"/>
                    </a:lnTo>
                    <a:lnTo>
                      <a:pt x="2733" y="703"/>
                    </a:lnTo>
                    <a:lnTo>
                      <a:pt x="2731" y="705"/>
                    </a:lnTo>
                    <a:lnTo>
                      <a:pt x="2735" y="708"/>
                    </a:lnTo>
                    <a:lnTo>
                      <a:pt x="2728" y="713"/>
                    </a:lnTo>
                    <a:lnTo>
                      <a:pt x="2725" y="711"/>
                    </a:lnTo>
                    <a:lnTo>
                      <a:pt x="2725" y="708"/>
                    </a:lnTo>
                    <a:lnTo>
                      <a:pt x="2721" y="706"/>
                    </a:lnTo>
                    <a:lnTo>
                      <a:pt x="2718" y="708"/>
                    </a:lnTo>
                    <a:lnTo>
                      <a:pt x="2716" y="706"/>
                    </a:lnTo>
                    <a:lnTo>
                      <a:pt x="2713" y="708"/>
                    </a:lnTo>
                    <a:lnTo>
                      <a:pt x="2713" y="710"/>
                    </a:lnTo>
                    <a:lnTo>
                      <a:pt x="2713" y="715"/>
                    </a:lnTo>
                    <a:lnTo>
                      <a:pt x="2711" y="715"/>
                    </a:lnTo>
                    <a:lnTo>
                      <a:pt x="2710" y="716"/>
                    </a:lnTo>
                    <a:lnTo>
                      <a:pt x="2706" y="720"/>
                    </a:lnTo>
                    <a:lnTo>
                      <a:pt x="2708" y="721"/>
                    </a:lnTo>
                    <a:lnTo>
                      <a:pt x="2706" y="723"/>
                    </a:lnTo>
                    <a:lnTo>
                      <a:pt x="2703" y="723"/>
                    </a:lnTo>
                    <a:lnTo>
                      <a:pt x="2696" y="718"/>
                    </a:lnTo>
                    <a:lnTo>
                      <a:pt x="2693" y="718"/>
                    </a:lnTo>
                    <a:lnTo>
                      <a:pt x="2698" y="723"/>
                    </a:lnTo>
                    <a:lnTo>
                      <a:pt x="2693" y="725"/>
                    </a:lnTo>
                    <a:lnTo>
                      <a:pt x="2693" y="726"/>
                    </a:lnTo>
                    <a:lnTo>
                      <a:pt x="2690" y="730"/>
                    </a:lnTo>
                    <a:lnTo>
                      <a:pt x="2683" y="731"/>
                    </a:lnTo>
                    <a:lnTo>
                      <a:pt x="2681" y="735"/>
                    </a:lnTo>
                    <a:lnTo>
                      <a:pt x="2675" y="726"/>
                    </a:lnTo>
                    <a:lnTo>
                      <a:pt x="2671" y="726"/>
                    </a:lnTo>
                    <a:lnTo>
                      <a:pt x="2668" y="725"/>
                    </a:lnTo>
                    <a:lnTo>
                      <a:pt x="2670" y="723"/>
                    </a:lnTo>
                    <a:lnTo>
                      <a:pt x="2675" y="723"/>
                    </a:lnTo>
                    <a:lnTo>
                      <a:pt x="2673" y="718"/>
                    </a:lnTo>
                    <a:lnTo>
                      <a:pt x="2675" y="716"/>
                    </a:lnTo>
                    <a:lnTo>
                      <a:pt x="2683" y="716"/>
                    </a:lnTo>
                    <a:lnTo>
                      <a:pt x="2691" y="710"/>
                    </a:lnTo>
                    <a:lnTo>
                      <a:pt x="2690" y="708"/>
                    </a:lnTo>
                    <a:lnTo>
                      <a:pt x="2686" y="706"/>
                    </a:lnTo>
                    <a:lnTo>
                      <a:pt x="2681" y="711"/>
                    </a:lnTo>
                    <a:lnTo>
                      <a:pt x="2676" y="710"/>
                    </a:lnTo>
                    <a:lnTo>
                      <a:pt x="2675" y="708"/>
                    </a:lnTo>
                    <a:lnTo>
                      <a:pt x="2671" y="705"/>
                    </a:lnTo>
                    <a:lnTo>
                      <a:pt x="2666" y="705"/>
                    </a:lnTo>
                    <a:lnTo>
                      <a:pt x="2660" y="703"/>
                    </a:lnTo>
                    <a:lnTo>
                      <a:pt x="2653" y="703"/>
                    </a:lnTo>
                    <a:lnTo>
                      <a:pt x="2655" y="706"/>
                    </a:lnTo>
                    <a:lnTo>
                      <a:pt x="2651" y="706"/>
                    </a:lnTo>
                    <a:lnTo>
                      <a:pt x="2648" y="705"/>
                    </a:lnTo>
                    <a:lnTo>
                      <a:pt x="2648" y="703"/>
                    </a:lnTo>
                    <a:lnTo>
                      <a:pt x="2642" y="703"/>
                    </a:lnTo>
                    <a:lnTo>
                      <a:pt x="2633" y="701"/>
                    </a:lnTo>
                    <a:lnTo>
                      <a:pt x="2630" y="703"/>
                    </a:lnTo>
                    <a:lnTo>
                      <a:pt x="2627" y="701"/>
                    </a:lnTo>
                    <a:lnTo>
                      <a:pt x="2620" y="700"/>
                    </a:lnTo>
                    <a:lnTo>
                      <a:pt x="2613" y="708"/>
                    </a:lnTo>
                    <a:lnTo>
                      <a:pt x="2610" y="708"/>
                    </a:lnTo>
                    <a:lnTo>
                      <a:pt x="2610" y="710"/>
                    </a:lnTo>
                    <a:lnTo>
                      <a:pt x="2617" y="715"/>
                    </a:lnTo>
                    <a:lnTo>
                      <a:pt x="2608" y="716"/>
                    </a:lnTo>
                    <a:lnTo>
                      <a:pt x="2608" y="713"/>
                    </a:lnTo>
                    <a:lnTo>
                      <a:pt x="2605" y="718"/>
                    </a:lnTo>
                    <a:lnTo>
                      <a:pt x="2610" y="721"/>
                    </a:lnTo>
                    <a:lnTo>
                      <a:pt x="2612" y="720"/>
                    </a:lnTo>
                    <a:lnTo>
                      <a:pt x="2615" y="721"/>
                    </a:lnTo>
                    <a:lnTo>
                      <a:pt x="2615" y="725"/>
                    </a:lnTo>
                    <a:lnTo>
                      <a:pt x="2605" y="728"/>
                    </a:lnTo>
                    <a:lnTo>
                      <a:pt x="2602" y="725"/>
                    </a:lnTo>
                    <a:lnTo>
                      <a:pt x="2595" y="725"/>
                    </a:lnTo>
                    <a:lnTo>
                      <a:pt x="2592" y="726"/>
                    </a:lnTo>
                    <a:lnTo>
                      <a:pt x="2593" y="730"/>
                    </a:lnTo>
                    <a:lnTo>
                      <a:pt x="2588" y="730"/>
                    </a:lnTo>
                    <a:lnTo>
                      <a:pt x="2587" y="731"/>
                    </a:lnTo>
                    <a:lnTo>
                      <a:pt x="2583" y="731"/>
                    </a:lnTo>
                    <a:lnTo>
                      <a:pt x="2582" y="728"/>
                    </a:lnTo>
                    <a:lnTo>
                      <a:pt x="2572" y="728"/>
                    </a:lnTo>
                    <a:lnTo>
                      <a:pt x="2568" y="730"/>
                    </a:lnTo>
                    <a:lnTo>
                      <a:pt x="2558" y="730"/>
                    </a:lnTo>
                    <a:lnTo>
                      <a:pt x="2553" y="731"/>
                    </a:lnTo>
                    <a:lnTo>
                      <a:pt x="2553" y="735"/>
                    </a:lnTo>
                    <a:lnTo>
                      <a:pt x="2560" y="738"/>
                    </a:lnTo>
                    <a:lnTo>
                      <a:pt x="2557" y="741"/>
                    </a:lnTo>
                    <a:lnTo>
                      <a:pt x="2555" y="746"/>
                    </a:lnTo>
                    <a:lnTo>
                      <a:pt x="2550" y="743"/>
                    </a:lnTo>
                    <a:lnTo>
                      <a:pt x="2547" y="741"/>
                    </a:lnTo>
                    <a:lnTo>
                      <a:pt x="2548" y="736"/>
                    </a:lnTo>
                    <a:lnTo>
                      <a:pt x="2544" y="733"/>
                    </a:lnTo>
                    <a:lnTo>
                      <a:pt x="2542" y="736"/>
                    </a:lnTo>
                    <a:lnTo>
                      <a:pt x="2539" y="738"/>
                    </a:lnTo>
                    <a:lnTo>
                      <a:pt x="2534" y="738"/>
                    </a:lnTo>
                    <a:lnTo>
                      <a:pt x="2529" y="741"/>
                    </a:lnTo>
                    <a:lnTo>
                      <a:pt x="2524" y="740"/>
                    </a:lnTo>
                    <a:lnTo>
                      <a:pt x="2517" y="745"/>
                    </a:lnTo>
                    <a:lnTo>
                      <a:pt x="2509" y="745"/>
                    </a:lnTo>
                    <a:lnTo>
                      <a:pt x="2500" y="751"/>
                    </a:lnTo>
                    <a:lnTo>
                      <a:pt x="2495" y="751"/>
                    </a:lnTo>
                    <a:lnTo>
                      <a:pt x="2492" y="748"/>
                    </a:lnTo>
                    <a:lnTo>
                      <a:pt x="2489" y="748"/>
                    </a:lnTo>
                    <a:lnTo>
                      <a:pt x="2489" y="753"/>
                    </a:lnTo>
                    <a:lnTo>
                      <a:pt x="2479" y="760"/>
                    </a:lnTo>
                    <a:lnTo>
                      <a:pt x="2479" y="763"/>
                    </a:lnTo>
                    <a:lnTo>
                      <a:pt x="2474" y="768"/>
                    </a:lnTo>
                    <a:lnTo>
                      <a:pt x="2472" y="773"/>
                    </a:lnTo>
                    <a:lnTo>
                      <a:pt x="2479" y="781"/>
                    </a:lnTo>
                    <a:lnTo>
                      <a:pt x="2477" y="789"/>
                    </a:lnTo>
                    <a:lnTo>
                      <a:pt x="2470" y="796"/>
                    </a:lnTo>
                    <a:lnTo>
                      <a:pt x="2467" y="804"/>
                    </a:lnTo>
                    <a:lnTo>
                      <a:pt x="2469" y="809"/>
                    </a:lnTo>
                    <a:lnTo>
                      <a:pt x="2467" y="818"/>
                    </a:lnTo>
                    <a:lnTo>
                      <a:pt x="2470" y="821"/>
                    </a:lnTo>
                    <a:lnTo>
                      <a:pt x="2470" y="826"/>
                    </a:lnTo>
                    <a:lnTo>
                      <a:pt x="2467" y="826"/>
                    </a:lnTo>
                    <a:lnTo>
                      <a:pt x="2465" y="828"/>
                    </a:lnTo>
                    <a:lnTo>
                      <a:pt x="2464" y="833"/>
                    </a:lnTo>
                    <a:lnTo>
                      <a:pt x="2462" y="834"/>
                    </a:lnTo>
                    <a:lnTo>
                      <a:pt x="2465" y="841"/>
                    </a:lnTo>
                    <a:lnTo>
                      <a:pt x="2460" y="844"/>
                    </a:lnTo>
                    <a:lnTo>
                      <a:pt x="2459" y="851"/>
                    </a:lnTo>
                    <a:lnTo>
                      <a:pt x="2452" y="858"/>
                    </a:lnTo>
                    <a:lnTo>
                      <a:pt x="2454" y="863"/>
                    </a:lnTo>
                    <a:lnTo>
                      <a:pt x="2450" y="864"/>
                    </a:lnTo>
                    <a:lnTo>
                      <a:pt x="2449" y="872"/>
                    </a:lnTo>
                    <a:lnTo>
                      <a:pt x="2447" y="872"/>
                    </a:lnTo>
                    <a:lnTo>
                      <a:pt x="2444" y="882"/>
                    </a:lnTo>
                    <a:lnTo>
                      <a:pt x="2444" y="891"/>
                    </a:lnTo>
                    <a:lnTo>
                      <a:pt x="2442" y="894"/>
                    </a:lnTo>
                    <a:lnTo>
                      <a:pt x="2446" y="899"/>
                    </a:lnTo>
                    <a:lnTo>
                      <a:pt x="2442" y="904"/>
                    </a:lnTo>
                    <a:lnTo>
                      <a:pt x="2441" y="909"/>
                    </a:lnTo>
                    <a:lnTo>
                      <a:pt x="2436" y="916"/>
                    </a:lnTo>
                    <a:lnTo>
                      <a:pt x="2436" y="917"/>
                    </a:lnTo>
                    <a:lnTo>
                      <a:pt x="2434" y="917"/>
                    </a:lnTo>
                    <a:lnTo>
                      <a:pt x="2434" y="924"/>
                    </a:lnTo>
                    <a:lnTo>
                      <a:pt x="2427" y="929"/>
                    </a:lnTo>
                    <a:lnTo>
                      <a:pt x="2426" y="937"/>
                    </a:lnTo>
                    <a:lnTo>
                      <a:pt x="2419" y="942"/>
                    </a:lnTo>
                    <a:lnTo>
                      <a:pt x="2419" y="946"/>
                    </a:lnTo>
                    <a:lnTo>
                      <a:pt x="2414" y="952"/>
                    </a:lnTo>
                    <a:lnTo>
                      <a:pt x="2414" y="957"/>
                    </a:lnTo>
                    <a:lnTo>
                      <a:pt x="2411" y="961"/>
                    </a:lnTo>
                    <a:lnTo>
                      <a:pt x="2414" y="964"/>
                    </a:lnTo>
                    <a:lnTo>
                      <a:pt x="2417" y="967"/>
                    </a:lnTo>
                    <a:lnTo>
                      <a:pt x="2422" y="965"/>
                    </a:lnTo>
                    <a:lnTo>
                      <a:pt x="2427" y="969"/>
                    </a:lnTo>
                    <a:lnTo>
                      <a:pt x="2431" y="969"/>
                    </a:lnTo>
                    <a:lnTo>
                      <a:pt x="2437" y="965"/>
                    </a:lnTo>
                    <a:lnTo>
                      <a:pt x="2441" y="964"/>
                    </a:lnTo>
                    <a:lnTo>
                      <a:pt x="2446" y="962"/>
                    </a:lnTo>
                    <a:lnTo>
                      <a:pt x="2447" y="962"/>
                    </a:lnTo>
                    <a:lnTo>
                      <a:pt x="2452" y="961"/>
                    </a:lnTo>
                    <a:lnTo>
                      <a:pt x="2452" y="972"/>
                    </a:lnTo>
                    <a:lnTo>
                      <a:pt x="2459" y="979"/>
                    </a:lnTo>
                    <a:lnTo>
                      <a:pt x="2460" y="985"/>
                    </a:lnTo>
                    <a:lnTo>
                      <a:pt x="2459" y="992"/>
                    </a:lnTo>
                    <a:lnTo>
                      <a:pt x="2465" y="995"/>
                    </a:lnTo>
                    <a:lnTo>
                      <a:pt x="2469" y="992"/>
                    </a:lnTo>
                    <a:lnTo>
                      <a:pt x="2470" y="992"/>
                    </a:lnTo>
                    <a:lnTo>
                      <a:pt x="2474" y="990"/>
                    </a:lnTo>
                    <a:lnTo>
                      <a:pt x="2475" y="987"/>
                    </a:lnTo>
                    <a:lnTo>
                      <a:pt x="2479" y="985"/>
                    </a:lnTo>
                    <a:lnTo>
                      <a:pt x="2480" y="989"/>
                    </a:lnTo>
                    <a:lnTo>
                      <a:pt x="2484" y="985"/>
                    </a:lnTo>
                    <a:lnTo>
                      <a:pt x="2489" y="985"/>
                    </a:lnTo>
                    <a:lnTo>
                      <a:pt x="2487" y="989"/>
                    </a:lnTo>
                    <a:lnTo>
                      <a:pt x="2484" y="992"/>
                    </a:lnTo>
                    <a:lnTo>
                      <a:pt x="2485" y="997"/>
                    </a:lnTo>
                    <a:lnTo>
                      <a:pt x="2482" y="997"/>
                    </a:lnTo>
                    <a:lnTo>
                      <a:pt x="2479" y="1000"/>
                    </a:lnTo>
                    <a:lnTo>
                      <a:pt x="2480" y="1002"/>
                    </a:lnTo>
                    <a:lnTo>
                      <a:pt x="2490" y="1002"/>
                    </a:lnTo>
                    <a:lnTo>
                      <a:pt x="2495" y="999"/>
                    </a:lnTo>
                    <a:lnTo>
                      <a:pt x="2499" y="992"/>
                    </a:lnTo>
                    <a:lnTo>
                      <a:pt x="2497" y="987"/>
                    </a:lnTo>
                    <a:lnTo>
                      <a:pt x="2499" y="984"/>
                    </a:lnTo>
                    <a:lnTo>
                      <a:pt x="2502" y="990"/>
                    </a:lnTo>
                    <a:lnTo>
                      <a:pt x="2500" y="995"/>
                    </a:lnTo>
                    <a:lnTo>
                      <a:pt x="2502" y="1000"/>
                    </a:lnTo>
                    <a:lnTo>
                      <a:pt x="2505" y="999"/>
                    </a:lnTo>
                    <a:lnTo>
                      <a:pt x="2507" y="994"/>
                    </a:lnTo>
                    <a:lnTo>
                      <a:pt x="2504" y="985"/>
                    </a:lnTo>
                    <a:lnTo>
                      <a:pt x="2505" y="982"/>
                    </a:lnTo>
                    <a:lnTo>
                      <a:pt x="2502" y="979"/>
                    </a:lnTo>
                    <a:lnTo>
                      <a:pt x="2499" y="970"/>
                    </a:lnTo>
                    <a:lnTo>
                      <a:pt x="2504" y="970"/>
                    </a:lnTo>
                    <a:lnTo>
                      <a:pt x="2509" y="972"/>
                    </a:lnTo>
                    <a:lnTo>
                      <a:pt x="2509" y="975"/>
                    </a:lnTo>
                    <a:lnTo>
                      <a:pt x="2510" y="977"/>
                    </a:lnTo>
                    <a:lnTo>
                      <a:pt x="2512" y="977"/>
                    </a:lnTo>
                    <a:lnTo>
                      <a:pt x="2515" y="974"/>
                    </a:lnTo>
                    <a:lnTo>
                      <a:pt x="2519" y="974"/>
                    </a:lnTo>
                    <a:lnTo>
                      <a:pt x="2525" y="970"/>
                    </a:lnTo>
                    <a:lnTo>
                      <a:pt x="2530" y="974"/>
                    </a:lnTo>
                    <a:lnTo>
                      <a:pt x="2535" y="974"/>
                    </a:lnTo>
                    <a:lnTo>
                      <a:pt x="2540" y="977"/>
                    </a:lnTo>
                    <a:lnTo>
                      <a:pt x="2542" y="982"/>
                    </a:lnTo>
                    <a:lnTo>
                      <a:pt x="2545" y="984"/>
                    </a:lnTo>
                    <a:lnTo>
                      <a:pt x="2552" y="985"/>
                    </a:lnTo>
                    <a:lnTo>
                      <a:pt x="2555" y="989"/>
                    </a:lnTo>
                    <a:lnTo>
                      <a:pt x="2565" y="992"/>
                    </a:lnTo>
                    <a:lnTo>
                      <a:pt x="2567" y="994"/>
                    </a:lnTo>
                    <a:lnTo>
                      <a:pt x="2570" y="995"/>
                    </a:lnTo>
                    <a:lnTo>
                      <a:pt x="2573" y="999"/>
                    </a:lnTo>
                    <a:lnTo>
                      <a:pt x="2577" y="999"/>
                    </a:lnTo>
                    <a:lnTo>
                      <a:pt x="2580" y="1005"/>
                    </a:lnTo>
                    <a:lnTo>
                      <a:pt x="2578" y="1009"/>
                    </a:lnTo>
                    <a:lnTo>
                      <a:pt x="2577" y="1012"/>
                    </a:lnTo>
                    <a:lnTo>
                      <a:pt x="2573" y="1014"/>
                    </a:lnTo>
                    <a:lnTo>
                      <a:pt x="2578" y="1019"/>
                    </a:lnTo>
                    <a:lnTo>
                      <a:pt x="2582" y="1019"/>
                    </a:lnTo>
                    <a:lnTo>
                      <a:pt x="2588" y="1027"/>
                    </a:lnTo>
                    <a:lnTo>
                      <a:pt x="2588" y="1030"/>
                    </a:lnTo>
                    <a:lnTo>
                      <a:pt x="2587" y="1034"/>
                    </a:lnTo>
                    <a:lnTo>
                      <a:pt x="2587" y="1039"/>
                    </a:lnTo>
                    <a:lnTo>
                      <a:pt x="2592" y="1042"/>
                    </a:lnTo>
                    <a:lnTo>
                      <a:pt x="2595" y="1044"/>
                    </a:lnTo>
                    <a:lnTo>
                      <a:pt x="2598" y="1040"/>
                    </a:lnTo>
                    <a:lnTo>
                      <a:pt x="2598" y="1044"/>
                    </a:lnTo>
                    <a:lnTo>
                      <a:pt x="2597" y="1047"/>
                    </a:lnTo>
                    <a:lnTo>
                      <a:pt x="2598" y="1052"/>
                    </a:lnTo>
                    <a:lnTo>
                      <a:pt x="2602" y="1055"/>
                    </a:lnTo>
                    <a:lnTo>
                      <a:pt x="2598" y="1057"/>
                    </a:lnTo>
                    <a:lnTo>
                      <a:pt x="2598" y="1060"/>
                    </a:lnTo>
                    <a:lnTo>
                      <a:pt x="2600" y="1065"/>
                    </a:lnTo>
                    <a:lnTo>
                      <a:pt x="2598" y="1068"/>
                    </a:lnTo>
                    <a:lnTo>
                      <a:pt x="2600" y="1070"/>
                    </a:lnTo>
                    <a:lnTo>
                      <a:pt x="2600" y="1073"/>
                    </a:lnTo>
                    <a:lnTo>
                      <a:pt x="2598" y="1075"/>
                    </a:lnTo>
                    <a:lnTo>
                      <a:pt x="2600" y="1077"/>
                    </a:lnTo>
                    <a:lnTo>
                      <a:pt x="2598" y="1080"/>
                    </a:lnTo>
                    <a:lnTo>
                      <a:pt x="2602" y="1090"/>
                    </a:lnTo>
                    <a:lnTo>
                      <a:pt x="2600" y="1093"/>
                    </a:lnTo>
                    <a:lnTo>
                      <a:pt x="2602" y="1102"/>
                    </a:lnTo>
                    <a:lnTo>
                      <a:pt x="2602" y="1105"/>
                    </a:lnTo>
                    <a:lnTo>
                      <a:pt x="2602" y="1108"/>
                    </a:lnTo>
                    <a:lnTo>
                      <a:pt x="2607" y="1123"/>
                    </a:lnTo>
                    <a:lnTo>
                      <a:pt x="2610" y="1123"/>
                    </a:lnTo>
                    <a:lnTo>
                      <a:pt x="2615" y="1120"/>
                    </a:lnTo>
                    <a:lnTo>
                      <a:pt x="2615" y="1123"/>
                    </a:lnTo>
                    <a:lnTo>
                      <a:pt x="2612" y="1128"/>
                    </a:lnTo>
                    <a:lnTo>
                      <a:pt x="2610" y="1130"/>
                    </a:lnTo>
                    <a:lnTo>
                      <a:pt x="2612" y="1135"/>
                    </a:lnTo>
                    <a:lnTo>
                      <a:pt x="2613" y="1135"/>
                    </a:lnTo>
                    <a:lnTo>
                      <a:pt x="2622" y="1142"/>
                    </a:lnTo>
                    <a:lnTo>
                      <a:pt x="2620" y="1150"/>
                    </a:lnTo>
                    <a:lnTo>
                      <a:pt x="2622" y="1152"/>
                    </a:lnTo>
                    <a:lnTo>
                      <a:pt x="2622" y="1155"/>
                    </a:lnTo>
                    <a:lnTo>
                      <a:pt x="2623" y="1165"/>
                    </a:lnTo>
                    <a:lnTo>
                      <a:pt x="2627" y="1165"/>
                    </a:lnTo>
                    <a:lnTo>
                      <a:pt x="2627" y="1170"/>
                    </a:lnTo>
                    <a:lnTo>
                      <a:pt x="2625" y="1171"/>
                    </a:lnTo>
                    <a:lnTo>
                      <a:pt x="2625" y="1178"/>
                    </a:lnTo>
                    <a:lnTo>
                      <a:pt x="2628" y="1183"/>
                    </a:lnTo>
                    <a:lnTo>
                      <a:pt x="2628" y="1188"/>
                    </a:lnTo>
                    <a:lnTo>
                      <a:pt x="2622" y="1195"/>
                    </a:lnTo>
                    <a:lnTo>
                      <a:pt x="2620" y="1201"/>
                    </a:lnTo>
                    <a:lnTo>
                      <a:pt x="2617" y="1208"/>
                    </a:lnTo>
                    <a:lnTo>
                      <a:pt x="2618" y="1216"/>
                    </a:lnTo>
                    <a:lnTo>
                      <a:pt x="2620" y="1216"/>
                    </a:lnTo>
                    <a:lnTo>
                      <a:pt x="2618" y="1223"/>
                    </a:lnTo>
                    <a:lnTo>
                      <a:pt x="2615" y="1226"/>
                    </a:lnTo>
                    <a:lnTo>
                      <a:pt x="2615" y="1233"/>
                    </a:lnTo>
                    <a:lnTo>
                      <a:pt x="2612" y="1240"/>
                    </a:lnTo>
                    <a:lnTo>
                      <a:pt x="2613" y="1240"/>
                    </a:lnTo>
                    <a:lnTo>
                      <a:pt x="2613" y="1243"/>
                    </a:lnTo>
                    <a:lnTo>
                      <a:pt x="2610" y="1248"/>
                    </a:lnTo>
                    <a:lnTo>
                      <a:pt x="2612" y="1258"/>
                    </a:lnTo>
                    <a:lnTo>
                      <a:pt x="2607" y="1263"/>
                    </a:lnTo>
                    <a:lnTo>
                      <a:pt x="2608" y="1268"/>
                    </a:lnTo>
                    <a:lnTo>
                      <a:pt x="2610" y="1269"/>
                    </a:lnTo>
                    <a:lnTo>
                      <a:pt x="2610" y="1273"/>
                    </a:lnTo>
                    <a:lnTo>
                      <a:pt x="2605" y="1279"/>
                    </a:lnTo>
                    <a:lnTo>
                      <a:pt x="2603" y="1284"/>
                    </a:lnTo>
                    <a:lnTo>
                      <a:pt x="2598" y="1289"/>
                    </a:lnTo>
                    <a:lnTo>
                      <a:pt x="2598" y="1293"/>
                    </a:lnTo>
                    <a:lnTo>
                      <a:pt x="2593" y="1299"/>
                    </a:lnTo>
                    <a:lnTo>
                      <a:pt x="2588" y="1318"/>
                    </a:lnTo>
                    <a:lnTo>
                      <a:pt x="2585" y="1319"/>
                    </a:lnTo>
                    <a:lnTo>
                      <a:pt x="2585" y="1324"/>
                    </a:lnTo>
                    <a:lnTo>
                      <a:pt x="2587" y="1326"/>
                    </a:lnTo>
                    <a:lnTo>
                      <a:pt x="2587" y="1328"/>
                    </a:lnTo>
                    <a:lnTo>
                      <a:pt x="2580" y="1331"/>
                    </a:lnTo>
                    <a:lnTo>
                      <a:pt x="2580" y="1336"/>
                    </a:lnTo>
                    <a:lnTo>
                      <a:pt x="2575" y="1338"/>
                    </a:lnTo>
                    <a:lnTo>
                      <a:pt x="2575" y="1346"/>
                    </a:lnTo>
                    <a:lnTo>
                      <a:pt x="2573" y="1346"/>
                    </a:lnTo>
                    <a:lnTo>
                      <a:pt x="2575" y="1349"/>
                    </a:lnTo>
                    <a:lnTo>
                      <a:pt x="2570" y="1357"/>
                    </a:lnTo>
                    <a:lnTo>
                      <a:pt x="2568" y="1356"/>
                    </a:lnTo>
                    <a:lnTo>
                      <a:pt x="2565" y="1356"/>
                    </a:lnTo>
                    <a:lnTo>
                      <a:pt x="2567" y="1359"/>
                    </a:lnTo>
                    <a:lnTo>
                      <a:pt x="2567" y="1364"/>
                    </a:lnTo>
                    <a:lnTo>
                      <a:pt x="2562" y="1367"/>
                    </a:lnTo>
                    <a:lnTo>
                      <a:pt x="2563" y="1369"/>
                    </a:lnTo>
                    <a:lnTo>
                      <a:pt x="2555" y="1379"/>
                    </a:lnTo>
                    <a:lnTo>
                      <a:pt x="2552" y="1384"/>
                    </a:lnTo>
                    <a:lnTo>
                      <a:pt x="2548" y="1384"/>
                    </a:lnTo>
                    <a:lnTo>
                      <a:pt x="2547" y="1387"/>
                    </a:lnTo>
                    <a:lnTo>
                      <a:pt x="2540" y="1387"/>
                    </a:lnTo>
                    <a:lnTo>
                      <a:pt x="2535" y="1394"/>
                    </a:lnTo>
                    <a:lnTo>
                      <a:pt x="2532" y="1391"/>
                    </a:lnTo>
                    <a:lnTo>
                      <a:pt x="2529" y="1392"/>
                    </a:lnTo>
                    <a:lnTo>
                      <a:pt x="2522" y="1389"/>
                    </a:lnTo>
                    <a:lnTo>
                      <a:pt x="2514" y="1387"/>
                    </a:lnTo>
                    <a:lnTo>
                      <a:pt x="2514" y="1379"/>
                    </a:lnTo>
                    <a:lnTo>
                      <a:pt x="2510" y="1377"/>
                    </a:lnTo>
                    <a:lnTo>
                      <a:pt x="2505" y="1379"/>
                    </a:lnTo>
                    <a:lnTo>
                      <a:pt x="2500" y="1376"/>
                    </a:lnTo>
                    <a:lnTo>
                      <a:pt x="2499" y="1379"/>
                    </a:lnTo>
                    <a:lnTo>
                      <a:pt x="2499" y="1382"/>
                    </a:lnTo>
                    <a:lnTo>
                      <a:pt x="2494" y="1386"/>
                    </a:lnTo>
                    <a:lnTo>
                      <a:pt x="2494" y="1394"/>
                    </a:lnTo>
                    <a:lnTo>
                      <a:pt x="2490" y="1396"/>
                    </a:lnTo>
                    <a:lnTo>
                      <a:pt x="2489" y="1402"/>
                    </a:lnTo>
                    <a:lnTo>
                      <a:pt x="2487" y="1401"/>
                    </a:lnTo>
                    <a:lnTo>
                      <a:pt x="2480" y="1402"/>
                    </a:lnTo>
                    <a:lnTo>
                      <a:pt x="2479" y="1409"/>
                    </a:lnTo>
                    <a:lnTo>
                      <a:pt x="2477" y="1409"/>
                    </a:lnTo>
                    <a:lnTo>
                      <a:pt x="2477" y="1409"/>
                    </a:lnTo>
                    <a:close/>
                    <a:moveTo>
                      <a:pt x="804" y="1424"/>
                    </a:moveTo>
                    <a:lnTo>
                      <a:pt x="799" y="1419"/>
                    </a:lnTo>
                    <a:lnTo>
                      <a:pt x="769" y="1424"/>
                    </a:lnTo>
                    <a:lnTo>
                      <a:pt x="804" y="1424"/>
                    </a:lnTo>
                    <a:lnTo>
                      <a:pt x="804" y="1424"/>
                    </a:lnTo>
                    <a:close/>
                    <a:moveTo>
                      <a:pt x="2834" y="1331"/>
                    </a:moveTo>
                    <a:lnTo>
                      <a:pt x="2836" y="1331"/>
                    </a:lnTo>
                    <a:lnTo>
                      <a:pt x="2841" y="1329"/>
                    </a:lnTo>
                    <a:lnTo>
                      <a:pt x="2841" y="1326"/>
                    </a:lnTo>
                    <a:lnTo>
                      <a:pt x="2838" y="1328"/>
                    </a:lnTo>
                    <a:lnTo>
                      <a:pt x="2834" y="1331"/>
                    </a:lnTo>
                    <a:lnTo>
                      <a:pt x="2834" y="1331"/>
                    </a:lnTo>
                    <a:close/>
                    <a:moveTo>
                      <a:pt x="2475" y="85"/>
                    </a:moveTo>
                    <a:lnTo>
                      <a:pt x="2477" y="83"/>
                    </a:lnTo>
                    <a:lnTo>
                      <a:pt x="2479" y="82"/>
                    </a:lnTo>
                    <a:lnTo>
                      <a:pt x="2475" y="78"/>
                    </a:lnTo>
                    <a:lnTo>
                      <a:pt x="2474" y="82"/>
                    </a:lnTo>
                    <a:lnTo>
                      <a:pt x="2475" y="85"/>
                    </a:lnTo>
                    <a:lnTo>
                      <a:pt x="2475" y="85"/>
                    </a:lnTo>
                    <a:close/>
                    <a:moveTo>
                      <a:pt x="2457" y="80"/>
                    </a:moveTo>
                    <a:lnTo>
                      <a:pt x="2460" y="80"/>
                    </a:lnTo>
                    <a:lnTo>
                      <a:pt x="2462" y="78"/>
                    </a:lnTo>
                    <a:lnTo>
                      <a:pt x="2455" y="77"/>
                    </a:lnTo>
                    <a:lnTo>
                      <a:pt x="2454" y="78"/>
                    </a:lnTo>
                    <a:lnTo>
                      <a:pt x="2457" y="80"/>
                    </a:lnTo>
                    <a:lnTo>
                      <a:pt x="2457" y="80"/>
                    </a:lnTo>
                    <a:close/>
                    <a:moveTo>
                      <a:pt x="2439" y="87"/>
                    </a:moveTo>
                    <a:lnTo>
                      <a:pt x="2441" y="87"/>
                    </a:lnTo>
                    <a:lnTo>
                      <a:pt x="2442" y="85"/>
                    </a:lnTo>
                    <a:lnTo>
                      <a:pt x="2441" y="82"/>
                    </a:lnTo>
                    <a:lnTo>
                      <a:pt x="2437" y="80"/>
                    </a:lnTo>
                    <a:lnTo>
                      <a:pt x="2436" y="83"/>
                    </a:lnTo>
                    <a:lnTo>
                      <a:pt x="2439" y="87"/>
                    </a:lnTo>
                    <a:lnTo>
                      <a:pt x="2439" y="87"/>
                    </a:lnTo>
                    <a:close/>
                    <a:moveTo>
                      <a:pt x="2859" y="552"/>
                    </a:moveTo>
                    <a:lnTo>
                      <a:pt x="2857" y="552"/>
                    </a:lnTo>
                    <a:lnTo>
                      <a:pt x="2859" y="557"/>
                    </a:lnTo>
                    <a:lnTo>
                      <a:pt x="2861" y="555"/>
                    </a:lnTo>
                    <a:lnTo>
                      <a:pt x="2861" y="552"/>
                    </a:lnTo>
                    <a:lnTo>
                      <a:pt x="2859" y="550"/>
                    </a:lnTo>
                    <a:lnTo>
                      <a:pt x="2859" y="552"/>
                    </a:lnTo>
                    <a:lnTo>
                      <a:pt x="2859" y="552"/>
                    </a:lnTo>
                    <a:close/>
                    <a:moveTo>
                      <a:pt x="2852" y="544"/>
                    </a:moveTo>
                    <a:lnTo>
                      <a:pt x="2857" y="547"/>
                    </a:lnTo>
                    <a:lnTo>
                      <a:pt x="2859" y="547"/>
                    </a:lnTo>
                    <a:lnTo>
                      <a:pt x="2859" y="545"/>
                    </a:lnTo>
                    <a:lnTo>
                      <a:pt x="2856" y="540"/>
                    </a:lnTo>
                    <a:lnTo>
                      <a:pt x="2852" y="540"/>
                    </a:lnTo>
                    <a:lnTo>
                      <a:pt x="2852" y="544"/>
                    </a:lnTo>
                    <a:lnTo>
                      <a:pt x="2852" y="544"/>
                    </a:lnTo>
                    <a:close/>
                    <a:moveTo>
                      <a:pt x="456" y="278"/>
                    </a:moveTo>
                    <a:lnTo>
                      <a:pt x="457" y="276"/>
                    </a:lnTo>
                    <a:lnTo>
                      <a:pt x="459" y="274"/>
                    </a:lnTo>
                    <a:lnTo>
                      <a:pt x="465" y="271"/>
                    </a:lnTo>
                    <a:lnTo>
                      <a:pt x="465" y="268"/>
                    </a:lnTo>
                    <a:lnTo>
                      <a:pt x="464" y="268"/>
                    </a:lnTo>
                    <a:lnTo>
                      <a:pt x="459" y="271"/>
                    </a:lnTo>
                    <a:lnTo>
                      <a:pt x="456" y="271"/>
                    </a:lnTo>
                    <a:lnTo>
                      <a:pt x="454" y="274"/>
                    </a:lnTo>
                    <a:lnTo>
                      <a:pt x="456" y="278"/>
                    </a:lnTo>
                    <a:lnTo>
                      <a:pt x="456" y="278"/>
                    </a:lnTo>
                    <a:close/>
                    <a:moveTo>
                      <a:pt x="426" y="417"/>
                    </a:moveTo>
                    <a:lnTo>
                      <a:pt x="432" y="417"/>
                    </a:lnTo>
                    <a:lnTo>
                      <a:pt x="441" y="414"/>
                    </a:lnTo>
                    <a:lnTo>
                      <a:pt x="446" y="412"/>
                    </a:lnTo>
                    <a:lnTo>
                      <a:pt x="451" y="414"/>
                    </a:lnTo>
                    <a:lnTo>
                      <a:pt x="452" y="416"/>
                    </a:lnTo>
                    <a:lnTo>
                      <a:pt x="457" y="417"/>
                    </a:lnTo>
                    <a:lnTo>
                      <a:pt x="462" y="416"/>
                    </a:lnTo>
                    <a:lnTo>
                      <a:pt x="459" y="412"/>
                    </a:lnTo>
                    <a:lnTo>
                      <a:pt x="459" y="409"/>
                    </a:lnTo>
                    <a:lnTo>
                      <a:pt x="462" y="411"/>
                    </a:lnTo>
                    <a:lnTo>
                      <a:pt x="464" y="414"/>
                    </a:lnTo>
                    <a:lnTo>
                      <a:pt x="469" y="416"/>
                    </a:lnTo>
                    <a:lnTo>
                      <a:pt x="475" y="416"/>
                    </a:lnTo>
                    <a:lnTo>
                      <a:pt x="475" y="414"/>
                    </a:lnTo>
                    <a:lnTo>
                      <a:pt x="480" y="414"/>
                    </a:lnTo>
                    <a:lnTo>
                      <a:pt x="482" y="407"/>
                    </a:lnTo>
                    <a:lnTo>
                      <a:pt x="482" y="402"/>
                    </a:lnTo>
                    <a:lnTo>
                      <a:pt x="485" y="399"/>
                    </a:lnTo>
                    <a:lnTo>
                      <a:pt x="485" y="394"/>
                    </a:lnTo>
                    <a:lnTo>
                      <a:pt x="482" y="392"/>
                    </a:lnTo>
                    <a:lnTo>
                      <a:pt x="480" y="386"/>
                    </a:lnTo>
                    <a:lnTo>
                      <a:pt x="475" y="386"/>
                    </a:lnTo>
                    <a:lnTo>
                      <a:pt x="472" y="386"/>
                    </a:lnTo>
                    <a:lnTo>
                      <a:pt x="470" y="384"/>
                    </a:lnTo>
                    <a:lnTo>
                      <a:pt x="474" y="382"/>
                    </a:lnTo>
                    <a:lnTo>
                      <a:pt x="477" y="382"/>
                    </a:lnTo>
                    <a:lnTo>
                      <a:pt x="480" y="382"/>
                    </a:lnTo>
                    <a:lnTo>
                      <a:pt x="482" y="386"/>
                    </a:lnTo>
                    <a:lnTo>
                      <a:pt x="482" y="389"/>
                    </a:lnTo>
                    <a:lnTo>
                      <a:pt x="485" y="389"/>
                    </a:lnTo>
                    <a:lnTo>
                      <a:pt x="487" y="387"/>
                    </a:lnTo>
                    <a:lnTo>
                      <a:pt x="485" y="381"/>
                    </a:lnTo>
                    <a:lnTo>
                      <a:pt x="480" y="374"/>
                    </a:lnTo>
                    <a:lnTo>
                      <a:pt x="475" y="368"/>
                    </a:lnTo>
                    <a:lnTo>
                      <a:pt x="477" y="366"/>
                    </a:lnTo>
                    <a:lnTo>
                      <a:pt x="480" y="369"/>
                    </a:lnTo>
                    <a:lnTo>
                      <a:pt x="480" y="372"/>
                    </a:lnTo>
                    <a:lnTo>
                      <a:pt x="485" y="374"/>
                    </a:lnTo>
                    <a:lnTo>
                      <a:pt x="490" y="376"/>
                    </a:lnTo>
                    <a:lnTo>
                      <a:pt x="490" y="372"/>
                    </a:lnTo>
                    <a:lnTo>
                      <a:pt x="490" y="369"/>
                    </a:lnTo>
                    <a:lnTo>
                      <a:pt x="489" y="368"/>
                    </a:lnTo>
                    <a:lnTo>
                      <a:pt x="489" y="366"/>
                    </a:lnTo>
                    <a:lnTo>
                      <a:pt x="492" y="361"/>
                    </a:lnTo>
                    <a:lnTo>
                      <a:pt x="492" y="358"/>
                    </a:lnTo>
                    <a:lnTo>
                      <a:pt x="487" y="353"/>
                    </a:lnTo>
                    <a:lnTo>
                      <a:pt x="482" y="348"/>
                    </a:lnTo>
                    <a:lnTo>
                      <a:pt x="485" y="348"/>
                    </a:lnTo>
                    <a:lnTo>
                      <a:pt x="490" y="349"/>
                    </a:lnTo>
                    <a:lnTo>
                      <a:pt x="494" y="349"/>
                    </a:lnTo>
                    <a:lnTo>
                      <a:pt x="495" y="344"/>
                    </a:lnTo>
                    <a:lnTo>
                      <a:pt x="494" y="343"/>
                    </a:lnTo>
                    <a:lnTo>
                      <a:pt x="490" y="343"/>
                    </a:lnTo>
                    <a:lnTo>
                      <a:pt x="490" y="338"/>
                    </a:lnTo>
                    <a:lnTo>
                      <a:pt x="494" y="336"/>
                    </a:lnTo>
                    <a:lnTo>
                      <a:pt x="499" y="339"/>
                    </a:lnTo>
                    <a:lnTo>
                      <a:pt x="504" y="341"/>
                    </a:lnTo>
                    <a:lnTo>
                      <a:pt x="507" y="339"/>
                    </a:lnTo>
                    <a:lnTo>
                      <a:pt x="504" y="338"/>
                    </a:lnTo>
                    <a:lnTo>
                      <a:pt x="502" y="334"/>
                    </a:lnTo>
                    <a:lnTo>
                      <a:pt x="507" y="334"/>
                    </a:lnTo>
                    <a:lnTo>
                      <a:pt x="509" y="336"/>
                    </a:lnTo>
                    <a:lnTo>
                      <a:pt x="512" y="333"/>
                    </a:lnTo>
                    <a:lnTo>
                      <a:pt x="514" y="329"/>
                    </a:lnTo>
                    <a:lnTo>
                      <a:pt x="512" y="328"/>
                    </a:lnTo>
                    <a:lnTo>
                      <a:pt x="512" y="326"/>
                    </a:lnTo>
                    <a:lnTo>
                      <a:pt x="519" y="323"/>
                    </a:lnTo>
                    <a:lnTo>
                      <a:pt x="520" y="319"/>
                    </a:lnTo>
                    <a:lnTo>
                      <a:pt x="515" y="318"/>
                    </a:lnTo>
                    <a:lnTo>
                      <a:pt x="514" y="314"/>
                    </a:lnTo>
                    <a:lnTo>
                      <a:pt x="517" y="311"/>
                    </a:lnTo>
                    <a:lnTo>
                      <a:pt x="519" y="314"/>
                    </a:lnTo>
                    <a:lnTo>
                      <a:pt x="522" y="313"/>
                    </a:lnTo>
                    <a:lnTo>
                      <a:pt x="529" y="304"/>
                    </a:lnTo>
                    <a:lnTo>
                      <a:pt x="530" y="299"/>
                    </a:lnTo>
                    <a:lnTo>
                      <a:pt x="534" y="296"/>
                    </a:lnTo>
                    <a:lnTo>
                      <a:pt x="534" y="291"/>
                    </a:lnTo>
                    <a:lnTo>
                      <a:pt x="540" y="288"/>
                    </a:lnTo>
                    <a:lnTo>
                      <a:pt x="544" y="281"/>
                    </a:lnTo>
                    <a:lnTo>
                      <a:pt x="547" y="273"/>
                    </a:lnTo>
                    <a:lnTo>
                      <a:pt x="550" y="273"/>
                    </a:lnTo>
                    <a:lnTo>
                      <a:pt x="560" y="268"/>
                    </a:lnTo>
                    <a:lnTo>
                      <a:pt x="570" y="256"/>
                    </a:lnTo>
                    <a:lnTo>
                      <a:pt x="577" y="251"/>
                    </a:lnTo>
                    <a:lnTo>
                      <a:pt x="580" y="251"/>
                    </a:lnTo>
                    <a:lnTo>
                      <a:pt x="587" y="246"/>
                    </a:lnTo>
                    <a:lnTo>
                      <a:pt x="595" y="245"/>
                    </a:lnTo>
                    <a:lnTo>
                      <a:pt x="598" y="241"/>
                    </a:lnTo>
                    <a:lnTo>
                      <a:pt x="605" y="233"/>
                    </a:lnTo>
                    <a:lnTo>
                      <a:pt x="610" y="231"/>
                    </a:lnTo>
                    <a:lnTo>
                      <a:pt x="612" y="231"/>
                    </a:lnTo>
                    <a:lnTo>
                      <a:pt x="617" y="230"/>
                    </a:lnTo>
                    <a:lnTo>
                      <a:pt x="617" y="226"/>
                    </a:lnTo>
                    <a:lnTo>
                      <a:pt x="615" y="225"/>
                    </a:lnTo>
                    <a:lnTo>
                      <a:pt x="617" y="221"/>
                    </a:lnTo>
                    <a:lnTo>
                      <a:pt x="617" y="216"/>
                    </a:lnTo>
                    <a:lnTo>
                      <a:pt x="617" y="211"/>
                    </a:lnTo>
                    <a:lnTo>
                      <a:pt x="615" y="210"/>
                    </a:lnTo>
                    <a:lnTo>
                      <a:pt x="612" y="210"/>
                    </a:lnTo>
                    <a:lnTo>
                      <a:pt x="612" y="205"/>
                    </a:lnTo>
                    <a:lnTo>
                      <a:pt x="613" y="198"/>
                    </a:lnTo>
                    <a:lnTo>
                      <a:pt x="612" y="196"/>
                    </a:lnTo>
                    <a:lnTo>
                      <a:pt x="607" y="196"/>
                    </a:lnTo>
                    <a:lnTo>
                      <a:pt x="605" y="193"/>
                    </a:lnTo>
                    <a:lnTo>
                      <a:pt x="600" y="193"/>
                    </a:lnTo>
                    <a:lnTo>
                      <a:pt x="598" y="190"/>
                    </a:lnTo>
                    <a:lnTo>
                      <a:pt x="597" y="186"/>
                    </a:lnTo>
                    <a:lnTo>
                      <a:pt x="595" y="185"/>
                    </a:lnTo>
                    <a:lnTo>
                      <a:pt x="590" y="186"/>
                    </a:lnTo>
                    <a:lnTo>
                      <a:pt x="588" y="190"/>
                    </a:lnTo>
                    <a:lnTo>
                      <a:pt x="587" y="188"/>
                    </a:lnTo>
                    <a:lnTo>
                      <a:pt x="582" y="186"/>
                    </a:lnTo>
                    <a:lnTo>
                      <a:pt x="578" y="188"/>
                    </a:lnTo>
                    <a:lnTo>
                      <a:pt x="572" y="191"/>
                    </a:lnTo>
                    <a:lnTo>
                      <a:pt x="572" y="195"/>
                    </a:lnTo>
                    <a:lnTo>
                      <a:pt x="568" y="198"/>
                    </a:lnTo>
                    <a:lnTo>
                      <a:pt x="565" y="198"/>
                    </a:lnTo>
                    <a:lnTo>
                      <a:pt x="562" y="201"/>
                    </a:lnTo>
                    <a:lnTo>
                      <a:pt x="562" y="203"/>
                    </a:lnTo>
                    <a:lnTo>
                      <a:pt x="559" y="208"/>
                    </a:lnTo>
                    <a:lnTo>
                      <a:pt x="557" y="210"/>
                    </a:lnTo>
                    <a:lnTo>
                      <a:pt x="560" y="215"/>
                    </a:lnTo>
                    <a:lnTo>
                      <a:pt x="560" y="216"/>
                    </a:lnTo>
                    <a:lnTo>
                      <a:pt x="557" y="216"/>
                    </a:lnTo>
                    <a:lnTo>
                      <a:pt x="554" y="220"/>
                    </a:lnTo>
                    <a:lnTo>
                      <a:pt x="554" y="223"/>
                    </a:lnTo>
                    <a:lnTo>
                      <a:pt x="552" y="223"/>
                    </a:lnTo>
                    <a:lnTo>
                      <a:pt x="549" y="226"/>
                    </a:lnTo>
                    <a:lnTo>
                      <a:pt x="540" y="231"/>
                    </a:lnTo>
                    <a:lnTo>
                      <a:pt x="539" y="235"/>
                    </a:lnTo>
                    <a:lnTo>
                      <a:pt x="535" y="233"/>
                    </a:lnTo>
                    <a:lnTo>
                      <a:pt x="532" y="233"/>
                    </a:lnTo>
                    <a:lnTo>
                      <a:pt x="529" y="236"/>
                    </a:lnTo>
                    <a:lnTo>
                      <a:pt x="524" y="241"/>
                    </a:lnTo>
                    <a:lnTo>
                      <a:pt x="520" y="243"/>
                    </a:lnTo>
                    <a:lnTo>
                      <a:pt x="519" y="243"/>
                    </a:lnTo>
                    <a:lnTo>
                      <a:pt x="517" y="240"/>
                    </a:lnTo>
                    <a:lnTo>
                      <a:pt x="515" y="240"/>
                    </a:lnTo>
                    <a:lnTo>
                      <a:pt x="515" y="241"/>
                    </a:lnTo>
                    <a:lnTo>
                      <a:pt x="515" y="246"/>
                    </a:lnTo>
                    <a:lnTo>
                      <a:pt x="514" y="248"/>
                    </a:lnTo>
                    <a:lnTo>
                      <a:pt x="512" y="245"/>
                    </a:lnTo>
                    <a:lnTo>
                      <a:pt x="510" y="241"/>
                    </a:lnTo>
                    <a:lnTo>
                      <a:pt x="502" y="241"/>
                    </a:lnTo>
                    <a:lnTo>
                      <a:pt x="494" y="243"/>
                    </a:lnTo>
                    <a:lnTo>
                      <a:pt x="492" y="245"/>
                    </a:lnTo>
                    <a:lnTo>
                      <a:pt x="489" y="246"/>
                    </a:lnTo>
                    <a:lnTo>
                      <a:pt x="487" y="248"/>
                    </a:lnTo>
                    <a:lnTo>
                      <a:pt x="489" y="253"/>
                    </a:lnTo>
                    <a:lnTo>
                      <a:pt x="492" y="256"/>
                    </a:lnTo>
                    <a:lnTo>
                      <a:pt x="490" y="258"/>
                    </a:lnTo>
                    <a:lnTo>
                      <a:pt x="489" y="258"/>
                    </a:lnTo>
                    <a:lnTo>
                      <a:pt x="485" y="261"/>
                    </a:lnTo>
                    <a:lnTo>
                      <a:pt x="484" y="261"/>
                    </a:lnTo>
                    <a:lnTo>
                      <a:pt x="484" y="260"/>
                    </a:lnTo>
                    <a:lnTo>
                      <a:pt x="485" y="258"/>
                    </a:lnTo>
                    <a:lnTo>
                      <a:pt x="485" y="255"/>
                    </a:lnTo>
                    <a:lnTo>
                      <a:pt x="482" y="255"/>
                    </a:lnTo>
                    <a:lnTo>
                      <a:pt x="479" y="260"/>
                    </a:lnTo>
                    <a:lnTo>
                      <a:pt x="475" y="261"/>
                    </a:lnTo>
                    <a:lnTo>
                      <a:pt x="475" y="265"/>
                    </a:lnTo>
                    <a:lnTo>
                      <a:pt x="479" y="266"/>
                    </a:lnTo>
                    <a:lnTo>
                      <a:pt x="475" y="268"/>
                    </a:lnTo>
                    <a:lnTo>
                      <a:pt x="474" y="271"/>
                    </a:lnTo>
                    <a:lnTo>
                      <a:pt x="469" y="271"/>
                    </a:lnTo>
                    <a:lnTo>
                      <a:pt x="465" y="273"/>
                    </a:lnTo>
                    <a:lnTo>
                      <a:pt x="465" y="276"/>
                    </a:lnTo>
                    <a:lnTo>
                      <a:pt x="461" y="278"/>
                    </a:lnTo>
                    <a:lnTo>
                      <a:pt x="459" y="279"/>
                    </a:lnTo>
                    <a:lnTo>
                      <a:pt x="457" y="286"/>
                    </a:lnTo>
                    <a:lnTo>
                      <a:pt x="459" y="288"/>
                    </a:lnTo>
                    <a:lnTo>
                      <a:pt x="461" y="288"/>
                    </a:lnTo>
                    <a:lnTo>
                      <a:pt x="457" y="291"/>
                    </a:lnTo>
                    <a:lnTo>
                      <a:pt x="451" y="291"/>
                    </a:lnTo>
                    <a:lnTo>
                      <a:pt x="447" y="293"/>
                    </a:lnTo>
                    <a:lnTo>
                      <a:pt x="447" y="298"/>
                    </a:lnTo>
                    <a:lnTo>
                      <a:pt x="447" y="301"/>
                    </a:lnTo>
                    <a:lnTo>
                      <a:pt x="451" y="303"/>
                    </a:lnTo>
                    <a:lnTo>
                      <a:pt x="454" y="301"/>
                    </a:lnTo>
                    <a:lnTo>
                      <a:pt x="456" y="303"/>
                    </a:lnTo>
                    <a:lnTo>
                      <a:pt x="454" y="306"/>
                    </a:lnTo>
                    <a:lnTo>
                      <a:pt x="456" y="309"/>
                    </a:lnTo>
                    <a:lnTo>
                      <a:pt x="452" y="311"/>
                    </a:lnTo>
                    <a:lnTo>
                      <a:pt x="449" y="311"/>
                    </a:lnTo>
                    <a:lnTo>
                      <a:pt x="442" y="309"/>
                    </a:lnTo>
                    <a:lnTo>
                      <a:pt x="437" y="311"/>
                    </a:lnTo>
                    <a:lnTo>
                      <a:pt x="436" y="314"/>
                    </a:lnTo>
                    <a:lnTo>
                      <a:pt x="437" y="318"/>
                    </a:lnTo>
                    <a:lnTo>
                      <a:pt x="434" y="321"/>
                    </a:lnTo>
                    <a:lnTo>
                      <a:pt x="431" y="324"/>
                    </a:lnTo>
                    <a:lnTo>
                      <a:pt x="427" y="323"/>
                    </a:lnTo>
                    <a:lnTo>
                      <a:pt x="424" y="321"/>
                    </a:lnTo>
                    <a:lnTo>
                      <a:pt x="422" y="318"/>
                    </a:lnTo>
                    <a:lnTo>
                      <a:pt x="421" y="318"/>
                    </a:lnTo>
                    <a:lnTo>
                      <a:pt x="419" y="324"/>
                    </a:lnTo>
                    <a:lnTo>
                      <a:pt x="421" y="328"/>
                    </a:lnTo>
                    <a:lnTo>
                      <a:pt x="426" y="331"/>
                    </a:lnTo>
                    <a:lnTo>
                      <a:pt x="427" y="331"/>
                    </a:lnTo>
                    <a:lnTo>
                      <a:pt x="429" y="331"/>
                    </a:lnTo>
                    <a:lnTo>
                      <a:pt x="429" y="334"/>
                    </a:lnTo>
                    <a:lnTo>
                      <a:pt x="427" y="339"/>
                    </a:lnTo>
                    <a:lnTo>
                      <a:pt x="429" y="341"/>
                    </a:lnTo>
                    <a:lnTo>
                      <a:pt x="431" y="343"/>
                    </a:lnTo>
                    <a:lnTo>
                      <a:pt x="434" y="339"/>
                    </a:lnTo>
                    <a:lnTo>
                      <a:pt x="436" y="339"/>
                    </a:lnTo>
                    <a:lnTo>
                      <a:pt x="437" y="341"/>
                    </a:lnTo>
                    <a:lnTo>
                      <a:pt x="442" y="341"/>
                    </a:lnTo>
                    <a:lnTo>
                      <a:pt x="446" y="339"/>
                    </a:lnTo>
                    <a:lnTo>
                      <a:pt x="447" y="341"/>
                    </a:lnTo>
                    <a:lnTo>
                      <a:pt x="446" y="343"/>
                    </a:lnTo>
                    <a:lnTo>
                      <a:pt x="442" y="344"/>
                    </a:lnTo>
                    <a:lnTo>
                      <a:pt x="436" y="344"/>
                    </a:lnTo>
                    <a:lnTo>
                      <a:pt x="434" y="346"/>
                    </a:lnTo>
                    <a:lnTo>
                      <a:pt x="431" y="346"/>
                    </a:lnTo>
                    <a:lnTo>
                      <a:pt x="429" y="348"/>
                    </a:lnTo>
                    <a:lnTo>
                      <a:pt x="431" y="353"/>
                    </a:lnTo>
                    <a:lnTo>
                      <a:pt x="434" y="354"/>
                    </a:lnTo>
                    <a:lnTo>
                      <a:pt x="437" y="356"/>
                    </a:lnTo>
                    <a:lnTo>
                      <a:pt x="441" y="354"/>
                    </a:lnTo>
                    <a:lnTo>
                      <a:pt x="442" y="356"/>
                    </a:lnTo>
                    <a:lnTo>
                      <a:pt x="441" y="358"/>
                    </a:lnTo>
                    <a:lnTo>
                      <a:pt x="436" y="359"/>
                    </a:lnTo>
                    <a:lnTo>
                      <a:pt x="431" y="359"/>
                    </a:lnTo>
                    <a:lnTo>
                      <a:pt x="427" y="361"/>
                    </a:lnTo>
                    <a:lnTo>
                      <a:pt x="427" y="363"/>
                    </a:lnTo>
                    <a:lnTo>
                      <a:pt x="429" y="364"/>
                    </a:lnTo>
                    <a:lnTo>
                      <a:pt x="434" y="364"/>
                    </a:lnTo>
                    <a:lnTo>
                      <a:pt x="437" y="364"/>
                    </a:lnTo>
                    <a:lnTo>
                      <a:pt x="437" y="366"/>
                    </a:lnTo>
                    <a:lnTo>
                      <a:pt x="436" y="368"/>
                    </a:lnTo>
                    <a:lnTo>
                      <a:pt x="431" y="368"/>
                    </a:lnTo>
                    <a:lnTo>
                      <a:pt x="431" y="371"/>
                    </a:lnTo>
                    <a:lnTo>
                      <a:pt x="432" y="371"/>
                    </a:lnTo>
                    <a:lnTo>
                      <a:pt x="437" y="371"/>
                    </a:lnTo>
                    <a:lnTo>
                      <a:pt x="446" y="376"/>
                    </a:lnTo>
                    <a:lnTo>
                      <a:pt x="449" y="377"/>
                    </a:lnTo>
                    <a:lnTo>
                      <a:pt x="449" y="377"/>
                    </a:lnTo>
                    <a:lnTo>
                      <a:pt x="449" y="381"/>
                    </a:lnTo>
                    <a:lnTo>
                      <a:pt x="446" y="377"/>
                    </a:lnTo>
                    <a:lnTo>
                      <a:pt x="441" y="376"/>
                    </a:lnTo>
                    <a:lnTo>
                      <a:pt x="437" y="376"/>
                    </a:lnTo>
                    <a:lnTo>
                      <a:pt x="432" y="372"/>
                    </a:lnTo>
                    <a:lnTo>
                      <a:pt x="429" y="372"/>
                    </a:lnTo>
                    <a:lnTo>
                      <a:pt x="426" y="376"/>
                    </a:lnTo>
                    <a:lnTo>
                      <a:pt x="426" y="379"/>
                    </a:lnTo>
                    <a:lnTo>
                      <a:pt x="422" y="381"/>
                    </a:lnTo>
                    <a:lnTo>
                      <a:pt x="424" y="382"/>
                    </a:lnTo>
                    <a:lnTo>
                      <a:pt x="426" y="384"/>
                    </a:lnTo>
                    <a:lnTo>
                      <a:pt x="424" y="386"/>
                    </a:lnTo>
                    <a:lnTo>
                      <a:pt x="422" y="387"/>
                    </a:lnTo>
                    <a:lnTo>
                      <a:pt x="421" y="387"/>
                    </a:lnTo>
                    <a:lnTo>
                      <a:pt x="417" y="389"/>
                    </a:lnTo>
                    <a:lnTo>
                      <a:pt x="416" y="394"/>
                    </a:lnTo>
                    <a:lnTo>
                      <a:pt x="416" y="396"/>
                    </a:lnTo>
                    <a:lnTo>
                      <a:pt x="416" y="397"/>
                    </a:lnTo>
                    <a:lnTo>
                      <a:pt x="411" y="397"/>
                    </a:lnTo>
                    <a:lnTo>
                      <a:pt x="411" y="399"/>
                    </a:lnTo>
                    <a:lnTo>
                      <a:pt x="416" y="404"/>
                    </a:lnTo>
                    <a:lnTo>
                      <a:pt x="421" y="406"/>
                    </a:lnTo>
                    <a:lnTo>
                      <a:pt x="422" y="404"/>
                    </a:lnTo>
                    <a:lnTo>
                      <a:pt x="424" y="402"/>
                    </a:lnTo>
                    <a:lnTo>
                      <a:pt x="427" y="401"/>
                    </a:lnTo>
                    <a:lnTo>
                      <a:pt x="434" y="396"/>
                    </a:lnTo>
                    <a:lnTo>
                      <a:pt x="439" y="394"/>
                    </a:lnTo>
                    <a:lnTo>
                      <a:pt x="444" y="396"/>
                    </a:lnTo>
                    <a:lnTo>
                      <a:pt x="446" y="397"/>
                    </a:lnTo>
                    <a:lnTo>
                      <a:pt x="446" y="399"/>
                    </a:lnTo>
                    <a:lnTo>
                      <a:pt x="444" y="399"/>
                    </a:lnTo>
                    <a:lnTo>
                      <a:pt x="441" y="397"/>
                    </a:lnTo>
                    <a:lnTo>
                      <a:pt x="437" y="397"/>
                    </a:lnTo>
                    <a:lnTo>
                      <a:pt x="436" y="399"/>
                    </a:lnTo>
                    <a:lnTo>
                      <a:pt x="429" y="402"/>
                    </a:lnTo>
                    <a:lnTo>
                      <a:pt x="427" y="406"/>
                    </a:lnTo>
                    <a:lnTo>
                      <a:pt x="426" y="411"/>
                    </a:lnTo>
                    <a:lnTo>
                      <a:pt x="427" y="414"/>
                    </a:lnTo>
                    <a:lnTo>
                      <a:pt x="426" y="416"/>
                    </a:lnTo>
                    <a:lnTo>
                      <a:pt x="426" y="416"/>
                    </a:lnTo>
                    <a:lnTo>
                      <a:pt x="426" y="417"/>
                    </a:lnTo>
                    <a:lnTo>
                      <a:pt x="426" y="417"/>
                    </a:lnTo>
                    <a:close/>
                    <a:moveTo>
                      <a:pt x="447" y="537"/>
                    </a:moveTo>
                    <a:lnTo>
                      <a:pt x="449" y="537"/>
                    </a:lnTo>
                    <a:lnTo>
                      <a:pt x="451" y="535"/>
                    </a:lnTo>
                    <a:lnTo>
                      <a:pt x="447" y="532"/>
                    </a:lnTo>
                    <a:lnTo>
                      <a:pt x="451" y="529"/>
                    </a:lnTo>
                    <a:lnTo>
                      <a:pt x="449" y="525"/>
                    </a:lnTo>
                    <a:lnTo>
                      <a:pt x="442" y="524"/>
                    </a:lnTo>
                    <a:lnTo>
                      <a:pt x="442" y="520"/>
                    </a:lnTo>
                    <a:lnTo>
                      <a:pt x="439" y="519"/>
                    </a:lnTo>
                    <a:lnTo>
                      <a:pt x="432" y="520"/>
                    </a:lnTo>
                    <a:lnTo>
                      <a:pt x="429" y="522"/>
                    </a:lnTo>
                    <a:lnTo>
                      <a:pt x="431" y="525"/>
                    </a:lnTo>
                    <a:lnTo>
                      <a:pt x="434" y="527"/>
                    </a:lnTo>
                    <a:lnTo>
                      <a:pt x="436" y="525"/>
                    </a:lnTo>
                    <a:lnTo>
                      <a:pt x="439" y="527"/>
                    </a:lnTo>
                    <a:lnTo>
                      <a:pt x="441" y="530"/>
                    </a:lnTo>
                    <a:lnTo>
                      <a:pt x="444" y="532"/>
                    </a:lnTo>
                    <a:lnTo>
                      <a:pt x="447" y="537"/>
                    </a:lnTo>
                    <a:lnTo>
                      <a:pt x="447" y="537"/>
                    </a:lnTo>
                    <a:close/>
                    <a:moveTo>
                      <a:pt x="534" y="535"/>
                    </a:moveTo>
                    <a:lnTo>
                      <a:pt x="529" y="532"/>
                    </a:lnTo>
                    <a:lnTo>
                      <a:pt x="527" y="534"/>
                    </a:lnTo>
                    <a:lnTo>
                      <a:pt x="522" y="532"/>
                    </a:lnTo>
                    <a:lnTo>
                      <a:pt x="519" y="527"/>
                    </a:lnTo>
                    <a:lnTo>
                      <a:pt x="514" y="527"/>
                    </a:lnTo>
                    <a:lnTo>
                      <a:pt x="505" y="522"/>
                    </a:lnTo>
                    <a:lnTo>
                      <a:pt x="504" y="517"/>
                    </a:lnTo>
                    <a:lnTo>
                      <a:pt x="499" y="517"/>
                    </a:lnTo>
                    <a:lnTo>
                      <a:pt x="492" y="507"/>
                    </a:lnTo>
                    <a:lnTo>
                      <a:pt x="484" y="499"/>
                    </a:lnTo>
                    <a:lnTo>
                      <a:pt x="480" y="489"/>
                    </a:lnTo>
                    <a:lnTo>
                      <a:pt x="475" y="482"/>
                    </a:lnTo>
                    <a:lnTo>
                      <a:pt x="475" y="470"/>
                    </a:lnTo>
                    <a:lnTo>
                      <a:pt x="472" y="466"/>
                    </a:lnTo>
                    <a:lnTo>
                      <a:pt x="470" y="452"/>
                    </a:lnTo>
                    <a:lnTo>
                      <a:pt x="469" y="451"/>
                    </a:lnTo>
                    <a:lnTo>
                      <a:pt x="470" y="446"/>
                    </a:lnTo>
                    <a:lnTo>
                      <a:pt x="470" y="444"/>
                    </a:lnTo>
                    <a:lnTo>
                      <a:pt x="467" y="442"/>
                    </a:lnTo>
                    <a:lnTo>
                      <a:pt x="462" y="444"/>
                    </a:lnTo>
                    <a:lnTo>
                      <a:pt x="461" y="442"/>
                    </a:lnTo>
                    <a:lnTo>
                      <a:pt x="461" y="441"/>
                    </a:lnTo>
                    <a:lnTo>
                      <a:pt x="467" y="441"/>
                    </a:lnTo>
                    <a:lnTo>
                      <a:pt x="472" y="439"/>
                    </a:lnTo>
                    <a:lnTo>
                      <a:pt x="474" y="431"/>
                    </a:lnTo>
                    <a:lnTo>
                      <a:pt x="472" y="426"/>
                    </a:lnTo>
                    <a:lnTo>
                      <a:pt x="469" y="427"/>
                    </a:lnTo>
                    <a:lnTo>
                      <a:pt x="464" y="427"/>
                    </a:lnTo>
                    <a:lnTo>
                      <a:pt x="465" y="426"/>
                    </a:lnTo>
                    <a:lnTo>
                      <a:pt x="472" y="424"/>
                    </a:lnTo>
                    <a:lnTo>
                      <a:pt x="474" y="421"/>
                    </a:lnTo>
                    <a:lnTo>
                      <a:pt x="472" y="419"/>
                    </a:lnTo>
                    <a:lnTo>
                      <a:pt x="462" y="419"/>
                    </a:lnTo>
                    <a:lnTo>
                      <a:pt x="451" y="417"/>
                    </a:lnTo>
                    <a:lnTo>
                      <a:pt x="447" y="416"/>
                    </a:lnTo>
                    <a:lnTo>
                      <a:pt x="442" y="416"/>
                    </a:lnTo>
                    <a:lnTo>
                      <a:pt x="434" y="421"/>
                    </a:lnTo>
                    <a:lnTo>
                      <a:pt x="426" y="421"/>
                    </a:lnTo>
                    <a:lnTo>
                      <a:pt x="422" y="422"/>
                    </a:lnTo>
                    <a:lnTo>
                      <a:pt x="417" y="426"/>
                    </a:lnTo>
                    <a:lnTo>
                      <a:pt x="416" y="431"/>
                    </a:lnTo>
                    <a:lnTo>
                      <a:pt x="414" y="434"/>
                    </a:lnTo>
                    <a:lnTo>
                      <a:pt x="416" y="439"/>
                    </a:lnTo>
                    <a:lnTo>
                      <a:pt x="421" y="439"/>
                    </a:lnTo>
                    <a:lnTo>
                      <a:pt x="422" y="441"/>
                    </a:lnTo>
                    <a:lnTo>
                      <a:pt x="421" y="442"/>
                    </a:lnTo>
                    <a:lnTo>
                      <a:pt x="416" y="442"/>
                    </a:lnTo>
                    <a:lnTo>
                      <a:pt x="411" y="444"/>
                    </a:lnTo>
                    <a:lnTo>
                      <a:pt x="407" y="451"/>
                    </a:lnTo>
                    <a:lnTo>
                      <a:pt x="407" y="456"/>
                    </a:lnTo>
                    <a:lnTo>
                      <a:pt x="409" y="457"/>
                    </a:lnTo>
                    <a:lnTo>
                      <a:pt x="412" y="457"/>
                    </a:lnTo>
                    <a:lnTo>
                      <a:pt x="419" y="454"/>
                    </a:lnTo>
                    <a:lnTo>
                      <a:pt x="421" y="456"/>
                    </a:lnTo>
                    <a:lnTo>
                      <a:pt x="416" y="459"/>
                    </a:lnTo>
                    <a:lnTo>
                      <a:pt x="416" y="462"/>
                    </a:lnTo>
                    <a:lnTo>
                      <a:pt x="417" y="462"/>
                    </a:lnTo>
                    <a:lnTo>
                      <a:pt x="421" y="459"/>
                    </a:lnTo>
                    <a:lnTo>
                      <a:pt x="424" y="459"/>
                    </a:lnTo>
                    <a:lnTo>
                      <a:pt x="426" y="461"/>
                    </a:lnTo>
                    <a:lnTo>
                      <a:pt x="421" y="464"/>
                    </a:lnTo>
                    <a:lnTo>
                      <a:pt x="421" y="467"/>
                    </a:lnTo>
                    <a:lnTo>
                      <a:pt x="424" y="470"/>
                    </a:lnTo>
                    <a:lnTo>
                      <a:pt x="429" y="470"/>
                    </a:lnTo>
                    <a:lnTo>
                      <a:pt x="426" y="472"/>
                    </a:lnTo>
                    <a:lnTo>
                      <a:pt x="422" y="472"/>
                    </a:lnTo>
                    <a:lnTo>
                      <a:pt x="419" y="474"/>
                    </a:lnTo>
                    <a:lnTo>
                      <a:pt x="419" y="477"/>
                    </a:lnTo>
                    <a:lnTo>
                      <a:pt x="422" y="482"/>
                    </a:lnTo>
                    <a:lnTo>
                      <a:pt x="421" y="484"/>
                    </a:lnTo>
                    <a:lnTo>
                      <a:pt x="417" y="482"/>
                    </a:lnTo>
                    <a:lnTo>
                      <a:pt x="414" y="484"/>
                    </a:lnTo>
                    <a:lnTo>
                      <a:pt x="409" y="482"/>
                    </a:lnTo>
                    <a:lnTo>
                      <a:pt x="407" y="482"/>
                    </a:lnTo>
                    <a:lnTo>
                      <a:pt x="402" y="487"/>
                    </a:lnTo>
                    <a:lnTo>
                      <a:pt x="402" y="490"/>
                    </a:lnTo>
                    <a:lnTo>
                      <a:pt x="404" y="497"/>
                    </a:lnTo>
                    <a:lnTo>
                      <a:pt x="402" y="502"/>
                    </a:lnTo>
                    <a:lnTo>
                      <a:pt x="404" y="505"/>
                    </a:lnTo>
                    <a:lnTo>
                      <a:pt x="411" y="510"/>
                    </a:lnTo>
                    <a:lnTo>
                      <a:pt x="411" y="514"/>
                    </a:lnTo>
                    <a:lnTo>
                      <a:pt x="417" y="517"/>
                    </a:lnTo>
                    <a:lnTo>
                      <a:pt x="422" y="519"/>
                    </a:lnTo>
                    <a:lnTo>
                      <a:pt x="424" y="517"/>
                    </a:lnTo>
                    <a:lnTo>
                      <a:pt x="427" y="517"/>
                    </a:lnTo>
                    <a:lnTo>
                      <a:pt x="432" y="512"/>
                    </a:lnTo>
                    <a:lnTo>
                      <a:pt x="431" y="505"/>
                    </a:lnTo>
                    <a:lnTo>
                      <a:pt x="431" y="502"/>
                    </a:lnTo>
                    <a:lnTo>
                      <a:pt x="434" y="497"/>
                    </a:lnTo>
                    <a:lnTo>
                      <a:pt x="432" y="502"/>
                    </a:lnTo>
                    <a:lnTo>
                      <a:pt x="432" y="505"/>
                    </a:lnTo>
                    <a:lnTo>
                      <a:pt x="434" y="509"/>
                    </a:lnTo>
                    <a:lnTo>
                      <a:pt x="436" y="514"/>
                    </a:lnTo>
                    <a:lnTo>
                      <a:pt x="439" y="515"/>
                    </a:lnTo>
                    <a:lnTo>
                      <a:pt x="442" y="514"/>
                    </a:lnTo>
                    <a:lnTo>
                      <a:pt x="442" y="510"/>
                    </a:lnTo>
                    <a:lnTo>
                      <a:pt x="444" y="505"/>
                    </a:lnTo>
                    <a:lnTo>
                      <a:pt x="446" y="507"/>
                    </a:lnTo>
                    <a:lnTo>
                      <a:pt x="446" y="510"/>
                    </a:lnTo>
                    <a:lnTo>
                      <a:pt x="446" y="514"/>
                    </a:lnTo>
                    <a:lnTo>
                      <a:pt x="451" y="520"/>
                    </a:lnTo>
                    <a:lnTo>
                      <a:pt x="456" y="524"/>
                    </a:lnTo>
                    <a:lnTo>
                      <a:pt x="459" y="524"/>
                    </a:lnTo>
                    <a:lnTo>
                      <a:pt x="462" y="520"/>
                    </a:lnTo>
                    <a:lnTo>
                      <a:pt x="465" y="522"/>
                    </a:lnTo>
                    <a:lnTo>
                      <a:pt x="464" y="524"/>
                    </a:lnTo>
                    <a:lnTo>
                      <a:pt x="461" y="524"/>
                    </a:lnTo>
                    <a:lnTo>
                      <a:pt x="459" y="527"/>
                    </a:lnTo>
                    <a:lnTo>
                      <a:pt x="456" y="529"/>
                    </a:lnTo>
                    <a:lnTo>
                      <a:pt x="456" y="530"/>
                    </a:lnTo>
                    <a:lnTo>
                      <a:pt x="459" y="534"/>
                    </a:lnTo>
                    <a:lnTo>
                      <a:pt x="461" y="537"/>
                    </a:lnTo>
                    <a:lnTo>
                      <a:pt x="457" y="537"/>
                    </a:lnTo>
                    <a:lnTo>
                      <a:pt x="454" y="537"/>
                    </a:lnTo>
                    <a:lnTo>
                      <a:pt x="454" y="540"/>
                    </a:lnTo>
                    <a:lnTo>
                      <a:pt x="457" y="542"/>
                    </a:lnTo>
                    <a:lnTo>
                      <a:pt x="464" y="542"/>
                    </a:lnTo>
                    <a:lnTo>
                      <a:pt x="469" y="545"/>
                    </a:lnTo>
                    <a:lnTo>
                      <a:pt x="474" y="544"/>
                    </a:lnTo>
                    <a:lnTo>
                      <a:pt x="480" y="545"/>
                    </a:lnTo>
                    <a:lnTo>
                      <a:pt x="480" y="542"/>
                    </a:lnTo>
                    <a:lnTo>
                      <a:pt x="482" y="542"/>
                    </a:lnTo>
                    <a:lnTo>
                      <a:pt x="484" y="545"/>
                    </a:lnTo>
                    <a:lnTo>
                      <a:pt x="485" y="552"/>
                    </a:lnTo>
                    <a:lnTo>
                      <a:pt x="490" y="554"/>
                    </a:lnTo>
                    <a:lnTo>
                      <a:pt x="494" y="554"/>
                    </a:lnTo>
                    <a:lnTo>
                      <a:pt x="497" y="550"/>
                    </a:lnTo>
                    <a:lnTo>
                      <a:pt x="495" y="545"/>
                    </a:lnTo>
                    <a:lnTo>
                      <a:pt x="489" y="544"/>
                    </a:lnTo>
                    <a:lnTo>
                      <a:pt x="487" y="542"/>
                    </a:lnTo>
                    <a:lnTo>
                      <a:pt x="489" y="540"/>
                    </a:lnTo>
                    <a:lnTo>
                      <a:pt x="492" y="542"/>
                    </a:lnTo>
                    <a:lnTo>
                      <a:pt x="497" y="544"/>
                    </a:lnTo>
                    <a:lnTo>
                      <a:pt x="499" y="547"/>
                    </a:lnTo>
                    <a:lnTo>
                      <a:pt x="502" y="552"/>
                    </a:lnTo>
                    <a:lnTo>
                      <a:pt x="504" y="552"/>
                    </a:lnTo>
                    <a:lnTo>
                      <a:pt x="504" y="549"/>
                    </a:lnTo>
                    <a:lnTo>
                      <a:pt x="507" y="547"/>
                    </a:lnTo>
                    <a:lnTo>
                      <a:pt x="509" y="550"/>
                    </a:lnTo>
                    <a:lnTo>
                      <a:pt x="515" y="554"/>
                    </a:lnTo>
                    <a:lnTo>
                      <a:pt x="519" y="552"/>
                    </a:lnTo>
                    <a:lnTo>
                      <a:pt x="519" y="550"/>
                    </a:lnTo>
                    <a:lnTo>
                      <a:pt x="514" y="547"/>
                    </a:lnTo>
                    <a:lnTo>
                      <a:pt x="514" y="545"/>
                    </a:lnTo>
                    <a:lnTo>
                      <a:pt x="515" y="545"/>
                    </a:lnTo>
                    <a:lnTo>
                      <a:pt x="520" y="547"/>
                    </a:lnTo>
                    <a:lnTo>
                      <a:pt x="522" y="549"/>
                    </a:lnTo>
                    <a:lnTo>
                      <a:pt x="524" y="549"/>
                    </a:lnTo>
                    <a:lnTo>
                      <a:pt x="525" y="554"/>
                    </a:lnTo>
                    <a:lnTo>
                      <a:pt x="529" y="555"/>
                    </a:lnTo>
                    <a:lnTo>
                      <a:pt x="530" y="554"/>
                    </a:lnTo>
                    <a:lnTo>
                      <a:pt x="532" y="550"/>
                    </a:lnTo>
                    <a:lnTo>
                      <a:pt x="530" y="547"/>
                    </a:lnTo>
                    <a:lnTo>
                      <a:pt x="527" y="547"/>
                    </a:lnTo>
                    <a:lnTo>
                      <a:pt x="524" y="545"/>
                    </a:lnTo>
                    <a:lnTo>
                      <a:pt x="525" y="544"/>
                    </a:lnTo>
                    <a:lnTo>
                      <a:pt x="527" y="545"/>
                    </a:lnTo>
                    <a:lnTo>
                      <a:pt x="530" y="545"/>
                    </a:lnTo>
                    <a:lnTo>
                      <a:pt x="534" y="540"/>
                    </a:lnTo>
                    <a:lnTo>
                      <a:pt x="535" y="539"/>
                    </a:lnTo>
                    <a:lnTo>
                      <a:pt x="534" y="535"/>
                    </a:lnTo>
                    <a:lnTo>
                      <a:pt x="534" y="535"/>
                    </a:lnTo>
                    <a:close/>
                    <a:moveTo>
                      <a:pt x="170" y="809"/>
                    </a:moveTo>
                    <a:lnTo>
                      <a:pt x="168" y="806"/>
                    </a:lnTo>
                    <a:lnTo>
                      <a:pt x="170" y="804"/>
                    </a:lnTo>
                    <a:lnTo>
                      <a:pt x="170" y="801"/>
                    </a:lnTo>
                    <a:lnTo>
                      <a:pt x="167" y="801"/>
                    </a:lnTo>
                    <a:lnTo>
                      <a:pt x="163" y="804"/>
                    </a:lnTo>
                    <a:lnTo>
                      <a:pt x="163" y="808"/>
                    </a:lnTo>
                    <a:lnTo>
                      <a:pt x="167" y="809"/>
                    </a:lnTo>
                    <a:lnTo>
                      <a:pt x="168" y="811"/>
                    </a:lnTo>
                    <a:lnTo>
                      <a:pt x="170" y="811"/>
                    </a:lnTo>
                    <a:lnTo>
                      <a:pt x="170" y="809"/>
                    </a:lnTo>
                    <a:lnTo>
                      <a:pt x="170" y="809"/>
                    </a:lnTo>
                    <a:close/>
                    <a:moveTo>
                      <a:pt x="296" y="738"/>
                    </a:moveTo>
                    <a:lnTo>
                      <a:pt x="298" y="738"/>
                    </a:lnTo>
                    <a:lnTo>
                      <a:pt x="298" y="735"/>
                    </a:lnTo>
                    <a:lnTo>
                      <a:pt x="294" y="733"/>
                    </a:lnTo>
                    <a:lnTo>
                      <a:pt x="293" y="733"/>
                    </a:lnTo>
                    <a:lnTo>
                      <a:pt x="293" y="735"/>
                    </a:lnTo>
                    <a:lnTo>
                      <a:pt x="296" y="738"/>
                    </a:lnTo>
                    <a:lnTo>
                      <a:pt x="296" y="738"/>
                    </a:lnTo>
                    <a:close/>
                    <a:moveTo>
                      <a:pt x="392" y="643"/>
                    </a:moveTo>
                    <a:lnTo>
                      <a:pt x="399" y="642"/>
                    </a:lnTo>
                    <a:lnTo>
                      <a:pt x="404" y="637"/>
                    </a:lnTo>
                    <a:lnTo>
                      <a:pt x="409" y="633"/>
                    </a:lnTo>
                    <a:lnTo>
                      <a:pt x="409" y="625"/>
                    </a:lnTo>
                    <a:lnTo>
                      <a:pt x="412" y="622"/>
                    </a:lnTo>
                    <a:lnTo>
                      <a:pt x="414" y="627"/>
                    </a:lnTo>
                    <a:lnTo>
                      <a:pt x="412" y="632"/>
                    </a:lnTo>
                    <a:lnTo>
                      <a:pt x="416" y="627"/>
                    </a:lnTo>
                    <a:lnTo>
                      <a:pt x="416" y="622"/>
                    </a:lnTo>
                    <a:lnTo>
                      <a:pt x="411" y="617"/>
                    </a:lnTo>
                    <a:lnTo>
                      <a:pt x="394" y="610"/>
                    </a:lnTo>
                    <a:lnTo>
                      <a:pt x="386" y="608"/>
                    </a:lnTo>
                    <a:lnTo>
                      <a:pt x="381" y="612"/>
                    </a:lnTo>
                    <a:lnTo>
                      <a:pt x="377" y="620"/>
                    </a:lnTo>
                    <a:lnTo>
                      <a:pt x="377" y="632"/>
                    </a:lnTo>
                    <a:lnTo>
                      <a:pt x="381" y="637"/>
                    </a:lnTo>
                    <a:lnTo>
                      <a:pt x="382" y="642"/>
                    </a:lnTo>
                    <a:lnTo>
                      <a:pt x="384" y="640"/>
                    </a:lnTo>
                    <a:lnTo>
                      <a:pt x="387" y="643"/>
                    </a:lnTo>
                    <a:lnTo>
                      <a:pt x="386" y="645"/>
                    </a:lnTo>
                    <a:lnTo>
                      <a:pt x="389" y="645"/>
                    </a:lnTo>
                    <a:lnTo>
                      <a:pt x="392" y="643"/>
                    </a:lnTo>
                    <a:lnTo>
                      <a:pt x="392" y="643"/>
                    </a:lnTo>
                    <a:close/>
                    <a:moveTo>
                      <a:pt x="437" y="652"/>
                    </a:moveTo>
                    <a:lnTo>
                      <a:pt x="439" y="652"/>
                    </a:lnTo>
                    <a:lnTo>
                      <a:pt x="439" y="650"/>
                    </a:lnTo>
                    <a:lnTo>
                      <a:pt x="446" y="648"/>
                    </a:lnTo>
                    <a:lnTo>
                      <a:pt x="447" y="647"/>
                    </a:lnTo>
                    <a:lnTo>
                      <a:pt x="442" y="647"/>
                    </a:lnTo>
                    <a:lnTo>
                      <a:pt x="437" y="648"/>
                    </a:lnTo>
                    <a:lnTo>
                      <a:pt x="437" y="652"/>
                    </a:lnTo>
                    <a:lnTo>
                      <a:pt x="437" y="652"/>
                    </a:lnTo>
                    <a:close/>
                    <a:moveTo>
                      <a:pt x="507" y="650"/>
                    </a:moveTo>
                    <a:lnTo>
                      <a:pt x="509" y="652"/>
                    </a:lnTo>
                    <a:lnTo>
                      <a:pt x="512" y="647"/>
                    </a:lnTo>
                    <a:lnTo>
                      <a:pt x="512" y="643"/>
                    </a:lnTo>
                    <a:lnTo>
                      <a:pt x="509" y="645"/>
                    </a:lnTo>
                    <a:lnTo>
                      <a:pt x="507" y="647"/>
                    </a:lnTo>
                    <a:lnTo>
                      <a:pt x="507" y="650"/>
                    </a:lnTo>
                    <a:lnTo>
                      <a:pt x="507" y="650"/>
                    </a:lnTo>
                    <a:close/>
                    <a:moveTo>
                      <a:pt x="497" y="650"/>
                    </a:moveTo>
                    <a:lnTo>
                      <a:pt x="500" y="652"/>
                    </a:lnTo>
                    <a:lnTo>
                      <a:pt x="502" y="648"/>
                    </a:lnTo>
                    <a:lnTo>
                      <a:pt x="500" y="647"/>
                    </a:lnTo>
                    <a:lnTo>
                      <a:pt x="499" y="647"/>
                    </a:lnTo>
                    <a:lnTo>
                      <a:pt x="497" y="650"/>
                    </a:lnTo>
                    <a:lnTo>
                      <a:pt x="497" y="650"/>
                    </a:lnTo>
                    <a:close/>
                    <a:moveTo>
                      <a:pt x="555" y="628"/>
                    </a:moveTo>
                    <a:lnTo>
                      <a:pt x="557" y="628"/>
                    </a:lnTo>
                    <a:lnTo>
                      <a:pt x="560" y="627"/>
                    </a:lnTo>
                    <a:lnTo>
                      <a:pt x="567" y="625"/>
                    </a:lnTo>
                    <a:lnTo>
                      <a:pt x="568" y="623"/>
                    </a:lnTo>
                    <a:lnTo>
                      <a:pt x="564" y="622"/>
                    </a:lnTo>
                    <a:lnTo>
                      <a:pt x="557" y="625"/>
                    </a:lnTo>
                    <a:lnTo>
                      <a:pt x="555" y="628"/>
                    </a:lnTo>
                    <a:lnTo>
                      <a:pt x="555" y="628"/>
                    </a:lnTo>
                    <a:close/>
                    <a:moveTo>
                      <a:pt x="532" y="623"/>
                    </a:moveTo>
                    <a:lnTo>
                      <a:pt x="534" y="627"/>
                    </a:lnTo>
                    <a:lnTo>
                      <a:pt x="537" y="627"/>
                    </a:lnTo>
                    <a:lnTo>
                      <a:pt x="537" y="623"/>
                    </a:lnTo>
                    <a:lnTo>
                      <a:pt x="534" y="622"/>
                    </a:lnTo>
                    <a:lnTo>
                      <a:pt x="532" y="623"/>
                    </a:lnTo>
                    <a:lnTo>
                      <a:pt x="532" y="623"/>
                    </a:lnTo>
                    <a:close/>
                    <a:moveTo>
                      <a:pt x="517" y="623"/>
                    </a:moveTo>
                    <a:lnTo>
                      <a:pt x="520" y="623"/>
                    </a:lnTo>
                    <a:lnTo>
                      <a:pt x="522" y="625"/>
                    </a:lnTo>
                    <a:lnTo>
                      <a:pt x="527" y="627"/>
                    </a:lnTo>
                    <a:lnTo>
                      <a:pt x="525" y="622"/>
                    </a:lnTo>
                    <a:lnTo>
                      <a:pt x="520" y="620"/>
                    </a:lnTo>
                    <a:lnTo>
                      <a:pt x="517" y="623"/>
                    </a:lnTo>
                    <a:lnTo>
                      <a:pt x="517" y="623"/>
                    </a:lnTo>
                    <a:close/>
                    <a:moveTo>
                      <a:pt x="510" y="623"/>
                    </a:moveTo>
                    <a:lnTo>
                      <a:pt x="510" y="625"/>
                    </a:lnTo>
                    <a:lnTo>
                      <a:pt x="514" y="625"/>
                    </a:lnTo>
                    <a:lnTo>
                      <a:pt x="515" y="622"/>
                    </a:lnTo>
                    <a:lnTo>
                      <a:pt x="514" y="622"/>
                    </a:lnTo>
                    <a:lnTo>
                      <a:pt x="510" y="623"/>
                    </a:lnTo>
                    <a:lnTo>
                      <a:pt x="510" y="623"/>
                    </a:lnTo>
                    <a:close/>
                    <a:moveTo>
                      <a:pt x="1027" y="480"/>
                    </a:moveTo>
                    <a:lnTo>
                      <a:pt x="1027" y="485"/>
                    </a:lnTo>
                    <a:lnTo>
                      <a:pt x="1030" y="489"/>
                    </a:lnTo>
                    <a:lnTo>
                      <a:pt x="1030" y="484"/>
                    </a:lnTo>
                    <a:lnTo>
                      <a:pt x="1029" y="480"/>
                    </a:lnTo>
                    <a:lnTo>
                      <a:pt x="1027" y="480"/>
                    </a:lnTo>
                    <a:lnTo>
                      <a:pt x="1027" y="480"/>
                    </a:lnTo>
                    <a:close/>
                    <a:moveTo>
                      <a:pt x="1019" y="467"/>
                    </a:moveTo>
                    <a:lnTo>
                      <a:pt x="1019" y="475"/>
                    </a:lnTo>
                    <a:lnTo>
                      <a:pt x="1020" y="480"/>
                    </a:lnTo>
                    <a:lnTo>
                      <a:pt x="1020" y="487"/>
                    </a:lnTo>
                    <a:lnTo>
                      <a:pt x="1022" y="489"/>
                    </a:lnTo>
                    <a:lnTo>
                      <a:pt x="1024" y="485"/>
                    </a:lnTo>
                    <a:lnTo>
                      <a:pt x="1022" y="472"/>
                    </a:lnTo>
                    <a:lnTo>
                      <a:pt x="1020" y="467"/>
                    </a:lnTo>
                    <a:lnTo>
                      <a:pt x="1019" y="467"/>
                    </a:lnTo>
                    <a:lnTo>
                      <a:pt x="1019" y="467"/>
                    </a:lnTo>
                    <a:close/>
                    <a:moveTo>
                      <a:pt x="1012" y="459"/>
                    </a:moveTo>
                    <a:lnTo>
                      <a:pt x="1014" y="464"/>
                    </a:lnTo>
                    <a:lnTo>
                      <a:pt x="1017" y="466"/>
                    </a:lnTo>
                    <a:lnTo>
                      <a:pt x="1017" y="462"/>
                    </a:lnTo>
                    <a:lnTo>
                      <a:pt x="1014" y="459"/>
                    </a:lnTo>
                    <a:lnTo>
                      <a:pt x="1012" y="459"/>
                    </a:lnTo>
                    <a:lnTo>
                      <a:pt x="1012" y="459"/>
                    </a:lnTo>
                    <a:close/>
                    <a:moveTo>
                      <a:pt x="570" y="592"/>
                    </a:moveTo>
                    <a:lnTo>
                      <a:pt x="572" y="590"/>
                    </a:lnTo>
                    <a:lnTo>
                      <a:pt x="573" y="587"/>
                    </a:lnTo>
                    <a:lnTo>
                      <a:pt x="570" y="585"/>
                    </a:lnTo>
                    <a:lnTo>
                      <a:pt x="570" y="592"/>
                    </a:lnTo>
                    <a:lnTo>
                      <a:pt x="570" y="592"/>
                    </a:lnTo>
                    <a:close/>
                    <a:moveTo>
                      <a:pt x="593" y="608"/>
                    </a:moveTo>
                    <a:lnTo>
                      <a:pt x="593" y="608"/>
                    </a:lnTo>
                    <a:lnTo>
                      <a:pt x="597" y="605"/>
                    </a:lnTo>
                    <a:lnTo>
                      <a:pt x="593" y="607"/>
                    </a:lnTo>
                    <a:lnTo>
                      <a:pt x="593" y="608"/>
                    </a:lnTo>
                    <a:lnTo>
                      <a:pt x="593" y="608"/>
                    </a:lnTo>
                    <a:close/>
                    <a:moveTo>
                      <a:pt x="590" y="602"/>
                    </a:moveTo>
                    <a:lnTo>
                      <a:pt x="588" y="597"/>
                    </a:lnTo>
                    <a:lnTo>
                      <a:pt x="582" y="593"/>
                    </a:lnTo>
                    <a:lnTo>
                      <a:pt x="578" y="590"/>
                    </a:lnTo>
                    <a:lnTo>
                      <a:pt x="577" y="593"/>
                    </a:lnTo>
                    <a:lnTo>
                      <a:pt x="582" y="597"/>
                    </a:lnTo>
                    <a:lnTo>
                      <a:pt x="590" y="602"/>
                    </a:lnTo>
                    <a:lnTo>
                      <a:pt x="590" y="602"/>
                    </a:lnTo>
                    <a:close/>
                    <a:moveTo>
                      <a:pt x="602" y="582"/>
                    </a:moveTo>
                    <a:lnTo>
                      <a:pt x="605" y="577"/>
                    </a:lnTo>
                    <a:lnTo>
                      <a:pt x="603" y="570"/>
                    </a:lnTo>
                    <a:lnTo>
                      <a:pt x="595" y="565"/>
                    </a:lnTo>
                    <a:lnTo>
                      <a:pt x="588" y="559"/>
                    </a:lnTo>
                    <a:lnTo>
                      <a:pt x="583" y="559"/>
                    </a:lnTo>
                    <a:lnTo>
                      <a:pt x="578" y="554"/>
                    </a:lnTo>
                    <a:lnTo>
                      <a:pt x="573" y="552"/>
                    </a:lnTo>
                    <a:lnTo>
                      <a:pt x="572" y="549"/>
                    </a:lnTo>
                    <a:lnTo>
                      <a:pt x="567" y="544"/>
                    </a:lnTo>
                    <a:lnTo>
                      <a:pt x="564" y="544"/>
                    </a:lnTo>
                    <a:lnTo>
                      <a:pt x="560" y="545"/>
                    </a:lnTo>
                    <a:lnTo>
                      <a:pt x="560" y="549"/>
                    </a:lnTo>
                    <a:lnTo>
                      <a:pt x="557" y="550"/>
                    </a:lnTo>
                    <a:lnTo>
                      <a:pt x="560" y="555"/>
                    </a:lnTo>
                    <a:lnTo>
                      <a:pt x="564" y="555"/>
                    </a:lnTo>
                    <a:lnTo>
                      <a:pt x="564" y="557"/>
                    </a:lnTo>
                    <a:lnTo>
                      <a:pt x="560" y="559"/>
                    </a:lnTo>
                    <a:lnTo>
                      <a:pt x="557" y="555"/>
                    </a:lnTo>
                    <a:lnTo>
                      <a:pt x="555" y="555"/>
                    </a:lnTo>
                    <a:lnTo>
                      <a:pt x="557" y="559"/>
                    </a:lnTo>
                    <a:lnTo>
                      <a:pt x="565" y="568"/>
                    </a:lnTo>
                    <a:lnTo>
                      <a:pt x="570" y="570"/>
                    </a:lnTo>
                    <a:lnTo>
                      <a:pt x="573" y="573"/>
                    </a:lnTo>
                    <a:lnTo>
                      <a:pt x="575" y="575"/>
                    </a:lnTo>
                    <a:lnTo>
                      <a:pt x="575" y="570"/>
                    </a:lnTo>
                    <a:lnTo>
                      <a:pt x="580" y="572"/>
                    </a:lnTo>
                    <a:lnTo>
                      <a:pt x="583" y="570"/>
                    </a:lnTo>
                    <a:lnTo>
                      <a:pt x="585" y="572"/>
                    </a:lnTo>
                    <a:lnTo>
                      <a:pt x="587" y="577"/>
                    </a:lnTo>
                    <a:lnTo>
                      <a:pt x="585" y="580"/>
                    </a:lnTo>
                    <a:lnTo>
                      <a:pt x="588" y="582"/>
                    </a:lnTo>
                    <a:lnTo>
                      <a:pt x="595" y="583"/>
                    </a:lnTo>
                    <a:lnTo>
                      <a:pt x="597" y="580"/>
                    </a:lnTo>
                    <a:lnTo>
                      <a:pt x="602" y="582"/>
                    </a:lnTo>
                    <a:lnTo>
                      <a:pt x="602" y="582"/>
                    </a:lnTo>
                    <a:close/>
                    <a:moveTo>
                      <a:pt x="718" y="396"/>
                    </a:moveTo>
                    <a:lnTo>
                      <a:pt x="720" y="396"/>
                    </a:lnTo>
                    <a:lnTo>
                      <a:pt x="718" y="392"/>
                    </a:lnTo>
                    <a:lnTo>
                      <a:pt x="718" y="391"/>
                    </a:lnTo>
                    <a:lnTo>
                      <a:pt x="721" y="391"/>
                    </a:lnTo>
                    <a:lnTo>
                      <a:pt x="723" y="394"/>
                    </a:lnTo>
                    <a:lnTo>
                      <a:pt x="726" y="394"/>
                    </a:lnTo>
                    <a:lnTo>
                      <a:pt x="728" y="394"/>
                    </a:lnTo>
                    <a:lnTo>
                      <a:pt x="731" y="394"/>
                    </a:lnTo>
                    <a:lnTo>
                      <a:pt x="733" y="389"/>
                    </a:lnTo>
                    <a:lnTo>
                      <a:pt x="738" y="386"/>
                    </a:lnTo>
                    <a:lnTo>
                      <a:pt x="743" y="384"/>
                    </a:lnTo>
                    <a:lnTo>
                      <a:pt x="743" y="382"/>
                    </a:lnTo>
                    <a:lnTo>
                      <a:pt x="741" y="377"/>
                    </a:lnTo>
                    <a:lnTo>
                      <a:pt x="735" y="374"/>
                    </a:lnTo>
                    <a:lnTo>
                      <a:pt x="733" y="371"/>
                    </a:lnTo>
                    <a:lnTo>
                      <a:pt x="730" y="368"/>
                    </a:lnTo>
                    <a:lnTo>
                      <a:pt x="726" y="366"/>
                    </a:lnTo>
                    <a:lnTo>
                      <a:pt x="723" y="366"/>
                    </a:lnTo>
                    <a:lnTo>
                      <a:pt x="718" y="371"/>
                    </a:lnTo>
                    <a:lnTo>
                      <a:pt x="715" y="371"/>
                    </a:lnTo>
                    <a:lnTo>
                      <a:pt x="710" y="374"/>
                    </a:lnTo>
                    <a:lnTo>
                      <a:pt x="710" y="377"/>
                    </a:lnTo>
                    <a:lnTo>
                      <a:pt x="713" y="382"/>
                    </a:lnTo>
                    <a:lnTo>
                      <a:pt x="715" y="386"/>
                    </a:lnTo>
                    <a:lnTo>
                      <a:pt x="713" y="392"/>
                    </a:lnTo>
                    <a:lnTo>
                      <a:pt x="718" y="396"/>
                    </a:lnTo>
                    <a:lnTo>
                      <a:pt x="718" y="396"/>
                    </a:lnTo>
                    <a:close/>
                    <a:moveTo>
                      <a:pt x="731" y="580"/>
                    </a:moveTo>
                    <a:lnTo>
                      <a:pt x="731" y="580"/>
                    </a:lnTo>
                    <a:lnTo>
                      <a:pt x="733" y="582"/>
                    </a:lnTo>
                    <a:lnTo>
                      <a:pt x="736" y="582"/>
                    </a:lnTo>
                    <a:lnTo>
                      <a:pt x="740" y="580"/>
                    </a:lnTo>
                    <a:lnTo>
                      <a:pt x="738" y="577"/>
                    </a:lnTo>
                    <a:lnTo>
                      <a:pt x="736" y="573"/>
                    </a:lnTo>
                    <a:lnTo>
                      <a:pt x="733" y="575"/>
                    </a:lnTo>
                    <a:lnTo>
                      <a:pt x="733" y="577"/>
                    </a:lnTo>
                    <a:lnTo>
                      <a:pt x="731" y="580"/>
                    </a:lnTo>
                    <a:lnTo>
                      <a:pt x="731" y="580"/>
                    </a:lnTo>
                    <a:close/>
                    <a:moveTo>
                      <a:pt x="823" y="683"/>
                    </a:moveTo>
                    <a:lnTo>
                      <a:pt x="823" y="685"/>
                    </a:lnTo>
                    <a:lnTo>
                      <a:pt x="826" y="686"/>
                    </a:lnTo>
                    <a:lnTo>
                      <a:pt x="826" y="690"/>
                    </a:lnTo>
                    <a:lnTo>
                      <a:pt x="833" y="691"/>
                    </a:lnTo>
                    <a:lnTo>
                      <a:pt x="838" y="691"/>
                    </a:lnTo>
                    <a:lnTo>
                      <a:pt x="839" y="688"/>
                    </a:lnTo>
                    <a:lnTo>
                      <a:pt x="838" y="685"/>
                    </a:lnTo>
                    <a:lnTo>
                      <a:pt x="833" y="683"/>
                    </a:lnTo>
                    <a:lnTo>
                      <a:pt x="829" y="685"/>
                    </a:lnTo>
                    <a:lnTo>
                      <a:pt x="826" y="683"/>
                    </a:lnTo>
                    <a:lnTo>
                      <a:pt x="823" y="683"/>
                    </a:lnTo>
                    <a:lnTo>
                      <a:pt x="823" y="683"/>
                    </a:lnTo>
                    <a:close/>
                    <a:moveTo>
                      <a:pt x="806" y="392"/>
                    </a:moveTo>
                    <a:lnTo>
                      <a:pt x="806" y="389"/>
                    </a:lnTo>
                    <a:lnTo>
                      <a:pt x="803" y="386"/>
                    </a:lnTo>
                    <a:lnTo>
                      <a:pt x="803" y="382"/>
                    </a:lnTo>
                    <a:lnTo>
                      <a:pt x="806" y="381"/>
                    </a:lnTo>
                    <a:lnTo>
                      <a:pt x="804" y="377"/>
                    </a:lnTo>
                    <a:lnTo>
                      <a:pt x="799" y="377"/>
                    </a:lnTo>
                    <a:lnTo>
                      <a:pt x="796" y="379"/>
                    </a:lnTo>
                    <a:lnTo>
                      <a:pt x="794" y="386"/>
                    </a:lnTo>
                    <a:lnTo>
                      <a:pt x="796" y="389"/>
                    </a:lnTo>
                    <a:lnTo>
                      <a:pt x="799" y="389"/>
                    </a:lnTo>
                    <a:lnTo>
                      <a:pt x="803" y="392"/>
                    </a:lnTo>
                    <a:lnTo>
                      <a:pt x="806" y="392"/>
                    </a:lnTo>
                    <a:lnTo>
                      <a:pt x="806" y="392"/>
                    </a:lnTo>
                    <a:close/>
                    <a:moveTo>
                      <a:pt x="798" y="361"/>
                    </a:moveTo>
                    <a:lnTo>
                      <a:pt x="803" y="358"/>
                    </a:lnTo>
                    <a:lnTo>
                      <a:pt x="806" y="358"/>
                    </a:lnTo>
                    <a:lnTo>
                      <a:pt x="809" y="356"/>
                    </a:lnTo>
                    <a:lnTo>
                      <a:pt x="809" y="353"/>
                    </a:lnTo>
                    <a:lnTo>
                      <a:pt x="809" y="351"/>
                    </a:lnTo>
                    <a:lnTo>
                      <a:pt x="813" y="349"/>
                    </a:lnTo>
                    <a:lnTo>
                      <a:pt x="811" y="348"/>
                    </a:lnTo>
                    <a:lnTo>
                      <a:pt x="808" y="348"/>
                    </a:lnTo>
                    <a:lnTo>
                      <a:pt x="801" y="353"/>
                    </a:lnTo>
                    <a:lnTo>
                      <a:pt x="798" y="358"/>
                    </a:lnTo>
                    <a:lnTo>
                      <a:pt x="798" y="361"/>
                    </a:lnTo>
                    <a:lnTo>
                      <a:pt x="798" y="361"/>
                    </a:lnTo>
                    <a:close/>
                    <a:moveTo>
                      <a:pt x="819" y="366"/>
                    </a:moveTo>
                    <a:lnTo>
                      <a:pt x="824" y="369"/>
                    </a:lnTo>
                    <a:lnTo>
                      <a:pt x="831" y="371"/>
                    </a:lnTo>
                    <a:lnTo>
                      <a:pt x="834" y="371"/>
                    </a:lnTo>
                    <a:lnTo>
                      <a:pt x="834" y="368"/>
                    </a:lnTo>
                    <a:lnTo>
                      <a:pt x="826" y="366"/>
                    </a:lnTo>
                    <a:lnTo>
                      <a:pt x="823" y="364"/>
                    </a:lnTo>
                    <a:lnTo>
                      <a:pt x="819" y="366"/>
                    </a:lnTo>
                    <a:lnTo>
                      <a:pt x="819" y="366"/>
                    </a:lnTo>
                    <a:close/>
                    <a:moveTo>
                      <a:pt x="866" y="397"/>
                    </a:moveTo>
                    <a:lnTo>
                      <a:pt x="866" y="401"/>
                    </a:lnTo>
                    <a:lnTo>
                      <a:pt x="864" y="406"/>
                    </a:lnTo>
                    <a:lnTo>
                      <a:pt x="861" y="407"/>
                    </a:lnTo>
                    <a:lnTo>
                      <a:pt x="859" y="411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9" y="411"/>
                    </a:lnTo>
                    <a:lnTo>
                      <a:pt x="872" y="409"/>
                    </a:lnTo>
                    <a:lnTo>
                      <a:pt x="876" y="404"/>
                    </a:lnTo>
                    <a:lnTo>
                      <a:pt x="879" y="402"/>
                    </a:lnTo>
                    <a:lnTo>
                      <a:pt x="884" y="397"/>
                    </a:lnTo>
                    <a:lnTo>
                      <a:pt x="884" y="394"/>
                    </a:lnTo>
                    <a:lnTo>
                      <a:pt x="881" y="392"/>
                    </a:lnTo>
                    <a:lnTo>
                      <a:pt x="876" y="392"/>
                    </a:lnTo>
                    <a:lnTo>
                      <a:pt x="869" y="394"/>
                    </a:lnTo>
                    <a:lnTo>
                      <a:pt x="866" y="397"/>
                    </a:lnTo>
                    <a:lnTo>
                      <a:pt x="866" y="397"/>
                    </a:lnTo>
                    <a:close/>
                    <a:moveTo>
                      <a:pt x="884" y="358"/>
                    </a:moveTo>
                    <a:lnTo>
                      <a:pt x="879" y="363"/>
                    </a:lnTo>
                    <a:lnTo>
                      <a:pt x="877" y="369"/>
                    </a:lnTo>
                    <a:lnTo>
                      <a:pt x="876" y="374"/>
                    </a:lnTo>
                    <a:lnTo>
                      <a:pt x="876" y="377"/>
                    </a:lnTo>
                    <a:lnTo>
                      <a:pt x="881" y="379"/>
                    </a:lnTo>
                    <a:lnTo>
                      <a:pt x="882" y="381"/>
                    </a:lnTo>
                    <a:lnTo>
                      <a:pt x="887" y="381"/>
                    </a:lnTo>
                    <a:lnTo>
                      <a:pt x="892" y="382"/>
                    </a:lnTo>
                    <a:lnTo>
                      <a:pt x="896" y="382"/>
                    </a:lnTo>
                    <a:lnTo>
                      <a:pt x="896" y="379"/>
                    </a:lnTo>
                    <a:lnTo>
                      <a:pt x="892" y="372"/>
                    </a:lnTo>
                    <a:lnTo>
                      <a:pt x="891" y="366"/>
                    </a:lnTo>
                    <a:lnTo>
                      <a:pt x="886" y="363"/>
                    </a:lnTo>
                    <a:lnTo>
                      <a:pt x="884" y="358"/>
                    </a:lnTo>
                    <a:lnTo>
                      <a:pt x="884" y="358"/>
                    </a:lnTo>
                    <a:close/>
                    <a:moveTo>
                      <a:pt x="912" y="304"/>
                    </a:moveTo>
                    <a:lnTo>
                      <a:pt x="917" y="299"/>
                    </a:lnTo>
                    <a:lnTo>
                      <a:pt x="914" y="298"/>
                    </a:lnTo>
                    <a:lnTo>
                      <a:pt x="911" y="298"/>
                    </a:lnTo>
                    <a:lnTo>
                      <a:pt x="907" y="301"/>
                    </a:lnTo>
                    <a:lnTo>
                      <a:pt x="909" y="304"/>
                    </a:lnTo>
                    <a:lnTo>
                      <a:pt x="912" y="304"/>
                    </a:lnTo>
                    <a:lnTo>
                      <a:pt x="912" y="304"/>
                    </a:lnTo>
                    <a:close/>
                    <a:moveTo>
                      <a:pt x="927" y="301"/>
                    </a:moveTo>
                    <a:lnTo>
                      <a:pt x="931" y="298"/>
                    </a:lnTo>
                    <a:lnTo>
                      <a:pt x="931" y="296"/>
                    </a:lnTo>
                    <a:lnTo>
                      <a:pt x="926" y="294"/>
                    </a:lnTo>
                    <a:lnTo>
                      <a:pt x="924" y="296"/>
                    </a:lnTo>
                    <a:lnTo>
                      <a:pt x="921" y="298"/>
                    </a:lnTo>
                    <a:lnTo>
                      <a:pt x="922" y="299"/>
                    </a:lnTo>
                    <a:lnTo>
                      <a:pt x="927" y="301"/>
                    </a:lnTo>
                    <a:lnTo>
                      <a:pt x="927" y="301"/>
                    </a:lnTo>
                    <a:close/>
                    <a:moveTo>
                      <a:pt x="949" y="304"/>
                    </a:moveTo>
                    <a:lnTo>
                      <a:pt x="951" y="303"/>
                    </a:lnTo>
                    <a:lnTo>
                      <a:pt x="946" y="299"/>
                    </a:lnTo>
                    <a:lnTo>
                      <a:pt x="941" y="303"/>
                    </a:lnTo>
                    <a:lnTo>
                      <a:pt x="942" y="303"/>
                    </a:lnTo>
                    <a:lnTo>
                      <a:pt x="949" y="304"/>
                    </a:lnTo>
                    <a:lnTo>
                      <a:pt x="949" y="304"/>
                    </a:lnTo>
                    <a:close/>
                    <a:moveTo>
                      <a:pt x="984" y="294"/>
                    </a:moveTo>
                    <a:lnTo>
                      <a:pt x="985" y="299"/>
                    </a:lnTo>
                    <a:lnTo>
                      <a:pt x="989" y="301"/>
                    </a:lnTo>
                    <a:lnTo>
                      <a:pt x="990" y="298"/>
                    </a:lnTo>
                    <a:lnTo>
                      <a:pt x="987" y="294"/>
                    </a:lnTo>
                    <a:lnTo>
                      <a:pt x="984" y="294"/>
                    </a:lnTo>
                    <a:lnTo>
                      <a:pt x="984" y="294"/>
                    </a:lnTo>
                    <a:close/>
                    <a:moveTo>
                      <a:pt x="964" y="291"/>
                    </a:moveTo>
                    <a:lnTo>
                      <a:pt x="969" y="291"/>
                    </a:lnTo>
                    <a:lnTo>
                      <a:pt x="970" y="288"/>
                    </a:lnTo>
                    <a:lnTo>
                      <a:pt x="967" y="286"/>
                    </a:lnTo>
                    <a:lnTo>
                      <a:pt x="964" y="286"/>
                    </a:lnTo>
                    <a:lnTo>
                      <a:pt x="964" y="288"/>
                    </a:lnTo>
                    <a:lnTo>
                      <a:pt x="964" y="291"/>
                    </a:lnTo>
                    <a:lnTo>
                      <a:pt x="964" y="291"/>
                    </a:lnTo>
                    <a:close/>
                    <a:moveTo>
                      <a:pt x="947" y="273"/>
                    </a:moveTo>
                    <a:lnTo>
                      <a:pt x="947" y="270"/>
                    </a:lnTo>
                    <a:lnTo>
                      <a:pt x="946" y="270"/>
                    </a:lnTo>
                    <a:lnTo>
                      <a:pt x="939" y="274"/>
                    </a:lnTo>
                    <a:lnTo>
                      <a:pt x="939" y="276"/>
                    </a:lnTo>
                    <a:lnTo>
                      <a:pt x="944" y="278"/>
                    </a:lnTo>
                    <a:lnTo>
                      <a:pt x="946" y="276"/>
                    </a:lnTo>
                    <a:lnTo>
                      <a:pt x="944" y="274"/>
                    </a:lnTo>
                    <a:lnTo>
                      <a:pt x="944" y="274"/>
                    </a:lnTo>
                    <a:lnTo>
                      <a:pt x="947" y="273"/>
                    </a:lnTo>
                    <a:lnTo>
                      <a:pt x="947" y="273"/>
                    </a:lnTo>
                    <a:close/>
                    <a:moveTo>
                      <a:pt x="961" y="270"/>
                    </a:moveTo>
                    <a:lnTo>
                      <a:pt x="959" y="266"/>
                    </a:lnTo>
                    <a:lnTo>
                      <a:pt x="954" y="266"/>
                    </a:lnTo>
                    <a:lnTo>
                      <a:pt x="952" y="268"/>
                    </a:lnTo>
                    <a:lnTo>
                      <a:pt x="954" y="271"/>
                    </a:lnTo>
                    <a:lnTo>
                      <a:pt x="957" y="271"/>
                    </a:lnTo>
                    <a:lnTo>
                      <a:pt x="961" y="271"/>
                    </a:lnTo>
                    <a:lnTo>
                      <a:pt x="961" y="270"/>
                    </a:lnTo>
                    <a:lnTo>
                      <a:pt x="961" y="270"/>
                    </a:lnTo>
                    <a:close/>
                    <a:moveTo>
                      <a:pt x="962" y="271"/>
                    </a:moveTo>
                    <a:lnTo>
                      <a:pt x="964" y="273"/>
                    </a:lnTo>
                    <a:lnTo>
                      <a:pt x="965" y="271"/>
                    </a:lnTo>
                    <a:lnTo>
                      <a:pt x="970" y="268"/>
                    </a:lnTo>
                    <a:lnTo>
                      <a:pt x="970" y="265"/>
                    </a:lnTo>
                    <a:lnTo>
                      <a:pt x="967" y="263"/>
                    </a:lnTo>
                    <a:lnTo>
                      <a:pt x="964" y="263"/>
                    </a:lnTo>
                    <a:lnTo>
                      <a:pt x="962" y="266"/>
                    </a:lnTo>
                    <a:lnTo>
                      <a:pt x="964" y="268"/>
                    </a:lnTo>
                    <a:lnTo>
                      <a:pt x="962" y="271"/>
                    </a:lnTo>
                    <a:lnTo>
                      <a:pt x="962" y="271"/>
                    </a:lnTo>
                    <a:close/>
                    <a:moveTo>
                      <a:pt x="947" y="258"/>
                    </a:moveTo>
                    <a:lnTo>
                      <a:pt x="951" y="255"/>
                    </a:lnTo>
                    <a:lnTo>
                      <a:pt x="951" y="251"/>
                    </a:lnTo>
                    <a:lnTo>
                      <a:pt x="947" y="251"/>
                    </a:lnTo>
                    <a:lnTo>
                      <a:pt x="944" y="253"/>
                    </a:lnTo>
                    <a:lnTo>
                      <a:pt x="939" y="253"/>
                    </a:lnTo>
                    <a:lnTo>
                      <a:pt x="939" y="255"/>
                    </a:lnTo>
                    <a:lnTo>
                      <a:pt x="946" y="256"/>
                    </a:lnTo>
                    <a:lnTo>
                      <a:pt x="947" y="258"/>
                    </a:lnTo>
                    <a:lnTo>
                      <a:pt x="947" y="258"/>
                    </a:lnTo>
                    <a:close/>
                    <a:moveTo>
                      <a:pt x="970" y="248"/>
                    </a:moveTo>
                    <a:lnTo>
                      <a:pt x="972" y="246"/>
                    </a:lnTo>
                    <a:lnTo>
                      <a:pt x="972" y="245"/>
                    </a:lnTo>
                    <a:lnTo>
                      <a:pt x="970" y="243"/>
                    </a:lnTo>
                    <a:lnTo>
                      <a:pt x="974" y="243"/>
                    </a:lnTo>
                    <a:lnTo>
                      <a:pt x="974" y="240"/>
                    </a:lnTo>
                    <a:lnTo>
                      <a:pt x="970" y="238"/>
                    </a:lnTo>
                    <a:lnTo>
                      <a:pt x="965" y="236"/>
                    </a:lnTo>
                    <a:lnTo>
                      <a:pt x="962" y="238"/>
                    </a:lnTo>
                    <a:lnTo>
                      <a:pt x="964" y="241"/>
                    </a:lnTo>
                    <a:lnTo>
                      <a:pt x="962" y="241"/>
                    </a:lnTo>
                    <a:lnTo>
                      <a:pt x="959" y="240"/>
                    </a:lnTo>
                    <a:lnTo>
                      <a:pt x="957" y="240"/>
                    </a:lnTo>
                    <a:lnTo>
                      <a:pt x="959" y="245"/>
                    </a:lnTo>
                    <a:lnTo>
                      <a:pt x="962" y="245"/>
                    </a:lnTo>
                    <a:lnTo>
                      <a:pt x="967" y="246"/>
                    </a:lnTo>
                    <a:lnTo>
                      <a:pt x="970" y="248"/>
                    </a:lnTo>
                    <a:lnTo>
                      <a:pt x="970" y="248"/>
                    </a:lnTo>
                    <a:close/>
                    <a:moveTo>
                      <a:pt x="1072" y="135"/>
                    </a:moveTo>
                    <a:lnTo>
                      <a:pt x="1077" y="135"/>
                    </a:lnTo>
                    <a:lnTo>
                      <a:pt x="1078" y="137"/>
                    </a:lnTo>
                    <a:lnTo>
                      <a:pt x="1083" y="137"/>
                    </a:lnTo>
                    <a:lnTo>
                      <a:pt x="1087" y="137"/>
                    </a:lnTo>
                    <a:lnTo>
                      <a:pt x="1092" y="137"/>
                    </a:lnTo>
                    <a:lnTo>
                      <a:pt x="1095" y="137"/>
                    </a:lnTo>
                    <a:lnTo>
                      <a:pt x="1097" y="133"/>
                    </a:lnTo>
                    <a:lnTo>
                      <a:pt x="1097" y="132"/>
                    </a:lnTo>
                    <a:lnTo>
                      <a:pt x="1095" y="132"/>
                    </a:lnTo>
                    <a:lnTo>
                      <a:pt x="1097" y="128"/>
                    </a:lnTo>
                    <a:lnTo>
                      <a:pt x="1095" y="125"/>
                    </a:lnTo>
                    <a:lnTo>
                      <a:pt x="1090" y="125"/>
                    </a:lnTo>
                    <a:lnTo>
                      <a:pt x="1088" y="127"/>
                    </a:lnTo>
                    <a:lnTo>
                      <a:pt x="1088" y="130"/>
                    </a:lnTo>
                    <a:lnTo>
                      <a:pt x="1087" y="130"/>
                    </a:lnTo>
                    <a:lnTo>
                      <a:pt x="1085" y="130"/>
                    </a:lnTo>
                    <a:lnTo>
                      <a:pt x="1083" y="128"/>
                    </a:lnTo>
                    <a:lnTo>
                      <a:pt x="1082" y="128"/>
                    </a:lnTo>
                    <a:lnTo>
                      <a:pt x="1080" y="130"/>
                    </a:lnTo>
                    <a:lnTo>
                      <a:pt x="1077" y="132"/>
                    </a:lnTo>
                    <a:lnTo>
                      <a:pt x="1073" y="132"/>
                    </a:lnTo>
                    <a:lnTo>
                      <a:pt x="1072" y="133"/>
                    </a:lnTo>
                    <a:lnTo>
                      <a:pt x="1072" y="135"/>
                    </a:lnTo>
                    <a:lnTo>
                      <a:pt x="1072" y="135"/>
                    </a:lnTo>
                    <a:close/>
                    <a:moveTo>
                      <a:pt x="1218" y="7"/>
                    </a:moveTo>
                    <a:lnTo>
                      <a:pt x="1218" y="10"/>
                    </a:lnTo>
                    <a:lnTo>
                      <a:pt x="1223" y="15"/>
                    </a:lnTo>
                    <a:lnTo>
                      <a:pt x="1221" y="17"/>
                    </a:lnTo>
                    <a:lnTo>
                      <a:pt x="1221" y="20"/>
                    </a:lnTo>
                    <a:lnTo>
                      <a:pt x="1226" y="19"/>
                    </a:lnTo>
                    <a:lnTo>
                      <a:pt x="1228" y="14"/>
                    </a:lnTo>
                    <a:lnTo>
                      <a:pt x="1225" y="7"/>
                    </a:lnTo>
                    <a:lnTo>
                      <a:pt x="1220" y="7"/>
                    </a:lnTo>
                    <a:lnTo>
                      <a:pt x="1218" y="7"/>
                    </a:lnTo>
                    <a:lnTo>
                      <a:pt x="1218" y="7"/>
                    </a:lnTo>
                    <a:close/>
                    <a:moveTo>
                      <a:pt x="1670" y="140"/>
                    </a:moveTo>
                    <a:lnTo>
                      <a:pt x="1671" y="138"/>
                    </a:lnTo>
                    <a:lnTo>
                      <a:pt x="1673" y="133"/>
                    </a:lnTo>
                    <a:lnTo>
                      <a:pt x="1671" y="130"/>
                    </a:lnTo>
                    <a:lnTo>
                      <a:pt x="1666" y="133"/>
                    </a:lnTo>
                    <a:lnTo>
                      <a:pt x="1665" y="135"/>
                    </a:lnTo>
                    <a:lnTo>
                      <a:pt x="1665" y="138"/>
                    </a:lnTo>
                    <a:lnTo>
                      <a:pt x="1668" y="138"/>
                    </a:lnTo>
                    <a:lnTo>
                      <a:pt x="1670" y="140"/>
                    </a:lnTo>
                    <a:lnTo>
                      <a:pt x="1670" y="140"/>
                    </a:lnTo>
                    <a:close/>
                    <a:moveTo>
                      <a:pt x="1608" y="201"/>
                    </a:moveTo>
                    <a:lnTo>
                      <a:pt x="1615" y="201"/>
                    </a:lnTo>
                    <a:lnTo>
                      <a:pt x="1617" y="200"/>
                    </a:lnTo>
                    <a:lnTo>
                      <a:pt x="1620" y="200"/>
                    </a:lnTo>
                    <a:lnTo>
                      <a:pt x="1620" y="198"/>
                    </a:lnTo>
                    <a:lnTo>
                      <a:pt x="1617" y="195"/>
                    </a:lnTo>
                    <a:lnTo>
                      <a:pt x="1612" y="191"/>
                    </a:lnTo>
                    <a:lnTo>
                      <a:pt x="1608" y="191"/>
                    </a:lnTo>
                    <a:lnTo>
                      <a:pt x="1605" y="193"/>
                    </a:lnTo>
                    <a:lnTo>
                      <a:pt x="1605" y="195"/>
                    </a:lnTo>
                    <a:lnTo>
                      <a:pt x="1608" y="198"/>
                    </a:lnTo>
                    <a:lnTo>
                      <a:pt x="1608" y="198"/>
                    </a:lnTo>
                    <a:lnTo>
                      <a:pt x="1608" y="201"/>
                    </a:lnTo>
                    <a:lnTo>
                      <a:pt x="1608" y="201"/>
                    </a:lnTo>
                    <a:close/>
                    <a:moveTo>
                      <a:pt x="1441" y="173"/>
                    </a:moveTo>
                    <a:lnTo>
                      <a:pt x="1446" y="175"/>
                    </a:lnTo>
                    <a:lnTo>
                      <a:pt x="1449" y="176"/>
                    </a:lnTo>
                    <a:lnTo>
                      <a:pt x="1452" y="175"/>
                    </a:lnTo>
                    <a:lnTo>
                      <a:pt x="1454" y="172"/>
                    </a:lnTo>
                    <a:lnTo>
                      <a:pt x="1456" y="168"/>
                    </a:lnTo>
                    <a:lnTo>
                      <a:pt x="1456" y="167"/>
                    </a:lnTo>
                    <a:lnTo>
                      <a:pt x="1454" y="163"/>
                    </a:lnTo>
                    <a:lnTo>
                      <a:pt x="1452" y="157"/>
                    </a:lnTo>
                    <a:lnTo>
                      <a:pt x="1451" y="153"/>
                    </a:lnTo>
                    <a:lnTo>
                      <a:pt x="1447" y="148"/>
                    </a:lnTo>
                    <a:lnTo>
                      <a:pt x="1447" y="147"/>
                    </a:lnTo>
                    <a:lnTo>
                      <a:pt x="1444" y="145"/>
                    </a:lnTo>
                    <a:lnTo>
                      <a:pt x="1436" y="148"/>
                    </a:lnTo>
                    <a:lnTo>
                      <a:pt x="1426" y="153"/>
                    </a:lnTo>
                    <a:lnTo>
                      <a:pt x="1422" y="153"/>
                    </a:lnTo>
                    <a:lnTo>
                      <a:pt x="1421" y="155"/>
                    </a:lnTo>
                    <a:lnTo>
                      <a:pt x="1422" y="160"/>
                    </a:lnTo>
                    <a:lnTo>
                      <a:pt x="1426" y="162"/>
                    </a:lnTo>
                    <a:lnTo>
                      <a:pt x="1427" y="165"/>
                    </a:lnTo>
                    <a:lnTo>
                      <a:pt x="1426" y="167"/>
                    </a:lnTo>
                    <a:lnTo>
                      <a:pt x="1421" y="167"/>
                    </a:lnTo>
                    <a:lnTo>
                      <a:pt x="1419" y="168"/>
                    </a:lnTo>
                    <a:lnTo>
                      <a:pt x="1422" y="172"/>
                    </a:lnTo>
                    <a:lnTo>
                      <a:pt x="1429" y="172"/>
                    </a:lnTo>
                    <a:lnTo>
                      <a:pt x="1441" y="173"/>
                    </a:lnTo>
                    <a:lnTo>
                      <a:pt x="1441" y="173"/>
                    </a:lnTo>
                    <a:close/>
                    <a:moveTo>
                      <a:pt x="1987" y="190"/>
                    </a:moveTo>
                    <a:lnTo>
                      <a:pt x="1990" y="195"/>
                    </a:lnTo>
                    <a:lnTo>
                      <a:pt x="1995" y="196"/>
                    </a:lnTo>
                    <a:lnTo>
                      <a:pt x="1995" y="195"/>
                    </a:lnTo>
                    <a:lnTo>
                      <a:pt x="2002" y="193"/>
                    </a:lnTo>
                    <a:lnTo>
                      <a:pt x="2004" y="191"/>
                    </a:lnTo>
                    <a:lnTo>
                      <a:pt x="2002" y="188"/>
                    </a:lnTo>
                    <a:lnTo>
                      <a:pt x="2000" y="183"/>
                    </a:lnTo>
                    <a:lnTo>
                      <a:pt x="1997" y="183"/>
                    </a:lnTo>
                    <a:lnTo>
                      <a:pt x="1997" y="186"/>
                    </a:lnTo>
                    <a:lnTo>
                      <a:pt x="1992" y="190"/>
                    </a:lnTo>
                    <a:lnTo>
                      <a:pt x="1992" y="190"/>
                    </a:lnTo>
                    <a:lnTo>
                      <a:pt x="1987" y="190"/>
                    </a:lnTo>
                    <a:lnTo>
                      <a:pt x="1987" y="190"/>
                    </a:lnTo>
                    <a:close/>
                    <a:moveTo>
                      <a:pt x="2527" y="152"/>
                    </a:moveTo>
                    <a:lnTo>
                      <a:pt x="2530" y="152"/>
                    </a:lnTo>
                    <a:lnTo>
                      <a:pt x="2530" y="148"/>
                    </a:lnTo>
                    <a:lnTo>
                      <a:pt x="2529" y="145"/>
                    </a:lnTo>
                    <a:lnTo>
                      <a:pt x="2527" y="145"/>
                    </a:lnTo>
                    <a:lnTo>
                      <a:pt x="2525" y="147"/>
                    </a:lnTo>
                    <a:lnTo>
                      <a:pt x="2527" y="152"/>
                    </a:lnTo>
                    <a:lnTo>
                      <a:pt x="2527" y="152"/>
                    </a:lnTo>
                    <a:close/>
                    <a:moveTo>
                      <a:pt x="2524" y="157"/>
                    </a:moveTo>
                    <a:lnTo>
                      <a:pt x="2527" y="157"/>
                    </a:lnTo>
                    <a:lnTo>
                      <a:pt x="2527" y="153"/>
                    </a:lnTo>
                    <a:lnTo>
                      <a:pt x="2524" y="150"/>
                    </a:lnTo>
                    <a:lnTo>
                      <a:pt x="2520" y="150"/>
                    </a:lnTo>
                    <a:lnTo>
                      <a:pt x="2520" y="152"/>
                    </a:lnTo>
                    <a:lnTo>
                      <a:pt x="2524" y="157"/>
                    </a:lnTo>
                    <a:lnTo>
                      <a:pt x="2524" y="157"/>
                    </a:lnTo>
                    <a:close/>
                    <a:moveTo>
                      <a:pt x="2520" y="158"/>
                    </a:moveTo>
                    <a:lnTo>
                      <a:pt x="2524" y="163"/>
                    </a:lnTo>
                    <a:lnTo>
                      <a:pt x="2527" y="167"/>
                    </a:lnTo>
                    <a:lnTo>
                      <a:pt x="2527" y="165"/>
                    </a:lnTo>
                    <a:lnTo>
                      <a:pt x="2525" y="160"/>
                    </a:lnTo>
                    <a:lnTo>
                      <a:pt x="2522" y="157"/>
                    </a:lnTo>
                    <a:lnTo>
                      <a:pt x="2520" y="157"/>
                    </a:lnTo>
                    <a:lnTo>
                      <a:pt x="2520" y="158"/>
                    </a:lnTo>
                    <a:lnTo>
                      <a:pt x="2520" y="158"/>
                    </a:lnTo>
                    <a:close/>
                    <a:moveTo>
                      <a:pt x="2507" y="155"/>
                    </a:moveTo>
                    <a:lnTo>
                      <a:pt x="2510" y="160"/>
                    </a:lnTo>
                    <a:lnTo>
                      <a:pt x="2514" y="162"/>
                    </a:lnTo>
                    <a:lnTo>
                      <a:pt x="2515" y="160"/>
                    </a:lnTo>
                    <a:lnTo>
                      <a:pt x="2517" y="158"/>
                    </a:lnTo>
                    <a:lnTo>
                      <a:pt x="2515" y="155"/>
                    </a:lnTo>
                    <a:lnTo>
                      <a:pt x="2512" y="153"/>
                    </a:lnTo>
                    <a:lnTo>
                      <a:pt x="2512" y="155"/>
                    </a:lnTo>
                    <a:lnTo>
                      <a:pt x="2507" y="155"/>
                    </a:lnTo>
                    <a:lnTo>
                      <a:pt x="2507" y="155"/>
                    </a:lnTo>
                    <a:close/>
                    <a:moveTo>
                      <a:pt x="2643" y="105"/>
                    </a:moveTo>
                    <a:lnTo>
                      <a:pt x="2648" y="108"/>
                    </a:lnTo>
                    <a:lnTo>
                      <a:pt x="2653" y="107"/>
                    </a:lnTo>
                    <a:lnTo>
                      <a:pt x="2656" y="102"/>
                    </a:lnTo>
                    <a:lnTo>
                      <a:pt x="2655" y="97"/>
                    </a:lnTo>
                    <a:lnTo>
                      <a:pt x="2651" y="93"/>
                    </a:lnTo>
                    <a:lnTo>
                      <a:pt x="2653" y="92"/>
                    </a:lnTo>
                    <a:lnTo>
                      <a:pt x="2651" y="88"/>
                    </a:lnTo>
                    <a:lnTo>
                      <a:pt x="2647" y="85"/>
                    </a:lnTo>
                    <a:lnTo>
                      <a:pt x="2645" y="87"/>
                    </a:lnTo>
                    <a:lnTo>
                      <a:pt x="2642" y="87"/>
                    </a:lnTo>
                    <a:lnTo>
                      <a:pt x="2637" y="83"/>
                    </a:lnTo>
                    <a:lnTo>
                      <a:pt x="2632" y="83"/>
                    </a:lnTo>
                    <a:lnTo>
                      <a:pt x="2632" y="85"/>
                    </a:lnTo>
                    <a:lnTo>
                      <a:pt x="2628" y="87"/>
                    </a:lnTo>
                    <a:lnTo>
                      <a:pt x="2628" y="88"/>
                    </a:lnTo>
                    <a:lnTo>
                      <a:pt x="2625" y="88"/>
                    </a:lnTo>
                    <a:lnTo>
                      <a:pt x="2623" y="92"/>
                    </a:lnTo>
                    <a:lnTo>
                      <a:pt x="2623" y="100"/>
                    </a:lnTo>
                    <a:lnTo>
                      <a:pt x="2627" y="100"/>
                    </a:lnTo>
                    <a:lnTo>
                      <a:pt x="2630" y="100"/>
                    </a:lnTo>
                    <a:lnTo>
                      <a:pt x="2637" y="102"/>
                    </a:lnTo>
                    <a:lnTo>
                      <a:pt x="2643" y="105"/>
                    </a:lnTo>
                    <a:lnTo>
                      <a:pt x="2643" y="105"/>
                    </a:lnTo>
                    <a:close/>
                    <a:moveTo>
                      <a:pt x="2673" y="95"/>
                    </a:moveTo>
                    <a:lnTo>
                      <a:pt x="2675" y="92"/>
                    </a:lnTo>
                    <a:lnTo>
                      <a:pt x="2676" y="90"/>
                    </a:lnTo>
                    <a:lnTo>
                      <a:pt x="2671" y="90"/>
                    </a:lnTo>
                    <a:lnTo>
                      <a:pt x="2670" y="92"/>
                    </a:lnTo>
                    <a:lnTo>
                      <a:pt x="2673" y="95"/>
                    </a:lnTo>
                    <a:lnTo>
                      <a:pt x="2673" y="95"/>
                    </a:lnTo>
                    <a:close/>
                    <a:moveTo>
                      <a:pt x="2706" y="1269"/>
                    </a:moveTo>
                    <a:lnTo>
                      <a:pt x="2705" y="1264"/>
                    </a:lnTo>
                    <a:lnTo>
                      <a:pt x="2706" y="1259"/>
                    </a:lnTo>
                    <a:lnTo>
                      <a:pt x="2705" y="1256"/>
                    </a:lnTo>
                    <a:lnTo>
                      <a:pt x="2703" y="1251"/>
                    </a:lnTo>
                    <a:lnTo>
                      <a:pt x="2703" y="1245"/>
                    </a:lnTo>
                    <a:lnTo>
                      <a:pt x="2708" y="1240"/>
                    </a:lnTo>
                    <a:lnTo>
                      <a:pt x="2710" y="1241"/>
                    </a:lnTo>
                    <a:lnTo>
                      <a:pt x="2710" y="1245"/>
                    </a:lnTo>
                    <a:lnTo>
                      <a:pt x="2713" y="1246"/>
                    </a:lnTo>
                    <a:lnTo>
                      <a:pt x="2723" y="1245"/>
                    </a:lnTo>
                    <a:lnTo>
                      <a:pt x="2723" y="1243"/>
                    </a:lnTo>
                    <a:lnTo>
                      <a:pt x="2726" y="1243"/>
                    </a:lnTo>
                    <a:lnTo>
                      <a:pt x="2728" y="1245"/>
                    </a:lnTo>
                    <a:lnTo>
                      <a:pt x="2726" y="1246"/>
                    </a:lnTo>
                    <a:lnTo>
                      <a:pt x="2726" y="1250"/>
                    </a:lnTo>
                    <a:lnTo>
                      <a:pt x="2731" y="1255"/>
                    </a:lnTo>
                    <a:lnTo>
                      <a:pt x="2731" y="1259"/>
                    </a:lnTo>
                    <a:lnTo>
                      <a:pt x="2735" y="1261"/>
                    </a:lnTo>
                    <a:lnTo>
                      <a:pt x="2735" y="1258"/>
                    </a:lnTo>
                    <a:lnTo>
                      <a:pt x="2735" y="1256"/>
                    </a:lnTo>
                    <a:lnTo>
                      <a:pt x="2735" y="1251"/>
                    </a:lnTo>
                    <a:lnTo>
                      <a:pt x="2735" y="1246"/>
                    </a:lnTo>
                    <a:lnTo>
                      <a:pt x="2730" y="1243"/>
                    </a:lnTo>
                    <a:lnTo>
                      <a:pt x="2728" y="1238"/>
                    </a:lnTo>
                    <a:lnTo>
                      <a:pt x="2726" y="1233"/>
                    </a:lnTo>
                    <a:lnTo>
                      <a:pt x="2723" y="1235"/>
                    </a:lnTo>
                    <a:lnTo>
                      <a:pt x="2720" y="1235"/>
                    </a:lnTo>
                    <a:lnTo>
                      <a:pt x="2713" y="1231"/>
                    </a:lnTo>
                    <a:lnTo>
                      <a:pt x="2713" y="1225"/>
                    </a:lnTo>
                    <a:lnTo>
                      <a:pt x="2710" y="1220"/>
                    </a:lnTo>
                    <a:lnTo>
                      <a:pt x="2703" y="1215"/>
                    </a:lnTo>
                    <a:lnTo>
                      <a:pt x="2700" y="1215"/>
                    </a:lnTo>
                    <a:lnTo>
                      <a:pt x="2696" y="1210"/>
                    </a:lnTo>
                    <a:lnTo>
                      <a:pt x="2693" y="1203"/>
                    </a:lnTo>
                    <a:lnTo>
                      <a:pt x="2690" y="1196"/>
                    </a:lnTo>
                    <a:lnTo>
                      <a:pt x="2688" y="1191"/>
                    </a:lnTo>
                    <a:lnTo>
                      <a:pt x="2688" y="1185"/>
                    </a:lnTo>
                    <a:lnTo>
                      <a:pt x="2688" y="1176"/>
                    </a:lnTo>
                    <a:lnTo>
                      <a:pt x="2685" y="1171"/>
                    </a:lnTo>
                    <a:lnTo>
                      <a:pt x="2686" y="1163"/>
                    </a:lnTo>
                    <a:lnTo>
                      <a:pt x="2685" y="1160"/>
                    </a:lnTo>
                    <a:lnTo>
                      <a:pt x="2681" y="1155"/>
                    </a:lnTo>
                    <a:lnTo>
                      <a:pt x="2685" y="1152"/>
                    </a:lnTo>
                    <a:lnTo>
                      <a:pt x="2685" y="1148"/>
                    </a:lnTo>
                    <a:lnTo>
                      <a:pt x="2685" y="1145"/>
                    </a:lnTo>
                    <a:lnTo>
                      <a:pt x="2688" y="1145"/>
                    </a:lnTo>
                    <a:lnTo>
                      <a:pt x="2690" y="1145"/>
                    </a:lnTo>
                    <a:lnTo>
                      <a:pt x="2696" y="1145"/>
                    </a:lnTo>
                    <a:lnTo>
                      <a:pt x="2701" y="1145"/>
                    </a:lnTo>
                    <a:lnTo>
                      <a:pt x="2706" y="1148"/>
                    </a:lnTo>
                    <a:lnTo>
                      <a:pt x="2710" y="1155"/>
                    </a:lnTo>
                    <a:lnTo>
                      <a:pt x="2715" y="1157"/>
                    </a:lnTo>
                    <a:lnTo>
                      <a:pt x="2720" y="1158"/>
                    </a:lnTo>
                    <a:lnTo>
                      <a:pt x="2725" y="1165"/>
                    </a:lnTo>
                    <a:lnTo>
                      <a:pt x="2726" y="1166"/>
                    </a:lnTo>
                    <a:lnTo>
                      <a:pt x="2725" y="1160"/>
                    </a:lnTo>
                    <a:lnTo>
                      <a:pt x="2720" y="1155"/>
                    </a:lnTo>
                    <a:lnTo>
                      <a:pt x="2713" y="1150"/>
                    </a:lnTo>
                    <a:lnTo>
                      <a:pt x="2708" y="1145"/>
                    </a:lnTo>
                    <a:lnTo>
                      <a:pt x="2705" y="1138"/>
                    </a:lnTo>
                    <a:lnTo>
                      <a:pt x="2705" y="1137"/>
                    </a:lnTo>
                    <a:lnTo>
                      <a:pt x="2701" y="1133"/>
                    </a:lnTo>
                    <a:lnTo>
                      <a:pt x="2696" y="1127"/>
                    </a:lnTo>
                    <a:lnTo>
                      <a:pt x="2695" y="1122"/>
                    </a:lnTo>
                    <a:lnTo>
                      <a:pt x="2691" y="1120"/>
                    </a:lnTo>
                    <a:lnTo>
                      <a:pt x="2691" y="1115"/>
                    </a:lnTo>
                    <a:lnTo>
                      <a:pt x="2683" y="1108"/>
                    </a:lnTo>
                    <a:lnTo>
                      <a:pt x="2676" y="1097"/>
                    </a:lnTo>
                    <a:lnTo>
                      <a:pt x="2675" y="1092"/>
                    </a:lnTo>
                    <a:lnTo>
                      <a:pt x="2666" y="1082"/>
                    </a:lnTo>
                    <a:lnTo>
                      <a:pt x="2663" y="1073"/>
                    </a:lnTo>
                    <a:lnTo>
                      <a:pt x="2660" y="1072"/>
                    </a:lnTo>
                    <a:lnTo>
                      <a:pt x="2660" y="1067"/>
                    </a:lnTo>
                    <a:lnTo>
                      <a:pt x="2656" y="1063"/>
                    </a:lnTo>
                    <a:lnTo>
                      <a:pt x="2653" y="1062"/>
                    </a:lnTo>
                    <a:lnTo>
                      <a:pt x="2653" y="1063"/>
                    </a:lnTo>
                    <a:lnTo>
                      <a:pt x="2650" y="1063"/>
                    </a:lnTo>
                    <a:lnTo>
                      <a:pt x="2648" y="1062"/>
                    </a:lnTo>
                    <a:lnTo>
                      <a:pt x="2650" y="1059"/>
                    </a:lnTo>
                    <a:lnTo>
                      <a:pt x="2648" y="1055"/>
                    </a:lnTo>
                    <a:lnTo>
                      <a:pt x="2645" y="1052"/>
                    </a:lnTo>
                    <a:lnTo>
                      <a:pt x="2640" y="1047"/>
                    </a:lnTo>
                    <a:lnTo>
                      <a:pt x="2637" y="1042"/>
                    </a:lnTo>
                    <a:lnTo>
                      <a:pt x="2635" y="1039"/>
                    </a:lnTo>
                    <a:lnTo>
                      <a:pt x="2635" y="1034"/>
                    </a:lnTo>
                    <a:lnTo>
                      <a:pt x="2635" y="1030"/>
                    </a:lnTo>
                    <a:lnTo>
                      <a:pt x="2637" y="1030"/>
                    </a:lnTo>
                    <a:lnTo>
                      <a:pt x="2635" y="1024"/>
                    </a:lnTo>
                    <a:lnTo>
                      <a:pt x="2635" y="1017"/>
                    </a:lnTo>
                    <a:lnTo>
                      <a:pt x="2633" y="1012"/>
                    </a:lnTo>
                    <a:lnTo>
                      <a:pt x="2628" y="1010"/>
                    </a:lnTo>
                    <a:lnTo>
                      <a:pt x="2623" y="1005"/>
                    </a:lnTo>
                    <a:lnTo>
                      <a:pt x="2623" y="1002"/>
                    </a:lnTo>
                    <a:lnTo>
                      <a:pt x="2620" y="1000"/>
                    </a:lnTo>
                    <a:lnTo>
                      <a:pt x="2620" y="999"/>
                    </a:lnTo>
                    <a:lnTo>
                      <a:pt x="2622" y="997"/>
                    </a:lnTo>
                    <a:lnTo>
                      <a:pt x="2627" y="1002"/>
                    </a:lnTo>
                    <a:lnTo>
                      <a:pt x="2632" y="1007"/>
                    </a:lnTo>
                    <a:lnTo>
                      <a:pt x="2628" y="1002"/>
                    </a:lnTo>
                    <a:lnTo>
                      <a:pt x="2623" y="995"/>
                    </a:lnTo>
                    <a:lnTo>
                      <a:pt x="2618" y="989"/>
                    </a:lnTo>
                    <a:lnTo>
                      <a:pt x="2615" y="989"/>
                    </a:lnTo>
                    <a:lnTo>
                      <a:pt x="2615" y="985"/>
                    </a:lnTo>
                    <a:lnTo>
                      <a:pt x="2605" y="979"/>
                    </a:lnTo>
                    <a:lnTo>
                      <a:pt x="2602" y="974"/>
                    </a:lnTo>
                    <a:lnTo>
                      <a:pt x="2602" y="965"/>
                    </a:lnTo>
                    <a:lnTo>
                      <a:pt x="2598" y="964"/>
                    </a:lnTo>
                    <a:lnTo>
                      <a:pt x="2592" y="961"/>
                    </a:lnTo>
                    <a:lnTo>
                      <a:pt x="2588" y="956"/>
                    </a:lnTo>
                    <a:lnTo>
                      <a:pt x="2587" y="952"/>
                    </a:lnTo>
                    <a:lnTo>
                      <a:pt x="2585" y="956"/>
                    </a:lnTo>
                    <a:lnTo>
                      <a:pt x="2587" y="957"/>
                    </a:lnTo>
                    <a:lnTo>
                      <a:pt x="2587" y="961"/>
                    </a:lnTo>
                    <a:lnTo>
                      <a:pt x="2583" y="961"/>
                    </a:lnTo>
                    <a:lnTo>
                      <a:pt x="2580" y="959"/>
                    </a:lnTo>
                    <a:lnTo>
                      <a:pt x="2577" y="959"/>
                    </a:lnTo>
                    <a:lnTo>
                      <a:pt x="2582" y="965"/>
                    </a:lnTo>
                    <a:lnTo>
                      <a:pt x="2590" y="969"/>
                    </a:lnTo>
                    <a:lnTo>
                      <a:pt x="2593" y="974"/>
                    </a:lnTo>
                    <a:lnTo>
                      <a:pt x="2593" y="977"/>
                    </a:lnTo>
                    <a:lnTo>
                      <a:pt x="2595" y="975"/>
                    </a:lnTo>
                    <a:lnTo>
                      <a:pt x="2598" y="975"/>
                    </a:lnTo>
                    <a:lnTo>
                      <a:pt x="2598" y="979"/>
                    </a:lnTo>
                    <a:lnTo>
                      <a:pt x="2597" y="980"/>
                    </a:lnTo>
                    <a:lnTo>
                      <a:pt x="2593" y="982"/>
                    </a:lnTo>
                    <a:lnTo>
                      <a:pt x="2595" y="985"/>
                    </a:lnTo>
                    <a:lnTo>
                      <a:pt x="2598" y="985"/>
                    </a:lnTo>
                    <a:lnTo>
                      <a:pt x="2600" y="989"/>
                    </a:lnTo>
                    <a:lnTo>
                      <a:pt x="2595" y="992"/>
                    </a:lnTo>
                    <a:lnTo>
                      <a:pt x="2592" y="990"/>
                    </a:lnTo>
                    <a:lnTo>
                      <a:pt x="2588" y="987"/>
                    </a:lnTo>
                    <a:lnTo>
                      <a:pt x="2585" y="990"/>
                    </a:lnTo>
                    <a:lnTo>
                      <a:pt x="2583" y="995"/>
                    </a:lnTo>
                    <a:lnTo>
                      <a:pt x="2587" y="1000"/>
                    </a:lnTo>
                    <a:lnTo>
                      <a:pt x="2588" y="1005"/>
                    </a:lnTo>
                    <a:lnTo>
                      <a:pt x="2593" y="1010"/>
                    </a:lnTo>
                    <a:lnTo>
                      <a:pt x="2598" y="1017"/>
                    </a:lnTo>
                    <a:lnTo>
                      <a:pt x="2598" y="1027"/>
                    </a:lnTo>
                    <a:lnTo>
                      <a:pt x="2600" y="1029"/>
                    </a:lnTo>
                    <a:lnTo>
                      <a:pt x="2602" y="1035"/>
                    </a:lnTo>
                    <a:lnTo>
                      <a:pt x="2605" y="1047"/>
                    </a:lnTo>
                    <a:lnTo>
                      <a:pt x="2608" y="1054"/>
                    </a:lnTo>
                    <a:lnTo>
                      <a:pt x="2613" y="1055"/>
                    </a:lnTo>
                    <a:lnTo>
                      <a:pt x="2613" y="1059"/>
                    </a:lnTo>
                    <a:lnTo>
                      <a:pt x="2612" y="1059"/>
                    </a:lnTo>
                    <a:lnTo>
                      <a:pt x="2623" y="1070"/>
                    </a:lnTo>
                    <a:lnTo>
                      <a:pt x="2628" y="1072"/>
                    </a:lnTo>
                    <a:lnTo>
                      <a:pt x="2633" y="1078"/>
                    </a:lnTo>
                    <a:lnTo>
                      <a:pt x="2635" y="1085"/>
                    </a:lnTo>
                    <a:lnTo>
                      <a:pt x="2635" y="1092"/>
                    </a:lnTo>
                    <a:lnTo>
                      <a:pt x="2638" y="1097"/>
                    </a:lnTo>
                    <a:lnTo>
                      <a:pt x="2638" y="1102"/>
                    </a:lnTo>
                    <a:lnTo>
                      <a:pt x="2642" y="1105"/>
                    </a:lnTo>
                    <a:lnTo>
                      <a:pt x="2647" y="1108"/>
                    </a:lnTo>
                    <a:lnTo>
                      <a:pt x="2645" y="1110"/>
                    </a:lnTo>
                    <a:lnTo>
                      <a:pt x="2647" y="1113"/>
                    </a:lnTo>
                    <a:lnTo>
                      <a:pt x="2651" y="1122"/>
                    </a:lnTo>
                    <a:lnTo>
                      <a:pt x="2653" y="1127"/>
                    </a:lnTo>
                    <a:lnTo>
                      <a:pt x="2655" y="1132"/>
                    </a:lnTo>
                    <a:lnTo>
                      <a:pt x="2655" y="1140"/>
                    </a:lnTo>
                    <a:lnTo>
                      <a:pt x="2658" y="1143"/>
                    </a:lnTo>
                    <a:lnTo>
                      <a:pt x="2656" y="1147"/>
                    </a:lnTo>
                    <a:lnTo>
                      <a:pt x="2658" y="1155"/>
                    </a:lnTo>
                    <a:lnTo>
                      <a:pt x="2661" y="1163"/>
                    </a:lnTo>
                    <a:lnTo>
                      <a:pt x="2660" y="1166"/>
                    </a:lnTo>
                    <a:lnTo>
                      <a:pt x="2661" y="1171"/>
                    </a:lnTo>
                    <a:lnTo>
                      <a:pt x="2666" y="1176"/>
                    </a:lnTo>
                    <a:lnTo>
                      <a:pt x="2675" y="1186"/>
                    </a:lnTo>
                    <a:lnTo>
                      <a:pt x="2675" y="1190"/>
                    </a:lnTo>
                    <a:lnTo>
                      <a:pt x="2678" y="1196"/>
                    </a:lnTo>
                    <a:lnTo>
                      <a:pt x="2678" y="1205"/>
                    </a:lnTo>
                    <a:lnTo>
                      <a:pt x="2678" y="1213"/>
                    </a:lnTo>
                    <a:lnTo>
                      <a:pt x="2683" y="1220"/>
                    </a:lnTo>
                    <a:lnTo>
                      <a:pt x="2685" y="1225"/>
                    </a:lnTo>
                    <a:lnTo>
                      <a:pt x="2690" y="1231"/>
                    </a:lnTo>
                    <a:lnTo>
                      <a:pt x="2691" y="1235"/>
                    </a:lnTo>
                    <a:lnTo>
                      <a:pt x="2690" y="1241"/>
                    </a:lnTo>
                    <a:lnTo>
                      <a:pt x="2690" y="1251"/>
                    </a:lnTo>
                    <a:lnTo>
                      <a:pt x="2691" y="1256"/>
                    </a:lnTo>
                    <a:lnTo>
                      <a:pt x="2696" y="1259"/>
                    </a:lnTo>
                    <a:lnTo>
                      <a:pt x="2700" y="1266"/>
                    </a:lnTo>
                    <a:lnTo>
                      <a:pt x="2706" y="1269"/>
                    </a:lnTo>
                    <a:lnTo>
                      <a:pt x="2706" y="1269"/>
                    </a:lnTo>
                    <a:close/>
                    <a:moveTo>
                      <a:pt x="2459" y="959"/>
                    </a:moveTo>
                    <a:lnTo>
                      <a:pt x="2460" y="959"/>
                    </a:lnTo>
                    <a:lnTo>
                      <a:pt x="2460" y="957"/>
                    </a:lnTo>
                    <a:lnTo>
                      <a:pt x="2462" y="956"/>
                    </a:lnTo>
                    <a:lnTo>
                      <a:pt x="2464" y="956"/>
                    </a:lnTo>
                    <a:lnTo>
                      <a:pt x="2467" y="959"/>
                    </a:lnTo>
                    <a:lnTo>
                      <a:pt x="2472" y="961"/>
                    </a:lnTo>
                    <a:lnTo>
                      <a:pt x="2474" y="957"/>
                    </a:lnTo>
                    <a:lnTo>
                      <a:pt x="2475" y="956"/>
                    </a:lnTo>
                    <a:lnTo>
                      <a:pt x="2474" y="952"/>
                    </a:lnTo>
                    <a:lnTo>
                      <a:pt x="2474" y="951"/>
                    </a:lnTo>
                    <a:lnTo>
                      <a:pt x="2477" y="947"/>
                    </a:lnTo>
                    <a:lnTo>
                      <a:pt x="2477" y="946"/>
                    </a:lnTo>
                    <a:lnTo>
                      <a:pt x="2474" y="946"/>
                    </a:lnTo>
                    <a:lnTo>
                      <a:pt x="2474" y="947"/>
                    </a:lnTo>
                    <a:lnTo>
                      <a:pt x="2470" y="949"/>
                    </a:lnTo>
                    <a:lnTo>
                      <a:pt x="2469" y="947"/>
                    </a:lnTo>
                    <a:lnTo>
                      <a:pt x="2472" y="946"/>
                    </a:lnTo>
                    <a:lnTo>
                      <a:pt x="2472" y="944"/>
                    </a:lnTo>
                    <a:lnTo>
                      <a:pt x="2470" y="942"/>
                    </a:lnTo>
                    <a:lnTo>
                      <a:pt x="2465" y="944"/>
                    </a:lnTo>
                    <a:lnTo>
                      <a:pt x="2462" y="942"/>
                    </a:lnTo>
                    <a:lnTo>
                      <a:pt x="2459" y="944"/>
                    </a:lnTo>
                    <a:lnTo>
                      <a:pt x="2457" y="949"/>
                    </a:lnTo>
                    <a:lnTo>
                      <a:pt x="2455" y="951"/>
                    </a:lnTo>
                    <a:lnTo>
                      <a:pt x="2455" y="954"/>
                    </a:lnTo>
                    <a:lnTo>
                      <a:pt x="2459" y="959"/>
                    </a:lnTo>
                    <a:lnTo>
                      <a:pt x="2459" y="959"/>
                    </a:lnTo>
                    <a:close/>
                    <a:moveTo>
                      <a:pt x="2442" y="956"/>
                    </a:moveTo>
                    <a:lnTo>
                      <a:pt x="2444" y="956"/>
                    </a:lnTo>
                    <a:lnTo>
                      <a:pt x="2444" y="954"/>
                    </a:lnTo>
                    <a:lnTo>
                      <a:pt x="2446" y="952"/>
                    </a:lnTo>
                    <a:lnTo>
                      <a:pt x="2449" y="954"/>
                    </a:lnTo>
                    <a:lnTo>
                      <a:pt x="2450" y="954"/>
                    </a:lnTo>
                    <a:lnTo>
                      <a:pt x="2449" y="951"/>
                    </a:lnTo>
                    <a:lnTo>
                      <a:pt x="2450" y="947"/>
                    </a:lnTo>
                    <a:lnTo>
                      <a:pt x="2450" y="946"/>
                    </a:lnTo>
                    <a:lnTo>
                      <a:pt x="2449" y="946"/>
                    </a:lnTo>
                    <a:lnTo>
                      <a:pt x="2446" y="949"/>
                    </a:lnTo>
                    <a:lnTo>
                      <a:pt x="2441" y="951"/>
                    </a:lnTo>
                    <a:lnTo>
                      <a:pt x="2441" y="954"/>
                    </a:lnTo>
                    <a:lnTo>
                      <a:pt x="2442" y="956"/>
                    </a:lnTo>
                    <a:lnTo>
                      <a:pt x="2442" y="956"/>
                    </a:lnTo>
                    <a:close/>
                    <a:moveTo>
                      <a:pt x="2475" y="970"/>
                    </a:moveTo>
                    <a:lnTo>
                      <a:pt x="2477" y="972"/>
                    </a:lnTo>
                    <a:lnTo>
                      <a:pt x="2480" y="970"/>
                    </a:lnTo>
                    <a:lnTo>
                      <a:pt x="2480" y="967"/>
                    </a:lnTo>
                    <a:lnTo>
                      <a:pt x="2479" y="965"/>
                    </a:lnTo>
                    <a:lnTo>
                      <a:pt x="2477" y="967"/>
                    </a:lnTo>
                    <a:lnTo>
                      <a:pt x="2477" y="967"/>
                    </a:lnTo>
                    <a:lnTo>
                      <a:pt x="2475" y="970"/>
                    </a:lnTo>
                    <a:lnTo>
                      <a:pt x="2475" y="970"/>
                    </a:lnTo>
                    <a:close/>
                    <a:moveTo>
                      <a:pt x="2470" y="965"/>
                    </a:moveTo>
                    <a:lnTo>
                      <a:pt x="2470" y="969"/>
                    </a:lnTo>
                    <a:lnTo>
                      <a:pt x="2472" y="970"/>
                    </a:lnTo>
                    <a:lnTo>
                      <a:pt x="2474" y="969"/>
                    </a:lnTo>
                    <a:lnTo>
                      <a:pt x="2474" y="965"/>
                    </a:lnTo>
                    <a:lnTo>
                      <a:pt x="2472" y="964"/>
                    </a:lnTo>
                    <a:lnTo>
                      <a:pt x="2470" y="965"/>
                    </a:lnTo>
                    <a:lnTo>
                      <a:pt x="2470" y="965"/>
                    </a:lnTo>
                    <a:close/>
                    <a:moveTo>
                      <a:pt x="2472" y="985"/>
                    </a:moveTo>
                    <a:lnTo>
                      <a:pt x="2475" y="982"/>
                    </a:lnTo>
                    <a:lnTo>
                      <a:pt x="2477" y="980"/>
                    </a:lnTo>
                    <a:lnTo>
                      <a:pt x="2479" y="977"/>
                    </a:lnTo>
                    <a:lnTo>
                      <a:pt x="2479" y="977"/>
                    </a:lnTo>
                    <a:lnTo>
                      <a:pt x="2479" y="974"/>
                    </a:lnTo>
                    <a:lnTo>
                      <a:pt x="2472" y="975"/>
                    </a:lnTo>
                    <a:lnTo>
                      <a:pt x="2469" y="980"/>
                    </a:lnTo>
                    <a:lnTo>
                      <a:pt x="2469" y="984"/>
                    </a:lnTo>
                    <a:lnTo>
                      <a:pt x="2472" y="985"/>
                    </a:lnTo>
                    <a:lnTo>
                      <a:pt x="2472" y="985"/>
                    </a:lnTo>
                    <a:close/>
                    <a:moveTo>
                      <a:pt x="2658" y="730"/>
                    </a:moveTo>
                    <a:lnTo>
                      <a:pt x="2660" y="730"/>
                    </a:lnTo>
                    <a:lnTo>
                      <a:pt x="2663" y="726"/>
                    </a:lnTo>
                    <a:lnTo>
                      <a:pt x="2663" y="723"/>
                    </a:lnTo>
                    <a:lnTo>
                      <a:pt x="2660" y="723"/>
                    </a:lnTo>
                    <a:lnTo>
                      <a:pt x="2658" y="726"/>
                    </a:lnTo>
                    <a:lnTo>
                      <a:pt x="2658" y="730"/>
                    </a:lnTo>
                    <a:lnTo>
                      <a:pt x="2658" y="730"/>
                    </a:lnTo>
                    <a:close/>
                    <a:moveTo>
                      <a:pt x="2954" y="701"/>
                    </a:moveTo>
                    <a:lnTo>
                      <a:pt x="2955" y="703"/>
                    </a:lnTo>
                    <a:lnTo>
                      <a:pt x="2955" y="698"/>
                    </a:lnTo>
                    <a:lnTo>
                      <a:pt x="2952" y="693"/>
                    </a:lnTo>
                    <a:lnTo>
                      <a:pt x="2954" y="691"/>
                    </a:lnTo>
                    <a:lnTo>
                      <a:pt x="2954" y="688"/>
                    </a:lnTo>
                    <a:lnTo>
                      <a:pt x="2957" y="683"/>
                    </a:lnTo>
                    <a:lnTo>
                      <a:pt x="2960" y="680"/>
                    </a:lnTo>
                    <a:lnTo>
                      <a:pt x="2965" y="675"/>
                    </a:lnTo>
                    <a:lnTo>
                      <a:pt x="2969" y="675"/>
                    </a:lnTo>
                    <a:lnTo>
                      <a:pt x="2967" y="670"/>
                    </a:lnTo>
                    <a:lnTo>
                      <a:pt x="2965" y="663"/>
                    </a:lnTo>
                    <a:lnTo>
                      <a:pt x="2959" y="658"/>
                    </a:lnTo>
                    <a:lnTo>
                      <a:pt x="2957" y="658"/>
                    </a:lnTo>
                    <a:lnTo>
                      <a:pt x="2954" y="660"/>
                    </a:lnTo>
                    <a:lnTo>
                      <a:pt x="2954" y="662"/>
                    </a:lnTo>
                    <a:lnTo>
                      <a:pt x="2950" y="663"/>
                    </a:lnTo>
                    <a:lnTo>
                      <a:pt x="2945" y="670"/>
                    </a:lnTo>
                    <a:lnTo>
                      <a:pt x="2942" y="670"/>
                    </a:lnTo>
                    <a:lnTo>
                      <a:pt x="2941" y="675"/>
                    </a:lnTo>
                    <a:lnTo>
                      <a:pt x="2942" y="675"/>
                    </a:lnTo>
                    <a:lnTo>
                      <a:pt x="2947" y="673"/>
                    </a:lnTo>
                    <a:lnTo>
                      <a:pt x="2947" y="673"/>
                    </a:lnTo>
                    <a:lnTo>
                      <a:pt x="2945" y="678"/>
                    </a:lnTo>
                    <a:lnTo>
                      <a:pt x="2947" y="685"/>
                    </a:lnTo>
                    <a:lnTo>
                      <a:pt x="2950" y="688"/>
                    </a:lnTo>
                    <a:lnTo>
                      <a:pt x="2950" y="693"/>
                    </a:lnTo>
                    <a:lnTo>
                      <a:pt x="2949" y="695"/>
                    </a:lnTo>
                    <a:lnTo>
                      <a:pt x="2949" y="698"/>
                    </a:lnTo>
                    <a:lnTo>
                      <a:pt x="2954" y="701"/>
                    </a:lnTo>
                    <a:lnTo>
                      <a:pt x="2954" y="701"/>
                    </a:lnTo>
                    <a:close/>
                    <a:moveTo>
                      <a:pt x="2959" y="1055"/>
                    </a:moveTo>
                    <a:lnTo>
                      <a:pt x="2960" y="1055"/>
                    </a:lnTo>
                    <a:lnTo>
                      <a:pt x="2962" y="1054"/>
                    </a:lnTo>
                    <a:lnTo>
                      <a:pt x="2962" y="1050"/>
                    </a:lnTo>
                    <a:lnTo>
                      <a:pt x="2959" y="1047"/>
                    </a:lnTo>
                    <a:lnTo>
                      <a:pt x="2955" y="1050"/>
                    </a:lnTo>
                    <a:lnTo>
                      <a:pt x="2955" y="1052"/>
                    </a:lnTo>
                    <a:lnTo>
                      <a:pt x="2959" y="1055"/>
                    </a:lnTo>
                    <a:lnTo>
                      <a:pt x="2959" y="1055"/>
                    </a:lnTo>
                    <a:close/>
                    <a:moveTo>
                      <a:pt x="2934" y="1050"/>
                    </a:moveTo>
                    <a:lnTo>
                      <a:pt x="2932" y="1054"/>
                    </a:lnTo>
                    <a:lnTo>
                      <a:pt x="2936" y="1055"/>
                    </a:lnTo>
                    <a:lnTo>
                      <a:pt x="2941" y="1055"/>
                    </a:lnTo>
                    <a:lnTo>
                      <a:pt x="2941" y="1052"/>
                    </a:lnTo>
                    <a:lnTo>
                      <a:pt x="2936" y="1049"/>
                    </a:lnTo>
                    <a:lnTo>
                      <a:pt x="2934" y="1050"/>
                    </a:lnTo>
                    <a:lnTo>
                      <a:pt x="2934" y="1050"/>
                    </a:lnTo>
                    <a:close/>
                    <a:moveTo>
                      <a:pt x="2947" y="1087"/>
                    </a:moveTo>
                    <a:lnTo>
                      <a:pt x="2949" y="1087"/>
                    </a:lnTo>
                    <a:lnTo>
                      <a:pt x="2949" y="1082"/>
                    </a:lnTo>
                    <a:lnTo>
                      <a:pt x="2949" y="1078"/>
                    </a:lnTo>
                    <a:lnTo>
                      <a:pt x="2954" y="1077"/>
                    </a:lnTo>
                    <a:lnTo>
                      <a:pt x="2955" y="1072"/>
                    </a:lnTo>
                    <a:lnTo>
                      <a:pt x="2955" y="1068"/>
                    </a:lnTo>
                    <a:lnTo>
                      <a:pt x="2957" y="1065"/>
                    </a:lnTo>
                    <a:lnTo>
                      <a:pt x="2959" y="1062"/>
                    </a:lnTo>
                    <a:lnTo>
                      <a:pt x="2957" y="1059"/>
                    </a:lnTo>
                    <a:lnTo>
                      <a:pt x="2950" y="1052"/>
                    </a:lnTo>
                    <a:lnTo>
                      <a:pt x="2949" y="1055"/>
                    </a:lnTo>
                    <a:lnTo>
                      <a:pt x="2949" y="1063"/>
                    </a:lnTo>
                    <a:lnTo>
                      <a:pt x="2949" y="1067"/>
                    </a:lnTo>
                    <a:lnTo>
                      <a:pt x="2945" y="1068"/>
                    </a:lnTo>
                    <a:lnTo>
                      <a:pt x="2942" y="1073"/>
                    </a:lnTo>
                    <a:lnTo>
                      <a:pt x="2939" y="1073"/>
                    </a:lnTo>
                    <a:lnTo>
                      <a:pt x="2939" y="1075"/>
                    </a:lnTo>
                    <a:lnTo>
                      <a:pt x="2942" y="1078"/>
                    </a:lnTo>
                    <a:lnTo>
                      <a:pt x="2942" y="1082"/>
                    </a:lnTo>
                    <a:lnTo>
                      <a:pt x="2939" y="1083"/>
                    </a:lnTo>
                    <a:lnTo>
                      <a:pt x="2941" y="1085"/>
                    </a:lnTo>
                    <a:lnTo>
                      <a:pt x="2945" y="1083"/>
                    </a:lnTo>
                    <a:lnTo>
                      <a:pt x="2947" y="1087"/>
                    </a:lnTo>
                    <a:lnTo>
                      <a:pt x="2947" y="1087"/>
                    </a:lnTo>
                    <a:close/>
                    <a:moveTo>
                      <a:pt x="2942" y="1113"/>
                    </a:moveTo>
                    <a:lnTo>
                      <a:pt x="2942" y="1113"/>
                    </a:lnTo>
                    <a:lnTo>
                      <a:pt x="2944" y="1110"/>
                    </a:lnTo>
                    <a:lnTo>
                      <a:pt x="2942" y="1107"/>
                    </a:lnTo>
                    <a:lnTo>
                      <a:pt x="2942" y="1103"/>
                    </a:lnTo>
                    <a:lnTo>
                      <a:pt x="2941" y="1102"/>
                    </a:lnTo>
                    <a:lnTo>
                      <a:pt x="2941" y="1107"/>
                    </a:lnTo>
                    <a:lnTo>
                      <a:pt x="2939" y="1110"/>
                    </a:lnTo>
                    <a:lnTo>
                      <a:pt x="2942" y="1113"/>
                    </a:lnTo>
                    <a:lnTo>
                      <a:pt x="2942" y="1113"/>
                    </a:lnTo>
                    <a:close/>
                    <a:moveTo>
                      <a:pt x="2944" y="1122"/>
                    </a:moveTo>
                    <a:lnTo>
                      <a:pt x="2945" y="1122"/>
                    </a:lnTo>
                    <a:lnTo>
                      <a:pt x="2945" y="1118"/>
                    </a:lnTo>
                    <a:lnTo>
                      <a:pt x="2941" y="1117"/>
                    </a:lnTo>
                    <a:lnTo>
                      <a:pt x="2941" y="1118"/>
                    </a:lnTo>
                    <a:lnTo>
                      <a:pt x="2941" y="1120"/>
                    </a:lnTo>
                    <a:lnTo>
                      <a:pt x="2944" y="1122"/>
                    </a:lnTo>
                    <a:lnTo>
                      <a:pt x="2944" y="1122"/>
                    </a:lnTo>
                    <a:close/>
                    <a:moveTo>
                      <a:pt x="2934" y="1128"/>
                    </a:moveTo>
                    <a:lnTo>
                      <a:pt x="2936" y="1128"/>
                    </a:lnTo>
                    <a:lnTo>
                      <a:pt x="2936" y="1127"/>
                    </a:lnTo>
                    <a:lnTo>
                      <a:pt x="2934" y="1125"/>
                    </a:lnTo>
                    <a:lnTo>
                      <a:pt x="2932" y="1127"/>
                    </a:lnTo>
                    <a:lnTo>
                      <a:pt x="2934" y="1128"/>
                    </a:lnTo>
                    <a:lnTo>
                      <a:pt x="2934" y="1128"/>
                    </a:lnTo>
                    <a:close/>
                    <a:moveTo>
                      <a:pt x="2937" y="1138"/>
                    </a:moveTo>
                    <a:lnTo>
                      <a:pt x="2939" y="1137"/>
                    </a:lnTo>
                    <a:lnTo>
                      <a:pt x="2942" y="1135"/>
                    </a:lnTo>
                    <a:lnTo>
                      <a:pt x="2942" y="1132"/>
                    </a:lnTo>
                    <a:lnTo>
                      <a:pt x="2941" y="1130"/>
                    </a:lnTo>
                    <a:lnTo>
                      <a:pt x="2939" y="1133"/>
                    </a:lnTo>
                    <a:lnTo>
                      <a:pt x="2937" y="1138"/>
                    </a:lnTo>
                    <a:lnTo>
                      <a:pt x="2937" y="1138"/>
                    </a:lnTo>
                    <a:close/>
                    <a:moveTo>
                      <a:pt x="2932" y="1165"/>
                    </a:moveTo>
                    <a:lnTo>
                      <a:pt x="2934" y="1163"/>
                    </a:lnTo>
                    <a:lnTo>
                      <a:pt x="2931" y="1163"/>
                    </a:lnTo>
                    <a:lnTo>
                      <a:pt x="2929" y="1163"/>
                    </a:lnTo>
                    <a:lnTo>
                      <a:pt x="2932" y="1165"/>
                    </a:lnTo>
                    <a:lnTo>
                      <a:pt x="2932" y="1165"/>
                    </a:lnTo>
                    <a:close/>
                    <a:moveTo>
                      <a:pt x="2931" y="1180"/>
                    </a:moveTo>
                    <a:lnTo>
                      <a:pt x="2932" y="1176"/>
                    </a:lnTo>
                    <a:lnTo>
                      <a:pt x="2931" y="1175"/>
                    </a:lnTo>
                    <a:lnTo>
                      <a:pt x="2929" y="1176"/>
                    </a:lnTo>
                    <a:lnTo>
                      <a:pt x="2931" y="1180"/>
                    </a:lnTo>
                    <a:lnTo>
                      <a:pt x="2931" y="1180"/>
                    </a:lnTo>
                    <a:close/>
                    <a:moveTo>
                      <a:pt x="2929" y="1183"/>
                    </a:moveTo>
                    <a:lnTo>
                      <a:pt x="2931" y="1186"/>
                    </a:lnTo>
                    <a:lnTo>
                      <a:pt x="2931" y="1185"/>
                    </a:lnTo>
                    <a:lnTo>
                      <a:pt x="2929" y="1183"/>
                    </a:lnTo>
                    <a:lnTo>
                      <a:pt x="2929" y="1183"/>
                    </a:lnTo>
                    <a:close/>
                    <a:moveTo>
                      <a:pt x="2924" y="1191"/>
                    </a:moveTo>
                    <a:lnTo>
                      <a:pt x="2926" y="1193"/>
                    </a:lnTo>
                    <a:lnTo>
                      <a:pt x="2927" y="1193"/>
                    </a:lnTo>
                    <a:lnTo>
                      <a:pt x="2927" y="1191"/>
                    </a:lnTo>
                    <a:lnTo>
                      <a:pt x="2926" y="1190"/>
                    </a:lnTo>
                    <a:lnTo>
                      <a:pt x="2924" y="1191"/>
                    </a:lnTo>
                    <a:lnTo>
                      <a:pt x="2924" y="1191"/>
                    </a:lnTo>
                    <a:close/>
                    <a:moveTo>
                      <a:pt x="2921" y="1210"/>
                    </a:moveTo>
                    <a:lnTo>
                      <a:pt x="2922" y="1208"/>
                    </a:lnTo>
                    <a:lnTo>
                      <a:pt x="2924" y="1200"/>
                    </a:lnTo>
                    <a:lnTo>
                      <a:pt x="2921" y="1200"/>
                    </a:lnTo>
                    <a:lnTo>
                      <a:pt x="2921" y="1203"/>
                    </a:lnTo>
                    <a:lnTo>
                      <a:pt x="2919" y="1210"/>
                    </a:lnTo>
                    <a:lnTo>
                      <a:pt x="2921" y="1210"/>
                    </a:lnTo>
                    <a:lnTo>
                      <a:pt x="2921" y="1210"/>
                    </a:lnTo>
                    <a:close/>
                    <a:moveTo>
                      <a:pt x="2879" y="1259"/>
                    </a:moveTo>
                    <a:lnTo>
                      <a:pt x="2881" y="1261"/>
                    </a:lnTo>
                    <a:lnTo>
                      <a:pt x="2886" y="1256"/>
                    </a:lnTo>
                    <a:lnTo>
                      <a:pt x="2889" y="1251"/>
                    </a:lnTo>
                    <a:lnTo>
                      <a:pt x="2892" y="1248"/>
                    </a:lnTo>
                    <a:lnTo>
                      <a:pt x="2892" y="1245"/>
                    </a:lnTo>
                    <a:lnTo>
                      <a:pt x="2894" y="1240"/>
                    </a:lnTo>
                    <a:lnTo>
                      <a:pt x="2899" y="1233"/>
                    </a:lnTo>
                    <a:lnTo>
                      <a:pt x="2897" y="1235"/>
                    </a:lnTo>
                    <a:lnTo>
                      <a:pt x="2892" y="1235"/>
                    </a:lnTo>
                    <a:lnTo>
                      <a:pt x="2889" y="1240"/>
                    </a:lnTo>
                    <a:lnTo>
                      <a:pt x="2887" y="1241"/>
                    </a:lnTo>
                    <a:lnTo>
                      <a:pt x="2886" y="1245"/>
                    </a:lnTo>
                    <a:lnTo>
                      <a:pt x="2884" y="1248"/>
                    </a:lnTo>
                    <a:lnTo>
                      <a:pt x="2884" y="1250"/>
                    </a:lnTo>
                    <a:lnTo>
                      <a:pt x="2881" y="1253"/>
                    </a:lnTo>
                    <a:lnTo>
                      <a:pt x="2879" y="1259"/>
                    </a:lnTo>
                    <a:lnTo>
                      <a:pt x="2879" y="1259"/>
                    </a:lnTo>
                    <a:close/>
                    <a:moveTo>
                      <a:pt x="2834" y="1308"/>
                    </a:moveTo>
                    <a:lnTo>
                      <a:pt x="2836" y="1308"/>
                    </a:lnTo>
                    <a:lnTo>
                      <a:pt x="2838" y="1303"/>
                    </a:lnTo>
                    <a:lnTo>
                      <a:pt x="2841" y="1299"/>
                    </a:lnTo>
                    <a:lnTo>
                      <a:pt x="2839" y="1294"/>
                    </a:lnTo>
                    <a:lnTo>
                      <a:pt x="2843" y="1293"/>
                    </a:lnTo>
                    <a:lnTo>
                      <a:pt x="2843" y="1289"/>
                    </a:lnTo>
                    <a:lnTo>
                      <a:pt x="2844" y="1288"/>
                    </a:lnTo>
                    <a:lnTo>
                      <a:pt x="2847" y="1289"/>
                    </a:lnTo>
                    <a:lnTo>
                      <a:pt x="2851" y="1286"/>
                    </a:lnTo>
                    <a:lnTo>
                      <a:pt x="2854" y="1279"/>
                    </a:lnTo>
                    <a:lnTo>
                      <a:pt x="2859" y="1274"/>
                    </a:lnTo>
                    <a:lnTo>
                      <a:pt x="2864" y="1274"/>
                    </a:lnTo>
                    <a:lnTo>
                      <a:pt x="2867" y="1271"/>
                    </a:lnTo>
                    <a:lnTo>
                      <a:pt x="2867" y="1268"/>
                    </a:lnTo>
                    <a:lnTo>
                      <a:pt x="2866" y="1263"/>
                    </a:lnTo>
                    <a:lnTo>
                      <a:pt x="2862" y="1264"/>
                    </a:lnTo>
                    <a:lnTo>
                      <a:pt x="2857" y="1269"/>
                    </a:lnTo>
                    <a:lnTo>
                      <a:pt x="2857" y="1273"/>
                    </a:lnTo>
                    <a:lnTo>
                      <a:pt x="2854" y="1273"/>
                    </a:lnTo>
                    <a:lnTo>
                      <a:pt x="2851" y="1274"/>
                    </a:lnTo>
                    <a:lnTo>
                      <a:pt x="2847" y="1274"/>
                    </a:lnTo>
                    <a:lnTo>
                      <a:pt x="2846" y="1271"/>
                    </a:lnTo>
                    <a:lnTo>
                      <a:pt x="2844" y="1271"/>
                    </a:lnTo>
                    <a:lnTo>
                      <a:pt x="2843" y="1274"/>
                    </a:lnTo>
                    <a:lnTo>
                      <a:pt x="2844" y="1278"/>
                    </a:lnTo>
                    <a:lnTo>
                      <a:pt x="2843" y="1281"/>
                    </a:lnTo>
                    <a:lnTo>
                      <a:pt x="2841" y="1284"/>
                    </a:lnTo>
                    <a:lnTo>
                      <a:pt x="2838" y="1284"/>
                    </a:lnTo>
                    <a:lnTo>
                      <a:pt x="2838" y="1288"/>
                    </a:lnTo>
                    <a:lnTo>
                      <a:pt x="2838" y="1291"/>
                    </a:lnTo>
                    <a:lnTo>
                      <a:pt x="2833" y="1293"/>
                    </a:lnTo>
                    <a:lnTo>
                      <a:pt x="2833" y="1296"/>
                    </a:lnTo>
                    <a:lnTo>
                      <a:pt x="2834" y="1298"/>
                    </a:lnTo>
                    <a:lnTo>
                      <a:pt x="2833" y="1299"/>
                    </a:lnTo>
                    <a:lnTo>
                      <a:pt x="2833" y="1303"/>
                    </a:lnTo>
                    <a:lnTo>
                      <a:pt x="2834" y="1308"/>
                    </a:lnTo>
                    <a:lnTo>
                      <a:pt x="2834" y="1308"/>
                    </a:lnTo>
                    <a:close/>
                    <a:moveTo>
                      <a:pt x="2813" y="1338"/>
                    </a:moveTo>
                    <a:lnTo>
                      <a:pt x="2813" y="1338"/>
                    </a:lnTo>
                    <a:lnTo>
                      <a:pt x="2814" y="1331"/>
                    </a:lnTo>
                    <a:lnTo>
                      <a:pt x="2816" y="1321"/>
                    </a:lnTo>
                    <a:lnTo>
                      <a:pt x="2818" y="1319"/>
                    </a:lnTo>
                    <a:lnTo>
                      <a:pt x="2824" y="1314"/>
                    </a:lnTo>
                    <a:lnTo>
                      <a:pt x="2824" y="1309"/>
                    </a:lnTo>
                    <a:lnTo>
                      <a:pt x="2823" y="1309"/>
                    </a:lnTo>
                    <a:lnTo>
                      <a:pt x="2819" y="1311"/>
                    </a:lnTo>
                    <a:lnTo>
                      <a:pt x="2818" y="1309"/>
                    </a:lnTo>
                    <a:lnTo>
                      <a:pt x="2814" y="1308"/>
                    </a:lnTo>
                    <a:lnTo>
                      <a:pt x="2813" y="1309"/>
                    </a:lnTo>
                    <a:lnTo>
                      <a:pt x="2813" y="1314"/>
                    </a:lnTo>
                    <a:lnTo>
                      <a:pt x="2811" y="1319"/>
                    </a:lnTo>
                    <a:lnTo>
                      <a:pt x="2811" y="1326"/>
                    </a:lnTo>
                    <a:lnTo>
                      <a:pt x="2808" y="1329"/>
                    </a:lnTo>
                    <a:lnTo>
                      <a:pt x="2809" y="1333"/>
                    </a:lnTo>
                    <a:lnTo>
                      <a:pt x="2813" y="1338"/>
                    </a:lnTo>
                    <a:lnTo>
                      <a:pt x="2813" y="1338"/>
                    </a:lnTo>
                    <a:close/>
                    <a:moveTo>
                      <a:pt x="50" y="985"/>
                    </a:moveTo>
                    <a:lnTo>
                      <a:pt x="50" y="985"/>
                    </a:lnTo>
                    <a:lnTo>
                      <a:pt x="49" y="989"/>
                    </a:lnTo>
                    <a:lnTo>
                      <a:pt x="54" y="992"/>
                    </a:lnTo>
                    <a:lnTo>
                      <a:pt x="55" y="989"/>
                    </a:lnTo>
                    <a:lnTo>
                      <a:pt x="50" y="9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7" name="Freeform 32"/>
              <p:cNvSpPr>
                <a:spLocks noEditPoints="1"/>
              </p:cNvSpPr>
              <p:nvPr/>
            </p:nvSpPr>
            <p:spPr bwMode="auto">
              <a:xfrm>
                <a:off x="6501704" y="2523688"/>
                <a:ext cx="82409" cy="56030"/>
              </a:xfrm>
              <a:custGeom>
                <a:avLst/>
                <a:gdLst/>
                <a:ahLst/>
                <a:cxnLst>
                  <a:cxn ang="0">
                    <a:pos x="120" y="104"/>
                  </a:cxn>
                  <a:cxn ang="0">
                    <a:pos x="121" y="96"/>
                  </a:cxn>
                  <a:cxn ang="0">
                    <a:pos x="111" y="96"/>
                  </a:cxn>
                  <a:cxn ang="0">
                    <a:pos x="111" y="103"/>
                  </a:cxn>
                  <a:cxn ang="0">
                    <a:pos x="144" y="81"/>
                  </a:cxn>
                  <a:cxn ang="0">
                    <a:pos x="149" y="78"/>
                  </a:cxn>
                  <a:cxn ang="0">
                    <a:pos x="96" y="70"/>
                  </a:cxn>
                  <a:cxn ang="0">
                    <a:pos x="86" y="86"/>
                  </a:cxn>
                  <a:cxn ang="0">
                    <a:pos x="81" y="79"/>
                  </a:cxn>
                  <a:cxn ang="0">
                    <a:pos x="70" y="71"/>
                  </a:cxn>
                  <a:cxn ang="0">
                    <a:pos x="73" y="61"/>
                  </a:cxn>
                  <a:cxn ang="0">
                    <a:pos x="81" y="68"/>
                  </a:cxn>
                  <a:cxn ang="0">
                    <a:pos x="81" y="63"/>
                  </a:cxn>
                  <a:cxn ang="0">
                    <a:pos x="95" y="55"/>
                  </a:cxn>
                  <a:cxn ang="0">
                    <a:pos x="90" y="71"/>
                  </a:cxn>
                  <a:cxn ang="0">
                    <a:pos x="93" y="79"/>
                  </a:cxn>
                  <a:cxn ang="0">
                    <a:pos x="86" y="86"/>
                  </a:cxn>
                  <a:cxn ang="0">
                    <a:pos x="95" y="86"/>
                  </a:cxn>
                  <a:cxn ang="0">
                    <a:pos x="88" y="88"/>
                  </a:cxn>
                  <a:cxn ang="0">
                    <a:pos x="80" y="93"/>
                  </a:cxn>
                  <a:cxn ang="0">
                    <a:pos x="88" y="91"/>
                  </a:cxn>
                  <a:cxn ang="0">
                    <a:pos x="83" y="94"/>
                  </a:cxn>
                  <a:cxn ang="0">
                    <a:pos x="65" y="93"/>
                  </a:cxn>
                  <a:cxn ang="0">
                    <a:pos x="70" y="88"/>
                  </a:cxn>
                  <a:cxn ang="0">
                    <a:pos x="55" y="56"/>
                  </a:cxn>
                  <a:cxn ang="0">
                    <a:pos x="53" y="66"/>
                  </a:cxn>
                  <a:cxn ang="0">
                    <a:pos x="50" y="89"/>
                  </a:cxn>
                  <a:cxn ang="0">
                    <a:pos x="58" y="91"/>
                  </a:cxn>
                  <a:cxn ang="0">
                    <a:pos x="65" y="84"/>
                  </a:cxn>
                  <a:cxn ang="0">
                    <a:pos x="46" y="70"/>
                  </a:cxn>
                  <a:cxn ang="0">
                    <a:pos x="60" y="81"/>
                  </a:cxn>
                  <a:cxn ang="0">
                    <a:pos x="45" y="84"/>
                  </a:cxn>
                  <a:cxn ang="0">
                    <a:pos x="40" y="71"/>
                  </a:cxn>
                  <a:cxn ang="0">
                    <a:pos x="63" y="16"/>
                  </a:cxn>
                  <a:cxn ang="0">
                    <a:pos x="15" y="31"/>
                  </a:cxn>
                  <a:cxn ang="0">
                    <a:pos x="18" y="35"/>
                  </a:cxn>
                  <a:cxn ang="0">
                    <a:pos x="13" y="33"/>
                  </a:cxn>
                  <a:cxn ang="0">
                    <a:pos x="27" y="25"/>
                  </a:cxn>
                  <a:cxn ang="0">
                    <a:pos x="45" y="26"/>
                  </a:cxn>
                  <a:cxn ang="0">
                    <a:pos x="51" y="11"/>
                  </a:cxn>
                  <a:cxn ang="0">
                    <a:pos x="46" y="6"/>
                  </a:cxn>
                  <a:cxn ang="0">
                    <a:pos x="32" y="18"/>
                  </a:cxn>
                  <a:cxn ang="0">
                    <a:pos x="13" y="25"/>
                  </a:cxn>
                  <a:cxn ang="0">
                    <a:pos x="7" y="35"/>
                  </a:cxn>
                  <a:cxn ang="0">
                    <a:pos x="35" y="91"/>
                  </a:cxn>
                  <a:cxn ang="0">
                    <a:pos x="32" y="84"/>
                  </a:cxn>
                  <a:cxn ang="0">
                    <a:pos x="32" y="75"/>
                  </a:cxn>
                  <a:cxn ang="0">
                    <a:pos x="43" y="63"/>
                  </a:cxn>
                  <a:cxn ang="0">
                    <a:pos x="48" y="53"/>
                  </a:cxn>
                  <a:cxn ang="0">
                    <a:pos x="60" y="51"/>
                  </a:cxn>
                  <a:cxn ang="0">
                    <a:pos x="60" y="41"/>
                  </a:cxn>
                  <a:cxn ang="0">
                    <a:pos x="46" y="36"/>
                  </a:cxn>
                  <a:cxn ang="0">
                    <a:pos x="41" y="26"/>
                  </a:cxn>
                  <a:cxn ang="0">
                    <a:pos x="25" y="30"/>
                  </a:cxn>
                  <a:cxn ang="0">
                    <a:pos x="32" y="43"/>
                  </a:cxn>
                  <a:cxn ang="0">
                    <a:pos x="27" y="38"/>
                  </a:cxn>
                  <a:cxn ang="0">
                    <a:pos x="20" y="41"/>
                  </a:cxn>
                  <a:cxn ang="0">
                    <a:pos x="7" y="40"/>
                  </a:cxn>
                  <a:cxn ang="0">
                    <a:pos x="5" y="48"/>
                  </a:cxn>
                  <a:cxn ang="0">
                    <a:pos x="7" y="61"/>
                  </a:cxn>
                  <a:cxn ang="0">
                    <a:pos x="3" y="75"/>
                  </a:cxn>
                  <a:cxn ang="0">
                    <a:pos x="12" y="84"/>
                  </a:cxn>
                  <a:cxn ang="0">
                    <a:pos x="32" y="91"/>
                  </a:cxn>
                </a:cxnLst>
                <a:rect l="0" t="0" r="r" b="b"/>
                <a:pathLst>
                  <a:path w="153" h="108">
                    <a:moveTo>
                      <a:pt x="110" y="106"/>
                    </a:moveTo>
                    <a:lnTo>
                      <a:pt x="111" y="106"/>
                    </a:lnTo>
                    <a:lnTo>
                      <a:pt x="116" y="108"/>
                    </a:lnTo>
                    <a:lnTo>
                      <a:pt x="120" y="104"/>
                    </a:lnTo>
                    <a:lnTo>
                      <a:pt x="123" y="106"/>
                    </a:lnTo>
                    <a:lnTo>
                      <a:pt x="123" y="103"/>
                    </a:lnTo>
                    <a:lnTo>
                      <a:pt x="121" y="99"/>
                    </a:lnTo>
                    <a:lnTo>
                      <a:pt x="121" y="96"/>
                    </a:lnTo>
                    <a:lnTo>
                      <a:pt x="118" y="96"/>
                    </a:lnTo>
                    <a:lnTo>
                      <a:pt x="116" y="96"/>
                    </a:lnTo>
                    <a:lnTo>
                      <a:pt x="115" y="96"/>
                    </a:lnTo>
                    <a:lnTo>
                      <a:pt x="111" y="96"/>
                    </a:lnTo>
                    <a:lnTo>
                      <a:pt x="111" y="99"/>
                    </a:lnTo>
                    <a:lnTo>
                      <a:pt x="115" y="99"/>
                    </a:lnTo>
                    <a:lnTo>
                      <a:pt x="115" y="101"/>
                    </a:lnTo>
                    <a:lnTo>
                      <a:pt x="111" y="103"/>
                    </a:lnTo>
                    <a:lnTo>
                      <a:pt x="110" y="106"/>
                    </a:lnTo>
                    <a:lnTo>
                      <a:pt x="110" y="106"/>
                    </a:lnTo>
                    <a:close/>
                    <a:moveTo>
                      <a:pt x="144" y="75"/>
                    </a:moveTo>
                    <a:lnTo>
                      <a:pt x="144" y="81"/>
                    </a:lnTo>
                    <a:lnTo>
                      <a:pt x="144" y="84"/>
                    </a:lnTo>
                    <a:lnTo>
                      <a:pt x="153" y="88"/>
                    </a:lnTo>
                    <a:lnTo>
                      <a:pt x="153" y="83"/>
                    </a:lnTo>
                    <a:lnTo>
                      <a:pt x="149" y="78"/>
                    </a:lnTo>
                    <a:lnTo>
                      <a:pt x="144" y="75"/>
                    </a:lnTo>
                    <a:lnTo>
                      <a:pt x="144" y="75"/>
                    </a:lnTo>
                    <a:close/>
                    <a:moveTo>
                      <a:pt x="98" y="65"/>
                    </a:moveTo>
                    <a:lnTo>
                      <a:pt x="96" y="70"/>
                    </a:lnTo>
                    <a:lnTo>
                      <a:pt x="100" y="71"/>
                    </a:lnTo>
                    <a:lnTo>
                      <a:pt x="98" y="65"/>
                    </a:lnTo>
                    <a:lnTo>
                      <a:pt x="98" y="65"/>
                    </a:lnTo>
                    <a:close/>
                    <a:moveTo>
                      <a:pt x="86" y="86"/>
                    </a:moveTo>
                    <a:lnTo>
                      <a:pt x="81" y="86"/>
                    </a:lnTo>
                    <a:lnTo>
                      <a:pt x="80" y="84"/>
                    </a:lnTo>
                    <a:lnTo>
                      <a:pt x="81" y="83"/>
                    </a:lnTo>
                    <a:lnTo>
                      <a:pt x="81" y="79"/>
                    </a:lnTo>
                    <a:lnTo>
                      <a:pt x="76" y="79"/>
                    </a:lnTo>
                    <a:lnTo>
                      <a:pt x="73" y="79"/>
                    </a:lnTo>
                    <a:lnTo>
                      <a:pt x="70" y="76"/>
                    </a:lnTo>
                    <a:lnTo>
                      <a:pt x="70" y="71"/>
                    </a:lnTo>
                    <a:lnTo>
                      <a:pt x="68" y="68"/>
                    </a:lnTo>
                    <a:lnTo>
                      <a:pt x="68" y="66"/>
                    </a:lnTo>
                    <a:lnTo>
                      <a:pt x="70" y="65"/>
                    </a:lnTo>
                    <a:lnTo>
                      <a:pt x="73" y="61"/>
                    </a:lnTo>
                    <a:lnTo>
                      <a:pt x="75" y="60"/>
                    </a:lnTo>
                    <a:lnTo>
                      <a:pt x="76" y="63"/>
                    </a:lnTo>
                    <a:lnTo>
                      <a:pt x="76" y="65"/>
                    </a:lnTo>
                    <a:lnTo>
                      <a:pt x="81" y="68"/>
                    </a:lnTo>
                    <a:lnTo>
                      <a:pt x="83" y="66"/>
                    </a:lnTo>
                    <a:lnTo>
                      <a:pt x="85" y="66"/>
                    </a:lnTo>
                    <a:lnTo>
                      <a:pt x="85" y="65"/>
                    </a:lnTo>
                    <a:lnTo>
                      <a:pt x="81" y="63"/>
                    </a:lnTo>
                    <a:lnTo>
                      <a:pt x="80" y="60"/>
                    </a:lnTo>
                    <a:lnTo>
                      <a:pt x="83" y="56"/>
                    </a:lnTo>
                    <a:lnTo>
                      <a:pt x="88" y="55"/>
                    </a:lnTo>
                    <a:lnTo>
                      <a:pt x="95" y="55"/>
                    </a:lnTo>
                    <a:lnTo>
                      <a:pt x="96" y="58"/>
                    </a:lnTo>
                    <a:lnTo>
                      <a:pt x="96" y="63"/>
                    </a:lnTo>
                    <a:lnTo>
                      <a:pt x="95" y="68"/>
                    </a:lnTo>
                    <a:lnTo>
                      <a:pt x="90" y="71"/>
                    </a:lnTo>
                    <a:lnTo>
                      <a:pt x="90" y="73"/>
                    </a:lnTo>
                    <a:lnTo>
                      <a:pt x="95" y="75"/>
                    </a:lnTo>
                    <a:lnTo>
                      <a:pt x="95" y="78"/>
                    </a:lnTo>
                    <a:lnTo>
                      <a:pt x="93" y="79"/>
                    </a:lnTo>
                    <a:lnTo>
                      <a:pt x="88" y="81"/>
                    </a:lnTo>
                    <a:lnTo>
                      <a:pt x="88" y="84"/>
                    </a:lnTo>
                    <a:lnTo>
                      <a:pt x="86" y="86"/>
                    </a:lnTo>
                    <a:lnTo>
                      <a:pt x="86" y="86"/>
                    </a:lnTo>
                    <a:close/>
                    <a:moveTo>
                      <a:pt x="88" y="88"/>
                    </a:moveTo>
                    <a:lnTo>
                      <a:pt x="90" y="89"/>
                    </a:lnTo>
                    <a:lnTo>
                      <a:pt x="91" y="86"/>
                    </a:lnTo>
                    <a:lnTo>
                      <a:pt x="95" y="86"/>
                    </a:lnTo>
                    <a:lnTo>
                      <a:pt x="95" y="84"/>
                    </a:lnTo>
                    <a:lnTo>
                      <a:pt x="90" y="84"/>
                    </a:lnTo>
                    <a:lnTo>
                      <a:pt x="88" y="88"/>
                    </a:lnTo>
                    <a:lnTo>
                      <a:pt x="88" y="88"/>
                    </a:lnTo>
                    <a:close/>
                    <a:moveTo>
                      <a:pt x="70" y="88"/>
                    </a:moveTo>
                    <a:lnTo>
                      <a:pt x="75" y="93"/>
                    </a:lnTo>
                    <a:lnTo>
                      <a:pt x="78" y="93"/>
                    </a:lnTo>
                    <a:lnTo>
                      <a:pt x="80" y="93"/>
                    </a:lnTo>
                    <a:lnTo>
                      <a:pt x="81" y="89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8" y="91"/>
                    </a:lnTo>
                    <a:lnTo>
                      <a:pt x="85" y="94"/>
                    </a:lnTo>
                    <a:lnTo>
                      <a:pt x="85" y="99"/>
                    </a:lnTo>
                    <a:lnTo>
                      <a:pt x="85" y="98"/>
                    </a:lnTo>
                    <a:lnTo>
                      <a:pt x="83" y="94"/>
                    </a:lnTo>
                    <a:lnTo>
                      <a:pt x="81" y="98"/>
                    </a:lnTo>
                    <a:lnTo>
                      <a:pt x="73" y="98"/>
                    </a:lnTo>
                    <a:lnTo>
                      <a:pt x="66" y="96"/>
                    </a:lnTo>
                    <a:lnTo>
                      <a:pt x="65" y="93"/>
                    </a:lnTo>
                    <a:lnTo>
                      <a:pt x="68" y="93"/>
                    </a:lnTo>
                    <a:lnTo>
                      <a:pt x="66" y="91"/>
                    </a:lnTo>
                    <a:lnTo>
                      <a:pt x="68" y="88"/>
                    </a:lnTo>
                    <a:lnTo>
                      <a:pt x="70" y="88"/>
                    </a:lnTo>
                    <a:lnTo>
                      <a:pt x="70" y="88"/>
                    </a:lnTo>
                    <a:close/>
                    <a:moveTo>
                      <a:pt x="53" y="66"/>
                    </a:moveTo>
                    <a:lnTo>
                      <a:pt x="55" y="61"/>
                    </a:lnTo>
                    <a:lnTo>
                      <a:pt x="55" y="56"/>
                    </a:lnTo>
                    <a:lnTo>
                      <a:pt x="56" y="61"/>
                    </a:lnTo>
                    <a:lnTo>
                      <a:pt x="56" y="65"/>
                    </a:lnTo>
                    <a:lnTo>
                      <a:pt x="53" y="66"/>
                    </a:lnTo>
                    <a:lnTo>
                      <a:pt x="53" y="66"/>
                    </a:lnTo>
                    <a:close/>
                    <a:moveTo>
                      <a:pt x="50" y="89"/>
                    </a:moveTo>
                    <a:lnTo>
                      <a:pt x="55" y="93"/>
                    </a:lnTo>
                    <a:lnTo>
                      <a:pt x="56" y="91"/>
                    </a:lnTo>
                    <a:lnTo>
                      <a:pt x="50" y="89"/>
                    </a:lnTo>
                    <a:lnTo>
                      <a:pt x="50" y="89"/>
                    </a:lnTo>
                    <a:close/>
                    <a:moveTo>
                      <a:pt x="61" y="81"/>
                    </a:moveTo>
                    <a:lnTo>
                      <a:pt x="60" y="88"/>
                    </a:lnTo>
                    <a:lnTo>
                      <a:pt x="58" y="91"/>
                    </a:lnTo>
                    <a:lnTo>
                      <a:pt x="60" y="93"/>
                    </a:lnTo>
                    <a:lnTo>
                      <a:pt x="61" y="89"/>
                    </a:lnTo>
                    <a:lnTo>
                      <a:pt x="65" y="84"/>
                    </a:lnTo>
                    <a:lnTo>
                      <a:pt x="65" y="84"/>
                    </a:lnTo>
                    <a:lnTo>
                      <a:pt x="61" y="81"/>
                    </a:lnTo>
                    <a:lnTo>
                      <a:pt x="61" y="81"/>
                    </a:lnTo>
                    <a:close/>
                    <a:moveTo>
                      <a:pt x="40" y="71"/>
                    </a:moveTo>
                    <a:lnTo>
                      <a:pt x="46" y="70"/>
                    </a:lnTo>
                    <a:lnTo>
                      <a:pt x="51" y="71"/>
                    </a:lnTo>
                    <a:lnTo>
                      <a:pt x="55" y="71"/>
                    </a:lnTo>
                    <a:lnTo>
                      <a:pt x="58" y="78"/>
                    </a:lnTo>
                    <a:lnTo>
                      <a:pt x="60" y="81"/>
                    </a:lnTo>
                    <a:lnTo>
                      <a:pt x="56" y="86"/>
                    </a:lnTo>
                    <a:lnTo>
                      <a:pt x="51" y="88"/>
                    </a:lnTo>
                    <a:lnTo>
                      <a:pt x="50" y="86"/>
                    </a:lnTo>
                    <a:lnTo>
                      <a:pt x="45" y="84"/>
                    </a:lnTo>
                    <a:lnTo>
                      <a:pt x="41" y="81"/>
                    </a:lnTo>
                    <a:lnTo>
                      <a:pt x="38" y="76"/>
                    </a:lnTo>
                    <a:lnTo>
                      <a:pt x="40" y="71"/>
                    </a:lnTo>
                    <a:lnTo>
                      <a:pt x="40" y="71"/>
                    </a:lnTo>
                    <a:close/>
                    <a:moveTo>
                      <a:pt x="58" y="16"/>
                    </a:moveTo>
                    <a:lnTo>
                      <a:pt x="61" y="13"/>
                    </a:lnTo>
                    <a:lnTo>
                      <a:pt x="66" y="13"/>
                    </a:lnTo>
                    <a:lnTo>
                      <a:pt x="63" y="16"/>
                    </a:lnTo>
                    <a:lnTo>
                      <a:pt x="58" y="16"/>
                    </a:lnTo>
                    <a:lnTo>
                      <a:pt x="58" y="16"/>
                    </a:lnTo>
                    <a:close/>
                    <a:moveTo>
                      <a:pt x="15" y="36"/>
                    </a:moveTo>
                    <a:lnTo>
                      <a:pt x="15" y="31"/>
                    </a:lnTo>
                    <a:lnTo>
                      <a:pt x="18" y="28"/>
                    </a:lnTo>
                    <a:lnTo>
                      <a:pt x="23" y="28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15" y="36"/>
                    </a:lnTo>
                    <a:lnTo>
                      <a:pt x="15" y="36"/>
                    </a:lnTo>
                    <a:close/>
                    <a:moveTo>
                      <a:pt x="15" y="38"/>
                    </a:moveTo>
                    <a:lnTo>
                      <a:pt x="13" y="33"/>
                    </a:lnTo>
                    <a:lnTo>
                      <a:pt x="15" y="30"/>
                    </a:lnTo>
                    <a:lnTo>
                      <a:pt x="22" y="25"/>
                    </a:lnTo>
                    <a:lnTo>
                      <a:pt x="23" y="26"/>
                    </a:lnTo>
                    <a:lnTo>
                      <a:pt x="27" y="25"/>
                    </a:lnTo>
                    <a:lnTo>
                      <a:pt x="33" y="26"/>
                    </a:lnTo>
                    <a:lnTo>
                      <a:pt x="37" y="25"/>
                    </a:lnTo>
                    <a:lnTo>
                      <a:pt x="41" y="25"/>
                    </a:lnTo>
                    <a:lnTo>
                      <a:pt x="45" y="26"/>
                    </a:lnTo>
                    <a:lnTo>
                      <a:pt x="48" y="26"/>
                    </a:lnTo>
                    <a:lnTo>
                      <a:pt x="51" y="18"/>
                    </a:lnTo>
                    <a:lnTo>
                      <a:pt x="51" y="13"/>
                    </a:lnTo>
                    <a:lnTo>
                      <a:pt x="51" y="11"/>
                    </a:lnTo>
                    <a:lnTo>
                      <a:pt x="51" y="8"/>
                    </a:lnTo>
                    <a:lnTo>
                      <a:pt x="55" y="1"/>
                    </a:lnTo>
                    <a:lnTo>
                      <a:pt x="53" y="0"/>
                    </a:lnTo>
                    <a:lnTo>
                      <a:pt x="46" y="6"/>
                    </a:lnTo>
                    <a:lnTo>
                      <a:pt x="41" y="8"/>
                    </a:lnTo>
                    <a:lnTo>
                      <a:pt x="37" y="10"/>
                    </a:lnTo>
                    <a:lnTo>
                      <a:pt x="33" y="13"/>
                    </a:lnTo>
                    <a:lnTo>
                      <a:pt x="32" y="18"/>
                    </a:lnTo>
                    <a:lnTo>
                      <a:pt x="27" y="21"/>
                    </a:lnTo>
                    <a:lnTo>
                      <a:pt x="22" y="21"/>
                    </a:lnTo>
                    <a:lnTo>
                      <a:pt x="15" y="26"/>
                    </a:lnTo>
                    <a:lnTo>
                      <a:pt x="13" y="25"/>
                    </a:lnTo>
                    <a:lnTo>
                      <a:pt x="10" y="25"/>
                    </a:lnTo>
                    <a:lnTo>
                      <a:pt x="8" y="30"/>
                    </a:lnTo>
                    <a:lnTo>
                      <a:pt x="5" y="33"/>
                    </a:lnTo>
                    <a:lnTo>
                      <a:pt x="7" y="35"/>
                    </a:lnTo>
                    <a:lnTo>
                      <a:pt x="8" y="33"/>
                    </a:lnTo>
                    <a:lnTo>
                      <a:pt x="15" y="38"/>
                    </a:lnTo>
                    <a:lnTo>
                      <a:pt x="15" y="38"/>
                    </a:lnTo>
                    <a:close/>
                    <a:moveTo>
                      <a:pt x="35" y="91"/>
                    </a:moveTo>
                    <a:lnTo>
                      <a:pt x="35" y="89"/>
                    </a:lnTo>
                    <a:lnTo>
                      <a:pt x="37" y="88"/>
                    </a:lnTo>
                    <a:lnTo>
                      <a:pt x="33" y="84"/>
                    </a:lnTo>
                    <a:lnTo>
                      <a:pt x="32" y="84"/>
                    </a:lnTo>
                    <a:lnTo>
                      <a:pt x="32" y="81"/>
                    </a:lnTo>
                    <a:lnTo>
                      <a:pt x="33" y="79"/>
                    </a:lnTo>
                    <a:lnTo>
                      <a:pt x="35" y="76"/>
                    </a:lnTo>
                    <a:lnTo>
                      <a:pt x="32" y="75"/>
                    </a:lnTo>
                    <a:lnTo>
                      <a:pt x="32" y="73"/>
                    </a:lnTo>
                    <a:lnTo>
                      <a:pt x="41" y="68"/>
                    </a:lnTo>
                    <a:lnTo>
                      <a:pt x="40" y="66"/>
                    </a:lnTo>
                    <a:lnTo>
                      <a:pt x="43" y="63"/>
                    </a:lnTo>
                    <a:lnTo>
                      <a:pt x="45" y="65"/>
                    </a:lnTo>
                    <a:lnTo>
                      <a:pt x="50" y="63"/>
                    </a:lnTo>
                    <a:lnTo>
                      <a:pt x="50" y="56"/>
                    </a:lnTo>
                    <a:lnTo>
                      <a:pt x="48" y="53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8" y="53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3" y="50"/>
                    </a:lnTo>
                    <a:lnTo>
                      <a:pt x="65" y="46"/>
                    </a:lnTo>
                    <a:lnTo>
                      <a:pt x="60" y="41"/>
                    </a:lnTo>
                    <a:lnTo>
                      <a:pt x="58" y="43"/>
                    </a:lnTo>
                    <a:lnTo>
                      <a:pt x="51" y="43"/>
                    </a:lnTo>
                    <a:lnTo>
                      <a:pt x="50" y="41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6" y="35"/>
                    </a:lnTo>
                    <a:lnTo>
                      <a:pt x="46" y="30"/>
                    </a:lnTo>
                    <a:lnTo>
                      <a:pt x="41" y="26"/>
                    </a:lnTo>
                    <a:lnTo>
                      <a:pt x="35" y="28"/>
                    </a:lnTo>
                    <a:lnTo>
                      <a:pt x="32" y="30"/>
                    </a:lnTo>
                    <a:lnTo>
                      <a:pt x="27" y="28"/>
                    </a:lnTo>
                    <a:lnTo>
                      <a:pt x="25" y="30"/>
                    </a:lnTo>
                    <a:lnTo>
                      <a:pt x="30" y="35"/>
                    </a:lnTo>
                    <a:lnTo>
                      <a:pt x="28" y="36"/>
                    </a:lnTo>
                    <a:lnTo>
                      <a:pt x="32" y="41"/>
                    </a:lnTo>
                    <a:lnTo>
                      <a:pt x="32" y="43"/>
                    </a:lnTo>
                    <a:lnTo>
                      <a:pt x="28" y="41"/>
                    </a:lnTo>
                    <a:lnTo>
                      <a:pt x="23" y="41"/>
                    </a:lnTo>
                    <a:lnTo>
                      <a:pt x="23" y="40"/>
                    </a:lnTo>
                    <a:lnTo>
                      <a:pt x="27" y="38"/>
                    </a:lnTo>
                    <a:lnTo>
                      <a:pt x="23" y="33"/>
                    </a:lnTo>
                    <a:lnTo>
                      <a:pt x="22" y="33"/>
                    </a:lnTo>
                    <a:lnTo>
                      <a:pt x="18" y="38"/>
                    </a:lnTo>
                    <a:lnTo>
                      <a:pt x="20" y="41"/>
                    </a:lnTo>
                    <a:lnTo>
                      <a:pt x="15" y="43"/>
                    </a:lnTo>
                    <a:lnTo>
                      <a:pt x="13" y="41"/>
                    </a:lnTo>
                    <a:lnTo>
                      <a:pt x="8" y="41"/>
                    </a:lnTo>
                    <a:lnTo>
                      <a:pt x="7" y="40"/>
                    </a:lnTo>
                    <a:lnTo>
                      <a:pt x="3" y="43"/>
                    </a:lnTo>
                    <a:lnTo>
                      <a:pt x="8" y="46"/>
                    </a:lnTo>
                    <a:lnTo>
                      <a:pt x="8" y="50"/>
                    </a:lnTo>
                    <a:lnTo>
                      <a:pt x="5" y="48"/>
                    </a:lnTo>
                    <a:lnTo>
                      <a:pt x="3" y="48"/>
                    </a:lnTo>
                    <a:lnTo>
                      <a:pt x="3" y="55"/>
                    </a:lnTo>
                    <a:lnTo>
                      <a:pt x="7" y="56"/>
                    </a:lnTo>
                    <a:lnTo>
                      <a:pt x="7" y="61"/>
                    </a:lnTo>
                    <a:lnTo>
                      <a:pt x="10" y="63"/>
                    </a:lnTo>
                    <a:lnTo>
                      <a:pt x="3" y="66"/>
                    </a:lnTo>
                    <a:lnTo>
                      <a:pt x="0" y="73"/>
                    </a:lnTo>
                    <a:lnTo>
                      <a:pt x="3" y="75"/>
                    </a:lnTo>
                    <a:lnTo>
                      <a:pt x="7" y="73"/>
                    </a:lnTo>
                    <a:lnTo>
                      <a:pt x="13" y="76"/>
                    </a:lnTo>
                    <a:lnTo>
                      <a:pt x="13" y="83"/>
                    </a:lnTo>
                    <a:lnTo>
                      <a:pt x="12" y="84"/>
                    </a:lnTo>
                    <a:lnTo>
                      <a:pt x="13" y="88"/>
                    </a:lnTo>
                    <a:lnTo>
                      <a:pt x="20" y="88"/>
                    </a:lnTo>
                    <a:lnTo>
                      <a:pt x="28" y="89"/>
                    </a:lnTo>
                    <a:lnTo>
                      <a:pt x="32" y="91"/>
                    </a:lnTo>
                    <a:lnTo>
                      <a:pt x="35" y="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8" name="Freeform 33"/>
              <p:cNvSpPr>
                <a:spLocks noEditPoints="1"/>
              </p:cNvSpPr>
              <p:nvPr/>
            </p:nvSpPr>
            <p:spPr bwMode="auto">
              <a:xfrm>
                <a:off x="6461035" y="2255991"/>
                <a:ext cx="264351" cy="266660"/>
              </a:xfrm>
              <a:custGeom>
                <a:avLst/>
                <a:gdLst/>
                <a:ahLst/>
                <a:cxnLst>
                  <a:cxn ang="0">
                    <a:pos x="473" y="63"/>
                  </a:cxn>
                  <a:cxn ang="0">
                    <a:pos x="488" y="35"/>
                  </a:cxn>
                  <a:cxn ang="0">
                    <a:pos x="451" y="23"/>
                  </a:cxn>
                  <a:cxn ang="0">
                    <a:pos x="431" y="23"/>
                  </a:cxn>
                  <a:cxn ang="0">
                    <a:pos x="416" y="0"/>
                  </a:cxn>
                  <a:cxn ang="0">
                    <a:pos x="400" y="32"/>
                  </a:cxn>
                  <a:cxn ang="0">
                    <a:pos x="370" y="47"/>
                  </a:cxn>
                  <a:cxn ang="0">
                    <a:pos x="353" y="17"/>
                  </a:cxn>
                  <a:cxn ang="0">
                    <a:pos x="340" y="53"/>
                  </a:cxn>
                  <a:cxn ang="0">
                    <a:pos x="312" y="58"/>
                  </a:cxn>
                  <a:cxn ang="0">
                    <a:pos x="280" y="87"/>
                  </a:cxn>
                  <a:cxn ang="0">
                    <a:pos x="269" y="95"/>
                  </a:cxn>
                  <a:cxn ang="0">
                    <a:pos x="240" y="95"/>
                  </a:cxn>
                  <a:cxn ang="0">
                    <a:pos x="217" y="125"/>
                  </a:cxn>
                  <a:cxn ang="0">
                    <a:pos x="214" y="140"/>
                  </a:cxn>
                  <a:cxn ang="0">
                    <a:pos x="191" y="156"/>
                  </a:cxn>
                  <a:cxn ang="0">
                    <a:pos x="194" y="175"/>
                  </a:cxn>
                  <a:cxn ang="0">
                    <a:pos x="169" y="198"/>
                  </a:cxn>
                  <a:cxn ang="0">
                    <a:pos x="166" y="218"/>
                  </a:cxn>
                  <a:cxn ang="0">
                    <a:pos x="156" y="246"/>
                  </a:cxn>
                  <a:cxn ang="0">
                    <a:pos x="129" y="276"/>
                  </a:cxn>
                  <a:cxn ang="0">
                    <a:pos x="98" y="311"/>
                  </a:cxn>
                  <a:cxn ang="0">
                    <a:pos x="134" y="307"/>
                  </a:cxn>
                  <a:cxn ang="0">
                    <a:pos x="89" y="321"/>
                  </a:cxn>
                  <a:cxn ang="0">
                    <a:pos x="76" y="341"/>
                  </a:cxn>
                  <a:cxn ang="0">
                    <a:pos x="56" y="346"/>
                  </a:cxn>
                  <a:cxn ang="0">
                    <a:pos x="46" y="364"/>
                  </a:cxn>
                  <a:cxn ang="0">
                    <a:pos x="8" y="369"/>
                  </a:cxn>
                  <a:cxn ang="0">
                    <a:pos x="15" y="391"/>
                  </a:cxn>
                  <a:cxn ang="0">
                    <a:pos x="38" y="399"/>
                  </a:cxn>
                  <a:cxn ang="0">
                    <a:pos x="46" y="407"/>
                  </a:cxn>
                  <a:cxn ang="0">
                    <a:pos x="13" y="419"/>
                  </a:cxn>
                  <a:cxn ang="0">
                    <a:pos x="44" y="427"/>
                  </a:cxn>
                  <a:cxn ang="0">
                    <a:pos x="19" y="457"/>
                  </a:cxn>
                  <a:cxn ang="0">
                    <a:pos x="34" y="480"/>
                  </a:cxn>
                  <a:cxn ang="0">
                    <a:pos x="58" y="513"/>
                  </a:cxn>
                  <a:cxn ang="0">
                    <a:pos x="103" y="475"/>
                  </a:cxn>
                  <a:cxn ang="0">
                    <a:pos x="121" y="462"/>
                  </a:cxn>
                  <a:cxn ang="0">
                    <a:pos x="151" y="477"/>
                  </a:cxn>
                  <a:cxn ang="0">
                    <a:pos x="154" y="361"/>
                  </a:cxn>
                  <a:cxn ang="0">
                    <a:pos x="187" y="216"/>
                  </a:cxn>
                  <a:cxn ang="0">
                    <a:pos x="249" y="133"/>
                  </a:cxn>
                  <a:cxn ang="0">
                    <a:pos x="292" y="98"/>
                  </a:cxn>
                  <a:cxn ang="0">
                    <a:pos x="377" y="108"/>
                  </a:cxn>
                  <a:cxn ang="0">
                    <a:pos x="433" y="52"/>
                  </a:cxn>
                  <a:cxn ang="0">
                    <a:pos x="11" y="447"/>
                  </a:cxn>
                  <a:cxn ang="0">
                    <a:pos x="5" y="424"/>
                  </a:cxn>
                  <a:cxn ang="0">
                    <a:pos x="3" y="381"/>
                  </a:cxn>
                  <a:cxn ang="0">
                    <a:pos x="69" y="326"/>
                  </a:cxn>
                  <a:cxn ang="0">
                    <a:pos x="81" y="316"/>
                  </a:cxn>
                  <a:cxn ang="0">
                    <a:pos x="129" y="271"/>
                  </a:cxn>
                  <a:cxn ang="0">
                    <a:pos x="177" y="178"/>
                  </a:cxn>
                  <a:cxn ang="0">
                    <a:pos x="162" y="138"/>
                  </a:cxn>
                  <a:cxn ang="0">
                    <a:pos x="191" y="103"/>
                  </a:cxn>
                  <a:cxn ang="0">
                    <a:pos x="209" y="92"/>
                  </a:cxn>
                  <a:cxn ang="0">
                    <a:pos x="201" y="118"/>
                  </a:cxn>
                  <a:cxn ang="0">
                    <a:pos x="242" y="92"/>
                  </a:cxn>
                  <a:cxn ang="0">
                    <a:pos x="242" y="73"/>
                  </a:cxn>
                  <a:cxn ang="0">
                    <a:pos x="259" y="53"/>
                  </a:cxn>
                  <a:cxn ang="0">
                    <a:pos x="270" y="53"/>
                  </a:cxn>
                  <a:cxn ang="0">
                    <a:pos x="322" y="37"/>
                  </a:cxn>
                  <a:cxn ang="0">
                    <a:pos x="335" y="18"/>
                  </a:cxn>
                  <a:cxn ang="0">
                    <a:pos x="360" y="5"/>
                  </a:cxn>
                </a:cxnLst>
                <a:rect l="0" t="0" r="r" b="b"/>
                <a:pathLst>
                  <a:path w="493" h="513">
                    <a:moveTo>
                      <a:pt x="456" y="92"/>
                    </a:moveTo>
                    <a:lnTo>
                      <a:pt x="460" y="92"/>
                    </a:lnTo>
                    <a:lnTo>
                      <a:pt x="460" y="83"/>
                    </a:lnTo>
                    <a:lnTo>
                      <a:pt x="466" y="78"/>
                    </a:lnTo>
                    <a:lnTo>
                      <a:pt x="473" y="78"/>
                    </a:lnTo>
                    <a:lnTo>
                      <a:pt x="476" y="73"/>
                    </a:lnTo>
                    <a:lnTo>
                      <a:pt x="476" y="67"/>
                    </a:lnTo>
                    <a:lnTo>
                      <a:pt x="480" y="67"/>
                    </a:lnTo>
                    <a:lnTo>
                      <a:pt x="485" y="68"/>
                    </a:lnTo>
                    <a:lnTo>
                      <a:pt x="488" y="65"/>
                    </a:lnTo>
                    <a:lnTo>
                      <a:pt x="488" y="60"/>
                    </a:lnTo>
                    <a:lnTo>
                      <a:pt x="486" y="60"/>
                    </a:lnTo>
                    <a:lnTo>
                      <a:pt x="483" y="58"/>
                    </a:lnTo>
                    <a:lnTo>
                      <a:pt x="481" y="58"/>
                    </a:lnTo>
                    <a:lnTo>
                      <a:pt x="480" y="58"/>
                    </a:lnTo>
                    <a:lnTo>
                      <a:pt x="478" y="62"/>
                    </a:lnTo>
                    <a:lnTo>
                      <a:pt x="476" y="60"/>
                    </a:lnTo>
                    <a:lnTo>
                      <a:pt x="476" y="57"/>
                    </a:lnTo>
                    <a:lnTo>
                      <a:pt x="473" y="57"/>
                    </a:lnTo>
                    <a:lnTo>
                      <a:pt x="473" y="60"/>
                    </a:lnTo>
                    <a:lnTo>
                      <a:pt x="473" y="63"/>
                    </a:lnTo>
                    <a:lnTo>
                      <a:pt x="471" y="63"/>
                    </a:lnTo>
                    <a:lnTo>
                      <a:pt x="470" y="60"/>
                    </a:lnTo>
                    <a:lnTo>
                      <a:pt x="465" y="62"/>
                    </a:lnTo>
                    <a:lnTo>
                      <a:pt x="465" y="65"/>
                    </a:lnTo>
                    <a:lnTo>
                      <a:pt x="463" y="60"/>
                    </a:lnTo>
                    <a:lnTo>
                      <a:pt x="461" y="57"/>
                    </a:lnTo>
                    <a:lnTo>
                      <a:pt x="460" y="57"/>
                    </a:lnTo>
                    <a:lnTo>
                      <a:pt x="458" y="52"/>
                    </a:lnTo>
                    <a:lnTo>
                      <a:pt x="456" y="50"/>
                    </a:lnTo>
                    <a:lnTo>
                      <a:pt x="451" y="50"/>
                    </a:lnTo>
                    <a:lnTo>
                      <a:pt x="448" y="50"/>
                    </a:lnTo>
                    <a:lnTo>
                      <a:pt x="443" y="48"/>
                    </a:lnTo>
                    <a:lnTo>
                      <a:pt x="440" y="45"/>
                    </a:lnTo>
                    <a:lnTo>
                      <a:pt x="441" y="45"/>
                    </a:lnTo>
                    <a:lnTo>
                      <a:pt x="448" y="47"/>
                    </a:lnTo>
                    <a:lnTo>
                      <a:pt x="455" y="45"/>
                    </a:lnTo>
                    <a:lnTo>
                      <a:pt x="460" y="47"/>
                    </a:lnTo>
                    <a:lnTo>
                      <a:pt x="468" y="47"/>
                    </a:lnTo>
                    <a:lnTo>
                      <a:pt x="475" y="45"/>
                    </a:lnTo>
                    <a:lnTo>
                      <a:pt x="480" y="38"/>
                    </a:lnTo>
                    <a:lnTo>
                      <a:pt x="488" y="35"/>
                    </a:lnTo>
                    <a:lnTo>
                      <a:pt x="493" y="32"/>
                    </a:lnTo>
                    <a:lnTo>
                      <a:pt x="493" y="32"/>
                    </a:lnTo>
                    <a:lnTo>
                      <a:pt x="490" y="30"/>
                    </a:lnTo>
                    <a:lnTo>
                      <a:pt x="490" y="28"/>
                    </a:lnTo>
                    <a:lnTo>
                      <a:pt x="486" y="28"/>
                    </a:lnTo>
                    <a:lnTo>
                      <a:pt x="481" y="28"/>
                    </a:lnTo>
                    <a:lnTo>
                      <a:pt x="475" y="23"/>
                    </a:lnTo>
                    <a:lnTo>
                      <a:pt x="471" y="23"/>
                    </a:lnTo>
                    <a:lnTo>
                      <a:pt x="468" y="28"/>
                    </a:lnTo>
                    <a:lnTo>
                      <a:pt x="466" y="28"/>
                    </a:lnTo>
                    <a:lnTo>
                      <a:pt x="465" y="27"/>
                    </a:lnTo>
                    <a:lnTo>
                      <a:pt x="470" y="23"/>
                    </a:lnTo>
                    <a:lnTo>
                      <a:pt x="470" y="22"/>
                    </a:lnTo>
                    <a:lnTo>
                      <a:pt x="465" y="20"/>
                    </a:lnTo>
                    <a:lnTo>
                      <a:pt x="465" y="18"/>
                    </a:lnTo>
                    <a:lnTo>
                      <a:pt x="461" y="18"/>
                    </a:lnTo>
                    <a:lnTo>
                      <a:pt x="458" y="23"/>
                    </a:lnTo>
                    <a:lnTo>
                      <a:pt x="456" y="23"/>
                    </a:lnTo>
                    <a:lnTo>
                      <a:pt x="456" y="20"/>
                    </a:lnTo>
                    <a:lnTo>
                      <a:pt x="455" y="20"/>
                    </a:lnTo>
                    <a:lnTo>
                      <a:pt x="451" y="23"/>
                    </a:lnTo>
                    <a:lnTo>
                      <a:pt x="450" y="22"/>
                    </a:lnTo>
                    <a:lnTo>
                      <a:pt x="450" y="20"/>
                    </a:lnTo>
                    <a:lnTo>
                      <a:pt x="453" y="18"/>
                    </a:lnTo>
                    <a:lnTo>
                      <a:pt x="453" y="15"/>
                    </a:lnTo>
                    <a:lnTo>
                      <a:pt x="448" y="13"/>
                    </a:lnTo>
                    <a:lnTo>
                      <a:pt x="443" y="13"/>
                    </a:lnTo>
                    <a:lnTo>
                      <a:pt x="440" y="15"/>
                    </a:lnTo>
                    <a:lnTo>
                      <a:pt x="440" y="20"/>
                    </a:lnTo>
                    <a:lnTo>
                      <a:pt x="436" y="22"/>
                    </a:lnTo>
                    <a:lnTo>
                      <a:pt x="436" y="23"/>
                    </a:lnTo>
                    <a:lnTo>
                      <a:pt x="438" y="30"/>
                    </a:lnTo>
                    <a:lnTo>
                      <a:pt x="438" y="33"/>
                    </a:lnTo>
                    <a:lnTo>
                      <a:pt x="436" y="35"/>
                    </a:lnTo>
                    <a:lnTo>
                      <a:pt x="435" y="32"/>
                    </a:lnTo>
                    <a:lnTo>
                      <a:pt x="431" y="32"/>
                    </a:lnTo>
                    <a:lnTo>
                      <a:pt x="430" y="32"/>
                    </a:lnTo>
                    <a:lnTo>
                      <a:pt x="426" y="32"/>
                    </a:lnTo>
                    <a:lnTo>
                      <a:pt x="420" y="33"/>
                    </a:lnTo>
                    <a:lnTo>
                      <a:pt x="425" y="28"/>
                    </a:lnTo>
                    <a:lnTo>
                      <a:pt x="428" y="27"/>
                    </a:lnTo>
                    <a:lnTo>
                      <a:pt x="431" y="23"/>
                    </a:lnTo>
                    <a:lnTo>
                      <a:pt x="430" y="22"/>
                    </a:lnTo>
                    <a:lnTo>
                      <a:pt x="428" y="22"/>
                    </a:lnTo>
                    <a:lnTo>
                      <a:pt x="423" y="25"/>
                    </a:lnTo>
                    <a:lnTo>
                      <a:pt x="421" y="23"/>
                    </a:lnTo>
                    <a:lnTo>
                      <a:pt x="421" y="22"/>
                    </a:lnTo>
                    <a:lnTo>
                      <a:pt x="425" y="20"/>
                    </a:lnTo>
                    <a:lnTo>
                      <a:pt x="425" y="18"/>
                    </a:lnTo>
                    <a:lnTo>
                      <a:pt x="421" y="17"/>
                    </a:lnTo>
                    <a:lnTo>
                      <a:pt x="420" y="15"/>
                    </a:lnTo>
                    <a:lnTo>
                      <a:pt x="423" y="15"/>
                    </a:lnTo>
                    <a:lnTo>
                      <a:pt x="425" y="15"/>
                    </a:lnTo>
                    <a:lnTo>
                      <a:pt x="430" y="15"/>
                    </a:lnTo>
                    <a:lnTo>
                      <a:pt x="433" y="8"/>
                    </a:lnTo>
                    <a:lnTo>
                      <a:pt x="431" y="7"/>
                    </a:lnTo>
                    <a:lnTo>
                      <a:pt x="428" y="7"/>
                    </a:lnTo>
                    <a:lnTo>
                      <a:pt x="425" y="5"/>
                    </a:lnTo>
                    <a:lnTo>
                      <a:pt x="426" y="3"/>
                    </a:lnTo>
                    <a:lnTo>
                      <a:pt x="425" y="0"/>
                    </a:lnTo>
                    <a:lnTo>
                      <a:pt x="421" y="2"/>
                    </a:lnTo>
                    <a:lnTo>
                      <a:pt x="420" y="2"/>
                    </a:lnTo>
                    <a:lnTo>
                      <a:pt x="416" y="0"/>
                    </a:lnTo>
                    <a:lnTo>
                      <a:pt x="413" y="3"/>
                    </a:lnTo>
                    <a:lnTo>
                      <a:pt x="413" y="5"/>
                    </a:lnTo>
                    <a:lnTo>
                      <a:pt x="416" y="8"/>
                    </a:lnTo>
                    <a:lnTo>
                      <a:pt x="415" y="10"/>
                    </a:lnTo>
                    <a:lnTo>
                      <a:pt x="412" y="10"/>
                    </a:lnTo>
                    <a:lnTo>
                      <a:pt x="408" y="7"/>
                    </a:lnTo>
                    <a:lnTo>
                      <a:pt x="407" y="8"/>
                    </a:lnTo>
                    <a:lnTo>
                      <a:pt x="405" y="12"/>
                    </a:lnTo>
                    <a:lnTo>
                      <a:pt x="407" y="13"/>
                    </a:lnTo>
                    <a:lnTo>
                      <a:pt x="410" y="13"/>
                    </a:lnTo>
                    <a:lnTo>
                      <a:pt x="412" y="15"/>
                    </a:lnTo>
                    <a:lnTo>
                      <a:pt x="412" y="17"/>
                    </a:lnTo>
                    <a:lnTo>
                      <a:pt x="408" y="18"/>
                    </a:lnTo>
                    <a:lnTo>
                      <a:pt x="408" y="22"/>
                    </a:lnTo>
                    <a:lnTo>
                      <a:pt x="405" y="22"/>
                    </a:lnTo>
                    <a:lnTo>
                      <a:pt x="405" y="25"/>
                    </a:lnTo>
                    <a:lnTo>
                      <a:pt x="407" y="27"/>
                    </a:lnTo>
                    <a:lnTo>
                      <a:pt x="403" y="28"/>
                    </a:lnTo>
                    <a:lnTo>
                      <a:pt x="405" y="32"/>
                    </a:lnTo>
                    <a:lnTo>
                      <a:pt x="403" y="33"/>
                    </a:lnTo>
                    <a:lnTo>
                      <a:pt x="400" y="32"/>
                    </a:lnTo>
                    <a:lnTo>
                      <a:pt x="398" y="33"/>
                    </a:lnTo>
                    <a:lnTo>
                      <a:pt x="397" y="35"/>
                    </a:lnTo>
                    <a:lnTo>
                      <a:pt x="393" y="38"/>
                    </a:lnTo>
                    <a:lnTo>
                      <a:pt x="393" y="33"/>
                    </a:lnTo>
                    <a:lnTo>
                      <a:pt x="398" y="25"/>
                    </a:lnTo>
                    <a:lnTo>
                      <a:pt x="393" y="25"/>
                    </a:lnTo>
                    <a:lnTo>
                      <a:pt x="395" y="22"/>
                    </a:lnTo>
                    <a:lnTo>
                      <a:pt x="397" y="20"/>
                    </a:lnTo>
                    <a:lnTo>
                      <a:pt x="397" y="13"/>
                    </a:lnTo>
                    <a:lnTo>
                      <a:pt x="395" y="12"/>
                    </a:lnTo>
                    <a:lnTo>
                      <a:pt x="393" y="12"/>
                    </a:lnTo>
                    <a:lnTo>
                      <a:pt x="387" y="20"/>
                    </a:lnTo>
                    <a:lnTo>
                      <a:pt x="387" y="25"/>
                    </a:lnTo>
                    <a:lnTo>
                      <a:pt x="382" y="33"/>
                    </a:lnTo>
                    <a:lnTo>
                      <a:pt x="380" y="38"/>
                    </a:lnTo>
                    <a:lnTo>
                      <a:pt x="380" y="40"/>
                    </a:lnTo>
                    <a:lnTo>
                      <a:pt x="380" y="45"/>
                    </a:lnTo>
                    <a:lnTo>
                      <a:pt x="373" y="52"/>
                    </a:lnTo>
                    <a:lnTo>
                      <a:pt x="370" y="53"/>
                    </a:lnTo>
                    <a:lnTo>
                      <a:pt x="370" y="48"/>
                    </a:lnTo>
                    <a:lnTo>
                      <a:pt x="370" y="47"/>
                    </a:lnTo>
                    <a:lnTo>
                      <a:pt x="373" y="40"/>
                    </a:lnTo>
                    <a:lnTo>
                      <a:pt x="372" y="37"/>
                    </a:lnTo>
                    <a:lnTo>
                      <a:pt x="373" y="33"/>
                    </a:lnTo>
                    <a:lnTo>
                      <a:pt x="372" y="30"/>
                    </a:lnTo>
                    <a:lnTo>
                      <a:pt x="380" y="23"/>
                    </a:lnTo>
                    <a:lnTo>
                      <a:pt x="380" y="18"/>
                    </a:lnTo>
                    <a:lnTo>
                      <a:pt x="382" y="18"/>
                    </a:lnTo>
                    <a:lnTo>
                      <a:pt x="382" y="15"/>
                    </a:lnTo>
                    <a:lnTo>
                      <a:pt x="377" y="15"/>
                    </a:lnTo>
                    <a:lnTo>
                      <a:pt x="373" y="12"/>
                    </a:lnTo>
                    <a:lnTo>
                      <a:pt x="372" y="12"/>
                    </a:lnTo>
                    <a:lnTo>
                      <a:pt x="372" y="17"/>
                    </a:lnTo>
                    <a:lnTo>
                      <a:pt x="370" y="18"/>
                    </a:lnTo>
                    <a:lnTo>
                      <a:pt x="370" y="15"/>
                    </a:lnTo>
                    <a:lnTo>
                      <a:pt x="367" y="12"/>
                    </a:lnTo>
                    <a:lnTo>
                      <a:pt x="362" y="12"/>
                    </a:lnTo>
                    <a:lnTo>
                      <a:pt x="358" y="13"/>
                    </a:lnTo>
                    <a:lnTo>
                      <a:pt x="360" y="18"/>
                    </a:lnTo>
                    <a:lnTo>
                      <a:pt x="358" y="20"/>
                    </a:lnTo>
                    <a:lnTo>
                      <a:pt x="357" y="18"/>
                    </a:lnTo>
                    <a:lnTo>
                      <a:pt x="353" y="17"/>
                    </a:lnTo>
                    <a:lnTo>
                      <a:pt x="352" y="18"/>
                    </a:lnTo>
                    <a:lnTo>
                      <a:pt x="352" y="20"/>
                    </a:lnTo>
                    <a:lnTo>
                      <a:pt x="358" y="23"/>
                    </a:lnTo>
                    <a:lnTo>
                      <a:pt x="358" y="28"/>
                    </a:lnTo>
                    <a:lnTo>
                      <a:pt x="358" y="28"/>
                    </a:lnTo>
                    <a:lnTo>
                      <a:pt x="355" y="27"/>
                    </a:lnTo>
                    <a:lnTo>
                      <a:pt x="352" y="28"/>
                    </a:lnTo>
                    <a:lnTo>
                      <a:pt x="352" y="32"/>
                    </a:lnTo>
                    <a:lnTo>
                      <a:pt x="353" y="33"/>
                    </a:lnTo>
                    <a:lnTo>
                      <a:pt x="352" y="35"/>
                    </a:lnTo>
                    <a:lnTo>
                      <a:pt x="348" y="32"/>
                    </a:lnTo>
                    <a:lnTo>
                      <a:pt x="345" y="32"/>
                    </a:lnTo>
                    <a:lnTo>
                      <a:pt x="343" y="37"/>
                    </a:lnTo>
                    <a:lnTo>
                      <a:pt x="340" y="38"/>
                    </a:lnTo>
                    <a:lnTo>
                      <a:pt x="340" y="40"/>
                    </a:lnTo>
                    <a:lnTo>
                      <a:pt x="342" y="40"/>
                    </a:lnTo>
                    <a:lnTo>
                      <a:pt x="337" y="43"/>
                    </a:lnTo>
                    <a:lnTo>
                      <a:pt x="337" y="47"/>
                    </a:lnTo>
                    <a:lnTo>
                      <a:pt x="340" y="50"/>
                    </a:lnTo>
                    <a:lnTo>
                      <a:pt x="337" y="53"/>
                    </a:lnTo>
                    <a:lnTo>
                      <a:pt x="340" y="53"/>
                    </a:lnTo>
                    <a:lnTo>
                      <a:pt x="342" y="55"/>
                    </a:lnTo>
                    <a:lnTo>
                      <a:pt x="340" y="58"/>
                    </a:lnTo>
                    <a:lnTo>
                      <a:pt x="335" y="57"/>
                    </a:lnTo>
                    <a:lnTo>
                      <a:pt x="333" y="52"/>
                    </a:lnTo>
                    <a:lnTo>
                      <a:pt x="330" y="50"/>
                    </a:lnTo>
                    <a:lnTo>
                      <a:pt x="333" y="48"/>
                    </a:lnTo>
                    <a:lnTo>
                      <a:pt x="328" y="47"/>
                    </a:lnTo>
                    <a:lnTo>
                      <a:pt x="325" y="47"/>
                    </a:lnTo>
                    <a:lnTo>
                      <a:pt x="320" y="47"/>
                    </a:lnTo>
                    <a:lnTo>
                      <a:pt x="312" y="42"/>
                    </a:lnTo>
                    <a:lnTo>
                      <a:pt x="310" y="42"/>
                    </a:lnTo>
                    <a:lnTo>
                      <a:pt x="307" y="43"/>
                    </a:lnTo>
                    <a:lnTo>
                      <a:pt x="305" y="40"/>
                    </a:lnTo>
                    <a:lnTo>
                      <a:pt x="302" y="43"/>
                    </a:lnTo>
                    <a:lnTo>
                      <a:pt x="299" y="45"/>
                    </a:lnTo>
                    <a:lnTo>
                      <a:pt x="297" y="47"/>
                    </a:lnTo>
                    <a:lnTo>
                      <a:pt x="304" y="52"/>
                    </a:lnTo>
                    <a:lnTo>
                      <a:pt x="307" y="52"/>
                    </a:lnTo>
                    <a:lnTo>
                      <a:pt x="309" y="55"/>
                    </a:lnTo>
                    <a:lnTo>
                      <a:pt x="314" y="55"/>
                    </a:lnTo>
                    <a:lnTo>
                      <a:pt x="312" y="58"/>
                    </a:lnTo>
                    <a:lnTo>
                      <a:pt x="312" y="62"/>
                    </a:lnTo>
                    <a:lnTo>
                      <a:pt x="315" y="67"/>
                    </a:lnTo>
                    <a:lnTo>
                      <a:pt x="315" y="70"/>
                    </a:lnTo>
                    <a:lnTo>
                      <a:pt x="312" y="68"/>
                    </a:lnTo>
                    <a:lnTo>
                      <a:pt x="309" y="63"/>
                    </a:lnTo>
                    <a:lnTo>
                      <a:pt x="305" y="62"/>
                    </a:lnTo>
                    <a:lnTo>
                      <a:pt x="302" y="58"/>
                    </a:lnTo>
                    <a:lnTo>
                      <a:pt x="300" y="62"/>
                    </a:lnTo>
                    <a:lnTo>
                      <a:pt x="297" y="65"/>
                    </a:lnTo>
                    <a:lnTo>
                      <a:pt x="297" y="60"/>
                    </a:lnTo>
                    <a:lnTo>
                      <a:pt x="294" y="63"/>
                    </a:lnTo>
                    <a:lnTo>
                      <a:pt x="294" y="65"/>
                    </a:lnTo>
                    <a:lnTo>
                      <a:pt x="289" y="68"/>
                    </a:lnTo>
                    <a:lnTo>
                      <a:pt x="289" y="72"/>
                    </a:lnTo>
                    <a:lnTo>
                      <a:pt x="294" y="73"/>
                    </a:lnTo>
                    <a:lnTo>
                      <a:pt x="295" y="78"/>
                    </a:lnTo>
                    <a:lnTo>
                      <a:pt x="292" y="77"/>
                    </a:lnTo>
                    <a:lnTo>
                      <a:pt x="290" y="75"/>
                    </a:lnTo>
                    <a:lnTo>
                      <a:pt x="287" y="80"/>
                    </a:lnTo>
                    <a:lnTo>
                      <a:pt x="285" y="83"/>
                    </a:lnTo>
                    <a:lnTo>
                      <a:pt x="280" y="87"/>
                    </a:lnTo>
                    <a:lnTo>
                      <a:pt x="280" y="85"/>
                    </a:lnTo>
                    <a:lnTo>
                      <a:pt x="284" y="82"/>
                    </a:lnTo>
                    <a:lnTo>
                      <a:pt x="282" y="80"/>
                    </a:lnTo>
                    <a:lnTo>
                      <a:pt x="285" y="73"/>
                    </a:lnTo>
                    <a:lnTo>
                      <a:pt x="284" y="60"/>
                    </a:lnTo>
                    <a:lnTo>
                      <a:pt x="280" y="63"/>
                    </a:lnTo>
                    <a:lnTo>
                      <a:pt x="274" y="70"/>
                    </a:lnTo>
                    <a:lnTo>
                      <a:pt x="274" y="77"/>
                    </a:lnTo>
                    <a:lnTo>
                      <a:pt x="275" y="78"/>
                    </a:lnTo>
                    <a:lnTo>
                      <a:pt x="272" y="82"/>
                    </a:lnTo>
                    <a:lnTo>
                      <a:pt x="270" y="78"/>
                    </a:lnTo>
                    <a:lnTo>
                      <a:pt x="274" y="73"/>
                    </a:lnTo>
                    <a:lnTo>
                      <a:pt x="272" y="68"/>
                    </a:lnTo>
                    <a:lnTo>
                      <a:pt x="269" y="67"/>
                    </a:lnTo>
                    <a:lnTo>
                      <a:pt x="264" y="70"/>
                    </a:lnTo>
                    <a:lnTo>
                      <a:pt x="262" y="75"/>
                    </a:lnTo>
                    <a:lnTo>
                      <a:pt x="264" y="80"/>
                    </a:lnTo>
                    <a:lnTo>
                      <a:pt x="264" y="83"/>
                    </a:lnTo>
                    <a:lnTo>
                      <a:pt x="270" y="88"/>
                    </a:lnTo>
                    <a:lnTo>
                      <a:pt x="272" y="90"/>
                    </a:lnTo>
                    <a:lnTo>
                      <a:pt x="269" y="95"/>
                    </a:lnTo>
                    <a:lnTo>
                      <a:pt x="267" y="90"/>
                    </a:lnTo>
                    <a:lnTo>
                      <a:pt x="262" y="88"/>
                    </a:lnTo>
                    <a:lnTo>
                      <a:pt x="259" y="80"/>
                    </a:lnTo>
                    <a:lnTo>
                      <a:pt x="257" y="78"/>
                    </a:lnTo>
                    <a:lnTo>
                      <a:pt x="250" y="82"/>
                    </a:lnTo>
                    <a:lnTo>
                      <a:pt x="250" y="83"/>
                    </a:lnTo>
                    <a:lnTo>
                      <a:pt x="257" y="88"/>
                    </a:lnTo>
                    <a:lnTo>
                      <a:pt x="259" y="88"/>
                    </a:lnTo>
                    <a:lnTo>
                      <a:pt x="260" y="90"/>
                    </a:lnTo>
                    <a:lnTo>
                      <a:pt x="257" y="90"/>
                    </a:lnTo>
                    <a:lnTo>
                      <a:pt x="252" y="90"/>
                    </a:lnTo>
                    <a:lnTo>
                      <a:pt x="255" y="95"/>
                    </a:lnTo>
                    <a:lnTo>
                      <a:pt x="250" y="92"/>
                    </a:lnTo>
                    <a:lnTo>
                      <a:pt x="250" y="87"/>
                    </a:lnTo>
                    <a:lnTo>
                      <a:pt x="249" y="87"/>
                    </a:lnTo>
                    <a:lnTo>
                      <a:pt x="247" y="82"/>
                    </a:lnTo>
                    <a:lnTo>
                      <a:pt x="245" y="85"/>
                    </a:lnTo>
                    <a:lnTo>
                      <a:pt x="244" y="90"/>
                    </a:lnTo>
                    <a:lnTo>
                      <a:pt x="245" y="92"/>
                    </a:lnTo>
                    <a:lnTo>
                      <a:pt x="245" y="97"/>
                    </a:lnTo>
                    <a:lnTo>
                      <a:pt x="240" y="95"/>
                    </a:lnTo>
                    <a:lnTo>
                      <a:pt x="237" y="97"/>
                    </a:lnTo>
                    <a:lnTo>
                      <a:pt x="234" y="101"/>
                    </a:lnTo>
                    <a:lnTo>
                      <a:pt x="234" y="101"/>
                    </a:lnTo>
                    <a:lnTo>
                      <a:pt x="237" y="101"/>
                    </a:lnTo>
                    <a:lnTo>
                      <a:pt x="240" y="105"/>
                    </a:lnTo>
                    <a:lnTo>
                      <a:pt x="237" y="105"/>
                    </a:lnTo>
                    <a:lnTo>
                      <a:pt x="234" y="106"/>
                    </a:lnTo>
                    <a:lnTo>
                      <a:pt x="235" y="108"/>
                    </a:lnTo>
                    <a:lnTo>
                      <a:pt x="234" y="110"/>
                    </a:lnTo>
                    <a:lnTo>
                      <a:pt x="230" y="110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29" y="115"/>
                    </a:lnTo>
                    <a:lnTo>
                      <a:pt x="227" y="111"/>
                    </a:lnTo>
                    <a:lnTo>
                      <a:pt x="224" y="113"/>
                    </a:lnTo>
                    <a:lnTo>
                      <a:pt x="220" y="116"/>
                    </a:lnTo>
                    <a:lnTo>
                      <a:pt x="222" y="118"/>
                    </a:lnTo>
                    <a:lnTo>
                      <a:pt x="220" y="120"/>
                    </a:lnTo>
                    <a:lnTo>
                      <a:pt x="216" y="120"/>
                    </a:lnTo>
                    <a:lnTo>
                      <a:pt x="214" y="125"/>
                    </a:lnTo>
                    <a:lnTo>
                      <a:pt x="217" y="125"/>
                    </a:lnTo>
                    <a:lnTo>
                      <a:pt x="227" y="123"/>
                    </a:lnTo>
                    <a:lnTo>
                      <a:pt x="230" y="125"/>
                    </a:lnTo>
                    <a:lnTo>
                      <a:pt x="235" y="121"/>
                    </a:lnTo>
                    <a:lnTo>
                      <a:pt x="237" y="121"/>
                    </a:lnTo>
                    <a:lnTo>
                      <a:pt x="237" y="125"/>
                    </a:lnTo>
                    <a:lnTo>
                      <a:pt x="234" y="128"/>
                    </a:lnTo>
                    <a:lnTo>
                      <a:pt x="234" y="133"/>
                    </a:lnTo>
                    <a:lnTo>
                      <a:pt x="232" y="135"/>
                    </a:lnTo>
                    <a:lnTo>
                      <a:pt x="230" y="133"/>
                    </a:lnTo>
                    <a:lnTo>
                      <a:pt x="230" y="130"/>
                    </a:lnTo>
                    <a:lnTo>
                      <a:pt x="225" y="131"/>
                    </a:lnTo>
                    <a:lnTo>
                      <a:pt x="224" y="130"/>
                    </a:lnTo>
                    <a:lnTo>
                      <a:pt x="219" y="130"/>
                    </a:lnTo>
                    <a:lnTo>
                      <a:pt x="220" y="130"/>
                    </a:lnTo>
                    <a:lnTo>
                      <a:pt x="219" y="133"/>
                    </a:lnTo>
                    <a:lnTo>
                      <a:pt x="216" y="131"/>
                    </a:lnTo>
                    <a:lnTo>
                      <a:pt x="214" y="131"/>
                    </a:lnTo>
                    <a:lnTo>
                      <a:pt x="217" y="133"/>
                    </a:lnTo>
                    <a:lnTo>
                      <a:pt x="219" y="136"/>
                    </a:lnTo>
                    <a:lnTo>
                      <a:pt x="216" y="138"/>
                    </a:lnTo>
                    <a:lnTo>
                      <a:pt x="214" y="140"/>
                    </a:lnTo>
                    <a:lnTo>
                      <a:pt x="216" y="143"/>
                    </a:lnTo>
                    <a:lnTo>
                      <a:pt x="214" y="145"/>
                    </a:lnTo>
                    <a:lnTo>
                      <a:pt x="212" y="141"/>
                    </a:lnTo>
                    <a:lnTo>
                      <a:pt x="212" y="138"/>
                    </a:lnTo>
                    <a:lnTo>
                      <a:pt x="209" y="135"/>
                    </a:lnTo>
                    <a:lnTo>
                      <a:pt x="206" y="138"/>
                    </a:lnTo>
                    <a:lnTo>
                      <a:pt x="202" y="138"/>
                    </a:lnTo>
                    <a:lnTo>
                      <a:pt x="201" y="136"/>
                    </a:lnTo>
                    <a:lnTo>
                      <a:pt x="202" y="135"/>
                    </a:lnTo>
                    <a:lnTo>
                      <a:pt x="199" y="133"/>
                    </a:lnTo>
                    <a:lnTo>
                      <a:pt x="196" y="138"/>
                    </a:lnTo>
                    <a:lnTo>
                      <a:pt x="199" y="141"/>
                    </a:lnTo>
                    <a:lnTo>
                      <a:pt x="204" y="140"/>
                    </a:lnTo>
                    <a:lnTo>
                      <a:pt x="209" y="143"/>
                    </a:lnTo>
                    <a:lnTo>
                      <a:pt x="206" y="146"/>
                    </a:lnTo>
                    <a:lnTo>
                      <a:pt x="197" y="148"/>
                    </a:lnTo>
                    <a:lnTo>
                      <a:pt x="196" y="146"/>
                    </a:lnTo>
                    <a:lnTo>
                      <a:pt x="192" y="146"/>
                    </a:lnTo>
                    <a:lnTo>
                      <a:pt x="191" y="150"/>
                    </a:lnTo>
                    <a:lnTo>
                      <a:pt x="192" y="153"/>
                    </a:lnTo>
                    <a:lnTo>
                      <a:pt x="191" y="156"/>
                    </a:lnTo>
                    <a:lnTo>
                      <a:pt x="194" y="155"/>
                    </a:lnTo>
                    <a:lnTo>
                      <a:pt x="197" y="151"/>
                    </a:lnTo>
                    <a:lnTo>
                      <a:pt x="202" y="151"/>
                    </a:lnTo>
                    <a:lnTo>
                      <a:pt x="204" y="153"/>
                    </a:lnTo>
                    <a:lnTo>
                      <a:pt x="197" y="155"/>
                    </a:lnTo>
                    <a:lnTo>
                      <a:pt x="197" y="158"/>
                    </a:lnTo>
                    <a:lnTo>
                      <a:pt x="199" y="161"/>
                    </a:lnTo>
                    <a:lnTo>
                      <a:pt x="204" y="165"/>
                    </a:lnTo>
                    <a:lnTo>
                      <a:pt x="204" y="168"/>
                    </a:lnTo>
                    <a:lnTo>
                      <a:pt x="201" y="165"/>
                    </a:lnTo>
                    <a:lnTo>
                      <a:pt x="197" y="166"/>
                    </a:lnTo>
                    <a:lnTo>
                      <a:pt x="194" y="161"/>
                    </a:lnTo>
                    <a:lnTo>
                      <a:pt x="192" y="161"/>
                    </a:lnTo>
                    <a:lnTo>
                      <a:pt x="189" y="165"/>
                    </a:lnTo>
                    <a:lnTo>
                      <a:pt x="192" y="166"/>
                    </a:lnTo>
                    <a:lnTo>
                      <a:pt x="187" y="168"/>
                    </a:lnTo>
                    <a:lnTo>
                      <a:pt x="184" y="170"/>
                    </a:lnTo>
                    <a:lnTo>
                      <a:pt x="184" y="173"/>
                    </a:lnTo>
                    <a:lnTo>
                      <a:pt x="187" y="175"/>
                    </a:lnTo>
                    <a:lnTo>
                      <a:pt x="192" y="173"/>
                    </a:lnTo>
                    <a:lnTo>
                      <a:pt x="194" y="175"/>
                    </a:lnTo>
                    <a:lnTo>
                      <a:pt x="199" y="173"/>
                    </a:lnTo>
                    <a:lnTo>
                      <a:pt x="199" y="176"/>
                    </a:lnTo>
                    <a:lnTo>
                      <a:pt x="202" y="178"/>
                    </a:lnTo>
                    <a:lnTo>
                      <a:pt x="202" y="181"/>
                    </a:lnTo>
                    <a:lnTo>
                      <a:pt x="196" y="178"/>
                    </a:lnTo>
                    <a:lnTo>
                      <a:pt x="191" y="178"/>
                    </a:lnTo>
                    <a:lnTo>
                      <a:pt x="189" y="178"/>
                    </a:lnTo>
                    <a:lnTo>
                      <a:pt x="182" y="180"/>
                    </a:lnTo>
                    <a:lnTo>
                      <a:pt x="182" y="183"/>
                    </a:lnTo>
                    <a:lnTo>
                      <a:pt x="179" y="185"/>
                    </a:lnTo>
                    <a:lnTo>
                      <a:pt x="177" y="183"/>
                    </a:lnTo>
                    <a:lnTo>
                      <a:pt x="171" y="186"/>
                    </a:lnTo>
                    <a:lnTo>
                      <a:pt x="167" y="186"/>
                    </a:lnTo>
                    <a:lnTo>
                      <a:pt x="167" y="188"/>
                    </a:lnTo>
                    <a:lnTo>
                      <a:pt x="171" y="190"/>
                    </a:lnTo>
                    <a:lnTo>
                      <a:pt x="174" y="193"/>
                    </a:lnTo>
                    <a:lnTo>
                      <a:pt x="171" y="195"/>
                    </a:lnTo>
                    <a:lnTo>
                      <a:pt x="169" y="193"/>
                    </a:lnTo>
                    <a:lnTo>
                      <a:pt x="167" y="195"/>
                    </a:lnTo>
                    <a:lnTo>
                      <a:pt x="171" y="196"/>
                    </a:lnTo>
                    <a:lnTo>
                      <a:pt x="169" y="198"/>
                    </a:lnTo>
                    <a:lnTo>
                      <a:pt x="164" y="198"/>
                    </a:lnTo>
                    <a:lnTo>
                      <a:pt x="164" y="196"/>
                    </a:lnTo>
                    <a:lnTo>
                      <a:pt x="162" y="198"/>
                    </a:lnTo>
                    <a:lnTo>
                      <a:pt x="166" y="199"/>
                    </a:lnTo>
                    <a:lnTo>
                      <a:pt x="164" y="201"/>
                    </a:lnTo>
                    <a:lnTo>
                      <a:pt x="164" y="204"/>
                    </a:lnTo>
                    <a:lnTo>
                      <a:pt x="167" y="204"/>
                    </a:lnTo>
                    <a:lnTo>
                      <a:pt x="164" y="206"/>
                    </a:lnTo>
                    <a:lnTo>
                      <a:pt x="161" y="206"/>
                    </a:lnTo>
                    <a:lnTo>
                      <a:pt x="159" y="204"/>
                    </a:lnTo>
                    <a:lnTo>
                      <a:pt x="159" y="208"/>
                    </a:lnTo>
                    <a:lnTo>
                      <a:pt x="157" y="209"/>
                    </a:lnTo>
                    <a:lnTo>
                      <a:pt x="161" y="209"/>
                    </a:lnTo>
                    <a:lnTo>
                      <a:pt x="167" y="213"/>
                    </a:lnTo>
                    <a:lnTo>
                      <a:pt x="167" y="214"/>
                    </a:lnTo>
                    <a:lnTo>
                      <a:pt x="171" y="216"/>
                    </a:lnTo>
                    <a:lnTo>
                      <a:pt x="174" y="214"/>
                    </a:lnTo>
                    <a:lnTo>
                      <a:pt x="171" y="216"/>
                    </a:lnTo>
                    <a:lnTo>
                      <a:pt x="171" y="218"/>
                    </a:lnTo>
                    <a:lnTo>
                      <a:pt x="167" y="218"/>
                    </a:lnTo>
                    <a:lnTo>
                      <a:pt x="166" y="218"/>
                    </a:lnTo>
                    <a:lnTo>
                      <a:pt x="159" y="218"/>
                    </a:lnTo>
                    <a:lnTo>
                      <a:pt x="154" y="221"/>
                    </a:lnTo>
                    <a:lnTo>
                      <a:pt x="156" y="223"/>
                    </a:lnTo>
                    <a:lnTo>
                      <a:pt x="161" y="223"/>
                    </a:lnTo>
                    <a:lnTo>
                      <a:pt x="161" y="224"/>
                    </a:lnTo>
                    <a:lnTo>
                      <a:pt x="164" y="228"/>
                    </a:lnTo>
                    <a:lnTo>
                      <a:pt x="162" y="231"/>
                    </a:lnTo>
                    <a:lnTo>
                      <a:pt x="161" y="228"/>
                    </a:lnTo>
                    <a:lnTo>
                      <a:pt x="157" y="228"/>
                    </a:lnTo>
                    <a:lnTo>
                      <a:pt x="156" y="231"/>
                    </a:lnTo>
                    <a:lnTo>
                      <a:pt x="156" y="233"/>
                    </a:lnTo>
                    <a:lnTo>
                      <a:pt x="154" y="234"/>
                    </a:lnTo>
                    <a:lnTo>
                      <a:pt x="157" y="236"/>
                    </a:lnTo>
                    <a:lnTo>
                      <a:pt x="157" y="239"/>
                    </a:lnTo>
                    <a:lnTo>
                      <a:pt x="156" y="239"/>
                    </a:lnTo>
                    <a:lnTo>
                      <a:pt x="152" y="236"/>
                    </a:lnTo>
                    <a:lnTo>
                      <a:pt x="151" y="238"/>
                    </a:lnTo>
                    <a:lnTo>
                      <a:pt x="151" y="241"/>
                    </a:lnTo>
                    <a:lnTo>
                      <a:pt x="156" y="243"/>
                    </a:lnTo>
                    <a:lnTo>
                      <a:pt x="156" y="244"/>
                    </a:lnTo>
                    <a:lnTo>
                      <a:pt x="156" y="246"/>
                    </a:lnTo>
                    <a:lnTo>
                      <a:pt x="151" y="243"/>
                    </a:lnTo>
                    <a:lnTo>
                      <a:pt x="149" y="244"/>
                    </a:lnTo>
                    <a:lnTo>
                      <a:pt x="147" y="248"/>
                    </a:lnTo>
                    <a:lnTo>
                      <a:pt x="149" y="248"/>
                    </a:lnTo>
                    <a:lnTo>
                      <a:pt x="149" y="253"/>
                    </a:lnTo>
                    <a:lnTo>
                      <a:pt x="151" y="256"/>
                    </a:lnTo>
                    <a:lnTo>
                      <a:pt x="154" y="256"/>
                    </a:lnTo>
                    <a:lnTo>
                      <a:pt x="156" y="253"/>
                    </a:lnTo>
                    <a:lnTo>
                      <a:pt x="159" y="253"/>
                    </a:lnTo>
                    <a:lnTo>
                      <a:pt x="156" y="258"/>
                    </a:lnTo>
                    <a:lnTo>
                      <a:pt x="154" y="258"/>
                    </a:lnTo>
                    <a:lnTo>
                      <a:pt x="149" y="263"/>
                    </a:lnTo>
                    <a:lnTo>
                      <a:pt x="146" y="263"/>
                    </a:lnTo>
                    <a:lnTo>
                      <a:pt x="142" y="263"/>
                    </a:lnTo>
                    <a:lnTo>
                      <a:pt x="142" y="264"/>
                    </a:lnTo>
                    <a:lnTo>
                      <a:pt x="139" y="266"/>
                    </a:lnTo>
                    <a:lnTo>
                      <a:pt x="136" y="269"/>
                    </a:lnTo>
                    <a:lnTo>
                      <a:pt x="139" y="271"/>
                    </a:lnTo>
                    <a:lnTo>
                      <a:pt x="137" y="273"/>
                    </a:lnTo>
                    <a:lnTo>
                      <a:pt x="132" y="273"/>
                    </a:lnTo>
                    <a:lnTo>
                      <a:pt x="129" y="276"/>
                    </a:lnTo>
                    <a:lnTo>
                      <a:pt x="129" y="278"/>
                    </a:lnTo>
                    <a:lnTo>
                      <a:pt x="134" y="279"/>
                    </a:lnTo>
                    <a:lnTo>
                      <a:pt x="131" y="281"/>
                    </a:lnTo>
                    <a:lnTo>
                      <a:pt x="129" y="284"/>
                    </a:lnTo>
                    <a:lnTo>
                      <a:pt x="126" y="284"/>
                    </a:lnTo>
                    <a:lnTo>
                      <a:pt x="124" y="281"/>
                    </a:lnTo>
                    <a:lnTo>
                      <a:pt x="122" y="279"/>
                    </a:lnTo>
                    <a:lnTo>
                      <a:pt x="121" y="283"/>
                    </a:lnTo>
                    <a:lnTo>
                      <a:pt x="117" y="283"/>
                    </a:lnTo>
                    <a:lnTo>
                      <a:pt x="119" y="284"/>
                    </a:lnTo>
                    <a:lnTo>
                      <a:pt x="116" y="286"/>
                    </a:lnTo>
                    <a:lnTo>
                      <a:pt x="116" y="289"/>
                    </a:lnTo>
                    <a:lnTo>
                      <a:pt x="117" y="291"/>
                    </a:lnTo>
                    <a:lnTo>
                      <a:pt x="111" y="291"/>
                    </a:lnTo>
                    <a:lnTo>
                      <a:pt x="109" y="293"/>
                    </a:lnTo>
                    <a:lnTo>
                      <a:pt x="109" y="296"/>
                    </a:lnTo>
                    <a:lnTo>
                      <a:pt x="106" y="299"/>
                    </a:lnTo>
                    <a:lnTo>
                      <a:pt x="106" y="301"/>
                    </a:lnTo>
                    <a:lnTo>
                      <a:pt x="106" y="306"/>
                    </a:lnTo>
                    <a:lnTo>
                      <a:pt x="103" y="307"/>
                    </a:lnTo>
                    <a:lnTo>
                      <a:pt x="98" y="311"/>
                    </a:lnTo>
                    <a:lnTo>
                      <a:pt x="99" y="312"/>
                    </a:lnTo>
                    <a:lnTo>
                      <a:pt x="104" y="309"/>
                    </a:lnTo>
                    <a:lnTo>
                      <a:pt x="106" y="311"/>
                    </a:lnTo>
                    <a:lnTo>
                      <a:pt x="106" y="312"/>
                    </a:lnTo>
                    <a:lnTo>
                      <a:pt x="103" y="314"/>
                    </a:lnTo>
                    <a:lnTo>
                      <a:pt x="103" y="317"/>
                    </a:lnTo>
                    <a:lnTo>
                      <a:pt x="106" y="321"/>
                    </a:lnTo>
                    <a:lnTo>
                      <a:pt x="111" y="319"/>
                    </a:lnTo>
                    <a:lnTo>
                      <a:pt x="116" y="317"/>
                    </a:lnTo>
                    <a:lnTo>
                      <a:pt x="122" y="311"/>
                    </a:lnTo>
                    <a:lnTo>
                      <a:pt x="122" y="309"/>
                    </a:lnTo>
                    <a:lnTo>
                      <a:pt x="119" y="309"/>
                    </a:lnTo>
                    <a:lnTo>
                      <a:pt x="122" y="306"/>
                    </a:lnTo>
                    <a:lnTo>
                      <a:pt x="124" y="301"/>
                    </a:lnTo>
                    <a:lnTo>
                      <a:pt x="126" y="301"/>
                    </a:lnTo>
                    <a:lnTo>
                      <a:pt x="127" y="299"/>
                    </a:lnTo>
                    <a:lnTo>
                      <a:pt x="132" y="299"/>
                    </a:lnTo>
                    <a:lnTo>
                      <a:pt x="134" y="299"/>
                    </a:lnTo>
                    <a:lnTo>
                      <a:pt x="127" y="302"/>
                    </a:lnTo>
                    <a:lnTo>
                      <a:pt x="127" y="306"/>
                    </a:lnTo>
                    <a:lnTo>
                      <a:pt x="134" y="307"/>
                    </a:lnTo>
                    <a:lnTo>
                      <a:pt x="132" y="311"/>
                    </a:lnTo>
                    <a:lnTo>
                      <a:pt x="127" y="311"/>
                    </a:lnTo>
                    <a:lnTo>
                      <a:pt x="121" y="317"/>
                    </a:lnTo>
                    <a:lnTo>
                      <a:pt x="126" y="319"/>
                    </a:lnTo>
                    <a:lnTo>
                      <a:pt x="122" y="322"/>
                    </a:lnTo>
                    <a:lnTo>
                      <a:pt x="124" y="326"/>
                    </a:lnTo>
                    <a:lnTo>
                      <a:pt x="119" y="326"/>
                    </a:lnTo>
                    <a:lnTo>
                      <a:pt x="116" y="322"/>
                    </a:lnTo>
                    <a:lnTo>
                      <a:pt x="111" y="322"/>
                    </a:lnTo>
                    <a:lnTo>
                      <a:pt x="108" y="324"/>
                    </a:lnTo>
                    <a:lnTo>
                      <a:pt x="108" y="329"/>
                    </a:lnTo>
                    <a:lnTo>
                      <a:pt x="104" y="331"/>
                    </a:lnTo>
                    <a:lnTo>
                      <a:pt x="101" y="332"/>
                    </a:lnTo>
                    <a:lnTo>
                      <a:pt x="103" y="329"/>
                    </a:lnTo>
                    <a:lnTo>
                      <a:pt x="104" y="327"/>
                    </a:lnTo>
                    <a:lnTo>
                      <a:pt x="103" y="324"/>
                    </a:lnTo>
                    <a:lnTo>
                      <a:pt x="103" y="321"/>
                    </a:lnTo>
                    <a:lnTo>
                      <a:pt x="99" y="316"/>
                    </a:lnTo>
                    <a:lnTo>
                      <a:pt x="96" y="316"/>
                    </a:lnTo>
                    <a:lnTo>
                      <a:pt x="94" y="319"/>
                    </a:lnTo>
                    <a:lnTo>
                      <a:pt x="89" y="321"/>
                    </a:lnTo>
                    <a:lnTo>
                      <a:pt x="89" y="322"/>
                    </a:lnTo>
                    <a:lnTo>
                      <a:pt x="94" y="322"/>
                    </a:lnTo>
                    <a:lnTo>
                      <a:pt x="89" y="327"/>
                    </a:lnTo>
                    <a:lnTo>
                      <a:pt x="84" y="326"/>
                    </a:lnTo>
                    <a:lnTo>
                      <a:pt x="81" y="326"/>
                    </a:lnTo>
                    <a:lnTo>
                      <a:pt x="76" y="329"/>
                    </a:lnTo>
                    <a:lnTo>
                      <a:pt x="79" y="331"/>
                    </a:lnTo>
                    <a:lnTo>
                      <a:pt x="81" y="329"/>
                    </a:lnTo>
                    <a:lnTo>
                      <a:pt x="83" y="331"/>
                    </a:lnTo>
                    <a:lnTo>
                      <a:pt x="78" y="332"/>
                    </a:lnTo>
                    <a:lnTo>
                      <a:pt x="76" y="336"/>
                    </a:lnTo>
                    <a:lnTo>
                      <a:pt x="74" y="334"/>
                    </a:lnTo>
                    <a:lnTo>
                      <a:pt x="71" y="334"/>
                    </a:lnTo>
                    <a:lnTo>
                      <a:pt x="69" y="336"/>
                    </a:lnTo>
                    <a:lnTo>
                      <a:pt x="74" y="339"/>
                    </a:lnTo>
                    <a:lnTo>
                      <a:pt x="81" y="339"/>
                    </a:lnTo>
                    <a:lnTo>
                      <a:pt x="79" y="341"/>
                    </a:lnTo>
                    <a:lnTo>
                      <a:pt x="83" y="342"/>
                    </a:lnTo>
                    <a:lnTo>
                      <a:pt x="83" y="346"/>
                    </a:lnTo>
                    <a:lnTo>
                      <a:pt x="78" y="344"/>
                    </a:lnTo>
                    <a:lnTo>
                      <a:pt x="76" y="341"/>
                    </a:lnTo>
                    <a:lnTo>
                      <a:pt x="73" y="341"/>
                    </a:lnTo>
                    <a:lnTo>
                      <a:pt x="68" y="337"/>
                    </a:lnTo>
                    <a:lnTo>
                      <a:pt x="68" y="334"/>
                    </a:lnTo>
                    <a:lnTo>
                      <a:pt x="64" y="334"/>
                    </a:lnTo>
                    <a:lnTo>
                      <a:pt x="64" y="337"/>
                    </a:lnTo>
                    <a:lnTo>
                      <a:pt x="69" y="342"/>
                    </a:lnTo>
                    <a:lnTo>
                      <a:pt x="73" y="346"/>
                    </a:lnTo>
                    <a:lnTo>
                      <a:pt x="78" y="347"/>
                    </a:lnTo>
                    <a:lnTo>
                      <a:pt x="79" y="349"/>
                    </a:lnTo>
                    <a:lnTo>
                      <a:pt x="74" y="349"/>
                    </a:lnTo>
                    <a:lnTo>
                      <a:pt x="68" y="346"/>
                    </a:lnTo>
                    <a:lnTo>
                      <a:pt x="63" y="341"/>
                    </a:lnTo>
                    <a:lnTo>
                      <a:pt x="59" y="342"/>
                    </a:lnTo>
                    <a:lnTo>
                      <a:pt x="56" y="339"/>
                    </a:lnTo>
                    <a:lnTo>
                      <a:pt x="51" y="339"/>
                    </a:lnTo>
                    <a:lnTo>
                      <a:pt x="48" y="337"/>
                    </a:lnTo>
                    <a:lnTo>
                      <a:pt x="46" y="339"/>
                    </a:lnTo>
                    <a:lnTo>
                      <a:pt x="48" y="342"/>
                    </a:lnTo>
                    <a:lnTo>
                      <a:pt x="44" y="344"/>
                    </a:lnTo>
                    <a:lnTo>
                      <a:pt x="48" y="349"/>
                    </a:lnTo>
                    <a:lnTo>
                      <a:pt x="56" y="346"/>
                    </a:lnTo>
                    <a:lnTo>
                      <a:pt x="58" y="347"/>
                    </a:lnTo>
                    <a:lnTo>
                      <a:pt x="54" y="349"/>
                    </a:lnTo>
                    <a:lnTo>
                      <a:pt x="56" y="351"/>
                    </a:lnTo>
                    <a:lnTo>
                      <a:pt x="61" y="347"/>
                    </a:lnTo>
                    <a:lnTo>
                      <a:pt x="64" y="347"/>
                    </a:lnTo>
                    <a:lnTo>
                      <a:pt x="63" y="351"/>
                    </a:lnTo>
                    <a:lnTo>
                      <a:pt x="56" y="352"/>
                    </a:lnTo>
                    <a:lnTo>
                      <a:pt x="53" y="357"/>
                    </a:lnTo>
                    <a:lnTo>
                      <a:pt x="48" y="356"/>
                    </a:lnTo>
                    <a:lnTo>
                      <a:pt x="44" y="351"/>
                    </a:lnTo>
                    <a:lnTo>
                      <a:pt x="43" y="351"/>
                    </a:lnTo>
                    <a:lnTo>
                      <a:pt x="39" y="352"/>
                    </a:lnTo>
                    <a:lnTo>
                      <a:pt x="36" y="349"/>
                    </a:lnTo>
                    <a:lnTo>
                      <a:pt x="34" y="351"/>
                    </a:lnTo>
                    <a:lnTo>
                      <a:pt x="31" y="351"/>
                    </a:lnTo>
                    <a:lnTo>
                      <a:pt x="28" y="352"/>
                    </a:lnTo>
                    <a:lnTo>
                      <a:pt x="29" y="354"/>
                    </a:lnTo>
                    <a:lnTo>
                      <a:pt x="36" y="356"/>
                    </a:lnTo>
                    <a:lnTo>
                      <a:pt x="41" y="357"/>
                    </a:lnTo>
                    <a:lnTo>
                      <a:pt x="48" y="361"/>
                    </a:lnTo>
                    <a:lnTo>
                      <a:pt x="46" y="364"/>
                    </a:lnTo>
                    <a:lnTo>
                      <a:pt x="48" y="367"/>
                    </a:lnTo>
                    <a:lnTo>
                      <a:pt x="44" y="369"/>
                    </a:lnTo>
                    <a:lnTo>
                      <a:pt x="43" y="367"/>
                    </a:lnTo>
                    <a:lnTo>
                      <a:pt x="43" y="361"/>
                    </a:lnTo>
                    <a:lnTo>
                      <a:pt x="38" y="361"/>
                    </a:lnTo>
                    <a:lnTo>
                      <a:pt x="34" y="361"/>
                    </a:lnTo>
                    <a:lnTo>
                      <a:pt x="36" y="364"/>
                    </a:lnTo>
                    <a:lnTo>
                      <a:pt x="34" y="366"/>
                    </a:lnTo>
                    <a:lnTo>
                      <a:pt x="29" y="362"/>
                    </a:lnTo>
                    <a:lnTo>
                      <a:pt x="24" y="367"/>
                    </a:lnTo>
                    <a:lnTo>
                      <a:pt x="29" y="369"/>
                    </a:lnTo>
                    <a:lnTo>
                      <a:pt x="26" y="371"/>
                    </a:lnTo>
                    <a:lnTo>
                      <a:pt x="23" y="371"/>
                    </a:lnTo>
                    <a:lnTo>
                      <a:pt x="23" y="367"/>
                    </a:lnTo>
                    <a:lnTo>
                      <a:pt x="15" y="367"/>
                    </a:lnTo>
                    <a:lnTo>
                      <a:pt x="18" y="371"/>
                    </a:lnTo>
                    <a:lnTo>
                      <a:pt x="15" y="372"/>
                    </a:lnTo>
                    <a:lnTo>
                      <a:pt x="13" y="369"/>
                    </a:lnTo>
                    <a:lnTo>
                      <a:pt x="10" y="366"/>
                    </a:lnTo>
                    <a:lnTo>
                      <a:pt x="6" y="366"/>
                    </a:lnTo>
                    <a:lnTo>
                      <a:pt x="8" y="369"/>
                    </a:lnTo>
                    <a:lnTo>
                      <a:pt x="13" y="372"/>
                    </a:lnTo>
                    <a:lnTo>
                      <a:pt x="10" y="374"/>
                    </a:lnTo>
                    <a:lnTo>
                      <a:pt x="13" y="377"/>
                    </a:lnTo>
                    <a:lnTo>
                      <a:pt x="18" y="376"/>
                    </a:lnTo>
                    <a:lnTo>
                      <a:pt x="24" y="376"/>
                    </a:lnTo>
                    <a:lnTo>
                      <a:pt x="29" y="379"/>
                    </a:lnTo>
                    <a:lnTo>
                      <a:pt x="36" y="379"/>
                    </a:lnTo>
                    <a:lnTo>
                      <a:pt x="38" y="377"/>
                    </a:lnTo>
                    <a:lnTo>
                      <a:pt x="41" y="377"/>
                    </a:lnTo>
                    <a:lnTo>
                      <a:pt x="38" y="382"/>
                    </a:lnTo>
                    <a:lnTo>
                      <a:pt x="31" y="381"/>
                    </a:lnTo>
                    <a:lnTo>
                      <a:pt x="28" y="382"/>
                    </a:lnTo>
                    <a:lnTo>
                      <a:pt x="21" y="379"/>
                    </a:lnTo>
                    <a:lnTo>
                      <a:pt x="16" y="379"/>
                    </a:lnTo>
                    <a:lnTo>
                      <a:pt x="15" y="379"/>
                    </a:lnTo>
                    <a:lnTo>
                      <a:pt x="11" y="382"/>
                    </a:lnTo>
                    <a:lnTo>
                      <a:pt x="5" y="382"/>
                    </a:lnTo>
                    <a:lnTo>
                      <a:pt x="5" y="384"/>
                    </a:lnTo>
                    <a:lnTo>
                      <a:pt x="13" y="387"/>
                    </a:lnTo>
                    <a:lnTo>
                      <a:pt x="10" y="391"/>
                    </a:lnTo>
                    <a:lnTo>
                      <a:pt x="15" y="391"/>
                    </a:lnTo>
                    <a:lnTo>
                      <a:pt x="16" y="389"/>
                    </a:lnTo>
                    <a:lnTo>
                      <a:pt x="23" y="389"/>
                    </a:lnTo>
                    <a:lnTo>
                      <a:pt x="18" y="392"/>
                    </a:lnTo>
                    <a:lnTo>
                      <a:pt x="11" y="392"/>
                    </a:lnTo>
                    <a:lnTo>
                      <a:pt x="10" y="394"/>
                    </a:lnTo>
                    <a:lnTo>
                      <a:pt x="8" y="392"/>
                    </a:lnTo>
                    <a:lnTo>
                      <a:pt x="8" y="394"/>
                    </a:lnTo>
                    <a:lnTo>
                      <a:pt x="11" y="396"/>
                    </a:lnTo>
                    <a:lnTo>
                      <a:pt x="13" y="396"/>
                    </a:lnTo>
                    <a:lnTo>
                      <a:pt x="10" y="397"/>
                    </a:lnTo>
                    <a:lnTo>
                      <a:pt x="8" y="397"/>
                    </a:lnTo>
                    <a:lnTo>
                      <a:pt x="8" y="400"/>
                    </a:lnTo>
                    <a:lnTo>
                      <a:pt x="10" y="400"/>
                    </a:lnTo>
                    <a:lnTo>
                      <a:pt x="11" y="404"/>
                    </a:lnTo>
                    <a:lnTo>
                      <a:pt x="18" y="404"/>
                    </a:lnTo>
                    <a:lnTo>
                      <a:pt x="19" y="402"/>
                    </a:lnTo>
                    <a:lnTo>
                      <a:pt x="28" y="400"/>
                    </a:lnTo>
                    <a:lnTo>
                      <a:pt x="33" y="402"/>
                    </a:lnTo>
                    <a:lnTo>
                      <a:pt x="34" y="404"/>
                    </a:lnTo>
                    <a:lnTo>
                      <a:pt x="38" y="400"/>
                    </a:lnTo>
                    <a:lnTo>
                      <a:pt x="38" y="399"/>
                    </a:lnTo>
                    <a:lnTo>
                      <a:pt x="41" y="397"/>
                    </a:lnTo>
                    <a:lnTo>
                      <a:pt x="41" y="400"/>
                    </a:lnTo>
                    <a:lnTo>
                      <a:pt x="46" y="400"/>
                    </a:lnTo>
                    <a:lnTo>
                      <a:pt x="51" y="397"/>
                    </a:lnTo>
                    <a:lnTo>
                      <a:pt x="53" y="397"/>
                    </a:lnTo>
                    <a:lnTo>
                      <a:pt x="53" y="399"/>
                    </a:lnTo>
                    <a:lnTo>
                      <a:pt x="49" y="400"/>
                    </a:lnTo>
                    <a:lnTo>
                      <a:pt x="54" y="402"/>
                    </a:lnTo>
                    <a:lnTo>
                      <a:pt x="56" y="399"/>
                    </a:lnTo>
                    <a:lnTo>
                      <a:pt x="56" y="397"/>
                    </a:lnTo>
                    <a:lnTo>
                      <a:pt x="59" y="392"/>
                    </a:lnTo>
                    <a:lnTo>
                      <a:pt x="58" y="396"/>
                    </a:lnTo>
                    <a:lnTo>
                      <a:pt x="61" y="400"/>
                    </a:lnTo>
                    <a:lnTo>
                      <a:pt x="59" y="404"/>
                    </a:lnTo>
                    <a:lnTo>
                      <a:pt x="53" y="405"/>
                    </a:lnTo>
                    <a:lnTo>
                      <a:pt x="49" y="407"/>
                    </a:lnTo>
                    <a:lnTo>
                      <a:pt x="51" y="409"/>
                    </a:lnTo>
                    <a:lnTo>
                      <a:pt x="49" y="412"/>
                    </a:lnTo>
                    <a:lnTo>
                      <a:pt x="43" y="412"/>
                    </a:lnTo>
                    <a:lnTo>
                      <a:pt x="43" y="410"/>
                    </a:lnTo>
                    <a:lnTo>
                      <a:pt x="46" y="407"/>
                    </a:lnTo>
                    <a:lnTo>
                      <a:pt x="46" y="404"/>
                    </a:lnTo>
                    <a:lnTo>
                      <a:pt x="41" y="404"/>
                    </a:lnTo>
                    <a:lnTo>
                      <a:pt x="36" y="407"/>
                    </a:lnTo>
                    <a:lnTo>
                      <a:pt x="34" y="410"/>
                    </a:lnTo>
                    <a:lnTo>
                      <a:pt x="31" y="405"/>
                    </a:lnTo>
                    <a:lnTo>
                      <a:pt x="28" y="405"/>
                    </a:lnTo>
                    <a:lnTo>
                      <a:pt x="23" y="405"/>
                    </a:lnTo>
                    <a:lnTo>
                      <a:pt x="19" y="405"/>
                    </a:lnTo>
                    <a:lnTo>
                      <a:pt x="13" y="407"/>
                    </a:lnTo>
                    <a:lnTo>
                      <a:pt x="11" y="407"/>
                    </a:lnTo>
                    <a:lnTo>
                      <a:pt x="8" y="405"/>
                    </a:lnTo>
                    <a:lnTo>
                      <a:pt x="6" y="405"/>
                    </a:lnTo>
                    <a:lnTo>
                      <a:pt x="8" y="410"/>
                    </a:lnTo>
                    <a:lnTo>
                      <a:pt x="6" y="412"/>
                    </a:lnTo>
                    <a:lnTo>
                      <a:pt x="10" y="414"/>
                    </a:lnTo>
                    <a:lnTo>
                      <a:pt x="13" y="414"/>
                    </a:lnTo>
                    <a:lnTo>
                      <a:pt x="15" y="410"/>
                    </a:lnTo>
                    <a:lnTo>
                      <a:pt x="16" y="412"/>
                    </a:lnTo>
                    <a:lnTo>
                      <a:pt x="15" y="414"/>
                    </a:lnTo>
                    <a:lnTo>
                      <a:pt x="15" y="417"/>
                    </a:lnTo>
                    <a:lnTo>
                      <a:pt x="13" y="419"/>
                    </a:lnTo>
                    <a:lnTo>
                      <a:pt x="10" y="417"/>
                    </a:lnTo>
                    <a:lnTo>
                      <a:pt x="11" y="422"/>
                    </a:lnTo>
                    <a:lnTo>
                      <a:pt x="13" y="425"/>
                    </a:lnTo>
                    <a:lnTo>
                      <a:pt x="19" y="417"/>
                    </a:lnTo>
                    <a:lnTo>
                      <a:pt x="24" y="420"/>
                    </a:lnTo>
                    <a:lnTo>
                      <a:pt x="23" y="422"/>
                    </a:lnTo>
                    <a:lnTo>
                      <a:pt x="23" y="425"/>
                    </a:lnTo>
                    <a:lnTo>
                      <a:pt x="18" y="427"/>
                    </a:lnTo>
                    <a:lnTo>
                      <a:pt x="18" y="429"/>
                    </a:lnTo>
                    <a:lnTo>
                      <a:pt x="21" y="430"/>
                    </a:lnTo>
                    <a:lnTo>
                      <a:pt x="19" y="432"/>
                    </a:lnTo>
                    <a:lnTo>
                      <a:pt x="23" y="435"/>
                    </a:lnTo>
                    <a:lnTo>
                      <a:pt x="21" y="440"/>
                    </a:lnTo>
                    <a:lnTo>
                      <a:pt x="23" y="440"/>
                    </a:lnTo>
                    <a:lnTo>
                      <a:pt x="26" y="435"/>
                    </a:lnTo>
                    <a:lnTo>
                      <a:pt x="29" y="434"/>
                    </a:lnTo>
                    <a:lnTo>
                      <a:pt x="29" y="429"/>
                    </a:lnTo>
                    <a:lnTo>
                      <a:pt x="39" y="425"/>
                    </a:lnTo>
                    <a:lnTo>
                      <a:pt x="43" y="425"/>
                    </a:lnTo>
                    <a:lnTo>
                      <a:pt x="48" y="425"/>
                    </a:lnTo>
                    <a:lnTo>
                      <a:pt x="44" y="427"/>
                    </a:lnTo>
                    <a:lnTo>
                      <a:pt x="39" y="430"/>
                    </a:lnTo>
                    <a:lnTo>
                      <a:pt x="39" y="435"/>
                    </a:lnTo>
                    <a:lnTo>
                      <a:pt x="41" y="439"/>
                    </a:lnTo>
                    <a:lnTo>
                      <a:pt x="38" y="435"/>
                    </a:lnTo>
                    <a:lnTo>
                      <a:pt x="38" y="430"/>
                    </a:lnTo>
                    <a:lnTo>
                      <a:pt x="34" y="430"/>
                    </a:lnTo>
                    <a:lnTo>
                      <a:pt x="31" y="435"/>
                    </a:lnTo>
                    <a:lnTo>
                      <a:pt x="29" y="437"/>
                    </a:lnTo>
                    <a:lnTo>
                      <a:pt x="33" y="439"/>
                    </a:lnTo>
                    <a:lnTo>
                      <a:pt x="29" y="442"/>
                    </a:lnTo>
                    <a:lnTo>
                      <a:pt x="26" y="442"/>
                    </a:lnTo>
                    <a:lnTo>
                      <a:pt x="24" y="445"/>
                    </a:lnTo>
                    <a:lnTo>
                      <a:pt x="28" y="447"/>
                    </a:lnTo>
                    <a:lnTo>
                      <a:pt x="34" y="447"/>
                    </a:lnTo>
                    <a:lnTo>
                      <a:pt x="36" y="449"/>
                    </a:lnTo>
                    <a:lnTo>
                      <a:pt x="31" y="449"/>
                    </a:lnTo>
                    <a:lnTo>
                      <a:pt x="29" y="452"/>
                    </a:lnTo>
                    <a:lnTo>
                      <a:pt x="29" y="455"/>
                    </a:lnTo>
                    <a:lnTo>
                      <a:pt x="23" y="452"/>
                    </a:lnTo>
                    <a:lnTo>
                      <a:pt x="21" y="452"/>
                    </a:lnTo>
                    <a:lnTo>
                      <a:pt x="19" y="457"/>
                    </a:lnTo>
                    <a:lnTo>
                      <a:pt x="19" y="452"/>
                    </a:lnTo>
                    <a:lnTo>
                      <a:pt x="16" y="454"/>
                    </a:lnTo>
                    <a:lnTo>
                      <a:pt x="11" y="459"/>
                    </a:lnTo>
                    <a:lnTo>
                      <a:pt x="13" y="464"/>
                    </a:lnTo>
                    <a:lnTo>
                      <a:pt x="19" y="469"/>
                    </a:lnTo>
                    <a:lnTo>
                      <a:pt x="21" y="465"/>
                    </a:lnTo>
                    <a:lnTo>
                      <a:pt x="23" y="467"/>
                    </a:lnTo>
                    <a:lnTo>
                      <a:pt x="26" y="465"/>
                    </a:lnTo>
                    <a:lnTo>
                      <a:pt x="26" y="464"/>
                    </a:lnTo>
                    <a:lnTo>
                      <a:pt x="28" y="460"/>
                    </a:lnTo>
                    <a:lnTo>
                      <a:pt x="33" y="464"/>
                    </a:lnTo>
                    <a:lnTo>
                      <a:pt x="29" y="464"/>
                    </a:lnTo>
                    <a:lnTo>
                      <a:pt x="33" y="467"/>
                    </a:lnTo>
                    <a:lnTo>
                      <a:pt x="33" y="470"/>
                    </a:lnTo>
                    <a:lnTo>
                      <a:pt x="29" y="474"/>
                    </a:lnTo>
                    <a:lnTo>
                      <a:pt x="31" y="479"/>
                    </a:lnTo>
                    <a:lnTo>
                      <a:pt x="34" y="477"/>
                    </a:lnTo>
                    <a:lnTo>
                      <a:pt x="39" y="475"/>
                    </a:lnTo>
                    <a:lnTo>
                      <a:pt x="43" y="479"/>
                    </a:lnTo>
                    <a:lnTo>
                      <a:pt x="38" y="479"/>
                    </a:lnTo>
                    <a:lnTo>
                      <a:pt x="34" y="480"/>
                    </a:lnTo>
                    <a:lnTo>
                      <a:pt x="38" y="484"/>
                    </a:lnTo>
                    <a:lnTo>
                      <a:pt x="36" y="485"/>
                    </a:lnTo>
                    <a:lnTo>
                      <a:pt x="28" y="480"/>
                    </a:lnTo>
                    <a:lnTo>
                      <a:pt x="24" y="480"/>
                    </a:lnTo>
                    <a:lnTo>
                      <a:pt x="23" y="479"/>
                    </a:lnTo>
                    <a:lnTo>
                      <a:pt x="19" y="479"/>
                    </a:lnTo>
                    <a:lnTo>
                      <a:pt x="19" y="482"/>
                    </a:lnTo>
                    <a:lnTo>
                      <a:pt x="16" y="485"/>
                    </a:lnTo>
                    <a:lnTo>
                      <a:pt x="23" y="494"/>
                    </a:lnTo>
                    <a:lnTo>
                      <a:pt x="28" y="495"/>
                    </a:lnTo>
                    <a:lnTo>
                      <a:pt x="34" y="500"/>
                    </a:lnTo>
                    <a:lnTo>
                      <a:pt x="43" y="503"/>
                    </a:lnTo>
                    <a:lnTo>
                      <a:pt x="44" y="505"/>
                    </a:lnTo>
                    <a:lnTo>
                      <a:pt x="41" y="507"/>
                    </a:lnTo>
                    <a:lnTo>
                      <a:pt x="46" y="510"/>
                    </a:lnTo>
                    <a:lnTo>
                      <a:pt x="49" y="508"/>
                    </a:lnTo>
                    <a:lnTo>
                      <a:pt x="48" y="503"/>
                    </a:lnTo>
                    <a:lnTo>
                      <a:pt x="49" y="503"/>
                    </a:lnTo>
                    <a:lnTo>
                      <a:pt x="53" y="507"/>
                    </a:lnTo>
                    <a:lnTo>
                      <a:pt x="53" y="507"/>
                    </a:lnTo>
                    <a:lnTo>
                      <a:pt x="58" y="513"/>
                    </a:lnTo>
                    <a:lnTo>
                      <a:pt x="59" y="510"/>
                    </a:lnTo>
                    <a:lnTo>
                      <a:pt x="61" y="512"/>
                    </a:lnTo>
                    <a:lnTo>
                      <a:pt x="66" y="510"/>
                    </a:lnTo>
                    <a:lnTo>
                      <a:pt x="71" y="505"/>
                    </a:lnTo>
                    <a:lnTo>
                      <a:pt x="73" y="505"/>
                    </a:lnTo>
                    <a:lnTo>
                      <a:pt x="74" y="503"/>
                    </a:lnTo>
                    <a:lnTo>
                      <a:pt x="76" y="503"/>
                    </a:lnTo>
                    <a:lnTo>
                      <a:pt x="78" y="507"/>
                    </a:lnTo>
                    <a:lnTo>
                      <a:pt x="79" y="507"/>
                    </a:lnTo>
                    <a:lnTo>
                      <a:pt x="88" y="498"/>
                    </a:lnTo>
                    <a:lnTo>
                      <a:pt x="88" y="497"/>
                    </a:lnTo>
                    <a:lnTo>
                      <a:pt x="84" y="492"/>
                    </a:lnTo>
                    <a:lnTo>
                      <a:pt x="91" y="495"/>
                    </a:lnTo>
                    <a:lnTo>
                      <a:pt x="96" y="490"/>
                    </a:lnTo>
                    <a:lnTo>
                      <a:pt x="94" y="489"/>
                    </a:lnTo>
                    <a:lnTo>
                      <a:pt x="98" y="487"/>
                    </a:lnTo>
                    <a:lnTo>
                      <a:pt x="98" y="485"/>
                    </a:lnTo>
                    <a:lnTo>
                      <a:pt x="101" y="482"/>
                    </a:lnTo>
                    <a:lnTo>
                      <a:pt x="104" y="482"/>
                    </a:lnTo>
                    <a:lnTo>
                      <a:pt x="106" y="479"/>
                    </a:lnTo>
                    <a:lnTo>
                      <a:pt x="103" y="475"/>
                    </a:lnTo>
                    <a:lnTo>
                      <a:pt x="103" y="472"/>
                    </a:lnTo>
                    <a:lnTo>
                      <a:pt x="99" y="467"/>
                    </a:lnTo>
                    <a:lnTo>
                      <a:pt x="96" y="465"/>
                    </a:lnTo>
                    <a:lnTo>
                      <a:pt x="96" y="462"/>
                    </a:lnTo>
                    <a:lnTo>
                      <a:pt x="98" y="462"/>
                    </a:lnTo>
                    <a:lnTo>
                      <a:pt x="103" y="467"/>
                    </a:lnTo>
                    <a:lnTo>
                      <a:pt x="104" y="474"/>
                    </a:lnTo>
                    <a:lnTo>
                      <a:pt x="106" y="475"/>
                    </a:lnTo>
                    <a:lnTo>
                      <a:pt x="109" y="475"/>
                    </a:lnTo>
                    <a:lnTo>
                      <a:pt x="109" y="477"/>
                    </a:lnTo>
                    <a:lnTo>
                      <a:pt x="111" y="480"/>
                    </a:lnTo>
                    <a:lnTo>
                      <a:pt x="116" y="479"/>
                    </a:lnTo>
                    <a:lnTo>
                      <a:pt x="114" y="475"/>
                    </a:lnTo>
                    <a:lnTo>
                      <a:pt x="113" y="475"/>
                    </a:lnTo>
                    <a:lnTo>
                      <a:pt x="114" y="472"/>
                    </a:lnTo>
                    <a:lnTo>
                      <a:pt x="117" y="475"/>
                    </a:lnTo>
                    <a:lnTo>
                      <a:pt x="117" y="477"/>
                    </a:lnTo>
                    <a:lnTo>
                      <a:pt x="124" y="472"/>
                    </a:lnTo>
                    <a:lnTo>
                      <a:pt x="126" y="467"/>
                    </a:lnTo>
                    <a:lnTo>
                      <a:pt x="124" y="462"/>
                    </a:lnTo>
                    <a:lnTo>
                      <a:pt x="121" y="462"/>
                    </a:lnTo>
                    <a:lnTo>
                      <a:pt x="119" y="459"/>
                    </a:lnTo>
                    <a:lnTo>
                      <a:pt x="121" y="457"/>
                    </a:lnTo>
                    <a:lnTo>
                      <a:pt x="122" y="455"/>
                    </a:lnTo>
                    <a:lnTo>
                      <a:pt x="124" y="455"/>
                    </a:lnTo>
                    <a:lnTo>
                      <a:pt x="126" y="454"/>
                    </a:lnTo>
                    <a:lnTo>
                      <a:pt x="124" y="450"/>
                    </a:lnTo>
                    <a:lnTo>
                      <a:pt x="124" y="447"/>
                    </a:lnTo>
                    <a:lnTo>
                      <a:pt x="127" y="444"/>
                    </a:lnTo>
                    <a:lnTo>
                      <a:pt x="131" y="447"/>
                    </a:lnTo>
                    <a:lnTo>
                      <a:pt x="127" y="452"/>
                    </a:lnTo>
                    <a:lnTo>
                      <a:pt x="129" y="457"/>
                    </a:lnTo>
                    <a:lnTo>
                      <a:pt x="127" y="460"/>
                    </a:lnTo>
                    <a:lnTo>
                      <a:pt x="131" y="464"/>
                    </a:lnTo>
                    <a:lnTo>
                      <a:pt x="131" y="467"/>
                    </a:lnTo>
                    <a:lnTo>
                      <a:pt x="136" y="472"/>
                    </a:lnTo>
                    <a:lnTo>
                      <a:pt x="142" y="470"/>
                    </a:lnTo>
                    <a:lnTo>
                      <a:pt x="144" y="474"/>
                    </a:lnTo>
                    <a:lnTo>
                      <a:pt x="142" y="475"/>
                    </a:lnTo>
                    <a:lnTo>
                      <a:pt x="146" y="477"/>
                    </a:lnTo>
                    <a:lnTo>
                      <a:pt x="149" y="480"/>
                    </a:lnTo>
                    <a:lnTo>
                      <a:pt x="151" y="477"/>
                    </a:lnTo>
                    <a:lnTo>
                      <a:pt x="151" y="464"/>
                    </a:lnTo>
                    <a:lnTo>
                      <a:pt x="147" y="457"/>
                    </a:lnTo>
                    <a:lnTo>
                      <a:pt x="149" y="454"/>
                    </a:lnTo>
                    <a:lnTo>
                      <a:pt x="152" y="452"/>
                    </a:lnTo>
                    <a:lnTo>
                      <a:pt x="149" y="447"/>
                    </a:lnTo>
                    <a:lnTo>
                      <a:pt x="151" y="445"/>
                    </a:lnTo>
                    <a:lnTo>
                      <a:pt x="159" y="444"/>
                    </a:lnTo>
                    <a:lnTo>
                      <a:pt x="161" y="440"/>
                    </a:lnTo>
                    <a:lnTo>
                      <a:pt x="161" y="437"/>
                    </a:lnTo>
                    <a:lnTo>
                      <a:pt x="164" y="429"/>
                    </a:lnTo>
                    <a:lnTo>
                      <a:pt x="161" y="425"/>
                    </a:lnTo>
                    <a:lnTo>
                      <a:pt x="159" y="415"/>
                    </a:lnTo>
                    <a:lnTo>
                      <a:pt x="154" y="407"/>
                    </a:lnTo>
                    <a:lnTo>
                      <a:pt x="154" y="404"/>
                    </a:lnTo>
                    <a:lnTo>
                      <a:pt x="166" y="400"/>
                    </a:lnTo>
                    <a:lnTo>
                      <a:pt x="166" y="392"/>
                    </a:lnTo>
                    <a:lnTo>
                      <a:pt x="167" y="389"/>
                    </a:lnTo>
                    <a:lnTo>
                      <a:pt x="159" y="379"/>
                    </a:lnTo>
                    <a:lnTo>
                      <a:pt x="152" y="377"/>
                    </a:lnTo>
                    <a:lnTo>
                      <a:pt x="152" y="369"/>
                    </a:lnTo>
                    <a:lnTo>
                      <a:pt x="154" y="361"/>
                    </a:lnTo>
                    <a:lnTo>
                      <a:pt x="152" y="351"/>
                    </a:lnTo>
                    <a:lnTo>
                      <a:pt x="149" y="346"/>
                    </a:lnTo>
                    <a:lnTo>
                      <a:pt x="152" y="339"/>
                    </a:lnTo>
                    <a:lnTo>
                      <a:pt x="151" y="327"/>
                    </a:lnTo>
                    <a:lnTo>
                      <a:pt x="149" y="316"/>
                    </a:lnTo>
                    <a:lnTo>
                      <a:pt x="151" y="306"/>
                    </a:lnTo>
                    <a:lnTo>
                      <a:pt x="156" y="298"/>
                    </a:lnTo>
                    <a:lnTo>
                      <a:pt x="161" y="294"/>
                    </a:lnTo>
                    <a:lnTo>
                      <a:pt x="167" y="296"/>
                    </a:lnTo>
                    <a:lnTo>
                      <a:pt x="176" y="296"/>
                    </a:lnTo>
                    <a:lnTo>
                      <a:pt x="179" y="291"/>
                    </a:lnTo>
                    <a:lnTo>
                      <a:pt x="179" y="283"/>
                    </a:lnTo>
                    <a:lnTo>
                      <a:pt x="177" y="279"/>
                    </a:lnTo>
                    <a:lnTo>
                      <a:pt x="177" y="274"/>
                    </a:lnTo>
                    <a:lnTo>
                      <a:pt x="186" y="256"/>
                    </a:lnTo>
                    <a:lnTo>
                      <a:pt x="186" y="246"/>
                    </a:lnTo>
                    <a:lnTo>
                      <a:pt x="187" y="236"/>
                    </a:lnTo>
                    <a:lnTo>
                      <a:pt x="191" y="231"/>
                    </a:lnTo>
                    <a:lnTo>
                      <a:pt x="191" y="224"/>
                    </a:lnTo>
                    <a:lnTo>
                      <a:pt x="187" y="221"/>
                    </a:lnTo>
                    <a:lnTo>
                      <a:pt x="187" y="216"/>
                    </a:lnTo>
                    <a:lnTo>
                      <a:pt x="194" y="213"/>
                    </a:lnTo>
                    <a:lnTo>
                      <a:pt x="202" y="211"/>
                    </a:lnTo>
                    <a:lnTo>
                      <a:pt x="207" y="208"/>
                    </a:lnTo>
                    <a:lnTo>
                      <a:pt x="207" y="203"/>
                    </a:lnTo>
                    <a:lnTo>
                      <a:pt x="214" y="193"/>
                    </a:lnTo>
                    <a:lnTo>
                      <a:pt x="220" y="185"/>
                    </a:lnTo>
                    <a:lnTo>
                      <a:pt x="222" y="180"/>
                    </a:lnTo>
                    <a:lnTo>
                      <a:pt x="220" y="173"/>
                    </a:lnTo>
                    <a:lnTo>
                      <a:pt x="217" y="170"/>
                    </a:lnTo>
                    <a:lnTo>
                      <a:pt x="217" y="160"/>
                    </a:lnTo>
                    <a:lnTo>
                      <a:pt x="220" y="158"/>
                    </a:lnTo>
                    <a:lnTo>
                      <a:pt x="224" y="155"/>
                    </a:lnTo>
                    <a:lnTo>
                      <a:pt x="224" y="150"/>
                    </a:lnTo>
                    <a:lnTo>
                      <a:pt x="227" y="148"/>
                    </a:lnTo>
                    <a:lnTo>
                      <a:pt x="232" y="141"/>
                    </a:lnTo>
                    <a:lnTo>
                      <a:pt x="237" y="136"/>
                    </a:lnTo>
                    <a:lnTo>
                      <a:pt x="242" y="140"/>
                    </a:lnTo>
                    <a:lnTo>
                      <a:pt x="244" y="141"/>
                    </a:lnTo>
                    <a:lnTo>
                      <a:pt x="247" y="141"/>
                    </a:lnTo>
                    <a:lnTo>
                      <a:pt x="250" y="138"/>
                    </a:lnTo>
                    <a:lnTo>
                      <a:pt x="249" y="133"/>
                    </a:lnTo>
                    <a:lnTo>
                      <a:pt x="250" y="131"/>
                    </a:lnTo>
                    <a:lnTo>
                      <a:pt x="250" y="128"/>
                    </a:lnTo>
                    <a:lnTo>
                      <a:pt x="252" y="126"/>
                    </a:lnTo>
                    <a:lnTo>
                      <a:pt x="249" y="121"/>
                    </a:lnTo>
                    <a:lnTo>
                      <a:pt x="250" y="120"/>
                    </a:lnTo>
                    <a:lnTo>
                      <a:pt x="257" y="120"/>
                    </a:lnTo>
                    <a:lnTo>
                      <a:pt x="264" y="116"/>
                    </a:lnTo>
                    <a:lnTo>
                      <a:pt x="270" y="120"/>
                    </a:lnTo>
                    <a:lnTo>
                      <a:pt x="275" y="121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7" y="125"/>
                    </a:lnTo>
                    <a:lnTo>
                      <a:pt x="289" y="125"/>
                    </a:lnTo>
                    <a:lnTo>
                      <a:pt x="289" y="120"/>
                    </a:lnTo>
                    <a:lnTo>
                      <a:pt x="287" y="116"/>
                    </a:lnTo>
                    <a:lnTo>
                      <a:pt x="287" y="110"/>
                    </a:lnTo>
                    <a:lnTo>
                      <a:pt x="292" y="108"/>
                    </a:lnTo>
                    <a:lnTo>
                      <a:pt x="290" y="103"/>
                    </a:lnTo>
                    <a:lnTo>
                      <a:pt x="287" y="101"/>
                    </a:lnTo>
                    <a:lnTo>
                      <a:pt x="285" y="97"/>
                    </a:lnTo>
                    <a:lnTo>
                      <a:pt x="292" y="98"/>
                    </a:lnTo>
                    <a:lnTo>
                      <a:pt x="297" y="98"/>
                    </a:lnTo>
                    <a:lnTo>
                      <a:pt x="299" y="97"/>
                    </a:lnTo>
                    <a:lnTo>
                      <a:pt x="299" y="97"/>
                    </a:lnTo>
                    <a:lnTo>
                      <a:pt x="300" y="95"/>
                    </a:lnTo>
                    <a:lnTo>
                      <a:pt x="302" y="97"/>
                    </a:lnTo>
                    <a:lnTo>
                      <a:pt x="304" y="95"/>
                    </a:lnTo>
                    <a:lnTo>
                      <a:pt x="302" y="92"/>
                    </a:lnTo>
                    <a:lnTo>
                      <a:pt x="304" y="88"/>
                    </a:lnTo>
                    <a:lnTo>
                      <a:pt x="307" y="87"/>
                    </a:lnTo>
                    <a:lnTo>
                      <a:pt x="310" y="87"/>
                    </a:lnTo>
                    <a:lnTo>
                      <a:pt x="314" y="92"/>
                    </a:lnTo>
                    <a:lnTo>
                      <a:pt x="325" y="98"/>
                    </a:lnTo>
                    <a:lnTo>
                      <a:pt x="327" y="103"/>
                    </a:lnTo>
                    <a:lnTo>
                      <a:pt x="330" y="108"/>
                    </a:lnTo>
                    <a:lnTo>
                      <a:pt x="337" y="111"/>
                    </a:lnTo>
                    <a:lnTo>
                      <a:pt x="348" y="111"/>
                    </a:lnTo>
                    <a:lnTo>
                      <a:pt x="355" y="106"/>
                    </a:lnTo>
                    <a:lnTo>
                      <a:pt x="358" y="103"/>
                    </a:lnTo>
                    <a:lnTo>
                      <a:pt x="363" y="103"/>
                    </a:lnTo>
                    <a:lnTo>
                      <a:pt x="372" y="108"/>
                    </a:lnTo>
                    <a:lnTo>
                      <a:pt x="377" y="108"/>
                    </a:lnTo>
                    <a:lnTo>
                      <a:pt x="378" y="103"/>
                    </a:lnTo>
                    <a:lnTo>
                      <a:pt x="382" y="103"/>
                    </a:lnTo>
                    <a:lnTo>
                      <a:pt x="387" y="100"/>
                    </a:lnTo>
                    <a:lnTo>
                      <a:pt x="390" y="100"/>
                    </a:lnTo>
                    <a:lnTo>
                      <a:pt x="395" y="97"/>
                    </a:lnTo>
                    <a:lnTo>
                      <a:pt x="397" y="93"/>
                    </a:lnTo>
                    <a:lnTo>
                      <a:pt x="395" y="90"/>
                    </a:lnTo>
                    <a:lnTo>
                      <a:pt x="392" y="83"/>
                    </a:lnTo>
                    <a:lnTo>
                      <a:pt x="393" y="72"/>
                    </a:lnTo>
                    <a:lnTo>
                      <a:pt x="395" y="68"/>
                    </a:lnTo>
                    <a:lnTo>
                      <a:pt x="393" y="65"/>
                    </a:lnTo>
                    <a:lnTo>
                      <a:pt x="395" y="63"/>
                    </a:lnTo>
                    <a:lnTo>
                      <a:pt x="400" y="60"/>
                    </a:lnTo>
                    <a:lnTo>
                      <a:pt x="398" y="57"/>
                    </a:lnTo>
                    <a:lnTo>
                      <a:pt x="403" y="55"/>
                    </a:lnTo>
                    <a:lnTo>
                      <a:pt x="410" y="55"/>
                    </a:lnTo>
                    <a:lnTo>
                      <a:pt x="413" y="55"/>
                    </a:lnTo>
                    <a:lnTo>
                      <a:pt x="413" y="53"/>
                    </a:lnTo>
                    <a:lnTo>
                      <a:pt x="418" y="50"/>
                    </a:lnTo>
                    <a:lnTo>
                      <a:pt x="428" y="48"/>
                    </a:lnTo>
                    <a:lnTo>
                      <a:pt x="433" y="52"/>
                    </a:lnTo>
                    <a:lnTo>
                      <a:pt x="438" y="58"/>
                    </a:lnTo>
                    <a:lnTo>
                      <a:pt x="441" y="62"/>
                    </a:lnTo>
                    <a:lnTo>
                      <a:pt x="446" y="63"/>
                    </a:lnTo>
                    <a:lnTo>
                      <a:pt x="455" y="65"/>
                    </a:lnTo>
                    <a:lnTo>
                      <a:pt x="456" y="68"/>
                    </a:lnTo>
                    <a:lnTo>
                      <a:pt x="461" y="73"/>
                    </a:lnTo>
                    <a:lnTo>
                      <a:pt x="460" y="77"/>
                    </a:lnTo>
                    <a:lnTo>
                      <a:pt x="456" y="83"/>
                    </a:lnTo>
                    <a:lnTo>
                      <a:pt x="456" y="92"/>
                    </a:lnTo>
                    <a:lnTo>
                      <a:pt x="456" y="92"/>
                    </a:lnTo>
                    <a:close/>
                    <a:moveTo>
                      <a:pt x="21" y="472"/>
                    </a:moveTo>
                    <a:lnTo>
                      <a:pt x="24" y="475"/>
                    </a:lnTo>
                    <a:lnTo>
                      <a:pt x="21" y="475"/>
                    </a:lnTo>
                    <a:lnTo>
                      <a:pt x="21" y="472"/>
                    </a:lnTo>
                    <a:lnTo>
                      <a:pt x="21" y="472"/>
                    </a:lnTo>
                    <a:close/>
                    <a:moveTo>
                      <a:pt x="11" y="447"/>
                    </a:moveTo>
                    <a:lnTo>
                      <a:pt x="11" y="447"/>
                    </a:lnTo>
                    <a:lnTo>
                      <a:pt x="13" y="447"/>
                    </a:lnTo>
                    <a:lnTo>
                      <a:pt x="16" y="449"/>
                    </a:lnTo>
                    <a:lnTo>
                      <a:pt x="15" y="452"/>
                    </a:lnTo>
                    <a:lnTo>
                      <a:pt x="11" y="447"/>
                    </a:lnTo>
                    <a:lnTo>
                      <a:pt x="11" y="447"/>
                    </a:lnTo>
                    <a:close/>
                    <a:moveTo>
                      <a:pt x="19" y="439"/>
                    </a:moveTo>
                    <a:lnTo>
                      <a:pt x="18" y="442"/>
                    </a:lnTo>
                    <a:lnTo>
                      <a:pt x="16" y="442"/>
                    </a:lnTo>
                    <a:lnTo>
                      <a:pt x="19" y="439"/>
                    </a:lnTo>
                    <a:lnTo>
                      <a:pt x="19" y="439"/>
                    </a:lnTo>
                    <a:close/>
                    <a:moveTo>
                      <a:pt x="15" y="437"/>
                    </a:moveTo>
                    <a:lnTo>
                      <a:pt x="15" y="440"/>
                    </a:lnTo>
                    <a:lnTo>
                      <a:pt x="10" y="440"/>
                    </a:lnTo>
                    <a:lnTo>
                      <a:pt x="15" y="437"/>
                    </a:lnTo>
                    <a:lnTo>
                      <a:pt x="15" y="437"/>
                    </a:lnTo>
                    <a:close/>
                    <a:moveTo>
                      <a:pt x="6" y="420"/>
                    </a:moveTo>
                    <a:lnTo>
                      <a:pt x="3" y="419"/>
                    </a:lnTo>
                    <a:lnTo>
                      <a:pt x="6" y="415"/>
                    </a:lnTo>
                    <a:lnTo>
                      <a:pt x="6" y="415"/>
                    </a:lnTo>
                    <a:lnTo>
                      <a:pt x="6" y="420"/>
                    </a:lnTo>
                    <a:lnTo>
                      <a:pt x="6" y="420"/>
                    </a:lnTo>
                    <a:close/>
                    <a:moveTo>
                      <a:pt x="5" y="424"/>
                    </a:moveTo>
                    <a:lnTo>
                      <a:pt x="8" y="424"/>
                    </a:lnTo>
                    <a:lnTo>
                      <a:pt x="6" y="425"/>
                    </a:lnTo>
                    <a:lnTo>
                      <a:pt x="5" y="424"/>
                    </a:lnTo>
                    <a:lnTo>
                      <a:pt x="5" y="424"/>
                    </a:lnTo>
                    <a:close/>
                    <a:moveTo>
                      <a:pt x="13" y="427"/>
                    </a:moveTo>
                    <a:lnTo>
                      <a:pt x="13" y="427"/>
                    </a:lnTo>
                    <a:lnTo>
                      <a:pt x="18" y="432"/>
                    </a:lnTo>
                    <a:lnTo>
                      <a:pt x="16" y="435"/>
                    </a:lnTo>
                    <a:lnTo>
                      <a:pt x="13" y="427"/>
                    </a:lnTo>
                    <a:lnTo>
                      <a:pt x="13" y="427"/>
                    </a:lnTo>
                    <a:close/>
                    <a:moveTo>
                      <a:pt x="6" y="434"/>
                    </a:moveTo>
                    <a:lnTo>
                      <a:pt x="3" y="430"/>
                    </a:lnTo>
                    <a:lnTo>
                      <a:pt x="8" y="429"/>
                    </a:lnTo>
                    <a:lnTo>
                      <a:pt x="6" y="434"/>
                    </a:lnTo>
                    <a:lnTo>
                      <a:pt x="6" y="434"/>
                    </a:lnTo>
                    <a:close/>
                    <a:moveTo>
                      <a:pt x="3" y="407"/>
                    </a:moveTo>
                    <a:lnTo>
                      <a:pt x="0" y="410"/>
                    </a:lnTo>
                    <a:lnTo>
                      <a:pt x="1" y="412"/>
                    </a:lnTo>
                    <a:lnTo>
                      <a:pt x="5" y="410"/>
                    </a:lnTo>
                    <a:lnTo>
                      <a:pt x="3" y="407"/>
                    </a:lnTo>
                    <a:lnTo>
                      <a:pt x="3" y="407"/>
                    </a:lnTo>
                    <a:close/>
                    <a:moveTo>
                      <a:pt x="1" y="377"/>
                    </a:moveTo>
                    <a:lnTo>
                      <a:pt x="8" y="379"/>
                    </a:lnTo>
                    <a:lnTo>
                      <a:pt x="3" y="381"/>
                    </a:lnTo>
                    <a:lnTo>
                      <a:pt x="1" y="377"/>
                    </a:lnTo>
                    <a:lnTo>
                      <a:pt x="1" y="377"/>
                    </a:lnTo>
                    <a:close/>
                    <a:moveTo>
                      <a:pt x="3" y="369"/>
                    </a:moveTo>
                    <a:lnTo>
                      <a:pt x="8" y="372"/>
                    </a:lnTo>
                    <a:lnTo>
                      <a:pt x="6" y="376"/>
                    </a:lnTo>
                    <a:lnTo>
                      <a:pt x="3" y="369"/>
                    </a:lnTo>
                    <a:lnTo>
                      <a:pt x="3" y="369"/>
                    </a:lnTo>
                    <a:close/>
                    <a:moveTo>
                      <a:pt x="18" y="361"/>
                    </a:moveTo>
                    <a:lnTo>
                      <a:pt x="18" y="364"/>
                    </a:lnTo>
                    <a:lnTo>
                      <a:pt x="15" y="364"/>
                    </a:lnTo>
                    <a:lnTo>
                      <a:pt x="18" y="361"/>
                    </a:lnTo>
                    <a:lnTo>
                      <a:pt x="18" y="361"/>
                    </a:lnTo>
                    <a:close/>
                    <a:moveTo>
                      <a:pt x="21" y="357"/>
                    </a:moveTo>
                    <a:lnTo>
                      <a:pt x="24" y="359"/>
                    </a:lnTo>
                    <a:lnTo>
                      <a:pt x="26" y="362"/>
                    </a:lnTo>
                    <a:lnTo>
                      <a:pt x="21" y="364"/>
                    </a:lnTo>
                    <a:lnTo>
                      <a:pt x="21" y="357"/>
                    </a:lnTo>
                    <a:lnTo>
                      <a:pt x="21" y="357"/>
                    </a:lnTo>
                    <a:close/>
                    <a:moveTo>
                      <a:pt x="64" y="331"/>
                    </a:moveTo>
                    <a:lnTo>
                      <a:pt x="64" y="331"/>
                    </a:lnTo>
                    <a:lnTo>
                      <a:pt x="69" y="326"/>
                    </a:lnTo>
                    <a:lnTo>
                      <a:pt x="69" y="331"/>
                    </a:lnTo>
                    <a:lnTo>
                      <a:pt x="68" y="334"/>
                    </a:lnTo>
                    <a:lnTo>
                      <a:pt x="64" y="331"/>
                    </a:lnTo>
                    <a:lnTo>
                      <a:pt x="64" y="331"/>
                    </a:lnTo>
                    <a:close/>
                    <a:moveTo>
                      <a:pt x="66" y="324"/>
                    </a:moveTo>
                    <a:lnTo>
                      <a:pt x="66" y="324"/>
                    </a:lnTo>
                    <a:lnTo>
                      <a:pt x="64" y="326"/>
                    </a:lnTo>
                    <a:lnTo>
                      <a:pt x="59" y="321"/>
                    </a:lnTo>
                    <a:lnTo>
                      <a:pt x="64" y="321"/>
                    </a:lnTo>
                    <a:lnTo>
                      <a:pt x="66" y="324"/>
                    </a:lnTo>
                    <a:lnTo>
                      <a:pt x="66" y="324"/>
                    </a:lnTo>
                    <a:close/>
                    <a:moveTo>
                      <a:pt x="71" y="314"/>
                    </a:moveTo>
                    <a:lnTo>
                      <a:pt x="78" y="309"/>
                    </a:lnTo>
                    <a:lnTo>
                      <a:pt x="81" y="311"/>
                    </a:lnTo>
                    <a:lnTo>
                      <a:pt x="76" y="314"/>
                    </a:lnTo>
                    <a:lnTo>
                      <a:pt x="71" y="314"/>
                    </a:lnTo>
                    <a:lnTo>
                      <a:pt x="71" y="314"/>
                    </a:lnTo>
                    <a:close/>
                    <a:moveTo>
                      <a:pt x="71" y="322"/>
                    </a:moveTo>
                    <a:lnTo>
                      <a:pt x="74" y="317"/>
                    </a:lnTo>
                    <a:lnTo>
                      <a:pt x="79" y="317"/>
                    </a:lnTo>
                    <a:lnTo>
                      <a:pt x="81" y="316"/>
                    </a:lnTo>
                    <a:lnTo>
                      <a:pt x="84" y="316"/>
                    </a:lnTo>
                    <a:lnTo>
                      <a:pt x="88" y="317"/>
                    </a:lnTo>
                    <a:lnTo>
                      <a:pt x="84" y="322"/>
                    </a:lnTo>
                    <a:lnTo>
                      <a:pt x="78" y="321"/>
                    </a:lnTo>
                    <a:lnTo>
                      <a:pt x="74" y="322"/>
                    </a:lnTo>
                    <a:lnTo>
                      <a:pt x="71" y="322"/>
                    </a:lnTo>
                    <a:lnTo>
                      <a:pt x="71" y="322"/>
                    </a:lnTo>
                    <a:close/>
                    <a:moveTo>
                      <a:pt x="134" y="261"/>
                    </a:moveTo>
                    <a:lnTo>
                      <a:pt x="136" y="258"/>
                    </a:lnTo>
                    <a:lnTo>
                      <a:pt x="142" y="256"/>
                    </a:lnTo>
                    <a:lnTo>
                      <a:pt x="137" y="263"/>
                    </a:lnTo>
                    <a:lnTo>
                      <a:pt x="134" y="261"/>
                    </a:lnTo>
                    <a:lnTo>
                      <a:pt x="134" y="261"/>
                    </a:lnTo>
                    <a:close/>
                    <a:moveTo>
                      <a:pt x="129" y="271"/>
                    </a:moveTo>
                    <a:lnTo>
                      <a:pt x="127" y="268"/>
                    </a:lnTo>
                    <a:lnTo>
                      <a:pt x="124" y="269"/>
                    </a:lnTo>
                    <a:lnTo>
                      <a:pt x="127" y="264"/>
                    </a:lnTo>
                    <a:lnTo>
                      <a:pt x="134" y="264"/>
                    </a:lnTo>
                    <a:lnTo>
                      <a:pt x="137" y="263"/>
                    </a:lnTo>
                    <a:lnTo>
                      <a:pt x="132" y="269"/>
                    </a:lnTo>
                    <a:lnTo>
                      <a:pt x="129" y="271"/>
                    </a:lnTo>
                    <a:lnTo>
                      <a:pt x="129" y="271"/>
                    </a:lnTo>
                    <a:close/>
                    <a:moveTo>
                      <a:pt x="141" y="234"/>
                    </a:moveTo>
                    <a:lnTo>
                      <a:pt x="142" y="236"/>
                    </a:lnTo>
                    <a:lnTo>
                      <a:pt x="144" y="238"/>
                    </a:lnTo>
                    <a:lnTo>
                      <a:pt x="141" y="239"/>
                    </a:lnTo>
                    <a:lnTo>
                      <a:pt x="139" y="238"/>
                    </a:lnTo>
                    <a:lnTo>
                      <a:pt x="141" y="234"/>
                    </a:lnTo>
                    <a:lnTo>
                      <a:pt x="141" y="234"/>
                    </a:lnTo>
                    <a:close/>
                    <a:moveTo>
                      <a:pt x="151" y="226"/>
                    </a:moveTo>
                    <a:lnTo>
                      <a:pt x="152" y="224"/>
                    </a:lnTo>
                    <a:lnTo>
                      <a:pt x="157" y="224"/>
                    </a:lnTo>
                    <a:lnTo>
                      <a:pt x="151" y="229"/>
                    </a:lnTo>
                    <a:lnTo>
                      <a:pt x="151" y="226"/>
                    </a:lnTo>
                    <a:lnTo>
                      <a:pt x="151" y="226"/>
                    </a:lnTo>
                    <a:close/>
                    <a:moveTo>
                      <a:pt x="147" y="218"/>
                    </a:moveTo>
                    <a:lnTo>
                      <a:pt x="152" y="214"/>
                    </a:lnTo>
                    <a:lnTo>
                      <a:pt x="152" y="218"/>
                    </a:lnTo>
                    <a:lnTo>
                      <a:pt x="149" y="224"/>
                    </a:lnTo>
                    <a:lnTo>
                      <a:pt x="147" y="218"/>
                    </a:lnTo>
                    <a:lnTo>
                      <a:pt x="147" y="218"/>
                    </a:lnTo>
                    <a:close/>
                    <a:moveTo>
                      <a:pt x="177" y="178"/>
                    </a:moveTo>
                    <a:lnTo>
                      <a:pt x="179" y="176"/>
                    </a:lnTo>
                    <a:lnTo>
                      <a:pt x="182" y="176"/>
                    </a:lnTo>
                    <a:lnTo>
                      <a:pt x="179" y="181"/>
                    </a:lnTo>
                    <a:lnTo>
                      <a:pt x="177" y="178"/>
                    </a:lnTo>
                    <a:lnTo>
                      <a:pt x="177" y="178"/>
                    </a:lnTo>
                    <a:close/>
                    <a:moveTo>
                      <a:pt x="147" y="156"/>
                    </a:moveTo>
                    <a:lnTo>
                      <a:pt x="151" y="158"/>
                    </a:lnTo>
                    <a:lnTo>
                      <a:pt x="149" y="161"/>
                    </a:lnTo>
                    <a:lnTo>
                      <a:pt x="146" y="160"/>
                    </a:lnTo>
                    <a:lnTo>
                      <a:pt x="147" y="156"/>
                    </a:lnTo>
                    <a:lnTo>
                      <a:pt x="147" y="156"/>
                    </a:lnTo>
                    <a:close/>
                    <a:moveTo>
                      <a:pt x="156" y="145"/>
                    </a:moveTo>
                    <a:lnTo>
                      <a:pt x="151" y="150"/>
                    </a:lnTo>
                    <a:lnTo>
                      <a:pt x="151" y="146"/>
                    </a:lnTo>
                    <a:lnTo>
                      <a:pt x="156" y="140"/>
                    </a:lnTo>
                    <a:lnTo>
                      <a:pt x="156" y="145"/>
                    </a:lnTo>
                    <a:lnTo>
                      <a:pt x="156" y="145"/>
                    </a:lnTo>
                    <a:close/>
                    <a:moveTo>
                      <a:pt x="159" y="141"/>
                    </a:moveTo>
                    <a:lnTo>
                      <a:pt x="157" y="140"/>
                    </a:lnTo>
                    <a:lnTo>
                      <a:pt x="159" y="136"/>
                    </a:lnTo>
                    <a:lnTo>
                      <a:pt x="162" y="138"/>
                    </a:lnTo>
                    <a:lnTo>
                      <a:pt x="159" y="141"/>
                    </a:lnTo>
                    <a:lnTo>
                      <a:pt x="159" y="141"/>
                    </a:lnTo>
                    <a:close/>
                    <a:moveTo>
                      <a:pt x="174" y="131"/>
                    </a:moveTo>
                    <a:lnTo>
                      <a:pt x="174" y="136"/>
                    </a:lnTo>
                    <a:lnTo>
                      <a:pt x="164" y="141"/>
                    </a:lnTo>
                    <a:lnTo>
                      <a:pt x="166" y="135"/>
                    </a:lnTo>
                    <a:lnTo>
                      <a:pt x="174" y="131"/>
                    </a:lnTo>
                    <a:lnTo>
                      <a:pt x="174" y="131"/>
                    </a:lnTo>
                    <a:close/>
                    <a:moveTo>
                      <a:pt x="182" y="123"/>
                    </a:moveTo>
                    <a:lnTo>
                      <a:pt x="184" y="118"/>
                    </a:lnTo>
                    <a:lnTo>
                      <a:pt x="189" y="121"/>
                    </a:lnTo>
                    <a:lnTo>
                      <a:pt x="182" y="123"/>
                    </a:lnTo>
                    <a:lnTo>
                      <a:pt x="182" y="123"/>
                    </a:lnTo>
                    <a:close/>
                    <a:moveTo>
                      <a:pt x="187" y="125"/>
                    </a:moveTo>
                    <a:lnTo>
                      <a:pt x="187" y="133"/>
                    </a:lnTo>
                    <a:lnTo>
                      <a:pt x="182" y="131"/>
                    </a:lnTo>
                    <a:lnTo>
                      <a:pt x="176" y="135"/>
                    </a:lnTo>
                    <a:lnTo>
                      <a:pt x="177" y="130"/>
                    </a:lnTo>
                    <a:lnTo>
                      <a:pt x="187" y="125"/>
                    </a:lnTo>
                    <a:lnTo>
                      <a:pt x="187" y="125"/>
                    </a:lnTo>
                    <a:close/>
                    <a:moveTo>
                      <a:pt x="191" y="103"/>
                    </a:moveTo>
                    <a:lnTo>
                      <a:pt x="192" y="108"/>
                    </a:lnTo>
                    <a:lnTo>
                      <a:pt x="192" y="116"/>
                    </a:lnTo>
                    <a:lnTo>
                      <a:pt x="186" y="118"/>
                    </a:lnTo>
                    <a:lnTo>
                      <a:pt x="184" y="116"/>
                    </a:lnTo>
                    <a:lnTo>
                      <a:pt x="189" y="111"/>
                    </a:lnTo>
                    <a:lnTo>
                      <a:pt x="186" y="111"/>
                    </a:lnTo>
                    <a:lnTo>
                      <a:pt x="181" y="116"/>
                    </a:lnTo>
                    <a:lnTo>
                      <a:pt x="179" y="113"/>
                    </a:lnTo>
                    <a:lnTo>
                      <a:pt x="181" y="110"/>
                    </a:lnTo>
                    <a:lnTo>
                      <a:pt x="184" y="110"/>
                    </a:lnTo>
                    <a:lnTo>
                      <a:pt x="189" y="105"/>
                    </a:lnTo>
                    <a:lnTo>
                      <a:pt x="187" y="103"/>
                    </a:lnTo>
                    <a:lnTo>
                      <a:pt x="191" y="103"/>
                    </a:lnTo>
                    <a:lnTo>
                      <a:pt x="191" y="103"/>
                    </a:lnTo>
                    <a:close/>
                    <a:moveTo>
                      <a:pt x="196" y="105"/>
                    </a:moveTo>
                    <a:lnTo>
                      <a:pt x="194" y="103"/>
                    </a:lnTo>
                    <a:lnTo>
                      <a:pt x="194" y="98"/>
                    </a:lnTo>
                    <a:lnTo>
                      <a:pt x="201" y="93"/>
                    </a:lnTo>
                    <a:lnTo>
                      <a:pt x="201" y="88"/>
                    </a:lnTo>
                    <a:lnTo>
                      <a:pt x="207" y="87"/>
                    </a:lnTo>
                    <a:lnTo>
                      <a:pt x="209" y="92"/>
                    </a:lnTo>
                    <a:lnTo>
                      <a:pt x="204" y="95"/>
                    </a:lnTo>
                    <a:lnTo>
                      <a:pt x="202" y="98"/>
                    </a:lnTo>
                    <a:lnTo>
                      <a:pt x="196" y="105"/>
                    </a:lnTo>
                    <a:lnTo>
                      <a:pt x="196" y="105"/>
                    </a:lnTo>
                    <a:close/>
                    <a:moveTo>
                      <a:pt x="212" y="108"/>
                    </a:moveTo>
                    <a:lnTo>
                      <a:pt x="219" y="113"/>
                    </a:lnTo>
                    <a:lnTo>
                      <a:pt x="211" y="121"/>
                    </a:lnTo>
                    <a:lnTo>
                      <a:pt x="204" y="125"/>
                    </a:lnTo>
                    <a:lnTo>
                      <a:pt x="202" y="128"/>
                    </a:lnTo>
                    <a:lnTo>
                      <a:pt x="199" y="126"/>
                    </a:lnTo>
                    <a:lnTo>
                      <a:pt x="199" y="123"/>
                    </a:lnTo>
                    <a:lnTo>
                      <a:pt x="194" y="130"/>
                    </a:lnTo>
                    <a:lnTo>
                      <a:pt x="191" y="130"/>
                    </a:lnTo>
                    <a:lnTo>
                      <a:pt x="192" y="125"/>
                    </a:lnTo>
                    <a:lnTo>
                      <a:pt x="194" y="123"/>
                    </a:lnTo>
                    <a:lnTo>
                      <a:pt x="194" y="118"/>
                    </a:lnTo>
                    <a:lnTo>
                      <a:pt x="197" y="115"/>
                    </a:lnTo>
                    <a:lnTo>
                      <a:pt x="197" y="111"/>
                    </a:lnTo>
                    <a:lnTo>
                      <a:pt x="202" y="103"/>
                    </a:lnTo>
                    <a:lnTo>
                      <a:pt x="201" y="115"/>
                    </a:lnTo>
                    <a:lnTo>
                      <a:pt x="201" y="118"/>
                    </a:lnTo>
                    <a:lnTo>
                      <a:pt x="204" y="113"/>
                    </a:lnTo>
                    <a:lnTo>
                      <a:pt x="212" y="113"/>
                    </a:lnTo>
                    <a:lnTo>
                      <a:pt x="209" y="110"/>
                    </a:lnTo>
                    <a:lnTo>
                      <a:pt x="209" y="106"/>
                    </a:lnTo>
                    <a:lnTo>
                      <a:pt x="212" y="108"/>
                    </a:lnTo>
                    <a:lnTo>
                      <a:pt x="212" y="108"/>
                    </a:lnTo>
                    <a:close/>
                    <a:moveTo>
                      <a:pt x="212" y="103"/>
                    </a:moveTo>
                    <a:lnTo>
                      <a:pt x="211" y="101"/>
                    </a:lnTo>
                    <a:lnTo>
                      <a:pt x="214" y="100"/>
                    </a:lnTo>
                    <a:lnTo>
                      <a:pt x="219" y="103"/>
                    </a:lnTo>
                    <a:lnTo>
                      <a:pt x="219" y="106"/>
                    </a:lnTo>
                    <a:lnTo>
                      <a:pt x="212" y="103"/>
                    </a:lnTo>
                    <a:lnTo>
                      <a:pt x="212" y="103"/>
                    </a:lnTo>
                    <a:close/>
                    <a:moveTo>
                      <a:pt x="225" y="110"/>
                    </a:moveTo>
                    <a:lnTo>
                      <a:pt x="225" y="105"/>
                    </a:lnTo>
                    <a:lnTo>
                      <a:pt x="229" y="108"/>
                    </a:lnTo>
                    <a:lnTo>
                      <a:pt x="225" y="110"/>
                    </a:lnTo>
                    <a:lnTo>
                      <a:pt x="225" y="110"/>
                    </a:lnTo>
                    <a:close/>
                    <a:moveTo>
                      <a:pt x="240" y="87"/>
                    </a:moveTo>
                    <a:lnTo>
                      <a:pt x="240" y="88"/>
                    </a:lnTo>
                    <a:lnTo>
                      <a:pt x="242" y="92"/>
                    </a:lnTo>
                    <a:lnTo>
                      <a:pt x="235" y="93"/>
                    </a:lnTo>
                    <a:lnTo>
                      <a:pt x="234" y="95"/>
                    </a:lnTo>
                    <a:lnTo>
                      <a:pt x="229" y="95"/>
                    </a:lnTo>
                    <a:lnTo>
                      <a:pt x="227" y="100"/>
                    </a:lnTo>
                    <a:lnTo>
                      <a:pt x="225" y="100"/>
                    </a:lnTo>
                    <a:lnTo>
                      <a:pt x="225" y="97"/>
                    </a:lnTo>
                    <a:lnTo>
                      <a:pt x="220" y="97"/>
                    </a:lnTo>
                    <a:lnTo>
                      <a:pt x="225" y="92"/>
                    </a:lnTo>
                    <a:lnTo>
                      <a:pt x="220" y="92"/>
                    </a:lnTo>
                    <a:lnTo>
                      <a:pt x="222" y="87"/>
                    </a:lnTo>
                    <a:lnTo>
                      <a:pt x="229" y="85"/>
                    </a:lnTo>
                    <a:lnTo>
                      <a:pt x="222" y="83"/>
                    </a:lnTo>
                    <a:lnTo>
                      <a:pt x="225" y="78"/>
                    </a:lnTo>
                    <a:lnTo>
                      <a:pt x="229" y="80"/>
                    </a:lnTo>
                    <a:lnTo>
                      <a:pt x="229" y="77"/>
                    </a:lnTo>
                    <a:lnTo>
                      <a:pt x="235" y="77"/>
                    </a:lnTo>
                    <a:lnTo>
                      <a:pt x="237" y="80"/>
                    </a:lnTo>
                    <a:lnTo>
                      <a:pt x="240" y="82"/>
                    </a:lnTo>
                    <a:lnTo>
                      <a:pt x="240" y="87"/>
                    </a:lnTo>
                    <a:lnTo>
                      <a:pt x="240" y="87"/>
                    </a:lnTo>
                    <a:close/>
                    <a:moveTo>
                      <a:pt x="242" y="73"/>
                    </a:moveTo>
                    <a:lnTo>
                      <a:pt x="247" y="73"/>
                    </a:lnTo>
                    <a:lnTo>
                      <a:pt x="249" y="70"/>
                    </a:lnTo>
                    <a:lnTo>
                      <a:pt x="254" y="70"/>
                    </a:lnTo>
                    <a:lnTo>
                      <a:pt x="257" y="67"/>
                    </a:lnTo>
                    <a:lnTo>
                      <a:pt x="260" y="70"/>
                    </a:lnTo>
                    <a:lnTo>
                      <a:pt x="257" y="75"/>
                    </a:lnTo>
                    <a:lnTo>
                      <a:pt x="257" y="77"/>
                    </a:lnTo>
                    <a:lnTo>
                      <a:pt x="250" y="77"/>
                    </a:lnTo>
                    <a:lnTo>
                      <a:pt x="245" y="78"/>
                    </a:lnTo>
                    <a:lnTo>
                      <a:pt x="242" y="73"/>
                    </a:lnTo>
                    <a:lnTo>
                      <a:pt x="242" y="73"/>
                    </a:lnTo>
                    <a:close/>
                    <a:moveTo>
                      <a:pt x="260" y="48"/>
                    </a:moveTo>
                    <a:lnTo>
                      <a:pt x="260" y="47"/>
                    </a:lnTo>
                    <a:lnTo>
                      <a:pt x="264" y="45"/>
                    </a:lnTo>
                    <a:lnTo>
                      <a:pt x="260" y="48"/>
                    </a:lnTo>
                    <a:lnTo>
                      <a:pt x="260" y="48"/>
                    </a:lnTo>
                    <a:close/>
                    <a:moveTo>
                      <a:pt x="252" y="58"/>
                    </a:moveTo>
                    <a:lnTo>
                      <a:pt x="252" y="52"/>
                    </a:lnTo>
                    <a:lnTo>
                      <a:pt x="259" y="52"/>
                    </a:lnTo>
                    <a:lnTo>
                      <a:pt x="259" y="53"/>
                    </a:lnTo>
                    <a:lnTo>
                      <a:pt x="259" y="53"/>
                    </a:lnTo>
                    <a:lnTo>
                      <a:pt x="252" y="58"/>
                    </a:lnTo>
                    <a:lnTo>
                      <a:pt x="252" y="58"/>
                    </a:lnTo>
                    <a:close/>
                    <a:moveTo>
                      <a:pt x="269" y="65"/>
                    </a:moveTo>
                    <a:lnTo>
                      <a:pt x="270" y="60"/>
                    </a:lnTo>
                    <a:lnTo>
                      <a:pt x="272" y="63"/>
                    </a:lnTo>
                    <a:lnTo>
                      <a:pt x="269" y="65"/>
                    </a:lnTo>
                    <a:lnTo>
                      <a:pt x="269" y="65"/>
                    </a:lnTo>
                    <a:close/>
                    <a:moveTo>
                      <a:pt x="265" y="65"/>
                    </a:moveTo>
                    <a:lnTo>
                      <a:pt x="264" y="67"/>
                    </a:lnTo>
                    <a:lnTo>
                      <a:pt x="260" y="67"/>
                    </a:lnTo>
                    <a:lnTo>
                      <a:pt x="255" y="60"/>
                    </a:lnTo>
                    <a:lnTo>
                      <a:pt x="262" y="55"/>
                    </a:lnTo>
                    <a:lnTo>
                      <a:pt x="264" y="57"/>
                    </a:lnTo>
                    <a:lnTo>
                      <a:pt x="269" y="57"/>
                    </a:lnTo>
                    <a:lnTo>
                      <a:pt x="269" y="58"/>
                    </a:lnTo>
                    <a:lnTo>
                      <a:pt x="265" y="60"/>
                    </a:lnTo>
                    <a:lnTo>
                      <a:pt x="265" y="65"/>
                    </a:lnTo>
                    <a:lnTo>
                      <a:pt x="265" y="65"/>
                    </a:lnTo>
                    <a:close/>
                    <a:moveTo>
                      <a:pt x="279" y="53"/>
                    </a:moveTo>
                    <a:lnTo>
                      <a:pt x="277" y="55"/>
                    </a:lnTo>
                    <a:lnTo>
                      <a:pt x="270" y="53"/>
                    </a:lnTo>
                    <a:lnTo>
                      <a:pt x="270" y="50"/>
                    </a:lnTo>
                    <a:lnTo>
                      <a:pt x="269" y="43"/>
                    </a:lnTo>
                    <a:lnTo>
                      <a:pt x="272" y="42"/>
                    </a:lnTo>
                    <a:lnTo>
                      <a:pt x="272" y="48"/>
                    </a:lnTo>
                    <a:lnTo>
                      <a:pt x="277" y="52"/>
                    </a:lnTo>
                    <a:lnTo>
                      <a:pt x="279" y="53"/>
                    </a:lnTo>
                    <a:lnTo>
                      <a:pt x="279" y="53"/>
                    </a:lnTo>
                    <a:close/>
                    <a:moveTo>
                      <a:pt x="292" y="60"/>
                    </a:moveTo>
                    <a:lnTo>
                      <a:pt x="289" y="57"/>
                    </a:lnTo>
                    <a:lnTo>
                      <a:pt x="285" y="55"/>
                    </a:lnTo>
                    <a:lnTo>
                      <a:pt x="285" y="48"/>
                    </a:lnTo>
                    <a:lnTo>
                      <a:pt x="289" y="45"/>
                    </a:lnTo>
                    <a:lnTo>
                      <a:pt x="294" y="48"/>
                    </a:lnTo>
                    <a:lnTo>
                      <a:pt x="292" y="53"/>
                    </a:lnTo>
                    <a:lnTo>
                      <a:pt x="294" y="57"/>
                    </a:lnTo>
                    <a:lnTo>
                      <a:pt x="292" y="60"/>
                    </a:lnTo>
                    <a:lnTo>
                      <a:pt x="292" y="60"/>
                    </a:lnTo>
                    <a:close/>
                    <a:moveTo>
                      <a:pt x="328" y="43"/>
                    </a:moveTo>
                    <a:lnTo>
                      <a:pt x="323" y="42"/>
                    </a:lnTo>
                    <a:lnTo>
                      <a:pt x="318" y="40"/>
                    </a:lnTo>
                    <a:lnTo>
                      <a:pt x="322" y="37"/>
                    </a:lnTo>
                    <a:lnTo>
                      <a:pt x="327" y="37"/>
                    </a:lnTo>
                    <a:lnTo>
                      <a:pt x="328" y="40"/>
                    </a:lnTo>
                    <a:lnTo>
                      <a:pt x="328" y="43"/>
                    </a:lnTo>
                    <a:lnTo>
                      <a:pt x="328" y="43"/>
                    </a:lnTo>
                    <a:close/>
                    <a:moveTo>
                      <a:pt x="335" y="40"/>
                    </a:moveTo>
                    <a:lnTo>
                      <a:pt x="328" y="33"/>
                    </a:lnTo>
                    <a:lnTo>
                      <a:pt x="338" y="27"/>
                    </a:lnTo>
                    <a:lnTo>
                      <a:pt x="338" y="32"/>
                    </a:lnTo>
                    <a:lnTo>
                      <a:pt x="335" y="37"/>
                    </a:lnTo>
                    <a:lnTo>
                      <a:pt x="335" y="40"/>
                    </a:lnTo>
                    <a:lnTo>
                      <a:pt x="335" y="40"/>
                    </a:lnTo>
                    <a:close/>
                    <a:moveTo>
                      <a:pt x="323" y="32"/>
                    </a:moveTo>
                    <a:lnTo>
                      <a:pt x="320" y="33"/>
                    </a:lnTo>
                    <a:lnTo>
                      <a:pt x="314" y="30"/>
                    </a:lnTo>
                    <a:lnTo>
                      <a:pt x="312" y="27"/>
                    </a:lnTo>
                    <a:lnTo>
                      <a:pt x="315" y="27"/>
                    </a:lnTo>
                    <a:lnTo>
                      <a:pt x="320" y="23"/>
                    </a:lnTo>
                    <a:lnTo>
                      <a:pt x="322" y="27"/>
                    </a:lnTo>
                    <a:lnTo>
                      <a:pt x="325" y="23"/>
                    </a:lnTo>
                    <a:lnTo>
                      <a:pt x="328" y="23"/>
                    </a:lnTo>
                    <a:lnTo>
                      <a:pt x="335" y="18"/>
                    </a:lnTo>
                    <a:lnTo>
                      <a:pt x="337" y="20"/>
                    </a:lnTo>
                    <a:lnTo>
                      <a:pt x="323" y="32"/>
                    </a:lnTo>
                    <a:lnTo>
                      <a:pt x="323" y="32"/>
                    </a:lnTo>
                    <a:close/>
                    <a:moveTo>
                      <a:pt x="338" y="23"/>
                    </a:moveTo>
                    <a:lnTo>
                      <a:pt x="338" y="23"/>
                    </a:lnTo>
                    <a:lnTo>
                      <a:pt x="345" y="20"/>
                    </a:lnTo>
                    <a:lnTo>
                      <a:pt x="352" y="25"/>
                    </a:lnTo>
                    <a:lnTo>
                      <a:pt x="350" y="28"/>
                    </a:lnTo>
                    <a:lnTo>
                      <a:pt x="343" y="30"/>
                    </a:lnTo>
                    <a:lnTo>
                      <a:pt x="343" y="27"/>
                    </a:lnTo>
                    <a:lnTo>
                      <a:pt x="338" y="23"/>
                    </a:lnTo>
                    <a:lnTo>
                      <a:pt x="338" y="23"/>
                    </a:lnTo>
                    <a:close/>
                    <a:moveTo>
                      <a:pt x="352" y="12"/>
                    </a:moveTo>
                    <a:lnTo>
                      <a:pt x="350" y="15"/>
                    </a:lnTo>
                    <a:lnTo>
                      <a:pt x="348" y="15"/>
                    </a:lnTo>
                    <a:lnTo>
                      <a:pt x="345" y="10"/>
                    </a:lnTo>
                    <a:lnTo>
                      <a:pt x="350" y="10"/>
                    </a:lnTo>
                    <a:lnTo>
                      <a:pt x="352" y="12"/>
                    </a:lnTo>
                    <a:lnTo>
                      <a:pt x="352" y="12"/>
                    </a:lnTo>
                    <a:close/>
                    <a:moveTo>
                      <a:pt x="363" y="5"/>
                    </a:moveTo>
                    <a:lnTo>
                      <a:pt x="360" y="5"/>
                    </a:lnTo>
                    <a:lnTo>
                      <a:pt x="362" y="2"/>
                    </a:lnTo>
                    <a:lnTo>
                      <a:pt x="365" y="2"/>
                    </a:lnTo>
                    <a:lnTo>
                      <a:pt x="363" y="5"/>
                    </a:lnTo>
                    <a:lnTo>
                      <a:pt x="363" y="5"/>
                    </a:lnTo>
                    <a:close/>
                    <a:moveTo>
                      <a:pt x="370" y="8"/>
                    </a:moveTo>
                    <a:lnTo>
                      <a:pt x="370" y="5"/>
                    </a:lnTo>
                    <a:lnTo>
                      <a:pt x="372" y="3"/>
                    </a:lnTo>
                    <a:lnTo>
                      <a:pt x="375" y="5"/>
                    </a:lnTo>
                    <a:lnTo>
                      <a:pt x="377" y="3"/>
                    </a:lnTo>
                    <a:lnTo>
                      <a:pt x="377" y="0"/>
                    </a:lnTo>
                    <a:lnTo>
                      <a:pt x="380" y="2"/>
                    </a:lnTo>
                    <a:lnTo>
                      <a:pt x="385" y="3"/>
                    </a:lnTo>
                    <a:lnTo>
                      <a:pt x="382" y="7"/>
                    </a:lnTo>
                    <a:lnTo>
                      <a:pt x="387" y="7"/>
                    </a:lnTo>
                    <a:lnTo>
                      <a:pt x="385" y="12"/>
                    </a:lnTo>
                    <a:lnTo>
                      <a:pt x="380" y="12"/>
                    </a:lnTo>
                    <a:lnTo>
                      <a:pt x="375" y="8"/>
                    </a:lnTo>
                    <a:lnTo>
                      <a:pt x="37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9" name="Freeform 34"/>
              <p:cNvSpPr>
                <a:spLocks noEditPoints="1"/>
              </p:cNvSpPr>
              <p:nvPr/>
            </p:nvSpPr>
            <p:spPr bwMode="auto">
              <a:xfrm>
                <a:off x="6535952" y="2305795"/>
                <a:ext cx="129500" cy="257322"/>
              </a:xfrm>
              <a:custGeom>
                <a:avLst/>
                <a:gdLst/>
                <a:ahLst/>
                <a:cxnLst>
                  <a:cxn ang="0">
                    <a:pos x="10" y="357"/>
                  </a:cxn>
                  <a:cxn ang="0">
                    <a:pos x="25" y="332"/>
                  </a:cxn>
                  <a:cxn ang="0">
                    <a:pos x="28" y="292"/>
                  </a:cxn>
                  <a:cxn ang="0">
                    <a:pos x="13" y="242"/>
                  </a:cxn>
                  <a:cxn ang="0">
                    <a:pos x="37" y="199"/>
                  </a:cxn>
                  <a:cxn ang="0">
                    <a:pos x="48" y="139"/>
                  </a:cxn>
                  <a:cxn ang="0">
                    <a:pos x="68" y="111"/>
                  </a:cxn>
                  <a:cxn ang="0">
                    <a:pos x="78" y="63"/>
                  </a:cxn>
                  <a:cxn ang="0">
                    <a:pos x="103" y="43"/>
                  </a:cxn>
                  <a:cxn ang="0">
                    <a:pos x="113" y="29"/>
                  </a:cxn>
                  <a:cxn ang="0">
                    <a:pos x="143" y="26"/>
                  </a:cxn>
                  <a:cxn ang="0">
                    <a:pos x="153" y="11"/>
                  </a:cxn>
                  <a:cxn ang="0">
                    <a:pos x="163" y="4"/>
                  </a:cxn>
                  <a:cxn ang="0">
                    <a:pos x="206" y="28"/>
                  </a:cxn>
                  <a:cxn ang="0">
                    <a:pos x="219" y="44"/>
                  </a:cxn>
                  <a:cxn ang="0">
                    <a:pos x="226" y="76"/>
                  </a:cxn>
                  <a:cxn ang="0">
                    <a:pos x="231" y="112"/>
                  </a:cxn>
                  <a:cxn ang="0">
                    <a:pos x="234" y="131"/>
                  </a:cxn>
                  <a:cxn ang="0">
                    <a:pos x="209" y="131"/>
                  </a:cxn>
                  <a:cxn ang="0">
                    <a:pos x="193" y="134"/>
                  </a:cxn>
                  <a:cxn ang="0">
                    <a:pos x="191" y="151"/>
                  </a:cxn>
                  <a:cxn ang="0">
                    <a:pos x="191" y="156"/>
                  </a:cxn>
                  <a:cxn ang="0">
                    <a:pos x="193" y="176"/>
                  </a:cxn>
                  <a:cxn ang="0">
                    <a:pos x="186" y="197"/>
                  </a:cxn>
                  <a:cxn ang="0">
                    <a:pos x="165" y="217"/>
                  </a:cxn>
                  <a:cxn ang="0">
                    <a:pos x="150" y="229"/>
                  </a:cxn>
                  <a:cxn ang="0">
                    <a:pos x="136" y="235"/>
                  </a:cxn>
                  <a:cxn ang="0">
                    <a:pos x="125" y="255"/>
                  </a:cxn>
                  <a:cxn ang="0">
                    <a:pos x="118" y="280"/>
                  </a:cxn>
                  <a:cxn ang="0">
                    <a:pos x="120" y="299"/>
                  </a:cxn>
                  <a:cxn ang="0">
                    <a:pos x="125" y="317"/>
                  </a:cxn>
                  <a:cxn ang="0">
                    <a:pos x="146" y="332"/>
                  </a:cxn>
                  <a:cxn ang="0">
                    <a:pos x="146" y="362"/>
                  </a:cxn>
                  <a:cxn ang="0">
                    <a:pos x="125" y="358"/>
                  </a:cxn>
                  <a:cxn ang="0">
                    <a:pos x="105" y="360"/>
                  </a:cxn>
                  <a:cxn ang="0">
                    <a:pos x="120" y="363"/>
                  </a:cxn>
                  <a:cxn ang="0">
                    <a:pos x="148" y="370"/>
                  </a:cxn>
                  <a:cxn ang="0">
                    <a:pos x="135" y="375"/>
                  </a:cxn>
                  <a:cxn ang="0">
                    <a:pos x="121" y="388"/>
                  </a:cxn>
                  <a:cxn ang="0">
                    <a:pos x="113" y="398"/>
                  </a:cxn>
                  <a:cxn ang="0">
                    <a:pos x="115" y="416"/>
                  </a:cxn>
                  <a:cxn ang="0">
                    <a:pos x="116" y="443"/>
                  </a:cxn>
                  <a:cxn ang="0">
                    <a:pos x="96" y="470"/>
                  </a:cxn>
                  <a:cxn ang="0">
                    <a:pos x="72" y="485"/>
                  </a:cxn>
                  <a:cxn ang="0">
                    <a:pos x="43" y="488"/>
                  </a:cxn>
                  <a:cxn ang="0">
                    <a:pos x="43" y="461"/>
                  </a:cxn>
                  <a:cxn ang="0">
                    <a:pos x="20" y="435"/>
                  </a:cxn>
                  <a:cxn ang="0">
                    <a:pos x="10" y="411"/>
                  </a:cxn>
                  <a:cxn ang="0">
                    <a:pos x="10" y="401"/>
                  </a:cxn>
                  <a:cxn ang="0">
                    <a:pos x="0" y="390"/>
                  </a:cxn>
                  <a:cxn ang="0">
                    <a:pos x="151" y="372"/>
                  </a:cxn>
                  <a:cxn ang="0">
                    <a:pos x="7" y="408"/>
                  </a:cxn>
                  <a:cxn ang="0">
                    <a:pos x="170" y="398"/>
                  </a:cxn>
                  <a:cxn ang="0">
                    <a:pos x="173" y="415"/>
                  </a:cxn>
                  <a:cxn ang="0">
                    <a:pos x="158" y="448"/>
                  </a:cxn>
                  <a:cxn ang="0">
                    <a:pos x="168" y="428"/>
                  </a:cxn>
                  <a:cxn ang="0">
                    <a:pos x="158" y="418"/>
                  </a:cxn>
                  <a:cxn ang="0">
                    <a:pos x="156" y="440"/>
                  </a:cxn>
                  <a:cxn ang="0">
                    <a:pos x="116" y="470"/>
                  </a:cxn>
                  <a:cxn ang="0">
                    <a:pos x="125" y="436"/>
                  </a:cxn>
                </a:cxnLst>
                <a:rect l="0" t="0" r="r" b="b"/>
                <a:pathLst>
                  <a:path w="243" h="495">
                    <a:moveTo>
                      <a:pt x="3" y="378"/>
                    </a:moveTo>
                    <a:lnTo>
                      <a:pt x="7" y="380"/>
                    </a:lnTo>
                    <a:lnTo>
                      <a:pt x="10" y="383"/>
                    </a:lnTo>
                    <a:lnTo>
                      <a:pt x="12" y="380"/>
                    </a:lnTo>
                    <a:lnTo>
                      <a:pt x="12" y="367"/>
                    </a:lnTo>
                    <a:lnTo>
                      <a:pt x="8" y="360"/>
                    </a:lnTo>
                    <a:lnTo>
                      <a:pt x="10" y="357"/>
                    </a:lnTo>
                    <a:lnTo>
                      <a:pt x="13" y="355"/>
                    </a:lnTo>
                    <a:lnTo>
                      <a:pt x="10" y="350"/>
                    </a:lnTo>
                    <a:lnTo>
                      <a:pt x="12" y="348"/>
                    </a:lnTo>
                    <a:lnTo>
                      <a:pt x="20" y="347"/>
                    </a:lnTo>
                    <a:lnTo>
                      <a:pt x="22" y="343"/>
                    </a:lnTo>
                    <a:lnTo>
                      <a:pt x="22" y="340"/>
                    </a:lnTo>
                    <a:lnTo>
                      <a:pt x="25" y="332"/>
                    </a:lnTo>
                    <a:lnTo>
                      <a:pt x="22" y="328"/>
                    </a:lnTo>
                    <a:lnTo>
                      <a:pt x="20" y="318"/>
                    </a:lnTo>
                    <a:lnTo>
                      <a:pt x="15" y="310"/>
                    </a:lnTo>
                    <a:lnTo>
                      <a:pt x="15" y="307"/>
                    </a:lnTo>
                    <a:lnTo>
                      <a:pt x="27" y="303"/>
                    </a:lnTo>
                    <a:lnTo>
                      <a:pt x="27" y="295"/>
                    </a:lnTo>
                    <a:lnTo>
                      <a:pt x="28" y="292"/>
                    </a:lnTo>
                    <a:lnTo>
                      <a:pt x="20" y="282"/>
                    </a:lnTo>
                    <a:lnTo>
                      <a:pt x="13" y="280"/>
                    </a:lnTo>
                    <a:lnTo>
                      <a:pt x="13" y="272"/>
                    </a:lnTo>
                    <a:lnTo>
                      <a:pt x="15" y="264"/>
                    </a:lnTo>
                    <a:lnTo>
                      <a:pt x="13" y="254"/>
                    </a:lnTo>
                    <a:lnTo>
                      <a:pt x="10" y="249"/>
                    </a:lnTo>
                    <a:lnTo>
                      <a:pt x="13" y="242"/>
                    </a:lnTo>
                    <a:lnTo>
                      <a:pt x="12" y="230"/>
                    </a:lnTo>
                    <a:lnTo>
                      <a:pt x="10" y="219"/>
                    </a:lnTo>
                    <a:lnTo>
                      <a:pt x="12" y="209"/>
                    </a:lnTo>
                    <a:lnTo>
                      <a:pt x="17" y="201"/>
                    </a:lnTo>
                    <a:lnTo>
                      <a:pt x="22" y="197"/>
                    </a:lnTo>
                    <a:lnTo>
                      <a:pt x="28" y="199"/>
                    </a:lnTo>
                    <a:lnTo>
                      <a:pt x="37" y="199"/>
                    </a:lnTo>
                    <a:lnTo>
                      <a:pt x="40" y="194"/>
                    </a:lnTo>
                    <a:lnTo>
                      <a:pt x="40" y="186"/>
                    </a:lnTo>
                    <a:lnTo>
                      <a:pt x="38" y="182"/>
                    </a:lnTo>
                    <a:lnTo>
                      <a:pt x="38" y="177"/>
                    </a:lnTo>
                    <a:lnTo>
                      <a:pt x="47" y="159"/>
                    </a:lnTo>
                    <a:lnTo>
                      <a:pt x="47" y="149"/>
                    </a:lnTo>
                    <a:lnTo>
                      <a:pt x="48" y="139"/>
                    </a:lnTo>
                    <a:lnTo>
                      <a:pt x="52" y="134"/>
                    </a:lnTo>
                    <a:lnTo>
                      <a:pt x="52" y="127"/>
                    </a:lnTo>
                    <a:lnTo>
                      <a:pt x="48" y="124"/>
                    </a:lnTo>
                    <a:lnTo>
                      <a:pt x="48" y="119"/>
                    </a:lnTo>
                    <a:lnTo>
                      <a:pt x="55" y="116"/>
                    </a:lnTo>
                    <a:lnTo>
                      <a:pt x="63" y="114"/>
                    </a:lnTo>
                    <a:lnTo>
                      <a:pt x="68" y="111"/>
                    </a:lnTo>
                    <a:lnTo>
                      <a:pt x="68" y="106"/>
                    </a:lnTo>
                    <a:lnTo>
                      <a:pt x="75" y="96"/>
                    </a:lnTo>
                    <a:lnTo>
                      <a:pt x="81" y="88"/>
                    </a:lnTo>
                    <a:lnTo>
                      <a:pt x="83" y="83"/>
                    </a:lnTo>
                    <a:lnTo>
                      <a:pt x="81" y="76"/>
                    </a:lnTo>
                    <a:lnTo>
                      <a:pt x="78" y="73"/>
                    </a:lnTo>
                    <a:lnTo>
                      <a:pt x="78" y="63"/>
                    </a:lnTo>
                    <a:lnTo>
                      <a:pt x="81" y="61"/>
                    </a:lnTo>
                    <a:lnTo>
                      <a:pt x="85" y="58"/>
                    </a:lnTo>
                    <a:lnTo>
                      <a:pt x="85" y="53"/>
                    </a:lnTo>
                    <a:lnTo>
                      <a:pt x="88" y="51"/>
                    </a:lnTo>
                    <a:lnTo>
                      <a:pt x="93" y="44"/>
                    </a:lnTo>
                    <a:lnTo>
                      <a:pt x="98" y="39"/>
                    </a:lnTo>
                    <a:lnTo>
                      <a:pt x="103" y="43"/>
                    </a:lnTo>
                    <a:lnTo>
                      <a:pt x="105" y="44"/>
                    </a:lnTo>
                    <a:lnTo>
                      <a:pt x="108" y="44"/>
                    </a:lnTo>
                    <a:lnTo>
                      <a:pt x="111" y="41"/>
                    </a:lnTo>
                    <a:lnTo>
                      <a:pt x="110" y="36"/>
                    </a:lnTo>
                    <a:lnTo>
                      <a:pt x="111" y="34"/>
                    </a:lnTo>
                    <a:lnTo>
                      <a:pt x="111" y="31"/>
                    </a:lnTo>
                    <a:lnTo>
                      <a:pt x="113" y="29"/>
                    </a:lnTo>
                    <a:lnTo>
                      <a:pt x="110" y="24"/>
                    </a:lnTo>
                    <a:lnTo>
                      <a:pt x="111" y="23"/>
                    </a:lnTo>
                    <a:lnTo>
                      <a:pt x="118" y="23"/>
                    </a:lnTo>
                    <a:lnTo>
                      <a:pt x="125" y="19"/>
                    </a:lnTo>
                    <a:lnTo>
                      <a:pt x="131" y="23"/>
                    </a:lnTo>
                    <a:lnTo>
                      <a:pt x="136" y="24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28"/>
                    </a:lnTo>
                    <a:lnTo>
                      <a:pt x="150" y="28"/>
                    </a:lnTo>
                    <a:lnTo>
                      <a:pt x="150" y="23"/>
                    </a:lnTo>
                    <a:lnTo>
                      <a:pt x="148" y="19"/>
                    </a:lnTo>
                    <a:lnTo>
                      <a:pt x="148" y="13"/>
                    </a:lnTo>
                    <a:lnTo>
                      <a:pt x="153" y="11"/>
                    </a:lnTo>
                    <a:lnTo>
                      <a:pt x="151" y="6"/>
                    </a:lnTo>
                    <a:lnTo>
                      <a:pt x="148" y="4"/>
                    </a:lnTo>
                    <a:lnTo>
                      <a:pt x="146" y="0"/>
                    </a:lnTo>
                    <a:lnTo>
                      <a:pt x="153" y="1"/>
                    </a:lnTo>
                    <a:lnTo>
                      <a:pt x="158" y="1"/>
                    </a:lnTo>
                    <a:lnTo>
                      <a:pt x="160" y="0"/>
                    </a:lnTo>
                    <a:lnTo>
                      <a:pt x="163" y="4"/>
                    </a:lnTo>
                    <a:lnTo>
                      <a:pt x="170" y="6"/>
                    </a:lnTo>
                    <a:lnTo>
                      <a:pt x="178" y="16"/>
                    </a:lnTo>
                    <a:lnTo>
                      <a:pt x="184" y="19"/>
                    </a:lnTo>
                    <a:lnTo>
                      <a:pt x="194" y="21"/>
                    </a:lnTo>
                    <a:lnTo>
                      <a:pt x="198" y="23"/>
                    </a:lnTo>
                    <a:lnTo>
                      <a:pt x="201" y="24"/>
                    </a:lnTo>
                    <a:lnTo>
                      <a:pt x="206" y="28"/>
                    </a:lnTo>
                    <a:lnTo>
                      <a:pt x="208" y="33"/>
                    </a:lnTo>
                    <a:lnTo>
                      <a:pt x="209" y="33"/>
                    </a:lnTo>
                    <a:lnTo>
                      <a:pt x="211" y="33"/>
                    </a:lnTo>
                    <a:lnTo>
                      <a:pt x="216" y="38"/>
                    </a:lnTo>
                    <a:lnTo>
                      <a:pt x="219" y="38"/>
                    </a:lnTo>
                    <a:lnTo>
                      <a:pt x="221" y="41"/>
                    </a:lnTo>
                    <a:lnTo>
                      <a:pt x="219" y="44"/>
                    </a:lnTo>
                    <a:lnTo>
                      <a:pt x="221" y="51"/>
                    </a:lnTo>
                    <a:lnTo>
                      <a:pt x="219" y="56"/>
                    </a:lnTo>
                    <a:lnTo>
                      <a:pt x="219" y="61"/>
                    </a:lnTo>
                    <a:lnTo>
                      <a:pt x="226" y="61"/>
                    </a:lnTo>
                    <a:lnTo>
                      <a:pt x="228" y="66"/>
                    </a:lnTo>
                    <a:lnTo>
                      <a:pt x="224" y="69"/>
                    </a:lnTo>
                    <a:lnTo>
                      <a:pt x="226" y="76"/>
                    </a:lnTo>
                    <a:lnTo>
                      <a:pt x="228" y="79"/>
                    </a:lnTo>
                    <a:lnTo>
                      <a:pt x="229" y="88"/>
                    </a:lnTo>
                    <a:lnTo>
                      <a:pt x="229" y="91"/>
                    </a:lnTo>
                    <a:lnTo>
                      <a:pt x="229" y="94"/>
                    </a:lnTo>
                    <a:lnTo>
                      <a:pt x="229" y="102"/>
                    </a:lnTo>
                    <a:lnTo>
                      <a:pt x="228" y="106"/>
                    </a:lnTo>
                    <a:lnTo>
                      <a:pt x="231" y="112"/>
                    </a:lnTo>
                    <a:lnTo>
                      <a:pt x="234" y="112"/>
                    </a:lnTo>
                    <a:lnTo>
                      <a:pt x="239" y="121"/>
                    </a:lnTo>
                    <a:lnTo>
                      <a:pt x="243" y="124"/>
                    </a:lnTo>
                    <a:lnTo>
                      <a:pt x="241" y="129"/>
                    </a:lnTo>
                    <a:lnTo>
                      <a:pt x="241" y="129"/>
                    </a:lnTo>
                    <a:lnTo>
                      <a:pt x="238" y="131"/>
                    </a:lnTo>
                    <a:lnTo>
                      <a:pt x="234" y="131"/>
                    </a:lnTo>
                    <a:lnTo>
                      <a:pt x="231" y="127"/>
                    </a:lnTo>
                    <a:lnTo>
                      <a:pt x="226" y="131"/>
                    </a:lnTo>
                    <a:lnTo>
                      <a:pt x="221" y="129"/>
                    </a:lnTo>
                    <a:lnTo>
                      <a:pt x="219" y="132"/>
                    </a:lnTo>
                    <a:lnTo>
                      <a:pt x="216" y="131"/>
                    </a:lnTo>
                    <a:lnTo>
                      <a:pt x="214" y="127"/>
                    </a:lnTo>
                    <a:lnTo>
                      <a:pt x="209" y="131"/>
                    </a:lnTo>
                    <a:lnTo>
                      <a:pt x="206" y="126"/>
                    </a:lnTo>
                    <a:lnTo>
                      <a:pt x="204" y="129"/>
                    </a:lnTo>
                    <a:lnTo>
                      <a:pt x="204" y="132"/>
                    </a:lnTo>
                    <a:lnTo>
                      <a:pt x="203" y="136"/>
                    </a:lnTo>
                    <a:lnTo>
                      <a:pt x="198" y="137"/>
                    </a:lnTo>
                    <a:lnTo>
                      <a:pt x="196" y="134"/>
                    </a:lnTo>
                    <a:lnTo>
                      <a:pt x="193" y="134"/>
                    </a:lnTo>
                    <a:lnTo>
                      <a:pt x="196" y="139"/>
                    </a:lnTo>
                    <a:lnTo>
                      <a:pt x="199" y="141"/>
                    </a:lnTo>
                    <a:lnTo>
                      <a:pt x="196" y="144"/>
                    </a:lnTo>
                    <a:lnTo>
                      <a:pt x="191" y="144"/>
                    </a:lnTo>
                    <a:lnTo>
                      <a:pt x="188" y="146"/>
                    </a:lnTo>
                    <a:lnTo>
                      <a:pt x="193" y="147"/>
                    </a:lnTo>
                    <a:lnTo>
                      <a:pt x="191" y="151"/>
                    </a:lnTo>
                    <a:lnTo>
                      <a:pt x="189" y="151"/>
                    </a:lnTo>
                    <a:lnTo>
                      <a:pt x="189" y="149"/>
                    </a:lnTo>
                    <a:lnTo>
                      <a:pt x="186" y="147"/>
                    </a:lnTo>
                    <a:lnTo>
                      <a:pt x="184" y="149"/>
                    </a:lnTo>
                    <a:lnTo>
                      <a:pt x="186" y="152"/>
                    </a:lnTo>
                    <a:lnTo>
                      <a:pt x="189" y="152"/>
                    </a:lnTo>
                    <a:lnTo>
                      <a:pt x="191" y="156"/>
                    </a:lnTo>
                    <a:lnTo>
                      <a:pt x="191" y="157"/>
                    </a:lnTo>
                    <a:lnTo>
                      <a:pt x="188" y="166"/>
                    </a:lnTo>
                    <a:lnTo>
                      <a:pt x="188" y="169"/>
                    </a:lnTo>
                    <a:lnTo>
                      <a:pt x="183" y="169"/>
                    </a:lnTo>
                    <a:lnTo>
                      <a:pt x="188" y="172"/>
                    </a:lnTo>
                    <a:lnTo>
                      <a:pt x="191" y="174"/>
                    </a:lnTo>
                    <a:lnTo>
                      <a:pt x="193" y="176"/>
                    </a:lnTo>
                    <a:lnTo>
                      <a:pt x="189" y="177"/>
                    </a:lnTo>
                    <a:lnTo>
                      <a:pt x="193" y="181"/>
                    </a:lnTo>
                    <a:lnTo>
                      <a:pt x="196" y="181"/>
                    </a:lnTo>
                    <a:lnTo>
                      <a:pt x="191" y="186"/>
                    </a:lnTo>
                    <a:lnTo>
                      <a:pt x="188" y="186"/>
                    </a:lnTo>
                    <a:lnTo>
                      <a:pt x="184" y="191"/>
                    </a:lnTo>
                    <a:lnTo>
                      <a:pt x="186" y="197"/>
                    </a:lnTo>
                    <a:lnTo>
                      <a:pt x="181" y="204"/>
                    </a:lnTo>
                    <a:lnTo>
                      <a:pt x="178" y="204"/>
                    </a:lnTo>
                    <a:lnTo>
                      <a:pt x="173" y="209"/>
                    </a:lnTo>
                    <a:lnTo>
                      <a:pt x="170" y="205"/>
                    </a:lnTo>
                    <a:lnTo>
                      <a:pt x="170" y="209"/>
                    </a:lnTo>
                    <a:lnTo>
                      <a:pt x="171" y="214"/>
                    </a:lnTo>
                    <a:lnTo>
                      <a:pt x="165" y="217"/>
                    </a:lnTo>
                    <a:lnTo>
                      <a:pt x="163" y="220"/>
                    </a:lnTo>
                    <a:lnTo>
                      <a:pt x="160" y="220"/>
                    </a:lnTo>
                    <a:lnTo>
                      <a:pt x="160" y="217"/>
                    </a:lnTo>
                    <a:lnTo>
                      <a:pt x="156" y="217"/>
                    </a:lnTo>
                    <a:lnTo>
                      <a:pt x="153" y="222"/>
                    </a:lnTo>
                    <a:lnTo>
                      <a:pt x="153" y="227"/>
                    </a:lnTo>
                    <a:lnTo>
                      <a:pt x="150" y="229"/>
                    </a:lnTo>
                    <a:lnTo>
                      <a:pt x="148" y="227"/>
                    </a:lnTo>
                    <a:lnTo>
                      <a:pt x="146" y="227"/>
                    </a:lnTo>
                    <a:lnTo>
                      <a:pt x="145" y="232"/>
                    </a:lnTo>
                    <a:lnTo>
                      <a:pt x="143" y="232"/>
                    </a:lnTo>
                    <a:lnTo>
                      <a:pt x="141" y="229"/>
                    </a:lnTo>
                    <a:lnTo>
                      <a:pt x="138" y="232"/>
                    </a:lnTo>
                    <a:lnTo>
                      <a:pt x="136" y="235"/>
                    </a:lnTo>
                    <a:lnTo>
                      <a:pt x="140" y="237"/>
                    </a:lnTo>
                    <a:lnTo>
                      <a:pt x="140" y="239"/>
                    </a:lnTo>
                    <a:lnTo>
                      <a:pt x="133" y="244"/>
                    </a:lnTo>
                    <a:lnTo>
                      <a:pt x="128" y="244"/>
                    </a:lnTo>
                    <a:lnTo>
                      <a:pt x="126" y="245"/>
                    </a:lnTo>
                    <a:lnTo>
                      <a:pt x="128" y="250"/>
                    </a:lnTo>
                    <a:lnTo>
                      <a:pt x="125" y="255"/>
                    </a:lnTo>
                    <a:lnTo>
                      <a:pt x="118" y="255"/>
                    </a:lnTo>
                    <a:lnTo>
                      <a:pt x="115" y="255"/>
                    </a:lnTo>
                    <a:lnTo>
                      <a:pt x="120" y="260"/>
                    </a:lnTo>
                    <a:lnTo>
                      <a:pt x="120" y="267"/>
                    </a:lnTo>
                    <a:lnTo>
                      <a:pt x="120" y="269"/>
                    </a:lnTo>
                    <a:lnTo>
                      <a:pt x="120" y="274"/>
                    </a:lnTo>
                    <a:lnTo>
                      <a:pt x="118" y="280"/>
                    </a:lnTo>
                    <a:lnTo>
                      <a:pt x="121" y="284"/>
                    </a:lnTo>
                    <a:lnTo>
                      <a:pt x="121" y="287"/>
                    </a:lnTo>
                    <a:lnTo>
                      <a:pt x="118" y="285"/>
                    </a:lnTo>
                    <a:lnTo>
                      <a:pt x="118" y="287"/>
                    </a:lnTo>
                    <a:lnTo>
                      <a:pt x="120" y="292"/>
                    </a:lnTo>
                    <a:lnTo>
                      <a:pt x="115" y="297"/>
                    </a:lnTo>
                    <a:lnTo>
                      <a:pt x="120" y="299"/>
                    </a:lnTo>
                    <a:lnTo>
                      <a:pt x="120" y="300"/>
                    </a:lnTo>
                    <a:lnTo>
                      <a:pt x="116" y="302"/>
                    </a:lnTo>
                    <a:lnTo>
                      <a:pt x="120" y="307"/>
                    </a:lnTo>
                    <a:lnTo>
                      <a:pt x="116" y="310"/>
                    </a:lnTo>
                    <a:lnTo>
                      <a:pt x="118" y="313"/>
                    </a:lnTo>
                    <a:lnTo>
                      <a:pt x="121" y="317"/>
                    </a:lnTo>
                    <a:lnTo>
                      <a:pt x="125" y="317"/>
                    </a:lnTo>
                    <a:lnTo>
                      <a:pt x="125" y="322"/>
                    </a:lnTo>
                    <a:lnTo>
                      <a:pt x="126" y="320"/>
                    </a:lnTo>
                    <a:lnTo>
                      <a:pt x="130" y="323"/>
                    </a:lnTo>
                    <a:lnTo>
                      <a:pt x="133" y="320"/>
                    </a:lnTo>
                    <a:lnTo>
                      <a:pt x="136" y="322"/>
                    </a:lnTo>
                    <a:lnTo>
                      <a:pt x="138" y="325"/>
                    </a:lnTo>
                    <a:lnTo>
                      <a:pt x="146" y="332"/>
                    </a:lnTo>
                    <a:lnTo>
                      <a:pt x="145" y="333"/>
                    </a:lnTo>
                    <a:lnTo>
                      <a:pt x="153" y="338"/>
                    </a:lnTo>
                    <a:lnTo>
                      <a:pt x="153" y="342"/>
                    </a:lnTo>
                    <a:lnTo>
                      <a:pt x="158" y="345"/>
                    </a:lnTo>
                    <a:lnTo>
                      <a:pt x="155" y="352"/>
                    </a:lnTo>
                    <a:lnTo>
                      <a:pt x="148" y="358"/>
                    </a:lnTo>
                    <a:lnTo>
                      <a:pt x="146" y="362"/>
                    </a:lnTo>
                    <a:lnTo>
                      <a:pt x="140" y="363"/>
                    </a:lnTo>
                    <a:lnTo>
                      <a:pt x="136" y="362"/>
                    </a:lnTo>
                    <a:lnTo>
                      <a:pt x="136" y="358"/>
                    </a:lnTo>
                    <a:lnTo>
                      <a:pt x="131" y="357"/>
                    </a:lnTo>
                    <a:lnTo>
                      <a:pt x="128" y="355"/>
                    </a:lnTo>
                    <a:lnTo>
                      <a:pt x="128" y="358"/>
                    </a:lnTo>
                    <a:lnTo>
                      <a:pt x="125" y="358"/>
                    </a:lnTo>
                    <a:lnTo>
                      <a:pt x="123" y="357"/>
                    </a:lnTo>
                    <a:lnTo>
                      <a:pt x="120" y="355"/>
                    </a:lnTo>
                    <a:lnTo>
                      <a:pt x="118" y="358"/>
                    </a:lnTo>
                    <a:lnTo>
                      <a:pt x="113" y="358"/>
                    </a:lnTo>
                    <a:lnTo>
                      <a:pt x="111" y="357"/>
                    </a:lnTo>
                    <a:lnTo>
                      <a:pt x="108" y="362"/>
                    </a:lnTo>
                    <a:lnTo>
                      <a:pt x="105" y="360"/>
                    </a:lnTo>
                    <a:lnTo>
                      <a:pt x="101" y="360"/>
                    </a:lnTo>
                    <a:lnTo>
                      <a:pt x="101" y="362"/>
                    </a:lnTo>
                    <a:lnTo>
                      <a:pt x="108" y="363"/>
                    </a:lnTo>
                    <a:lnTo>
                      <a:pt x="110" y="365"/>
                    </a:lnTo>
                    <a:lnTo>
                      <a:pt x="111" y="362"/>
                    </a:lnTo>
                    <a:lnTo>
                      <a:pt x="116" y="362"/>
                    </a:lnTo>
                    <a:lnTo>
                      <a:pt x="120" y="363"/>
                    </a:lnTo>
                    <a:lnTo>
                      <a:pt x="125" y="365"/>
                    </a:lnTo>
                    <a:lnTo>
                      <a:pt x="128" y="368"/>
                    </a:lnTo>
                    <a:lnTo>
                      <a:pt x="133" y="367"/>
                    </a:lnTo>
                    <a:lnTo>
                      <a:pt x="135" y="368"/>
                    </a:lnTo>
                    <a:lnTo>
                      <a:pt x="140" y="365"/>
                    </a:lnTo>
                    <a:lnTo>
                      <a:pt x="145" y="367"/>
                    </a:lnTo>
                    <a:lnTo>
                      <a:pt x="148" y="370"/>
                    </a:lnTo>
                    <a:lnTo>
                      <a:pt x="148" y="373"/>
                    </a:lnTo>
                    <a:lnTo>
                      <a:pt x="145" y="377"/>
                    </a:lnTo>
                    <a:lnTo>
                      <a:pt x="141" y="377"/>
                    </a:lnTo>
                    <a:lnTo>
                      <a:pt x="138" y="382"/>
                    </a:lnTo>
                    <a:lnTo>
                      <a:pt x="135" y="382"/>
                    </a:lnTo>
                    <a:lnTo>
                      <a:pt x="136" y="378"/>
                    </a:lnTo>
                    <a:lnTo>
                      <a:pt x="135" y="375"/>
                    </a:lnTo>
                    <a:lnTo>
                      <a:pt x="131" y="378"/>
                    </a:lnTo>
                    <a:lnTo>
                      <a:pt x="133" y="380"/>
                    </a:lnTo>
                    <a:lnTo>
                      <a:pt x="130" y="382"/>
                    </a:lnTo>
                    <a:lnTo>
                      <a:pt x="126" y="385"/>
                    </a:lnTo>
                    <a:lnTo>
                      <a:pt x="126" y="388"/>
                    </a:lnTo>
                    <a:lnTo>
                      <a:pt x="121" y="387"/>
                    </a:lnTo>
                    <a:lnTo>
                      <a:pt x="121" y="388"/>
                    </a:lnTo>
                    <a:lnTo>
                      <a:pt x="120" y="392"/>
                    </a:lnTo>
                    <a:lnTo>
                      <a:pt x="118" y="390"/>
                    </a:lnTo>
                    <a:lnTo>
                      <a:pt x="116" y="390"/>
                    </a:lnTo>
                    <a:lnTo>
                      <a:pt x="113" y="393"/>
                    </a:lnTo>
                    <a:lnTo>
                      <a:pt x="116" y="393"/>
                    </a:lnTo>
                    <a:lnTo>
                      <a:pt x="121" y="398"/>
                    </a:lnTo>
                    <a:lnTo>
                      <a:pt x="113" y="398"/>
                    </a:lnTo>
                    <a:lnTo>
                      <a:pt x="120" y="400"/>
                    </a:lnTo>
                    <a:lnTo>
                      <a:pt x="120" y="403"/>
                    </a:lnTo>
                    <a:lnTo>
                      <a:pt x="118" y="408"/>
                    </a:lnTo>
                    <a:lnTo>
                      <a:pt x="123" y="413"/>
                    </a:lnTo>
                    <a:lnTo>
                      <a:pt x="118" y="413"/>
                    </a:lnTo>
                    <a:lnTo>
                      <a:pt x="111" y="411"/>
                    </a:lnTo>
                    <a:lnTo>
                      <a:pt x="115" y="416"/>
                    </a:lnTo>
                    <a:lnTo>
                      <a:pt x="113" y="420"/>
                    </a:lnTo>
                    <a:lnTo>
                      <a:pt x="118" y="423"/>
                    </a:lnTo>
                    <a:lnTo>
                      <a:pt x="113" y="426"/>
                    </a:lnTo>
                    <a:lnTo>
                      <a:pt x="118" y="431"/>
                    </a:lnTo>
                    <a:lnTo>
                      <a:pt x="113" y="435"/>
                    </a:lnTo>
                    <a:lnTo>
                      <a:pt x="113" y="440"/>
                    </a:lnTo>
                    <a:lnTo>
                      <a:pt x="116" y="443"/>
                    </a:lnTo>
                    <a:lnTo>
                      <a:pt x="115" y="446"/>
                    </a:lnTo>
                    <a:lnTo>
                      <a:pt x="115" y="456"/>
                    </a:lnTo>
                    <a:lnTo>
                      <a:pt x="110" y="460"/>
                    </a:lnTo>
                    <a:lnTo>
                      <a:pt x="108" y="470"/>
                    </a:lnTo>
                    <a:lnTo>
                      <a:pt x="103" y="475"/>
                    </a:lnTo>
                    <a:lnTo>
                      <a:pt x="100" y="471"/>
                    </a:lnTo>
                    <a:lnTo>
                      <a:pt x="96" y="470"/>
                    </a:lnTo>
                    <a:lnTo>
                      <a:pt x="91" y="473"/>
                    </a:lnTo>
                    <a:lnTo>
                      <a:pt x="81" y="471"/>
                    </a:lnTo>
                    <a:lnTo>
                      <a:pt x="81" y="468"/>
                    </a:lnTo>
                    <a:lnTo>
                      <a:pt x="80" y="475"/>
                    </a:lnTo>
                    <a:lnTo>
                      <a:pt x="72" y="476"/>
                    </a:lnTo>
                    <a:lnTo>
                      <a:pt x="68" y="483"/>
                    </a:lnTo>
                    <a:lnTo>
                      <a:pt x="72" y="485"/>
                    </a:lnTo>
                    <a:lnTo>
                      <a:pt x="72" y="490"/>
                    </a:lnTo>
                    <a:lnTo>
                      <a:pt x="67" y="493"/>
                    </a:lnTo>
                    <a:lnTo>
                      <a:pt x="60" y="491"/>
                    </a:lnTo>
                    <a:lnTo>
                      <a:pt x="48" y="495"/>
                    </a:lnTo>
                    <a:lnTo>
                      <a:pt x="43" y="495"/>
                    </a:lnTo>
                    <a:lnTo>
                      <a:pt x="42" y="491"/>
                    </a:lnTo>
                    <a:lnTo>
                      <a:pt x="43" y="488"/>
                    </a:lnTo>
                    <a:lnTo>
                      <a:pt x="42" y="478"/>
                    </a:lnTo>
                    <a:lnTo>
                      <a:pt x="37" y="476"/>
                    </a:lnTo>
                    <a:lnTo>
                      <a:pt x="37" y="471"/>
                    </a:lnTo>
                    <a:lnTo>
                      <a:pt x="33" y="470"/>
                    </a:lnTo>
                    <a:lnTo>
                      <a:pt x="33" y="468"/>
                    </a:lnTo>
                    <a:lnTo>
                      <a:pt x="40" y="468"/>
                    </a:lnTo>
                    <a:lnTo>
                      <a:pt x="43" y="461"/>
                    </a:lnTo>
                    <a:lnTo>
                      <a:pt x="42" y="456"/>
                    </a:lnTo>
                    <a:lnTo>
                      <a:pt x="37" y="458"/>
                    </a:lnTo>
                    <a:lnTo>
                      <a:pt x="32" y="455"/>
                    </a:lnTo>
                    <a:lnTo>
                      <a:pt x="30" y="450"/>
                    </a:lnTo>
                    <a:lnTo>
                      <a:pt x="25" y="448"/>
                    </a:lnTo>
                    <a:lnTo>
                      <a:pt x="25" y="443"/>
                    </a:lnTo>
                    <a:lnTo>
                      <a:pt x="20" y="435"/>
                    </a:lnTo>
                    <a:lnTo>
                      <a:pt x="18" y="433"/>
                    </a:lnTo>
                    <a:lnTo>
                      <a:pt x="17" y="426"/>
                    </a:lnTo>
                    <a:lnTo>
                      <a:pt x="12" y="426"/>
                    </a:lnTo>
                    <a:lnTo>
                      <a:pt x="10" y="423"/>
                    </a:lnTo>
                    <a:lnTo>
                      <a:pt x="12" y="420"/>
                    </a:lnTo>
                    <a:lnTo>
                      <a:pt x="12" y="416"/>
                    </a:lnTo>
                    <a:lnTo>
                      <a:pt x="10" y="411"/>
                    </a:lnTo>
                    <a:lnTo>
                      <a:pt x="12" y="408"/>
                    </a:lnTo>
                    <a:lnTo>
                      <a:pt x="17" y="405"/>
                    </a:lnTo>
                    <a:lnTo>
                      <a:pt x="15" y="403"/>
                    </a:lnTo>
                    <a:lnTo>
                      <a:pt x="12" y="401"/>
                    </a:lnTo>
                    <a:lnTo>
                      <a:pt x="12" y="398"/>
                    </a:lnTo>
                    <a:lnTo>
                      <a:pt x="10" y="398"/>
                    </a:lnTo>
                    <a:lnTo>
                      <a:pt x="10" y="401"/>
                    </a:lnTo>
                    <a:lnTo>
                      <a:pt x="13" y="405"/>
                    </a:lnTo>
                    <a:lnTo>
                      <a:pt x="7" y="406"/>
                    </a:lnTo>
                    <a:lnTo>
                      <a:pt x="8" y="403"/>
                    </a:lnTo>
                    <a:lnTo>
                      <a:pt x="7" y="401"/>
                    </a:lnTo>
                    <a:lnTo>
                      <a:pt x="3" y="400"/>
                    </a:lnTo>
                    <a:lnTo>
                      <a:pt x="3" y="392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" y="378"/>
                    </a:lnTo>
                    <a:lnTo>
                      <a:pt x="3" y="378"/>
                    </a:lnTo>
                    <a:lnTo>
                      <a:pt x="3" y="378"/>
                    </a:lnTo>
                    <a:close/>
                    <a:moveTo>
                      <a:pt x="146" y="365"/>
                    </a:moveTo>
                    <a:lnTo>
                      <a:pt x="150" y="370"/>
                    </a:lnTo>
                    <a:lnTo>
                      <a:pt x="151" y="372"/>
                    </a:lnTo>
                    <a:lnTo>
                      <a:pt x="151" y="367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51" y="358"/>
                    </a:lnTo>
                    <a:lnTo>
                      <a:pt x="146" y="365"/>
                    </a:lnTo>
                    <a:lnTo>
                      <a:pt x="146" y="365"/>
                    </a:lnTo>
                    <a:close/>
                    <a:moveTo>
                      <a:pt x="7" y="408"/>
                    </a:moveTo>
                    <a:lnTo>
                      <a:pt x="7" y="411"/>
                    </a:lnTo>
                    <a:lnTo>
                      <a:pt x="8" y="411"/>
                    </a:lnTo>
                    <a:lnTo>
                      <a:pt x="10" y="408"/>
                    </a:lnTo>
                    <a:lnTo>
                      <a:pt x="7" y="408"/>
                    </a:lnTo>
                    <a:lnTo>
                      <a:pt x="7" y="408"/>
                    </a:lnTo>
                    <a:close/>
                    <a:moveTo>
                      <a:pt x="168" y="395"/>
                    </a:moveTo>
                    <a:lnTo>
                      <a:pt x="170" y="398"/>
                    </a:lnTo>
                    <a:lnTo>
                      <a:pt x="171" y="395"/>
                    </a:lnTo>
                    <a:lnTo>
                      <a:pt x="170" y="393"/>
                    </a:lnTo>
                    <a:lnTo>
                      <a:pt x="168" y="395"/>
                    </a:lnTo>
                    <a:lnTo>
                      <a:pt x="168" y="395"/>
                    </a:lnTo>
                    <a:close/>
                    <a:moveTo>
                      <a:pt x="170" y="415"/>
                    </a:moveTo>
                    <a:lnTo>
                      <a:pt x="171" y="416"/>
                    </a:lnTo>
                    <a:lnTo>
                      <a:pt x="173" y="415"/>
                    </a:lnTo>
                    <a:lnTo>
                      <a:pt x="178" y="413"/>
                    </a:lnTo>
                    <a:lnTo>
                      <a:pt x="176" y="413"/>
                    </a:lnTo>
                    <a:lnTo>
                      <a:pt x="171" y="413"/>
                    </a:lnTo>
                    <a:lnTo>
                      <a:pt x="170" y="415"/>
                    </a:lnTo>
                    <a:lnTo>
                      <a:pt x="170" y="415"/>
                    </a:lnTo>
                    <a:close/>
                    <a:moveTo>
                      <a:pt x="153" y="450"/>
                    </a:moveTo>
                    <a:lnTo>
                      <a:pt x="158" y="448"/>
                    </a:lnTo>
                    <a:lnTo>
                      <a:pt x="160" y="445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65" y="436"/>
                    </a:lnTo>
                    <a:lnTo>
                      <a:pt x="165" y="435"/>
                    </a:lnTo>
                    <a:lnTo>
                      <a:pt x="168" y="430"/>
                    </a:lnTo>
                    <a:lnTo>
                      <a:pt x="168" y="428"/>
                    </a:lnTo>
                    <a:lnTo>
                      <a:pt x="165" y="426"/>
                    </a:lnTo>
                    <a:lnTo>
                      <a:pt x="166" y="421"/>
                    </a:lnTo>
                    <a:lnTo>
                      <a:pt x="166" y="420"/>
                    </a:lnTo>
                    <a:lnTo>
                      <a:pt x="170" y="418"/>
                    </a:lnTo>
                    <a:lnTo>
                      <a:pt x="166" y="416"/>
                    </a:lnTo>
                    <a:lnTo>
                      <a:pt x="163" y="418"/>
                    </a:lnTo>
                    <a:lnTo>
                      <a:pt x="158" y="418"/>
                    </a:lnTo>
                    <a:lnTo>
                      <a:pt x="155" y="421"/>
                    </a:lnTo>
                    <a:lnTo>
                      <a:pt x="153" y="425"/>
                    </a:lnTo>
                    <a:lnTo>
                      <a:pt x="150" y="428"/>
                    </a:lnTo>
                    <a:lnTo>
                      <a:pt x="151" y="433"/>
                    </a:lnTo>
                    <a:lnTo>
                      <a:pt x="150" y="435"/>
                    </a:lnTo>
                    <a:lnTo>
                      <a:pt x="155" y="441"/>
                    </a:lnTo>
                    <a:lnTo>
                      <a:pt x="156" y="440"/>
                    </a:lnTo>
                    <a:lnTo>
                      <a:pt x="155" y="445"/>
                    </a:lnTo>
                    <a:lnTo>
                      <a:pt x="153" y="446"/>
                    </a:lnTo>
                    <a:lnTo>
                      <a:pt x="153" y="450"/>
                    </a:lnTo>
                    <a:lnTo>
                      <a:pt x="153" y="450"/>
                    </a:lnTo>
                    <a:close/>
                    <a:moveTo>
                      <a:pt x="116" y="461"/>
                    </a:moveTo>
                    <a:lnTo>
                      <a:pt x="116" y="466"/>
                    </a:lnTo>
                    <a:lnTo>
                      <a:pt x="116" y="470"/>
                    </a:lnTo>
                    <a:lnTo>
                      <a:pt x="118" y="471"/>
                    </a:lnTo>
                    <a:lnTo>
                      <a:pt x="120" y="466"/>
                    </a:lnTo>
                    <a:lnTo>
                      <a:pt x="123" y="460"/>
                    </a:lnTo>
                    <a:lnTo>
                      <a:pt x="125" y="453"/>
                    </a:lnTo>
                    <a:lnTo>
                      <a:pt x="126" y="445"/>
                    </a:lnTo>
                    <a:lnTo>
                      <a:pt x="128" y="438"/>
                    </a:lnTo>
                    <a:lnTo>
                      <a:pt x="125" y="436"/>
                    </a:lnTo>
                    <a:lnTo>
                      <a:pt x="121" y="440"/>
                    </a:lnTo>
                    <a:lnTo>
                      <a:pt x="123" y="443"/>
                    </a:lnTo>
                    <a:lnTo>
                      <a:pt x="121" y="448"/>
                    </a:lnTo>
                    <a:lnTo>
                      <a:pt x="118" y="450"/>
                    </a:lnTo>
                    <a:lnTo>
                      <a:pt x="116" y="4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0" name="Freeform 35"/>
              <p:cNvSpPr>
                <a:spLocks noEditPoints="1"/>
              </p:cNvSpPr>
              <p:nvPr/>
            </p:nvSpPr>
            <p:spPr bwMode="auto">
              <a:xfrm>
                <a:off x="6621572" y="2280893"/>
                <a:ext cx="129500" cy="204405"/>
              </a:xfrm>
              <a:custGeom>
                <a:avLst/>
                <a:gdLst/>
                <a:ahLst/>
                <a:cxnLst>
                  <a:cxn ang="0">
                    <a:pos x="220" y="328"/>
                  </a:cxn>
                  <a:cxn ang="0">
                    <a:pos x="224" y="266"/>
                  </a:cxn>
                  <a:cxn ang="0">
                    <a:pos x="209" y="225"/>
                  </a:cxn>
                  <a:cxn ang="0">
                    <a:pos x="199" y="198"/>
                  </a:cxn>
                  <a:cxn ang="0">
                    <a:pos x="192" y="151"/>
                  </a:cxn>
                  <a:cxn ang="0">
                    <a:pos x="186" y="98"/>
                  </a:cxn>
                  <a:cxn ang="0">
                    <a:pos x="156" y="77"/>
                  </a:cxn>
                  <a:cxn ang="0">
                    <a:pos x="152" y="47"/>
                  </a:cxn>
                  <a:cxn ang="0">
                    <a:pos x="156" y="17"/>
                  </a:cxn>
                  <a:cxn ang="0">
                    <a:pos x="119" y="2"/>
                  </a:cxn>
                  <a:cxn ang="0">
                    <a:pos x="101" y="12"/>
                  </a:cxn>
                  <a:cxn ang="0">
                    <a:pos x="96" y="42"/>
                  </a:cxn>
                  <a:cxn ang="0">
                    <a:pos x="79" y="55"/>
                  </a:cxn>
                  <a:cxn ang="0">
                    <a:pos x="49" y="63"/>
                  </a:cxn>
                  <a:cxn ang="0">
                    <a:pos x="11" y="39"/>
                  </a:cxn>
                  <a:cxn ang="0">
                    <a:pos x="1" y="47"/>
                  </a:cxn>
                  <a:cxn ang="0">
                    <a:pos x="34" y="70"/>
                  </a:cxn>
                  <a:cxn ang="0">
                    <a:pos x="51" y="82"/>
                  </a:cxn>
                  <a:cxn ang="0">
                    <a:pos x="59" y="105"/>
                  </a:cxn>
                  <a:cxn ang="0">
                    <a:pos x="68" y="128"/>
                  </a:cxn>
                  <a:cxn ang="0">
                    <a:pos x="71" y="161"/>
                  </a:cxn>
                  <a:cxn ang="0">
                    <a:pos x="88" y="180"/>
                  </a:cxn>
                  <a:cxn ang="0">
                    <a:pos x="108" y="200"/>
                  </a:cxn>
                  <a:cxn ang="0">
                    <a:pos x="111" y="215"/>
                  </a:cxn>
                  <a:cxn ang="0">
                    <a:pos x="88" y="226"/>
                  </a:cxn>
                  <a:cxn ang="0">
                    <a:pos x="71" y="240"/>
                  </a:cxn>
                  <a:cxn ang="0">
                    <a:pos x="69" y="259"/>
                  </a:cxn>
                  <a:cxn ang="0">
                    <a:pos x="54" y="263"/>
                  </a:cxn>
                  <a:cxn ang="0">
                    <a:pos x="48" y="276"/>
                  </a:cxn>
                  <a:cxn ang="0">
                    <a:pos x="36" y="279"/>
                  </a:cxn>
                  <a:cxn ang="0">
                    <a:pos x="34" y="298"/>
                  </a:cxn>
                  <a:cxn ang="0">
                    <a:pos x="38" y="313"/>
                  </a:cxn>
                  <a:cxn ang="0">
                    <a:pos x="48" y="336"/>
                  </a:cxn>
                  <a:cxn ang="0">
                    <a:pos x="43" y="362"/>
                  </a:cxn>
                  <a:cxn ang="0">
                    <a:pos x="61" y="371"/>
                  </a:cxn>
                  <a:cxn ang="0">
                    <a:pos x="78" y="376"/>
                  </a:cxn>
                  <a:cxn ang="0">
                    <a:pos x="86" y="394"/>
                  </a:cxn>
                  <a:cxn ang="0">
                    <a:pos x="101" y="387"/>
                  </a:cxn>
                  <a:cxn ang="0">
                    <a:pos x="134" y="376"/>
                  </a:cxn>
                  <a:cxn ang="0">
                    <a:pos x="144" y="372"/>
                  </a:cxn>
                  <a:cxn ang="0">
                    <a:pos x="152" y="372"/>
                  </a:cxn>
                  <a:cxn ang="0">
                    <a:pos x="169" y="367"/>
                  </a:cxn>
                  <a:cxn ang="0">
                    <a:pos x="184" y="366"/>
                  </a:cxn>
                  <a:cxn ang="0">
                    <a:pos x="101" y="206"/>
                  </a:cxn>
                  <a:cxn ang="0">
                    <a:pos x="103" y="203"/>
                  </a:cxn>
                  <a:cxn ang="0">
                    <a:pos x="36" y="268"/>
                  </a:cxn>
                  <a:cxn ang="0">
                    <a:pos x="36" y="271"/>
                  </a:cxn>
                  <a:cxn ang="0">
                    <a:pos x="81" y="386"/>
                  </a:cxn>
                  <a:cxn ang="0">
                    <a:pos x="81" y="386"/>
                  </a:cxn>
                  <a:cxn ang="0">
                    <a:pos x="74" y="381"/>
                  </a:cxn>
                  <a:cxn ang="0">
                    <a:pos x="64" y="377"/>
                  </a:cxn>
                  <a:cxn ang="0">
                    <a:pos x="54" y="369"/>
                  </a:cxn>
                  <a:cxn ang="0">
                    <a:pos x="44" y="371"/>
                  </a:cxn>
                  <a:cxn ang="0">
                    <a:pos x="15" y="372"/>
                  </a:cxn>
                  <a:cxn ang="0">
                    <a:pos x="23" y="384"/>
                  </a:cxn>
                  <a:cxn ang="0">
                    <a:pos x="13" y="382"/>
                  </a:cxn>
                </a:cxnLst>
                <a:rect l="0" t="0" r="r" b="b"/>
                <a:pathLst>
                  <a:path w="242" h="394">
                    <a:moveTo>
                      <a:pt x="192" y="366"/>
                    </a:moveTo>
                    <a:lnTo>
                      <a:pt x="191" y="359"/>
                    </a:lnTo>
                    <a:lnTo>
                      <a:pt x="202" y="349"/>
                    </a:lnTo>
                    <a:lnTo>
                      <a:pt x="207" y="348"/>
                    </a:lnTo>
                    <a:lnTo>
                      <a:pt x="214" y="336"/>
                    </a:lnTo>
                    <a:lnTo>
                      <a:pt x="220" y="328"/>
                    </a:lnTo>
                    <a:lnTo>
                      <a:pt x="225" y="316"/>
                    </a:lnTo>
                    <a:lnTo>
                      <a:pt x="235" y="301"/>
                    </a:lnTo>
                    <a:lnTo>
                      <a:pt x="242" y="286"/>
                    </a:lnTo>
                    <a:lnTo>
                      <a:pt x="240" y="279"/>
                    </a:lnTo>
                    <a:lnTo>
                      <a:pt x="230" y="268"/>
                    </a:lnTo>
                    <a:lnTo>
                      <a:pt x="224" y="266"/>
                    </a:lnTo>
                    <a:lnTo>
                      <a:pt x="212" y="253"/>
                    </a:lnTo>
                    <a:lnTo>
                      <a:pt x="215" y="246"/>
                    </a:lnTo>
                    <a:lnTo>
                      <a:pt x="219" y="240"/>
                    </a:lnTo>
                    <a:lnTo>
                      <a:pt x="219" y="233"/>
                    </a:lnTo>
                    <a:lnTo>
                      <a:pt x="212" y="230"/>
                    </a:lnTo>
                    <a:lnTo>
                      <a:pt x="209" y="225"/>
                    </a:lnTo>
                    <a:lnTo>
                      <a:pt x="209" y="216"/>
                    </a:lnTo>
                    <a:lnTo>
                      <a:pt x="211" y="213"/>
                    </a:lnTo>
                    <a:lnTo>
                      <a:pt x="209" y="210"/>
                    </a:lnTo>
                    <a:lnTo>
                      <a:pt x="202" y="208"/>
                    </a:lnTo>
                    <a:lnTo>
                      <a:pt x="199" y="205"/>
                    </a:lnTo>
                    <a:lnTo>
                      <a:pt x="199" y="198"/>
                    </a:lnTo>
                    <a:lnTo>
                      <a:pt x="202" y="193"/>
                    </a:lnTo>
                    <a:lnTo>
                      <a:pt x="197" y="193"/>
                    </a:lnTo>
                    <a:lnTo>
                      <a:pt x="197" y="190"/>
                    </a:lnTo>
                    <a:lnTo>
                      <a:pt x="199" y="175"/>
                    </a:lnTo>
                    <a:lnTo>
                      <a:pt x="204" y="173"/>
                    </a:lnTo>
                    <a:lnTo>
                      <a:pt x="192" y="151"/>
                    </a:lnTo>
                    <a:lnTo>
                      <a:pt x="182" y="135"/>
                    </a:lnTo>
                    <a:lnTo>
                      <a:pt x="181" y="128"/>
                    </a:lnTo>
                    <a:lnTo>
                      <a:pt x="174" y="123"/>
                    </a:lnTo>
                    <a:lnTo>
                      <a:pt x="179" y="112"/>
                    </a:lnTo>
                    <a:lnTo>
                      <a:pt x="184" y="105"/>
                    </a:lnTo>
                    <a:lnTo>
                      <a:pt x="186" y="98"/>
                    </a:lnTo>
                    <a:lnTo>
                      <a:pt x="182" y="97"/>
                    </a:lnTo>
                    <a:lnTo>
                      <a:pt x="172" y="90"/>
                    </a:lnTo>
                    <a:lnTo>
                      <a:pt x="171" y="85"/>
                    </a:lnTo>
                    <a:lnTo>
                      <a:pt x="166" y="80"/>
                    </a:lnTo>
                    <a:lnTo>
                      <a:pt x="159" y="77"/>
                    </a:lnTo>
                    <a:lnTo>
                      <a:pt x="156" y="77"/>
                    </a:lnTo>
                    <a:lnTo>
                      <a:pt x="152" y="67"/>
                    </a:lnTo>
                    <a:lnTo>
                      <a:pt x="149" y="63"/>
                    </a:lnTo>
                    <a:lnTo>
                      <a:pt x="151" y="55"/>
                    </a:lnTo>
                    <a:lnTo>
                      <a:pt x="152" y="50"/>
                    </a:lnTo>
                    <a:lnTo>
                      <a:pt x="147" y="49"/>
                    </a:lnTo>
                    <a:lnTo>
                      <a:pt x="152" y="47"/>
                    </a:lnTo>
                    <a:lnTo>
                      <a:pt x="157" y="44"/>
                    </a:lnTo>
                    <a:lnTo>
                      <a:pt x="157" y="35"/>
                    </a:lnTo>
                    <a:lnTo>
                      <a:pt x="161" y="29"/>
                    </a:lnTo>
                    <a:lnTo>
                      <a:pt x="162" y="25"/>
                    </a:lnTo>
                    <a:lnTo>
                      <a:pt x="157" y="20"/>
                    </a:lnTo>
                    <a:lnTo>
                      <a:pt x="156" y="17"/>
                    </a:lnTo>
                    <a:lnTo>
                      <a:pt x="147" y="15"/>
                    </a:lnTo>
                    <a:lnTo>
                      <a:pt x="142" y="14"/>
                    </a:lnTo>
                    <a:lnTo>
                      <a:pt x="139" y="10"/>
                    </a:lnTo>
                    <a:lnTo>
                      <a:pt x="134" y="4"/>
                    </a:lnTo>
                    <a:lnTo>
                      <a:pt x="129" y="0"/>
                    </a:lnTo>
                    <a:lnTo>
                      <a:pt x="119" y="2"/>
                    </a:lnTo>
                    <a:lnTo>
                      <a:pt x="114" y="5"/>
                    </a:lnTo>
                    <a:lnTo>
                      <a:pt x="114" y="7"/>
                    </a:lnTo>
                    <a:lnTo>
                      <a:pt x="111" y="7"/>
                    </a:lnTo>
                    <a:lnTo>
                      <a:pt x="104" y="7"/>
                    </a:lnTo>
                    <a:lnTo>
                      <a:pt x="99" y="9"/>
                    </a:lnTo>
                    <a:lnTo>
                      <a:pt x="101" y="12"/>
                    </a:lnTo>
                    <a:lnTo>
                      <a:pt x="96" y="15"/>
                    </a:lnTo>
                    <a:lnTo>
                      <a:pt x="94" y="17"/>
                    </a:lnTo>
                    <a:lnTo>
                      <a:pt x="96" y="20"/>
                    </a:lnTo>
                    <a:lnTo>
                      <a:pt x="94" y="24"/>
                    </a:lnTo>
                    <a:lnTo>
                      <a:pt x="93" y="35"/>
                    </a:lnTo>
                    <a:lnTo>
                      <a:pt x="96" y="42"/>
                    </a:lnTo>
                    <a:lnTo>
                      <a:pt x="98" y="45"/>
                    </a:lnTo>
                    <a:lnTo>
                      <a:pt x="96" y="49"/>
                    </a:lnTo>
                    <a:lnTo>
                      <a:pt x="91" y="52"/>
                    </a:lnTo>
                    <a:lnTo>
                      <a:pt x="88" y="52"/>
                    </a:lnTo>
                    <a:lnTo>
                      <a:pt x="83" y="55"/>
                    </a:lnTo>
                    <a:lnTo>
                      <a:pt x="79" y="55"/>
                    </a:lnTo>
                    <a:lnTo>
                      <a:pt x="78" y="60"/>
                    </a:lnTo>
                    <a:lnTo>
                      <a:pt x="73" y="60"/>
                    </a:lnTo>
                    <a:lnTo>
                      <a:pt x="64" y="55"/>
                    </a:lnTo>
                    <a:lnTo>
                      <a:pt x="59" y="55"/>
                    </a:lnTo>
                    <a:lnTo>
                      <a:pt x="56" y="58"/>
                    </a:lnTo>
                    <a:lnTo>
                      <a:pt x="49" y="63"/>
                    </a:lnTo>
                    <a:lnTo>
                      <a:pt x="38" y="63"/>
                    </a:lnTo>
                    <a:lnTo>
                      <a:pt x="31" y="60"/>
                    </a:lnTo>
                    <a:lnTo>
                      <a:pt x="28" y="55"/>
                    </a:lnTo>
                    <a:lnTo>
                      <a:pt x="26" y="50"/>
                    </a:lnTo>
                    <a:lnTo>
                      <a:pt x="15" y="44"/>
                    </a:lnTo>
                    <a:lnTo>
                      <a:pt x="11" y="39"/>
                    </a:lnTo>
                    <a:lnTo>
                      <a:pt x="8" y="39"/>
                    </a:lnTo>
                    <a:lnTo>
                      <a:pt x="5" y="40"/>
                    </a:lnTo>
                    <a:lnTo>
                      <a:pt x="3" y="44"/>
                    </a:lnTo>
                    <a:lnTo>
                      <a:pt x="5" y="47"/>
                    </a:lnTo>
                    <a:lnTo>
                      <a:pt x="3" y="49"/>
                    </a:lnTo>
                    <a:lnTo>
                      <a:pt x="1" y="47"/>
                    </a:lnTo>
                    <a:lnTo>
                      <a:pt x="0" y="49"/>
                    </a:lnTo>
                    <a:lnTo>
                      <a:pt x="3" y="53"/>
                    </a:lnTo>
                    <a:lnTo>
                      <a:pt x="10" y="55"/>
                    </a:lnTo>
                    <a:lnTo>
                      <a:pt x="18" y="65"/>
                    </a:lnTo>
                    <a:lnTo>
                      <a:pt x="24" y="68"/>
                    </a:lnTo>
                    <a:lnTo>
                      <a:pt x="34" y="70"/>
                    </a:lnTo>
                    <a:lnTo>
                      <a:pt x="38" y="72"/>
                    </a:lnTo>
                    <a:lnTo>
                      <a:pt x="41" y="73"/>
                    </a:lnTo>
                    <a:lnTo>
                      <a:pt x="46" y="77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6" y="87"/>
                    </a:lnTo>
                    <a:lnTo>
                      <a:pt x="59" y="87"/>
                    </a:lnTo>
                    <a:lnTo>
                      <a:pt x="61" y="90"/>
                    </a:lnTo>
                    <a:lnTo>
                      <a:pt x="59" y="93"/>
                    </a:lnTo>
                    <a:lnTo>
                      <a:pt x="61" y="100"/>
                    </a:lnTo>
                    <a:lnTo>
                      <a:pt x="59" y="105"/>
                    </a:lnTo>
                    <a:lnTo>
                      <a:pt x="59" y="110"/>
                    </a:lnTo>
                    <a:lnTo>
                      <a:pt x="66" y="110"/>
                    </a:lnTo>
                    <a:lnTo>
                      <a:pt x="68" y="115"/>
                    </a:lnTo>
                    <a:lnTo>
                      <a:pt x="64" y="118"/>
                    </a:lnTo>
                    <a:lnTo>
                      <a:pt x="66" y="125"/>
                    </a:lnTo>
                    <a:lnTo>
                      <a:pt x="68" y="128"/>
                    </a:lnTo>
                    <a:lnTo>
                      <a:pt x="69" y="137"/>
                    </a:lnTo>
                    <a:lnTo>
                      <a:pt x="69" y="140"/>
                    </a:lnTo>
                    <a:lnTo>
                      <a:pt x="69" y="143"/>
                    </a:lnTo>
                    <a:lnTo>
                      <a:pt x="69" y="151"/>
                    </a:lnTo>
                    <a:lnTo>
                      <a:pt x="68" y="155"/>
                    </a:lnTo>
                    <a:lnTo>
                      <a:pt x="71" y="161"/>
                    </a:lnTo>
                    <a:lnTo>
                      <a:pt x="74" y="161"/>
                    </a:lnTo>
                    <a:lnTo>
                      <a:pt x="79" y="170"/>
                    </a:lnTo>
                    <a:lnTo>
                      <a:pt x="83" y="173"/>
                    </a:lnTo>
                    <a:lnTo>
                      <a:pt x="81" y="178"/>
                    </a:lnTo>
                    <a:lnTo>
                      <a:pt x="83" y="180"/>
                    </a:lnTo>
                    <a:lnTo>
                      <a:pt x="88" y="180"/>
                    </a:lnTo>
                    <a:lnTo>
                      <a:pt x="93" y="183"/>
                    </a:lnTo>
                    <a:lnTo>
                      <a:pt x="101" y="183"/>
                    </a:lnTo>
                    <a:lnTo>
                      <a:pt x="108" y="190"/>
                    </a:lnTo>
                    <a:lnTo>
                      <a:pt x="104" y="191"/>
                    </a:lnTo>
                    <a:lnTo>
                      <a:pt x="106" y="193"/>
                    </a:lnTo>
                    <a:lnTo>
                      <a:pt x="108" y="200"/>
                    </a:lnTo>
                    <a:lnTo>
                      <a:pt x="106" y="201"/>
                    </a:lnTo>
                    <a:lnTo>
                      <a:pt x="113" y="208"/>
                    </a:lnTo>
                    <a:lnTo>
                      <a:pt x="108" y="206"/>
                    </a:lnTo>
                    <a:lnTo>
                      <a:pt x="106" y="208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4" y="211"/>
                    </a:lnTo>
                    <a:lnTo>
                      <a:pt x="98" y="211"/>
                    </a:lnTo>
                    <a:lnTo>
                      <a:pt x="93" y="215"/>
                    </a:lnTo>
                    <a:lnTo>
                      <a:pt x="93" y="218"/>
                    </a:lnTo>
                    <a:lnTo>
                      <a:pt x="88" y="223"/>
                    </a:lnTo>
                    <a:lnTo>
                      <a:pt x="88" y="226"/>
                    </a:lnTo>
                    <a:lnTo>
                      <a:pt x="86" y="226"/>
                    </a:lnTo>
                    <a:lnTo>
                      <a:pt x="78" y="235"/>
                    </a:lnTo>
                    <a:lnTo>
                      <a:pt x="78" y="241"/>
                    </a:lnTo>
                    <a:lnTo>
                      <a:pt x="76" y="241"/>
                    </a:lnTo>
                    <a:lnTo>
                      <a:pt x="74" y="240"/>
                    </a:lnTo>
                    <a:lnTo>
                      <a:pt x="71" y="240"/>
                    </a:lnTo>
                    <a:lnTo>
                      <a:pt x="73" y="245"/>
                    </a:lnTo>
                    <a:lnTo>
                      <a:pt x="73" y="248"/>
                    </a:lnTo>
                    <a:lnTo>
                      <a:pt x="68" y="248"/>
                    </a:lnTo>
                    <a:lnTo>
                      <a:pt x="64" y="251"/>
                    </a:lnTo>
                    <a:lnTo>
                      <a:pt x="66" y="258"/>
                    </a:lnTo>
                    <a:lnTo>
                      <a:pt x="69" y="259"/>
                    </a:lnTo>
                    <a:lnTo>
                      <a:pt x="63" y="258"/>
                    </a:lnTo>
                    <a:lnTo>
                      <a:pt x="61" y="256"/>
                    </a:lnTo>
                    <a:lnTo>
                      <a:pt x="58" y="256"/>
                    </a:lnTo>
                    <a:lnTo>
                      <a:pt x="56" y="261"/>
                    </a:lnTo>
                    <a:lnTo>
                      <a:pt x="58" y="264"/>
                    </a:lnTo>
                    <a:lnTo>
                      <a:pt x="54" y="263"/>
                    </a:lnTo>
                    <a:lnTo>
                      <a:pt x="53" y="264"/>
                    </a:lnTo>
                    <a:lnTo>
                      <a:pt x="56" y="266"/>
                    </a:lnTo>
                    <a:lnTo>
                      <a:pt x="56" y="269"/>
                    </a:lnTo>
                    <a:lnTo>
                      <a:pt x="53" y="271"/>
                    </a:lnTo>
                    <a:lnTo>
                      <a:pt x="51" y="274"/>
                    </a:lnTo>
                    <a:lnTo>
                      <a:pt x="48" y="276"/>
                    </a:lnTo>
                    <a:lnTo>
                      <a:pt x="44" y="276"/>
                    </a:lnTo>
                    <a:lnTo>
                      <a:pt x="44" y="274"/>
                    </a:lnTo>
                    <a:lnTo>
                      <a:pt x="41" y="273"/>
                    </a:lnTo>
                    <a:lnTo>
                      <a:pt x="38" y="274"/>
                    </a:lnTo>
                    <a:lnTo>
                      <a:pt x="39" y="278"/>
                    </a:lnTo>
                    <a:lnTo>
                      <a:pt x="36" y="279"/>
                    </a:lnTo>
                    <a:lnTo>
                      <a:pt x="38" y="284"/>
                    </a:lnTo>
                    <a:lnTo>
                      <a:pt x="36" y="288"/>
                    </a:lnTo>
                    <a:lnTo>
                      <a:pt x="34" y="289"/>
                    </a:lnTo>
                    <a:lnTo>
                      <a:pt x="31" y="293"/>
                    </a:lnTo>
                    <a:lnTo>
                      <a:pt x="34" y="296"/>
                    </a:lnTo>
                    <a:lnTo>
                      <a:pt x="34" y="298"/>
                    </a:lnTo>
                    <a:lnTo>
                      <a:pt x="33" y="301"/>
                    </a:lnTo>
                    <a:lnTo>
                      <a:pt x="34" y="304"/>
                    </a:lnTo>
                    <a:lnTo>
                      <a:pt x="38" y="303"/>
                    </a:lnTo>
                    <a:lnTo>
                      <a:pt x="39" y="306"/>
                    </a:lnTo>
                    <a:lnTo>
                      <a:pt x="39" y="311"/>
                    </a:lnTo>
                    <a:lnTo>
                      <a:pt x="38" y="313"/>
                    </a:lnTo>
                    <a:lnTo>
                      <a:pt x="39" y="318"/>
                    </a:lnTo>
                    <a:lnTo>
                      <a:pt x="38" y="319"/>
                    </a:lnTo>
                    <a:lnTo>
                      <a:pt x="43" y="326"/>
                    </a:lnTo>
                    <a:lnTo>
                      <a:pt x="46" y="328"/>
                    </a:lnTo>
                    <a:lnTo>
                      <a:pt x="44" y="331"/>
                    </a:lnTo>
                    <a:lnTo>
                      <a:pt x="48" y="336"/>
                    </a:lnTo>
                    <a:lnTo>
                      <a:pt x="44" y="338"/>
                    </a:lnTo>
                    <a:lnTo>
                      <a:pt x="44" y="344"/>
                    </a:lnTo>
                    <a:lnTo>
                      <a:pt x="43" y="346"/>
                    </a:lnTo>
                    <a:lnTo>
                      <a:pt x="43" y="356"/>
                    </a:lnTo>
                    <a:lnTo>
                      <a:pt x="46" y="359"/>
                    </a:lnTo>
                    <a:lnTo>
                      <a:pt x="43" y="362"/>
                    </a:lnTo>
                    <a:lnTo>
                      <a:pt x="43" y="366"/>
                    </a:lnTo>
                    <a:lnTo>
                      <a:pt x="44" y="369"/>
                    </a:lnTo>
                    <a:lnTo>
                      <a:pt x="51" y="366"/>
                    </a:lnTo>
                    <a:lnTo>
                      <a:pt x="54" y="367"/>
                    </a:lnTo>
                    <a:lnTo>
                      <a:pt x="54" y="366"/>
                    </a:lnTo>
                    <a:lnTo>
                      <a:pt x="61" y="371"/>
                    </a:lnTo>
                    <a:lnTo>
                      <a:pt x="64" y="371"/>
                    </a:lnTo>
                    <a:lnTo>
                      <a:pt x="68" y="372"/>
                    </a:lnTo>
                    <a:lnTo>
                      <a:pt x="74" y="372"/>
                    </a:lnTo>
                    <a:lnTo>
                      <a:pt x="76" y="372"/>
                    </a:lnTo>
                    <a:lnTo>
                      <a:pt x="74" y="376"/>
                    </a:lnTo>
                    <a:lnTo>
                      <a:pt x="78" y="376"/>
                    </a:lnTo>
                    <a:lnTo>
                      <a:pt x="83" y="372"/>
                    </a:lnTo>
                    <a:lnTo>
                      <a:pt x="83" y="376"/>
                    </a:lnTo>
                    <a:lnTo>
                      <a:pt x="79" y="379"/>
                    </a:lnTo>
                    <a:lnTo>
                      <a:pt x="86" y="387"/>
                    </a:lnTo>
                    <a:lnTo>
                      <a:pt x="88" y="389"/>
                    </a:lnTo>
                    <a:lnTo>
                      <a:pt x="86" y="394"/>
                    </a:lnTo>
                    <a:lnTo>
                      <a:pt x="88" y="394"/>
                    </a:lnTo>
                    <a:lnTo>
                      <a:pt x="89" y="389"/>
                    </a:lnTo>
                    <a:lnTo>
                      <a:pt x="93" y="387"/>
                    </a:lnTo>
                    <a:lnTo>
                      <a:pt x="93" y="389"/>
                    </a:lnTo>
                    <a:lnTo>
                      <a:pt x="98" y="387"/>
                    </a:lnTo>
                    <a:lnTo>
                      <a:pt x="101" y="387"/>
                    </a:lnTo>
                    <a:lnTo>
                      <a:pt x="109" y="382"/>
                    </a:lnTo>
                    <a:lnTo>
                      <a:pt x="113" y="382"/>
                    </a:lnTo>
                    <a:lnTo>
                      <a:pt x="122" y="377"/>
                    </a:lnTo>
                    <a:lnTo>
                      <a:pt x="122" y="374"/>
                    </a:lnTo>
                    <a:lnTo>
                      <a:pt x="129" y="376"/>
                    </a:lnTo>
                    <a:lnTo>
                      <a:pt x="134" y="376"/>
                    </a:lnTo>
                    <a:lnTo>
                      <a:pt x="137" y="371"/>
                    </a:lnTo>
                    <a:lnTo>
                      <a:pt x="139" y="372"/>
                    </a:lnTo>
                    <a:lnTo>
                      <a:pt x="136" y="376"/>
                    </a:lnTo>
                    <a:lnTo>
                      <a:pt x="139" y="377"/>
                    </a:lnTo>
                    <a:lnTo>
                      <a:pt x="141" y="372"/>
                    </a:lnTo>
                    <a:lnTo>
                      <a:pt x="144" y="372"/>
                    </a:lnTo>
                    <a:lnTo>
                      <a:pt x="142" y="367"/>
                    </a:lnTo>
                    <a:lnTo>
                      <a:pt x="144" y="366"/>
                    </a:lnTo>
                    <a:lnTo>
                      <a:pt x="146" y="371"/>
                    </a:lnTo>
                    <a:lnTo>
                      <a:pt x="149" y="371"/>
                    </a:lnTo>
                    <a:lnTo>
                      <a:pt x="149" y="367"/>
                    </a:lnTo>
                    <a:lnTo>
                      <a:pt x="152" y="372"/>
                    </a:lnTo>
                    <a:lnTo>
                      <a:pt x="156" y="371"/>
                    </a:lnTo>
                    <a:lnTo>
                      <a:pt x="156" y="369"/>
                    </a:lnTo>
                    <a:lnTo>
                      <a:pt x="159" y="369"/>
                    </a:lnTo>
                    <a:lnTo>
                      <a:pt x="159" y="371"/>
                    </a:lnTo>
                    <a:lnTo>
                      <a:pt x="162" y="369"/>
                    </a:lnTo>
                    <a:lnTo>
                      <a:pt x="169" y="367"/>
                    </a:lnTo>
                    <a:lnTo>
                      <a:pt x="172" y="371"/>
                    </a:lnTo>
                    <a:lnTo>
                      <a:pt x="181" y="369"/>
                    </a:lnTo>
                    <a:lnTo>
                      <a:pt x="181" y="367"/>
                    </a:lnTo>
                    <a:lnTo>
                      <a:pt x="179" y="366"/>
                    </a:lnTo>
                    <a:lnTo>
                      <a:pt x="181" y="364"/>
                    </a:lnTo>
                    <a:lnTo>
                      <a:pt x="184" y="366"/>
                    </a:lnTo>
                    <a:lnTo>
                      <a:pt x="184" y="367"/>
                    </a:lnTo>
                    <a:lnTo>
                      <a:pt x="189" y="369"/>
                    </a:lnTo>
                    <a:lnTo>
                      <a:pt x="189" y="369"/>
                    </a:lnTo>
                    <a:lnTo>
                      <a:pt x="192" y="366"/>
                    </a:lnTo>
                    <a:lnTo>
                      <a:pt x="192" y="366"/>
                    </a:lnTo>
                    <a:close/>
                    <a:moveTo>
                      <a:pt x="101" y="206"/>
                    </a:moveTo>
                    <a:lnTo>
                      <a:pt x="99" y="208"/>
                    </a:lnTo>
                    <a:lnTo>
                      <a:pt x="94" y="208"/>
                    </a:lnTo>
                    <a:lnTo>
                      <a:pt x="91" y="203"/>
                    </a:lnTo>
                    <a:lnTo>
                      <a:pt x="96" y="200"/>
                    </a:lnTo>
                    <a:lnTo>
                      <a:pt x="104" y="201"/>
                    </a:lnTo>
                    <a:lnTo>
                      <a:pt x="103" y="203"/>
                    </a:lnTo>
                    <a:lnTo>
                      <a:pt x="99" y="203"/>
                    </a:lnTo>
                    <a:lnTo>
                      <a:pt x="101" y="206"/>
                    </a:lnTo>
                    <a:lnTo>
                      <a:pt x="101" y="206"/>
                    </a:lnTo>
                    <a:close/>
                    <a:moveTo>
                      <a:pt x="33" y="268"/>
                    </a:moveTo>
                    <a:lnTo>
                      <a:pt x="33" y="264"/>
                    </a:lnTo>
                    <a:lnTo>
                      <a:pt x="36" y="268"/>
                    </a:lnTo>
                    <a:lnTo>
                      <a:pt x="34" y="269"/>
                    </a:lnTo>
                    <a:lnTo>
                      <a:pt x="33" y="268"/>
                    </a:lnTo>
                    <a:lnTo>
                      <a:pt x="33" y="268"/>
                    </a:lnTo>
                    <a:close/>
                    <a:moveTo>
                      <a:pt x="31" y="271"/>
                    </a:moveTo>
                    <a:lnTo>
                      <a:pt x="33" y="273"/>
                    </a:lnTo>
                    <a:lnTo>
                      <a:pt x="36" y="271"/>
                    </a:lnTo>
                    <a:lnTo>
                      <a:pt x="36" y="274"/>
                    </a:lnTo>
                    <a:lnTo>
                      <a:pt x="31" y="278"/>
                    </a:lnTo>
                    <a:lnTo>
                      <a:pt x="29" y="274"/>
                    </a:lnTo>
                    <a:lnTo>
                      <a:pt x="31" y="271"/>
                    </a:lnTo>
                    <a:lnTo>
                      <a:pt x="31" y="271"/>
                    </a:lnTo>
                    <a:close/>
                    <a:moveTo>
                      <a:pt x="81" y="386"/>
                    </a:moveTo>
                    <a:lnTo>
                      <a:pt x="83" y="389"/>
                    </a:lnTo>
                    <a:lnTo>
                      <a:pt x="79" y="391"/>
                    </a:lnTo>
                    <a:lnTo>
                      <a:pt x="78" y="389"/>
                    </a:lnTo>
                    <a:lnTo>
                      <a:pt x="79" y="387"/>
                    </a:lnTo>
                    <a:lnTo>
                      <a:pt x="81" y="386"/>
                    </a:lnTo>
                    <a:lnTo>
                      <a:pt x="81" y="386"/>
                    </a:lnTo>
                    <a:close/>
                    <a:moveTo>
                      <a:pt x="74" y="381"/>
                    </a:moveTo>
                    <a:lnTo>
                      <a:pt x="74" y="381"/>
                    </a:lnTo>
                    <a:lnTo>
                      <a:pt x="76" y="384"/>
                    </a:lnTo>
                    <a:lnTo>
                      <a:pt x="74" y="384"/>
                    </a:lnTo>
                    <a:lnTo>
                      <a:pt x="74" y="381"/>
                    </a:lnTo>
                    <a:lnTo>
                      <a:pt x="74" y="381"/>
                    </a:lnTo>
                    <a:close/>
                    <a:moveTo>
                      <a:pt x="64" y="377"/>
                    </a:moveTo>
                    <a:lnTo>
                      <a:pt x="73" y="376"/>
                    </a:lnTo>
                    <a:lnTo>
                      <a:pt x="71" y="377"/>
                    </a:lnTo>
                    <a:lnTo>
                      <a:pt x="68" y="381"/>
                    </a:lnTo>
                    <a:lnTo>
                      <a:pt x="64" y="379"/>
                    </a:lnTo>
                    <a:lnTo>
                      <a:pt x="64" y="377"/>
                    </a:lnTo>
                    <a:lnTo>
                      <a:pt x="64" y="377"/>
                    </a:lnTo>
                    <a:close/>
                    <a:moveTo>
                      <a:pt x="54" y="369"/>
                    </a:moveTo>
                    <a:lnTo>
                      <a:pt x="59" y="372"/>
                    </a:lnTo>
                    <a:lnTo>
                      <a:pt x="56" y="376"/>
                    </a:lnTo>
                    <a:lnTo>
                      <a:pt x="54" y="372"/>
                    </a:lnTo>
                    <a:lnTo>
                      <a:pt x="54" y="369"/>
                    </a:lnTo>
                    <a:lnTo>
                      <a:pt x="54" y="369"/>
                    </a:lnTo>
                    <a:close/>
                    <a:moveTo>
                      <a:pt x="44" y="371"/>
                    </a:moveTo>
                    <a:lnTo>
                      <a:pt x="48" y="372"/>
                    </a:lnTo>
                    <a:lnTo>
                      <a:pt x="46" y="372"/>
                    </a:lnTo>
                    <a:lnTo>
                      <a:pt x="46" y="372"/>
                    </a:lnTo>
                    <a:lnTo>
                      <a:pt x="44" y="371"/>
                    </a:lnTo>
                    <a:lnTo>
                      <a:pt x="44" y="371"/>
                    </a:lnTo>
                    <a:close/>
                    <a:moveTo>
                      <a:pt x="11" y="377"/>
                    </a:moveTo>
                    <a:lnTo>
                      <a:pt x="18" y="379"/>
                    </a:lnTo>
                    <a:lnTo>
                      <a:pt x="18" y="377"/>
                    </a:lnTo>
                    <a:lnTo>
                      <a:pt x="15" y="376"/>
                    </a:lnTo>
                    <a:lnTo>
                      <a:pt x="15" y="372"/>
                    </a:lnTo>
                    <a:lnTo>
                      <a:pt x="18" y="371"/>
                    </a:lnTo>
                    <a:lnTo>
                      <a:pt x="24" y="376"/>
                    </a:lnTo>
                    <a:lnTo>
                      <a:pt x="24" y="379"/>
                    </a:lnTo>
                    <a:lnTo>
                      <a:pt x="21" y="379"/>
                    </a:lnTo>
                    <a:lnTo>
                      <a:pt x="19" y="381"/>
                    </a:lnTo>
                    <a:lnTo>
                      <a:pt x="23" y="384"/>
                    </a:lnTo>
                    <a:lnTo>
                      <a:pt x="26" y="384"/>
                    </a:lnTo>
                    <a:lnTo>
                      <a:pt x="28" y="387"/>
                    </a:lnTo>
                    <a:lnTo>
                      <a:pt x="24" y="389"/>
                    </a:lnTo>
                    <a:lnTo>
                      <a:pt x="19" y="386"/>
                    </a:lnTo>
                    <a:lnTo>
                      <a:pt x="15" y="384"/>
                    </a:lnTo>
                    <a:lnTo>
                      <a:pt x="13" y="382"/>
                    </a:lnTo>
                    <a:lnTo>
                      <a:pt x="10" y="379"/>
                    </a:lnTo>
                    <a:lnTo>
                      <a:pt x="11" y="3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1" name="Freeform 36"/>
              <p:cNvSpPr>
                <a:spLocks noEditPoints="1"/>
              </p:cNvSpPr>
              <p:nvPr/>
            </p:nvSpPr>
            <p:spPr bwMode="auto">
              <a:xfrm>
                <a:off x="6656891" y="2487373"/>
                <a:ext cx="68496" cy="41504"/>
              </a:xfrm>
              <a:custGeom>
                <a:avLst/>
                <a:gdLst/>
                <a:ahLst/>
                <a:cxnLst>
                  <a:cxn ang="0">
                    <a:pos x="126" y="72"/>
                  </a:cxn>
                  <a:cxn ang="0">
                    <a:pos x="128" y="65"/>
                  </a:cxn>
                  <a:cxn ang="0">
                    <a:pos x="118" y="42"/>
                  </a:cxn>
                  <a:cxn ang="0">
                    <a:pos x="121" y="25"/>
                  </a:cxn>
                  <a:cxn ang="0">
                    <a:pos x="128" y="14"/>
                  </a:cxn>
                  <a:cxn ang="0">
                    <a:pos x="128" y="12"/>
                  </a:cxn>
                  <a:cxn ang="0">
                    <a:pos x="125" y="10"/>
                  </a:cxn>
                  <a:cxn ang="0">
                    <a:pos x="96" y="5"/>
                  </a:cxn>
                  <a:cxn ang="0">
                    <a:pos x="83" y="2"/>
                  </a:cxn>
                  <a:cxn ang="0">
                    <a:pos x="75" y="0"/>
                  </a:cxn>
                  <a:cxn ang="0">
                    <a:pos x="71" y="2"/>
                  </a:cxn>
                  <a:cxn ang="0">
                    <a:pos x="73" y="7"/>
                  </a:cxn>
                  <a:cxn ang="0">
                    <a:pos x="66" y="7"/>
                  </a:cxn>
                  <a:cxn ang="0">
                    <a:pos x="56" y="5"/>
                  </a:cxn>
                  <a:cxn ang="0">
                    <a:pos x="51" y="9"/>
                  </a:cxn>
                  <a:cxn ang="0">
                    <a:pos x="45" y="14"/>
                  </a:cxn>
                  <a:cxn ang="0">
                    <a:pos x="35" y="17"/>
                  </a:cxn>
                  <a:cxn ang="0">
                    <a:pos x="32" y="35"/>
                  </a:cxn>
                  <a:cxn ang="0">
                    <a:pos x="37" y="34"/>
                  </a:cxn>
                  <a:cxn ang="0">
                    <a:pos x="38" y="37"/>
                  </a:cxn>
                  <a:cxn ang="0">
                    <a:pos x="37" y="44"/>
                  </a:cxn>
                  <a:cxn ang="0">
                    <a:pos x="47" y="55"/>
                  </a:cxn>
                  <a:cxn ang="0">
                    <a:pos x="50" y="50"/>
                  </a:cxn>
                  <a:cxn ang="0">
                    <a:pos x="56" y="50"/>
                  </a:cxn>
                  <a:cxn ang="0">
                    <a:pos x="53" y="63"/>
                  </a:cxn>
                  <a:cxn ang="0">
                    <a:pos x="63" y="58"/>
                  </a:cxn>
                  <a:cxn ang="0">
                    <a:pos x="75" y="62"/>
                  </a:cxn>
                  <a:cxn ang="0">
                    <a:pos x="80" y="58"/>
                  </a:cxn>
                  <a:cxn ang="0">
                    <a:pos x="85" y="63"/>
                  </a:cxn>
                  <a:cxn ang="0">
                    <a:pos x="96" y="68"/>
                  </a:cxn>
                  <a:cxn ang="0">
                    <a:pos x="103" y="75"/>
                  </a:cxn>
                  <a:cxn ang="0">
                    <a:pos x="115" y="77"/>
                  </a:cxn>
                  <a:cxn ang="0">
                    <a:pos x="121" y="77"/>
                  </a:cxn>
                  <a:cxn ang="0">
                    <a:pos x="28" y="25"/>
                  </a:cxn>
                  <a:cxn ang="0">
                    <a:pos x="25" y="29"/>
                  </a:cxn>
                  <a:cxn ang="0">
                    <a:pos x="23" y="27"/>
                  </a:cxn>
                  <a:cxn ang="0">
                    <a:pos x="12" y="32"/>
                  </a:cxn>
                  <a:cxn ang="0">
                    <a:pos x="5" y="34"/>
                  </a:cxn>
                  <a:cxn ang="0">
                    <a:pos x="10" y="30"/>
                  </a:cxn>
                  <a:cxn ang="0">
                    <a:pos x="13" y="25"/>
                  </a:cxn>
                  <a:cxn ang="0">
                    <a:pos x="18" y="29"/>
                  </a:cxn>
                  <a:cxn ang="0">
                    <a:pos x="23" y="32"/>
                  </a:cxn>
                  <a:cxn ang="0">
                    <a:pos x="17" y="34"/>
                  </a:cxn>
                  <a:cxn ang="0">
                    <a:pos x="15" y="37"/>
                  </a:cxn>
                  <a:cxn ang="0">
                    <a:pos x="23" y="37"/>
                  </a:cxn>
                  <a:cxn ang="0">
                    <a:pos x="32" y="42"/>
                  </a:cxn>
                  <a:cxn ang="0">
                    <a:pos x="25" y="40"/>
                  </a:cxn>
                  <a:cxn ang="0">
                    <a:pos x="3" y="65"/>
                  </a:cxn>
                  <a:cxn ang="0">
                    <a:pos x="8" y="62"/>
                  </a:cxn>
                  <a:cxn ang="0">
                    <a:pos x="12" y="53"/>
                  </a:cxn>
                  <a:cxn ang="0">
                    <a:pos x="22" y="50"/>
                  </a:cxn>
                  <a:cxn ang="0">
                    <a:pos x="27" y="47"/>
                  </a:cxn>
                  <a:cxn ang="0">
                    <a:pos x="27" y="45"/>
                  </a:cxn>
                  <a:cxn ang="0">
                    <a:pos x="22" y="40"/>
                  </a:cxn>
                  <a:cxn ang="0">
                    <a:pos x="12" y="40"/>
                  </a:cxn>
                  <a:cxn ang="0">
                    <a:pos x="8" y="42"/>
                  </a:cxn>
                  <a:cxn ang="0">
                    <a:pos x="5" y="44"/>
                  </a:cxn>
                  <a:cxn ang="0">
                    <a:pos x="2" y="44"/>
                  </a:cxn>
                  <a:cxn ang="0">
                    <a:pos x="3" y="45"/>
                  </a:cxn>
                  <a:cxn ang="0">
                    <a:pos x="0" y="50"/>
                  </a:cxn>
                  <a:cxn ang="0">
                    <a:pos x="3" y="53"/>
                  </a:cxn>
                  <a:cxn ang="0">
                    <a:pos x="7" y="60"/>
                  </a:cxn>
                  <a:cxn ang="0">
                    <a:pos x="3" y="65"/>
                  </a:cxn>
                </a:cxnLst>
                <a:rect l="0" t="0" r="r" b="b"/>
                <a:pathLst>
                  <a:path w="128" h="80">
                    <a:moveTo>
                      <a:pt x="121" y="77"/>
                    </a:moveTo>
                    <a:lnTo>
                      <a:pt x="126" y="72"/>
                    </a:lnTo>
                    <a:lnTo>
                      <a:pt x="125" y="68"/>
                    </a:lnTo>
                    <a:lnTo>
                      <a:pt x="128" y="65"/>
                    </a:lnTo>
                    <a:lnTo>
                      <a:pt x="128" y="60"/>
                    </a:lnTo>
                    <a:lnTo>
                      <a:pt x="118" y="42"/>
                    </a:lnTo>
                    <a:lnTo>
                      <a:pt x="120" y="27"/>
                    </a:lnTo>
                    <a:lnTo>
                      <a:pt x="121" y="25"/>
                    </a:lnTo>
                    <a:lnTo>
                      <a:pt x="123" y="19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28" y="12"/>
                    </a:lnTo>
                    <a:lnTo>
                      <a:pt x="126" y="9"/>
                    </a:lnTo>
                    <a:lnTo>
                      <a:pt x="125" y="10"/>
                    </a:lnTo>
                    <a:lnTo>
                      <a:pt x="106" y="10"/>
                    </a:lnTo>
                    <a:lnTo>
                      <a:pt x="96" y="5"/>
                    </a:lnTo>
                    <a:lnTo>
                      <a:pt x="88" y="5"/>
                    </a:lnTo>
                    <a:lnTo>
                      <a:pt x="83" y="2"/>
                    </a:lnTo>
                    <a:lnTo>
                      <a:pt x="80" y="4"/>
                    </a:lnTo>
                    <a:lnTo>
                      <a:pt x="75" y="0"/>
                    </a:lnTo>
                    <a:lnTo>
                      <a:pt x="73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3" y="7"/>
                    </a:lnTo>
                    <a:lnTo>
                      <a:pt x="70" y="9"/>
                    </a:lnTo>
                    <a:lnTo>
                      <a:pt x="66" y="7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5" y="10"/>
                    </a:lnTo>
                    <a:lnTo>
                      <a:pt x="51" y="9"/>
                    </a:lnTo>
                    <a:lnTo>
                      <a:pt x="47" y="10"/>
                    </a:lnTo>
                    <a:lnTo>
                      <a:pt x="45" y="14"/>
                    </a:lnTo>
                    <a:lnTo>
                      <a:pt x="43" y="14"/>
                    </a:lnTo>
                    <a:lnTo>
                      <a:pt x="35" y="17"/>
                    </a:lnTo>
                    <a:lnTo>
                      <a:pt x="32" y="20"/>
                    </a:lnTo>
                    <a:lnTo>
                      <a:pt x="32" y="35"/>
                    </a:lnTo>
                    <a:lnTo>
                      <a:pt x="35" y="35"/>
                    </a:lnTo>
                    <a:lnTo>
                      <a:pt x="37" y="34"/>
                    </a:lnTo>
                    <a:lnTo>
                      <a:pt x="42" y="34"/>
                    </a:lnTo>
                    <a:lnTo>
                      <a:pt x="38" y="37"/>
                    </a:lnTo>
                    <a:lnTo>
                      <a:pt x="35" y="37"/>
                    </a:lnTo>
                    <a:lnTo>
                      <a:pt x="37" y="44"/>
                    </a:lnTo>
                    <a:lnTo>
                      <a:pt x="40" y="49"/>
                    </a:lnTo>
                    <a:lnTo>
                      <a:pt x="47" y="55"/>
                    </a:lnTo>
                    <a:lnTo>
                      <a:pt x="50" y="53"/>
                    </a:lnTo>
                    <a:lnTo>
                      <a:pt x="50" y="50"/>
                    </a:lnTo>
                    <a:lnTo>
                      <a:pt x="55" y="47"/>
                    </a:lnTo>
                    <a:lnTo>
                      <a:pt x="56" y="50"/>
                    </a:lnTo>
                    <a:lnTo>
                      <a:pt x="53" y="62"/>
                    </a:lnTo>
                    <a:lnTo>
                      <a:pt x="53" y="63"/>
                    </a:lnTo>
                    <a:lnTo>
                      <a:pt x="56" y="63"/>
                    </a:lnTo>
                    <a:lnTo>
                      <a:pt x="63" y="58"/>
                    </a:lnTo>
                    <a:lnTo>
                      <a:pt x="70" y="58"/>
                    </a:lnTo>
                    <a:lnTo>
                      <a:pt x="75" y="62"/>
                    </a:lnTo>
                    <a:lnTo>
                      <a:pt x="78" y="62"/>
                    </a:lnTo>
                    <a:lnTo>
                      <a:pt x="80" y="58"/>
                    </a:lnTo>
                    <a:lnTo>
                      <a:pt x="83" y="60"/>
                    </a:lnTo>
                    <a:lnTo>
                      <a:pt x="85" y="63"/>
                    </a:lnTo>
                    <a:lnTo>
                      <a:pt x="88" y="63"/>
                    </a:lnTo>
                    <a:lnTo>
                      <a:pt x="96" y="68"/>
                    </a:lnTo>
                    <a:lnTo>
                      <a:pt x="98" y="73"/>
                    </a:lnTo>
                    <a:lnTo>
                      <a:pt x="103" y="75"/>
                    </a:lnTo>
                    <a:lnTo>
                      <a:pt x="106" y="80"/>
                    </a:lnTo>
                    <a:lnTo>
                      <a:pt x="115" y="77"/>
                    </a:lnTo>
                    <a:lnTo>
                      <a:pt x="121" y="77"/>
                    </a:lnTo>
                    <a:lnTo>
                      <a:pt x="121" y="77"/>
                    </a:lnTo>
                    <a:close/>
                    <a:moveTo>
                      <a:pt x="23" y="27"/>
                    </a:moveTo>
                    <a:lnTo>
                      <a:pt x="28" y="25"/>
                    </a:lnTo>
                    <a:lnTo>
                      <a:pt x="30" y="29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3" y="27"/>
                    </a:lnTo>
                    <a:close/>
                    <a:moveTo>
                      <a:pt x="15" y="37"/>
                    </a:moveTo>
                    <a:lnTo>
                      <a:pt x="12" y="32"/>
                    </a:lnTo>
                    <a:lnTo>
                      <a:pt x="8" y="32"/>
                    </a:lnTo>
                    <a:lnTo>
                      <a:pt x="5" y="34"/>
                    </a:lnTo>
                    <a:lnTo>
                      <a:pt x="2" y="34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3" y="25"/>
                    </a:lnTo>
                    <a:lnTo>
                      <a:pt x="15" y="25"/>
                    </a:lnTo>
                    <a:lnTo>
                      <a:pt x="18" y="29"/>
                    </a:lnTo>
                    <a:lnTo>
                      <a:pt x="22" y="29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7" y="34"/>
                    </a:lnTo>
                    <a:lnTo>
                      <a:pt x="15" y="37"/>
                    </a:lnTo>
                    <a:lnTo>
                      <a:pt x="15" y="37"/>
                    </a:lnTo>
                    <a:close/>
                    <a:moveTo>
                      <a:pt x="25" y="40"/>
                    </a:moveTo>
                    <a:lnTo>
                      <a:pt x="23" y="37"/>
                    </a:lnTo>
                    <a:lnTo>
                      <a:pt x="30" y="37"/>
                    </a:lnTo>
                    <a:lnTo>
                      <a:pt x="32" y="42"/>
                    </a:lnTo>
                    <a:lnTo>
                      <a:pt x="30" y="44"/>
                    </a:lnTo>
                    <a:lnTo>
                      <a:pt x="25" y="40"/>
                    </a:lnTo>
                    <a:lnTo>
                      <a:pt x="25" y="40"/>
                    </a:lnTo>
                    <a:close/>
                    <a:moveTo>
                      <a:pt x="3" y="65"/>
                    </a:moveTo>
                    <a:lnTo>
                      <a:pt x="5" y="65"/>
                    </a:lnTo>
                    <a:lnTo>
                      <a:pt x="8" y="62"/>
                    </a:lnTo>
                    <a:lnTo>
                      <a:pt x="8" y="60"/>
                    </a:lnTo>
                    <a:lnTo>
                      <a:pt x="12" y="53"/>
                    </a:lnTo>
                    <a:lnTo>
                      <a:pt x="18" y="53"/>
                    </a:lnTo>
                    <a:lnTo>
                      <a:pt x="22" y="50"/>
                    </a:lnTo>
                    <a:lnTo>
                      <a:pt x="23" y="47"/>
                    </a:lnTo>
                    <a:lnTo>
                      <a:pt x="27" y="47"/>
                    </a:lnTo>
                    <a:lnTo>
                      <a:pt x="28" y="47"/>
                    </a:lnTo>
                    <a:lnTo>
                      <a:pt x="27" y="45"/>
                    </a:lnTo>
                    <a:lnTo>
                      <a:pt x="25" y="44"/>
                    </a:lnTo>
                    <a:lnTo>
                      <a:pt x="22" y="40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5" y="45"/>
                    </a:lnTo>
                    <a:lnTo>
                      <a:pt x="5" y="44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0" y="45"/>
                    </a:lnTo>
                    <a:lnTo>
                      <a:pt x="3" y="45"/>
                    </a:lnTo>
                    <a:lnTo>
                      <a:pt x="3" y="49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3" y="53"/>
                    </a:lnTo>
                    <a:lnTo>
                      <a:pt x="8" y="57"/>
                    </a:lnTo>
                    <a:lnTo>
                      <a:pt x="7" y="60"/>
                    </a:lnTo>
                    <a:lnTo>
                      <a:pt x="5" y="60"/>
                    </a:lnTo>
                    <a:lnTo>
                      <a:pt x="3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2" name="Freeform 37"/>
              <p:cNvSpPr>
                <a:spLocks/>
              </p:cNvSpPr>
              <p:nvPr/>
            </p:nvSpPr>
            <p:spPr bwMode="auto">
              <a:xfrm>
                <a:off x="6649398" y="2517463"/>
                <a:ext cx="83479" cy="38391"/>
              </a:xfrm>
              <a:custGeom>
                <a:avLst/>
                <a:gdLst/>
                <a:ahLst/>
                <a:cxnLst>
                  <a:cxn ang="0">
                    <a:pos x="153" y="52"/>
                  </a:cxn>
                  <a:cxn ang="0">
                    <a:pos x="148" y="42"/>
                  </a:cxn>
                  <a:cxn ang="0">
                    <a:pos x="143" y="34"/>
                  </a:cxn>
                  <a:cxn ang="0">
                    <a:pos x="141" y="27"/>
                  </a:cxn>
                  <a:cxn ang="0">
                    <a:pos x="141" y="24"/>
                  </a:cxn>
                  <a:cxn ang="0">
                    <a:pos x="128" y="19"/>
                  </a:cxn>
                  <a:cxn ang="0">
                    <a:pos x="116" y="17"/>
                  </a:cxn>
                  <a:cxn ang="0">
                    <a:pos x="109" y="10"/>
                  </a:cxn>
                  <a:cxn ang="0">
                    <a:pos x="98" y="5"/>
                  </a:cxn>
                  <a:cxn ang="0">
                    <a:pos x="93" y="0"/>
                  </a:cxn>
                  <a:cxn ang="0">
                    <a:pos x="88" y="4"/>
                  </a:cxn>
                  <a:cxn ang="0">
                    <a:pos x="76" y="0"/>
                  </a:cxn>
                  <a:cxn ang="0">
                    <a:pos x="66" y="5"/>
                  </a:cxn>
                  <a:cxn ang="0">
                    <a:pos x="69" y="20"/>
                  </a:cxn>
                  <a:cxn ang="0">
                    <a:pos x="58" y="35"/>
                  </a:cxn>
                  <a:cxn ang="0">
                    <a:pos x="46" y="30"/>
                  </a:cxn>
                  <a:cxn ang="0">
                    <a:pos x="35" y="17"/>
                  </a:cxn>
                  <a:cxn ang="0">
                    <a:pos x="33" y="10"/>
                  </a:cxn>
                  <a:cxn ang="0">
                    <a:pos x="21" y="15"/>
                  </a:cxn>
                  <a:cxn ang="0">
                    <a:pos x="15" y="17"/>
                  </a:cxn>
                  <a:cxn ang="0">
                    <a:pos x="11" y="27"/>
                  </a:cxn>
                  <a:cxn ang="0">
                    <a:pos x="10" y="34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5" y="65"/>
                  </a:cxn>
                  <a:cxn ang="0">
                    <a:pos x="10" y="65"/>
                  </a:cxn>
                  <a:cxn ang="0">
                    <a:pos x="18" y="55"/>
                  </a:cxn>
                  <a:cxn ang="0">
                    <a:pos x="36" y="54"/>
                  </a:cxn>
                  <a:cxn ang="0">
                    <a:pos x="46" y="55"/>
                  </a:cxn>
                  <a:cxn ang="0">
                    <a:pos x="56" y="52"/>
                  </a:cxn>
                  <a:cxn ang="0">
                    <a:pos x="61" y="54"/>
                  </a:cxn>
                  <a:cxn ang="0">
                    <a:pos x="73" y="59"/>
                  </a:cxn>
                  <a:cxn ang="0">
                    <a:pos x="83" y="54"/>
                  </a:cxn>
                  <a:cxn ang="0">
                    <a:pos x="98" y="59"/>
                  </a:cxn>
                  <a:cxn ang="0">
                    <a:pos x="109" y="67"/>
                  </a:cxn>
                  <a:cxn ang="0">
                    <a:pos x="123" y="74"/>
                  </a:cxn>
                  <a:cxn ang="0">
                    <a:pos x="124" y="75"/>
                  </a:cxn>
                  <a:cxn ang="0">
                    <a:pos x="143" y="70"/>
                  </a:cxn>
                  <a:cxn ang="0">
                    <a:pos x="148" y="64"/>
                  </a:cxn>
                  <a:cxn ang="0">
                    <a:pos x="154" y="59"/>
                  </a:cxn>
                </a:cxnLst>
                <a:rect l="0" t="0" r="r" b="b"/>
                <a:pathLst>
                  <a:path w="154" h="75">
                    <a:moveTo>
                      <a:pt x="154" y="59"/>
                    </a:moveTo>
                    <a:lnTo>
                      <a:pt x="153" y="52"/>
                    </a:lnTo>
                    <a:lnTo>
                      <a:pt x="149" y="47"/>
                    </a:lnTo>
                    <a:lnTo>
                      <a:pt x="148" y="42"/>
                    </a:lnTo>
                    <a:lnTo>
                      <a:pt x="146" y="39"/>
                    </a:lnTo>
                    <a:lnTo>
                      <a:pt x="143" y="34"/>
                    </a:lnTo>
                    <a:lnTo>
                      <a:pt x="143" y="30"/>
                    </a:lnTo>
                    <a:lnTo>
                      <a:pt x="141" y="27"/>
                    </a:lnTo>
                    <a:lnTo>
                      <a:pt x="139" y="25"/>
                    </a:lnTo>
                    <a:lnTo>
                      <a:pt x="141" y="24"/>
                    </a:lnTo>
                    <a:lnTo>
                      <a:pt x="139" y="20"/>
                    </a:lnTo>
                    <a:lnTo>
                      <a:pt x="128" y="19"/>
                    </a:lnTo>
                    <a:lnTo>
                      <a:pt x="119" y="22"/>
                    </a:lnTo>
                    <a:lnTo>
                      <a:pt x="116" y="17"/>
                    </a:lnTo>
                    <a:lnTo>
                      <a:pt x="111" y="15"/>
                    </a:lnTo>
                    <a:lnTo>
                      <a:pt x="109" y="10"/>
                    </a:lnTo>
                    <a:lnTo>
                      <a:pt x="101" y="5"/>
                    </a:lnTo>
                    <a:lnTo>
                      <a:pt x="98" y="5"/>
                    </a:lnTo>
                    <a:lnTo>
                      <a:pt x="96" y="2"/>
                    </a:lnTo>
                    <a:lnTo>
                      <a:pt x="93" y="0"/>
                    </a:lnTo>
                    <a:lnTo>
                      <a:pt x="91" y="4"/>
                    </a:lnTo>
                    <a:lnTo>
                      <a:pt x="88" y="4"/>
                    </a:lnTo>
                    <a:lnTo>
                      <a:pt x="83" y="0"/>
                    </a:lnTo>
                    <a:lnTo>
                      <a:pt x="76" y="0"/>
                    </a:lnTo>
                    <a:lnTo>
                      <a:pt x="69" y="5"/>
                    </a:lnTo>
                    <a:lnTo>
                      <a:pt x="66" y="5"/>
                    </a:lnTo>
                    <a:lnTo>
                      <a:pt x="66" y="12"/>
                    </a:lnTo>
                    <a:lnTo>
                      <a:pt x="69" y="20"/>
                    </a:lnTo>
                    <a:lnTo>
                      <a:pt x="66" y="29"/>
                    </a:lnTo>
                    <a:lnTo>
                      <a:pt x="58" y="35"/>
                    </a:lnTo>
                    <a:lnTo>
                      <a:pt x="53" y="35"/>
                    </a:lnTo>
                    <a:lnTo>
                      <a:pt x="46" y="30"/>
                    </a:lnTo>
                    <a:lnTo>
                      <a:pt x="46" y="27"/>
                    </a:lnTo>
                    <a:lnTo>
                      <a:pt x="35" y="17"/>
                    </a:lnTo>
                    <a:lnTo>
                      <a:pt x="35" y="10"/>
                    </a:lnTo>
                    <a:lnTo>
                      <a:pt x="33" y="10"/>
                    </a:lnTo>
                    <a:lnTo>
                      <a:pt x="28" y="14"/>
                    </a:lnTo>
                    <a:lnTo>
                      <a:pt x="21" y="15"/>
                    </a:lnTo>
                    <a:lnTo>
                      <a:pt x="20" y="17"/>
                    </a:lnTo>
                    <a:lnTo>
                      <a:pt x="15" y="17"/>
                    </a:lnTo>
                    <a:lnTo>
                      <a:pt x="10" y="22"/>
                    </a:lnTo>
                    <a:lnTo>
                      <a:pt x="11" y="27"/>
                    </a:lnTo>
                    <a:lnTo>
                      <a:pt x="10" y="27"/>
                    </a:lnTo>
                    <a:lnTo>
                      <a:pt x="10" y="34"/>
                    </a:lnTo>
                    <a:lnTo>
                      <a:pt x="3" y="40"/>
                    </a:lnTo>
                    <a:lnTo>
                      <a:pt x="3" y="45"/>
                    </a:lnTo>
                    <a:lnTo>
                      <a:pt x="3" y="49"/>
                    </a:lnTo>
                    <a:lnTo>
                      <a:pt x="0" y="52"/>
                    </a:lnTo>
                    <a:lnTo>
                      <a:pt x="1" y="62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10" y="65"/>
                    </a:lnTo>
                    <a:lnTo>
                      <a:pt x="11" y="60"/>
                    </a:lnTo>
                    <a:lnTo>
                      <a:pt x="18" y="55"/>
                    </a:lnTo>
                    <a:lnTo>
                      <a:pt x="28" y="52"/>
                    </a:lnTo>
                    <a:lnTo>
                      <a:pt x="36" y="54"/>
                    </a:lnTo>
                    <a:lnTo>
                      <a:pt x="43" y="52"/>
                    </a:lnTo>
                    <a:lnTo>
                      <a:pt x="46" y="55"/>
                    </a:lnTo>
                    <a:lnTo>
                      <a:pt x="51" y="52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61" y="54"/>
                    </a:lnTo>
                    <a:lnTo>
                      <a:pt x="64" y="59"/>
                    </a:lnTo>
                    <a:lnTo>
                      <a:pt x="73" y="59"/>
                    </a:lnTo>
                    <a:lnTo>
                      <a:pt x="74" y="59"/>
                    </a:lnTo>
                    <a:lnTo>
                      <a:pt x="83" y="54"/>
                    </a:lnTo>
                    <a:lnTo>
                      <a:pt x="91" y="59"/>
                    </a:lnTo>
                    <a:lnTo>
                      <a:pt x="98" y="59"/>
                    </a:lnTo>
                    <a:lnTo>
                      <a:pt x="104" y="65"/>
                    </a:lnTo>
                    <a:lnTo>
                      <a:pt x="109" y="67"/>
                    </a:lnTo>
                    <a:lnTo>
                      <a:pt x="116" y="74"/>
                    </a:lnTo>
                    <a:lnTo>
                      <a:pt x="123" y="74"/>
                    </a:lnTo>
                    <a:lnTo>
                      <a:pt x="124" y="75"/>
                    </a:lnTo>
                    <a:lnTo>
                      <a:pt x="124" y="75"/>
                    </a:lnTo>
                    <a:lnTo>
                      <a:pt x="133" y="72"/>
                    </a:lnTo>
                    <a:lnTo>
                      <a:pt x="143" y="70"/>
                    </a:lnTo>
                    <a:lnTo>
                      <a:pt x="144" y="65"/>
                    </a:lnTo>
                    <a:lnTo>
                      <a:pt x="148" y="64"/>
                    </a:lnTo>
                    <a:lnTo>
                      <a:pt x="149" y="59"/>
                    </a:lnTo>
                    <a:lnTo>
                      <a:pt x="154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3" name="Freeform 38"/>
              <p:cNvSpPr>
                <a:spLocks/>
              </p:cNvSpPr>
              <p:nvPr/>
            </p:nvSpPr>
            <p:spPr bwMode="auto">
              <a:xfrm>
                <a:off x="6652610" y="2543403"/>
                <a:ext cx="64215" cy="41504"/>
              </a:xfrm>
              <a:custGeom>
                <a:avLst/>
                <a:gdLst/>
                <a:ahLst/>
                <a:cxnLst>
                  <a:cxn ang="0">
                    <a:pos x="38" y="56"/>
                  </a:cxn>
                  <a:cxn ang="0">
                    <a:pos x="38" y="50"/>
                  </a:cxn>
                  <a:cxn ang="0">
                    <a:pos x="41" y="46"/>
                  </a:cxn>
                  <a:cxn ang="0">
                    <a:pos x="38" y="43"/>
                  </a:cxn>
                  <a:cxn ang="0">
                    <a:pos x="35" y="43"/>
                  </a:cxn>
                  <a:cxn ang="0">
                    <a:pos x="35" y="38"/>
                  </a:cxn>
                  <a:cxn ang="0">
                    <a:pos x="31" y="37"/>
                  </a:cxn>
                  <a:cxn ang="0">
                    <a:pos x="23" y="40"/>
                  </a:cxn>
                  <a:cxn ang="0">
                    <a:pos x="16" y="37"/>
                  </a:cxn>
                  <a:cxn ang="0">
                    <a:pos x="10" y="28"/>
                  </a:cxn>
                  <a:cxn ang="0">
                    <a:pos x="1" y="30"/>
                  </a:cxn>
                  <a:cxn ang="0">
                    <a:pos x="0" y="30"/>
                  </a:cxn>
                  <a:cxn ang="0">
                    <a:pos x="1" y="27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5" y="13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3" y="0"/>
                  </a:cxn>
                  <a:cxn ang="0">
                    <a:pos x="31" y="2"/>
                  </a:cxn>
                  <a:cxn ang="0">
                    <a:pos x="38" y="0"/>
                  </a:cxn>
                  <a:cxn ang="0">
                    <a:pos x="41" y="3"/>
                  </a:cxn>
                  <a:cxn ang="0">
                    <a:pos x="46" y="0"/>
                  </a:cxn>
                  <a:cxn ang="0">
                    <a:pos x="51" y="0"/>
                  </a:cxn>
                  <a:cxn ang="0">
                    <a:pos x="51" y="2"/>
                  </a:cxn>
                  <a:cxn ang="0">
                    <a:pos x="56" y="2"/>
                  </a:cxn>
                  <a:cxn ang="0">
                    <a:pos x="59" y="7"/>
                  </a:cxn>
                  <a:cxn ang="0">
                    <a:pos x="68" y="7"/>
                  </a:cxn>
                  <a:cxn ang="0">
                    <a:pos x="69" y="7"/>
                  </a:cxn>
                  <a:cxn ang="0">
                    <a:pos x="78" y="2"/>
                  </a:cxn>
                  <a:cxn ang="0">
                    <a:pos x="86" y="7"/>
                  </a:cxn>
                  <a:cxn ang="0">
                    <a:pos x="93" y="7"/>
                  </a:cxn>
                  <a:cxn ang="0">
                    <a:pos x="99" y="13"/>
                  </a:cxn>
                  <a:cxn ang="0">
                    <a:pos x="104" y="15"/>
                  </a:cxn>
                  <a:cxn ang="0">
                    <a:pos x="111" y="22"/>
                  </a:cxn>
                  <a:cxn ang="0">
                    <a:pos x="118" y="22"/>
                  </a:cxn>
                  <a:cxn ang="0">
                    <a:pos x="119" y="23"/>
                  </a:cxn>
                  <a:cxn ang="0">
                    <a:pos x="114" y="30"/>
                  </a:cxn>
                  <a:cxn ang="0">
                    <a:pos x="118" y="32"/>
                  </a:cxn>
                  <a:cxn ang="0">
                    <a:pos x="118" y="37"/>
                  </a:cxn>
                  <a:cxn ang="0">
                    <a:pos x="109" y="40"/>
                  </a:cxn>
                  <a:cxn ang="0">
                    <a:pos x="106" y="46"/>
                  </a:cxn>
                  <a:cxn ang="0">
                    <a:pos x="101" y="48"/>
                  </a:cxn>
                  <a:cxn ang="0">
                    <a:pos x="101" y="55"/>
                  </a:cxn>
                  <a:cxn ang="0">
                    <a:pos x="106" y="56"/>
                  </a:cxn>
                  <a:cxn ang="0">
                    <a:pos x="106" y="61"/>
                  </a:cxn>
                  <a:cxn ang="0">
                    <a:pos x="101" y="61"/>
                  </a:cxn>
                  <a:cxn ang="0">
                    <a:pos x="99" y="60"/>
                  </a:cxn>
                  <a:cxn ang="0">
                    <a:pos x="96" y="60"/>
                  </a:cxn>
                  <a:cxn ang="0">
                    <a:pos x="93" y="66"/>
                  </a:cxn>
                  <a:cxn ang="0">
                    <a:pos x="86" y="66"/>
                  </a:cxn>
                  <a:cxn ang="0">
                    <a:pos x="88" y="73"/>
                  </a:cxn>
                  <a:cxn ang="0">
                    <a:pos x="84" y="73"/>
                  </a:cxn>
                  <a:cxn ang="0">
                    <a:pos x="78" y="76"/>
                  </a:cxn>
                  <a:cxn ang="0">
                    <a:pos x="71" y="73"/>
                  </a:cxn>
                  <a:cxn ang="0">
                    <a:pos x="63" y="75"/>
                  </a:cxn>
                  <a:cxn ang="0">
                    <a:pos x="58" y="78"/>
                  </a:cxn>
                  <a:cxn ang="0">
                    <a:pos x="55" y="75"/>
                  </a:cxn>
                  <a:cxn ang="0">
                    <a:pos x="55" y="70"/>
                  </a:cxn>
                  <a:cxn ang="0">
                    <a:pos x="53" y="61"/>
                  </a:cxn>
                  <a:cxn ang="0">
                    <a:pos x="50" y="61"/>
                  </a:cxn>
                  <a:cxn ang="0">
                    <a:pos x="43" y="56"/>
                  </a:cxn>
                  <a:cxn ang="0">
                    <a:pos x="38" y="56"/>
                  </a:cxn>
                </a:cxnLst>
                <a:rect l="0" t="0" r="r" b="b"/>
                <a:pathLst>
                  <a:path w="119" h="78">
                    <a:moveTo>
                      <a:pt x="38" y="56"/>
                    </a:moveTo>
                    <a:lnTo>
                      <a:pt x="38" y="50"/>
                    </a:lnTo>
                    <a:lnTo>
                      <a:pt x="41" y="46"/>
                    </a:lnTo>
                    <a:lnTo>
                      <a:pt x="38" y="43"/>
                    </a:lnTo>
                    <a:lnTo>
                      <a:pt x="35" y="43"/>
                    </a:lnTo>
                    <a:lnTo>
                      <a:pt x="35" y="38"/>
                    </a:lnTo>
                    <a:lnTo>
                      <a:pt x="31" y="37"/>
                    </a:lnTo>
                    <a:lnTo>
                      <a:pt x="23" y="40"/>
                    </a:lnTo>
                    <a:lnTo>
                      <a:pt x="16" y="37"/>
                    </a:lnTo>
                    <a:lnTo>
                      <a:pt x="10" y="28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1" y="27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5" y="13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3" y="0"/>
                    </a:lnTo>
                    <a:lnTo>
                      <a:pt x="31" y="2"/>
                    </a:lnTo>
                    <a:lnTo>
                      <a:pt x="38" y="0"/>
                    </a:lnTo>
                    <a:lnTo>
                      <a:pt x="41" y="3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51" y="2"/>
                    </a:lnTo>
                    <a:lnTo>
                      <a:pt x="56" y="2"/>
                    </a:lnTo>
                    <a:lnTo>
                      <a:pt x="59" y="7"/>
                    </a:lnTo>
                    <a:lnTo>
                      <a:pt x="68" y="7"/>
                    </a:lnTo>
                    <a:lnTo>
                      <a:pt x="69" y="7"/>
                    </a:lnTo>
                    <a:lnTo>
                      <a:pt x="78" y="2"/>
                    </a:lnTo>
                    <a:lnTo>
                      <a:pt x="86" y="7"/>
                    </a:lnTo>
                    <a:lnTo>
                      <a:pt x="93" y="7"/>
                    </a:lnTo>
                    <a:lnTo>
                      <a:pt x="99" y="13"/>
                    </a:lnTo>
                    <a:lnTo>
                      <a:pt x="104" y="15"/>
                    </a:lnTo>
                    <a:lnTo>
                      <a:pt x="111" y="22"/>
                    </a:lnTo>
                    <a:lnTo>
                      <a:pt x="118" y="22"/>
                    </a:lnTo>
                    <a:lnTo>
                      <a:pt x="119" y="23"/>
                    </a:lnTo>
                    <a:lnTo>
                      <a:pt x="114" y="30"/>
                    </a:lnTo>
                    <a:lnTo>
                      <a:pt x="118" y="32"/>
                    </a:lnTo>
                    <a:lnTo>
                      <a:pt x="118" y="37"/>
                    </a:lnTo>
                    <a:lnTo>
                      <a:pt x="109" y="40"/>
                    </a:lnTo>
                    <a:lnTo>
                      <a:pt x="106" y="46"/>
                    </a:lnTo>
                    <a:lnTo>
                      <a:pt x="101" y="48"/>
                    </a:lnTo>
                    <a:lnTo>
                      <a:pt x="101" y="55"/>
                    </a:lnTo>
                    <a:lnTo>
                      <a:pt x="106" y="56"/>
                    </a:lnTo>
                    <a:lnTo>
                      <a:pt x="106" y="61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96" y="60"/>
                    </a:lnTo>
                    <a:lnTo>
                      <a:pt x="93" y="66"/>
                    </a:lnTo>
                    <a:lnTo>
                      <a:pt x="86" y="66"/>
                    </a:lnTo>
                    <a:lnTo>
                      <a:pt x="88" y="73"/>
                    </a:lnTo>
                    <a:lnTo>
                      <a:pt x="84" y="73"/>
                    </a:lnTo>
                    <a:lnTo>
                      <a:pt x="78" y="76"/>
                    </a:lnTo>
                    <a:lnTo>
                      <a:pt x="71" y="73"/>
                    </a:lnTo>
                    <a:lnTo>
                      <a:pt x="63" y="75"/>
                    </a:lnTo>
                    <a:lnTo>
                      <a:pt x="58" y="78"/>
                    </a:lnTo>
                    <a:lnTo>
                      <a:pt x="55" y="75"/>
                    </a:lnTo>
                    <a:lnTo>
                      <a:pt x="55" y="70"/>
                    </a:lnTo>
                    <a:lnTo>
                      <a:pt x="53" y="61"/>
                    </a:lnTo>
                    <a:lnTo>
                      <a:pt x="50" y="61"/>
                    </a:lnTo>
                    <a:lnTo>
                      <a:pt x="43" y="56"/>
                    </a:lnTo>
                    <a:lnTo>
                      <a:pt x="38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4" name="Freeform 39"/>
              <p:cNvSpPr>
                <a:spLocks/>
              </p:cNvSpPr>
              <p:nvPr/>
            </p:nvSpPr>
            <p:spPr bwMode="auto">
              <a:xfrm>
                <a:off x="6683646" y="2546515"/>
                <a:ext cx="108095" cy="73669"/>
              </a:xfrm>
              <a:custGeom>
                <a:avLst/>
                <a:gdLst/>
                <a:ahLst/>
                <a:cxnLst>
                  <a:cxn ang="0">
                    <a:pos x="5" y="70"/>
                  </a:cxn>
                  <a:cxn ang="0">
                    <a:pos x="20" y="71"/>
                  </a:cxn>
                  <a:cxn ang="0">
                    <a:pos x="30" y="68"/>
                  </a:cxn>
                  <a:cxn ang="0">
                    <a:pos x="35" y="61"/>
                  </a:cxn>
                  <a:cxn ang="0">
                    <a:pos x="41" y="55"/>
                  </a:cxn>
                  <a:cxn ang="0">
                    <a:pos x="48" y="56"/>
                  </a:cxn>
                  <a:cxn ang="0">
                    <a:pos x="43" y="50"/>
                  </a:cxn>
                  <a:cxn ang="0">
                    <a:pos x="48" y="41"/>
                  </a:cxn>
                  <a:cxn ang="0">
                    <a:pos x="60" y="32"/>
                  </a:cxn>
                  <a:cxn ang="0">
                    <a:pos x="56" y="25"/>
                  </a:cxn>
                  <a:cxn ang="0">
                    <a:pos x="70" y="15"/>
                  </a:cxn>
                  <a:cxn ang="0">
                    <a:pos x="81" y="8"/>
                  </a:cxn>
                  <a:cxn ang="0">
                    <a:pos x="86" y="2"/>
                  </a:cxn>
                  <a:cxn ang="0">
                    <a:pos x="96" y="3"/>
                  </a:cxn>
                  <a:cxn ang="0">
                    <a:pos x="108" y="7"/>
                  </a:cxn>
                  <a:cxn ang="0">
                    <a:pos x="118" y="5"/>
                  </a:cxn>
                  <a:cxn ang="0">
                    <a:pos x="129" y="8"/>
                  </a:cxn>
                  <a:cxn ang="0">
                    <a:pos x="139" y="10"/>
                  </a:cxn>
                  <a:cxn ang="0">
                    <a:pos x="153" y="13"/>
                  </a:cxn>
                  <a:cxn ang="0">
                    <a:pos x="153" y="23"/>
                  </a:cxn>
                  <a:cxn ang="0">
                    <a:pos x="156" y="35"/>
                  </a:cxn>
                  <a:cxn ang="0">
                    <a:pos x="164" y="46"/>
                  </a:cxn>
                  <a:cxn ang="0">
                    <a:pos x="176" y="56"/>
                  </a:cxn>
                  <a:cxn ang="0">
                    <a:pos x="186" y="66"/>
                  </a:cxn>
                  <a:cxn ang="0">
                    <a:pos x="196" y="78"/>
                  </a:cxn>
                  <a:cxn ang="0">
                    <a:pos x="199" y="83"/>
                  </a:cxn>
                  <a:cxn ang="0">
                    <a:pos x="183" y="93"/>
                  </a:cxn>
                  <a:cxn ang="0">
                    <a:pos x="174" y="91"/>
                  </a:cxn>
                  <a:cxn ang="0">
                    <a:pos x="179" y="105"/>
                  </a:cxn>
                  <a:cxn ang="0">
                    <a:pos x="184" y="116"/>
                  </a:cxn>
                  <a:cxn ang="0">
                    <a:pos x="184" y="121"/>
                  </a:cxn>
                  <a:cxn ang="0">
                    <a:pos x="168" y="125"/>
                  </a:cxn>
                  <a:cxn ang="0">
                    <a:pos x="163" y="139"/>
                  </a:cxn>
                  <a:cxn ang="0">
                    <a:pos x="153" y="138"/>
                  </a:cxn>
                  <a:cxn ang="0">
                    <a:pos x="143" y="136"/>
                  </a:cxn>
                  <a:cxn ang="0">
                    <a:pos x="133" y="141"/>
                  </a:cxn>
                  <a:cxn ang="0">
                    <a:pos x="128" y="136"/>
                  </a:cxn>
                  <a:cxn ang="0">
                    <a:pos x="113" y="139"/>
                  </a:cxn>
                  <a:cxn ang="0">
                    <a:pos x="103" y="138"/>
                  </a:cxn>
                  <a:cxn ang="0">
                    <a:pos x="98" y="139"/>
                  </a:cxn>
                  <a:cxn ang="0">
                    <a:pos x="85" y="139"/>
                  </a:cxn>
                  <a:cxn ang="0">
                    <a:pos x="78" y="134"/>
                  </a:cxn>
                  <a:cxn ang="0">
                    <a:pos x="58" y="130"/>
                  </a:cxn>
                  <a:cxn ang="0">
                    <a:pos x="50" y="133"/>
                  </a:cxn>
                  <a:cxn ang="0">
                    <a:pos x="26" y="134"/>
                  </a:cxn>
                  <a:cxn ang="0">
                    <a:pos x="13" y="134"/>
                  </a:cxn>
                  <a:cxn ang="0">
                    <a:pos x="10" y="131"/>
                  </a:cxn>
                  <a:cxn ang="0">
                    <a:pos x="3" y="118"/>
                  </a:cxn>
                  <a:cxn ang="0">
                    <a:pos x="11" y="111"/>
                  </a:cxn>
                  <a:cxn ang="0">
                    <a:pos x="8" y="96"/>
                  </a:cxn>
                  <a:cxn ang="0">
                    <a:pos x="5" y="86"/>
                  </a:cxn>
                  <a:cxn ang="0">
                    <a:pos x="0" y="73"/>
                  </a:cxn>
                </a:cxnLst>
                <a:rect l="0" t="0" r="r" b="b"/>
                <a:pathLst>
                  <a:path w="202" h="141">
                    <a:moveTo>
                      <a:pt x="0" y="73"/>
                    </a:moveTo>
                    <a:lnTo>
                      <a:pt x="5" y="70"/>
                    </a:lnTo>
                    <a:lnTo>
                      <a:pt x="13" y="68"/>
                    </a:lnTo>
                    <a:lnTo>
                      <a:pt x="20" y="71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28" y="61"/>
                    </a:lnTo>
                    <a:lnTo>
                      <a:pt x="35" y="61"/>
                    </a:lnTo>
                    <a:lnTo>
                      <a:pt x="38" y="55"/>
                    </a:lnTo>
                    <a:lnTo>
                      <a:pt x="41" y="55"/>
                    </a:lnTo>
                    <a:lnTo>
                      <a:pt x="43" y="56"/>
                    </a:lnTo>
                    <a:lnTo>
                      <a:pt x="48" y="56"/>
                    </a:lnTo>
                    <a:lnTo>
                      <a:pt x="48" y="51"/>
                    </a:lnTo>
                    <a:lnTo>
                      <a:pt x="43" y="50"/>
                    </a:lnTo>
                    <a:lnTo>
                      <a:pt x="43" y="43"/>
                    </a:lnTo>
                    <a:lnTo>
                      <a:pt x="48" y="41"/>
                    </a:lnTo>
                    <a:lnTo>
                      <a:pt x="51" y="35"/>
                    </a:lnTo>
                    <a:lnTo>
                      <a:pt x="60" y="32"/>
                    </a:lnTo>
                    <a:lnTo>
                      <a:pt x="60" y="27"/>
                    </a:lnTo>
                    <a:lnTo>
                      <a:pt x="56" y="25"/>
                    </a:lnTo>
                    <a:lnTo>
                      <a:pt x="61" y="18"/>
                    </a:lnTo>
                    <a:lnTo>
                      <a:pt x="70" y="15"/>
                    </a:lnTo>
                    <a:lnTo>
                      <a:pt x="80" y="13"/>
                    </a:lnTo>
                    <a:lnTo>
                      <a:pt x="81" y="8"/>
                    </a:lnTo>
                    <a:lnTo>
                      <a:pt x="85" y="7"/>
                    </a:lnTo>
                    <a:lnTo>
                      <a:pt x="86" y="2"/>
                    </a:lnTo>
                    <a:lnTo>
                      <a:pt x="93" y="0"/>
                    </a:lnTo>
                    <a:lnTo>
                      <a:pt x="96" y="3"/>
                    </a:lnTo>
                    <a:lnTo>
                      <a:pt x="103" y="0"/>
                    </a:lnTo>
                    <a:lnTo>
                      <a:pt x="108" y="7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23" y="13"/>
                    </a:lnTo>
                    <a:lnTo>
                      <a:pt x="129" y="8"/>
                    </a:lnTo>
                    <a:lnTo>
                      <a:pt x="136" y="7"/>
                    </a:lnTo>
                    <a:lnTo>
                      <a:pt x="139" y="10"/>
                    </a:lnTo>
                    <a:lnTo>
                      <a:pt x="143" y="10"/>
                    </a:lnTo>
                    <a:lnTo>
                      <a:pt x="153" y="13"/>
                    </a:lnTo>
                    <a:lnTo>
                      <a:pt x="154" y="18"/>
                    </a:lnTo>
                    <a:lnTo>
                      <a:pt x="153" y="23"/>
                    </a:lnTo>
                    <a:lnTo>
                      <a:pt x="156" y="28"/>
                    </a:lnTo>
                    <a:lnTo>
                      <a:pt x="156" y="35"/>
                    </a:lnTo>
                    <a:lnTo>
                      <a:pt x="163" y="40"/>
                    </a:lnTo>
                    <a:lnTo>
                      <a:pt x="164" y="46"/>
                    </a:lnTo>
                    <a:lnTo>
                      <a:pt x="171" y="55"/>
                    </a:lnTo>
                    <a:lnTo>
                      <a:pt x="176" y="56"/>
                    </a:lnTo>
                    <a:lnTo>
                      <a:pt x="178" y="65"/>
                    </a:lnTo>
                    <a:lnTo>
                      <a:pt x="186" y="66"/>
                    </a:lnTo>
                    <a:lnTo>
                      <a:pt x="196" y="73"/>
                    </a:lnTo>
                    <a:lnTo>
                      <a:pt x="196" y="78"/>
                    </a:lnTo>
                    <a:lnTo>
                      <a:pt x="202" y="81"/>
                    </a:lnTo>
                    <a:lnTo>
                      <a:pt x="199" y="83"/>
                    </a:lnTo>
                    <a:lnTo>
                      <a:pt x="194" y="91"/>
                    </a:lnTo>
                    <a:lnTo>
                      <a:pt x="183" y="93"/>
                    </a:lnTo>
                    <a:lnTo>
                      <a:pt x="178" y="88"/>
                    </a:lnTo>
                    <a:lnTo>
                      <a:pt x="174" y="91"/>
                    </a:lnTo>
                    <a:lnTo>
                      <a:pt x="176" y="96"/>
                    </a:lnTo>
                    <a:lnTo>
                      <a:pt x="179" y="105"/>
                    </a:lnTo>
                    <a:lnTo>
                      <a:pt x="179" y="110"/>
                    </a:lnTo>
                    <a:lnTo>
                      <a:pt x="184" y="116"/>
                    </a:lnTo>
                    <a:lnTo>
                      <a:pt x="184" y="121"/>
                    </a:lnTo>
                    <a:lnTo>
                      <a:pt x="184" y="121"/>
                    </a:lnTo>
                    <a:lnTo>
                      <a:pt x="174" y="123"/>
                    </a:lnTo>
                    <a:lnTo>
                      <a:pt x="168" y="125"/>
                    </a:lnTo>
                    <a:lnTo>
                      <a:pt x="163" y="133"/>
                    </a:lnTo>
                    <a:lnTo>
                      <a:pt x="163" y="139"/>
                    </a:lnTo>
                    <a:lnTo>
                      <a:pt x="158" y="141"/>
                    </a:lnTo>
                    <a:lnTo>
                      <a:pt x="153" y="138"/>
                    </a:lnTo>
                    <a:lnTo>
                      <a:pt x="146" y="139"/>
                    </a:lnTo>
                    <a:lnTo>
                      <a:pt x="143" y="136"/>
                    </a:lnTo>
                    <a:lnTo>
                      <a:pt x="138" y="136"/>
                    </a:lnTo>
                    <a:lnTo>
                      <a:pt x="133" y="141"/>
                    </a:lnTo>
                    <a:lnTo>
                      <a:pt x="129" y="141"/>
                    </a:lnTo>
                    <a:lnTo>
                      <a:pt x="128" y="136"/>
                    </a:lnTo>
                    <a:lnTo>
                      <a:pt x="121" y="136"/>
                    </a:lnTo>
                    <a:lnTo>
                      <a:pt x="113" y="139"/>
                    </a:lnTo>
                    <a:lnTo>
                      <a:pt x="109" y="138"/>
                    </a:lnTo>
                    <a:lnTo>
                      <a:pt x="103" y="138"/>
                    </a:lnTo>
                    <a:lnTo>
                      <a:pt x="101" y="139"/>
                    </a:lnTo>
                    <a:lnTo>
                      <a:pt x="98" y="139"/>
                    </a:lnTo>
                    <a:lnTo>
                      <a:pt x="93" y="136"/>
                    </a:lnTo>
                    <a:lnTo>
                      <a:pt x="85" y="139"/>
                    </a:lnTo>
                    <a:lnTo>
                      <a:pt x="85" y="136"/>
                    </a:lnTo>
                    <a:lnTo>
                      <a:pt x="78" y="134"/>
                    </a:lnTo>
                    <a:lnTo>
                      <a:pt x="65" y="133"/>
                    </a:lnTo>
                    <a:lnTo>
                      <a:pt x="58" y="130"/>
                    </a:lnTo>
                    <a:lnTo>
                      <a:pt x="55" y="130"/>
                    </a:lnTo>
                    <a:lnTo>
                      <a:pt x="50" y="133"/>
                    </a:lnTo>
                    <a:lnTo>
                      <a:pt x="43" y="133"/>
                    </a:lnTo>
                    <a:lnTo>
                      <a:pt x="26" y="134"/>
                    </a:lnTo>
                    <a:lnTo>
                      <a:pt x="21" y="138"/>
                    </a:lnTo>
                    <a:lnTo>
                      <a:pt x="13" y="134"/>
                    </a:lnTo>
                    <a:lnTo>
                      <a:pt x="10" y="134"/>
                    </a:lnTo>
                    <a:lnTo>
                      <a:pt x="10" y="131"/>
                    </a:lnTo>
                    <a:lnTo>
                      <a:pt x="5" y="125"/>
                    </a:lnTo>
                    <a:lnTo>
                      <a:pt x="3" y="118"/>
                    </a:lnTo>
                    <a:lnTo>
                      <a:pt x="6" y="113"/>
                    </a:lnTo>
                    <a:lnTo>
                      <a:pt x="11" y="111"/>
                    </a:lnTo>
                    <a:lnTo>
                      <a:pt x="11" y="98"/>
                    </a:lnTo>
                    <a:lnTo>
                      <a:pt x="8" y="96"/>
                    </a:lnTo>
                    <a:lnTo>
                      <a:pt x="8" y="90"/>
                    </a:lnTo>
                    <a:lnTo>
                      <a:pt x="5" y="86"/>
                    </a:lnTo>
                    <a:lnTo>
                      <a:pt x="1" y="75"/>
                    </a:lnTo>
                    <a:lnTo>
                      <a:pt x="0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5" name="Freeform 40"/>
              <p:cNvSpPr>
                <a:spLocks/>
              </p:cNvSpPr>
              <p:nvPr/>
            </p:nvSpPr>
            <p:spPr bwMode="auto">
              <a:xfrm>
                <a:off x="6675084" y="2604620"/>
                <a:ext cx="214050" cy="117248"/>
              </a:xfrm>
              <a:custGeom>
                <a:avLst/>
                <a:gdLst/>
                <a:ahLst/>
                <a:cxnLst>
                  <a:cxn ang="0">
                    <a:pos x="58" y="20"/>
                  </a:cxn>
                  <a:cxn ang="0">
                    <a:pos x="93" y="21"/>
                  </a:cxn>
                  <a:cxn ang="0">
                    <a:pos x="116" y="26"/>
                  </a:cxn>
                  <a:cxn ang="0">
                    <a:pos x="143" y="23"/>
                  </a:cxn>
                  <a:cxn ang="0">
                    <a:pos x="161" y="26"/>
                  </a:cxn>
                  <a:cxn ang="0">
                    <a:pos x="183" y="12"/>
                  </a:cxn>
                  <a:cxn ang="0">
                    <a:pos x="209" y="3"/>
                  </a:cxn>
                  <a:cxn ang="0">
                    <a:pos x="249" y="2"/>
                  </a:cxn>
                  <a:cxn ang="0">
                    <a:pos x="274" y="26"/>
                  </a:cxn>
                  <a:cxn ang="0">
                    <a:pos x="287" y="48"/>
                  </a:cxn>
                  <a:cxn ang="0">
                    <a:pos x="320" y="56"/>
                  </a:cxn>
                  <a:cxn ang="0">
                    <a:pos x="347" y="70"/>
                  </a:cxn>
                  <a:cxn ang="0">
                    <a:pos x="375" y="70"/>
                  </a:cxn>
                  <a:cxn ang="0">
                    <a:pos x="399" y="78"/>
                  </a:cxn>
                  <a:cxn ang="0">
                    <a:pos x="395" y="105"/>
                  </a:cxn>
                  <a:cxn ang="0">
                    <a:pos x="379" y="128"/>
                  </a:cxn>
                  <a:cxn ang="0">
                    <a:pos x="364" y="146"/>
                  </a:cxn>
                  <a:cxn ang="0">
                    <a:pos x="344" y="153"/>
                  </a:cxn>
                  <a:cxn ang="0">
                    <a:pos x="324" y="161"/>
                  </a:cxn>
                  <a:cxn ang="0">
                    <a:pos x="302" y="161"/>
                  </a:cxn>
                  <a:cxn ang="0">
                    <a:pos x="297" y="176"/>
                  </a:cxn>
                  <a:cxn ang="0">
                    <a:pos x="299" y="168"/>
                  </a:cxn>
                  <a:cxn ang="0">
                    <a:pos x="284" y="179"/>
                  </a:cxn>
                  <a:cxn ang="0">
                    <a:pos x="266" y="179"/>
                  </a:cxn>
                  <a:cxn ang="0">
                    <a:pos x="286" y="186"/>
                  </a:cxn>
                  <a:cxn ang="0">
                    <a:pos x="289" y="191"/>
                  </a:cxn>
                  <a:cxn ang="0">
                    <a:pos x="297" y="201"/>
                  </a:cxn>
                  <a:cxn ang="0">
                    <a:pos x="287" y="179"/>
                  </a:cxn>
                  <a:cxn ang="0">
                    <a:pos x="309" y="201"/>
                  </a:cxn>
                  <a:cxn ang="0">
                    <a:pos x="330" y="194"/>
                  </a:cxn>
                  <a:cxn ang="0">
                    <a:pos x="330" y="206"/>
                  </a:cxn>
                  <a:cxn ang="0">
                    <a:pos x="296" y="214"/>
                  </a:cxn>
                  <a:cxn ang="0">
                    <a:pos x="264" y="219"/>
                  </a:cxn>
                  <a:cxn ang="0">
                    <a:pos x="251" y="201"/>
                  </a:cxn>
                  <a:cxn ang="0">
                    <a:pos x="264" y="189"/>
                  </a:cxn>
                  <a:cxn ang="0">
                    <a:pos x="259" y="183"/>
                  </a:cxn>
                  <a:cxn ang="0">
                    <a:pos x="234" y="179"/>
                  </a:cxn>
                  <a:cxn ang="0">
                    <a:pos x="224" y="171"/>
                  </a:cxn>
                  <a:cxn ang="0">
                    <a:pos x="231" y="168"/>
                  </a:cxn>
                  <a:cxn ang="0">
                    <a:pos x="226" y="163"/>
                  </a:cxn>
                  <a:cxn ang="0">
                    <a:pos x="216" y="164"/>
                  </a:cxn>
                  <a:cxn ang="0">
                    <a:pos x="199" y="176"/>
                  </a:cxn>
                  <a:cxn ang="0">
                    <a:pos x="181" y="194"/>
                  </a:cxn>
                  <a:cxn ang="0">
                    <a:pos x="179" y="204"/>
                  </a:cxn>
                  <a:cxn ang="0">
                    <a:pos x="154" y="204"/>
                  </a:cxn>
                  <a:cxn ang="0">
                    <a:pos x="151" y="191"/>
                  </a:cxn>
                  <a:cxn ang="0">
                    <a:pos x="164" y="171"/>
                  </a:cxn>
                  <a:cxn ang="0">
                    <a:pos x="179" y="164"/>
                  </a:cxn>
                  <a:cxn ang="0">
                    <a:pos x="166" y="146"/>
                  </a:cxn>
                  <a:cxn ang="0">
                    <a:pos x="146" y="121"/>
                  </a:cxn>
                  <a:cxn ang="0">
                    <a:pos x="119" y="116"/>
                  </a:cxn>
                  <a:cxn ang="0">
                    <a:pos x="103" y="113"/>
                  </a:cxn>
                  <a:cxn ang="0">
                    <a:pos x="100" y="128"/>
                  </a:cxn>
                  <a:cxn ang="0">
                    <a:pos x="63" y="138"/>
                  </a:cxn>
                  <a:cxn ang="0">
                    <a:pos x="35" y="131"/>
                  </a:cxn>
                  <a:cxn ang="0">
                    <a:pos x="12" y="126"/>
                  </a:cxn>
                  <a:cxn ang="0">
                    <a:pos x="7" y="100"/>
                  </a:cxn>
                  <a:cxn ang="0">
                    <a:pos x="28" y="66"/>
                  </a:cxn>
                  <a:cxn ang="0">
                    <a:pos x="35" y="50"/>
                  </a:cxn>
                  <a:cxn ang="0">
                    <a:pos x="25" y="25"/>
                  </a:cxn>
                </a:cxnLst>
                <a:rect l="0" t="0" r="r" b="b"/>
                <a:pathLst>
                  <a:path w="399" h="224">
                    <a:moveTo>
                      <a:pt x="25" y="21"/>
                    </a:moveTo>
                    <a:lnTo>
                      <a:pt x="28" y="21"/>
                    </a:lnTo>
                    <a:lnTo>
                      <a:pt x="36" y="25"/>
                    </a:lnTo>
                    <a:lnTo>
                      <a:pt x="41" y="21"/>
                    </a:lnTo>
                    <a:lnTo>
                      <a:pt x="58" y="20"/>
                    </a:lnTo>
                    <a:lnTo>
                      <a:pt x="65" y="20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80" y="20"/>
                    </a:lnTo>
                    <a:lnTo>
                      <a:pt x="93" y="21"/>
                    </a:lnTo>
                    <a:lnTo>
                      <a:pt x="100" y="23"/>
                    </a:lnTo>
                    <a:lnTo>
                      <a:pt x="100" y="26"/>
                    </a:lnTo>
                    <a:lnTo>
                      <a:pt x="108" y="23"/>
                    </a:lnTo>
                    <a:lnTo>
                      <a:pt x="113" y="26"/>
                    </a:lnTo>
                    <a:lnTo>
                      <a:pt x="116" y="26"/>
                    </a:lnTo>
                    <a:lnTo>
                      <a:pt x="118" y="25"/>
                    </a:lnTo>
                    <a:lnTo>
                      <a:pt x="124" y="25"/>
                    </a:lnTo>
                    <a:lnTo>
                      <a:pt x="128" y="26"/>
                    </a:lnTo>
                    <a:lnTo>
                      <a:pt x="136" y="23"/>
                    </a:lnTo>
                    <a:lnTo>
                      <a:pt x="143" y="23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3" y="23"/>
                    </a:lnTo>
                    <a:lnTo>
                      <a:pt x="158" y="23"/>
                    </a:lnTo>
                    <a:lnTo>
                      <a:pt x="161" y="26"/>
                    </a:lnTo>
                    <a:lnTo>
                      <a:pt x="168" y="25"/>
                    </a:lnTo>
                    <a:lnTo>
                      <a:pt x="173" y="28"/>
                    </a:lnTo>
                    <a:lnTo>
                      <a:pt x="178" y="26"/>
                    </a:lnTo>
                    <a:lnTo>
                      <a:pt x="178" y="20"/>
                    </a:lnTo>
                    <a:lnTo>
                      <a:pt x="183" y="12"/>
                    </a:lnTo>
                    <a:lnTo>
                      <a:pt x="189" y="10"/>
                    </a:lnTo>
                    <a:lnTo>
                      <a:pt x="199" y="8"/>
                    </a:lnTo>
                    <a:lnTo>
                      <a:pt x="204" y="8"/>
                    </a:lnTo>
                    <a:lnTo>
                      <a:pt x="209" y="8"/>
                    </a:lnTo>
                    <a:lnTo>
                      <a:pt x="209" y="3"/>
                    </a:lnTo>
                    <a:lnTo>
                      <a:pt x="213" y="0"/>
                    </a:lnTo>
                    <a:lnTo>
                      <a:pt x="224" y="3"/>
                    </a:lnTo>
                    <a:lnTo>
                      <a:pt x="237" y="3"/>
                    </a:lnTo>
                    <a:lnTo>
                      <a:pt x="242" y="2"/>
                    </a:lnTo>
                    <a:lnTo>
                      <a:pt x="249" y="2"/>
                    </a:lnTo>
                    <a:lnTo>
                      <a:pt x="252" y="12"/>
                    </a:lnTo>
                    <a:lnTo>
                      <a:pt x="257" y="15"/>
                    </a:lnTo>
                    <a:lnTo>
                      <a:pt x="254" y="20"/>
                    </a:lnTo>
                    <a:lnTo>
                      <a:pt x="261" y="28"/>
                    </a:lnTo>
                    <a:lnTo>
                      <a:pt x="274" y="26"/>
                    </a:lnTo>
                    <a:lnTo>
                      <a:pt x="279" y="30"/>
                    </a:lnTo>
                    <a:lnTo>
                      <a:pt x="281" y="35"/>
                    </a:lnTo>
                    <a:lnTo>
                      <a:pt x="286" y="35"/>
                    </a:lnTo>
                    <a:lnTo>
                      <a:pt x="286" y="41"/>
                    </a:lnTo>
                    <a:lnTo>
                      <a:pt x="287" y="48"/>
                    </a:lnTo>
                    <a:lnTo>
                      <a:pt x="299" y="58"/>
                    </a:lnTo>
                    <a:lnTo>
                      <a:pt x="302" y="53"/>
                    </a:lnTo>
                    <a:lnTo>
                      <a:pt x="309" y="56"/>
                    </a:lnTo>
                    <a:lnTo>
                      <a:pt x="315" y="55"/>
                    </a:lnTo>
                    <a:lnTo>
                      <a:pt x="320" y="56"/>
                    </a:lnTo>
                    <a:lnTo>
                      <a:pt x="329" y="51"/>
                    </a:lnTo>
                    <a:lnTo>
                      <a:pt x="332" y="50"/>
                    </a:lnTo>
                    <a:lnTo>
                      <a:pt x="337" y="61"/>
                    </a:lnTo>
                    <a:lnTo>
                      <a:pt x="345" y="65"/>
                    </a:lnTo>
                    <a:lnTo>
                      <a:pt x="347" y="70"/>
                    </a:lnTo>
                    <a:lnTo>
                      <a:pt x="350" y="66"/>
                    </a:lnTo>
                    <a:lnTo>
                      <a:pt x="360" y="68"/>
                    </a:lnTo>
                    <a:lnTo>
                      <a:pt x="365" y="68"/>
                    </a:lnTo>
                    <a:lnTo>
                      <a:pt x="370" y="71"/>
                    </a:lnTo>
                    <a:lnTo>
                      <a:pt x="375" y="70"/>
                    </a:lnTo>
                    <a:lnTo>
                      <a:pt x="382" y="73"/>
                    </a:lnTo>
                    <a:lnTo>
                      <a:pt x="390" y="75"/>
                    </a:lnTo>
                    <a:lnTo>
                      <a:pt x="394" y="71"/>
                    </a:lnTo>
                    <a:lnTo>
                      <a:pt x="395" y="76"/>
                    </a:lnTo>
                    <a:lnTo>
                      <a:pt x="399" y="78"/>
                    </a:lnTo>
                    <a:lnTo>
                      <a:pt x="399" y="85"/>
                    </a:lnTo>
                    <a:lnTo>
                      <a:pt x="395" y="90"/>
                    </a:lnTo>
                    <a:lnTo>
                      <a:pt x="390" y="90"/>
                    </a:lnTo>
                    <a:lnTo>
                      <a:pt x="389" y="100"/>
                    </a:lnTo>
                    <a:lnTo>
                      <a:pt x="395" y="105"/>
                    </a:lnTo>
                    <a:lnTo>
                      <a:pt x="397" y="110"/>
                    </a:lnTo>
                    <a:lnTo>
                      <a:pt x="394" y="118"/>
                    </a:lnTo>
                    <a:lnTo>
                      <a:pt x="394" y="124"/>
                    </a:lnTo>
                    <a:lnTo>
                      <a:pt x="390" y="126"/>
                    </a:lnTo>
                    <a:lnTo>
                      <a:pt x="379" y="128"/>
                    </a:lnTo>
                    <a:lnTo>
                      <a:pt x="372" y="134"/>
                    </a:lnTo>
                    <a:lnTo>
                      <a:pt x="370" y="136"/>
                    </a:lnTo>
                    <a:lnTo>
                      <a:pt x="369" y="146"/>
                    </a:lnTo>
                    <a:lnTo>
                      <a:pt x="364" y="148"/>
                    </a:lnTo>
                    <a:lnTo>
                      <a:pt x="364" y="146"/>
                    </a:lnTo>
                    <a:lnTo>
                      <a:pt x="360" y="146"/>
                    </a:lnTo>
                    <a:lnTo>
                      <a:pt x="354" y="148"/>
                    </a:lnTo>
                    <a:lnTo>
                      <a:pt x="349" y="148"/>
                    </a:lnTo>
                    <a:lnTo>
                      <a:pt x="345" y="149"/>
                    </a:lnTo>
                    <a:lnTo>
                      <a:pt x="344" y="153"/>
                    </a:lnTo>
                    <a:lnTo>
                      <a:pt x="339" y="153"/>
                    </a:lnTo>
                    <a:lnTo>
                      <a:pt x="335" y="156"/>
                    </a:lnTo>
                    <a:lnTo>
                      <a:pt x="330" y="161"/>
                    </a:lnTo>
                    <a:lnTo>
                      <a:pt x="329" y="161"/>
                    </a:lnTo>
                    <a:lnTo>
                      <a:pt x="324" y="161"/>
                    </a:lnTo>
                    <a:lnTo>
                      <a:pt x="319" y="164"/>
                    </a:lnTo>
                    <a:lnTo>
                      <a:pt x="314" y="163"/>
                    </a:lnTo>
                    <a:lnTo>
                      <a:pt x="309" y="166"/>
                    </a:lnTo>
                    <a:lnTo>
                      <a:pt x="306" y="166"/>
                    </a:lnTo>
                    <a:lnTo>
                      <a:pt x="302" y="161"/>
                    </a:lnTo>
                    <a:lnTo>
                      <a:pt x="301" y="161"/>
                    </a:lnTo>
                    <a:lnTo>
                      <a:pt x="301" y="163"/>
                    </a:lnTo>
                    <a:lnTo>
                      <a:pt x="304" y="166"/>
                    </a:lnTo>
                    <a:lnTo>
                      <a:pt x="302" y="169"/>
                    </a:lnTo>
                    <a:lnTo>
                      <a:pt x="297" y="176"/>
                    </a:lnTo>
                    <a:lnTo>
                      <a:pt x="296" y="178"/>
                    </a:lnTo>
                    <a:lnTo>
                      <a:pt x="294" y="176"/>
                    </a:lnTo>
                    <a:lnTo>
                      <a:pt x="296" y="174"/>
                    </a:lnTo>
                    <a:lnTo>
                      <a:pt x="301" y="169"/>
                    </a:lnTo>
                    <a:lnTo>
                      <a:pt x="299" y="168"/>
                    </a:lnTo>
                    <a:lnTo>
                      <a:pt x="297" y="166"/>
                    </a:lnTo>
                    <a:lnTo>
                      <a:pt x="296" y="169"/>
                    </a:lnTo>
                    <a:lnTo>
                      <a:pt x="289" y="176"/>
                    </a:lnTo>
                    <a:lnTo>
                      <a:pt x="284" y="176"/>
                    </a:lnTo>
                    <a:lnTo>
                      <a:pt x="284" y="179"/>
                    </a:lnTo>
                    <a:lnTo>
                      <a:pt x="279" y="179"/>
                    </a:lnTo>
                    <a:lnTo>
                      <a:pt x="276" y="176"/>
                    </a:lnTo>
                    <a:lnTo>
                      <a:pt x="272" y="179"/>
                    </a:lnTo>
                    <a:lnTo>
                      <a:pt x="267" y="178"/>
                    </a:lnTo>
                    <a:lnTo>
                      <a:pt x="266" y="179"/>
                    </a:lnTo>
                    <a:lnTo>
                      <a:pt x="269" y="183"/>
                    </a:lnTo>
                    <a:lnTo>
                      <a:pt x="277" y="181"/>
                    </a:lnTo>
                    <a:lnTo>
                      <a:pt x="279" y="184"/>
                    </a:lnTo>
                    <a:lnTo>
                      <a:pt x="282" y="186"/>
                    </a:lnTo>
                    <a:lnTo>
                      <a:pt x="286" y="186"/>
                    </a:lnTo>
                    <a:lnTo>
                      <a:pt x="287" y="188"/>
                    </a:lnTo>
                    <a:lnTo>
                      <a:pt x="284" y="189"/>
                    </a:lnTo>
                    <a:lnTo>
                      <a:pt x="286" y="193"/>
                    </a:lnTo>
                    <a:lnTo>
                      <a:pt x="287" y="191"/>
                    </a:lnTo>
                    <a:lnTo>
                      <a:pt x="289" y="191"/>
                    </a:lnTo>
                    <a:lnTo>
                      <a:pt x="289" y="194"/>
                    </a:lnTo>
                    <a:lnTo>
                      <a:pt x="292" y="191"/>
                    </a:lnTo>
                    <a:lnTo>
                      <a:pt x="294" y="193"/>
                    </a:lnTo>
                    <a:lnTo>
                      <a:pt x="296" y="198"/>
                    </a:lnTo>
                    <a:lnTo>
                      <a:pt x="297" y="201"/>
                    </a:lnTo>
                    <a:lnTo>
                      <a:pt x="304" y="203"/>
                    </a:lnTo>
                    <a:lnTo>
                      <a:pt x="306" y="201"/>
                    </a:lnTo>
                    <a:lnTo>
                      <a:pt x="297" y="194"/>
                    </a:lnTo>
                    <a:lnTo>
                      <a:pt x="289" y="184"/>
                    </a:lnTo>
                    <a:lnTo>
                      <a:pt x="287" y="179"/>
                    </a:lnTo>
                    <a:lnTo>
                      <a:pt x="289" y="178"/>
                    </a:lnTo>
                    <a:lnTo>
                      <a:pt x="292" y="183"/>
                    </a:lnTo>
                    <a:lnTo>
                      <a:pt x="294" y="189"/>
                    </a:lnTo>
                    <a:lnTo>
                      <a:pt x="306" y="201"/>
                    </a:lnTo>
                    <a:lnTo>
                      <a:pt x="309" y="201"/>
                    </a:lnTo>
                    <a:lnTo>
                      <a:pt x="312" y="198"/>
                    </a:lnTo>
                    <a:lnTo>
                      <a:pt x="315" y="198"/>
                    </a:lnTo>
                    <a:lnTo>
                      <a:pt x="320" y="199"/>
                    </a:lnTo>
                    <a:lnTo>
                      <a:pt x="322" y="196"/>
                    </a:lnTo>
                    <a:lnTo>
                      <a:pt x="330" y="194"/>
                    </a:lnTo>
                    <a:lnTo>
                      <a:pt x="335" y="194"/>
                    </a:lnTo>
                    <a:lnTo>
                      <a:pt x="334" y="198"/>
                    </a:lnTo>
                    <a:lnTo>
                      <a:pt x="332" y="199"/>
                    </a:lnTo>
                    <a:lnTo>
                      <a:pt x="334" y="203"/>
                    </a:lnTo>
                    <a:lnTo>
                      <a:pt x="330" y="206"/>
                    </a:lnTo>
                    <a:lnTo>
                      <a:pt x="324" y="208"/>
                    </a:lnTo>
                    <a:lnTo>
                      <a:pt x="314" y="206"/>
                    </a:lnTo>
                    <a:lnTo>
                      <a:pt x="307" y="209"/>
                    </a:lnTo>
                    <a:lnTo>
                      <a:pt x="304" y="214"/>
                    </a:lnTo>
                    <a:lnTo>
                      <a:pt x="296" y="214"/>
                    </a:lnTo>
                    <a:lnTo>
                      <a:pt x="284" y="221"/>
                    </a:lnTo>
                    <a:lnTo>
                      <a:pt x="276" y="224"/>
                    </a:lnTo>
                    <a:lnTo>
                      <a:pt x="267" y="224"/>
                    </a:lnTo>
                    <a:lnTo>
                      <a:pt x="264" y="221"/>
                    </a:lnTo>
                    <a:lnTo>
                      <a:pt x="264" y="219"/>
                    </a:lnTo>
                    <a:lnTo>
                      <a:pt x="267" y="213"/>
                    </a:lnTo>
                    <a:lnTo>
                      <a:pt x="267" y="209"/>
                    </a:lnTo>
                    <a:lnTo>
                      <a:pt x="259" y="203"/>
                    </a:lnTo>
                    <a:lnTo>
                      <a:pt x="257" y="204"/>
                    </a:lnTo>
                    <a:lnTo>
                      <a:pt x="251" y="201"/>
                    </a:lnTo>
                    <a:lnTo>
                      <a:pt x="247" y="204"/>
                    </a:lnTo>
                    <a:lnTo>
                      <a:pt x="244" y="203"/>
                    </a:lnTo>
                    <a:lnTo>
                      <a:pt x="249" y="196"/>
                    </a:lnTo>
                    <a:lnTo>
                      <a:pt x="257" y="191"/>
                    </a:lnTo>
                    <a:lnTo>
                      <a:pt x="264" y="189"/>
                    </a:lnTo>
                    <a:lnTo>
                      <a:pt x="267" y="188"/>
                    </a:lnTo>
                    <a:lnTo>
                      <a:pt x="264" y="186"/>
                    </a:lnTo>
                    <a:lnTo>
                      <a:pt x="262" y="179"/>
                    </a:lnTo>
                    <a:lnTo>
                      <a:pt x="261" y="179"/>
                    </a:lnTo>
                    <a:lnTo>
                      <a:pt x="259" y="183"/>
                    </a:lnTo>
                    <a:lnTo>
                      <a:pt x="254" y="179"/>
                    </a:lnTo>
                    <a:lnTo>
                      <a:pt x="249" y="178"/>
                    </a:lnTo>
                    <a:lnTo>
                      <a:pt x="244" y="179"/>
                    </a:lnTo>
                    <a:lnTo>
                      <a:pt x="239" y="181"/>
                    </a:lnTo>
                    <a:lnTo>
                      <a:pt x="234" y="179"/>
                    </a:lnTo>
                    <a:lnTo>
                      <a:pt x="231" y="179"/>
                    </a:lnTo>
                    <a:lnTo>
                      <a:pt x="227" y="176"/>
                    </a:lnTo>
                    <a:lnTo>
                      <a:pt x="229" y="174"/>
                    </a:lnTo>
                    <a:lnTo>
                      <a:pt x="231" y="173"/>
                    </a:lnTo>
                    <a:lnTo>
                      <a:pt x="224" y="171"/>
                    </a:lnTo>
                    <a:lnTo>
                      <a:pt x="214" y="171"/>
                    </a:lnTo>
                    <a:lnTo>
                      <a:pt x="213" y="168"/>
                    </a:lnTo>
                    <a:lnTo>
                      <a:pt x="217" y="168"/>
                    </a:lnTo>
                    <a:lnTo>
                      <a:pt x="226" y="168"/>
                    </a:lnTo>
                    <a:lnTo>
                      <a:pt x="231" y="168"/>
                    </a:lnTo>
                    <a:lnTo>
                      <a:pt x="234" y="166"/>
                    </a:lnTo>
                    <a:lnTo>
                      <a:pt x="239" y="164"/>
                    </a:lnTo>
                    <a:lnTo>
                      <a:pt x="232" y="166"/>
                    </a:lnTo>
                    <a:lnTo>
                      <a:pt x="227" y="164"/>
                    </a:lnTo>
                    <a:lnTo>
                      <a:pt x="226" y="163"/>
                    </a:lnTo>
                    <a:lnTo>
                      <a:pt x="224" y="159"/>
                    </a:lnTo>
                    <a:lnTo>
                      <a:pt x="221" y="163"/>
                    </a:lnTo>
                    <a:lnTo>
                      <a:pt x="219" y="166"/>
                    </a:lnTo>
                    <a:lnTo>
                      <a:pt x="216" y="166"/>
                    </a:lnTo>
                    <a:lnTo>
                      <a:pt x="216" y="164"/>
                    </a:lnTo>
                    <a:lnTo>
                      <a:pt x="213" y="161"/>
                    </a:lnTo>
                    <a:lnTo>
                      <a:pt x="208" y="168"/>
                    </a:lnTo>
                    <a:lnTo>
                      <a:pt x="203" y="168"/>
                    </a:lnTo>
                    <a:lnTo>
                      <a:pt x="199" y="169"/>
                    </a:lnTo>
                    <a:lnTo>
                      <a:pt x="199" y="176"/>
                    </a:lnTo>
                    <a:lnTo>
                      <a:pt x="194" y="181"/>
                    </a:lnTo>
                    <a:lnTo>
                      <a:pt x="191" y="181"/>
                    </a:lnTo>
                    <a:lnTo>
                      <a:pt x="193" y="184"/>
                    </a:lnTo>
                    <a:lnTo>
                      <a:pt x="183" y="194"/>
                    </a:lnTo>
                    <a:lnTo>
                      <a:pt x="181" y="194"/>
                    </a:lnTo>
                    <a:lnTo>
                      <a:pt x="178" y="191"/>
                    </a:lnTo>
                    <a:lnTo>
                      <a:pt x="178" y="194"/>
                    </a:lnTo>
                    <a:lnTo>
                      <a:pt x="178" y="198"/>
                    </a:lnTo>
                    <a:lnTo>
                      <a:pt x="179" y="199"/>
                    </a:lnTo>
                    <a:lnTo>
                      <a:pt x="179" y="204"/>
                    </a:lnTo>
                    <a:lnTo>
                      <a:pt x="179" y="204"/>
                    </a:lnTo>
                    <a:lnTo>
                      <a:pt x="174" y="201"/>
                    </a:lnTo>
                    <a:lnTo>
                      <a:pt x="168" y="201"/>
                    </a:lnTo>
                    <a:lnTo>
                      <a:pt x="163" y="204"/>
                    </a:lnTo>
                    <a:lnTo>
                      <a:pt x="154" y="204"/>
                    </a:lnTo>
                    <a:lnTo>
                      <a:pt x="148" y="203"/>
                    </a:lnTo>
                    <a:lnTo>
                      <a:pt x="144" y="196"/>
                    </a:lnTo>
                    <a:lnTo>
                      <a:pt x="148" y="194"/>
                    </a:lnTo>
                    <a:lnTo>
                      <a:pt x="151" y="194"/>
                    </a:lnTo>
                    <a:lnTo>
                      <a:pt x="151" y="191"/>
                    </a:lnTo>
                    <a:lnTo>
                      <a:pt x="156" y="184"/>
                    </a:lnTo>
                    <a:lnTo>
                      <a:pt x="159" y="184"/>
                    </a:lnTo>
                    <a:lnTo>
                      <a:pt x="158" y="178"/>
                    </a:lnTo>
                    <a:lnTo>
                      <a:pt x="159" y="171"/>
                    </a:lnTo>
                    <a:lnTo>
                      <a:pt x="164" y="171"/>
                    </a:lnTo>
                    <a:lnTo>
                      <a:pt x="169" y="169"/>
                    </a:lnTo>
                    <a:lnTo>
                      <a:pt x="174" y="171"/>
                    </a:lnTo>
                    <a:lnTo>
                      <a:pt x="181" y="171"/>
                    </a:lnTo>
                    <a:lnTo>
                      <a:pt x="183" y="169"/>
                    </a:lnTo>
                    <a:lnTo>
                      <a:pt x="179" y="164"/>
                    </a:lnTo>
                    <a:lnTo>
                      <a:pt x="179" y="161"/>
                    </a:lnTo>
                    <a:lnTo>
                      <a:pt x="179" y="158"/>
                    </a:lnTo>
                    <a:lnTo>
                      <a:pt x="173" y="154"/>
                    </a:lnTo>
                    <a:lnTo>
                      <a:pt x="166" y="149"/>
                    </a:lnTo>
                    <a:lnTo>
                      <a:pt x="166" y="146"/>
                    </a:lnTo>
                    <a:lnTo>
                      <a:pt x="159" y="144"/>
                    </a:lnTo>
                    <a:lnTo>
                      <a:pt x="161" y="139"/>
                    </a:lnTo>
                    <a:lnTo>
                      <a:pt x="159" y="131"/>
                    </a:lnTo>
                    <a:lnTo>
                      <a:pt x="153" y="128"/>
                    </a:lnTo>
                    <a:lnTo>
                      <a:pt x="146" y="121"/>
                    </a:lnTo>
                    <a:lnTo>
                      <a:pt x="143" y="121"/>
                    </a:lnTo>
                    <a:lnTo>
                      <a:pt x="141" y="124"/>
                    </a:lnTo>
                    <a:lnTo>
                      <a:pt x="134" y="123"/>
                    </a:lnTo>
                    <a:lnTo>
                      <a:pt x="126" y="116"/>
                    </a:lnTo>
                    <a:lnTo>
                      <a:pt x="119" y="116"/>
                    </a:lnTo>
                    <a:lnTo>
                      <a:pt x="116" y="111"/>
                    </a:lnTo>
                    <a:lnTo>
                      <a:pt x="114" y="113"/>
                    </a:lnTo>
                    <a:lnTo>
                      <a:pt x="110" y="113"/>
                    </a:lnTo>
                    <a:lnTo>
                      <a:pt x="108" y="116"/>
                    </a:lnTo>
                    <a:lnTo>
                      <a:pt x="103" y="113"/>
                    </a:lnTo>
                    <a:lnTo>
                      <a:pt x="103" y="115"/>
                    </a:lnTo>
                    <a:lnTo>
                      <a:pt x="98" y="113"/>
                    </a:lnTo>
                    <a:lnTo>
                      <a:pt x="100" y="119"/>
                    </a:lnTo>
                    <a:lnTo>
                      <a:pt x="98" y="121"/>
                    </a:lnTo>
                    <a:lnTo>
                      <a:pt x="100" y="128"/>
                    </a:lnTo>
                    <a:lnTo>
                      <a:pt x="95" y="128"/>
                    </a:lnTo>
                    <a:lnTo>
                      <a:pt x="88" y="131"/>
                    </a:lnTo>
                    <a:lnTo>
                      <a:pt x="71" y="134"/>
                    </a:lnTo>
                    <a:lnTo>
                      <a:pt x="68" y="138"/>
                    </a:lnTo>
                    <a:lnTo>
                      <a:pt x="63" y="138"/>
                    </a:lnTo>
                    <a:lnTo>
                      <a:pt x="55" y="141"/>
                    </a:lnTo>
                    <a:lnTo>
                      <a:pt x="50" y="138"/>
                    </a:lnTo>
                    <a:lnTo>
                      <a:pt x="48" y="134"/>
                    </a:lnTo>
                    <a:lnTo>
                      <a:pt x="41" y="133"/>
                    </a:lnTo>
                    <a:lnTo>
                      <a:pt x="35" y="131"/>
                    </a:lnTo>
                    <a:lnTo>
                      <a:pt x="26" y="128"/>
                    </a:lnTo>
                    <a:lnTo>
                      <a:pt x="21" y="128"/>
                    </a:lnTo>
                    <a:lnTo>
                      <a:pt x="18" y="129"/>
                    </a:lnTo>
                    <a:lnTo>
                      <a:pt x="13" y="129"/>
                    </a:lnTo>
                    <a:lnTo>
                      <a:pt x="12" y="126"/>
                    </a:lnTo>
                    <a:lnTo>
                      <a:pt x="5" y="123"/>
                    </a:lnTo>
                    <a:lnTo>
                      <a:pt x="0" y="118"/>
                    </a:lnTo>
                    <a:lnTo>
                      <a:pt x="2" y="118"/>
                    </a:lnTo>
                    <a:lnTo>
                      <a:pt x="2" y="110"/>
                    </a:lnTo>
                    <a:lnTo>
                      <a:pt x="7" y="100"/>
                    </a:lnTo>
                    <a:lnTo>
                      <a:pt x="12" y="100"/>
                    </a:lnTo>
                    <a:lnTo>
                      <a:pt x="12" y="93"/>
                    </a:lnTo>
                    <a:lnTo>
                      <a:pt x="12" y="88"/>
                    </a:lnTo>
                    <a:lnTo>
                      <a:pt x="26" y="73"/>
                    </a:lnTo>
                    <a:lnTo>
                      <a:pt x="28" y="66"/>
                    </a:lnTo>
                    <a:lnTo>
                      <a:pt x="31" y="63"/>
                    </a:lnTo>
                    <a:lnTo>
                      <a:pt x="35" y="63"/>
                    </a:lnTo>
                    <a:lnTo>
                      <a:pt x="36" y="56"/>
                    </a:lnTo>
                    <a:lnTo>
                      <a:pt x="35" y="53"/>
                    </a:lnTo>
                    <a:lnTo>
                      <a:pt x="35" y="50"/>
                    </a:lnTo>
                    <a:lnTo>
                      <a:pt x="36" y="48"/>
                    </a:lnTo>
                    <a:lnTo>
                      <a:pt x="30" y="45"/>
                    </a:lnTo>
                    <a:lnTo>
                      <a:pt x="28" y="38"/>
                    </a:lnTo>
                    <a:lnTo>
                      <a:pt x="25" y="35"/>
                    </a:lnTo>
                    <a:lnTo>
                      <a:pt x="25" y="25"/>
                    </a:lnTo>
                    <a:lnTo>
                      <a:pt x="25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6" name="Freeform 41"/>
              <p:cNvSpPr>
                <a:spLocks/>
              </p:cNvSpPr>
              <p:nvPr/>
            </p:nvSpPr>
            <p:spPr bwMode="auto">
              <a:xfrm>
                <a:off x="6727527" y="2662725"/>
                <a:ext cx="46020" cy="43579"/>
              </a:xfrm>
              <a:custGeom>
                <a:avLst/>
                <a:gdLst/>
                <a:ahLst/>
                <a:cxnLst>
                  <a:cxn ang="0">
                    <a:pos x="2" y="17"/>
                  </a:cxn>
                  <a:cxn ang="0">
                    <a:pos x="0" y="10"/>
                  </a:cxn>
                  <a:cxn ang="0">
                    <a:pos x="2" y="8"/>
                  </a:cxn>
                  <a:cxn ang="0">
                    <a:pos x="0" y="2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10" y="5"/>
                  </a:cxn>
                  <a:cxn ang="0">
                    <a:pos x="12" y="2"/>
                  </a:cxn>
                  <a:cxn ang="0">
                    <a:pos x="16" y="2"/>
                  </a:cxn>
                  <a:cxn ang="0">
                    <a:pos x="18" y="0"/>
                  </a:cxn>
                  <a:cxn ang="0">
                    <a:pos x="21" y="5"/>
                  </a:cxn>
                  <a:cxn ang="0">
                    <a:pos x="28" y="5"/>
                  </a:cxn>
                  <a:cxn ang="0">
                    <a:pos x="36" y="12"/>
                  </a:cxn>
                  <a:cxn ang="0">
                    <a:pos x="43" y="13"/>
                  </a:cxn>
                  <a:cxn ang="0">
                    <a:pos x="45" y="10"/>
                  </a:cxn>
                  <a:cxn ang="0">
                    <a:pos x="48" y="10"/>
                  </a:cxn>
                  <a:cxn ang="0">
                    <a:pos x="55" y="17"/>
                  </a:cxn>
                  <a:cxn ang="0">
                    <a:pos x="61" y="20"/>
                  </a:cxn>
                  <a:cxn ang="0">
                    <a:pos x="63" y="28"/>
                  </a:cxn>
                  <a:cxn ang="0">
                    <a:pos x="61" y="33"/>
                  </a:cxn>
                  <a:cxn ang="0">
                    <a:pos x="68" y="35"/>
                  </a:cxn>
                  <a:cxn ang="0">
                    <a:pos x="68" y="38"/>
                  </a:cxn>
                  <a:cxn ang="0">
                    <a:pos x="75" y="43"/>
                  </a:cxn>
                  <a:cxn ang="0">
                    <a:pos x="81" y="47"/>
                  </a:cxn>
                  <a:cxn ang="0">
                    <a:pos x="81" y="50"/>
                  </a:cxn>
                  <a:cxn ang="0">
                    <a:pos x="81" y="53"/>
                  </a:cxn>
                  <a:cxn ang="0">
                    <a:pos x="85" y="58"/>
                  </a:cxn>
                  <a:cxn ang="0">
                    <a:pos x="83" y="60"/>
                  </a:cxn>
                  <a:cxn ang="0">
                    <a:pos x="76" y="60"/>
                  </a:cxn>
                  <a:cxn ang="0">
                    <a:pos x="71" y="58"/>
                  </a:cxn>
                  <a:cxn ang="0">
                    <a:pos x="66" y="60"/>
                  </a:cxn>
                  <a:cxn ang="0">
                    <a:pos x="61" y="60"/>
                  </a:cxn>
                  <a:cxn ang="0">
                    <a:pos x="60" y="67"/>
                  </a:cxn>
                  <a:cxn ang="0">
                    <a:pos x="61" y="73"/>
                  </a:cxn>
                  <a:cxn ang="0">
                    <a:pos x="58" y="73"/>
                  </a:cxn>
                  <a:cxn ang="0">
                    <a:pos x="53" y="80"/>
                  </a:cxn>
                  <a:cxn ang="0">
                    <a:pos x="53" y="83"/>
                  </a:cxn>
                  <a:cxn ang="0">
                    <a:pos x="50" y="83"/>
                  </a:cxn>
                  <a:cxn ang="0">
                    <a:pos x="46" y="85"/>
                  </a:cxn>
                  <a:cxn ang="0">
                    <a:pos x="46" y="85"/>
                  </a:cxn>
                  <a:cxn ang="0">
                    <a:pos x="43" y="78"/>
                  </a:cxn>
                  <a:cxn ang="0">
                    <a:pos x="43" y="58"/>
                  </a:cxn>
                  <a:cxn ang="0">
                    <a:pos x="40" y="52"/>
                  </a:cxn>
                  <a:cxn ang="0">
                    <a:pos x="38" y="47"/>
                  </a:cxn>
                  <a:cxn ang="0">
                    <a:pos x="25" y="37"/>
                  </a:cxn>
                  <a:cxn ang="0">
                    <a:pos x="23" y="32"/>
                  </a:cxn>
                  <a:cxn ang="0">
                    <a:pos x="13" y="25"/>
                  </a:cxn>
                  <a:cxn ang="0">
                    <a:pos x="12" y="15"/>
                  </a:cxn>
                  <a:cxn ang="0">
                    <a:pos x="2" y="17"/>
                  </a:cxn>
                </a:cxnLst>
                <a:rect l="0" t="0" r="r" b="b"/>
                <a:pathLst>
                  <a:path w="85" h="85">
                    <a:moveTo>
                      <a:pt x="2" y="17"/>
                    </a:moveTo>
                    <a:lnTo>
                      <a:pt x="0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10" y="5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18" y="0"/>
                    </a:lnTo>
                    <a:lnTo>
                      <a:pt x="21" y="5"/>
                    </a:lnTo>
                    <a:lnTo>
                      <a:pt x="28" y="5"/>
                    </a:lnTo>
                    <a:lnTo>
                      <a:pt x="36" y="12"/>
                    </a:lnTo>
                    <a:lnTo>
                      <a:pt x="43" y="13"/>
                    </a:lnTo>
                    <a:lnTo>
                      <a:pt x="45" y="10"/>
                    </a:lnTo>
                    <a:lnTo>
                      <a:pt x="48" y="10"/>
                    </a:lnTo>
                    <a:lnTo>
                      <a:pt x="55" y="17"/>
                    </a:lnTo>
                    <a:lnTo>
                      <a:pt x="61" y="20"/>
                    </a:lnTo>
                    <a:lnTo>
                      <a:pt x="63" y="28"/>
                    </a:lnTo>
                    <a:lnTo>
                      <a:pt x="61" y="33"/>
                    </a:lnTo>
                    <a:lnTo>
                      <a:pt x="68" y="35"/>
                    </a:lnTo>
                    <a:lnTo>
                      <a:pt x="68" y="38"/>
                    </a:lnTo>
                    <a:lnTo>
                      <a:pt x="75" y="43"/>
                    </a:lnTo>
                    <a:lnTo>
                      <a:pt x="81" y="47"/>
                    </a:lnTo>
                    <a:lnTo>
                      <a:pt x="81" y="50"/>
                    </a:lnTo>
                    <a:lnTo>
                      <a:pt x="81" y="53"/>
                    </a:lnTo>
                    <a:lnTo>
                      <a:pt x="85" y="58"/>
                    </a:lnTo>
                    <a:lnTo>
                      <a:pt x="83" y="60"/>
                    </a:lnTo>
                    <a:lnTo>
                      <a:pt x="76" y="60"/>
                    </a:lnTo>
                    <a:lnTo>
                      <a:pt x="71" y="58"/>
                    </a:lnTo>
                    <a:lnTo>
                      <a:pt x="66" y="60"/>
                    </a:lnTo>
                    <a:lnTo>
                      <a:pt x="61" y="60"/>
                    </a:lnTo>
                    <a:lnTo>
                      <a:pt x="60" y="67"/>
                    </a:lnTo>
                    <a:lnTo>
                      <a:pt x="61" y="73"/>
                    </a:lnTo>
                    <a:lnTo>
                      <a:pt x="58" y="73"/>
                    </a:lnTo>
                    <a:lnTo>
                      <a:pt x="53" y="80"/>
                    </a:lnTo>
                    <a:lnTo>
                      <a:pt x="53" y="83"/>
                    </a:lnTo>
                    <a:lnTo>
                      <a:pt x="50" y="83"/>
                    </a:lnTo>
                    <a:lnTo>
                      <a:pt x="46" y="85"/>
                    </a:lnTo>
                    <a:lnTo>
                      <a:pt x="46" y="85"/>
                    </a:lnTo>
                    <a:lnTo>
                      <a:pt x="43" y="78"/>
                    </a:lnTo>
                    <a:lnTo>
                      <a:pt x="43" y="58"/>
                    </a:lnTo>
                    <a:lnTo>
                      <a:pt x="40" y="52"/>
                    </a:lnTo>
                    <a:lnTo>
                      <a:pt x="38" y="47"/>
                    </a:lnTo>
                    <a:lnTo>
                      <a:pt x="25" y="37"/>
                    </a:lnTo>
                    <a:lnTo>
                      <a:pt x="23" y="32"/>
                    </a:lnTo>
                    <a:lnTo>
                      <a:pt x="13" y="25"/>
                    </a:lnTo>
                    <a:lnTo>
                      <a:pt x="12" y="15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7" name="Freeform 42"/>
              <p:cNvSpPr>
                <a:spLocks/>
              </p:cNvSpPr>
              <p:nvPr/>
            </p:nvSpPr>
            <p:spPr bwMode="auto">
              <a:xfrm>
                <a:off x="6656891" y="2671026"/>
                <a:ext cx="114516" cy="63293"/>
              </a:xfrm>
              <a:custGeom>
                <a:avLst/>
                <a:gdLst/>
                <a:ahLst/>
                <a:cxnLst>
                  <a:cxn ang="0">
                    <a:pos x="53" y="3"/>
                  </a:cxn>
                  <a:cxn ang="0">
                    <a:pos x="61" y="2"/>
                  </a:cxn>
                  <a:cxn ang="0">
                    <a:pos x="76" y="7"/>
                  </a:cxn>
                  <a:cxn ang="0">
                    <a:pos x="85" y="12"/>
                  </a:cxn>
                  <a:cxn ang="0">
                    <a:pos x="98" y="12"/>
                  </a:cxn>
                  <a:cxn ang="0">
                    <a:pos x="106" y="8"/>
                  </a:cxn>
                  <a:cxn ang="0">
                    <a:pos x="130" y="2"/>
                  </a:cxn>
                  <a:cxn ang="0">
                    <a:pos x="146" y="10"/>
                  </a:cxn>
                  <a:cxn ang="0">
                    <a:pos x="158" y="22"/>
                  </a:cxn>
                  <a:cxn ang="0">
                    <a:pos x="173" y="37"/>
                  </a:cxn>
                  <a:cxn ang="0">
                    <a:pos x="176" y="63"/>
                  </a:cxn>
                  <a:cxn ang="0">
                    <a:pos x="183" y="77"/>
                  </a:cxn>
                  <a:cxn ang="0">
                    <a:pos x="198" y="78"/>
                  </a:cxn>
                  <a:cxn ang="0">
                    <a:pos x="209" y="75"/>
                  </a:cxn>
                  <a:cxn ang="0">
                    <a:pos x="211" y="80"/>
                  </a:cxn>
                  <a:cxn ang="0">
                    <a:pos x="214" y="85"/>
                  </a:cxn>
                  <a:cxn ang="0">
                    <a:pos x="206" y="91"/>
                  </a:cxn>
                  <a:cxn ang="0">
                    <a:pos x="196" y="96"/>
                  </a:cxn>
                  <a:cxn ang="0">
                    <a:pos x="194" y="103"/>
                  </a:cxn>
                  <a:cxn ang="0">
                    <a:pos x="191" y="113"/>
                  </a:cxn>
                  <a:cxn ang="0">
                    <a:pos x="188" y="118"/>
                  </a:cxn>
                  <a:cxn ang="0">
                    <a:pos x="181" y="113"/>
                  </a:cxn>
                  <a:cxn ang="0">
                    <a:pos x="173" y="113"/>
                  </a:cxn>
                  <a:cxn ang="0">
                    <a:pos x="158" y="110"/>
                  </a:cxn>
                  <a:cxn ang="0">
                    <a:pos x="138" y="116"/>
                  </a:cxn>
                  <a:cxn ang="0">
                    <a:pos x="130" y="121"/>
                  </a:cxn>
                  <a:cxn ang="0">
                    <a:pos x="116" y="121"/>
                  </a:cxn>
                  <a:cxn ang="0">
                    <a:pos x="108" y="120"/>
                  </a:cxn>
                  <a:cxn ang="0">
                    <a:pos x="100" y="120"/>
                  </a:cxn>
                  <a:cxn ang="0">
                    <a:pos x="83" y="121"/>
                  </a:cxn>
                  <a:cxn ang="0">
                    <a:pos x="78" y="118"/>
                  </a:cxn>
                  <a:cxn ang="0">
                    <a:pos x="66" y="121"/>
                  </a:cxn>
                  <a:cxn ang="0">
                    <a:pos x="65" y="116"/>
                  </a:cxn>
                  <a:cxn ang="0">
                    <a:pos x="63" y="110"/>
                  </a:cxn>
                  <a:cxn ang="0">
                    <a:pos x="55" y="105"/>
                  </a:cxn>
                  <a:cxn ang="0">
                    <a:pos x="58" y="96"/>
                  </a:cxn>
                  <a:cxn ang="0">
                    <a:pos x="45" y="100"/>
                  </a:cxn>
                  <a:cxn ang="0">
                    <a:pos x="37" y="100"/>
                  </a:cxn>
                  <a:cxn ang="0">
                    <a:pos x="27" y="93"/>
                  </a:cxn>
                  <a:cxn ang="0">
                    <a:pos x="28" y="85"/>
                  </a:cxn>
                  <a:cxn ang="0">
                    <a:pos x="15" y="78"/>
                  </a:cxn>
                  <a:cxn ang="0">
                    <a:pos x="7" y="67"/>
                  </a:cxn>
                  <a:cxn ang="0">
                    <a:pos x="0" y="62"/>
                  </a:cxn>
                  <a:cxn ang="0">
                    <a:pos x="10" y="57"/>
                  </a:cxn>
                  <a:cxn ang="0">
                    <a:pos x="18" y="53"/>
                  </a:cxn>
                  <a:cxn ang="0">
                    <a:pos x="22" y="45"/>
                  </a:cxn>
                  <a:cxn ang="0">
                    <a:pos x="35" y="20"/>
                  </a:cxn>
                  <a:cxn ang="0">
                    <a:pos x="47" y="10"/>
                  </a:cxn>
                  <a:cxn ang="0">
                    <a:pos x="48" y="3"/>
                  </a:cxn>
                </a:cxnLst>
                <a:rect l="0" t="0" r="r" b="b"/>
                <a:pathLst>
                  <a:path w="214" h="123">
                    <a:moveTo>
                      <a:pt x="48" y="3"/>
                    </a:moveTo>
                    <a:lnTo>
                      <a:pt x="53" y="3"/>
                    </a:lnTo>
                    <a:lnTo>
                      <a:pt x="56" y="2"/>
                    </a:lnTo>
                    <a:lnTo>
                      <a:pt x="61" y="2"/>
                    </a:lnTo>
                    <a:lnTo>
                      <a:pt x="70" y="5"/>
                    </a:lnTo>
                    <a:lnTo>
                      <a:pt x="76" y="7"/>
                    </a:lnTo>
                    <a:lnTo>
                      <a:pt x="83" y="8"/>
                    </a:lnTo>
                    <a:lnTo>
                      <a:pt x="85" y="12"/>
                    </a:lnTo>
                    <a:lnTo>
                      <a:pt x="90" y="15"/>
                    </a:lnTo>
                    <a:lnTo>
                      <a:pt x="98" y="12"/>
                    </a:lnTo>
                    <a:lnTo>
                      <a:pt x="103" y="12"/>
                    </a:lnTo>
                    <a:lnTo>
                      <a:pt x="106" y="8"/>
                    </a:lnTo>
                    <a:lnTo>
                      <a:pt x="123" y="5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146" y="10"/>
                    </a:lnTo>
                    <a:lnTo>
                      <a:pt x="156" y="17"/>
                    </a:lnTo>
                    <a:lnTo>
                      <a:pt x="158" y="22"/>
                    </a:lnTo>
                    <a:lnTo>
                      <a:pt x="171" y="32"/>
                    </a:lnTo>
                    <a:lnTo>
                      <a:pt x="173" y="37"/>
                    </a:lnTo>
                    <a:lnTo>
                      <a:pt x="176" y="43"/>
                    </a:lnTo>
                    <a:lnTo>
                      <a:pt x="176" y="63"/>
                    </a:lnTo>
                    <a:lnTo>
                      <a:pt x="179" y="70"/>
                    </a:lnTo>
                    <a:lnTo>
                      <a:pt x="183" y="77"/>
                    </a:lnTo>
                    <a:lnTo>
                      <a:pt x="189" y="78"/>
                    </a:lnTo>
                    <a:lnTo>
                      <a:pt x="198" y="78"/>
                    </a:lnTo>
                    <a:lnTo>
                      <a:pt x="203" y="75"/>
                    </a:lnTo>
                    <a:lnTo>
                      <a:pt x="209" y="75"/>
                    </a:lnTo>
                    <a:lnTo>
                      <a:pt x="214" y="78"/>
                    </a:lnTo>
                    <a:lnTo>
                      <a:pt x="211" y="80"/>
                    </a:lnTo>
                    <a:lnTo>
                      <a:pt x="214" y="82"/>
                    </a:lnTo>
                    <a:lnTo>
                      <a:pt x="214" y="85"/>
                    </a:lnTo>
                    <a:lnTo>
                      <a:pt x="211" y="90"/>
                    </a:lnTo>
                    <a:lnTo>
                      <a:pt x="206" y="91"/>
                    </a:lnTo>
                    <a:lnTo>
                      <a:pt x="198" y="91"/>
                    </a:lnTo>
                    <a:lnTo>
                      <a:pt x="196" y="96"/>
                    </a:lnTo>
                    <a:lnTo>
                      <a:pt x="193" y="100"/>
                    </a:lnTo>
                    <a:lnTo>
                      <a:pt x="194" y="103"/>
                    </a:lnTo>
                    <a:lnTo>
                      <a:pt x="194" y="110"/>
                    </a:lnTo>
                    <a:lnTo>
                      <a:pt x="191" y="113"/>
                    </a:lnTo>
                    <a:lnTo>
                      <a:pt x="193" y="118"/>
                    </a:lnTo>
                    <a:lnTo>
                      <a:pt x="188" y="118"/>
                    </a:lnTo>
                    <a:lnTo>
                      <a:pt x="186" y="116"/>
                    </a:lnTo>
                    <a:lnTo>
                      <a:pt x="181" y="113"/>
                    </a:lnTo>
                    <a:lnTo>
                      <a:pt x="176" y="115"/>
                    </a:lnTo>
                    <a:lnTo>
                      <a:pt x="173" y="113"/>
                    </a:lnTo>
                    <a:lnTo>
                      <a:pt x="164" y="110"/>
                    </a:lnTo>
                    <a:lnTo>
                      <a:pt x="158" y="110"/>
                    </a:lnTo>
                    <a:lnTo>
                      <a:pt x="151" y="110"/>
                    </a:lnTo>
                    <a:lnTo>
                      <a:pt x="138" y="116"/>
                    </a:lnTo>
                    <a:lnTo>
                      <a:pt x="135" y="120"/>
                    </a:lnTo>
                    <a:lnTo>
                      <a:pt x="130" y="121"/>
                    </a:lnTo>
                    <a:lnTo>
                      <a:pt x="126" y="123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08" y="120"/>
                    </a:lnTo>
                    <a:lnTo>
                      <a:pt x="103" y="121"/>
                    </a:lnTo>
                    <a:lnTo>
                      <a:pt x="100" y="120"/>
                    </a:lnTo>
                    <a:lnTo>
                      <a:pt x="91" y="123"/>
                    </a:lnTo>
                    <a:lnTo>
                      <a:pt x="83" y="121"/>
                    </a:lnTo>
                    <a:lnTo>
                      <a:pt x="81" y="121"/>
                    </a:lnTo>
                    <a:lnTo>
                      <a:pt x="78" y="118"/>
                    </a:lnTo>
                    <a:lnTo>
                      <a:pt x="71" y="118"/>
                    </a:lnTo>
                    <a:lnTo>
                      <a:pt x="66" y="121"/>
                    </a:lnTo>
                    <a:lnTo>
                      <a:pt x="63" y="118"/>
                    </a:lnTo>
                    <a:lnTo>
                      <a:pt x="65" y="116"/>
                    </a:lnTo>
                    <a:lnTo>
                      <a:pt x="66" y="113"/>
                    </a:lnTo>
                    <a:lnTo>
                      <a:pt x="63" y="110"/>
                    </a:lnTo>
                    <a:lnTo>
                      <a:pt x="56" y="110"/>
                    </a:lnTo>
                    <a:lnTo>
                      <a:pt x="55" y="105"/>
                    </a:lnTo>
                    <a:lnTo>
                      <a:pt x="53" y="101"/>
                    </a:lnTo>
                    <a:lnTo>
                      <a:pt x="58" y="96"/>
                    </a:lnTo>
                    <a:lnTo>
                      <a:pt x="50" y="96"/>
                    </a:lnTo>
                    <a:lnTo>
                      <a:pt x="45" y="100"/>
                    </a:lnTo>
                    <a:lnTo>
                      <a:pt x="42" y="98"/>
                    </a:lnTo>
                    <a:lnTo>
                      <a:pt x="37" y="100"/>
                    </a:lnTo>
                    <a:lnTo>
                      <a:pt x="35" y="96"/>
                    </a:lnTo>
                    <a:lnTo>
                      <a:pt x="27" y="93"/>
                    </a:lnTo>
                    <a:lnTo>
                      <a:pt x="25" y="91"/>
                    </a:lnTo>
                    <a:lnTo>
                      <a:pt x="28" y="85"/>
                    </a:lnTo>
                    <a:lnTo>
                      <a:pt x="22" y="82"/>
                    </a:lnTo>
                    <a:lnTo>
                      <a:pt x="15" y="78"/>
                    </a:lnTo>
                    <a:lnTo>
                      <a:pt x="13" y="75"/>
                    </a:lnTo>
                    <a:lnTo>
                      <a:pt x="7" y="67"/>
                    </a:lnTo>
                    <a:lnTo>
                      <a:pt x="5" y="63"/>
                    </a:lnTo>
                    <a:lnTo>
                      <a:pt x="0" y="62"/>
                    </a:lnTo>
                    <a:lnTo>
                      <a:pt x="5" y="57"/>
                    </a:lnTo>
                    <a:lnTo>
                      <a:pt x="10" y="57"/>
                    </a:lnTo>
                    <a:lnTo>
                      <a:pt x="12" y="52"/>
                    </a:lnTo>
                    <a:lnTo>
                      <a:pt x="18" y="53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30" y="33"/>
                    </a:lnTo>
                    <a:lnTo>
                      <a:pt x="35" y="20"/>
                    </a:lnTo>
                    <a:lnTo>
                      <a:pt x="42" y="12"/>
                    </a:lnTo>
                    <a:lnTo>
                      <a:pt x="47" y="10"/>
                    </a:lnTo>
                    <a:lnTo>
                      <a:pt x="48" y="5"/>
                    </a:lnTo>
                    <a:lnTo>
                      <a:pt x="4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8" name="Freeform 43"/>
              <p:cNvSpPr>
                <a:spLocks/>
              </p:cNvSpPr>
              <p:nvPr/>
            </p:nvSpPr>
            <p:spPr bwMode="auto">
              <a:xfrm>
                <a:off x="6608729" y="2665838"/>
                <a:ext cx="73847" cy="42541"/>
              </a:xfrm>
              <a:custGeom>
                <a:avLst/>
                <a:gdLst/>
                <a:ahLst/>
                <a:cxnLst>
                  <a:cxn ang="0">
                    <a:pos x="90" y="70"/>
                  </a:cxn>
                  <a:cxn ang="0">
                    <a:pos x="95" y="65"/>
                  </a:cxn>
                  <a:cxn ang="0">
                    <a:pos x="100" y="65"/>
                  </a:cxn>
                  <a:cxn ang="0">
                    <a:pos x="102" y="60"/>
                  </a:cxn>
                  <a:cxn ang="0">
                    <a:pos x="108" y="61"/>
                  </a:cxn>
                  <a:cxn ang="0">
                    <a:pos x="112" y="58"/>
                  </a:cxn>
                  <a:cxn ang="0">
                    <a:pos x="112" y="53"/>
                  </a:cxn>
                  <a:cxn ang="0">
                    <a:pos x="120" y="41"/>
                  </a:cxn>
                  <a:cxn ang="0">
                    <a:pos x="125" y="28"/>
                  </a:cxn>
                  <a:cxn ang="0">
                    <a:pos x="132" y="20"/>
                  </a:cxn>
                  <a:cxn ang="0">
                    <a:pos x="137" y="18"/>
                  </a:cxn>
                  <a:cxn ang="0">
                    <a:pos x="138" y="13"/>
                  </a:cxn>
                  <a:cxn ang="0">
                    <a:pos x="137" y="8"/>
                  </a:cxn>
                  <a:cxn ang="0">
                    <a:pos x="130" y="5"/>
                  </a:cxn>
                  <a:cxn ang="0">
                    <a:pos x="125" y="0"/>
                  </a:cxn>
                  <a:cxn ang="0">
                    <a:pos x="120" y="3"/>
                  </a:cxn>
                  <a:cxn ang="0">
                    <a:pos x="112" y="1"/>
                  </a:cxn>
                  <a:cxn ang="0">
                    <a:pos x="102" y="1"/>
                  </a:cxn>
                  <a:cxn ang="0">
                    <a:pos x="97" y="0"/>
                  </a:cxn>
                  <a:cxn ang="0">
                    <a:pos x="88" y="1"/>
                  </a:cxn>
                  <a:cxn ang="0">
                    <a:pos x="85" y="6"/>
                  </a:cxn>
                  <a:cxn ang="0">
                    <a:pos x="80" y="10"/>
                  </a:cxn>
                  <a:cxn ang="0">
                    <a:pos x="80" y="15"/>
                  </a:cxn>
                  <a:cxn ang="0">
                    <a:pos x="73" y="8"/>
                  </a:cxn>
                  <a:cxn ang="0">
                    <a:pos x="65" y="13"/>
                  </a:cxn>
                  <a:cxn ang="0">
                    <a:pos x="58" y="16"/>
                  </a:cxn>
                  <a:cxn ang="0">
                    <a:pos x="57" y="20"/>
                  </a:cxn>
                  <a:cxn ang="0">
                    <a:pos x="45" y="21"/>
                  </a:cxn>
                  <a:cxn ang="0">
                    <a:pos x="37" y="23"/>
                  </a:cxn>
                  <a:cxn ang="0">
                    <a:pos x="27" y="21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2" y="21"/>
                  </a:cxn>
                  <a:cxn ang="0">
                    <a:pos x="12" y="25"/>
                  </a:cxn>
                  <a:cxn ang="0">
                    <a:pos x="2" y="25"/>
                  </a:cxn>
                  <a:cxn ang="0">
                    <a:pos x="0" y="26"/>
                  </a:cxn>
                  <a:cxn ang="0">
                    <a:pos x="5" y="31"/>
                  </a:cxn>
                  <a:cxn ang="0">
                    <a:pos x="2" y="36"/>
                  </a:cxn>
                  <a:cxn ang="0">
                    <a:pos x="2" y="41"/>
                  </a:cxn>
                  <a:cxn ang="0">
                    <a:pos x="5" y="4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5" y="56"/>
                  </a:cxn>
                  <a:cxn ang="0">
                    <a:pos x="7" y="63"/>
                  </a:cxn>
                  <a:cxn ang="0">
                    <a:pos x="10" y="65"/>
                  </a:cxn>
                  <a:cxn ang="0">
                    <a:pos x="20" y="73"/>
                  </a:cxn>
                  <a:cxn ang="0">
                    <a:pos x="25" y="75"/>
                  </a:cxn>
                  <a:cxn ang="0">
                    <a:pos x="30" y="76"/>
                  </a:cxn>
                  <a:cxn ang="0">
                    <a:pos x="42" y="80"/>
                  </a:cxn>
                  <a:cxn ang="0">
                    <a:pos x="52" y="81"/>
                  </a:cxn>
                  <a:cxn ang="0">
                    <a:pos x="55" y="78"/>
                  </a:cxn>
                  <a:cxn ang="0">
                    <a:pos x="58" y="78"/>
                  </a:cxn>
                  <a:cxn ang="0">
                    <a:pos x="62" y="75"/>
                  </a:cxn>
                  <a:cxn ang="0">
                    <a:pos x="67" y="73"/>
                  </a:cxn>
                  <a:cxn ang="0">
                    <a:pos x="70" y="73"/>
                  </a:cxn>
                  <a:cxn ang="0">
                    <a:pos x="72" y="71"/>
                  </a:cxn>
                  <a:cxn ang="0">
                    <a:pos x="78" y="66"/>
                  </a:cxn>
                  <a:cxn ang="0">
                    <a:pos x="82" y="68"/>
                  </a:cxn>
                  <a:cxn ang="0">
                    <a:pos x="87" y="68"/>
                  </a:cxn>
                  <a:cxn ang="0">
                    <a:pos x="90" y="70"/>
                  </a:cxn>
                </a:cxnLst>
                <a:rect l="0" t="0" r="r" b="b"/>
                <a:pathLst>
                  <a:path w="138" h="81">
                    <a:moveTo>
                      <a:pt x="90" y="70"/>
                    </a:moveTo>
                    <a:lnTo>
                      <a:pt x="95" y="65"/>
                    </a:lnTo>
                    <a:lnTo>
                      <a:pt x="100" y="65"/>
                    </a:lnTo>
                    <a:lnTo>
                      <a:pt x="102" y="60"/>
                    </a:lnTo>
                    <a:lnTo>
                      <a:pt x="108" y="61"/>
                    </a:lnTo>
                    <a:lnTo>
                      <a:pt x="112" y="58"/>
                    </a:lnTo>
                    <a:lnTo>
                      <a:pt x="112" y="53"/>
                    </a:lnTo>
                    <a:lnTo>
                      <a:pt x="120" y="41"/>
                    </a:lnTo>
                    <a:lnTo>
                      <a:pt x="125" y="28"/>
                    </a:lnTo>
                    <a:lnTo>
                      <a:pt x="132" y="20"/>
                    </a:lnTo>
                    <a:lnTo>
                      <a:pt x="137" y="18"/>
                    </a:lnTo>
                    <a:lnTo>
                      <a:pt x="138" y="13"/>
                    </a:lnTo>
                    <a:lnTo>
                      <a:pt x="137" y="8"/>
                    </a:lnTo>
                    <a:lnTo>
                      <a:pt x="130" y="5"/>
                    </a:lnTo>
                    <a:lnTo>
                      <a:pt x="125" y="0"/>
                    </a:lnTo>
                    <a:lnTo>
                      <a:pt x="120" y="3"/>
                    </a:lnTo>
                    <a:lnTo>
                      <a:pt x="112" y="1"/>
                    </a:lnTo>
                    <a:lnTo>
                      <a:pt x="102" y="1"/>
                    </a:lnTo>
                    <a:lnTo>
                      <a:pt x="97" y="0"/>
                    </a:lnTo>
                    <a:lnTo>
                      <a:pt x="88" y="1"/>
                    </a:lnTo>
                    <a:lnTo>
                      <a:pt x="85" y="6"/>
                    </a:lnTo>
                    <a:lnTo>
                      <a:pt x="80" y="10"/>
                    </a:lnTo>
                    <a:lnTo>
                      <a:pt x="80" y="15"/>
                    </a:lnTo>
                    <a:lnTo>
                      <a:pt x="73" y="8"/>
                    </a:lnTo>
                    <a:lnTo>
                      <a:pt x="65" y="13"/>
                    </a:lnTo>
                    <a:lnTo>
                      <a:pt x="58" y="16"/>
                    </a:lnTo>
                    <a:lnTo>
                      <a:pt x="57" y="20"/>
                    </a:lnTo>
                    <a:lnTo>
                      <a:pt x="45" y="21"/>
                    </a:lnTo>
                    <a:lnTo>
                      <a:pt x="37" y="23"/>
                    </a:lnTo>
                    <a:lnTo>
                      <a:pt x="27" y="21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2" y="21"/>
                    </a:lnTo>
                    <a:lnTo>
                      <a:pt x="12" y="25"/>
                    </a:lnTo>
                    <a:lnTo>
                      <a:pt x="2" y="25"/>
                    </a:lnTo>
                    <a:lnTo>
                      <a:pt x="0" y="26"/>
                    </a:lnTo>
                    <a:lnTo>
                      <a:pt x="5" y="31"/>
                    </a:lnTo>
                    <a:lnTo>
                      <a:pt x="2" y="36"/>
                    </a:lnTo>
                    <a:lnTo>
                      <a:pt x="2" y="41"/>
                    </a:lnTo>
                    <a:lnTo>
                      <a:pt x="5" y="4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5" y="56"/>
                    </a:lnTo>
                    <a:lnTo>
                      <a:pt x="7" y="63"/>
                    </a:lnTo>
                    <a:lnTo>
                      <a:pt x="10" y="65"/>
                    </a:lnTo>
                    <a:lnTo>
                      <a:pt x="20" y="73"/>
                    </a:lnTo>
                    <a:lnTo>
                      <a:pt x="25" y="75"/>
                    </a:lnTo>
                    <a:lnTo>
                      <a:pt x="30" y="76"/>
                    </a:lnTo>
                    <a:lnTo>
                      <a:pt x="42" y="80"/>
                    </a:lnTo>
                    <a:lnTo>
                      <a:pt x="52" y="81"/>
                    </a:lnTo>
                    <a:lnTo>
                      <a:pt x="55" y="78"/>
                    </a:lnTo>
                    <a:lnTo>
                      <a:pt x="58" y="78"/>
                    </a:lnTo>
                    <a:lnTo>
                      <a:pt x="62" y="75"/>
                    </a:lnTo>
                    <a:lnTo>
                      <a:pt x="67" y="73"/>
                    </a:lnTo>
                    <a:lnTo>
                      <a:pt x="70" y="73"/>
                    </a:lnTo>
                    <a:lnTo>
                      <a:pt x="72" y="71"/>
                    </a:lnTo>
                    <a:lnTo>
                      <a:pt x="78" y="66"/>
                    </a:lnTo>
                    <a:lnTo>
                      <a:pt x="82" y="68"/>
                    </a:lnTo>
                    <a:lnTo>
                      <a:pt x="87" y="68"/>
                    </a:lnTo>
                    <a:lnTo>
                      <a:pt x="90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9" name="Freeform 44"/>
              <p:cNvSpPr>
                <a:spLocks/>
              </p:cNvSpPr>
              <p:nvPr/>
            </p:nvSpPr>
            <p:spPr bwMode="auto">
              <a:xfrm>
                <a:off x="6614081" y="2654424"/>
                <a:ext cx="65285" cy="23865"/>
              </a:xfrm>
              <a:custGeom>
                <a:avLst/>
                <a:gdLst/>
                <a:ahLst/>
                <a:cxnLst>
                  <a:cxn ang="0">
                    <a:pos x="2" y="36"/>
                  </a:cxn>
                  <a:cxn ang="0">
                    <a:pos x="17" y="44"/>
                  </a:cxn>
                  <a:cxn ang="0">
                    <a:pos x="27" y="46"/>
                  </a:cxn>
                  <a:cxn ang="0">
                    <a:pos x="35" y="44"/>
                  </a:cxn>
                  <a:cxn ang="0">
                    <a:pos x="47" y="43"/>
                  </a:cxn>
                  <a:cxn ang="0">
                    <a:pos x="48" y="39"/>
                  </a:cxn>
                  <a:cxn ang="0">
                    <a:pos x="55" y="36"/>
                  </a:cxn>
                  <a:cxn ang="0">
                    <a:pos x="63" y="31"/>
                  </a:cxn>
                  <a:cxn ang="0">
                    <a:pos x="70" y="38"/>
                  </a:cxn>
                  <a:cxn ang="0">
                    <a:pos x="70" y="33"/>
                  </a:cxn>
                  <a:cxn ang="0">
                    <a:pos x="75" y="29"/>
                  </a:cxn>
                  <a:cxn ang="0">
                    <a:pos x="78" y="24"/>
                  </a:cxn>
                  <a:cxn ang="0">
                    <a:pos x="87" y="23"/>
                  </a:cxn>
                  <a:cxn ang="0">
                    <a:pos x="92" y="24"/>
                  </a:cxn>
                  <a:cxn ang="0">
                    <a:pos x="102" y="24"/>
                  </a:cxn>
                  <a:cxn ang="0">
                    <a:pos x="110" y="26"/>
                  </a:cxn>
                  <a:cxn ang="0">
                    <a:pos x="117" y="23"/>
                  </a:cxn>
                  <a:cxn ang="0">
                    <a:pos x="117" y="15"/>
                  </a:cxn>
                  <a:cxn ang="0">
                    <a:pos x="122" y="5"/>
                  </a:cxn>
                  <a:cxn ang="0">
                    <a:pos x="122" y="5"/>
                  </a:cxn>
                  <a:cxn ang="0">
                    <a:pos x="112" y="0"/>
                  </a:cxn>
                  <a:cxn ang="0">
                    <a:pos x="102" y="0"/>
                  </a:cxn>
                  <a:cxn ang="0">
                    <a:pos x="98" y="1"/>
                  </a:cxn>
                  <a:cxn ang="0">
                    <a:pos x="95" y="0"/>
                  </a:cxn>
                  <a:cxn ang="0">
                    <a:pos x="92" y="0"/>
                  </a:cxn>
                  <a:cxn ang="0">
                    <a:pos x="88" y="3"/>
                  </a:cxn>
                  <a:cxn ang="0">
                    <a:pos x="85" y="0"/>
                  </a:cxn>
                  <a:cxn ang="0">
                    <a:pos x="78" y="0"/>
                  </a:cxn>
                  <a:cxn ang="0">
                    <a:pos x="75" y="0"/>
                  </a:cxn>
                  <a:cxn ang="0">
                    <a:pos x="72" y="1"/>
                  </a:cxn>
                  <a:cxn ang="0">
                    <a:pos x="68" y="5"/>
                  </a:cxn>
                  <a:cxn ang="0">
                    <a:pos x="63" y="5"/>
                  </a:cxn>
                  <a:cxn ang="0">
                    <a:pos x="63" y="5"/>
                  </a:cxn>
                  <a:cxn ang="0">
                    <a:pos x="63" y="5"/>
                  </a:cxn>
                  <a:cxn ang="0">
                    <a:pos x="52" y="5"/>
                  </a:cxn>
                  <a:cxn ang="0">
                    <a:pos x="47" y="8"/>
                  </a:cxn>
                  <a:cxn ang="0">
                    <a:pos x="40" y="8"/>
                  </a:cxn>
                  <a:cxn ang="0">
                    <a:pos x="33" y="15"/>
                  </a:cxn>
                  <a:cxn ang="0">
                    <a:pos x="25" y="16"/>
                  </a:cxn>
                  <a:cxn ang="0">
                    <a:pos x="15" y="20"/>
                  </a:cxn>
                  <a:cxn ang="0">
                    <a:pos x="14" y="18"/>
                  </a:cxn>
                  <a:cxn ang="0">
                    <a:pos x="7" y="18"/>
                  </a:cxn>
                  <a:cxn ang="0">
                    <a:pos x="2" y="21"/>
                  </a:cxn>
                  <a:cxn ang="0">
                    <a:pos x="0" y="21"/>
                  </a:cxn>
                  <a:cxn ang="0">
                    <a:pos x="0" y="28"/>
                  </a:cxn>
                  <a:cxn ang="0">
                    <a:pos x="2" y="36"/>
                  </a:cxn>
                </a:cxnLst>
                <a:rect l="0" t="0" r="r" b="b"/>
                <a:pathLst>
                  <a:path w="122" h="46">
                    <a:moveTo>
                      <a:pt x="2" y="36"/>
                    </a:moveTo>
                    <a:lnTo>
                      <a:pt x="17" y="44"/>
                    </a:lnTo>
                    <a:lnTo>
                      <a:pt x="27" y="46"/>
                    </a:lnTo>
                    <a:lnTo>
                      <a:pt x="35" y="44"/>
                    </a:lnTo>
                    <a:lnTo>
                      <a:pt x="47" y="43"/>
                    </a:lnTo>
                    <a:lnTo>
                      <a:pt x="48" y="39"/>
                    </a:lnTo>
                    <a:lnTo>
                      <a:pt x="55" y="36"/>
                    </a:lnTo>
                    <a:lnTo>
                      <a:pt x="63" y="31"/>
                    </a:lnTo>
                    <a:lnTo>
                      <a:pt x="70" y="38"/>
                    </a:lnTo>
                    <a:lnTo>
                      <a:pt x="70" y="33"/>
                    </a:lnTo>
                    <a:lnTo>
                      <a:pt x="75" y="29"/>
                    </a:lnTo>
                    <a:lnTo>
                      <a:pt x="78" y="24"/>
                    </a:lnTo>
                    <a:lnTo>
                      <a:pt x="87" y="23"/>
                    </a:lnTo>
                    <a:lnTo>
                      <a:pt x="92" y="24"/>
                    </a:lnTo>
                    <a:lnTo>
                      <a:pt x="102" y="24"/>
                    </a:lnTo>
                    <a:lnTo>
                      <a:pt x="110" y="26"/>
                    </a:lnTo>
                    <a:lnTo>
                      <a:pt x="117" y="23"/>
                    </a:lnTo>
                    <a:lnTo>
                      <a:pt x="117" y="1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12" y="0"/>
                    </a:lnTo>
                    <a:lnTo>
                      <a:pt x="102" y="0"/>
                    </a:lnTo>
                    <a:lnTo>
                      <a:pt x="98" y="1"/>
                    </a:lnTo>
                    <a:lnTo>
                      <a:pt x="95" y="0"/>
                    </a:lnTo>
                    <a:lnTo>
                      <a:pt x="92" y="0"/>
                    </a:lnTo>
                    <a:lnTo>
                      <a:pt x="88" y="3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52" y="5"/>
                    </a:lnTo>
                    <a:lnTo>
                      <a:pt x="47" y="8"/>
                    </a:lnTo>
                    <a:lnTo>
                      <a:pt x="40" y="8"/>
                    </a:lnTo>
                    <a:lnTo>
                      <a:pt x="33" y="15"/>
                    </a:lnTo>
                    <a:lnTo>
                      <a:pt x="25" y="16"/>
                    </a:lnTo>
                    <a:lnTo>
                      <a:pt x="15" y="20"/>
                    </a:lnTo>
                    <a:lnTo>
                      <a:pt x="14" y="18"/>
                    </a:lnTo>
                    <a:lnTo>
                      <a:pt x="7" y="18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28"/>
                    </a:lnTo>
                    <a:lnTo>
                      <a:pt x="2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0" name="Freeform 45"/>
              <p:cNvSpPr>
                <a:spLocks/>
              </p:cNvSpPr>
              <p:nvPr/>
            </p:nvSpPr>
            <p:spPr bwMode="auto">
              <a:xfrm>
                <a:off x="6685787" y="2727056"/>
                <a:ext cx="74917" cy="4150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6"/>
                  </a:cxn>
                  <a:cxn ang="0">
                    <a:pos x="13" y="11"/>
                  </a:cxn>
                  <a:cxn ang="0">
                    <a:pos x="25" y="8"/>
                  </a:cxn>
                  <a:cxn ang="0">
                    <a:pos x="30" y="11"/>
                  </a:cxn>
                  <a:cxn ang="0">
                    <a:pos x="47" y="10"/>
                  </a:cxn>
                  <a:cxn ang="0">
                    <a:pos x="55" y="10"/>
                  </a:cxn>
                  <a:cxn ang="0">
                    <a:pos x="63" y="11"/>
                  </a:cxn>
                  <a:cxn ang="0">
                    <a:pos x="77" y="11"/>
                  </a:cxn>
                  <a:cxn ang="0">
                    <a:pos x="85" y="6"/>
                  </a:cxn>
                  <a:cxn ang="0">
                    <a:pos x="105" y="0"/>
                  </a:cxn>
                  <a:cxn ang="0">
                    <a:pos x="120" y="3"/>
                  </a:cxn>
                  <a:cxn ang="0">
                    <a:pos x="128" y="3"/>
                  </a:cxn>
                  <a:cxn ang="0">
                    <a:pos x="135" y="8"/>
                  </a:cxn>
                  <a:cxn ang="0">
                    <a:pos x="141" y="10"/>
                  </a:cxn>
                  <a:cxn ang="0">
                    <a:pos x="136" y="20"/>
                  </a:cxn>
                  <a:cxn ang="0">
                    <a:pos x="126" y="25"/>
                  </a:cxn>
                  <a:cxn ang="0">
                    <a:pos x="125" y="40"/>
                  </a:cxn>
                  <a:cxn ang="0">
                    <a:pos x="120" y="46"/>
                  </a:cxn>
                  <a:cxn ang="0">
                    <a:pos x="128" y="53"/>
                  </a:cxn>
                  <a:cxn ang="0">
                    <a:pos x="131" y="58"/>
                  </a:cxn>
                  <a:cxn ang="0">
                    <a:pos x="123" y="60"/>
                  </a:cxn>
                  <a:cxn ang="0">
                    <a:pos x="110" y="55"/>
                  </a:cxn>
                  <a:cxn ang="0">
                    <a:pos x="103" y="58"/>
                  </a:cxn>
                  <a:cxn ang="0">
                    <a:pos x="98" y="63"/>
                  </a:cxn>
                  <a:cxn ang="0">
                    <a:pos x="90" y="66"/>
                  </a:cxn>
                  <a:cxn ang="0">
                    <a:pos x="92" y="75"/>
                  </a:cxn>
                  <a:cxn ang="0">
                    <a:pos x="78" y="76"/>
                  </a:cxn>
                  <a:cxn ang="0">
                    <a:pos x="70" y="76"/>
                  </a:cxn>
                  <a:cxn ang="0">
                    <a:pos x="62" y="79"/>
                  </a:cxn>
                  <a:cxn ang="0">
                    <a:pos x="57" y="75"/>
                  </a:cxn>
                  <a:cxn ang="0">
                    <a:pos x="43" y="75"/>
                  </a:cxn>
                  <a:cxn ang="0">
                    <a:pos x="33" y="79"/>
                  </a:cxn>
                  <a:cxn ang="0">
                    <a:pos x="23" y="78"/>
                  </a:cxn>
                  <a:cxn ang="0">
                    <a:pos x="22" y="75"/>
                  </a:cxn>
                  <a:cxn ang="0">
                    <a:pos x="15" y="58"/>
                  </a:cxn>
                  <a:cxn ang="0">
                    <a:pos x="5" y="51"/>
                  </a:cxn>
                  <a:cxn ang="0">
                    <a:pos x="3" y="43"/>
                  </a:cxn>
                  <a:cxn ang="0">
                    <a:pos x="12" y="33"/>
                  </a:cxn>
                  <a:cxn ang="0">
                    <a:pos x="10" y="23"/>
                  </a:cxn>
                  <a:cxn ang="0">
                    <a:pos x="0" y="6"/>
                  </a:cxn>
                  <a:cxn ang="0">
                    <a:pos x="3" y="0"/>
                  </a:cxn>
                </a:cxnLst>
                <a:rect l="0" t="0" r="r" b="b"/>
                <a:pathLst>
                  <a:path w="141" h="79">
                    <a:moveTo>
                      <a:pt x="3" y="0"/>
                    </a:moveTo>
                    <a:lnTo>
                      <a:pt x="10" y="0"/>
                    </a:lnTo>
                    <a:lnTo>
                      <a:pt x="13" y="3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13" y="11"/>
                    </a:lnTo>
                    <a:lnTo>
                      <a:pt x="18" y="8"/>
                    </a:lnTo>
                    <a:lnTo>
                      <a:pt x="25" y="8"/>
                    </a:lnTo>
                    <a:lnTo>
                      <a:pt x="28" y="11"/>
                    </a:lnTo>
                    <a:lnTo>
                      <a:pt x="30" y="11"/>
                    </a:lnTo>
                    <a:lnTo>
                      <a:pt x="38" y="13"/>
                    </a:lnTo>
                    <a:lnTo>
                      <a:pt x="47" y="10"/>
                    </a:lnTo>
                    <a:lnTo>
                      <a:pt x="50" y="11"/>
                    </a:lnTo>
                    <a:lnTo>
                      <a:pt x="55" y="10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73" y="13"/>
                    </a:lnTo>
                    <a:lnTo>
                      <a:pt x="77" y="11"/>
                    </a:lnTo>
                    <a:lnTo>
                      <a:pt x="82" y="10"/>
                    </a:lnTo>
                    <a:lnTo>
                      <a:pt x="85" y="6"/>
                    </a:lnTo>
                    <a:lnTo>
                      <a:pt x="98" y="0"/>
                    </a:lnTo>
                    <a:lnTo>
                      <a:pt x="105" y="0"/>
                    </a:lnTo>
                    <a:lnTo>
                      <a:pt x="111" y="0"/>
                    </a:lnTo>
                    <a:lnTo>
                      <a:pt x="120" y="3"/>
                    </a:lnTo>
                    <a:lnTo>
                      <a:pt x="123" y="5"/>
                    </a:lnTo>
                    <a:lnTo>
                      <a:pt x="128" y="3"/>
                    </a:lnTo>
                    <a:lnTo>
                      <a:pt x="133" y="6"/>
                    </a:lnTo>
                    <a:lnTo>
                      <a:pt x="135" y="8"/>
                    </a:lnTo>
                    <a:lnTo>
                      <a:pt x="140" y="8"/>
                    </a:lnTo>
                    <a:lnTo>
                      <a:pt x="141" y="10"/>
                    </a:lnTo>
                    <a:lnTo>
                      <a:pt x="140" y="18"/>
                    </a:lnTo>
                    <a:lnTo>
                      <a:pt x="136" y="20"/>
                    </a:lnTo>
                    <a:lnTo>
                      <a:pt x="131" y="20"/>
                    </a:lnTo>
                    <a:lnTo>
                      <a:pt x="126" y="25"/>
                    </a:lnTo>
                    <a:lnTo>
                      <a:pt x="126" y="35"/>
                    </a:lnTo>
                    <a:lnTo>
                      <a:pt x="125" y="40"/>
                    </a:lnTo>
                    <a:lnTo>
                      <a:pt x="118" y="45"/>
                    </a:lnTo>
                    <a:lnTo>
                      <a:pt x="120" y="46"/>
                    </a:lnTo>
                    <a:lnTo>
                      <a:pt x="123" y="46"/>
                    </a:lnTo>
                    <a:lnTo>
                      <a:pt x="128" y="53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26" y="58"/>
                    </a:lnTo>
                    <a:lnTo>
                      <a:pt x="123" y="60"/>
                    </a:lnTo>
                    <a:lnTo>
                      <a:pt x="116" y="55"/>
                    </a:lnTo>
                    <a:lnTo>
                      <a:pt x="110" y="55"/>
                    </a:lnTo>
                    <a:lnTo>
                      <a:pt x="106" y="58"/>
                    </a:lnTo>
                    <a:lnTo>
                      <a:pt x="103" y="58"/>
                    </a:lnTo>
                    <a:lnTo>
                      <a:pt x="98" y="63"/>
                    </a:lnTo>
                    <a:lnTo>
                      <a:pt x="98" y="63"/>
                    </a:lnTo>
                    <a:lnTo>
                      <a:pt x="96" y="63"/>
                    </a:lnTo>
                    <a:lnTo>
                      <a:pt x="90" y="66"/>
                    </a:lnTo>
                    <a:lnTo>
                      <a:pt x="90" y="71"/>
                    </a:lnTo>
                    <a:lnTo>
                      <a:pt x="92" y="75"/>
                    </a:lnTo>
                    <a:lnTo>
                      <a:pt x="88" y="78"/>
                    </a:lnTo>
                    <a:lnTo>
                      <a:pt x="78" y="76"/>
                    </a:lnTo>
                    <a:lnTo>
                      <a:pt x="73" y="79"/>
                    </a:lnTo>
                    <a:lnTo>
                      <a:pt x="70" y="76"/>
                    </a:lnTo>
                    <a:lnTo>
                      <a:pt x="65" y="76"/>
                    </a:lnTo>
                    <a:lnTo>
                      <a:pt x="62" y="79"/>
                    </a:lnTo>
                    <a:lnTo>
                      <a:pt x="57" y="79"/>
                    </a:lnTo>
                    <a:lnTo>
                      <a:pt x="57" y="75"/>
                    </a:lnTo>
                    <a:lnTo>
                      <a:pt x="50" y="75"/>
                    </a:lnTo>
                    <a:lnTo>
                      <a:pt x="43" y="75"/>
                    </a:lnTo>
                    <a:lnTo>
                      <a:pt x="40" y="78"/>
                    </a:lnTo>
                    <a:lnTo>
                      <a:pt x="33" y="79"/>
                    </a:lnTo>
                    <a:lnTo>
                      <a:pt x="25" y="79"/>
                    </a:lnTo>
                    <a:lnTo>
                      <a:pt x="23" y="78"/>
                    </a:lnTo>
                    <a:lnTo>
                      <a:pt x="23" y="78"/>
                    </a:lnTo>
                    <a:lnTo>
                      <a:pt x="22" y="75"/>
                    </a:lnTo>
                    <a:lnTo>
                      <a:pt x="22" y="68"/>
                    </a:lnTo>
                    <a:lnTo>
                      <a:pt x="15" y="58"/>
                    </a:lnTo>
                    <a:lnTo>
                      <a:pt x="5" y="51"/>
                    </a:lnTo>
                    <a:lnTo>
                      <a:pt x="5" y="51"/>
                    </a:lnTo>
                    <a:lnTo>
                      <a:pt x="7" y="48"/>
                    </a:lnTo>
                    <a:lnTo>
                      <a:pt x="3" y="43"/>
                    </a:lnTo>
                    <a:lnTo>
                      <a:pt x="3" y="40"/>
                    </a:lnTo>
                    <a:lnTo>
                      <a:pt x="12" y="33"/>
                    </a:lnTo>
                    <a:lnTo>
                      <a:pt x="13" y="28"/>
                    </a:lnTo>
                    <a:lnTo>
                      <a:pt x="10" y="23"/>
                    </a:lnTo>
                    <a:lnTo>
                      <a:pt x="3" y="16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1" name="Freeform 46"/>
              <p:cNvSpPr>
                <a:spLocks/>
              </p:cNvSpPr>
              <p:nvPr/>
            </p:nvSpPr>
            <p:spPr bwMode="auto">
              <a:xfrm>
                <a:off x="6664382" y="2754033"/>
                <a:ext cx="33177" cy="23865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53" y="7"/>
                  </a:cxn>
                  <a:cxn ang="0">
                    <a:pos x="60" y="17"/>
                  </a:cxn>
                  <a:cxn ang="0">
                    <a:pos x="60" y="24"/>
                  </a:cxn>
                  <a:cxn ang="0">
                    <a:pos x="61" y="27"/>
                  </a:cxn>
                  <a:cxn ang="0">
                    <a:pos x="58" y="30"/>
                  </a:cxn>
                  <a:cxn ang="0">
                    <a:pos x="53" y="30"/>
                  </a:cxn>
                  <a:cxn ang="0">
                    <a:pos x="48" y="33"/>
                  </a:cxn>
                  <a:cxn ang="0">
                    <a:pos x="36" y="32"/>
                  </a:cxn>
                  <a:cxn ang="0">
                    <a:pos x="32" y="35"/>
                  </a:cxn>
                  <a:cxn ang="0">
                    <a:pos x="30" y="37"/>
                  </a:cxn>
                  <a:cxn ang="0">
                    <a:pos x="23" y="38"/>
                  </a:cxn>
                  <a:cxn ang="0">
                    <a:pos x="13" y="45"/>
                  </a:cxn>
                  <a:cxn ang="0">
                    <a:pos x="13" y="45"/>
                  </a:cxn>
                  <a:cxn ang="0">
                    <a:pos x="8" y="42"/>
                  </a:cxn>
                  <a:cxn ang="0">
                    <a:pos x="7" y="37"/>
                  </a:cxn>
                  <a:cxn ang="0">
                    <a:pos x="2" y="30"/>
                  </a:cxn>
                  <a:cxn ang="0">
                    <a:pos x="0" y="22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4"/>
                  </a:cxn>
                  <a:cxn ang="0">
                    <a:pos x="3" y="10"/>
                  </a:cxn>
                  <a:cxn ang="0">
                    <a:pos x="10" y="7"/>
                  </a:cxn>
                  <a:cxn ang="0">
                    <a:pos x="15" y="5"/>
                  </a:cxn>
                  <a:cxn ang="0">
                    <a:pos x="18" y="4"/>
                  </a:cxn>
                  <a:cxn ang="0">
                    <a:pos x="28" y="2"/>
                  </a:cxn>
                  <a:cxn ang="0">
                    <a:pos x="33" y="2"/>
                  </a:cxn>
                  <a:cxn ang="0">
                    <a:pos x="40" y="0"/>
                  </a:cxn>
                  <a:cxn ang="0">
                    <a:pos x="43" y="0"/>
                  </a:cxn>
                </a:cxnLst>
                <a:rect l="0" t="0" r="r" b="b"/>
                <a:pathLst>
                  <a:path w="61" h="45">
                    <a:moveTo>
                      <a:pt x="43" y="0"/>
                    </a:moveTo>
                    <a:lnTo>
                      <a:pt x="53" y="7"/>
                    </a:lnTo>
                    <a:lnTo>
                      <a:pt x="60" y="17"/>
                    </a:lnTo>
                    <a:lnTo>
                      <a:pt x="60" y="24"/>
                    </a:lnTo>
                    <a:lnTo>
                      <a:pt x="61" y="27"/>
                    </a:lnTo>
                    <a:lnTo>
                      <a:pt x="58" y="30"/>
                    </a:lnTo>
                    <a:lnTo>
                      <a:pt x="53" y="30"/>
                    </a:lnTo>
                    <a:lnTo>
                      <a:pt x="48" y="33"/>
                    </a:lnTo>
                    <a:lnTo>
                      <a:pt x="36" y="32"/>
                    </a:lnTo>
                    <a:lnTo>
                      <a:pt x="32" y="35"/>
                    </a:lnTo>
                    <a:lnTo>
                      <a:pt x="30" y="37"/>
                    </a:lnTo>
                    <a:lnTo>
                      <a:pt x="23" y="38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8" y="42"/>
                    </a:lnTo>
                    <a:lnTo>
                      <a:pt x="7" y="37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3" y="10"/>
                    </a:lnTo>
                    <a:lnTo>
                      <a:pt x="10" y="7"/>
                    </a:lnTo>
                    <a:lnTo>
                      <a:pt x="15" y="5"/>
                    </a:lnTo>
                    <a:lnTo>
                      <a:pt x="18" y="4"/>
                    </a:lnTo>
                    <a:lnTo>
                      <a:pt x="28" y="2"/>
                    </a:lnTo>
                    <a:lnTo>
                      <a:pt x="33" y="2"/>
                    </a:lnTo>
                    <a:lnTo>
                      <a:pt x="40" y="0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2" name="Freeform 47"/>
              <p:cNvSpPr>
                <a:spLocks/>
              </p:cNvSpPr>
              <p:nvPr/>
            </p:nvSpPr>
            <p:spPr bwMode="auto">
              <a:xfrm>
                <a:off x="6649398" y="2750920"/>
                <a:ext cx="22475" cy="41504"/>
              </a:xfrm>
              <a:custGeom>
                <a:avLst/>
                <a:gdLst/>
                <a:ahLst/>
                <a:cxnLst>
                  <a:cxn ang="0">
                    <a:pos x="32" y="21"/>
                  </a:cxn>
                  <a:cxn ang="0">
                    <a:pos x="30" y="28"/>
                  </a:cxn>
                  <a:cxn ang="0">
                    <a:pos x="32" y="36"/>
                  </a:cxn>
                  <a:cxn ang="0">
                    <a:pos x="37" y="43"/>
                  </a:cxn>
                  <a:cxn ang="0">
                    <a:pos x="38" y="48"/>
                  </a:cxn>
                  <a:cxn ang="0">
                    <a:pos x="43" y="51"/>
                  </a:cxn>
                  <a:cxn ang="0">
                    <a:pos x="43" y="56"/>
                  </a:cxn>
                  <a:cxn ang="0">
                    <a:pos x="40" y="63"/>
                  </a:cxn>
                  <a:cxn ang="0">
                    <a:pos x="30" y="66"/>
                  </a:cxn>
                  <a:cxn ang="0">
                    <a:pos x="30" y="71"/>
                  </a:cxn>
                  <a:cxn ang="0">
                    <a:pos x="27" y="78"/>
                  </a:cxn>
                  <a:cxn ang="0">
                    <a:pos x="23" y="79"/>
                  </a:cxn>
                  <a:cxn ang="0">
                    <a:pos x="18" y="76"/>
                  </a:cxn>
                  <a:cxn ang="0">
                    <a:pos x="13" y="66"/>
                  </a:cxn>
                  <a:cxn ang="0">
                    <a:pos x="5" y="66"/>
                  </a:cxn>
                  <a:cxn ang="0">
                    <a:pos x="3" y="63"/>
                  </a:cxn>
                  <a:cxn ang="0">
                    <a:pos x="5" y="58"/>
                  </a:cxn>
                  <a:cxn ang="0">
                    <a:pos x="2" y="54"/>
                  </a:cxn>
                  <a:cxn ang="0">
                    <a:pos x="2" y="48"/>
                  </a:cxn>
                  <a:cxn ang="0">
                    <a:pos x="3" y="44"/>
                  </a:cxn>
                  <a:cxn ang="0">
                    <a:pos x="2" y="38"/>
                  </a:cxn>
                  <a:cxn ang="0">
                    <a:pos x="3" y="28"/>
                  </a:cxn>
                  <a:cxn ang="0">
                    <a:pos x="5" y="26"/>
                  </a:cxn>
                  <a:cxn ang="0">
                    <a:pos x="7" y="23"/>
                  </a:cxn>
                  <a:cxn ang="0">
                    <a:pos x="0" y="20"/>
                  </a:cxn>
                  <a:cxn ang="0">
                    <a:pos x="0" y="11"/>
                  </a:cxn>
                  <a:cxn ang="0">
                    <a:pos x="3" y="6"/>
                  </a:cxn>
                  <a:cxn ang="0">
                    <a:pos x="8" y="0"/>
                  </a:cxn>
                  <a:cxn ang="0">
                    <a:pos x="10" y="0"/>
                  </a:cxn>
                  <a:cxn ang="0">
                    <a:pos x="13" y="5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18" y="1"/>
                  </a:cxn>
                  <a:cxn ang="0">
                    <a:pos x="22" y="5"/>
                  </a:cxn>
                  <a:cxn ang="0">
                    <a:pos x="25" y="6"/>
                  </a:cxn>
                  <a:cxn ang="0">
                    <a:pos x="30" y="10"/>
                  </a:cxn>
                  <a:cxn ang="0">
                    <a:pos x="30" y="11"/>
                  </a:cxn>
                  <a:cxn ang="0">
                    <a:pos x="30" y="20"/>
                  </a:cxn>
                  <a:cxn ang="0">
                    <a:pos x="32" y="21"/>
                  </a:cxn>
                </a:cxnLst>
                <a:rect l="0" t="0" r="r" b="b"/>
                <a:pathLst>
                  <a:path w="43" h="79">
                    <a:moveTo>
                      <a:pt x="32" y="21"/>
                    </a:moveTo>
                    <a:lnTo>
                      <a:pt x="30" y="28"/>
                    </a:lnTo>
                    <a:lnTo>
                      <a:pt x="32" y="36"/>
                    </a:lnTo>
                    <a:lnTo>
                      <a:pt x="37" y="43"/>
                    </a:lnTo>
                    <a:lnTo>
                      <a:pt x="38" y="48"/>
                    </a:lnTo>
                    <a:lnTo>
                      <a:pt x="43" y="51"/>
                    </a:lnTo>
                    <a:lnTo>
                      <a:pt x="43" y="56"/>
                    </a:lnTo>
                    <a:lnTo>
                      <a:pt x="40" y="63"/>
                    </a:lnTo>
                    <a:lnTo>
                      <a:pt x="30" y="66"/>
                    </a:lnTo>
                    <a:lnTo>
                      <a:pt x="30" y="71"/>
                    </a:lnTo>
                    <a:lnTo>
                      <a:pt x="27" y="78"/>
                    </a:lnTo>
                    <a:lnTo>
                      <a:pt x="23" y="79"/>
                    </a:lnTo>
                    <a:lnTo>
                      <a:pt x="18" y="76"/>
                    </a:lnTo>
                    <a:lnTo>
                      <a:pt x="13" y="66"/>
                    </a:lnTo>
                    <a:lnTo>
                      <a:pt x="5" y="66"/>
                    </a:lnTo>
                    <a:lnTo>
                      <a:pt x="3" y="63"/>
                    </a:lnTo>
                    <a:lnTo>
                      <a:pt x="5" y="58"/>
                    </a:lnTo>
                    <a:lnTo>
                      <a:pt x="2" y="54"/>
                    </a:lnTo>
                    <a:lnTo>
                      <a:pt x="2" y="48"/>
                    </a:lnTo>
                    <a:lnTo>
                      <a:pt x="3" y="44"/>
                    </a:lnTo>
                    <a:lnTo>
                      <a:pt x="2" y="38"/>
                    </a:lnTo>
                    <a:lnTo>
                      <a:pt x="3" y="28"/>
                    </a:lnTo>
                    <a:lnTo>
                      <a:pt x="5" y="26"/>
                    </a:lnTo>
                    <a:lnTo>
                      <a:pt x="7" y="23"/>
                    </a:lnTo>
                    <a:lnTo>
                      <a:pt x="0" y="20"/>
                    </a:lnTo>
                    <a:lnTo>
                      <a:pt x="0" y="11"/>
                    </a:lnTo>
                    <a:lnTo>
                      <a:pt x="3" y="6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3" y="5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2" y="5"/>
                    </a:lnTo>
                    <a:lnTo>
                      <a:pt x="25" y="6"/>
                    </a:lnTo>
                    <a:lnTo>
                      <a:pt x="30" y="10"/>
                    </a:lnTo>
                    <a:lnTo>
                      <a:pt x="30" y="11"/>
                    </a:lnTo>
                    <a:lnTo>
                      <a:pt x="30" y="20"/>
                    </a:lnTo>
                    <a:lnTo>
                      <a:pt x="32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3" name="Freeform 48"/>
              <p:cNvSpPr>
                <a:spLocks/>
              </p:cNvSpPr>
              <p:nvPr/>
            </p:nvSpPr>
            <p:spPr bwMode="auto">
              <a:xfrm>
                <a:off x="6639767" y="2701116"/>
                <a:ext cx="52442" cy="61218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12" y="7"/>
                  </a:cxn>
                  <a:cxn ang="0">
                    <a:pos x="20" y="0"/>
                  </a:cxn>
                  <a:cxn ang="0">
                    <a:pos x="29" y="2"/>
                  </a:cxn>
                  <a:cxn ang="0">
                    <a:pos x="39" y="9"/>
                  </a:cxn>
                  <a:cxn ang="0">
                    <a:pos x="47" y="20"/>
                  </a:cxn>
                  <a:cxn ang="0">
                    <a:pos x="60" y="27"/>
                  </a:cxn>
                  <a:cxn ang="0">
                    <a:pos x="59" y="35"/>
                  </a:cxn>
                  <a:cxn ang="0">
                    <a:pos x="69" y="42"/>
                  </a:cxn>
                  <a:cxn ang="0">
                    <a:pos x="77" y="42"/>
                  </a:cxn>
                  <a:cxn ang="0">
                    <a:pos x="90" y="38"/>
                  </a:cxn>
                  <a:cxn ang="0">
                    <a:pos x="87" y="47"/>
                  </a:cxn>
                  <a:cxn ang="0">
                    <a:pos x="85" y="58"/>
                  </a:cxn>
                  <a:cxn ang="0">
                    <a:pos x="95" y="75"/>
                  </a:cxn>
                  <a:cxn ang="0">
                    <a:pos x="97" y="85"/>
                  </a:cxn>
                  <a:cxn ang="0">
                    <a:pos x="88" y="95"/>
                  </a:cxn>
                  <a:cxn ang="0">
                    <a:pos x="90" y="103"/>
                  </a:cxn>
                  <a:cxn ang="0">
                    <a:pos x="80" y="105"/>
                  </a:cxn>
                  <a:cxn ang="0">
                    <a:pos x="65" y="107"/>
                  </a:cxn>
                  <a:cxn ang="0">
                    <a:pos x="57" y="110"/>
                  </a:cxn>
                  <a:cxn ang="0">
                    <a:pos x="52" y="117"/>
                  </a:cxn>
                  <a:cxn ang="0">
                    <a:pos x="47" y="117"/>
                  </a:cxn>
                  <a:cxn ang="0">
                    <a:pos x="47" y="107"/>
                  </a:cxn>
                  <a:cxn ang="0">
                    <a:pos x="39" y="102"/>
                  </a:cxn>
                  <a:cxn ang="0">
                    <a:pos x="34" y="97"/>
                  </a:cxn>
                  <a:cxn ang="0">
                    <a:pos x="39" y="92"/>
                  </a:cxn>
                  <a:cxn ang="0">
                    <a:pos x="32" y="85"/>
                  </a:cxn>
                  <a:cxn ang="0">
                    <a:pos x="22" y="82"/>
                  </a:cxn>
                  <a:cxn ang="0">
                    <a:pos x="20" y="77"/>
                  </a:cxn>
                  <a:cxn ang="0">
                    <a:pos x="17" y="70"/>
                  </a:cxn>
                  <a:cxn ang="0">
                    <a:pos x="12" y="60"/>
                  </a:cxn>
                  <a:cxn ang="0">
                    <a:pos x="19" y="60"/>
                  </a:cxn>
                  <a:cxn ang="0">
                    <a:pos x="17" y="55"/>
                  </a:cxn>
                  <a:cxn ang="0">
                    <a:pos x="5" y="50"/>
                  </a:cxn>
                  <a:cxn ang="0">
                    <a:pos x="10" y="40"/>
                  </a:cxn>
                  <a:cxn ang="0">
                    <a:pos x="9" y="35"/>
                  </a:cxn>
                  <a:cxn ang="0">
                    <a:pos x="5" y="35"/>
                  </a:cxn>
                  <a:cxn ang="0">
                    <a:pos x="9" y="30"/>
                  </a:cxn>
                  <a:cxn ang="0">
                    <a:pos x="12" y="29"/>
                  </a:cxn>
                  <a:cxn ang="0">
                    <a:pos x="5" y="25"/>
                  </a:cxn>
                  <a:cxn ang="0">
                    <a:pos x="0" y="14"/>
                  </a:cxn>
                </a:cxnLst>
                <a:rect l="0" t="0" r="r" b="b"/>
                <a:pathLst>
                  <a:path w="98" h="118">
                    <a:moveTo>
                      <a:pt x="0" y="12"/>
                    </a:moveTo>
                    <a:lnTo>
                      <a:pt x="4" y="9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9" y="2"/>
                    </a:lnTo>
                    <a:lnTo>
                      <a:pt x="37" y="5"/>
                    </a:lnTo>
                    <a:lnTo>
                      <a:pt x="39" y="9"/>
                    </a:lnTo>
                    <a:lnTo>
                      <a:pt x="45" y="17"/>
                    </a:lnTo>
                    <a:lnTo>
                      <a:pt x="47" y="20"/>
                    </a:lnTo>
                    <a:lnTo>
                      <a:pt x="54" y="24"/>
                    </a:lnTo>
                    <a:lnTo>
                      <a:pt x="60" y="27"/>
                    </a:lnTo>
                    <a:lnTo>
                      <a:pt x="57" y="33"/>
                    </a:lnTo>
                    <a:lnTo>
                      <a:pt x="59" y="35"/>
                    </a:lnTo>
                    <a:lnTo>
                      <a:pt x="67" y="38"/>
                    </a:lnTo>
                    <a:lnTo>
                      <a:pt x="69" y="42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82" y="38"/>
                    </a:lnTo>
                    <a:lnTo>
                      <a:pt x="90" y="38"/>
                    </a:lnTo>
                    <a:lnTo>
                      <a:pt x="85" y="43"/>
                    </a:lnTo>
                    <a:lnTo>
                      <a:pt x="87" y="47"/>
                    </a:lnTo>
                    <a:lnTo>
                      <a:pt x="88" y="55"/>
                    </a:lnTo>
                    <a:lnTo>
                      <a:pt x="85" y="58"/>
                    </a:lnTo>
                    <a:lnTo>
                      <a:pt x="88" y="68"/>
                    </a:lnTo>
                    <a:lnTo>
                      <a:pt x="95" y="75"/>
                    </a:lnTo>
                    <a:lnTo>
                      <a:pt x="98" y="80"/>
                    </a:lnTo>
                    <a:lnTo>
                      <a:pt x="97" y="85"/>
                    </a:lnTo>
                    <a:lnTo>
                      <a:pt x="88" y="92"/>
                    </a:lnTo>
                    <a:lnTo>
                      <a:pt x="88" y="95"/>
                    </a:lnTo>
                    <a:lnTo>
                      <a:pt x="92" y="100"/>
                    </a:lnTo>
                    <a:lnTo>
                      <a:pt x="90" y="103"/>
                    </a:lnTo>
                    <a:lnTo>
                      <a:pt x="87" y="103"/>
                    </a:lnTo>
                    <a:lnTo>
                      <a:pt x="80" y="105"/>
                    </a:lnTo>
                    <a:lnTo>
                      <a:pt x="75" y="105"/>
                    </a:lnTo>
                    <a:lnTo>
                      <a:pt x="65" y="107"/>
                    </a:lnTo>
                    <a:lnTo>
                      <a:pt x="62" y="108"/>
                    </a:lnTo>
                    <a:lnTo>
                      <a:pt x="57" y="110"/>
                    </a:lnTo>
                    <a:lnTo>
                      <a:pt x="50" y="113"/>
                    </a:lnTo>
                    <a:lnTo>
                      <a:pt x="52" y="117"/>
                    </a:lnTo>
                    <a:lnTo>
                      <a:pt x="49" y="118"/>
                    </a:lnTo>
                    <a:lnTo>
                      <a:pt x="47" y="117"/>
                    </a:lnTo>
                    <a:lnTo>
                      <a:pt x="47" y="108"/>
                    </a:lnTo>
                    <a:lnTo>
                      <a:pt x="47" y="107"/>
                    </a:lnTo>
                    <a:lnTo>
                      <a:pt x="42" y="103"/>
                    </a:lnTo>
                    <a:lnTo>
                      <a:pt x="39" y="102"/>
                    </a:lnTo>
                    <a:lnTo>
                      <a:pt x="35" y="98"/>
                    </a:lnTo>
                    <a:lnTo>
                      <a:pt x="34" y="97"/>
                    </a:lnTo>
                    <a:lnTo>
                      <a:pt x="35" y="95"/>
                    </a:lnTo>
                    <a:lnTo>
                      <a:pt x="39" y="92"/>
                    </a:lnTo>
                    <a:lnTo>
                      <a:pt x="39" y="87"/>
                    </a:lnTo>
                    <a:lnTo>
                      <a:pt x="32" y="85"/>
                    </a:lnTo>
                    <a:lnTo>
                      <a:pt x="29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20" y="77"/>
                    </a:lnTo>
                    <a:lnTo>
                      <a:pt x="15" y="72"/>
                    </a:lnTo>
                    <a:lnTo>
                      <a:pt x="17" y="70"/>
                    </a:lnTo>
                    <a:lnTo>
                      <a:pt x="12" y="65"/>
                    </a:lnTo>
                    <a:lnTo>
                      <a:pt x="12" y="60"/>
                    </a:lnTo>
                    <a:lnTo>
                      <a:pt x="14" y="58"/>
                    </a:lnTo>
                    <a:lnTo>
                      <a:pt x="19" y="60"/>
                    </a:lnTo>
                    <a:lnTo>
                      <a:pt x="20" y="58"/>
                    </a:lnTo>
                    <a:lnTo>
                      <a:pt x="17" y="55"/>
                    </a:lnTo>
                    <a:lnTo>
                      <a:pt x="14" y="55"/>
                    </a:lnTo>
                    <a:lnTo>
                      <a:pt x="5" y="50"/>
                    </a:lnTo>
                    <a:lnTo>
                      <a:pt x="5" y="47"/>
                    </a:lnTo>
                    <a:lnTo>
                      <a:pt x="10" y="40"/>
                    </a:lnTo>
                    <a:lnTo>
                      <a:pt x="12" y="35"/>
                    </a:lnTo>
                    <a:lnTo>
                      <a:pt x="9" y="35"/>
                    </a:lnTo>
                    <a:lnTo>
                      <a:pt x="7" y="37"/>
                    </a:lnTo>
                    <a:lnTo>
                      <a:pt x="5" y="35"/>
                    </a:lnTo>
                    <a:lnTo>
                      <a:pt x="5" y="32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29"/>
                    </a:lnTo>
                    <a:lnTo>
                      <a:pt x="7" y="27"/>
                    </a:lnTo>
                    <a:lnTo>
                      <a:pt x="5" y="25"/>
                    </a:lnTo>
                    <a:lnTo>
                      <a:pt x="4" y="19"/>
                    </a:lnTo>
                    <a:lnTo>
                      <a:pt x="0" y="1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4" name="Freeform 49"/>
              <p:cNvSpPr>
                <a:spLocks/>
              </p:cNvSpPr>
              <p:nvPr/>
            </p:nvSpPr>
            <p:spPr bwMode="auto">
              <a:xfrm>
                <a:off x="6637626" y="2736394"/>
                <a:ext cx="22475" cy="24902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22" y="40"/>
                  </a:cxn>
                  <a:cxn ang="0">
                    <a:pos x="25" y="35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5" y="34"/>
                  </a:cxn>
                  <a:cxn ang="0">
                    <a:pos x="39" y="29"/>
                  </a:cxn>
                  <a:cxn ang="0">
                    <a:pos x="40" y="27"/>
                  </a:cxn>
                  <a:cxn ang="0">
                    <a:pos x="44" y="24"/>
                  </a:cxn>
                  <a:cxn ang="0">
                    <a:pos x="44" y="19"/>
                  </a:cxn>
                  <a:cxn ang="0">
                    <a:pos x="37" y="17"/>
                  </a:cxn>
                  <a:cxn ang="0">
                    <a:pos x="34" y="14"/>
                  </a:cxn>
                  <a:cxn ang="0">
                    <a:pos x="27" y="14"/>
                  </a:cxn>
                  <a:cxn ang="0">
                    <a:pos x="25" y="12"/>
                  </a:cxn>
                  <a:cxn ang="0">
                    <a:pos x="25" y="9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5" y="4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9" y="5"/>
                  </a:cxn>
                  <a:cxn ang="0">
                    <a:pos x="12" y="7"/>
                  </a:cxn>
                  <a:cxn ang="0">
                    <a:pos x="14" y="10"/>
                  </a:cxn>
                  <a:cxn ang="0">
                    <a:pos x="10" y="12"/>
                  </a:cxn>
                  <a:cxn ang="0">
                    <a:pos x="7" y="14"/>
                  </a:cxn>
                  <a:cxn ang="0">
                    <a:pos x="5" y="17"/>
                  </a:cxn>
                  <a:cxn ang="0">
                    <a:pos x="5" y="24"/>
                  </a:cxn>
                  <a:cxn ang="0">
                    <a:pos x="2" y="29"/>
                  </a:cxn>
                  <a:cxn ang="0">
                    <a:pos x="0" y="29"/>
                  </a:cxn>
                  <a:cxn ang="0">
                    <a:pos x="2" y="30"/>
                  </a:cxn>
                  <a:cxn ang="0">
                    <a:pos x="5" y="34"/>
                  </a:cxn>
                  <a:cxn ang="0">
                    <a:pos x="15" y="44"/>
                  </a:cxn>
                  <a:cxn ang="0">
                    <a:pos x="15" y="47"/>
                  </a:cxn>
                  <a:cxn ang="0">
                    <a:pos x="22" y="49"/>
                  </a:cxn>
                </a:cxnLst>
                <a:rect l="0" t="0" r="r" b="b"/>
                <a:pathLst>
                  <a:path w="44" h="49">
                    <a:moveTo>
                      <a:pt x="22" y="49"/>
                    </a:moveTo>
                    <a:lnTo>
                      <a:pt x="22" y="40"/>
                    </a:lnTo>
                    <a:lnTo>
                      <a:pt x="25" y="35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5" y="34"/>
                    </a:lnTo>
                    <a:lnTo>
                      <a:pt x="39" y="29"/>
                    </a:lnTo>
                    <a:lnTo>
                      <a:pt x="40" y="27"/>
                    </a:lnTo>
                    <a:lnTo>
                      <a:pt x="44" y="24"/>
                    </a:lnTo>
                    <a:lnTo>
                      <a:pt x="44" y="19"/>
                    </a:lnTo>
                    <a:lnTo>
                      <a:pt x="37" y="17"/>
                    </a:lnTo>
                    <a:lnTo>
                      <a:pt x="34" y="14"/>
                    </a:lnTo>
                    <a:lnTo>
                      <a:pt x="27" y="14"/>
                    </a:lnTo>
                    <a:lnTo>
                      <a:pt x="25" y="12"/>
                    </a:lnTo>
                    <a:lnTo>
                      <a:pt x="25" y="9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5" y="4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4" y="10"/>
                    </a:lnTo>
                    <a:lnTo>
                      <a:pt x="10" y="12"/>
                    </a:lnTo>
                    <a:lnTo>
                      <a:pt x="7" y="14"/>
                    </a:lnTo>
                    <a:lnTo>
                      <a:pt x="5" y="17"/>
                    </a:lnTo>
                    <a:lnTo>
                      <a:pt x="5" y="24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5" y="34"/>
                    </a:lnTo>
                    <a:lnTo>
                      <a:pt x="15" y="44"/>
                    </a:lnTo>
                    <a:lnTo>
                      <a:pt x="15" y="47"/>
                    </a:lnTo>
                    <a:lnTo>
                      <a:pt x="22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5" name="Freeform 50"/>
              <p:cNvSpPr>
                <a:spLocks noEditPoints="1"/>
              </p:cNvSpPr>
              <p:nvPr/>
            </p:nvSpPr>
            <p:spPr bwMode="auto">
              <a:xfrm>
                <a:off x="6575552" y="2699041"/>
                <a:ext cx="70636" cy="47729"/>
              </a:xfrm>
              <a:custGeom>
                <a:avLst/>
                <a:gdLst/>
                <a:ahLst/>
                <a:cxnLst>
                  <a:cxn ang="0">
                    <a:pos x="130" y="33"/>
                  </a:cxn>
                  <a:cxn ang="0">
                    <a:pos x="128" y="30"/>
                  </a:cxn>
                  <a:cxn ang="0">
                    <a:pos x="121" y="17"/>
                  </a:cxn>
                  <a:cxn ang="0">
                    <a:pos x="105" y="17"/>
                  </a:cxn>
                  <a:cxn ang="0">
                    <a:pos x="83" y="10"/>
                  </a:cxn>
                  <a:cxn ang="0">
                    <a:pos x="70" y="2"/>
                  </a:cxn>
                  <a:cxn ang="0">
                    <a:pos x="43" y="13"/>
                  </a:cxn>
                  <a:cxn ang="0">
                    <a:pos x="30" y="25"/>
                  </a:cxn>
                  <a:cxn ang="0">
                    <a:pos x="10" y="27"/>
                  </a:cxn>
                  <a:cxn ang="0">
                    <a:pos x="2" y="36"/>
                  </a:cxn>
                  <a:cxn ang="0">
                    <a:pos x="10" y="45"/>
                  </a:cxn>
                  <a:cxn ang="0">
                    <a:pos x="20" y="27"/>
                  </a:cxn>
                  <a:cxn ang="0">
                    <a:pos x="32" y="35"/>
                  </a:cxn>
                  <a:cxn ang="0">
                    <a:pos x="43" y="53"/>
                  </a:cxn>
                  <a:cxn ang="0">
                    <a:pos x="47" y="56"/>
                  </a:cxn>
                  <a:cxn ang="0">
                    <a:pos x="43" y="65"/>
                  </a:cxn>
                  <a:cxn ang="0">
                    <a:pos x="58" y="71"/>
                  </a:cxn>
                  <a:cxn ang="0">
                    <a:pos x="68" y="76"/>
                  </a:cxn>
                  <a:cxn ang="0">
                    <a:pos x="97" y="91"/>
                  </a:cxn>
                  <a:cxn ang="0">
                    <a:pos x="92" y="91"/>
                  </a:cxn>
                  <a:cxn ang="0">
                    <a:pos x="98" y="90"/>
                  </a:cxn>
                  <a:cxn ang="0">
                    <a:pos x="60" y="55"/>
                  </a:cxn>
                  <a:cxn ang="0">
                    <a:pos x="58" y="45"/>
                  </a:cxn>
                  <a:cxn ang="0">
                    <a:pos x="50" y="36"/>
                  </a:cxn>
                  <a:cxn ang="0">
                    <a:pos x="53" y="28"/>
                  </a:cxn>
                  <a:cxn ang="0">
                    <a:pos x="65" y="33"/>
                  </a:cxn>
                  <a:cxn ang="0">
                    <a:pos x="72" y="30"/>
                  </a:cxn>
                  <a:cxn ang="0">
                    <a:pos x="80" y="28"/>
                  </a:cxn>
                  <a:cxn ang="0">
                    <a:pos x="90" y="32"/>
                  </a:cxn>
                  <a:cxn ang="0">
                    <a:pos x="100" y="33"/>
                  </a:cxn>
                  <a:cxn ang="0">
                    <a:pos x="115" y="33"/>
                  </a:cxn>
                  <a:cxn ang="0">
                    <a:pos x="126" y="38"/>
                  </a:cxn>
                  <a:cxn ang="0">
                    <a:pos x="77" y="90"/>
                  </a:cxn>
                  <a:cxn ang="0">
                    <a:pos x="80" y="91"/>
                  </a:cxn>
                  <a:cxn ang="0">
                    <a:pos x="70" y="85"/>
                  </a:cxn>
                  <a:cxn ang="0">
                    <a:pos x="70" y="85"/>
                  </a:cxn>
                  <a:cxn ang="0">
                    <a:pos x="80" y="80"/>
                  </a:cxn>
                  <a:cxn ang="0">
                    <a:pos x="73" y="83"/>
                  </a:cxn>
                  <a:cxn ang="0">
                    <a:pos x="37" y="51"/>
                  </a:cxn>
                  <a:cxn ang="0">
                    <a:pos x="40" y="58"/>
                  </a:cxn>
                  <a:cxn ang="0">
                    <a:pos x="32" y="46"/>
                  </a:cxn>
                  <a:cxn ang="0">
                    <a:pos x="32" y="46"/>
                  </a:cxn>
                  <a:cxn ang="0">
                    <a:pos x="38" y="63"/>
                  </a:cxn>
                  <a:cxn ang="0">
                    <a:pos x="33" y="60"/>
                  </a:cxn>
                  <a:cxn ang="0">
                    <a:pos x="32" y="56"/>
                  </a:cxn>
                  <a:cxn ang="0">
                    <a:pos x="18" y="40"/>
                  </a:cxn>
                  <a:cxn ang="0">
                    <a:pos x="25" y="50"/>
                  </a:cxn>
                  <a:cxn ang="0">
                    <a:pos x="18" y="40"/>
                  </a:cxn>
                  <a:cxn ang="0">
                    <a:pos x="30" y="41"/>
                  </a:cxn>
                  <a:cxn ang="0">
                    <a:pos x="20" y="40"/>
                  </a:cxn>
                  <a:cxn ang="0">
                    <a:pos x="22" y="32"/>
                  </a:cxn>
                </a:cxnLst>
                <a:rect l="0" t="0" r="r" b="b"/>
                <a:pathLst>
                  <a:path w="133" h="93">
                    <a:moveTo>
                      <a:pt x="126" y="38"/>
                    </a:moveTo>
                    <a:lnTo>
                      <a:pt x="126" y="35"/>
                    </a:lnTo>
                    <a:lnTo>
                      <a:pt x="130" y="33"/>
                    </a:lnTo>
                    <a:lnTo>
                      <a:pt x="133" y="33"/>
                    </a:lnTo>
                    <a:lnTo>
                      <a:pt x="133" y="32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5" y="22"/>
                    </a:lnTo>
                    <a:lnTo>
                      <a:pt x="121" y="17"/>
                    </a:lnTo>
                    <a:lnTo>
                      <a:pt x="118" y="15"/>
                    </a:lnTo>
                    <a:lnTo>
                      <a:pt x="115" y="18"/>
                    </a:lnTo>
                    <a:lnTo>
                      <a:pt x="105" y="17"/>
                    </a:lnTo>
                    <a:lnTo>
                      <a:pt x="93" y="13"/>
                    </a:lnTo>
                    <a:lnTo>
                      <a:pt x="88" y="12"/>
                    </a:lnTo>
                    <a:lnTo>
                      <a:pt x="83" y="10"/>
                    </a:lnTo>
                    <a:lnTo>
                      <a:pt x="73" y="2"/>
                    </a:lnTo>
                    <a:lnTo>
                      <a:pt x="70" y="0"/>
                    </a:lnTo>
                    <a:lnTo>
                      <a:pt x="70" y="2"/>
                    </a:lnTo>
                    <a:lnTo>
                      <a:pt x="60" y="2"/>
                    </a:lnTo>
                    <a:lnTo>
                      <a:pt x="45" y="8"/>
                    </a:lnTo>
                    <a:lnTo>
                      <a:pt x="43" y="13"/>
                    </a:lnTo>
                    <a:lnTo>
                      <a:pt x="37" y="17"/>
                    </a:lnTo>
                    <a:lnTo>
                      <a:pt x="35" y="25"/>
                    </a:lnTo>
                    <a:lnTo>
                      <a:pt x="30" y="25"/>
                    </a:lnTo>
                    <a:lnTo>
                      <a:pt x="20" y="22"/>
                    </a:lnTo>
                    <a:lnTo>
                      <a:pt x="15" y="23"/>
                    </a:lnTo>
                    <a:lnTo>
                      <a:pt x="10" y="27"/>
                    </a:lnTo>
                    <a:lnTo>
                      <a:pt x="0" y="27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1"/>
                    </a:lnTo>
                    <a:lnTo>
                      <a:pt x="7" y="43"/>
                    </a:lnTo>
                    <a:lnTo>
                      <a:pt x="10" y="45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20" y="27"/>
                    </a:lnTo>
                    <a:lnTo>
                      <a:pt x="25" y="27"/>
                    </a:lnTo>
                    <a:lnTo>
                      <a:pt x="27" y="32"/>
                    </a:lnTo>
                    <a:lnTo>
                      <a:pt x="32" y="35"/>
                    </a:lnTo>
                    <a:lnTo>
                      <a:pt x="33" y="41"/>
                    </a:lnTo>
                    <a:lnTo>
                      <a:pt x="37" y="48"/>
                    </a:lnTo>
                    <a:lnTo>
                      <a:pt x="43" y="53"/>
                    </a:lnTo>
                    <a:lnTo>
                      <a:pt x="47" y="53"/>
                    </a:lnTo>
                    <a:lnTo>
                      <a:pt x="50" y="58"/>
                    </a:lnTo>
                    <a:lnTo>
                      <a:pt x="47" y="56"/>
                    </a:lnTo>
                    <a:lnTo>
                      <a:pt x="42" y="58"/>
                    </a:lnTo>
                    <a:lnTo>
                      <a:pt x="40" y="61"/>
                    </a:lnTo>
                    <a:lnTo>
                      <a:pt x="43" y="65"/>
                    </a:lnTo>
                    <a:lnTo>
                      <a:pt x="48" y="65"/>
                    </a:lnTo>
                    <a:lnTo>
                      <a:pt x="53" y="70"/>
                    </a:lnTo>
                    <a:lnTo>
                      <a:pt x="58" y="71"/>
                    </a:lnTo>
                    <a:lnTo>
                      <a:pt x="60" y="75"/>
                    </a:lnTo>
                    <a:lnTo>
                      <a:pt x="63" y="78"/>
                    </a:lnTo>
                    <a:lnTo>
                      <a:pt x="68" y="76"/>
                    </a:lnTo>
                    <a:lnTo>
                      <a:pt x="80" y="78"/>
                    </a:lnTo>
                    <a:lnTo>
                      <a:pt x="85" y="80"/>
                    </a:lnTo>
                    <a:lnTo>
                      <a:pt x="97" y="91"/>
                    </a:lnTo>
                    <a:lnTo>
                      <a:pt x="93" y="91"/>
                    </a:lnTo>
                    <a:lnTo>
                      <a:pt x="88" y="88"/>
                    </a:lnTo>
                    <a:lnTo>
                      <a:pt x="92" y="91"/>
                    </a:lnTo>
                    <a:lnTo>
                      <a:pt x="97" y="93"/>
                    </a:lnTo>
                    <a:lnTo>
                      <a:pt x="97" y="93"/>
                    </a:lnTo>
                    <a:lnTo>
                      <a:pt x="98" y="90"/>
                    </a:lnTo>
                    <a:lnTo>
                      <a:pt x="80" y="71"/>
                    </a:lnTo>
                    <a:lnTo>
                      <a:pt x="62" y="56"/>
                    </a:lnTo>
                    <a:lnTo>
                      <a:pt x="60" y="55"/>
                    </a:lnTo>
                    <a:lnTo>
                      <a:pt x="62" y="53"/>
                    </a:lnTo>
                    <a:lnTo>
                      <a:pt x="58" y="48"/>
                    </a:lnTo>
                    <a:lnTo>
                      <a:pt x="58" y="45"/>
                    </a:lnTo>
                    <a:lnTo>
                      <a:pt x="53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2" y="35"/>
                    </a:lnTo>
                    <a:lnTo>
                      <a:pt x="52" y="30"/>
                    </a:lnTo>
                    <a:lnTo>
                      <a:pt x="53" y="28"/>
                    </a:lnTo>
                    <a:lnTo>
                      <a:pt x="60" y="32"/>
                    </a:lnTo>
                    <a:lnTo>
                      <a:pt x="62" y="35"/>
                    </a:lnTo>
                    <a:lnTo>
                      <a:pt x="65" y="33"/>
                    </a:lnTo>
                    <a:lnTo>
                      <a:pt x="65" y="32"/>
                    </a:lnTo>
                    <a:lnTo>
                      <a:pt x="68" y="30"/>
                    </a:lnTo>
                    <a:lnTo>
                      <a:pt x="72" y="30"/>
                    </a:lnTo>
                    <a:lnTo>
                      <a:pt x="75" y="28"/>
                    </a:lnTo>
                    <a:lnTo>
                      <a:pt x="78" y="30"/>
                    </a:lnTo>
                    <a:lnTo>
                      <a:pt x="80" y="28"/>
                    </a:lnTo>
                    <a:lnTo>
                      <a:pt x="85" y="30"/>
                    </a:lnTo>
                    <a:lnTo>
                      <a:pt x="87" y="33"/>
                    </a:lnTo>
                    <a:lnTo>
                      <a:pt x="90" y="32"/>
                    </a:lnTo>
                    <a:lnTo>
                      <a:pt x="95" y="33"/>
                    </a:lnTo>
                    <a:lnTo>
                      <a:pt x="98" y="32"/>
                    </a:lnTo>
                    <a:lnTo>
                      <a:pt x="100" y="33"/>
                    </a:lnTo>
                    <a:lnTo>
                      <a:pt x="106" y="32"/>
                    </a:lnTo>
                    <a:lnTo>
                      <a:pt x="111" y="33"/>
                    </a:lnTo>
                    <a:lnTo>
                      <a:pt x="115" y="33"/>
                    </a:lnTo>
                    <a:lnTo>
                      <a:pt x="118" y="36"/>
                    </a:lnTo>
                    <a:lnTo>
                      <a:pt x="126" y="36"/>
                    </a:lnTo>
                    <a:lnTo>
                      <a:pt x="126" y="38"/>
                    </a:lnTo>
                    <a:lnTo>
                      <a:pt x="126" y="38"/>
                    </a:lnTo>
                    <a:close/>
                    <a:moveTo>
                      <a:pt x="77" y="90"/>
                    </a:moveTo>
                    <a:lnTo>
                      <a:pt x="77" y="90"/>
                    </a:lnTo>
                    <a:lnTo>
                      <a:pt x="85" y="90"/>
                    </a:lnTo>
                    <a:lnTo>
                      <a:pt x="88" y="91"/>
                    </a:lnTo>
                    <a:lnTo>
                      <a:pt x="80" y="91"/>
                    </a:lnTo>
                    <a:lnTo>
                      <a:pt x="77" y="90"/>
                    </a:lnTo>
                    <a:lnTo>
                      <a:pt x="77" y="90"/>
                    </a:lnTo>
                    <a:close/>
                    <a:moveTo>
                      <a:pt x="70" y="85"/>
                    </a:moveTo>
                    <a:lnTo>
                      <a:pt x="83" y="85"/>
                    </a:lnTo>
                    <a:lnTo>
                      <a:pt x="78" y="86"/>
                    </a:lnTo>
                    <a:lnTo>
                      <a:pt x="70" y="85"/>
                    </a:lnTo>
                    <a:lnTo>
                      <a:pt x="70" y="85"/>
                    </a:lnTo>
                    <a:close/>
                    <a:moveTo>
                      <a:pt x="70" y="80"/>
                    </a:moveTo>
                    <a:lnTo>
                      <a:pt x="80" y="80"/>
                    </a:lnTo>
                    <a:lnTo>
                      <a:pt x="82" y="81"/>
                    </a:lnTo>
                    <a:lnTo>
                      <a:pt x="78" y="83"/>
                    </a:lnTo>
                    <a:lnTo>
                      <a:pt x="73" y="83"/>
                    </a:lnTo>
                    <a:lnTo>
                      <a:pt x="70" y="80"/>
                    </a:lnTo>
                    <a:lnTo>
                      <a:pt x="70" y="80"/>
                    </a:lnTo>
                    <a:close/>
                    <a:moveTo>
                      <a:pt x="37" y="51"/>
                    </a:moveTo>
                    <a:lnTo>
                      <a:pt x="38" y="53"/>
                    </a:lnTo>
                    <a:lnTo>
                      <a:pt x="42" y="56"/>
                    </a:lnTo>
                    <a:lnTo>
                      <a:pt x="40" y="58"/>
                    </a:lnTo>
                    <a:lnTo>
                      <a:pt x="37" y="51"/>
                    </a:lnTo>
                    <a:lnTo>
                      <a:pt x="37" y="51"/>
                    </a:lnTo>
                    <a:close/>
                    <a:moveTo>
                      <a:pt x="32" y="46"/>
                    </a:moveTo>
                    <a:lnTo>
                      <a:pt x="37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2" y="46"/>
                    </a:lnTo>
                    <a:close/>
                    <a:moveTo>
                      <a:pt x="33" y="60"/>
                    </a:moveTo>
                    <a:lnTo>
                      <a:pt x="38" y="63"/>
                    </a:lnTo>
                    <a:lnTo>
                      <a:pt x="40" y="66"/>
                    </a:lnTo>
                    <a:lnTo>
                      <a:pt x="33" y="60"/>
                    </a:lnTo>
                    <a:lnTo>
                      <a:pt x="33" y="60"/>
                    </a:lnTo>
                    <a:close/>
                    <a:moveTo>
                      <a:pt x="27" y="51"/>
                    </a:moveTo>
                    <a:lnTo>
                      <a:pt x="30" y="53"/>
                    </a:lnTo>
                    <a:lnTo>
                      <a:pt x="32" y="56"/>
                    </a:lnTo>
                    <a:lnTo>
                      <a:pt x="27" y="51"/>
                    </a:lnTo>
                    <a:lnTo>
                      <a:pt x="27" y="51"/>
                    </a:lnTo>
                    <a:close/>
                    <a:moveTo>
                      <a:pt x="18" y="40"/>
                    </a:moveTo>
                    <a:lnTo>
                      <a:pt x="25" y="45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0" y="46"/>
                    </a:lnTo>
                    <a:lnTo>
                      <a:pt x="22" y="45"/>
                    </a:lnTo>
                    <a:lnTo>
                      <a:pt x="18" y="40"/>
                    </a:lnTo>
                    <a:lnTo>
                      <a:pt x="18" y="40"/>
                    </a:lnTo>
                    <a:close/>
                    <a:moveTo>
                      <a:pt x="22" y="32"/>
                    </a:moveTo>
                    <a:lnTo>
                      <a:pt x="30" y="41"/>
                    </a:lnTo>
                    <a:lnTo>
                      <a:pt x="27" y="41"/>
                    </a:lnTo>
                    <a:lnTo>
                      <a:pt x="23" y="40"/>
                    </a:lnTo>
                    <a:lnTo>
                      <a:pt x="20" y="40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6" name="Freeform 51"/>
              <p:cNvSpPr>
                <a:spLocks/>
              </p:cNvSpPr>
              <p:nvPr/>
            </p:nvSpPr>
            <p:spPr bwMode="auto">
              <a:xfrm>
                <a:off x="6602307" y="2713567"/>
                <a:ext cx="48161" cy="37353"/>
              </a:xfrm>
              <a:custGeom>
                <a:avLst/>
                <a:gdLst/>
                <a:ahLst/>
                <a:cxnLst>
                  <a:cxn ang="0">
                    <a:pos x="48" y="62"/>
                  </a:cxn>
                  <a:cxn ang="0">
                    <a:pos x="12" y="28"/>
                  </a:cxn>
                  <a:cxn ang="0">
                    <a:pos x="12" y="25"/>
                  </a:cxn>
                  <a:cxn ang="0">
                    <a:pos x="8" y="17"/>
                  </a:cxn>
                  <a:cxn ang="0">
                    <a:pos x="0" y="12"/>
                  </a:cxn>
                  <a:cxn ang="0">
                    <a:pos x="2" y="7"/>
                  </a:cxn>
                  <a:cxn ang="0">
                    <a:pos x="3" y="0"/>
                  </a:cxn>
                  <a:cxn ang="0">
                    <a:pos x="12" y="7"/>
                  </a:cxn>
                  <a:cxn ang="0">
                    <a:pos x="15" y="4"/>
                  </a:cxn>
                  <a:cxn ang="0">
                    <a:pos x="22" y="2"/>
                  </a:cxn>
                  <a:cxn ang="0">
                    <a:pos x="28" y="2"/>
                  </a:cxn>
                  <a:cxn ang="0">
                    <a:pos x="35" y="2"/>
                  </a:cxn>
                  <a:cxn ang="0">
                    <a:pos x="40" y="4"/>
                  </a:cxn>
                  <a:cxn ang="0">
                    <a:pos x="48" y="4"/>
                  </a:cxn>
                  <a:cxn ang="0">
                    <a:pos x="56" y="4"/>
                  </a:cxn>
                  <a:cxn ang="0">
                    <a:pos x="65" y="5"/>
                  </a:cxn>
                  <a:cxn ang="0">
                    <a:pos x="76" y="8"/>
                  </a:cxn>
                  <a:cxn ang="0">
                    <a:pos x="80" y="10"/>
                  </a:cxn>
                  <a:cxn ang="0">
                    <a:pos x="81" y="15"/>
                  </a:cxn>
                  <a:cxn ang="0">
                    <a:pos x="76" y="25"/>
                  </a:cxn>
                  <a:cxn ang="0">
                    <a:pos x="88" y="30"/>
                  </a:cxn>
                  <a:cxn ang="0">
                    <a:pos x="90" y="35"/>
                  </a:cxn>
                  <a:cxn ang="0">
                    <a:pos x="83" y="35"/>
                  </a:cxn>
                  <a:cxn ang="0">
                    <a:pos x="88" y="45"/>
                  </a:cxn>
                  <a:cxn ang="0">
                    <a:pos x="81" y="47"/>
                  </a:cxn>
                  <a:cxn ang="0">
                    <a:pos x="73" y="45"/>
                  </a:cxn>
                  <a:cxn ang="0">
                    <a:pos x="78" y="50"/>
                  </a:cxn>
                  <a:cxn ang="0">
                    <a:pos x="76" y="55"/>
                  </a:cxn>
                  <a:cxn ang="0">
                    <a:pos x="71" y="60"/>
                  </a:cxn>
                  <a:cxn ang="0">
                    <a:pos x="68" y="72"/>
                  </a:cxn>
                  <a:cxn ang="0">
                    <a:pos x="60" y="65"/>
                  </a:cxn>
                  <a:cxn ang="0">
                    <a:pos x="48" y="65"/>
                  </a:cxn>
                  <a:cxn ang="0">
                    <a:pos x="47" y="65"/>
                  </a:cxn>
                </a:cxnLst>
                <a:rect l="0" t="0" r="r" b="b"/>
                <a:pathLst>
                  <a:path w="91" h="72">
                    <a:moveTo>
                      <a:pt x="47" y="65"/>
                    </a:moveTo>
                    <a:lnTo>
                      <a:pt x="48" y="62"/>
                    </a:lnTo>
                    <a:lnTo>
                      <a:pt x="30" y="43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12" y="25"/>
                    </a:lnTo>
                    <a:lnTo>
                      <a:pt x="8" y="20"/>
                    </a:lnTo>
                    <a:lnTo>
                      <a:pt x="8" y="17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10" y="4"/>
                    </a:lnTo>
                    <a:lnTo>
                      <a:pt x="12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5" y="0"/>
                    </a:lnTo>
                    <a:lnTo>
                      <a:pt x="28" y="2"/>
                    </a:lnTo>
                    <a:lnTo>
                      <a:pt x="30" y="0"/>
                    </a:lnTo>
                    <a:lnTo>
                      <a:pt x="35" y="2"/>
                    </a:lnTo>
                    <a:lnTo>
                      <a:pt x="37" y="5"/>
                    </a:lnTo>
                    <a:lnTo>
                      <a:pt x="40" y="4"/>
                    </a:lnTo>
                    <a:lnTo>
                      <a:pt x="45" y="5"/>
                    </a:lnTo>
                    <a:lnTo>
                      <a:pt x="48" y="4"/>
                    </a:lnTo>
                    <a:lnTo>
                      <a:pt x="50" y="5"/>
                    </a:lnTo>
                    <a:lnTo>
                      <a:pt x="56" y="4"/>
                    </a:lnTo>
                    <a:lnTo>
                      <a:pt x="61" y="5"/>
                    </a:lnTo>
                    <a:lnTo>
                      <a:pt x="65" y="5"/>
                    </a:lnTo>
                    <a:lnTo>
                      <a:pt x="68" y="8"/>
                    </a:lnTo>
                    <a:lnTo>
                      <a:pt x="76" y="8"/>
                    </a:lnTo>
                    <a:lnTo>
                      <a:pt x="78" y="12"/>
                    </a:lnTo>
                    <a:lnTo>
                      <a:pt x="80" y="10"/>
                    </a:lnTo>
                    <a:lnTo>
                      <a:pt x="83" y="10"/>
                    </a:lnTo>
                    <a:lnTo>
                      <a:pt x="81" y="15"/>
                    </a:lnTo>
                    <a:lnTo>
                      <a:pt x="76" y="22"/>
                    </a:lnTo>
                    <a:lnTo>
                      <a:pt x="76" y="25"/>
                    </a:lnTo>
                    <a:lnTo>
                      <a:pt x="85" y="30"/>
                    </a:lnTo>
                    <a:lnTo>
                      <a:pt x="88" y="30"/>
                    </a:lnTo>
                    <a:lnTo>
                      <a:pt x="91" y="33"/>
                    </a:lnTo>
                    <a:lnTo>
                      <a:pt x="90" y="35"/>
                    </a:lnTo>
                    <a:lnTo>
                      <a:pt x="85" y="33"/>
                    </a:lnTo>
                    <a:lnTo>
                      <a:pt x="83" y="35"/>
                    </a:lnTo>
                    <a:lnTo>
                      <a:pt x="83" y="40"/>
                    </a:lnTo>
                    <a:lnTo>
                      <a:pt x="88" y="45"/>
                    </a:lnTo>
                    <a:lnTo>
                      <a:pt x="86" y="47"/>
                    </a:lnTo>
                    <a:lnTo>
                      <a:pt x="81" y="47"/>
                    </a:lnTo>
                    <a:lnTo>
                      <a:pt x="76" y="43"/>
                    </a:lnTo>
                    <a:lnTo>
                      <a:pt x="73" y="45"/>
                    </a:lnTo>
                    <a:lnTo>
                      <a:pt x="75" y="48"/>
                    </a:lnTo>
                    <a:lnTo>
                      <a:pt x="78" y="50"/>
                    </a:lnTo>
                    <a:lnTo>
                      <a:pt x="80" y="53"/>
                    </a:lnTo>
                    <a:lnTo>
                      <a:pt x="76" y="55"/>
                    </a:lnTo>
                    <a:lnTo>
                      <a:pt x="73" y="57"/>
                    </a:lnTo>
                    <a:lnTo>
                      <a:pt x="71" y="60"/>
                    </a:lnTo>
                    <a:lnTo>
                      <a:pt x="71" y="67"/>
                    </a:lnTo>
                    <a:lnTo>
                      <a:pt x="68" y="72"/>
                    </a:lnTo>
                    <a:lnTo>
                      <a:pt x="66" y="72"/>
                    </a:lnTo>
                    <a:lnTo>
                      <a:pt x="60" y="65"/>
                    </a:lnTo>
                    <a:lnTo>
                      <a:pt x="58" y="67"/>
                    </a:lnTo>
                    <a:lnTo>
                      <a:pt x="48" y="65"/>
                    </a:lnTo>
                    <a:lnTo>
                      <a:pt x="47" y="65"/>
                    </a:lnTo>
                    <a:lnTo>
                      <a:pt x="47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7" name="Freeform 52"/>
              <p:cNvSpPr>
                <a:spLocks/>
              </p:cNvSpPr>
              <p:nvPr/>
            </p:nvSpPr>
            <p:spPr bwMode="auto">
              <a:xfrm>
                <a:off x="6574481" y="2691778"/>
                <a:ext cx="37458" cy="20752"/>
              </a:xfrm>
              <a:custGeom>
                <a:avLst/>
                <a:gdLst/>
                <a:ahLst/>
                <a:cxnLst>
                  <a:cxn ang="0">
                    <a:pos x="1" y="40"/>
                  </a:cxn>
                  <a:cxn ang="0">
                    <a:pos x="11" y="40"/>
                  </a:cxn>
                  <a:cxn ang="0">
                    <a:pos x="16" y="36"/>
                  </a:cxn>
                  <a:cxn ang="0">
                    <a:pos x="21" y="35"/>
                  </a:cxn>
                  <a:cxn ang="0">
                    <a:pos x="31" y="38"/>
                  </a:cxn>
                  <a:cxn ang="0">
                    <a:pos x="36" y="38"/>
                  </a:cxn>
                  <a:cxn ang="0">
                    <a:pos x="38" y="30"/>
                  </a:cxn>
                  <a:cxn ang="0">
                    <a:pos x="44" y="26"/>
                  </a:cxn>
                  <a:cxn ang="0">
                    <a:pos x="46" y="21"/>
                  </a:cxn>
                  <a:cxn ang="0">
                    <a:pos x="61" y="15"/>
                  </a:cxn>
                  <a:cxn ang="0">
                    <a:pos x="71" y="15"/>
                  </a:cxn>
                  <a:cxn ang="0">
                    <a:pos x="69" y="6"/>
                  </a:cxn>
                  <a:cxn ang="0">
                    <a:pos x="64" y="0"/>
                  </a:cxn>
                  <a:cxn ang="0">
                    <a:pos x="58" y="1"/>
                  </a:cxn>
                  <a:cxn ang="0">
                    <a:pos x="48" y="6"/>
                  </a:cxn>
                  <a:cxn ang="0">
                    <a:pos x="44" y="6"/>
                  </a:cxn>
                  <a:cxn ang="0">
                    <a:pos x="41" y="6"/>
                  </a:cxn>
                  <a:cxn ang="0">
                    <a:pos x="36" y="10"/>
                  </a:cxn>
                  <a:cxn ang="0">
                    <a:pos x="31" y="10"/>
                  </a:cxn>
                  <a:cxn ang="0">
                    <a:pos x="24" y="11"/>
                  </a:cxn>
                  <a:cxn ang="0">
                    <a:pos x="21" y="8"/>
                  </a:cxn>
                  <a:cxn ang="0">
                    <a:pos x="11" y="8"/>
                  </a:cxn>
                  <a:cxn ang="0">
                    <a:pos x="6" y="8"/>
                  </a:cxn>
                  <a:cxn ang="0">
                    <a:pos x="1" y="15"/>
                  </a:cxn>
                  <a:cxn ang="0">
                    <a:pos x="3" y="18"/>
                  </a:cxn>
                  <a:cxn ang="0">
                    <a:pos x="0" y="23"/>
                  </a:cxn>
                  <a:cxn ang="0">
                    <a:pos x="1" y="30"/>
                  </a:cxn>
                  <a:cxn ang="0">
                    <a:pos x="1" y="30"/>
                  </a:cxn>
                  <a:cxn ang="0">
                    <a:pos x="6" y="33"/>
                  </a:cxn>
                  <a:cxn ang="0">
                    <a:pos x="6" y="35"/>
                  </a:cxn>
                  <a:cxn ang="0">
                    <a:pos x="1" y="36"/>
                  </a:cxn>
                  <a:cxn ang="0">
                    <a:pos x="1" y="40"/>
                  </a:cxn>
                </a:cxnLst>
                <a:rect l="0" t="0" r="r" b="b"/>
                <a:pathLst>
                  <a:path w="71" h="40">
                    <a:moveTo>
                      <a:pt x="1" y="40"/>
                    </a:moveTo>
                    <a:lnTo>
                      <a:pt x="11" y="40"/>
                    </a:lnTo>
                    <a:lnTo>
                      <a:pt x="16" y="36"/>
                    </a:lnTo>
                    <a:lnTo>
                      <a:pt x="21" y="35"/>
                    </a:lnTo>
                    <a:lnTo>
                      <a:pt x="31" y="38"/>
                    </a:lnTo>
                    <a:lnTo>
                      <a:pt x="36" y="38"/>
                    </a:lnTo>
                    <a:lnTo>
                      <a:pt x="38" y="30"/>
                    </a:lnTo>
                    <a:lnTo>
                      <a:pt x="44" y="26"/>
                    </a:lnTo>
                    <a:lnTo>
                      <a:pt x="46" y="21"/>
                    </a:lnTo>
                    <a:lnTo>
                      <a:pt x="61" y="15"/>
                    </a:lnTo>
                    <a:lnTo>
                      <a:pt x="71" y="15"/>
                    </a:lnTo>
                    <a:lnTo>
                      <a:pt x="69" y="6"/>
                    </a:lnTo>
                    <a:lnTo>
                      <a:pt x="64" y="0"/>
                    </a:lnTo>
                    <a:lnTo>
                      <a:pt x="58" y="1"/>
                    </a:lnTo>
                    <a:lnTo>
                      <a:pt x="48" y="6"/>
                    </a:lnTo>
                    <a:lnTo>
                      <a:pt x="44" y="6"/>
                    </a:lnTo>
                    <a:lnTo>
                      <a:pt x="41" y="6"/>
                    </a:lnTo>
                    <a:lnTo>
                      <a:pt x="36" y="10"/>
                    </a:lnTo>
                    <a:lnTo>
                      <a:pt x="31" y="10"/>
                    </a:lnTo>
                    <a:lnTo>
                      <a:pt x="24" y="11"/>
                    </a:lnTo>
                    <a:lnTo>
                      <a:pt x="21" y="8"/>
                    </a:lnTo>
                    <a:lnTo>
                      <a:pt x="11" y="8"/>
                    </a:lnTo>
                    <a:lnTo>
                      <a:pt x="6" y="8"/>
                    </a:lnTo>
                    <a:lnTo>
                      <a:pt x="1" y="15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" y="36"/>
                    </a:lnTo>
                    <a:lnTo>
                      <a:pt x="1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8" name="Freeform 53"/>
              <p:cNvSpPr>
                <a:spLocks/>
              </p:cNvSpPr>
              <p:nvPr/>
            </p:nvSpPr>
            <p:spPr bwMode="auto">
              <a:xfrm>
                <a:off x="6525250" y="2660650"/>
                <a:ext cx="89901" cy="37353"/>
              </a:xfrm>
              <a:custGeom>
                <a:avLst/>
                <a:gdLst/>
                <a:ahLst/>
                <a:cxnLst>
                  <a:cxn ang="0">
                    <a:pos x="103" y="70"/>
                  </a:cxn>
                  <a:cxn ang="0">
                    <a:pos x="116" y="73"/>
                  </a:cxn>
                  <a:cxn ang="0">
                    <a:pos x="128" y="72"/>
                  </a:cxn>
                  <a:cxn ang="0">
                    <a:pos x="136" y="68"/>
                  </a:cxn>
                  <a:cxn ang="0">
                    <a:pos x="150" y="63"/>
                  </a:cxn>
                  <a:cxn ang="0">
                    <a:pos x="161" y="57"/>
                  </a:cxn>
                  <a:cxn ang="0">
                    <a:pos x="158" y="48"/>
                  </a:cxn>
                  <a:cxn ang="0">
                    <a:pos x="156" y="38"/>
                  </a:cxn>
                  <a:cxn ang="0">
                    <a:pos x="168" y="37"/>
                  </a:cxn>
                  <a:cxn ang="0">
                    <a:pos x="168" y="28"/>
                  </a:cxn>
                  <a:cxn ang="0">
                    <a:pos x="166" y="10"/>
                  </a:cxn>
                  <a:cxn ang="0">
                    <a:pos x="153" y="5"/>
                  </a:cxn>
                  <a:cxn ang="0">
                    <a:pos x="140" y="5"/>
                  </a:cxn>
                  <a:cxn ang="0">
                    <a:pos x="125" y="2"/>
                  </a:cxn>
                  <a:cxn ang="0">
                    <a:pos x="118" y="4"/>
                  </a:cxn>
                  <a:cxn ang="0">
                    <a:pos x="115" y="9"/>
                  </a:cxn>
                  <a:cxn ang="0">
                    <a:pos x="106" y="12"/>
                  </a:cxn>
                  <a:cxn ang="0">
                    <a:pos x="90" y="5"/>
                  </a:cxn>
                  <a:cxn ang="0">
                    <a:pos x="90" y="13"/>
                  </a:cxn>
                  <a:cxn ang="0">
                    <a:pos x="83" y="18"/>
                  </a:cxn>
                  <a:cxn ang="0">
                    <a:pos x="72" y="28"/>
                  </a:cxn>
                  <a:cxn ang="0">
                    <a:pos x="77" y="33"/>
                  </a:cxn>
                  <a:cxn ang="0">
                    <a:pos x="75" y="38"/>
                  </a:cxn>
                  <a:cxn ang="0">
                    <a:pos x="65" y="38"/>
                  </a:cxn>
                  <a:cxn ang="0">
                    <a:pos x="55" y="37"/>
                  </a:cxn>
                  <a:cxn ang="0">
                    <a:pos x="43" y="42"/>
                  </a:cxn>
                  <a:cxn ang="0">
                    <a:pos x="35" y="42"/>
                  </a:cxn>
                  <a:cxn ang="0">
                    <a:pos x="25" y="38"/>
                  </a:cxn>
                  <a:cxn ang="0">
                    <a:pos x="20" y="43"/>
                  </a:cxn>
                  <a:cxn ang="0">
                    <a:pos x="12" y="43"/>
                  </a:cxn>
                  <a:cxn ang="0">
                    <a:pos x="3" y="42"/>
                  </a:cxn>
                  <a:cxn ang="0">
                    <a:pos x="0" y="42"/>
                  </a:cxn>
                  <a:cxn ang="0">
                    <a:pos x="3" y="47"/>
                  </a:cxn>
                  <a:cxn ang="0">
                    <a:pos x="5" y="53"/>
                  </a:cxn>
                  <a:cxn ang="0">
                    <a:pos x="12" y="52"/>
                  </a:cxn>
                  <a:cxn ang="0">
                    <a:pos x="22" y="53"/>
                  </a:cxn>
                  <a:cxn ang="0">
                    <a:pos x="27" y="57"/>
                  </a:cxn>
                  <a:cxn ang="0">
                    <a:pos x="35" y="60"/>
                  </a:cxn>
                  <a:cxn ang="0">
                    <a:pos x="53" y="55"/>
                  </a:cxn>
                  <a:cxn ang="0">
                    <a:pos x="60" y="58"/>
                  </a:cxn>
                  <a:cxn ang="0">
                    <a:pos x="87" y="67"/>
                  </a:cxn>
                  <a:cxn ang="0">
                    <a:pos x="98" y="70"/>
                  </a:cxn>
                </a:cxnLst>
                <a:rect l="0" t="0" r="r" b="b"/>
                <a:pathLst>
                  <a:path w="168" h="73">
                    <a:moveTo>
                      <a:pt x="98" y="70"/>
                    </a:moveTo>
                    <a:lnTo>
                      <a:pt x="103" y="70"/>
                    </a:lnTo>
                    <a:lnTo>
                      <a:pt x="113" y="70"/>
                    </a:lnTo>
                    <a:lnTo>
                      <a:pt x="116" y="73"/>
                    </a:lnTo>
                    <a:lnTo>
                      <a:pt x="123" y="72"/>
                    </a:lnTo>
                    <a:lnTo>
                      <a:pt x="128" y="72"/>
                    </a:lnTo>
                    <a:lnTo>
                      <a:pt x="133" y="68"/>
                    </a:lnTo>
                    <a:lnTo>
                      <a:pt x="136" y="68"/>
                    </a:lnTo>
                    <a:lnTo>
                      <a:pt x="140" y="68"/>
                    </a:lnTo>
                    <a:lnTo>
                      <a:pt x="150" y="63"/>
                    </a:lnTo>
                    <a:lnTo>
                      <a:pt x="156" y="62"/>
                    </a:lnTo>
                    <a:lnTo>
                      <a:pt x="161" y="57"/>
                    </a:lnTo>
                    <a:lnTo>
                      <a:pt x="158" y="53"/>
                    </a:lnTo>
                    <a:lnTo>
                      <a:pt x="158" y="48"/>
                    </a:lnTo>
                    <a:lnTo>
                      <a:pt x="161" y="43"/>
                    </a:lnTo>
                    <a:lnTo>
                      <a:pt x="156" y="38"/>
                    </a:lnTo>
                    <a:lnTo>
                      <a:pt x="158" y="37"/>
                    </a:lnTo>
                    <a:lnTo>
                      <a:pt x="168" y="37"/>
                    </a:lnTo>
                    <a:lnTo>
                      <a:pt x="168" y="33"/>
                    </a:lnTo>
                    <a:lnTo>
                      <a:pt x="168" y="28"/>
                    </a:lnTo>
                    <a:lnTo>
                      <a:pt x="166" y="17"/>
                    </a:lnTo>
                    <a:lnTo>
                      <a:pt x="166" y="10"/>
                    </a:lnTo>
                    <a:lnTo>
                      <a:pt x="156" y="7"/>
                    </a:lnTo>
                    <a:lnTo>
                      <a:pt x="153" y="5"/>
                    </a:lnTo>
                    <a:lnTo>
                      <a:pt x="146" y="5"/>
                    </a:lnTo>
                    <a:lnTo>
                      <a:pt x="140" y="5"/>
                    </a:lnTo>
                    <a:lnTo>
                      <a:pt x="133" y="2"/>
                    </a:lnTo>
                    <a:lnTo>
                      <a:pt x="125" y="2"/>
                    </a:lnTo>
                    <a:lnTo>
                      <a:pt x="120" y="0"/>
                    </a:lnTo>
                    <a:lnTo>
                      <a:pt x="118" y="4"/>
                    </a:lnTo>
                    <a:lnTo>
                      <a:pt x="115" y="5"/>
                    </a:lnTo>
                    <a:lnTo>
                      <a:pt x="115" y="9"/>
                    </a:lnTo>
                    <a:lnTo>
                      <a:pt x="108" y="10"/>
                    </a:lnTo>
                    <a:lnTo>
                      <a:pt x="106" y="12"/>
                    </a:lnTo>
                    <a:lnTo>
                      <a:pt x="95" y="5"/>
                    </a:lnTo>
                    <a:lnTo>
                      <a:pt x="90" y="5"/>
                    </a:lnTo>
                    <a:lnTo>
                      <a:pt x="90" y="9"/>
                    </a:lnTo>
                    <a:lnTo>
                      <a:pt x="90" y="13"/>
                    </a:lnTo>
                    <a:lnTo>
                      <a:pt x="87" y="13"/>
                    </a:lnTo>
                    <a:lnTo>
                      <a:pt x="83" y="18"/>
                    </a:lnTo>
                    <a:lnTo>
                      <a:pt x="78" y="20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7" y="33"/>
                    </a:lnTo>
                    <a:lnTo>
                      <a:pt x="78" y="37"/>
                    </a:lnTo>
                    <a:lnTo>
                      <a:pt x="75" y="38"/>
                    </a:lnTo>
                    <a:lnTo>
                      <a:pt x="70" y="37"/>
                    </a:lnTo>
                    <a:lnTo>
                      <a:pt x="65" y="38"/>
                    </a:lnTo>
                    <a:lnTo>
                      <a:pt x="60" y="37"/>
                    </a:lnTo>
                    <a:lnTo>
                      <a:pt x="55" y="37"/>
                    </a:lnTo>
                    <a:lnTo>
                      <a:pt x="48" y="42"/>
                    </a:lnTo>
                    <a:lnTo>
                      <a:pt x="43" y="42"/>
                    </a:lnTo>
                    <a:lnTo>
                      <a:pt x="40" y="42"/>
                    </a:lnTo>
                    <a:lnTo>
                      <a:pt x="35" y="42"/>
                    </a:lnTo>
                    <a:lnTo>
                      <a:pt x="32" y="40"/>
                    </a:lnTo>
                    <a:lnTo>
                      <a:pt x="25" y="38"/>
                    </a:lnTo>
                    <a:lnTo>
                      <a:pt x="18" y="40"/>
                    </a:lnTo>
                    <a:lnTo>
                      <a:pt x="20" y="43"/>
                    </a:lnTo>
                    <a:lnTo>
                      <a:pt x="18" y="45"/>
                    </a:lnTo>
                    <a:lnTo>
                      <a:pt x="12" y="43"/>
                    </a:lnTo>
                    <a:lnTo>
                      <a:pt x="8" y="40"/>
                    </a:lnTo>
                    <a:lnTo>
                      <a:pt x="3" y="42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3" y="43"/>
                    </a:lnTo>
                    <a:lnTo>
                      <a:pt x="3" y="47"/>
                    </a:lnTo>
                    <a:lnTo>
                      <a:pt x="5" y="50"/>
                    </a:lnTo>
                    <a:lnTo>
                      <a:pt x="5" y="53"/>
                    </a:lnTo>
                    <a:lnTo>
                      <a:pt x="8" y="53"/>
                    </a:lnTo>
                    <a:lnTo>
                      <a:pt x="12" y="52"/>
                    </a:lnTo>
                    <a:lnTo>
                      <a:pt x="17" y="57"/>
                    </a:lnTo>
                    <a:lnTo>
                      <a:pt x="22" y="53"/>
                    </a:lnTo>
                    <a:lnTo>
                      <a:pt x="25" y="53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5" y="60"/>
                    </a:lnTo>
                    <a:lnTo>
                      <a:pt x="48" y="53"/>
                    </a:lnTo>
                    <a:lnTo>
                      <a:pt x="53" y="55"/>
                    </a:lnTo>
                    <a:lnTo>
                      <a:pt x="62" y="53"/>
                    </a:lnTo>
                    <a:lnTo>
                      <a:pt x="60" y="58"/>
                    </a:lnTo>
                    <a:lnTo>
                      <a:pt x="73" y="65"/>
                    </a:lnTo>
                    <a:lnTo>
                      <a:pt x="87" y="67"/>
                    </a:lnTo>
                    <a:lnTo>
                      <a:pt x="95" y="67"/>
                    </a:lnTo>
                    <a:lnTo>
                      <a:pt x="98" y="70"/>
                    </a:lnTo>
                    <a:lnTo>
                      <a:pt x="98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9" name="Freeform 54"/>
              <p:cNvSpPr>
                <a:spLocks/>
              </p:cNvSpPr>
              <p:nvPr/>
            </p:nvSpPr>
            <p:spPr bwMode="auto">
              <a:xfrm>
                <a:off x="6575552" y="2569342"/>
                <a:ext cx="119868" cy="87157"/>
              </a:xfrm>
              <a:custGeom>
                <a:avLst/>
                <a:gdLst/>
                <a:ahLst/>
                <a:cxnLst>
                  <a:cxn ang="0">
                    <a:pos x="134" y="170"/>
                  </a:cxn>
                  <a:cxn ang="0">
                    <a:pos x="143" y="166"/>
                  </a:cxn>
                  <a:cxn ang="0">
                    <a:pos x="149" y="165"/>
                  </a:cxn>
                  <a:cxn ang="0">
                    <a:pos x="159" y="168"/>
                  </a:cxn>
                  <a:cxn ang="0">
                    <a:pos x="166" y="165"/>
                  </a:cxn>
                  <a:cxn ang="0">
                    <a:pos x="173" y="165"/>
                  </a:cxn>
                  <a:cxn ang="0">
                    <a:pos x="193" y="170"/>
                  </a:cxn>
                  <a:cxn ang="0">
                    <a:pos x="198" y="163"/>
                  </a:cxn>
                  <a:cxn ang="0">
                    <a:pos x="212" y="143"/>
                  </a:cxn>
                  <a:cxn ang="0">
                    <a:pos x="217" y="133"/>
                  </a:cxn>
                  <a:cxn ang="0">
                    <a:pos x="222" y="126"/>
                  </a:cxn>
                  <a:cxn ang="0">
                    <a:pos x="221" y="120"/>
                  </a:cxn>
                  <a:cxn ang="0">
                    <a:pos x="216" y="115"/>
                  </a:cxn>
                  <a:cxn ang="0">
                    <a:pos x="211" y="105"/>
                  </a:cxn>
                  <a:cxn ang="0">
                    <a:pos x="211" y="88"/>
                  </a:cxn>
                  <a:cxn ang="0">
                    <a:pos x="204" y="75"/>
                  </a:cxn>
                  <a:cxn ang="0">
                    <a:pos x="212" y="68"/>
                  </a:cxn>
                  <a:cxn ang="0">
                    <a:pos x="209" y="53"/>
                  </a:cxn>
                  <a:cxn ang="0">
                    <a:pos x="206" y="43"/>
                  </a:cxn>
                  <a:cxn ang="0">
                    <a:pos x="198" y="27"/>
                  </a:cxn>
                  <a:cxn ang="0">
                    <a:pos x="196" y="13"/>
                  </a:cxn>
                  <a:cxn ang="0">
                    <a:pos x="186" y="8"/>
                  </a:cxn>
                  <a:cxn ang="0">
                    <a:pos x="124" y="10"/>
                  </a:cxn>
                  <a:cxn ang="0">
                    <a:pos x="113" y="18"/>
                  </a:cxn>
                  <a:cxn ang="0">
                    <a:pos x="104" y="18"/>
                  </a:cxn>
                  <a:cxn ang="0">
                    <a:pos x="118" y="8"/>
                  </a:cxn>
                  <a:cxn ang="0">
                    <a:pos x="109" y="13"/>
                  </a:cxn>
                  <a:cxn ang="0">
                    <a:pos x="91" y="13"/>
                  </a:cxn>
                  <a:cxn ang="0">
                    <a:pos x="90" y="5"/>
                  </a:cxn>
                  <a:cxn ang="0">
                    <a:pos x="98" y="7"/>
                  </a:cxn>
                  <a:cxn ang="0">
                    <a:pos x="91" y="3"/>
                  </a:cxn>
                  <a:cxn ang="0">
                    <a:pos x="70" y="5"/>
                  </a:cxn>
                  <a:cxn ang="0">
                    <a:pos x="56" y="7"/>
                  </a:cxn>
                  <a:cxn ang="0">
                    <a:pos x="45" y="12"/>
                  </a:cxn>
                  <a:cxn ang="0">
                    <a:pos x="40" y="20"/>
                  </a:cxn>
                  <a:cxn ang="0">
                    <a:pos x="21" y="27"/>
                  </a:cxn>
                  <a:cxn ang="0">
                    <a:pos x="10" y="32"/>
                  </a:cxn>
                  <a:cxn ang="0">
                    <a:pos x="6" y="38"/>
                  </a:cxn>
                  <a:cxn ang="0">
                    <a:pos x="5" y="40"/>
                  </a:cxn>
                  <a:cxn ang="0">
                    <a:pos x="6" y="57"/>
                  </a:cxn>
                  <a:cxn ang="0">
                    <a:pos x="0" y="63"/>
                  </a:cxn>
                  <a:cxn ang="0">
                    <a:pos x="6" y="75"/>
                  </a:cxn>
                  <a:cxn ang="0">
                    <a:pos x="10" y="83"/>
                  </a:cxn>
                  <a:cxn ang="0">
                    <a:pos x="10" y="91"/>
                  </a:cxn>
                  <a:cxn ang="0">
                    <a:pos x="18" y="101"/>
                  </a:cxn>
                  <a:cxn ang="0">
                    <a:pos x="21" y="116"/>
                  </a:cxn>
                  <a:cxn ang="0">
                    <a:pos x="21" y="121"/>
                  </a:cxn>
                  <a:cxn ang="0">
                    <a:pos x="28" y="120"/>
                  </a:cxn>
                  <a:cxn ang="0">
                    <a:pos x="40" y="121"/>
                  </a:cxn>
                  <a:cxn ang="0">
                    <a:pos x="45" y="126"/>
                  </a:cxn>
                  <a:cxn ang="0">
                    <a:pos x="51" y="130"/>
                  </a:cxn>
                  <a:cxn ang="0">
                    <a:pos x="51" y="136"/>
                  </a:cxn>
                  <a:cxn ang="0">
                    <a:pos x="53" y="141"/>
                  </a:cxn>
                  <a:cxn ang="0">
                    <a:pos x="58" y="141"/>
                  </a:cxn>
                  <a:cxn ang="0">
                    <a:pos x="56" y="135"/>
                  </a:cxn>
                  <a:cxn ang="0">
                    <a:pos x="70" y="138"/>
                  </a:cxn>
                  <a:cxn ang="0">
                    <a:pos x="75" y="141"/>
                  </a:cxn>
                  <a:cxn ang="0">
                    <a:pos x="90" y="143"/>
                  </a:cxn>
                  <a:cxn ang="0">
                    <a:pos x="111" y="155"/>
                  </a:cxn>
                  <a:cxn ang="0">
                    <a:pos x="119" y="163"/>
                  </a:cxn>
                  <a:cxn ang="0">
                    <a:pos x="129" y="161"/>
                  </a:cxn>
                  <a:cxn ang="0">
                    <a:pos x="134" y="170"/>
                  </a:cxn>
                </a:cxnLst>
                <a:rect l="0" t="0" r="r" b="b"/>
                <a:pathLst>
                  <a:path w="222" h="170">
                    <a:moveTo>
                      <a:pt x="134" y="170"/>
                    </a:moveTo>
                    <a:lnTo>
                      <a:pt x="134" y="170"/>
                    </a:lnTo>
                    <a:lnTo>
                      <a:pt x="139" y="170"/>
                    </a:lnTo>
                    <a:lnTo>
                      <a:pt x="143" y="166"/>
                    </a:lnTo>
                    <a:lnTo>
                      <a:pt x="146" y="165"/>
                    </a:lnTo>
                    <a:lnTo>
                      <a:pt x="149" y="165"/>
                    </a:lnTo>
                    <a:lnTo>
                      <a:pt x="156" y="165"/>
                    </a:lnTo>
                    <a:lnTo>
                      <a:pt x="159" y="168"/>
                    </a:lnTo>
                    <a:lnTo>
                      <a:pt x="163" y="165"/>
                    </a:lnTo>
                    <a:lnTo>
                      <a:pt x="166" y="165"/>
                    </a:lnTo>
                    <a:lnTo>
                      <a:pt x="169" y="166"/>
                    </a:lnTo>
                    <a:lnTo>
                      <a:pt x="173" y="165"/>
                    </a:lnTo>
                    <a:lnTo>
                      <a:pt x="183" y="165"/>
                    </a:lnTo>
                    <a:lnTo>
                      <a:pt x="193" y="170"/>
                    </a:lnTo>
                    <a:lnTo>
                      <a:pt x="198" y="170"/>
                    </a:lnTo>
                    <a:lnTo>
                      <a:pt x="198" y="163"/>
                    </a:lnTo>
                    <a:lnTo>
                      <a:pt x="198" y="158"/>
                    </a:lnTo>
                    <a:lnTo>
                      <a:pt x="212" y="143"/>
                    </a:lnTo>
                    <a:lnTo>
                      <a:pt x="214" y="136"/>
                    </a:lnTo>
                    <a:lnTo>
                      <a:pt x="217" y="133"/>
                    </a:lnTo>
                    <a:lnTo>
                      <a:pt x="221" y="133"/>
                    </a:lnTo>
                    <a:lnTo>
                      <a:pt x="222" y="126"/>
                    </a:lnTo>
                    <a:lnTo>
                      <a:pt x="221" y="123"/>
                    </a:lnTo>
                    <a:lnTo>
                      <a:pt x="221" y="120"/>
                    </a:lnTo>
                    <a:lnTo>
                      <a:pt x="222" y="118"/>
                    </a:lnTo>
                    <a:lnTo>
                      <a:pt x="216" y="115"/>
                    </a:lnTo>
                    <a:lnTo>
                      <a:pt x="214" y="108"/>
                    </a:lnTo>
                    <a:lnTo>
                      <a:pt x="211" y="105"/>
                    </a:lnTo>
                    <a:lnTo>
                      <a:pt x="211" y="95"/>
                    </a:lnTo>
                    <a:lnTo>
                      <a:pt x="211" y="88"/>
                    </a:lnTo>
                    <a:lnTo>
                      <a:pt x="206" y="82"/>
                    </a:lnTo>
                    <a:lnTo>
                      <a:pt x="204" y="75"/>
                    </a:lnTo>
                    <a:lnTo>
                      <a:pt x="207" y="70"/>
                    </a:lnTo>
                    <a:lnTo>
                      <a:pt x="212" y="68"/>
                    </a:lnTo>
                    <a:lnTo>
                      <a:pt x="212" y="55"/>
                    </a:lnTo>
                    <a:lnTo>
                      <a:pt x="209" y="53"/>
                    </a:lnTo>
                    <a:lnTo>
                      <a:pt x="209" y="47"/>
                    </a:lnTo>
                    <a:lnTo>
                      <a:pt x="206" y="43"/>
                    </a:lnTo>
                    <a:lnTo>
                      <a:pt x="202" y="32"/>
                    </a:lnTo>
                    <a:lnTo>
                      <a:pt x="198" y="27"/>
                    </a:lnTo>
                    <a:lnTo>
                      <a:pt x="198" y="22"/>
                    </a:lnTo>
                    <a:lnTo>
                      <a:pt x="196" y="13"/>
                    </a:lnTo>
                    <a:lnTo>
                      <a:pt x="193" y="13"/>
                    </a:lnTo>
                    <a:lnTo>
                      <a:pt x="186" y="8"/>
                    </a:lnTo>
                    <a:lnTo>
                      <a:pt x="154" y="12"/>
                    </a:lnTo>
                    <a:lnTo>
                      <a:pt x="124" y="10"/>
                    </a:lnTo>
                    <a:lnTo>
                      <a:pt x="121" y="12"/>
                    </a:lnTo>
                    <a:lnTo>
                      <a:pt x="113" y="18"/>
                    </a:lnTo>
                    <a:lnTo>
                      <a:pt x="106" y="18"/>
                    </a:lnTo>
                    <a:lnTo>
                      <a:pt x="104" y="18"/>
                    </a:lnTo>
                    <a:lnTo>
                      <a:pt x="111" y="13"/>
                    </a:lnTo>
                    <a:lnTo>
                      <a:pt x="118" y="8"/>
                    </a:lnTo>
                    <a:lnTo>
                      <a:pt x="114" y="8"/>
                    </a:lnTo>
                    <a:lnTo>
                      <a:pt x="109" y="13"/>
                    </a:lnTo>
                    <a:lnTo>
                      <a:pt x="101" y="17"/>
                    </a:lnTo>
                    <a:lnTo>
                      <a:pt x="91" y="13"/>
                    </a:lnTo>
                    <a:lnTo>
                      <a:pt x="88" y="8"/>
                    </a:lnTo>
                    <a:lnTo>
                      <a:pt x="90" y="5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8" y="7"/>
                    </a:lnTo>
                    <a:lnTo>
                      <a:pt x="91" y="3"/>
                    </a:lnTo>
                    <a:lnTo>
                      <a:pt x="80" y="0"/>
                    </a:lnTo>
                    <a:lnTo>
                      <a:pt x="70" y="5"/>
                    </a:lnTo>
                    <a:lnTo>
                      <a:pt x="63" y="3"/>
                    </a:lnTo>
                    <a:lnTo>
                      <a:pt x="56" y="7"/>
                    </a:lnTo>
                    <a:lnTo>
                      <a:pt x="51" y="12"/>
                    </a:lnTo>
                    <a:lnTo>
                      <a:pt x="45" y="12"/>
                    </a:lnTo>
                    <a:lnTo>
                      <a:pt x="40" y="17"/>
                    </a:lnTo>
                    <a:lnTo>
                      <a:pt x="40" y="20"/>
                    </a:lnTo>
                    <a:lnTo>
                      <a:pt x="33" y="20"/>
                    </a:lnTo>
                    <a:lnTo>
                      <a:pt x="21" y="27"/>
                    </a:lnTo>
                    <a:lnTo>
                      <a:pt x="13" y="27"/>
                    </a:lnTo>
                    <a:lnTo>
                      <a:pt x="10" y="32"/>
                    </a:lnTo>
                    <a:lnTo>
                      <a:pt x="8" y="37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5" y="40"/>
                    </a:lnTo>
                    <a:lnTo>
                      <a:pt x="8" y="50"/>
                    </a:lnTo>
                    <a:lnTo>
                      <a:pt x="6" y="57"/>
                    </a:lnTo>
                    <a:lnTo>
                      <a:pt x="0" y="60"/>
                    </a:lnTo>
                    <a:lnTo>
                      <a:pt x="0" y="63"/>
                    </a:lnTo>
                    <a:lnTo>
                      <a:pt x="8" y="72"/>
                    </a:lnTo>
                    <a:lnTo>
                      <a:pt x="6" y="75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13" y="87"/>
                    </a:lnTo>
                    <a:lnTo>
                      <a:pt x="10" y="91"/>
                    </a:lnTo>
                    <a:lnTo>
                      <a:pt x="15" y="100"/>
                    </a:lnTo>
                    <a:lnTo>
                      <a:pt x="18" y="101"/>
                    </a:lnTo>
                    <a:lnTo>
                      <a:pt x="21" y="105"/>
                    </a:lnTo>
                    <a:lnTo>
                      <a:pt x="21" y="116"/>
                    </a:lnTo>
                    <a:lnTo>
                      <a:pt x="20" y="118"/>
                    </a:lnTo>
                    <a:lnTo>
                      <a:pt x="21" y="121"/>
                    </a:lnTo>
                    <a:lnTo>
                      <a:pt x="23" y="120"/>
                    </a:lnTo>
                    <a:lnTo>
                      <a:pt x="28" y="120"/>
                    </a:lnTo>
                    <a:lnTo>
                      <a:pt x="30" y="120"/>
                    </a:lnTo>
                    <a:lnTo>
                      <a:pt x="40" y="121"/>
                    </a:lnTo>
                    <a:lnTo>
                      <a:pt x="40" y="123"/>
                    </a:lnTo>
                    <a:lnTo>
                      <a:pt x="45" y="126"/>
                    </a:lnTo>
                    <a:lnTo>
                      <a:pt x="48" y="126"/>
                    </a:lnTo>
                    <a:lnTo>
                      <a:pt x="51" y="130"/>
                    </a:lnTo>
                    <a:lnTo>
                      <a:pt x="50" y="135"/>
                    </a:lnTo>
                    <a:lnTo>
                      <a:pt x="51" y="136"/>
                    </a:lnTo>
                    <a:lnTo>
                      <a:pt x="53" y="138"/>
                    </a:lnTo>
                    <a:lnTo>
                      <a:pt x="53" y="141"/>
                    </a:lnTo>
                    <a:lnTo>
                      <a:pt x="56" y="143"/>
                    </a:lnTo>
                    <a:lnTo>
                      <a:pt x="58" y="141"/>
                    </a:lnTo>
                    <a:lnTo>
                      <a:pt x="61" y="141"/>
                    </a:lnTo>
                    <a:lnTo>
                      <a:pt x="56" y="135"/>
                    </a:lnTo>
                    <a:lnTo>
                      <a:pt x="58" y="133"/>
                    </a:lnTo>
                    <a:lnTo>
                      <a:pt x="70" y="138"/>
                    </a:lnTo>
                    <a:lnTo>
                      <a:pt x="76" y="138"/>
                    </a:lnTo>
                    <a:lnTo>
                      <a:pt x="75" y="141"/>
                    </a:lnTo>
                    <a:lnTo>
                      <a:pt x="81" y="145"/>
                    </a:lnTo>
                    <a:lnTo>
                      <a:pt x="90" y="143"/>
                    </a:lnTo>
                    <a:lnTo>
                      <a:pt x="96" y="146"/>
                    </a:lnTo>
                    <a:lnTo>
                      <a:pt x="111" y="155"/>
                    </a:lnTo>
                    <a:lnTo>
                      <a:pt x="116" y="163"/>
                    </a:lnTo>
                    <a:lnTo>
                      <a:pt x="119" y="163"/>
                    </a:lnTo>
                    <a:lnTo>
                      <a:pt x="123" y="160"/>
                    </a:lnTo>
                    <a:lnTo>
                      <a:pt x="129" y="161"/>
                    </a:lnTo>
                    <a:lnTo>
                      <a:pt x="133" y="165"/>
                    </a:lnTo>
                    <a:lnTo>
                      <a:pt x="134" y="1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0" name="Freeform 55"/>
              <p:cNvSpPr>
                <a:spLocks/>
              </p:cNvSpPr>
              <p:nvPr/>
            </p:nvSpPr>
            <p:spPr bwMode="auto">
              <a:xfrm>
                <a:off x="6552006" y="2630560"/>
                <a:ext cx="96322" cy="35278"/>
              </a:xfrm>
              <a:custGeom>
                <a:avLst/>
                <a:gdLst/>
                <a:ahLst/>
                <a:cxnLst>
                  <a:cxn ang="0">
                    <a:pos x="66" y="3"/>
                  </a:cxn>
                  <a:cxn ang="0">
                    <a:pos x="73" y="2"/>
                  </a:cxn>
                  <a:cxn ang="0">
                    <a:pos x="85" y="3"/>
                  </a:cxn>
                  <a:cxn ang="0">
                    <a:pos x="90" y="8"/>
                  </a:cxn>
                  <a:cxn ang="0">
                    <a:pos x="96" y="12"/>
                  </a:cxn>
                  <a:cxn ang="0">
                    <a:pos x="96" y="18"/>
                  </a:cxn>
                  <a:cxn ang="0">
                    <a:pos x="98" y="23"/>
                  </a:cxn>
                  <a:cxn ang="0">
                    <a:pos x="103" y="23"/>
                  </a:cxn>
                  <a:cxn ang="0">
                    <a:pos x="101" y="17"/>
                  </a:cxn>
                  <a:cxn ang="0">
                    <a:pos x="115" y="20"/>
                  </a:cxn>
                  <a:cxn ang="0">
                    <a:pos x="120" y="23"/>
                  </a:cxn>
                  <a:cxn ang="0">
                    <a:pos x="135" y="25"/>
                  </a:cxn>
                  <a:cxn ang="0">
                    <a:pos x="156" y="37"/>
                  </a:cxn>
                  <a:cxn ang="0">
                    <a:pos x="164" y="45"/>
                  </a:cxn>
                  <a:cxn ang="0">
                    <a:pos x="174" y="43"/>
                  </a:cxn>
                  <a:cxn ang="0">
                    <a:pos x="179" y="52"/>
                  </a:cxn>
                  <a:cxn ang="0">
                    <a:pos x="163" y="55"/>
                  </a:cxn>
                  <a:cxn ang="0">
                    <a:pos x="149" y="62"/>
                  </a:cxn>
                  <a:cxn ang="0">
                    <a:pos x="131" y="67"/>
                  </a:cxn>
                  <a:cxn ang="0">
                    <a:pos x="123" y="65"/>
                  </a:cxn>
                  <a:cxn ang="0">
                    <a:pos x="106" y="65"/>
                  </a:cxn>
                  <a:cxn ang="0">
                    <a:pos x="96" y="63"/>
                  </a:cxn>
                  <a:cxn ang="0">
                    <a:pos x="83" y="60"/>
                  </a:cxn>
                  <a:cxn ang="0">
                    <a:pos x="70" y="58"/>
                  </a:cxn>
                  <a:cxn ang="0">
                    <a:pos x="65" y="63"/>
                  </a:cxn>
                  <a:cxn ang="0">
                    <a:pos x="58" y="68"/>
                  </a:cxn>
                  <a:cxn ang="0">
                    <a:pos x="45" y="63"/>
                  </a:cxn>
                  <a:cxn ang="0">
                    <a:pos x="42" y="63"/>
                  </a:cxn>
                  <a:cxn ang="0">
                    <a:pos x="27" y="50"/>
                  </a:cxn>
                  <a:cxn ang="0">
                    <a:pos x="13" y="43"/>
                  </a:cxn>
                  <a:cxn ang="0">
                    <a:pos x="12" y="33"/>
                  </a:cxn>
                  <a:cxn ang="0">
                    <a:pos x="0" y="23"/>
                  </a:cxn>
                  <a:cxn ang="0">
                    <a:pos x="3" y="18"/>
                  </a:cxn>
                  <a:cxn ang="0">
                    <a:pos x="8" y="22"/>
                  </a:cxn>
                  <a:cxn ang="0">
                    <a:pos x="22" y="15"/>
                  </a:cxn>
                  <a:cxn ang="0">
                    <a:pos x="32" y="10"/>
                  </a:cxn>
                  <a:cxn ang="0">
                    <a:pos x="42" y="7"/>
                  </a:cxn>
                  <a:cxn ang="0">
                    <a:pos x="50" y="5"/>
                  </a:cxn>
                  <a:cxn ang="0">
                    <a:pos x="58" y="2"/>
                  </a:cxn>
                  <a:cxn ang="0">
                    <a:pos x="63" y="2"/>
                  </a:cxn>
                </a:cxnLst>
                <a:rect l="0" t="0" r="r" b="b"/>
                <a:pathLst>
                  <a:path w="179" h="70">
                    <a:moveTo>
                      <a:pt x="65" y="0"/>
                    </a:moveTo>
                    <a:lnTo>
                      <a:pt x="66" y="3"/>
                    </a:lnTo>
                    <a:lnTo>
                      <a:pt x="68" y="2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85" y="3"/>
                    </a:lnTo>
                    <a:lnTo>
                      <a:pt x="85" y="5"/>
                    </a:lnTo>
                    <a:lnTo>
                      <a:pt x="90" y="8"/>
                    </a:lnTo>
                    <a:lnTo>
                      <a:pt x="93" y="8"/>
                    </a:lnTo>
                    <a:lnTo>
                      <a:pt x="96" y="12"/>
                    </a:lnTo>
                    <a:lnTo>
                      <a:pt x="95" y="17"/>
                    </a:lnTo>
                    <a:lnTo>
                      <a:pt x="96" y="18"/>
                    </a:lnTo>
                    <a:lnTo>
                      <a:pt x="98" y="20"/>
                    </a:lnTo>
                    <a:lnTo>
                      <a:pt x="98" y="23"/>
                    </a:lnTo>
                    <a:lnTo>
                      <a:pt x="101" y="25"/>
                    </a:lnTo>
                    <a:lnTo>
                      <a:pt x="103" y="23"/>
                    </a:lnTo>
                    <a:lnTo>
                      <a:pt x="106" y="23"/>
                    </a:lnTo>
                    <a:lnTo>
                      <a:pt x="101" y="17"/>
                    </a:lnTo>
                    <a:lnTo>
                      <a:pt x="103" y="15"/>
                    </a:lnTo>
                    <a:lnTo>
                      <a:pt x="115" y="20"/>
                    </a:lnTo>
                    <a:lnTo>
                      <a:pt x="121" y="20"/>
                    </a:lnTo>
                    <a:lnTo>
                      <a:pt x="120" y="23"/>
                    </a:lnTo>
                    <a:lnTo>
                      <a:pt x="126" y="27"/>
                    </a:lnTo>
                    <a:lnTo>
                      <a:pt x="135" y="25"/>
                    </a:lnTo>
                    <a:lnTo>
                      <a:pt x="141" y="28"/>
                    </a:lnTo>
                    <a:lnTo>
                      <a:pt x="156" y="37"/>
                    </a:lnTo>
                    <a:lnTo>
                      <a:pt x="161" y="45"/>
                    </a:lnTo>
                    <a:lnTo>
                      <a:pt x="164" y="45"/>
                    </a:lnTo>
                    <a:lnTo>
                      <a:pt x="168" y="42"/>
                    </a:lnTo>
                    <a:lnTo>
                      <a:pt x="174" y="43"/>
                    </a:lnTo>
                    <a:lnTo>
                      <a:pt x="178" y="47"/>
                    </a:lnTo>
                    <a:lnTo>
                      <a:pt x="179" y="52"/>
                    </a:lnTo>
                    <a:lnTo>
                      <a:pt x="168" y="52"/>
                    </a:lnTo>
                    <a:lnTo>
                      <a:pt x="163" y="55"/>
                    </a:lnTo>
                    <a:lnTo>
                      <a:pt x="156" y="55"/>
                    </a:lnTo>
                    <a:lnTo>
                      <a:pt x="149" y="62"/>
                    </a:lnTo>
                    <a:lnTo>
                      <a:pt x="141" y="63"/>
                    </a:lnTo>
                    <a:lnTo>
                      <a:pt x="131" y="67"/>
                    </a:lnTo>
                    <a:lnTo>
                      <a:pt x="130" y="65"/>
                    </a:lnTo>
                    <a:lnTo>
                      <a:pt x="123" y="65"/>
                    </a:lnTo>
                    <a:lnTo>
                      <a:pt x="118" y="68"/>
                    </a:lnTo>
                    <a:lnTo>
                      <a:pt x="106" y="65"/>
                    </a:lnTo>
                    <a:lnTo>
                      <a:pt x="103" y="63"/>
                    </a:lnTo>
                    <a:lnTo>
                      <a:pt x="96" y="63"/>
                    </a:lnTo>
                    <a:lnTo>
                      <a:pt x="90" y="63"/>
                    </a:lnTo>
                    <a:lnTo>
                      <a:pt x="83" y="60"/>
                    </a:lnTo>
                    <a:lnTo>
                      <a:pt x="75" y="60"/>
                    </a:lnTo>
                    <a:lnTo>
                      <a:pt x="70" y="58"/>
                    </a:lnTo>
                    <a:lnTo>
                      <a:pt x="68" y="62"/>
                    </a:lnTo>
                    <a:lnTo>
                      <a:pt x="65" y="63"/>
                    </a:lnTo>
                    <a:lnTo>
                      <a:pt x="65" y="67"/>
                    </a:lnTo>
                    <a:lnTo>
                      <a:pt x="58" y="68"/>
                    </a:lnTo>
                    <a:lnTo>
                      <a:pt x="56" y="70"/>
                    </a:lnTo>
                    <a:lnTo>
                      <a:pt x="45" y="63"/>
                    </a:lnTo>
                    <a:lnTo>
                      <a:pt x="40" y="63"/>
                    </a:lnTo>
                    <a:lnTo>
                      <a:pt x="42" y="63"/>
                    </a:lnTo>
                    <a:lnTo>
                      <a:pt x="32" y="53"/>
                    </a:lnTo>
                    <a:lnTo>
                      <a:pt x="27" y="50"/>
                    </a:lnTo>
                    <a:lnTo>
                      <a:pt x="18" y="45"/>
                    </a:lnTo>
                    <a:lnTo>
                      <a:pt x="13" y="43"/>
                    </a:lnTo>
                    <a:lnTo>
                      <a:pt x="12" y="40"/>
                    </a:lnTo>
                    <a:lnTo>
                      <a:pt x="12" y="33"/>
                    </a:lnTo>
                    <a:lnTo>
                      <a:pt x="7" y="27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8" y="22"/>
                    </a:lnTo>
                    <a:lnTo>
                      <a:pt x="18" y="15"/>
                    </a:lnTo>
                    <a:lnTo>
                      <a:pt x="22" y="15"/>
                    </a:lnTo>
                    <a:lnTo>
                      <a:pt x="27" y="10"/>
                    </a:lnTo>
                    <a:lnTo>
                      <a:pt x="32" y="10"/>
                    </a:lnTo>
                    <a:lnTo>
                      <a:pt x="35" y="7"/>
                    </a:lnTo>
                    <a:lnTo>
                      <a:pt x="42" y="7"/>
                    </a:lnTo>
                    <a:lnTo>
                      <a:pt x="47" y="7"/>
                    </a:lnTo>
                    <a:lnTo>
                      <a:pt x="50" y="5"/>
                    </a:lnTo>
                    <a:lnTo>
                      <a:pt x="50" y="0"/>
                    </a:lnTo>
                    <a:lnTo>
                      <a:pt x="58" y="2"/>
                    </a:lnTo>
                    <a:lnTo>
                      <a:pt x="60" y="0"/>
                    </a:lnTo>
                    <a:lnTo>
                      <a:pt x="63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1" name="Freeform 56"/>
              <p:cNvSpPr>
                <a:spLocks/>
              </p:cNvSpPr>
              <p:nvPr/>
            </p:nvSpPr>
            <p:spPr bwMode="auto">
              <a:xfrm>
                <a:off x="6479229" y="2569342"/>
                <a:ext cx="108095" cy="114135"/>
              </a:xfrm>
              <a:custGeom>
                <a:avLst/>
                <a:gdLst/>
                <a:ahLst/>
                <a:cxnLst>
                  <a:cxn ang="0">
                    <a:pos x="75" y="3"/>
                  </a:cxn>
                  <a:cxn ang="0">
                    <a:pos x="84" y="13"/>
                  </a:cxn>
                  <a:cxn ang="0">
                    <a:pos x="89" y="21"/>
                  </a:cxn>
                  <a:cxn ang="0">
                    <a:pos x="98" y="18"/>
                  </a:cxn>
                  <a:cxn ang="0">
                    <a:pos x="111" y="18"/>
                  </a:cxn>
                  <a:cxn ang="0">
                    <a:pos x="101" y="28"/>
                  </a:cxn>
                  <a:cxn ang="0">
                    <a:pos x="116" y="31"/>
                  </a:cxn>
                  <a:cxn ang="0">
                    <a:pos x="133" y="23"/>
                  </a:cxn>
                  <a:cxn ang="0">
                    <a:pos x="141" y="15"/>
                  </a:cxn>
                  <a:cxn ang="0">
                    <a:pos x="139" y="18"/>
                  </a:cxn>
                  <a:cxn ang="0">
                    <a:pos x="149" y="20"/>
                  </a:cxn>
                  <a:cxn ang="0">
                    <a:pos x="164" y="26"/>
                  </a:cxn>
                  <a:cxn ang="0">
                    <a:pos x="174" y="36"/>
                  </a:cxn>
                  <a:cxn ang="0">
                    <a:pos x="189" y="48"/>
                  </a:cxn>
                  <a:cxn ang="0">
                    <a:pos x="189" y="70"/>
                  </a:cxn>
                  <a:cxn ang="0">
                    <a:pos x="194" y="85"/>
                  </a:cxn>
                  <a:cxn ang="0">
                    <a:pos x="202" y="103"/>
                  </a:cxn>
                  <a:cxn ang="0">
                    <a:pos x="194" y="118"/>
                  </a:cxn>
                  <a:cxn ang="0">
                    <a:pos x="178" y="123"/>
                  </a:cxn>
                  <a:cxn ang="0">
                    <a:pos x="158" y="131"/>
                  </a:cxn>
                  <a:cxn ang="0">
                    <a:pos x="139" y="134"/>
                  </a:cxn>
                  <a:cxn ang="0">
                    <a:pos x="148" y="149"/>
                  </a:cxn>
                  <a:cxn ang="0">
                    <a:pos x="163" y="166"/>
                  </a:cxn>
                  <a:cxn ang="0">
                    <a:pos x="176" y="187"/>
                  </a:cxn>
                  <a:cxn ang="0">
                    <a:pos x="158" y="202"/>
                  </a:cxn>
                  <a:cxn ang="0">
                    <a:pos x="161" y="212"/>
                  </a:cxn>
                  <a:cxn ang="0">
                    <a:pos x="141" y="211"/>
                  </a:cxn>
                  <a:cxn ang="0">
                    <a:pos x="121" y="216"/>
                  </a:cxn>
                  <a:cxn ang="0">
                    <a:pos x="106" y="217"/>
                  </a:cxn>
                  <a:cxn ang="0">
                    <a:pos x="89" y="216"/>
                  </a:cxn>
                  <a:cxn ang="0">
                    <a:pos x="76" y="211"/>
                  </a:cxn>
                  <a:cxn ang="0">
                    <a:pos x="66" y="207"/>
                  </a:cxn>
                  <a:cxn ang="0">
                    <a:pos x="55" y="212"/>
                  </a:cxn>
                  <a:cxn ang="0">
                    <a:pos x="45" y="209"/>
                  </a:cxn>
                  <a:cxn ang="0">
                    <a:pos x="45" y="191"/>
                  </a:cxn>
                  <a:cxn ang="0">
                    <a:pos x="48" y="173"/>
                  </a:cxn>
                  <a:cxn ang="0">
                    <a:pos x="31" y="171"/>
                  </a:cxn>
                  <a:cxn ang="0">
                    <a:pos x="18" y="166"/>
                  </a:cxn>
                  <a:cxn ang="0">
                    <a:pos x="11" y="153"/>
                  </a:cxn>
                  <a:cxn ang="0">
                    <a:pos x="6" y="136"/>
                  </a:cxn>
                  <a:cxn ang="0">
                    <a:pos x="1" y="119"/>
                  </a:cxn>
                  <a:cxn ang="0">
                    <a:pos x="3" y="101"/>
                  </a:cxn>
                  <a:cxn ang="0">
                    <a:pos x="21" y="93"/>
                  </a:cxn>
                  <a:cxn ang="0">
                    <a:pos x="26" y="80"/>
                  </a:cxn>
                  <a:cxn ang="0">
                    <a:pos x="18" y="73"/>
                  </a:cxn>
                  <a:cxn ang="0">
                    <a:pos x="28" y="65"/>
                  </a:cxn>
                  <a:cxn ang="0">
                    <a:pos x="33" y="55"/>
                  </a:cxn>
                  <a:cxn ang="0">
                    <a:pos x="25" y="46"/>
                  </a:cxn>
                  <a:cxn ang="0">
                    <a:pos x="45" y="41"/>
                  </a:cxn>
                  <a:cxn ang="0">
                    <a:pos x="48" y="45"/>
                  </a:cxn>
                  <a:cxn ang="0">
                    <a:pos x="55" y="48"/>
                  </a:cxn>
                  <a:cxn ang="0">
                    <a:pos x="56" y="40"/>
                  </a:cxn>
                  <a:cxn ang="0">
                    <a:pos x="71" y="35"/>
                  </a:cxn>
                  <a:cxn ang="0">
                    <a:pos x="73" y="33"/>
                  </a:cxn>
                  <a:cxn ang="0">
                    <a:pos x="66" y="26"/>
                  </a:cxn>
                  <a:cxn ang="0">
                    <a:pos x="58" y="16"/>
                  </a:cxn>
                  <a:cxn ang="0">
                    <a:pos x="61" y="6"/>
                  </a:cxn>
                  <a:cxn ang="0">
                    <a:pos x="56" y="0"/>
                  </a:cxn>
                </a:cxnLst>
                <a:rect l="0" t="0" r="r" b="b"/>
                <a:pathLst>
                  <a:path w="202" h="219">
                    <a:moveTo>
                      <a:pt x="56" y="0"/>
                    </a:moveTo>
                    <a:lnTo>
                      <a:pt x="63" y="0"/>
                    </a:lnTo>
                    <a:lnTo>
                      <a:pt x="71" y="1"/>
                    </a:lnTo>
                    <a:lnTo>
                      <a:pt x="75" y="3"/>
                    </a:lnTo>
                    <a:lnTo>
                      <a:pt x="78" y="3"/>
                    </a:lnTo>
                    <a:lnTo>
                      <a:pt x="83" y="6"/>
                    </a:lnTo>
                    <a:lnTo>
                      <a:pt x="88" y="8"/>
                    </a:lnTo>
                    <a:lnTo>
                      <a:pt x="84" y="13"/>
                    </a:lnTo>
                    <a:lnTo>
                      <a:pt x="83" y="15"/>
                    </a:lnTo>
                    <a:lnTo>
                      <a:pt x="84" y="16"/>
                    </a:lnTo>
                    <a:lnTo>
                      <a:pt x="88" y="18"/>
                    </a:lnTo>
                    <a:lnTo>
                      <a:pt x="89" y="21"/>
                    </a:lnTo>
                    <a:lnTo>
                      <a:pt x="93" y="20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98" y="18"/>
                    </a:lnTo>
                    <a:lnTo>
                      <a:pt x="104" y="21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1" y="23"/>
                    </a:lnTo>
                    <a:lnTo>
                      <a:pt x="108" y="26"/>
                    </a:lnTo>
                    <a:lnTo>
                      <a:pt x="106" y="25"/>
                    </a:lnTo>
                    <a:lnTo>
                      <a:pt x="101" y="28"/>
                    </a:lnTo>
                    <a:lnTo>
                      <a:pt x="108" y="30"/>
                    </a:lnTo>
                    <a:lnTo>
                      <a:pt x="109" y="28"/>
                    </a:lnTo>
                    <a:lnTo>
                      <a:pt x="114" y="30"/>
                    </a:lnTo>
                    <a:lnTo>
                      <a:pt x="116" y="31"/>
                    </a:lnTo>
                    <a:lnTo>
                      <a:pt x="121" y="31"/>
                    </a:lnTo>
                    <a:lnTo>
                      <a:pt x="121" y="28"/>
                    </a:lnTo>
                    <a:lnTo>
                      <a:pt x="124" y="23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9" y="18"/>
                    </a:lnTo>
                    <a:lnTo>
                      <a:pt x="139" y="16"/>
                    </a:lnTo>
                    <a:lnTo>
                      <a:pt x="141" y="15"/>
                    </a:lnTo>
                    <a:lnTo>
                      <a:pt x="148" y="16"/>
                    </a:lnTo>
                    <a:lnTo>
                      <a:pt x="143" y="18"/>
                    </a:lnTo>
                    <a:lnTo>
                      <a:pt x="141" y="20"/>
                    </a:lnTo>
                    <a:lnTo>
                      <a:pt x="139" y="18"/>
                    </a:lnTo>
                    <a:lnTo>
                      <a:pt x="138" y="21"/>
                    </a:lnTo>
                    <a:lnTo>
                      <a:pt x="139" y="23"/>
                    </a:lnTo>
                    <a:lnTo>
                      <a:pt x="144" y="20"/>
                    </a:lnTo>
                    <a:lnTo>
                      <a:pt x="149" y="20"/>
                    </a:lnTo>
                    <a:lnTo>
                      <a:pt x="151" y="18"/>
                    </a:lnTo>
                    <a:lnTo>
                      <a:pt x="153" y="20"/>
                    </a:lnTo>
                    <a:lnTo>
                      <a:pt x="158" y="21"/>
                    </a:lnTo>
                    <a:lnTo>
                      <a:pt x="164" y="26"/>
                    </a:lnTo>
                    <a:lnTo>
                      <a:pt x="169" y="26"/>
                    </a:lnTo>
                    <a:lnTo>
                      <a:pt x="171" y="30"/>
                    </a:lnTo>
                    <a:lnTo>
                      <a:pt x="171" y="33"/>
                    </a:lnTo>
                    <a:lnTo>
                      <a:pt x="174" y="36"/>
                    </a:lnTo>
                    <a:lnTo>
                      <a:pt x="179" y="36"/>
                    </a:lnTo>
                    <a:lnTo>
                      <a:pt x="181" y="38"/>
                    </a:lnTo>
                    <a:lnTo>
                      <a:pt x="186" y="38"/>
                    </a:lnTo>
                    <a:lnTo>
                      <a:pt x="189" y="48"/>
                    </a:lnTo>
                    <a:lnTo>
                      <a:pt x="187" y="55"/>
                    </a:lnTo>
                    <a:lnTo>
                      <a:pt x="181" y="58"/>
                    </a:lnTo>
                    <a:lnTo>
                      <a:pt x="181" y="61"/>
                    </a:lnTo>
                    <a:lnTo>
                      <a:pt x="189" y="70"/>
                    </a:lnTo>
                    <a:lnTo>
                      <a:pt x="187" y="73"/>
                    </a:lnTo>
                    <a:lnTo>
                      <a:pt x="191" y="78"/>
                    </a:lnTo>
                    <a:lnTo>
                      <a:pt x="191" y="81"/>
                    </a:lnTo>
                    <a:lnTo>
                      <a:pt x="194" y="85"/>
                    </a:lnTo>
                    <a:lnTo>
                      <a:pt x="191" y="89"/>
                    </a:lnTo>
                    <a:lnTo>
                      <a:pt x="196" y="98"/>
                    </a:lnTo>
                    <a:lnTo>
                      <a:pt x="199" y="99"/>
                    </a:lnTo>
                    <a:lnTo>
                      <a:pt x="202" y="103"/>
                    </a:lnTo>
                    <a:lnTo>
                      <a:pt x="202" y="114"/>
                    </a:lnTo>
                    <a:lnTo>
                      <a:pt x="199" y="118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86" y="116"/>
                    </a:lnTo>
                    <a:lnTo>
                      <a:pt x="186" y="121"/>
                    </a:lnTo>
                    <a:lnTo>
                      <a:pt x="183" y="123"/>
                    </a:lnTo>
                    <a:lnTo>
                      <a:pt x="178" y="123"/>
                    </a:lnTo>
                    <a:lnTo>
                      <a:pt x="171" y="123"/>
                    </a:lnTo>
                    <a:lnTo>
                      <a:pt x="168" y="126"/>
                    </a:lnTo>
                    <a:lnTo>
                      <a:pt x="163" y="126"/>
                    </a:lnTo>
                    <a:lnTo>
                      <a:pt x="158" y="131"/>
                    </a:lnTo>
                    <a:lnTo>
                      <a:pt x="154" y="131"/>
                    </a:lnTo>
                    <a:lnTo>
                      <a:pt x="144" y="138"/>
                    </a:lnTo>
                    <a:lnTo>
                      <a:pt x="141" y="136"/>
                    </a:lnTo>
                    <a:lnTo>
                      <a:pt x="139" y="134"/>
                    </a:lnTo>
                    <a:lnTo>
                      <a:pt x="136" y="136"/>
                    </a:lnTo>
                    <a:lnTo>
                      <a:pt x="136" y="139"/>
                    </a:lnTo>
                    <a:lnTo>
                      <a:pt x="143" y="143"/>
                    </a:lnTo>
                    <a:lnTo>
                      <a:pt x="148" y="149"/>
                    </a:lnTo>
                    <a:lnTo>
                      <a:pt x="148" y="156"/>
                    </a:lnTo>
                    <a:lnTo>
                      <a:pt x="149" y="159"/>
                    </a:lnTo>
                    <a:lnTo>
                      <a:pt x="154" y="161"/>
                    </a:lnTo>
                    <a:lnTo>
                      <a:pt x="163" y="166"/>
                    </a:lnTo>
                    <a:lnTo>
                      <a:pt x="168" y="169"/>
                    </a:lnTo>
                    <a:lnTo>
                      <a:pt x="178" y="179"/>
                    </a:lnTo>
                    <a:lnTo>
                      <a:pt x="176" y="183"/>
                    </a:lnTo>
                    <a:lnTo>
                      <a:pt x="176" y="187"/>
                    </a:lnTo>
                    <a:lnTo>
                      <a:pt x="173" y="187"/>
                    </a:lnTo>
                    <a:lnTo>
                      <a:pt x="169" y="192"/>
                    </a:lnTo>
                    <a:lnTo>
                      <a:pt x="164" y="194"/>
                    </a:lnTo>
                    <a:lnTo>
                      <a:pt x="158" y="202"/>
                    </a:lnTo>
                    <a:lnTo>
                      <a:pt x="158" y="204"/>
                    </a:lnTo>
                    <a:lnTo>
                      <a:pt x="163" y="207"/>
                    </a:lnTo>
                    <a:lnTo>
                      <a:pt x="164" y="211"/>
                    </a:lnTo>
                    <a:lnTo>
                      <a:pt x="161" y="212"/>
                    </a:lnTo>
                    <a:lnTo>
                      <a:pt x="156" y="211"/>
                    </a:lnTo>
                    <a:lnTo>
                      <a:pt x="151" y="212"/>
                    </a:lnTo>
                    <a:lnTo>
                      <a:pt x="146" y="211"/>
                    </a:lnTo>
                    <a:lnTo>
                      <a:pt x="141" y="211"/>
                    </a:lnTo>
                    <a:lnTo>
                      <a:pt x="134" y="216"/>
                    </a:lnTo>
                    <a:lnTo>
                      <a:pt x="129" y="216"/>
                    </a:lnTo>
                    <a:lnTo>
                      <a:pt x="126" y="216"/>
                    </a:lnTo>
                    <a:lnTo>
                      <a:pt x="121" y="216"/>
                    </a:lnTo>
                    <a:lnTo>
                      <a:pt x="118" y="214"/>
                    </a:lnTo>
                    <a:lnTo>
                      <a:pt x="111" y="212"/>
                    </a:lnTo>
                    <a:lnTo>
                      <a:pt x="104" y="214"/>
                    </a:lnTo>
                    <a:lnTo>
                      <a:pt x="106" y="217"/>
                    </a:lnTo>
                    <a:lnTo>
                      <a:pt x="104" y="219"/>
                    </a:lnTo>
                    <a:lnTo>
                      <a:pt x="98" y="217"/>
                    </a:lnTo>
                    <a:lnTo>
                      <a:pt x="94" y="214"/>
                    </a:lnTo>
                    <a:lnTo>
                      <a:pt x="89" y="216"/>
                    </a:lnTo>
                    <a:lnTo>
                      <a:pt x="88" y="216"/>
                    </a:lnTo>
                    <a:lnTo>
                      <a:pt x="86" y="216"/>
                    </a:lnTo>
                    <a:lnTo>
                      <a:pt x="83" y="216"/>
                    </a:lnTo>
                    <a:lnTo>
                      <a:pt x="76" y="211"/>
                    </a:lnTo>
                    <a:lnTo>
                      <a:pt x="73" y="211"/>
                    </a:lnTo>
                    <a:lnTo>
                      <a:pt x="71" y="212"/>
                    </a:lnTo>
                    <a:lnTo>
                      <a:pt x="68" y="212"/>
                    </a:lnTo>
                    <a:lnTo>
                      <a:pt x="66" y="207"/>
                    </a:lnTo>
                    <a:lnTo>
                      <a:pt x="61" y="209"/>
                    </a:lnTo>
                    <a:lnTo>
                      <a:pt x="63" y="212"/>
                    </a:lnTo>
                    <a:lnTo>
                      <a:pt x="60" y="214"/>
                    </a:lnTo>
                    <a:lnTo>
                      <a:pt x="55" y="212"/>
                    </a:lnTo>
                    <a:lnTo>
                      <a:pt x="50" y="214"/>
                    </a:lnTo>
                    <a:lnTo>
                      <a:pt x="46" y="214"/>
                    </a:lnTo>
                    <a:lnTo>
                      <a:pt x="46" y="214"/>
                    </a:lnTo>
                    <a:lnTo>
                      <a:pt x="45" y="209"/>
                    </a:lnTo>
                    <a:lnTo>
                      <a:pt x="40" y="207"/>
                    </a:lnTo>
                    <a:lnTo>
                      <a:pt x="40" y="201"/>
                    </a:lnTo>
                    <a:lnTo>
                      <a:pt x="41" y="192"/>
                    </a:lnTo>
                    <a:lnTo>
                      <a:pt x="45" y="191"/>
                    </a:lnTo>
                    <a:lnTo>
                      <a:pt x="45" y="187"/>
                    </a:lnTo>
                    <a:lnTo>
                      <a:pt x="48" y="181"/>
                    </a:lnTo>
                    <a:lnTo>
                      <a:pt x="53" y="176"/>
                    </a:lnTo>
                    <a:lnTo>
                      <a:pt x="48" y="173"/>
                    </a:lnTo>
                    <a:lnTo>
                      <a:pt x="45" y="173"/>
                    </a:lnTo>
                    <a:lnTo>
                      <a:pt x="38" y="169"/>
                    </a:lnTo>
                    <a:lnTo>
                      <a:pt x="35" y="171"/>
                    </a:lnTo>
                    <a:lnTo>
                      <a:pt x="31" y="171"/>
                    </a:lnTo>
                    <a:lnTo>
                      <a:pt x="26" y="171"/>
                    </a:lnTo>
                    <a:lnTo>
                      <a:pt x="23" y="171"/>
                    </a:lnTo>
                    <a:lnTo>
                      <a:pt x="18" y="168"/>
                    </a:lnTo>
                    <a:lnTo>
                      <a:pt x="18" y="166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15" y="156"/>
                    </a:lnTo>
                    <a:lnTo>
                      <a:pt x="11" y="153"/>
                    </a:lnTo>
                    <a:lnTo>
                      <a:pt x="10" y="149"/>
                    </a:lnTo>
                    <a:lnTo>
                      <a:pt x="5" y="143"/>
                    </a:lnTo>
                    <a:lnTo>
                      <a:pt x="3" y="143"/>
                    </a:lnTo>
                    <a:lnTo>
                      <a:pt x="6" y="136"/>
                    </a:lnTo>
                    <a:lnTo>
                      <a:pt x="3" y="133"/>
                    </a:lnTo>
                    <a:lnTo>
                      <a:pt x="3" y="129"/>
                    </a:lnTo>
                    <a:lnTo>
                      <a:pt x="0" y="123"/>
                    </a:lnTo>
                    <a:lnTo>
                      <a:pt x="1" y="119"/>
                    </a:lnTo>
                    <a:lnTo>
                      <a:pt x="0" y="119"/>
                    </a:lnTo>
                    <a:lnTo>
                      <a:pt x="3" y="114"/>
                    </a:lnTo>
                    <a:lnTo>
                      <a:pt x="5" y="108"/>
                    </a:lnTo>
                    <a:lnTo>
                      <a:pt x="3" y="101"/>
                    </a:lnTo>
                    <a:lnTo>
                      <a:pt x="6" y="98"/>
                    </a:lnTo>
                    <a:lnTo>
                      <a:pt x="8" y="93"/>
                    </a:lnTo>
                    <a:lnTo>
                      <a:pt x="15" y="91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1" y="86"/>
                    </a:lnTo>
                    <a:lnTo>
                      <a:pt x="25" y="85"/>
                    </a:lnTo>
                    <a:lnTo>
                      <a:pt x="26" y="80"/>
                    </a:lnTo>
                    <a:lnTo>
                      <a:pt x="28" y="78"/>
                    </a:lnTo>
                    <a:lnTo>
                      <a:pt x="25" y="76"/>
                    </a:lnTo>
                    <a:lnTo>
                      <a:pt x="20" y="76"/>
                    </a:lnTo>
                    <a:lnTo>
                      <a:pt x="18" y="73"/>
                    </a:lnTo>
                    <a:lnTo>
                      <a:pt x="20" y="68"/>
                    </a:lnTo>
                    <a:lnTo>
                      <a:pt x="25" y="71"/>
                    </a:lnTo>
                    <a:lnTo>
                      <a:pt x="28" y="68"/>
                    </a:lnTo>
                    <a:lnTo>
                      <a:pt x="28" y="65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3" y="56"/>
                    </a:lnTo>
                    <a:lnTo>
                      <a:pt x="33" y="55"/>
                    </a:lnTo>
                    <a:lnTo>
                      <a:pt x="33" y="55"/>
                    </a:lnTo>
                    <a:lnTo>
                      <a:pt x="31" y="51"/>
                    </a:lnTo>
                    <a:lnTo>
                      <a:pt x="26" y="50"/>
                    </a:lnTo>
                    <a:lnTo>
                      <a:pt x="25" y="46"/>
                    </a:lnTo>
                    <a:lnTo>
                      <a:pt x="25" y="43"/>
                    </a:lnTo>
                    <a:lnTo>
                      <a:pt x="36" y="40"/>
                    </a:lnTo>
                    <a:lnTo>
                      <a:pt x="40" y="38"/>
                    </a:lnTo>
                    <a:lnTo>
                      <a:pt x="45" y="41"/>
                    </a:lnTo>
                    <a:lnTo>
                      <a:pt x="45" y="46"/>
                    </a:lnTo>
                    <a:lnTo>
                      <a:pt x="48" y="51"/>
                    </a:lnTo>
                    <a:lnTo>
                      <a:pt x="51" y="48"/>
                    </a:lnTo>
                    <a:lnTo>
                      <a:pt x="48" y="45"/>
                    </a:lnTo>
                    <a:lnTo>
                      <a:pt x="48" y="41"/>
                    </a:lnTo>
                    <a:lnTo>
                      <a:pt x="51" y="41"/>
                    </a:lnTo>
                    <a:lnTo>
                      <a:pt x="55" y="43"/>
                    </a:lnTo>
                    <a:lnTo>
                      <a:pt x="55" y="48"/>
                    </a:lnTo>
                    <a:lnTo>
                      <a:pt x="60" y="55"/>
                    </a:lnTo>
                    <a:lnTo>
                      <a:pt x="56" y="50"/>
                    </a:lnTo>
                    <a:lnTo>
                      <a:pt x="56" y="43"/>
                    </a:lnTo>
                    <a:lnTo>
                      <a:pt x="56" y="40"/>
                    </a:lnTo>
                    <a:lnTo>
                      <a:pt x="60" y="36"/>
                    </a:lnTo>
                    <a:lnTo>
                      <a:pt x="63" y="35"/>
                    </a:lnTo>
                    <a:lnTo>
                      <a:pt x="66" y="36"/>
                    </a:lnTo>
                    <a:lnTo>
                      <a:pt x="71" y="35"/>
                    </a:lnTo>
                    <a:lnTo>
                      <a:pt x="80" y="43"/>
                    </a:lnTo>
                    <a:lnTo>
                      <a:pt x="89" y="45"/>
                    </a:lnTo>
                    <a:lnTo>
                      <a:pt x="80" y="41"/>
                    </a:lnTo>
                    <a:lnTo>
                      <a:pt x="73" y="33"/>
                    </a:lnTo>
                    <a:lnTo>
                      <a:pt x="66" y="33"/>
                    </a:lnTo>
                    <a:lnTo>
                      <a:pt x="63" y="31"/>
                    </a:lnTo>
                    <a:lnTo>
                      <a:pt x="63" y="28"/>
                    </a:lnTo>
                    <a:lnTo>
                      <a:pt x="66" y="26"/>
                    </a:lnTo>
                    <a:lnTo>
                      <a:pt x="63" y="23"/>
                    </a:lnTo>
                    <a:lnTo>
                      <a:pt x="63" y="18"/>
                    </a:lnTo>
                    <a:lnTo>
                      <a:pt x="58" y="20"/>
                    </a:lnTo>
                    <a:lnTo>
                      <a:pt x="58" y="16"/>
                    </a:lnTo>
                    <a:lnTo>
                      <a:pt x="63" y="16"/>
                    </a:lnTo>
                    <a:lnTo>
                      <a:pt x="66" y="15"/>
                    </a:lnTo>
                    <a:lnTo>
                      <a:pt x="61" y="10"/>
                    </a:lnTo>
                    <a:lnTo>
                      <a:pt x="61" y="6"/>
                    </a:lnTo>
                    <a:lnTo>
                      <a:pt x="60" y="6"/>
                    </a:lnTo>
                    <a:lnTo>
                      <a:pt x="56" y="5"/>
                    </a:lnTo>
                    <a:lnTo>
                      <a:pt x="56" y="1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2" name="Freeform 57"/>
              <p:cNvSpPr>
                <a:spLocks/>
              </p:cNvSpPr>
              <p:nvPr/>
            </p:nvSpPr>
            <p:spPr bwMode="auto">
              <a:xfrm>
                <a:off x="6526320" y="2684515"/>
                <a:ext cx="2140" cy="3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3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" h="6">
                    <a:moveTo>
                      <a:pt x="1" y="0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3" name="Freeform 58"/>
              <p:cNvSpPr>
                <a:spLocks/>
              </p:cNvSpPr>
              <p:nvPr/>
            </p:nvSpPr>
            <p:spPr bwMode="auto">
              <a:xfrm>
                <a:off x="6481370" y="2677251"/>
                <a:ext cx="57793" cy="29052"/>
              </a:xfrm>
              <a:custGeom>
                <a:avLst/>
                <a:gdLst/>
                <a:ahLst/>
                <a:cxnLst>
                  <a:cxn ang="0">
                    <a:pos x="45" y="7"/>
                  </a:cxn>
                  <a:cxn ang="0">
                    <a:pos x="55" y="7"/>
                  </a:cxn>
                  <a:cxn ang="0">
                    <a:pos x="56" y="2"/>
                  </a:cxn>
                  <a:cxn ang="0">
                    <a:pos x="63" y="5"/>
                  </a:cxn>
                  <a:cxn ang="0">
                    <a:pos x="68" y="4"/>
                  </a:cxn>
                  <a:cxn ang="0">
                    <a:pos x="78" y="9"/>
                  </a:cxn>
                  <a:cxn ang="0">
                    <a:pos x="84" y="15"/>
                  </a:cxn>
                  <a:cxn ang="0">
                    <a:pos x="84" y="20"/>
                  </a:cxn>
                  <a:cxn ang="0">
                    <a:pos x="93" y="19"/>
                  </a:cxn>
                  <a:cxn ang="0">
                    <a:pos x="103" y="20"/>
                  </a:cxn>
                  <a:cxn ang="0">
                    <a:pos x="108" y="24"/>
                  </a:cxn>
                  <a:cxn ang="0">
                    <a:pos x="106" y="37"/>
                  </a:cxn>
                  <a:cxn ang="0">
                    <a:pos x="94" y="47"/>
                  </a:cxn>
                  <a:cxn ang="0">
                    <a:pos x="86" y="44"/>
                  </a:cxn>
                  <a:cxn ang="0">
                    <a:pos x="76" y="47"/>
                  </a:cxn>
                  <a:cxn ang="0">
                    <a:pos x="70" y="50"/>
                  </a:cxn>
                  <a:cxn ang="0">
                    <a:pos x="63" y="42"/>
                  </a:cxn>
                  <a:cxn ang="0">
                    <a:pos x="48" y="52"/>
                  </a:cxn>
                  <a:cxn ang="0">
                    <a:pos x="31" y="57"/>
                  </a:cxn>
                  <a:cxn ang="0">
                    <a:pos x="26" y="50"/>
                  </a:cxn>
                  <a:cxn ang="0">
                    <a:pos x="21" y="44"/>
                  </a:cxn>
                  <a:cxn ang="0">
                    <a:pos x="11" y="39"/>
                  </a:cxn>
                  <a:cxn ang="0">
                    <a:pos x="11" y="47"/>
                  </a:cxn>
                  <a:cxn ang="0">
                    <a:pos x="0" y="49"/>
                  </a:cxn>
                  <a:cxn ang="0">
                    <a:pos x="1" y="44"/>
                  </a:cxn>
                  <a:cxn ang="0">
                    <a:pos x="5" y="40"/>
                  </a:cxn>
                  <a:cxn ang="0">
                    <a:pos x="11" y="24"/>
                  </a:cxn>
                  <a:cxn ang="0">
                    <a:pos x="20" y="17"/>
                  </a:cxn>
                  <a:cxn ang="0">
                    <a:pos x="25" y="12"/>
                  </a:cxn>
                  <a:cxn ang="0">
                    <a:pos x="21" y="5"/>
                  </a:cxn>
                  <a:cxn ang="0">
                    <a:pos x="30" y="9"/>
                  </a:cxn>
                  <a:cxn ang="0">
                    <a:pos x="41" y="7"/>
                  </a:cxn>
                </a:cxnLst>
                <a:rect l="0" t="0" r="r" b="b"/>
                <a:pathLst>
                  <a:path w="108" h="57">
                    <a:moveTo>
                      <a:pt x="41" y="7"/>
                    </a:moveTo>
                    <a:lnTo>
                      <a:pt x="45" y="7"/>
                    </a:lnTo>
                    <a:lnTo>
                      <a:pt x="50" y="5"/>
                    </a:lnTo>
                    <a:lnTo>
                      <a:pt x="55" y="7"/>
                    </a:lnTo>
                    <a:lnTo>
                      <a:pt x="58" y="5"/>
                    </a:lnTo>
                    <a:lnTo>
                      <a:pt x="56" y="2"/>
                    </a:lnTo>
                    <a:lnTo>
                      <a:pt x="61" y="0"/>
                    </a:lnTo>
                    <a:lnTo>
                      <a:pt x="63" y="5"/>
                    </a:lnTo>
                    <a:lnTo>
                      <a:pt x="66" y="5"/>
                    </a:lnTo>
                    <a:lnTo>
                      <a:pt x="68" y="4"/>
                    </a:lnTo>
                    <a:lnTo>
                      <a:pt x="71" y="4"/>
                    </a:lnTo>
                    <a:lnTo>
                      <a:pt x="78" y="9"/>
                    </a:lnTo>
                    <a:lnTo>
                      <a:pt x="84" y="10"/>
                    </a:lnTo>
                    <a:lnTo>
                      <a:pt x="84" y="15"/>
                    </a:lnTo>
                    <a:lnTo>
                      <a:pt x="83" y="17"/>
                    </a:lnTo>
                    <a:lnTo>
                      <a:pt x="84" y="20"/>
                    </a:lnTo>
                    <a:lnTo>
                      <a:pt x="89" y="20"/>
                    </a:lnTo>
                    <a:lnTo>
                      <a:pt x="93" y="19"/>
                    </a:lnTo>
                    <a:lnTo>
                      <a:pt x="98" y="24"/>
                    </a:lnTo>
                    <a:lnTo>
                      <a:pt x="103" y="20"/>
                    </a:lnTo>
                    <a:lnTo>
                      <a:pt x="106" y="20"/>
                    </a:lnTo>
                    <a:lnTo>
                      <a:pt x="108" y="24"/>
                    </a:lnTo>
                    <a:lnTo>
                      <a:pt x="103" y="29"/>
                    </a:lnTo>
                    <a:lnTo>
                      <a:pt x="106" y="37"/>
                    </a:lnTo>
                    <a:lnTo>
                      <a:pt x="96" y="39"/>
                    </a:lnTo>
                    <a:lnTo>
                      <a:pt x="94" y="47"/>
                    </a:lnTo>
                    <a:lnTo>
                      <a:pt x="91" y="44"/>
                    </a:lnTo>
                    <a:lnTo>
                      <a:pt x="86" y="44"/>
                    </a:lnTo>
                    <a:lnTo>
                      <a:pt x="76" y="40"/>
                    </a:lnTo>
                    <a:lnTo>
                      <a:pt x="76" y="47"/>
                    </a:lnTo>
                    <a:lnTo>
                      <a:pt x="71" y="55"/>
                    </a:lnTo>
                    <a:lnTo>
                      <a:pt x="70" y="50"/>
                    </a:lnTo>
                    <a:lnTo>
                      <a:pt x="61" y="47"/>
                    </a:lnTo>
                    <a:lnTo>
                      <a:pt x="63" y="42"/>
                    </a:lnTo>
                    <a:lnTo>
                      <a:pt x="56" y="39"/>
                    </a:lnTo>
                    <a:lnTo>
                      <a:pt x="48" y="52"/>
                    </a:lnTo>
                    <a:lnTo>
                      <a:pt x="41" y="50"/>
                    </a:lnTo>
                    <a:lnTo>
                      <a:pt x="31" y="57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23" y="49"/>
                    </a:lnTo>
                    <a:lnTo>
                      <a:pt x="21" y="44"/>
                    </a:lnTo>
                    <a:lnTo>
                      <a:pt x="20" y="39"/>
                    </a:lnTo>
                    <a:lnTo>
                      <a:pt x="11" y="39"/>
                    </a:lnTo>
                    <a:lnTo>
                      <a:pt x="8" y="42"/>
                    </a:lnTo>
                    <a:lnTo>
                      <a:pt x="11" y="47"/>
                    </a:lnTo>
                    <a:lnTo>
                      <a:pt x="5" y="49"/>
                    </a:lnTo>
                    <a:lnTo>
                      <a:pt x="0" y="49"/>
                    </a:lnTo>
                    <a:lnTo>
                      <a:pt x="0" y="45"/>
                    </a:lnTo>
                    <a:lnTo>
                      <a:pt x="1" y="44"/>
                    </a:lnTo>
                    <a:lnTo>
                      <a:pt x="5" y="44"/>
                    </a:lnTo>
                    <a:lnTo>
                      <a:pt x="5" y="40"/>
                    </a:lnTo>
                    <a:lnTo>
                      <a:pt x="6" y="34"/>
                    </a:lnTo>
                    <a:lnTo>
                      <a:pt x="11" y="24"/>
                    </a:lnTo>
                    <a:lnTo>
                      <a:pt x="16" y="24"/>
                    </a:lnTo>
                    <a:lnTo>
                      <a:pt x="20" y="17"/>
                    </a:lnTo>
                    <a:lnTo>
                      <a:pt x="25" y="15"/>
                    </a:lnTo>
                    <a:lnTo>
                      <a:pt x="25" y="12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8" y="5"/>
                    </a:lnTo>
                    <a:lnTo>
                      <a:pt x="30" y="9"/>
                    </a:lnTo>
                    <a:lnTo>
                      <a:pt x="33" y="9"/>
                    </a:lnTo>
                    <a:lnTo>
                      <a:pt x="4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4" name="Freeform 59"/>
              <p:cNvSpPr>
                <a:spLocks noEditPoints="1"/>
              </p:cNvSpPr>
              <p:nvPr/>
            </p:nvSpPr>
            <p:spPr bwMode="auto">
              <a:xfrm>
                <a:off x="6450332" y="2594244"/>
                <a:ext cx="47091" cy="37353"/>
              </a:xfrm>
              <a:custGeom>
                <a:avLst/>
                <a:gdLst/>
                <a:ahLst/>
                <a:cxnLst>
                  <a:cxn ang="0">
                    <a:pos x="56" y="66"/>
                  </a:cxn>
                  <a:cxn ang="0">
                    <a:pos x="56" y="53"/>
                  </a:cxn>
                  <a:cxn ang="0">
                    <a:pos x="61" y="45"/>
                  </a:cxn>
                  <a:cxn ang="0">
                    <a:pos x="74" y="45"/>
                  </a:cxn>
                  <a:cxn ang="0">
                    <a:pos x="74" y="38"/>
                  </a:cxn>
                  <a:cxn ang="0">
                    <a:pos x="79" y="32"/>
                  </a:cxn>
                  <a:cxn ang="0">
                    <a:pos x="78" y="28"/>
                  </a:cxn>
                  <a:cxn ang="0">
                    <a:pos x="71" y="25"/>
                  </a:cxn>
                  <a:cxn ang="0">
                    <a:pos x="78" y="23"/>
                  </a:cxn>
                  <a:cxn ang="0">
                    <a:pos x="81" y="17"/>
                  </a:cxn>
                  <a:cxn ang="0">
                    <a:pos x="84" y="10"/>
                  </a:cxn>
                  <a:cxn ang="0">
                    <a:pos x="86" y="7"/>
                  </a:cxn>
                  <a:cxn ang="0">
                    <a:pos x="78" y="3"/>
                  </a:cxn>
                  <a:cxn ang="0">
                    <a:pos x="63" y="0"/>
                  </a:cxn>
                  <a:cxn ang="0">
                    <a:pos x="54" y="2"/>
                  </a:cxn>
                  <a:cxn ang="0">
                    <a:pos x="46" y="3"/>
                  </a:cxn>
                  <a:cxn ang="0">
                    <a:pos x="33" y="13"/>
                  </a:cxn>
                  <a:cxn ang="0">
                    <a:pos x="25" y="15"/>
                  </a:cxn>
                  <a:cxn ang="0">
                    <a:pos x="20" y="23"/>
                  </a:cxn>
                  <a:cxn ang="0">
                    <a:pos x="21" y="33"/>
                  </a:cxn>
                  <a:cxn ang="0">
                    <a:pos x="16" y="40"/>
                  </a:cxn>
                  <a:cxn ang="0">
                    <a:pos x="13" y="45"/>
                  </a:cxn>
                  <a:cxn ang="0">
                    <a:pos x="25" y="51"/>
                  </a:cxn>
                  <a:cxn ang="0">
                    <a:pos x="16" y="53"/>
                  </a:cxn>
                  <a:cxn ang="0">
                    <a:pos x="16" y="56"/>
                  </a:cxn>
                  <a:cxn ang="0">
                    <a:pos x="20" y="60"/>
                  </a:cxn>
                  <a:cxn ang="0">
                    <a:pos x="11" y="55"/>
                  </a:cxn>
                  <a:cxn ang="0">
                    <a:pos x="3" y="55"/>
                  </a:cxn>
                  <a:cxn ang="0">
                    <a:pos x="8" y="58"/>
                  </a:cxn>
                  <a:cxn ang="0">
                    <a:pos x="13" y="60"/>
                  </a:cxn>
                  <a:cxn ang="0">
                    <a:pos x="13" y="61"/>
                  </a:cxn>
                  <a:cxn ang="0">
                    <a:pos x="3" y="60"/>
                  </a:cxn>
                  <a:cxn ang="0">
                    <a:pos x="0" y="60"/>
                  </a:cxn>
                  <a:cxn ang="0">
                    <a:pos x="5" y="65"/>
                  </a:cxn>
                  <a:cxn ang="0">
                    <a:pos x="10" y="66"/>
                  </a:cxn>
                  <a:cxn ang="0">
                    <a:pos x="18" y="63"/>
                  </a:cxn>
                  <a:cxn ang="0">
                    <a:pos x="23" y="61"/>
                  </a:cxn>
                  <a:cxn ang="0">
                    <a:pos x="31" y="58"/>
                  </a:cxn>
                  <a:cxn ang="0">
                    <a:pos x="38" y="61"/>
                  </a:cxn>
                  <a:cxn ang="0">
                    <a:pos x="48" y="63"/>
                  </a:cxn>
                  <a:cxn ang="0">
                    <a:pos x="49" y="70"/>
                  </a:cxn>
                  <a:cxn ang="0">
                    <a:pos x="53" y="71"/>
                  </a:cxn>
                  <a:cxn ang="0">
                    <a:pos x="11" y="51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10" y="48"/>
                  </a:cxn>
                  <a:cxn ang="0">
                    <a:pos x="18" y="50"/>
                  </a:cxn>
                  <a:cxn ang="0">
                    <a:pos x="13" y="50"/>
                  </a:cxn>
                  <a:cxn ang="0">
                    <a:pos x="10" y="50"/>
                  </a:cxn>
                </a:cxnLst>
                <a:rect l="0" t="0" r="r" b="b"/>
                <a:pathLst>
                  <a:path w="86" h="71">
                    <a:moveTo>
                      <a:pt x="53" y="71"/>
                    </a:moveTo>
                    <a:lnTo>
                      <a:pt x="56" y="66"/>
                    </a:lnTo>
                    <a:lnTo>
                      <a:pt x="58" y="60"/>
                    </a:lnTo>
                    <a:lnTo>
                      <a:pt x="56" y="53"/>
                    </a:lnTo>
                    <a:lnTo>
                      <a:pt x="59" y="50"/>
                    </a:lnTo>
                    <a:lnTo>
                      <a:pt x="61" y="45"/>
                    </a:lnTo>
                    <a:lnTo>
                      <a:pt x="68" y="43"/>
                    </a:lnTo>
                    <a:lnTo>
                      <a:pt x="74" y="45"/>
                    </a:lnTo>
                    <a:lnTo>
                      <a:pt x="78" y="43"/>
                    </a:lnTo>
                    <a:lnTo>
                      <a:pt x="74" y="38"/>
                    </a:lnTo>
                    <a:lnTo>
                      <a:pt x="78" y="37"/>
                    </a:lnTo>
                    <a:lnTo>
                      <a:pt x="79" y="32"/>
                    </a:lnTo>
                    <a:lnTo>
                      <a:pt x="81" y="30"/>
                    </a:lnTo>
                    <a:lnTo>
                      <a:pt x="78" y="28"/>
                    </a:lnTo>
                    <a:lnTo>
                      <a:pt x="73" y="28"/>
                    </a:lnTo>
                    <a:lnTo>
                      <a:pt x="71" y="25"/>
                    </a:lnTo>
                    <a:lnTo>
                      <a:pt x="73" y="20"/>
                    </a:lnTo>
                    <a:lnTo>
                      <a:pt x="78" y="23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4" y="12"/>
                    </a:lnTo>
                    <a:lnTo>
                      <a:pt x="84" y="10"/>
                    </a:lnTo>
                    <a:lnTo>
                      <a:pt x="86" y="8"/>
                    </a:lnTo>
                    <a:lnTo>
                      <a:pt x="86" y="7"/>
                    </a:lnTo>
                    <a:lnTo>
                      <a:pt x="81" y="5"/>
                    </a:lnTo>
                    <a:lnTo>
                      <a:pt x="78" y="3"/>
                    </a:lnTo>
                    <a:lnTo>
                      <a:pt x="71" y="0"/>
                    </a:lnTo>
                    <a:lnTo>
                      <a:pt x="63" y="0"/>
                    </a:lnTo>
                    <a:lnTo>
                      <a:pt x="59" y="3"/>
                    </a:lnTo>
                    <a:lnTo>
                      <a:pt x="54" y="2"/>
                    </a:lnTo>
                    <a:lnTo>
                      <a:pt x="53" y="3"/>
                    </a:lnTo>
                    <a:lnTo>
                      <a:pt x="46" y="3"/>
                    </a:lnTo>
                    <a:lnTo>
                      <a:pt x="41" y="10"/>
                    </a:lnTo>
                    <a:lnTo>
                      <a:pt x="33" y="13"/>
                    </a:lnTo>
                    <a:lnTo>
                      <a:pt x="31" y="13"/>
                    </a:lnTo>
                    <a:lnTo>
                      <a:pt x="25" y="15"/>
                    </a:lnTo>
                    <a:lnTo>
                      <a:pt x="25" y="20"/>
                    </a:lnTo>
                    <a:lnTo>
                      <a:pt x="20" y="23"/>
                    </a:lnTo>
                    <a:lnTo>
                      <a:pt x="21" y="28"/>
                    </a:lnTo>
                    <a:lnTo>
                      <a:pt x="21" y="33"/>
                    </a:lnTo>
                    <a:lnTo>
                      <a:pt x="18" y="37"/>
                    </a:lnTo>
                    <a:lnTo>
                      <a:pt x="16" y="40"/>
                    </a:lnTo>
                    <a:lnTo>
                      <a:pt x="13" y="41"/>
                    </a:lnTo>
                    <a:lnTo>
                      <a:pt x="13" y="45"/>
                    </a:lnTo>
                    <a:lnTo>
                      <a:pt x="20" y="50"/>
                    </a:lnTo>
                    <a:lnTo>
                      <a:pt x="25" y="51"/>
                    </a:lnTo>
                    <a:lnTo>
                      <a:pt x="18" y="51"/>
                    </a:lnTo>
                    <a:lnTo>
                      <a:pt x="16" y="53"/>
                    </a:lnTo>
                    <a:lnTo>
                      <a:pt x="15" y="55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5" y="60"/>
                    </a:lnTo>
                    <a:lnTo>
                      <a:pt x="11" y="55"/>
                    </a:lnTo>
                    <a:lnTo>
                      <a:pt x="6" y="53"/>
                    </a:lnTo>
                    <a:lnTo>
                      <a:pt x="3" y="55"/>
                    </a:lnTo>
                    <a:lnTo>
                      <a:pt x="5" y="58"/>
                    </a:lnTo>
                    <a:lnTo>
                      <a:pt x="8" y="58"/>
                    </a:lnTo>
                    <a:lnTo>
                      <a:pt x="11" y="60"/>
                    </a:lnTo>
                    <a:lnTo>
                      <a:pt x="13" y="60"/>
                    </a:lnTo>
                    <a:lnTo>
                      <a:pt x="18" y="63"/>
                    </a:lnTo>
                    <a:lnTo>
                      <a:pt x="13" y="61"/>
                    </a:lnTo>
                    <a:lnTo>
                      <a:pt x="10" y="61"/>
                    </a:lnTo>
                    <a:lnTo>
                      <a:pt x="3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1" y="61"/>
                    </a:lnTo>
                    <a:lnTo>
                      <a:pt x="5" y="65"/>
                    </a:lnTo>
                    <a:lnTo>
                      <a:pt x="8" y="65"/>
                    </a:lnTo>
                    <a:lnTo>
                      <a:pt x="10" y="66"/>
                    </a:lnTo>
                    <a:lnTo>
                      <a:pt x="13" y="65"/>
                    </a:lnTo>
                    <a:lnTo>
                      <a:pt x="18" y="63"/>
                    </a:lnTo>
                    <a:lnTo>
                      <a:pt x="18" y="61"/>
                    </a:lnTo>
                    <a:lnTo>
                      <a:pt x="23" y="61"/>
                    </a:lnTo>
                    <a:lnTo>
                      <a:pt x="23" y="58"/>
                    </a:lnTo>
                    <a:lnTo>
                      <a:pt x="31" y="58"/>
                    </a:lnTo>
                    <a:lnTo>
                      <a:pt x="35" y="61"/>
                    </a:lnTo>
                    <a:lnTo>
                      <a:pt x="38" y="61"/>
                    </a:lnTo>
                    <a:lnTo>
                      <a:pt x="41" y="65"/>
                    </a:lnTo>
                    <a:lnTo>
                      <a:pt x="48" y="63"/>
                    </a:lnTo>
                    <a:lnTo>
                      <a:pt x="49" y="68"/>
                    </a:lnTo>
                    <a:lnTo>
                      <a:pt x="49" y="70"/>
                    </a:lnTo>
                    <a:lnTo>
                      <a:pt x="53" y="71"/>
                    </a:lnTo>
                    <a:lnTo>
                      <a:pt x="53" y="71"/>
                    </a:lnTo>
                    <a:close/>
                    <a:moveTo>
                      <a:pt x="8" y="53"/>
                    </a:moveTo>
                    <a:lnTo>
                      <a:pt x="11" y="51"/>
                    </a:lnTo>
                    <a:lnTo>
                      <a:pt x="13" y="53"/>
                    </a:lnTo>
                    <a:lnTo>
                      <a:pt x="11" y="53"/>
                    </a:lnTo>
                    <a:lnTo>
                      <a:pt x="10" y="53"/>
                    </a:lnTo>
                    <a:lnTo>
                      <a:pt x="8" y="53"/>
                    </a:lnTo>
                    <a:lnTo>
                      <a:pt x="8" y="53"/>
                    </a:lnTo>
                    <a:close/>
                    <a:moveTo>
                      <a:pt x="10" y="48"/>
                    </a:moveTo>
                    <a:lnTo>
                      <a:pt x="13" y="48"/>
                    </a:lnTo>
                    <a:lnTo>
                      <a:pt x="18" y="50"/>
                    </a:lnTo>
                    <a:lnTo>
                      <a:pt x="16" y="51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0" y="50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5" name="Freeform 60"/>
              <p:cNvSpPr>
                <a:spLocks/>
              </p:cNvSpPr>
              <p:nvPr/>
            </p:nvSpPr>
            <p:spPr bwMode="auto">
              <a:xfrm>
                <a:off x="6446051" y="2625372"/>
                <a:ext cx="36388" cy="26977"/>
              </a:xfrm>
              <a:custGeom>
                <a:avLst/>
                <a:gdLst/>
                <a:ahLst/>
                <a:cxnLst>
                  <a:cxn ang="0">
                    <a:pos x="65" y="37"/>
                  </a:cxn>
                  <a:cxn ang="0">
                    <a:pos x="68" y="30"/>
                  </a:cxn>
                  <a:cxn ang="0">
                    <a:pos x="65" y="27"/>
                  </a:cxn>
                  <a:cxn ang="0">
                    <a:pos x="65" y="23"/>
                  </a:cxn>
                  <a:cxn ang="0">
                    <a:pos x="62" y="17"/>
                  </a:cxn>
                  <a:cxn ang="0">
                    <a:pos x="63" y="13"/>
                  </a:cxn>
                  <a:cxn ang="0">
                    <a:pos x="58" y="12"/>
                  </a:cxn>
                  <a:cxn ang="0">
                    <a:pos x="58" y="10"/>
                  </a:cxn>
                  <a:cxn ang="0">
                    <a:pos x="57" y="5"/>
                  </a:cxn>
                  <a:cxn ang="0">
                    <a:pos x="50" y="7"/>
                  </a:cxn>
                  <a:cxn ang="0">
                    <a:pos x="47" y="3"/>
                  </a:cxn>
                  <a:cxn ang="0">
                    <a:pos x="44" y="3"/>
                  </a:cxn>
                  <a:cxn ang="0">
                    <a:pos x="40" y="0"/>
                  </a:cxn>
                  <a:cxn ang="0">
                    <a:pos x="32" y="0"/>
                  </a:cxn>
                  <a:cxn ang="0">
                    <a:pos x="32" y="3"/>
                  </a:cxn>
                  <a:cxn ang="0">
                    <a:pos x="27" y="3"/>
                  </a:cxn>
                  <a:cxn ang="0">
                    <a:pos x="27" y="5"/>
                  </a:cxn>
                  <a:cxn ang="0">
                    <a:pos x="22" y="7"/>
                  </a:cxn>
                  <a:cxn ang="0">
                    <a:pos x="19" y="8"/>
                  </a:cxn>
                  <a:cxn ang="0">
                    <a:pos x="17" y="7"/>
                  </a:cxn>
                  <a:cxn ang="0">
                    <a:pos x="14" y="7"/>
                  </a:cxn>
                  <a:cxn ang="0">
                    <a:pos x="10" y="3"/>
                  </a:cxn>
                  <a:cxn ang="0">
                    <a:pos x="9" y="2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20"/>
                  </a:cxn>
                  <a:cxn ang="0">
                    <a:pos x="9" y="22"/>
                  </a:cxn>
                  <a:cxn ang="0">
                    <a:pos x="10" y="25"/>
                  </a:cxn>
                  <a:cxn ang="0">
                    <a:pos x="17" y="30"/>
                  </a:cxn>
                  <a:cxn ang="0">
                    <a:pos x="20" y="30"/>
                  </a:cxn>
                  <a:cxn ang="0">
                    <a:pos x="24" y="33"/>
                  </a:cxn>
                  <a:cxn ang="0">
                    <a:pos x="27" y="33"/>
                  </a:cxn>
                  <a:cxn ang="0">
                    <a:pos x="27" y="40"/>
                  </a:cxn>
                  <a:cxn ang="0">
                    <a:pos x="32" y="43"/>
                  </a:cxn>
                  <a:cxn ang="0">
                    <a:pos x="35" y="42"/>
                  </a:cxn>
                  <a:cxn ang="0">
                    <a:pos x="37" y="42"/>
                  </a:cxn>
                  <a:cxn ang="0">
                    <a:pos x="40" y="43"/>
                  </a:cxn>
                  <a:cxn ang="0">
                    <a:pos x="42" y="43"/>
                  </a:cxn>
                  <a:cxn ang="0">
                    <a:pos x="48" y="50"/>
                  </a:cxn>
                  <a:cxn ang="0">
                    <a:pos x="53" y="50"/>
                  </a:cxn>
                  <a:cxn ang="0">
                    <a:pos x="57" y="53"/>
                  </a:cxn>
                  <a:cxn ang="0">
                    <a:pos x="60" y="52"/>
                  </a:cxn>
                  <a:cxn ang="0">
                    <a:pos x="63" y="52"/>
                  </a:cxn>
                  <a:cxn ang="0">
                    <a:pos x="63" y="50"/>
                  </a:cxn>
                  <a:cxn ang="0">
                    <a:pos x="62" y="48"/>
                  </a:cxn>
                  <a:cxn ang="0">
                    <a:pos x="62" y="45"/>
                  </a:cxn>
                  <a:cxn ang="0">
                    <a:pos x="60" y="43"/>
                  </a:cxn>
                  <a:cxn ang="0">
                    <a:pos x="62" y="40"/>
                  </a:cxn>
                  <a:cxn ang="0">
                    <a:pos x="63" y="37"/>
                  </a:cxn>
                  <a:cxn ang="0">
                    <a:pos x="65" y="37"/>
                  </a:cxn>
                </a:cxnLst>
                <a:rect l="0" t="0" r="r" b="b"/>
                <a:pathLst>
                  <a:path w="68" h="53">
                    <a:moveTo>
                      <a:pt x="65" y="37"/>
                    </a:moveTo>
                    <a:lnTo>
                      <a:pt x="68" y="30"/>
                    </a:lnTo>
                    <a:lnTo>
                      <a:pt x="65" y="27"/>
                    </a:lnTo>
                    <a:lnTo>
                      <a:pt x="65" y="23"/>
                    </a:lnTo>
                    <a:lnTo>
                      <a:pt x="62" y="17"/>
                    </a:lnTo>
                    <a:lnTo>
                      <a:pt x="63" y="13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7" y="5"/>
                    </a:lnTo>
                    <a:lnTo>
                      <a:pt x="50" y="7"/>
                    </a:lnTo>
                    <a:lnTo>
                      <a:pt x="47" y="3"/>
                    </a:lnTo>
                    <a:lnTo>
                      <a:pt x="44" y="3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32" y="3"/>
                    </a:lnTo>
                    <a:lnTo>
                      <a:pt x="27" y="3"/>
                    </a:lnTo>
                    <a:lnTo>
                      <a:pt x="27" y="5"/>
                    </a:lnTo>
                    <a:lnTo>
                      <a:pt x="22" y="7"/>
                    </a:lnTo>
                    <a:lnTo>
                      <a:pt x="19" y="8"/>
                    </a:lnTo>
                    <a:lnTo>
                      <a:pt x="17" y="7"/>
                    </a:lnTo>
                    <a:lnTo>
                      <a:pt x="14" y="7"/>
                    </a:lnTo>
                    <a:lnTo>
                      <a:pt x="10" y="3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20"/>
                    </a:lnTo>
                    <a:lnTo>
                      <a:pt x="9" y="22"/>
                    </a:lnTo>
                    <a:lnTo>
                      <a:pt x="10" y="25"/>
                    </a:lnTo>
                    <a:lnTo>
                      <a:pt x="17" y="30"/>
                    </a:lnTo>
                    <a:lnTo>
                      <a:pt x="20" y="30"/>
                    </a:lnTo>
                    <a:lnTo>
                      <a:pt x="24" y="33"/>
                    </a:lnTo>
                    <a:lnTo>
                      <a:pt x="27" y="33"/>
                    </a:lnTo>
                    <a:lnTo>
                      <a:pt x="27" y="40"/>
                    </a:lnTo>
                    <a:lnTo>
                      <a:pt x="32" y="43"/>
                    </a:lnTo>
                    <a:lnTo>
                      <a:pt x="35" y="42"/>
                    </a:lnTo>
                    <a:lnTo>
                      <a:pt x="37" y="42"/>
                    </a:lnTo>
                    <a:lnTo>
                      <a:pt x="40" y="43"/>
                    </a:lnTo>
                    <a:lnTo>
                      <a:pt x="42" y="43"/>
                    </a:lnTo>
                    <a:lnTo>
                      <a:pt x="48" y="50"/>
                    </a:lnTo>
                    <a:lnTo>
                      <a:pt x="53" y="50"/>
                    </a:lnTo>
                    <a:lnTo>
                      <a:pt x="57" y="53"/>
                    </a:lnTo>
                    <a:lnTo>
                      <a:pt x="60" y="52"/>
                    </a:lnTo>
                    <a:lnTo>
                      <a:pt x="63" y="52"/>
                    </a:lnTo>
                    <a:lnTo>
                      <a:pt x="63" y="50"/>
                    </a:lnTo>
                    <a:lnTo>
                      <a:pt x="62" y="48"/>
                    </a:lnTo>
                    <a:lnTo>
                      <a:pt x="62" y="45"/>
                    </a:lnTo>
                    <a:lnTo>
                      <a:pt x="60" y="43"/>
                    </a:lnTo>
                    <a:lnTo>
                      <a:pt x="62" y="40"/>
                    </a:lnTo>
                    <a:lnTo>
                      <a:pt x="63" y="37"/>
                    </a:lnTo>
                    <a:lnTo>
                      <a:pt x="65" y="3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6" name="Freeform 61"/>
              <p:cNvSpPr>
                <a:spLocks/>
              </p:cNvSpPr>
              <p:nvPr/>
            </p:nvSpPr>
            <p:spPr bwMode="auto">
              <a:xfrm>
                <a:off x="6478159" y="2644049"/>
                <a:ext cx="8562" cy="10376"/>
              </a:xfrm>
              <a:custGeom>
                <a:avLst/>
                <a:gdLst/>
                <a:ahLst/>
                <a:cxnLst>
                  <a:cxn ang="0">
                    <a:pos x="3" y="15"/>
                  </a:cxn>
                  <a:cxn ang="0">
                    <a:pos x="3" y="13"/>
                  </a:cxn>
                  <a:cxn ang="0">
                    <a:pos x="2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" y="3"/>
                  </a:cxn>
                  <a:cxn ang="0">
                    <a:pos x="3" y="0"/>
                  </a:cxn>
                  <a:cxn ang="0">
                    <a:pos x="7" y="0"/>
                  </a:cxn>
                  <a:cxn ang="0">
                    <a:pos x="12" y="6"/>
                  </a:cxn>
                  <a:cxn ang="0">
                    <a:pos x="13" y="10"/>
                  </a:cxn>
                  <a:cxn ang="0">
                    <a:pos x="17" y="13"/>
                  </a:cxn>
                  <a:cxn ang="0">
                    <a:pos x="15" y="20"/>
                  </a:cxn>
                  <a:cxn ang="0">
                    <a:pos x="12" y="20"/>
                  </a:cxn>
                  <a:cxn ang="0">
                    <a:pos x="7" y="20"/>
                  </a:cxn>
                  <a:cxn ang="0">
                    <a:pos x="3" y="15"/>
                  </a:cxn>
                  <a:cxn ang="0">
                    <a:pos x="3" y="15"/>
                  </a:cxn>
                </a:cxnLst>
                <a:rect l="0" t="0" r="r" b="b"/>
                <a:pathLst>
                  <a:path w="17" h="20">
                    <a:moveTo>
                      <a:pt x="3" y="15"/>
                    </a:moveTo>
                    <a:lnTo>
                      <a:pt x="3" y="13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2" y="6"/>
                    </a:lnTo>
                    <a:lnTo>
                      <a:pt x="13" y="10"/>
                    </a:lnTo>
                    <a:lnTo>
                      <a:pt x="17" y="13"/>
                    </a:lnTo>
                    <a:lnTo>
                      <a:pt x="15" y="20"/>
                    </a:lnTo>
                    <a:lnTo>
                      <a:pt x="12" y="20"/>
                    </a:lnTo>
                    <a:lnTo>
                      <a:pt x="7" y="20"/>
                    </a:lnTo>
                    <a:lnTo>
                      <a:pt x="3" y="15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7" name="Freeform 62"/>
              <p:cNvSpPr>
                <a:spLocks/>
              </p:cNvSpPr>
              <p:nvPr/>
            </p:nvSpPr>
            <p:spPr bwMode="auto">
              <a:xfrm>
                <a:off x="6291935" y="2562079"/>
                <a:ext cx="52442" cy="60180"/>
              </a:xfrm>
              <a:custGeom>
                <a:avLst/>
                <a:gdLst/>
                <a:ahLst/>
                <a:cxnLst>
                  <a:cxn ang="0">
                    <a:pos x="41" y="114"/>
                  </a:cxn>
                  <a:cxn ang="0">
                    <a:pos x="50" y="106"/>
                  </a:cxn>
                  <a:cxn ang="0">
                    <a:pos x="58" y="104"/>
                  </a:cxn>
                  <a:cxn ang="0">
                    <a:pos x="76" y="100"/>
                  </a:cxn>
                  <a:cxn ang="0">
                    <a:pos x="81" y="98"/>
                  </a:cxn>
                  <a:cxn ang="0">
                    <a:pos x="86" y="93"/>
                  </a:cxn>
                  <a:cxn ang="0">
                    <a:pos x="93" y="83"/>
                  </a:cxn>
                  <a:cxn ang="0">
                    <a:pos x="96" y="66"/>
                  </a:cxn>
                  <a:cxn ang="0">
                    <a:pos x="96" y="58"/>
                  </a:cxn>
                  <a:cxn ang="0">
                    <a:pos x="91" y="46"/>
                  </a:cxn>
                  <a:cxn ang="0">
                    <a:pos x="91" y="41"/>
                  </a:cxn>
                  <a:cxn ang="0">
                    <a:pos x="76" y="30"/>
                  </a:cxn>
                  <a:cxn ang="0">
                    <a:pos x="68" y="38"/>
                  </a:cxn>
                  <a:cxn ang="0">
                    <a:pos x="68" y="18"/>
                  </a:cxn>
                  <a:cxn ang="0">
                    <a:pos x="75" y="11"/>
                  </a:cxn>
                  <a:cxn ang="0">
                    <a:pos x="81" y="6"/>
                  </a:cxn>
                  <a:cxn ang="0">
                    <a:pos x="75" y="3"/>
                  </a:cxn>
                  <a:cxn ang="0">
                    <a:pos x="66" y="13"/>
                  </a:cxn>
                  <a:cxn ang="0">
                    <a:pos x="66" y="5"/>
                  </a:cxn>
                  <a:cxn ang="0">
                    <a:pos x="61" y="6"/>
                  </a:cxn>
                  <a:cxn ang="0">
                    <a:pos x="53" y="10"/>
                  </a:cxn>
                  <a:cxn ang="0">
                    <a:pos x="53" y="15"/>
                  </a:cxn>
                  <a:cxn ang="0">
                    <a:pos x="50" y="18"/>
                  </a:cxn>
                  <a:cxn ang="0">
                    <a:pos x="51" y="23"/>
                  </a:cxn>
                  <a:cxn ang="0">
                    <a:pos x="56" y="23"/>
                  </a:cxn>
                  <a:cxn ang="0">
                    <a:pos x="46" y="33"/>
                  </a:cxn>
                  <a:cxn ang="0">
                    <a:pos x="33" y="35"/>
                  </a:cxn>
                  <a:cxn ang="0">
                    <a:pos x="22" y="31"/>
                  </a:cxn>
                  <a:cxn ang="0">
                    <a:pos x="17" y="33"/>
                  </a:cxn>
                  <a:cxn ang="0">
                    <a:pos x="20" y="41"/>
                  </a:cxn>
                  <a:cxn ang="0">
                    <a:pos x="12" y="40"/>
                  </a:cxn>
                  <a:cxn ang="0">
                    <a:pos x="25" y="46"/>
                  </a:cxn>
                  <a:cxn ang="0">
                    <a:pos x="20" y="51"/>
                  </a:cxn>
                  <a:cxn ang="0">
                    <a:pos x="12" y="56"/>
                  </a:cxn>
                  <a:cxn ang="0">
                    <a:pos x="17" y="60"/>
                  </a:cxn>
                  <a:cxn ang="0">
                    <a:pos x="36" y="65"/>
                  </a:cxn>
                  <a:cxn ang="0">
                    <a:pos x="25" y="73"/>
                  </a:cxn>
                  <a:cxn ang="0">
                    <a:pos x="13" y="83"/>
                  </a:cxn>
                  <a:cxn ang="0">
                    <a:pos x="25" y="83"/>
                  </a:cxn>
                  <a:cxn ang="0">
                    <a:pos x="35" y="81"/>
                  </a:cxn>
                  <a:cxn ang="0">
                    <a:pos x="22" y="85"/>
                  </a:cxn>
                  <a:cxn ang="0">
                    <a:pos x="15" y="91"/>
                  </a:cxn>
                  <a:cxn ang="0">
                    <a:pos x="13" y="95"/>
                  </a:cxn>
                  <a:cxn ang="0">
                    <a:pos x="7" y="91"/>
                  </a:cxn>
                  <a:cxn ang="0">
                    <a:pos x="17" y="96"/>
                  </a:cxn>
                  <a:cxn ang="0">
                    <a:pos x="3" y="106"/>
                  </a:cxn>
                  <a:cxn ang="0">
                    <a:pos x="18" y="104"/>
                  </a:cxn>
                  <a:cxn ang="0">
                    <a:pos x="13" y="113"/>
                  </a:cxn>
                  <a:cxn ang="0">
                    <a:pos x="13" y="114"/>
                  </a:cxn>
                  <a:cxn ang="0">
                    <a:pos x="22" y="114"/>
                  </a:cxn>
                </a:cxnLst>
                <a:rect l="0" t="0" r="r" b="b"/>
                <a:pathLst>
                  <a:path w="98" h="116">
                    <a:moveTo>
                      <a:pt x="25" y="116"/>
                    </a:moveTo>
                    <a:lnTo>
                      <a:pt x="33" y="116"/>
                    </a:lnTo>
                    <a:lnTo>
                      <a:pt x="41" y="114"/>
                    </a:lnTo>
                    <a:lnTo>
                      <a:pt x="46" y="109"/>
                    </a:lnTo>
                    <a:lnTo>
                      <a:pt x="45" y="106"/>
                    </a:lnTo>
                    <a:lnTo>
                      <a:pt x="50" y="106"/>
                    </a:lnTo>
                    <a:lnTo>
                      <a:pt x="48" y="109"/>
                    </a:lnTo>
                    <a:lnTo>
                      <a:pt x="53" y="109"/>
                    </a:lnTo>
                    <a:lnTo>
                      <a:pt x="58" y="104"/>
                    </a:lnTo>
                    <a:lnTo>
                      <a:pt x="61" y="104"/>
                    </a:lnTo>
                    <a:lnTo>
                      <a:pt x="61" y="101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8" y="100"/>
                    </a:lnTo>
                    <a:lnTo>
                      <a:pt x="81" y="98"/>
                    </a:lnTo>
                    <a:lnTo>
                      <a:pt x="85" y="98"/>
                    </a:lnTo>
                    <a:lnTo>
                      <a:pt x="91" y="98"/>
                    </a:lnTo>
                    <a:lnTo>
                      <a:pt x="86" y="93"/>
                    </a:lnTo>
                    <a:lnTo>
                      <a:pt x="90" y="91"/>
                    </a:lnTo>
                    <a:lnTo>
                      <a:pt x="95" y="88"/>
                    </a:lnTo>
                    <a:lnTo>
                      <a:pt x="93" y="83"/>
                    </a:lnTo>
                    <a:lnTo>
                      <a:pt x="96" y="80"/>
                    </a:lnTo>
                    <a:lnTo>
                      <a:pt x="98" y="75"/>
                    </a:lnTo>
                    <a:lnTo>
                      <a:pt x="96" y="66"/>
                    </a:lnTo>
                    <a:lnTo>
                      <a:pt x="93" y="65"/>
                    </a:lnTo>
                    <a:lnTo>
                      <a:pt x="96" y="61"/>
                    </a:lnTo>
                    <a:lnTo>
                      <a:pt x="96" y="58"/>
                    </a:lnTo>
                    <a:lnTo>
                      <a:pt x="95" y="53"/>
                    </a:lnTo>
                    <a:lnTo>
                      <a:pt x="95" y="48"/>
                    </a:lnTo>
                    <a:lnTo>
                      <a:pt x="91" y="46"/>
                    </a:lnTo>
                    <a:lnTo>
                      <a:pt x="93" y="43"/>
                    </a:lnTo>
                    <a:lnTo>
                      <a:pt x="96" y="45"/>
                    </a:lnTo>
                    <a:lnTo>
                      <a:pt x="91" y="41"/>
                    </a:lnTo>
                    <a:lnTo>
                      <a:pt x="86" y="40"/>
                    </a:lnTo>
                    <a:lnTo>
                      <a:pt x="83" y="33"/>
                    </a:lnTo>
                    <a:lnTo>
                      <a:pt x="76" y="30"/>
                    </a:lnTo>
                    <a:lnTo>
                      <a:pt x="73" y="31"/>
                    </a:lnTo>
                    <a:lnTo>
                      <a:pt x="71" y="36"/>
                    </a:lnTo>
                    <a:lnTo>
                      <a:pt x="68" y="38"/>
                    </a:lnTo>
                    <a:lnTo>
                      <a:pt x="58" y="30"/>
                    </a:lnTo>
                    <a:lnTo>
                      <a:pt x="63" y="20"/>
                    </a:lnTo>
                    <a:lnTo>
                      <a:pt x="68" y="18"/>
                    </a:lnTo>
                    <a:lnTo>
                      <a:pt x="70" y="15"/>
                    </a:lnTo>
                    <a:lnTo>
                      <a:pt x="73" y="13"/>
                    </a:lnTo>
                    <a:lnTo>
                      <a:pt x="75" y="11"/>
                    </a:lnTo>
                    <a:lnTo>
                      <a:pt x="73" y="11"/>
                    </a:lnTo>
                    <a:lnTo>
                      <a:pt x="78" y="8"/>
                    </a:lnTo>
                    <a:lnTo>
                      <a:pt x="81" y="6"/>
                    </a:lnTo>
                    <a:lnTo>
                      <a:pt x="76" y="3"/>
                    </a:lnTo>
                    <a:lnTo>
                      <a:pt x="73" y="0"/>
                    </a:lnTo>
                    <a:lnTo>
                      <a:pt x="75" y="3"/>
                    </a:lnTo>
                    <a:lnTo>
                      <a:pt x="70" y="3"/>
                    </a:lnTo>
                    <a:lnTo>
                      <a:pt x="71" y="8"/>
                    </a:lnTo>
                    <a:lnTo>
                      <a:pt x="66" y="13"/>
                    </a:lnTo>
                    <a:lnTo>
                      <a:pt x="68" y="10"/>
                    </a:lnTo>
                    <a:lnTo>
                      <a:pt x="70" y="8"/>
                    </a:lnTo>
                    <a:lnTo>
                      <a:pt x="66" y="5"/>
                    </a:lnTo>
                    <a:lnTo>
                      <a:pt x="65" y="5"/>
                    </a:lnTo>
                    <a:lnTo>
                      <a:pt x="66" y="6"/>
                    </a:lnTo>
                    <a:lnTo>
                      <a:pt x="61" y="6"/>
                    </a:lnTo>
                    <a:lnTo>
                      <a:pt x="60" y="5"/>
                    </a:lnTo>
                    <a:lnTo>
                      <a:pt x="53" y="6"/>
                    </a:lnTo>
                    <a:lnTo>
                      <a:pt x="53" y="10"/>
                    </a:lnTo>
                    <a:lnTo>
                      <a:pt x="51" y="10"/>
                    </a:lnTo>
                    <a:lnTo>
                      <a:pt x="50" y="13"/>
                    </a:lnTo>
                    <a:lnTo>
                      <a:pt x="53" y="15"/>
                    </a:lnTo>
                    <a:lnTo>
                      <a:pt x="51" y="16"/>
                    </a:lnTo>
                    <a:lnTo>
                      <a:pt x="48" y="16"/>
                    </a:lnTo>
                    <a:lnTo>
                      <a:pt x="50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51" y="23"/>
                    </a:lnTo>
                    <a:lnTo>
                      <a:pt x="50" y="25"/>
                    </a:lnTo>
                    <a:lnTo>
                      <a:pt x="55" y="23"/>
                    </a:lnTo>
                    <a:lnTo>
                      <a:pt x="56" y="23"/>
                    </a:lnTo>
                    <a:lnTo>
                      <a:pt x="51" y="28"/>
                    </a:lnTo>
                    <a:lnTo>
                      <a:pt x="45" y="30"/>
                    </a:lnTo>
                    <a:lnTo>
                      <a:pt x="46" y="33"/>
                    </a:lnTo>
                    <a:lnTo>
                      <a:pt x="40" y="33"/>
                    </a:lnTo>
                    <a:lnTo>
                      <a:pt x="36" y="31"/>
                    </a:lnTo>
                    <a:lnTo>
                      <a:pt x="33" y="35"/>
                    </a:lnTo>
                    <a:lnTo>
                      <a:pt x="32" y="31"/>
                    </a:lnTo>
                    <a:lnTo>
                      <a:pt x="22" y="30"/>
                    </a:lnTo>
                    <a:lnTo>
                      <a:pt x="22" y="31"/>
                    </a:lnTo>
                    <a:lnTo>
                      <a:pt x="15" y="30"/>
                    </a:lnTo>
                    <a:lnTo>
                      <a:pt x="13" y="36"/>
                    </a:lnTo>
                    <a:lnTo>
                      <a:pt x="17" y="33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20" y="41"/>
                    </a:lnTo>
                    <a:lnTo>
                      <a:pt x="18" y="41"/>
                    </a:lnTo>
                    <a:lnTo>
                      <a:pt x="17" y="40"/>
                    </a:lnTo>
                    <a:lnTo>
                      <a:pt x="12" y="40"/>
                    </a:lnTo>
                    <a:lnTo>
                      <a:pt x="18" y="45"/>
                    </a:lnTo>
                    <a:lnTo>
                      <a:pt x="23" y="43"/>
                    </a:lnTo>
                    <a:lnTo>
                      <a:pt x="25" y="46"/>
                    </a:lnTo>
                    <a:lnTo>
                      <a:pt x="18" y="48"/>
                    </a:lnTo>
                    <a:lnTo>
                      <a:pt x="18" y="50"/>
                    </a:lnTo>
                    <a:lnTo>
                      <a:pt x="20" y="51"/>
                    </a:lnTo>
                    <a:lnTo>
                      <a:pt x="13" y="51"/>
                    </a:lnTo>
                    <a:lnTo>
                      <a:pt x="13" y="56"/>
                    </a:lnTo>
                    <a:lnTo>
                      <a:pt x="12" y="56"/>
                    </a:lnTo>
                    <a:lnTo>
                      <a:pt x="15" y="58"/>
                    </a:lnTo>
                    <a:lnTo>
                      <a:pt x="18" y="58"/>
                    </a:lnTo>
                    <a:lnTo>
                      <a:pt x="17" y="60"/>
                    </a:lnTo>
                    <a:lnTo>
                      <a:pt x="22" y="58"/>
                    </a:lnTo>
                    <a:lnTo>
                      <a:pt x="23" y="65"/>
                    </a:lnTo>
                    <a:lnTo>
                      <a:pt x="36" y="65"/>
                    </a:lnTo>
                    <a:lnTo>
                      <a:pt x="32" y="68"/>
                    </a:lnTo>
                    <a:lnTo>
                      <a:pt x="30" y="66"/>
                    </a:lnTo>
                    <a:lnTo>
                      <a:pt x="25" y="73"/>
                    </a:lnTo>
                    <a:lnTo>
                      <a:pt x="27" y="73"/>
                    </a:lnTo>
                    <a:lnTo>
                      <a:pt x="23" y="78"/>
                    </a:lnTo>
                    <a:lnTo>
                      <a:pt x="13" y="83"/>
                    </a:lnTo>
                    <a:lnTo>
                      <a:pt x="18" y="83"/>
                    </a:lnTo>
                    <a:lnTo>
                      <a:pt x="22" y="81"/>
                    </a:lnTo>
                    <a:lnTo>
                      <a:pt x="25" y="83"/>
                    </a:lnTo>
                    <a:lnTo>
                      <a:pt x="30" y="83"/>
                    </a:lnTo>
                    <a:lnTo>
                      <a:pt x="35" y="80"/>
                    </a:lnTo>
                    <a:lnTo>
                      <a:pt x="35" y="81"/>
                    </a:lnTo>
                    <a:lnTo>
                      <a:pt x="40" y="81"/>
                    </a:lnTo>
                    <a:lnTo>
                      <a:pt x="28" y="83"/>
                    </a:lnTo>
                    <a:lnTo>
                      <a:pt x="22" y="85"/>
                    </a:lnTo>
                    <a:lnTo>
                      <a:pt x="18" y="86"/>
                    </a:lnTo>
                    <a:lnTo>
                      <a:pt x="13" y="88"/>
                    </a:lnTo>
                    <a:lnTo>
                      <a:pt x="15" y="91"/>
                    </a:lnTo>
                    <a:lnTo>
                      <a:pt x="15" y="93"/>
                    </a:lnTo>
                    <a:lnTo>
                      <a:pt x="17" y="93"/>
                    </a:lnTo>
                    <a:lnTo>
                      <a:pt x="13" y="95"/>
                    </a:lnTo>
                    <a:lnTo>
                      <a:pt x="10" y="91"/>
                    </a:lnTo>
                    <a:lnTo>
                      <a:pt x="8" y="93"/>
                    </a:lnTo>
                    <a:lnTo>
                      <a:pt x="7" y="91"/>
                    </a:lnTo>
                    <a:lnTo>
                      <a:pt x="0" y="95"/>
                    </a:lnTo>
                    <a:lnTo>
                      <a:pt x="2" y="96"/>
                    </a:lnTo>
                    <a:lnTo>
                      <a:pt x="17" y="96"/>
                    </a:lnTo>
                    <a:lnTo>
                      <a:pt x="12" y="100"/>
                    </a:lnTo>
                    <a:lnTo>
                      <a:pt x="5" y="101"/>
                    </a:lnTo>
                    <a:lnTo>
                      <a:pt x="3" y="106"/>
                    </a:lnTo>
                    <a:lnTo>
                      <a:pt x="7" y="106"/>
                    </a:lnTo>
                    <a:lnTo>
                      <a:pt x="8" y="108"/>
                    </a:lnTo>
                    <a:lnTo>
                      <a:pt x="18" y="104"/>
                    </a:lnTo>
                    <a:lnTo>
                      <a:pt x="10" y="109"/>
                    </a:lnTo>
                    <a:lnTo>
                      <a:pt x="7" y="113"/>
                    </a:lnTo>
                    <a:lnTo>
                      <a:pt x="13" y="113"/>
                    </a:lnTo>
                    <a:lnTo>
                      <a:pt x="22" y="108"/>
                    </a:lnTo>
                    <a:lnTo>
                      <a:pt x="20" y="111"/>
                    </a:lnTo>
                    <a:lnTo>
                      <a:pt x="13" y="114"/>
                    </a:lnTo>
                    <a:lnTo>
                      <a:pt x="18" y="114"/>
                    </a:lnTo>
                    <a:lnTo>
                      <a:pt x="17" y="116"/>
                    </a:lnTo>
                    <a:lnTo>
                      <a:pt x="22" y="114"/>
                    </a:lnTo>
                    <a:lnTo>
                      <a:pt x="25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8" name="Freeform 63"/>
              <p:cNvSpPr>
                <a:spLocks noEditPoints="1"/>
              </p:cNvSpPr>
              <p:nvPr/>
            </p:nvSpPr>
            <p:spPr bwMode="auto">
              <a:xfrm>
                <a:off x="6324043" y="2468697"/>
                <a:ext cx="111306" cy="180540"/>
              </a:xfrm>
              <a:custGeom>
                <a:avLst/>
                <a:gdLst/>
                <a:ahLst/>
                <a:cxnLst>
                  <a:cxn ang="0">
                    <a:pos x="10" y="198"/>
                  </a:cxn>
                  <a:cxn ang="0">
                    <a:pos x="48" y="201"/>
                  </a:cxn>
                  <a:cxn ang="0">
                    <a:pos x="45" y="220"/>
                  </a:cxn>
                  <a:cxn ang="0">
                    <a:pos x="148" y="5"/>
                  </a:cxn>
                  <a:cxn ang="0">
                    <a:pos x="138" y="15"/>
                  </a:cxn>
                  <a:cxn ang="0">
                    <a:pos x="150" y="324"/>
                  </a:cxn>
                  <a:cxn ang="0">
                    <a:pos x="60" y="167"/>
                  </a:cxn>
                  <a:cxn ang="0">
                    <a:pos x="25" y="150"/>
                  </a:cxn>
                  <a:cxn ang="0">
                    <a:pos x="35" y="130"/>
                  </a:cxn>
                  <a:cxn ang="0">
                    <a:pos x="93" y="67"/>
                  </a:cxn>
                  <a:cxn ang="0">
                    <a:pos x="93" y="67"/>
                  </a:cxn>
                  <a:cxn ang="0">
                    <a:pos x="27" y="93"/>
                  </a:cxn>
                  <a:cxn ang="0">
                    <a:pos x="23" y="100"/>
                  </a:cxn>
                  <a:cxn ang="0">
                    <a:pos x="18" y="115"/>
                  </a:cxn>
                  <a:cxn ang="0">
                    <a:pos x="20" y="118"/>
                  </a:cxn>
                  <a:cxn ang="0">
                    <a:pos x="17" y="120"/>
                  </a:cxn>
                  <a:cxn ang="0">
                    <a:pos x="33" y="120"/>
                  </a:cxn>
                  <a:cxn ang="0">
                    <a:pos x="47" y="125"/>
                  </a:cxn>
                  <a:cxn ang="0">
                    <a:pos x="48" y="147"/>
                  </a:cxn>
                  <a:cxn ang="0">
                    <a:pos x="50" y="158"/>
                  </a:cxn>
                  <a:cxn ang="0">
                    <a:pos x="37" y="175"/>
                  </a:cxn>
                  <a:cxn ang="0">
                    <a:pos x="78" y="246"/>
                  </a:cxn>
                  <a:cxn ang="0">
                    <a:pos x="70" y="223"/>
                  </a:cxn>
                  <a:cxn ang="0">
                    <a:pos x="73" y="338"/>
                  </a:cxn>
                  <a:cxn ang="0">
                    <a:pos x="95" y="331"/>
                  </a:cxn>
                  <a:cxn ang="0">
                    <a:pos x="136" y="323"/>
                  </a:cxn>
                  <a:cxn ang="0">
                    <a:pos x="178" y="321"/>
                  </a:cxn>
                  <a:cxn ang="0">
                    <a:pos x="204" y="303"/>
                  </a:cxn>
                  <a:cxn ang="0">
                    <a:pos x="181" y="299"/>
                  </a:cxn>
                  <a:cxn ang="0">
                    <a:pos x="198" y="286"/>
                  </a:cxn>
                  <a:cxn ang="0">
                    <a:pos x="206" y="260"/>
                  </a:cxn>
                  <a:cxn ang="0">
                    <a:pos x="168" y="238"/>
                  </a:cxn>
                  <a:cxn ang="0">
                    <a:pos x="166" y="233"/>
                  </a:cxn>
                  <a:cxn ang="0">
                    <a:pos x="150" y="206"/>
                  </a:cxn>
                  <a:cxn ang="0">
                    <a:pos x="113" y="163"/>
                  </a:cxn>
                  <a:cxn ang="0">
                    <a:pos x="101" y="157"/>
                  </a:cxn>
                  <a:cxn ang="0">
                    <a:pos x="111" y="143"/>
                  </a:cxn>
                  <a:cxn ang="0">
                    <a:pos x="118" y="112"/>
                  </a:cxn>
                  <a:cxn ang="0">
                    <a:pos x="80" y="117"/>
                  </a:cxn>
                  <a:cxn ang="0">
                    <a:pos x="100" y="88"/>
                  </a:cxn>
                  <a:cxn ang="0">
                    <a:pos x="73" y="87"/>
                  </a:cxn>
                  <a:cxn ang="0">
                    <a:pos x="57" y="93"/>
                  </a:cxn>
                  <a:cxn ang="0">
                    <a:pos x="52" y="108"/>
                  </a:cxn>
                  <a:cxn ang="0">
                    <a:pos x="53" y="120"/>
                  </a:cxn>
                  <a:cxn ang="0">
                    <a:pos x="50" y="128"/>
                  </a:cxn>
                  <a:cxn ang="0">
                    <a:pos x="40" y="142"/>
                  </a:cxn>
                  <a:cxn ang="0">
                    <a:pos x="57" y="143"/>
                  </a:cxn>
                  <a:cxn ang="0">
                    <a:pos x="48" y="180"/>
                  </a:cxn>
                  <a:cxn ang="0">
                    <a:pos x="57" y="162"/>
                  </a:cxn>
                  <a:cxn ang="0">
                    <a:pos x="67" y="163"/>
                  </a:cxn>
                  <a:cxn ang="0">
                    <a:pos x="63" y="198"/>
                  </a:cxn>
                  <a:cxn ang="0">
                    <a:pos x="103" y="195"/>
                  </a:cxn>
                  <a:cxn ang="0">
                    <a:pos x="105" y="233"/>
                  </a:cxn>
                  <a:cxn ang="0">
                    <a:pos x="101" y="248"/>
                  </a:cxn>
                  <a:cxn ang="0">
                    <a:pos x="81" y="258"/>
                  </a:cxn>
                  <a:cxn ang="0">
                    <a:pos x="60" y="286"/>
                  </a:cxn>
                  <a:cxn ang="0">
                    <a:pos x="77" y="294"/>
                  </a:cxn>
                  <a:cxn ang="0">
                    <a:pos x="108" y="299"/>
                  </a:cxn>
                  <a:cxn ang="0">
                    <a:pos x="80" y="311"/>
                  </a:cxn>
                  <a:cxn ang="0">
                    <a:pos x="52" y="341"/>
                  </a:cxn>
                </a:cxnLst>
                <a:rect l="0" t="0" r="r" b="b"/>
                <a:pathLst>
                  <a:path w="209" h="348">
                    <a:moveTo>
                      <a:pt x="38" y="225"/>
                    </a:moveTo>
                    <a:lnTo>
                      <a:pt x="33" y="221"/>
                    </a:lnTo>
                    <a:lnTo>
                      <a:pt x="28" y="220"/>
                    </a:lnTo>
                    <a:lnTo>
                      <a:pt x="25" y="213"/>
                    </a:lnTo>
                    <a:lnTo>
                      <a:pt x="18" y="210"/>
                    </a:lnTo>
                    <a:lnTo>
                      <a:pt x="15" y="211"/>
                    </a:lnTo>
                    <a:lnTo>
                      <a:pt x="13" y="216"/>
                    </a:lnTo>
                    <a:lnTo>
                      <a:pt x="10" y="218"/>
                    </a:lnTo>
                    <a:lnTo>
                      <a:pt x="0" y="210"/>
                    </a:lnTo>
                    <a:lnTo>
                      <a:pt x="5" y="200"/>
                    </a:lnTo>
                    <a:lnTo>
                      <a:pt x="10" y="198"/>
                    </a:lnTo>
                    <a:lnTo>
                      <a:pt x="12" y="195"/>
                    </a:lnTo>
                    <a:lnTo>
                      <a:pt x="15" y="193"/>
                    </a:lnTo>
                    <a:lnTo>
                      <a:pt x="17" y="191"/>
                    </a:lnTo>
                    <a:lnTo>
                      <a:pt x="22" y="190"/>
                    </a:lnTo>
                    <a:lnTo>
                      <a:pt x="23" y="188"/>
                    </a:lnTo>
                    <a:lnTo>
                      <a:pt x="25" y="188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8"/>
                    </a:lnTo>
                    <a:lnTo>
                      <a:pt x="42" y="191"/>
                    </a:lnTo>
                    <a:lnTo>
                      <a:pt x="48" y="201"/>
                    </a:lnTo>
                    <a:lnTo>
                      <a:pt x="45" y="203"/>
                    </a:lnTo>
                    <a:lnTo>
                      <a:pt x="52" y="205"/>
                    </a:lnTo>
                    <a:lnTo>
                      <a:pt x="53" y="213"/>
                    </a:lnTo>
                    <a:lnTo>
                      <a:pt x="50" y="206"/>
                    </a:lnTo>
                    <a:lnTo>
                      <a:pt x="48" y="206"/>
                    </a:lnTo>
                    <a:lnTo>
                      <a:pt x="48" y="210"/>
                    </a:lnTo>
                    <a:lnTo>
                      <a:pt x="48" y="213"/>
                    </a:lnTo>
                    <a:lnTo>
                      <a:pt x="52" y="213"/>
                    </a:lnTo>
                    <a:lnTo>
                      <a:pt x="50" y="216"/>
                    </a:lnTo>
                    <a:lnTo>
                      <a:pt x="45" y="216"/>
                    </a:lnTo>
                    <a:lnTo>
                      <a:pt x="45" y="220"/>
                    </a:lnTo>
                    <a:lnTo>
                      <a:pt x="40" y="221"/>
                    </a:lnTo>
                    <a:lnTo>
                      <a:pt x="38" y="221"/>
                    </a:lnTo>
                    <a:lnTo>
                      <a:pt x="38" y="225"/>
                    </a:lnTo>
                    <a:lnTo>
                      <a:pt x="38" y="225"/>
                    </a:lnTo>
                    <a:lnTo>
                      <a:pt x="38" y="225"/>
                    </a:lnTo>
                    <a:close/>
                    <a:moveTo>
                      <a:pt x="140" y="32"/>
                    </a:moveTo>
                    <a:lnTo>
                      <a:pt x="141" y="29"/>
                    </a:lnTo>
                    <a:lnTo>
                      <a:pt x="143" y="30"/>
                    </a:lnTo>
                    <a:lnTo>
                      <a:pt x="140" y="32"/>
                    </a:lnTo>
                    <a:lnTo>
                      <a:pt x="140" y="32"/>
                    </a:lnTo>
                    <a:close/>
                    <a:moveTo>
                      <a:pt x="148" y="5"/>
                    </a:moveTo>
                    <a:lnTo>
                      <a:pt x="148" y="4"/>
                    </a:lnTo>
                    <a:lnTo>
                      <a:pt x="150" y="0"/>
                    </a:lnTo>
                    <a:lnTo>
                      <a:pt x="148" y="5"/>
                    </a:lnTo>
                    <a:lnTo>
                      <a:pt x="148" y="5"/>
                    </a:lnTo>
                    <a:close/>
                    <a:moveTo>
                      <a:pt x="138" y="15"/>
                    </a:moveTo>
                    <a:lnTo>
                      <a:pt x="140" y="10"/>
                    </a:lnTo>
                    <a:lnTo>
                      <a:pt x="136" y="12"/>
                    </a:lnTo>
                    <a:lnTo>
                      <a:pt x="135" y="14"/>
                    </a:lnTo>
                    <a:lnTo>
                      <a:pt x="135" y="14"/>
                    </a:lnTo>
                    <a:lnTo>
                      <a:pt x="138" y="15"/>
                    </a:lnTo>
                    <a:lnTo>
                      <a:pt x="138" y="15"/>
                    </a:lnTo>
                    <a:close/>
                    <a:moveTo>
                      <a:pt x="188" y="301"/>
                    </a:moveTo>
                    <a:lnTo>
                      <a:pt x="191" y="303"/>
                    </a:lnTo>
                    <a:lnTo>
                      <a:pt x="194" y="301"/>
                    </a:lnTo>
                    <a:lnTo>
                      <a:pt x="193" y="299"/>
                    </a:lnTo>
                    <a:lnTo>
                      <a:pt x="189" y="299"/>
                    </a:lnTo>
                    <a:lnTo>
                      <a:pt x="188" y="301"/>
                    </a:lnTo>
                    <a:lnTo>
                      <a:pt x="188" y="301"/>
                    </a:lnTo>
                    <a:close/>
                    <a:moveTo>
                      <a:pt x="138" y="326"/>
                    </a:moveTo>
                    <a:lnTo>
                      <a:pt x="145" y="323"/>
                    </a:lnTo>
                    <a:lnTo>
                      <a:pt x="148" y="324"/>
                    </a:lnTo>
                    <a:lnTo>
                      <a:pt x="150" y="324"/>
                    </a:lnTo>
                    <a:lnTo>
                      <a:pt x="148" y="326"/>
                    </a:lnTo>
                    <a:lnTo>
                      <a:pt x="148" y="328"/>
                    </a:lnTo>
                    <a:lnTo>
                      <a:pt x="145" y="329"/>
                    </a:lnTo>
                    <a:lnTo>
                      <a:pt x="141" y="326"/>
                    </a:lnTo>
                    <a:lnTo>
                      <a:pt x="138" y="326"/>
                    </a:lnTo>
                    <a:lnTo>
                      <a:pt x="138" y="326"/>
                    </a:lnTo>
                    <a:close/>
                    <a:moveTo>
                      <a:pt x="60" y="167"/>
                    </a:moveTo>
                    <a:lnTo>
                      <a:pt x="60" y="170"/>
                    </a:lnTo>
                    <a:lnTo>
                      <a:pt x="63" y="172"/>
                    </a:lnTo>
                    <a:lnTo>
                      <a:pt x="62" y="168"/>
                    </a:lnTo>
                    <a:lnTo>
                      <a:pt x="60" y="167"/>
                    </a:lnTo>
                    <a:lnTo>
                      <a:pt x="60" y="167"/>
                    </a:lnTo>
                    <a:close/>
                    <a:moveTo>
                      <a:pt x="38" y="163"/>
                    </a:moveTo>
                    <a:lnTo>
                      <a:pt x="40" y="158"/>
                    </a:lnTo>
                    <a:lnTo>
                      <a:pt x="40" y="162"/>
                    </a:lnTo>
                    <a:lnTo>
                      <a:pt x="38" y="163"/>
                    </a:lnTo>
                    <a:lnTo>
                      <a:pt x="38" y="163"/>
                    </a:lnTo>
                    <a:close/>
                    <a:moveTo>
                      <a:pt x="25" y="150"/>
                    </a:moveTo>
                    <a:lnTo>
                      <a:pt x="25" y="147"/>
                    </a:lnTo>
                    <a:lnTo>
                      <a:pt x="28" y="147"/>
                    </a:lnTo>
                    <a:lnTo>
                      <a:pt x="25" y="150"/>
                    </a:lnTo>
                    <a:lnTo>
                      <a:pt x="25" y="150"/>
                    </a:lnTo>
                    <a:close/>
                    <a:moveTo>
                      <a:pt x="30" y="145"/>
                    </a:moveTo>
                    <a:lnTo>
                      <a:pt x="35" y="140"/>
                    </a:lnTo>
                    <a:lnTo>
                      <a:pt x="33" y="143"/>
                    </a:lnTo>
                    <a:lnTo>
                      <a:pt x="30" y="145"/>
                    </a:lnTo>
                    <a:lnTo>
                      <a:pt x="30" y="145"/>
                    </a:lnTo>
                    <a:close/>
                    <a:moveTo>
                      <a:pt x="40" y="137"/>
                    </a:moveTo>
                    <a:lnTo>
                      <a:pt x="42" y="135"/>
                    </a:lnTo>
                    <a:lnTo>
                      <a:pt x="40" y="135"/>
                    </a:lnTo>
                    <a:lnTo>
                      <a:pt x="40" y="137"/>
                    </a:lnTo>
                    <a:lnTo>
                      <a:pt x="40" y="137"/>
                    </a:lnTo>
                    <a:close/>
                    <a:moveTo>
                      <a:pt x="35" y="130"/>
                    </a:moveTo>
                    <a:lnTo>
                      <a:pt x="37" y="133"/>
                    </a:lnTo>
                    <a:lnTo>
                      <a:pt x="38" y="133"/>
                    </a:lnTo>
                    <a:lnTo>
                      <a:pt x="38" y="130"/>
                    </a:lnTo>
                    <a:lnTo>
                      <a:pt x="35" y="130"/>
                    </a:lnTo>
                    <a:lnTo>
                      <a:pt x="35" y="130"/>
                    </a:lnTo>
                    <a:close/>
                    <a:moveTo>
                      <a:pt x="98" y="65"/>
                    </a:moveTo>
                    <a:lnTo>
                      <a:pt x="100" y="67"/>
                    </a:lnTo>
                    <a:lnTo>
                      <a:pt x="100" y="65"/>
                    </a:lnTo>
                    <a:lnTo>
                      <a:pt x="98" y="65"/>
                    </a:lnTo>
                    <a:lnTo>
                      <a:pt x="98" y="65"/>
                    </a:lnTo>
                    <a:close/>
                    <a:moveTo>
                      <a:pt x="93" y="67"/>
                    </a:moveTo>
                    <a:lnTo>
                      <a:pt x="96" y="67"/>
                    </a:lnTo>
                    <a:lnTo>
                      <a:pt x="100" y="70"/>
                    </a:lnTo>
                    <a:lnTo>
                      <a:pt x="98" y="72"/>
                    </a:lnTo>
                    <a:lnTo>
                      <a:pt x="103" y="70"/>
                    </a:lnTo>
                    <a:lnTo>
                      <a:pt x="103" y="74"/>
                    </a:lnTo>
                    <a:lnTo>
                      <a:pt x="101" y="74"/>
                    </a:lnTo>
                    <a:lnTo>
                      <a:pt x="96" y="74"/>
                    </a:lnTo>
                    <a:lnTo>
                      <a:pt x="96" y="70"/>
                    </a:lnTo>
                    <a:lnTo>
                      <a:pt x="95" y="74"/>
                    </a:lnTo>
                    <a:lnTo>
                      <a:pt x="93" y="72"/>
                    </a:lnTo>
                    <a:lnTo>
                      <a:pt x="93" y="67"/>
                    </a:lnTo>
                    <a:lnTo>
                      <a:pt x="93" y="67"/>
                    </a:lnTo>
                    <a:close/>
                    <a:moveTo>
                      <a:pt x="93" y="75"/>
                    </a:moveTo>
                    <a:lnTo>
                      <a:pt x="96" y="79"/>
                    </a:lnTo>
                    <a:lnTo>
                      <a:pt x="96" y="77"/>
                    </a:lnTo>
                    <a:lnTo>
                      <a:pt x="95" y="74"/>
                    </a:lnTo>
                    <a:lnTo>
                      <a:pt x="93" y="75"/>
                    </a:lnTo>
                    <a:lnTo>
                      <a:pt x="93" y="75"/>
                    </a:lnTo>
                    <a:close/>
                    <a:moveTo>
                      <a:pt x="23" y="100"/>
                    </a:moveTo>
                    <a:lnTo>
                      <a:pt x="27" y="100"/>
                    </a:lnTo>
                    <a:lnTo>
                      <a:pt x="23" y="97"/>
                    </a:lnTo>
                    <a:lnTo>
                      <a:pt x="27" y="93"/>
                    </a:lnTo>
                    <a:lnTo>
                      <a:pt x="32" y="95"/>
                    </a:lnTo>
                    <a:lnTo>
                      <a:pt x="30" y="93"/>
                    </a:lnTo>
                    <a:lnTo>
                      <a:pt x="40" y="85"/>
                    </a:lnTo>
                    <a:lnTo>
                      <a:pt x="42" y="92"/>
                    </a:lnTo>
                    <a:lnTo>
                      <a:pt x="37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5" y="103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3" y="100"/>
                    </a:lnTo>
                    <a:lnTo>
                      <a:pt x="23" y="100"/>
                    </a:lnTo>
                    <a:close/>
                    <a:moveTo>
                      <a:pt x="23" y="107"/>
                    </a:moveTo>
                    <a:lnTo>
                      <a:pt x="27" y="108"/>
                    </a:lnTo>
                    <a:lnTo>
                      <a:pt x="32" y="105"/>
                    </a:lnTo>
                    <a:lnTo>
                      <a:pt x="28" y="103"/>
                    </a:lnTo>
                    <a:lnTo>
                      <a:pt x="27" y="105"/>
                    </a:lnTo>
                    <a:lnTo>
                      <a:pt x="25" y="107"/>
                    </a:lnTo>
                    <a:lnTo>
                      <a:pt x="23" y="107"/>
                    </a:lnTo>
                    <a:lnTo>
                      <a:pt x="23" y="107"/>
                    </a:lnTo>
                    <a:close/>
                    <a:moveTo>
                      <a:pt x="22" y="113"/>
                    </a:moveTo>
                    <a:lnTo>
                      <a:pt x="18" y="115"/>
                    </a:lnTo>
                    <a:lnTo>
                      <a:pt x="15" y="112"/>
                    </a:lnTo>
                    <a:lnTo>
                      <a:pt x="17" y="112"/>
                    </a:lnTo>
                    <a:lnTo>
                      <a:pt x="23" y="112"/>
                    </a:lnTo>
                    <a:lnTo>
                      <a:pt x="22" y="113"/>
                    </a:lnTo>
                    <a:lnTo>
                      <a:pt x="22" y="113"/>
                    </a:lnTo>
                    <a:close/>
                    <a:moveTo>
                      <a:pt x="20" y="118"/>
                    </a:moveTo>
                    <a:lnTo>
                      <a:pt x="17" y="118"/>
                    </a:lnTo>
                    <a:lnTo>
                      <a:pt x="17" y="117"/>
                    </a:lnTo>
                    <a:lnTo>
                      <a:pt x="22" y="117"/>
                    </a:lnTo>
                    <a:lnTo>
                      <a:pt x="20" y="118"/>
                    </a:lnTo>
                    <a:lnTo>
                      <a:pt x="20" y="118"/>
                    </a:lnTo>
                    <a:close/>
                    <a:moveTo>
                      <a:pt x="15" y="130"/>
                    </a:moveTo>
                    <a:lnTo>
                      <a:pt x="17" y="132"/>
                    </a:lnTo>
                    <a:lnTo>
                      <a:pt x="13" y="133"/>
                    </a:lnTo>
                    <a:lnTo>
                      <a:pt x="13" y="132"/>
                    </a:lnTo>
                    <a:lnTo>
                      <a:pt x="15" y="130"/>
                    </a:lnTo>
                    <a:lnTo>
                      <a:pt x="15" y="130"/>
                    </a:lnTo>
                    <a:close/>
                    <a:moveTo>
                      <a:pt x="20" y="128"/>
                    </a:moveTo>
                    <a:lnTo>
                      <a:pt x="18" y="125"/>
                    </a:lnTo>
                    <a:lnTo>
                      <a:pt x="20" y="122"/>
                    </a:lnTo>
                    <a:lnTo>
                      <a:pt x="20" y="120"/>
                    </a:lnTo>
                    <a:lnTo>
                      <a:pt x="17" y="120"/>
                    </a:lnTo>
                    <a:lnTo>
                      <a:pt x="17" y="122"/>
                    </a:lnTo>
                    <a:lnTo>
                      <a:pt x="17" y="125"/>
                    </a:lnTo>
                    <a:lnTo>
                      <a:pt x="17" y="128"/>
                    </a:lnTo>
                    <a:lnTo>
                      <a:pt x="20" y="128"/>
                    </a:lnTo>
                    <a:lnTo>
                      <a:pt x="20" y="128"/>
                    </a:lnTo>
                    <a:close/>
                    <a:moveTo>
                      <a:pt x="43" y="130"/>
                    </a:moveTo>
                    <a:lnTo>
                      <a:pt x="43" y="127"/>
                    </a:lnTo>
                    <a:lnTo>
                      <a:pt x="38" y="127"/>
                    </a:lnTo>
                    <a:lnTo>
                      <a:pt x="35" y="122"/>
                    </a:lnTo>
                    <a:lnTo>
                      <a:pt x="35" y="120"/>
                    </a:lnTo>
                    <a:lnTo>
                      <a:pt x="33" y="120"/>
                    </a:lnTo>
                    <a:lnTo>
                      <a:pt x="33" y="122"/>
                    </a:lnTo>
                    <a:lnTo>
                      <a:pt x="28" y="118"/>
                    </a:lnTo>
                    <a:lnTo>
                      <a:pt x="30" y="117"/>
                    </a:lnTo>
                    <a:lnTo>
                      <a:pt x="32" y="117"/>
                    </a:lnTo>
                    <a:lnTo>
                      <a:pt x="32" y="113"/>
                    </a:lnTo>
                    <a:lnTo>
                      <a:pt x="37" y="117"/>
                    </a:lnTo>
                    <a:lnTo>
                      <a:pt x="37" y="112"/>
                    </a:lnTo>
                    <a:lnTo>
                      <a:pt x="38" y="110"/>
                    </a:lnTo>
                    <a:lnTo>
                      <a:pt x="42" y="115"/>
                    </a:lnTo>
                    <a:lnTo>
                      <a:pt x="42" y="122"/>
                    </a:lnTo>
                    <a:lnTo>
                      <a:pt x="47" y="125"/>
                    </a:lnTo>
                    <a:lnTo>
                      <a:pt x="48" y="123"/>
                    </a:lnTo>
                    <a:lnTo>
                      <a:pt x="50" y="125"/>
                    </a:lnTo>
                    <a:lnTo>
                      <a:pt x="47" y="127"/>
                    </a:lnTo>
                    <a:lnTo>
                      <a:pt x="45" y="130"/>
                    </a:lnTo>
                    <a:lnTo>
                      <a:pt x="43" y="130"/>
                    </a:lnTo>
                    <a:lnTo>
                      <a:pt x="43" y="130"/>
                    </a:lnTo>
                    <a:close/>
                    <a:moveTo>
                      <a:pt x="37" y="155"/>
                    </a:moveTo>
                    <a:lnTo>
                      <a:pt x="45" y="152"/>
                    </a:lnTo>
                    <a:lnTo>
                      <a:pt x="45" y="153"/>
                    </a:lnTo>
                    <a:lnTo>
                      <a:pt x="50" y="152"/>
                    </a:lnTo>
                    <a:lnTo>
                      <a:pt x="48" y="147"/>
                    </a:lnTo>
                    <a:lnTo>
                      <a:pt x="45" y="147"/>
                    </a:lnTo>
                    <a:lnTo>
                      <a:pt x="42" y="143"/>
                    </a:lnTo>
                    <a:lnTo>
                      <a:pt x="37" y="145"/>
                    </a:lnTo>
                    <a:lnTo>
                      <a:pt x="43" y="148"/>
                    </a:lnTo>
                    <a:lnTo>
                      <a:pt x="40" y="150"/>
                    </a:lnTo>
                    <a:lnTo>
                      <a:pt x="40" y="152"/>
                    </a:lnTo>
                    <a:lnTo>
                      <a:pt x="37" y="155"/>
                    </a:lnTo>
                    <a:lnTo>
                      <a:pt x="37" y="155"/>
                    </a:lnTo>
                    <a:close/>
                    <a:moveTo>
                      <a:pt x="43" y="170"/>
                    </a:moveTo>
                    <a:lnTo>
                      <a:pt x="42" y="165"/>
                    </a:lnTo>
                    <a:lnTo>
                      <a:pt x="50" y="158"/>
                    </a:lnTo>
                    <a:lnTo>
                      <a:pt x="47" y="167"/>
                    </a:lnTo>
                    <a:lnTo>
                      <a:pt x="43" y="170"/>
                    </a:lnTo>
                    <a:lnTo>
                      <a:pt x="43" y="170"/>
                    </a:lnTo>
                    <a:close/>
                    <a:moveTo>
                      <a:pt x="37" y="175"/>
                    </a:moveTo>
                    <a:lnTo>
                      <a:pt x="42" y="172"/>
                    </a:lnTo>
                    <a:lnTo>
                      <a:pt x="40" y="165"/>
                    </a:lnTo>
                    <a:lnTo>
                      <a:pt x="33" y="168"/>
                    </a:lnTo>
                    <a:lnTo>
                      <a:pt x="33" y="173"/>
                    </a:lnTo>
                    <a:lnTo>
                      <a:pt x="37" y="170"/>
                    </a:lnTo>
                    <a:lnTo>
                      <a:pt x="37" y="175"/>
                    </a:lnTo>
                    <a:lnTo>
                      <a:pt x="37" y="175"/>
                    </a:lnTo>
                    <a:close/>
                    <a:moveTo>
                      <a:pt x="55" y="175"/>
                    </a:moveTo>
                    <a:lnTo>
                      <a:pt x="57" y="180"/>
                    </a:lnTo>
                    <a:lnTo>
                      <a:pt x="60" y="182"/>
                    </a:lnTo>
                    <a:lnTo>
                      <a:pt x="62" y="178"/>
                    </a:lnTo>
                    <a:lnTo>
                      <a:pt x="58" y="172"/>
                    </a:lnTo>
                    <a:lnTo>
                      <a:pt x="55" y="175"/>
                    </a:lnTo>
                    <a:lnTo>
                      <a:pt x="55" y="175"/>
                    </a:lnTo>
                    <a:close/>
                    <a:moveTo>
                      <a:pt x="72" y="246"/>
                    </a:moveTo>
                    <a:lnTo>
                      <a:pt x="77" y="250"/>
                    </a:lnTo>
                    <a:lnTo>
                      <a:pt x="83" y="245"/>
                    </a:lnTo>
                    <a:lnTo>
                      <a:pt x="78" y="246"/>
                    </a:lnTo>
                    <a:lnTo>
                      <a:pt x="77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2" y="246"/>
                    </a:lnTo>
                    <a:lnTo>
                      <a:pt x="72" y="246"/>
                    </a:lnTo>
                    <a:close/>
                    <a:moveTo>
                      <a:pt x="67" y="223"/>
                    </a:moveTo>
                    <a:lnTo>
                      <a:pt x="68" y="218"/>
                    </a:lnTo>
                    <a:lnTo>
                      <a:pt x="77" y="211"/>
                    </a:lnTo>
                    <a:lnTo>
                      <a:pt x="75" y="215"/>
                    </a:lnTo>
                    <a:lnTo>
                      <a:pt x="77" y="216"/>
                    </a:lnTo>
                    <a:lnTo>
                      <a:pt x="70" y="223"/>
                    </a:lnTo>
                    <a:lnTo>
                      <a:pt x="67" y="223"/>
                    </a:lnTo>
                    <a:lnTo>
                      <a:pt x="67" y="223"/>
                    </a:lnTo>
                    <a:close/>
                    <a:moveTo>
                      <a:pt x="57" y="348"/>
                    </a:moveTo>
                    <a:lnTo>
                      <a:pt x="60" y="346"/>
                    </a:lnTo>
                    <a:lnTo>
                      <a:pt x="58" y="344"/>
                    </a:lnTo>
                    <a:lnTo>
                      <a:pt x="62" y="341"/>
                    </a:lnTo>
                    <a:lnTo>
                      <a:pt x="62" y="343"/>
                    </a:lnTo>
                    <a:lnTo>
                      <a:pt x="65" y="339"/>
                    </a:lnTo>
                    <a:lnTo>
                      <a:pt x="67" y="339"/>
                    </a:lnTo>
                    <a:lnTo>
                      <a:pt x="68" y="336"/>
                    </a:lnTo>
                    <a:lnTo>
                      <a:pt x="73" y="338"/>
                    </a:lnTo>
                    <a:lnTo>
                      <a:pt x="77" y="336"/>
                    </a:lnTo>
                    <a:lnTo>
                      <a:pt x="80" y="336"/>
                    </a:lnTo>
                    <a:lnTo>
                      <a:pt x="81" y="336"/>
                    </a:lnTo>
                    <a:lnTo>
                      <a:pt x="83" y="338"/>
                    </a:lnTo>
                    <a:lnTo>
                      <a:pt x="85" y="338"/>
                    </a:lnTo>
                    <a:lnTo>
                      <a:pt x="88" y="339"/>
                    </a:lnTo>
                    <a:lnTo>
                      <a:pt x="93" y="339"/>
                    </a:lnTo>
                    <a:lnTo>
                      <a:pt x="91" y="338"/>
                    </a:lnTo>
                    <a:lnTo>
                      <a:pt x="95" y="336"/>
                    </a:lnTo>
                    <a:lnTo>
                      <a:pt x="96" y="334"/>
                    </a:lnTo>
                    <a:lnTo>
                      <a:pt x="95" y="331"/>
                    </a:lnTo>
                    <a:lnTo>
                      <a:pt x="98" y="328"/>
                    </a:lnTo>
                    <a:lnTo>
                      <a:pt x="100" y="328"/>
                    </a:lnTo>
                    <a:lnTo>
                      <a:pt x="101" y="326"/>
                    </a:lnTo>
                    <a:lnTo>
                      <a:pt x="110" y="324"/>
                    </a:lnTo>
                    <a:lnTo>
                      <a:pt x="113" y="324"/>
                    </a:lnTo>
                    <a:lnTo>
                      <a:pt x="120" y="328"/>
                    </a:lnTo>
                    <a:lnTo>
                      <a:pt x="121" y="328"/>
                    </a:lnTo>
                    <a:lnTo>
                      <a:pt x="126" y="328"/>
                    </a:lnTo>
                    <a:lnTo>
                      <a:pt x="130" y="329"/>
                    </a:lnTo>
                    <a:lnTo>
                      <a:pt x="131" y="326"/>
                    </a:lnTo>
                    <a:lnTo>
                      <a:pt x="136" y="323"/>
                    </a:lnTo>
                    <a:lnTo>
                      <a:pt x="140" y="324"/>
                    </a:lnTo>
                    <a:lnTo>
                      <a:pt x="145" y="321"/>
                    </a:lnTo>
                    <a:lnTo>
                      <a:pt x="148" y="321"/>
                    </a:lnTo>
                    <a:lnTo>
                      <a:pt x="150" y="321"/>
                    </a:lnTo>
                    <a:lnTo>
                      <a:pt x="153" y="319"/>
                    </a:lnTo>
                    <a:lnTo>
                      <a:pt x="153" y="321"/>
                    </a:lnTo>
                    <a:lnTo>
                      <a:pt x="156" y="323"/>
                    </a:lnTo>
                    <a:lnTo>
                      <a:pt x="160" y="321"/>
                    </a:lnTo>
                    <a:lnTo>
                      <a:pt x="168" y="321"/>
                    </a:lnTo>
                    <a:lnTo>
                      <a:pt x="173" y="319"/>
                    </a:lnTo>
                    <a:lnTo>
                      <a:pt x="178" y="321"/>
                    </a:lnTo>
                    <a:lnTo>
                      <a:pt x="179" y="321"/>
                    </a:lnTo>
                    <a:lnTo>
                      <a:pt x="184" y="319"/>
                    </a:lnTo>
                    <a:lnTo>
                      <a:pt x="188" y="318"/>
                    </a:lnTo>
                    <a:lnTo>
                      <a:pt x="191" y="316"/>
                    </a:lnTo>
                    <a:lnTo>
                      <a:pt x="193" y="314"/>
                    </a:lnTo>
                    <a:lnTo>
                      <a:pt x="196" y="316"/>
                    </a:lnTo>
                    <a:lnTo>
                      <a:pt x="196" y="313"/>
                    </a:lnTo>
                    <a:lnTo>
                      <a:pt x="201" y="309"/>
                    </a:lnTo>
                    <a:lnTo>
                      <a:pt x="204" y="309"/>
                    </a:lnTo>
                    <a:lnTo>
                      <a:pt x="204" y="306"/>
                    </a:lnTo>
                    <a:lnTo>
                      <a:pt x="204" y="303"/>
                    </a:lnTo>
                    <a:lnTo>
                      <a:pt x="204" y="301"/>
                    </a:lnTo>
                    <a:lnTo>
                      <a:pt x="198" y="301"/>
                    </a:lnTo>
                    <a:lnTo>
                      <a:pt x="194" y="303"/>
                    </a:lnTo>
                    <a:lnTo>
                      <a:pt x="191" y="303"/>
                    </a:lnTo>
                    <a:lnTo>
                      <a:pt x="188" y="301"/>
                    </a:lnTo>
                    <a:lnTo>
                      <a:pt x="186" y="301"/>
                    </a:lnTo>
                    <a:lnTo>
                      <a:pt x="188" y="299"/>
                    </a:lnTo>
                    <a:lnTo>
                      <a:pt x="188" y="299"/>
                    </a:lnTo>
                    <a:lnTo>
                      <a:pt x="189" y="299"/>
                    </a:lnTo>
                    <a:lnTo>
                      <a:pt x="184" y="298"/>
                    </a:lnTo>
                    <a:lnTo>
                      <a:pt x="181" y="299"/>
                    </a:lnTo>
                    <a:lnTo>
                      <a:pt x="186" y="296"/>
                    </a:lnTo>
                    <a:lnTo>
                      <a:pt x="189" y="296"/>
                    </a:lnTo>
                    <a:lnTo>
                      <a:pt x="193" y="294"/>
                    </a:lnTo>
                    <a:lnTo>
                      <a:pt x="193" y="293"/>
                    </a:lnTo>
                    <a:lnTo>
                      <a:pt x="188" y="293"/>
                    </a:lnTo>
                    <a:lnTo>
                      <a:pt x="191" y="289"/>
                    </a:lnTo>
                    <a:lnTo>
                      <a:pt x="193" y="288"/>
                    </a:lnTo>
                    <a:lnTo>
                      <a:pt x="196" y="289"/>
                    </a:lnTo>
                    <a:lnTo>
                      <a:pt x="199" y="288"/>
                    </a:lnTo>
                    <a:lnTo>
                      <a:pt x="199" y="286"/>
                    </a:lnTo>
                    <a:lnTo>
                      <a:pt x="198" y="286"/>
                    </a:lnTo>
                    <a:lnTo>
                      <a:pt x="199" y="284"/>
                    </a:lnTo>
                    <a:lnTo>
                      <a:pt x="196" y="284"/>
                    </a:lnTo>
                    <a:lnTo>
                      <a:pt x="198" y="281"/>
                    </a:lnTo>
                    <a:lnTo>
                      <a:pt x="199" y="281"/>
                    </a:lnTo>
                    <a:lnTo>
                      <a:pt x="201" y="283"/>
                    </a:lnTo>
                    <a:lnTo>
                      <a:pt x="203" y="280"/>
                    </a:lnTo>
                    <a:lnTo>
                      <a:pt x="206" y="280"/>
                    </a:lnTo>
                    <a:lnTo>
                      <a:pt x="206" y="273"/>
                    </a:lnTo>
                    <a:lnTo>
                      <a:pt x="209" y="266"/>
                    </a:lnTo>
                    <a:lnTo>
                      <a:pt x="208" y="265"/>
                    </a:lnTo>
                    <a:lnTo>
                      <a:pt x="206" y="260"/>
                    </a:lnTo>
                    <a:lnTo>
                      <a:pt x="198" y="253"/>
                    </a:lnTo>
                    <a:lnTo>
                      <a:pt x="186" y="253"/>
                    </a:lnTo>
                    <a:lnTo>
                      <a:pt x="179" y="253"/>
                    </a:lnTo>
                    <a:lnTo>
                      <a:pt x="179" y="258"/>
                    </a:lnTo>
                    <a:lnTo>
                      <a:pt x="178" y="261"/>
                    </a:lnTo>
                    <a:lnTo>
                      <a:pt x="173" y="256"/>
                    </a:lnTo>
                    <a:lnTo>
                      <a:pt x="170" y="256"/>
                    </a:lnTo>
                    <a:lnTo>
                      <a:pt x="176" y="250"/>
                    </a:lnTo>
                    <a:lnTo>
                      <a:pt x="176" y="246"/>
                    </a:lnTo>
                    <a:lnTo>
                      <a:pt x="171" y="238"/>
                    </a:lnTo>
                    <a:lnTo>
                      <a:pt x="168" y="238"/>
                    </a:lnTo>
                    <a:lnTo>
                      <a:pt x="163" y="235"/>
                    </a:lnTo>
                    <a:lnTo>
                      <a:pt x="161" y="231"/>
                    </a:lnTo>
                    <a:lnTo>
                      <a:pt x="160" y="231"/>
                    </a:lnTo>
                    <a:lnTo>
                      <a:pt x="158" y="233"/>
                    </a:lnTo>
                    <a:lnTo>
                      <a:pt x="155" y="231"/>
                    </a:lnTo>
                    <a:lnTo>
                      <a:pt x="153" y="231"/>
                    </a:lnTo>
                    <a:lnTo>
                      <a:pt x="156" y="231"/>
                    </a:lnTo>
                    <a:lnTo>
                      <a:pt x="158" y="231"/>
                    </a:lnTo>
                    <a:lnTo>
                      <a:pt x="161" y="231"/>
                    </a:lnTo>
                    <a:lnTo>
                      <a:pt x="165" y="231"/>
                    </a:lnTo>
                    <a:lnTo>
                      <a:pt x="166" y="233"/>
                    </a:lnTo>
                    <a:lnTo>
                      <a:pt x="168" y="233"/>
                    </a:lnTo>
                    <a:lnTo>
                      <a:pt x="171" y="233"/>
                    </a:lnTo>
                    <a:lnTo>
                      <a:pt x="165" y="226"/>
                    </a:lnTo>
                    <a:lnTo>
                      <a:pt x="161" y="223"/>
                    </a:lnTo>
                    <a:lnTo>
                      <a:pt x="163" y="220"/>
                    </a:lnTo>
                    <a:lnTo>
                      <a:pt x="165" y="220"/>
                    </a:lnTo>
                    <a:lnTo>
                      <a:pt x="161" y="218"/>
                    </a:lnTo>
                    <a:lnTo>
                      <a:pt x="160" y="216"/>
                    </a:lnTo>
                    <a:lnTo>
                      <a:pt x="160" y="215"/>
                    </a:lnTo>
                    <a:lnTo>
                      <a:pt x="155" y="210"/>
                    </a:lnTo>
                    <a:lnTo>
                      <a:pt x="150" y="206"/>
                    </a:lnTo>
                    <a:lnTo>
                      <a:pt x="141" y="205"/>
                    </a:lnTo>
                    <a:lnTo>
                      <a:pt x="141" y="201"/>
                    </a:lnTo>
                    <a:lnTo>
                      <a:pt x="140" y="201"/>
                    </a:lnTo>
                    <a:lnTo>
                      <a:pt x="136" y="193"/>
                    </a:lnTo>
                    <a:lnTo>
                      <a:pt x="133" y="188"/>
                    </a:lnTo>
                    <a:lnTo>
                      <a:pt x="131" y="178"/>
                    </a:lnTo>
                    <a:lnTo>
                      <a:pt x="130" y="175"/>
                    </a:lnTo>
                    <a:lnTo>
                      <a:pt x="126" y="175"/>
                    </a:lnTo>
                    <a:lnTo>
                      <a:pt x="120" y="167"/>
                    </a:lnTo>
                    <a:lnTo>
                      <a:pt x="116" y="165"/>
                    </a:lnTo>
                    <a:lnTo>
                      <a:pt x="113" y="163"/>
                    </a:lnTo>
                    <a:lnTo>
                      <a:pt x="108" y="162"/>
                    </a:lnTo>
                    <a:lnTo>
                      <a:pt x="106" y="163"/>
                    </a:lnTo>
                    <a:lnTo>
                      <a:pt x="101" y="165"/>
                    </a:lnTo>
                    <a:lnTo>
                      <a:pt x="96" y="163"/>
                    </a:lnTo>
                    <a:lnTo>
                      <a:pt x="93" y="163"/>
                    </a:lnTo>
                    <a:lnTo>
                      <a:pt x="88" y="163"/>
                    </a:lnTo>
                    <a:lnTo>
                      <a:pt x="88" y="160"/>
                    </a:lnTo>
                    <a:lnTo>
                      <a:pt x="90" y="162"/>
                    </a:lnTo>
                    <a:lnTo>
                      <a:pt x="95" y="162"/>
                    </a:lnTo>
                    <a:lnTo>
                      <a:pt x="100" y="160"/>
                    </a:lnTo>
                    <a:lnTo>
                      <a:pt x="101" y="157"/>
                    </a:lnTo>
                    <a:lnTo>
                      <a:pt x="106" y="157"/>
                    </a:lnTo>
                    <a:lnTo>
                      <a:pt x="110" y="155"/>
                    </a:lnTo>
                    <a:lnTo>
                      <a:pt x="106" y="153"/>
                    </a:lnTo>
                    <a:lnTo>
                      <a:pt x="106" y="150"/>
                    </a:lnTo>
                    <a:lnTo>
                      <a:pt x="105" y="148"/>
                    </a:lnTo>
                    <a:lnTo>
                      <a:pt x="98" y="152"/>
                    </a:lnTo>
                    <a:lnTo>
                      <a:pt x="96" y="152"/>
                    </a:lnTo>
                    <a:lnTo>
                      <a:pt x="101" y="148"/>
                    </a:lnTo>
                    <a:lnTo>
                      <a:pt x="106" y="148"/>
                    </a:lnTo>
                    <a:lnTo>
                      <a:pt x="110" y="145"/>
                    </a:lnTo>
                    <a:lnTo>
                      <a:pt x="111" y="143"/>
                    </a:lnTo>
                    <a:lnTo>
                      <a:pt x="113" y="142"/>
                    </a:lnTo>
                    <a:lnTo>
                      <a:pt x="116" y="137"/>
                    </a:lnTo>
                    <a:lnTo>
                      <a:pt x="118" y="133"/>
                    </a:lnTo>
                    <a:lnTo>
                      <a:pt x="118" y="132"/>
                    </a:lnTo>
                    <a:lnTo>
                      <a:pt x="120" y="128"/>
                    </a:lnTo>
                    <a:lnTo>
                      <a:pt x="120" y="127"/>
                    </a:lnTo>
                    <a:lnTo>
                      <a:pt x="121" y="122"/>
                    </a:lnTo>
                    <a:lnTo>
                      <a:pt x="125" y="118"/>
                    </a:lnTo>
                    <a:lnTo>
                      <a:pt x="125" y="115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08" y="112"/>
                    </a:lnTo>
                    <a:lnTo>
                      <a:pt x="103" y="110"/>
                    </a:lnTo>
                    <a:lnTo>
                      <a:pt x="101" y="112"/>
                    </a:lnTo>
                    <a:lnTo>
                      <a:pt x="98" y="112"/>
                    </a:lnTo>
                    <a:lnTo>
                      <a:pt x="95" y="110"/>
                    </a:lnTo>
                    <a:lnTo>
                      <a:pt x="91" y="110"/>
                    </a:lnTo>
                    <a:lnTo>
                      <a:pt x="91" y="112"/>
                    </a:lnTo>
                    <a:lnTo>
                      <a:pt x="88" y="113"/>
                    </a:lnTo>
                    <a:lnTo>
                      <a:pt x="85" y="115"/>
                    </a:lnTo>
                    <a:lnTo>
                      <a:pt x="83" y="115"/>
                    </a:lnTo>
                    <a:lnTo>
                      <a:pt x="80" y="117"/>
                    </a:lnTo>
                    <a:lnTo>
                      <a:pt x="78" y="117"/>
                    </a:lnTo>
                    <a:lnTo>
                      <a:pt x="83" y="112"/>
                    </a:lnTo>
                    <a:lnTo>
                      <a:pt x="86" y="107"/>
                    </a:lnTo>
                    <a:lnTo>
                      <a:pt x="83" y="108"/>
                    </a:lnTo>
                    <a:lnTo>
                      <a:pt x="80" y="107"/>
                    </a:lnTo>
                    <a:lnTo>
                      <a:pt x="81" y="105"/>
                    </a:lnTo>
                    <a:lnTo>
                      <a:pt x="83" y="103"/>
                    </a:lnTo>
                    <a:lnTo>
                      <a:pt x="93" y="97"/>
                    </a:lnTo>
                    <a:lnTo>
                      <a:pt x="95" y="93"/>
                    </a:lnTo>
                    <a:lnTo>
                      <a:pt x="98" y="92"/>
                    </a:lnTo>
                    <a:lnTo>
                      <a:pt x="100" y="88"/>
                    </a:lnTo>
                    <a:lnTo>
                      <a:pt x="98" y="87"/>
                    </a:lnTo>
                    <a:lnTo>
                      <a:pt x="100" y="84"/>
                    </a:lnTo>
                    <a:lnTo>
                      <a:pt x="100" y="82"/>
                    </a:lnTo>
                    <a:lnTo>
                      <a:pt x="95" y="82"/>
                    </a:lnTo>
                    <a:lnTo>
                      <a:pt x="93" y="84"/>
                    </a:lnTo>
                    <a:lnTo>
                      <a:pt x="90" y="84"/>
                    </a:lnTo>
                    <a:lnTo>
                      <a:pt x="85" y="85"/>
                    </a:lnTo>
                    <a:lnTo>
                      <a:pt x="81" y="84"/>
                    </a:lnTo>
                    <a:lnTo>
                      <a:pt x="78" y="85"/>
                    </a:lnTo>
                    <a:lnTo>
                      <a:pt x="77" y="85"/>
                    </a:lnTo>
                    <a:lnTo>
                      <a:pt x="73" y="87"/>
                    </a:lnTo>
                    <a:lnTo>
                      <a:pt x="75" y="85"/>
                    </a:lnTo>
                    <a:lnTo>
                      <a:pt x="72" y="85"/>
                    </a:lnTo>
                    <a:lnTo>
                      <a:pt x="68" y="88"/>
                    </a:lnTo>
                    <a:lnTo>
                      <a:pt x="70" y="85"/>
                    </a:lnTo>
                    <a:lnTo>
                      <a:pt x="63" y="84"/>
                    </a:lnTo>
                    <a:lnTo>
                      <a:pt x="63" y="85"/>
                    </a:lnTo>
                    <a:lnTo>
                      <a:pt x="62" y="87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2" y="93"/>
                    </a:lnTo>
                    <a:lnTo>
                      <a:pt x="57" y="93"/>
                    </a:lnTo>
                    <a:lnTo>
                      <a:pt x="58" y="97"/>
                    </a:lnTo>
                    <a:lnTo>
                      <a:pt x="57" y="100"/>
                    </a:lnTo>
                    <a:lnTo>
                      <a:pt x="55" y="100"/>
                    </a:lnTo>
                    <a:lnTo>
                      <a:pt x="60" y="103"/>
                    </a:lnTo>
                    <a:lnTo>
                      <a:pt x="62" y="107"/>
                    </a:lnTo>
                    <a:lnTo>
                      <a:pt x="57" y="105"/>
                    </a:lnTo>
                    <a:lnTo>
                      <a:pt x="55" y="105"/>
                    </a:lnTo>
                    <a:lnTo>
                      <a:pt x="52" y="103"/>
                    </a:lnTo>
                    <a:lnTo>
                      <a:pt x="52" y="105"/>
                    </a:lnTo>
                    <a:lnTo>
                      <a:pt x="52" y="107"/>
                    </a:lnTo>
                    <a:lnTo>
                      <a:pt x="52" y="108"/>
                    </a:lnTo>
                    <a:lnTo>
                      <a:pt x="50" y="105"/>
                    </a:lnTo>
                    <a:lnTo>
                      <a:pt x="48" y="108"/>
                    </a:lnTo>
                    <a:lnTo>
                      <a:pt x="50" y="110"/>
                    </a:lnTo>
                    <a:lnTo>
                      <a:pt x="48" y="113"/>
                    </a:lnTo>
                    <a:lnTo>
                      <a:pt x="52" y="115"/>
                    </a:lnTo>
                    <a:lnTo>
                      <a:pt x="53" y="115"/>
                    </a:lnTo>
                    <a:lnTo>
                      <a:pt x="50" y="117"/>
                    </a:lnTo>
                    <a:lnTo>
                      <a:pt x="47" y="115"/>
                    </a:lnTo>
                    <a:lnTo>
                      <a:pt x="48" y="120"/>
                    </a:lnTo>
                    <a:lnTo>
                      <a:pt x="48" y="122"/>
                    </a:lnTo>
                    <a:lnTo>
                      <a:pt x="53" y="120"/>
                    </a:lnTo>
                    <a:lnTo>
                      <a:pt x="50" y="122"/>
                    </a:lnTo>
                    <a:lnTo>
                      <a:pt x="50" y="123"/>
                    </a:lnTo>
                    <a:lnTo>
                      <a:pt x="52" y="123"/>
                    </a:lnTo>
                    <a:lnTo>
                      <a:pt x="55" y="123"/>
                    </a:lnTo>
                    <a:lnTo>
                      <a:pt x="53" y="123"/>
                    </a:lnTo>
                    <a:lnTo>
                      <a:pt x="55" y="125"/>
                    </a:lnTo>
                    <a:lnTo>
                      <a:pt x="53" y="125"/>
                    </a:lnTo>
                    <a:lnTo>
                      <a:pt x="52" y="125"/>
                    </a:lnTo>
                    <a:lnTo>
                      <a:pt x="50" y="127"/>
                    </a:lnTo>
                    <a:lnTo>
                      <a:pt x="52" y="128"/>
                    </a:lnTo>
                    <a:lnTo>
                      <a:pt x="50" y="128"/>
                    </a:lnTo>
                    <a:lnTo>
                      <a:pt x="48" y="130"/>
                    </a:lnTo>
                    <a:lnTo>
                      <a:pt x="52" y="132"/>
                    </a:lnTo>
                    <a:lnTo>
                      <a:pt x="52" y="133"/>
                    </a:lnTo>
                    <a:lnTo>
                      <a:pt x="47" y="132"/>
                    </a:lnTo>
                    <a:lnTo>
                      <a:pt x="47" y="135"/>
                    </a:lnTo>
                    <a:lnTo>
                      <a:pt x="48" y="135"/>
                    </a:lnTo>
                    <a:lnTo>
                      <a:pt x="47" y="137"/>
                    </a:lnTo>
                    <a:lnTo>
                      <a:pt x="45" y="138"/>
                    </a:lnTo>
                    <a:lnTo>
                      <a:pt x="42" y="138"/>
                    </a:lnTo>
                    <a:lnTo>
                      <a:pt x="38" y="140"/>
                    </a:lnTo>
                    <a:lnTo>
                      <a:pt x="40" y="142"/>
                    </a:lnTo>
                    <a:lnTo>
                      <a:pt x="45" y="142"/>
                    </a:lnTo>
                    <a:lnTo>
                      <a:pt x="47" y="142"/>
                    </a:lnTo>
                    <a:lnTo>
                      <a:pt x="47" y="143"/>
                    </a:lnTo>
                    <a:lnTo>
                      <a:pt x="43" y="143"/>
                    </a:lnTo>
                    <a:lnTo>
                      <a:pt x="47" y="147"/>
                    </a:lnTo>
                    <a:lnTo>
                      <a:pt x="48" y="145"/>
                    </a:lnTo>
                    <a:lnTo>
                      <a:pt x="50" y="147"/>
                    </a:lnTo>
                    <a:lnTo>
                      <a:pt x="60" y="138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7" y="143"/>
                    </a:lnTo>
                    <a:lnTo>
                      <a:pt x="55" y="148"/>
                    </a:lnTo>
                    <a:lnTo>
                      <a:pt x="55" y="150"/>
                    </a:lnTo>
                    <a:lnTo>
                      <a:pt x="52" y="155"/>
                    </a:lnTo>
                    <a:lnTo>
                      <a:pt x="53" y="155"/>
                    </a:lnTo>
                    <a:lnTo>
                      <a:pt x="50" y="162"/>
                    </a:lnTo>
                    <a:lnTo>
                      <a:pt x="52" y="165"/>
                    </a:lnTo>
                    <a:lnTo>
                      <a:pt x="50" y="168"/>
                    </a:lnTo>
                    <a:lnTo>
                      <a:pt x="50" y="170"/>
                    </a:lnTo>
                    <a:lnTo>
                      <a:pt x="53" y="170"/>
                    </a:lnTo>
                    <a:lnTo>
                      <a:pt x="50" y="173"/>
                    </a:lnTo>
                    <a:lnTo>
                      <a:pt x="48" y="180"/>
                    </a:lnTo>
                    <a:lnTo>
                      <a:pt x="47" y="182"/>
                    </a:lnTo>
                    <a:lnTo>
                      <a:pt x="47" y="183"/>
                    </a:lnTo>
                    <a:lnTo>
                      <a:pt x="52" y="183"/>
                    </a:lnTo>
                    <a:lnTo>
                      <a:pt x="52" y="180"/>
                    </a:lnTo>
                    <a:lnTo>
                      <a:pt x="53" y="175"/>
                    </a:lnTo>
                    <a:lnTo>
                      <a:pt x="53" y="173"/>
                    </a:lnTo>
                    <a:lnTo>
                      <a:pt x="57" y="170"/>
                    </a:lnTo>
                    <a:lnTo>
                      <a:pt x="53" y="162"/>
                    </a:lnTo>
                    <a:lnTo>
                      <a:pt x="55" y="162"/>
                    </a:lnTo>
                    <a:lnTo>
                      <a:pt x="62" y="155"/>
                    </a:lnTo>
                    <a:lnTo>
                      <a:pt x="57" y="162"/>
                    </a:lnTo>
                    <a:lnTo>
                      <a:pt x="57" y="167"/>
                    </a:lnTo>
                    <a:lnTo>
                      <a:pt x="58" y="167"/>
                    </a:lnTo>
                    <a:lnTo>
                      <a:pt x="58" y="165"/>
                    </a:lnTo>
                    <a:lnTo>
                      <a:pt x="62" y="162"/>
                    </a:lnTo>
                    <a:lnTo>
                      <a:pt x="63" y="167"/>
                    </a:lnTo>
                    <a:lnTo>
                      <a:pt x="65" y="162"/>
                    </a:lnTo>
                    <a:lnTo>
                      <a:pt x="65" y="158"/>
                    </a:lnTo>
                    <a:lnTo>
                      <a:pt x="67" y="157"/>
                    </a:lnTo>
                    <a:lnTo>
                      <a:pt x="67" y="162"/>
                    </a:lnTo>
                    <a:lnTo>
                      <a:pt x="72" y="165"/>
                    </a:lnTo>
                    <a:lnTo>
                      <a:pt x="67" y="163"/>
                    </a:lnTo>
                    <a:lnTo>
                      <a:pt x="65" y="170"/>
                    </a:lnTo>
                    <a:lnTo>
                      <a:pt x="67" y="175"/>
                    </a:lnTo>
                    <a:lnTo>
                      <a:pt x="70" y="175"/>
                    </a:lnTo>
                    <a:lnTo>
                      <a:pt x="70" y="178"/>
                    </a:lnTo>
                    <a:lnTo>
                      <a:pt x="67" y="182"/>
                    </a:lnTo>
                    <a:lnTo>
                      <a:pt x="63" y="191"/>
                    </a:lnTo>
                    <a:lnTo>
                      <a:pt x="63" y="196"/>
                    </a:lnTo>
                    <a:lnTo>
                      <a:pt x="60" y="193"/>
                    </a:lnTo>
                    <a:lnTo>
                      <a:pt x="60" y="198"/>
                    </a:lnTo>
                    <a:lnTo>
                      <a:pt x="65" y="205"/>
                    </a:lnTo>
                    <a:lnTo>
                      <a:pt x="63" y="198"/>
                    </a:lnTo>
                    <a:lnTo>
                      <a:pt x="67" y="198"/>
                    </a:lnTo>
                    <a:lnTo>
                      <a:pt x="75" y="203"/>
                    </a:lnTo>
                    <a:lnTo>
                      <a:pt x="75" y="200"/>
                    </a:lnTo>
                    <a:lnTo>
                      <a:pt x="72" y="196"/>
                    </a:lnTo>
                    <a:lnTo>
                      <a:pt x="75" y="196"/>
                    </a:lnTo>
                    <a:lnTo>
                      <a:pt x="81" y="200"/>
                    </a:lnTo>
                    <a:lnTo>
                      <a:pt x="86" y="200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1" y="193"/>
                    </a:lnTo>
                    <a:lnTo>
                      <a:pt x="103" y="195"/>
                    </a:lnTo>
                    <a:lnTo>
                      <a:pt x="96" y="196"/>
                    </a:lnTo>
                    <a:lnTo>
                      <a:pt x="91" y="208"/>
                    </a:lnTo>
                    <a:lnTo>
                      <a:pt x="96" y="218"/>
                    </a:lnTo>
                    <a:lnTo>
                      <a:pt x="100" y="216"/>
                    </a:lnTo>
                    <a:lnTo>
                      <a:pt x="100" y="221"/>
                    </a:lnTo>
                    <a:lnTo>
                      <a:pt x="103" y="218"/>
                    </a:lnTo>
                    <a:lnTo>
                      <a:pt x="108" y="218"/>
                    </a:lnTo>
                    <a:lnTo>
                      <a:pt x="106" y="223"/>
                    </a:lnTo>
                    <a:lnTo>
                      <a:pt x="108" y="225"/>
                    </a:lnTo>
                    <a:lnTo>
                      <a:pt x="103" y="228"/>
                    </a:lnTo>
                    <a:lnTo>
                      <a:pt x="105" y="233"/>
                    </a:lnTo>
                    <a:lnTo>
                      <a:pt x="101" y="238"/>
                    </a:lnTo>
                    <a:lnTo>
                      <a:pt x="105" y="241"/>
                    </a:lnTo>
                    <a:lnTo>
                      <a:pt x="108" y="245"/>
                    </a:lnTo>
                    <a:lnTo>
                      <a:pt x="111" y="245"/>
                    </a:lnTo>
                    <a:lnTo>
                      <a:pt x="110" y="246"/>
                    </a:lnTo>
                    <a:lnTo>
                      <a:pt x="106" y="246"/>
                    </a:lnTo>
                    <a:lnTo>
                      <a:pt x="103" y="243"/>
                    </a:lnTo>
                    <a:lnTo>
                      <a:pt x="101" y="243"/>
                    </a:lnTo>
                    <a:lnTo>
                      <a:pt x="103" y="246"/>
                    </a:lnTo>
                    <a:lnTo>
                      <a:pt x="105" y="248"/>
                    </a:lnTo>
                    <a:lnTo>
                      <a:pt x="101" y="248"/>
                    </a:lnTo>
                    <a:lnTo>
                      <a:pt x="98" y="245"/>
                    </a:lnTo>
                    <a:lnTo>
                      <a:pt x="91" y="246"/>
                    </a:lnTo>
                    <a:lnTo>
                      <a:pt x="88" y="246"/>
                    </a:lnTo>
                    <a:lnTo>
                      <a:pt x="80" y="250"/>
                    </a:lnTo>
                    <a:lnTo>
                      <a:pt x="75" y="255"/>
                    </a:lnTo>
                    <a:lnTo>
                      <a:pt x="70" y="258"/>
                    </a:lnTo>
                    <a:lnTo>
                      <a:pt x="67" y="261"/>
                    </a:lnTo>
                    <a:lnTo>
                      <a:pt x="72" y="261"/>
                    </a:lnTo>
                    <a:lnTo>
                      <a:pt x="73" y="261"/>
                    </a:lnTo>
                    <a:lnTo>
                      <a:pt x="73" y="260"/>
                    </a:lnTo>
                    <a:lnTo>
                      <a:pt x="81" y="258"/>
                    </a:lnTo>
                    <a:lnTo>
                      <a:pt x="81" y="261"/>
                    </a:lnTo>
                    <a:lnTo>
                      <a:pt x="83" y="265"/>
                    </a:lnTo>
                    <a:lnTo>
                      <a:pt x="80" y="266"/>
                    </a:lnTo>
                    <a:lnTo>
                      <a:pt x="81" y="270"/>
                    </a:lnTo>
                    <a:lnTo>
                      <a:pt x="85" y="270"/>
                    </a:lnTo>
                    <a:lnTo>
                      <a:pt x="78" y="278"/>
                    </a:lnTo>
                    <a:lnTo>
                      <a:pt x="75" y="280"/>
                    </a:lnTo>
                    <a:lnTo>
                      <a:pt x="72" y="283"/>
                    </a:lnTo>
                    <a:lnTo>
                      <a:pt x="70" y="283"/>
                    </a:lnTo>
                    <a:lnTo>
                      <a:pt x="65" y="286"/>
                    </a:lnTo>
                    <a:lnTo>
                      <a:pt x="60" y="286"/>
                    </a:lnTo>
                    <a:lnTo>
                      <a:pt x="55" y="289"/>
                    </a:lnTo>
                    <a:lnTo>
                      <a:pt x="60" y="289"/>
                    </a:lnTo>
                    <a:lnTo>
                      <a:pt x="60" y="293"/>
                    </a:lnTo>
                    <a:lnTo>
                      <a:pt x="57" y="294"/>
                    </a:lnTo>
                    <a:lnTo>
                      <a:pt x="62" y="294"/>
                    </a:lnTo>
                    <a:lnTo>
                      <a:pt x="62" y="296"/>
                    </a:lnTo>
                    <a:lnTo>
                      <a:pt x="63" y="298"/>
                    </a:lnTo>
                    <a:lnTo>
                      <a:pt x="67" y="296"/>
                    </a:lnTo>
                    <a:lnTo>
                      <a:pt x="70" y="294"/>
                    </a:lnTo>
                    <a:lnTo>
                      <a:pt x="77" y="293"/>
                    </a:lnTo>
                    <a:lnTo>
                      <a:pt x="77" y="294"/>
                    </a:lnTo>
                    <a:lnTo>
                      <a:pt x="81" y="296"/>
                    </a:lnTo>
                    <a:lnTo>
                      <a:pt x="78" y="298"/>
                    </a:lnTo>
                    <a:lnTo>
                      <a:pt x="78" y="299"/>
                    </a:lnTo>
                    <a:lnTo>
                      <a:pt x="85" y="299"/>
                    </a:lnTo>
                    <a:lnTo>
                      <a:pt x="85" y="298"/>
                    </a:lnTo>
                    <a:lnTo>
                      <a:pt x="88" y="298"/>
                    </a:lnTo>
                    <a:lnTo>
                      <a:pt x="91" y="301"/>
                    </a:lnTo>
                    <a:lnTo>
                      <a:pt x="95" y="304"/>
                    </a:lnTo>
                    <a:lnTo>
                      <a:pt x="101" y="304"/>
                    </a:lnTo>
                    <a:lnTo>
                      <a:pt x="105" y="301"/>
                    </a:lnTo>
                    <a:lnTo>
                      <a:pt x="108" y="299"/>
                    </a:lnTo>
                    <a:lnTo>
                      <a:pt x="113" y="298"/>
                    </a:lnTo>
                    <a:lnTo>
                      <a:pt x="115" y="296"/>
                    </a:lnTo>
                    <a:lnTo>
                      <a:pt x="118" y="294"/>
                    </a:lnTo>
                    <a:lnTo>
                      <a:pt x="113" y="299"/>
                    </a:lnTo>
                    <a:lnTo>
                      <a:pt x="108" y="304"/>
                    </a:lnTo>
                    <a:lnTo>
                      <a:pt x="106" y="311"/>
                    </a:lnTo>
                    <a:lnTo>
                      <a:pt x="103" y="311"/>
                    </a:lnTo>
                    <a:lnTo>
                      <a:pt x="100" y="311"/>
                    </a:lnTo>
                    <a:lnTo>
                      <a:pt x="96" y="309"/>
                    </a:lnTo>
                    <a:lnTo>
                      <a:pt x="86" y="309"/>
                    </a:lnTo>
                    <a:lnTo>
                      <a:pt x="80" y="311"/>
                    </a:lnTo>
                    <a:lnTo>
                      <a:pt x="80" y="314"/>
                    </a:lnTo>
                    <a:lnTo>
                      <a:pt x="77" y="316"/>
                    </a:lnTo>
                    <a:lnTo>
                      <a:pt x="72" y="316"/>
                    </a:lnTo>
                    <a:lnTo>
                      <a:pt x="72" y="324"/>
                    </a:lnTo>
                    <a:lnTo>
                      <a:pt x="68" y="328"/>
                    </a:lnTo>
                    <a:lnTo>
                      <a:pt x="67" y="329"/>
                    </a:lnTo>
                    <a:lnTo>
                      <a:pt x="62" y="331"/>
                    </a:lnTo>
                    <a:lnTo>
                      <a:pt x="60" y="334"/>
                    </a:lnTo>
                    <a:lnTo>
                      <a:pt x="58" y="334"/>
                    </a:lnTo>
                    <a:lnTo>
                      <a:pt x="57" y="336"/>
                    </a:lnTo>
                    <a:lnTo>
                      <a:pt x="52" y="341"/>
                    </a:lnTo>
                    <a:lnTo>
                      <a:pt x="50" y="339"/>
                    </a:lnTo>
                    <a:lnTo>
                      <a:pt x="45" y="343"/>
                    </a:lnTo>
                    <a:lnTo>
                      <a:pt x="45" y="346"/>
                    </a:lnTo>
                    <a:lnTo>
                      <a:pt x="50" y="346"/>
                    </a:lnTo>
                    <a:lnTo>
                      <a:pt x="50" y="343"/>
                    </a:lnTo>
                    <a:lnTo>
                      <a:pt x="55" y="344"/>
                    </a:lnTo>
                    <a:lnTo>
                      <a:pt x="57" y="34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9" name="Freeform 64"/>
              <p:cNvSpPr>
                <a:spLocks noEditPoints="1"/>
              </p:cNvSpPr>
              <p:nvPr/>
            </p:nvSpPr>
            <p:spPr bwMode="auto">
              <a:xfrm>
                <a:off x="6360431" y="2630560"/>
                <a:ext cx="168029" cy="136962"/>
              </a:xfrm>
              <a:custGeom>
                <a:avLst/>
                <a:gdLst/>
                <a:ahLst/>
                <a:cxnLst>
                  <a:cxn ang="0">
                    <a:pos x="248" y="130"/>
                  </a:cxn>
                  <a:cxn ang="0">
                    <a:pos x="228" y="140"/>
                  </a:cxn>
                  <a:cxn ang="0">
                    <a:pos x="234" y="125"/>
                  </a:cxn>
                  <a:cxn ang="0">
                    <a:pos x="253" y="103"/>
                  </a:cxn>
                  <a:cxn ang="0">
                    <a:pos x="261" y="100"/>
                  </a:cxn>
                  <a:cxn ang="0">
                    <a:pos x="264" y="76"/>
                  </a:cxn>
                  <a:cxn ang="0">
                    <a:pos x="271" y="57"/>
                  </a:cxn>
                  <a:cxn ang="0">
                    <a:pos x="249" y="55"/>
                  </a:cxn>
                  <a:cxn ang="0">
                    <a:pos x="233" y="47"/>
                  </a:cxn>
                  <a:cxn ang="0">
                    <a:pos x="214" y="40"/>
                  </a:cxn>
                  <a:cxn ang="0">
                    <a:pos x="196" y="32"/>
                  </a:cxn>
                  <a:cxn ang="0">
                    <a:pos x="181" y="20"/>
                  </a:cxn>
                  <a:cxn ang="0">
                    <a:pos x="163" y="2"/>
                  </a:cxn>
                  <a:cxn ang="0">
                    <a:pos x="143" y="7"/>
                  </a:cxn>
                  <a:cxn ang="0">
                    <a:pos x="133" y="33"/>
                  </a:cxn>
                  <a:cxn ang="0">
                    <a:pos x="107" y="42"/>
                  </a:cxn>
                  <a:cxn ang="0">
                    <a:pos x="90" y="50"/>
                  </a:cxn>
                  <a:cxn ang="0">
                    <a:pos x="80" y="42"/>
                  </a:cxn>
                  <a:cxn ang="0">
                    <a:pos x="65" y="45"/>
                  </a:cxn>
                  <a:cxn ang="0">
                    <a:pos x="70" y="62"/>
                  </a:cxn>
                  <a:cxn ang="0">
                    <a:pos x="58" y="68"/>
                  </a:cxn>
                  <a:cxn ang="0">
                    <a:pos x="37" y="63"/>
                  </a:cxn>
                  <a:cxn ang="0">
                    <a:pos x="18" y="67"/>
                  </a:cxn>
                  <a:cxn ang="0">
                    <a:pos x="2" y="78"/>
                  </a:cxn>
                  <a:cxn ang="0">
                    <a:pos x="4" y="78"/>
                  </a:cxn>
                  <a:cxn ang="0">
                    <a:pos x="9" y="85"/>
                  </a:cxn>
                  <a:cxn ang="0">
                    <a:pos x="9" y="95"/>
                  </a:cxn>
                  <a:cxn ang="0">
                    <a:pos x="30" y="96"/>
                  </a:cxn>
                  <a:cxn ang="0">
                    <a:pos x="43" y="100"/>
                  </a:cxn>
                  <a:cxn ang="0">
                    <a:pos x="52" y="108"/>
                  </a:cxn>
                  <a:cxn ang="0">
                    <a:pos x="63" y="108"/>
                  </a:cxn>
                  <a:cxn ang="0">
                    <a:pos x="57" y="121"/>
                  </a:cxn>
                  <a:cxn ang="0">
                    <a:pos x="80" y="135"/>
                  </a:cxn>
                  <a:cxn ang="0">
                    <a:pos x="78" y="151"/>
                  </a:cxn>
                  <a:cxn ang="0">
                    <a:pos x="87" y="158"/>
                  </a:cxn>
                  <a:cxn ang="0">
                    <a:pos x="82" y="178"/>
                  </a:cxn>
                  <a:cxn ang="0">
                    <a:pos x="72" y="213"/>
                  </a:cxn>
                  <a:cxn ang="0">
                    <a:pos x="82" y="223"/>
                  </a:cxn>
                  <a:cxn ang="0">
                    <a:pos x="113" y="233"/>
                  </a:cxn>
                  <a:cxn ang="0">
                    <a:pos x="143" y="231"/>
                  </a:cxn>
                  <a:cxn ang="0">
                    <a:pos x="171" y="238"/>
                  </a:cxn>
                  <a:cxn ang="0">
                    <a:pos x="186" y="208"/>
                  </a:cxn>
                  <a:cxn ang="0">
                    <a:pos x="206" y="213"/>
                  </a:cxn>
                  <a:cxn ang="0">
                    <a:pos x="244" y="223"/>
                  </a:cxn>
                  <a:cxn ang="0">
                    <a:pos x="268" y="201"/>
                  </a:cxn>
                  <a:cxn ang="0">
                    <a:pos x="253" y="174"/>
                  </a:cxn>
                  <a:cxn ang="0">
                    <a:pos x="253" y="153"/>
                  </a:cxn>
                  <a:cxn ang="0">
                    <a:pos x="306" y="266"/>
                  </a:cxn>
                  <a:cxn ang="0">
                    <a:pos x="299" y="258"/>
                  </a:cxn>
                  <a:cxn ang="0">
                    <a:pos x="294" y="249"/>
                  </a:cxn>
                  <a:cxn ang="0">
                    <a:pos x="294" y="241"/>
                  </a:cxn>
                  <a:cxn ang="0">
                    <a:pos x="307" y="231"/>
                  </a:cxn>
                  <a:cxn ang="0">
                    <a:pos x="312" y="221"/>
                  </a:cxn>
                  <a:cxn ang="0">
                    <a:pos x="312" y="256"/>
                  </a:cxn>
                </a:cxnLst>
                <a:rect l="0" t="0" r="r" b="b"/>
                <a:pathLst>
                  <a:path w="316" h="266">
                    <a:moveTo>
                      <a:pt x="254" y="145"/>
                    </a:moveTo>
                    <a:lnTo>
                      <a:pt x="254" y="141"/>
                    </a:lnTo>
                    <a:lnTo>
                      <a:pt x="251" y="140"/>
                    </a:lnTo>
                    <a:lnTo>
                      <a:pt x="249" y="135"/>
                    </a:lnTo>
                    <a:lnTo>
                      <a:pt x="248" y="130"/>
                    </a:lnTo>
                    <a:lnTo>
                      <a:pt x="239" y="130"/>
                    </a:lnTo>
                    <a:lnTo>
                      <a:pt x="236" y="133"/>
                    </a:lnTo>
                    <a:lnTo>
                      <a:pt x="239" y="138"/>
                    </a:lnTo>
                    <a:lnTo>
                      <a:pt x="233" y="140"/>
                    </a:lnTo>
                    <a:lnTo>
                      <a:pt x="228" y="140"/>
                    </a:lnTo>
                    <a:lnTo>
                      <a:pt x="228" y="136"/>
                    </a:lnTo>
                    <a:lnTo>
                      <a:pt x="229" y="135"/>
                    </a:lnTo>
                    <a:lnTo>
                      <a:pt x="233" y="135"/>
                    </a:lnTo>
                    <a:lnTo>
                      <a:pt x="233" y="131"/>
                    </a:lnTo>
                    <a:lnTo>
                      <a:pt x="234" y="125"/>
                    </a:lnTo>
                    <a:lnTo>
                      <a:pt x="239" y="115"/>
                    </a:lnTo>
                    <a:lnTo>
                      <a:pt x="244" y="115"/>
                    </a:lnTo>
                    <a:lnTo>
                      <a:pt x="248" y="108"/>
                    </a:lnTo>
                    <a:lnTo>
                      <a:pt x="253" y="106"/>
                    </a:lnTo>
                    <a:lnTo>
                      <a:pt x="253" y="103"/>
                    </a:lnTo>
                    <a:lnTo>
                      <a:pt x="248" y="100"/>
                    </a:lnTo>
                    <a:lnTo>
                      <a:pt x="249" y="96"/>
                    </a:lnTo>
                    <a:lnTo>
                      <a:pt x="256" y="96"/>
                    </a:lnTo>
                    <a:lnTo>
                      <a:pt x="258" y="100"/>
                    </a:lnTo>
                    <a:lnTo>
                      <a:pt x="261" y="100"/>
                    </a:lnTo>
                    <a:lnTo>
                      <a:pt x="269" y="98"/>
                    </a:lnTo>
                    <a:lnTo>
                      <a:pt x="268" y="93"/>
                    </a:lnTo>
                    <a:lnTo>
                      <a:pt x="263" y="91"/>
                    </a:lnTo>
                    <a:lnTo>
                      <a:pt x="263" y="85"/>
                    </a:lnTo>
                    <a:lnTo>
                      <a:pt x="264" y="76"/>
                    </a:lnTo>
                    <a:lnTo>
                      <a:pt x="268" y="75"/>
                    </a:lnTo>
                    <a:lnTo>
                      <a:pt x="268" y="71"/>
                    </a:lnTo>
                    <a:lnTo>
                      <a:pt x="271" y="65"/>
                    </a:lnTo>
                    <a:lnTo>
                      <a:pt x="276" y="60"/>
                    </a:lnTo>
                    <a:lnTo>
                      <a:pt x="271" y="57"/>
                    </a:lnTo>
                    <a:lnTo>
                      <a:pt x="268" y="57"/>
                    </a:lnTo>
                    <a:lnTo>
                      <a:pt x="261" y="53"/>
                    </a:lnTo>
                    <a:lnTo>
                      <a:pt x="258" y="55"/>
                    </a:lnTo>
                    <a:lnTo>
                      <a:pt x="254" y="55"/>
                    </a:lnTo>
                    <a:lnTo>
                      <a:pt x="249" y="55"/>
                    </a:lnTo>
                    <a:lnTo>
                      <a:pt x="246" y="55"/>
                    </a:lnTo>
                    <a:lnTo>
                      <a:pt x="241" y="52"/>
                    </a:lnTo>
                    <a:lnTo>
                      <a:pt x="241" y="50"/>
                    </a:lnTo>
                    <a:lnTo>
                      <a:pt x="236" y="47"/>
                    </a:lnTo>
                    <a:lnTo>
                      <a:pt x="233" y="47"/>
                    </a:lnTo>
                    <a:lnTo>
                      <a:pt x="228" y="47"/>
                    </a:lnTo>
                    <a:lnTo>
                      <a:pt x="224" y="42"/>
                    </a:lnTo>
                    <a:lnTo>
                      <a:pt x="221" y="42"/>
                    </a:lnTo>
                    <a:lnTo>
                      <a:pt x="218" y="43"/>
                    </a:lnTo>
                    <a:lnTo>
                      <a:pt x="214" y="40"/>
                    </a:lnTo>
                    <a:lnTo>
                      <a:pt x="209" y="40"/>
                    </a:lnTo>
                    <a:lnTo>
                      <a:pt x="203" y="33"/>
                    </a:lnTo>
                    <a:lnTo>
                      <a:pt x="201" y="33"/>
                    </a:lnTo>
                    <a:lnTo>
                      <a:pt x="198" y="32"/>
                    </a:lnTo>
                    <a:lnTo>
                      <a:pt x="196" y="32"/>
                    </a:lnTo>
                    <a:lnTo>
                      <a:pt x="193" y="33"/>
                    </a:lnTo>
                    <a:lnTo>
                      <a:pt x="188" y="30"/>
                    </a:lnTo>
                    <a:lnTo>
                      <a:pt x="188" y="23"/>
                    </a:lnTo>
                    <a:lnTo>
                      <a:pt x="185" y="23"/>
                    </a:lnTo>
                    <a:lnTo>
                      <a:pt x="181" y="20"/>
                    </a:lnTo>
                    <a:lnTo>
                      <a:pt x="178" y="20"/>
                    </a:lnTo>
                    <a:lnTo>
                      <a:pt x="171" y="15"/>
                    </a:lnTo>
                    <a:lnTo>
                      <a:pt x="170" y="12"/>
                    </a:lnTo>
                    <a:lnTo>
                      <a:pt x="165" y="10"/>
                    </a:lnTo>
                    <a:lnTo>
                      <a:pt x="163" y="2"/>
                    </a:lnTo>
                    <a:lnTo>
                      <a:pt x="161" y="0"/>
                    </a:lnTo>
                    <a:lnTo>
                      <a:pt x="160" y="2"/>
                    </a:lnTo>
                    <a:lnTo>
                      <a:pt x="151" y="5"/>
                    </a:lnTo>
                    <a:lnTo>
                      <a:pt x="150" y="3"/>
                    </a:lnTo>
                    <a:lnTo>
                      <a:pt x="143" y="7"/>
                    </a:lnTo>
                    <a:lnTo>
                      <a:pt x="141" y="12"/>
                    </a:lnTo>
                    <a:lnTo>
                      <a:pt x="141" y="17"/>
                    </a:lnTo>
                    <a:lnTo>
                      <a:pt x="141" y="25"/>
                    </a:lnTo>
                    <a:lnTo>
                      <a:pt x="133" y="30"/>
                    </a:lnTo>
                    <a:lnTo>
                      <a:pt x="133" y="33"/>
                    </a:lnTo>
                    <a:lnTo>
                      <a:pt x="126" y="35"/>
                    </a:lnTo>
                    <a:lnTo>
                      <a:pt x="121" y="35"/>
                    </a:lnTo>
                    <a:lnTo>
                      <a:pt x="118" y="33"/>
                    </a:lnTo>
                    <a:lnTo>
                      <a:pt x="108" y="38"/>
                    </a:lnTo>
                    <a:lnTo>
                      <a:pt x="107" y="42"/>
                    </a:lnTo>
                    <a:lnTo>
                      <a:pt x="108" y="45"/>
                    </a:lnTo>
                    <a:lnTo>
                      <a:pt x="111" y="47"/>
                    </a:lnTo>
                    <a:lnTo>
                      <a:pt x="107" y="50"/>
                    </a:lnTo>
                    <a:lnTo>
                      <a:pt x="100" y="52"/>
                    </a:lnTo>
                    <a:lnTo>
                      <a:pt x="90" y="50"/>
                    </a:lnTo>
                    <a:lnTo>
                      <a:pt x="87" y="48"/>
                    </a:lnTo>
                    <a:lnTo>
                      <a:pt x="82" y="50"/>
                    </a:lnTo>
                    <a:lnTo>
                      <a:pt x="82" y="47"/>
                    </a:lnTo>
                    <a:lnTo>
                      <a:pt x="78" y="45"/>
                    </a:lnTo>
                    <a:lnTo>
                      <a:pt x="80" y="42"/>
                    </a:lnTo>
                    <a:lnTo>
                      <a:pt x="75" y="40"/>
                    </a:lnTo>
                    <a:lnTo>
                      <a:pt x="72" y="42"/>
                    </a:lnTo>
                    <a:lnTo>
                      <a:pt x="65" y="40"/>
                    </a:lnTo>
                    <a:lnTo>
                      <a:pt x="63" y="40"/>
                    </a:lnTo>
                    <a:lnTo>
                      <a:pt x="65" y="45"/>
                    </a:lnTo>
                    <a:lnTo>
                      <a:pt x="63" y="47"/>
                    </a:lnTo>
                    <a:lnTo>
                      <a:pt x="72" y="53"/>
                    </a:lnTo>
                    <a:lnTo>
                      <a:pt x="70" y="55"/>
                    </a:lnTo>
                    <a:lnTo>
                      <a:pt x="72" y="58"/>
                    </a:lnTo>
                    <a:lnTo>
                      <a:pt x="70" y="62"/>
                    </a:lnTo>
                    <a:lnTo>
                      <a:pt x="73" y="65"/>
                    </a:lnTo>
                    <a:lnTo>
                      <a:pt x="73" y="70"/>
                    </a:lnTo>
                    <a:lnTo>
                      <a:pt x="65" y="68"/>
                    </a:lnTo>
                    <a:lnTo>
                      <a:pt x="62" y="70"/>
                    </a:lnTo>
                    <a:lnTo>
                      <a:pt x="58" y="68"/>
                    </a:lnTo>
                    <a:lnTo>
                      <a:pt x="53" y="70"/>
                    </a:lnTo>
                    <a:lnTo>
                      <a:pt x="52" y="68"/>
                    </a:lnTo>
                    <a:lnTo>
                      <a:pt x="47" y="71"/>
                    </a:lnTo>
                    <a:lnTo>
                      <a:pt x="40" y="63"/>
                    </a:lnTo>
                    <a:lnTo>
                      <a:pt x="37" y="63"/>
                    </a:lnTo>
                    <a:lnTo>
                      <a:pt x="30" y="63"/>
                    </a:lnTo>
                    <a:lnTo>
                      <a:pt x="27" y="68"/>
                    </a:lnTo>
                    <a:lnTo>
                      <a:pt x="23" y="67"/>
                    </a:lnTo>
                    <a:lnTo>
                      <a:pt x="20" y="68"/>
                    </a:lnTo>
                    <a:lnTo>
                      <a:pt x="18" y="67"/>
                    </a:lnTo>
                    <a:lnTo>
                      <a:pt x="13" y="68"/>
                    </a:lnTo>
                    <a:lnTo>
                      <a:pt x="10" y="70"/>
                    </a:lnTo>
                    <a:lnTo>
                      <a:pt x="4" y="71"/>
                    </a:lnTo>
                    <a:lnTo>
                      <a:pt x="0" y="75"/>
                    </a:lnTo>
                    <a:lnTo>
                      <a:pt x="2" y="78"/>
                    </a:lnTo>
                    <a:lnTo>
                      <a:pt x="5" y="76"/>
                    </a:lnTo>
                    <a:lnTo>
                      <a:pt x="10" y="76"/>
                    </a:lnTo>
                    <a:lnTo>
                      <a:pt x="12" y="78"/>
                    </a:lnTo>
                    <a:lnTo>
                      <a:pt x="7" y="78"/>
                    </a:lnTo>
                    <a:lnTo>
                      <a:pt x="4" y="78"/>
                    </a:lnTo>
                    <a:lnTo>
                      <a:pt x="5" y="83"/>
                    </a:lnTo>
                    <a:lnTo>
                      <a:pt x="7" y="80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9" y="85"/>
                    </a:lnTo>
                    <a:lnTo>
                      <a:pt x="4" y="85"/>
                    </a:lnTo>
                    <a:lnTo>
                      <a:pt x="4" y="86"/>
                    </a:lnTo>
                    <a:lnTo>
                      <a:pt x="9" y="86"/>
                    </a:lnTo>
                    <a:lnTo>
                      <a:pt x="10" y="91"/>
                    </a:lnTo>
                    <a:lnTo>
                      <a:pt x="9" y="95"/>
                    </a:lnTo>
                    <a:lnTo>
                      <a:pt x="13" y="91"/>
                    </a:lnTo>
                    <a:lnTo>
                      <a:pt x="17" y="91"/>
                    </a:lnTo>
                    <a:lnTo>
                      <a:pt x="20" y="91"/>
                    </a:lnTo>
                    <a:lnTo>
                      <a:pt x="28" y="95"/>
                    </a:lnTo>
                    <a:lnTo>
                      <a:pt x="30" y="96"/>
                    </a:lnTo>
                    <a:lnTo>
                      <a:pt x="33" y="96"/>
                    </a:lnTo>
                    <a:lnTo>
                      <a:pt x="38" y="100"/>
                    </a:lnTo>
                    <a:lnTo>
                      <a:pt x="42" y="96"/>
                    </a:lnTo>
                    <a:lnTo>
                      <a:pt x="45" y="96"/>
                    </a:lnTo>
                    <a:lnTo>
                      <a:pt x="43" y="100"/>
                    </a:lnTo>
                    <a:lnTo>
                      <a:pt x="45" y="101"/>
                    </a:lnTo>
                    <a:lnTo>
                      <a:pt x="48" y="100"/>
                    </a:lnTo>
                    <a:lnTo>
                      <a:pt x="52" y="101"/>
                    </a:lnTo>
                    <a:lnTo>
                      <a:pt x="50" y="105"/>
                    </a:lnTo>
                    <a:lnTo>
                      <a:pt x="52" y="108"/>
                    </a:lnTo>
                    <a:lnTo>
                      <a:pt x="55" y="108"/>
                    </a:lnTo>
                    <a:lnTo>
                      <a:pt x="60" y="106"/>
                    </a:lnTo>
                    <a:lnTo>
                      <a:pt x="63" y="106"/>
                    </a:lnTo>
                    <a:lnTo>
                      <a:pt x="67" y="110"/>
                    </a:lnTo>
                    <a:lnTo>
                      <a:pt x="63" y="108"/>
                    </a:lnTo>
                    <a:lnTo>
                      <a:pt x="58" y="108"/>
                    </a:lnTo>
                    <a:lnTo>
                      <a:pt x="57" y="111"/>
                    </a:lnTo>
                    <a:lnTo>
                      <a:pt x="58" y="113"/>
                    </a:lnTo>
                    <a:lnTo>
                      <a:pt x="60" y="118"/>
                    </a:lnTo>
                    <a:lnTo>
                      <a:pt x="57" y="121"/>
                    </a:lnTo>
                    <a:lnTo>
                      <a:pt x="58" y="123"/>
                    </a:lnTo>
                    <a:lnTo>
                      <a:pt x="62" y="125"/>
                    </a:lnTo>
                    <a:lnTo>
                      <a:pt x="68" y="131"/>
                    </a:lnTo>
                    <a:lnTo>
                      <a:pt x="75" y="131"/>
                    </a:lnTo>
                    <a:lnTo>
                      <a:pt x="80" y="135"/>
                    </a:lnTo>
                    <a:lnTo>
                      <a:pt x="80" y="138"/>
                    </a:lnTo>
                    <a:lnTo>
                      <a:pt x="82" y="141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8" y="151"/>
                    </a:lnTo>
                    <a:lnTo>
                      <a:pt x="82" y="151"/>
                    </a:lnTo>
                    <a:lnTo>
                      <a:pt x="90" y="156"/>
                    </a:lnTo>
                    <a:lnTo>
                      <a:pt x="95" y="169"/>
                    </a:lnTo>
                    <a:lnTo>
                      <a:pt x="88" y="163"/>
                    </a:lnTo>
                    <a:lnTo>
                      <a:pt x="87" y="158"/>
                    </a:lnTo>
                    <a:lnTo>
                      <a:pt x="82" y="156"/>
                    </a:lnTo>
                    <a:lnTo>
                      <a:pt x="80" y="158"/>
                    </a:lnTo>
                    <a:lnTo>
                      <a:pt x="78" y="168"/>
                    </a:lnTo>
                    <a:lnTo>
                      <a:pt x="78" y="176"/>
                    </a:lnTo>
                    <a:lnTo>
                      <a:pt x="82" y="178"/>
                    </a:lnTo>
                    <a:lnTo>
                      <a:pt x="78" y="181"/>
                    </a:lnTo>
                    <a:lnTo>
                      <a:pt x="77" y="196"/>
                    </a:lnTo>
                    <a:lnTo>
                      <a:pt x="73" y="208"/>
                    </a:lnTo>
                    <a:lnTo>
                      <a:pt x="67" y="211"/>
                    </a:lnTo>
                    <a:lnTo>
                      <a:pt x="72" y="213"/>
                    </a:lnTo>
                    <a:lnTo>
                      <a:pt x="72" y="214"/>
                    </a:lnTo>
                    <a:lnTo>
                      <a:pt x="75" y="214"/>
                    </a:lnTo>
                    <a:lnTo>
                      <a:pt x="75" y="219"/>
                    </a:lnTo>
                    <a:lnTo>
                      <a:pt x="75" y="223"/>
                    </a:lnTo>
                    <a:lnTo>
                      <a:pt x="82" y="223"/>
                    </a:lnTo>
                    <a:lnTo>
                      <a:pt x="92" y="226"/>
                    </a:lnTo>
                    <a:lnTo>
                      <a:pt x="97" y="231"/>
                    </a:lnTo>
                    <a:lnTo>
                      <a:pt x="102" y="228"/>
                    </a:lnTo>
                    <a:lnTo>
                      <a:pt x="107" y="233"/>
                    </a:lnTo>
                    <a:lnTo>
                      <a:pt x="113" y="233"/>
                    </a:lnTo>
                    <a:lnTo>
                      <a:pt x="116" y="234"/>
                    </a:lnTo>
                    <a:lnTo>
                      <a:pt x="121" y="231"/>
                    </a:lnTo>
                    <a:lnTo>
                      <a:pt x="131" y="231"/>
                    </a:lnTo>
                    <a:lnTo>
                      <a:pt x="136" y="233"/>
                    </a:lnTo>
                    <a:lnTo>
                      <a:pt x="143" y="231"/>
                    </a:lnTo>
                    <a:lnTo>
                      <a:pt x="150" y="236"/>
                    </a:lnTo>
                    <a:lnTo>
                      <a:pt x="161" y="234"/>
                    </a:lnTo>
                    <a:lnTo>
                      <a:pt x="170" y="239"/>
                    </a:lnTo>
                    <a:lnTo>
                      <a:pt x="171" y="239"/>
                    </a:lnTo>
                    <a:lnTo>
                      <a:pt x="171" y="238"/>
                    </a:lnTo>
                    <a:lnTo>
                      <a:pt x="170" y="231"/>
                    </a:lnTo>
                    <a:lnTo>
                      <a:pt x="171" y="224"/>
                    </a:lnTo>
                    <a:lnTo>
                      <a:pt x="173" y="219"/>
                    </a:lnTo>
                    <a:lnTo>
                      <a:pt x="178" y="216"/>
                    </a:lnTo>
                    <a:lnTo>
                      <a:pt x="186" y="208"/>
                    </a:lnTo>
                    <a:lnTo>
                      <a:pt x="190" y="208"/>
                    </a:lnTo>
                    <a:lnTo>
                      <a:pt x="191" y="209"/>
                    </a:lnTo>
                    <a:lnTo>
                      <a:pt x="198" y="209"/>
                    </a:lnTo>
                    <a:lnTo>
                      <a:pt x="203" y="213"/>
                    </a:lnTo>
                    <a:lnTo>
                      <a:pt x="206" y="213"/>
                    </a:lnTo>
                    <a:lnTo>
                      <a:pt x="211" y="211"/>
                    </a:lnTo>
                    <a:lnTo>
                      <a:pt x="214" y="209"/>
                    </a:lnTo>
                    <a:lnTo>
                      <a:pt x="229" y="218"/>
                    </a:lnTo>
                    <a:lnTo>
                      <a:pt x="233" y="221"/>
                    </a:lnTo>
                    <a:lnTo>
                      <a:pt x="244" y="223"/>
                    </a:lnTo>
                    <a:lnTo>
                      <a:pt x="248" y="218"/>
                    </a:lnTo>
                    <a:lnTo>
                      <a:pt x="248" y="216"/>
                    </a:lnTo>
                    <a:lnTo>
                      <a:pt x="251" y="211"/>
                    </a:lnTo>
                    <a:lnTo>
                      <a:pt x="266" y="201"/>
                    </a:lnTo>
                    <a:lnTo>
                      <a:pt x="268" y="201"/>
                    </a:lnTo>
                    <a:lnTo>
                      <a:pt x="266" y="196"/>
                    </a:lnTo>
                    <a:lnTo>
                      <a:pt x="269" y="189"/>
                    </a:lnTo>
                    <a:lnTo>
                      <a:pt x="261" y="189"/>
                    </a:lnTo>
                    <a:lnTo>
                      <a:pt x="254" y="184"/>
                    </a:lnTo>
                    <a:lnTo>
                      <a:pt x="253" y="174"/>
                    </a:lnTo>
                    <a:lnTo>
                      <a:pt x="248" y="168"/>
                    </a:lnTo>
                    <a:lnTo>
                      <a:pt x="251" y="165"/>
                    </a:lnTo>
                    <a:lnTo>
                      <a:pt x="256" y="165"/>
                    </a:lnTo>
                    <a:lnTo>
                      <a:pt x="258" y="156"/>
                    </a:lnTo>
                    <a:lnTo>
                      <a:pt x="253" y="153"/>
                    </a:lnTo>
                    <a:lnTo>
                      <a:pt x="253" y="148"/>
                    </a:lnTo>
                    <a:lnTo>
                      <a:pt x="254" y="145"/>
                    </a:lnTo>
                    <a:lnTo>
                      <a:pt x="254" y="145"/>
                    </a:lnTo>
                    <a:lnTo>
                      <a:pt x="254" y="145"/>
                    </a:lnTo>
                    <a:close/>
                    <a:moveTo>
                      <a:pt x="306" y="266"/>
                    </a:moveTo>
                    <a:lnTo>
                      <a:pt x="298" y="263"/>
                    </a:lnTo>
                    <a:lnTo>
                      <a:pt x="298" y="261"/>
                    </a:lnTo>
                    <a:lnTo>
                      <a:pt x="299" y="259"/>
                    </a:lnTo>
                    <a:lnTo>
                      <a:pt x="301" y="259"/>
                    </a:lnTo>
                    <a:lnTo>
                      <a:pt x="299" y="258"/>
                    </a:lnTo>
                    <a:lnTo>
                      <a:pt x="298" y="258"/>
                    </a:lnTo>
                    <a:lnTo>
                      <a:pt x="298" y="254"/>
                    </a:lnTo>
                    <a:lnTo>
                      <a:pt x="294" y="253"/>
                    </a:lnTo>
                    <a:lnTo>
                      <a:pt x="293" y="251"/>
                    </a:lnTo>
                    <a:lnTo>
                      <a:pt x="294" y="249"/>
                    </a:lnTo>
                    <a:lnTo>
                      <a:pt x="294" y="248"/>
                    </a:lnTo>
                    <a:lnTo>
                      <a:pt x="291" y="246"/>
                    </a:lnTo>
                    <a:lnTo>
                      <a:pt x="291" y="243"/>
                    </a:lnTo>
                    <a:lnTo>
                      <a:pt x="293" y="243"/>
                    </a:lnTo>
                    <a:lnTo>
                      <a:pt x="294" y="241"/>
                    </a:lnTo>
                    <a:lnTo>
                      <a:pt x="291" y="238"/>
                    </a:lnTo>
                    <a:lnTo>
                      <a:pt x="294" y="233"/>
                    </a:lnTo>
                    <a:lnTo>
                      <a:pt x="303" y="231"/>
                    </a:lnTo>
                    <a:lnTo>
                      <a:pt x="304" y="228"/>
                    </a:lnTo>
                    <a:lnTo>
                      <a:pt x="307" y="231"/>
                    </a:lnTo>
                    <a:lnTo>
                      <a:pt x="309" y="231"/>
                    </a:lnTo>
                    <a:lnTo>
                      <a:pt x="311" y="228"/>
                    </a:lnTo>
                    <a:lnTo>
                      <a:pt x="309" y="224"/>
                    </a:lnTo>
                    <a:lnTo>
                      <a:pt x="309" y="221"/>
                    </a:lnTo>
                    <a:lnTo>
                      <a:pt x="312" y="221"/>
                    </a:lnTo>
                    <a:lnTo>
                      <a:pt x="312" y="226"/>
                    </a:lnTo>
                    <a:lnTo>
                      <a:pt x="312" y="233"/>
                    </a:lnTo>
                    <a:lnTo>
                      <a:pt x="316" y="241"/>
                    </a:lnTo>
                    <a:lnTo>
                      <a:pt x="312" y="251"/>
                    </a:lnTo>
                    <a:lnTo>
                      <a:pt x="312" y="256"/>
                    </a:lnTo>
                    <a:lnTo>
                      <a:pt x="309" y="264"/>
                    </a:lnTo>
                    <a:lnTo>
                      <a:pt x="306" y="2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0" name="Freeform 65"/>
              <p:cNvSpPr>
                <a:spLocks/>
              </p:cNvSpPr>
              <p:nvPr/>
            </p:nvSpPr>
            <p:spPr bwMode="auto">
              <a:xfrm>
                <a:off x="6591605" y="2843265"/>
                <a:ext cx="4281" cy="3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5" y="7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7">
                    <a:moveTo>
                      <a:pt x="0" y="0"/>
                    </a:moveTo>
                    <a:lnTo>
                      <a:pt x="0" y="4"/>
                    </a:lnTo>
                    <a:lnTo>
                      <a:pt x="5" y="7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1" name="Freeform 66"/>
              <p:cNvSpPr>
                <a:spLocks noEditPoints="1"/>
              </p:cNvSpPr>
              <p:nvPr/>
            </p:nvSpPr>
            <p:spPr bwMode="auto">
              <a:xfrm>
                <a:off x="6492072" y="2687627"/>
                <a:ext cx="147694" cy="146300"/>
              </a:xfrm>
              <a:custGeom>
                <a:avLst/>
                <a:gdLst/>
                <a:ahLst/>
                <a:cxnLst>
                  <a:cxn ang="0">
                    <a:pos x="6" y="73"/>
                  </a:cxn>
                  <a:cxn ang="0">
                    <a:pos x="10" y="45"/>
                  </a:cxn>
                  <a:cxn ang="0">
                    <a:pos x="21" y="30"/>
                  </a:cxn>
                  <a:cxn ang="0">
                    <a:pos x="50" y="30"/>
                  </a:cxn>
                  <a:cxn ang="0">
                    <a:pos x="71" y="24"/>
                  </a:cxn>
                  <a:cxn ang="0">
                    <a:pos x="88" y="4"/>
                  </a:cxn>
                  <a:cxn ang="0">
                    <a:pos x="121" y="5"/>
                  </a:cxn>
                  <a:cxn ang="0">
                    <a:pos x="154" y="24"/>
                  </a:cxn>
                  <a:cxn ang="0">
                    <a:pos x="146" y="40"/>
                  </a:cxn>
                  <a:cxn ang="0">
                    <a:pos x="124" y="50"/>
                  </a:cxn>
                  <a:cxn ang="0">
                    <a:pos x="128" y="72"/>
                  </a:cxn>
                  <a:cxn ang="0">
                    <a:pos x="149" y="92"/>
                  </a:cxn>
                  <a:cxn ang="0">
                    <a:pos x="171" y="120"/>
                  </a:cxn>
                  <a:cxn ang="0">
                    <a:pos x="194" y="138"/>
                  </a:cxn>
                  <a:cxn ang="0">
                    <a:pos x="221" y="142"/>
                  </a:cxn>
                  <a:cxn ang="0">
                    <a:pos x="221" y="155"/>
                  </a:cxn>
                  <a:cxn ang="0">
                    <a:pos x="269" y="176"/>
                  </a:cxn>
                  <a:cxn ang="0">
                    <a:pos x="272" y="195"/>
                  </a:cxn>
                  <a:cxn ang="0">
                    <a:pos x="262" y="186"/>
                  </a:cxn>
                  <a:cxn ang="0">
                    <a:pos x="246" y="178"/>
                  </a:cxn>
                  <a:cxn ang="0">
                    <a:pos x="236" y="190"/>
                  </a:cxn>
                  <a:cxn ang="0">
                    <a:pos x="237" y="201"/>
                  </a:cxn>
                  <a:cxn ang="0">
                    <a:pos x="244" y="221"/>
                  </a:cxn>
                  <a:cxn ang="0">
                    <a:pos x="227" y="245"/>
                  </a:cxn>
                  <a:cxn ang="0">
                    <a:pos x="212" y="240"/>
                  </a:cxn>
                  <a:cxn ang="0">
                    <a:pos x="221" y="226"/>
                  </a:cxn>
                  <a:cxn ang="0">
                    <a:pos x="221" y="208"/>
                  </a:cxn>
                  <a:cxn ang="0">
                    <a:pos x="207" y="191"/>
                  </a:cxn>
                  <a:cxn ang="0">
                    <a:pos x="194" y="181"/>
                  </a:cxn>
                  <a:cxn ang="0">
                    <a:pos x="182" y="171"/>
                  </a:cxn>
                  <a:cxn ang="0">
                    <a:pos x="162" y="160"/>
                  </a:cxn>
                  <a:cxn ang="0">
                    <a:pos x="146" y="155"/>
                  </a:cxn>
                  <a:cxn ang="0">
                    <a:pos x="118" y="132"/>
                  </a:cxn>
                  <a:cxn ang="0">
                    <a:pos x="96" y="112"/>
                  </a:cxn>
                  <a:cxn ang="0">
                    <a:pos x="81" y="92"/>
                  </a:cxn>
                  <a:cxn ang="0">
                    <a:pos x="64" y="77"/>
                  </a:cxn>
                  <a:cxn ang="0">
                    <a:pos x="20" y="90"/>
                  </a:cxn>
                  <a:cxn ang="0">
                    <a:pos x="41" y="160"/>
                  </a:cxn>
                  <a:cxn ang="0">
                    <a:pos x="38" y="163"/>
                  </a:cxn>
                  <a:cxn ang="0">
                    <a:pos x="99" y="128"/>
                  </a:cxn>
                  <a:cxn ang="0">
                    <a:pos x="89" y="117"/>
                  </a:cxn>
                  <a:cxn ang="0">
                    <a:pos x="79" y="115"/>
                  </a:cxn>
                  <a:cxn ang="0">
                    <a:pos x="58" y="216"/>
                  </a:cxn>
                  <a:cxn ang="0">
                    <a:pos x="71" y="213"/>
                  </a:cxn>
                  <a:cxn ang="0">
                    <a:pos x="66" y="181"/>
                  </a:cxn>
                  <a:cxn ang="0">
                    <a:pos x="64" y="161"/>
                  </a:cxn>
                  <a:cxn ang="0">
                    <a:pos x="43" y="170"/>
                  </a:cxn>
                  <a:cxn ang="0">
                    <a:pos x="41" y="181"/>
                  </a:cxn>
                  <a:cxn ang="0">
                    <a:pos x="46" y="195"/>
                  </a:cxn>
                  <a:cxn ang="0">
                    <a:pos x="46" y="220"/>
                  </a:cxn>
                  <a:cxn ang="0">
                    <a:pos x="206" y="273"/>
                  </a:cxn>
                  <a:cxn ang="0">
                    <a:pos x="211" y="243"/>
                  </a:cxn>
                  <a:cxn ang="0">
                    <a:pos x="187" y="246"/>
                  </a:cxn>
                  <a:cxn ang="0">
                    <a:pos x="151" y="245"/>
                  </a:cxn>
                  <a:cxn ang="0">
                    <a:pos x="144" y="258"/>
                  </a:cxn>
                  <a:cxn ang="0">
                    <a:pos x="179" y="271"/>
                  </a:cxn>
                  <a:cxn ang="0">
                    <a:pos x="202" y="281"/>
                  </a:cxn>
                </a:cxnLst>
                <a:rect l="0" t="0" r="r" b="b"/>
                <a:pathLst>
                  <a:path w="275" h="281">
                    <a:moveTo>
                      <a:pt x="20" y="90"/>
                    </a:moveTo>
                    <a:lnTo>
                      <a:pt x="18" y="85"/>
                    </a:lnTo>
                    <a:lnTo>
                      <a:pt x="21" y="78"/>
                    </a:lnTo>
                    <a:lnTo>
                      <a:pt x="13" y="78"/>
                    </a:lnTo>
                    <a:lnTo>
                      <a:pt x="6" y="73"/>
                    </a:lnTo>
                    <a:lnTo>
                      <a:pt x="5" y="63"/>
                    </a:lnTo>
                    <a:lnTo>
                      <a:pt x="0" y="57"/>
                    </a:lnTo>
                    <a:lnTo>
                      <a:pt x="3" y="54"/>
                    </a:lnTo>
                    <a:lnTo>
                      <a:pt x="8" y="54"/>
                    </a:lnTo>
                    <a:lnTo>
                      <a:pt x="10" y="45"/>
                    </a:lnTo>
                    <a:lnTo>
                      <a:pt x="5" y="42"/>
                    </a:lnTo>
                    <a:lnTo>
                      <a:pt x="5" y="37"/>
                    </a:lnTo>
                    <a:lnTo>
                      <a:pt x="6" y="34"/>
                    </a:lnTo>
                    <a:lnTo>
                      <a:pt x="11" y="37"/>
                    </a:lnTo>
                    <a:lnTo>
                      <a:pt x="21" y="30"/>
                    </a:lnTo>
                    <a:lnTo>
                      <a:pt x="28" y="32"/>
                    </a:lnTo>
                    <a:lnTo>
                      <a:pt x="36" y="19"/>
                    </a:lnTo>
                    <a:lnTo>
                      <a:pt x="43" y="22"/>
                    </a:lnTo>
                    <a:lnTo>
                      <a:pt x="41" y="27"/>
                    </a:lnTo>
                    <a:lnTo>
                      <a:pt x="50" y="30"/>
                    </a:lnTo>
                    <a:lnTo>
                      <a:pt x="51" y="35"/>
                    </a:lnTo>
                    <a:lnTo>
                      <a:pt x="56" y="27"/>
                    </a:lnTo>
                    <a:lnTo>
                      <a:pt x="56" y="20"/>
                    </a:lnTo>
                    <a:lnTo>
                      <a:pt x="66" y="24"/>
                    </a:lnTo>
                    <a:lnTo>
                      <a:pt x="71" y="24"/>
                    </a:lnTo>
                    <a:lnTo>
                      <a:pt x="74" y="27"/>
                    </a:lnTo>
                    <a:lnTo>
                      <a:pt x="76" y="19"/>
                    </a:lnTo>
                    <a:lnTo>
                      <a:pt x="86" y="17"/>
                    </a:lnTo>
                    <a:lnTo>
                      <a:pt x="83" y="9"/>
                    </a:lnTo>
                    <a:lnTo>
                      <a:pt x="88" y="4"/>
                    </a:lnTo>
                    <a:lnTo>
                      <a:pt x="96" y="7"/>
                    </a:lnTo>
                    <a:lnTo>
                      <a:pt x="109" y="0"/>
                    </a:lnTo>
                    <a:lnTo>
                      <a:pt x="114" y="2"/>
                    </a:lnTo>
                    <a:lnTo>
                      <a:pt x="123" y="0"/>
                    </a:lnTo>
                    <a:lnTo>
                      <a:pt x="121" y="5"/>
                    </a:lnTo>
                    <a:lnTo>
                      <a:pt x="134" y="12"/>
                    </a:lnTo>
                    <a:lnTo>
                      <a:pt x="148" y="14"/>
                    </a:lnTo>
                    <a:lnTo>
                      <a:pt x="156" y="14"/>
                    </a:lnTo>
                    <a:lnTo>
                      <a:pt x="159" y="17"/>
                    </a:lnTo>
                    <a:lnTo>
                      <a:pt x="154" y="24"/>
                    </a:lnTo>
                    <a:lnTo>
                      <a:pt x="156" y="27"/>
                    </a:lnTo>
                    <a:lnTo>
                      <a:pt x="153" y="32"/>
                    </a:lnTo>
                    <a:lnTo>
                      <a:pt x="154" y="39"/>
                    </a:lnTo>
                    <a:lnTo>
                      <a:pt x="149" y="39"/>
                    </a:lnTo>
                    <a:lnTo>
                      <a:pt x="146" y="40"/>
                    </a:lnTo>
                    <a:lnTo>
                      <a:pt x="143" y="42"/>
                    </a:lnTo>
                    <a:lnTo>
                      <a:pt x="136" y="42"/>
                    </a:lnTo>
                    <a:lnTo>
                      <a:pt x="131" y="47"/>
                    </a:lnTo>
                    <a:lnTo>
                      <a:pt x="126" y="47"/>
                    </a:lnTo>
                    <a:lnTo>
                      <a:pt x="124" y="50"/>
                    </a:lnTo>
                    <a:lnTo>
                      <a:pt x="128" y="55"/>
                    </a:lnTo>
                    <a:lnTo>
                      <a:pt x="131" y="58"/>
                    </a:lnTo>
                    <a:lnTo>
                      <a:pt x="126" y="63"/>
                    </a:lnTo>
                    <a:lnTo>
                      <a:pt x="124" y="65"/>
                    </a:lnTo>
                    <a:lnTo>
                      <a:pt x="128" y="72"/>
                    </a:lnTo>
                    <a:lnTo>
                      <a:pt x="128" y="77"/>
                    </a:lnTo>
                    <a:lnTo>
                      <a:pt x="131" y="80"/>
                    </a:lnTo>
                    <a:lnTo>
                      <a:pt x="141" y="85"/>
                    </a:lnTo>
                    <a:lnTo>
                      <a:pt x="148" y="88"/>
                    </a:lnTo>
                    <a:lnTo>
                      <a:pt x="149" y="92"/>
                    </a:lnTo>
                    <a:lnTo>
                      <a:pt x="166" y="107"/>
                    </a:lnTo>
                    <a:lnTo>
                      <a:pt x="166" y="110"/>
                    </a:lnTo>
                    <a:lnTo>
                      <a:pt x="167" y="112"/>
                    </a:lnTo>
                    <a:lnTo>
                      <a:pt x="167" y="117"/>
                    </a:lnTo>
                    <a:lnTo>
                      <a:pt x="171" y="120"/>
                    </a:lnTo>
                    <a:lnTo>
                      <a:pt x="176" y="125"/>
                    </a:lnTo>
                    <a:lnTo>
                      <a:pt x="179" y="130"/>
                    </a:lnTo>
                    <a:lnTo>
                      <a:pt x="186" y="135"/>
                    </a:lnTo>
                    <a:lnTo>
                      <a:pt x="189" y="137"/>
                    </a:lnTo>
                    <a:lnTo>
                      <a:pt x="194" y="138"/>
                    </a:lnTo>
                    <a:lnTo>
                      <a:pt x="197" y="140"/>
                    </a:lnTo>
                    <a:lnTo>
                      <a:pt x="207" y="140"/>
                    </a:lnTo>
                    <a:lnTo>
                      <a:pt x="211" y="142"/>
                    </a:lnTo>
                    <a:lnTo>
                      <a:pt x="216" y="140"/>
                    </a:lnTo>
                    <a:lnTo>
                      <a:pt x="221" y="142"/>
                    </a:lnTo>
                    <a:lnTo>
                      <a:pt x="219" y="145"/>
                    </a:lnTo>
                    <a:lnTo>
                      <a:pt x="214" y="148"/>
                    </a:lnTo>
                    <a:lnTo>
                      <a:pt x="214" y="152"/>
                    </a:lnTo>
                    <a:lnTo>
                      <a:pt x="216" y="155"/>
                    </a:lnTo>
                    <a:lnTo>
                      <a:pt x="221" y="155"/>
                    </a:lnTo>
                    <a:lnTo>
                      <a:pt x="231" y="156"/>
                    </a:lnTo>
                    <a:lnTo>
                      <a:pt x="249" y="165"/>
                    </a:lnTo>
                    <a:lnTo>
                      <a:pt x="257" y="170"/>
                    </a:lnTo>
                    <a:lnTo>
                      <a:pt x="260" y="175"/>
                    </a:lnTo>
                    <a:lnTo>
                      <a:pt x="269" y="176"/>
                    </a:lnTo>
                    <a:lnTo>
                      <a:pt x="274" y="180"/>
                    </a:lnTo>
                    <a:lnTo>
                      <a:pt x="275" y="183"/>
                    </a:lnTo>
                    <a:lnTo>
                      <a:pt x="274" y="188"/>
                    </a:lnTo>
                    <a:lnTo>
                      <a:pt x="272" y="191"/>
                    </a:lnTo>
                    <a:lnTo>
                      <a:pt x="272" y="195"/>
                    </a:lnTo>
                    <a:lnTo>
                      <a:pt x="272" y="195"/>
                    </a:lnTo>
                    <a:lnTo>
                      <a:pt x="270" y="196"/>
                    </a:lnTo>
                    <a:lnTo>
                      <a:pt x="267" y="195"/>
                    </a:lnTo>
                    <a:lnTo>
                      <a:pt x="264" y="191"/>
                    </a:lnTo>
                    <a:lnTo>
                      <a:pt x="262" y="186"/>
                    </a:lnTo>
                    <a:lnTo>
                      <a:pt x="262" y="183"/>
                    </a:lnTo>
                    <a:lnTo>
                      <a:pt x="259" y="183"/>
                    </a:lnTo>
                    <a:lnTo>
                      <a:pt x="252" y="181"/>
                    </a:lnTo>
                    <a:lnTo>
                      <a:pt x="251" y="180"/>
                    </a:lnTo>
                    <a:lnTo>
                      <a:pt x="246" y="178"/>
                    </a:lnTo>
                    <a:lnTo>
                      <a:pt x="242" y="178"/>
                    </a:lnTo>
                    <a:lnTo>
                      <a:pt x="241" y="180"/>
                    </a:lnTo>
                    <a:lnTo>
                      <a:pt x="239" y="185"/>
                    </a:lnTo>
                    <a:lnTo>
                      <a:pt x="236" y="188"/>
                    </a:lnTo>
                    <a:lnTo>
                      <a:pt x="236" y="190"/>
                    </a:lnTo>
                    <a:lnTo>
                      <a:pt x="236" y="193"/>
                    </a:lnTo>
                    <a:lnTo>
                      <a:pt x="232" y="196"/>
                    </a:lnTo>
                    <a:lnTo>
                      <a:pt x="232" y="200"/>
                    </a:lnTo>
                    <a:lnTo>
                      <a:pt x="234" y="201"/>
                    </a:lnTo>
                    <a:lnTo>
                      <a:pt x="237" y="201"/>
                    </a:lnTo>
                    <a:lnTo>
                      <a:pt x="244" y="208"/>
                    </a:lnTo>
                    <a:lnTo>
                      <a:pt x="246" y="210"/>
                    </a:lnTo>
                    <a:lnTo>
                      <a:pt x="244" y="216"/>
                    </a:lnTo>
                    <a:lnTo>
                      <a:pt x="246" y="218"/>
                    </a:lnTo>
                    <a:lnTo>
                      <a:pt x="244" y="221"/>
                    </a:lnTo>
                    <a:lnTo>
                      <a:pt x="241" y="221"/>
                    </a:lnTo>
                    <a:lnTo>
                      <a:pt x="236" y="226"/>
                    </a:lnTo>
                    <a:lnTo>
                      <a:pt x="236" y="236"/>
                    </a:lnTo>
                    <a:lnTo>
                      <a:pt x="229" y="241"/>
                    </a:lnTo>
                    <a:lnTo>
                      <a:pt x="227" y="245"/>
                    </a:lnTo>
                    <a:lnTo>
                      <a:pt x="224" y="250"/>
                    </a:lnTo>
                    <a:lnTo>
                      <a:pt x="217" y="250"/>
                    </a:lnTo>
                    <a:lnTo>
                      <a:pt x="212" y="245"/>
                    </a:lnTo>
                    <a:lnTo>
                      <a:pt x="212" y="241"/>
                    </a:lnTo>
                    <a:lnTo>
                      <a:pt x="212" y="240"/>
                    </a:lnTo>
                    <a:lnTo>
                      <a:pt x="216" y="240"/>
                    </a:lnTo>
                    <a:lnTo>
                      <a:pt x="219" y="236"/>
                    </a:lnTo>
                    <a:lnTo>
                      <a:pt x="219" y="231"/>
                    </a:lnTo>
                    <a:lnTo>
                      <a:pt x="219" y="228"/>
                    </a:lnTo>
                    <a:lnTo>
                      <a:pt x="221" y="226"/>
                    </a:lnTo>
                    <a:lnTo>
                      <a:pt x="222" y="226"/>
                    </a:lnTo>
                    <a:lnTo>
                      <a:pt x="226" y="223"/>
                    </a:lnTo>
                    <a:lnTo>
                      <a:pt x="226" y="220"/>
                    </a:lnTo>
                    <a:lnTo>
                      <a:pt x="222" y="216"/>
                    </a:lnTo>
                    <a:lnTo>
                      <a:pt x="221" y="208"/>
                    </a:lnTo>
                    <a:lnTo>
                      <a:pt x="217" y="205"/>
                    </a:lnTo>
                    <a:lnTo>
                      <a:pt x="217" y="198"/>
                    </a:lnTo>
                    <a:lnTo>
                      <a:pt x="214" y="191"/>
                    </a:lnTo>
                    <a:lnTo>
                      <a:pt x="211" y="190"/>
                    </a:lnTo>
                    <a:lnTo>
                      <a:pt x="207" y="191"/>
                    </a:lnTo>
                    <a:lnTo>
                      <a:pt x="202" y="190"/>
                    </a:lnTo>
                    <a:lnTo>
                      <a:pt x="201" y="186"/>
                    </a:lnTo>
                    <a:lnTo>
                      <a:pt x="196" y="186"/>
                    </a:lnTo>
                    <a:lnTo>
                      <a:pt x="192" y="183"/>
                    </a:lnTo>
                    <a:lnTo>
                      <a:pt x="194" y="181"/>
                    </a:lnTo>
                    <a:lnTo>
                      <a:pt x="194" y="178"/>
                    </a:lnTo>
                    <a:lnTo>
                      <a:pt x="191" y="175"/>
                    </a:lnTo>
                    <a:lnTo>
                      <a:pt x="187" y="173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79" y="170"/>
                    </a:lnTo>
                    <a:lnTo>
                      <a:pt x="176" y="170"/>
                    </a:lnTo>
                    <a:lnTo>
                      <a:pt x="172" y="168"/>
                    </a:lnTo>
                    <a:lnTo>
                      <a:pt x="167" y="160"/>
                    </a:lnTo>
                    <a:lnTo>
                      <a:pt x="162" y="160"/>
                    </a:lnTo>
                    <a:lnTo>
                      <a:pt x="158" y="158"/>
                    </a:lnTo>
                    <a:lnTo>
                      <a:pt x="154" y="160"/>
                    </a:lnTo>
                    <a:lnTo>
                      <a:pt x="151" y="160"/>
                    </a:lnTo>
                    <a:lnTo>
                      <a:pt x="149" y="156"/>
                    </a:lnTo>
                    <a:lnTo>
                      <a:pt x="146" y="155"/>
                    </a:lnTo>
                    <a:lnTo>
                      <a:pt x="141" y="153"/>
                    </a:lnTo>
                    <a:lnTo>
                      <a:pt x="131" y="148"/>
                    </a:lnTo>
                    <a:lnTo>
                      <a:pt x="121" y="137"/>
                    </a:lnTo>
                    <a:lnTo>
                      <a:pt x="119" y="135"/>
                    </a:lnTo>
                    <a:lnTo>
                      <a:pt x="118" y="132"/>
                    </a:lnTo>
                    <a:lnTo>
                      <a:pt x="113" y="127"/>
                    </a:lnTo>
                    <a:lnTo>
                      <a:pt x="106" y="127"/>
                    </a:lnTo>
                    <a:lnTo>
                      <a:pt x="106" y="122"/>
                    </a:lnTo>
                    <a:lnTo>
                      <a:pt x="99" y="117"/>
                    </a:lnTo>
                    <a:lnTo>
                      <a:pt x="96" y="112"/>
                    </a:lnTo>
                    <a:lnTo>
                      <a:pt x="89" y="110"/>
                    </a:lnTo>
                    <a:lnTo>
                      <a:pt x="89" y="103"/>
                    </a:lnTo>
                    <a:lnTo>
                      <a:pt x="86" y="102"/>
                    </a:lnTo>
                    <a:lnTo>
                      <a:pt x="86" y="98"/>
                    </a:lnTo>
                    <a:lnTo>
                      <a:pt x="81" y="92"/>
                    </a:lnTo>
                    <a:lnTo>
                      <a:pt x="79" y="88"/>
                    </a:lnTo>
                    <a:lnTo>
                      <a:pt x="78" y="85"/>
                    </a:lnTo>
                    <a:lnTo>
                      <a:pt x="76" y="82"/>
                    </a:lnTo>
                    <a:lnTo>
                      <a:pt x="69" y="80"/>
                    </a:lnTo>
                    <a:lnTo>
                      <a:pt x="64" y="77"/>
                    </a:lnTo>
                    <a:lnTo>
                      <a:pt x="48" y="73"/>
                    </a:lnTo>
                    <a:lnTo>
                      <a:pt x="36" y="80"/>
                    </a:lnTo>
                    <a:lnTo>
                      <a:pt x="36" y="83"/>
                    </a:lnTo>
                    <a:lnTo>
                      <a:pt x="31" y="88"/>
                    </a:lnTo>
                    <a:lnTo>
                      <a:pt x="20" y="90"/>
                    </a:lnTo>
                    <a:lnTo>
                      <a:pt x="20" y="90"/>
                    </a:lnTo>
                    <a:close/>
                    <a:moveTo>
                      <a:pt x="38" y="163"/>
                    </a:moveTo>
                    <a:lnTo>
                      <a:pt x="40" y="163"/>
                    </a:lnTo>
                    <a:lnTo>
                      <a:pt x="40" y="161"/>
                    </a:lnTo>
                    <a:lnTo>
                      <a:pt x="41" y="160"/>
                    </a:lnTo>
                    <a:lnTo>
                      <a:pt x="40" y="158"/>
                    </a:lnTo>
                    <a:lnTo>
                      <a:pt x="38" y="160"/>
                    </a:lnTo>
                    <a:lnTo>
                      <a:pt x="38" y="161"/>
                    </a:lnTo>
                    <a:lnTo>
                      <a:pt x="38" y="163"/>
                    </a:lnTo>
                    <a:lnTo>
                      <a:pt x="38" y="163"/>
                    </a:lnTo>
                    <a:close/>
                    <a:moveTo>
                      <a:pt x="99" y="128"/>
                    </a:moveTo>
                    <a:lnTo>
                      <a:pt x="101" y="130"/>
                    </a:lnTo>
                    <a:lnTo>
                      <a:pt x="101" y="128"/>
                    </a:lnTo>
                    <a:lnTo>
                      <a:pt x="99" y="128"/>
                    </a:lnTo>
                    <a:lnTo>
                      <a:pt x="99" y="128"/>
                    </a:lnTo>
                    <a:close/>
                    <a:moveTo>
                      <a:pt x="79" y="115"/>
                    </a:moveTo>
                    <a:lnTo>
                      <a:pt x="78" y="118"/>
                    </a:lnTo>
                    <a:lnTo>
                      <a:pt x="81" y="118"/>
                    </a:lnTo>
                    <a:lnTo>
                      <a:pt x="84" y="117"/>
                    </a:lnTo>
                    <a:lnTo>
                      <a:pt x="89" y="117"/>
                    </a:lnTo>
                    <a:lnTo>
                      <a:pt x="88" y="115"/>
                    </a:lnTo>
                    <a:lnTo>
                      <a:pt x="86" y="112"/>
                    </a:lnTo>
                    <a:lnTo>
                      <a:pt x="84" y="113"/>
                    </a:lnTo>
                    <a:lnTo>
                      <a:pt x="79" y="115"/>
                    </a:lnTo>
                    <a:lnTo>
                      <a:pt x="79" y="115"/>
                    </a:lnTo>
                    <a:close/>
                    <a:moveTo>
                      <a:pt x="50" y="223"/>
                    </a:moveTo>
                    <a:lnTo>
                      <a:pt x="51" y="221"/>
                    </a:lnTo>
                    <a:lnTo>
                      <a:pt x="55" y="223"/>
                    </a:lnTo>
                    <a:lnTo>
                      <a:pt x="58" y="221"/>
                    </a:lnTo>
                    <a:lnTo>
                      <a:pt x="58" y="216"/>
                    </a:lnTo>
                    <a:lnTo>
                      <a:pt x="59" y="213"/>
                    </a:lnTo>
                    <a:lnTo>
                      <a:pt x="64" y="215"/>
                    </a:lnTo>
                    <a:lnTo>
                      <a:pt x="66" y="216"/>
                    </a:lnTo>
                    <a:lnTo>
                      <a:pt x="69" y="216"/>
                    </a:lnTo>
                    <a:lnTo>
                      <a:pt x="71" y="213"/>
                    </a:lnTo>
                    <a:lnTo>
                      <a:pt x="71" y="205"/>
                    </a:lnTo>
                    <a:lnTo>
                      <a:pt x="73" y="203"/>
                    </a:lnTo>
                    <a:lnTo>
                      <a:pt x="71" y="195"/>
                    </a:lnTo>
                    <a:lnTo>
                      <a:pt x="73" y="186"/>
                    </a:lnTo>
                    <a:lnTo>
                      <a:pt x="66" y="181"/>
                    </a:lnTo>
                    <a:lnTo>
                      <a:pt x="73" y="178"/>
                    </a:lnTo>
                    <a:lnTo>
                      <a:pt x="73" y="175"/>
                    </a:lnTo>
                    <a:lnTo>
                      <a:pt x="71" y="170"/>
                    </a:lnTo>
                    <a:lnTo>
                      <a:pt x="68" y="166"/>
                    </a:lnTo>
                    <a:lnTo>
                      <a:pt x="64" y="161"/>
                    </a:lnTo>
                    <a:lnTo>
                      <a:pt x="63" y="163"/>
                    </a:lnTo>
                    <a:lnTo>
                      <a:pt x="59" y="160"/>
                    </a:lnTo>
                    <a:lnTo>
                      <a:pt x="56" y="160"/>
                    </a:lnTo>
                    <a:lnTo>
                      <a:pt x="46" y="170"/>
                    </a:lnTo>
                    <a:lnTo>
                      <a:pt x="43" y="170"/>
                    </a:lnTo>
                    <a:lnTo>
                      <a:pt x="38" y="166"/>
                    </a:lnTo>
                    <a:lnTo>
                      <a:pt x="38" y="171"/>
                    </a:lnTo>
                    <a:lnTo>
                      <a:pt x="36" y="175"/>
                    </a:lnTo>
                    <a:lnTo>
                      <a:pt x="40" y="178"/>
                    </a:lnTo>
                    <a:lnTo>
                      <a:pt x="41" y="181"/>
                    </a:lnTo>
                    <a:lnTo>
                      <a:pt x="45" y="183"/>
                    </a:lnTo>
                    <a:lnTo>
                      <a:pt x="45" y="188"/>
                    </a:lnTo>
                    <a:lnTo>
                      <a:pt x="41" y="191"/>
                    </a:lnTo>
                    <a:lnTo>
                      <a:pt x="43" y="195"/>
                    </a:lnTo>
                    <a:lnTo>
                      <a:pt x="46" y="195"/>
                    </a:lnTo>
                    <a:lnTo>
                      <a:pt x="46" y="196"/>
                    </a:lnTo>
                    <a:lnTo>
                      <a:pt x="45" y="200"/>
                    </a:lnTo>
                    <a:lnTo>
                      <a:pt x="41" y="208"/>
                    </a:lnTo>
                    <a:lnTo>
                      <a:pt x="45" y="210"/>
                    </a:lnTo>
                    <a:lnTo>
                      <a:pt x="46" y="220"/>
                    </a:lnTo>
                    <a:lnTo>
                      <a:pt x="50" y="223"/>
                    </a:lnTo>
                    <a:lnTo>
                      <a:pt x="50" y="223"/>
                    </a:lnTo>
                    <a:close/>
                    <a:moveTo>
                      <a:pt x="202" y="281"/>
                    </a:moveTo>
                    <a:lnTo>
                      <a:pt x="202" y="274"/>
                    </a:lnTo>
                    <a:lnTo>
                      <a:pt x="206" y="273"/>
                    </a:lnTo>
                    <a:lnTo>
                      <a:pt x="204" y="268"/>
                    </a:lnTo>
                    <a:lnTo>
                      <a:pt x="201" y="263"/>
                    </a:lnTo>
                    <a:lnTo>
                      <a:pt x="204" y="251"/>
                    </a:lnTo>
                    <a:lnTo>
                      <a:pt x="209" y="248"/>
                    </a:lnTo>
                    <a:lnTo>
                      <a:pt x="211" y="243"/>
                    </a:lnTo>
                    <a:lnTo>
                      <a:pt x="206" y="238"/>
                    </a:lnTo>
                    <a:lnTo>
                      <a:pt x="201" y="243"/>
                    </a:lnTo>
                    <a:lnTo>
                      <a:pt x="197" y="243"/>
                    </a:lnTo>
                    <a:lnTo>
                      <a:pt x="192" y="241"/>
                    </a:lnTo>
                    <a:lnTo>
                      <a:pt x="187" y="246"/>
                    </a:lnTo>
                    <a:lnTo>
                      <a:pt x="176" y="245"/>
                    </a:lnTo>
                    <a:lnTo>
                      <a:pt x="167" y="248"/>
                    </a:lnTo>
                    <a:lnTo>
                      <a:pt x="161" y="246"/>
                    </a:lnTo>
                    <a:lnTo>
                      <a:pt x="156" y="243"/>
                    </a:lnTo>
                    <a:lnTo>
                      <a:pt x="151" y="245"/>
                    </a:lnTo>
                    <a:lnTo>
                      <a:pt x="148" y="246"/>
                    </a:lnTo>
                    <a:lnTo>
                      <a:pt x="146" y="245"/>
                    </a:lnTo>
                    <a:lnTo>
                      <a:pt x="141" y="246"/>
                    </a:lnTo>
                    <a:lnTo>
                      <a:pt x="139" y="253"/>
                    </a:lnTo>
                    <a:lnTo>
                      <a:pt x="144" y="258"/>
                    </a:lnTo>
                    <a:lnTo>
                      <a:pt x="151" y="258"/>
                    </a:lnTo>
                    <a:lnTo>
                      <a:pt x="159" y="263"/>
                    </a:lnTo>
                    <a:lnTo>
                      <a:pt x="164" y="264"/>
                    </a:lnTo>
                    <a:lnTo>
                      <a:pt x="169" y="268"/>
                    </a:lnTo>
                    <a:lnTo>
                      <a:pt x="179" y="271"/>
                    </a:lnTo>
                    <a:lnTo>
                      <a:pt x="182" y="271"/>
                    </a:lnTo>
                    <a:lnTo>
                      <a:pt x="186" y="274"/>
                    </a:lnTo>
                    <a:lnTo>
                      <a:pt x="187" y="278"/>
                    </a:lnTo>
                    <a:lnTo>
                      <a:pt x="199" y="281"/>
                    </a:lnTo>
                    <a:lnTo>
                      <a:pt x="202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2" name="Freeform 67"/>
              <p:cNvSpPr>
                <a:spLocks noEditPoints="1"/>
              </p:cNvSpPr>
              <p:nvPr/>
            </p:nvSpPr>
            <p:spPr bwMode="auto">
              <a:xfrm>
                <a:off x="6304778" y="2734319"/>
                <a:ext cx="147694" cy="105834"/>
              </a:xfrm>
              <a:custGeom>
                <a:avLst/>
                <a:gdLst/>
                <a:ahLst/>
                <a:cxnLst>
                  <a:cxn ang="0">
                    <a:pos x="175" y="13"/>
                  </a:cxn>
                  <a:cxn ang="0">
                    <a:pos x="178" y="22"/>
                  </a:cxn>
                  <a:cxn ang="0">
                    <a:pos x="200" y="30"/>
                  </a:cxn>
                  <a:cxn ang="0">
                    <a:pos x="216" y="32"/>
                  </a:cxn>
                  <a:cxn ang="0">
                    <a:pos x="234" y="30"/>
                  </a:cxn>
                  <a:cxn ang="0">
                    <a:pos x="253" y="35"/>
                  </a:cxn>
                  <a:cxn ang="0">
                    <a:pos x="274" y="38"/>
                  </a:cxn>
                  <a:cxn ang="0">
                    <a:pos x="273" y="50"/>
                  </a:cxn>
                  <a:cxn ang="0">
                    <a:pos x="261" y="65"/>
                  </a:cxn>
                  <a:cxn ang="0">
                    <a:pos x="256" y="70"/>
                  </a:cxn>
                  <a:cxn ang="0">
                    <a:pos x="233" y="76"/>
                  </a:cxn>
                  <a:cxn ang="0">
                    <a:pos x="229" y="85"/>
                  </a:cxn>
                  <a:cxn ang="0">
                    <a:pos x="226" y="86"/>
                  </a:cxn>
                  <a:cxn ang="0">
                    <a:pos x="211" y="98"/>
                  </a:cxn>
                  <a:cxn ang="0">
                    <a:pos x="203" y="121"/>
                  </a:cxn>
                  <a:cxn ang="0">
                    <a:pos x="214" y="135"/>
                  </a:cxn>
                  <a:cxn ang="0">
                    <a:pos x="201" y="146"/>
                  </a:cxn>
                  <a:cxn ang="0">
                    <a:pos x="195" y="164"/>
                  </a:cxn>
                  <a:cxn ang="0">
                    <a:pos x="170" y="174"/>
                  </a:cxn>
                  <a:cxn ang="0">
                    <a:pos x="160" y="184"/>
                  </a:cxn>
                  <a:cxn ang="0">
                    <a:pos x="148" y="188"/>
                  </a:cxn>
                  <a:cxn ang="0">
                    <a:pos x="138" y="188"/>
                  </a:cxn>
                  <a:cxn ang="0">
                    <a:pos x="118" y="186"/>
                  </a:cxn>
                  <a:cxn ang="0">
                    <a:pos x="93" y="194"/>
                  </a:cxn>
                  <a:cxn ang="0">
                    <a:pos x="82" y="204"/>
                  </a:cxn>
                  <a:cxn ang="0">
                    <a:pos x="62" y="186"/>
                  </a:cxn>
                  <a:cxn ang="0">
                    <a:pos x="45" y="176"/>
                  </a:cxn>
                  <a:cxn ang="0">
                    <a:pos x="38" y="164"/>
                  </a:cxn>
                  <a:cxn ang="0">
                    <a:pos x="50" y="146"/>
                  </a:cxn>
                  <a:cxn ang="0">
                    <a:pos x="48" y="133"/>
                  </a:cxn>
                  <a:cxn ang="0">
                    <a:pos x="37" y="110"/>
                  </a:cxn>
                  <a:cxn ang="0">
                    <a:pos x="53" y="101"/>
                  </a:cxn>
                  <a:cxn ang="0">
                    <a:pos x="55" y="78"/>
                  </a:cxn>
                  <a:cxn ang="0">
                    <a:pos x="67" y="65"/>
                  </a:cxn>
                  <a:cxn ang="0">
                    <a:pos x="62" y="50"/>
                  </a:cxn>
                  <a:cxn ang="0">
                    <a:pos x="33" y="50"/>
                  </a:cxn>
                  <a:cxn ang="0">
                    <a:pos x="23" y="45"/>
                  </a:cxn>
                  <a:cxn ang="0">
                    <a:pos x="9" y="45"/>
                  </a:cxn>
                  <a:cxn ang="0">
                    <a:pos x="13" y="37"/>
                  </a:cxn>
                  <a:cxn ang="0">
                    <a:pos x="9" y="33"/>
                  </a:cxn>
                  <a:cxn ang="0">
                    <a:pos x="5" y="27"/>
                  </a:cxn>
                  <a:cxn ang="0">
                    <a:pos x="0" y="20"/>
                  </a:cxn>
                  <a:cxn ang="0">
                    <a:pos x="15" y="13"/>
                  </a:cxn>
                  <a:cxn ang="0">
                    <a:pos x="23" y="8"/>
                  </a:cxn>
                  <a:cxn ang="0">
                    <a:pos x="33" y="3"/>
                  </a:cxn>
                  <a:cxn ang="0">
                    <a:pos x="48" y="7"/>
                  </a:cxn>
                  <a:cxn ang="0">
                    <a:pos x="63" y="7"/>
                  </a:cxn>
                  <a:cxn ang="0">
                    <a:pos x="78" y="3"/>
                  </a:cxn>
                  <a:cxn ang="0">
                    <a:pos x="110" y="12"/>
                  </a:cxn>
                  <a:cxn ang="0">
                    <a:pos x="131" y="10"/>
                  </a:cxn>
                  <a:cxn ang="0">
                    <a:pos x="150" y="8"/>
                  </a:cxn>
                  <a:cxn ang="0">
                    <a:pos x="168" y="12"/>
                  </a:cxn>
                  <a:cxn ang="0">
                    <a:pos x="244" y="136"/>
                  </a:cxn>
                  <a:cxn ang="0">
                    <a:pos x="248" y="126"/>
                  </a:cxn>
                  <a:cxn ang="0">
                    <a:pos x="244" y="136"/>
                  </a:cxn>
                </a:cxnLst>
                <a:rect l="0" t="0" r="r" b="b"/>
                <a:pathLst>
                  <a:path w="276" h="204">
                    <a:moveTo>
                      <a:pt x="170" y="10"/>
                    </a:moveTo>
                    <a:lnTo>
                      <a:pt x="175" y="12"/>
                    </a:lnTo>
                    <a:lnTo>
                      <a:pt x="175" y="13"/>
                    </a:lnTo>
                    <a:lnTo>
                      <a:pt x="178" y="13"/>
                    </a:lnTo>
                    <a:lnTo>
                      <a:pt x="178" y="18"/>
                    </a:lnTo>
                    <a:lnTo>
                      <a:pt x="178" y="22"/>
                    </a:lnTo>
                    <a:lnTo>
                      <a:pt x="185" y="22"/>
                    </a:lnTo>
                    <a:lnTo>
                      <a:pt x="195" y="25"/>
                    </a:lnTo>
                    <a:lnTo>
                      <a:pt x="200" y="30"/>
                    </a:lnTo>
                    <a:lnTo>
                      <a:pt x="205" y="27"/>
                    </a:lnTo>
                    <a:lnTo>
                      <a:pt x="210" y="32"/>
                    </a:lnTo>
                    <a:lnTo>
                      <a:pt x="216" y="32"/>
                    </a:lnTo>
                    <a:lnTo>
                      <a:pt x="219" y="33"/>
                    </a:lnTo>
                    <a:lnTo>
                      <a:pt x="224" y="30"/>
                    </a:lnTo>
                    <a:lnTo>
                      <a:pt x="234" y="30"/>
                    </a:lnTo>
                    <a:lnTo>
                      <a:pt x="239" y="32"/>
                    </a:lnTo>
                    <a:lnTo>
                      <a:pt x="246" y="30"/>
                    </a:lnTo>
                    <a:lnTo>
                      <a:pt x="253" y="35"/>
                    </a:lnTo>
                    <a:lnTo>
                      <a:pt x="264" y="33"/>
                    </a:lnTo>
                    <a:lnTo>
                      <a:pt x="273" y="38"/>
                    </a:lnTo>
                    <a:lnTo>
                      <a:pt x="274" y="38"/>
                    </a:lnTo>
                    <a:lnTo>
                      <a:pt x="276" y="42"/>
                    </a:lnTo>
                    <a:lnTo>
                      <a:pt x="271" y="43"/>
                    </a:lnTo>
                    <a:lnTo>
                      <a:pt x="273" y="50"/>
                    </a:lnTo>
                    <a:lnTo>
                      <a:pt x="273" y="55"/>
                    </a:lnTo>
                    <a:lnTo>
                      <a:pt x="269" y="60"/>
                    </a:lnTo>
                    <a:lnTo>
                      <a:pt x="261" y="65"/>
                    </a:lnTo>
                    <a:lnTo>
                      <a:pt x="261" y="65"/>
                    </a:lnTo>
                    <a:lnTo>
                      <a:pt x="256" y="70"/>
                    </a:lnTo>
                    <a:lnTo>
                      <a:pt x="256" y="70"/>
                    </a:lnTo>
                    <a:lnTo>
                      <a:pt x="249" y="71"/>
                    </a:lnTo>
                    <a:lnTo>
                      <a:pt x="239" y="71"/>
                    </a:lnTo>
                    <a:lnTo>
                      <a:pt x="233" y="76"/>
                    </a:lnTo>
                    <a:lnTo>
                      <a:pt x="228" y="78"/>
                    </a:lnTo>
                    <a:lnTo>
                      <a:pt x="231" y="80"/>
                    </a:lnTo>
                    <a:lnTo>
                      <a:pt x="229" y="85"/>
                    </a:lnTo>
                    <a:lnTo>
                      <a:pt x="226" y="88"/>
                    </a:lnTo>
                    <a:lnTo>
                      <a:pt x="224" y="86"/>
                    </a:lnTo>
                    <a:lnTo>
                      <a:pt x="226" y="86"/>
                    </a:lnTo>
                    <a:lnTo>
                      <a:pt x="223" y="85"/>
                    </a:lnTo>
                    <a:lnTo>
                      <a:pt x="216" y="96"/>
                    </a:lnTo>
                    <a:lnTo>
                      <a:pt x="211" y="98"/>
                    </a:lnTo>
                    <a:lnTo>
                      <a:pt x="203" y="113"/>
                    </a:lnTo>
                    <a:lnTo>
                      <a:pt x="200" y="116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8" y="128"/>
                    </a:lnTo>
                    <a:lnTo>
                      <a:pt x="214" y="135"/>
                    </a:lnTo>
                    <a:lnTo>
                      <a:pt x="210" y="140"/>
                    </a:lnTo>
                    <a:lnTo>
                      <a:pt x="201" y="141"/>
                    </a:lnTo>
                    <a:lnTo>
                      <a:pt x="201" y="146"/>
                    </a:lnTo>
                    <a:lnTo>
                      <a:pt x="193" y="156"/>
                    </a:lnTo>
                    <a:lnTo>
                      <a:pt x="193" y="163"/>
                    </a:lnTo>
                    <a:lnTo>
                      <a:pt x="195" y="164"/>
                    </a:lnTo>
                    <a:lnTo>
                      <a:pt x="193" y="168"/>
                    </a:lnTo>
                    <a:lnTo>
                      <a:pt x="185" y="168"/>
                    </a:lnTo>
                    <a:lnTo>
                      <a:pt x="170" y="174"/>
                    </a:lnTo>
                    <a:lnTo>
                      <a:pt x="170" y="179"/>
                    </a:lnTo>
                    <a:lnTo>
                      <a:pt x="165" y="188"/>
                    </a:lnTo>
                    <a:lnTo>
                      <a:pt x="160" y="184"/>
                    </a:lnTo>
                    <a:lnTo>
                      <a:pt x="155" y="181"/>
                    </a:lnTo>
                    <a:lnTo>
                      <a:pt x="151" y="184"/>
                    </a:lnTo>
                    <a:lnTo>
                      <a:pt x="148" y="188"/>
                    </a:lnTo>
                    <a:lnTo>
                      <a:pt x="145" y="186"/>
                    </a:lnTo>
                    <a:lnTo>
                      <a:pt x="140" y="184"/>
                    </a:lnTo>
                    <a:lnTo>
                      <a:pt x="138" y="188"/>
                    </a:lnTo>
                    <a:lnTo>
                      <a:pt x="131" y="186"/>
                    </a:lnTo>
                    <a:lnTo>
                      <a:pt x="121" y="184"/>
                    </a:lnTo>
                    <a:lnTo>
                      <a:pt x="118" y="186"/>
                    </a:lnTo>
                    <a:lnTo>
                      <a:pt x="108" y="186"/>
                    </a:lnTo>
                    <a:lnTo>
                      <a:pt x="102" y="194"/>
                    </a:lnTo>
                    <a:lnTo>
                      <a:pt x="93" y="194"/>
                    </a:lnTo>
                    <a:lnTo>
                      <a:pt x="88" y="198"/>
                    </a:lnTo>
                    <a:lnTo>
                      <a:pt x="88" y="201"/>
                    </a:lnTo>
                    <a:lnTo>
                      <a:pt x="82" y="204"/>
                    </a:lnTo>
                    <a:lnTo>
                      <a:pt x="73" y="203"/>
                    </a:lnTo>
                    <a:lnTo>
                      <a:pt x="67" y="196"/>
                    </a:lnTo>
                    <a:lnTo>
                      <a:pt x="62" y="186"/>
                    </a:lnTo>
                    <a:lnTo>
                      <a:pt x="62" y="184"/>
                    </a:lnTo>
                    <a:lnTo>
                      <a:pt x="52" y="176"/>
                    </a:lnTo>
                    <a:lnTo>
                      <a:pt x="45" y="176"/>
                    </a:lnTo>
                    <a:lnTo>
                      <a:pt x="42" y="174"/>
                    </a:lnTo>
                    <a:lnTo>
                      <a:pt x="42" y="169"/>
                    </a:lnTo>
                    <a:lnTo>
                      <a:pt x="38" y="164"/>
                    </a:lnTo>
                    <a:lnTo>
                      <a:pt x="43" y="155"/>
                    </a:lnTo>
                    <a:lnTo>
                      <a:pt x="48" y="150"/>
                    </a:lnTo>
                    <a:lnTo>
                      <a:pt x="50" y="146"/>
                    </a:lnTo>
                    <a:lnTo>
                      <a:pt x="45" y="146"/>
                    </a:lnTo>
                    <a:lnTo>
                      <a:pt x="42" y="140"/>
                    </a:lnTo>
                    <a:lnTo>
                      <a:pt x="48" y="133"/>
                    </a:lnTo>
                    <a:lnTo>
                      <a:pt x="48" y="123"/>
                    </a:lnTo>
                    <a:lnTo>
                      <a:pt x="43" y="121"/>
                    </a:lnTo>
                    <a:lnTo>
                      <a:pt x="37" y="110"/>
                    </a:lnTo>
                    <a:lnTo>
                      <a:pt x="42" y="108"/>
                    </a:lnTo>
                    <a:lnTo>
                      <a:pt x="47" y="110"/>
                    </a:lnTo>
                    <a:lnTo>
                      <a:pt x="53" y="101"/>
                    </a:lnTo>
                    <a:lnTo>
                      <a:pt x="48" y="98"/>
                    </a:lnTo>
                    <a:lnTo>
                      <a:pt x="53" y="93"/>
                    </a:lnTo>
                    <a:lnTo>
                      <a:pt x="55" y="78"/>
                    </a:lnTo>
                    <a:lnTo>
                      <a:pt x="53" y="73"/>
                    </a:lnTo>
                    <a:lnTo>
                      <a:pt x="63" y="65"/>
                    </a:lnTo>
                    <a:lnTo>
                      <a:pt x="67" y="65"/>
                    </a:lnTo>
                    <a:lnTo>
                      <a:pt x="68" y="62"/>
                    </a:lnTo>
                    <a:lnTo>
                      <a:pt x="63" y="55"/>
                    </a:lnTo>
                    <a:lnTo>
                      <a:pt x="62" y="50"/>
                    </a:lnTo>
                    <a:lnTo>
                      <a:pt x="50" y="48"/>
                    </a:lnTo>
                    <a:lnTo>
                      <a:pt x="47" y="52"/>
                    </a:lnTo>
                    <a:lnTo>
                      <a:pt x="33" y="50"/>
                    </a:lnTo>
                    <a:lnTo>
                      <a:pt x="25" y="53"/>
                    </a:lnTo>
                    <a:lnTo>
                      <a:pt x="22" y="50"/>
                    </a:lnTo>
                    <a:lnTo>
                      <a:pt x="23" y="45"/>
                    </a:lnTo>
                    <a:lnTo>
                      <a:pt x="18" y="45"/>
                    </a:lnTo>
                    <a:lnTo>
                      <a:pt x="9" y="47"/>
                    </a:lnTo>
                    <a:lnTo>
                      <a:pt x="9" y="45"/>
                    </a:lnTo>
                    <a:lnTo>
                      <a:pt x="13" y="40"/>
                    </a:lnTo>
                    <a:lnTo>
                      <a:pt x="10" y="40"/>
                    </a:lnTo>
                    <a:lnTo>
                      <a:pt x="13" y="37"/>
                    </a:lnTo>
                    <a:lnTo>
                      <a:pt x="10" y="35"/>
                    </a:lnTo>
                    <a:lnTo>
                      <a:pt x="12" y="30"/>
                    </a:lnTo>
                    <a:lnTo>
                      <a:pt x="9" y="33"/>
                    </a:lnTo>
                    <a:lnTo>
                      <a:pt x="7" y="33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2" y="25"/>
                    </a:lnTo>
                    <a:lnTo>
                      <a:pt x="0" y="20"/>
                    </a:lnTo>
                    <a:lnTo>
                      <a:pt x="4" y="15"/>
                    </a:lnTo>
                    <a:lnTo>
                      <a:pt x="12" y="12"/>
                    </a:lnTo>
                    <a:lnTo>
                      <a:pt x="15" y="13"/>
                    </a:lnTo>
                    <a:lnTo>
                      <a:pt x="23" y="13"/>
                    </a:lnTo>
                    <a:lnTo>
                      <a:pt x="27" y="10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32" y="2"/>
                    </a:lnTo>
                    <a:lnTo>
                      <a:pt x="33" y="3"/>
                    </a:lnTo>
                    <a:lnTo>
                      <a:pt x="37" y="0"/>
                    </a:lnTo>
                    <a:lnTo>
                      <a:pt x="43" y="2"/>
                    </a:lnTo>
                    <a:lnTo>
                      <a:pt x="48" y="7"/>
                    </a:lnTo>
                    <a:lnTo>
                      <a:pt x="52" y="3"/>
                    </a:lnTo>
                    <a:lnTo>
                      <a:pt x="57" y="3"/>
                    </a:lnTo>
                    <a:lnTo>
                      <a:pt x="63" y="7"/>
                    </a:lnTo>
                    <a:lnTo>
                      <a:pt x="70" y="3"/>
                    </a:lnTo>
                    <a:lnTo>
                      <a:pt x="77" y="2"/>
                    </a:lnTo>
                    <a:lnTo>
                      <a:pt x="78" y="3"/>
                    </a:lnTo>
                    <a:lnTo>
                      <a:pt x="85" y="7"/>
                    </a:lnTo>
                    <a:lnTo>
                      <a:pt x="102" y="10"/>
                    </a:lnTo>
                    <a:lnTo>
                      <a:pt x="110" y="12"/>
                    </a:lnTo>
                    <a:lnTo>
                      <a:pt x="121" y="7"/>
                    </a:lnTo>
                    <a:lnTo>
                      <a:pt x="130" y="7"/>
                    </a:lnTo>
                    <a:lnTo>
                      <a:pt x="131" y="10"/>
                    </a:lnTo>
                    <a:lnTo>
                      <a:pt x="141" y="12"/>
                    </a:lnTo>
                    <a:lnTo>
                      <a:pt x="145" y="8"/>
                    </a:lnTo>
                    <a:lnTo>
                      <a:pt x="150" y="8"/>
                    </a:lnTo>
                    <a:lnTo>
                      <a:pt x="163" y="15"/>
                    </a:lnTo>
                    <a:lnTo>
                      <a:pt x="165" y="12"/>
                    </a:lnTo>
                    <a:lnTo>
                      <a:pt x="168" y="12"/>
                    </a:lnTo>
                    <a:lnTo>
                      <a:pt x="170" y="10"/>
                    </a:lnTo>
                    <a:lnTo>
                      <a:pt x="170" y="10"/>
                    </a:lnTo>
                    <a:close/>
                    <a:moveTo>
                      <a:pt x="244" y="136"/>
                    </a:moveTo>
                    <a:lnTo>
                      <a:pt x="246" y="131"/>
                    </a:lnTo>
                    <a:lnTo>
                      <a:pt x="249" y="130"/>
                    </a:lnTo>
                    <a:lnTo>
                      <a:pt x="248" y="126"/>
                    </a:lnTo>
                    <a:lnTo>
                      <a:pt x="241" y="128"/>
                    </a:lnTo>
                    <a:lnTo>
                      <a:pt x="239" y="133"/>
                    </a:lnTo>
                    <a:lnTo>
                      <a:pt x="244" y="13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3" name="Freeform 68"/>
              <p:cNvSpPr>
                <a:spLocks/>
              </p:cNvSpPr>
              <p:nvPr/>
            </p:nvSpPr>
            <p:spPr bwMode="auto">
              <a:xfrm>
                <a:off x="6300497" y="2757146"/>
                <a:ext cx="40669" cy="70556"/>
              </a:xfrm>
              <a:custGeom>
                <a:avLst/>
                <a:gdLst/>
                <a:ahLst/>
                <a:cxnLst>
                  <a:cxn ang="0">
                    <a:pos x="50" y="124"/>
                  </a:cxn>
                  <a:cxn ang="0">
                    <a:pos x="51" y="110"/>
                  </a:cxn>
                  <a:cxn ang="0">
                    <a:pos x="58" y="101"/>
                  </a:cxn>
                  <a:cxn ang="0">
                    <a:pos x="50" y="95"/>
                  </a:cxn>
                  <a:cxn ang="0">
                    <a:pos x="56" y="78"/>
                  </a:cxn>
                  <a:cxn ang="0">
                    <a:pos x="45" y="65"/>
                  </a:cxn>
                  <a:cxn ang="0">
                    <a:pos x="55" y="65"/>
                  </a:cxn>
                  <a:cxn ang="0">
                    <a:pos x="56" y="53"/>
                  </a:cxn>
                  <a:cxn ang="0">
                    <a:pos x="63" y="33"/>
                  </a:cxn>
                  <a:cxn ang="0">
                    <a:pos x="71" y="20"/>
                  </a:cxn>
                  <a:cxn ang="0">
                    <a:pos x="76" y="17"/>
                  </a:cxn>
                  <a:cxn ang="0">
                    <a:pos x="70" y="5"/>
                  </a:cxn>
                  <a:cxn ang="0">
                    <a:pos x="55" y="7"/>
                  </a:cxn>
                  <a:cxn ang="0">
                    <a:pos x="33" y="8"/>
                  </a:cxn>
                  <a:cxn ang="0">
                    <a:pos x="31" y="0"/>
                  </a:cxn>
                  <a:cxn ang="0">
                    <a:pos x="17" y="2"/>
                  </a:cxn>
                  <a:cxn ang="0">
                    <a:pos x="20" y="13"/>
                  </a:cxn>
                  <a:cxn ang="0">
                    <a:pos x="20" y="28"/>
                  </a:cxn>
                  <a:cxn ang="0">
                    <a:pos x="21" y="38"/>
                  </a:cxn>
                  <a:cxn ang="0">
                    <a:pos x="17" y="48"/>
                  </a:cxn>
                  <a:cxn ang="0">
                    <a:pos x="10" y="61"/>
                  </a:cxn>
                  <a:cxn ang="0">
                    <a:pos x="3" y="75"/>
                  </a:cxn>
                  <a:cxn ang="0">
                    <a:pos x="0" y="90"/>
                  </a:cxn>
                  <a:cxn ang="0">
                    <a:pos x="8" y="86"/>
                  </a:cxn>
                  <a:cxn ang="0">
                    <a:pos x="12" y="86"/>
                  </a:cxn>
                  <a:cxn ang="0">
                    <a:pos x="7" y="93"/>
                  </a:cxn>
                  <a:cxn ang="0">
                    <a:pos x="8" y="100"/>
                  </a:cxn>
                  <a:cxn ang="0">
                    <a:pos x="18" y="96"/>
                  </a:cxn>
                  <a:cxn ang="0">
                    <a:pos x="17" y="105"/>
                  </a:cxn>
                  <a:cxn ang="0">
                    <a:pos x="15" y="121"/>
                  </a:cxn>
                  <a:cxn ang="0">
                    <a:pos x="12" y="133"/>
                  </a:cxn>
                  <a:cxn ang="0">
                    <a:pos x="20" y="129"/>
                  </a:cxn>
                  <a:cxn ang="0">
                    <a:pos x="35" y="134"/>
                  </a:cxn>
                  <a:cxn ang="0">
                    <a:pos x="48" y="131"/>
                  </a:cxn>
                  <a:cxn ang="0">
                    <a:pos x="50" y="129"/>
                  </a:cxn>
                </a:cxnLst>
                <a:rect l="0" t="0" r="r" b="b"/>
                <a:pathLst>
                  <a:path w="76" h="134">
                    <a:moveTo>
                      <a:pt x="50" y="129"/>
                    </a:moveTo>
                    <a:lnTo>
                      <a:pt x="50" y="124"/>
                    </a:lnTo>
                    <a:lnTo>
                      <a:pt x="46" y="119"/>
                    </a:lnTo>
                    <a:lnTo>
                      <a:pt x="51" y="110"/>
                    </a:lnTo>
                    <a:lnTo>
                      <a:pt x="56" y="105"/>
                    </a:lnTo>
                    <a:lnTo>
                      <a:pt x="58" y="101"/>
                    </a:lnTo>
                    <a:lnTo>
                      <a:pt x="53" y="101"/>
                    </a:lnTo>
                    <a:lnTo>
                      <a:pt x="50" y="95"/>
                    </a:lnTo>
                    <a:lnTo>
                      <a:pt x="56" y="88"/>
                    </a:lnTo>
                    <a:lnTo>
                      <a:pt x="56" y="78"/>
                    </a:lnTo>
                    <a:lnTo>
                      <a:pt x="51" y="76"/>
                    </a:lnTo>
                    <a:lnTo>
                      <a:pt x="45" y="65"/>
                    </a:lnTo>
                    <a:lnTo>
                      <a:pt x="50" y="63"/>
                    </a:lnTo>
                    <a:lnTo>
                      <a:pt x="55" y="65"/>
                    </a:lnTo>
                    <a:lnTo>
                      <a:pt x="61" y="56"/>
                    </a:lnTo>
                    <a:lnTo>
                      <a:pt x="56" y="53"/>
                    </a:lnTo>
                    <a:lnTo>
                      <a:pt x="61" y="48"/>
                    </a:lnTo>
                    <a:lnTo>
                      <a:pt x="63" y="33"/>
                    </a:lnTo>
                    <a:lnTo>
                      <a:pt x="61" y="28"/>
                    </a:lnTo>
                    <a:lnTo>
                      <a:pt x="71" y="20"/>
                    </a:lnTo>
                    <a:lnTo>
                      <a:pt x="75" y="20"/>
                    </a:lnTo>
                    <a:lnTo>
                      <a:pt x="76" y="17"/>
                    </a:lnTo>
                    <a:lnTo>
                      <a:pt x="71" y="10"/>
                    </a:lnTo>
                    <a:lnTo>
                      <a:pt x="70" y="5"/>
                    </a:lnTo>
                    <a:lnTo>
                      <a:pt x="58" y="3"/>
                    </a:lnTo>
                    <a:lnTo>
                      <a:pt x="55" y="7"/>
                    </a:lnTo>
                    <a:lnTo>
                      <a:pt x="41" y="5"/>
                    </a:lnTo>
                    <a:lnTo>
                      <a:pt x="33" y="8"/>
                    </a:lnTo>
                    <a:lnTo>
                      <a:pt x="30" y="5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2"/>
                    </a:lnTo>
                    <a:lnTo>
                      <a:pt x="17" y="5"/>
                    </a:lnTo>
                    <a:lnTo>
                      <a:pt x="20" y="13"/>
                    </a:lnTo>
                    <a:lnTo>
                      <a:pt x="18" y="26"/>
                    </a:lnTo>
                    <a:lnTo>
                      <a:pt x="20" y="28"/>
                    </a:lnTo>
                    <a:lnTo>
                      <a:pt x="18" y="35"/>
                    </a:lnTo>
                    <a:lnTo>
                      <a:pt x="21" y="38"/>
                    </a:lnTo>
                    <a:lnTo>
                      <a:pt x="18" y="41"/>
                    </a:lnTo>
                    <a:lnTo>
                      <a:pt x="17" y="48"/>
                    </a:lnTo>
                    <a:lnTo>
                      <a:pt x="15" y="55"/>
                    </a:lnTo>
                    <a:lnTo>
                      <a:pt x="10" y="61"/>
                    </a:lnTo>
                    <a:lnTo>
                      <a:pt x="10" y="66"/>
                    </a:lnTo>
                    <a:lnTo>
                      <a:pt x="3" y="75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5" y="90"/>
                    </a:lnTo>
                    <a:lnTo>
                      <a:pt x="8" y="86"/>
                    </a:lnTo>
                    <a:lnTo>
                      <a:pt x="13" y="85"/>
                    </a:lnTo>
                    <a:lnTo>
                      <a:pt x="12" y="86"/>
                    </a:lnTo>
                    <a:lnTo>
                      <a:pt x="13" y="90"/>
                    </a:lnTo>
                    <a:lnTo>
                      <a:pt x="7" y="93"/>
                    </a:lnTo>
                    <a:lnTo>
                      <a:pt x="7" y="96"/>
                    </a:lnTo>
                    <a:lnTo>
                      <a:pt x="8" y="100"/>
                    </a:lnTo>
                    <a:lnTo>
                      <a:pt x="12" y="96"/>
                    </a:lnTo>
                    <a:lnTo>
                      <a:pt x="18" y="96"/>
                    </a:lnTo>
                    <a:lnTo>
                      <a:pt x="15" y="100"/>
                    </a:lnTo>
                    <a:lnTo>
                      <a:pt x="17" y="105"/>
                    </a:lnTo>
                    <a:lnTo>
                      <a:pt x="15" y="110"/>
                    </a:lnTo>
                    <a:lnTo>
                      <a:pt x="15" y="121"/>
                    </a:lnTo>
                    <a:lnTo>
                      <a:pt x="13" y="129"/>
                    </a:lnTo>
                    <a:lnTo>
                      <a:pt x="12" y="133"/>
                    </a:lnTo>
                    <a:lnTo>
                      <a:pt x="13" y="133"/>
                    </a:lnTo>
                    <a:lnTo>
                      <a:pt x="20" y="129"/>
                    </a:lnTo>
                    <a:lnTo>
                      <a:pt x="30" y="133"/>
                    </a:lnTo>
                    <a:lnTo>
                      <a:pt x="35" y="134"/>
                    </a:lnTo>
                    <a:lnTo>
                      <a:pt x="41" y="131"/>
                    </a:lnTo>
                    <a:lnTo>
                      <a:pt x="48" y="131"/>
                    </a:lnTo>
                    <a:lnTo>
                      <a:pt x="50" y="129"/>
                    </a:lnTo>
                    <a:lnTo>
                      <a:pt x="50" y="1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4" name="Freeform 69"/>
              <p:cNvSpPr>
                <a:spLocks noEditPoints="1"/>
              </p:cNvSpPr>
              <p:nvPr/>
            </p:nvSpPr>
            <p:spPr bwMode="auto">
              <a:xfrm>
                <a:off x="6654750" y="2760258"/>
                <a:ext cx="111306" cy="88195"/>
              </a:xfrm>
              <a:custGeom>
                <a:avLst/>
                <a:gdLst/>
                <a:ahLst/>
                <a:cxnLst>
                  <a:cxn ang="0">
                    <a:pos x="131" y="16"/>
                  </a:cxn>
                  <a:cxn ang="0">
                    <a:pos x="98" y="15"/>
                  </a:cxn>
                  <a:cxn ang="0">
                    <a:pos x="52" y="23"/>
                  </a:cxn>
                  <a:cxn ang="0">
                    <a:pos x="17" y="60"/>
                  </a:cxn>
                  <a:cxn ang="0">
                    <a:pos x="37" y="91"/>
                  </a:cxn>
                  <a:cxn ang="0">
                    <a:pos x="66" y="100"/>
                  </a:cxn>
                  <a:cxn ang="0">
                    <a:pos x="71" y="105"/>
                  </a:cxn>
                  <a:cxn ang="0">
                    <a:pos x="38" y="110"/>
                  </a:cxn>
                  <a:cxn ang="0">
                    <a:pos x="60" y="138"/>
                  </a:cxn>
                  <a:cxn ang="0">
                    <a:pos x="73" y="146"/>
                  </a:cxn>
                  <a:cxn ang="0">
                    <a:pos x="83" y="131"/>
                  </a:cxn>
                  <a:cxn ang="0">
                    <a:pos x="88" y="123"/>
                  </a:cxn>
                  <a:cxn ang="0">
                    <a:pos x="81" y="111"/>
                  </a:cxn>
                  <a:cxn ang="0">
                    <a:pos x="101" y="106"/>
                  </a:cxn>
                  <a:cxn ang="0">
                    <a:pos x="75" y="85"/>
                  </a:cxn>
                  <a:cxn ang="0">
                    <a:pos x="80" y="70"/>
                  </a:cxn>
                  <a:cxn ang="0">
                    <a:pos x="73" y="58"/>
                  </a:cxn>
                  <a:cxn ang="0">
                    <a:pos x="75" y="38"/>
                  </a:cxn>
                  <a:cxn ang="0">
                    <a:pos x="88" y="43"/>
                  </a:cxn>
                  <a:cxn ang="0">
                    <a:pos x="105" y="43"/>
                  </a:cxn>
                  <a:cxn ang="0">
                    <a:pos x="105" y="31"/>
                  </a:cxn>
                  <a:cxn ang="0">
                    <a:pos x="130" y="25"/>
                  </a:cxn>
                  <a:cxn ang="0">
                    <a:pos x="156" y="5"/>
                  </a:cxn>
                  <a:cxn ang="0">
                    <a:pos x="10" y="70"/>
                  </a:cxn>
                  <a:cxn ang="0">
                    <a:pos x="5" y="58"/>
                  </a:cxn>
                  <a:cxn ang="0">
                    <a:pos x="25" y="90"/>
                  </a:cxn>
                  <a:cxn ang="0">
                    <a:pos x="32" y="103"/>
                  </a:cxn>
                  <a:cxn ang="0">
                    <a:pos x="22" y="105"/>
                  </a:cxn>
                  <a:cxn ang="0">
                    <a:pos x="33" y="114"/>
                  </a:cxn>
                  <a:cxn ang="0">
                    <a:pos x="33" y="113"/>
                  </a:cxn>
                  <a:cxn ang="0">
                    <a:pos x="183" y="168"/>
                  </a:cxn>
                  <a:cxn ang="0">
                    <a:pos x="196" y="159"/>
                  </a:cxn>
                  <a:cxn ang="0">
                    <a:pos x="209" y="146"/>
                  </a:cxn>
                  <a:cxn ang="0">
                    <a:pos x="196" y="159"/>
                  </a:cxn>
                  <a:cxn ang="0">
                    <a:pos x="166" y="143"/>
                  </a:cxn>
                  <a:cxn ang="0">
                    <a:pos x="174" y="113"/>
                  </a:cxn>
                  <a:cxn ang="0">
                    <a:pos x="163" y="113"/>
                  </a:cxn>
                  <a:cxn ang="0">
                    <a:pos x="151" y="96"/>
                  </a:cxn>
                  <a:cxn ang="0">
                    <a:pos x="148" y="78"/>
                  </a:cxn>
                  <a:cxn ang="0">
                    <a:pos x="161" y="71"/>
                  </a:cxn>
                  <a:cxn ang="0">
                    <a:pos x="154" y="71"/>
                  </a:cxn>
                  <a:cxn ang="0">
                    <a:pos x="140" y="35"/>
                  </a:cxn>
                  <a:cxn ang="0">
                    <a:pos x="131" y="50"/>
                  </a:cxn>
                  <a:cxn ang="0">
                    <a:pos x="125" y="50"/>
                  </a:cxn>
                  <a:cxn ang="0">
                    <a:pos x="115" y="33"/>
                  </a:cxn>
                  <a:cxn ang="0">
                    <a:pos x="96" y="80"/>
                  </a:cxn>
                  <a:cxn ang="0">
                    <a:pos x="88" y="75"/>
                  </a:cxn>
                  <a:cxn ang="0">
                    <a:pos x="118" y="83"/>
                  </a:cxn>
                  <a:cxn ang="0">
                    <a:pos x="154" y="121"/>
                  </a:cxn>
                  <a:cxn ang="0">
                    <a:pos x="115" y="143"/>
                  </a:cxn>
                  <a:cxn ang="0">
                    <a:pos x="118" y="123"/>
                  </a:cxn>
                  <a:cxn ang="0">
                    <a:pos x="116" y="119"/>
                  </a:cxn>
                  <a:cxn ang="0">
                    <a:pos x="135" y="133"/>
                  </a:cxn>
                  <a:cxn ang="0">
                    <a:pos x="141" y="133"/>
                  </a:cxn>
                  <a:cxn ang="0">
                    <a:pos x="135" y="116"/>
                  </a:cxn>
                  <a:cxn ang="0">
                    <a:pos x="126" y="111"/>
                  </a:cxn>
                  <a:cxn ang="0">
                    <a:pos x="76" y="81"/>
                  </a:cxn>
                  <a:cxn ang="0">
                    <a:pos x="103" y="86"/>
                  </a:cxn>
                  <a:cxn ang="0">
                    <a:pos x="120" y="105"/>
                  </a:cxn>
                  <a:cxn ang="0">
                    <a:pos x="105" y="96"/>
                  </a:cxn>
                  <a:cxn ang="0">
                    <a:pos x="85" y="85"/>
                  </a:cxn>
                  <a:cxn ang="0">
                    <a:pos x="88" y="151"/>
                  </a:cxn>
                  <a:cxn ang="0">
                    <a:pos x="85" y="144"/>
                  </a:cxn>
                </a:cxnLst>
                <a:rect l="0" t="0" r="r" b="b"/>
                <a:pathLst>
                  <a:path w="209" h="171">
                    <a:moveTo>
                      <a:pt x="156" y="0"/>
                    </a:moveTo>
                    <a:lnTo>
                      <a:pt x="154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36" y="13"/>
                    </a:lnTo>
                    <a:lnTo>
                      <a:pt x="131" y="16"/>
                    </a:lnTo>
                    <a:lnTo>
                      <a:pt x="128" y="13"/>
                    </a:lnTo>
                    <a:lnTo>
                      <a:pt x="123" y="13"/>
                    </a:lnTo>
                    <a:lnTo>
                      <a:pt x="120" y="16"/>
                    </a:lnTo>
                    <a:lnTo>
                      <a:pt x="115" y="16"/>
                    </a:lnTo>
                    <a:lnTo>
                      <a:pt x="115" y="12"/>
                    </a:lnTo>
                    <a:lnTo>
                      <a:pt x="108" y="12"/>
                    </a:lnTo>
                    <a:lnTo>
                      <a:pt x="101" y="12"/>
                    </a:lnTo>
                    <a:lnTo>
                      <a:pt x="98" y="15"/>
                    </a:lnTo>
                    <a:lnTo>
                      <a:pt x="91" y="16"/>
                    </a:lnTo>
                    <a:lnTo>
                      <a:pt x="83" y="16"/>
                    </a:lnTo>
                    <a:lnTo>
                      <a:pt x="81" y="15"/>
                    </a:lnTo>
                    <a:lnTo>
                      <a:pt x="78" y="18"/>
                    </a:lnTo>
                    <a:lnTo>
                      <a:pt x="73" y="18"/>
                    </a:lnTo>
                    <a:lnTo>
                      <a:pt x="68" y="21"/>
                    </a:lnTo>
                    <a:lnTo>
                      <a:pt x="56" y="20"/>
                    </a:lnTo>
                    <a:lnTo>
                      <a:pt x="52" y="23"/>
                    </a:lnTo>
                    <a:lnTo>
                      <a:pt x="50" y="25"/>
                    </a:lnTo>
                    <a:lnTo>
                      <a:pt x="43" y="26"/>
                    </a:lnTo>
                    <a:lnTo>
                      <a:pt x="33" y="33"/>
                    </a:lnTo>
                    <a:lnTo>
                      <a:pt x="33" y="38"/>
                    </a:lnTo>
                    <a:lnTo>
                      <a:pt x="30" y="45"/>
                    </a:lnTo>
                    <a:lnTo>
                      <a:pt x="20" y="48"/>
                    </a:lnTo>
                    <a:lnTo>
                      <a:pt x="20" y="53"/>
                    </a:lnTo>
                    <a:lnTo>
                      <a:pt x="17" y="60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3" y="68"/>
                    </a:lnTo>
                    <a:lnTo>
                      <a:pt x="22" y="73"/>
                    </a:lnTo>
                    <a:lnTo>
                      <a:pt x="27" y="80"/>
                    </a:lnTo>
                    <a:lnTo>
                      <a:pt x="30" y="80"/>
                    </a:lnTo>
                    <a:lnTo>
                      <a:pt x="30" y="83"/>
                    </a:lnTo>
                    <a:lnTo>
                      <a:pt x="37" y="91"/>
                    </a:lnTo>
                    <a:lnTo>
                      <a:pt x="38" y="96"/>
                    </a:lnTo>
                    <a:lnTo>
                      <a:pt x="42" y="98"/>
                    </a:lnTo>
                    <a:lnTo>
                      <a:pt x="45" y="93"/>
                    </a:lnTo>
                    <a:lnTo>
                      <a:pt x="48" y="98"/>
                    </a:lnTo>
                    <a:lnTo>
                      <a:pt x="55" y="98"/>
                    </a:lnTo>
                    <a:lnTo>
                      <a:pt x="56" y="95"/>
                    </a:lnTo>
                    <a:lnTo>
                      <a:pt x="60" y="96"/>
                    </a:lnTo>
                    <a:lnTo>
                      <a:pt x="66" y="100"/>
                    </a:lnTo>
                    <a:lnTo>
                      <a:pt x="71" y="98"/>
                    </a:lnTo>
                    <a:lnTo>
                      <a:pt x="71" y="100"/>
                    </a:lnTo>
                    <a:lnTo>
                      <a:pt x="75" y="100"/>
                    </a:lnTo>
                    <a:lnTo>
                      <a:pt x="76" y="101"/>
                    </a:lnTo>
                    <a:lnTo>
                      <a:pt x="83" y="103"/>
                    </a:lnTo>
                    <a:lnTo>
                      <a:pt x="78" y="105"/>
                    </a:lnTo>
                    <a:lnTo>
                      <a:pt x="75" y="108"/>
                    </a:lnTo>
                    <a:lnTo>
                      <a:pt x="71" y="105"/>
                    </a:lnTo>
                    <a:lnTo>
                      <a:pt x="68" y="105"/>
                    </a:lnTo>
                    <a:lnTo>
                      <a:pt x="58" y="98"/>
                    </a:lnTo>
                    <a:lnTo>
                      <a:pt x="53" y="100"/>
                    </a:lnTo>
                    <a:lnTo>
                      <a:pt x="50" y="103"/>
                    </a:lnTo>
                    <a:lnTo>
                      <a:pt x="45" y="100"/>
                    </a:lnTo>
                    <a:lnTo>
                      <a:pt x="42" y="105"/>
                    </a:lnTo>
                    <a:lnTo>
                      <a:pt x="40" y="105"/>
                    </a:lnTo>
                    <a:lnTo>
                      <a:pt x="38" y="110"/>
                    </a:lnTo>
                    <a:lnTo>
                      <a:pt x="43" y="114"/>
                    </a:lnTo>
                    <a:lnTo>
                      <a:pt x="48" y="116"/>
                    </a:lnTo>
                    <a:lnTo>
                      <a:pt x="53" y="121"/>
                    </a:lnTo>
                    <a:lnTo>
                      <a:pt x="55" y="124"/>
                    </a:lnTo>
                    <a:lnTo>
                      <a:pt x="52" y="126"/>
                    </a:lnTo>
                    <a:lnTo>
                      <a:pt x="53" y="129"/>
                    </a:lnTo>
                    <a:lnTo>
                      <a:pt x="56" y="134"/>
                    </a:lnTo>
                    <a:lnTo>
                      <a:pt x="60" y="138"/>
                    </a:lnTo>
                    <a:lnTo>
                      <a:pt x="61" y="136"/>
                    </a:lnTo>
                    <a:lnTo>
                      <a:pt x="60" y="133"/>
                    </a:lnTo>
                    <a:lnTo>
                      <a:pt x="61" y="129"/>
                    </a:lnTo>
                    <a:lnTo>
                      <a:pt x="63" y="134"/>
                    </a:lnTo>
                    <a:lnTo>
                      <a:pt x="70" y="136"/>
                    </a:lnTo>
                    <a:lnTo>
                      <a:pt x="71" y="139"/>
                    </a:lnTo>
                    <a:lnTo>
                      <a:pt x="70" y="143"/>
                    </a:lnTo>
                    <a:lnTo>
                      <a:pt x="73" y="146"/>
                    </a:lnTo>
                    <a:lnTo>
                      <a:pt x="73" y="141"/>
                    </a:lnTo>
                    <a:lnTo>
                      <a:pt x="75" y="136"/>
                    </a:lnTo>
                    <a:lnTo>
                      <a:pt x="80" y="136"/>
                    </a:lnTo>
                    <a:lnTo>
                      <a:pt x="81" y="139"/>
                    </a:lnTo>
                    <a:lnTo>
                      <a:pt x="88" y="144"/>
                    </a:lnTo>
                    <a:lnTo>
                      <a:pt x="86" y="139"/>
                    </a:lnTo>
                    <a:lnTo>
                      <a:pt x="86" y="136"/>
                    </a:lnTo>
                    <a:lnTo>
                      <a:pt x="83" y="131"/>
                    </a:lnTo>
                    <a:lnTo>
                      <a:pt x="80" y="124"/>
                    </a:lnTo>
                    <a:lnTo>
                      <a:pt x="78" y="121"/>
                    </a:lnTo>
                    <a:lnTo>
                      <a:pt x="78" y="119"/>
                    </a:lnTo>
                    <a:lnTo>
                      <a:pt x="81" y="119"/>
                    </a:lnTo>
                    <a:lnTo>
                      <a:pt x="86" y="121"/>
                    </a:lnTo>
                    <a:lnTo>
                      <a:pt x="85" y="123"/>
                    </a:lnTo>
                    <a:lnTo>
                      <a:pt x="86" y="124"/>
                    </a:lnTo>
                    <a:lnTo>
                      <a:pt x="88" y="123"/>
                    </a:lnTo>
                    <a:lnTo>
                      <a:pt x="95" y="123"/>
                    </a:lnTo>
                    <a:lnTo>
                      <a:pt x="95" y="123"/>
                    </a:lnTo>
                    <a:lnTo>
                      <a:pt x="93" y="121"/>
                    </a:lnTo>
                    <a:lnTo>
                      <a:pt x="91" y="118"/>
                    </a:lnTo>
                    <a:lnTo>
                      <a:pt x="90" y="118"/>
                    </a:lnTo>
                    <a:lnTo>
                      <a:pt x="86" y="116"/>
                    </a:lnTo>
                    <a:lnTo>
                      <a:pt x="86" y="114"/>
                    </a:lnTo>
                    <a:lnTo>
                      <a:pt x="81" y="111"/>
                    </a:lnTo>
                    <a:lnTo>
                      <a:pt x="86" y="108"/>
                    </a:lnTo>
                    <a:lnTo>
                      <a:pt x="90" y="110"/>
                    </a:lnTo>
                    <a:lnTo>
                      <a:pt x="93" y="106"/>
                    </a:lnTo>
                    <a:lnTo>
                      <a:pt x="100" y="111"/>
                    </a:lnTo>
                    <a:lnTo>
                      <a:pt x="100" y="113"/>
                    </a:lnTo>
                    <a:lnTo>
                      <a:pt x="105" y="113"/>
                    </a:lnTo>
                    <a:lnTo>
                      <a:pt x="106" y="111"/>
                    </a:lnTo>
                    <a:lnTo>
                      <a:pt x="101" y="106"/>
                    </a:lnTo>
                    <a:lnTo>
                      <a:pt x="103" y="101"/>
                    </a:lnTo>
                    <a:lnTo>
                      <a:pt x="101" y="98"/>
                    </a:lnTo>
                    <a:lnTo>
                      <a:pt x="90" y="91"/>
                    </a:lnTo>
                    <a:lnTo>
                      <a:pt x="86" y="91"/>
                    </a:lnTo>
                    <a:lnTo>
                      <a:pt x="85" y="88"/>
                    </a:lnTo>
                    <a:lnTo>
                      <a:pt x="81" y="88"/>
                    </a:lnTo>
                    <a:lnTo>
                      <a:pt x="80" y="86"/>
                    </a:lnTo>
                    <a:lnTo>
                      <a:pt x="75" y="85"/>
                    </a:lnTo>
                    <a:lnTo>
                      <a:pt x="70" y="81"/>
                    </a:lnTo>
                    <a:lnTo>
                      <a:pt x="75" y="81"/>
                    </a:lnTo>
                    <a:lnTo>
                      <a:pt x="78" y="78"/>
                    </a:lnTo>
                    <a:lnTo>
                      <a:pt x="78" y="75"/>
                    </a:lnTo>
                    <a:lnTo>
                      <a:pt x="73" y="75"/>
                    </a:lnTo>
                    <a:lnTo>
                      <a:pt x="76" y="71"/>
                    </a:lnTo>
                    <a:lnTo>
                      <a:pt x="76" y="68"/>
                    </a:lnTo>
                    <a:lnTo>
                      <a:pt x="80" y="70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1" y="76"/>
                    </a:lnTo>
                    <a:lnTo>
                      <a:pt x="85" y="76"/>
                    </a:lnTo>
                    <a:lnTo>
                      <a:pt x="86" y="71"/>
                    </a:lnTo>
                    <a:lnTo>
                      <a:pt x="83" y="68"/>
                    </a:lnTo>
                    <a:lnTo>
                      <a:pt x="75" y="60"/>
                    </a:lnTo>
                    <a:lnTo>
                      <a:pt x="73" y="58"/>
                    </a:lnTo>
                    <a:lnTo>
                      <a:pt x="71" y="55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66" y="40"/>
                    </a:lnTo>
                    <a:lnTo>
                      <a:pt x="70" y="35"/>
                    </a:lnTo>
                    <a:lnTo>
                      <a:pt x="76" y="33"/>
                    </a:lnTo>
                    <a:lnTo>
                      <a:pt x="76" y="38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81" y="43"/>
                    </a:lnTo>
                    <a:lnTo>
                      <a:pt x="83" y="48"/>
                    </a:lnTo>
                    <a:lnTo>
                      <a:pt x="88" y="53"/>
                    </a:lnTo>
                    <a:lnTo>
                      <a:pt x="93" y="51"/>
                    </a:lnTo>
                    <a:lnTo>
                      <a:pt x="90" y="50"/>
                    </a:lnTo>
                    <a:lnTo>
                      <a:pt x="86" y="46"/>
                    </a:lnTo>
                    <a:lnTo>
                      <a:pt x="88" y="43"/>
                    </a:lnTo>
                    <a:lnTo>
                      <a:pt x="93" y="45"/>
                    </a:lnTo>
                    <a:lnTo>
                      <a:pt x="96" y="50"/>
                    </a:lnTo>
                    <a:lnTo>
                      <a:pt x="100" y="51"/>
                    </a:lnTo>
                    <a:lnTo>
                      <a:pt x="101" y="48"/>
                    </a:lnTo>
                    <a:lnTo>
                      <a:pt x="98" y="46"/>
                    </a:lnTo>
                    <a:lnTo>
                      <a:pt x="95" y="45"/>
                    </a:lnTo>
                    <a:lnTo>
                      <a:pt x="95" y="41"/>
                    </a:lnTo>
                    <a:lnTo>
                      <a:pt x="105" y="43"/>
                    </a:lnTo>
                    <a:lnTo>
                      <a:pt x="108" y="45"/>
                    </a:lnTo>
                    <a:lnTo>
                      <a:pt x="108" y="43"/>
                    </a:lnTo>
                    <a:lnTo>
                      <a:pt x="103" y="40"/>
                    </a:lnTo>
                    <a:lnTo>
                      <a:pt x="98" y="38"/>
                    </a:lnTo>
                    <a:lnTo>
                      <a:pt x="95" y="35"/>
                    </a:lnTo>
                    <a:lnTo>
                      <a:pt x="96" y="31"/>
                    </a:lnTo>
                    <a:lnTo>
                      <a:pt x="101" y="33"/>
                    </a:lnTo>
                    <a:lnTo>
                      <a:pt x="105" y="31"/>
                    </a:lnTo>
                    <a:lnTo>
                      <a:pt x="106" y="25"/>
                    </a:lnTo>
                    <a:lnTo>
                      <a:pt x="110" y="23"/>
                    </a:lnTo>
                    <a:lnTo>
                      <a:pt x="116" y="28"/>
                    </a:lnTo>
                    <a:lnTo>
                      <a:pt x="120" y="28"/>
                    </a:lnTo>
                    <a:lnTo>
                      <a:pt x="125" y="23"/>
                    </a:lnTo>
                    <a:lnTo>
                      <a:pt x="125" y="21"/>
                    </a:lnTo>
                    <a:lnTo>
                      <a:pt x="126" y="21"/>
                    </a:lnTo>
                    <a:lnTo>
                      <a:pt x="130" y="25"/>
                    </a:lnTo>
                    <a:lnTo>
                      <a:pt x="140" y="25"/>
                    </a:lnTo>
                    <a:lnTo>
                      <a:pt x="146" y="26"/>
                    </a:lnTo>
                    <a:lnTo>
                      <a:pt x="153" y="26"/>
                    </a:lnTo>
                    <a:lnTo>
                      <a:pt x="154" y="20"/>
                    </a:lnTo>
                    <a:lnTo>
                      <a:pt x="154" y="16"/>
                    </a:lnTo>
                    <a:lnTo>
                      <a:pt x="159" y="13"/>
                    </a:lnTo>
                    <a:lnTo>
                      <a:pt x="161" y="7"/>
                    </a:lnTo>
                    <a:lnTo>
                      <a:pt x="156" y="5"/>
                    </a:lnTo>
                    <a:lnTo>
                      <a:pt x="156" y="0"/>
                    </a:lnTo>
                    <a:lnTo>
                      <a:pt x="156" y="0"/>
                    </a:lnTo>
                    <a:close/>
                    <a:moveTo>
                      <a:pt x="5" y="58"/>
                    </a:moveTo>
                    <a:lnTo>
                      <a:pt x="5" y="63"/>
                    </a:lnTo>
                    <a:lnTo>
                      <a:pt x="8" y="66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0" y="70"/>
                    </a:lnTo>
                    <a:lnTo>
                      <a:pt x="7" y="68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3" y="58"/>
                    </a:lnTo>
                    <a:lnTo>
                      <a:pt x="5" y="58"/>
                    </a:lnTo>
                    <a:lnTo>
                      <a:pt x="5" y="58"/>
                    </a:lnTo>
                    <a:close/>
                    <a:moveTo>
                      <a:pt x="25" y="90"/>
                    </a:moveTo>
                    <a:lnTo>
                      <a:pt x="25" y="88"/>
                    </a:lnTo>
                    <a:lnTo>
                      <a:pt x="27" y="85"/>
                    </a:lnTo>
                    <a:lnTo>
                      <a:pt x="28" y="85"/>
                    </a:lnTo>
                    <a:lnTo>
                      <a:pt x="28" y="88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90"/>
                    </a:lnTo>
                    <a:close/>
                    <a:moveTo>
                      <a:pt x="25" y="96"/>
                    </a:moveTo>
                    <a:lnTo>
                      <a:pt x="25" y="91"/>
                    </a:lnTo>
                    <a:lnTo>
                      <a:pt x="28" y="95"/>
                    </a:lnTo>
                    <a:lnTo>
                      <a:pt x="30" y="96"/>
                    </a:lnTo>
                    <a:lnTo>
                      <a:pt x="28" y="98"/>
                    </a:lnTo>
                    <a:lnTo>
                      <a:pt x="30" y="101"/>
                    </a:lnTo>
                    <a:lnTo>
                      <a:pt x="32" y="103"/>
                    </a:lnTo>
                    <a:lnTo>
                      <a:pt x="32" y="105"/>
                    </a:lnTo>
                    <a:lnTo>
                      <a:pt x="30" y="106"/>
                    </a:lnTo>
                    <a:lnTo>
                      <a:pt x="28" y="105"/>
                    </a:lnTo>
                    <a:lnTo>
                      <a:pt x="25" y="105"/>
                    </a:lnTo>
                    <a:lnTo>
                      <a:pt x="25" y="101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2" y="105"/>
                    </a:lnTo>
                    <a:lnTo>
                      <a:pt x="20" y="101"/>
                    </a:lnTo>
                    <a:lnTo>
                      <a:pt x="20" y="98"/>
                    </a:lnTo>
                    <a:lnTo>
                      <a:pt x="23" y="96"/>
                    </a:lnTo>
                    <a:lnTo>
                      <a:pt x="25" y="96"/>
                    </a:lnTo>
                    <a:lnTo>
                      <a:pt x="25" y="96"/>
                    </a:lnTo>
                    <a:close/>
                    <a:moveTo>
                      <a:pt x="33" y="113"/>
                    </a:moveTo>
                    <a:lnTo>
                      <a:pt x="35" y="114"/>
                    </a:lnTo>
                    <a:lnTo>
                      <a:pt x="33" y="114"/>
                    </a:lnTo>
                    <a:lnTo>
                      <a:pt x="32" y="116"/>
                    </a:lnTo>
                    <a:lnTo>
                      <a:pt x="30" y="114"/>
                    </a:lnTo>
                    <a:lnTo>
                      <a:pt x="27" y="111"/>
                    </a:lnTo>
                    <a:lnTo>
                      <a:pt x="27" y="110"/>
                    </a:lnTo>
                    <a:lnTo>
                      <a:pt x="28" y="108"/>
                    </a:lnTo>
                    <a:lnTo>
                      <a:pt x="32" y="110"/>
                    </a:lnTo>
                    <a:lnTo>
                      <a:pt x="33" y="113"/>
                    </a:lnTo>
                    <a:lnTo>
                      <a:pt x="33" y="113"/>
                    </a:lnTo>
                    <a:close/>
                    <a:moveTo>
                      <a:pt x="184" y="161"/>
                    </a:moveTo>
                    <a:lnTo>
                      <a:pt x="184" y="159"/>
                    </a:lnTo>
                    <a:lnTo>
                      <a:pt x="184" y="158"/>
                    </a:lnTo>
                    <a:lnTo>
                      <a:pt x="184" y="159"/>
                    </a:lnTo>
                    <a:lnTo>
                      <a:pt x="184" y="161"/>
                    </a:lnTo>
                    <a:lnTo>
                      <a:pt x="184" y="161"/>
                    </a:lnTo>
                    <a:close/>
                    <a:moveTo>
                      <a:pt x="183" y="171"/>
                    </a:moveTo>
                    <a:lnTo>
                      <a:pt x="183" y="168"/>
                    </a:lnTo>
                    <a:lnTo>
                      <a:pt x="181" y="164"/>
                    </a:lnTo>
                    <a:lnTo>
                      <a:pt x="184" y="161"/>
                    </a:lnTo>
                    <a:lnTo>
                      <a:pt x="184" y="164"/>
                    </a:lnTo>
                    <a:lnTo>
                      <a:pt x="186" y="168"/>
                    </a:lnTo>
                    <a:lnTo>
                      <a:pt x="184" y="171"/>
                    </a:lnTo>
                    <a:lnTo>
                      <a:pt x="183" y="171"/>
                    </a:lnTo>
                    <a:lnTo>
                      <a:pt x="183" y="171"/>
                    </a:lnTo>
                    <a:close/>
                    <a:moveTo>
                      <a:pt x="196" y="159"/>
                    </a:moveTo>
                    <a:lnTo>
                      <a:pt x="194" y="158"/>
                    </a:lnTo>
                    <a:lnTo>
                      <a:pt x="196" y="154"/>
                    </a:lnTo>
                    <a:lnTo>
                      <a:pt x="194" y="154"/>
                    </a:lnTo>
                    <a:lnTo>
                      <a:pt x="194" y="151"/>
                    </a:lnTo>
                    <a:lnTo>
                      <a:pt x="201" y="148"/>
                    </a:lnTo>
                    <a:lnTo>
                      <a:pt x="206" y="146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8" y="148"/>
                    </a:lnTo>
                    <a:lnTo>
                      <a:pt x="206" y="151"/>
                    </a:lnTo>
                    <a:lnTo>
                      <a:pt x="204" y="153"/>
                    </a:lnTo>
                    <a:lnTo>
                      <a:pt x="204" y="154"/>
                    </a:lnTo>
                    <a:lnTo>
                      <a:pt x="203" y="154"/>
                    </a:lnTo>
                    <a:lnTo>
                      <a:pt x="199" y="156"/>
                    </a:lnTo>
                    <a:lnTo>
                      <a:pt x="198" y="158"/>
                    </a:lnTo>
                    <a:lnTo>
                      <a:pt x="196" y="159"/>
                    </a:lnTo>
                    <a:lnTo>
                      <a:pt x="196" y="159"/>
                    </a:lnTo>
                    <a:close/>
                    <a:moveTo>
                      <a:pt x="163" y="144"/>
                    </a:moveTo>
                    <a:lnTo>
                      <a:pt x="161" y="143"/>
                    </a:lnTo>
                    <a:lnTo>
                      <a:pt x="163" y="141"/>
                    </a:lnTo>
                    <a:lnTo>
                      <a:pt x="166" y="139"/>
                    </a:lnTo>
                    <a:lnTo>
                      <a:pt x="168" y="141"/>
                    </a:lnTo>
                    <a:lnTo>
                      <a:pt x="166" y="143"/>
                    </a:lnTo>
                    <a:lnTo>
                      <a:pt x="166" y="143"/>
                    </a:lnTo>
                    <a:lnTo>
                      <a:pt x="163" y="144"/>
                    </a:lnTo>
                    <a:lnTo>
                      <a:pt x="163" y="144"/>
                    </a:lnTo>
                    <a:close/>
                    <a:moveTo>
                      <a:pt x="163" y="113"/>
                    </a:moveTo>
                    <a:lnTo>
                      <a:pt x="168" y="110"/>
                    </a:lnTo>
                    <a:lnTo>
                      <a:pt x="169" y="111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4" y="113"/>
                    </a:lnTo>
                    <a:lnTo>
                      <a:pt x="176" y="114"/>
                    </a:lnTo>
                    <a:lnTo>
                      <a:pt x="173" y="114"/>
                    </a:lnTo>
                    <a:lnTo>
                      <a:pt x="171" y="116"/>
                    </a:lnTo>
                    <a:lnTo>
                      <a:pt x="169" y="116"/>
                    </a:lnTo>
                    <a:lnTo>
                      <a:pt x="168" y="114"/>
                    </a:lnTo>
                    <a:lnTo>
                      <a:pt x="164" y="114"/>
                    </a:lnTo>
                    <a:lnTo>
                      <a:pt x="161" y="114"/>
                    </a:lnTo>
                    <a:lnTo>
                      <a:pt x="163" y="113"/>
                    </a:lnTo>
                    <a:lnTo>
                      <a:pt x="163" y="113"/>
                    </a:lnTo>
                    <a:close/>
                    <a:moveTo>
                      <a:pt x="154" y="90"/>
                    </a:moveTo>
                    <a:lnTo>
                      <a:pt x="156" y="96"/>
                    </a:lnTo>
                    <a:lnTo>
                      <a:pt x="154" y="100"/>
                    </a:lnTo>
                    <a:lnTo>
                      <a:pt x="151" y="101"/>
                    </a:lnTo>
                    <a:lnTo>
                      <a:pt x="150" y="98"/>
                    </a:lnTo>
                    <a:lnTo>
                      <a:pt x="150" y="96"/>
                    </a:lnTo>
                    <a:lnTo>
                      <a:pt x="151" y="96"/>
                    </a:lnTo>
                    <a:lnTo>
                      <a:pt x="151" y="93"/>
                    </a:lnTo>
                    <a:lnTo>
                      <a:pt x="148" y="91"/>
                    </a:lnTo>
                    <a:lnTo>
                      <a:pt x="148" y="90"/>
                    </a:lnTo>
                    <a:lnTo>
                      <a:pt x="151" y="88"/>
                    </a:lnTo>
                    <a:lnTo>
                      <a:pt x="154" y="90"/>
                    </a:lnTo>
                    <a:lnTo>
                      <a:pt x="154" y="90"/>
                    </a:lnTo>
                    <a:lnTo>
                      <a:pt x="154" y="90"/>
                    </a:lnTo>
                    <a:close/>
                    <a:moveTo>
                      <a:pt x="148" y="78"/>
                    </a:moveTo>
                    <a:lnTo>
                      <a:pt x="145" y="75"/>
                    </a:lnTo>
                    <a:lnTo>
                      <a:pt x="146" y="71"/>
                    </a:lnTo>
                    <a:lnTo>
                      <a:pt x="153" y="70"/>
                    </a:lnTo>
                    <a:lnTo>
                      <a:pt x="154" y="68"/>
                    </a:lnTo>
                    <a:lnTo>
                      <a:pt x="159" y="68"/>
                    </a:lnTo>
                    <a:lnTo>
                      <a:pt x="161" y="68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5"/>
                    </a:lnTo>
                    <a:lnTo>
                      <a:pt x="161" y="80"/>
                    </a:lnTo>
                    <a:lnTo>
                      <a:pt x="156" y="80"/>
                    </a:lnTo>
                    <a:lnTo>
                      <a:pt x="153" y="78"/>
                    </a:lnTo>
                    <a:lnTo>
                      <a:pt x="154" y="76"/>
                    </a:lnTo>
                    <a:lnTo>
                      <a:pt x="156" y="75"/>
                    </a:lnTo>
                    <a:lnTo>
                      <a:pt x="158" y="71"/>
                    </a:lnTo>
                    <a:lnTo>
                      <a:pt x="154" y="71"/>
                    </a:lnTo>
                    <a:lnTo>
                      <a:pt x="153" y="75"/>
                    </a:lnTo>
                    <a:lnTo>
                      <a:pt x="151" y="78"/>
                    </a:lnTo>
                    <a:lnTo>
                      <a:pt x="150" y="78"/>
                    </a:lnTo>
                    <a:lnTo>
                      <a:pt x="148" y="78"/>
                    </a:lnTo>
                    <a:lnTo>
                      <a:pt x="148" y="78"/>
                    </a:lnTo>
                    <a:close/>
                    <a:moveTo>
                      <a:pt x="136" y="38"/>
                    </a:moveTo>
                    <a:lnTo>
                      <a:pt x="136" y="36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3" y="38"/>
                    </a:lnTo>
                    <a:lnTo>
                      <a:pt x="141" y="40"/>
                    </a:lnTo>
                    <a:lnTo>
                      <a:pt x="136" y="38"/>
                    </a:lnTo>
                    <a:lnTo>
                      <a:pt x="136" y="38"/>
                    </a:lnTo>
                    <a:close/>
                    <a:moveTo>
                      <a:pt x="126" y="48"/>
                    </a:moveTo>
                    <a:lnTo>
                      <a:pt x="130" y="48"/>
                    </a:lnTo>
                    <a:lnTo>
                      <a:pt x="131" y="50"/>
                    </a:lnTo>
                    <a:lnTo>
                      <a:pt x="133" y="48"/>
                    </a:lnTo>
                    <a:lnTo>
                      <a:pt x="136" y="50"/>
                    </a:lnTo>
                    <a:lnTo>
                      <a:pt x="133" y="51"/>
                    </a:lnTo>
                    <a:lnTo>
                      <a:pt x="133" y="56"/>
                    </a:lnTo>
                    <a:lnTo>
                      <a:pt x="130" y="55"/>
                    </a:lnTo>
                    <a:lnTo>
                      <a:pt x="128" y="55"/>
                    </a:lnTo>
                    <a:lnTo>
                      <a:pt x="126" y="53"/>
                    </a:lnTo>
                    <a:lnTo>
                      <a:pt x="125" y="50"/>
                    </a:lnTo>
                    <a:lnTo>
                      <a:pt x="126" y="48"/>
                    </a:lnTo>
                    <a:lnTo>
                      <a:pt x="126" y="48"/>
                    </a:lnTo>
                    <a:close/>
                    <a:moveTo>
                      <a:pt x="115" y="30"/>
                    </a:moveTo>
                    <a:lnTo>
                      <a:pt x="116" y="30"/>
                    </a:lnTo>
                    <a:lnTo>
                      <a:pt x="120" y="31"/>
                    </a:lnTo>
                    <a:lnTo>
                      <a:pt x="120" y="33"/>
                    </a:lnTo>
                    <a:lnTo>
                      <a:pt x="116" y="35"/>
                    </a:lnTo>
                    <a:lnTo>
                      <a:pt x="115" y="33"/>
                    </a:lnTo>
                    <a:lnTo>
                      <a:pt x="113" y="35"/>
                    </a:lnTo>
                    <a:lnTo>
                      <a:pt x="115" y="30"/>
                    </a:lnTo>
                    <a:lnTo>
                      <a:pt x="115" y="30"/>
                    </a:lnTo>
                    <a:close/>
                    <a:moveTo>
                      <a:pt x="91" y="75"/>
                    </a:moveTo>
                    <a:lnTo>
                      <a:pt x="93" y="73"/>
                    </a:lnTo>
                    <a:lnTo>
                      <a:pt x="96" y="75"/>
                    </a:lnTo>
                    <a:lnTo>
                      <a:pt x="96" y="78"/>
                    </a:lnTo>
                    <a:lnTo>
                      <a:pt x="96" y="80"/>
                    </a:lnTo>
                    <a:lnTo>
                      <a:pt x="91" y="75"/>
                    </a:lnTo>
                    <a:lnTo>
                      <a:pt x="91" y="75"/>
                    </a:lnTo>
                    <a:close/>
                    <a:moveTo>
                      <a:pt x="88" y="75"/>
                    </a:moveTo>
                    <a:lnTo>
                      <a:pt x="90" y="73"/>
                    </a:lnTo>
                    <a:lnTo>
                      <a:pt x="90" y="75"/>
                    </a:lnTo>
                    <a:lnTo>
                      <a:pt x="90" y="76"/>
                    </a:lnTo>
                    <a:lnTo>
                      <a:pt x="88" y="75"/>
                    </a:lnTo>
                    <a:lnTo>
                      <a:pt x="88" y="75"/>
                    </a:lnTo>
                    <a:close/>
                    <a:moveTo>
                      <a:pt x="115" y="80"/>
                    </a:moveTo>
                    <a:lnTo>
                      <a:pt x="116" y="78"/>
                    </a:lnTo>
                    <a:lnTo>
                      <a:pt x="120" y="81"/>
                    </a:lnTo>
                    <a:lnTo>
                      <a:pt x="121" y="81"/>
                    </a:lnTo>
                    <a:lnTo>
                      <a:pt x="121" y="85"/>
                    </a:lnTo>
                    <a:lnTo>
                      <a:pt x="120" y="86"/>
                    </a:lnTo>
                    <a:lnTo>
                      <a:pt x="120" y="83"/>
                    </a:lnTo>
                    <a:lnTo>
                      <a:pt x="118" y="83"/>
                    </a:lnTo>
                    <a:lnTo>
                      <a:pt x="115" y="80"/>
                    </a:lnTo>
                    <a:lnTo>
                      <a:pt x="115" y="80"/>
                    </a:lnTo>
                    <a:close/>
                    <a:moveTo>
                      <a:pt x="154" y="121"/>
                    </a:moveTo>
                    <a:lnTo>
                      <a:pt x="153" y="119"/>
                    </a:lnTo>
                    <a:lnTo>
                      <a:pt x="153" y="116"/>
                    </a:lnTo>
                    <a:lnTo>
                      <a:pt x="159" y="116"/>
                    </a:lnTo>
                    <a:lnTo>
                      <a:pt x="158" y="118"/>
                    </a:lnTo>
                    <a:lnTo>
                      <a:pt x="154" y="121"/>
                    </a:lnTo>
                    <a:lnTo>
                      <a:pt x="154" y="121"/>
                    </a:lnTo>
                    <a:close/>
                    <a:moveTo>
                      <a:pt x="115" y="143"/>
                    </a:moveTo>
                    <a:lnTo>
                      <a:pt x="116" y="139"/>
                    </a:lnTo>
                    <a:lnTo>
                      <a:pt x="120" y="139"/>
                    </a:lnTo>
                    <a:lnTo>
                      <a:pt x="120" y="143"/>
                    </a:lnTo>
                    <a:lnTo>
                      <a:pt x="116" y="143"/>
                    </a:lnTo>
                    <a:lnTo>
                      <a:pt x="115" y="143"/>
                    </a:lnTo>
                    <a:lnTo>
                      <a:pt x="115" y="143"/>
                    </a:lnTo>
                    <a:close/>
                    <a:moveTo>
                      <a:pt x="116" y="129"/>
                    </a:moveTo>
                    <a:lnTo>
                      <a:pt x="118" y="128"/>
                    </a:lnTo>
                    <a:lnTo>
                      <a:pt x="118" y="131"/>
                    </a:lnTo>
                    <a:lnTo>
                      <a:pt x="116" y="129"/>
                    </a:lnTo>
                    <a:lnTo>
                      <a:pt x="116" y="129"/>
                    </a:lnTo>
                    <a:close/>
                    <a:moveTo>
                      <a:pt x="116" y="126"/>
                    </a:moveTo>
                    <a:lnTo>
                      <a:pt x="116" y="121"/>
                    </a:lnTo>
                    <a:lnTo>
                      <a:pt x="118" y="123"/>
                    </a:lnTo>
                    <a:lnTo>
                      <a:pt x="118" y="124"/>
                    </a:lnTo>
                    <a:lnTo>
                      <a:pt x="118" y="124"/>
                    </a:lnTo>
                    <a:lnTo>
                      <a:pt x="116" y="126"/>
                    </a:lnTo>
                    <a:lnTo>
                      <a:pt x="116" y="126"/>
                    </a:lnTo>
                    <a:close/>
                    <a:moveTo>
                      <a:pt x="113" y="119"/>
                    </a:moveTo>
                    <a:lnTo>
                      <a:pt x="113" y="119"/>
                    </a:lnTo>
                    <a:lnTo>
                      <a:pt x="115" y="118"/>
                    </a:lnTo>
                    <a:lnTo>
                      <a:pt x="116" y="119"/>
                    </a:lnTo>
                    <a:lnTo>
                      <a:pt x="113" y="119"/>
                    </a:lnTo>
                    <a:lnTo>
                      <a:pt x="113" y="119"/>
                    </a:lnTo>
                    <a:close/>
                    <a:moveTo>
                      <a:pt x="135" y="133"/>
                    </a:moveTo>
                    <a:lnTo>
                      <a:pt x="133" y="131"/>
                    </a:lnTo>
                    <a:lnTo>
                      <a:pt x="135" y="128"/>
                    </a:lnTo>
                    <a:lnTo>
                      <a:pt x="136" y="128"/>
                    </a:lnTo>
                    <a:lnTo>
                      <a:pt x="138" y="131"/>
                    </a:lnTo>
                    <a:lnTo>
                      <a:pt x="135" y="133"/>
                    </a:lnTo>
                    <a:lnTo>
                      <a:pt x="135" y="133"/>
                    </a:lnTo>
                    <a:close/>
                    <a:moveTo>
                      <a:pt x="141" y="133"/>
                    </a:moveTo>
                    <a:lnTo>
                      <a:pt x="140" y="129"/>
                    </a:lnTo>
                    <a:lnTo>
                      <a:pt x="143" y="128"/>
                    </a:lnTo>
                    <a:lnTo>
                      <a:pt x="145" y="128"/>
                    </a:lnTo>
                    <a:lnTo>
                      <a:pt x="146" y="129"/>
                    </a:lnTo>
                    <a:lnTo>
                      <a:pt x="143" y="133"/>
                    </a:lnTo>
                    <a:lnTo>
                      <a:pt x="141" y="133"/>
                    </a:lnTo>
                    <a:lnTo>
                      <a:pt x="141" y="133"/>
                    </a:lnTo>
                    <a:close/>
                    <a:moveTo>
                      <a:pt x="140" y="123"/>
                    </a:moveTo>
                    <a:lnTo>
                      <a:pt x="140" y="121"/>
                    </a:lnTo>
                    <a:lnTo>
                      <a:pt x="141" y="121"/>
                    </a:lnTo>
                    <a:lnTo>
                      <a:pt x="140" y="123"/>
                    </a:lnTo>
                    <a:lnTo>
                      <a:pt x="140" y="123"/>
                    </a:lnTo>
                    <a:close/>
                    <a:moveTo>
                      <a:pt x="133" y="118"/>
                    </a:moveTo>
                    <a:lnTo>
                      <a:pt x="135" y="116"/>
                    </a:lnTo>
                    <a:lnTo>
                      <a:pt x="138" y="118"/>
                    </a:lnTo>
                    <a:lnTo>
                      <a:pt x="138" y="121"/>
                    </a:lnTo>
                    <a:lnTo>
                      <a:pt x="135" y="119"/>
                    </a:lnTo>
                    <a:lnTo>
                      <a:pt x="133" y="118"/>
                    </a:lnTo>
                    <a:lnTo>
                      <a:pt x="133" y="118"/>
                    </a:lnTo>
                    <a:close/>
                    <a:moveTo>
                      <a:pt x="121" y="108"/>
                    </a:moveTo>
                    <a:lnTo>
                      <a:pt x="125" y="108"/>
                    </a:lnTo>
                    <a:lnTo>
                      <a:pt x="126" y="111"/>
                    </a:lnTo>
                    <a:lnTo>
                      <a:pt x="130" y="114"/>
                    </a:lnTo>
                    <a:lnTo>
                      <a:pt x="130" y="116"/>
                    </a:lnTo>
                    <a:lnTo>
                      <a:pt x="128" y="116"/>
                    </a:lnTo>
                    <a:lnTo>
                      <a:pt x="123" y="113"/>
                    </a:lnTo>
                    <a:lnTo>
                      <a:pt x="121" y="111"/>
                    </a:lnTo>
                    <a:lnTo>
                      <a:pt x="121" y="108"/>
                    </a:lnTo>
                    <a:lnTo>
                      <a:pt x="121" y="108"/>
                    </a:lnTo>
                    <a:close/>
                    <a:moveTo>
                      <a:pt x="76" y="81"/>
                    </a:moveTo>
                    <a:lnTo>
                      <a:pt x="80" y="80"/>
                    </a:lnTo>
                    <a:lnTo>
                      <a:pt x="86" y="78"/>
                    </a:lnTo>
                    <a:lnTo>
                      <a:pt x="90" y="81"/>
                    </a:lnTo>
                    <a:lnTo>
                      <a:pt x="95" y="83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1" y="86"/>
                    </a:lnTo>
                    <a:lnTo>
                      <a:pt x="103" y="86"/>
                    </a:lnTo>
                    <a:lnTo>
                      <a:pt x="108" y="91"/>
                    </a:lnTo>
                    <a:lnTo>
                      <a:pt x="110" y="95"/>
                    </a:lnTo>
                    <a:lnTo>
                      <a:pt x="110" y="96"/>
                    </a:lnTo>
                    <a:lnTo>
                      <a:pt x="111" y="98"/>
                    </a:lnTo>
                    <a:lnTo>
                      <a:pt x="111" y="101"/>
                    </a:lnTo>
                    <a:lnTo>
                      <a:pt x="115" y="105"/>
                    </a:lnTo>
                    <a:lnTo>
                      <a:pt x="115" y="103"/>
                    </a:lnTo>
                    <a:lnTo>
                      <a:pt x="120" y="105"/>
                    </a:lnTo>
                    <a:lnTo>
                      <a:pt x="118" y="108"/>
                    </a:lnTo>
                    <a:lnTo>
                      <a:pt x="116" y="108"/>
                    </a:lnTo>
                    <a:lnTo>
                      <a:pt x="113" y="108"/>
                    </a:lnTo>
                    <a:lnTo>
                      <a:pt x="110" y="106"/>
                    </a:lnTo>
                    <a:lnTo>
                      <a:pt x="108" y="105"/>
                    </a:lnTo>
                    <a:lnTo>
                      <a:pt x="110" y="101"/>
                    </a:lnTo>
                    <a:lnTo>
                      <a:pt x="106" y="100"/>
                    </a:lnTo>
                    <a:lnTo>
                      <a:pt x="105" y="96"/>
                    </a:lnTo>
                    <a:lnTo>
                      <a:pt x="103" y="95"/>
                    </a:lnTo>
                    <a:lnTo>
                      <a:pt x="100" y="95"/>
                    </a:lnTo>
                    <a:lnTo>
                      <a:pt x="95" y="91"/>
                    </a:lnTo>
                    <a:lnTo>
                      <a:pt x="93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86" y="86"/>
                    </a:lnTo>
                    <a:lnTo>
                      <a:pt x="85" y="85"/>
                    </a:lnTo>
                    <a:lnTo>
                      <a:pt x="83" y="83"/>
                    </a:lnTo>
                    <a:lnTo>
                      <a:pt x="80" y="83"/>
                    </a:lnTo>
                    <a:lnTo>
                      <a:pt x="76" y="81"/>
                    </a:lnTo>
                    <a:lnTo>
                      <a:pt x="76" y="81"/>
                    </a:lnTo>
                    <a:close/>
                    <a:moveTo>
                      <a:pt x="83" y="146"/>
                    </a:moveTo>
                    <a:lnTo>
                      <a:pt x="85" y="146"/>
                    </a:lnTo>
                    <a:lnTo>
                      <a:pt x="85" y="149"/>
                    </a:lnTo>
                    <a:lnTo>
                      <a:pt x="88" y="151"/>
                    </a:lnTo>
                    <a:lnTo>
                      <a:pt x="86" y="154"/>
                    </a:lnTo>
                    <a:lnTo>
                      <a:pt x="83" y="154"/>
                    </a:lnTo>
                    <a:lnTo>
                      <a:pt x="83" y="151"/>
                    </a:lnTo>
                    <a:lnTo>
                      <a:pt x="83" y="149"/>
                    </a:lnTo>
                    <a:lnTo>
                      <a:pt x="83" y="146"/>
                    </a:lnTo>
                    <a:lnTo>
                      <a:pt x="83" y="146"/>
                    </a:lnTo>
                    <a:close/>
                    <a:moveTo>
                      <a:pt x="83" y="143"/>
                    </a:moveTo>
                    <a:lnTo>
                      <a:pt x="85" y="144"/>
                    </a:lnTo>
                    <a:lnTo>
                      <a:pt x="83" y="144"/>
                    </a:lnTo>
                    <a:lnTo>
                      <a:pt x="83" y="14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5" name="Freeform 72"/>
              <p:cNvSpPr>
                <a:spLocks/>
              </p:cNvSpPr>
              <p:nvPr/>
            </p:nvSpPr>
            <p:spPr bwMode="auto">
              <a:xfrm>
                <a:off x="6944787" y="2763372"/>
                <a:ext cx="46020" cy="3424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3"/>
                  </a:cxn>
                  <a:cxn ang="0">
                    <a:pos x="18" y="0"/>
                  </a:cxn>
                  <a:cxn ang="0">
                    <a:pos x="22" y="1"/>
                  </a:cxn>
                  <a:cxn ang="0">
                    <a:pos x="35" y="1"/>
                  </a:cxn>
                  <a:cxn ang="0">
                    <a:pos x="40" y="6"/>
                  </a:cxn>
                  <a:cxn ang="0">
                    <a:pos x="50" y="6"/>
                  </a:cxn>
                  <a:cxn ang="0">
                    <a:pos x="55" y="11"/>
                  </a:cxn>
                  <a:cxn ang="0">
                    <a:pos x="53" y="16"/>
                  </a:cxn>
                  <a:cxn ang="0">
                    <a:pos x="53" y="19"/>
                  </a:cxn>
                  <a:cxn ang="0">
                    <a:pos x="63" y="28"/>
                  </a:cxn>
                  <a:cxn ang="0">
                    <a:pos x="63" y="33"/>
                  </a:cxn>
                  <a:cxn ang="0">
                    <a:pos x="60" y="34"/>
                  </a:cxn>
                  <a:cxn ang="0">
                    <a:pos x="63" y="41"/>
                  </a:cxn>
                  <a:cxn ang="0">
                    <a:pos x="73" y="48"/>
                  </a:cxn>
                  <a:cxn ang="0">
                    <a:pos x="82" y="48"/>
                  </a:cxn>
                  <a:cxn ang="0">
                    <a:pos x="87" y="53"/>
                  </a:cxn>
                  <a:cxn ang="0">
                    <a:pos x="80" y="53"/>
                  </a:cxn>
                  <a:cxn ang="0">
                    <a:pos x="85" y="59"/>
                  </a:cxn>
                  <a:cxn ang="0">
                    <a:pos x="83" y="61"/>
                  </a:cxn>
                  <a:cxn ang="0">
                    <a:pos x="83" y="66"/>
                  </a:cxn>
                  <a:cxn ang="0">
                    <a:pos x="77" y="66"/>
                  </a:cxn>
                  <a:cxn ang="0">
                    <a:pos x="67" y="53"/>
                  </a:cxn>
                  <a:cxn ang="0">
                    <a:pos x="60" y="51"/>
                  </a:cxn>
                  <a:cxn ang="0">
                    <a:pos x="57" y="43"/>
                  </a:cxn>
                  <a:cxn ang="0">
                    <a:pos x="52" y="43"/>
                  </a:cxn>
                  <a:cxn ang="0">
                    <a:pos x="50" y="46"/>
                  </a:cxn>
                  <a:cxn ang="0">
                    <a:pos x="43" y="39"/>
                  </a:cxn>
                  <a:cxn ang="0">
                    <a:pos x="38" y="43"/>
                  </a:cxn>
                  <a:cxn ang="0">
                    <a:pos x="35" y="43"/>
                  </a:cxn>
                  <a:cxn ang="0">
                    <a:pos x="33" y="39"/>
                  </a:cxn>
                  <a:cxn ang="0">
                    <a:pos x="28" y="36"/>
                  </a:cxn>
                  <a:cxn ang="0">
                    <a:pos x="23" y="36"/>
                  </a:cxn>
                  <a:cxn ang="0">
                    <a:pos x="17" y="36"/>
                  </a:cxn>
                  <a:cxn ang="0">
                    <a:pos x="10" y="33"/>
                  </a:cxn>
                  <a:cxn ang="0">
                    <a:pos x="10" y="23"/>
                  </a:cxn>
                  <a:cxn ang="0">
                    <a:pos x="10" y="16"/>
                  </a:cxn>
                  <a:cxn ang="0">
                    <a:pos x="8" y="11"/>
                  </a:cxn>
                  <a:cxn ang="0">
                    <a:pos x="4" y="11"/>
                  </a:cxn>
                  <a:cxn ang="0">
                    <a:pos x="4" y="8"/>
                  </a:cxn>
                  <a:cxn ang="0">
                    <a:pos x="0" y="5"/>
                  </a:cxn>
                </a:cxnLst>
                <a:rect l="0" t="0" r="r" b="b"/>
                <a:pathLst>
                  <a:path w="87" h="66">
                    <a:moveTo>
                      <a:pt x="0" y="5"/>
                    </a:moveTo>
                    <a:lnTo>
                      <a:pt x="7" y="3"/>
                    </a:lnTo>
                    <a:lnTo>
                      <a:pt x="18" y="0"/>
                    </a:lnTo>
                    <a:lnTo>
                      <a:pt x="22" y="1"/>
                    </a:lnTo>
                    <a:lnTo>
                      <a:pt x="35" y="1"/>
                    </a:lnTo>
                    <a:lnTo>
                      <a:pt x="40" y="6"/>
                    </a:lnTo>
                    <a:lnTo>
                      <a:pt x="50" y="6"/>
                    </a:lnTo>
                    <a:lnTo>
                      <a:pt x="55" y="11"/>
                    </a:lnTo>
                    <a:lnTo>
                      <a:pt x="53" y="16"/>
                    </a:lnTo>
                    <a:lnTo>
                      <a:pt x="53" y="19"/>
                    </a:lnTo>
                    <a:lnTo>
                      <a:pt x="63" y="28"/>
                    </a:lnTo>
                    <a:lnTo>
                      <a:pt x="63" y="33"/>
                    </a:lnTo>
                    <a:lnTo>
                      <a:pt x="60" y="34"/>
                    </a:lnTo>
                    <a:lnTo>
                      <a:pt x="63" y="41"/>
                    </a:lnTo>
                    <a:lnTo>
                      <a:pt x="73" y="48"/>
                    </a:lnTo>
                    <a:lnTo>
                      <a:pt x="82" y="48"/>
                    </a:lnTo>
                    <a:lnTo>
                      <a:pt x="87" y="53"/>
                    </a:lnTo>
                    <a:lnTo>
                      <a:pt x="80" y="53"/>
                    </a:lnTo>
                    <a:lnTo>
                      <a:pt x="85" y="59"/>
                    </a:lnTo>
                    <a:lnTo>
                      <a:pt x="83" y="61"/>
                    </a:lnTo>
                    <a:lnTo>
                      <a:pt x="83" y="66"/>
                    </a:lnTo>
                    <a:lnTo>
                      <a:pt x="77" y="66"/>
                    </a:lnTo>
                    <a:lnTo>
                      <a:pt x="67" y="53"/>
                    </a:lnTo>
                    <a:lnTo>
                      <a:pt x="60" y="51"/>
                    </a:lnTo>
                    <a:lnTo>
                      <a:pt x="57" y="43"/>
                    </a:lnTo>
                    <a:lnTo>
                      <a:pt x="52" y="43"/>
                    </a:lnTo>
                    <a:lnTo>
                      <a:pt x="50" y="46"/>
                    </a:lnTo>
                    <a:lnTo>
                      <a:pt x="43" y="39"/>
                    </a:lnTo>
                    <a:lnTo>
                      <a:pt x="38" y="43"/>
                    </a:lnTo>
                    <a:lnTo>
                      <a:pt x="35" y="43"/>
                    </a:lnTo>
                    <a:lnTo>
                      <a:pt x="33" y="39"/>
                    </a:lnTo>
                    <a:lnTo>
                      <a:pt x="28" y="36"/>
                    </a:lnTo>
                    <a:lnTo>
                      <a:pt x="23" y="36"/>
                    </a:lnTo>
                    <a:lnTo>
                      <a:pt x="17" y="36"/>
                    </a:lnTo>
                    <a:lnTo>
                      <a:pt x="10" y="33"/>
                    </a:lnTo>
                    <a:lnTo>
                      <a:pt x="10" y="23"/>
                    </a:lnTo>
                    <a:lnTo>
                      <a:pt x="10" y="16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4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6" name="Freeform 73"/>
              <p:cNvSpPr>
                <a:spLocks noEditPoints="1"/>
              </p:cNvSpPr>
              <p:nvPr/>
            </p:nvSpPr>
            <p:spPr bwMode="auto">
              <a:xfrm>
                <a:off x="6728597" y="2756108"/>
                <a:ext cx="240806" cy="84045"/>
              </a:xfrm>
              <a:custGeom>
                <a:avLst/>
                <a:gdLst/>
                <a:ahLst/>
                <a:cxnLst>
                  <a:cxn ang="0">
                    <a:pos x="21" y="15"/>
                  </a:cxn>
                  <a:cxn ang="0">
                    <a:pos x="34" y="0"/>
                  </a:cxn>
                  <a:cxn ang="0">
                    <a:pos x="63" y="18"/>
                  </a:cxn>
                  <a:cxn ang="0">
                    <a:pos x="59" y="29"/>
                  </a:cxn>
                  <a:cxn ang="0">
                    <a:pos x="24" y="44"/>
                  </a:cxn>
                  <a:cxn ang="0">
                    <a:pos x="19" y="41"/>
                  </a:cxn>
                  <a:cxn ang="0">
                    <a:pos x="6" y="34"/>
                  </a:cxn>
                  <a:cxn ang="0">
                    <a:pos x="342" y="26"/>
                  </a:cxn>
                  <a:cxn ang="0">
                    <a:pos x="313" y="23"/>
                  </a:cxn>
                  <a:cxn ang="0">
                    <a:pos x="274" y="26"/>
                  </a:cxn>
                  <a:cxn ang="0">
                    <a:pos x="242" y="18"/>
                  </a:cxn>
                  <a:cxn ang="0">
                    <a:pos x="222" y="10"/>
                  </a:cxn>
                  <a:cxn ang="0">
                    <a:pos x="196" y="1"/>
                  </a:cxn>
                  <a:cxn ang="0">
                    <a:pos x="154" y="8"/>
                  </a:cxn>
                  <a:cxn ang="0">
                    <a:pos x="129" y="23"/>
                  </a:cxn>
                  <a:cxn ang="0">
                    <a:pos x="99" y="24"/>
                  </a:cxn>
                  <a:cxn ang="0">
                    <a:pos x="79" y="36"/>
                  </a:cxn>
                  <a:cxn ang="0">
                    <a:pos x="69" y="44"/>
                  </a:cxn>
                  <a:cxn ang="0">
                    <a:pos x="58" y="48"/>
                  </a:cxn>
                  <a:cxn ang="0">
                    <a:pos x="33" y="46"/>
                  </a:cxn>
                  <a:cxn ang="0">
                    <a:pos x="14" y="69"/>
                  </a:cxn>
                  <a:cxn ang="0">
                    <a:pos x="33" y="71"/>
                  </a:cxn>
                  <a:cxn ang="0">
                    <a:pos x="31" y="88"/>
                  </a:cxn>
                  <a:cxn ang="0">
                    <a:pos x="33" y="96"/>
                  </a:cxn>
                  <a:cxn ang="0">
                    <a:pos x="19" y="99"/>
                  </a:cxn>
                  <a:cxn ang="0">
                    <a:pos x="29" y="113"/>
                  </a:cxn>
                  <a:cxn ang="0">
                    <a:pos x="39" y="129"/>
                  </a:cxn>
                  <a:cxn ang="0">
                    <a:pos x="44" y="139"/>
                  </a:cxn>
                  <a:cxn ang="0">
                    <a:pos x="46" y="144"/>
                  </a:cxn>
                  <a:cxn ang="0">
                    <a:pos x="59" y="147"/>
                  </a:cxn>
                  <a:cxn ang="0">
                    <a:pos x="76" y="144"/>
                  </a:cxn>
                  <a:cxn ang="0">
                    <a:pos x="86" y="151"/>
                  </a:cxn>
                  <a:cxn ang="0">
                    <a:pos x="108" y="156"/>
                  </a:cxn>
                  <a:cxn ang="0">
                    <a:pos x="122" y="147"/>
                  </a:cxn>
                  <a:cxn ang="0">
                    <a:pos x="164" y="157"/>
                  </a:cxn>
                  <a:cxn ang="0">
                    <a:pos x="206" y="154"/>
                  </a:cxn>
                  <a:cxn ang="0">
                    <a:pos x="244" y="144"/>
                  </a:cxn>
                  <a:cxn ang="0">
                    <a:pos x="245" y="151"/>
                  </a:cxn>
                  <a:cxn ang="0">
                    <a:pos x="264" y="159"/>
                  </a:cxn>
                  <a:cxn ang="0">
                    <a:pos x="279" y="144"/>
                  </a:cxn>
                  <a:cxn ang="0">
                    <a:pos x="317" y="139"/>
                  </a:cxn>
                  <a:cxn ang="0">
                    <a:pos x="355" y="132"/>
                  </a:cxn>
                  <a:cxn ang="0">
                    <a:pos x="397" y="131"/>
                  </a:cxn>
                  <a:cxn ang="0">
                    <a:pos x="435" y="124"/>
                  </a:cxn>
                  <a:cxn ang="0">
                    <a:pos x="446" y="121"/>
                  </a:cxn>
                  <a:cxn ang="0">
                    <a:pos x="436" y="93"/>
                  </a:cxn>
                  <a:cxn ang="0">
                    <a:pos x="426" y="68"/>
                  </a:cxn>
                  <a:cxn ang="0">
                    <a:pos x="426" y="51"/>
                  </a:cxn>
                  <a:cxn ang="0">
                    <a:pos x="407" y="26"/>
                  </a:cxn>
                  <a:cxn ang="0">
                    <a:pos x="380" y="13"/>
                  </a:cxn>
                  <a:cxn ang="0">
                    <a:pos x="362" y="8"/>
                  </a:cxn>
                  <a:cxn ang="0">
                    <a:pos x="56" y="151"/>
                  </a:cxn>
                  <a:cxn ang="0">
                    <a:pos x="10" y="49"/>
                  </a:cxn>
                </a:cxnLst>
                <a:rect l="0" t="0" r="r" b="b"/>
                <a:pathLst>
                  <a:path w="450" h="162">
                    <a:moveTo>
                      <a:pt x="6" y="34"/>
                    </a:moveTo>
                    <a:lnTo>
                      <a:pt x="13" y="34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9" y="21"/>
                    </a:lnTo>
                    <a:lnTo>
                      <a:pt x="21" y="15"/>
                    </a:lnTo>
                    <a:lnTo>
                      <a:pt x="16" y="13"/>
                    </a:lnTo>
                    <a:lnTo>
                      <a:pt x="16" y="8"/>
                    </a:lnTo>
                    <a:lnTo>
                      <a:pt x="21" y="3"/>
                    </a:lnTo>
                    <a:lnTo>
                      <a:pt x="24" y="3"/>
                    </a:lnTo>
                    <a:lnTo>
                      <a:pt x="28" y="0"/>
                    </a:lnTo>
                    <a:lnTo>
                      <a:pt x="34" y="0"/>
                    </a:lnTo>
                    <a:lnTo>
                      <a:pt x="41" y="5"/>
                    </a:lnTo>
                    <a:lnTo>
                      <a:pt x="44" y="3"/>
                    </a:lnTo>
                    <a:lnTo>
                      <a:pt x="49" y="3"/>
                    </a:lnTo>
                    <a:lnTo>
                      <a:pt x="51" y="11"/>
                    </a:lnTo>
                    <a:lnTo>
                      <a:pt x="58" y="18"/>
                    </a:lnTo>
                    <a:lnTo>
                      <a:pt x="63" y="18"/>
                    </a:lnTo>
                    <a:lnTo>
                      <a:pt x="69" y="23"/>
                    </a:lnTo>
                    <a:lnTo>
                      <a:pt x="74" y="26"/>
                    </a:lnTo>
                    <a:lnTo>
                      <a:pt x="74" y="28"/>
                    </a:lnTo>
                    <a:lnTo>
                      <a:pt x="69" y="33"/>
                    </a:lnTo>
                    <a:lnTo>
                      <a:pt x="63" y="31"/>
                    </a:lnTo>
                    <a:lnTo>
                      <a:pt x="59" y="29"/>
                    </a:lnTo>
                    <a:lnTo>
                      <a:pt x="54" y="29"/>
                    </a:lnTo>
                    <a:lnTo>
                      <a:pt x="53" y="31"/>
                    </a:lnTo>
                    <a:lnTo>
                      <a:pt x="44" y="31"/>
                    </a:lnTo>
                    <a:lnTo>
                      <a:pt x="39" y="33"/>
                    </a:lnTo>
                    <a:lnTo>
                      <a:pt x="36" y="39"/>
                    </a:lnTo>
                    <a:lnTo>
                      <a:pt x="24" y="44"/>
                    </a:lnTo>
                    <a:lnTo>
                      <a:pt x="14" y="53"/>
                    </a:lnTo>
                    <a:lnTo>
                      <a:pt x="13" y="49"/>
                    </a:lnTo>
                    <a:lnTo>
                      <a:pt x="16" y="43"/>
                    </a:lnTo>
                    <a:lnTo>
                      <a:pt x="18" y="43"/>
                    </a:lnTo>
                    <a:lnTo>
                      <a:pt x="23" y="41"/>
                    </a:lnTo>
                    <a:lnTo>
                      <a:pt x="19" y="41"/>
                    </a:lnTo>
                    <a:lnTo>
                      <a:pt x="16" y="39"/>
                    </a:lnTo>
                    <a:lnTo>
                      <a:pt x="13" y="41"/>
                    </a:lnTo>
                    <a:lnTo>
                      <a:pt x="10" y="39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  <a:moveTo>
                      <a:pt x="362" y="8"/>
                    </a:moveTo>
                    <a:lnTo>
                      <a:pt x="362" y="10"/>
                    </a:lnTo>
                    <a:lnTo>
                      <a:pt x="358" y="15"/>
                    </a:lnTo>
                    <a:lnTo>
                      <a:pt x="352" y="18"/>
                    </a:lnTo>
                    <a:lnTo>
                      <a:pt x="343" y="23"/>
                    </a:lnTo>
                    <a:lnTo>
                      <a:pt x="342" y="26"/>
                    </a:lnTo>
                    <a:lnTo>
                      <a:pt x="335" y="26"/>
                    </a:lnTo>
                    <a:lnTo>
                      <a:pt x="332" y="28"/>
                    </a:lnTo>
                    <a:lnTo>
                      <a:pt x="322" y="26"/>
                    </a:lnTo>
                    <a:lnTo>
                      <a:pt x="318" y="24"/>
                    </a:lnTo>
                    <a:lnTo>
                      <a:pt x="315" y="24"/>
                    </a:lnTo>
                    <a:lnTo>
                      <a:pt x="313" y="23"/>
                    </a:lnTo>
                    <a:lnTo>
                      <a:pt x="310" y="24"/>
                    </a:lnTo>
                    <a:lnTo>
                      <a:pt x="300" y="26"/>
                    </a:lnTo>
                    <a:lnTo>
                      <a:pt x="290" y="29"/>
                    </a:lnTo>
                    <a:lnTo>
                      <a:pt x="282" y="28"/>
                    </a:lnTo>
                    <a:lnTo>
                      <a:pt x="277" y="24"/>
                    </a:lnTo>
                    <a:lnTo>
                      <a:pt x="274" y="26"/>
                    </a:lnTo>
                    <a:lnTo>
                      <a:pt x="264" y="23"/>
                    </a:lnTo>
                    <a:lnTo>
                      <a:pt x="260" y="21"/>
                    </a:lnTo>
                    <a:lnTo>
                      <a:pt x="250" y="16"/>
                    </a:lnTo>
                    <a:lnTo>
                      <a:pt x="249" y="16"/>
                    </a:lnTo>
                    <a:lnTo>
                      <a:pt x="247" y="20"/>
                    </a:lnTo>
                    <a:lnTo>
                      <a:pt x="242" y="18"/>
                    </a:lnTo>
                    <a:lnTo>
                      <a:pt x="239" y="13"/>
                    </a:lnTo>
                    <a:lnTo>
                      <a:pt x="237" y="8"/>
                    </a:lnTo>
                    <a:lnTo>
                      <a:pt x="234" y="5"/>
                    </a:lnTo>
                    <a:lnTo>
                      <a:pt x="230" y="5"/>
                    </a:lnTo>
                    <a:lnTo>
                      <a:pt x="224" y="11"/>
                    </a:lnTo>
                    <a:lnTo>
                      <a:pt x="222" y="10"/>
                    </a:lnTo>
                    <a:lnTo>
                      <a:pt x="220" y="11"/>
                    </a:lnTo>
                    <a:lnTo>
                      <a:pt x="212" y="5"/>
                    </a:lnTo>
                    <a:lnTo>
                      <a:pt x="211" y="0"/>
                    </a:lnTo>
                    <a:lnTo>
                      <a:pt x="209" y="0"/>
                    </a:lnTo>
                    <a:lnTo>
                      <a:pt x="204" y="1"/>
                    </a:lnTo>
                    <a:lnTo>
                      <a:pt x="196" y="1"/>
                    </a:lnTo>
                    <a:lnTo>
                      <a:pt x="192" y="1"/>
                    </a:lnTo>
                    <a:lnTo>
                      <a:pt x="187" y="1"/>
                    </a:lnTo>
                    <a:lnTo>
                      <a:pt x="176" y="1"/>
                    </a:lnTo>
                    <a:lnTo>
                      <a:pt x="169" y="3"/>
                    </a:lnTo>
                    <a:lnTo>
                      <a:pt x="159" y="6"/>
                    </a:lnTo>
                    <a:lnTo>
                      <a:pt x="154" y="8"/>
                    </a:lnTo>
                    <a:lnTo>
                      <a:pt x="144" y="10"/>
                    </a:lnTo>
                    <a:lnTo>
                      <a:pt x="142" y="11"/>
                    </a:lnTo>
                    <a:lnTo>
                      <a:pt x="137" y="13"/>
                    </a:lnTo>
                    <a:lnTo>
                      <a:pt x="134" y="16"/>
                    </a:lnTo>
                    <a:lnTo>
                      <a:pt x="131" y="18"/>
                    </a:lnTo>
                    <a:lnTo>
                      <a:pt x="129" y="23"/>
                    </a:lnTo>
                    <a:lnTo>
                      <a:pt x="127" y="24"/>
                    </a:lnTo>
                    <a:lnTo>
                      <a:pt x="127" y="26"/>
                    </a:lnTo>
                    <a:lnTo>
                      <a:pt x="119" y="28"/>
                    </a:lnTo>
                    <a:lnTo>
                      <a:pt x="106" y="23"/>
                    </a:lnTo>
                    <a:lnTo>
                      <a:pt x="101" y="23"/>
                    </a:lnTo>
                    <a:lnTo>
                      <a:pt x="99" y="24"/>
                    </a:lnTo>
                    <a:lnTo>
                      <a:pt x="94" y="24"/>
                    </a:lnTo>
                    <a:lnTo>
                      <a:pt x="86" y="26"/>
                    </a:lnTo>
                    <a:lnTo>
                      <a:pt x="83" y="24"/>
                    </a:lnTo>
                    <a:lnTo>
                      <a:pt x="76" y="26"/>
                    </a:lnTo>
                    <a:lnTo>
                      <a:pt x="76" y="29"/>
                    </a:lnTo>
                    <a:lnTo>
                      <a:pt x="79" y="36"/>
                    </a:lnTo>
                    <a:lnTo>
                      <a:pt x="86" y="36"/>
                    </a:lnTo>
                    <a:lnTo>
                      <a:pt x="93" y="36"/>
                    </a:lnTo>
                    <a:lnTo>
                      <a:pt x="91" y="39"/>
                    </a:lnTo>
                    <a:lnTo>
                      <a:pt x="81" y="39"/>
                    </a:lnTo>
                    <a:lnTo>
                      <a:pt x="73" y="41"/>
                    </a:lnTo>
                    <a:lnTo>
                      <a:pt x="69" y="44"/>
                    </a:lnTo>
                    <a:lnTo>
                      <a:pt x="71" y="48"/>
                    </a:lnTo>
                    <a:lnTo>
                      <a:pt x="76" y="46"/>
                    </a:lnTo>
                    <a:lnTo>
                      <a:pt x="78" y="48"/>
                    </a:lnTo>
                    <a:lnTo>
                      <a:pt x="74" y="49"/>
                    </a:lnTo>
                    <a:lnTo>
                      <a:pt x="63" y="49"/>
                    </a:lnTo>
                    <a:lnTo>
                      <a:pt x="58" y="48"/>
                    </a:lnTo>
                    <a:lnTo>
                      <a:pt x="53" y="49"/>
                    </a:lnTo>
                    <a:lnTo>
                      <a:pt x="49" y="46"/>
                    </a:lnTo>
                    <a:lnTo>
                      <a:pt x="46" y="46"/>
                    </a:lnTo>
                    <a:lnTo>
                      <a:pt x="43" y="51"/>
                    </a:lnTo>
                    <a:lnTo>
                      <a:pt x="38" y="51"/>
                    </a:lnTo>
                    <a:lnTo>
                      <a:pt x="33" y="46"/>
                    </a:lnTo>
                    <a:lnTo>
                      <a:pt x="26" y="46"/>
                    </a:lnTo>
                    <a:lnTo>
                      <a:pt x="16" y="54"/>
                    </a:lnTo>
                    <a:lnTo>
                      <a:pt x="14" y="58"/>
                    </a:lnTo>
                    <a:lnTo>
                      <a:pt x="13" y="61"/>
                    </a:lnTo>
                    <a:lnTo>
                      <a:pt x="14" y="64"/>
                    </a:lnTo>
                    <a:lnTo>
                      <a:pt x="14" y="69"/>
                    </a:lnTo>
                    <a:lnTo>
                      <a:pt x="13" y="71"/>
                    </a:lnTo>
                    <a:lnTo>
                      <a:pt x="14" y="73"/>
                    </a:lnTo>
                    <a:lnTo>
                      <a:pt x="21" y="71"/>
                    </a:lnTo>
                    <a:lnTo>
                      <a:pt x="23" y="73"/>
                    </a:lnTo>
                    <a:lnTo>
                      <a:pt x="28" y="71"/>
                    </a:lnTo>
                    <a:lnTo>
                      <a:pt x="33" y="71"/>
                    </a:lnTo>
                    <a:lnTo>
                      <a:pt x="28" y="76"/>
                    </a:lnTo>
                    <a:lnTo>
                      <a:pt x="28" y="79"/>
                    </a:lnTo>
                    <a:lnTo>
                      <a:pt x="29" y="83"/>
                    </a:lnTo>
                    <a:lnTo>
                      <a:pt x="29" y="86"/>
                    </a:lnTo>
                    <a:lnTo>
                      <a:pt x="29" y="88"/>
                    </a:lnTo>
                    <a:lnTo>
                      <a:pt x="31" y="88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3" y="91"/>
                    </a:lnTo>
                    <a:lnTo>
                      <a:pt x="28" y="94"/>
                    </a:lnTo>
                    <a:lnTo>
                      <a:pt x="29" y="96"/>
                    </a:lnTo>
                    <a:lnTo>
                      <a:pt x="33" y="96"/>
                    </a:lnTo>
                    <a:lnTo>
                      <a:pt x="29" y="98"/>
                    </a:lnTo>
                    <a:lnTo>
                      <a:pt x="28" y="101"/>
                    </a:lnTo>
                    <a:lnTo>
                      <a:pt x="24" y="101"/>
                    </a:lnTo>
                    <a:lnTo>
                      <a:pt x="21" y="96"/>
                    </a:lnTo>
                    <a:lnTo>
                      <a:pt x="19" y="94"/>
                    </a:lnTo>
                    <a:lnTo>
                      <a:pt x="19" y="99"/>
                    </a:lnTo>
                    <a:lnTo>
                      <a:pt x="21" y="103"/>
                    </a:lnTo>
                    <a:lnTo>
                      <a:pt x="19" y="104"/>
                    </a:lnTo>
                    <a:lnTo>
                      <a:pt x="19" y="108"/>
                    </a:lnTo>
                    <a:lnTo>
                      <a:pt x="23" y="111"/>
                    </a:lnTo>
                    <a:lnTo>
                      <a:pt x="24" y="109"/>
                    </a:lnTo>
                    <a:lnTo>
                      <a:pt x="29" y="113"/>
                    </a:lnTo>
                    <a:lnTo>
                      <a:pt x="33" y="111"/>
                    </a:lnTo>
                    <a:lnTo>
                      <a:pt x="38" y="114"/>
                    </a:lnTo>
                    <a:lnTo>
                      <a:pt x="39" y="119"/>
                    </a:lnTo>
                    <a:lnTo>
                      <a:pt x="36" y="122"/>
                    </a:lnTo>
                    <a:lnTo>
                      <a:pt x="39" y="126"/>
                    </a:lnTo>
                    <a:lnTo>
                      <a:pt x="39" y="129"/>
                    </a:lnTo>
                    <a:lnTo>
                      <a:pt x="43" y="129"/>
                    </a:lnTo>
                    <a:lnTo>
                      <a:pt x="48" y="134"/>
                    </a:lnTo>
                    <a:lnTo>
                      <a:pt x="46" y="137"/>
                    </a:lnTo>
                    <a:lnTo>
                      <a:pt x="43" y="136"/>
                    </a:lnTo>
                    <a:lnTo>
                      <a:pt x="41" y="139"/>
                    </a:lnTo>
                    <a:lnTo>
                      <a:pt x="44" y="139"/>
                    </a:lnTo>
                    <a:lnTo>
                      <a:pt x="53" y="137"/>
                    </a:lnTo>
                    <a:lnTo>
                      <a:pt x="63" y="137"/>
                    </a:lnTo>
                    <a:lnTo>
                      <a:pt x="61" y="141"/>
                    </a:lnTo>
                    <a:lnTo>
                      <a:pt x="59" y="142"/>
                    </a:lnTo>
                    <a:lnTo>
                      <a:pt x="54" y="144"/>
                    </a:lnTo>
                    <a:lnTo>
                      <a:pt x="46" y="144"/>
                    </a:lnTo>
                    <a:lnTo>
                      <a:pt x="44" y="147"/>
                    </a:lnTo>
                    <a:lnTo>
                      <a:pt x="48" y="147"/>
                    </a:lnTo>
                    <a:lnTo>
                      <a:pt x="51" y="146"/>
                    </a:lnTo>
                    <a:lnTo>
                      <a:pt x="56" y="146"/>
                    </a:lnTo>
                    <a:lnTo>
                      <a:pt x="59" y="144"/>
                    </a:lnTo>
                    <a:lnTo>
                      <a:pt x="59" y="147"/>
                    </a:lnTo>
                    <a:lnTo>
                      <a:pt x="61" y="149"/>
                    </a:lnTo>
                    <a:lnTo>
                      <a:pt x="63" y="146"/>
                    </a:lnTo>
                    <a:lnTo>
                      <a:pt x="66" y="142"/>
                    </a:lnTo>
                    <a:lnTo>
                      <a:pt x="69" y="142"/>
                    </a:lnTo>
                    <a:lnTo>
                      <a:pt x="73" y="144"/>
                    </a:lnTo>
                    <a:lnTo>
                      <a:pt x="76" y="144"/>
                    </a:lnTo>
                    <a:lnTo>
                      <a:pt x="79" y="147"/>
                    </a:lnTo>
                    <a:lnTo>
                      <a:pt x="83" y="144"/>
                    </a:lnTo>
                    <a:lnTo>
                      <a:pt x="86" y="146"/>
                    </a:lnTo>
                    <a:lnTo>
                      <a:pt x="86" y="147"/>
                    </a:lnTo>
                    <a:lnTo>
                      <a:pt x="84" y="147"/>
                    </a:lnTo>
                    <a:lnTo>
                      <a:pt x="86" y="151"/>
                    </a:lnTo>
                    <a:lnTo>
                      <a:pt x="86" y="154"/>
                    </a:lnTo>
                    <a:lnTo>
                      <a:pt x="91" y="157"/>
                    </a:lnTo>
                    <a:lnTo>
                      <a:pt x="93" y="157"/>
                    </a:lnTo>
                    <a:lnTo>
                      <a:pt x="99" y="159"/>
                    </a:lnTo>
                    <a:lnTo>
                      <a:pt x="104" y="159"/>
                    </a:lnTo>
                    <a:lnTo>
                      <a:pt x="108" y="156"/>
                    </a:lnTo>
                    <a:lnTo>
                      <a:pt x="113" y="156"/>
                    </a:lnTo>
                    <a:lnTo>
                      <a:pt x="114" y="154"/>
                    </a:lnTo>
                    <a:lnTo>
                      <a:pt x="119" y="156"/>
                    </a:lnTo>
                    <a:lnTo>
                      <a:pt x="122" y="154"/>
                    </a:lnTo>
                    <a:lnTo>
                      <a:pt x="121" y="149"/>
                    </a:lnTo>
                    <a:lnTo>
                      <a:pt x="122" y="147"/>
                    </a:lnTo>
                    <a:lnTo>
                      <a:pt x="121" y="142"/>
                    </a:lnTo>
                    <a:lnTo>
                      <a:pt x="132" y="141"/>
                    </a:lnTo>
                    <a:lnTo>
                      <a:pt x="141" y="142"/>
                    </a:lnTo>
                    <a:lnTo>
                      <a:pt x="152" y="147"/>
                    </a:lnTo>
                    <a:lnTo>
                      <a:pt x="156" y="147"/>
                    </a:lnTo>
                    <a:lnTo>
                      <a:pt x="164" y="157"/>
                    </a:lnTo>
                    <a:lnTo>
                      <a:pt x="171" y="161"/>
                    </a:lnTo>
                    <a:lnTo>
                      <a:pt x="192" y="157"/>
                    </a:lnTo>
                    <a:lnTo>
                      <a:pt x="199" y="156"/>
                    </a:lnTo>
                    <a:lnTo>
                      <a:pt x="202" y="156"/>
                    </a:lnTo>
                    <a:lnTo>
                      <a:pt x="202" y="156"/>
                    </a:lnTo>
                    <a:lnTo>
                      <a:pt x="206" y="154"/>
                    </a:lnTo>
                    <a:lnTo>
                      <a:pt x="207" y="151"/>
                    </a:lnTo>
                    <a:lnTo>
                      <a:pt x="217" y="141"/>
                    </a:lnTo>
                    <a:lnTo>
                      <a:pt x="220" y="139"/>
                    </a:lnTo>
                    <a:lnTo>
                      <a:pt x="230" y="142"/>
                    </a:lnTo>
                    <a:lnTo>
                      <a:pt x="235" y="146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9" y="139"/>
                    </a:lnTo>
                    <a:lnTo>
                      <a:pt x="254" y="139"/>
                    </a:lnTo>
                    <a:lnTo>
                      <a:pt x="254" y="142"/>
                    </a:lnTo>
                    <a:lnTo>
                      <a:pt x="250" y="147"/>
                    </a:lnTo>
                    <a:lnTo>
                      <a:pt x="245" y="151"/>
                    </a:lnTo>
                    <a:lnTo>
                      <a:pt x="245" y="154"/>
                    </a:lnTo>
                    <a:lnTo>
                      <a:pt x="250" y="159"/>
                    </a:lnTo>
                    <a:lnTo>
                      <a:pt x="249" y="161"/>
                    </a:lnTo>
                    <a:lnTo>
                      <a:pt x="254" y="162"/>
                    </a:lnTo>
                    <a:lnTo>
                      <a:pt x="259" y="161"/>
                    </a:lnTo>
                    <a:lnTo>
                      <a:pt x="264" y="159"/>
                    </a:lnTo>
                    <a:lnTo>
                      <a:pt x="264" y="156"/>
                    </a:lnTo>
                    <a:lnTo>
                      <a:pt x="265" y="152"/>
                    </a:lnTo>
                    <a:lnTo>
                      <a:pt x="267" y="146"/>
                    </a:lnTo>
                    <a:lnTo>
                      <a:pt x="267" y="141"/>
                    </a:lnTo>
                    <a:lnTo>
                      <a:pt x="275" y="142"/>
                    </a:lnTo>
                    <a:lnTo>
                      <a:pt x="279" y="144"/>
                    </a:lnTo>
                    <a:lnTo>
                      <a:pt x="290" y="139"/>
                    </a:lnTo>
                    <a:lnTo>
                      <a:pt x="294" y="139"/>
                    </a:lnTo>
                    <a:lnTo>
                      <a:pt x="297" y="137"/>
                    </a:lnTo>
                    <a:lnTo>
                      <a:pt x="310" y="136"/>
                    </a:lnTo>
                    <a:lnTo>
                      <a:pt x="313" y="137"/>
                    </a:lnTo>
                    <a:lnTo>
                      <a:pt x="317" y="139"/>
                    </a:lnTo>
                    <a:lnTo>
                      <a:pt x="323" y="141"/>
                    </a:lnTo>
                    <a:lnTo>
                      <a:pt x="335" y="141"/>
                    </a:lnTo>
                    <a:lnTo>
                      <a:pt x="337" y="139"/>
                    </a:lnTo>
                    <a:lnTo>
                      <a:pt x="342" y="137"/>
                    </a:lnTo>
                    <a:lnTo>
                      <a:pt x="347" y="134"/>
                    </a:lnTo>
                    <a:lnTo>
                      <a:pt x="355" y="132"/>
                    </a:lnTo>
                    <a:lnTo>
                      <a:pt x="362" y="132"/>
                    </a:lnTo>
                    <a:lnTo>
                      <a:pt x="365" y="131"/>
                    </a:lnTo>
                    <a:lnTo>
                      <a:pt x="378" y="132"/>
                    </a:lnTo>
                    <a:lnTo>
                      <a:pt x="387" y="129"/>
                    </a:lnTo>
                    <a:lnTo>
                      <a:pt x="395" y="129"/>
                    </a:lnTo>
                    <a:lnTo>
                      <a:pt x="397" y="131"/>
                    </a:lnTo>
                    <a:lnTo>
                      <a:pt x="403" y="126"/>
                    </a:lnTo>
                    <a:lnTo>
                      <a:pt x="408" y="126"/>
                    </a:lnTo>
                    <a:lnTo>
                      <a:pt x="411" y="124"/>
                    </a:lnTo>
                    <a:lnTo>
                      <a:pt x="421" y="124"/>
                    </a:lnTo>
                    <a:lnTo>
                      <a:pt x="430" y="126"/>
                    </a:lnTo>
                    <a:lnTo>
                      <a:pt x="435" y="124"/>
                    </a:lnTo>
                    <a:lnTo>
                      <a:pt x="438" y="126"/>
                    </a:lnTo>
                    <a:lnTo>
                      <a:pt x="438" y="129"/>
                    </a:lnTo>
                    <a:lnTo>
                      <a:pt x="443" y="131"/>
                    </a:lnTo>
                    <a:lnTo>
                      <a:pt x="448" y="131"/>
                    </a:lnTo>
                    <a:lnTo>
                      <a:pt x="450" y="126"/>
                    </a:lnTo>
                    <a:lnTo>
                      <a:pt x="446" y="121"/>
                    </a:lnTo>
                    <a:lnTo>
                      <a:pt x="441" y="113"/>
                    </a:lnTo>
                    <a:lnTo>
                      <a:pt x="435" y="111"/>
                    </a:lnTo>
                    <a:lnTo>
                      <a:pt x="436" y="108"/>
                    </a:lnTo>
                    <a:lnTo>
                      <a:pt x="435" y="103"/>
                    </a:lnTo>
                    <a:lnTo>
                      <a:pt x="438" y="96"/>
                    </a:lnTo>
                    <a:lnTo>
                      <a:pt x="436" y="93"/>
                    </a:lnTo>
                    <a:lnTo>
                      <a:pt x="431" y="93"/>
                    </a:lnTo>
                    <a:lnTo>
                      <a:pt x="431" y="86"/>
                    </a:lnTo>
                    <a:lnTo>
                      <a:pt x="431" y="81"/>
                    </a:lnTo>
                    <a:lnTo>
                      <a:pt x="430" y="73"/>
                    </a:lnTo>
                    <a:lnTo>
                      <a:pt x="426" y="69"/>
                    </a:lnTo>
                    <a:lnTo>
                      <a:pt x="426" y="68"/>
                    </a:lnTo>
                    <a:lnTo>
                      <a:pt x="433" y="66"/>
                    </a:lnTo>
                    <a:lnTo>
                      <a:pt x="436" y="61"/>
                    </a:lnTo>
                    <a:lnTo>
                      <a:pt x="438" y="59"/>
                    </a:lnTo>
                    <a:lnTo>
                      <a:pt x="436" y="54"/>
                    </a:lnTo>
                    <a:lnTo>
                      <a:pt x="431" y="51"/>
                    </a:lnTo>
                    <a:lnTo>
                      <a:pt x="426" y="51"/>
                    </a:lnTo>
                    <a:lnTo>
                      <a:pt x="420" y="51"/>
                    </a:lnTo>
                    <a:lnTo>
                      <a:pt x="413" y="48"/>
                    </a:lnTo>
                    <a:lnTo>
                      <a:pt x="413" y="38"/>
                    </a:lnTo>
                    <a:lnTo>
                      <a:pt x="413" y="31"/>
                    </a:lnTo>
                    <a:lnTo>
                      <a:pt x="411" y="26"/>
                    </a:lnTo>
                    <a:lnTo>
                      <a:pt x="407" y="26"/>
                    </a:lnTo>
                    <a:lnTo>
                      <a:pt x="407" y="23"/>
                    </a:lnTo>
                    <a:lnTo>
                      <a:pt x="403" y="20"/>
                    </a:lnTo>
                    <a:lnTo>
                      <a:pt x="398" y="18"/>
                    </a:lnTo>
                    <a:lnTo>
                      <a:pt x="388" y="11"/>
                    </a:lnTo>
                    <a:lnTo>
                      <a:pt x="383" y="10"/>
                    </a:lnTo>
                    <a:lnTo>
                      <a:pt x="380" y="13"/>
                    </a:lnTo>
                    <a:lnTo>
                      <a:pt x="378" y="13"/>
                    </a:lnTo>
                    <a:lnTo>
                      <a:pt x="372" y="11"/>
                    </a:lnTo>
                    <a:lnTo>
                      <a:pt x="368" y="13"/>
                    </a:lnTo>
                    <a:lnTo>
                      <a:pt x="367" y="13"/>
                    </a:lnTo>
                    <a:lnTo>
                      <a:pt x="365" y="8"/>
                    </a:lnTo>
                    <a:lnTo>
                      <a:pt x="362" y="8"/>
                    </a:lnTo>
                    <a:lnTo>
                      <a:pt x="362" y="8"/>
                    </a:lnTo>
                    <a:close/>
                    <a:moveTo>
                      <a:pt x="53" y="151"/>
                    </a:moveTo>
                    <a:lnTo>
                      <a:pt x="54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6" y="151"/>
                    </a:lnTo>
                    <a:lnTo>
                      <a:pt x="53" y="151"/>
                    </a:lnTo>
                    <a:lnTo>
                      <a:pt x="53" y="151"/>
                    </a:lnTo>
                    <a:close/>
                    <a:moveTo>
                      <a:pt x="0" y="53"/>
                    </a:moveTo>
                    <a:lnTo>
                      <a:pt x="3" y="53"/>
                    </a:lnTo>
                    <a:lnTo>
                      <a:pt x="8" y="53"/>
                    </a:lnTo>
                    <a:lnTo>
                      <a:pt x="10" y="49"/>
                    </a:lnTo>
                    <a:lnTo>
                      <a:pt x="6" y="49"/>
                    </a:lnTo>
                    <a:lnTo>
                      <a:pt x="5" y="51"/>
                    </a:lnTo>
                    <a:lnTo>
                      <a:pt x="1" y="51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7" name="Freeform 144"/>
              <p:cNvSpPr>
                <a:spLocks noEditPoints="1"/>
              </p:cNvSpPr>
              <p:nvPr/>
            </p:nvSpPr>
            <p:spPr bwMode="auto">
              <a:xfrm>
                <a:off x="6156014" y="2358712"/>
                <a:ext cx="114516" cy="63293"/>
              </a:xfrm>
              <a:custGeom>
                <a:avLst/>
                <a:gdLst/>
                <a:ahLst/>
                <a:cxnLst>
                  <a:cxn ang="0">
                    <a:pos x="78" y="121"/>
                  </a:cxn>
                  <a:cxn ang="0">
                    <a:pos x="68" y="106"/>
                  </a:cxn>
                  <a:cxn ang="0">
                    <a:pos x="93" y="118"/>
                  </a:cxn>
                  <a:cxn ang="0">
                    <a:pos x="115" y="109"/>
                  </a:cxn>
                  <a:cxn ang="0">
                    <a:pos x="133" y="103"/>
                  </a:cxn>
                  <a:cxn ang="0">
                    <a:pos x="143" y="100"/>
                  </a:cxn>
                  <a:cxn ang="0">
                    <a:pos x="153" y="101"/>
                  </a:cxn>
                  <a:cxn ang="0">
                    <a:pos x="180" y="81"/>
                  </a:cxn>
                  <a:cxn ang="0">
                    <a:pos x="193" y="81"/>
                  </a:cxn>
                  <a:cxn ang="0">
                    <a:pos x="194" y="68"/>
                  </a:cxn>
                  <a:cxn ang="0">
                    <a:pos x="208" y="66"/>
                  </a:cxn>
                  <a:cxn ang="0">
                    <a:pos x="203" y="48"/>
                  </a:cxn>
                  <a:cxn ang="0">
                    <a:pos x="199" y="38"/>
                  </a:cxn>
                  <a:cxn ang="0">
                    <a:pos x="193" y="35"/>
                  </a:cxn>
                  <a:cxn ang="0">
                    <a:pos x="194" y="18"/>
                  </a:cxn>
                  <a:cxn ang="0">
                    <a:pos x="190" y="10"/>
                  </a:cxn>
                  <a:cxn ang="0">
                    <a:pos x="181" y="13"/>
                  </a:cxn>
                  <a:cxn ang="0">
                    <a:pos x="173" y="8"/>
                  </a:cxn>
                  <a:cxn ang="0">
                    <a:pos x="158" y="8"/>
                  </a:cxn>
                  <a:cxn ang="0">
                    <a:pos x="150" y="13"/>
                  </a:cxn>
                  <a:cxn ang="0">
                    <a:pos x="131" y="13"/>
                  </a:cxn>
                  <a:cxn ang="0">
                    <a:pos x="126" y="28"/>
                  </a:cxn>
                  <a:cxn ang="0">
                    <a:pos x="116" y="18"/>
                  </a:cxn>
                  <a:cxn ang="0">
                    <a:pos x="103" y="25"/>
                  </a:cxn>
                  <a:cxn ang="0">
                    <a:pos x="90" y="15"/>
                  </a:cxn>
                  <a:cxn ang="0">
                    <a:pos x="83" y="36"/>
                  </a:cxn>
                  <a:cxn ang="0">
                    <a:pos x="70" y="43"/>
                  </a:cxn>
                  <a:cxn ang="0">
                    <a:pos x="60" y="41"/>
                  </a:cxn>
                  <a:cxn ang="0">
                    <a:pos x="58" y="25"/>
                  </a:cxn>
                  <a:cxn ang="0">
                    <a:pos x="63" y="16"/>
                  </a:cxn>
                  <a:cxn ang="0">
                    <a:pos x="50" y="5"/>
                  </a:cxn>
                  <a:cxn ang="0">
                    <a:pos x="30" y="3"/>
                  </a:cxn>
                  <a:cxn ang="0">
                    <a:pos x="42" y="5"/>
                  </a:cxn>
                  <a:cxn ang="0">
                    <a:pos x="35" y="8"/>
                  </a:cxn>
                  <a:cxn ang="0">
                    <a:pos x="43" y="18"/>
                  </a:cxn>
                  <a:cxn ang="0">
                    <a:pos x="30" y="10"/>
                  </a:cxn>
                  <a:cxn ang="0">
                    <a:pos x="20" y="13"/>
                  </a:cxn>
                  <a:cxn ang="0">
                    <a:pos x="23" y="21"/>
                  </a:cxn>
                  <a:cxn ang="0">
                    <a:pos x="20" y="26"/>
                  </a:cxn>
                  <a:cxn ang="0">
                    <a:pos x="10" y="25"/>
                  </a:cxn>
                  <a:cxn ang="0">
                    <a:pos x="7" y="30"/>
                  </a:cxn>
                  <a:cxn ang="0">
                    <a:pos x="15" y="40"/>
                  </a:cxn>
                  <a:cxn ang="0">
                    <a:pos x="27" y="35"/>
                  </a:cxn>
                  <a:cxn ang="0">
                    <a:pos x="38" y="35"/>
                  </a:cxn>
                  <a:cxn ang="0">
                    <a:pos x="47" y="35"/>
                  </a:cxn>
                  <a:cxn ang="0">
                    <a:pos x="53" y="41"/>
                  </a:cxn>
                  <a:cxn ang="0">
                    <a:pos x="37" y="48"/>
                  </a:cxn>
                  <a:cxn ang="0">
                    <a:pos x="53" y="50"/>
                  </a:cxn>
                  <a:cxn ang="0">
                    <a:pos x="33" y="55"/>
                  </a:cxn>
                  <a:cxn ang="0">
                    <a:pos x="30" y="53"/>
                  </a:cxn>
                  <a:cxn ang="0">
                    <a:pos x="10" y="55"/>
                  </a:cxn>
                  <a:cxn ang="0">
                    <a:pos x="15" y="65"/>
                  </a:cxn>
                  <a:cxn ang="0">
                    <a:pos x="37" y="66"/>
                  </a:cxn>
                  <a:cxn ang="0">
                    <a:pos x="42" y="76"/>
                  </a:cxn>
                  <a:cxn ang="0">
                    <a:pos x="45" y="85"/>
                  </a:cxn>
                  <a:cxn ang="0">
                    <a:pos x="50" y="83"/>
                  </a:cxn>
                  <a:cxn ang="0">
                    <a:pos x="37" y="91"/>
                  </a:cxn>
                  <a:cxn ang="0">
                    <a:pos x="25" y="90"/>
                  </a:cxn>
                  <a:cxn ang="0">
                    <a:pos x="32" y="103"/>
                  </a:cxn>
                  <a:cxn ang="0">
                    <a:pos x="57" y="103"/>
                  </a:cxn>
                </a:cxnLst>
                <a:rect l="0" t="0" r="r" b="b"/>
                <a:pathLst>
                  <a:path w="214" h="123">
                    <a:moveTo>
                      <a:pt x="75" y="123"/>
                    </a:moveTo>
                    <a:lnTo>
                      <a:pt x="73" y="119"/>
                    </a:lnTo>
                    <a:lnTo>
                      <a:pt x="75" y="118"/>
                    </a:lnTo>
                    <a:lnTo>
                      <a:pt x="77" y="116"/>
                    </a:lnTo>
                    <a:lnTo>
                      <a:pt x="78" y="121"/>
                    </a:lnTo>
                    <a:lnTo>
                      <a:pt x="75" y="123"/>
                    </a:lnTo>
                    <a:lnTo>
                      <a:pt x="75" y="123"/>
                    </a:lnTo>
                    <a:close/>
                    <a:moveTo>
                      <a:pt x="63" y="104"/>
                    </a:moveTo>
                    <a:lnTo>
                      <a:pt x="68" y="103"/>
                    </a:lnTo>
                    <a:lnTo>
                      <a:pt x="68" y="106"/>
                    </a:lnTo>
                    <a:lnTo>
                      <a:pt x="73" y="111"/>
                    </a:lnTo>
                    <a:lnTo>
                      <a:pt x="78" y="113"/>
                    </a:lnTo>
                    <a:lnTo>
                      <a:pt x="82" y="111"/>
                    </a:lnTo>
                    <a:lnTo>
                      <a:pt x="87" y="111"/>
                    </a:lnTo>
                    <a:lnTo>
                      <a:pt x="93" y="118"/>
                    </a:lnTo>
                    <a:lnTo>
                      <a:pt x="103" y="118"/>
                    </a:lnTo>
                    <a:lnTo>
                      <a:pt x="108" y="119"/>
                    </a:lnTo>
                    <a:lnTo>
                      <a:pt x="115" y="118"/>
                    </a:lnTo>
                    <a:lnTo>
                      <a:pt x="113" y="113"/>
                    </a:lnTo>
                    <a:lnTo>
                      <a:pt x="115" y="109"/>
                    </a:lnTo>
                    <a:lnTo>
                      <a:pt x="116" y="113"/>
                    </a:lnTo>
                    <a:lnTo>
                      <a:pt x="121" y="114"/>
                    </a:lnTo>
                    <a:lnTo>
                      <a:pt x="126" y="109"/>
                    </a:lnTo>
                    <a:lnTo>
                      <a:pt x="126" y="104"/>
                    </a:lnTo>
                    <a:lnTo>
                      <a:pt x="133" y="103"/>
                    </a:lnTo>
                    <a:lnTo>
                      <a:pt x="131" y="106"/>
                    </a:lnTo>
                    <a:lnTo>
                      <a:pt x="133" y="108"/>
                    </a:lnTo>
                    <a:lnTo>
                      <a:pt x="135" y="106"/>
                    </a:lnTo>
                    <a:lnTo>
                      <a:pt x="138" y="106"/>
                    </a:lnTo>
                    <a:lnTo>
                      <a:pt x="143" y="100"/>
                    </a:lnTo>
                    <a:lnTo>
                      <a:pt x="145" y="101"/>
                    </a:lnTo>
                    <a:lnTo>
                      <a:pt x="146" y="101"/>
                    </a:lnTo>
                    <a:lnTo>
                      <a:pt x="151" y="101"/>
                    </a:lnTo>
                    <a:lnTo>
                      <a:pt x="151" y="103"/>
                    </a:lnTo>
                    <a:lnTo>
                      <a:pt x="153" y="101"/>
                    </a:lnTo>
                    <a:lnTo>
                      <a:pt x="163" y="93"/>
                    </a:lnTo>
                    <a:lnTo>
                      <a:pt x="166" y="88"/>
                    </a:lnTo>
                    <a:lnTo>
                      <a:pt x="178" y="86"/>
                    </a:lnTo>
                    <a:lnTo>
                      <a:pt x="181" y="83"/>
                    </a:lnTo>
                    <a:lnTo>
                      <a:pt x="180" y="81"/>
                    </a:lnTo>
                    <a:lnTo>
                      <a:pt x="181" y="80"/>
                    </a:lnTo>
                    <a:lnTo>
                      <a:pt x="183" y="80"/>
                    </a:lnTo>
                    <a:lnTo>
                      <a:pt x="185" y="83"/>
                    </a:lnTo>
                    <a:lnTo>
                      <a:pt x="190" y="85"/>
                    </a:lnTo>
                    <a:lnTo>
                      <a:pt x="193" y="81"/>
                    </a:lnTo>
                    <a:lnTo>
                      <a:pt x="194" y="78"/>
                    </a:lnTo>
                    <a:lnTo>
                      <a:pt x="193" y="76"/>
                    </a:lnTo>
                    <a:lnTo>
                      <a:pt x="193" y="73"/>
                    </a:lnTo>
                    <a:lnTo>
                      <a:pt x="196" y="73"/>
                    </a:lnTo>
                    <a:lnTo>
                      <a:pt x="194" y="68"/>
                    </a:lnTo>
                    <a:lnTo>
                      <a:pt x="196" y="66"/>
                    </a:lnTo>
                    <a:lnTo>
                      <a:pt x="199" y="68"/>
                    </a:lnTo>
                    <a:lnTo>
                      <a:pt x="201" y="71"/>
                    </a:lnTo>
                    <a:lnTo>
                      <a:pt x="204" y="71"/>
                    </a:lnTo>
                    <a:lnTo>
                      <a:pt x="208" y="66"/>
                    </a:lnTo>
                    <a:lnTo>
                      <a:pt x="206" y="63"/>
                    </a:lnTo>
                    <a:lnTo>
                      <a:pt x="201" y="58"/>
                    </a:lnTo>
                    <a:lnTo>
                      <a:pt x="201" y="55"/>
                    </a:lnTo>
                    <a:lnTo>
                      <a:pt x="204" y="51"/>
                    </a:lnTo>
                    <a:lnTo>
                      <a:pt x="203" y="48"/>
                    </a:lnTo>
                    <a:lnTo>
                      <a:pt x="208" y="46"/>
                    </a:lnTo>
                    <a:lnTo>
                      <a:pt x="211" y="46"/>
                    </a:lnTo>
                    <a:lnTo>
                      <a:pt x="214" y="43"/>
                    </a:lnTo>
                    <a:lnTo>
                      <a:pt x="209" y="40"/>
                    </a:lnTo>
                    <a:lnTo>
                      <a:pt x="199" y="38"/>
                    </a:lnTo>
                    <a:lnTo>
                      <a:pt x="198" y="41"/>
                    </a:lnTo>
                    <a:lnTo>
                      <a:pt x="199" y="36"/>
                    </a:lnTo>
                    <a:lnTo>
                      <a:pt x="199" y="33"/>
                    </a:lnTo>
                    <a:lnTo>
                      <a:pt x="193" y="33"/>
                    </a:lnTo>
                    <a:lnTo>
                      <a:pt x="193" y="35"/>
                    </a:lnTo>
                    <a:lnTo>
                      <a:pt x="191" y="30"/>
                    </a:lnTo>
                    <a:lnTo>
                      <a:pt x="194" y="26"/>
                    </a:lnTo>
                    <a:lnTo>
                      <a:pt x="198" y="25"/>
                    </a:lnTo>
                    <a:lnTo>
                      <a:pt x="196" y="20"/>
                    </a:lnTo>
                    <a:lnTo>
                      <a:pt x="194" y="18"/>
                    </a:lnTo>
                    <a:lnTo>
                      <a:pt x="191" y="21"/>
                    </a:lnTo>
                    <a:lnTo>
                      <a:pt x="188" y="20"/>
                    </a:lnTo>
                    <a:lnTo>
                      <a:pt x="185" y="15"/>
                    </a:lnTo>
                    <a:lnTo>
                      <a:pt x="190" y="13"/>
                    </a:lnTo>
                    <a:lnTo>
                      <a:pt x="190" y="10"/>
                    </a:lnTo>
                    <a:lnTo>
                      <a:pt x="193" y="8"/>
                    </a:lnTo>
                    <a:lnTo>
                      <a:pt x="196" y="8"/>
                    </a:lnTo>
                    <a:lnTo>
                      <a:pt x="191" y="5"/>
                    </a:lnTo>
                    <a:lnTo>
                      <a:pt x="188" y="6"/>
                    </a:lnTo>
                    <a:lnTo>
                      <a:pt x="181" y="13"/>
                    </a:lnTo>
                    <a:lnTo>
                      <a:pt x="180" y="16"/>
                    </a:lnTo>
                    <a:lnTo>
                      <a:pt x="176" y="16"/>
                    </a:lnTo>
                    <a:lnTo>
                      <a:pt x="173" y="13"/>
                    </a:lnTo>
                    <a:lnTo>
                      <a:pt x="175" y="10"/>
                    </a:lnTo>
                    <a:lnTo>
                      <a:pt x="173" y="8"/>
                    </a:lnTo>
                    <a:lnTo>
                      <a:pt x="171" y="5"/>
                    </a:lnTo>
                    <a:lnTo>
                      <a:pt x="168" y="3"/>
                    </a:lnTo>
                    <a:lnTo>
                      <a:pt x="163" y="5"/>
                    </a:lnTo>
                    <a:lnTo>
                      <a:pt x="161" y="3"/>
                    </a:lnTo>
                    <a:lnTo>
                      <a:pt x="158" y="8"/>
                    </a:lnTo>
                    <a:lnTo>
                      <a:pt x="161" y="11"/>
                    </a:lnTo>
                    <a:lnTo>
                      <a:pt x="158" y="15"/>
                    </a:lnTo>
                    <a:lnTo>
                      <a:pt x="155" y="15"/>
                    </a:lnTo>
                    <a:lnTo>
                      <a:pt x="150" y="16"/>
                    </a:lnTo>
                    <a:lnTo>
                      <a:pt x="150" y="13"/>
                    </a:lnTo>
                    <a:lnTo>
                      <a:pt x="146" y="11"/>
                    </a:lnTo>
                    <a:lnTo>
                      <a:pt x="143" y="15"/>
                    </a:lnTo>
                    <a:lnTo>
                      <a:pt x="141" y="21"/>
                    </a:lnTo>
                    <a:lnTo>
                      <a:pt x="136" y="21"/>
                    </a:lnTo>
                    <a:lnTo>
                      <a:pt x="131" y="13"/>
                    </a:lnTo>
                    <a:lnTo>
                      <a:pt x="128" y="15"/>
                    </a:lnTo>
                    <a:lnTo>
                      <a:pt x="126" y="13"/>
                    </a:lnTo>
                    <a:lnTo>
                      <a:pt x="123" y="13"/>
                    </a:lnTo>
                    <a:lnTo>
                      <a:pt x="121" y="21"/>
                    </a:lnTo>
                    <a:lnTo>
                      <a:pt x="126" y="28"/>
                    </a:lnTo>
                    <a:lnTo>
                      <a:pt x="121" y="40"/>
                    </a:lnTo>
                    <a:lnTo>
                      <a:pt x="123" y="30"/>
                    </a:lnTo>
                    <a:lnTo>
                      <a:pt x="118" y="23"/>
                    </a:lnTo>
                    <a:lnTo>
                      <a:pt x="118" y="20"/>
                    </a:lnTo>
                    <a:lnTo>
                      <a:pt x="116" y="18"/>
                    </a:lnTo>
                    <a:lnTo>
                      <a:pt x="116" y="15"/>
                    </a:lnTo>
                    <a:lnTo>
                      <a:pt x="111" y="11"/>
                    </a:lnTo>
                    <a:lnTo>
                      <a:pt x="101" y="16"/>
                    </a:lnTo>
                    <a:lnTo>
                      <a:pt x="101" y="21"/>
                    </a:lnTo>
                    <a:lnTo>
                      <a:pt x="103" y="25"/>
                    </a:lnTo>
                    <a:lnTo>
                      <a:pt x="98" y="31"/>
                    </a:lnTo>
                    <a:lnTo>
                      <a:pt x="95" y="31"/>
                    </a:lnTo>
                    <a:lnTo>
                      <a:pt x="95" y="25"/>
                    </a:lnTo>
                    <a:lnTo>
                      <a:pt x="92" y="23"/>
                    </a:lnTo>
                    <a:lnTo>
                      <a:pt x="90" y="15"/>
                    </a:lnTo>
                    <a:lnTo>
                      <a:pt x="87" y="11"/>
                    </a:lnTo>
                    <a:lnTo>
                      <a:pt x="82" y="16"/>
                    </a:lnTo>
                    <a:lnTo>
                      <a:pt x="82" y="26"/>
                    </a:lnTo>
                    <a:lnTo>
                      <a:pt x="85" y="30"/>
                    </a:lnTo>
                    <a:lnTo>
                      <a:pt x="83" y="36"/>
                    </a:lnTo>
                    <a:lnTo>
                      <a:pt x="82" y="40"/>
                    </a:lnTo>
                    <a:lnTo>
                      <a:pt x="77" y="40"/>
                    </a:lnTo>
                    <a:lnTo>
                      <a:pt x="77" y="35"/>
                    </a:lnTo>
                    <a:lnTo>
                      <a:pt x="72" y="38"/>
                    </a:lnTo>
                    <a:lnTo>
                      <a:pt x="70" y="43"/>
                    </a:lnTo>
                    <a:lnTo>
                      <a:pt x="67" y="45"/>
                    </a:lnTo>
                    <a:lnTo>
                      <a:pt x="67" y="51"/>
                    </a:lnTo>
                    <a:lnTo>
                      <a:pt x="63" y="45"/>
                    </a:lnTo>
                    <a:lnTo>
                      <a:pt x="60" y="45"/>
                    </a:lnTo>
                    <a:lnTo>
                      <a:pt x="60" y="41"/>
                    </a:lnTo>
                    <a:lnTo>
                      <a:pt x="63" y="36"/>
                    </a:lnTo>
                    <a:lnTo>
                      <a:pt x="63" y="33"/>
                    </a:lnTo>
                    <a:lnTo>
                      <a:pt x="58" y="33"/>
                    </a:lnTo>
                    <a:lnTo>
                      <a:pt x="62" y="30"/>
                    </a:lnTo>
                    <a:lnTo>
                      <a:pt x="58" y="25"/>
                    </a:lnTo>
                    <a:lnTo>
                      <a:pt x="62" y="28"/>
                    </a:lnTo>
                    <a:lnTo>
                      <a:pt x="65" y="23"/>
                    </a:lnTo>
                    <a:lnTo>
                      <a:pt x="65" y="21"/>
                    </a:lnTo>
                    <a:lnTo>
                      <a:pt x="60" y="20"/>
                    </a:lnTo>
                    <a:lnTo>
                      <a:pt x="63" y="16"/>
                    </a:lnTo>
                    <a:lnTo>
                      <a:pt x="60" y="13"/>
                    </a:lnTo>
                    <a:lnTo>
                      <a:pt x="58" y="15"/>
                    </a:lnTo>
                    <a:lnTo>
                      <a:pt x="55" y="11"/>
                    </a:lnTo>
                    <a:lnTo>
                      <a:pt x="50" y="8"/>
                    </a:lnTo>
                    <a:lnTo>
                      <a:pt x="50" y="5"/>
                    </a:lnTo>
                    <a:lnTo>
                      <a:pt x="47" y="1"/>
                    </a:lnTo>
                    <a:lnTo>
                      <a:pt x="42" y="1"/>
                    </a:lnTo>
                    <a:lnTo>
                      <a:pt x="37" y="0"/>
                    </a:lnTo>
                    <a:lnTo>
                      <a:pt x="30" y="1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5" y="5"/>
                    </a:lnTo>
                    <a:lnTo>
                      <a:pt x="35" y="3"/>
                    </a:lnTo>
                    <a:lnTo>
                      <a:pt x="38" y="3"/>
                    </a:lnTo>
                    <a:lnTo>
                      <a:pt x="42" y="5"/>
                    </a:lnTo>
                    <a:lnTo>
                      <a:pt x="45" y="6"/>
                    </a:lnTo>
                    <a:lnTo>
                      <a:pt x="43" y="8"/>
                    </a:lnTo>
                    <a:lnTo>
                      <a:pt x="38" y="6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42" y="13"/>
                    </a:lnTo>
                    <a:lnTo>
                      <a:pt x="47" y="18"/>
                    </a:lnTo>
                    <a:lnTo>
                      <a:pt x="45" y="20"/>
                    </a:lnTo>
                    <a:lnTo>
                      <a:pt x="43" y="21"/>
                    </a:lnTo>
                    <a:lnTo>
                      <a:pt x="43" y="18"/>
                    </a:lnTo>
                    <a:lnTo>
                      <a:pt x="38" y="15"/>
                    </a:lnTo>
                    <a:lnTo>
                      <a:pt x="35" y="18"/>
                    </a:lnTo>
                    <a:lnTo>
                      <a:pt x="32" y="16"/>
                    </a:lnTo>
                    <a:lnTo>
                      <a:pt x="33" y="15"/>
                    </a:lnTo>
                    <a:lnTo>
                      <a:pt x="30" y="10"/>
                    </a:lnTo>
                    <a:lnTo>
                      <a:pt x="25" y="8"/>
                    </a:lnTo>
                    <a:lnTo>
                      <a:pt x="22" y="10"/>
                    </a:lnTo>
                    <a:lnTo>
                      <a:pt x="25" y="15"/>
                    </a:lnTo>
                    <a:lnTo>
                      <a:pt x="23" y="16"/>
                    </a:lnTo>
                    <a:lnTo>
                      <a:pt x="20" y="13"/>
                    </a:lnTo>
                    <a:lnTo>
                      <a:pt x="17" y="11"/>
                    </a:lnTo>
                    <a:lnTo>
                      <a:pt x="15" y="15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18" y="20"/>
                    </a:lnTo>
                    <a:lnTo>
                      <a:pt x="13" y="21"/>
                    </a:lnTo>
                    <a:lnTo>
                      <a:pt x="17" y="25"/>
                    </a:lnTo>
                    <a:lnTo>
                      <a:pt x="23" y="26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20" y="30"/>
                    </a:lnTo>
                    <a:lnTo>
                      <a:pt x="18" y="30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7" y="26"/>
                    </a:lnTo>
                    <a:lnTo>
                      <a:pt x="10" y="31"/>
                    </a:lnTo>
                    <a:lnTo>
                      <a:pt x="12" y="35"/>
                    </a:lnTo>
                    <a:lnTo>
                      <a:pt x="10" y="35"/>
                    </a:lnTo>
                    <a:lnTo>
                      <a:pt x="7" y="30"/>
                    </a:lnTo>
                    <a:lnTo>
                      <a:pt x="2" y="30"/>
                    </a:lnTo>
                    <a:lnTo>
                      <a:pt x="0" y="33"/>
                    </a:lnTo>
                    <a:lnTo>
                      <a:pt x="5" y="35"/>
                    </a:lnTo>
                    <a:lnTo>
                      <a:pt x="8" y="40"/>
                    </a:lnTo>
                    <a:lnTo>
                      <a:pt x="15" y="40"/>
                    </a:lnTo>
                    <a:lnTo>
                      <a:pt x="17" y="36"/>
                    </a:lnTo>
                    <a:lnTo>
                      <a:pt x="23" y="35"/>
                    </a:lnTo>
                    <a:lnTo>
                      <a:pt x="25" y="31"/>
                    </a:lnTo>
                    <a:lnTo>
                      <a:pt x="27" y="33"/>
                    </a:lnTo>
                    <a:lnTo>
                      <a:pt x="27" y="35"/>
                    </a:lnTo>
                    <a:lnTo>
                      <a:pt x="30" y="35"/>
                    </a:lnTo>
                    <a:lnTo>
                      <a:pt x="32" y="33"/>
                    </a:lnTo>
                    <a:lnTo>
                      <a:pt x="33" y="38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0" y="33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7" y="33"/>
                    </a:lnTo>
                    <a:lnTo>
                      <a:pt x="47" y="35"/>
                    </a:lnTo>
                    <a:lnTo>
                      <a:pt x="45" y="38"/>
                    </a:lnTo>
                    <a:lnTo>
                      <a:pt x="47" y="40"/>
                    </a:lnTo>
                    <a:lnTo>
                      <a:pt x="50" y="38"/>
                    </a:lnTo>
                    <a:lnTo>
                      <a:pt x="55" y="41"/>
                    </a:lnTo>
                    <a:lnTo>
                      <a:pt x="53" y="41"/>
                    </a:lnTo>
                    <a:lnTo>
                      <a:pt x="50" y="41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37" y="46"/>
                    </a:lnTo>
                    <a:lnTo>
                      <a:pt x="37" y="48"/>
                    </a:lnTo>
                    <a:lnTo>
                      <a:pt x="43" y="50"/>
                    </a:lnTo>
                    <a:lnTo>
                      <a:pt x="48" y="50"/>
                    </a:lnTo>
                    <a:lnTo>
                      <a:pt x="50" y="46"/>
                    </a:lnTo>
                    <a:lnTo>
                      <a:pt x="53" y="46"/>
                    </a:lnTo>
                    <a:lnTo>
                      <a:pt x="53" y="50"/>
                    </a:lnTo>
                    <a:lnTo>
                      <a:pt x="50" y="53"/>
                    </a:lnTo>
                    <a:lnTo>
                      <a:pt x="42" y="55"/>
                    </a:lnTo>
                    <a:lnTo>
                      <a:pt x="38" y="53"/>
                    </a:lnTo>
                    <a:lnTo>
                      <a:pt x="35" y="56"/>
                    </a:lnTo>
                    <a:lnTo>
                      <a:pt x="33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28" y="51"/>
                    </a:lnTo>
                    <a:lnTo>
                      <a:pt x="28" y="51"/>
                    </a:lnTo>
                    <a:lnTo>
                      <a:pt x="30" y="53"/>
                    </a:lnTo>
                    <a:lnTo>
                      <a:pt x="25" y="56"/>
                    </a:lnTo>
                    <a:lnTo>
                      <a:pt x="23" y="55"/>
                    </a:lnTo>
                    <a:lnTo>
                      <a:pt x="18" y="55"/>
                    </a:lnTo>
                    <a:lnTo>
                      <a:pt x="15" y="56"/>
                    </a:lnTo>
                    <a:lnTo>
                      <a:pt x="10" y="55"/>
                    </a:lnTo>
                    <a:lnTo>
                      <a:pt x="7" y="56"/>
                    </a:lnTo>
                    <a:lnTo>
                      <a:pt x="3" y="56"/>
                    </a:lnTo>
                    <a:lnTo>
                      <a:pt x="7" y="60"/>
                    </a:lnTo>
                    <a:lnTo>
                      <a:pt x="8" y="65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23" y="65"/>
                    </a:lnTo>
                    <a:lnTo>
                      <a:pt x="32" y="65"/>
                    </a:lnTo>
                    <a:lnTo>
                      <a:pt x="38" y="65"/>
                    </a:lnTo>
                    <a:lnTo>
                      <a:pt x="37" y="66"/>
                    </a:lnTo>
                    <a:lnTo>
                      <a:pt x="33" y="70"/>
                    </a:lnTo>
                    <a:lnTo>
                      <a:pt x="33" y="71"/>
                    </a:lnTo>
                    <a:lnTo>
                      <a:pt x="38" y="75"/>
                    </a:lnTo>
                    <a:lnTo>
                      <a:pt x="40" y="76"/>
                    </a:lnTo>
                    <a:lnTo>
                      <a:pt x="42" y="76"/>
                    </a:lnTo>
                    <a:lnTo>
                      <a:pt x="48" y="73"/>
                    </a:lnTo>
                    <a:lnTo>
                      <a:pt x="47" y="75"/>
                    </a:lnTo>
                    <a:lnTo>
                      <a:pt x="43" y="78"/>
                    </a:lnTo>
                    <a:lnTo>
                      <a:pt x="40" y="81"/>
                    </a:lnTo>
                    <a:lnTo>
                      <a:pt x="45" y="85"/>
                    </a:lnTo>
                    <a:lnTo>
                      <a:pt x="50" y="80"/>
                    </a:lnTo>
                    <a:lnTo>
                      <a:pt x="57" y="81"/>
                    </a:lnTo>
                    <a:lnTo>
                      <a:pt x="57" y="83"/>
                    </a:lnTo>
                    <a:lnTo>
                      <a:pt x="53" y="81"/>
                    </a:lnTo>
                    <a:lnTo>
                      <a:pt x="50" y="83"/>
                    </a:lnTo>
                    <a:lnTo>
                      <a:pt x="47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38" y="91"/>
                    </a:lnTo>
                    <a:lnTo>
                      <a:pt x="37" y="91"/>
                    </a:lnTo>
                    <a:lnTo>
                      <a:pt x="33" y="93"/>
                    </a:lnTo>
                    <a:lnTo>
                      <a:pt x="32" y="90"/>
                    </a:lnTo>
                    <a:lnTo>
                      <a:pt x="28" y="86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7" y="95"/>
                    </a:lnTo>
                    <a:lnTo>
                      <a:pt x="28" y="95"/>
                    </a:lnTo>
                    <a:lnTo>
                      <a:pt x="27" y="96"/>
                    </a:lnTo>
                    <a:lnTo>
                      <a:pt x="27" y="103"/>
                    </a:lnTo>
                    <a:lnTo>
                      <a:pt x="32" y="103"/>
                    </a:lnTo>
                    <a:lnTo>
                      <a:pt x="33" y="101"/>
                    </a:lnTo>
                    <a:lnTo>
                      <a:pt x="38" y="103"/>
                    </a:lnTo>
                    <a:lnTo>
                      <a:pt x="45" y="104"/>
                    </a:lnTo>
                    <a:lnTo>
                      <a:pt x="52" y="101"/>
                    </a:lnTo>
                    <a:lnTo>
                      <a:pt x="57" y="103"/>
                    </a:lnTo>
                    <a:lnTo>
                      <a:pt x="60" y="101"/>
                    </a:lnTo>
                    <a:lnTo>
                      <a:pt x="60" y="103"/>
                    </a:lnTo>
                    <a:lnTo>
                      <a:pt x="63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4480005" y="1824354"/>
              <a:ext cx="1839757" cy="1294911"/>
              <a:chOff x="4480005" y="1824354"/>
              <a:chExt cx="1839757" cy="1294911"/>
            </a:xfrm>
            <a:grpFill/>
          </p:grpSpPr>
          <p:sp>
            <p:nvSpPr>
              <p:cNvPr id="111" name="Freeform 109"/>
              <p:cNvSpPr>
                <a:spLocks/>
              </p:cNvSpPr>
              <p:nvPr/>
            </p:nvSpPr>
            <p:spPr bwMode="auto">
              <a:xfrm>
                <a:off x="6200965" y="3107851"/>
                <a:ext cx="40669" cy="10376"/>
              </a:xfrm>
              <a:custGeom>
                <a:avLst/>
                <a:gdLst/>
                <a:ahLst/>
                <a:cxnLst>
                  <a:cxn ang="0">
                    <a:pos x="2" y="20"/>
                  </a:cxn>
                  <a:cxn ang="0">
                    <a:pos x="5" y="19"/>
                  </a:cxn>
                  <a:cxn ang="0">
                    <a:pos x="20" y="19"/>
                  </a:cxn>
                  <a:cxn ang="0">
                    <a:pos x="23" y="14"/>
                  </a:cxn>
                  <a:cxn ang="0">
                    <a:pos x="28" y="14"/>
                  </a:cxn>
                  <a:cxn ang="0">
                    <a:pos x="33" y="10"/>
                  </a:cxn>
                  <a:cxn ang="0">
                    <a:pos x="36" y="10"/>
                  </a:cxn>
                  <a:cxn ang="0">
                    <a:pos x="38" y="12"/>
                  </a:cxn>
                  <a:cxn ang="0">
                    <a:pos x="41" y="9"/>
                  </a:cxn>
                  <a:cxn ang="0">
                    <a:pos x="45" y="9"/>
                  </a:cxn>
                  <a:cxn ang="0">
                    <a:pos x="50" y="12"/>
                  </a:cxn>
                  <a:cxn ang="0">
                    <a:pos x="55" y="12"/>
                  </a:cxn>
                  <a:cxn ang="0">
                    <a:pos x="61" y="14"/>
                  </a:cxn>
                  <a:cxn ang="0">
                    <a:pos x="70" y="17"/>
                  </a:cxn>
                  <a:cxn ang="0">
                    <a:pos x="75" y="17"/>
                  </a:cxn>
                  <a:cxn ang="0">
                    <a:pos x="76" y="14"/>
                  </a:cxn>
                  <a:cxn ang="0">
                    <a:pos x="75" y="12"/>
                  </a:cxn>
                  <a:cxn ang="0">
                    <a:pos x="73" y="12"/>
                  </a:cxn>
                  <a:cxn ang="0">
                    <a:pos x="61" y="5"/>
                  </a:cxn>
                  <a:cxn ang="0">
                    <a:pos x="58" y="5"/>
                  </a:cxn>
                  <a:cxn ang="0">
                    <a:pos x="50" y="2"/>
                  </a:cxn>
                  <a:cxn ang="0">
                    <a:pos x="43" y="2"/>
                  </a:cxn>
                  <a:cxn ang="0">
                    <a:pos x="40" y="0"/>
                  </a:cxn>
                  <a:cxn ang="0">
                    <a:pos x="33" y="2"/>
                  </a:cxn>
                  <a:cxn ang="0">
                    <a:pos x="25" y="9"/>
                  </a:cxn>
                  <a:cxn ang="0">
                    <a:pos x="20" y="9"/>
                  </a:cxn>
                  <a:cxn ang="0">
                    <a:pos x="16" y="10"/>
                  </a:cxn>
                  <a:cxn ang="0">
                    <a:pos x="7" y="10"/>
                  </a:cxn>
                  <a:cxn ang="0">
                    <a:pos x="7" y="14"/>
                  </a:cxn>
                  <a:cxn ang="0">
                    <a:pos x="13" y="15"/>
                  </a:cxn>
                  <a:cxn ang="0">
                    <a:pos x="18" y="15"/>
                  </a:cxn>
                  <a:cxn ang="0">
                    <a:pos x="15" y="19"/>
                  </a:cxn>
                  <a:cxn ang="0">
                    <a:pos x="8" y="19"/>
                  </a:cxn>
                  <a:cxn ang="0">
                    <a:pos x="3" y="12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2" y="20"/>
                  </a:cxn>
                </a:cxnLst>
                <a:rect l="0" t="0" r="r" b="b"/>
                <a:pathLst>
                  <a:path w="76" h="20">
                    <a:moveTo>
                      <a:pt x="2" y="20"/>
                    </a:moveTo>
                    <a:lnTo>
                      <a:pt x="5" y="19"/>
                    </a:lnTo>
                    <a:lnTo>
                      <a:pt x="20" y="19"/>
                    </a:lnTo>
                    <a:lnTo>
                      <a:pt x="23" y="14"/>
                    </a:lnTo>
                    <a:lnTo>
                      <a:pt x="28" y="14"/>
                    </a:lnTo>
                    <a:lnTo>
                      <a:pt x="33" y="10"/>
                    </a:lnTo>
                    <a:lnTo>
                      <a:pt x="36" y="10"/>
                    </a:lnTo>
                    <a:lnTo>
                      <a:pt x="38" y="12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50" y="12"/>
                    </a:lnTo>
                    <a:lnTo>
                      <a:pt x="55" y="12"/>
                    </a:lnTo>
                    <a:lnTo>
                      <a:pt x="61" y="14"/>
                    </a:lnTo>
                    <a:lnTo>
                      <a:pt x="70" y="17"/>
                    </a:lnTo>
                    <a:lnTo>
                      <a:pt x="75" y="17"/>
                    </a:lnTo>
                    <a:lnTo>
                      <a:pt x="76" y="14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61" y="5"/>
                    </a:lnTo>
                    <a:lnTo>
                      <a:pt x="58" y="5"/>
                    </a:lnTo>
                    <a:lnTo>
                      <a:pt x="50" y="2"/>
                    </a:lnTo>
                    <a:lnTo>
                      <a:pt x="43" y="2"/>
                    </a:lnTo>
                    <a:lnTo>
                      <a:pt x="40" y="0"/>
                    </a:lnTo>
                    <a:lnTo>
                      <a:pt x="33" y="2"/>
                    </a:lnTo>
                    <a:lnTo>
                      <a:pt x="25" y="9"/>
                    </a:lnTo>
                    <a:lnTo>
                      <a:pt x="20" y="9"/>
                    </a:lnTo>
                    <a:lnTo>
                      <a:pt x="16" y="10"/>
                    </a:lnTo>
                    <a:lnTo>
                      <a:pt x="7" y="10"/>
                    </a:lnTo>
                    <a:lnTo>
                      <a:pt x="7" y="14"/>
                    </a:lnTo>
                    <a:lnTo>
                      <a:pt x="13" y="15"/>
                    </a:lnTo>
                    <a:lnTo>
                      <a:pt x="18" y="15"/>
                    </a:lnTo>
                    <a:lnTo>
                      <a:pt x="15" y="19"/>
                    </a:lnTo>
                    <a:lnTo>
                      <a:pt x="8" y="19"/>
                    </a:lnTo>
                    <a:lnTo>
                      <a:pt x="3" y="12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2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2" name="Freeform 145"/>
              <p:cNvSpPr>
                <a:spLocks noEditPoints="1"/>
              </p:cNvSpPr>
              <p:nvPr/>
            </p:nvSpPr>
            <p:spPr bwMode="auto">
              <a:xfrm>
                <a:off x="5558816" y="3053896"/>
                <a:ext cx="27826" cy="8301"/>
              </a:xfrm>
              <a:custGeom>
                <a:avLst/>
                <a:gdLst/>
                <a:ahLst/>
                <a:cxnLst>
                  <a:cxn ang="0">
                    <a:pos x="41" y="14"/>
                  </a:cxn>
                  <a:cxn ang="0">
                    <a:pos x="44" y="9"/>
                  </a:cxn>
                  <a:cxn ang="0">
                    <a:pos x="51" y="10"/>
                  </a:cxn>
                  <a:cxn ang="0">
                    <a:pos x="49" y="12"/>
                  </a:cxn>
                  <a:cxn ang="0">
                    <a:pos x="41" y="14"/>
                  </a:cxn>
                  <a:cxn ang="0">
                    <a:pos x="41" y="14"/>
                  </a:cxn>
                  <a:cxn ang="0">
                    <a:pos x="36" y="2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5" y="0"/>
                  </a:cxn>
                  <a:cxn ang="0">
                    <a:pos x="3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13" y="15"/>
                  </a:cxn>
                  <a:cxn ang="0">
                    <a:pos x="16" y="15"/>
                  </a:cxn>
                  <a:cxn ang="0">
                    <a:pos x="24" y="14"/>
                  </a:cxn>
                  <a:cxn ang="0">
                    <a:pos x="28" y="15"/>
                  </a:cxn>
                  <a:cxn ang="0">
                    <a:pos x="34" y="12"/>
                  </a:cxn>
                  <a:cxn ang="0">
                    <a:pos x="41" y="5"/>
                  </a:cxn>
                  <a:cxn ang="0">
                    <a:pos x="38" y="4"/>
                  </a:cxn>
                  <a:cxn ang="0">
                    <a:pos x="36" y="2"/>
                  </a:cxn>
                </a:cxnLst>
                <a:rect l="0" t="0" r="r" b="b"/>
                <a:pathLst>
                  <a:path w="51" h="15">
                    <a:moveTo>
                      <a:pt x="41" y="14"/>
                    </a:moveTo>
                    <a:lnTo>
                      <a:pt x="44" y="9"/>
                    </a:lnTo>
                    <a:lnTo>
                      <a:pt x="51" y="10"/>
                    </a:lnTo>
                    <a:lnTo>
                      <a:pt x="49" y="12"/>
                    </a:lnTo>
                    <a:lnTo>
                      <a:pt x="41" y="14"/>
                    </a:lnTo>
                    <a:lnTo>
                      <a:pt x="41" y="14"/>
                    </a:lnTo>
                    <a:close/>
                    <a:moveTo>
                      <a:pt x="36" y="2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4"/>
                    </a:lnTo>
                    <a:lnTo>
                      <a:pt x="13" y="15"/>
                    </a:lnTo>
                    <a:lnTo>
                      <a:pt x="16" y="15"/>
                    </a:lnTo>
                    <a:lnTo>
                      <a:pt x="24" y="14"/>
                    </a:lnTo>
                    <a:lnTo>
                      <a:pt x="28" y="15"/>
                    </a:lnTo>
                    <a:lnTo>
                      <a:pt x="34" y="12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3" name="Freeform 146"/>
              <p:cNvSpPr>
                <a:spLocks noEditPoints="1"/>
              </p:cNvSpPr>
              <p:nvPr/>
            </p:nvSpPr>
            <p:spPr bwMode="auto">
              <a:xfrm>
                <a:off x="5496741" y="3037295"/>
                <a:ext cx="50301" cy="29052"/>
              </a:xfrm>
              <a:custGeom>
                <a:avLst/>
                <a:gdLst/>
                <a:ahLst/>
                <a:cxnLst>
                  <a:cxn ang="0">
                    <a:pos x="87" y="42"/>
                  </a:cxn>
                  <a:cxn ang="0">
                    <a:pos x="88" y="45"/>
                  </a:cxn>
                  <a:cxn ang="0">
                    <a:pos x="83" y="40"/>
                  </a:cxn>
                  <a:cxn ang="0">
                    <a:pos x="85" y="40"/>
                  </a:cxn>
                  <a:cxn ang="0">
                    <a:pos x="12" y="7"/>
                  </a:cxn>
                  <a:cxn ang="0">
                    <a:pos x="10" y="15"/>
                  </a:cxn>
                  <a:cxn ang="0">
                    <a:pos x="5" y="22"/>
                  </a:cxn>
                  <a:cxn ang="0">
                    <a:pos x="7" y="28"/>
                  </a:cxn>
                  <a:cxn ang="0">
                    <a:pos x="7" y="35"/>
                  </a:cxn>
                  <a:cxn ang="0">
                    <a:pos x="2" y="42"/>
                  </a:cxn>
                  <a:cxn ang="0">
                    <a:pos x="7" y="47"/>
                  </a:cxn>
                  <a:cxn ang="0">
                    <a:pos x="9" y="53"/>
                  </a:cxn>
                  <a:cxn ang="0">
                    <a:pos x="14" y="57"/>
                  </a:cxn>
                  <a:cxn ang="0">
                    <a:pos x="22" y="43"/>
                  </a:cxn>
                  <a:cxn ang="0">
                    <a:pos x="24" y="37"/>
                  </a:cxn>
                  <a:cxn ang="0">
                    <a:pos x="30" y="40"/>
                  </a:cxn>
                  <a:cxn ang="0">
                    <a:pos x="37" y="37"/>
                  </a:cxn>
                  <a:cxn ang="0">
                    <a:pos x="40" y="42"/>
                  </a:cxn>
                  <a:cxn ang="0">
                    <a:pos x="53" y="35"/>
                  </a:cxn>
                  <a:cxn ang="0">
                    <a:pos x="67" y="35"/>
                  </a:cxn>
                  <a:cxn ang="0">
                    <a:pos x="75" y="37"/>
                  </a:cxn>
                  <a:cxn ang="0">
                    <a:pos x="88" y="38"/>
                  </a:cxn>
                  <a:cxn ang="0">
                    <a:pos x="92" y="35"/>
                  </a:cxn>
                  <a:cxn ang="0">
                    <a:pos x="92" y="28"/>
                  </a:cxn>
                  <a:cxn ang="0">
                    <a:pos x="78" y="23"/>
                  </a:cxn>
                  <a:cxn ang="0">
                    <a:pos x="68" y="22"/>
                  </a:cxn>
                  <a:cxn ang="0">
                    <a:pos x="55" y="15"/>
                  </a:cxn>
                  <a:cxn ang="0">
                    <a:pos x="53" y="13"/>
                  </a:cxn>
                  <a:cxn ang="0">
                    <a:pos x="72" y="17"/>
                  </a:cxn>
                  <a:cxn ang="0">
                    <a:pos x="73" y="13"/>
                  </a:cxn>
                  <a:cxn ang="0">
                    <a:pos x="62" y="12"/>
                  </a:cxn>
                  <a:cxn ang="0">
                    <a:pos x="53" y="5"/>
                  </a:cxn>
                  <a:cxn ang="0">
                    <a:pos x="48" y="3"/>
                  </a:cxn>
                  <a:cxn ang="0">
                    <a:pos x="25" y="2"/>
                  </a:cxn>
                  <a:cxn ang="0">
                    <a:pos x="14" y="2"/>
                  </a:cxn>
                </a:cxnLst>
                <a:rect l="0" t="0" r="r" b="b"/>
                <a:pathLst>
                  <a:path w="95" h="57">
                    <a:moveTo>
                      <a:pt x="85" y="40"/>
                    </a:moveTo>
                    <a:lnTo>
                      <a:pt x="87" y="42"/>
                    </a:lnTo>
                    <a:lnTo>
                      <a:pt x="92" y="42"/>
                    </a:lnTo>
                    <a:lnTo>
                      <a:pt x="88" y="45"/>
                    </a:lnTo>
                    <a:lnTo>
                      <a:pt x="85" y="43"/>
                    </a:lnTo>
                    <a:lnTo>
                      <a:pt x="83" y="40"/>
                    </a:lnTo>
                    <a:lnTo>
                      <a:pt x="85" y="40"/>
                    </a:lnTo>
                    <a:lnTo>
                      <a:pt x="85" y="40"/>
                    </a:lnTo>
                    <a:close/>
                    <a:moveTo>
                      <a:pt x="10" y="5"/>
                    </a:moveTo>
                    <a:lnTo>
                      <a:pt x="12" y="7"/>
                    </a:lnTo>
                    <a:lnTo>
                      <a:pt x="9" y="12"/>
                    </a:lnTo>
                    <a:lnTo>
                      <a:pt x="10" y="15"/>
                    </a:lnTo>
                    <a:lnTo>
                      <a:pt x="10" y="20"/>
                    </a:lnTo>
                    <a:lnTo>
                      <a:pt x="5" y="22"/>
                    </a:lnTo>
                    <a:lnTo>
                      <a:pt x="5" y="23"/>
                    </a:lnTo>
                    <a:lnTo>
                      <a:pt x="7" y="28"/>
                    </a:lnTo>
                    <a:lnTo>
                      <a:pt x="7" y="32"/>
                    </a:lnTo>
                    <a:lnTo>
                      <a:pt x="7" y="35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4" y="42"/>
                    </a:lnTo>
                    <a:lnTo>
                      <a:pt x="7" y="47"/>
                    </a:lnTo>
                    <a:lnTo>
                      <a:pt x="5" y="52"/>
                    </a:lnTo>
                    <a:lnTo>
                      <a:pt x="9" y="53"/>
                    </a:lnTo>
                    <a:lnTo>
                      <a:pt x="10" y="55"/>
                    </a:lnTo>
                    <a:lnTo>
                      <a:pt x="14" y="57"/>
                    </a:lnTo>
                    <a:lnTo>
                      <a:pt x="17" y="50"/>
                    </a:lnTo>
                    <a:lnTo>
                      <a:pt x="22" y="43"/>
                    </a:lnTo>
                    <a:lnTo>
                      <a:pt x="22" y="40"/>
                    </a:lnTo>
                    <a:lnTo>
                      <a:pt x="24" y="37"/>
                    </a:lnTo>
                    <a:lnTo>
                      <a:pt x="27" y="40"/>
                    </a:lnTo>
                    <a:lnTo>
                      <a:pt x="30" y="40"/>
                    </a:lnTo>
                    <a:lnTo>
                      <a:pt x="34" y="35"/>
                    </a:lnTo>
                    <a:lnTo>
                      <a:pt x="37" y="37"/>
                    </a:lnTo>
                    <a:lnTo>
                      <a:pt x="37" y="40"/>
                    </a:lnTo>
                    <a:lnTo>
                      <a:pt x="40" y="42"/>
                    </a:lnTo>
                    <a:lnTo>
                      <a:pt x="47" y="40"/>
                    </a:lnTo>
                    <a:lnTo>
                      <a:pt x="53" y="35"/>
                    </a:lnTo>
                    <a:lnTo>
                      <a:pt x="60" y="35"/>
                    </a:lnTo>
                    <a:lnTo>
                      <a:pt x="67" y="35"/>
                    </a:lnTo>
                    <a:lnTo>
                      <a:pt x="72" y="33"/>
                    </a:lnTo>
                    <a:lnTo>
                      <a:pt x="75" y="37"/>
                    </a:lnTo>
                    <a:lnTo>
                      <a:pt x="82" y="37"/>
                    </a:lnTo>
                    <a:lnTo>
                      <a:pt x="88" y="38"/>
                    </a:lnTo>
                    <a:lnTo>
                      <a:pt x="90" y="35"/>
                    </a:lnTo>
                    <a:lnTo>
                      <a:pt x="92" y="35"/>
                    </a:lnTo>
                    <a:lnTo>
                      <a:pt x="95" y="32"/>
                    </a:lnTo>
                    <a:lnTo>
                      <a:pt x="92" y="28"/>
                    </a:lnTo>
                    <a:lnTo>
                      <a:pt x="83" y="23"/>
                    </a:lnTo>
                    <a:lnTo>
                      <a:pt x="78" y="23"/>
                    </a:lnTo>
                    <a:lnTo>
                      <a:pt x="73" y="22"/>
                    </a:lnTo>
                    <a:lnTo>
                      <a:pt x="68" y="22"/>
                    </a:lnTo>
                    <a:lnTo>
                      <a:pt x="62" y="18"/>
                    </a:lnTo>
                    <a:lnTo>
                      <a:pt x="55" y="15"/>
                    </a:lnTo>
                    <a:lnTo>
                      <a:pt x="52" y="15"/>
                    </a:lnTo>
                    <a:lnTo>
                      <a:pt x="53" y="13"/>
                    </a:lnTo>
                    <a:lnTo>
                      <a:pt x="62" y="15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73" y="13"/>
                    </a:lnTo>
                    <a:lnTo>
                      <a:pt x="70" y="13"/>
                    </a:lnTo>
                    <a:lnTo>
                      <a:pt x="62" y="12"/>
                    </a:lnTo>
                    <a:lnTo>
                      <a:pt x="58" y="5"/>
                    </a:lnTo>
                    <a:lnTo>
                      <a:pt x="53" y="5"/>
                    </a:lnTo>
                    <a:lnTo>
                      <a:pt x="52" y="5"/>
                    </a:lnTo>
                    <a:lnTo>
                      <a:pt x="48" y="3"/>
                    </a:lnTo>
                    <a:lnTo>
                      <a:pt x="29" y="0"/>
                    </a:lnTo>
                    <a:lnTo>
                      <a:pt x="25" y="2"/>
                    </a:lnTo>
                    <a:lnTo>
                      <a:pt x="22" y="0"/>
                    </a:lnTo>
                    <a:lnTo>
                      <a:pt x="14" y="2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4" name="Freeform 147"/>
              <p:cNvSpPr>
                <a:spLocks noEditPoints="1"/>
              </p:cNvSpPr>
              <p:nvPr/>
            </p:nvSpPr>
            <p:spPr bwMode="auto">
              <a:xfrm>
                <a:off x="5771795" y="1857557"/>
                <a:ext cx="547967" cy="617365"/>
              </a:xfrm>
              <a:custGeom>
                <a:avLst/>
                <a:gdLst/>
                <a:ahLst/>
                <a:cxnLst>
                  <a:cxn ang="0">
                    <a:pos x="260" y="1134"/>
                  </a:cxn>
                  <a:cxn ang="0">
                    <a:pos x="186" y="1099"/>
                  </a:cxn>
                  <a:cxn ang="0">
                    <a:pos x="171" y="1031"/>
                  </a:cxn>
                  <a:cxn ang="0">
                    <a:pos x="172" y="991"/>
                  </a:cxn>
                  <a:cxn ang="0">
                    <a:pos x="151" y="945"/>
                  </a:cxn>
                  <a:cxn ang="0">
                    <a:pos x="151" y="898"/>
                  </a:cxn>
                  <a:cxn ang="0">
                    <a:pos x="202" y="878"/>
                  </a:cxn>
                  <a:cxn ang="0">
                    <a:pos x="202" y="852"/>
                  </a:cxn>
                  <a:cxn ang="0">
                    <a:pos x="245" y="792"/>
                  </a:cxn>
                  <a:cxn ang="0">
                    <a:pos x="240" y="747"/>
                  </a:cxn>
                  <a:cxn ang="0">
                    <a:pos x="220" y="696"/>
                  </a:cxn>
                  <a:cxn ang="0">
                    <a:pos x="201" y="663"/>
                  </a:cxn>
                  <a:cxn ang="0">
                    <a:pos x="204" y="543"/>
                  </a:cxn>
                  <a:cxn ang="0">
                    <a:pos x="88" y="438"/>
                  </a:cxn>
                  <a:cxn ang="0">
                    <a:pos x="13" y="372"/>
                  </a:cxn>
                  <a:cxn ang="0">
                    <a:pos x="41" y="330"/>
                  </a:cxn>
                  <a:cxn ang="0">
                    <a:pos x="152" y="259"/>
                  </a:cxn>
                  <a:cxn ang="0">
                    <a:pos x="209" y="158"/>
                  </a:cxn>
                  <a:cxn ang="0">
                    <a:pos x="335" y="126"/>
                  </a:cxn>
                  <a:cxn ang="0">
                    <a:pos x="416" y="131"/>
                  </a:cxn>
                  <a:cxn ang="0">
                    <a:pos x="533" y="153"/>
                  </a:cxn>
                  <a:cxn ang="0">
                    <a:pos x="616" y="104"/>
                  </a:cxn>
                  <a:cxn ang="0">
                    <a:pos x="659" y="48"/>
                  </a:cxn>
                  <a:cxn ang="0">
                    <a:pos x="843" y="43"/>
                  </a:cxn>
                  <a:cxn ang="0">
                    <a:pos x="727" y="58"/>
                  </a:cxn>
                  <a:cxn ang="0">
                    <a:pos x="878" y="84"/>
                  </a:cxn>
                  <a:cxn ang="0">
                    <a:pos x="744" y="131"/>
                  </a:cxn>
                  <a:cxn ang="0">
                    <a:pos x="802" y="181"/>
                  </a:cxn>
                  <a:cxn ang="0">
                    <a:pos x="828" y="239"/>
                  </a:cxn>
                  <a:cxn ang="0">
                    <a:pos x="1023" y="202"/>
                  </a:cxn>
                  <a:cxn ang="0">
                    <a:pos x="950" y="277"/>
                  </a:cxn>
                  <a:cxn ang="0">
                    <a:pos x="868" y="412"/>
                  </a:cxn>
                  <a:cxn ang="0">
                    <a:pos x="868" y="488"/>
                  </a:cxn>
                  <a:cxn ang="0">
                    <a:pos x="830" y="535"/>
                  </a:cxn>
                  <a:cxn ang="0">
                    <a:pos x="817" y="581"/>
                  </a:cxn>
                  <a:cxn ang="0">
                    <a:pos x="820" y="636"/>
                  </a:cxn>
                  <a:cxn ang="0">
                    <a:pos x="755" y="649"/>
                  </a:cxn>
                  <a:cxn ang="0">
                    <a:pos x="720" y="684"/>
                  </a:cxn>
                  <a:cxn ang="0">
                    <a:pos x="795" y="747"/>
                  </a:cxn>
                  <a:cxn ang="0">
                    <a:pos x="744" y="762"/>
                  </a:cxn>
                  <a:cxn ang="0">
                    <a:pos x="679" y="772"/>
                  </a:cxn>
                  <a:cxn ang="0">
                    <a:pos x="760" y="815"/>
                  </a:cxn>
                  <a:cxn ang="0">
                    <a:pos x="674" y="873"/>
                  </a:cxn>
                  <a:cxn ang="0">
                    <a:pos x="571" y="902"/>
                  </a:cxn>
                  <a:cxn ang="0">
                    <a:pos x="468" y="966"/>
                  </a:cxn>
                  <a:cxn ang="0">
                    <a:pos x="383" y="995"/>
                  </a:cxn>
                  <a:cxn ang="0">
                    <a:pos x="358" y="1069"/>
                  </a:cxn>
                  <a:cxn ang="0">
                    <a:pos x="320" y="1124"/>
                  </a:cxn>
                  <a:cxn ang="0">
                    <a:pos x="290" y="1176"/>
                  </a:cxn>
                  <a:cxn ang="0">
                    <a:pos x="360" y="1081"/>
                  </a:cxn>
                  <a:cxn ang="0">
                    <a:pos x="709" y="797"/>
                  </a:cxn>
                  <a:cxn ang="0">
                    <a:pos x="790" y="689"/>
                  </a:cxn>
                  <a:cxn ang="0">
                    <a:pos x="863" y="608"/>
                  </a:cxn>
                  <a:cxn ang="0">
                    <a:pos x="842" y="511"/>
                  </a:cxn>
                  <a:cxn ang="0">
                    <a:pos x="897" y="284"/>
                  </a:cxn>
                  <a:cxn ang="0">
                    <a:pos x="636" y="28"/>
                  </a:cxn>
                  <a:cxn ang="0">
                    <a:pos x="526" y="133"/>
                  </a:cxn>
                  <a:cxn ang="0">
                    <a:pos x="187" y="528"/>
                  </a:cxn>
                  <a:cxn ang="0">
                    <a:pos x="192" y="618"/>
                  </a:cxn>
                  <a:cxn ang="0">
                    <a:pos x="177" y="682"/>
                  </a:cxn>
                  <a:cxn ang="0">
                    <a:pos x="151" y="963"/>
                  </a:cxn>
                  <a:cxn ang="0">
                    <a:pos x="230" y="747"/>
                  </a:cxn>
                  <a:cxn ang="0">
                    <a:pos x="201" y="805"/>
                  </a:cxn>
                </a:cxnLst>
                <a:rect l="0" t="0" r="r" b="b"/>
                <a:pathLst>
                  <a:path w="1024" h="1189">
                    <a:moveTo>
                      <a:pt x="304" y="1177"/>
                    </a:moveTo>
                    <a:lnTo>
                      <a:pt x="292" y="1172"/>
                    </a:lnTo>
                    <a:lnTo>
                      <a:pt x="287" y="1172"/>
                    </a:lnTo>
                    <a:lnTo>
                      <a:pt x="285" y="1171"/>
                    </a:lnTo>
                    <a:lnTo>
                      <a:pt x="287" y="1167"/>
                    </a:lnTo>
                    <a:lnTo>
                      <a:pt x="289" y="1167"/>
                    </a:lnTo>
                    <a:lnTo>
                      <a:pt x="287" y="1166"/>
                    </a:lnTo>
                    <a:lnTo>
                      <a:pt x="285" y="1166"/>
                    </a:lnTo>
                    <a:lnTo>
                      <a:pt x="284" y="1167"/>
                    </a:lnTo>
                    <a:lnTo>
                      <a:pt x="282" y="1167"/>
                    </a:lnTo>
                    <a:lnTo>
                      <a:pt x="282" y="1174"/>
                    </a:lnTo>
                    <a:lnTo>
                      <a:pt x="279" y="1172"/>
                    </a:lnTo>
                    <a:lnTo>
                      <a:pt x="277" y="1172"/>
                    </a:lnTo>
                    <a:lnTo>
                      <a:pt x="275" y="1174"/>
                    </a:lnTo>
                    <a:lnTo>
                      <a:pt x="275" y="1177"/>
                    </a:lnTo>
                    <a:lnTo>
                      <a:pt x="274" y="1179"/>
                    </a:lnTo>
                    <a:lnTo>
                      <a:pt x="272" y="1177"/>
                    </a:lnTo>
                    <a:lnTo>
                      <a:pt x="272" y="1174"/>
                    </a:lnTo>
                    <a:lnTo>
                      <a:pt x="274" y="1171"/>
                    </a:lnTo>
                    <a:lnTo>
                      <a:pt x="274" y="1167"/>
                    </a:lnTo>
                    <a:lnTo>
                      <a:pt x="279" y="1163"/>
                    </a:lnTo>
                    <a:lnTo>
                      <a:pt x="277" y="1161"/>
                    </a:lnTo>
                    <a:lnTo>
                      <a:pt x="275" y="1164"/>
                    </a:lnTo>
                    <a:lnTo>
                      <a:pt x="272" y="1171"/>
                    </a:lnTo>
                    <a:lnTo>
                      <a:pt x="267" y="1174"/>
                    </a:lnTo>
                    <a:lnTo>
                      <a:pt x="265" y="1172"/>
                    </a:lnTo>
                    <a:lnTo>
                      <a:pt x="267" y="1171"/>
                    </a:lnTo>
                    <a:lnTo>
                      <a:pt x="270" y="1167"/>
                    </a:lnTo>
                    <a:lnTo>
                      <a:pt x="272" y="1163"/>
                    </a:lnTo>
                    <a:lnTo>
                      <a:pt x="274" y="1159"/>
                    </a:lnTo>
                    <a:lnTo>
                      <a:pt x="272" y="1159"/>
                    </a:lnTo>
                    <a:lnTo>
                      <a:pt x="269" y="1159"/>
                    </a:lnTo>
                    <a:lnTo>
                      <a:pt x="267" y="1163"/>
                    </a:lnTo>
                    <a:lnTo>
                      <a:pt x="264" y="1164"/>
                    </a:lnTo>
                    <a:lnTo>
                      <a:pt x="264" y="1163"/>
                    </a:lnTo>
                    <a:lnTo>
                      <a:pt x="264" y="1159"/>
                    </a:lnTo>
                    <a:lnTo>
                      <a:pt x="267" y="1156"/>
                    </a:lnTo>
                    <a:lnTo>
                      <a:pt x="267" y="1156"/>
                    </a:lnTo>
                    <a:lnTo>
                      <a:pt x="264" y="1156"/>
                    </a:lnTo>
                    <a:lnTo>
                      <a:pt x="264" y="1158"/>
                    </a:lnTo>
                    <a:lnTo>
                      <a:pt x="260" y="1159"/>
                    </a:lnTo>
                    <a:lnTo>
                      <a:pt x="259" y="1163"/>
                    </a:lnTo>
                    <a:lnTo>
                      <a:pt x="257" y="1159"/>
                    </a:lnTo>
                    <a:lnTo>
                      <a:pt x="257" y="1158"/>
                    </a:lnTo>
                    <a:lnTo>
                      <a:pt x="255" y="1158"/>
                    </a:lnTo>
                    <a:lnTo>
                      <a:pt x="254" y="1159"/>
                    </a:lnTo>
                    <a:lnTo>
                      <a:pt x="250" y="1159"/>
                    </a:lnTo>
                    <a:lnTo>
                      <a:pt x="252" y="1158"/>
                    </a:lnTo>
                    <a:lnTo>
                      <a:pt x="259" y="1153"/>
                    </a:lnTo>
                    <a:lnTo>
                      <a:pt x="259" y="1149"/>
                    </a:lnTo>
                    <a:lnTo>
                      <a:pt x="262" y="1149"/>
                    </a:lnTo>
                    <a:lnTo>
                      <a:pt x="267" y="1146"/>
                    </a:lnTo>
                    <a:lnTo>
                      <a:pt x="265" y="1144"/>
                    </a:lnTo>
                    <a:lnTo>
                      <a:pt x="260" y="1148"/>
                    </a:lnTo>
                    <a:lnTo>
                      <a:pt x="257" y="1149"/>
                    </a:lnTo>
                    <a:lnTo>
                      <a:pt x="255" y="1148"/>
                    </a:lnTo>
                    <a:lnTo>
                      <a:pt x="257" y="1148"/>
                    </a:lnTo>
                    <a:lnTo>
                      <a:pt x="260" y="1146"/>
                    </a:lnTo>
                    <a:lnTo>
                      <a:pt x="265" y="1143"/>
                    </a:lnTo>
                    <a:lnTo>
                      <a:pt x="269" y="1141"/>
                    </a:lnTo>
                    <a:lnTo>
                      <a:pt x="272" y="1139"/>
                    </a:lnTo>
                    <a:lnTo>
                      <a:pt x="272" y="1136"/>
                    </a:lnTo>
                    <a:lnTo>
                      <a:pt x="270" y="1134"/>
                    </a:lnTo>
                    <a:lnTo>
                      <a:pt x="269" y="1134"/>
                    </a:lnTo>
                    <a:lnTo>
                      <a:pt x="264" y="1139"/>
                    </a:lnTo>
                    <a:lnTo>
                      <a:pt x="257" y="1144"/>
                    </a:lnTo>
                    <a:lnTo>
                      <a:pt x="252" y="1144"/>
                    </a:lnTo>
                    <a:lnTo>
                      <a:pt x="250" y="1144"/>
                    </a:lnTo>
                    <a:lnTo>
                      <a:pt x="254" y="1143"/>
                    </a:lnTo>
                    <a:lnTo>
                      <a:pt x="255" y="1141"/>
                    </a:lnTo>
                    <a:lnTo>
                      <a:pt x="259" y="1138"/>
                    </a:lnTo>
                    <a:lnTo>
                      <a:pt x="260" y="1134"/>
                    </a:lnTo>
                    <a:lnTo>
                      <a:pt x="259" y="1131"/>
                    </a:lnTo>
                    <a:lnTo>
                      <a:pt x="255" y="1129"/>
                    </a:lnTo>
                    <a:lnTo>
                      <a:pt x="254" y="1131"/>
                    </a:lnTo>
                    <a:lnTo>
                      <a:pt x="254" y="1133"/>
                    </a:lnTo>
                    <a:lnTo>
                      <a:pt x="255" y="1134"/>
                    </a:lnTo>
                    <a:lnTo>
                      <a:pt x="255" y="1136"/>
                    </a:lnTo>
                    <a:lnTo>
                      <a:pt x="252" y="1139"/>
                    </a:lnTo>
                    <a:lnTo>
                      <a:pt x="249" y="1138"/>
                    </a:lnTo>
                    <a:lnTo>
                      <a:pt x="245" y="1138"/>
                    </a:lnTo>
                    <a:lnTo>
                      <a:pt x="244" y="1138"/>
                    </a:lnTo>
                    <a:lnTo>
                      <a:pt x="240" y="1139"/>
                    </a:lnTo>
                    <a:lnTo>
                      <a:pt x="239" y="1143"/>
                    </a:lnTo>
                    <a:lnTo>
                      <a:pt x="235" y="1144"/>
                    </a:lnTo>
                    <a:lnTo>
                      <a:pt x="234" y="1143"/>
                    </a:lnTo>
                    <a:lnTo>
                      <a:pt x="232" y="1141"/>
                    </a:lnTo>
                    <a:lnTo>
                      <a:pt x="227" y="1141"/>
                    </a:lnTo>
                    <a:lnTo>
                      <a:pt x="225" y="1144"/>
                    </a:lnTo>
                    <a:lnTo>
                      <a:pt x="222" y="1143"/>
                    </a:lnTo>
                    <a:lnTo>
                      <a:pt x="220" y="1144"/>
                    </a:lnTo>
                    <a:lnTo>
                      <a:pt x="220" y="1146"/>
                    </a:lnTo>
                    <a:lnTo>
                      <a:pt x="220" y="1148"/>
                    </a:lnTo>
                    <a:lnTo>
                      <a:pt x="219" y="1148"/>
                    </a:lnTo>
                    <a:lnTo>
                      <a:pt x="212" y="1148"/>
                    </a:lnTo>
                    <a:lnTo>
                      <a:pt x="212" y="1144"/>
                    </a:lnTo>
                    <a:lnTo>
                      <a:pt x="214" y="1143"/>
                    </a:lnTo>
                    <a:lnTo>
                      <a:pt x="217" y="1141"/>
                    </a:lnTo>
                    <a:lnTo>
                      <a:pt x="220" y="1139"/>
                    </a:lnTo>
                    <a:lnTo>
                      <a:pt x="219" y="1138"/>
                    </a:lnTo>
                    <a:lnTo>
                      <a:pt x="215" y="1136"/>
                    </a:lnTo>
                    <a:lnTo>
                      <a:pt x="215" y="1133"/>
                    </a:lnTo>
                    <a:lnTo>
                      <a:pt x="212" y="1129"/>
                    </a:lnTo>
                    <a:lnTo>
                      <a:pt x="211" y="1128"/>
                    </a:lnTo>
                    <a:lnTo>
                      <a:pt x="209" y="1129"/>
                    </a:lnTo>
                    <a:lnTo>
                      <a:pt x="202" y="1133"/>
                    </a:lnTo>
                    <a:lnTo>
                      <a:pt x="199" y="1133"/>
                    </a:lnTo>
                    <a:lnTo>
                      <a:pt x="197" y="1129"/>
                    </a:lnTo>
                    <a:lnTo>
                      <a:pt x="202" y="1126"/>
                    </a:lnTo>
                    <a:lnTo>
                      <a:pt x="201" y="1124"/>
                    </a:lnTo>
                    <a:lnTo>
                      <a:pt x="197" y="1124"/>
                    </a:lnTo>
                    <a:lnTo>
                      <a:pt x="197" y="1123"/>
                    </a:lnTo>
                    <a:lnTo>
                      <a:pt x="202" y="1121"/>
                    </a:lnTo>
                    <a:lnTo>
                      <a:pt x="206" y="1121"/>
                    </a:lnTo>
                    <a:lnTo>
                      <a:pt x="207" y="1119"/>
                    </a:lnTo>
                    <a:lnTo>
                      <a:pt x="206" y="1116"/>
                    </a:lnTo>
                    <a:lnTo>
                      <a:pt x="204" y="1116"/>
                    </a:lnTo>
                    <a:lnTo>
                      <a:pt x="199" y="1118"/>
                    </a:lnTo>
                    <a:lnTo>
                      <a:pt x="196" y="1119"/>
                    </a:lnTo>
                    <a:lnTo>
                      <a:pt x="191" y="1121"/>
                    </a:lnTo>
                    <a:lnTo>
                      <a:pt x="187" y="1119"/>
                    </a:lnTo>
                    <a:lnTo>
                      <a:pt x="187" y="1118"/>
                    </a:lnTo>
                    <a:lnTo>
                      <a:pt x="191" y="1116"/>
                    </a:lnTo>
                    <a:lnTo>
                      <a:pt x="194" y="1114"/>
                    </a:lnTo>
                    <a:lnTo>
                      <a:pt x="192" y="1111"/>
                    </a:lnTo>
                    <a:lnTo>
                      <a:pt x="199" y="1109"/>
                    </a:lnTo>
                    <a:lnTo>
                      <a:pt x="201" y="1108"/>
                    </a:lnTo>
                    <a:lnTo>
                      <a:pt x="199" y="1106"/>
                    </a:lnTo>
                    <a:lnTo>
                      <a:pt x="194" y="1104"/>
                    </a:lnTo>
                    <a:lnTo>
                      <a:pt x="192" y="1106"/>
                    </a:lnTo>
                    <a:lnTo>
                      <a:pt x="189" y="1108"/>
                    </a:lnTo>
                    <a:lnTo>
                      <a:pt x="186" y="1106"/>
                    </a:lnTo>
                    <a:lnTo>
                      <a:pt x="187" y="1104"/>
                    </a:lnTo>
                    <a:lnTo>
                      <a:pt x="191" y="1103"/>
                    </a:lnTo>
                    <a:lnTo>
                      <a:pt x="194" y="1104"/>
                    </a:lnTo>
                    <a:lnTo>
                      <a:pt x="196" y="1101"/>
                    </a:lnTo>
                    <a:lnTo>
                      <a:pt x="199" y="1099"/>
                    </a:lnTo>
                    <a:lnTo>
                      <a:pt x="199" y="1098"/>
                    </a:lnTo>
                    <a:lnTo>
                      <a:pt x="201" y="1096"/>
                    </a:lnTo>
                    <a:lnTo>
                      <a:pt x="199" y="1094"/>
                    </a:lnTo>
                    <a:lnTo>
                      <a:pt x="192" y="1096"/>
                    </a:lnTo>
                    <a:lnTo>
                      <a:pt x="191" y="1098"/>
                    </a:lnTo>
                    <a:lnTo>
                      <a:pt x="189" y="1099"/>
                    </a:lnTo>
                    <a:lnTo>
                      <a:pt x="186" y="1099"/>
                    </a:lnTo>
                    <a:lnTo>
                      <a:pt x="187" y="1098"/>
                    </a:lnTo>
                    <a:lnTo>
                      <a:pt x="191" y="1096"/>
                    </a:lnTo>
                    <a:lnTo>
                      <a:pt x="191" y="1094"/>
                    </a:lnTo>
                    <a:lnTo>
                      <a:pt x="189" y="1093"/>
                    </a:lnTo>
                    <a:lnTo>
                      <a:pt x="191" y="1091"/>
                    </a:lnTo>
                    <a:lnTo>
                      <a:pt x="191" y="1089"/>
                    </a:lnTo>
                    <a:lnTo>
                      <a:pt x="189" y="1088"/>
                    </a:lnTo>
                    <a:lnTo>
                      <a:pt x="186" y="1088"/>
                    </a:lnTo>
                    <a:lnTo>
                      <a:pt x="186" y="1086"/>
                    </a:lnTo>
                    <a:lnTo>
                      <a:pt x="187" y="1084"/>
                    </a:lnTo>
                    <a:lnTo>
                      <a:pt x="186" y="1083"/>
                    </a:lnTo>
                    <a:lnTo>
                      <a:pt x="184" y="1081"/>
                    </a:lnTo>
                    <a:lnTo>
                      <a:pt x="182" y="1083"/>
                    </a:lnTo>
                    <a:lnTo>
                      <a:pt x="179" y="1083"/>
                    </a:lnTo>
                    <a:lnTo>
                      <a:pt x="177" y="1081"/>
                    </a:lnTo>
                    <a:lnTo>
                      <a:pt x="181" y="1078"/>
                    </a:lnTo>
                    <a:lnTo>
                      <a:pt x="182" y="1076"/>
                    </a:lnTo>
                    <a:lnTo>
                      <a:pt x="184" y="1076"/>
                    </a:lnTo>
                    <a:lnTo>
                      <a:pt x="189" y="1071"/>
                    </a:lnTo>
                    <a:lnTo>
                      <a:pt x="186" y="1068"/>
                    </a:lnTo>
                    <a:lnTo>
                      <a:pt x="187" y="1066"/>
                    </a:lnTo>
                    <a:lnTo>
                      <a:pt x="189" y="1065"/>
                    </a:lnTo>
                    <a:lnTo>
                      <a:pt x="187" y="1063"/>
                    </a:lnTo>
                    <a:lnTo>
                      <a:pt x="186" y="1065"/>
                    </a:lnTo>
                    <a:lnTo>
                      <a:pt x="184" y="1066"/>
                    </a:lnTo>
                    <a:lnTo>
                      <a:pt x="182" y="1063"/>
                    </a:lnTo>
                    <a:lnTo>
                      <a:pt x="179" y="1063"/>
                    </a:lnTo>
                    <a:lnTo>
                      <a:pt x="177" y="1065"/>
                    </a:lnTo>
                    <a:lnTo>
                      <a:pt x="176" y="1065"/>
                    </a:lnTo>
                    <a:lnTo>
                      <a:pt x="174" y="1060"/>
                    </a:lnTo>
                    <a:lnTo>
                      <a:pt x="176" y="1058"/>
                    </a:lnTo>
                    <a:lnTo>
                      <a:pt x="181" y="1056"/>
                    </a:lnTo>
                    <a:lnTo>
                      <a:pt x="182" y="1055"/>
                    </a:lnTo>
                    <a:lnTo>
                      <a:pt x="179" y="1053"/>
                    </a:lnTo>
                    <a:lnTo>
                      <a:pt x="176" y="1053"/>
                    </a:lnTo>
                    <a:lnTo>
                      <a:pt x="171" y="1055"/>
                    </a:lnTo>
                    <a:lnTo>
                      <a:pt x="169" y="1055"/>
                    </a:lnTo>
                    <a:lnTo>
                      <a:pt x="167" y="1053"/>
                    </a:lnTo>
                    <a:lnTo>
                      <a:pt x="169" y="1050"/>
                    </a:lnTo>
                    <a:lnTo>
                      <a:pt x="172" y="1050"/>
                    </a:lnTo>
                    <a:lnTo>
                      <a:pt x="176" y="1050"/>
                    </a:lnTo>
                    <a:lnTo>
                      <a:pt x="182" y="1050"/>
                    </a:lnTo>
                    <a:lnTo>
                      <a:pt x="184" y="1048"/>
                    </a:lnTo>
                    <a:lnTo>
                      <a:pt x="181" y="1048"/>
                    </a:lnTo>
                    <a:lnTo>
                      <a:pt x="179" y="1046"/>
                    </a:lnTo>
                    <a:lnTo>
                      <a:pt x="174" y="1046"/>
                    </a:lnTo>
                    <a:lnTo>
                      <a:pt x="172" y="1048"/>
                    </a:lnTo>
                    <a:lnTo>
                      <a:pt x="169" y="1048"/>
                    </a:lnTo>
                    <a:lnTo>
                      <a:pt x="167" y="1045"/>
                    </a:lnTo>
                    <a:lnTo>
                      <a:pt x="171" y="1043"/>
                    </a:lnTo>
                    <a:lnTo>
                      <a:pt x="177" y="1041"/>
                    </a:lnTo>
                    <a:lnTo>
                      <a:pt x="179" y="1041"/>
                    </a:lnTo>
                    <a:lnTo>
                      <a:pt x="177" y="1040"/>
                    </a:lnTo>
                    <a:lnTo>
                      <a:pt x="174" y="1040"/>
                    </a:lnTo>
                    <a:lnTo>
                      <a:pt x="171" y="1038"/>
                    </a:lnTo>
                    <a:lnTo>
                      <a:pt x="172" y="1038"/>
                    </a:lnTo>
                    <a:lnTo>
                      <a:pt x="176" y="1038"/>
                    </a:lnTo>
                    <a:lnTo>
                      <a:pt x="179" y="1040"/>
                    </a:lnTo>
                    <a:lnTo>
                      <a:pt x="184" y="1036"/>
                    </a:lnTo>
                    <a:lnTo>
                      <a:pt x="186" y="1035"/>
                    </a:lnTo>
                    <a:lnTo>
                      <a:pt x="184" y="1035"/>
                    </a:lnTo>
                    <a:lnTo>
                      <a:pt x="182" y="1035"/>
                    </a:lnTo>
                    <a:lnTo>
                      <a:pt x="179" y="1036"/>
                    </a:lnTo>
                    <a:lnTo>
                      <a:pt x="177" y="1036"/>
                    </a:lnTo>
                    <a:lnTo>
                      <a:pt x="176" y="1035"/>
                    </a:lnTo>
                    <a:lnTo>
                      <a:pt x="171" y="1035"/>
                    </a:lnTo>
                    <a:lnTo>
                      <a:pt x="169" y="1038"/>
                    </a:lnTo>
                    <a:lnTo>
                      <a:pt x="167" y="1040"/>
                    </a:lnTo>
                    <a:lnTo>
                      <a:pt x="164" y="1036"/>
                    </a:lnTo>
                    <a:lnTo>
                      <a:pt x="162" y="1035"/>
                    </a:lnTo>
                    <a:lnTo>
                      <a:pt x="166" y="1031"/>
                    </a:lnTo>
                    <a:lnTo>
                      <a:pt x="171" y="1031"/>
                    </a:lnTo>
                    <a:lnTo>
                      <a:pt x="174" y="1028"/>
                    </a:lnTo>
                    <a:lnTo>
                      <a:pt x="172" y="1028"/>
                    </a:lnTo>
                    <a:lnTo>
                      <a:pt x="169" y="1028"/>
                    </a:lnTo>
                    <a:lnTo>
                      <a:pt x="164" y="1028"/>
                    </a:lnTo>
                    <a:lnTo>
                      <a:pt x="164" y="1025"/>
                    </a:lnTo>
                    <a:lnTo>
                      <a:pt x="164" y="1021"/>
                    </a:lnTo>
                    <a:lnTo>
                      <a:pt x="169" y="1021"/>
                    </a:lnTo>
                    <a:lnTo>
                      <a:pt x="177" y="1021"/>
                    </a:lnTo>
                    <a:lnTo>
                      <a:pt x="184" y="1020"/>
                    </a:lnTo>
                    <a:lnTo>
                      <a:pt x="189" y="1020"/>
                    </a:lnTo>
                    <a:lnTo>
                      <a:pt x="192" y="1016"/>
                    </a:lnTo>
                    <a:lnTo>
                      <a:pt x="194" y="1016"/>
                    </a:lnTo>
                    <a:lnTo>
                      <a:pt x="189" y="1016"/>
                    </a:lnTo>
                    <a:lnTo>
                      <a:pt x="186" y="1015"/>
                    </a:lnTo>
                    <a:lnTo>
                      <a:pt x="182" y="1018"/>
                    </a:lnTo>
                    <a:lnTo>
                      <a:pt x="176" y="1018"/>
                    </a:lnTo>
                    <a:lnTo>
                      <a:pt x="171" y="1020"/>
                    </a:lnTo>
                    <a:lnTo>
                      <a:pt x="167" y="1020"/>
                    </a:lnTo>
                    <a:lnTo>
                      <a:pt x="166" y="1018"/>
                    </a:lnTo>
                    <a:lnTo>
                      <a:pt x="166" y="1018"/>
                    </a:lnTo>
                    <a:lnTo>
                      <a:pt x="174" y="1018"/>
                    </a:lnTo>
                    <a:lnTo>
                      <a:pt x="177" y="1016"/>
                    </a:lnTo>
                    <a:lnTo>
                      <a:pt x="181" y="1011"/>
                    </a:lnTo>
                    <a:lnTo>
                      <a:pt x="186" y="1010"/>
                    </a:lnTo>
                    <a:lnTo>
                      <a:pt x="187" y="1011"/>
                    </a:lnTo>
                    <a:lnTo>
                      <a:pt x="191" y="1013"/>
                    </a:lnTo>
                    <a:lnTo>
                      <a:pt x="192" y="1013"/>
                    </a:lnTo>
                    <a:lnTo>
                      <a:pt x="194" y="1011"/>
                    </a:lnTo>
                    <a:lnTo>
                      <a:pt x="192" y="1011"/>
                    </a:lnTo>
                    <a:lnTo>
                      <a:pt x="187" y="1008"/>
                    </a:lnTo>
                    <a:lnTo>
                      <a:pt x="186" y="1008"/>
                    </a:lnTo>
                    <a:lnTo>
                      <a:pt x="184" y="1006"/>
                    </a:lnTo>
                    <a:lnTo>
                      <a:pt x="186" y="1005"/>
                    </a:lnTo>
                    <a:lnTo>
                      <a:pt x="187" y="1005"/>
                    </a:lnTo>
                    <a:lnTo>
                      <a:pt x="189" y="1003"/>
                    </a:lnTo>
                    <a:lnTo>
                      <a:pt x="191" y="1003"/>
                    </a:lnTo>
                    <a:lnTo>
                      <a:pt x="194" y="1006"/>
                    </a:lnTo>
                    <a:lnTo>
                      <a:pt x="197" y="1010"/>
                    </a:lnTo>
                    <a:lnTo>
                      <a:pt x="201" y="1011"/>
                    </a:lnTo>
                    <a:lnTo>
                      <a:pt x="201" y="1011"/>
                    </a:lnTo>
                    <a:lnTo>
                      <a:pt x="199" y="1008"/>
                    </a:lnTo>
                    <a:lnTo>
                      <a:pt x="197" y="1006"/>
                    </a:lnTo>
                    <a:lnTo>
                      <a:pt x="197" y="1000"/>
                    </a:lnTo>
                    <a:lnTo>
                      <a:pt x="199" y="996"/>
                    </a:lnTo>
                    <a:lnTo>
                      <a:pt x="201" y="995"/>
                    </a:lnTo>
                    <a:lnTo>
                      <a:pt x="197" y="995"/>
                    </a:lnTo>
                    <a:lnTo>
                      <a:pt x="194" y="996"/>
                    </a:lnTo>
                    <a:lnTo>
                      <a:pt x="192" y="998"/>
                    </a:lnTo>
                    <a:lnTo>
                      <a:pt x="189" y="995"/>
                    </a:lnTo>
                    <a:lnTo>
                      <a:pt x="189" y="996"/>
                    </a:lnTo>
                    <a:lnTo>
                      <a:pt x="182" y="1001"/>
                    </a:lnTo>
                    <a:lnTo>
                      <a:pt x="179" y="1003"/>
                    </a:lnTo>
                    <a:lnTo>
                      <a:pt x="179" y="1001"/>
                    </a:lnTo>
                    <a:lnTo>
                      <a:pt x="179" y="1000"/>
                    </a:lnTo>
                    <a:lnTo>
                      <a:pt x="181" y="998"/>
                    </a:lnTo>
                    <a:lnTo>
                      <a:pt x="181" y="998"/>
                    </a:lnTo>
                    <a:lnTo>
                      <a:pt x="177" y="998"/>
                    </a:lnTo>
                    <a:lnTo>
                      <a:pt x="176" y="1001"/>
                    </a:lnTo>
                    <a:lnTo>
                      <a:pt x="174" y="1001"/>
                    </a:lnTo>
                    <a:lnTo>
                      <a:pt x="167" y="1006"/>
                    </a:lnTo>
                    <a:lnTo>
                      <a:pt x="166" y="1008"/>
                    </a:lnTo>
                    <a:lnTo>
                      <a:pt x="162" y="1013"/>
                    </a:lnTo>
                    <a:lnTo>
                      <a:pt x="161" y="1013"/>
                    </a:lnTo>
                    <a:lnTo>
                      <a:pt x="159" y="1008"/>
                    </a:lnTo>
                    <a:lnTo>
                      <a:pt x="159" y="1005"/>
                    </a:lnTo>
                    <a:lnTo>
                      <a:pt x="162" y="1001"/>
                    </a:lnTo>
                    <a:lnTo>
                      <a:pt x="159" y="1000"/>
                    </a:lnTo>
                    <a:lnTo>
                      <a:pt x="159" y="996"/>
                    </a:lnTo>
                    <a:lnTo>
                      <a:pt x="159" y="995"/>
                    </a:lnTo>
                    <a:lnTo>
                      <a:pt x="162" y="993"/>
                    </a:lnTo>
                    <a:lnTo>
                      <a:pt x="169" y="990"/>
                    </a:lnTo>
                    <a:lnTo>
                      <a:pt x="172" y="991"/>
                    </a:lnTo>
                    <a:lnTo>
                      <a:pt x="177" y="988"/>
                    </a:lnTo>
                    <a:lnTo>
                      <a:pt x="179" y="986"/>
                    </a:lnTo>
                    <a:lnTo>
                      <a:pt x="177" y="985"/>
                    </a:lnTo>
                    <a:lnTo>
                      <a:pt x="174" y="985"/>
                    </a:lnTo>
                    <a:lnTo>
                      <a:pt x="172" y="986"/>
                    </a:lnTo>
                    <a:lnTo>
                      <a:pt x="169" y="986"/>
                    </a:lnTo>
                    <a:lnTo>
                      <a:pt x="167" y="988"/>
                    </a:lnTo>
                    <a:lnTo>
                      <a:pt x="164" y="991"/>
                    </a:lnTo>
                    <a:lnTo>
                      <a:pt x="161" y="990"/>
                    </a:lnTo>
                    <a:lnTo>
                      <a:pt x="159" y="988"/>
                    </a:lnTo>
                    <a:lnTo>
                      <a:pt x="159" y="981"/>
                    </a:lnTo>
                    <a:lnTo>
                      <a:pt x="162" y="980"/>
                    </a:lnTo>
                    <a:lnTo>
                      <a:pt x="162" y="976"/>
                    </a:lnTo>
                    <a:lnTo>
                      <a:pt x="161" y="973"/>
                    </a:lnTo>
                    <a:lnTo>
                      <a:pt x="159" y="973"/>
                    </a:lnTo>
                    <a:lnTo>
                      <a:pt x="157" y="976"/>
                    </a:lnTo>
                    <a:lnTo>
                      <a:pt x="154" y="975"/>
                    </a:lnTo>
                    <a:lnTo>
                      <a:pt x="154" y="973"/>
                    </a:lnTo>
                    <a:lnTo>
                      <a:pt x="157" y="970"/>
                    </a:lnTo>
                    <a:lnTo>
                      <a:pt x="162" y="970"/>
                    </a:lnTo>
                    <a:lnTo>
                      <a:pt x="164" y="968"/>
                    </a:lnTo>
                    <a:lnTo>
                      <a:pt x="171" y="966"/>
                    </a:lnTo>
                    <a:lnTo>
                      <a:pt x="172" y="965"/>
                    </a:lnTo>
                    <a:lnTo>
                      <a:pt x="176" y="963"/>
                    </a:lnTo>
                    <a:lnTo>
                      <a:pt x="177" y="960"/>
                    </a:lnTo>
                    <a:lnTo>
                      <a:pt x="179" y="958"/>
                    </a:lnTo>
                    <a:lnTo>
                      <a:pt x="181" y="960"/>
                    </a:lnTo>
                    <a:lnTo>
                      <a:pt x="182" y="958"/>
                    </a:lnTo>
                    <a:lnTo>
                      <a:pt x="189" y="958"/>
                    </a:lnTo>
                    <a:lnTo>
                      <a:pt x="192" y="960"/>
                    </a:lnTo>
                    <a:lnTo>
                      <a:pt x="196" y="960"/>
                    </a:lnTo>
                    <a:lnTo>
                      <a:pt x="194" y="957"/>
                    </a:lnTo>
                    <a:lnTo>
                      <a:pt x="189" y="957"/>
                    </a:lnTo>
                    <a:lnTo>
                      <a:pt x="189" y="953"/>
                    </a:lnTo>
                    <a:lnTo>
                      <a:pt x="186" y="953"/>
                    </a:lnTo>
                    <a:lnTo>
                      <a:pt x="177" y="958"/>
                    </a:lnTo>
                    <a:lnTo>
                      <a:pt x="174" y="958"/>
                    </a:lnTo>
                    <a:lnTo>
                      <a:pt x="172" y="958"/>
                    </a:lnTo>
                    <a:lnTo>
                      <a:pt x="171" y="962"/>
                    </a:lnTo>
                    <a:lnTo>
                      <a:pt x="169" y="963"/>
                    </a:lnTo>
                    <a:lnTo>
                      <a:pt x="164" y="965"/>
                    </a:lnTo>
                    <a:lnTo>
                      <a:pt x="161" y="968"/>
                    </a:lnTo>
                    <a:lnTo>
                      <a:pt x="159" y="968"/>
                    </a:lnTo>
                    <a:lnTo>
                      <a:pt x="159" y="966"/>
                    </a:lnTo>
                    <a:lnTo>
                      <a:pt x="159" y="963"/>
                    </a:lnTo>
                    <a:lnTo>
                      <a:pt x="156" y="963"/>
                    </a:lnTo>
                    <a:lnTo>
                      <a:pt x="156" y="962"/>
                    </a:lnTo>
                    <a:lnTo>
                      <a:pt x="159" y="958"/>
                    </a:lnTo>
                    <a:lnTo>
                      <a:pt x="156" y="957"/>
                    </a:lnTo>
                    <a:lnTo>
                      <a:pt x="154" y="957"/>
                    </a:lnTo>
                    <a:lnTo>
                      <a:pt x="151" y="953"/>
                    </a:lnTo>
                    <a:lnTo>
                      <a:pt x="151" y="953"/>
                    </a:lnTo>
                    <a:lnTo>
                      <a:pt x="156" y="950"/>
                    </a:lnTo>
                    <a:lnTo>
                      <a:pt x="159" y="948"/>
                    </a:lnTo>
                    <a:lnTo>
                      <a:pt x="161" y="947"/>
                    </a:lnTo>
                    <a:lnTo>
                      <a:pt x="162" y="950"/>
                    </a:lnTo>
                    <a:lnTo>
                      <a:pt x="167" y="950"/>
                    </a:lnTo>
                    <a:lnTo>
                      <a:pt x="171" y="948"/>
                    </a:lnTo>
                    <a:lnTo>
                      <a:pt x="174" y="945"/>
                    </a:lnTo>
                    <a:lnTo>
                      <a:pt x="177" y="947"/>
                    </a:lnTo>
                    <a:lnTo>
                      <a:pt x="179" y="943"/>
                    </a:lnTo>
                    <a:lnTo>
                      <a:pt x="177" y="942"/>
                    </a:lnTo>
                    <a:lnTo>
                      <a:pt x="174" y="942"/>
                    </a:lnTo>
                    <a:lnTo>
                      <a:pt x="169" y="945"/>
                    </a:lnTo>
                    <a:lnTo>
                      <a:pt x="167" y="947"/>
                    </a:lnTo>
                    <a:lnTo>
                      <a:pt x="164" y="947"/>
                    </a:lnTo>
                    <a:lnTo>
                      <a:pt x="161" y="943"/>
                    </a:lnTo>
                    <a:lnTo>
                      <a:pt x="159" y="943"/>
                    </a:lnTo>
                    <a:lnTo>
                      <a:pt x="157" y="945"/>
                    </a:lnTo>
                    <a:lnTo>
                      <a:pt x="152" y="948"/>
                    </a:lnTo>
                    <a:lnTo>
                      <a:pt x="154" y="947"/>
                    </a:lnTo>
                    <a:lnTo>
                      <a:pt x="151" y="945"/>
                    </a:lnTo>
                    <a:lnTo>
                      <a:pt x="149" y="947"/>
                    </a:lnTo>
                    <a:lnTo>
                      <a:pt x="146" y="945"/>
                    </a:lnTo>
                    <a:lnTo>
                      <a:pt x="146" y="945"/>
                    </a:lnTo>
                    <a:lnTo>
                      <a:pt x="149" y="943"/>
                    </a:lnTo>
                    <a:lnTo>
                      <a:pt x="156" y="942"/>
                    </a:lnTo>
                    <a:lnTo>
                      <a:pt x="162" y="938"/>
                    </a:lnTo>
                    <a:lnTo>
                      <a:pt x="166" y="937"/>
                    </a:lnTo>
                    <a:lnTo>
                      <a:pt x="172" y="935"/>
                    </a:lnTo>
                    <a:lnTo>
                      <a:pt x="177" y="932"/>
                    </a:lnTo>
                    <a:lnTo>
                      <a:pt x="184" y="923"/>
                    </a:lnTo>
                    <a:lnTo>
                      <a:pt x="192" y="920"/>
                    </a:lnTo>
                    <a:lnTo>
                      <a:pt x="197" y="918"/>
                    </a:lnTo>
                    <a:lnTo>
                      <a:pt x="202" y="918"/>
                    </a:lnTo>
                    <a:lnTo>
                      <a:pt x="204" y="917"/>
                    </a:lnTo>
                    <a:lnTo>
                      <a:pt x="204" y="915"/>
                    </a:lnTo>
                    <a:lnTo>
                      <a:pt x="201" y="915"/>
                    </a:lnTo>
                    <a:lnTo>
                      <a:pt x="194" y="915"/>
                    </a:lnTo>
                    <a:lnTo>
                      <a:pt x="182" y="922"/>
                    </a:lnTo>
                    <a:lnTo>
                      <a:pt x="177" y="927"/>
                    </a:lnTo>
                    <a:lnTo>
                      <a:pt x="172" y="932"/>
                    </a:lnTo>
                    <a:lnTo>
                      <a:pt x="169" y="933"/>
                    </a:lnTo>
                    <a:lnTo>
                      <a:pt x="161" y="935"/>
                    </a:lnTo>
                    <a:lnTo>
                      <a:pt x="157" y="937"/>
                    </a:lnTo>
                    <a:lnTo>
                      <a:pt x="149" y="940"/>
                    </a:lnTo>
                    <a:lnTo>
                      <a:pt x="144" y="940"/>
                    </a:lnTo>
                    <a:lnTo>
                      <a:pt x="144" y="938"/>
                    </a:lnTo>
                    <a:lnTo>
                      <a:pt x="146" y="937"/>
                    </a:lnTo>
                    <a:lnTo>
                      <a:pt x="146" y="928"/>
                    </a:lnTo>
                    <a:lnTo>
                      <a:pt x="147" y="925"/>
                    </a:lnTo>
                    <a:lnTo>
                      <a:pt x="151" y="925"/>
                    </a:lnTo>
                    <a:lnTo>
                      <a:pt x="154" y="928"/>
                    </a:lnTo>
                    <a:lnTo>
                      <a:pt x="157" y="927"/>
                    </a:lnTo>
                    <a:lnTo>
                      <a:pt x="162" y="927"/>
                    </a:lnTo>
                    <a:lnTo>
                      <a:pt x="167" y="927"/>
                    </a:lnTo>
                    <a:lnTo>
                      <a:pt x="166" y="925"/>
                    </a:lnTo>
                    <a:lnTo>
                      <a:pt x="162" y="923"/>
                    </a:lnTo>
                    <a:lnTo>
                      <a:pt x="157" y="923"/>
                    </a:lnTo>
                    <a:lnTo>
                      <a:pt x="156" y="925"/>
                    </a:lnTo>
                    <a:lnTo>
                      <a:pt x="152" y="925"/>
                    </a:lnTo>
                    <a:lnTo>
                      <a:pt x="151" y="922"/>
                    </a:lnTo>
                    <a:lnTo>
                      <a:pt x="152" y="920"/>
                    </a:lnTo>
                    <a:lnTo>
                      <a:pt x="156" y="918"/>
                    </a:lnTo>
                    <a:lnTo>
                      <a:pt x="161" y="922"/>
                    </a:lnTo>
                    <a:lnTo>
                      <a:pt x="164" y="922"/>
                    </a:lnTo>
                    <a:lnTo>
                      <a:pt x="169" y="920"/>
                    </a:lnTo>
                    <a:lnTo>
                      <a:pt x="167" y="918"/>
                    </a:lnTo>
                    <a:lnTo>
                      <a:pt x="164" y="917"/>
                    </a:lnTo>
                    <a:lnTo>
                      <a:pt x="162" y="918"/>
                    </a:lnTo>
                    <a:lnTo>
                      <a:pt x="162" y="917"/>
                    </a:lnTo>
                    <a:lnTo>
                      <a:pt x="162" y="915"/>
                    </a:lnTo>
                    <a:lnTo>
                      <a:pt x="166" y="913"/>
                    </a:lnTo>
                    <a:lnTo>
                      <a:pt x="167" y="915"/>
                    </a:lnTo>
                    <a:lnTo>
                      <a:pt x="169" y="913"/>
                    </a:lnTo>
                    <a:lnTo>
                      <a:pt x="172" y="915"/>
                    </a:lnTo>
                    <a:lnTo>
                      <a:pt x="174" y="913"/>
                    </a:lnTo>
                    <a:lnTo>
                      <a:pt x="174" y="912"/>
                    </a:lnTo>
                    <a:lnTo>
                      <a:pt x="174" y="908"/>
                    </a:lnTo>
                    <a:lnTo>
                      <a:pt x="172" y="908"/>
                    </a:lnTo>
                    <a:lnTo>
                      <a:pt x="171" y="907"/>
                    </a:lnTo>
                    <a:lnTo>
                      <a:pt x="169" y="908"/>
                    </a:lnTo>
                    <a:lnTo>
                      <a:pt x="164" y="910"/>
                    </a:lnTo>
                    <a:lnTo>
                      <a:pt x="154" y="907"/>
                    </a:lnTo>
                    <a:lnTo>
                      <a:pt x="149" y="907"/>
                    </a:lnTo>
                    <a:lnTo>
                      <a:pt x="147" y="903"/>
                    </a:lnTo>
                    <a:lnTo>
                      <a:pt x="147" y="903"/>
                    </a:lnTo>
                    <a:lnTo>
                      <a:pt x="152" y="903"/>
                    </a:lnTo>
                    <a:lnTo>
                      <a:pt x="156" y="903"/>
                    </a:lnTo>
                    <a:lnTo>
                      <a:pt x="157" y="903"/>
                    </a:lnTo>
                    <a:lnTo>
                      <a:pt x="156" y="902"/>
                    </a:lnTo>
                    <a:lnTo>
                      <a:pt x="152" y="902"/>
                    </a:lnTo>
                    <a:lnTo>
                      <a:pt x="151" y="900"/>
                    </a:lnTo>
                    <a:lnTo>
                      <a:pt x="151" y="898"/>
                    </a:lnTo>
                    <a:lnTo>
                      <a:pt x="157" y="898"/>
                    </a:lnTo>
                    <a:lnTo>
                      <a:pt x="159" y="897"/>
                    </a:lnTo>
                    <a:lnTo>
                      <a:pt x="164" y="897"/>
                    </a:lnTo>
                    <a:lnTo>
                      <a:pt x="179" y="897"/>
                    </a:lnTo>
                    <a:lnTo>
                      <a:pt x="182" y="897"/>
                    </a:lnTo>
                    <a:lnTo>
                      <a:pt x="187" y="897"/>
                    </a:lnTo>
                    <a:lnTo>
                      <a:pt x="191" y="897"/>
                    </a:lnTo>
                    <a:lnTo>
                      <a:pt x="189" y="895"/>
                    </a:lnTo>
                    <a:lnTo>
                      <a:pt x="184" y="892"/>
                    </a:lnTo>
                    <a:lnTo>
                      <a:pt x="177" y="892"/>
                    </a:lnTo>
                    <a:lnTo>
                      <a:pt x="169" y="893"/>
                    </a:lnTo>
                    <a:lnTo>
                      <a:pt x="164" y="893"/>
                    </a:lnTo>
                    <a:lnTo>
                      <a:pt x="162" y="893"/>
                    </a:lnTo>
                    <a:lnTo>
                      <a:pt x="161" y="892"/>
                    </a:lnTo>
                    <a:lnTo>
                      <a:pt x="156" y="893"/>
                    </a:lnTo>
                    <a:lnTo>
                      <a:pt x="152" y="895"/>
                    </a:lnTo>
                    <a:lnTo>
                      <a:pt x="151" y="895"/>
                    </a:lnTo>
                    <a:lnTo>
                      <a:pt x="152" y="892"/>
                    </a:lnTo>
                    <a:lnTo>
                      <a:pt x="154" y="888"/>
                    </a:lnTo>
                    <a:lnTo>
                      <a:pt x="159" y="887"/>
                    </a:lnTo>
                    <a:lnTo>
                      <a:pt x="162" y="885"/>
                    </a:lnTo>
                    <a:lnTo>
                      <a:pt x="166" y="883"/>
                    </a:lnTo>
                    <a:lnTo>
                      <a:pt x="167" y="878"/>
                    </a:lnTo>
                    <a:lnTo>
                      <a:pt x="172" y="877"/>
                    </a:lnTo>
                    <a:lnTo>
                      <a:pt x="174" y="877"/>
                    </a:lnTo>
                    <a:lnTo>
                      <a:pt x="176" y="877"/>
                    </a:lnTo>
                    <a:lnTo>
                      <a:pt x="179" y="877"/>
                    </a:lnTo>
                    <a:lnTo>
                      <a:pt x="182" y="877"/>
                    </a:lnTo>
                    <a:lnTo>
                      <a:pt x="186" y="877"/>
                    </a:lnTo>
                    <a:lnTo>
                      <a:pt x="187" y="877"/>
                    </a:lnTo>
                    <a:lnTo>
                      <a:pt x="192" y="878"/>
                    </a:lnTo>
                    <a:lnTo>
                      <a:pt x="196" y="883"/>
                    </a:lnTo>
                    <a:lnTo>
                      <a:pt x="201" y="882"/>
                    </a:lnTo>
                    <a:lnTo>
                      <a:pt x="206" y="883"/>
                    </a:lnTo>
                    <a:lnTo>
                      <a:pt x="211" y="888"/>
                    </a:lnTo>
                    <a:lnTo>
                      <a:pt x="215" y="892"/>
                    </a:lnTo>
                    <a:lnTo>
                      <a:pt x="222" y="893"/>
                    </a:lnTo>
                    <a:lnTo>
                      <a:pt x="225" y="892"/>
                    </a:lnTo>
                    <a:lnTo>
                      <a:pt x="227" y="892"/>
                    </a:lnTo>
                    <a:lnTo>
                      <a:pt x="227" y="890"/>
                    </a:lnTo>
                    <a:lnTo>
                      <a:pt x="227" y="888"/>
                    </a:lnTo>
                    <a:lnTo>
                      <a:pt x="224" y="890"/>
                    </a:lnTo>
                    <a:lnTo>
                      <a:pt x="222" y="890"/>
                    </a:lnTo>
                    <a:lnTo>
                      <a:pt x="219" y="890"/>
                    </a:lnTo>
                    <a:lnTo>
                      <a:pt x="212" y="887"/>
                    </a:lnTo>
                    <a:lnTo>
                      <a:pt x="209" y="882"/>
                    </a:lnTo>
                    <a:lnTo>
                      <a:pt x="209" y="880"/>
                    </a:lnTo>
                    <a:lnTo>
                      <a:pt x="211" y="880"/>
                    </a:lnTo>
                    <a:lnTo>
                      <a:pt x="219" y="880"/>
                    </a:lnTo>
                    <a:lnTo>
                      <a:pt x="224" y="877"/>
                    </a:lnTo>
                    <a:lnTo>
                      <a:pt x="227" y="875"/>
                    </a:lnTo>
                    <a:lnTo>
                      <a:pt x="225" y="873"/>
                    </a:lnTo>
                    <a:lnTo>
                      <a:pt x="219" y="872"/>
                    </a:lnTo>
                    <a:lnTo>
                      <a:pt x="217" y="873"/>
                    </a:lnTo>
                    <a:lnTo>
                      <a:pt x="217" y="875"/>
                    </a:lnTo>
                    <a:lnTo>
                      <a:pt x="219" y="877"/>
                    </a:lnTo>
                    <a:lnTo>
                      <a:pt x="217" y="877"/>
                    </a:lnTo>
                    <a:lnTo>
                      <a:pt x="211" y="877"/>
                    </a:lnTo>
                    <a:lnTo>
                      <a:pt x="209" y="875"/>
                    </a:lnTo>
                    <a:lnTo>
                      <a:pt x="207" y="872"/>
                    </a:lnTo>
                    <a:lnTo>
                      <a:pt x="211" y="872"/>
                    </a:lnTo>
                    <a:lnTo>
                      <a:pt x="212" y="872"/>
                    </a:lnTo>
                    <a:lnTo>
                      <a:pt x="214" y="870"/>
                    </a:lnTo>
                    <a:lnTo>
                      <a:pt x="212" y="868"/>
                    </a:lnTo>
                    <a:lnTo>
                      <a:pt x="209" y="868"/>
                    </a:lnTo>
                    <a:lnTo>
                      <a:pt x="207" y="868"/>
                    </a:lnTo>
                    <a:lnTo>
                      <a:pt x="206" y="868"/>
                    </a:lnTo>
                    <a:lnTo>
                      <a:pt x="204" y="868"/>
                    </a:lnTo>
                    <a:lnTo>
                      <a:pt x="204" y="870"/>
                    </a:lnTo>
                    <a:lnTo>
                      <a:pt x="204" y="872"/>
                    </a:lnTo>
                    <a:lnTo>
                      <a:pt x="204" y="875"/>
                    </a:lnTo>
                    <a:lnTo>
                      <a:pt x="202" y="878"/>
                    </a:lnTo>
                    <a:lnTo>
                      <a:pt x="199" y="880"/>
                    </a:lnTo>
                    <a:lnTo>
                      <a:pt x="196" y="878"/>
                    </a:lnTo>
                    <a:lnTo>
                      <a:pt x="191" y="873"/>
                    </a:lnTo>
                    <a:lnTo>
                      <a:pt x="187" y="873"/>
                    </a:lnTo>
                    <a:lnTo>
                      <a:pt x="186" y="872"/>
                    </a:lnTo>
                    <a:lnTo>
                      <a:pt x="184" y="870"/>
                    </a:lnTo>
                    <a:lnTo>
                      <a:pt x="182" y="870"/>
                    </a:lnTo>
                    <a:lnTo>
                      <a:pt x="181" y="872"/>
                    </a:lnTo>
                    <a:lnTo>
                      <a:pt x="176" y="873"/>
                    </a:lnTo>
                    <a:lnTo>
                      <a:pt x="171" y="873"/>
                    </a:lnTo>
                    <a:lnTo>
                      <a:pt x="169" y="875"/>
                    </a:lnTo>
                    <a:lnTo>
                      <a:pt x="164" y="880"/>
                    </a:lnTo>
                    <a:lnTo>
                      <a:pt x="161" y="882"/>
                    </a:lnTo>
                    <a:lnTo>
                      <a:pt x="159" y="880"/>
                    </a:lnTo>
                    <a:lnTo>
                      <a:pt x="159" y="878"/>
                    </a:lnTo>
                    <a:lnTo>
                      <a:pt x="164" y="873"/>
                    </a:lnTo>
                    <a:lnTo>
                      <a:pt x="166" y="872"/>
                    </a:lnTo>
                    <a:lnTo>
                      <a:pt x="167" y="870"/>
                    </a:lnTo>
                    <a:lnTo>
                      <a:pt x="167" y="868"/>
                    </a:lnTo>
                    <a:lnTo>
                      <a:pt x="169" y="868"/>
                    </a:lnTo>
                    <a:lnTo>
                      <a:pt x="172" y="867"/>
                    </a:lnTo>
                    <a:lnTo>
                      <a:pt x="172" y="865"/>
                    </a:lnTo>
                    <a:lnTo>
                      <a:pt x="174" y="862"/>
                    </a:lnTo>
                    <a:lnTo>
                      <a:pt x="176" y="862"/>
                    </a:lnTo>
                    <a:lnTo>
                      <a:pt x="179" y="865"/>
                    </a:lnTo>
                    <a:lnTo>
                      <a:pt x="184" y="867"/>
                    </a:lnTo>
                    <a:lnTo>
                      <a:pt x="191" y="867"/>
                    </a:lnTo>
                    <a:lnTo>
                      <a:pt x="189" y="865"/>
                    </a:lnTo>
                    <a:lnTo>
                      <a:pt x="187" y="864"/>
                    </a:lnTo>
                    <a:lnTo>
                      <a:pt x="184" y="864"/>
                    </a:lnTo>
                    <a:lnTo>
                      <a:pt x="182" y="862"/>
                    </a:lnTo>
                    <a:lnTo>
                      <a:pt x="176" y="857"/>
                    </a:lnTo>
                    <a:lnTo>
                      <a:pt x="174" y="855"/>
                    </a:lnTo>
                    <a:lnTo>
                      <a:pt x="172" y="854"/>
                    </a:lnTo>
                    <a:lnTo>
                      <a:pt x="171" y="852"/>
                    </a:lnTo>
                    <a:lnTo>
                      <a:pt x="174" y="850"/>
                    </a:lnTo>
                    <a:lnTo>
                      <a:pt x="179" y="852"/>
                    </a:lnTo>
                    <a:lnTo>
                      <a:pt x="184" y="857"/>
                    </a:lnTo>
                    <a:lnTo>
                      <a:pt x="187" y="862"/>
                    </a:lnTo>
                    <a:lnTo>
                      <a:pt x="189" y="860"/>
                    </a:lnTo>
                    <a:lnTo>
                      <a:pt x="187" y="857"/>
                    </a:lnTo>
                    <a:lnTo>
                      <a:pt x="186" y="854"/>
                    </a:lnTo>
                    <a:lnTo>
                      <a:pt x="187" y="854"/>
                    </a:lnTo>
                    <a:lnTo>
                      <a:pt x="189" y="857"/>
                    </a:lnTo>
                    <a:lnTo>
                      <a:pt x="191" y="860"/>
                    </a:lnTo>
                    <a:lnTo>
                      <a:pt x="199" y="864"/>
                    </a:lnTo>
                    <a:lnTo>
                      <a:pt x="202" y="864"/>
                    </a:lnTo>
                    <a:lnTo>
                      <a:pt x="204" y="862"/>
                    </a:lnTo>
                    <a:lnTo>
                      <a:pt x="209" y="862"/>
                    </a:lnTo>
                    <a:lnTo>
                      <a:pt x="211" y="864"/>
                    </a:lnTo>
                    <a:lnTo>
                      <a:pt x="215" y="867"/>
                    </a:lnTo>
                    <a:lnTo>
                      <a:pt x="220" y="868"/>
                    </a:lnTo>
                    <a:lnTo>
                      <a:pt x="220" y="870"/>
                    </a:lnTo>
                    <a:lnTo>
                      <a:pt x="224" y="870"/>
                    </a:lnTo>
                    <a:lnTo>
                      <a:pt x="224" y="868"/>
                    </a:lnTo>
                    <a:lnTo>
                      <a:pt x="220" y="865"/>
                    </a:lnTo>
                    <a:lnTo>
                      <a:pt x="211" y="859"/>
                    </a:lnTo>
                    <a:lnTo>
                      <a:pt x="209" y="855"/>
                    </a:lnTo>
                    <a:lnTo>
                      <a:pt x="211" y="854"/>
                    </a:lnTo>
                    <a:lnTo>
                      <a:pt x="215" y="852"/>
                    </a:lnTo>
                    <a:lnTo>
                      <a:pt x="215" y="850"/>
                    </a:lnTo>
                    <a:lnTo>
                      <a:pt x="217" y="847"/>
                    </a:lnTo>
                    <a:lnTo>
                      <a:pt x="219" y="847"/>
                    </a:lnTo>
                    <a:lnTo>
                      <a:pt x="219" y="845"/>
                    </a:lnTo>
                    <a:lnTo>
                      <a:pt x="215" y="845"/>
                    </a:lnTo>
                    <a:lnTo>
                      <a:pt x="214" y="845"/>
                    </a:lnTo>
                    <a:lnTo>
                      <a:pt x="207" y="845"/>
                    </a:lnTo>
                    <a:lnTo>
                      <a:pt x="206" y="847"/>
                    </a:lnTo>
                    <a:lnTo>
                      <a:pt x="206" y="849"/>
                    </a:lnTo>
                    <a:lnTo>
                      <a:pt x="209" y="852"/>
                    </a:lnTo>
                    <a:lnTo>
                      <a:pt x="207" y="854"/>
                    </a:lnTo>
                    <a:lnTo>
                      <a:pt x="202" y="852"/>
                    </a:lnTo>
                    <a:lnTo>
                      <a:pt x="201" y="854"/>
                    </a:lnTo>
                    <a:lnTo>
                      <a:pt x="197" y="852"/>
                    </a:lnTo>
                    <a:lnTo>
                      <a:pt x="192" y="854"/>
                    </a:lnTo>
                    <a:lnTo>
                      <a:pt x="191" y="850"/>
                    </a:lnTo>
                    <a:lnTo>
                      <a:pt x="187" y="850"/>
                    </a:lnTo>
                    <a:lnTo>
                      <a:pt x="186" y="847"/>
                    </a:lnTo>
                    <a:lnTo>
                      <a:pt x="189" y="847"/>
                    </a:lnTo>
                    <a:lnTo>
                      <a:pt x="191" y="845"/>
                    </a:lnTo>
                    <a:lnTo>
                      <a:pt x="187" y="845"/>
                    </a:lnTo>
                    <a:lnTo>
                      <a:pt x="184" y="845"/>
                    </a:lnTo>
                    <a:lnTo>
                      <a:pt x="182" y="845"/>
                    </a:lnTo>
                    <a:lnTo>
                      <a:pt x="187" y="844"/>
                    </a:lnTo>
                    <a:lnTo>
                      <a:pt x="194" y="840"/>
                    </a:lnTo>
                    <a:lnTo>
                      <a:pt x="197" y="839"/>
                    </a:lnTo>
                    <a:lnTo>
                      <a:pt x="202" y="840"/>
                    </a:lnTo>
                    <a:lnTo>
                      <a:pt x="204" y="840"/>
                    </a:lnTo>
                    <a:lnTo>
                      <a:pt x="209" y="840"/>
                    </a:lnTo>
                    <a:lnTo>
                      <a:pt x="212" y="840"/>
                    </a:lnTo>
                    <a:lnTo>
                      <a:pt x="217" y="840"/>
                    </a:lnTo>
                    <a:lnTo>
                      <a:pt x="217" y="839"/>
                    </a:lnTo>
                    <a:lnTo>
                      <a:pt x="220" y="837"/>
                    </a:lnTo>
                    <a:lnTo>
                      <a:pt x="222" y="835"/>
                    </a:lnTo>
                    <a:lnTo>
                      <a:pt x="225" y="834"/>
                    </a:lnTo>
                    <a:lnTo>
                      <a:pt x="225" y="832"/>
                    </a:lnTo>
                    <a:lnTo>
                      <a:pt x="225" y="830"/>
                    </a:lnTo>
                    <a:lnTo>
                      <a:pt x="222" y="834"/>
                    </a:lnTo>
                    <a:lnTo>
                      <a:pt x="219" y="834"/>
                    </a:lnTo>
                    <a:lnTo>
                      <a:pt x="219" y="832"/>
                    </a:lnTo>
                    <a:lnTo>
                      <a:pt x="220" y="829"/>
                    </a:lnTo>
                    <a:lnTo>
                      <a:pt x="224" y="820"/>
                    </a:lnTo>
                    <a:lnTo>
                      <a:pt x="224" y="817"/>
                    </a:lnTo>
                    <a:lnTo>
                      <a:pt x="225" y="815"/>
                    </a:lnTo>
                    <a:lnTo>
                      <a:pt x="227" y="817"/>
                    </a:lnTo>
                    <a:lnTo>
                      <a:pt x="229" y="820"/>
                    </a:lnTo>
                    <a:lnTo>
                      <a:pt x="227" y="822"/>
                    </a:lnTo>
                    <a:lnTo>
                      <a:pt x="227" y="824"/>
                    </a:lnTo>
                    <a:lnTo>
                      <a:pt x="232" y="824"/>
                    </a:lnTo>
                    <a:lnTo>
                      <a:pt x="235" y="824"/>
                    </a:lnTo>
                    <a:lnTo>
                      <a:pt x="237" y="825"/>
                    </a:lnTo>
                    <a:lnTo>
                      <a:pt x="239" y="825"/>
                    </a:lnTo>
                    <a:lnTo>
                      <a:pt x="240" y="825"/>
                    </a:lnTo>
                    <a:lnTo>
                      <a:pt x="242" y="825"/>
                    </a:lnTo>
                    <a:lnTo>
                      <a:pt x="244" y="825"/>
                    </a:lnTo>
                    <a:lnTo>
                      <a:pt x="244" y="824"/>
                    </a:lnTo>
                    <a:lnTo>
                      <a:pt x="240" y="822"/>
                    </a:lnTo>
                    <a:lnTo>
                      <a:pt x="235" y="822"/>
                    </a:lnTo>
                    <a:lnTo>
                      <a:pt x="235" y="820"/>
                    </a:lnTo>
                    <a:lnTo>
                      <a:pt x="239" y="819"/>
                    </a:lnTo>
                    <a:lnTo>
                      <a:pt x="244" y="819"/>
                    </a:lnTo>
                    <a:lnTo>
                      <a:pt x="244" y="817"/>
                    </a:lnTo>
                    <a:lnTo>
                      <a:pt x="240" y="815"/>
                    </a:lnTo>
                    <a:lnTo>
                      <a:pt x="239" y="815"/>
                    </a:lnTo>
                    <a:lnTo>
                      <a:pt x="237" y="814"/>
                    </a:lnTo>
                    <a:lnTo>
                      <a:pt x="235" y="814"/>
                    </a:lnTo>
                    <a:lnTo>
                      <a:pt x="234" y="814"/>
                    </a:lnTo>
                    <a:lnTo>
                      <a:pt x="232" y="814"/>
                    </a:lnTo>
                    <a:lnTo>
                      <a:pt x="229" y="814"/>
                    </a:lnTo>
                    <a:lnTo>
                      <a:pt x="229" y="812"/>
                    </a:lnTo>
                    <a:lnTo>
                      <a:pt x="230" y="809"/>
                    </a:lnTo>
                    <a:lnTo>
                      <a:pt x="232" y="809"/>
                    </a:lnTo>
                    <a:lnTo>
                      <a:pt x="235" y="804"/>
                    </a:lnTo>
                    <a:lnTo>
                      <a:pt x="239" y="802"/>
                    </a:lnTo>
                    <a:lnTo>
                      <a:pt x="240" y="804"/>
                    </a:lnTo>
                    <a:lnTo>
                      <a:pt x="242" y="802"/>
                    </a:lnTo>
                    <a:lnTo>
                      <a:pt x="245" y="802"/>
                    </a:lnTo>
                    <a:lnTo>
                      <a:pt x="245" y="800"/>
                    </a:lnTo>
                    <a:lnTo>
                      <a:pt x="242" y="800"/>
                    </a:lnTo>
                    <a:lnTo>
                      <a:pt x="239" y="800"/>
                    </a:lnTo>
                    <a:lnTo>
                      <a:pt x="237" y="799"/>
                    </a:lnTo>
                    <a:lnTo>
                      <a:pt x="239" y="797"/>
                    </a:lnTo>
                    <a:lnTo>
                      <a:pt x="242" y="795"/>
                    </a:lnTo>
                    <a:lnTo>
                      <a:pt x="245" y="792"/>
                    </a:lnTo>
                    <a:lnTo>
                      <a:pt x="249" y="792"/>
                    </a:lnTo>
                    <a:lnTo>
                      <a:pt x="249" y="790"/>
                    </a:lnTo>
                    <a:lnTo>
                      <a:pt x="252" y="789"/>
                    </a:lnTo>
                    <a:lnTo>
                      <a:pt x="249" y="785"/>
                    </a:lnTo>
                    <a:lnTo>
                      <a:pt x="247" y="785"/>
                    </a:lnTo>
                    <a:lnTo>
                      <a:pt x="247" y="784"/>
                    </a:lnTo>
                    <a:lnTo>
                      <a:pt x="250" y="784"/>
                    </a:lnTo>
                    <a:lnTo>
                      <a:pt x="252" y="784"/>
                    </a:lnTo>
                    <a:lnTo>
                      <a:pt x="252" y="780"/>
                    </a:lnTo>
                    <a:lnTo>
                      <a:pt x="250" y="779"/>
                    </a:lnTo>
                    <a:lnTo>
                      <a:pt x="245" y="780"/>
                    </a:lnTo>
                    <a:lnTo>
                      <a:pt x="242" y="782"/>
                    </a:lnTo>
                    <a:lnTo>
                      <a:pt x="237" y="782"/>
                    </a:lnTo>
                    <a:lnTo>
                      <a:pt x="235" y="780"/>
                    </a:lnTo>
                    <a:lnTo>
                      <a:pt x="232" y="780"/>
                    </a:lnTo>
                    <a:lnTo>
                      <a:pt x="229" y="780"/>
                    </a:lnTo>
                    <a:lnTo>
                      <a:pt x="225" y="779"/>
                    </a:lnTo>
                    <a:lnTo>
                      <a:pt x="224" y="779"/>
                    </a:lnTo>
                    <a:lnTo>
                      <a:pt x="220" y="779"/>
                    </a:lnTo>
                    <a:lnTo>
                      <a:pt x="217" y="775"/>
                    </a:lnTo>
                    <a:lnTo>
                      <a:pt x="214" y="775"/>
                    </a:lnTo>
                    <a:lnTo>
                      <a:pt x="211" y="774"/>
                    </a:lnTo>
                    <a:lnTo>
                      <a:pt x="211" y="772"/>
                    </a:lnTo>
                    <a:lnTo>
                      <a:pt x="209" y="769"/>
                    </a:lnTo>
                    <a:lnTo>
                      <a:pt x="204" y="766"/>
                    </a:lnTo>
                    <a:lnTo>
                      <a:pt x="196" y="762"/>
                    </a:lnTo>
                    <a:lnTo>
                      <a:pt x="189" y="761"/>
                    </a:lnTo>
                    <a:lnTo>
                      <a:pt x="184" y="756"/>
                    </a:lnTo>
                    <a:lnTo>
                      <a:pt x="184" y="754"/>
                    </a:lnTo>
                    <a:lnTo>
                      <a:pt x="182" y="747"/>
                    </a:lnTo>
                    <a:lnTo>
                      <a:pt x="179" y="744"/>
                    </a:lnTo>
                    <a:lnTo>
                      <a:pt x="177" y="742"/>
                    </a:lnTo>
                    <a:lnTo>
                      <a:pt x="177" y="741"/>
                    </a:lnTo>
                    <a:lnTo>
                      <a:pt x="182" y="737"/>
                    </a:lnTo>
                    <a:lnTo>
                      <a:pt x="187" y="736"/>
                    </a:lnTo>
                    <a:lnTo>
                      <a:pt x="189" y="736"/>
                    </a:lnTo>
                    <a:lnTo>
                      <a:pt x="192" y="737"/>
                    </a:lnTo>
                    <a:lnTo>
                      <a:pt x="196" y="737"/>
                    </a:lnTo>
                    <a:lnTo>
                      <a:pt x="201" y="741"/>
                    </a:lnTo>
                    <a:lnTo>
                      <a:pt x="206" y="741"/>
                    </a:lnTo>
                    <a:lnTo>
                      <a:pt x="209" y="742"/>
                    </a:lnTo>
                    <a:lnTo>
                      <a:pt x="211" y="742"/>
                    </a:lnTo>
                    <a:lnTo>
                      <a:pt x="215" y="742"/>
                    </a:lnTo>
                    <a:lnTo>
                      <a:pt x="219" y="744"/>
                    </a:lnTo>
                    <a:lnTo>
                      <a:pt x="222" y="746"/>
                    </a:lnTo>
                    <a:lnTo>
                      <a:pt x="224" y="747"/>
                    </a:lnTo>
                    <a:lnTo>
                      <a:pt x="227" y="749"/>
                    </a:lnTo>
                    <a:lnTo>
                      <a:pt x="230" y="757"/>
                    </a:lnTo>
                    <a:lnTo>
                      <a:pt x="234" y="761"/>
                    </a:lnTo>
                    <a:lnTo>
                      <a:pt x="237" y="764"/>
                    </a:lnTo>
                    <a:lnTo>
                      <a:pt x="240" y="767"/>
                    </a:lnTo>
                    <a:lnTo>
                      <a:pt x="245" y="769"/>
                    </a:lnTo>
                    <a:lnTo>
                      <a:pt x="247" y="767"/>
                    </a:lnTo>
                    <a:lnTo>
                      <a:pt x="250" y="764"/>
                    </a:lnTo>
                    <a:lnTo>
                      <a:pt x="249" y="764"/>
                    </a:lnTo>
                    <a:lnTo>
                      <a:pt x="247" y="764"/>
                    </a:lnTo>
                    <a:lnTo>
                      <a:pt x="244" y="764"/>
                    </a:lnTo>
                    <a:lnTo>
                      <a:pt x="242" y="762"/>
                    </a:lnTo>
                    <a:lnTo>
                      <a:pt x="237" y="757"/>
                    </a:lnTo>
                    <a:lnTo>
                      <a:pt x="237" y="756"/>
                    </a:lnTo>
                    <a:lnTo>
                      <a:pt x="239" y="756"/>
                    </a:lnTo>
                    <a:lnTo>
                      <a:pt x="242" y="759"/>
                    </a:lnTo>
                    <a:lnTo>
                      <a:pt x="245" y="759"/>
                    </a:lnTo>
                    <a:lnTo>
                      <a:pt x="245" y="757"/>
                    </a:lnTo>
                    <a:lnTo>
                      <a:pt x="247" y="757"/>
                    </a:lnTo>
                    <a:lnTo>
                      <a:pt x="249" y="756"/>
                    </a:lnTo>
                    <a:lnTo>
                      <a:pt x="242" y="752"/>
                    </a:lnTo>
                    <a:lnTo>
                      <a:pt x="237" y="747"/>
                    </a:lnTo>
                    <a:lnTo>
                      <a:pt x="235" y="746"/>
                    </a:lnTo>
                    <a:lnTo>
                      <a:pt x="237" y="744"/>
                    </a:lnTo>
                    <a:lnTo>
                      <a:pt x="239" y="744"/>
                    </a:lnTo>
                    <a:lnTo>
                      <a:pt x="240" y="747"/>
                    </a:lnTo>
                    <a:lnTo>
                      <a:pt x="244" y="749"/>
                    </a:lnTo>
                    <a:lnTo>
                      <a:pt x="242" y="744"/>
                    </a:lnTo>
                    <a:lnTo>
                      <a:pt x="237" y="739"/>
                    </a:lnTo>
                    <a:lnTo>
                      <a:pt x="234" y="737"/>
                    </a:lnTo>
                    <a:lnTo>
                      <a:pt x="232" y="734"/>
                    </a:lnTo>
                    <a:lnTo>
                      <a:pt x="232" y="732"/>
                    </a:lnTo>
                    <a:lnTo>
                      <a:pt x="237" y="734"/>
                    </a:lnTo>
                    <a:lnTo>
                      <a:pt x="247" y="737"/>
                    </a:lnTo>
                    <a:lnTo>
                      <a:pt x="249" y="736"/>
                    </a:lnTo>
                    <a:lnTo>
                      <a:pt x="249" y="734"/>
                    </a:lnTo>
                    <a:lnTo>
                      <a:pt x="245" y="729"/>
                    </a:lnTo>
                    <a:lnTo>
                      <a:pt x="244" y="729"/>
                    </a:lnTo>
                    <a:lnTo>
                      <a:pt x="240" y="731"/>
                    </a:lnTo>
                    <a:lnTo>
                      <a:pt x="237" y="731"/>
                    </a:lnTo>
                    <a:lnTo>
                      <a:pt x="232" y="731"/>
                    </a:lnTo>
                    <a:lnTo>
                      <a:pt x="232" y="729"/>
                    </a:lnTo>
                    <a:lnTo>
                      <a:pt x="234" y="727"/>
                    </a:lnTo>
                    <a:lnTo>
                      <a:pt x="239" y="724"/>
                    </a:lnTo>
                    <a:lnTo>
                      <a:pt x="240" y="726"/>
                    </a:lnTo>
                    <a:lnTo>
                      <a:pt x="244" y="727"/>
                    </a:lnTo>
                    <a:lnTo>
                      <a:pt x="245" y="726"/>
                    </a:lnTo>
                    <a:lnTo>
                      <a:pt x="245" y="722"/>
                    </a:lnTo>
                    <a:lnTo>
                      <a:pt x="242" y="719"/>
                    </a:lnTo>
                    <a:lnTo>
                      <a:pt x="240" y="721"/>
                    </a:lnTo>
                    <a:lnTo>
                      <a:pt x="239" y="721"/>
                    </a:lnTo>
                    <a:lnTo>
                      <a:pt x="235" y="722"/>
                    </a:lnTo>
                    <a:lnTo>
                      <a:pt x="234" y="722"/>
                    </a:lnTo>
                    <a:lnTo>
                      <a:pt x="227" y="727"/>
                    </a:lnTo>
                    <a:lnTo>
                      <a:pt x="225" y="727"/>
                    </a:lnTo>
                    <a:lnTo>
                      <a:pt x="225" y="726"/>
                    </a:lnTo>
                    <a:lnTo>
                      <a:pt x="227" y="724"/>
                    </a:lnTo>
                    <a:lnTo>
                      <a:pt x="229" y="721"/>
                    </a:lnTo>
                    <a:lnTo>
                      <a:pt x="232" y="717"/>
                    </a:lnTo>
                    <a:lnTo>
                      <a:pt x="234" y="717"/>
                    </a:lnTo>
                    <a:lnTo>
                      <a:pt x="237" y="717"/>
                    </a:lnTo>
                    <a:lnTo>
                      <a:pt x="240" y="716"/>
                    </a:lnTo>
                    <a:lnTo>
                      <a:pt x="242" y="714"/>
                    </a:lnTo>
                    <a:lnTo>
                      <a:pt x="244" y="712"/>
                    </a:lnTo>
                    <a:lnTo>
                      <a:pt x="244" y="712"/>
                    </a:lnTo>
                    <a:lnTo>
                      <a:pt x="237" y="712"/>
                    </a:lnTo>
                    <a:lnTo>
                      <a:pt x="235" y="714"/>
                    </a:lnTo>
                    <a:lnTo>
                      <a:pt x="232" y="716"/>
                    </a:lnTo>
                    <a:lnTo>
                      <a:pt x="229" y="714"/>
                    </a:lnTo>
                    <a:lnTo>
                      <a:pt x="224" y="714"/>
                    </a:lnTo>
                    <a:lnTo>
                      <a:pt x="222" y="714"/>
                    </a:lnTo>
                    <a:lnTo>
                      <a:pt x="222" y="711"/>
                    </a:lnTo>
                    <a:lnTo>
                      <a:pt x="225" y="709"/>
                    </a:lnTo>
                    <a:lnTo>
                      <a:pt x="229" y="707"/>
                    </a:lnTo>
                    <a:lnTo>
                      <a:pt x="234" y="707"/>
                    </a:lnTo>
                    <a:lnTo>
                      <a:pt x="242" y="706"/>
                    </a:lnTo>
                    <a:lnTo>
                      <a:pt x="247" y="702"/>
                    </a:lnTo>
                    <a:lnTo>
                      <a:pt x="247" y="701"/>
                    </a:lnTo>
                    <a:lnTo>
                      <a:pt x="245" y="701"/>
                    </a:lnTo>
                    <a:lnTo>
                      <a:pt x="244" y="701"/>
                    </a:lnTo>
                    <a:lnTo>
                      <a:pt x="240" y="702"/>
                    </a:lnTo>
                    <a:lnTo>
                      <a:pt x="237" y="704"/>
                    </a:lnTo>
                    <a:lnTo>
                      <a:pt x="234" y="702"/>
                    </a:lnTo>
                    <a:lnTo>
                      <a:pt x="232" y="699"/>
                    </a:lnTo>
                    <a:lnTo>
                      <a:pt x="229" y="699"/>
                    </a:lnTo>
                    <a:lnTo>
                      <a:pt x="225" y="699"/>
                    </a:lnTo>
                    <a:lnTo>
                      <a:pt x="224" y="697"/>
                    </a:lnTo>
                    <a:lnTo>
                      <a:pt x="224" y="696"/>
                    </a:lnTo>
                    <a:lnTo>
                      <a:pt x="227" y="694"/>
                    </a:lnTo>
                    <a:lnTo>
                      <a:pt x="229" y="689"/>
                    </a:lnTo>
                    <a:lnTo>
                      <a:pt x="232" y="687"/>
                    </a:lnTo>
                    <a:lnTo>
                      <a:pt x="235" y="686"/>
                    </a:lnTo>
                    <a:lnTo>
                      <a:pt x="234" y="684"/>
                    </a:lnTo>
                    <a:lnTo>
                      <a:pt x="232" y="684"/>
                    </a:lnTo>
                    <a:lnTo>
                      <a:pt x="229" y="686"/>
                    </a:lnTo>
                    <a:lnTo>
                      <a:pt x="225" y="691"/>
                    </a:lnTo>
                    <a:lnTo>
                      <a:pt x="224" y="692"/>
                    </a:lnTo>
                    <a:lnTo>
                      <a:pt x="220" y="696"/>
                    </a:lnTo>
                    <a:lnTo>
                      <a:pt x="220" y="696"/>
                    </a:lnTo>
                    <a:lnTo>
                      <a:pt x="217" y="696"/>
                    </a:lnTo>
                    <a:lnTo>
                      <a:pt x="219" y="692"/>
                    </a:lnTo>
                    <a:lnTo>
                      <a:pt x="219" y="687"/>
                    </a:lnTo>
                    <a:lnTo>
                      <a:pt x="219" y="682"/>
                    </a:lnTo>
                    <a:lnTo>
                      <a:pt x="217" y="677"/>
                    </a:lnTo>
                    <a:lnTo>
                      <a:pt x="217" y="674"/>
                    </a:lnTo>
                    <a:lnTo>
                      <a:pt x="219" y="671"/>
                    </a:lnTo>
                    <a:lnTo>
                      <a:pt x="219" y="668"/>
                    </a:lnTo>
                    <a:lnTo>
                      <a:pt x="217" y="668"/>
                    </a:lnTo>
                    <a:lnTo>
                      <a:pt x="215" y="669"/>
                    </a:lnTo>
                    <a:lnTo>
                      <a:pt x="214" y="677"/>
                    </a:lnTo>
                    <a:lnTo>
                      <a:pt x="215" y="681"/>
                    </a:lnTo>
                    <a:lnTo>
                      <a:pt x="217" y="684"/>
                    </a:lnTo>
                    <a:lnTo>
                      <a:pt x="217" y="687"/>
                    </a:lnTo>
                    <a:lnTo>
                      <a:pt x="217" y="694"/>
                    </a:lnTo>
                    <a:lnTo>
                      <a:pt x="215" y="697"/>
                    </a:lnTo>
                    <a:lnTo>
                      <a:pt x="214" y="697"/>
                    </a:lnTo>
                    <a:lnTo>
                      <a:pt x="211" y="694"/>
                    </a:lnTo>
                    <a:lnTo>
                      <a:pt x="209" y="692"/>
                    </a:lnTo>
                    <a:lnTo>
                      <a:pt x="207" y="697"/>
                    </a:lnTo>
                    <a:lnTo>
                      <a:pt x="207" y="699"/>
                    </a:lnTo>
                    <a:lnTo>
                      <a:pt x="206" y="699"/>
                    </a:lnTo>
                    <a:lnTo>
                      <a:pt x="202" y="699"/>
                    </a:lnTo>
                    <a:lnTo>
                      <a:pt x="206" y="701"/>
                    </a:lnTo>
                    <a:lnTo>
                      <a:pt x="206" y="704"/>
                    </a:lnTo>
                    <a:lnTo>
                      <a:pt x="204" y="707"/>
                    </a:lnTo>
                    <a:lnTo>
                      <a:pt x="202" y="709"/>
                    </a:lnTo>
                    <a:lnTo>
                      <a:pt x="199" y="711"/>
                    </a:lnTo>
                    <a:lnTo>
                      <a:pt x="197" y="709"/>
                    </a:lnTo>
                    <a:lnTo>
                      <a:pt x="196" y="711"/>
                    </a:lnTo>
                    <a:lnTo>
                      <a:pt x="192" y="712"/>
                    </a:lnTo>
                    <a:lnTo>
                      <a:pt x="186" y="712"/>
                    </a:lnTo>
                    <a:lnTo>
                      <a:pt x="184" y="711"/>
                    </a:lnTo>
                    <a:lnTo>
                      <a:pt x="184" y="707"/>
                    </a:lnTo>
                    <a:lnTo>
                      <a:pt x="182" y="706"/>
                    </a:lnTo>
                    <a:lnTo>
                      <a:pt x="181" y="704"/>
                    </a:lnTo>
                    <a:lnTo>
                      <a:pt x="179" y="704"/>
                    </a:lnTo>
                    <a:lnTo>
                      <a:pt x="177" y="707"/>
                    </a:lnTo>
                    <a:lnTo>
                      <a:pt x="177" y="707"/>
                    </a:lnTo>
                    <a:lnTo>
                      <a:pt x="176" y="702"/>
                    </a:lnTo>
                    <a:lnTo>
                      <a:pt x="176" y="699"/>
                    </a:lnTo>
                    <a:lnTo>
                      <a:pt x="176" y="696"/>
                    </a:lnTo>
                    <a:lnTo>
                      <a:pt x="174" y="694"/>
                    </a:lnTo>
                    <a:lnTo>
                      <a:pt x="174" y="692"/>
                    </a:lnTo>
                    <a:lnTo>
                      <a:pt x="177" y="691"/>
                    </a:lnTo>
                    <a:lnTo>
                      <a:pt x="182" y="691"/>
                    </a:lnTo>
                    <a:lnTo>
                      <a:pt x="184" y="691"/>
                    </a:lnTo>
                    <a:lnTo>
                      <a:pt x="186" y="687"/>
                    </a:lnTo>
                    <a:lnTo>
                      <a:pt x="187" y="687"/>
                    </a:lnTo>
                    <a:lnTo>
                      <a:pt x="196" y="686"/>
                    </a:lnTo>
                    <a:lnTo>
                      <a:pt x="197" y="687"/>
                    </a:lnTo>
                    <a:lnTo>
                      <a:pt x="202" y="681"/>
                    </a:lnTo>
                    <a:lnTo>
                      <a:pt x="207" y="676"/>
                    </a:lnTo>
                    <a:lnTo>
                      <a:pt x="207" y="674"/>
                    </a:lnTo>
                    <a:lnTo>
                      <a:pt x="206" y="672"/>
                    </a:lnTo>
                    <a:lnTo>
                      <a:pt x="202" y="674"/>
                    </a:lnTo>
                    <a:lnTo>
                      <a:pt x="201" y="679"/>
                    </a:lnTo>
                    <a:lnTo>
                      <a:pt x="197" y="682"/>
                    </a:lnTo>
                    <a:lnTo>
                      <a:pt x="192" y="684"/>
                    </a:lnTo>
                    <a:lnTo>
                      <a:pt x="186" y="682"/>
                    </a:lnTo>
                    <a:lnTo>
                      <a:pt x="182" y="681"/>
                    </a:lnTo>
                    <a:lnTo>
                      <a:pt x="182" y="677"/>
                    </a:lnTo>
                    <a:lnTo>
                      <a:pt x="187" y="676"/>
                    </a:lnTo>
                    <a:lnTo>
                      <a:pt x="192" y="671"/>
                    </a:lnTo>
                    <a:lnTo>
                      <a:pt x="196" y="671"/>
                    </a:lnTo>
                    <a:lnTo>
                      <a:pt x="196" y="669"/>
                    </a:lnTo>
                    <a:lnTo>
                      <a:pt x="196" y="668"/>
                    </a:lnTo>
                    <a:lnTo>
                      <a:pt x="197" y="666"/>
                    </a:lnTo>
                    <a:lnTo>
                      <a:pt x="199" y="664"/>
                    </a:lnTo>
                    <a:lnTo>
                      <a:pt x="201" y="664"/>
                    </a:lnTo>
                    <a:lnTo>
                      <a:pt x="201" y="663"/>
                    </a:lnTo>
                    <a:lnTo>
                      <a:pt x="199" y="661"/>
                    </a:lnTo>
                    <a:lnTo>
                      <a:pt x="199" y="659"/>
                    </a:lnTo>
                    <a:lnTo>
                      <a:pt x="197" y="661"/>
                    </a:lnTo>
                    <a:lnTo>
                      <a:pt x="196" y="663"/>
                    </a:lnTo>
                    <a:lnTo>
                      <a:pt x="189" y="661"/>
                    </a:lnTo>
                    <a:lnTo>
                      <a:pt x="187" y="661"/>
                    </a:lnTo>
                    <a:lnTo>
                      <a:pt x="186" y="661"/>
                    </a:lnTo>
                    <a:lnTo>
                      <a:pt x="187" y="658"/>
                    </a:lnTo>
                    <a:lnTo>
                      <a:pt x="192" y="654"/>
                    </a:lnTo>
                    <a:lnTo>
                      <a:pt x="194" y="654"/>
                    </a:lnTo>
                    <a:lnTo>
                      <a:pt x="197" y="658"/>
                    </a:lnTo>
                    <a:lnTo>
                      <a:pt x="201" y="656"/>
                    </a:lnTo>
                    <a:lnTo>
                      <a:pt x="206" y="654"/>
                    </a:lnTo>
                    <a:lnTo>
                      <a:pt x="207" y="649"/>
                    </a:lnTo>
                    <a:lnTo>
                      <a:pt x="206" y="648"/>
                    </a:lnTo>
                    <a:lnTo>
                      <a:pt x="207" y="644"/>
                    </a:lnTo>
                    <a:lnTo>
                      <a:pt x="211" y="639"/>
                    </a:lnTo>
                    <a:lnTo>
                      <a:pt x="211" y="636"/>
                    </a:lnTo>
                    <a:lnTo>
                      <a:pt x="211" y="631"/>
                    </a:lnTo>
                    <a:lnTo>
                      <a:pt x="209" y="629"/>
                    </a:lnTo>
                    <a:lnTo>
                      <a:pt x="207" y="628"/>
                    </a:lnTo>
                    <a:lnTo>
                      <a:pt x="204" y="628"/>
                    </a:lnTo>
                    <a:lnTo>
                      <a:pt x="202" y="626"/>
                    </a:lnTo>
                    <a:lnTo>
                      <a:pt x="199" y="626"/>
                    </a:lnTo>
                    <a:lnTo>
                      <a:pt x="196" y="624"/>
                    </a:lnTo>
                    <a:lnTo>
                      <a:pt x="196" y="623"/>
                    </a:lnTo>
                    <a:lnTo>
                      <a:pt x="197" y="621"/>
                    </a:lnTo>
                    <a:lnTo>
                      <a:pt x="201" y="623"/>
                    </a:lnTo>
                    <a:lnTo>
                      <a:pt x="204" y="621"/>
                    </a:lnTo>
                    <a:lnTo>
                      <a:pt x="206" y="618"/>
                    </a:lnTo>
                    <a:lnTo>
                      <a:pt x="206" y="614"/>
                    </a:lnTo>
                    <a:lnTo>
                      <a:pt x="209" y="613"/>
                    </a:lnTo>
                    <a:lnTo>
                      <a:pt x="209" y="609"/>
                    </a:lnTo>
                    <a:lnTo>
                      <a:pt x="207" y="608"/>
                    </a:lnTo>
                    <a:lnTo>
                      <a:pt x="204" y="608"/>
                    </a:lnTo>
                    <a:lnTo>
                      <a:pt x="202" y="606"/>
                    </a:lnTo>
                    <a:lnTo>
                      <a:pt x="202" y="603"/>
                    </a:lnTo>
                    <a:lnTo>
                      <a:pt x="204" y="601"/>
                    </a:lnTo>
                    <a:lnTo>
                      <a:pt x="206" y="603"/>
                    </a:lnTo>
                    <a:lnTo>
                      <a:pt x="206" y="601"/>
                    </a:lnTo>
                    <a:lnTo>
                      <a:pt x="202" y="596"/>
                    </a:lnTo>
                    <a:lnTo>
                      <a:pt x="202" y="593"/>
                    </a:lnTo>
                    <a:lnTo>
                      <a:pt x="204" y="591"/>
                    </a:lnTo>
                    <a:lnTo>
                      <a:pt x="206" y="594"/>
                    </a:lnTo>
                    <a:lnTo>
                      <a:pt x="206" y="593"/>
                    </a:lnTo>
                    <a:lnTo>
                      <a:pt x="204" y="589"/>
                    </a:lnTo>
                    <a:lnTo>
                      <a:pt x="204" y="588"/>
                    </a:lnTo>
                    <a:lnTo>
                      <a:pt x="207" y="584"/>
                    </a:lnTo>
                    <a:lnTo>
                      <a:pt x="206" y="579"/>
                    </a:lnTo>
                    <a:lnTo>
                      <a:pt x="204" y="576"/>
                    </a:lnTo>
                    <a:lnTo>
                      <a:pt x="204" y="574"/>
                    </a:lnTo>
                    <a:lnTo>
                      <a:pt x="202" y="571"/>
                    </a:lnTo>
                    <a:lnTo>
                      <a:pt x="204" y="570"/>
                    </a:lnTo>
                    <a:lnTo>
                      <a:pt x="206" y="565"/>
                    </a:lnTo>
                    <a:lnTo>
                      <a:pt x="204" y="565"/>
                    </a:lnTo>
                    <a:lnTo>
                      <a:pt x="202" y="565"/>
                    </a:lnTo>
                    <a:lnTo>
                      <a:pt x="197" y="568"/>
                    </a:lnTo>
                    <a:lnTo>
                      <a:pt x="196" y="568"/>
                    </a:lnTo>
                    <a:lnTo>
                      <a:pt x="192" y="570"/>
                    </a:lnTo>
                    <a:lnTo>
                      <a:pt x="191" y="571"/>
                    </a:lnTo>
                    <a:lnTo>
                      <a:pt x="189" y="570"/>
                    </a:lnTo>
                    <a:lnTo>
                      <a:pt x="191" y="568"/>
                    </a:lnTo>
                    <a:lnTo>
                      <a:pt x="194" y="565"/>
                    </a:lnTo>
                    <a:lnTo>
                      <a:pt x="197" y="565"/>
                    </a:lnTo>
                    <a:lnTo>
                      <a:pt x="199" y="561"/>
                    </a:lnTo>
                    <a:lnTo>
                      <a:pt x="201" y="560"/>
                    </a:lnTo>
                    <a:lnTo>
                      <a:pt x="204" y="556"/>
                    </a:lnTo>
                    <a:lnTo>
                      <a:pt x="207" y="555"/>
                    </a:lnTo>
                    <a:lnTo>
                      <a:pt x="209" y="551"/>
                    </a:lnTo>
                    <a:lnTo>
                      <a:pt x="209" y="548"/>
                    </a:lnTo>
                    <a:lnTo>
                      <a:pt x="207" y="546"/>
                    </a:lnTo>
                    <a:lnTo>
                      <a:pt x="204" y="543"/>
                    </a:lnTo>
                    <a:lnTo>
                      <a:pt x="202" y="540"/>
                    </a:lnTo>
                    <a:lnTo>
                      <a:pt x="201" y="538"/>
                    </a:lnTo>
                    <a:lnTo>
                      <a:pt x="199" y="538"/>
                    </a:lnTo>
                    <a:lnTo>
                      <a:pt x="197" y="535"/>
                    </a:lnTo>
                    <a:lnTo>
                      <a:pt x="197" y="533"/>
                    </a:lnTo>
                    <a:lnTo>
                      <a:pt x="199" y="531"/>
                    </a:lnTo>
                    <a:lnTo>
                      <a:pt x="197" y="530"/>
                    </a:lnTo>
                    <a:lnTo>
                      <a:pt x="197" y="525"/>
                    </a:lnTo>
                    <a:lnTo>
                      <a:pt x="196" y="521"/>
                    </a:lnTo>
                    <a:lnTo>
                      <a:pt x="187" y="515"/>
                    </a:lnTo>
                    <a:lnTo>
                      <a:pt x="187" y="513"/>
                    </a:lnTo>
                    <a:lnTo>
                      <a:pt x="186" y="511"/>
                    </a:lnTo>
                    <a:lnTo>
                      <a:pt x="184" y="510"/>
                    </a:lnTo>
                    <a:lnTo>
                      <a:pt x="184" y="508"/>
                    </a:lnTo>
                    <a:lnTo>
                      <a:pt x="186" y="506"/>
                    </a:lnTo>
                    <a:lnTo>
                      <a:pt x="191" y="503"/>
                    </a:lnTo>
                    <a:lnTo>
                      <a:pt x="192" y="501"/>
                    </a:lnTo>
                    <a:lnTo>
                      <a:pt x="194" y="500"/>
                    </a:lnTo>
                    <a:lnTo>
                      <a:pt x="192" y="498"/>
                    </a:lnTo>
                    <a:lnTo>
                      <a:pt x="189" y="498"/>
                    </a:lnTo>
                    <a:lnTo>
                      <a:pt x="189" y="496"/>
                    </a:lnTo>
                    <a:lnTo>
                      <a:pt x="192" y="495"/>
                    </a:lnTo>
                    <a:lnTo>
                      <a:pt x="194" y="491"/>
                    </a:lnTo>
                    <a:lnTo>
                      <a:pt x="196" y="488"/>
                    </a:lnTo>
                    <a:lnTo>
                      <a:pt x="196" y="486"/>
                    </a:lnTo>
                    <a:lnTo>
                      <a:pt x="196" y="485"/>
                    </a:lnTo>
                    <a:lnTo>
                      <a:pt x="197" y="483"/>
                    </a:lnTo>
                    <a:lnTo>
                      <a:pt x="196" y="480"/>
                    </a:lnTo>
                    <a:lnTo>
                      <a:pt x="192" y="480"/>
                    </a:lnTo>
                    <a:lnTo>
                      <a:pt x="189" y="475"/>
                    </a:lnTo>
                    <a:lnTo>
                      <a:pt x="184" y="472"/>
                    </a:lnTo>
                    <a:lnTo>
                      <a:pt x="182" y="468"/>
                    </a:lnTo>
                    <a:lnTo>
                      <a:pt x="181" y="467"/>
                    </a:lnTo>
                    <a:lnTo>
                      <a:pt x="179" y="468"/>
                    </a:lnTo>
                    <a:lnTo>
                      <a:pt x="177" y="470"/>
                    </a:lnTo>
                    <a:lnTo>
                      <a:pt x="176" y="470"/>
                    </a:lnTo>
                    <a:lnTo>
                      <a:pt x="174" y="468"/>
                    </a:lnTo>
                    <a:lnTo>
                      <a:pt x="174" y="465"/>
                    </a:lnTo>
                    <a:lnTo>
                      <a:pt x="171" y="463"/>
                    </a:lnTo>
                    <a:lnTo>
                      <a:pt x="167" y="462"/>
                    </a:lnTo>
                    <a:lnTo>
                      <a:pt x="166" y="458"/>
                    </a:lnTo>
                    <a:lnTo>
                      <a:pt x="164" y="458"/>
                    </a:lnTo>
                    <a:lnTo>
                      <a:pt x="162" y="460"/>
                    </a:lnTo>
                    <a:lnTo>
                      <a:pt x="161" y="460"/>
                    </a:lnTo>
                    <a:lnTo>
                      <a:pt x="161" y="458"/>
                    </a:lnTo>
                    <a:lnTo>
                      <a:pt x="161" y="455"/>
                    </a:lnTo>
                    <a:lnTo>
                      <a:pt x="156" y="450"/>
                    </a:lnTo>
                    <a:lnTo>
                      <a:pt x="151" y="447"/>
                    </a:lnTo>
                    <a:lnTo>
                      <a:pt x="149" y="447"/>
                    </a:lnTo>
                    <a:lnTo>
                      <a:pt x="147" y="448"/>
                    </a:lnTo>
                    <a:lnTo>
                      <a:pt x="142" y="448"/>
                    </a:lnTo>
                    <a:lnTo>
                      <a:pt x="136" y="442"/>
                    </a:lnTo>
                    <a:lnTo>
                      <a:pt x="131" y="440"/>
                    </a:lnTo>
                    <a:lnTo>
                      <a:pt x="127" y="438"/>
                    </a:lnTo>
                    <a:lnTo>
                      <a:pt x="124" y="437"/>
                    </a:lnTo>
                    <a:lnTo>
                      <a:pt x="117" y="437"/>
                    </a:lnTo>
                    <a:lnTo>
                      <a:pt x="116" y="440"/>
                    </a:lnTo>
                    <a:lnTo>
                      <a:pt x="113" y="443"/>
                    </a:lnTo>
                    <a:lnTo>
                      <a:pt x="108" y="447"/>
                    </a:lnTo>
                    <a:lnTo>
                      <a:pt x="106" y="448"/>
                    </a:lnTo>
                    <a:lnTo>
                      <a:pt x="106" y="445"/>
                    </a:lnTo>
                    <a:lnTo>
                      <a:pt x="108" y="442"/>
                    </a:lnTo>
                    <a:lnTo>
                      <a:pt x="108" y="437"/>
                    </a:lnTo>
                    <a:lnTo>
                      <a:pt x="106" y="437"/>
                    </a:lnTo>
                    <a:lnTo>
                      <a:pt x="103" y="437"/>
                    </a:lnTo>
                    <a:lnTo>
                      <a:pt x="99" y="438"/>
                    </a:lnTo>
                    <a:lnTo>
                      <a:pt x="99" y="442"/>
                    </a:lnTo>
                    <a:lnTo>
                      <a:pt x="96" y="443"/>
                    </a:lnTo>
                    <a:lnTo>
                      <a:pt x="94" y="442"/>
                    </a:lnTo>
                    <a:lnTo>
                      <a:pt x="91" y="437"/>
                    </a:lnTo>
                    <a:lnTo>
                      <a:pt x="88" y="435"/>
                    </a:lnTo>
                    <a:lnTo>
                      <a:pt x="88" y="438"/>
                    </a:lnTo>
                    <a:lnTo>
                      <a:pt x="84" y="445"/>
                    </a:lnTo>
                    <a:lnTo>
                      <a:pt x="83" y="447"/>
                    </a:lnTo>
                    <a:lnTo>
                      <a:pt x="79" y="445"/>
                    </a:lnTo>
                    <a:lnTo>
                      <a:pt x="79" y="442"/>
                    </a:lnTo>
                    <a:lnTo>
                      <a:pt x="81" y="437"/>
                    </a:lnTo>
                    <a:lnTo>
                      <a:pt x="86" y="435"/>
                    </a:lnTo>
                    <a:lnTo>
                      <a:pt x="84" y="433"/>
                    </a:lnTo>
                    <a:lnTo>
                      <a:pt x="81" y="433"/>
                    </a:lnTo>
                    <a:lnTo>
                      <a:pt x="79" y="432"/>
                    </a:lnTo>
                    <a:lnTo>
                      <a:pt x="76" y="435"/>
                    </a:lnTo>
                    <a:lnTo>
                      <a:pt x="73" y="435"/>
                    </a:lnTo>
                    <a:lnTo>
                      <a:pt x="71" y="438"/>
                    </a:lnTo>
                    <a:lnTo>
                      <a:pt x="69" y="438"/>
                    </a:lnTo>
                    <a:lnTo>
                      <a:pt x="68" y="437"/>
                    </a:lnTo>
                    <a:lnTo>
                      <a:pt x="68" y="433"/>
                    </a:lnTo>
                    <a:lnTo>
                      <a:pt x="66" y="430"/>
                    </a:lnTo>
                    <a:lnTo>
                      <a:pt x="66" y="427"/>
                    </a:lnTo>
                    <a:lnTo>
                      <a:pt x="64" y="427"/>
                    </a:lnTo>
                    <a:lnTo>
                      <a:pt x="61" y="427"/>
                    </a:lnTo>
                    <a:lnTo>
                      <a:pt x="61" y="430"/>
                    </a:lnTo>
                    <a:lnTo>
                      <a:pt x="59" y="433"/>
                    </a:lnTo>
                    <a:lnTo>
                      <a:pt x="58" y="435"/>
                    </a:lnTo>
                    <a:lnTo>
                      <a:pt x="58" y="438"/>
                    </a:lnTo>
                    <a:lnTo>
                      <a:pt x="59" y="445"/>
                    </a:lnTo>
                    <a:lnTo>
                      <a:pt x="58" y="447"/>
                    </a:lnTo>
                    <a:lnTo>
                      <a:pt x="58" y="448"/>
                    </a:lnTo>
                    <a:lnTo>
                      <a:pt x="54" y="447"/>
                    </a:lnTo>
                    <a:lnTo>
                      <a:pt x="49" y="443"/>
                    </a:lnTo>
                    <a:lnTo>
                      <a:pt x="44" y="442"/>
                    </a:lnTo>
                    <a:lnTo>
                      <a:pt x="41" y="438"/>
                    </a:lnTo>
                    <a:lnTo>
                      <a:pt x="36" y="435"/>
                    </a:lnTo>
                    <a:lnTo>
                      <a:pt x="34" y="433"/>
                    </a:lnTo>
                    <a:lnTo>
                      <a:pt x="34" y="432"/>
                    </a:lnTo>
                    <a:lnTo>
                      <a:pt x="36" y="430"/>
                    </a:lnTo>
                    <a:lnTo>
                      <a:pt x="31" y="428"/>
                    </a:lnTo>
                    <a:lnTo>
                      <a:pt x="28" y="422"/>
                    </a:lnTo>
                    <a:lnTo>
                      <a:pt x="24" y="420"/>
                    </a:lnTo>
                    <a:lnTo>
                      <a:pt x="21" y="415"/>
                    </a:lnTo>
                    <a:lnTo>
                      <a:pt x="21" y="410"/>
                    </a:lnTo>
                    <a:lnTo>
                      <a:pt x="23" y="408"/>
                    </a:lnTo>
                    <a:lnTo>
                      <a:pt x="29" y="408"/>
                    </a:lnTo>
                    <a:lnTo>
                      <a:pt x="33" y="405"/>
                    </a:lnTo>
                    <a:lnTo>
                      <a:pt x="36" y="405"/>
                    </a:lnTo>
                    <a:lnTo>
                      <a:pt x="43" y="405"/>
                    </a:lnTo>
                    <a:lnTo>
                      <a:pt x="44" y="405"/>
                    </a:lnTo>
                    <a:lnTo>
                      <a:pt x="48" y="403"/>
                    </a:lnTo>
                    <a:lnTo>
                      <a:pt x="49" y="402"/>
                    </a:lnTo>
                    <a:lnTo>
                      <a:pt x="49" y="398"/>
                    </a:lnTo>
                    <a:lnTo>
                      <a:pt x="44" y="400"/>
                    </a:lnTo>
                    <a:lnTo>
                      <a:pt x="38" y="397"/>
                    </a:lnTo>
                    <a:lnTo>
                      <a:pt x="36" y="397"/>
                    </a:lnTo>
                    <a:lnTo>
                      <a:pt x="34" y="398"/>
                    </a:lnTo>
                    <a:lnTo>
                      <a:pt x="26" y="392"/>
                    </a:lnTo>
                    <a:lnTo>
                      <a:pt x="26" y="387"/>
                    </a:lnTo>
                    <a:lnTo>
                      <a:pt x="28" y="385"/>
                    </a:lnTo>
                    <a:lnTo>
                      <a:pt x="33" y="383"/>
                    </a:lnTo>
                    <a:lnTo>
                      <a:pt x="34" y="378"/>
                    </a:lnTo>
                    <a:lnTo>
                      <a:pt x="36" y="375"/>
                    </a:lnTo>
                    <a:lnTo>
                      <a:pt x="33" y="375"/>
                    </a:lnTo>
                    <a:lnTo>
                      <a:pt x="31" y="377"/>
                    </a:lnTo>
                    <a:lnTo>
                      <a:pt x="28" y="382"/>
                    </a:lnTo>
                    <a:lnTo>
                      <a:pt x="24" y="382"/>
                    </a:lnTo>
                    <a:lnTo>
                      <a:pt x="23" y="383"/>
                    </a:lnTo>
                    <a:lnTo>
                      <a:pt x="19" y="387"/>
                    </a:lnTo>
                    <a:lnTo>
                      <a:pt x="15" y="385"/>
                    </a:lnTo>
                    <a:lnTo>
                      <a:pt x="15" y="380"/>
                    </a:lnTo>
                    <a:lnTo>
                      <a:pt x="15" y="377"/>
                    </a:lnTo>
                    <a:lnTo>
                      <a:pt x="18" y="375"/>
                    </a:lnTo>
                    <a:lnTo>
                      <a:pt x="16" y="374"/>
                    </a:lnTo>
                    <a:lnTo>
                      <a:pt x="15" y="374"/>
                    </a:lnTo>
                    <a:lnTo>
                      <a:pt x="13" y="375"/>
                    </a:lnTo>
                    <a:lnTo>
                      <a:pt x="13" y="372"/>
                    </a:lnTo>
                    <a:lnTo>
                      <a:pt x="13" y="369"/>
                    </a:lnTo>
                    <a:lnTo>
                      <a:pt x="15" y="367"/>
                    </a:lnTo>
                    <a:lnTo>
                      <a:pt x="16" y="365"/>
                    </a:lnTo>
                    <a:lnTo>
                      <a:pt x="18" y="364"/>
                    </a:lnTo>
                    <a:lnTo>
                      <a:pt x="21" y="365"/>
                    </a:lnTo>
                    <a:lnTo>
                      <a:pt x="23" y="367"/>
                    </a:lnTo>
                    <a:lnTo>
                      <a:pt x="23" y="362"/>
                    </a:lnTo>
                    <a:lnTo>
                      <a:pt x="31" y="359"/>
                    </a:lnTo>
                    <a:lnTo>
                      <a:pt x="39" y="360"/>
                    </a:lnTo>
                    <a:lnTo>
                      <a:pt x="44" y="364"/>
                    </a:lnTo>
                    <a:lnTo>
                      <a:pt x="53" y="364"/>
                    </a:lnTo>
                    <a:lnTo>
                      <a:pt x="61" y="369"/>
                    </a:lnTo>
                    <a:lnTo>
                      <a:pt x="68" y="369"/>
                    </a:lnTo>
                    <a:lnTo>
                      <a:pt x="71" y="370"/>
                    </a:lnTo>
                    <a:lnTo>
                      <a:pt x="81" y="375"/>
                    </a:lnTo>
                    <a:lnTo>
                      <a:pt x="84" y="375"/>
                    </a:lnTo>
                    <a:lnTo>
                      <a:pt x="86" y="375"/>
                    </a:lnTo>
                    <a:lnTo>
                      <a:pt x="93" y="374"/>
                    </a:lnTo>
                    <a:lnTo>
                      <a:pt x="88" y="372"/>
                    </a:lnTo>
                    <a:lnTo>
                      <a:pt x="84" y="372"/>
                    </a:lnTo>
                    <a:lnTo>
                      <a:pt x="76" y="369"/>
                    </a:lnTo>
                    <a:lnTo>
                      <a:pt x="71" y="365"/>
                    </a:lnTo>
                    <a:lnTo>
                      <a:pt x="66" y="364"/>
                    </a:lnTo>
                    <a:lnTo>
                      <a:pt x="58" y="364"/>
                    </a:lnTo>
                    <a:lnTo>
                      <a:pt x="54" y="360"/>
                    </a:lnTo>
                    <a:lnTo>
                      <a:pt x="54" y="359"/>
                    </a:lnTo>
                    <a:lnTo>
                      <a:pt x="63" y="355"/>
                    </a:lnTo>
                    <a:lnTo>
                      <a:pt x="69" y="357"/>
                    </a:lnTo>
                    <a:lnTo>
                      <a:pt x="79" y="357"/>
                    </a:lnTo>
                    <a:lnTo>
                      <a:pt x="86" y="360"/>
                    </a:lnTo>
                    <a:lnTo>
                      <a:pt x="89" y="364"/>
                    </a:lnTo>
                    <a:lnTo>
                      <a:pt x="93" y="364"/>
                    </a:lnTo>
                    <a:lnTo>
                      <a:pt x="94" y="365"/>
                    </a:lnTo>
                    <a:lnTo>
                      <a:pt x="98" y="367"/>
                    </a:lnTo>
                    <a:lnTo>
                      <a:pt x="98" y="365"/>
                    </a:lnTo>
                    <a:lnTo>
                      <a:pt x="98" y="364"/>
                    </a:lnTo>
                    <a:lnTo>
                      <a:pt x="96" y="360"/>
                    </a:lnTo>
                    <a:lnTo>
                      <a:pt x="103" y="357"/>
                    </a:lnTo>
                    <a:lnTo>
                      <a:pt x="104" y="357"/>
                    </a:lnTo>
                    <a:lnTo>
                      <a:pt x="103" y="350"/>
                    </a:lnTo>
                    <a:lnTo>
                      <a:pt x="101" y="350"/>
                    </a:lnTo>
                    <a:lnTo>
                      <a:pt x="98" y="350"/>
                    </a:lnTo>
                    <a:lnTo>
                      <a:pt x="96" y="349"/>
                    </a:lnTo>
                    <a:lnTo>
                      <a:pt x="96" y="345"/>
                    </a:lnTo>
                    <a:lnTo>
                      <a:pt x="93" y="344"/>
                    </a:lnTo>
                    <a:lnTo>
                      <a:pt x="91" y="345"/>
                    </a:lnTo>
                    <a:lnTo>
                      <a:pt x="86" y="349"/>
                    </a:lnTo>
                    <a:lnTo>
                      <a:pt x="81" y="349"/>
                    </a:lnTo>
                    <a:lnTo>
                      <a:pt x="74" y="347"/>
                    </a:lnTo>
                    <a:lnTo>
                      <a:pt x="69" y="345"/>
                    </a:lnTo>
                    <a:lnTo>
                      <a:pt x="71" y="344"/>
                    </a:lnTo>
                    <a:lnTo>
                      <a:pt x="69" y="342"/>
                    </a:lnTo>
                    <a:lnTo>
                      <a:pt x="66" y="337"/>
                    </a:lnTo>
                    <a:lnTo>
                      <a:pt x="63" y="337"/>
                    </a:lnTo>
                    <a:lnTo>
                      <a:pt x="63" y="339"/>
                    </a:lnTo>
                    <a:lnTo>
                      <a:pt x="63" y="340"/>
                    </a:lnTo>
                    <a:lnTo>
                      <a:pt x="64" y="342"/>
                    </a:lnTo>
                    <a:lnTo>
                      <a:pt x="64" y="347"/>
                    </a:lnTo>
                    <a:lnTo>
                      <a:pt x="63" y="349"/>
                    </a:lnTo>
                    <a:lnTo>
                      <a:pt x="56" y="349"/>
                    </a:lnTo>
                    <a:lnTo>
                      <a:pt x="49" y="347"/>
                    </a:lnTo>
                    <a:lnTo>
                      <a:pt x="43" y="340"/>
                    </a:lnTo>
                    <a:lnTo>
                      <a:pt x="43" y="339"/>
                    </a:lnTo>
                    <a:lnTo>
                      <a:pt x="48" y="337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4" y="332"/>
                    </a:lnTo>
                    <a:lnTo>
                      <a:pt x="48" y="334"/>
                    </a:lnTo>
                    <a:lnTo>
                      <a:pt x="44" y="335"/>
                    </a:lnTo>
                    <a:lnTo>
                      <a:pt x="39" y="335"/>
                    </a:lnTo>
                    <a:lnTo>
                      <a:pt x="39" y="332"/>
                    </a:lnTo>
                    <a:lnTo>
                      <a:pt x="41" y="330"/>
                    </a:lnTo>
                    <a:lnTo>
                      <a:pt x="46" y="329"/>
                    </a:lnTo>
                    <a:lnTo>
                      <a:pt x="49" y="327"/>
                    </a:lnTo>
                    <a:lnTo>
                      <a:pt x="53" y="322"/>
                    </a:lnTo>
                    <a:lnTo>
                      <a:pt x="51" y="319"/>
                    </a:lnTo>
                    <a:lnTo>
                      <a:pt x="49" y="319"/>
                    </a:lnTo>
                    <a:lnTo>
                      <a:pt x="48" y="320"/>
                    </a:lnTo>
                    <a:lnTo>
                      <a:pt x="46" y="322"/>
                    </a:lnTo>
                    <a:lnTo>
                      <a:pt x="41" y="325"/>
                    </a:lnTo>
                    <a:lnTo>
                      <a:pt x="36" y="325"/>
                    </a:lnTo>
                    <a:lnTo>
                      <a:pt x="31" y="325"/>
                    </a:lnTo>
                    <a:lnTo>
                      <a:pt x="29" y="322"/>
                    </a:lnTo>
                    <a:lnTo>
                      <a:pt x="31" y="320"/>
                    </a:lnTo>
                    <a:lnTo>
                      <a:pt x="33" y="317"/>
                    </a:lnTo>
                    <a:lnTo>
                      <a:pt x="36" y="315"/>
                    </a:lnTo>
                    <a:lnTo>
                      <a:pt x="34" y="314"/>
                    </a:lnTo>
                    <a:lnTo>
                      <a:pt x="33" y="314"/>
                    </a:lnTo>
                    <a:lnTo>
                      <a:pt x="28" y="314"/>
                    </a:lnTo>
                    <a:lnTo>
                      <a:pt x="26" y="312"/>
                    </a:lnTo>
                    <a:lnTo>
                      <a:pt x="21" y="302"/>
                    </a:lnTo>
                    <a:lnTo>
                      <a:pt x="19" y="300"/>
                    </a:lnTo>
                    <a:lnTo>
                      <a:pt x="15" y="299"/>
                    </a:lnTo>
                    <a:lnTo>
                      <a:pt x="13" y="295"/>
                    </a:lnTo>
                    <a:lnTo>
                      <a:pt x="16" y="295"/>
                    </a:lnTo>
                    <a:lnTo>
                      <a:pt x="19" y="294"/>
                    </a:lnTo>
                    <a:lnTo>
                      <a:pt x="23" y="290"/>
                    </a:lnTo>
                    <a:lnTo>
                      <a:pt x="24" y="289"/>
                    </a:lnTo>
                    <a:lnTo>
                      <a:pt x="24" y="289"/>
                    </a:lnTo>
                    <a:lnTo>
                      <a:pt x="28" y="289"/>
                    </a:lnTo>
                    <a:lnTo>
                      <a:pt x="28" y="287"/>
                    </a:lnTo>
                    <a:lnTo>
                      <a:pt x="24" y="287"/>
                    </a:lnTo>
                    <a:lnTo>
                      <a:pt x="21" y="285"/>
                    </a:lnTo>
                    <a:lnTo>
                      <a:pt x="19" y="284"/>
                    </a:lnTo>
                    <a:lnTo>
                      <a:pt x="21" y="282"/>
                    </a:lnTo>
                    <a:lnTo>
                      <a:pt x="24" y="282"/>
                    </a:lnTo>
                    <a:lnTo>
                      <a:pt x="33" y="279"/>
                    </a:lnTo>
                    <a:lnTo>
                      <a:pt x="33" y="277"/>
                    </a:lnTo>
                    <a:lnTo>
                      <a:pt x="33" y="276"/>
                    </a:lnTo>
                    <a:lnTo>
                      <a:pt x="36" y="274"/>
                    </a:lnTo>
                    <a:lnTo>
                      <a:pt x="39" y="272"/>
                    </a:lnTo>
                    <a:lnTo>
                      <a:pt x="43" y="272"/>
                    </a:lnTo>
                    <a:lnTo>
                      <a:pt x="44" y="272"/>
                    </a:lnTo>
                    <a:lnTo>
                      <a:pt x="48" y="272"/>
                    </a:lnTo>
                    <a:lnTo>
                      <a:pt x="51" y="271"/>
                    </a:lnTo>
                    <a:lnTo>
                      <a:pt x="54" y="271"/>
                    </a:lnTo>
                    <a:lnTo>
                      <a:pt x="58" y="272"/>
                    </a:lnTo>
                    <a:lnTo>
                      <a:pt x="58" y="272"/>
                    </a:lnTo>
                    <a:lnTo>
                      <a:pt x="59" y="274"/>
                    </a:lnTo>
                    <a:lnTo>
                      <a:pt x="61" y="272"/>
                    </a:lnTo>
                    <a:lnTo>
                      <a:pt x="63" y="271"/>
                    </a:lnTo>
                    <a:lnTo>
                      <a:pt x="66" y="269"/>
                    </a:lnTo>
                    <a:lnTo>
                      <a:pt x="69" y="269"/>
                    </a:lnTo>
                    <a:lnTo>
                      <a:pt x="71" y="269"/>
                    </a:lnTo>
                    <a:lnTo>
                      <a:pt x="74" y="267"/>
                    </a:lnTo>
                    <a:lnTo>
                      <a:pt x="74" y="267"/>
                    </a:lnTo>
                    <a:lnTo>
                      <a:pt x="79" y="267"/>
                    </a:lnTo>
                    <a:lnTo>
                      <a:pt x="98" y="264"/>
                    </a:lnTo>
                    <a:lnTo>
                      <a:pt x="101" y="264"/>
                    </a:lnTo>
                    <a:lnTo>
                      <a:pt x="103" y="266"/>
                    </a:lnTo>
                    <a:lnTo>
                      <a:pt x="103" y="262"/>
                    </a:lnTo>
                    <a:lnTo>
                      <a:pt x="101" y="261"/>
                    </a:lnTo>
                    <a:lnTo>
                      <a:pt x="103" y="259"/>
                    </a:lnTo>
                    <a:lnTo>
                      <a:pt x="109" y="256"/>
                    </a:lnTo>
                    <a:lnTo>
                      <a:pt x="116" y="256"/>
                    </a:lnTo>
                    <a:lnTo>
                      <a:pt x="121" y="256"/>
                    </a:lnTo>
                    <a:lnTo>
                      <a:pt x="124" y="256"/>
                    </a:lnTo>
                    <a:lnTo>
                      <a:pt x="129" y="257"/>
                    </a:lnTo>
                    <a:lnTo>
                      <a:pt x="132" y="254"/>
                    </a:lnTo>
                    <a:lnTo>
                      <a:pt x="137" y="254"/>
                    </a:lnTo>
                    <a:lnTo>
                      <a:pt x="144" y="256"/>
                    </a:lnTo>
                    <a:lnTo>
                      <a:pt x="146" y="257"/>
                    </a:lnTo>
                    <a:lnTo>
                      <a:pt x="149" y="257"/>
                    </a:lnTo>
                    <a:lnTo>
                      <a:pt x="152" y="259"/>
                    </a:lnTo>
                    <a:lnTo>
                      <a:pt x="157" y="262"/>
                    </a:lnTo>
                    <a:lnTo>
                      <a:pt x="161" y="262"/>
                    </a:lnTo>
                    <a:lnTo>
                      <a:pt x="164" y="261"/>
                    </a:lnTo>
                    <a:lnTo>
                      <a:pt x="164" y="259"/>
                    </a:lnTo>
                    <a:lnTo>
                      <a:pt x="167" y="256"/>
                    </a:lnTo>
                    <a:lnTo>
                      <a:pt x="171" y="251"/>
                    </a:lnTo>
                    <a:lnTo>
                      <a:pt x="174" y="246"/>
                    </a:lnTo>
                    <a:lnTo>
                      <a:pt x="181" y="244"/>
                    </a:lnTo>
                    <a:lnTo>
                      <a:pt x="182" y="242"/>
                    </a:lnTo>
                    <a:lnTo>
                      <a:pt x="186" y="236"/>
                    </a:lnTo>
                    <a:lnTo>
                      <a:pt x="191" y="234"/>
                    </a:lnTo>
                    <a:lnTo>
                      <a:pt x="192" y="231"/>
                    </a:lnTo>
                    <a:lnTo>
                      <a:pt x="189" y="229"/>
                    </a:lnTo>
                    <a:lnTo>
                      <a:pt x="187" y="226"/>
                    </a:lnTo>
                    <a:lnTo>
                      <a:pt x="192" y="221"/>
                    </a:lnTo>
                    <a:lnTo>
                      <a:pt x="196" y="221"/>
                    </a:lnTo>
                    <a:lnTo>
                      <a:pt x="202" y="221"/>
                    </a:lnTo>
                    <a:lnTo>
                      <a:pt x="207" y="217"/>
                    </a:lnTo>
                    <a:lnTo>
                      <a:pt x="209" y="216"/>
                    </a:lnTo>
                    <a:lnTo>
                      <a:pt x="207" y="214"/>
                    </a:lnTo>
                    <a:lnTo>
                      <a:pt x="202" y="214"/>
                    </a:lnTo>
                    <a:lnTo>
                      <a:pt x="197" y="211"/>
                    </a:lnTo>
                    <a:lnTo>
                      <a:pt x="197" y="209"/>
                    </a:lnTo>
                    <a:lnTo>
                      <a:pt x="197" y="207"/>
                    </a:lnTo>
                    <a:lnTo>
                      <a:pt x="202" y="206"/>
                    </a:lnTo>
                    <a:lnTo>
                      <a:pt x="209" y="207"/>
                    </a:lnTo>
                    <a:lnTo>
                      <a:pt x="214" y="204"/>
                    </a:lnTo>
                    <a:lnTo>
                      <a:pt x="219" y="202"/>
                    </a:lnTo>
                    <a:lnTo>
                      <a:pt x="219" y="199"/>
                    </a:lnTo>
                    <a:lnTo>
                      <a:pt x="219" y="199"/>
                    </a:lnTo>
                    <a:lnTo>
                      <a:pt x="219" y="194"/>
                    </a:lnTo>
                    <a:lnTo>
                      <a:pt x="217" y="194"/>
                    </a:lnTo>
                    <a:lnTo>
                      <a:pt x="214" y="197"/>
                    </a:lnTo>
                    <a:lnTo>
                      <a:pt x="214" y="201"/>
                    </a:lnTo>
                    <a:lnTo>
                      <a:pt x="211" y="202"/>
                    </a:lnTo>
                    <a:lnTo>
                      <a:pt x="204" y="202"/>
                    </a:lnTo>
                    <a:lnTo>
                      <a:pt x="201" y="201"/>
                    </a:lnTo>
                    <a:lnTo>
                      <a:pt x="197" y="201"/>
                    </a:lnTo>
                    <a:lnTo>
                      <a:pt x="194" y="204"/>
                    </a:lnTo>
                    <a:lnTo>
                      <a:pt x="189" y="204"/>
                    </a:lnTo>
                    <a:lnTo>
                      <a:pt x="187" y="202"/>
                    </a:lnTo>
                    <a:lnTo>
                      <a:pt x="184" y="199"/>
                    </a:lnTo>
                    <a:lnTo>
                      <a:pt x="181" y="199"/>
                    </a:lnTo>
                    <a:lnTo>
                      <a:pt x="179" y="202"/>
                    </a:lnTo>
                    <a:lnTo>
                      <a:pt x="176" y="202"/>
                    </a:lnTo>
                    <a:lnTo>
                      <a:pt x="174" y="199"/>
                    </a:lnTo>
                    <a:lnTo>
                      <a:pt x="171" y="201"/>
                    </a:lnTo>
                    <a:lnTo>
                      <a:pt x="169" y="199"/>
                    </a:lnTo>
                    <a:lnTo>
                      <a:pt x="169" y="197"/>
                    </a:lnTo>
                    <a:lnTo>
                      <a:pt x="169" y="194"/>
                    </a:lnTo>
                    <a:lnTo>
                      <a:pt x="167" y="194"/>
                    </a:lnTo>
                    <a:lnTo>
                      <a:pt x="167" y="192"/>
                    </a:lnTo>
                    <a:lnTo>
                      <a:pt x="167" y="189"/>
                    </a:lnTo>
                    <a:lnTo>
                      <a:pt x="171" y="187"/>
                    </a:lnTo>
                    <a:lnTo>
                      <a:pt x="174" y="184"/>
                    </a:lnTo>
                    <a:lnTo>
                      <a:pt x="176" y="182"/>
                    </a:lnTo>
                    <a:lnTo>
                      <a:pt x="179" y="181"/>
                    </a:lnTo>
                    <a:lnTo>
                      <a:pt x="179" y="179"/>
                    </a:lnTo>
                    <a:lnTo>
                      <a:pt x="177" y="178"/>
                    </a:lnTo>
                    <a:lnTo>
                      <a:pt x="177" y="174"/>
                    </a:lnTo>
                    <a:lnTo>
                      <a:pt x="179" y="173"/>
                    </a:lnTo>
                    <a:lnTo>
                      <a:pt x="182" y="173"/>
                    </a:lnTo>
                    <a:lnTo>
                      <a:pt x="186" y="171"/>
                    </a:lnTo>
                    <a:lnTo>
                      <a:pt x="189" y="169"/>
                    </a:lnTo>
                    <a:lnTo>
                      <a:pt x="189" y="166"/>
                    </a:lnTo>
                    <a:lnTo>
                      <a:pt x="196" y="164"/>
                    </a:lnTo>
                    <a:lnTo>
                      <a:pt x="199" y="161"/>
                    </a:lnTo>
                    <a:lnTo>
                      <a:pt x="202" y="159"/>
                    </a:lnTo>
                    <a:lnTo>
                      <a:pt x="209" y="159"/>
                    </a:lnTo>
                    <a:lnTo>
                      <a:pt x="212" y="159"/>
                    </a:lnTo>
                    <a:lnTo>
                      <a:pt x="211" y="158"/>
                    </a:lnTo>
                    <a:lnTo>
                      <a:pt x="209" y="158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15" y="154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24" y="149"/>
                    </a:lnTo>
                    <a:lnTo>
                      <a:pt x="224" y="148"/>
                    </a:lnTo>
                    <a:lnTo>
                      <a:pt x="225" y="144"/>
                    </a:lnTo>
                    <a:lnTo>
                      <a:pt x="230" y="141"/>
                    </a:lnTo>
                    <a:lnTo>
                      <a:pt x="234" y="139"/>
                    </a:lnTo>
                    <a:lnTo>
                      <a:pt x="237" y="136"/>
                    </a:lnTo>
                    <a:lnTo>
                      <a:pt x="240" y="136"/>
                    </a:lnTo>
                    <a:lnTo>
                      <a:pt x="242" y="134"/>
                    </a:lnTo>
                    <a:lnTo>
                      <a:pt x="244" y="136"/>
                    </a:lnTo>
                    <a:lnTo>
                      <a:pt x="245" y="141"/>
                    </a:lnTo>
                    <a:lnTo>
                      <a:pt x="245" y="148"/>
                    </a:lnTo>
                    <a:lnTo>
                      <a:pt x="245" y="151"/>
                    </a:lnTo>
                    <a:lnTo>
                      <a:pt x="245" y="158"/>
                    </a:lnTo>
                    <a:lnTo>
                      <a:pt x="245" y="166"/>
                    </a:lnTo>
                    <a:lnTo>
                      <a:pt x="247" y="166"/>
                    </a:lnTo>
                    <a:lnTo>
                      <a:pt x="249" y="163"/>
                    </a:lnTo>
                    <a:lnTo>
                      <a:pt x="250" y="156"/>
                    </a:lnTo>
                    <a:lnTo>
                      <a:pt x="249" y="149"/>
                    </a:lnTo>
                    <a:lnTo>
                      <a:pt x="247" y="146"/>
                    </a:lnTo>
                    <a:lnTo>
                      <a:pt x="249" y="143"/>
                    </a:lnTo>
                    <a:lnTo>
                      <a:pt x="249" y="138"/>
                    </a:lnTo>
                    <a:lnTo>
                      <a:pt x="250" y="136"/>
                    </a:lnTo>
                    <a:lnTo>
                      <a:pt x="254" y="136"/>
                    </a:lnTo>
                    <a:lnTo>
                      <a:pt x="255" y="134"/>
                    </a:lnTo>
                    <a:lnTo>
                      <a:pt x="257" y="133"/>
                    </a:lnTo>
                    <a:lnTo>
                      <a:pt x="259" y="133"/>
                    </a:lnTo>
                    <a:lnTo>
                      <a:pt x="259" y="134"/>
                    </a:lnTo>
                    <a:lnTo>
                      <a:pt x="260" y="136"/>
                    </a:lnTo>
                    <a:lnTo>
                      <a:pt x="264" y="136"/>
                    </a:lnTo>
                    <a:lnTo>
                      <a:pt x="265" y="138"/>
                    </a:lnTo>
                    <a:lnTo>
                      <a:pt x="264" y="141"/>
                    </a:lnTo>
                    <a:lnTo>
                      <a:pt x="265" y="143"/>
                    </a:lnTo>
                    <a:lnTo>
                      <a:pt x="269" y="144"/>
                    </a:lnTo>
                    <a:lnTo>
                      <a:pt x="277" y="144"/>
                    </a:lnTo>
                    <a:lnTo>
                      <a:pt x="277" y="143"/>
                    </a:lnTo>
                    <a:lnTo>
                      <a:pt x="282" y="143"/>
                    </a:lnTo>
                    <a:lnTo>
                      <a:pt x="282" y="141"/>
                    </a:lnTo>
                    <a:lnTo>
                      <a:pt x="280" y="138"/>
                    </a:lnTo>
                    <a:lnTo>
                      <a:pt x="282" y="136"/>
                    </a:lnTo>
                    <a:lnTo>
                      <a:pt x="284" y="134"/>
                    </a:lnTo>
                    <a:lnTo>
                      <a:pt x="285" y="129"/>
                    </a:lnTo>
                    <a:lnTo>
                      <a:pt x="287" y="129"/>
                    </a:lnTo>
                    <a:lnTo>
                      <a:pt x="290" y="128"/>
                    </a:lnTo>
                    <a:lnTo>
                      <a:pt x="297" y="124"/>
                    </a:lnTo>
                    <a:lnTo>
                      <a:pt x="300" y="121"/>
                    </a:lnTo>
                    <a:lnTo>
                      <a:pt x="299" y="116"/>
                    </a:lnTo>
                    <a:lnTo>
                      <a:pt x="297" y="116"/>
                    </a:lnTo>
                    <a:lnTo>
                      <a:pt x="295" y="116"/>
                    </a:lnTo>
                    <a:lnTo>
                      <a:pt x="295" y="113"/>
                    </a:lnTo>
                    <a:lnTo>
                      <a:pt x="295" y="111"/>
                    </a:lnTo>
                    <a:lnTo>
                      <a:pt x="299" y="108"/>
                    </a:lnTo>
                    <a:lnTo>
                      <a:pt x="299" y="103"/>
                    </a:lnTo>
                    <a:lnTo>
                      <a:pt x="299" y="99"/>
                    </a:lnTo>
                    <a:lnTo>
                      <a:pt x="300" y="94"/>
                    </a:lnTo>
                    <a:lnTo>
                      <a:pt x="304" y="91"/>
                    </a:lnTo>
                    <a:lnTo>
                      <a:pt x="310" y="91"/>
                    </a:lnTo>
                    <a:lnTo>
                      <a:pt x="315" y="88"/>
                    </a:lnTo>
                    <a:lnTo>
                      <a:pt x="322" y="86"/>
                    </a:lnTo>
                    <a:lnTo>
                      <a:pt x="323" y="88"/>
                    </a:lnTo>
                    <a:lnTo>
                      <a:pt x="323" y="89"/>
                    </a:lnTo>
                    <a:lnTo>
                      <a:pt x="323" y="93"/>
                    </a:lnTo>
                    <a:lnTo>
                      <a:pt x="328" y="99"/>
                    </a:lnTo>
                    <a:lnTo>
                      <a:pt x="328" y="103"/>
                    </a:lnTo>
                    <a:lnTo>
                      <a:pt x="327" y="111"/>
                    </a:lnTo>
                    <a:lnTo>
                      <a:pt x="327" y="119"/>
                    </a:lnTo>
                    <a:lnTo>
                      <a:pt x="330" y="121"/>
                    </a:lnTo>
                    <a:lnTo>
                      <a:pt x="335" y="126"/>
                    </a:lnTo>
                    <a:lnTo>
                      <a:pt x="338" y="129"/>
                    </a:lnTo>
                    <a:lnTo>
                      <a:pt x="340" y="131"/>
                    </a:lnTo>
                    <a:lnTo>
                      <a:pt x="342" y="129"/>
                    </a:lnTo>
                    <a:lnTo>
                      <a:pt x="340" y="123"/>
                    </a:lnTo>
                    <a:lnTo>
                      <a:pt x="340" y="118"/>
                    </a:lnTo>
                    <a:lnTo>
                      <a:pt x="335" y="111"/>
                    </a:lnTo>
                    <a:lnTo>
                      <a:pt x="333" y="104"/>
                    </a:lnTo>
                    <a:lnTo>
                      <a:pt x="337" y="99"/>
                    </a:lnTo>
                    <a:lnTo>
                      <a:pt x="337" y="96"/>
                    </a:lnTo>
                    <a:lnTo>
                      <a:pt x="335" y="94"/>
                    </a:lnTo>
                    <a:lnTo>
                      <a:pt x="333" y="89"/>
                    </a:lnTo>
                    <a:lnTo>
                      <a:pt x="333" y="86"/>
                    </a:lnTo>
                    <a:lnTo>
                      <a:pt x="332" y="83"/>
                    </a:lnTo>
                    <a:lnTo>
                      <a:pt x="333" y="81"/>
                    </a:lnTo>
                    <a:lnTo>
                      <a:pt x="337" y="78"/>
                    </a:lnTo>
                    <a:lnTo>
                      <a:pt x="342" y="78"/>
                    </a:lnTo>
                    <a:lnTo>
                      <a:pt x="345" y="80"/>
                    </a:lnTo>
                    <a:lnTo>
                      <a:pt x="348" y="78"/>
                    </a:lnTo>
                    <a:lnTo>
                      <a:pt x="352" y="78"/>
                    </a:lnTo>
                    <a:lnTo>
                      <a:pt x="358" y="80"/>
                    </a:lnTo>
                    <a:lnTo>
                      <a:pt x="368" y="78"/>
                    </a:lnTo>
                    <a:lnTo>
                      <a:pt x="377" y="76"/>
                    </a:lnTo>
                    <a:lnTo>
                      <a:pt x="387" y="75"/>
                    </a:lnTo>
                    <a:lnTo>
                      <a:pt x="388" y="78"/>
                    </a:lnTo>
                    <a:lnTo>
                      <a:pt x="390" y="81"/>
                    </a:lnTo>
                    <a:lnTo>
                      <a:pt x="390" y="84"/>
                    </a:lnTo>
                    <a:lnTo>
                      <a:pt x="390" y="86"/>
                    </a:lnTo>
                    <a:lnTo>
                      <a:pt x="393" y="86"/>
                    </a:lnTo>
                    <a:lnTo>
                      <a:pt x="397" y="83"/>
                    </a:lnTo>
                    <a:lnTo>
                      <a:pt x="393" y="80"/>
                    </a:lnTo>
                    <a:lnTo>
                      <a:pt x="393" y="76"/>
                    </a:lnTo>
                    <a:lnTo>
                      <a:pt x="400" y="71"/>
                    </a:lnTo>
                    <a:lnTo>
                      <a:pt x="405" y="73"/>
                    </a:lnTo>
                    <a:lnTo>
                      <a:pt x="407" y="76"/>
                    </a:lnTo>
                    <a:lnTo>
                      <a:pt x="408" y="81"/>
                    </a:lnTo>
                    <a:lnTo>
                      <a:pt x="410" y="83"/>
                    </a:lnTo>
                    <a:lnTo>
                      <a:pt x="412" y="80"/>
                    </a:lnTo>
                    <a:lnTo>
                      <a:pt x="412" y="73"/>
                    </a:lnTo>
                    <a:lnTo>
                      <a:pt x="408" y="71"/>
                    </a:lnTo>
                    <a:lnTo>
                      <a:pt x="407" y="68"/>
                    </a:lnTo>
                    <a:lnTo>
                      <a:pt x="408" y="66"/>
                    </a:lnTo>
                    <a:lnTo>
                      <a:pt x="413" y="68"/>
                    </a:lnTo>
                    <a:lnTo>
                      <a:pt x="416" y="70"/>
                    </a:lnTo>
                    <a:lnTo>
                      <a:pt x="421" y="66"/>
                    </a:lnTo>
                    <a:lnTo>
                      <a:pt x="425" y="65"/>
                    </a:lnTo>
                    <a:lnTo>
                      <a:pt x="431" y="66"/>
                    </a:lnTo>
                    <a:lnTo>
                      <a:pt x="433" y="70"/>
                    </a:lnTo>
                    <a:lnTo>
                      <a:pt x="433" y="80"/>
                    </a:lnTo>
                    <a:lnTo>
                      <a:pt x="430" y="84"/>
                    </a:lnTo>
                    <a:lnTo>
                      <a:pt x="430" y="89"/>
                    </a:lnTo>
                    <a:lnTo>
                      <a:pt x="426" y="96"/>
                    </a:lnTo>
                    <a:lnTo>
                      <a:pt x="425" y="99"/>
                    </a:lnTo>
                    <a:lnTo>
                      <a:pt x="425" y="103"/>
                    </a:lnTo>
                    <a:lnTo>
                      <a:pt x="423" y="106"/>
                    </a:lnTo>
                    <a:lnTo>
                      <a:pt x="420" y="106"/>
                    </a:lnTo>
                    <a:lnTo>
                      <a:pt x="420" y="109"/>
                    </a:lnTo>
                    <a:lnTo>
                      <a:pt x="421" y="111"/>
                    </a:lnTo>
                    <a:lnTo>
                      <a:pt x="421" y="113"/>
                    </a:lnTo>
                    <a:lnTo>
                      <a:pt x="421" y="116"/>
                    </a:lnTo>
                    <a:lnTo>
                      <a:pt x="416" y="119"/>
                    </a:lnTo>
                    <a:lnTo>
                      <a:pt x="415" y="124"/>
                    </a:lnTo>
                    <a:lnTo>
                      <a:pt x="410" y="128"/>
                    </a:lnTo>
                    <a:lnTo>
                      <a:pt x="408" y="129"/>
                    </a:lnTo>
                    <a:lnTo>
                      <a:pt x="408" y="134"/>
                    </a:lnTo>
                    <a:lnTo>
                      <a:pt x="405" y="138"/>
                    </a:lnTo>
                    <a:lnTo>
                      <a:pt x="403" y="143"/>
                    </a:lnTo>
                    <a:lnTo>
                      <a:pt x="405" y="143"/>
                    </a:lnTo>
                    <a:lnTo>
                      <a:pt x="408" y="143"/>
                    </a:lnTo>
                    <a:lnTo>
                      <a:pt x="412" y="138"/>
                    </a:lnTo>
                    <a:lnTo>
                      <a:pt x="413" y="136"/>
                    </a:lnTo>
                    <a:lnTo>
                      <a:pt x="413" y="134"/>
                    </a:lnTo>
                    <a:lnTo>
                      <a:pt x="416" y="131"/>
                    </a:lnTo>
                    <a:lnTo>
                      <a:pt x="421" y="124"/>
                    </a:lnTo>
                    <a:lnTo>
                      <a:pt x="423" y="121"/>
                    </a:lnTo>
                    <a:lnTo>
                      <a:pt x="426" y="119"/>
                    </a:lnTo>
                    <a:lnTo>
                      <a:pt x="428" y="118"/>
                    </a:lnTo>
                    <a:lnTo>
                      <a:pt x="430" y="114"/>
                    </a:lnTo>
                    <a:lnTo>
                      <a:pt x="430" y="113"/>
                    </a:lnTo>
                    <a:lnTo>
                      <a:pt x="433" y="111"/>
                    </a:lnTo>
                    <a:lnTo>
                      <a:pt x="435" y="106"/>
                    </a:lnTo>
                    <a:lnTo>
                      <a:pt x="438" y="104"/>
                    </a:lnTo>
                    <a:lnTo>
                      <a:pt x="440" y="106"/>
                    </a:lnTo>
                    <a:lnTo>
                      <a:pt x="438" y="109"/>
                    </a:lnTo>
                    <a:lnTo>
                      <a:pt x="441" y="113"/>
                    </a:lnTo>
                    <a:lnTo>
                      <a:pt x="443" y="116"/>
                    </a:lnTo>
                    <a:lnTo>
                      <a:pt x="445" y="121"/>
                    </a:lnTo>
                    <a:lnTo>
                      <a:pt x="448" y="126"/>
                    </a:lnTo>
                    <a:lnTo>
                      <a:pt x="448" y="131"/>
                    </a:lnTo>
                    <a:lnTo>
                      <a:pt x="451" y="133"/>
                    </a:lnTo>
                    <a:lnTo>
                      <a:pt x="455" y="134"/>
                    </a:lnTo>
                    <a:lnTo>
                      <a:pt x="455" y="134"/>
                    </a:lnTo>
                    <a:lnTo>
                      <a:pt x="458" y="134"/>
                    </a:lnTo>
                    <a:lnTo>
                      <a:pt x="458" y="133"/>
                    </a:lnTo>
                    <a:lnTo>
                      <a:pt x="460" y="131"/>
                    </a:lnTo>
                    <a:lnTo>
                      <a:pt x="460" y="129"/>
                    </a:lnTo>
                    <a:lnTo>
                      <a:pt x="456" y="126"/>
                    </a:lnTo>
                    <a:lnTo>
                      <a:pt x="455" y="124"/>
                    </a:lnTo>
                    <a:lnTo>
                      <a:pt x="456" y="123"/>
                    </a:lnTo>
                    <a:lnTo>
                      <a:pt x="458" y="123"/>
                    </a:lnTo>
                    <a:lnTo>
                      <a:pt x="461" y="126"/>
                    </a:lnTo>
                    <a:lnTo>
                      <a:pt x="466" y="126"/>
                    </a:lnTo>
                    <a:lnTo>
                      <a:pt x="470" y="128"/>
                    </a:lnTo>
                    <a:lnTo>
                      <a:pt x="470" y="129"/>
                    </a:lnTo>
                    <a:lnTo>
                      <a:pt x="473" y="129"/>
                    </a:lnTo>
                    <a:lnTo>
                      <a:pt x="475" y="128"/>
                    </a:lnTo>
                    <a:lnTo>
                      <a:pt x="476" y="128"/>
                    </a:lnTo>
                    <a:lnTo>
                      <a:pt x="478" y="129"/>
                    </a:lnTo>
                    <a:lnTo>
                      <a:pt x="481" y="129"/>
                    </a:lnTo>
                    <a:lnTo>
                      <a:pt x="480" y="121"/>
                    </a:lnTo>
                    <a:lnTo>
                      <a:pt x="480" y="118"/>
                    </a:lnTo>
                    <a:lnTo>
                      <a:pt x="481" y="111"/>
                    </a:lnTo>
                    <a:lnTo>
                      <a:pt x="481" y="106"/>
                    </a:lnTo>
                    <a:lnTo>
                      <a:pt x="480" y="103"/>
                    </a:lnTo>
                    <a:lnTo>
                      <a:pt x="478" y="98"/>
                    </a:lnTo>
                    <a:lnTo>
                      <a:pt x="478" y="93"/>
                    </a:lnTo>
                    <a:lnTo>
                      <a:pt x="483" y="84"/>
                    </a:lnTo>
                    <a:lnTo>
                      <a:pt x="483" y="83"/>
                    </a:lnTo>
                    <a:lnTo>
                      <a:pt x="481" y="80"/>
                    </a:lnTo>
                    <a:lnTo>
                      <a:pt x="483" y="78"/>
                    </a:lnTo>
                    <a:lnTo>
                      <a:pt x="483" y="71"/>
                    </a:lnTo>
                    <a:lnTo>
                      <a:pt x="486" y="70"/>
                    </a:lnTo>
                    <a:lnTo>
                      <a:pt x="490" y="70"/>
                    </a:lnTo>
                    <a:lnTo>
                      <a:pt x="493" y="71"/>
                    </a:lnTo>
                    <a:lnTo>
                      <a:pt x="496" y="71"/>
                    </a:lnTo>
                    <a:lnTo>
                      <a:pt x="500" y="73"/>
                    </a:lnTo>
                    <a:lnTo>
                      <a:pt x="501" y="75"/>
                    </a:lnTo>
                    <a:lnTo>
                      <a:pt x="505" y="78"/>
                    </a:lnTo>
                    <a:lnTo>
                      <a:pt x="506" y="81"/>
                    </a:lnTo>
                    <a:lnTo>
                      <a:pt x="511" y="89"/>
                    </a:lnTo>
                    <a:lnTo>
                      <a:pt x="511" y="93"/>
                    </a:lnTo>
                    <a:lnTo>
                      <a:pt x="514" y="99"/>
                    </a:lnTo>
                    <a:lnTo>
                      <a:pt x="518" y="104"/>
                    </a:lnTo>
                    <a:lnTo>
                      <a:pt x="519" y="114"/>
                    </a:lnTo>
                    <a:lnTo>
                      <a:pt x="518" y="118"/>
                    </a:lnTo>
                    <a:lnTo>
                      <a:pt x="516" y="119"/>
                    </a:lnTo>
                    <a:lnTo>
                      <a:pt x="516" y="123"/>
                    </a:lnTo>
                    <a:lnTo>
                      <a:pt x="516" y="128"/>
                    </a:lnTo>
                    <a:lnTo>
                      <a:pt x="519" y="129"/>
                    </a:lnTo>
                    <a:lnTo>
                      <a:pt x="521" y="136"/>
                    </a:lnTo>
                    <a:lnTo>
                      <a:pt x="521" y="141"/>
                    </a:lnTo>
                    <a:lnTo>
                      <a:pt x="521" y="146"/>
                    </a:lnTo>
                    <a:lnTo>
                      <a:pt x="523" y="149"/>
                    </a:lnTo>
                    <a:lnTo>
                      <a:pt x="528" y="149"/>
                    </a:lnTo>
                    <a:lnTo>
                      <a:pt x="533" y="153"/>
                    </a:lnTo>
                    <a:lnTo>
                      <a:pt x="536" y="153"/>
                    </a:lnTo>
                    <a:lnTo>
                      <a:pt x="541" y="151"/>
                    </a:lnTo>
                    <a:lnTo>
                      <a:pt x="544" y="144"/>
                    </a:lnTo>
                    <a:lnTo>
                      <a:pt x="548" y="143"/>
                    </a:lnTo>
                    <a:lnTo>
                      <a:pt x="548" y="144"/>
                    </a:lnTo>
                    <a:lnTo>
                      <a:pt x="548" y="148"/>
                    </a:lnTo>
                    <a:lnTo>
                      <a:pt x="549" y="149"/>
                    </a:lnTo>
                    <a:lnTo>
                      <a:pt x="551" y="149"/>
                    </a:lnTo>
                    <a:lnTo>
                      <a:pt x="554" y="148"/>
                    </a:lnTo>
                    <a:lnTo>
                      <a:pt x="556" y="149"/>
                    </a:lnTo>
                    <a:lnTo>
                      <a:pt x="558" y="153"/>
                    </a:lnTo>
                    <a:lnTo>
                      <a:pt x="558" y="154"/>
                    </a:lnTo>
                    <a:lnTo>
                      <a:pt x="559" y="158"/>
                    </a:lnTo>
                    <a:lnTo>
                      <a:pt x="563" y="158"/>
                    </a:lnTo>
                    <a:lnTo>
                      <a:pt x="566" y="158"/>
                    </a:lnTo>
                    <a:lnTo>
                      <a:pt x="571" y="158"/>
                    </a:lnTo>
                    <a:lnTo>
                      <a:pt x="571" y="156"/>
                    </a:lnTo>
                    <a:lnTo>
                      <a:pt x="569" y="156"/>
                    </a:lnTo>
                    <a:lnTo>
                      <a:pt x="566" y="153"/>
                    </a:lnTo>
                    <a:lnTo>
                      <a:pt x="564" y="151"/>
                    </a:lnTo>
                    <a:lnTo>
                      <a:pt x="564" y="148"/>
                    </a:lnTo>
                    <a:lnTo>
                      <a:pt x="561" y="148"/>
                    </a:lnTo>
                    <a:lnTo>
                      <a:pt x="559" y="146"/>
                    </a:lnTo>
                    <a:lnTo>
                      <a:pt x="559" y="143"/>
                    </a:lnTo>
                    <a:lnTo>
                      <a:pt x="558" y="139"/>
                    </a:lnTo>
                    <a:lnTo>
                      <a:pt x="553" y="134"/>
                    </a:lnTo>
                    <a:lnTo>
                      <a:pt x="553" y="133"/>
                    </a:lnTo>
                    <a:lnTo>
                      <a:pt x="551" y="128"/>
                    </a:lnTo>
                    <a:lnTo>
                      <a:pt x="548" y="123"/>
                    </a:lnTo>
                    <a:lnTo>
                      <a:pt x="548" y="121"/>
                    </a:lnTo>
                    <a:lnTo>
                      <a:pt x="549" y="114"/>
                    </a:lnTo>
                    <a:lnTo>
                      <a:pt x="548" y="111"/>
                    </a:lnTo>
                    <a:lnTo>
                      <a:pt x="544" y="106"/>
                    </a:lnTo>
                    <a:lnTo>
                      <a:pt x="544" y="101"/>
                    </a:lnTo>
                    <a:lnTo>
                      <a:pt x="546" y="99"/>
                    </a:lnTo>
                    <a:lnTo>
                      <a:pt x="544" y="94"/>
                    </a:lnTo>
                    <a:lnTo>
                      <a:pt x="543" y="93"/>
                    </a:lnTo>
                    <a:lnTo>
                      <a:pt x="543" y="88"/>
                    </a:lnTo>
                    <a:lnTo>
                      <a:pt x="541" y="81"/>
                    </a:lnTo>
                    <a:lnTo>
                      <a:pt x="538" y="78"/>
                    </a:lnTo>
                    <a:lnTo>
                      <a:pt x="541" y="75"/>
                    </a:lnTo>
                    <a:lnTo>
                      <a:pt x="538" y="70"/>
                    </a:lnTo>
                    <a:lnTo>
                      <a:pt x="538" y="66"/>
                    </a:lnTo>
                    <a:lnTo>
                      <a:pt x="539" y="63"/>
                    </a:lnTo>
                    <a:lnTo>
                      <a:pt x="548" y="65"/>
                    </a:lnTo>
                    <a:lnTo>
                      <a:pt x="549" y="68"/>
                    </a:lnTo>
                    <a:lnTo>
                      <a:pt x="551" y="68"/>
                    </a:lnTo>
                    <a:lnTo>
                      <a:pt x="553" y="66"/>
                    </a:lnTo>
                    <a:lnTo>
                      <a:pt x="556" y="66"/>
                    </a:lnTo>
                    <a:lnTo>
                      <a:pt x="563" y="73"/>
                    </a:lnTo>
                    <a:lnTo>
                      <a:pt x="569" y="76"/>
                    </a:lnTo>
                    <a:lnTo>
                      <a:pt x="573" y="75"/>
                    </a:lnTo>
                    <a:lnTo>
                      <a:pt x="573" y="70"/>
                    </a:lnTo>
                    <a:lnTo>
                      <a:pt x="571" y="68"/>
                    </a:lnTo>
                    <a:lnTo>
                      <a:pt x="573" y="61"/>
                    </a:lnTo>
                    <a:lnTo>
                      <a:pt x="576" y="61"/>
                    </a:lnTo>
                    <a:lnTo>
                      <a:pt x="579" y="63"/>
                    </a:lnTo>
                    <a:lnTo>
                      <a:pt x="584" y="63"/>
                    </a:lnTo>
                    <a:lnTo>
                      <a:pt x="589" y="60"/>
                    </a:lnTo>
                    <a:lnTo>
                      <a:pt x="593" y="61"/>
                    </a:lnTo>
                    <a:lnTo>
                      <a:pt x="596" y="63"/>
                    </a:lnTo>
                    <a:lnTo>
                      <a:pt x="601" y="65"/>
                    </a:lnTo>
                    <a:lnTo>
                      <a:pt x="603" y="66"/>
                    </a:lnTo>
                    <a:lnTo>
                      <a:pt x="604" y="73"/>
                    </a:lnTo>
                    <a:lnTo>
                      <a:pt x="604" y="75"/>
                    </a:lnTo>
                    <a:lnTo>
                      <a:pt x="609" y="80"/>
                    </a:lnTo>
                    <a:lnTo>
                      <a:pt x="609" y="83"/>
                    </a:lnTo>
                    <a:lnTo>
                      <a:pt x="608" y="86"/>
                    </a:lnTo>
                    <a:lnTo>
                      <a:pt x="611" y="94"/>
                    </a:lnTo>
                    <a:lnTo>
                      <a:pt x="611" y="99"/>
                    </a:lnTo>
                    <a:lnTo>
                      <a:pt x="611" y="103"/>
                    </a:lnTo>
                    <a:lnTo>
                      <a:pt x="616" y="104"/>
                    </a:lnTo>
                    <a:lnTo>
                      <a:pt x="621" y="104"/>
                    </a:lnTo>
                    <a:lnTo>
                      <a:pt x="627" y="108"/>
                    </a:lnTo>
                    <a:lnTo>
                      <a:pt x="632" y="111"/>
                    </a:lnTo>
                    <a:lnTo>
                      <a:pt x="632" y="108"/>
                    </a:lnTo>
                    <a:lnTo>
                      <a:pt x="632" y="106"/>
                    </a:lnTo>
                    <a:lnTo>
                      <a:pt x="627" y="104"/>
                    </a:lnTo>
                    <a:lnTo>
                      <a:pt x="624" y="101"/>
                    </a:lnTo>
                    <a:lnTo>
                      <a:pt x="621" y="101"/>
                    </a:lnTo>
                    <a:lnTo>
                      <a:pt x="616" y="98"/>
                    </a:lnTo>
                    <a:lnTo>
                      <a:pt x="614" y="96"/>
                    </a:lnTo>
                    <a:lnTo>
                      <a:pt x="616" y="91"/>
                    </a:lnTo>
                    <a:lnTo>
                      <a:pt x="612" y="86"/>
                    </a:lnTo>
                    <a:lnTo>
                      <a:pt x="612" y="83"/>
                    </a:lnTo>
                    <a:lnTo>
                      <a:pt x="614" y="78"/>
                    </a:lnTo>
                    <a:lnTo>
                      <a:pt x="614" y="73"/>
                    </a:lnTo>
                    <a:lnTo>
                      <a:pt x="614" y="70"/>
                    </a:lnTo>
                    <a:lnTo>
                      <a:pt x="614" y="68"/>
                    </a:lnTo>
                    <a:lnTo>
                      <a:pt x="612" y="65"/>
                    </a:lnTo>
                    <a:lnTo>
                      <a:pt x="609" y="63"/>
                    </a:lnTo>
                    <a:lnTo>
                      <a:pt x="604" y="56"/>
                    </a:lnTo>
                    <a:lnTo>
                      <a:pt x="601" y="56"/>
                    </a:lnTo>
                    <a:lnTo>
                      <a:pt x="596" y="56"/>
                    </a:lnTo>
                    <a:lnTo>
                      <a:pt x="593" y="58"/>
                    </a:lnTo>
                    <a:lnTo>
                      <a:pt x="589" y="58"/>
                    </a:lnTo>
                    <a:lnTo>
                      <a:pt x="584" y="56"/>
                    </a:lnTo>
                    <a:lnTo>
                      <a:pt x="584" y="51"/>
                    </a:lnTo>
                    <a:lnTo>
                      <a:pt x="586" y="46"/>
                    </a:lnTo>
                    <a:lnTo>
                      <a:pt x="591" y="46"/>
                    </a:lnTo>
                    <a:lnTo>
                      <a:pt x="591" y="43"/>
                    </a:lnTo>
                    <a:lnTo>
                      <a:pt x="584" y="40"/>
                    </a:lnTo>
                    <a:lnTo>
                      <a:pt x="583" y="35"/>
                    </a:lnTo>
                    <a:lnTo>
                      <a:pt x="584" y="31"/>
                    </a:lnTo>
                    <a:lnTo>
                      <a:pt x="584" y="28"/>
                    </a:lnTo>
                    <a:lnTo>
                      <a:pt x="588" y="28"/>
                    </a:lnTo>
                    <a:lnTo>
                      <a:pt x="591" y="31"/>
                    </a:lnTo>
                    <a:lnTo>
                      <a:pt x="593" y="35"/>
                    </a:lnTo>
                    <a:lnTo>
                      <a:pt x="594" y="35"/>
                    </a:lnTo>
                    <a:lnTo>
                      <a:pt x="599" y="28"/>
                    </a:lnTo>
                    <a:lnTo>
                      <a:pt x="603" y="28"/>
                    </a:lnTo>
                    <a:lnTo>
                      <a:pt x="608" y="25"/>
                    </a:lnTo>
                    <a:lnTo>
                      <a:pt x="609" y="23"/>
                    </a:lnTo>
                    <a:lnTo>
                      <a:pt x="612" y="18"/>
                    </a:lnTo>
                    <a:lnTo>
                      <a:pt x="617" y="18"/>
                    </a:lnTo>
                    <a:lnTo>
                      <a:pt x="614" y="20"/>
                    </a:lnTo>
                    <a:lnTo>
                      <a:pt x="612" y="23"/>
                    </a:lnTo>
                    <a:lnTo>
                      <a:pt x="614" y="25"/>
                    </a:lnTo>
                    <a:lnTo>
                      <a:pt x="617" y="23"/>
                    </a:lnTo>
                    <a:lnTo>
                      <a:pt x="621" y="23"/>
                    </a:lnTo>
                    <a:lnTo>
                      <a:pt x="622" y="25"/>
                    </a:lnTo>
                    <a:lnTo>
                      <a:pt x="624" y="28"/>
                    </a:lnTo>
                    <a:lnTo>
                      <a:pt x="627" y="30"/>
                    </a:lnTo>
                    <a:lnTo>
                      <a:pt x="626" y="33"/>
                    </a:lnTo>
                    <a:lnTo>
                      <a:pt x="624" y="36"/>
                    </a:lnTo>
                    <a:lnTo>
                      <a:pt x="626" y="38"/>
                    </a:lnTo>
                    <a:lnTo>
                      <a:pt x="627" y="35"/>
                    </a:lnTo>
                    <a:lnTo>
                      <a:pt x="631" y="31"/>
                    </a:lnTo>
                    <a:lnTo>
                      <a:pt x="636" y="33"/>
                    </a:lnTo>
                    <a:lnTo>
                      <a:pt x="639" y="36"/>
                    </a:lnTo>
                    <a:lnTo>
                      <a:pt x="639" y="40"/>
                    </a:lnTo>
                    <a:lnTo>
                      <a:pt x="642" y="45"/>
                    </a:lnTo>
                    <a:lnTo>
                      <a:pt x="644" y="50"/>
                    </a:lnTo>
                    <a:lnTo>
                      <a:pt x="644" y="56"/>
                    </a:lnTo>
                    <a:lnTo>
                      <a:pt x="647" y="53"/>
                    </a:lnTo>
                    <a:lnTo>
                      <a:pt x="647" y="48"/>
                    </a:lnTo>
                    <a:lnTo>
                      <a:pt x="646" y="45"/>
                    </a:lnTo>
                    <a:lnTo>
                      <a:pt x="644" y="41"/>
                    </a:lnTo>
                    <a:lnTo>
                      <a:pt x="644" y="38"/>
                    </a:lnTo>
                    <a:lnTo>
                      <a:pt x="644" y="36"/>
                    </a:lnTo>
                    <a:lnTo>
                      <a:pt x="644" y="35"/>
                    </a:lnTo>
                    <a:lnTo>
                      <a:pt x="647" y="36"/>
                    </a:lnTo>
                    <a:lnTo>
                      <a:pt x="654" y="41"/>
                    </a:lnTo>
                    <a:lnTo>
                      <a:pt x="659" y="48"/>
                    </a:lnTo>
                    <a:lnTo>
                      <a:pt x="664" y="51"/>
                    </a:lnTo>
                    <a:lnTo>
                      <a:pt x="671" y="51"/>
                    </a:lnTo>
                    <a:lnTo>
                      <a:pt x="671" y="50"/>
                    </a:lnTo>
                    <a:lnTo>
                      <a:pt x="667" y="48"/>
                    </a:lnTo>
                    <a:lnTo>
                      <a:pt x="662" y="46"/>
                    </a:lnTo>
                    <a:lnTo>
                      <a:pt x="659" y="40"/>
                    </a:lnTo>
                    <a:lnTo>
                      <a:pt x="657" y="35"/>
                    </a:lnTo>
                    <a:lnTo>
                      <a:pt x="659" y="28"/>
                    </a:lnTo>
                    <a:lnTo>
                      <a:pt x="664" y="28"/>
                    </a:lnTo>
                    <a:lnTo>
                      <a:pt x="667" y="28"/>
                    </a:lnTo>
                    <a:lnTo>
                      <a:pt x="674" y="31"/>
                    </a:lnTo>
                    <a:lnTo>
                      <a:pt x="679" y="31"/>
                    </a:lnTo>
                    <a:lnTo>
                      <a:pt x="681" y="30"/>
                    </a:lnTo>
                    <a:lnTo>
                      <a:pt x="679" y="28"/>
                    </a:lnTo>
                    <a:lnTo>
                      <a:pt x="676" y="26"/>
                    </a:lnTo>
                    <a:lnTo>
                      <a:pt x="676" y="25"/>
                    </a:lnTo>
                    <a:lnTo>
                      <a:pt x="681" y="20"/>
                    </a:lnTo>
                    <a:lnTo>
                      <a:pt x="684" y="16"/>
                    </a:lnTo>
                    <a:lnTo>
                      <a:pt x="682" y="15"/>
                    </a:lnTo>
                    <a:lnTo>
                      <a:pt x="681" y="13"/>
                    </a:lnTo>
                    <a:lnTo>
                      <a:pt x="682" y="8"/>
                    </a:lnTo>
                    <a:lnTo>
                      <a:pt x="684" y="8"/>
                    </a:lnTo>
                    <a:lnTo>
                      <a:pt x="687" y="8"/>
                    </a:lnTo>
                    <a:lnTo>
                      <a:pt x="689" y="6"/>
                    </a:lnTo>
                    <a:lnTo>
                      <a:pt x="691" y="1"/>
                    </a:lnTo>
                    <a:lnTo>
                      <a:pt x="692" y="0"/>
                    </a:lnTo>
                    <a:lnTo>
                      <a:pt x="696" y="1"/>
                    </a:lnTo>
                    <a:lnTo>
                      <a:pt x="697" y="3"/>
                    </a:lnTo>
                    <a:lnTo>
                      <a:pt x="699" y="3"/>
                    </a:lnTo>
                    <a:lnTo>
                      <a:pt x="701" y="6"/>
                    </a:lnTo>
                    <a:lnTo>
                      <a:pt x="702" y="11"/>
                    </a:lnTo>
                    <a:lnTo>
                      <a:pt x="706" y="13"/>
                    </a:lnTo>
                    <a:lnTo>
                      <a:pt x="707" y="11"/>
                    </a:lnTo>
                    <a:lnTo>
                      <a:pt x="707" y="8"/>
                    </a:lnTo>
                    <a:lnTo>
                      <a:pt x="706" y="5"/>
                    </a:lnTo>
                    <a:lnTo>
                      <a:pt x="706" y="1"/>
                    </a:lnTo>
                    <a:lnTo>
                      <a:pt x="707" y="0"/>
                    </a:lnTo>
                    <a:lnTo>
                      <a:pt x="711" y="0"/>
                    </a:lnTo>
                    <a:lnTo>
                      <a:pt x="715" y="0"/>
                    </a:lnTo>
                    <a:lnTo>
                      <a:pt x="724" y="0"/>
                    </a:lnTo>
                    <a:lnTo>
                      <a:pt x="727" y="1"/>
                    </a:lnTo>
                    <a:lnTo>
                      <a:pt x="729" y="3"/>
                    </a:lnTo>
                    <a:lnTo>
                      <a:pt x="730" y="3"/>
                    </a:lnTo>
                    <a:lnTo>
                      <a:pt x="734" y="1"/>
                    </a:lnTo>
                    <a:lnTo>
                      <a:pt x="737" y="3"/>
                    </a:lnTo>
                    <a:lnTo>
                      <a:pt x="747" y="3"/>
                    </a:lnTo>
                    <a:lnTo>
                      <a:pt x="749" y="5"/>
                    </a:lnTo>
                    <a:lnTo>
                      <a:pt x="752" y="5"/>
                    </a:lnTo>
                    <a:lnTo>
                      <a:pt x="755" y="3"/>
                    </a:lnTo>
                    <a:lnTo>
                      <a:pt x="757" y="5"/>
                    </a:lnTo>
                    <a:lnTo>
                      <a:pt x="759" y="8"/>
                    </a:lnTo>
                    <a:lnTo>
                      <a:pt x="765" y="11"/>
                    </a:lnTo>
                    <a:lnTo>
                      <a:pt x="769" y="11"/>
                    </a:lnTo>
                    <a:lnTo>
                      <a:pt x="769" y="10"/>
                    </a:lnTo>
                    <a:lnTo>
                      <a:pt x="770" y="10"/>
                    </a:lnTo>
                    <a:lnTo>
                      <a:pt x="779" y="13"/>
                    </a:lnTo>
                    <a:lnTo>
                      <a:pt x="782" y="13"/>
                    </a:lnTo>
                    <a:lnTo>
                      <a:pt x="787" y="18"/>
                    </a:lnTo>
                    <a:lnTo>
                      <a:pt x="795" y="18"/>
                    </a:lnTo>
                    <a:lnTo>
                      <a:pt x="799" y="20"/>
                    </a:lnTo>
                    <a:lnTo>
                      <a:pt x="804" y="18"/>
                    </a:lnTo>
                    <a:lnTo>
                      <a:pt x="805" y="20"/>
                    </a:lnTo>
                    <a:lnTo>
                      <a:pt x="807" y="23"/>
                    </a:lnTo>
                    <a:lnTo>
                      <a:pt x="812" y="21"/>
                    </a:lnTo>
                    <a:lnTo>
                      <a:pt x="815" y="21"/>
                    </a:lnTo>
                    <a:lnTo>
                      <a:pt x="820" y="25"/>
                    </a:lnTo>
                    <a:lnTo>
                      <a:pt x="827" y="26"/>
                    </a:lnTo>
                    <a:lnTo>
                      <a:pt x="832" y="30"/>
                    </a:lnTo>
                    <a:lnTo>
                      <a:pt x="833" y="35"/>
                    </a:lnTo>
                    <a:lnTo>
                      <a:pt x="838" y="36"/>
                    </a:lnTo>
                    <a:lnTo>
                      <a:pt x="845" y="40"/>
                    </a:lnTo>
                    <a:lnTo>
                      <a:pt x="843" y="43"/>
                    </a:lnTo>
                    <a:lnTo>
                      <a:pt x="842" y="46"/>
                    </a:lnTo>
                    <a:lnTo>
                      <a:pt x="837" y="46"/>
                    </a:lnTo>
                    <a:lnTo>
                      <a:pt x="833" y="45"/>
                    </a:lnTo>
                    <a:lnTo>
                      <a:pt x="830" y="46"/>
                    </a:lnTo>
                    <a:lnTo>
                      <a:pt x="828" y="50"/>
                    </a:lnTo>
                    <a:lnTo>
                      <a:pt x="823" y="50"/>
                    </a:lnTo>
                    <a:lnTo>
                      <a:pt x="822" y="50"/>
                    </a:lnTo>
                    <a:lnTo>
                      <a:pt x="817" y="50"/>
                    </a:lnTo>
                    <a:lnTo>
                      <a:pt x="812" y="50"/>
                    </a:lnTo>
                    <a:lnTo>
                      <a:pt x="804" y="46"/>
                    </a:lnTo>
                    <a:lnTo>
                      <a:pt x="799" y="45"/>
                    </a:lnTo>
                    <a:lnTo>
                      <a:pt x="795" y="45"/>
                    </a:lnTo>
                    <a:lnTo>
                      <a:pt x="792" y="43"/>
                    </a:lnTo>
                    <a:lnTo>
                      <a:pt x="787" y="43"/>
                    </a:lnTo>
                    <a:lnTo>
                      <a:pt x="784" y="45"/>
                    </a:lnTo>
                    <a:lnTo>
                      <a:pt x="780" y="45"/>
                    </a:lnTo>
                    <a:lnTo>
                      <a:pt x="779" y="43"/>
                    </a:lnTo>
                    <a:lnTo>
                      <a:pt x="774" y="43"/>
                    </a:lnTo>
                    <a:lnTo>
                      <a:pt x="767" y="46"/>
                    </a:lnTo>
                    <a:lnTo>
                      <a:pt x="764" y="48"/>
                    </a:lnTo>
                    <a:lnTo>
                      <a:pt x="760" y="46"/>
                    </a:lnTo>
                    <a:lnTo>
                      <a:pt x="755" y="46"/>
                    </a:lnTo>
                    <a:lnTo>
                      <a:pt x="750" y="48"/>
                    </a:lnTo>
                    <a:lnTo>
                      <a:pt x="744" y="48"/>
                    </a:lnTo>
                    <a:lnTo>
                      <a:pt x="742" y="45"/>
                    </a:lnTo>
                    <a:lnTo>
                      <a:pt x="740" y="41"/>
                    </a:lnTo>
                    <a:lnTo>
                      <a:pt x="744" y="40"/>
                    </a:lnTo>
                    <a:lnTo>
                      <a:pt x="745" y="40"/>
                    </a:lnTo>
                    <a:lnTo>
                      <a:pt x="747" y="36"/>
                    </a:lnTo>
                    <a:lnTo>
                      <a:pt x="745" y="35"/>
                    </a:lnTo>
                    <a:lnTo>
                      <a:pt x="742" y="35"/>
                    </a:lnTo>
                    <a:lnTo>
                      <a:pt x="739" y="36"/>
                    </a:lnTo>
                    <a:lnTo>
                      <a:pt x="734" y="40"/>
                    </a:lnTo>
                    <a:lnTo>
                      <a:pt x="734" y="43"/>
                    </a:lnTo>
                    <a:lnTo>
                      <a:pt x="737" y="46"/>
                    </a:lnTo>
                    <a:lnTo>
                      <a:pt x="740" y="46"/>
                    </a:lnTo>
                    <a:lnTo>
                      <a:pt x="739" y="50"/>
                    </a:lnTo>
                    <a:lnTo>
                      <a:pt x="735" y="51"/>
                    </a:lnTo>
                    <a:lnTo>
                      <a:pt x="732" y="51"/>
                    </a:lnTo>
                    <a:lnTo>
                      <a:pt x="729" y="51"/>
                    </a:lnTo>
                    <a:lnTo>
                      <a:pt x="724" y="51"/>
                    </a:lnTo>
                    <a:lnTo>
                      <a:pt x="722" y="53"/>
                    </a:lnTo>
                    <a:lnTo>
                      <a:pt x="717" y="53"/>
                    </a:lnTo>
                    <a:lnTo>
                      <a:pt x="712" y="51"/>
                    </a:lnTo>
                    <a:lnTo>
                      <a:pt x="707" y="51"/>
                    </a:lnTo>
                    <a:lnTo>
                      <a:pt x="701" y="55"/>
                    </a:lnTo>
                    <a:lnTo>
                      <a:pt x="692" y="60"/>
                    </a:lnTo>
                    <a:lnTo>
                      <a:pt x="691" y="63"/>
                    </a:lnTo>
                    <a:lnTo>
                      <a:pt x="691" y="68"/>
                    </a:lnTo>
                    <a:lnTo>
                      <a:pt x="689" y="71"/>
                    </a:lnTo>
                    <a:lnTo>
                      <a:pt x="689" y="75"/>
                    </a:lnTo>
                    <a:lnTo>
                      <a:pt x="691" y="76"/>
                    </a:lnTo>
                    <a:lnTo>
                      <a:pt x="694" y="75"/>
                    </a:lnTo>
                    <a:lnTo>
                      <a:pt x="694" y="70"/>
                    </a:lnTo>
                    <a:lnTo>
                      <a:pt x="696" y="68"/>
                    </a:lnTo>
                    <a:lnTo>
                      <a:pt x="696" y="66"/>
                    </a:lnTo>
                    <a:lnTo>
                      <a:pt x="697" y="65"/>
                    </a:lnTo>
                    <a:lnTo>
                      <a:pt x="702" y="65"/>
                    </a:lnTo>
                    <a:lnTo>
                      <a:pt x="706" y="63"/>
                    </a:lnTo>
                    <a:lnTo>
                      <a:pt x="706" y="65"/>
                    </a:lnTo>
                    <a:lnTo>
                      <a:pt x="706" y="68"/>
                    </a:lnTo>
                    <a:lnTo>
                      <a:pt x="704" y="71"/>
                    </a:lnTo>
                    <a:lnTo>
                      <a:pt x="704" y="73"/>
                    </a:lnTo>
                    <a:lnTo>
                      <a:pt x="706" y="73"/>
                    </a:lnTo>
                    <a:lnTo>
                      <a:pt x="707" y="70"/>
                    </a:lnTo>
                    <a:lnTo>
                      <a:pt x="709" y="65"/>
                    </a:lnTo>
                    <a:lnTo>
                      <a:pt x="709" y="65"/>
                    </a:lnTo>
                    <a:lnTo>
                      <a:pt x="712" y="60"/>
                    </a:lnTo>
                    <a:lnTo>
                      <a:pt x="712" y="60"/>
                    </a:lnTo>
                    <a:lnTo>
                      <a:pt x="717" y="58"/>
                    </a:lnTo>
                    <a:lnTo>
                      <a:pt x="720" y="58"/>
                    </a:lnTo>
                    <a:lnTo>
                      <a:pt x="727" y="58"/>
                    </a:lnTo>
                    <a:lnTo>
                      <a:pt x="730" y="56"/>
                    </a:lnTo>
                    <a:lnTo>
                      <a:pt x="734" y="56"/>
                    </a:lnTo>
                    <a:lnTo>
                      <a:pt x="735" y="56"/>
                    </a:lnTo>
                    <a:lnTo>
                      <a:pt x="737" y="60"/>
                    </a:lnTo>
                    <a:lnTo>
                      <a:pt x="740" y="65"/>
                    </a:lnTo>
                    <a:lnTo>
                      <a:pt x="742" y="66"/>
                    </a:lnTo>
                    <a:lnTo>
                      <a:pt x="744" y="66"/>
                    </a:lnTo>
                    <a:lnTo>
                      <a:pt x="744" y="63"/>
                    </a:lnTo>
                    <a:lnTo>
                      <a:pt x="742" y="58"/>
                    </a:lnTo>
                    <a:lnTo>
                      <a:pt x="744" y="56"/>
                    </a:lnTo>
                    <a:lnTo>
                      <a:pt x="749" y="56"/>
                    </a:lnTo>
                    <a:lnTo>
                      <a:pt x="754" y="56"/>
                    </a:lnTo>
                    <a:lnTo>
                      <a:pt x="759" y="56"/>
                    </a:lnTo>
                    <a:lnTo>
                      <a:pt x="765" y="55"/>
                    </a:lnTo>
                    <a:lnTo>
                      <a:pt x="772" y="53"/>
                    </a:lnTo>
                    <a:lnTo>
                      <a:pt x="777" y="51"/>
                    </a:lnTo>
                    <a:lnTo>
                      <a:pt x="785" y="51"/>
                    </a:lnTo>
                    <a:lnTo>
                      <a:pt x="792" y="53"/>
                    </a:lnTo>
                    <a:lnTo>
                      <a:pt x="797" y="55"/>
                    </a:lnTo>
                    <a:lnTo>
                      <a:pt x="800" y="56"/>
                    </a:lnTo>
                    <a:lnTo>
                      <a:pt x="804" y="58"/>
                    </a:lnTo>
                    <a:lnTo>
                      <a:pt x="809" y="58"/>
                    </a:lnTo>
                    <a:lnTo>
                      <a:pt x="812" y="61"/>
                    </a:lnTo>
                    <a:lnTo>
                      <a:pt x="815" y="61"/>
                    </a:lnTo>
                    <a:lnTo>
                      <a:pt x="817" y="61"/>
                    </a:lnTo>
                    <a:lnTo>
                      <a:pt x="822" y="60"/>
                    </a:lnTo>
                    <a:lnTo>
                      <a:pt x="823" y="61"/>
                    </a:lnTo>
                    <a:lnTo>
                      <a:pt x="825" y="63"/>
                    </a:lnTo>
                    <a:lnTo>
                      <a:pt x="827" y="63"/>
                    </a:lnTo>
                    <a:lnTo>
                      <a:pt x="832" y="60"/>
                    </a:lnTo>
                    <a:lnTo>
                      <a:pt x="833" y="60"/>
                    </a:lnTo>
                    <a:lnTo>
                      <a:pt x="838" y="60"/>
                    </a:lnTo>
                    <a:lnTo>
                      <a:pt x="845" y="56"/>
                    </a:lnTo>
                    <a:lnTo>
                      <a:pt x="848" y="53"/>
                    </a:lnTo>
                    <a:lnTo>
                      <a:pt x="852" y="53"/>
                    </a:lnTo>
                    <a:lnTo>
                      <a:pt x="853" y="55"/>
                    </a:lnTo>
                    <a:lnTo>
                      <a:pt x="857" y="58"/>
                    </a:lnTo>
                    <a:lnTo>
                      <a:pt x="860" y="60"/>
                    </a:lnTo>
                    <a:lnTo>
                      <a:pt x="860" y="61"/>
                    </a:lnTo>
                    <a:lnTo>
                      <a:pt x="858" y="63"/>
                    </a:lnTo>
                    <a:lnTo>
                      <a:pt x="858" y="66"/>
                    </a:lnTo>
                    <a:lnTo>
                      <a:pt x="860" y="68"/>
                    </a:lnTo>
                    <a:lnTo>
                      <a:pt x="862" y="70"/>
                    </a:lnTo>
                    <a:lnTo>
                      <a:pt x="862" y="71"/>
                    </a:lnTo>
                    <a:lnTo>
                      <a:pt x="855" y="76"/>
                    </a:lnTo>
                    <a:lnTo>
                      <a:pt x="848" y="78"/>
                    </a:lnTo>
                    <a:lnTo>
                      <a:pt x="843" y="78"/>
                    </a:lnTo>
                    <a:lnTo>
                      <a:pt x="840" y="76"/>
                    </a:lnTo>
                    <a:lnTo>
                      <a:pt x="837" y="73"/>
                    </a:lnTo>
                    <a:lnTo>
                      <a:pt x="835" y="75"/>
                    </a:lnTo>
                    <a:lnTo>
                      <a:pt x="837" y="76"/>
                    </a:lnTo>
                    <a:lnTo>
                      <a:pt x="840" y="80"/>
                    </a:lnTo>
                    <a:lnTo>
                      <a:pt x="840" y="81"/>
                    </a:lnTo>
                    <a:lnTo>
                      <a:pt x="840" y="83"/>
                    </a:lnTo>
                    <a:lnTo>
                      <a:pt x="835" y="81"/>
                    </a:lnTo>
                    <a:lnTo>
                      <a:pt x="833" y="80"/>
                    </a:lnTo>
                    <a:lnTo>
                      <a:pt x="830" y="80"/>
                    </a:lnTo>
                    <a:lnTo>
                      <a:pt x="830" y="81"/>
                    </a:lnTo>
                    <a:lnTo>
                      <a:pt x="832" y="84"/>
                    </a:lnTo>
                    <a:lnTo>
                      <a:pt x="835" y="86"/>
                    </a:lnTo>
                    <a:lnTo>
                      <a:pt x="840" y="86"/>
                    </a:lnTo>
                    <a:lnTo>
                      <a:pt x="845" y="88"/>
                    </a:lnTo>
                    <a:lnTo>
                      <a:pt x="848" y="88"/>
                    </a:lnTo>
                    <a:lnTo>
                      <a:pt x="857" y="84"/>
                    </a:lnTo>
                    <a:lnTo>
                      <a:pt x="858" y="84"/>
                    </a:lnTo>
                    <a:lnTo>
                      <a:pt x="860" y="86"/>
                    </a:lnTo>
                    <a:lnTo>
                      <a:pt x="860" y="84"/>
                    </a:lnTo>
                    <a:lnTo>
                      <a:pt x="862" y="81"/>
                    </a:lnTo>
                    <a:lnTo>
                      <a:pt x="865" y="81"/>
                    </a:lnTo>
                    <a:lnTo>
                      <a:pt x="875" y="81"/>
                    </a:lnTo>
                    <a:lnTo>
                      <a:pt x="877" y="83"/>
                    </a:lnTo>
                    <a:lnTo>
                      <a:pt x="878" y="84"/>
                    </a:lnTo>
                    <a:lnTo>
                      <a:pt x="880" y="86"/>
                    </a:lnTo>
                    <a:lnTo>
                      <a:pt x="883" y="86"/>
                    </a:lnTo>
                    <a:lnTo>
                      <a:pt x="883" y="84"/>
                    </a:lnTo>
                    <a:lnTo>
                      <a:pt x="887" y="84"/>
                    </a:lnTo>
                    <a:lnTo>
                      <a:pt x="888" y="88"/>
                    </a:lnTo>
                    <a:lnTo>
                      <a:pt x="890" y="91"/>
                    </a:lnTo>
                    <a:lnTo>
                      <a:pt x="897" y="91"/>
                    </a:lnTo>
                    <a:lnTo>
                      <a:pt x="900" y="94"/>
                    </a:lnTo>
                    <a:lnTo>
                      <a:pt x="900" y="96"/>
                    </a:lnTo>
                    <a:lnTo>
                      <a:pt x="905" y="99"/>
                    </a:lnTo>
                    <a:lnTo>
                      <a:pt x="910" y="103"/>
                    </a:lnTo>
                    <a:lnTo>
                      <a:pt x="915" y="106"/>
                    </a:lnTo>
                    <a:lnTo>
                      <a:pt x="916" y="108"/>
                    </a:lnTo>
                    <a:lnTo>
                      <a:pt x="916" y="111"/>
                    </a:lnTo>
                    <a:lnTo>
                      <a:pt x="913" y="113"/>
                    </a:lnTo>
                    <a:lnTo>
                      <a:pt x="913" y="114"/>
                    </a:lnTo>
                    <a:lnTo>
                      <a:pt x="913" y="118"/>
                    </a:lnTo>
                    <a:lnTo>
                      <a:pt x="910" y="119"/>
                    </a:lnTo>
                    <a:lnTo>
                      <a:pt x="907" y="123"/>
                    </a:lnTo>
                    <a:lnTo>
                      <a:pt x="902" y="123"/>
                    </a:lnTo>
                    <a:lnTo>
                      <a:pt x="900" y="123"/>
                    </a:lnTo>
                    <a:lnTo>
                      <a:pt x="898" y="123"/>
                    </a:lnTo>
                    <a:lnTo>
                      <a:pt x="898" y="126"/>
                    </a:lnTo>
                    <a:lnTo>
                      <a:pt x="897" y="128"/>
                    </a:lnTo>
                    <a:lnTo>
                      <a:pt x="893" y="129"/>
                    </a:lnTo>
                    <a:lnTo>
                      <a:pt x="885" y="133"/>
                    </a:lnTo>
                    <a:lnTo>
                      <a:pt x="878" y="133"/>
                    </a:lnTo>
                    <a:lnTo>
                      <a:pt x="877" y="134"/>
                    </a:lnTo>
                    <a:lnTo>
                      <a:pt x="873" y="134"/>
                    </a:lnTo>
                    <a:lnTo>
                      <a:pt x="872" y="131"/>
                    </a:lnTo>
                    <a:lnTo>
                      <a:pt x="868" y="129"/>
                    </a:lnTo>
                    <a:lnTo>
                      <a:pt x="867" y="129"/>
                    </a:lnTo>
                    <a:lnTo>
                      <a:pt x="867" y="133"/>
                    </a:lnTo>
                    <a:lnTo>
                      <a:pt x="870" y="134"/>
                    </a:lnTo>
                    <a:lnTo>
                      <a:pt x="870" y="136"/>
                    </a:lnTo>
                    <a:lnTo>
                      <a:pt x="865" y="136"/>
                    </a:lnTo>
                    <a:lnTo>
                      <a:pt x="860" y="134"/>
                    </a:lnTo>
                    <a:lnTo>
                      <a:pt x="857" y="136"/>
                    </a:lnTo>
                    <a:lnTo>
                      <a:pt x="855" y="136"/>
                    </a:lnTo>
                    <a:lnTo>
                      <a:pt x="852" y="134"/>
                    </a:lnTo>
                    <a:lnTo>
                      <a:pt x="847" y="134"/>
                    </a:lnTo>
                    <a:lnTo>
                      <a:pt x="843" y="136"/>
                    </a:lnTo>
                    <a:lnTo>
                      <a:pt x="838" y="139"/>
                    </a:lnTo>
                    <a:lnTo>
                      <a:pt x="835" y="139"/>
                    </a:lnTo>
                    <a:lnTo>
                      <a:pt x="832" y="138"/>
                    </a:lnTo>
                    <a:lnTo>
                      <a:pt x="828" y="138"/>
                    </a:lnTo>
                    <a:lnTo>
                      <a:pt x="825" y="136"/>
                    </a:lnTo>
                    <a:lnTo>
                      <a:pt x="822" y="136"/>
                    </a:lnTo>
                    <a:lnTo>
                      <a:pt x="820" y="138"/>
                    </a:lnTo>
                    <a:lnTo>
                      <a:pt x="815" y="138"/>
                    </a:lnTo>
                    <a:lnTo>
                      <a:pt x="812" y="138"/>
                    </a:lnTo>
                    <a:lnTo>
                      <a:pt x="805" y="133"/>
                    </a:lnTo>
                    <a:lnTo>
                      <a:pt x="804" y="133"/>
                    </a:lnTo>
                    <a:lnTo>
                      <a:pt x="802" y="133"/>
                    </a:lnTo>
                    <a:lnTo>
                      <a:pt x="795" y="133"/>
                    </a:lnTo>
                    <a:lnTo>
                      <a:pt x="792" y="131"/>
                    </a:lnTo>
                    <a:lnTo>
                      <a:pt x="789" y="131"/>
                    </a:lnTo>
                    <a:lnTo>
                      <a:pt x="784" y="131"/>
                    </a:lnTo>
                    <a:lnTo>
                      <a:pt x="780" y="131"/>
                    </a:lnTo>
                    <a:lnTo>
                      <a:pt x="775" y="129"/>
                    </a:lnTo>
                    <a:lnTo>
                      <a:pt x="774" y="131"/>
                    </a:lnTo>
                    <a:lnTo>
                      <a:pt x="770" y="133"/>
                    </a:lnTo>
                    <a:lnTo>
                      <a:pt x="767" y="134"/>
                    </a:lnTo>
                    <a:lnTo>
                      <a:pt x="760" y="133"/>
                    </a:lnTo>
                    <a:lnTo>
                      <a:pt x="757" y="134"/>
                    </a:lnTo>
                    <a:lnTo>
                      <a:pt x="757" y="136"/>
                    </a:lnTo>
                    <a:lnTo>
                      <a:pt x="755" y="136"/>
                    </a:lnTo>
                    <a:lnTo>
                      <a:pt x="754" y="133"/>
                    </a:lnTo>
                    <a:lnTo>
                      <a:pt x="752" y="131"/>
                    </a:lnTo>
                    <a:lnTo>
                      <a:pt x="747" y="131"/>
                    </a:lnTo>
                    <a:lnTo>
                      <a:pt x="747" y="131"/>
                    </a:lnTo>
                    <a:lnTo>
                      <a:pt x="744" y="131"/>
                    </a:lnTo>
                    <a:lnTo>
                      <a:pt x="742" y="133"/>
                    </a:lnTo>
                    <a:lnTo>
                      <a:pt x="744" y="133"/>
                    </a:lnTo>
                    <a:lnTo>
                      <a:pt x="749" y="133"/>
                    </a:lnTo>
                    <a:lnTo>
                      <a:pt x="750" y="134"/>
                    </a:lnTo>
                    <a:lnTo>
                      <a:pt x="752" y="136"/>
                    </a:lnTo>
                    <a:lnTo>
                      <a:pt x="750" y="139"/>
                    </a:lnTo>
                    <a:lnTo>
                      <a:pt x="747" y="141"/>
                    </a:lnTo>
                    <a:lnTo>
                      <a:pt x="745" y="141"/>
                    </a:lnTo>
                    <a:lnTo>
                      <a:pt x="742" y="141"/>
                    </a:lnTo>
                    <a:lnTo>
                      <a:pt x="739" y="143"/>
                    </a:lnTo>
                    <a:lnTo>
                      <a:pt x="734" y="144"/>
                    </a:lnTo>
                    <a:lnTo>
                      <a:pt x="727" y="144"/>
                    </a:lnTo>
                    <a:lnTo>
                      <a:pt x="724" y="146"/>
                    </a:lnTo>
                    <a:lnTo>
                      <a:pt x="722" y="149"/>
                    </a:lnTo>
                    <a:lnTo>
                      <a:pt x="719" y="149"/>
                    </a:lnTo>
                    <a:lnTo>
                      <a:pt x="714" y="149"/>
                    </a:lnTo>
                    <a:lnTo>
                      <a:pt x="709" y="153"/>
                    </a:lnTo>
                    <a:lnTo>
                      <a:pt x="706" y="153"/>
                    </a:lnTo>
                    <a:lnTo>
                      <a:pt x="704" y="154"/>
                    </a:lnTo>
                    <a:lnTo>
                      <a:pt x="704" y="158"/>
                    </a:lnTo>
                    <a:lnTo>
                      <a:pt x="706" y="161"/>
                    </a:lnTo>
                    <a:lnTo>
                      <a:pt x="707" y="163"/>
                    </a:lnTo>
                    <a:lnTo>
                      <a:pt x="707" y="166"/>
                    </a:lnTo>
                    <a:lnTo>
                      <a:pt x="709" y="169"/>
                    </a:lnTo>
                    <a:lnTo>
                      <a:pt x="711" y="169"/>
                    </a:lnTo>
                    <a:lnTo>
                      <a:pt x="712" y="168"/>
                    </a:lnTo>
                    <a:lnTo>
                      <a:pt x="714" y="164"/>
                    </a:lnTo>
                    <a:lnTo>
                      <a:pt x="717" y="161"/>
                    </a:lnTo>
                    <a:lnTo>
                      <a:pt x="720" y="161"/>
                    </a:lnTo>
                    <a:lnTo>
                      <a:pt x="724" y="159"/>
                    </a:lnTo>
                    <a:lnTo>
                      <a:pt x="727" y="158"/>
                    </a:lnTo>
                    <a:lnTo>
                      <a:pt x="732" y="158"/>
                    </a:lnTo>
                    <a:lnTo>
                      <a:pt x="734" y="156"/>
                    </a:lnTo>
                    <a:lnTo>
                      <a:pt x="737" y="153"/>
                    </a:lnTo>
                    <a:lnTo>
                      <a:pt x="742" y="153"/>
                    </a:lnTo>
                    <a:lnTo>
                      <a:pt x="752" y="149"/>
                    </a:lnTo>
                    <a:lnTo>
                      <a:pt x="755" y="149"/>
                    </a:lnTo>
                    <a:lnTo>
                      <a:pt x="755" y="149"/>
                    </a:lnTo>
                    <a:lnTo>
                      <a:pt x="755" y="153"/>
                    </a:lnTo>
                    <a:lnTo>
                      <a:pt x="757" y="153"/>
                    </a:lnTo>
                    <a:lnTo>
                      <a:pt x="760" y="151"/>
                    </a:lnTo>
                    <a:lnTo>
                      <a:pt x="760" y="148"/>
                    </a:lnTo>
                    <a:lnTo>
                      <a:pt x="764" y="143"/>
                    </a:lnTo>
                    <a:lnTo>
                      <a:pt x="765" y="143"/>
                    </a:lnTo>
                    <a:lnTo>
                      <a:pt x="770" y="144"/>
                    </a:lnTo>
                    <a:lnTo>
                      <a:pt x="774" y="144"/>
                    </a:lnTo>
                    <a:lnTo>
                      <a:pt x="779" y="144"/>
                    </a:lnTo>
                    <a:lnTo>
                      <a:pt x="785" y="144"/>
                    </a:lnTo>
                    <a:lnTo>
                      <a:pt x="789" y="146"/>
                    </a:lnTo>
                    <a:lnTo>
                      <a:pt x="794" y="146"/>
                    </a:lnTo>
                    <a:lnTo>
                      <a:pt x="805" y="146"/>
                    </a:lnTo>
                    <a:lnTo>
                      <a:pt x="809" y="146"/>
                    </a:lnTo>
                    <a:lnTo>
                      <a:pt x="813" y="148"/>
                    </a:lnTo>
                    <a:lnTo>
                      <a:pt x="820" y="149"/>
                    </a:lnTo>
                    <a:lnTo>
                      <a:pt x="830" y="149"/>
                    </a:lnTo>
                    <a:lnTo>
                      <a:pt x="833" y="149"/>
                    </a:lnTo>
                    <a:lnTo>
                      <a:pt x="833" y="153"/>
                    </a:lnTo>
                    <a:lnTo>
                      <a:pt x="835" y="154"/>
                    </a:lnTo>
                    <a:lnTo>
                      <a:pt x="835" y="156"/>
                    </a:lnTo>
                    <a:lnTo>
                      <a:pt x="832" y="158"/>
                    </a:lnTo>
                    <a:lnTo>
                      <a:pt x="832" y="161"/>
                    </a:lnTo>
                    <a:lnTo>
                      <a:pt x="828" y="166"/>
                    </a:lnTo>
                    <a:lnTo>
                      <a:pt x="827" y="168"/>
                    </a:lnTo>
                    <a:lnTo>
                      <a:pt x="815" y="168"/>
                    </a:lnTo>
                    <a:lnTo>
                      <a:pt x="809" y="171"/>
                    </a:lnTo>
                    <a:lnTo>
                      <a:pt x="807" y="171"/>
                    </a:lnTo>
                    <a:lnTo>
                      <a:pt x="805" y="169"/>
                    </a:lnTo>
                    <a:lnTo>
                      <a:pt x="804" y="169"/>
                    </a:lnTo>
                    <a:lnTo>
                      <a:pt x="802" y="173"/>
                    </a:lnTo>
                    <a:lnTo>
                      <a:pt x="804" y="176"/>
                    </a:lnTo>
                    <a:lnTo>
                      <a:pt x="802" y="179"/>
                    </a:lnTo>
                    <a:lnTo>
                      <a:pt x="802" y="181"/>
                    </a:lnTo>
                    <a:lnTo>
                      <a:pt x="804" y="182"/>
                    </a:lnTo>
                    <a:lnTo>
                      <a:pt x="809" y="181"/>
                    </a:lnTo>
                    <a:lnTo>
                      <a:pt x="815" y="179"/>
                    </a:lnTo>
                    <a:lnTo>
                      <a:pt x="820" y="178"/>
                    </a:lnTo>
                    <a:lnTo>
                      <a:pt x="820" y="178"/>
                    </a:lnTo>
                    <a:lnTo>
                      <a:pt x="828" y="178"/>
                    </a:lnTo>
                    <a:lnTo>
                      <a:pt x="828" y="178"/>
                    </a:lnTo>
                    <a:lnTo>
                      <a:pt x="837" y="179"/>
                    </a:lnTo>
                    <a:lnTo>
                      <a:pt x="840" y="179"/>
                    </a:lnTo>
                    <a:lnTo>
                      <a:pt x="843" y="181"/>
                    </a:lnTo>
                    <a:lnTo>
                      <a:pt x="845" y="179"/>
                    </a:lnTo>
                    <a:lnTo>
                      <a:pt x="847" y="178"/>
                    </a:lnTo>
                    <a:lnTo>
                      <a:pt x="848" y="178"/>
                    </a:lnTo>
                    <a:lnTo>
                      <a:pt x="852" y="178"/>
                    </a:lnTo>
                    <a:lnTo>
                      <a:pt x="853" y="181"/>
                    </a:lnTo>
                    <a:lnTo>
                      <a:pt x="858" y="176"/>
                    </a:lnTo>
                    <a:lnTo>
                      <a:pt x="860" y="169"/>
                    </a:lnTo>
                    <a:lnTo>
                      <a:pt x="860" y="163"/>
                    </a:lnTo>
                    <a:lnTo>
                      <a:pt x="862" y="161"/>
                    </a:lnTo>
                    <a:lnTo>
                      <a:pt x="860" y="159"/>
                    </a:lnTo>
                    <a:lnTo>
                      <a:pt x="862" y="156"/>
                    </a:lnTo>
                    <a:lnTo>
                      <a:pt x="865" y="154"/>
                    </a:lnTo>
                    <a:lnTo>
                      <a:pt x="870" y="154"/>
                    </a:lnTo>
                    <a:lnTo>
                      <a:pt x="875" y="156"/>
                    </a:lnTo>
                    <a:lnTo>
                      <a:pt x="882" y="156"/>
                    </a:lnTo>
                    <a:lnTo>
                      <a:pt x="887" y="154"/>
                    </a:lnTo>
                    <a:lnTo>
                      <a:pt x="890" y="154"/>
                    </a:lnTo>
                    <a:lnTo>
                      <a:pt x="890" y="159"/>
                    </a:lnTo>
                    <a:lnTo>
                      <a:pt x="890" y="166"/>
                    </a:lnTo>
                    <a:lnTo>
                      <a:pt x="890" y="171"/>
                    </a:lnTo>
                    <a:lnTo>
                      <a:pt x="887" y="176"/>
                    </a:lnTo>
                    <a:lnTo>
                      <a:pt x="883" y="182"/>
                    </a:lnTo>
                    <a:lnTo>
                      <a:pt x="882" y="189"/>
                    </a:lnTo>
                    <a:lnTo>
                      <a:pt x="880" y="192"/>
                    </a:lnTo>
                    <a:lnTo>
                      <a:pt x="867" y="202"/>
                    </a:lnTo>
                    <a:lnTo>
                      <a:pt x="863" y="202"/>
                    </a:lnTo>
                    <a:lnTo>
                      <a:pt x="862" y="202"/>
                    </a:lnTo>
                    <a:lnTo>
                      <a:pt x="858" y="204"/>
                    </a:lnTo>
                    <a:lnTo>
                      <a:pt x="855" y="207"/>
                    </a:lnTo>
                    <a:lnTo>
                      <a:pt x="852" y="206"/>
                    </a:lnTo>
                    <a:lnTo>
                      <a:pt x="850" y="206"/>
                    </a:lnTo>
                    <a:lnTo>
                      <a:pt x="847" y="211"/>
                    </a:lnTo>
                    <a:lnTo>
                      <a:pt x="847" y="214"/>
                    </a:lnTo>
                    <a:lnTo>
                      <a:pt x="843" y="216"/>
                    </a:lnTo>
                    <a:lnTo>
                      <a:pt x="840" y="219"/>
                    </a:lnTo>
                    <a:lnTo>
                      <a:pt x="837" y="217"/>
                    </a:lnTo>
                    <a:lnTo>
                      <a:pt x="837" y="217"/>
                    </a:lnTo>
                    <a:lnTo>
                      <a:pt x="835" y="219"/>
                    </a:lnTo>
                    <a:lnTo>
                      <a:pt x="835" y="221"/>
                    </a:lnTo>
                    <a:lnTo>
                      <a:pt x="833" y="224"/>
                    </a:lnTo>
                    <a:lnTo>
                      <a:pt x="830" y="231"/>
                    </a:lnTo>
                    <a:lnTo>
                      <a:pt x="825" y="232"/>
                    </a:lnTo>
                    <a:lnTo>
                      <a:pt x="823" y="236"/>
                    </a:lnTo>
                    <a:lnTo>
                      <a:pt x="817" y="241"/>
                    </a:lnTo>
                    <a:lnTo>
                      <a:pt x="813" y="244"/>
                    </a:lnTo>
                    <a:lnTo>
                      <a:pt x="809" y="246"/>
                    </a:lnTo>
                    <a:lnTo>
                      <a:pt x="804" y="249"/>
                    </a:lnTo>
                    <a:lnTo>
                      <a:pt x="802" y="251"/>
                    </a:lnTo>
                    <a:lnTo>
                      <a:pt x="799" y="251"/>
                    </a:lnTo>
                    <a:lnTo>
                      <a:pt x="799" y="256"/>
                    </a:lnTo>
                    <a:lnTo>
                      <a:pt x="799" y="259"/>
                    </a:lnTo>
                    <a:lnTo>
                      <a:pt x="797" y="264"/>
                    </a:lnTo>
                    <a:lnTo>
                      <a:pt x="799" y="266"/>
                    </a:lnTo>
                    <a:lnTo>
                      <a:pt x="799" y="264"/>
                    </a:lnTo>
                    <a:lnTo>
                      <a:pt x="800" y="261"/>
                    </a:lnTo>
                    <a:lnTo>
                      <a:pt x="805" y="256"/>
                    </a:lnTo>
                    <a:lnTo>
                      <a:pt x="809" y="251"/>
                    </a:lnTo>
                    <a:lnTo>
                      <a:pt x="812" y="247"/>
                    </a:lnTo>
                    <a:lnTo>
                      <a:pt x="813" y="247"/>
                    </a:lnTo>
                    <a:lnTo>
                      <a:pt x="815" y="249"/>
                    </a:lnTo>
                    <a:lnTo>
                      <a:pt x="818" y="246"/>
                    </a:lnTo>
                    <a:lnTo>
                      <a:pt x="828" y="239"/>
                    </a:lnTo>
                    <a:lnTo>
                      <a:pt x="830" y="239"/>
                    </a:lnTo>
                    <a:lnTo>
                      <a:pt x="832" y="236"/>
                    </a:lnTo>
                    <a:lnTo>
                      <a:pt x="838" y="229"/>
                    </a:lnTo>
                    <a:lnTo>
                      <a:pt x="845" y="224"/>
                    </a:lnTo>
                    <a:lnTo>
                      <a:pt x="848" y="222"/>
                    </a:lnTo>
                    <a:lnTo>
                      <a:pt x="850" y="224"/>
                    </a:lnTo>
                    <a:lnTo>
                      <a:pt x="855" y="224"/>
                    </a:lnTo>
                    <a:lnTo>
                      <a:pt x="858" y="221"/>
                    </a:lnTo>
                    <a:lnTo>
                      <a:pt x="858" y="219"/>
                    </a:lnTo>
                    <a:lnTo>
                      <a:pt x="863" y="219"/>
                    </a:lnTo>
                    <a:lnTo>
                      <a:pt x="870" y="219"/>
                    </a:lnTo>
                    <a:lnTo>
                      <a:pt x="877" y="216"/>
                    </a:lnTo>
                    <a:lnTo>
                      <a:pt x="882" y="212"/>
                    </a:lnTo>
                    <a:lnTo>
                      <a:pt x="885" y="212"/>
                    </a:lnTo>
                    <a:lnTo>
                      <a:pt x="888" y="209"/>
                    </a:lnTo>
                    <a:lnTo>
                      <a:pt x="892" y="207"/>
                    </a:lnTo>
                    <a:lnTo>
                      <a:pt x="895" y="206"/>
                    </a:lnTo>
                    <a:lnTo>
                      <a:pt x="898" y="202"/>
                    </a:lnTo>
                    <a:lnTo>
                      <a:pt x="905" y="197"/>
                    </a:lnTo>
                    <a:lnTo>
                      <a:pt x="907" y="192"/>
                    </a:lnTo>
                    <a:lnTo>
                      <a:pt x="907" y="191"/>
                    </a:lnTo>
                    <a:lnTo>
                      <a:pt x="908" y="187"/>
                    </a:lnTo>
                    <a:lnTo>
                      <a:pt x="910" y="186"/>
                    </a:lnTo>
                    <a:lnTo>
                      <a:pt x="913" y="184"/>
                    </a:lnTo>
                    <a:lnTo>
                      <a:pt x="913" y="186"/>
                    </a:lnTo>
                    <a:lnTo>
                      <a:pt x="915" y="189"/>
                    </a:lnTo>
                    <a:lnTo>
                      <a:pt x="915" y="192"/>
                    </a:lnTo>
                    <a:lnTo>
                      <a:pt x="913" y="196"/>
                    </a:lnTo>
                    <a:lnTo>
                      <a:pt x="915" y="197"/>
                    </a:lnTo>
                    <a:lnTo>
                      <a:pt x="916" y="202"/>
                    </a:lnTo>
                    <a:lnTo>
                      <a:pt x="915" y="204"/>
                    </a:lnTo>
                    <a:lnTo>
                      <a:pt x="915" y="207"/>
                    </a:lnTo>
                    <a:lnTo>
                      <a:pt x="916" y="206"/>
                    </a:lnTo>
                    <a:lnTo>
                      <a:pt x="918" y="202"/>
                    </a:lnTo>
                    <a:lnTo>
                      <a:pt x="920" y="199"/>
                    </a:lnTo>
                    <a:lnTo>
                      <a:pt x="920" y="197"/>
                    </a:lnTo>
                    <a:lnTo>
                      <a:pt x="920" y="194"/>
                    </a:lnTo>
                    <a:lnTo>
                      <a:pt x="921" y="192"/>
                    </a:lnTo>
                    <a:lnTo>
                      <a:pt x="923" y="192"/>
                    </a:lnTo>
                    <a:lnTo>
                      <a:pt x="923" y="196"/>
                    </a:lnTo>
                    <a:lnTo>
                      <a:pt x="926" y="197"/>
                    </a:lnTo>
                    <a:lnTo>
                      <a:pt x="930" y="197"/>
                    </a:lnTo>
                    <a:lnTo>
                      <a:pt x="935" y="196"/>
                    </a:lnTo>
                    <a:lnTo>
                      <a:pt x="936" y="194"/>
                    </a:lnTo>
                    <a:lnTo>
                      <a:pt x="935" y="192"/>
                    </a:lnTo>
                    <a:lnTo>
                      <a:pt x="935" y="189"/>
                    </a:lnTo>
                    <a:lnTo>
                      <a:pt x="936" y="189"/>
                    </a:lnTo>
                    <a:lnTo>
                      <a:pt x="940" y="187"/>
                    </a:lnTo>
                    <a:lnTo>
                      <a:pt x="940" y="182"/>
                    </a:lnTo>
                    <a:lnTo>
                      <a:pt x="938" y="179"/>
                    </a:lnTo>
                    <a:lnTo>
                      <a:pt x="940" y="178"/>
                    </a:lnTo>
                    <a:lnTo>
                      <a:pt x="943" y="176"/>
                    </a:lnTo>
                    <a:lnTo>
                      <a:pt x="945" y="178"/>
                    </a:lnTo>
                    <a:lnTo>
                      <a:pt x="948" y="179"/>
                    </a:lnTo>
                    <a:lnTo>
                      <a:pt x="953" y="178"/>
                    </a:lnTo>
                    <a:lnTo>
                      <a:pt x="955" y="176"/>
                    </a:lnTo>
                    <a:lnTo>
                      <a:pt x="961" y="174"/>
                    </a:lnTo>
                    <a:lnTo>
                      <a:pt x="968" y="174"/>
                    </a:lnTo>
                    <a:lnTo>
                      <a:pt x="970" y="173"/>
                    </a:lnTo>
                    <a:lnTo>
                      <a:pt x="976" y="174"/>
                    </a:lnTo>
                    <a:lnTo>
                      <a:pt x="983" y="178"/>
                    </a:lnTo>
                    <a:lnTo>
                      <a:pt x="990" y="179"/>
                    </a:lnTo>
                    <a:lnTo>
                      <a:pt x="995" y="179"/>
                    </a:lnTo>
                    <a:lnTo>
                      <a:pt x="998" y="181"/>
                    </a:lnTo>
                    <a:lnTo>
                      <a:pt x="1001" y="184"/>
                    </a:lnTo>
                    <a:lnTo>
                      <a:pt x="1003" y="184"/>
                    </a:lnTo>
                    <a:lnTo>
                      <a:pt x="1008" y="186"/>
                    </a:lnTo>
                    <a:lnTo>
                      <a:pt x="1009" y="189"/>
                    </a:lnTo>
                    <a:lnTo>
                      <a:pt x="1011" y="192"/>
                    </a:lnTo>
                    <a:lnTo>
                      <a:pt x="1018" y="197"/>
                    </a:lnTo>
                    <a:lnTo>
                      <a:pt x="1019" y="199"/>
                    </a:lnTo>
                    <a:lnTo>
                      <a:pt x="1023" y="202"/>
                    </a:lnTo>
                    <a:lnTo>
                      <a:pt x="1024" y="209"/>
                    </a:lnTo>
                    <a:lnTo>
                      <a:pt x="1024" y="214"/>
                    </a:lnTo>
                    <a:lnTo>
                      <a:pt x="1021" y="216"/>
                    </a:lnTo>
                    <a:lnTo>
                      <a:pt x="1018" y="217"/>
                    </a:lnTo>
                    <a:lnTo>
                      <a:pt x="1013" y="221"/>
                    </a:lnTo>
                    <a:lnTo>
                      <a:pt x="1013" y="222"/>
                    </a:lnTo>
                    <a:lnTo>
                      <a:pt x="1009" y="224"/>
                    </a:lnTo>
                    <a:lnTo>
                      <a:pt x="1005" y="226"/>
                    </a:lnTo>
                    <a:lnTo>
                      <a:pt x="1000" y="232"/>
                    </a:lnTo>
                    <a:lnTo>
                      <a:pt x="998" y="236"/>
                    </a:lnTo>
                    <a:lnTo>
                      <a:pt x="996" y="236"/>
                    </a:lnTo>
                    <a:lnTo>
                      <a:pt x="993" y="236"/>
                    </a:lnTo>
                    <a:lnTo>
                      <a:pt x="986" y="232"/>
                    </a:lnTo>
                    <a:lnTo>
                      <a:pt x="983" y="232"/>
                    </a:lnTo>
                    <a:lnTo>
                      <a:pt x="980" y="234"/>
                    </a:lnTo>
                    <a:lnTo>
                      <a:pt x="978" y="237"/>
                    </a:lnTo>
                    <a:lnTo>
                      <a:pt x="978" y="239"/>
                    </a:lnTo>
                    <a:lnTo>
                      <a:pt x="980" y="241"/>
                    </a:lnTo>
                    <a:lnTo>
                      <a:pt x="980" y="242"/>
                    </a:lnTo>
                    <a:lnTo>
                      <a:pt x="981" y="246"/>
                    </a:lnTo>
                    <a:lnTo>
                      <a:pt x="983" y="247"/>
                    </a:lnTo>
                    <a:lnTo>
                      <a:pt x="983" y="251"/>
                    </a:lnTo>
                    <a:lnTo>
                      <a:pt x="981" y="252"/>
                    </a:lnTo>
                    <a:lnTo>
                      <a:pt x="978" y="252"/>
                    </a:lnTo>
                    <a:lnTo>
                      <a:pt x="976" y="252"/>
                    </a:lnTo>
                    <a:lnTo>
                      <a:pt x="968" y="256"/>
                    </a:lnTo>
                    <a:lnTo>
                      <a:pt x="965" y="259"/>
                    </a:lnTo>
                    <a:lnTo>
                      <a:pt x="960" y="259"/>
                    </a:lnTo>
                    <a:lnTo>
                      <a:pt x="956" y="259"/>
                    </a:lnTo>
                    <a:lnTo>
                      <a:pt x="953" y="257"/>
                    </a:lnTo>
                    <a:lnTo>
                      <a:pt x="950" y="256"/>
                    </a:lnTo>
                    <a:lnTo>
                      <a:pt x="946" y="256"/>
                    </a:lnTo>
                    <a:lnTo>
                      <a:pt x="945" y="256"/>
                    </a:lnTo>
                    <a:lnTo>
                      <a:pt x="941" y="254"/>
                    </a:lnTo>
                    <a:lnTo>
                      <a:pt x="941" y="254"/>
                    </a:lnTo>
                    <a:lnTo>
                      <a:pt x="938" y="254"/>
                    </a:lnTo>
                    <a:lnTo>
                      <a:pt x="936" y="254"/>
                    </a:lnTo>
                    <a:lnTo>
                      <a:pt x="936" y="256"/>
                    </a:lnTo>
                    <a:lnTo>
                      <a:pt x="935" y="256"/>
                    </a:lnTo>
                    <a:lnTo>
                      <a:pt x="931" y="256"/>
                    </a:lnTo>
                    <a:lnTo>
                      <a:pt x="930" y="256"/>
                    </a:lnTo>
                    <a:lnTo>
                      <a:pt x="928" y="259"/>
                    </a:lnTo>
                    <a:lnTo>
                      <a:pt x="925" y="259"/>
                    </a:lnTo>
                    <a:lnTo>
                      <a:pt x="923" y="257"/>
                    </a:lnTo>
                    <a:lnTo>
                      <a:pt x="920" y="259"/>
                    </a:lnTo>
                    <a:lnTo>
                      <a:pt x="918" y="261"/>
                    </a:lnTo>
                    <a:lnTo>
                      <a:pt x="913" y="259"/>
                    </a:lnTo>
                    <a:lnTo>
                      <a:pt x="910" y="259"/>
                    </a:lnTo>
                    <a:lnTo>
                      <a:pt x="905" y="259"/>
                    </a:lnTo>
                    <a:lnTo>
                      <a:pt x="902" y="262"/>
                    </a:lnTo>
                    <a:lnTo>
                      <a:pt x="897" y="261"/>
                    </a:lnTo>
                    <a:lnTo>
                      <a:pt x="893" y="261"/>
                    </a:lnTo>
                    <a:lnTo>
                      <a:pt x="897" y="262"/>
                    </a:lnTo>
                    <a:lnTo>
                      <a:pt x="900" y="262"/>
                    </a:lnTo>
                    <a:lnTo>
                      <a:pt x="910" y="262"/>
                    </a:lnTo>
                    <a:lnTo>
                      <a:pt x="913" y="261"/>
                    </a:lnTo>
                    <a:lnTo>
                      <a:pt x="916" y="261"/>
                    </a:lnTo>
                    <a:lnTo>
                      <a:pt x="920" y="264"/>
                    </a:lnTo>
                    <a:lnTo>
                      <a:pt x="925" y="264"/>
                    </a:lnTo>
                    <a:lnTo>
                      <a:pt x="935" y="264"/>
                    </a:lnTo>
                    <a:lnTo>
                      <a:pt x="938" y="267"/>
                    </a:lnTo>
                    <a:lnTo>
                      <a:pt x="941" y="267"/>
                    </a:lnTo>
                    <a:lnTo>
                      <a:pt x="943" y="264"/>
                    </a:lnTo>
                    <a:lnTo>
                      <a:pt x="946" y="264"/>
                    </a:lnTo>
                    <a:lnTo>
                      <a:pt x="950" y="264"/>
                    </a:lnTo>
                    <a:lnTo>
                      <a:pt x="951" y="267"/>
                    </a:lnTo>
                    <a:lnTo>
                      <a:pt x="956" y="269"/>
                    </a:lnTo>
                    <a:lnTo>
                      <a:pt x="958" y="271"/>
                    </a:lnTo>
                    <a:lnTo>
                      <a:pt x="958" y="274"/>
                    </a:lnTo>
                    <a:lnTo>
                      <a:pt x="955" y="277"/>
                    </a:lnTo>
                    <a:lnTo>
                      <a:pt x="951" y="277"/>
                    </a:lnTo>
                    <a:lnTo>
                      <a:pt x="950" y="277"/>
                    </a:lnTo>
                    <a:lnTo>
                      <a:pt x="950" y="280"/>
                    </a:lnTo>
                    <a:lnTo>
                      <a:pt x="950" y="284"/>
                    </a:lnTo>
                    <a:lnTo>
                      <a:pt x="946" y="285"/>
                    </a:lnTo>
                    <a:lnTo>
                      <a:pt x="936" y="287"/>
                    </a:lnTo>
                    <a:lnTo>
                      <a:pt x="933" y="287"/>
                    </a:lnTo>
                    <a:lnTo>
                      <a:pt x="928" y="287"/>
                    </a:lnTo>
                    <a:lnTo>
                      <a:pt x="920" y="287"/>
                    </a:lnTo>
                    <a:lnTo>
                      <a:pt x="916" y="285"/>
                    </a:lnTo>
                    <a:lnTo>
                      <a:pt x="908" y="279"/>
                    </a:lnTo>
                    <a:lnTo>
                      <a:pt x="902" y="277"/>
                    </a:lnTo>
                    <a:lnTo>
                      <a:pt x="898" y="277"/>
                    </a:lnTo>
                    <a:lnTo>
                      <a:pt x="893" y="280"/>
                    </a:lnTo>
                    <a:lnTo>
                      <a:pt x="892" y="285"/>
                    </a:lnTo>
                    <a:lnTo>
                      <a:pt x="887" y="289"/>
                    </a:lnTo>
                    <a:lnTo>
                      <a:pt x="883" y="290"/>
                    </a:lnTo>
                    <a:lnTo>
                      <a:pt x="882" y="292"/>
                    </a:lnTo>
                    <a:lnTo>
                      <a:pt x="883" y="292"/>
                    </a:lnTo>
                    <a:lnTo>
                      <a:pt x="887" y="292"/>
                    </a:lnTo>
                    <a:lnTo>
                      <a:pt x="888" y="295"/>
                    </a:lnTo>
                    <a:lnTo>
                      <a:pt x="888" y="299"/>
                    </a:lnTo>
                    <a:lnTo>
                      <a:pt x="887" y="300"/>
                    </a:lnTo>
                    <a:lnTo>
                      <a:pt x="883" y="300"/>
                    </a:lnTo>
                    <a:lnTo>
                      <a:pt x="883" y="302"/>
                    </a:lnTo>
                    <a:lnTo>
                      <a:pt x="885" y="304"/>
                    </a:lnTo>
                    <a:lnTo>
                      <a:pt x="888" y="305"/>
                    </a:lnTo>
                    <a:lnTo>
                      <a:pt x="892" y="305"/>
                    </a:lnTo>
                    <a:lnTo>
                      <a:pt x="893" y="304"/>
                    </a:lnTo>
                    <a:lnTo>
                      <a:pt x="898" y="300"/>
                    </a:lnTo>
                    <a:lnTo>
                      <a:pt x="902" y="297"/>
                    </a:lnTo>
                    <a:lnTo>
                      <a:pt x="907" y="295"/>
                    </a:lnTo>
                    <a:lnTo>
                      <a:pt x="913" y="294"/>
                    </a:lnTo>
                    <a:lnTo>
                      <a:pt x="920" y="290"/>
                    </a:lnTo>
                    <a:lnTo>
                      <a:pt x="923" y="290"/>
                    </a:lnTo>
                    <a:lnTo>
                      <a:pt x="925" y="292"/>
                    </a:lnTo>
                    <a:lnTo>
                      <a:pt x="926" y="294"/>
                    </a:lnTo>
                    <a:lnTo>
                      <a:pt x="931" y="295"/>
                    </a:lnTo>
                    <a:lnTo>
                      <a:pt x="935" y="297"/>
                    </a:lnTo>
                    <a:lnTo>
                      <a:pt x="935" y="299"/>
                    </a:lnTo>
                    <a:lnTo>
                      <a:pt x="933" y="300"/>
                    </a:lnTo>
                    <a:lnTo>
                      <a:pt x="928" y="304"/>
                    </a:lnTo>
                    <a:lnTo>
                      <a:pt x="926" y="310"/>
                    </a:lnTo>
                    <a:lnTo>
                      <a:pt x="923" y="314"/>
                    </a:lnTo>
                    <a:lnTo>
                      <a:pt x="921" y="317"/>
                    </a:lnTo>
                    <a:lnTo>
                      <a:pt x="915" y="322"/>
                    </a:lnTo>
                    <a:lnTo>
                      <a:pt x="910" y="327"/>
                    </a:lnTo>
                    <a:lnTo>
                      <a:pt x="903" y="337"/>
                    </a:lnTo>
                    <a:lnTo>
                      <a:pt x="900" y="342"/>
                    </a:lnTo>
                    <a:lnTo>
                      <a:pt x="897" y="344"/>
                    </a:lnTo>
                    <a:lnTo>
                      <a:pt x="897" y="350"/>
                    </a:lnTo>
                    <a:lnTo>
                      <a:pt x="895" y="355"/>
                    </a:lnTo>
                    <a:lnTo>
                      <a:pt x="895" y="357"/>
                    </a:lnTo>
                    <a:lnTo>
                      <a:pt x="892" y="360"/>
                    </a:lnTo>
                    <a:lnTo>
                      <a:pt x="892" y="367"/>
                    </a:lnTo>
                    <a:lnTo>
                      <a:pt x="888" y="372"/>
                    </a:lnTo>
                    <a:lnTo>
                      <a:pt x="887" y="380"/>
                    </a:lnTo>
                    <a:lnTo>
                      <a:pt x="888" y="383"/>
                    </a:lnTo>
                    <a:lnTo>
                      <a:pt x="890" y="387"/>
                    </a:lnTo>
                    <a:lnTo>
                      <a:pt x="888" y="393"/>
                    </a:lnTo>
                    <a:lnTo>
                      <a:pt x="885" y="395"/>
                    </a:lnTo>
                    <a:lnTo>
                      <a:pt x="882" y="398"/>
                    </a:lnTo>
                    <a:lnTo>
                      <a:pt x="883" y="403"/>
                    </a:lnTo>
                    <a:lnTo>
                      <a:pt x="882" y="405"/>
                    </a:lnTo>
                    <a:lnTo>
                      <a:pt x="880" y="408"/>
                    </a:lnTo>
                    <a:lnTo>
                      <a:pt x="878" y="413"/>
                    </a:lnTo>
                    <a:lnTo>
                      <a:pt x="877" y="418"/>
                    </a:lnTo>
                    <a:lnTo>
                      <a:pt x="873" y="422"/>
                    </a:lnTo>
                    <a:lnTo>
                      <a:pt x="870" y="422"/>
                    </a:lnTo>
                    <a:lnTo>
                      <a:pt x="868" y="418"/>
                    </a:lnTo>
                    <a:lnTo>
                      <a:pt x="868" y="417"/>
                    </a:lnTo>
                    <a:lnTo>
                      <a:pt x="867" y="415"/>
                    </a:lnTo>
                    <a:lnTo>
                      <a:pt x="865" y="413"/>
                    </a:lnTo>
                    <a:lnTo>
                      <a:pt x="868" y="412"/>
                    </a:lnTo>
                    <a:lnTo>
                      <a:pt x="867" y="410"/>
                    </a:lnTo>
                    <a:lnTo>
                      <a:pt x="863" y="408"/>
                    </a:lnTo>
                    <a:lnTo>
                      <a:pt x="860" y="410"/>
                    </a:lnTo>
                    <a:lnTo>
                      <a:pt x="858" y="410"/>
                    </a:lnTo>
                    <a:lnTo>
                      <a:pt x="857" y="412"/>
                    </a:lnTo>
                    <a:lnTo>
                      <a:pt x="857" y="413"/>
                    </a:lnTo>
                    <a:lnTo>
                      <a:pt x="858" y="415"/>
                    </a:lnTo>
                    <a:lnTo>
                      <a:pt x="858" y="417"/>
                    </a:lnTo>
                    <a:lnTo>
                      <a:pt x="855" y="418"/>
                    </a:lnTo>
                    <a:lnTo>
                      <a:pt x="855" y="422"/>
                    </a:lnTo>
                    <a:lnTo>
                      <a:pt x="858" y="423"/>
                    </a:lnTo>
                    <a:lnTo>
                      <a:pt x="862" y="425"/>
                    </a:lnTo>
                    <a:lnTo>
                      <a:pt x="865" y="428"/>
                    </a:lnTo>
                    <a:lnTo>
                      <a:pt x="867" y="430"/>
                    </a:lnTo>
                    <a:lnTo>
                      <a:pt x="868" y="435"/>
                    </a:lnTo>
                    <a:lnTo>
                      <a:pt x="872" y="437"/>
                    </a:lnTo>
                    <a:lnTo>
                      <a:pt x="877" y="438"/>
                    </a:lnTo>
                    <a:lnTo>
                      <a:pt x="882" y="442"/>
                    </a:lnTo>
                    <a:lnTo>
                      <a:pt x="883" y="448"/>
                    </a:lnTo>
                    <a:lnTo>
                      <a:pt x="882" y="450"/>
                    </a:lnTo>
                    <a:lnTo>
                      <a:pt x="878" y="450"/>
                    </a:lnTo>
                    <a:lnTo>
                      <a:pt x="875" y="448"/>
                    </a:lnTo>
                    <a:lnTo>
                      <a:pt x="870" y="443"/>
                    </a:lnTo>
                    <a:lnTo>
                      <a:pt x="870" y="442"/>
                    </a:lnTo>
                    <a:lnTo>
                      <a:pt x="867" y="440"/>
                    </a:lnTo>
                    <a:lnTo>
                      <a:pt x="865" y="440"/>
                    </a:lnTo>
                    <a:lnTo>
                      <a:pt x="863" y="440"/>
                    </a:lnTo>
                    <a:lnTo>
                      <a:pt x="863" y="442"/>
                    </a:lnTo>
                    <a:lnTo>
                      <a:pt x="863" y="445"/>
                    </a:lnTo>
                    <a:lnTo>
                      <a:pt x="867" y="448"/>
                    </a:lnTo>
                    <a:lnTo>
                      <a:pt x="867" y="450"/>
                    </a:lnTo>
                    <a:lnTo>
                      <a:pt x="863" y="450"/>
                    </a:lnTo>
                    <a:lnTo>
                      <a:pt x="862" y="448"/>
                    </a:lnTo>
                    <a:lnTo>
                      <a:pt x="860" y="450"/>
                    </a:lnTo>
                    <a:lnTo>
                      <a:pt x="862" y="452"/>
                    </a:lnTo>
                    <a:lnTo>
                      <a:pt x="865" y="453"/>
                    </a:lnTo>
                    <a:lnTo>
                      <a:pt x="865" y="455"/>
                    </a:lnTo>
                    <a:lnTo>
                      <a:pt x="863" y="457"/>
                    </a:lnTo>
                    <a:lnTo>
                      <a:pt x="865" y="458"/>
                    </a:lnTo>
                    <a:lnTo>
                      <a:pt x="867" y="457"/>
                    </a:lnTo>
                    <a:lnTo>
                      <a:pt x="872" y="458"/>
                    </a:lnTo>
                    <a:lnTo>
                      <a:pt x="873" y="460"/>
                    </a:lnTo>
                    <a:lnTo>
                      <a:pt x="873" y="463"/>
                    </a:lnTo>
                    <a:lnTo>
                      <a:pt x="873" y="465"/>
                    </a:lnTo>
                    <a:lnTo>
                      <a:pt x="875" y="467"/>
                    </a:lnTo>
                    <a:lnTo>
                      <a:pt x="877" y="465"/>
                    </a:lnTo>
                    <a:lnTo>
                      <a:pt x="882" y="462"/>
                    </a:lnTo>
                    <a:lnTo>
                      <a:pt x="883" y="458"/>
                    </a:lnTo>
                    <a:lnTo>
                      <a:pt x="885" y="458"/>
                    </a:lnTo>
                    <a:lnTo>
                      <a:pt x="885" y="460"/>
                    </a:lnTo>
                    <a:lnTo>
                      <a:pt x="887" y="462"/>
                    </a:lnTo>
                    <a:lnTo>
                      <a:pt x="888" y="462"/>
                    </a:lnTo>
                    <a:lnTo>
                      <a:pt x="892" y="463"/>
                    </a:lnTo>
                    <a:lnTo>
                      <a:pt x="895" y="465"/>
                    </a:lnTo>
                    <a:lnTo>
                      <a:pt x="897" y="468"/>
                    </a:lnTo>
                    <a:lnTo>
                      <a:pt x="897" y="472"/>
                    </a:lnTo>
                    <a:lnTo>
                      <a:pt x="895" y="473"/>
                    </a:lnTo>
                    <a:lnTo>
                      <a:pt x="893" y="478"/>
                    </a:lnTo>
                    <a:lnTo>
                      <a:pt x="893" y="483"/>
                    </a:lnTo>
                    <a:lnTo>
                      <a:pt x="893" y="486"/>
                    </a:lnTo>
                    <a:lnTo>
                      <a:pt x="892" y="491"/>
                    </a:lnTo>
                    <a:lnTo>
                      <a:pt x="888" y="495"/>
                    </a:lnTo>
                    <a:lnTo>
                      <a:pt x="888" y="498"/>
                    </a:lnTo>
                    <a:lnTo>
                      <a:pt x="888" y="500"/>
                    </a:lnTo>
                    <a:lnTo>
                      <a:pt x="887" y="500"/>
                    </a:lnTo>
                    <a:lnTo>
                      <a:pt x="883" y="496"/>
                    </a:lnTo>
                    <a:lnTo>
                      <a:pt x="878" y="495"/>
                    </a:lnTo>
                    <a:lnTo>
                      <a:pt x="877" y="491"/>
                    </a:lnTo>
                    <a:lnTo>
                      <a:pt x="875" y="491"/>
                    </a:lnTo>
                    <a:lnTo>
                      <a:pt x="873" y="491"/>
                    </a:lnTo>
                    <a:lnTo>
                      <a:pt x="868" y="490"/>
                    </a:lnTo>
                    <a:lnTo>
                      <a:pt x="868" y="488"/>
                    </a:lnTo>
                    <a:lnTo>
                      <a:pt x="868" y="486"/>
                    </a:lnTo>
                    <a:lnTo>
                      <a:pt x="867" y="483"/>
                    </a:lnTo>
                    <a:lnTo>
                      <a:pt x="863" y="483"/>
                    </a:lnTo>
                    <a:lnTo>
                      <a:pt x="862" y="483"/>
                    </a:lnTo>
                    <a:lnTo>
                      <a:pt x="860" y="483"/>
                    </a:lnTo>
                    <a:lnTo>
                      <a:pt x="857" y="480"/>
                    </a:lnTo>
                    <a:lnTo>
                      <a:pt x="853" y="480"/>
                    </a:lnTo>
                    <a:lnTo>
                      <a:pt x="850" y="481"/>
                    </a:lnTo>
                    <a:lnTo>
                      <a:pt x="850" y="481"/>
                    </a:lnTo>
                    <a:lnTo>
                      <a:pt x="850" y="485"/>
                    </a:lnTo>
                    <a:lnTo>
                      <a:pt x="848" y="485"/>
                    </a:lnTo>
                    <a:lnTo>
                      <a:pt x="847" y="483"/>
                    </a:lnTo>
                    <a:lnTo>
                      <a:pt x="842" y="483"/>
                    </a:lnTo>
                    <a:lnTo>
                      <a:pt x="838" y="485"/>
                    </a:lnTo>
                    <a:lnTo>
                      <a:pt x="840" y="485"/>
                    </a:lnTo>
                    <a:lnTo>
                      <a:pt x="843" y="485"/>
                    </a:lnTo>
                    <a:lnTo>
                      <a:pt x="847" y="486"/>
                    </a:lnTo>
                    <a:lnTo>
                      <a:pt x="848" y="488"/>
                    </a:lnTo>
                    <a:lnTo>
                      <a:pt x="848" y="488"/>
                    </a:lnTo>
                    <a:lnTo>
                      <a:pt x="845" y="490"/>
                    </a:lnTo>
                    <a:lnTo>
                      <a:pt x="840" y="495"/>
                    </a:lnTo>
                    <a:lnTo>
                      <a:pt x="835" y="496"/>
                    </a:lnTo>
                    <a:lnTo>
                      <a:pt x="833" y="496"/>
                    </a:lnTo>
                    <a:lnTo>
                      <a:pt x="832" y="495"/>
                    </a:lnTo>
                    <a:lnTo>
                      <a:pt x="832" y="491"/>
                    </a:lnTo>
                    <a:lnTo>
                      <a:pt x="830" y="490"/>
                    </a:lnTo>
                    <a:lnTo>
                      <a:pt x="828" y="491"/>
                    </a:lnTo>
                    <a:lnTo>
                      <a:pt x="828" y="495"/>
                    </a:lnTo>
                    <a:lnTo>
                      <a:pt x="830" y="496"/>
                    </a:lnTo>
                    <a:lnTo>
                      <a:pt x="828" y="498"/>
                    </a:lnTo>
                    <a:lnTo>
                      <a:pt x="828" y="501"/>
                    </a:lnTo>
                    <a:lnTo>
                      <a:pt x="830" y="503"/>
                    </a:lnTo>
                    <a:lnTo>
                      <a:pt x="828" y="505"/>
                    </a:lnTo>
                    <a:lnTo>
                      <a:pt x="828" y="506"/>
                    </a:lnTo>
                    <a:lnTo>
                      <a:pt x="830" y="508"/>
                    </a:lnTo>
                    <a:lnTo>
                      <a:pt x="828" y="510"/>
                    </a:lnTo>
                    <a:lnTo>
                      <a:pt x="823" y="508"/>
                    </a:lnTo>
                    <a:lnTo>
                      <a:pt x="820" y="508"/>
                    </a:lnTo>
                    <a:lnTo>
                      <a:pt x="818" y="510"/>
                    </a:lnTo>
                    <a:lnTo>
                      <a:pt x="822" y="511"/>
                    </a:lnTo>
                    <a:lnTo>
                      <a:pt x="825" y="513"/>
                    </a:lnTo>
                    <a:lnTo>
                      <a:pt x="832" y="511"/>
                    </a:lnTo>
                    <a:lnTo>
                      <a:pt x="832" y="513"/>
                    </a:lnTo>
                    <a:lnTo>
                      <a:pt x="832" y="516"/>
                    </a:lnTo>
                    <a:lnTo>
                      <a:pt x="832" y="520"/>
                    </a:lnTo>
                    <a:lnTo>
                      <a:pt x="833" y="520"/>
                    </a:lnTo>
                    <a:lnTo>
                      <a:pt x="835" y="518"/>
                    </a:lnTo>
                    <a:lnTo>
                      <a:pt x="838" y="518"/>
                    </a:lnTo>
                    <a:lnTo>
                      <a:pt x="843" y="520"/>
                    </a:lnTo>
                    <a:lnTo>
                      <a:pt x="845" y="521"/>
                    </a:lnTo>
                    <a:lnTo>
                      <a:pt x="850" y="521"/>
                    </a:lnTo>
                    <a:lnTo>
                      <a:pt x="853" y="521"/>
                    </a:lnTo>
                    <a:lnTo>
                      <a:pt x="857" y="521"/>
                    </a:lnTo>
                    <a:lnTo>
                      <a:pt x="858" y="520"/>
                    </a:lnTo>
                    <a:lnTo>
                      <a:pt x="860" y="520"/>
                    </a:lnTo>
                    <a:lnTo>
                      <a:pt x="860" y="523"/>
                    </a:lnTo>
                    <a:lnTo>
                      <a:pt x="860" y="526"/>
                    </a:lnTo>
                    <a:lnTo>
                      <a:pt x="862" y="530"/>
                    </a:lnTo>
                    <a:lnTo>
                      <a:pt x="860" y="530"/>
                    </a:lnTo>
                    <a:lnTo>
                      <a:pt x="858" y="531"/>
                    </a:lnTo>
                    <a:lnTo>
                      <a:pt x="855" y="530"/>
                    </a:lnTo>
                    <a:lnTo>
                      <a:pt x="853" y="530"/>
                    </a:lnTo>
                    <a:lnTo>
                      <a:pt x="850" y="531"/>
                    </a:lnTo>
                    <a:lnTo>
                      <a:pt x="847" y="531"/>
                    </a:lnTo>
                    <a:lnTo>
                      <a:pt x="845" y="530"/>
                    </a:lnTo>
                    <a:lnTo>
                      <a:pt x="838" y="531"/>
                    </a:lnTo>
                    <a:lnTo>
                      <a:pt x="833" y="531"/>
                    </a:lnTo>
                    <a:lnTo>
                      <a:pt x="830" y="531"/>
                    </a:lnTo>
                    <a:lnTo>
                      <a:pt x="830" y="530"/>
                    </a:lnTo>
                    <a:lnTo>
                      <a:pt x="828" y="531"/>
                    </a:lnTo>
                    <a:lnTo>
                      <a:pt x="830" y="533"/>
                    </a:lnTo>
                    <a:lnTo>
                      <a:pt x="830" y="535"/>
                    </a:lnTo>
                    <a:lnTo>
                      <a:pt x="833" y="535"/>
                    </a:lnTo>
                    <a:lnTo>
                      <a:pt x="837" y="533"/>
                    </a:lnTo>
                    <a:lnTo>
                      <a:pt x="845" y="533"/>
                    </a:lnTo>
                    <a:lnTo>
                      <a:pt x="848" y="535"/>
                    </a:lnTo>
                    <a:lnTo>
                      <a:pt x="850" y="538"/>
                    </a:lnTo>
                    <a:lnTo>
                      <a:pt x="853" y="538"/>
                    </a:lnTo>
                    <a:lnTo>
                      <a:pt x="857" y="538"/>
                    </a:lnTo>
                    <a:lnTo>
                      <a:pt x="860" y="541"/>
                    </a:lnTo>
                    <a:lnTo>
                      <a:pt x="862" y="545"/>
                    </a:lnTo>
                    <a:lnTo>
                      <a:pt x="865" y="548"/>
                    </a:lnTo>
                    <a:lnTo>
                      <a:pt x="867" y="550"/>
                    </a:lnTo>
                    <a:lnTo>
                      <a:pt x="865" y="550"/>
                    </a:lnTo>
                    <a:lnTo>
                      <a:pt x="862" y="550"/>
                    </a:lnTo>
                    <a:lnTo>
                      <a:pt x="860" y="548"/>
                    </a:lnTo>
                    <a:lnTo>
                      <a:pt x="860" y="550"/>
                    </a:lnTo>
                    <a:lnTo>
                      <a:pt x="860" y="551"/>
                    </a:lnTo>
                    <a:lnTo>
                      <a:pt x="862" y="555"/>
                    </a:lnTo>
                    <a:lnTo>
                      <a:pt x="862" y="560"/>
                    </a:lnTo>
                    <a:lnTo>
                      <a:pt x="862" y="563"/>
                    </a:lnTo>
                    <a:lnTo>
                      <a:pt x="862" y="566"/>
                    </a:lnTo>
                    <a:lnTo>
                      <a:pt x="862" y="568"/>
                    </a:lnTo>
                    <a:lnTo>
                      <a:pt x="860" y="571"/>
                    </a:lnTo>
                    <a:lnTo>
                      <a:pt x="858" y="578"/>
                    </a:lnTo>
                    <a:lnTo>
                      <a:pt x="855" y="581"/>
                    </a:lnTo>
                    <a:lnTo>
                      <a:pt x="852" y="581"/>
                    </a:lnTo>
                    <a:lnTo>
                      <a:pt x="850" y="579"/>
                    </a:lnTo>
                    <a:lnTo>
                      <a:pt x="848" y="576"/>
                    </a:lnTo>
                    <a:lnTo>
                      <a:pt x="852" y="573"/>
                    </a:lnTo>
                    <a:lnTo>
                      <a:pt x="850" y="571"/>
                    </a:lnTo>
                    <a:lnTo>
                      <a:pt x="847" y="571"/>
                    </a:lnTo>
                    <a:lnTo>
                      <a:pt x="845" y="571"/>
                    </a:lnTo>
                    <a:lnTo>
                      <a:pt x="843" y="571"/>
                    </a:lnTo>
                    <a:lnTo>
                      <a:pt x="837" y="565"/>
                    </a:lnTo>
                    <a:lnTo>
                      <a:pt x="833" y="561"/>
                    </a:lnTo>
                    <a:lnTo>
                      <a:pt x="828" y="560"/>
                    </a:lnTo>
                    <a:lnTo>
                      <a:pt x="828" y="556"/>
                    </a:lnTo>
                    <a:lnTo>
                      <a:pt x="827" y="553"/>
                    </a:lnTo>
                    <a:lnTo>
                      <a:pt x="822" y="548"/>
                    </a:lnTo>
                    <a:lnTo>
                      <a:pt x="818" y="546"/>
                    </a:lnTo>
                    <a:lnTo>
                      <a:pt x="818" y="546"/>
                    </a:lnTo>
                    <a:lnTo>
                      <a:pt x="818" y="548"/>
                    </a:lnTo>
                    <a:lnTo>
                      <a:pt x="818" y="550"/>
                    </a:lnTo>
                    <a:lnTo>
                      <a:pt x="823" y="553"/>
                    </a:lnTo>
                    <a:lnTo>
                      <a:pt x="823" y="556"/>
                    </a:lnTo>
                    <a:lnTo>
                      <a:pt x="822" y="558"/>
                    </a:lnTo>
                    <a:lnTo>
                      <a:pt x="817" y="556"/>
                    </a:lnTo>
                    <a:lnTo>
                      <a:pt x="813" y="555"/>
                    </a:lnTo>
                    <a:lnTo>
                      <a:pt x="812" y="551"/>
                    </a:lnTo>
                    <a:lnTo>
                      <a:pt x="810" y="548"/>
                    </a:lnTo>
                    <a:lnTo>
                      <a:pt x="809" y="551"/>
                    </a:lnTo>
                    <a:lnTo>
                      <a:pt x="810" y="553"/>
                    </a:lnTo>
                    <a:lnTo>
                      <a:pt x="813" y="558"/>
                    </a:lnTo>
                    <a:lnTo>
                      <a:pt x="820" y="560"/>
                    </a:lnTo>
                    <a:lnTo>
                      <a:pt x="827" y="561"/>
                    </a:lnTo>
                    <a:lnTo>
                      <a:pt x="833" y="565"/>
                    </a:lnTo>
                    <a:lnTo>
                      <a:pt x="842" y="573"/>
                    </a:lnTo>
                    <a:lnTo>
                      <a:pt x="843" y="576"/>
                    </a:lnTo>
                    <a:lnTo>
                      <a:pt x="842" y="578"/>
                    </a:lnTo>
                    <a:lnTo>
                      <a:pt x="838" y="578"/>
                    </a:lnTo>
                    <a:lnTo>
                      <a:pt x="837" y="576"/>
                    </a:lnTo>
                    <a:lnTo>
                      <a:pt x="832" y="576"/>
                    </a:lnTo>
                    <a:lnTo>
                      <a:pt x="830" y="578"/>
                    </a:lnTo>
                    <a:lnTo>
                      <a:pt x="825" y="581"/>
                    </a:lnTo>
                    <a:lnTo>
                      <a:pt x="822" y="581"/>
                    </a:lnTo>
                    <a:lnTo>
                      <a:pt x="818" y="579"/>
                    </a:lnTo>
                    <a:lnTo>
                      <a:pt x="817" y="576"/>
                    </a:lnTo>
                    <a:lnTo>
                      <a:pt x="818" y="576"/>
                    </a:lnTo>
                    <a:lnTo>
                      <a:pt x="817" y="574"/>
                    </a:lnTo>
                    <a:lnTo>
                      <a:pt x="813" y="571"/>
                    </a:lnTo>
                    <a:lnTo>
                      <a:pt x="813" y="574"/>
                    </a:lnTo>
                    <a:lnTo>
                      <a:pt x="815" y="576"/>
                    </a:lnTo>
                    <a:lnTo>
                      <a:pt x="817" y="581"/>
                    </a:lnTo>
                    <a:lnTo>
                      <a:pt x="818" y="583"/>
                    </a:lnTo>
                    <a:lnTo>
                      <a:pt x="822" y="584"/>
                    </a:lnTo>
                    <a:lnTo>
                      <a:pt x="827" y="583"/>
                    </a:lnTo>
                    <a:lnTo>
                      <a:pt x="830" y="579"/>
                    </a:lnTo>
                    <a:lnTo>
                      <a:pt x="833" y="578"/>
                    </a:lnTo>
                    <a:lnTo>
                      <a:pt x="838" y="581"/>
                    </a:lnTo>
                    <a:lnTo>
                      <a:pt x="838" y="584"/>
                    </a:lnTo>
                    <a:lnTo>
                      <a:pt x="838" y="584"/>
                    </a:lnTo>
                    <a:lnTo>
                      <a:pt x="837" y="593"/>
                    </a:lnTo>
                    <a:lnTo>
                      <a:pt x="835" y="594"/>
                    </a:lnTo>
                    <a:lnTo>
                      <a:pt x="832" y="594"/>
                    </a:lnTo>
                    <a:lnTo>
                      <a:pt x="833" y="596"/>
                    </a:lnTo>
                    <a:lnTo>
                      <a:pt x="835" y="598"/>
                    </a:lnTo>
                    <a:lnTo>
                      <a:pt x="837" y="598"/>
                    </a:lnTo>
                    <a:lnTo>
                      <a:pt x="842" y="598"/>
                    </a:lnTo>
                    <a:lnTo>
                      <a:pt x="847" y="603"/>
                    </a:lnTo>
                    <a:lnTo>
                      <a:pt x="852" y="604"/>
                    </a:lnTo>
                    <a:lnTo>
                      <a:pt x="853" y="603"/>
                    </a:lnTo>
                    <a:lnTo>
                      <a:pt x="857" y="601"/>
                    </a:lnTo>
                    <a:lnTo>
                      <a:pt x="860" y="601"/>
                    </a:lnTo>
                    <a:lnTo>
                      <a:pt x="860" y="603"/>
                    </a:lnTo>
                    <a:lnTo>
                      <a:pt x="858" y="606"/>
                    </a:lnTo>
                    <a:lnTo>
                      <a:pt x="860" y="609"/>
                    </a:lnTo>
                    <a:lnTo>
                      <a:pt x="862" y="613"/>
                    </a:lnTo>
                    <a:lnTo>
                      <a:pt x="860" y="616"/>
                    </a:lnTo>
                    <a:lnTo>
                      <a:pt x="855" y="621"/>
                    </a:lnTo>
                    <a:lnTo>
                      <a:pt x="850" y="624"/>
                    </a:lnTo>
                    <a:lnTo>
                      <a:pt x="848" y="623"/>
                    </a:lnTo>
                    <a:lnTo>
                      <a:pt x="847" y="621"/>
                    </a:lnTo>
                    <a:lnTo>
                      <a:pt x="845" y="619"/>
                    </a:lnTo>
                    <a:lnTo>
                      <a:pt x="843" y="616"/>
                    </a:lnTo>
                    <a:lnTo>
                      <a:pt x="843" y="613"/>
                    </a:lnTo>
                    <a:lnTo>
                      <a:pt x="838" y="609"/>
                    </a:lnTo>
                    <a:lnTo>
                      <a:pt x="833" y="608"/>
                    </a:lnTo>
                    <a:lnTo>
                      <a:pt x="830" y="606"/>
                    </a:lnTo>
                    <a:lnTo>
                      <a:pt x="827" y="606"/>
                    </a:lnTo>
                    <a:lnTo>
                      <a:pt x="823" y="608"/>
                    </a:lnTo>
                    <a:lnTo>
                      <a:pt x="820" y="608"/>
                    </a:lnTo>
                    <a:lnTo>
                      <a:pt x="818" y="606"/>
                    </a:lnTo>
                    <a:lnTo>
                      <a:pt x="817" y="603"/>
                    </a:lnTo>
                    <a:lnTo>
                      <a:pt x="815" y="601"/>
                    </a:lnTo>
                    <a:lnTo>
                      <a:pt x="813" y="601"/>
                    </a:lnTo>
                    <a:lnTo>
                      <a:pt x="813" y="603"/>
                    </a:lnTo>
                    <a:lnTo>
                      <a:pt x="815" y="604"/>
                    </a:lnTo>
                    <a:lnTo>
                      <a:pt x="815" y="609"/>
                    </a:lnTo>
                    <a:lnTo>
                      <a:pt x="813" y="613"/>
                    </a:lnTo>
                    <a:lnTo>
                      <a:pt x="810" y="614"/>
                    </a:lnTo>
                    <a:lnTo>
                      <a:pt x="807" y="614"/>
                    </a:lnTo>
                    <a:lnTo>
                      <a:pt x="805" y="614"/>
                    </a:lnTo>
                    <a:lnTo>
                      <a:pt x="807" y="616"/>
                    </a:lnTo>
                    <a:lnTo>
                      <a:pt x="809" y="618"/>
                    </a:lnTo>
                    <a:lnTo>
                      <a:pt x="809" y="619"/>
                    </a:lnTo>
                    <a:lnTo>
                      <a:pt x="805" y="624"/>
                    </a:lnTo>
                    <a:lnTo>
                      <a:pt x="804" y="626"/>
                    </a:lnTo>
                    <a:lnTo>
                      <a:pt x="804" y="628"/>
                    </a:lnTo>
                    <a:lnTo>
                      <a:pt x="804" y="629"/>
                    </a:lnTo>
                    <a:lnTo>
                      <a:pt x="807" y="629"/>
                    </a:lnTo>
                    <a:lnTo>
                      <a:pt x="809" y="634"/>
                    </a:lnTo>
                    <a:lnTo>
                      <a:pt x="810" y="636"/>
                    </a:lnTo>
                    <a:lnTo>
                      <a:pt x="812" y="639"/>
                    </a:lnTo>
                    <a:lnTo>
                      <a:pt x="810" y="644"/>
                    </a:lnTo>
                    <a:lnTo>
                      <a:pt x="810" y="646"/>
                    </a:lnTo>
                    <a:lnTo>
                      <a:pt x="812" y="643"/>
                    </a:lnTo>
                    <a:lnTo>
                      <a:pt x="813" y="641"/>
                    </a:lnTo>
                    <a:lnTo>
                      <a:pt x="813" y="638"/>
                    </a:lnTo>
                    <a:lnTo>
                      <a:pt x="812" y="636"/>
                    </a:lnTo>
                    <a:lnTo>
                      <a:pt x="812" y="633"/>
                    </a:lnTo>
                    <a:lnTo>
                      <a:pt x="813" y="629"/>
                    </a:lnTo>
                    <a:lnTo>
                      <a:pt x="815" y="629"/>
                    </a:lnTo>
                    <a:lnTo>
                      <a:pt x="817" y="633"/>
                    </a:lnTo>
                    <a:lnTo>
                      <a:pt x="818" y="634"/>
                    </a:lnTo>
                    <a:lnTo>
                      <a:pt x="820" y="636"/>
                    </a:lnTo>
                    <a:lnTo>
                      <a:pt x="823" y="639"/>
                    </a:lnTo>
                    <a:lnTo>
                      <a:pt x="825" y="638"/>
                    </a:lnTo>
                    <a:lnTo>
                      <a:pt x="827" y="638"/>
                    </a:lnTo>
                    <a:lnTo>
                      <a:pt x="828" y="639"/>
                    </a:lnTo>
                    <a:lnTo>
                      <a:pt x="830" y="638"/>
                    </a:lnTo>
                    <a:lnTo>
                      <a:pt x="833" y="636"/>
                    </a:lnTo>
                    <a:lnTo>
                      <a:pt x="837" y="638"/>
                    </a:lnTo>
                    <a:lnTo>
                      <a:pt x="838" y="639"/>
                    </a:lnTo>
                    <a:lnTo>
                      <a:pt x="838" y="643"/>
                    </a:lnTo>
                    <a:lnTo>
                      <a:pt x="835" y="648"/>
                    </a:lnTo>
                    <a:lnTo>
                      <a:pt x="833" y="649"/>
                    </a:lnTo>
                    <a:lnTo>
                      <a:pt x="833" y="654"/>
                    </a:lnTo>
                    <a:lnTo>
                      <a:pt x="833" y="659"/>
                    </a:lnTo>
                    <a:lnTo>
                      <a:pt x="832" y="661"/>
                    </a:lnTo>
                    <a:lnTo>
                      <a:pt x="827" y="659"/>
                    </a:lnTo>
                    <a:lnTo>
                      <a:pt x="823" y="661"/>
                    </a:lnTo>
                    <a:lnTo>
                      <a:pt x="820" y="661"/>
                    </a:lnTo>
                    <a:lnTo>
                      <a:pt x="817" y="659"/>
                    </a:lnTo>
                    <a:lnTo>
                      <a:pt x="813" y="659"/>
                    </a:lnTo>
                    <a:lnTo>
                      <a:pt x="812" y="661"/>
                    </a:lnTo>
                    <a:lnTo>
                      <a:pt x="812" y="664"/>
                    </a:lnTo>
                    <a:lnTo>
                      <a:pt x="809" y="666"/>
                    </a:lnTo>
                    <a:lnTo>
                      <a:pt x="805" y="666"/>
                    </a:lnTo>
                    <a:lnTo>
                      <a:pt x="804" y="666"/>
                    </a:lnTo>
                    <a:lnTo>
                      <a:pt x="802" y="669"/>
                    </a:lnTo>
                    <a:lnTo>
                      <a:pt x="802" y="671"/>
                    </a:lnTo>
                    <a:lnTo>
                      <a:pt x="799" y="671"/>
                    </a:lnTo>
                    <a:lnTo>
                      <a:pt x="795" y="671"/>
                    </a:lnTo>
                    <a:lnTo>
                      <a:pt x="792" y="668"/>
                    </a:lnTo>
                    <a:lnTo>
                      <a:pt x="785" y="664"/>
                    </a:lnTo>
                    <a:lnTo>
                      <a:pt x="782" y="661"/>
                    </a:lnTo>
                    <a:lnTo>
                      <a:pt x="772" y="653"/>
                    </a:lnTo>
                    <a:lnTo>
                      <a:pt x="770" y="649"/>
                    </a:lnTo>
                    <a:lnTo>
                      <a:pt x="770" y="646"/>
                    </a:lnTo>
                    <a:lnTo>
                      <a:pt x="772" y="646"/>
                    </a:lnTo>
                    <a:lnTo>
                      <a:pt x="774" y="646"/>
                    </a:lnTo>
                    <a:lnTo>
                      <a:pt x="775" y="646"/>
                    </a:lnTo>
                    <a:lnTo>
                      <a:pt x="777" y="648"/>
                    </a:lnTo>
                    <a:lnTo>
                      <a:pt x="785" y="651"/>
                    </a:lnTo>
                    <a:lnTo>
                      <a:pt x="790" y="654"/>
                    </a:lnTo>
                    <a:lnTo>
                      <a:pt x="792" y="654"/>
                    </a:lnTo>
                    <a:lnTo>
                      <a:pt x="799" y="653"/>
                    </a:lnTo>
                    <a:lnTo>
                      <a:pt x="799" y="651"/>
                    </a:lnTo>
                    <a:lnTo>
                      <a:pt x="797" y="649"/>
                    </a:lnTo>
                    <a:lnTo>
                      <a:pt x="795" y="651"/>
                    </a:lnTo>
                    <a:lnTo>
                      <a:pt x="792" y="651"/>
                    </a:lnTo>
                    <a:lnTo>
                      <a:pt x="789" y="649"/>
                    </a:lnTo>
                    <a:lnTo>
                      <a:pt x="782" y="646"/>
                    </a:lnTo>
                    <a:lnTo>
                      <a:pt x="774" y="643"/>
                    </a:lnTo>
                    <a:lnTo>
                      <a:pt x="770" y="643"/>
                    </a:lnTo>
                    <a:lnTo>
                      <a:pt x="770" y="641"/>
                    </a:lnTo>
                    <a:lnTo>
                      <a:pt x="770" y="638"/>
                    </a:lnTo>
                    <a:lnTo>
                      <a:pt x="769" y="638"/>
                    </a:lnTo>
                    <a:lnTo>
                      <a:pt x="765" y="638"/>
                    </a:lnTo>
                    <a:lnTo>
                      <a:pt x="764" y="639"/>
                    </a:lnTo>
                    <a:lnTo>
                      <a:pt x="764" y="643"/>
                    </a:lnTo>
                    <a:lnTo>
                      <a:pt x="764" y="649"/>
                    </a:lnTo>
                    <a:lnTo>
                      <a:pt x="764" y="653"/>
                    </a:lnTo>
                    <a:lnTo>
                      <a:pt x="762" y="654"/>
                    </a:lnTo>
                    <a:lnTo>
                      <a:pt x="760" y="654"/>
                    </a:lnTo>
                    <a:lnTo>
                      <a:pt x="754" y="646"/>
                    </a:lnTo>
                    <a:lnTo>
                      <a:pt x="749" y="638"/>
                    </a:lnTo>
                    <a:lnTo>
                      <a:pt x="747" y="636"/>
                    </a:lnTo>
                    <a:lnTo>
                      <a:pt x="745" y="634"/>
                    </a:lnTo>
                    <a:lnTo>
                      <a:pt x="744" y="633"/>
                    </a:lnTo>
                    <a:lnTo>
                      <a:pt x="742" y="633"/>
                    </a:lnTo>
                    <a:lnTo>
                      <a:pt x="742" y="633"/>
                    </a:lnTo>
                    <a:lnTo>
                      <a:pt x="742" y="634"/>
                    </a:lnTo>
                    <a:lnTo>
                      <a:pt x="745" y="638"/>
                    </a:lnTo>
                    <a:lnTo>
                      <a:pt x="750" y="646"/>
                    </a:lnTo>
                    <a:lnTo>
                      <a:pt x="752" y="648"/>
                    </a:lnTo>
                    <a:lnTo>
                      <a:pt x="755" y="649"/>
                    </a:lnTo>
                    <a:lnTo>
                      <a:pt x="755" y="653"/>
                    </a:lnTo>
                    <a:lnTo>
                      <a:pt x="755" y="654"/>
                    </a:lnTo>
                    <a:lnTo>
                      <a:pt x="752" y="654"/>
                    </a:lnTo>
                    <a:lnTo>
                      <a:pt x="749" y="656"/>
                    </a:lnTo>
                    <a:lnTo>
                      <a:pt x="747" y="658"/>
                    </a:lnTo>
                    <a:lnTo>
                      <a:pt x="744" y="661"/>
                    </a:lnTo>
                    <a:lnTo>
                      <a:pt x="740" y="661"/>
                    </a:lnTo>
                    <a:lnTo>
                      <a:pt x="737" y="663"/>
                    </a:lnTo>
                    <a:lnTo>
                      <a:pt x="734" y="664"/>
                    </a:lnTo>
                    <a:lnTo>
                      <a:pt x="730" y="664"/>
                    </a:lnTo>
                    <a:lnTo>
                      <a:pt x="727" y="661"/>
                    </a:lnTo>
                    <a:lnTo>
                      <a:pt x="725" y="661"/>
                    </a:lnTo>
                    <a:lnTo>
                      <a:pt x="722" y="659"/>
                    </a:lnTo>
                    <a:lnTo>
                      <a:pt x="722" y="658"/>
                    </a:lnTo>
                    <a:lnTo>
                      <a:pt x="717" y="654"/>
                    </a:lnTo>
                    <a:lnTo>
                      <a:pt x="714" y="653"/>
                    </a:lnTo>
                    <a:lnTo>
                      <a:pt x="714" y="651"/>
                    </a:lnTo>
                    <a:lnTo>
                      <a:pt x="712" y="648"/>
                    </a:lnTo>
                    <a:lnTo>
                      <a:pt x="711" y="648"/>
                    </a:lnTo>
                    <a:lnTo>
                      <a:pt x="711" y="649"/>
                    </a:lnTo>
                    <a:lnTo>
                      <a:pt x="711" y="653"/>
                    </a:lnTo>
                    <a:lnTo>
                      <a:pt x="712" y="654"/>
                    </a:lnTo>
                    <a:lnTo>
                      <a:pt x="715" y="656"/>
                    </a:lnTo>
                    <a:lnTo>
                      <a:pt x="719" y="659"/>
                    </a:lnTo>
                    <a:lnTo>
                      <a:pt x="722" y="664"/>
                    </a:lnTo>
                    <a:lnTo>
                      <a:pt x="722" y="666"/>
                    </a:lnTo>
                    <a:lnTo>
                      <a:pt x="720" y="668"/>
                    </a:lnTo>
                    <a:lnTo>
                      <a:pt x="712" y="668"/>
                    </a:lnTo>
                    <a:lnTo>
                      <a:pt x="707" y="666"/>
                    </a:lnTo>
                    <a:lnTo>
                      <a:pt x="704" y="668"/>
                    </a:lnTo>
                    <a:lnTo>
                      <a:pt x="701" y="669"/>
                    </a:lnTo>
                    <a:lnTo>
                      <a:pt x="702" y="671"/>
                    </a:lnTo>
                    <a:lnTo>
                      <a:pt x="704" y="671"/>
                    </a:lnTo>
                    <a:lnTo>
                      <a:pt x="706" y="674"/>
                    </a:lnTo>
                    <a:lnTo>
                      <a:pt x="707" y="674"/>
                    </a:lnTo>
                    <a:lnTo>
                      <a:pt x="709" y="672"/>
                    </a:lnTo>
                    <a:lnTo>
                      <a:pt x="709" y="669"/>
                    </a:lnTo>
                    <a:lnTo>
                      <a:pt x="714" y="669"/>
                    </a:lnTo>
                    <a:lnTo>
                      <a:pt x="714" y="669"/>
                    </a:lnTo>
                    <a:lnTo>
                      <a:pt x="717" y="671"/>
                    </a:lnTo>
                    <a:lnTo>
                      <a:pt x="717" y="671"/>
                    </a:lnTo>
                    <a:lnTo>
                      <a:pt x="720" y="672"/>
                    </a:lnTo>
                    <a:lnTo>
                      <a:pt x="724" y="671"/>
                    </a:lnTo>
                    <a:lnTo>
                      <a:pt x="724" y="668"/>
                    </a:lnTo>
                    <a:lnTo>
                      <a:pt x="727" y="668"/>
                    </a:lnTo>
                    <a:lnTo>
                      <a:pt x="732" y="668"/>
                    </a:lnTo>
                    <a:lnTo>
                      <a:pt x="735" y="668"/>
                    </a:lnTo>
                    <a:lnTo>
                      <a:pt x="737" y="669"/>
                    </a:lnTo>
                    <a:lnTo>
                      <a:pt x="740" y="671"/>
                    </a:lnTo>
                    <a:lnTo>
                      <a:pt x="745" y="672"/>
                    </a:lnTo>
                    <a:lnTo>
                      <a:pt x="749" y="674"/>
                    </a:lnTo>
                    <a:lnTo>
                      <a:pt x="750" y="676"/>
                    </a:lnTo>
                    <a:lnTo>
                      <a:pt x="749" y="679"/>
                    </a:lnTo>
                    <a:lnTo>
                      <a:pt x="747" y="679"/>
                    </a:lnTo>
                    <a:lnTo>
                      <a:pt x="744" y="682"/>
                    </a:lnTo>
                    <a:lnTo>
                      <a:pt x="740" y="681"/>
                    </a:lnTo>
                    <a:lnTo>
                      <a:pt x="737" y="682"/>
                    </a:lnTo>
                    <a:lnTo>
                      <a:pt x="734" y="686"/>
                    </a:lnTo>
                    <a:lnTo>
                      <a:pt x="730" y="686"/>
                    </a:lnTo>
                    <a:lnTo>
                      <a:pt x="725" y="686"/>
                    </a:lnTo>
                    <a:lnTo>
                      <a:pt x="722" y="682"/>
                    </a:lnTo>
                    <a:lnTo>
                      <a:pt x="719" y="681"/>
                    </a:lnTo>
                    <a:lnTo>
                      <a:pt x="717" y="681"/>
                    </a:lnTo>
                    <a:lnTo>
                      <a:pt x="715" y="682"/>
                    </a:lnTo>
                    <a:lnTo>
                      <a:pt x="712" y="682"/>
                    </a:lnTo>
                    <a:lnTo>
                      <a:pt x="711" y="682"/>
                    </a:lnTo>
                    <a:lnTo>
                      <a:pt x="709" y="682"/>
                    </a:lnTo>
                    <a:lnTo>
                      <a:pt x="709" y="684"/>
                    </a:lnTo>
                    <a:lnTo>
                      <a:pt x="712" y="684"/>
                    </a:lnTo>
                    <a:lnTo>
                      <a:pt x="715" y="684"/>
                    </a:lnTo>
                    <a:lnTo>
                      <a:pt x="717" y="684"/>
                    </a:lnTo>
                    <a:lnTo>
                      <a:pt x="720" y="684"/>
                    </a:lnTo>
                    <a:lnTo>
                      <a:pt x="722" y="686"/>
                    </a:lnTo>
                    <a:lnTo>
                      <a:pt x="720" y="687"/>
                    </a:lnTo>
                    <a:lnTo>
                      <a:pt x="715" y="687"/>
                    </a:lnTo>
                    <a:lnTo>
                      <a:pt x="712" y="691"/>
                    </a:lnTo>
                    <a:lnTo>
                      <a:pt x="711" y="691"/>
                    </a:lnTo>
                    <a:lnTo>
                      <a:pt x="714" y="692"/>
                    </a:lnTo>
                    <a:lnTo>
                      <a:pt x="715" y="691"/>
                    </a:lnTo>
                    <a:lnTo>
                      <a:pt x="720" y="689"/>
                    </a:lnTo>
                    <a:lnTo>
                      <a:pt x="722" y="689"/>
                    </a:lnTo>
                    <a:lnTo>
                      <a:pt x="724" y="691"/>
                    </a:lnTo>
                    <a:lnTo>
                      <a:pt x="724" y="694"/>
                    </a:lnTo>
                    <a:lnTo>
                      <a:pt x="725" y="694"/>
                    </a:lnTo>
                    <a:lnTo>
                      <a:pt x="727" y="691"/>
                    </a:lnTo>
                    <a:lnTo>
                      <a:pt x="730" y="691"/>
                    </a:lnTo>
                    <a:lnTo>
                      <a:pt x="732" y="689"/>
                    </a:lnTo>
                    <a:lnTo>
                      <a:pt x="737" y="687"/>
                    </a:lnTo>
                    <a:lnTo>
                      <a:pt x="739" y="687"/>
                    </a:lnTo>
                    <a:lnTo>
                      <a:pt x="740" y="687"/>
                    </a:lnTo>
                    <a:lnTo>
                      <a:pt x="747" y="692"/>
                    </a:lnTo>
                    <a:lnTo>
                      <a:pt x="749" y="691"/>
                    </a:lnTo>
                    <a:lnTo>
                      <a:pt x="750" y="692"/>
                    </a:lnTo>
                    <a:lnTo>
                      <a:pt x="750" y="696"/>
                    </a:lnTo>
                    <a:lnTo>
                      <a:pt x="750" y="702"/>
                    </a:lnTo>
                    <a:lnTo>
                      <a:pt x="747" y="704"/>
                    </a:lnTo>
                    <a:lnTo>
                      <a:pt x="742" y="706"/>
                    </a:lnTo>
                    <a:lnTo>
                      <a:pt x="739" y="704"/>
                    </a:lnTo>
                    <a:lnTo>
                      <a:pt x="735" y="704"/>
                    </a:lnTo>
                    <a:lnTo>
                      <a:pt x="727" y="704"/>
                    </a:lnTo>
                    <a:lnTo>
                      <a:pt x="725" y="702"/>
                    </a:lnTo>
                    <a:lnTo>
                      <a:pt x="722" y="706"/>
                    </a:lnTo>
                    <a:lnTo>
                      <a:pt x="724" y="706"/>
                    </a:lnTo>
                    <a:lnTo>
                      <a:pt x="729" y="706"/>
                    </a:lnTo>
                    <a:lnTo>
                      <a:pt x="732" y="706"/>
                    </a:lnTo>
                    <a:lnTo>
                      <a:pt x="739" y="707"/>
                    </a:lnTo>
                    <a:lnTo>
                      <a:pt x="740" y="711"/>
                    </a:lnTo>
                    <a:lnTo>
                      <a:pt x="740" y="712"/>
                    </a:lnTo>
                    <a:lnTo>
                      <a:pt x="744" y="709"/>
                    </a:lnTo>
                    <a:lnTo>
                      <a:pt x="747" y="707"/>
                    </a:lnTo>
                    <a:lnTo>
                      <a:pt x="752" y="707"/>
                    </a:lnTo>
                    <a:lnTo>
                      <a:pt x="757" y="709"/>
                    </a:lnTo>
                    <a:lnTo>
                      <a:pt x="759" y="711"/>
                    </a:lnTo>
                    <a:lnTo>
                      <a:pt x="765" y="716"/>
                    </a:lnTo>
                    <a:lnTo>
                      <a:pt x="767" y="717"/>
                    </a:lnTo>
                    <a:lnTo>
                      <a:pt x="767" y="719"/>
                    </a:lnTo>
                    <a:lnTo>
                      <a:pt x="769" y="719"/>
                    </a:lnTo>
                    <a:lnTo>
                      <a:pt x="770" y="721"/>
                    </a:lnTo>
                    <a:lnTo>
                      <a:pt x="772" y="721"/>
                    </a:lnTo>
                    <a:lnTo>
                      <a:pt x="775" y="724"/>
                    </a:lnTo>
                    <a:lnTo>
                      <a:pt x="779" y="726"/>
                    </a:lnTo>
                    <a:lnTo>
                      <a:pt x="780" y="727"/>
                    </a:lnTo>
                    <a:lnTo>
                      <a:pt x="782" y="729"/>
                    </a:lnTo>
                    <a:lnTo>
                      <a:pt x="784" y="729"/>
                    </a:lnTo>
                    <a:lnTo>
                      <a:pt x="785" y="732"/>
                    </a:lnTo>
                    <a:lnTo>
                      <a:pt x="787" y="734"/>
                    </a:lnTo>
                    <a:lnTo>
                      <a:pt x="787" y="734"/>
                    </a:lnTo>
                    <a:lnTo>
                      <a:pt x="785" y="739"/>
                    </a:lnTo>
                    <a:lnTo>
                      <a:pt x="782" y="741"/>
                    </a:lnTo>
                    <a:lnTo>
                      <a:pt x="780" y="744"/>
                    </a:lnTo>
                    <a:lnTo>
                      <a:pt x="779" y="746"/>
                    </a:lnTo>
                    <a:lnTo>
                      <a:pt x="779" y="747"/>
                    </a:lnTo>
                    <a:lnTo>
                      <a:pt x="782" y="744"/>
                    </a:lnTo>
                    <a:lnTo>
                      <a:pt x="787" y="741"/>
                    </a:lnTo>
                    <a:lnTo>
                      <a:pt x="789" y="741"/>
                    </a:lnTo>
                    <a:lnTo>
                      <a:pt x="790" y="741"/>
                    </a:lnTo>
                    <a:lnTo>
                      <a:pt x="789" y="742"/>
                    </a:lnTo>
                    <a:lnTo>
                      <a:pt x="787" y="747"/>
                    </a:lnTo>
                    <a:lnTo>
                      <a:pt x="789" y="746"/>
                    </a:lnTo>
                    <a:lnTo>
                      <a:pt x="790" y="744"/>
                    </a:lnTo>
                    <a:lnTo>
                      <a:pt x="792" y="742"/>
                    </a:lnTo>
                    <a:lnTo>
                      <a:pt x="795" y="742"/>
                    </a:lnTo>
                    <a:lnTo>
                      <a:pt x="797" y="744"/>
                    </a:lnTo>
                    <a:lnTo>
                      <a:pt x="795" y="747"/>
                    </a:lnTo>
                    <a:lnTo>
                      <a:pt x="792" y="749"/>
                    </a:lnTo>
                    <a:lnTo>
                      <a:pt x="789" y="752"/>
                    </a:lnTo>
                    <a:lnTo>
                      <a:pt x="787" y="754"/>
                    </a:lnTo>
                    <a:lnTo>
                      <a:pt x="787" y="757"/>
                    </a:lnTo>
                    <a:lnTo>
                      <a:pt x="789" y="759"/>
                    </a:lnTo>
                    <a:lnTo>
                      <a:pt x="789" y="761"/>
                    </a:lnTo>
                    <a:lnTo>
                      <a:pt x="787" y="766"/>
                    </a:lnTo>
                    <a:lnTo>
                      <a:pt x="787" y="767"/>
                    </a:lnTo>
                    <a:lnTo>
                      <a:pt x="789" y="766"/>
                    </a:lnTo>
                    <a:lnTo>
                      <a:pt x="790" y="761"/>
                    </a:lnTo>
                    <a:lnTo>
                      <a:pt x="794" y="756"/>
                    </a:lnTo>
                    <a:lnTo>
                      <a:pt x="797" y="754"/>
                    </a:lnTo>
                    <a:lnTo>
                      <a:pt x="799" y="754"/>
                    </a:lnTo>
                    <a:lnTo>
                      <a:pt x="799" y="756"/>
                    </a:lnTo>
                    <a:lnTo>
                      <a:pt x="797" y="759"/>
                    </a:lnTo>
                    <a:lnTo>
                      <a:pt x="795" y="764"/>
                    </a:lnTo>
                    <a:lnTo>
                      <a:pt x="795" y="764"/>
                    </a:lnTo>
                    <a:lnTo>
                      <a:pt x="799" y="764"/>
                    </a:lnTo>
                    <a:lnTo>
                      <a:pt x="800" y="766"/>
                    </a:lnTo>
                    <a:lnTo>
                      <a:pt x="799" y="769"/>
                    </a:lnTo>
                    <a:lnTo>
                      <a:pt x="797" y="770"/>
                    </a:lnTo>
                    <a:lnTo>
                      <a:pt x="792" y="772"/>
                    </a:lnTo>
                    <a:lnTo>
                      <a:pt x="792" y="774"/>
                    </a:lnTo>
                    <a:lnTo>
                      <a:pt x="792" y="775"/>
                    </a:lnTo>
                    <a:lnTo>
                      <a:pt x="797" y="774"/>
                    </a:lnTo>
                    <a:lnTo>
                      <a:pt x="797" y="775"/>
                    </a:lnTo>
                    <a:lnTo>
                      <a:pt x="797" y="777"/>
                    </a:lnTo>
                    <a:lnTo>
                      <a:pt x="795" y="779"/>
                    </a:lnTo>
                    <a:lnTo>
                      <a:pt x="797" y="780"/>
                    </a:lnTo>
                    <a:lnTo>
                      <a:pt x="799" y="782"/>
                    </a:lnTo>
                    <a:lnTo>
                      <a:pt x="799" y="784"/>
                    </a:lnTo>
                    <a:lnTo>
                      <a:pt x="799" y="789"/>
                    </a:lnTo>
                    <a:lnTo>
                      <a:pt x="797" y="790"/>
                    </a:lnTo>
                    <a:lnTo>
                      <a:pt x="797" y="797"/>
                    </a:lnTo>
                    <a:lnTo>
                      <a:pt x="797" y="800"/>
                    </a:lnTo>
                    <a:lnTo>
                      <a:pt x="797" y="804"/>
                    </a:lnTo>
                    <a:lnTo>
                      <a:pt x="795" y="805"/>
                    </a:lnTo>
                    <a:lnTo>
                      <a:pt x="792" y="804"/>
                    </a:lnTo>
                    <a:lnTo>
                      <a:pt x="790" y="805"/>
                    </a:lnTo>
                    <a:lnTo>
                      <a:pt x="790" y="804"/>
                    </a:lnTo>
                    <a:lnTo>
                      <a:pt x="790" y="802"/>
                    </a:lnTo>
                    <a:lnTo>
                      <a:pt x="790" y="799"/>
                    </a:lnTo>
                    <a:lnTo>
                      <a:pt x="787" y="799"/>
                    </a:lnTo>
                    <a:lnTo>
                      <a:pt x="785" y="799"/>
                    </a:lnTo>
                    <a:lnTo>
                      <a:pt x="784" y="800"/>
                    </a:lnTo>
                    <a:lnTo>
                      <a:pt x="780" y="800"/>
                    </a:lnTo>
                    <a:lnTo>
                      <a:pt x="780" y="797"/>
                    </a:lnTo>
                    <a:lnTo>
                      <a:pt x="784" y="794"/>
                    </a:lnTo>
                    <a:lnTo>
                      <a:pt x="782" y="789"/>
                    </a:lnTo>
                    <a:lnTo>
                      <a:pt x="782" y="787"/>
                    </a:lnTo>
                    <a:lnTo>
                      <a:pt x="782" y="784"/>
                    </a:lnTo>
                    <a:lnTo>
                      <a:pt x="782" y="782"/>
                    </a:lnTo>
                    <a:lnTo>
                      <a:pt x="780" y="780"/>
                    </a:lnTo>
                    <a:lnTo>
                      <a:pt x="779" y="784"/>
                    </a:lnTo>
                    <a:lnTo>
                      <a:pt x="777" y="787"/>
                    </a:lnTo>
                    <a:lnTo>
                      <a:pt x="779" y="794"/>
                    </a:lnTo>
                    <a:lnTo>
                      <a:pt x="777" y="799"/>
                    </a:lnTo>
                    <a:lnTo>
                      <a:pt x="777" y="800"/>
                    </a:lnTo>
                    <a:lnTo>
                      <a:pt x="775" y="802"/>
                    </a:lnTo>
                    <a:lnTo>
                      <a:pt x="774" y="802"/>
                    </a:lnTo>
                    <a:lnTo>
                      <a:pt x="770" y="802"/>
                    </a:lnTo>
                    <a:lnTo>
                      <a:pt x="767" y="804"/>
                    </a:lnTo>
                    <a:lnTo>
                      <a:pt x="764" y="802"/>
                    </a:lnTo>
                    <a:lnTo>
                      <a:pt x="759" y="797"/>
                    </a:lnTo>
                    <a:lnTo>
                      <a:pt x="755" y="790"/>
                    </a:lnTo>
                    <a:lnTo>
                      <a:pt x="752" y="787"/>
                    </a:lnTo>
                    <a:lnTo>
                      <a:pt x="749" y="785"/>
                    </a:lnTo>
                    <a:lnTo>
                      <a:pt x="749" y="777"/>
                    </a:lnTo>
                    <a:lnTo>
                      <a:pt x="745" y="774"/>
                    </a:lnTo>
                    <a:lnTo>
                      <a:pt x="744" y="772"/>
                    </a:lnTo>
                    <a:lnTo>
                      <a:pt x="742" y="767"/>
                    </a:lnTo>
                    <a:lnTo>
                      <a:pt x="744" y="762"/>
                    </a:lnTo>
                    <a:lnTo>
                      <a:pt x="745" y="759"/>
                    </a:lnTo>
                    <a:lnTo>
                      <a:pt x="744" y="757"/>
                    </a:lnTo>
                    <a:lnTo>
                      <a:pt x="742" y="757"/>
                    </a:lnTo>
                    <a:lnTo>
                      <a:pt x="737" y="759"/>
                    </a:lnTo>
                    <a:lnTo>
                      <a:pt x="735" y="761"/>
                    </a:lnTo>
                    <a:lnTo>
                      <a:pt x="732" y="759"/>
                    </a:lnTo>
                    <a:lnTo>
                      <a:pt x="725" y="749"/>
                    </a:lnTo>
                    <a:lnTo>
                      <a:pt x="724" y="746"/>
                    </a:lnTo>
                    <a:lnTo>
                      <a:pt x="722" y="744"/>
                    </a:lnTo>
                    <a:lnTo>
                      <a:pt x="720" y="746"/>
                    </a:lnTo>
                    <a:lnTo>
                      <a:pt x="715" y="746"/>
                    </a:lnTo>
                    <a:lnTo>
                      <a:pt x="712" y="744"/>
                    </a:lnTo>
                    <a:lnTo>
                      <a:pt x="709" y="746"/>
                    </a:lnTo>
                    <a:lnTo>
                      <a:pt x="707" y="747"/>
                    </a:lnTo>
                    <a:lnTo>
                      <a:pt x="706" y="746"/>
                    </a:lnTo>
                    <a:lnTo>
                      <a:pt x="702" y="742"/>
                    </a:lnTo>
                    <a:lnTo>
                      <a:pt x="702" y="741"/>
                    </a:lnTo>
                    <a:lnTo>
                      <a:pt x="696" y="736"/>
                    </a:lnTo>
                    <a:lnTo>
                      <a:pt x="696" y="734"/>
                    </a:lnTo>
                    <a:lnTo>
                      <a:pt x="694" y="731"/>
                    </a:lnTo>
                    <a:lnTo>
                      <a:pt x="692" y="726"/>
                    </a:lnTo>
                    <a:lnTo>
                      <a:pt x="691" y="724"/>
                    </a:lnTo>
                    <a:lnTo>
                      <a:pt x="689" y="726"/>
                    </a:lnTo>
                    <a:lnTo>
                      <a:pt x="689" y="729"/>
                    </a:lnTo>
                    <a:lnTo>
                      <a:pt x="689" y="731"/>
                    </a:lnTo>
                    <a:lnTo>
                      <a:pt x="684" y="732"/>
                    </a:lnTo>
                    <a:lnTo>
                      <a:pt x="682" y="734"/>
                    </a:lnTo>
                    <a:lnTo>
                      <a:pt x="687" y="736"/>
                    </a:lnTo>
                    <a:lnTo>
                      <a:pt x="689" y="736"/>
                    </a:lnTo>
                    <a:lnTo>
                      <a:pt x="692" y="741"/>
                    </a:lnTo>
                    <a:lnTo>
                      <a:pt x="696" y="744"/>
                    </a:lnTo>
                    <a:lnTo>
                      <a:pt x="694" y="746"/>
                    </a:lnTo>
                    <a:lnTo>
                      <a:pt x="689" y="746"/>
                    </a:lnTo>
                    <a:lnTo>
                      <a:pt x="687" y="747"/>
                    </a:lnTo>
                    <a:lnTo>
                      <a:pt x="684" y="749"/>
                    </a:lnTo>
                    <a:lnTo>
                      <a:pt x="681" y="746"/>
                    </a:lnTo>
                    <a:lnTo>
                      <a:pt x="681" y="749"/>
                    </a:lnTo>
                    <a:lnTo>
                      <a:pt x="684" y="751"/>
                    </a:lnTo>
                    <a:lnTo>
                      <a:pt x="687" y="751"/>
                    </a:lnTo>
                    <a:lnTo>
                      <a:pt x="691" y="747"/>
                    </a:lnTo>
                    <a:lnTo>
                      <a:pt x="694" y="747"/>
                    </a:lnTo>
                    <a:lnTo>
                      <a:pt x="699" y="746"/>
                    </a:lnTo>
                    <a:lnTo>
                      <a:pt x="701" y="747"/>
                    </a:lnTo>
                    <a:lnTo>
                      <a:pt x="701" y="749"/>
                    </a:lnTo>
                    <a:lnTo>
                      <a:pt x="702" y="751"/>
                    </a:lnTo>
                    <a:lnTo>
                      <a:pt x="707" y="749"/>
                    </a:lnTo>
                    <a:lnTo>
                      <a:pt x="709" y="749"/>
                    </a:lnTo>
                    <a:lnTo>
                      <a:pt x="719" y="752"/>
                    </a:lnTo>
                    <a:lnTo>
                      <a:pt x="724" y="754"/>
                    </a:lnTo>
                    <a:lnTo>
                      <a:pt x="725" y="754"/>
                    </a:lnTo>
                    <a:lnTo>
                      <a:pt x="727" y="757"/>
                    </a:lnTo>
                    <a:lnTo>
                      <a:pt x="729" y="762"/>
                    </a:lnTo>
                    <a:lnTo>
                      <a:pt x="727" y="766"/>
                    </a:lnTo>
                    <a:lnTo>
                      <a:pt x="724" y="767"/>
                    </a:lnTo>
                    <a:lnTo>
                      <a:pt x="722" y="769"/>
                    </a:lnTo>
                    <a:lnTo>
                      <a:pt x="719" y="770"/>
                    </a:lnTo>
                    <a:lnTo>
                      <a:pt x="715" y="770"/>
                    </a:lnTo>
                    <a:lnTo>
                      <a:pt x="704" y="775"/>
                    </a:lnTo>
                    <a:lnTo>
                      <a:pt x="697" y="775"/>
                    </a:lnTo>
                    <a:lnTo>
                      <a:pt x="694" y="777"/>
                    </a:lnTo>
                    <a:lnTo>
                      <a:pt x="691" y="775"/>
                    </a:lnTo>
                    <a:lnTo>
                      <a:pt x="689" y="772"/>
                    </a:lnTo>
                    <a:lnTo>
                      <a:pt x="689" y="769"/>
                    </a:lnTo>
                    <a:lnTo>
                      <a:pt x="687" y="767"/>
                    </a:lnTo>
                    <a:lnTo>
                      <a:pt x="684" y="766"/>
                    </a:lnTo>
                    <a:lnTo>
                      <a:pt x="684" y="770"/>
                    </a:lnTo>
                    <a:lnTo>
                      <a:pt x="686" y="772"/>
                    </a:lnTo>
                    <a:lnTo>
                      <a:pt x="686" y="774"/>
                    </a:lnTo>
                    <a:lnTo>
                      <a:pt x="684" y="775"/>
                    </a:lnTo>
                    <a:lnTo>
                      <a:pt x="681" y="774"/>
                    </a:lnTo>
                    <a:lnTo>
                      <a:pt x="681" y="774"/>
                    </a:lnTo>
                    <a:lnTo>
                      <a:pt x="679" y="772"/>
                    </a:lnTo>
                    <a:lnTo>
                      <a:pt x="676" y="775"/>
                    </a:lnTo>
                    <a:lnTo>
                      <a:pt x="676" y="775"/>
                    </a:lnTo>
                    <a:lnTo>
                      <a:pt x="681" y="777"/>
                    </a:lnTo>
                    <a:lnTo>
                      <a:pt x="682" y="779"/>
                    </a:lnTo>
                    <a:lnTo>
                      <a:pt x="682" y="782"/>
                    </a:lnTo>
                    <a:lnTo>
                      <a:pt x="681" y="784"/>
                    </a:lnTo>
                    <a:lnTo>
                      <a:pt x="679" y="785"/>
                    </a:lnTo>
                    <a:lnTo>
                      <a:pt x="676" y="785"/>
                    </a:lnTo>
                    <a:lnTo>
                      <a:pt x="674" y="787"/>
                    </a:lnTo>
                    <a:lnTo>
                      <a:pt x="674" y="790"/>
                    </a:lnTo>
                    <a:lnTo>
                      <a:pt x="672" y="792"/>
                    </a:lnTo>
                    <a:lnTo>
                      <a:pt x="664" y="795"/>
                    </a:lnTo>
                    <a:lnTo>
                      <a:pt x="659" y="795"/>
                    </a:lnTo>
                    <a:lnTo>
                      <a:pt x="656" y="794"/>
                    </a:lnTo>
                    <a:lnTo>
                      <a:pt x="652" y="797"/>
                    </a:lnTo>
                    <a:lnTo>
                      <a:pt x="651" y="800"/>
                    </a:lnTo>
                    <a:lnTo>
                      <a:pt x="652" y="802"/>
                    </a:lnTo>
                    <a:lnTo>
                      <a:pt x="661" y="799"/>
                    </a:lnTo>
                    <a:lnTo>
                      <a:pt x="666" y="799"/>
                    </a:lnTo>
                    <a:lnTo>
                      <a:pt x="669" y="797"/>
                    </a:lnTo>
                    <a:lnTo>
                      <a:pt x="672" y="797"/>
                    </a:lnTo>
                    <a:lnTo>
                      <a:pt x="674" y="800"/>
                    </a:lnTo>
                    <a:lnTo>
                      <a:pt x="679" y="800"/>
                    </a:lnTo>
                    <a:lnTo>
                      <a:pt x="682" y="800"/>
                    </a:lnTo>
                    <a:lnTo>
                      <a:pt x="687" y="799"/>
                    </a:lnTo>
                    <a:lnTo>
                      <a:pt x="694" y="799"/>
                    </a:lnTo>
                    <a:lnTo>
                      <a:pt x="697" y="800"/>
                    </a:lnTo>
                    <a:lnTo>
                      <a:pt x="702" y="800"/>
                    </a:lnTo>
                    <a:lnTo>
                      <a:pt x="704" y="800"/>
                    </a:lnTo>
                    <a:lnTo>
                      <a:pt x="706" y="802"/>
                    </a:lnTo>
                    <a:lnTo>
                      <a:pt x="707" y="802"/>
                    </a:lnTo>
                    <a:lnTo>
                      <a:pt x="709" y="804"/>
                    </a:lnTo>
                    <a:lnTo>
                      <a:pt x="707" y="805"/>
                    </a:lnTo>
                    <a:lnTo>
                      <a:pt x="704" y="807"/>
                    </a:lnTo>
                    <a:lnTo>
                      <a:pt x="699" y="805"/>
                    </a:lnTo>
                    <a:lnTo>
                      <a:pt x="694" y="807"/>
                    </a:lnTo>
                    <a:lnTo>
                      <a:pt x="691" y="809"/>
                    </a:lnTo>
                    <a:lnTo>
                      <a:pt x="686" y="810"/>
                    </a:lnTo>
                    <a:lnTo>
                      <a:pt x="682" y="812"/>
                    </a:lnTo>
                    <a:lnTo>
                      <a:pt x="679" y="810"/>
                    </a:lnTo>
                    <a:lnTo>
                      <a:pt x="676" y="809"/>
                    </a:lnTo>
                    <a:lnTo>
                      <a:pt x="672" y="809"/>
                    </a:lnTo>
                    <a:lnTo>
                      <a:pt x="669" y="812"/>
                    </a:lnTo>
                    <a:lnTo>
                      <a:pt x="671" y="814"/>
                    </a:lnTo>
                    <a:lnTo>
                      <a:pt x="674" y="812"/>
                    </a:lnTo>
                    <a:lnTo>
                      <a:pt x="676" y="814"/>
                    </a:lnTo>
                    <a:lnTo>
                      <a:pt x="684" y="814"/>
                    </a:lnTo>
                    <a:lnTo>
                      <a:pt x="687" y="815"/>
                    </a:lnTo>
                    <a:lnTo>
                      <a:pt x="689" y="817"/>
                    </a:lnTo>
                    <a:lnTo>
                      <a:pt x="691" y="815"/>
                    </a:lnTo>
                    <a:lnTo>
                      <a:pt x="696" y="810"/>
                    </a:lnTo>
                    <a:lnTo>
                      <a:pt x="696" y="810"/>
                    </a:lnTo>
                    <a:lnTo>
                      <a:pt x="701" y="810"/>
                    </a:lnTo>
                    <a:lnTo>
                      <a:pt x="701" y="810"/>
                    </a:lnTo>
                    <a:lnTo>
                      <a:pt x="702" y="809"/>
                    </a:lnTo>
                    <a:lnTo>
                      <a:pt x="706" y="810"/>
                    </a:lnTo>
                    <a:lnTo>
                      <a:pt x="707" y="810"/>
                    </a:lnTo>
                    <a:lnTo>
                      <a:pt x="711" y="810"/>
                    </a:lnTo>
                    <a:lnTo>
                      <a:pt x="717" y="810"/>
                    </a:lnTo>
                    <a:lnTo>
                      <a:pt x="720" y="809"/>
                    </a:lnTo>
                    <a:lnTo>
                      <a:pt x="727" y="804"/>
                    </a:lnTo>
                    <a:lnTo>
                      <a:pt x="729" y="802"/>
                    </a:lnTo>
                    <a:lnTo>
                      <a:pt x="729" y="804"/>
                    </a:lnTo>
                    <a:lnTo>
                      <a:pt x="729" y="805"/>
                    </a:lnTo>
                    <a:lnTo>
                      <a:pt x="730" y="807"/>
                    </a:lnTo>
                    <a:lnTo>
                      <a:pt x="732" y="804"/>
                    </a:lnTo>
                    <a:lnTo>
                      <a:pt x="734" y="804"/>
                    </a:lnTo>
                    <a:lnTo>
                      <a:pt x="735" y="805"/>
                    </a:lnTo>
                    <a:lnTo>
                      <a:pt x="742" y="810"/>
                    </a:lnTo>
                    <a:lnTo>
                      <a:pt x="749" y="812"/>
                    </a:lnTo>
                    <a:lnTo>
                      <a:pt x="754" y="814"/>
                    </a:lnTo>
                    <a:lnTo>
                      <a:pt x="760" y="815"/>
                    </a:lnTo>
                    <a:lnTo>
                      <a:pt x="764" y="815"/>
                    </a:lnTo>
                    <a:lnTo>
                      <a:pt x="770" y="815"/>
                    </a:lnTo>
                    <a:lnTo>
                      <a:pt x="772" y="815"/>
                    </a:lnTo>
                    <a:lnTo>
                      <a:pt x="777" y="817"/>
                    </a:lnTo>
                    <a:lnTo>
                      <a:pt x="784" y="814"/>
                    </a:lnTo>
                    <a:lnTo>
                      <a:pt x="784" y="815"/>
                    </a:lnTo>
                    <a:lnTo>
                      <a:pt x="782" y="819"/>
                    </a:lnTo>
                    <a:lnTo>
                      <a:pt x="777" y="822"/>
                    </a:lnTo>
                    <a:lnTo>
                      <a:pt x="772" y="822"/>
                    </a:lnTo>
                    <a:lnTo>
                      <a:pt x="770" y="822"/>
                    </a:lnTo>
                    <a:lnTo>
                      <a:pt x="767" y="824"/>
                    </a:lnTo>
                    <a:lnTo>
                      <a:pt x="767" y="827"/>
                    </a:lnTo>
                    <a:lnTo>
                      <a:pt x="769" y="827"/>
                    </a:lnTo>
                    <a:lnTo>
                      <a:pt x="769" y="830"/>
                    </a:lnTo>
                    <a:lnTo>
                      <a:pt x="767" y="830"/>
                    </a:lnTo>
                    <a:lnTo>
                      <a:pt x="765" y="830"/>
                    </a:lnTo>
                    <a:lnTo>
                      <a:pt x="764" y="829"/>
                    </a:lnTo>
                    <a:lnTo>
                      <a:pt x="762" y="829"/>
                    </a:lnTo>
                    <a:lnTo>
                      <a:pt x="760" y="830"/>
                    </a:lnTo>
                    <a:lnTo>
                      <a:pt x="760" y="832"/>
                    </a:lnTo>
                    <a:lnTo>
                      <a:pt x="757" y="830"/>
                    </a:lnTo>
                    <a:lnTo>
                      <a:pt x="754" y="830"/>
                    </a:lnTo>
                    <a:lnTo>
                      <a:pt x="752" y="832"/>
                    </a:lnTo>
                    <a:lnTo>
                      <a:pt x="752" y="834"/>
                    </a:lnTo>
                    <a:lnTo>
                      <a:pt x="754" y="835"/>
                    </a:lnTo>
                    <a:lnTo>
                      <a:pt x="754" y="837"/>
                    </a:lnTo>
                    <a:lnTo>
                      <a:pt x="752" y="839"/>
                    </a:lnTo>
                    <a:lnTo>
                      <a:pt x="749" y="840"/>
                    </a:lnTo>
                    <a:lnTo>
                      <a:pt x="747" y="839"/>
                    </a:lnTo>
                    <a:lnTo>
                      <a:pt x="745" y="837"/>
                    </a:lnTo>
                    <a:lnTo>
                      <a:pt x="744" y="839"/>
                    </a:lnTo>
                    <a:lnTo>
                      <a:pt x="745" y="840"/>
                    </a:lnTo>
                    <a:lnTo>
                      <a:pt x="744" y="844"/>
                    </a:lnTo>
                    <a:lnTo>
                      <a:pt x="742" y="844"/>
                    </a:lnTo>
                    <a:lnTo>
                      <a:pt x="740" y="844"/>
                    </a:lnTo>
                    <a:lnTo>
                      <a:pt x="737" y="847"/>
                    </a:lnTo>
                    <a:lnTo>
                      <a:pt x="734" y="845"/>
                    </a:lnTo>
                    <a:lnTo>
                      <a:pt x="734" y="844"/>
                    </a:lnTo>
                    <a:lnTo>
                      <a:pt x="732" y="844"/>
                    </a:lnTo>
                    <a:lnTo>
                      <a:pt x="732" y="847"/>
                    </a:lnTo>
                    <a:lnTo>
                      <a:pt x="732" y="849"/>
                    </a:lnTo>
                    <a:lnTo>
                      <a:pt x="730" y="854"/>
                    </a:lnTo>
                    <a:lnTo>
                      <a:pt x="727" y="852"/>
                    </a:lnTo>
                    <a:lnTo>
                      <a:pt x="727" y="849"/>
                    </a:lnTo>
                    <a:lnTo>
                      <a:pt x="724" y="850"/>
                    </a:lnTo>
                    <a:lnTo>
                      <a:pt x="724" y="852"/>
                    </a:lnTo>
                    <a:lnTo>
                      <a:pt x="725" y="854"/>
                    </a:lnTo>
                    <a:lnTo>
                      <a:pt x="725" y="857"/>
                    </a:lnTo>
                    <a:lnTo>
                      <a:pt x="720" y="859"/>
                    </a:lnTo>
                    <a:lnTo>
                      <a:pt x="719" y="859"/>
                    </a:lnTo>
                    <a:lnTo>
                      <a:pt x="717" y="857"/>
                    </a:lnTo>
                    <a:lnTo>
                      <a:pt x="714" y="855"/>
                    </a:lnTo>
                    <a:lnTo>
                      <a:pt x="712" y="855"/>
                    </a:lnTo>
                    <a:lnTo>
                      <a:pt x="712" y="857"/>
                    </a:lnTo>
                    <a:lnTo>
                      <a:pt x="714" y="860"/>
                    </a:lnTo>
                    <a:lnTo>
                      <a:pt x="714" y="862"/>
                    </a:lnTo>
                    <a:lnTo>
                      <a:pt x="712" y="864"/>
                    </a:lnTo>
                    <a:lnTo>
                      <a:pt x="707" y="865"/>
                    </a:lnTo>
                    <a:lnTo>
                      <a:pt x="706" y="867"/>
                    </a:lnTo>
                    <a:lnTo>
                      <a:pt x="701" y="867"/>
                    </a:lnTo>
                    <a:lnTo>
                      <a:pt x="699" y="870"/>
                    </a:lnTo>
                    <a:lnTo>
                      <a:pt x="697" y="872"/>
                    </a:lnTo>
                    <a:lnTo>
                      <a:pt x="696" y="872"/>
                    </a:lnTo>
                    <a:lnTo>
                      <a:pt x="694" y="870"/>
                    </a:lnTo>
                    <a:lnTo>
                      <a:pt x="691" y="870"/>
                    </a:lnTo>
                    <a:lnTo>
                      <a:pt x="687" y="872"/>
                    </a:lnTo>
                    <a:lnTo>
                      <a:pt x="684" y="872"/>
                    </a:lnTo>
                    <a:lnTo>
                      <a:pt x="682" y="873"/>
                    </a:lnTo>
                    <a:lnTo>
                      <a:pt x="681" y="875"/>
                    </a:lnTo>
                    <a:lnTo>
                      <a:pt x="677" y="877"/>
                    </a:lnTo>
                    <a:lnTo>
                      <a:pt x="676" y="875"/>
                    </a:lnTo>
                    <a:lnTo>
                      <a:pt x="674" y="873"/>
                    </a:lnTo>
                    <a:lnTo>
                      <a:pt x="672" y="873"/>
                    </a:lnTo>
                    <a:lnTo>
                      <a:pt x="669" y="878"/>
                    </a:lnTo>
                    <a:lnTo>
                      <a:pt x="667" y="877"/>
                    </a:lnTo>
                    <a:lnTo>
                      <a:pt x="666" y="873"/>
                    </a:lnTo>
                    <a:lnTo>
                      <a:pt x="664" y="873"/>
                    </a:lnTo>
                    <a:lnTo>
                      <a:pt x="664" y="877"/>
                    </a:lnTo>
                    <a:lnTo>
                      <a:pt x="661" y="878"/>
                    </a:lnTo>
                    <a:lnTo>
                      <a:pt x="659" y="877"/>
                    </a:lnTo>
                    <a:lnTo>
                      <a:pt x="659" y="875"/>
                    </a:lnTo>
                    <a:lnTo>
                      <a:pt x="657" y="875"/>
                    </a:lnTo>
                    <a:lnTo>
                      <a:pt x="657" y="878"/>
                    </a:lnTo>
                    <a:lnTo>
                      <a:pt x="656" y="878"/>
                    </a:lnTo>
                    <a:lnTo>
                      <a:pt x="652" y="878"/>
                    </a:lnTo>
                    <a:lnTo>
                      <a:pt x="649" y="878"/>
                    </a:lnTo>
                    <a:lnTo>
                      <a:pt x="649" y="882"/>
                    </a:lnTo>
                    <a:lnTo>
                      <a:pt x="649" y="883"/>
                    </a:lnTo>
                    <a:lnTo>
                      <a:pt x="646" y="883"/>
                    </a:lnTo>
                    <a:lnTo>
                      <a:pt x="644" y="882"/>
                    </a:lnTo>
                    <a:lnTo>
                      <a:pt x="642" y="882"/>
                    </a:lnTo>
                    <a:lnTo>
                      <a:pt x="642" y="885"/>
                    </a:lnTo>
                    <a:lnTo>
                      <a:pt x="641" y="885"/>
                    </a:lnTo>
                    <a:lnTo>
                      <a:pt x="639" y="883"/>
                    </a:lnTo>
                    <a:lnTo>
                      <a:pt x="637" y="883"/>
                    </a:lnTo>
                    <a:lnTo>
                      <a:pt x="637" y="887"/>
                    </a:lnTo>
                    <a:lnTo>
                      <a:pt x="636" y="888"/>
                    </a:lnTo>
                    <a:lnTo>
                      <a:pt x="634" y="890"/>
                    </a:lnTo>
                    <a:lnTo>
                      <a:pt x="631" y="890"/>
                    </a:lnTo>
                    <a:lnTo>
                      <a:pt x="629" y="888"/>
                    </a:lnTo>
                    <a:lnTo>
                      <a:pt x="626" y="883"/>
                    </a:lnTo>
                    <a:lnTo>
                      <a:pt x="622" y="882"/>
                    </a:lnTo>
                    <a:lnTo>
                      <a:pt x="621" y="883"/>
                    </a:lnTo>
                    <a:lnTo>
                      <a:pt x="621" y="885"/>
                    </a:lnTo>
                    <a:lnTo>
                      <a:pt x="619" y="885"/>
                    </a:lnTo>
                    <a:lnTo>
                      <a:pt x="617" y="888"/>
                    </a:lnTo>
                    <a:lnTo>
                      <a:pt x="614" y="890"/>
                    </a:lnTo>
                    <a:lnTo>
                      <a:pt x="612" y="890"/>
                    </a:lnTo>
                    <a:lnTo>
                      <a:pt x="611" y="888"/>
                    </a:lnTo>
                    <a:lnTo>
                      <a:pt x="609" y="892"/>
                    </a:lnTo>
                    <a:lnTo>
                      <a:pt x="606" y="892"/>
                    </a:lnTo>
                    <a:lnTo>
                      <a:pt x="601" y="892"/>
                    </a:lnTo>
                    <a:lnTo>
                      <a:pt x="599" y="888"/>
                    </a:lnTo>
                    <a:lnTo>
                      <a:pt x="598" y="888"/>
                    </a:lnTo>
                    <a:lnTo>
                      <a:pt x="596" y="890"/>
                    </a:lnTo>
                    <a:lnTo>
                      <a:pt x="596" y="892"/>
                    </a:lnTo>
                    <a:lnTo>
                      <a:pt x="593" y="892"/>
                    </a:lnTo>
                    <a:lnTo>
                      <a:pt x="589" y="890"/>
                    </a:lnTo>
                    <a:lnTo>
                      <a:pt x="588" y="887"/>
                    </a:lnTo>
                    <a:lnTo>
                      <a:pt x="589" y="883"/>
                    </a:lnTo>
                    <a:lnTo>
                      <a:pt x="588" y="882"/>
                    </a:lnTo>
                    <a:lnTo>
                      <a:pt x="584" y="880"/>
                    </a:lnTo>
                    <a:lnTo>
                      <a:pt x="583" y="877"/>
                    </a:lnTo>
                    <a:lnTo>
                      <a:pt x="583" y="873"/>
                    </a:lnTo>
                    <a:lnTo>
                      <a:pt x="579" y="870"/>
                    </a:lnTo>
                    <a:lnTo>
                      <a:pt x="579" y="867"/>
                    </a:lnTo>
                    <a:lnTo>
                      <a:pt x="578" y="865"/>
                    </a:lnTo>
                    <a:lnTo>
                      <a:pt x="574" y="865"/>
                    </a:lnTo>
                    <a:lnTo>
                      <a:pt x="574" y="868"/>
                    </a:lnTo>
                    <a:lnTo>
                      <a:pt x="576" y="870"/>
                    </a:lnTo>
                    <a:lnTo>
                      <a:pt x="578" y="875"/>
                    </a:lnTo>
                    <a:lnTo>
                      <a:pt x="579" y="877"/>
                    </a:lnTo>
                    <a:lnTo>
                      <a:pt x="581" y="878"/>
                    </a:lnTo>
                    <a:lnTo>
                      <a:pt x="581" y="883"/>
                    </a:lnTo>
                    <a:lnTo>
                      <a:pt x="579" y="887"/>
                    </a:lnTo>
                    <a:lnTo>
                      <a:pt x="581" y="887"/>
                    </a:lnTo>
                    <a:lnTo>
                      <a:pt x="583" y="887"/>
                    </a:lnTo>
                    <a:lnTo>
                      <a:pt x="584" y="892"/>
                    </a:lnTo>
                    <a:lnTo>
                      <a:pt x="583" y="897"/>
                    </a:lnTo>
                    <a:lnTo>
                      <a:pt x="581" y="900"/>
                    </a:lnTo>
                    <a:lnTo>
                      <a:pt x="578" y="900"/>
                    </a:lnTo>
                    <a:lnTo>
                      <a:pt x="576" y="900"/>
                    </a:lnTo>
                    <a:lnTo>
                      <a:pt x="574" y="900"/>
                    </a:lnTo>
                    <a:lnTo>
                      <a:pt x="571" y="902"/>
                    </a:lnTo>
                    <a:lnTo>
                      <a:pt x="568" y="905"/>
                    </a:lnTo>
                    <a:lnTo>
                      <a:pt x="566" y="907"/>
                    </a:lnTo>
                    <a:lnTo>
                      <a:pt x="563" y="905"/>
                    </a:lnTo>
                    <a:lnTo>
                      <a:pt x="561" y="907"/>
                    </a:lnTo>
                    <a:lnTo>
                      <a:pt x="561" y="908"/>
                    </a:lnTo>
                    <a:lnTo>
                      <a:pt x="561" y="910"/>
                    </a:lnTo>
                    <a:lnTo>
                      <a:pt x="558" y="912"/>
                    </a:lnTo>
                    <a:lnTo>
                      <a:pt x="556" y="913"/>
                    </a:lnTo>
                    <a:lnTo>
                      <a:pt x="554" y="915"/>
                    </a:lnTo>
                    <a:lnTo>
                      <a:pt x="554" y="918"/>
                    </a:lnTo>
                    <a:lnTo>
                      <a:pt x="554" y="920"/>
                    </a:lnTo>
                    <a:lnTo>
                      <a:pt x="553" y="918"/>
                    </a:lnTo>
                    <a:lnTo>
                      <a:pt x="549" y="917"/>
                    </a:lnTo>
                    <a:lnTo>
                      <a:pt x="551" y="918"/>
                    </a:lnTo>
                    <a:lnTo>
                      <a:pt x="553" y="920"/>
                    </a:lnTo>
                    <a:lnTo>
                      <a:pt x="551" y="923"/>
                    </a:lnTo>
                    <a:lnTo>
                      <a:pt x="549" y="923"/>
                    </a:lnTo>
                    <a:lnTo>
                      <a:pt x="548" y="922"/>
                    </a:lnTo>
                    <a:lnTo>
                      <a:pt x="546" y="922"/>
                    </a:lnTo>
                    <a:lnTo>
                      <a:pt x="544" y="923"/>
                    </a:lnTo>
                    <a:lnTo>
                      <a:pt x="546" y="925"/>
                    </a:lnTo>
                    <a:lnTo>
                      <a:pt x="546" y="927"/>
                    </a:lnTo>
                    <a:lnTo>
                      <a:pt x="544" y="928"/>
                    </a:lnTo>
                    <a:lnTo>
                      <a:pt x="541" y="930"/>
                    </a:lnTo>
                    <a:lnTo>
                      <a:pt x="534" y="935"/>
                    </a:lnTo>
                    <a:lnTo>
                      <a:pt x="534" y="938"/>
                    </a:lnTo>
                    <a:lnTo>
                      <a:pt x="536" y="942"/>
                    </a:lnTo>
                    <a:lnTo>
                      <a:pt x="534" y="943"/>
                    </a:lnTo>
                    <a:lnTo>
                      <a:pt x="531" y="948"/>
                    </a:lnTo>
                    <a:lnTo>
                      <a:pt x="528" y="950"/>
                    </a:lnTo>
                    <a:lnTo>
                      <a:pt x="528" y="948"/>
                    </a:lnTo>
                    <a:lnTo>
                      <a:pt x="526" y="947"/>
                    </a:lnTo>
                    <a:lnTo>
                      <a:pt x="528" y="945"/>
                    </a:lnTo>
                    <a:lnTo>
                      <a:pt x="524" y="945"/>
                    </a:lnTo>
                    <a:lnTo>
                      <a:pt x="523" y="947"/>
                    </a:lnTo>
                    <a:lnTo>
                      <a:pt x="523" y="950"/>
                    </a:lnTo>
                    <a:lnTo>
                      <a:pt x="523" y="952"/>
                    </a:lnTo>
                    <a:lnTo>
                      <a:pt x="523" y="953"/>
                    </a:lnTo>
                    <a:lnTo>
                      <a:pt x="516" y="958"/>
                    </a:lnTo>
                    <a:lnTo>
                      <a:pt x="514" y="960"/>
                    </a:lnTo>
                    <a:lnTo>
                      <a:pt x="513" y="958"/>
                    </a:lnTo>
                    <a:lnTo>
                      <a:pt x="513" y="957"/>
                    </a:lnTo>
                    <a:lnTo>
                      <a:pt x="511" y="955"/>
                    </a:lnTo>
                    <a:lnTo>
                      <a:pt x="510" y="955"/>
                    </a:lnTo>
                    <a:lnTo>
                      <a:pt x="508" y="957"/>
                    </a:lnTo>
                    <a:lnTo>
                      <a:pt x="506" y="957"/>
                    </a:lnTo>
                    <a:lnTo>
                      <a:pt x="503" y="955"/>
                    </a:lnTo>
                    <a:lnTo>
                      <a:pt x="501" y="953"/>
                    </a:lnTo>
                    <a:lnTo>
                      <a:pt x="500" y="953"/>
                    </a:lnTo>
                    <a:lnTo>
                      <a:pt x="498" y="953"/>
                    </a:lnTo>
                    <a:lnTo>
                      <a:pt x="500" y="955"/>
                    </a:lnTo>
                    <a:lnTo>
                      <a:pt x="501" y="957"/>
                    </a:lnTo>
                    <a:lnTo>
                      <a:pt x="503" y="960"/>
                    </a:lnTo>
                    <a:lnTo>
                      <a:pt x="503" y="963"/>
                    </a:lnTo>
                    <a:lnTo>
                      <a:pt x="501" y="965"/>
                    </a:lnTo>
                    <a:lnTo>
                      <a:pt x="500" y="965"/>
                    </a:lnTo>
                    <a:lnTo>
                      <a:pt x="493" y="968"/>
                    </a:lnTo>
                    <a:lnTo>
                      <a:pt x="490" y="971"/>
                    </a:lnTo>
                    <a:lnTo>
                      <a:pt x="486" y="971"/>
                    </a:lnTo>
                    <a:lnTo>
                      <a:pt x="483" y="970"/>
                    </a:lnTo>
                    <a:lnTo>
                      <a:pt x="485" y="968"/>
                    </a:lnTo>
                    <a:lnTo>
                      <a:pt x="485" y="966"/>
                    </a:lnTo>
                    <a:lnTo>
                      <a:pt x="483" y="965"/>
                    </a:lnTo>
                    <a:lnTo>
                      <a:pt x="481" y="965"/>
                    </a:lnTo>
                    <a:lnTo>
                      <a:pt x="481" y="968"/>
                    </a:lnTo>
                    <a:lnTo>
                      <a:pt x="481" y="970"/>
                    </a:lnTo>
                    <a:lnTo>
                      <a:pt x="480" y="971"/>
                    </a:lnTo>
                    <a:lnTo>
                      <a:pt x="478" y="971"/>
                    </a:lnTo>
                    <a:lnTo>
                      <a:pt x="475" y="973"/>
                    </a:lnTo>
                    <a:lnTo>
                      <a:pt x="471" y="971"/>
                    </a:lnTo>
                    <a:lnTo>
                      <a:pt x="468" y="968"/>
                    </a:lnTo>
                    <a:lnTo>
                      <a:pt x="468" y="966"/>
                    </a:lnTo>
                    <a:lnTo>
                      <a:pt x="470" y="963"/>
                    </a:lnTo>
                    <a:lnTo>
                      <a:pt x="470" y="962"/>
                    </a:lnTo>
                    <a:lnTo>
                      <a:pt x="468" y="962"/>
                    </a:lnTo>
                    <a:lnTo>
                      <a:pt x="466" y="965"/>
                    </a:lnTo>
                    <a:lnTo>
                      <a:pt x="466" y="968"/>
                    </a:lnTo>
                    <a:lnTo>
                      <a:pt x="466" y="971"/>
                    </a:lnTo>
                    <a:lnTo>
                      <a:pt x="465" y="973"/>
                    </a:lnTo>
                    <a:lnTo>
                      <a:pt x="463" y="973"/>
                    </a:lnTo>
                    <a:lnTo>
                      <a:pt x="458" y="966"/>
                    </a:lnTo>
                    <a:lnTo>
                      <a:pt x="458" y="963"/>
                    </a:lnTo>
                    <a:lnTo>
                      <a:pt x="460" y="960"/>
                    </a:lnTo>
                    <a:lnTo>
                      <a:pt x="463" y="957"/>
                    </a:lnTo>
                    <a:lnTo>
                      <a:pt x="465" y="955"/>
                    </a:lnTo>
                    <a:lnTo>
                      <a:pt x="463" y="953"/>
                    </a:lnTo>
                    <a:lnTo>
                      <a:pt x="460" y="953"/>
                    </a:lnTo>
                    <a:lnTo>
                      <a:pt x="456" y="950"/>
                    </a:lnTo>
                    <a:lnTo>
                      <a:pt x="456" y="948"/>
                    </a:lnTo>
                    <a:lnTo>
                      <a:pt x="456" y="948"/>
                    </a:lnTo>
                    <a:lnTo>
                      <a:pt x="453" y="950"/>
                    </a:lnTo>
                    <a:lnTo>
                      <a:pt x="451" y="952"/>
                    </a:lnTo>
                    <a:lnTo>
                      <a:pt x="451" y="953"/>
                    </a:lnTo>
                    <a:lnTo>
                      <a:pt x="455" y="957"/>
                    </a:lnTo>
                    <a:lnTo>
                      <a:pt x="455" y="958"/>
                    </a:lnTo>
                    <a:lnTo>
                      <a:pt x="453" y="962"/>
                    </a:lnTo>
                    <a:lnTo>
                      <a:pt x="451" y="965"/>
                    </a:lnTo>
                    <a:lnTo>
                      <a:pt x="448" y="966"/>
                    </a:lnTo>
                    <a:lnTo>
                      <a:pt x="446" y="968"/>
                    </a:lnTo>
                    <a:lnTo>
                      <a:pt x="445" y="963"/>
                    </a:lnTo>
                    <a:lnTo>
                      <a:pt x="443" y="963"/>
                    </a:lnTo>
                    <a:lnTo>
                      <a:pt x="441" y="965"/>
                    </a:lnTo>
                    <a:lnTo>
                      <a:pt x="441" y="968"/>
                    </a:lnTo>
                    <a:lnTo>
                      <a:pt x="445" y="973"/>
                    </a:lnTo>
                    <a:lnTo>
                      <a:pt x="446" y="975"/>
                    </a:lnTo>
                    <a:lnTo>
                      <a:pt x="446" y="976"/>
                    </a:lnTo>
                    <a:lnTo>
                      <a:pt x="445" y="978"/>
                    </a:lnTo>
                    <a:lnTo>
                      <a:pt x="445" y="980"/>
                    </a:lnTo>
                    <a:lnTo>
                      <a:pt x="441" y="981"/>
                    </a:lnTo>
                    <a:lnTo>
                      <a:pt x="438" y="981"/>
                    </a:lnTo>
                    <a:lnTo>
                      <a:pt x="436" y="980"/>
                    </a:lnTo>
                    <a:lnTo>
                      <a:pt x="435" y="980"/>
                    </a:lnTo>
                    <a:lnTo>
                      <a:pt x="431" y="983"/>
                    </a:lnTo>
                    <a:lnTo>
                      <a:pt x="428" y="985"/>
                    </a:lnTo>
                    <a:lnTo>
                      <a:pt x="426" y="983"/>
                    </a:lnTo>
                    <a:lnTo>
                      <a:pt x="425" y="980"/>
                    </a:lnTo>
                    <a:lnTo>
                      <a:pt x="423" y="976"/>
                    </a:lnTo>
                    <a:lnTo>
                      <a:pt x="423" y="976"/>
                    </a:lnTo>
                    <a:lnTo>
                      <a:pt x="421" y="978"/>
                    </a:lnTo>
                    <a:lnTo>
                      <a:pt x="421" y="981"/>
                    </a:lnTo>
                    <a:lnTo>
                      <a:pt x="420" y="983"/>
                    </a:lnTo>
                    <a:lnTo>
                      <a:pt x="416" y="983"/>
                    </a:lnTo>
                    <a:lnTo>
                      <a:pt x="415" y="980"/>
                    </a:lnTo>
                    <a:lnTo>
                      <a:pt x="413" y="976"/>
                    </a:lnTo>
                    <a:lnTo>
                      <a:pt x="412" y="978"/>
                    </a:lnTo>
                    <a:lnTo>
                      <a:pt x="412" y="980"/>
                    </a:lnTo>
                    <a:lnTo>
                      <a:pt x="408" y="980"/>
                    </a:lnTo>
                    <a:lnTo>
                      <a:pt x="407" y="981"/>
                    </a:lnTo>
                    <a:lnTo>
                      <a:pt x="407" y="983"/>
                    </a:lnTo>
                    <a:lnTo>
                      <a:pt x="408" y="986"/>
                    </a:lnTo>
                    <a:lnTo>
                      <a:pt x="408" y="990"/>
                    </a:lnTo>
                    <a:lnTo>
                      <a:pt x="407" y="995"/>
                    </a:lnTo>
                    <a:lnTo>
                      <a:pt x="402" y="1000"/>
                    </a:lnTo>
                    <a:lnTo>
                      <a:pt x="398" y="1000"/>
                    </a:lnTo>
                    <a:lnTo>
                      <a:pt x="397" y="1000"/>
                    </a:lnTo>
                    <a:lnTo>
                      <a:pt x="395" y="995"/>
                    </a:lnTo>
                    <a:lnTo>
                      <a:pt x="393" y="993"/>
                    </a:lnTo>
                    <a:lnTo>
                      <a:pt x="390" y="995"/>
                    </a:lnTo>
                    <a:lnTo>
                      <a:pt x="390" y="996"/>
                    </a:lnTo>
                    <a:lnTo>
                      <a:pt x="387" y="995"/>
                    </a:lnTo>
                    <a:lnTo>
                      <a:pt x="385" y="993"/>
                    </a:lnTo>
                    <a:lnTo>
                      <a:pt x="383" y="991"/>
                    </a:lnTo>
                    <a:lnTo>
                      <a:pt x="383" y="993"/>
                    </a:lnTo>
                    <a:lnTo>
                      <a:pt x="383" y="995"/>
                    </a:lnTo>
                    <a:lnTo>
                      <a:pt x="385" y="998"/>
                    </a:lnTo>
                    <a:lnTo>
                      <a:pt x="383" y="1001"/>
                    </a:lnTo>
                    <a:lnTo>
                      <a:pt x="383" y="1003"/>
                    </a:lnTo>
                    <a:lnTo>
                      <a:pt x="383" y="1005"/>
                    </a:lnTo>
                    <a:lnTo>
                      <a:pt x="387" y="1008"/>
                    </a:lnTo>
                    <a:lnTo>
                      <a:pt x="388" y="1011"/>
                    </a:lnTo>
                    <a:lnTo>
                      <a:pt x="388" y="1018"/>
                    </a:lnTo>
                    <a:lnTo>
                      <a:pt x="388" y="1021"/>
                    </a:lnTo>
                    <a:lnTo>
                      <a:pt x="385" y="1020"/>
                    </a:lnTo>
                    <a:lnTo>
                      <a:pt x="383" y="1020"/>
                    </a:lnTo>
                    <a:lnTo>
                      <a:pt x="382" y="1021"/>
                    </a:lnTo>
                    <a:lnTo>
                      <a:pt x="378" y="1023"/>
                    </a:lnTo>
                    <a:lnTo>
                      <a:pt x="373" y="1021"/>
                    </a:lnTo>
                    <a:lnTo>
                      <a:pt x="368" y="1021"/>
                    </a:lnTo>
                    <a:lnTo>
                      <a:pt x="367" y="1023"/>
                    </a:lnTo>
                    <a:lnTo>
                      <a:pt x="368" y="1025"/>
                    </a:lnTo>
                    <a:lnTo>
                      <a:pt x="373" y="1028"/>
                    </a:lnTo>
                    <a:lnTo>
                      <a:pt x="377" y="1028"/>
                    </a:lnTo>
                    <a:lnTo>
                      <a:pt x="380" y="1030"/>
                    </a:lnTo>
                    <a:lnTo>
                      <a:pt x="382" y="1031"/>
                    </a:lnTo>
                    <a:lnTo>
                      <a:pt x="383" y="1031"/>
                    </a:lnTo>
                    <a:lnTo>
                      <a:pt x="385" y="1031"/>
                    </a:lnTo>
                    <a:lnTo>
                      <a:pt x="385" y="1033"/>
                    </a:lnTo>
                    <a:lnTo>
                      <a:pt x="385" y="1036"/>
                    </a:lnTo>
                    <a:lnTo>
                      <a:pt x="382" y="1036"/>
                    </a:lnTo>
                    <a:lnTo>
                      <a:pt x="380" y="1036"/>
                    </a:lnTo>
                    <a:lnTo>
                      <a:pt x="380" y="1038"/>
                    </a:lnTo>
                    <a:lnTo>
                      <a:pt x="382" y="1040"/>
                    </a:lnTo>
                    <a:lnTo>
                      <a:pt x="383" y="1041"/>
                    </a:lnTo>
                    <a:lnTo>
                      <a:pt x="382" y="1045"/>
                    </a:lnTo>
                    <a:lnTo>
                      <a:pt x="382" y="1046"/>
                    </a:lnTo>
                    <a:lnTo>
                      <a:pt x="382" y="1048"/>
                    </a:lnTo>
                    <a:lnTo>
                      <a:pt x="380" y="1050"/>
                    </a:lnTo>
                    <a:lnTo>
                      <a:pt x="377" y="1048"/>
                    </a:lnTo>
                    <a:lnTo>
                      <a:pt x="373" y="1045"/>
                    </a:lnTo>
                    <a:lnTo>
                      <a:pt x="372" y="1045"/>
                    </a:lnTo>
                    <a:lnTo>
                      <a:pt x="370" y="1043"/>
                    </a:lnTo>
                    <a:lnTo>
                      <a:pt x="367" y="1041"/>
                    </a:lnTo>
                    <a:lnTo>
                      <a:pt x="363" y="1041"/>
                    </a:lnTo>
                    <a:lnTo>
                      <a:pt x="363" y="1041"/>
                    </a:lnTo>
                    <a:lnTo>
                      <a:pt x="362" y="1045"/>
                    </a:lnTo>
                    <a:lnTo>
                      <a:pt x="365" y="1045"/>
                    </a:lnTo>
                    <a:lnTo>
                      <a:pt x="368" y="1045"/>
                    </a:lnTo>
                    <a:lnTo>
                      <a:pt x="372" y="1048"/>
                    </a:lnTo>
                    <a:lnTo>
                      <a:pt x="375" y="1050"/>
                    </a:lnTo>
                    <a:lnTo>
                      <a:pt x="378" y="1050"/>
                    </a:lnTo>
                    <a:lnTo>
                      <a:pt x="380" y="1051"/>
                    </a:lnTo>
                    <a:lnTo>
                      <a:pt x="378" y="1055"/>
                    </a:lnTo>
                    <a:lnTo>
                      <a:pt x="375" y="1056"/>
                    </a:lnTo>
                    <a:lnTo>
                      <a:pt x="372" y="1056"/>
                    </a:lnTo>
                    <a:lnTo>
                      <a:pt x="370" y="1058"/>
                    </a:lnTo>
                    <a:lnTo>
                      <a:pt x="367" y="1056"/>
                    </a:lnTo>
                    <a:lnTo>
                      <a:pt x="362" y="1053"/>
                    </a:lnTo>
                    <a:lnTo>
                      <a:pt x="360" y="1051"/>
                    </a:lnTo>
                    <a:lnTo>
                      <a:pt x="358" y="1051"/>
                    </a:lnTo>
                    <a:lnTo>
                      <a:pt x="357" y="1051"/>
                    </a:lnTo>
                    <a:lnTo>
                      <a:pt x="355" y="1055"/>
                    </a:lnTo>
                    <a:lnTo>
                      <a:pt x="355" y="1058"/>
                    </a:lnTo>
                    <a:lnTo>
                      <a:pt x="358" y="1060"/>
                    </a:lnTo>
                    <a:lnTo>
                      <a:pt x="363" y="1061"/>
                    </a:lnTo>
                    <a:lnTo>
                      <a:pt x="363" y="1065"/>
                    </a:lnTo>
                    <a:lnTo>
                      <a:pt x="363" y="1066"/>
                    </a:lnTo>
                    <a:lnTo>
                      <a:pt x="362" y="1066"/>
                    </a:lnTo>
                    <a:lnTo>
                      <a:pt x="360" y="1065"/>
                    </a:lnTo>
                    <a:lnTo>
                      <a:pt x="357" y="1065"/>
                    </a:lnTo>
                    <a:lnTo>
                      <a:pt x="353" y="1061"/>
                    </a:lnTo>
                    <a:lnTo>
                      <a:pt x="350" y="1060"/>
                    </a:lnTo>
                    <a:lnTo>
                      <a:pt x="350" y="1060"/>
                    </a:lnTo>
                    <a:lnTo>
                      <a:pt x="350" y="1063"/>
                    </a:lnTo>
                    <a:lnTo>
                      <a:pt x="353" y="1065"/>
                    </a:lnTo>
                    <a:lnTo>
                      <a:pt x="358" y="1066"/>
                    </a:lnTo>
                    <a:lnTo>
                      <a:pt x="358" y="1069"/>
                    </a:lnTo>
                    <a:lnTo>
                      <a:pt x="358" y="1071"/>
                    </a:lnTo>
                    <a:lnTo>
                      <a:pt x="357" y="1071"/>
                    </a:lnTo>
                    <a:lnTo>
                      <a:pt x="352" y="1071"/>
                    </a:lnTo>
                    <a:lnTo>
                      <a:pt x="350" y="1069"/>
                    </a:lnTo>
                    <a:lnTo>
                      <a:pt x="350" y="1066"/>
                    </a:lnTo>
                    <a:lnTo>
                      <a:pt x="347" y="1065"/>
                    </a:lnTo>
                    <a:lnTo>
                      <a:pt x="345" y="1065"/>
                    </a:lnTo>
                    <a:lnTo>
                      <a:pt x="343" y="1066"/>
                    </a:lnTo>
                    <a:lnTo>
                      <a:pt x="343" y="1068"/>
                    </a:lnTo>
                    <a:lnTo>
                      <a:pt x="345" y="1069"/>
                    </a:lnTo>
                    <a:lnTo>
                      <a:pt x="347" y="1073"/>
                    </a:lnTo>
                    <a:lnTo>
                      <a:pt x="347" y="1073"/>
                    </a:lnTo>
                    <a:lnTo>
                      <a:pt x="347" y="1074"/>
                    </a:lnTo>
                    <a:lnTo>
                      <a:pt x="353" y="1074"/>
                    </a:lnTo>
                    <a:lnTo>
                      <a:pt x="357" y="1076"/>
                    </a:lnTo>
                    <a:lnTo>
                      <a:pt x="358" y="1078"/>
                    </a:lnTo>
                    <a:lnTo>
                      <a:pt x="357" y="1079"/>
                    </a:lnTo>
                    <a:lnTo>
                      <a:pt x="355" y="1081"/>
                    </a:lnTo>
                    <a:lnTo>
                      <a:pt x="353" y="1083"/>
                    </a:lnTo>
                    <a:lnTo>
                      <a:pt x="350" y="1083"/>
                    </a:lnTo>
                    <a:lnTo>
                      <a:pt x="348" y="1081"/>
                    </a:lnTo>
                    <a:lnTo>
                      <a:pt x="345" y="1081"/>
                    </a:lnTo>
                    <a:lnTo>
                      <a:pt x="342" y="1079"/>
                    </a:lnTo>
                    <a:lnTo>
                      <a:pt x="342" y="1078"/>
                    </a:lnTo>
                    <a:lnTo>
                      <a:pt x="342" y="1076"/>
                    </a:lnTo>
                    <a:lnTo>
                      <a:pt x="338" y="1076"/>
                    </a:lnTo>
                    <a:lnTo>
                      <a:pt x="337" y="1076"/>
                    </a:lnTo>
                    <a:lnTo>
                      <a:pt x="337" y="1079"/>
                    </a:lnTo>
                    <a:lnTo>
                      <a:pt x="337" y="1081"/>
                    </a:lnTo>
                    <a:lnTo>
                      <a:pt x="335" y="1084"/>
                    </a:lnTo>
                    <a:lnTo>
                      <a:pt x="330" y="1084"/>
                    </a:lnTo>
                    <a:lnTo>
                      <a:pt x="328" y="1083"/>
                    </a:lnTo>
                    <a:lnTo>
                      <a:pt x="327" y="1081"/>
                    </a:lnTo>
                    <a:lnTo>
                      <a:pt x="323" y="1081"/>
                    </a:lnTo>
                    <a:lnTo>
                      <a:pt x="323" y="1083"/>
                    </a:lnTo>
                    <a:lnTo>
                      <a:pt x="325" y="1084"/>
                    </a:lnTo>
                    <a:lnTo>
                      <a:pt x="332" y="1088"/>
                    </a:lnTo>
                    <a:lnTo>
                      <a:pt x="338" y="1089"/>
                    </a:lnTo>
                    <a:lnTo>
                      <a:pt x="340" y="1093"/>
                    </a:lnTo>
                    <a:lnTo>
                      <a:pt x="342" y="1098"/>
                    </a:lnTo>
                    <a:lnTo>
                      <a:pt x="340" y="1098"/>
                    </a:lnTo>
                    <a:lnTo>
                      <a:pt x="337" y="1098"/>
                    </a:lnTo>
                    <a:lnTo>
                      <a:pt x="333" y="1096"/>
                    </a:lnTo>
                    <a:lnTo>
                      <a:pt x="328" y="1091"/>
                    </a:lnTo>
                    <a:lnTo>
                      <a:pt x="327" y="1089"/>
                    </a:lnTo>
                    <a:lnTo>
                      <a:pt x="323" y="1091"/>
                    </a:lnTo>
                    <a:lnTo>
                      <a:pt x="323" y="1091"/>
                    </a:lnTo>
                    <a:lnTo>
                      <a:pt x="325" y="1093"/>
                    </a:lnTo>
                    <a:lnTo>
                      <a:pt x="330" y="1094"/>
                    </a:lnTo>
                    <a:lnTo>
                      <a:pt x="335" y="1098"/>
                    </a:lnTo>
                    <a:lnTo>
                      <a:pt x="338" y="1103"/>
                    </a:lnTo>
                    <a:lnTo>
                      <a:pt x="337" y="1104"/>
                    </a:lnTo>
                    <a:lnTo>
                      <a:pt x="337" y="1108"/>
                    </a:lnTo>
                    <a:lnTo>
                      <a:pt x="337" y="1109"/>
                    </a:lnTo>
                    <a:lnTo>
                      <a:pt x="337" y="1111"/>
                    </a:lnTo>
                    <a:lnTo>
                      <a:pt x="335" y="1113"/>
                    </a:lnTo>
                    <a:lnTo>
                      <a:pt x="335" y="1116"/>
                    </a:lnTo>
                    <a:lnTo>
                      <a:pt x="333" y="1119"/>
                    </a:lnTo>
                    <a:lnTo>
                      <a:pt x="330" y="1119"/>
                    </a:lnTo>
                    <a:lnTo>
                      <a:pt x="328" y="1118"/>
                    </a:lnTo>
                    <a:lnTo>
                      <a:pt x="325" y="1116"/>
                    </a:lnTo>
                    <a:lnTo>
                      <a:pt x="322" y="1114"/>
                    </a:lnTo>
                    <a:lnTo>
                      <a:pt x="320" y="1114"/>
                    </a:lnTo>
                    <a:lnTo>
                      <a:pt x="320" y="1118"/>
                    </a:lnTo>
                    <a:lnTo>
                      <a:pt x="323" y="1119"/>
                    </a:lnTo>
                    <a:lnTo>
                      <a:pt x="328" y="1119"/>
                    </a:lnTo>
                    <a:lnTo>
                      <a:pt x="328" y="1121"/>
                    </a:lnTo>
                    <a:lnTo>
                      <a:pt x="327" y="1124"/>
                    </a:lnTo>
                    <a:lnTo>
                      <a:pt x="323" y="1123"/>
                    </a:lnTo>
                    <a:lnTo>
                      <a:pt x="322" y="1121"/>
                    </a:lnTo>
                    <a:lnTo>
                      <a:pt x="320" y="1123"/>
                    </a:lnTo>
                    <a:lnTo>
                      <a:pt x="320" y="1124"/>
                    </a:lnTo>
                    <a:lnTo>
                      <a:pt x="323" y="1124"/>
                    </a:lnTo>
                    <a:lnTo>
                      <a:pt x="325" y="1126"/>
                    </a:lnTo>
                    <a:lnTo>
                      <a:pt x="325" y="1128"/>
                    </a:lnTo>
                    <a:lnTo>
                      <a:pt x="322" y="1131"/>
                    </a:lnTo>
                    <a:lnTo>
                      <a:pt x="320" y="1131"/>
                    </a:lnTo>
                    <a:lnTo>
                      <a:pt x="318" y="1129"/>
                    </a:lnTo>
                    <a:lnTo>
                      <a:pt x="315" y="1129"/>
                    </a:lnTo>
                    <a:lnTo>
                      <a:pt x="314" y="1129"/>
                    </a:lnTo>
                    <a:lnTo>
                      <a:pt x="314" y="1131"/>
                    </a:lnTo>
                    <a:lnTo>
                      <a:pt x="317" y="1133"/>
                    </a:lnTo>
                    <a:lnTo>
                      <a:pt x="320" y="1134"/>
                    </a:lnTo>
                    <a:lnTo>
                      <a:pt x="320" y="1138"/>
                    </a:lnTo>
                    <a:lnTo>
                      <a:pt x="317" y="1139"/>
                    </a:lnTo>
                    <a:lnTo>
                      <a:pt x="310" y="1138"/>
                    </a:lnTo>
                    <a:lnTo>
                      <a:pt x="309" y="1136"/>
                    </a:lnTo>
                    <a:lnTo>
                      <a:pt x="307" y="1136"/>
                    </a:lnTo>
                    <a:lnTo>
                      <a:pt x="307" y="1138"/>
                    </a:lnTo>
                    <a:lnTo>
                      <a:pt x="310" y="1139"/>
                    </a:lnTo>
                    <a:lnTo>
                      <a:pt x="318" y="1139"/>
                    </a:lnTo>
                    <a:lnTo>
                      <a:pt x="322" y="1141"/>
                    </a:lnTo>
                    <a:lnTo>
                      <a:pt x="323" y="1144"/>
                    </a:lnTo>
                    <a:lnTo>
                      <a:pt x="322" y="1144"/>
                    </a:lnTo>
                    <a:lnTo>
                      <a:pt x="318" y="1146"/>
                    </a:lnTo>
                    <a:lnTo>
                      <a:pt x="312" y="1148"/>
                    </a:lnTo>
                    <a:lnTo>
                      <a:pt x="307" y="1146"/>
                    </a:lnTo>
                    <a:lnTo>
                      <a:pt x="304" y="1146"/>
                    </a:lnTo>
                    <a:lnTo>
                      <a:pt x="304" y="1146"/>
                    </a:lnTo>
                    <a:lnTo>
                      <a:pt x="305" y="1148"/>
                    </a:lnTo>
                    <a:lnTo>
                      <a:pt x="310" y="1149"/>
                    </a:lnTo>
                    <a:lnTo>
                      <a:pt x="310" y="1151"/>
                    </a:lnTo>
                    <a:lnTo>
                      <a:pt x="310" y="1151"/>
                    </a:lnTo>
                    <a:lnTo>
                      <a:pt x="309" y="1151"/>
                    </a:lnTo>
                    <a:lnTo>
                      <a:pt x="307" y="1153"/>
                    </a:lnTo>
                    <a:lnTo>
                      <a:pt x="312" y="1153"/>
                    </a:lnTo>
                    <a:lnTo>
                      <a:pt x="315" y="1154"/>
                    </a:lnTo>
                    <a:lnTo>
                      <a:pt x="315" y="1156"/>
                    </a:lnTo>
                    <a:lnTo>
                      <a:pt x="312" y="1158"/>
                    </a:lnTo>
                    <a:lnTo>
                      <a:pt x="309" y="1158"/>
                    </a:lnTo>
                    <a:lnTo>
                      <a:pt x="307" y="1158"/>
                    </a:lnTo>
                    <a:lnTo>
                      <a:pt x="307" y="1159"/>
                    </a:lnTo>
                    <a:lnTo>
                      <a:pt x="309" y="1159"/>
                    </a:lnTo>
                    <a:lnTo>
                      <a:pt x="314" y="1159"/>
                    </a:lnTo>
                    <a:lnTo>
                      <a:pt x="317" y="1159"/>
                    </a:lnTo>
                    <a:lnTo>
                      <a:pt x="315" y="1161"/>
                    </a:lnTo>
                    <a:lnTo>
                      <a:pt x="314" y="1164"/>
                    </a:lnTo>
                    <a:lnTo>
                      <a:pt x="309" y="1166"/>
                    </a:lnTo>
                    <a:lnTo>
                      <a:pt x="305" y="1166"/>
                    </a:lnTo>
                    <a:lnTo>
                      <a:pt x="302" y="1163"/>
                    </a:lnTo>
                    <a:lnTo>
                      <a:pt x="299" y="1161"/>
                    </a:lnTo>
                    <a:lnTo>
                      <a:pt x="299" y="1158"/>
                    </a:lnTo>
                    <a:lnTo>
                      <a:pt x="297" y="1158"/>
                    </a:lnTo>
                    <a:lnTo>
                      <a:pt x="295" y="1159"/>
                    </a:lnTo>
                    <a:lnTo>
                      <a:pt x="292" y="1158"/>
                    </a:lnTo>
                    <a:lnTo>
                      <a:pt x="290" y="1159"/>
                    </a:lnTo>
                    <a:lnTo>
                      <a:pt x="292" y="1161"/>
                    </a:lnTo>
                    <a:lnTo>
                      <a:pt x="299" y="1164"/>
                    </a:lnTo>
                    <a:lnTo>
                      <a:pt x="304" y="1166"/>
                    </a:lnTo>
                    <a:lnTo>
                      <a:pt x="304" y="1167"/>
                    </a:lnTo>
                    <a:lnTo>
                      <a:pt x="302" y="1169"/>
                    </a:lnTo>
                    <a:lnTo>
                      <a:pt x="302" y="1171"/>
                    </a:lnTo>
                    <a:lnTo>
                      <a:pt x="304" y="1171"/>
                    </a:lnTo>
                    <a:lnTo>
                      <a:pt x="307" y="1171"/>
                    </a:lnTo>
                    <a:lnTo>
                      <a:pt x="309" y="1172"/>
                    </a:lnTo>
                    <a:lnTo>
                      <a:pt x="310" y="1172"/>
                    </a:lnTo>
                    <a:lnTo>
                      <a:pt x="310" y="1174"/>
                    </a:lnTo>
                    <a:lnTo>
                      <a:pt x="307" y="1174"/>
                    </a:lnTo>
                    <a:lnTo>
                      <a:pt x="305" y="1177"/>
                    </a:lnTo>
                    <a:lnTo>
                      <a:pt x="305" y="1177"/>
                    </a:lnTo>
                    <a:lnTo>
                      <a:pt x="304" y="1177"/>
                    </a:lnTo>
                    <a:lnTo>
                      <a:pt x="304" y="1177"/>
                    </a:lnTo>
                    <a:close/>
                    <a:moveTo>
                      <a:pt x="299" y="1179"/>
                    </a:moveTo>
                    <a:lnTo>
                      <a:pt x="290" y="1176"/>
                    </a:lnTo>
                    <a:lnTo>
                      <a:pt x="287" y="1174"/>
                    </a:lnTo>
                    <a:lnTo>
                      <a:pt x="287" y="1176"/>
                    </a:lnTo>
                    <a:lnTo>
                      <a:pt x="292" y="1181"/>
                    </a:lnTo>
                    <a:lnTo>
                      <a:pt x="295" y="1181"/>
                    </a:lnTo>
                    <a:lnTo>
                      <a:pt x="299" y="1179"/>
                    </a:lnTo>
                    <a:lnTo>
                      <a:pt x="299" y="1179"/>
                    </a:lnTo>
                    <a:close/>
                    <a:moveTo>
                      <a:pt x="677" y="795"/>
                    </a:moveTo>
                    <a:lnTo>
                      <a:pt x="677" y="799"/>
                    </a:lnTo>
                    <a:lnTo>
                      <a:pt x="684" y="797"/>
                    </a:lnTo>
                    <a:lnTo>
                      <a:pt x="694" y="795"/>
                    </a:lnTo>
                    <a:lnTo>
                      <a:pt x="704" y="797"/>
                    </a:lnTo>
                    <a:lnTo>
                      <a:pt x="707" y="794"/>
                    </a:lnTo>
                    <a:lnTo>
                      <a:pt x="712" y="794"/>
                    </a:lnTo>
                    <a:lnTo>
                      <a:pt x="717" y="795"/>
                    </a:lnTo>
                    <a:lnTo>
                      <a:pt x="722" y="794"/>
                    </a:lnTo>
                    <a:lnTo>
                      <a:pt x="725" y="795"/>
                    </a:lnTo>
                    <a:lnTo>
                      <a:pt x="732" y="790"/>
                    </a:lnTo>
                    <a:lnTo>
                      <a:pt x="732" y="779"/>
                    </a:lnTo>
                    <a:lnTo>
                      <a:pt x="729" y="775"/>
                    </a:lnTo>
                    <a:lnTo>
                      <a:pt x="727" y="772"/>
                    </a:lnTo>
                    <a:lnTo>
                      <a:pt x="722" y="772"/>
                    </a:lnTo>
                    <a:lnTo>
                      <a:pt x="709" y="777"/>
                    </a:lnTo>
                    <a:lnTo>
                      <a:pt x="696" y="779"/>
                    </a:lnTo>
                    <a:lnTo>
                      <a:pt x="692" y="782"/>
                    </a:lnTo>
                    <a:lnTo>
                      <a:pt x="687" y="785"/>
                    </a:lnTo>
                    <a:lnTo>
                      <a:pt x="684" y="789"/>
                    </a:lnTo>
                    <a:lnTo>
                      <a:pt x="679" y="790"/>
                    </a:lnTo>
                    <a:lnTo>
                      <a:pt x="679" y="792"/>
                    </a:lnTo>
                    <a:lnTo>
                      <a:pt x="677" y="795"/>
                    </a:lnTo>
                    <a:lnTo>
                      <a:pt x="677" y="795"/>
                    </a:lnTo>
                    <a:close/>
                    <a:moveTo>
                      <a:pt x="315" y="1151"/>
                    </a:moveTo>
                    <a:lnTo>
                      <a:pt x="318" y="1153"/>
                    </a:lnTo>
                    <a:lnTo>
                      <a:pt x="320" y="1151"/>
                    </a:lnTo>
                    <a:lnTo>
                      <a:pt x="318" y="1149"/>
                    </a:lnTo>
                    <a:lnTo>
                      <a:pt x="317" y="1149"/>
                    </a:lnTo>
                    <a:lnTo>
                      <a:pt x="315" y="1151"/>
                    </a:lnTo>
                    <a:lnTo>
                      <a:pt x="315" y="1151"/>
                    </a:lnTo>
                    <a:close/>
                    <a:moveTo>
                      <a:pt x="338" y="1106"/>
                    </a:moveTo>
                    <a:lnTo>
                      <a:pt x="340" y="1108"/>
                    </a:lnTo>
                    <a:lnTo>
                      <a:pt x="340" y="1106"/>
                    </a:lnTo>
                    <a:lnTo>
                      <a:pt x="338" y="1106"/>
                    </a:lnTo>
                    <a:lnTo>
                      <a:pt x="338" y="1106"/>
                    </a:lnTo>
                    <a:close/>
                    <a:moveTo>
                      <a:pt x="342" y="1101"/>
                    </a:moveTo>
                    <a:lnTo>
                      <a:pt x="342" y="1103"/>
                    </a:lnTo>
                    <a:lnTo>
                      <a:pt x="343" y="1103"/>
                    </a:lnTo>
                    <a:lnTo>
                      <a:pt x="343" y="1099"/>
                    </a:lnTo>
                    <a:lnTo>
                      <a:pt x="342" y="1101"/>
                    </a:lnTo>
                    <a:lnTo>
                      <a:pt x="342" y="1101"/>
                    </a:lnTo>
                    <a:close/>
                    <a:moveTo>
                      <a:pt x="343" y="1093"/>
                    </a:moveTo>
                    <a:lnTo>
                      <a:pt x="343" y="1094"/>
                    </a:lnTo>
                    <a:lnTo>
                      <a:pt x="345" y="1094"/>
                    </a:lnTo>
                    <a:lnTo>
                      <a:pt x="345" y="1093"/>
                    </a:lnTo>
                    <a:lnTo>
                      <a:pt x="343" y="1093"/>
                    </a:lnTo>
                    <a:lnTo>
                      <a:pt x="343" y="1093"/>
                    </a:lnTo>
                    <a:lnTo>
                      <a:pt x="343" y="1093"/>
                    </a:lnTo>
                    <a:close/>
                    <a:moveTo>
                      <a:pt x="340" y="1084"/>
                    </a:moveTo>
                    <a:lnTo>
                      <a:pt x="340" y="1086"/>
                    </a:lnTo>
                    <a:lnTo>
                      <a:pt x="343" y="1088"/>
                    </a:lnTo>
                    <a:lnTo>
                      <a:pt x="345" y="1088"/>
                    </a:lnTo>
                    <a:lnTo>
                      <a:pt x="350" y="1088"/>
                    </a:lnTo>
                    <a:lnTo>
                      <a:pt x="350" y="1086"/>
                    </a:lnTo>
                    <a:lnTo>
                      <a:pt x="348" y="1084"/>
                    </a:lnTo>
                    <a:lnTo>
                      <a:pt x="343" y="1084"/>
                    </a:lnTo>
                    <a:lnTo>
                      <a:pt x="342" y="1083"/>
                    </a:lnTo>
                    <a:lnTo>
                      <a:pt x="340" y="1084"/>
                    </a:lnTo>
                    <a:lnTo>
                      <a:pt x="340" y="1084"/>
                    </a:lnTo>
                    <a:close/>
                    <a:moveTo>
                      <a:pt x="360" y="1081"/>
                    </a:moveTo>
                    <a:lnTo>
                      <a:pt x="362" y="1079"/>
                    </a:lnTo>
                    <a:lnTo>
                      <a:pt x="362" y="1076"/>
                    </a:lnTo>
                    <a:lnTo>
                      <a:pt x="360" y="1078"/>
                    </a:lnTo>
                    <a:lnTo>
                      <a:pt x="360" y="1081"/>
                    </a:lnTo>
                    <a:lnTo>
                      <a:pt x="360" y="1081"/>
                    </a:lnTo>
                    <a:close/>
                    <a:moveTo>
                      <a:pt x="358" y="1055"/>
                    </a:moveTo>
                    <a:lnTo>
                      <a:pt x="358" y="1056"/>
                    </a:lnTo>
                    <a:lnTo>
                      <a:pt x="362" y="1060"/>
                    </a:lnTo>
                    <a:lnTo>
                      <a:pt x="367" y="1061"/>
                    </a:lnTo>
                    <a:lnTo>
                      <a:pt x="367" y="1063"/>
                    </a:lnTo>
                    <a:lnTo>
                      <a:pt x="368" y="1061"/>
                    </a:lnTo>
                    <a:lnTo>
                      <a:pt x="367" y="1060"/>
                    </a:lnTo>
                    <a:lnTo>
                      <a:pt x="362" y="1056"/>
                    </a:lnTo>
                    <a:lnTo>
                      <a:pt x="360" y="1055"/>
                    </a:lnTo>
                    <a:lnTo>
                      <a:pt x="358" y="1055"/>
                    </a:lnTo>
                    <a:lnTo>
                      <a:pt x="358" y="1055"/>
                    </a:lnTo>
                    <a:close/>
                    <a:moveTo>
                      <a:pt x="388" y="1005"/>
                    </a:moveTo>
                    <a:lnTo>
                      <a:pt x="390" y="1008"/>
                    </a:lnTo>
                    <a:lnTo>
                      <a:pt x="392" y="1011"/>
                    </a:lnTo>
                    <a:lnTo>
                      <a:pt x="392" y="1016"/>
                    </a:lnTo>
                    <a:lnTo>
                      <a:pt x="393" y="1020"/>
                    </a:lnTo>
                    <a:lnTo>
                      <a:pt x="395" y="1020"/>
                    </a:lnTo>
                    <a:lnTo>
                      <a:pt x="395" y="1015"/>
                    </a:lnTo>
                    <a:lnTo>
                      <a:pt x="395" y="1011"/>
                    </a:lnTo>
                    <a:lnTo>
                      <a:pt x="393" y="1008"/>
                    </a:lnTo>
                    <a:lnTo>
                      <a:pt x="392" y="1005"/>
                    </a:lnTo>
                    <a:lnTo>
                      <a:pt x="390" y="1003"/>
                    </a:lnTo>
                    <a:lnTo>
                      <a:pt x="388" y="1005"/>
                    </a:lnTo>
                    <a:lnTo>
                      <a:pt x="388" y="1005"/>
                    </a:lnTo>
                    <a:close/>
                    <a:moveTo>
                      <a:pt x="412" y="991"/>
                    </a:moveTo>
                    <a:lnTo>
                      <a:pt x="412" y="993"/>
                    </a:lnTo>
                    <a:lnTo>
                      <a:pt x="415" y="995"/>
                    </a:lnTo>
                    <a:lnTo>
                      <a:pt x="415" y="993"/>
                    </a:lnTo>
                    <a:lnTo>
                      <a:pt x="413" y="991"/>
                    </a:lnTo>
                    <a:lnTo>
                      <a:pt x="412" y="991"/>
                    </a:lnTo>
                    <a:lnTo>
                      <a:pt x="412" y="991"/>
                    </a:lnTo>
                    <a:close/>
                    <a:moveTo>
                      <a:pt x="418" y="986"/>
                    </a:moveTo>
                    <a:lnTo>
                      <a:pt x="420" y="988"/>
                    </a:lnTo>
                    <a:lnTo>
                      <a:pt x="420" y="986"/>
                    </a:lnTo>
                    <a:lnTo>
                      <a:pt x="418" y="985"/>
                    </a:lnTo>
                    <a:lnTo>
                      <a:pt x="418" y="986"/>
                    </a:lnTo>
                    <a:lnTo>
                      <a:pt x="418" y="986"/>
                    </a:lnTo>
                    <a:close/>
                    <a:moveTo>
                      <a:pt x="456" y="983"/>
                    </a:moveTo>
                    <a:lnTo>
                      <a:pt x="460" y="981"/>
                    </a:lnTo>
                    <a:lnTo>
                      <a:pt x="463" y="981"/>
                    </a:lnTo>
                    <a:lnTo>
                      <a:pt x="465" y="978"/>
                    </a:lnTo>
                    <a:lnTo>
                      <a:pt x="461" y="973"/>
                    </a:lnTo>
                    <a:lnTo>
                      <a:pt x="460" y="973"/>
                    </a:lnTo>
                    <a:lnTo>
                      <a:pt x="458" y="970"/>
                    </a:lnTo>
                    <a:lnTo>
                      <a:pt x="455" y="971"/>
                    </a:lnTo>
                    <a:lnTo>
                      <a:pt x="451" y="973"/>
                    </a:lnTo>
                    <a:lnTo>
                      <a:pt x="451" y="976"/>
                    </a:lnTo>
                    <a:lnTo>
                      <a:pt x="451" y="978"/>
                    </a:lnTo>
                    <a:lnTo>
                      <a:pt x="453" y="981"/>
                    </a:lnTo>
                    <a:lnTo>
                      <a:pt x="455" y="983"/>
                    </a:lnTo>
                    <a:lnTo>
                      <a:pt x="456" y="983"/>
                    </a:lnTo>
                    <a:lnTo>
                      <a:pt x="456" y="983"/>
                    </a:lnTo>
                    <a:close/>
                    <a:moveTo>
                      <a:pt x="471" y="981"/>
                    </a:moveTo>
                    <a:lnTo>
                      <a:pt x="471" y="978"/>
                    </a:lnTo>
                    <a:lnTo>
                      <a:pt x="471" y="976"/>
                    </a:lnTo>
                    <a:lnTo>
                      <a:pt x="470" y="978"/>
                    </a:lnTo>
                    <a:lnTo>
                      <a:pt x="470" y="980"/>
                    </a:lnTo>
                    <a:lnTo>
                      <a:pt x="471" y="981"/>
                    </a:lnTo>
                    <a:lnTo>
                      <a:pt x="471" y="981"/>
                    </a:lnTo>
                    <a:lnTo>
                      <a:pt x="471" y="981"/>
                    </a:lnTo>
                    <a:close/>
                    <a:moveTo>
                      <a:pt x="759" y="837"/>
                    </a:moveTo>
                    <a:lnTo>
                      <a:pt x="760" y="837"/>
                    </a:lnTo>
                    <a:lnTo>
                      <a:pt x="762" y="835"/>
                    </a:lnTo>
                    <a:lnTo>
                      <a:pt x="762" y="834"/>
                    </a:lnTo>
                    <a:lnTo>
                      <a:pt x="759" y="834"/>
                    </a:lnTo>
                    <a:lnTo>
                      <a:pt x="759" y="837"/>
                    </a:lnTo>
                    <a:lnTo>
                      <a:pt x="759" y="837"/>
                    </a:lnTo>
                    <a:close/>
                    <a:moveTo>
                      <a:pt x="707" y="799"/>
                    </a:moveTo>
                    <a:lnTo>
                      <a:pt x="711" y="800"/>
                    </a:lnTo>
                    <a:lnTo>
                      <a:pt x="714" y="799"/>
                    </a:lnTo>
                    <a:lnTo>
                      <a:pt x="714" y="797"/>
                    </a:lnTo>
                    <a:lnTo>
                      <a:pt x="709" y="797"/>
                    </a:lnTo>
                    <a:lnTo>
                      <a:pt x="709" y="797"/>
                    </a:lnTo>
                    <a:lnTo>
                      <a:pt x="707" y="799"/>
                    </a:lnTo>
                    <a:lnTo>
                      <a:pt x="707" y="799"/>
                    </a:lnTo>
                    <a:close/>
                    <a:moveTo>
                      <a:pt x="686" y="780"/>
                    </a:moveTo>
                    <a:lnTo>
                      <a:pt x="687" y="782"/>
                    </a:lnTo>
                    <a:lnTo>
                      <a:pt x="691" y="780"/>
                    </a:lnTo>
                    <a:lnTo>
                      <a:pt x="692" y="779"/>
                    </a:lnTo>
                    <a:lnTo>
                      <a:pt x="689" y="779"/>
                    </a:lnTo>
                    <a:lnTo>
                      <a:pt x="686" y="780"/>
                    </a:lnTo>
                    <a:lnTo>
                      <a:pt x="686" y="780"/>
                    </a:lnTo>
                    <a:close/>
                    <a:moveTo>
                      <a:pt x="730" y="770"/>
                    </a:moveTo>
                    <a:lnTo>
                      <a:pt x="729" y="772"/>
                    </a:lnTo>
                    <a:lnTo>
                      <a:pt x="732" y="774"/>
                    </a:lnTo>
                    <a:lnTo>
                      <a:pt x="732" y="772"/>
                    </a:lnTo>
                    <a:lnTo>
                      <a:pt x="732" y="770"/>
                    </a:lnTo>
                    <a:lnTo>
                      <a:pt x="730" y="769"/>
                    </a:lnTo>
                    <a:lnTo>
                      <a:pt x="730" y="770"/>
                    </a:lnTo>
                    <a:lnTo>
                      <a:pt x="730" y="770"/>
                    </a:lnTo>
                    <a:close/>
                    <a:moveTo>
                      <a:pt x="759" y="687"/>
                    </a:moveTo>
                    <a:lnTo>
                      <a:pt x="759" y="689"/>
                    </a:lnTo>
                    <a:lnTo>
                      <a:pt x="760" y="691"/>
                    </a:lnTo>
                    <a:lnTo>
                      <a:pt x="760" y="694"/>
                    </a:lnTo>
                    <a:lnTo>
                      <a:pt x="764" y="699"/>
                    </a:lnTo>
                    <a:lnTo>
                      <a:pt x="765" y="704"/>
                    </a:lnTo>
                    <a:lnTo>
                      <a:pt x="772" y="706"/>
                    </a:lnTo>
                    <a:lnTo>
                      <a:pt x="777" y="711"/>
                    </a:lnTo>
                    <a:lnTo>
                      <a:pt x="780" y="714"/>
                    </a:lnTo>
                    <a:lnTo>
                      <a:pt x="785" y="717"/>
                    </a:lnTo>
                    <a:lnTo>
                      <a:pt x="787" y="717"/>
                    </a:lnTo>
                    <a:lnTo>
                      <a:pt x="789" y="719"/>
                    </a:lnTo>
                    <a:lnTo>
                      <a:pt x="794" y="721"/>
                    </a:lnTo>
                    <a:lnTo>
                      <a:pt x="795" y="719"/>
                    </a:lnTo>
                    <a:lnTo>
                      <a:pt x="795" y="717"/>
                    </a:lnTo>
                    <a:lnTo>
                      <a:pt x="797" y="716"/>
                    </a:lnTo>
                    <a:lnTo>
                      <a:pt x="794" y="711"/>
                    </a:lnTo>
                    <a:lnTo>
                      <a:pt x="789" y="709"/>
                    </a:lnTo>
                    <a:lnTo>
                      <a:pt x="787" y="709"/>
                    </a:lnTo>
                    <a:lnTo>
                      <a:pt x="785" y="706"/>
                    </a:lnTo>
                    <a:lnTo>
                      <a:pt x="785" y="704"/>
                    </a:lnTo>
                    <a:lnTo>
                      <a:pt x="787" y="702"/>
                    </a:lnTo>
                    <a:lnTo>
                      <a:pt x="790" y="704"/>
                    </a:lnTo>
                    <a:lnTo>
                      <a:pt x="794" y="706"/>
                    </a:lnTo>
                    <a:lnTo>
                      <a:pt x="799" y="707"/>
                    </a:lnTo>
                    <a:lnTo>
                      <a:pt x="800" y="707"/>
                    </a:lnTo>
                    <a:lnTo>
                      <a:pt x="802" y="707"/>
                    </a:lnTo>
                    <a:lnTo>
                      <a:pt x="800" y="702"/>
                    </a:lnTo>
                    <a:lnTo>
                      <a:pt x="789" y="697"/>
                    </a:lnTo>
                    <a:lnTo>
                      <a:pt x="785" y="691"/>
                    </a:lnTo>
                    <a:lnTo>
                      <a:pt x="782" y="691"/>
                    </a:lnTo>
                    <a:lnTo>
                      <a:pt x="779" y="691"/>
                    </a:lnTo>
                    <a:lnTo>
                      <a:pt x="772" y="687"/>
                    </a:lnTo>
                    <a:lnTo>
                      <a:pt x="769" y="687"/>
                    </a:lnTo>
                    <a:lnTo>
                      <a:pt x="765" y="686"/>
                    </a:lnTo>
                    <a:lnTo>
                      <a:pt x="760" y="686"/>
                    </a:lnTo>
                    <a:lnTo>
                      <a:pt x="759" y="687"/>
                    </a:lnTo>
                    <a:lnTo>
                      <a:pt x="759" y="687"/>
                    </a:lnTo>
                    <a:close/>
                    <a:moveTo>
                      <a:pt x="749" y="689"/>
                    </a:moveTo>
                    <a:lnTo>
                      <a:pt x="750" y="687"/>
                    </a:lnTo>
                    <a:lnTo>
                      <a:pt x="750" y="686"/>
                    </a:lnTo>
                    <a:lnTo>
                      <a:pt x="752" y="682"/>
                    </a:lnTo>
                    <a:lnTo>
                      <a:pt x="745" y="684"/>
                    </a:lnTo>
                    <a:lnTo>
                      <a:pt x="745" y="687"/>
                    </a:lnTo>
                    <a:lnTo>
                      <a:pt x="749" y="689"/>
                    </a:lnTo>
                    <a:lnTo>
                      <a:pt x="749" y="689"/>
                    </a:lnTo>
                    <a:close/>
                    <a:moveTo>
                      <a:pt x="759" y="681"/>
                    </a:moveTo>
                    <a:lnTo>
                      <a:pt x="762" y="682"/>
                    </a:lnTo>
                    <a:lnTo>
                      <a:pt x="769" y="684"/>
                    </a:lnTo>
                    <a:lnTo>
                      <a:pt x="774" y="686"/>
                    </a:lnTo>
                    <a:lnTo>
                      <a:pt x="780" y="687"/>
                    </a:lnTo>
                    <a:lnTo>
                      <a:pt x="785" y="689"/>
                    </a:lnTo>
                    <a:lnTo>
                      <a:pt x="789" y="689"/>
                    </a:lnTo>
                    <a:lnTo>
                      <a:pt x="790" y="689"/>
                    </a:lnTo>
                    <a:lnTo>
                      <a:pt x="790" y="692"/>
                    </a:lnTo>
                    <a:lnTo>
                      <a:pt x="794" y="694"/>
                    </a:lnTo>
                    <a:lnTo>
                      <a:pt x="799" y="694"/>
                    </a:lnTo>
                    <a:lnTo>
                      <a:pt x="800" y="696"/>
                    </a:lnTo>
                    <a:lnTo>
                      <a:pt x="804" y="694"/>
                    </a:lnTo>
                    <a:lnTo>
                      <a:pt x="805" y="692"/>
                    </a:lnTo>
                    <a:lnTo>
                      <a:pt x="804" y="689"/>
                    </a:lnTo>
                    <a:lnTo>
                      <a:pt x="804" y="687"/>
                    </a:lnTo>
                    <a:lnTo>
                      <a:pt x="807" y="686"/>
                    </a:lnTo>
                    <a:lnTo>
                      <a:pt x="800" y="682"/>
                    </a:lnTo>
                    <a:lnTo>
                      <a:pt x="797" y="681"/>
                    </a:lnTo>
                    <a:lnTo>
                      <a:pt x="790" y="677"/>
                    </a:lnTo>
                    <a:lnTo>
                      <a:pt x="785" y="677"/>
                    </a:lnTo>
                    <a:lnTo>
                      <a:pt x="777" y="681"/>
                    </a:lnTo>
                    <a:lnTo>
                      <a:pt x="772" y="679"/>
                    </a:lnTo>
                    <a:lnTo>
                      <a:pt x="764" y="679"/>
                    </a:lnTo>
                    <a:lnTo>
                      <a:pt x="760" y="679"/>
                    </a:lnTo>
                    <a:lnTo>
                      <a:pt x="760" y="679"/>
                    </a:lnTo>
                    <a:lnTo>
                      <a:pt x="759" y="681"/>
                    </a:lnTo>
                    <a:lnTo>
                      <a:pt x="759" y="681"/>
                    </a:lnTo>
                    <a:close/>
                    <a:moveTo>
                      <a:pt x="739" y="666"/>
                    </a:moveTo>
                    <a:lnTo>
                      <a:pt x="742" y="669"/>
                    </a:lnTo>
                    <a:lnTo>
                      <a:pt x="749" y="669"/>
                    </a:lnTo>
                    <a:lnTo>
                      <a:pt x="754" y="674"/>
                    </a:lnTo>
                    <a:lnTo>
                      <a:pt x="760" y="677"/>
                    </a:lnTo>
                    <a:lnTo>
                      <a:pt x="770" y="676"/>
                    </a:lnTo>
                    <a:lnTo>
                      <a:pt x="784" y="677"/>
                    </a:lnTo>
                    <a:lnTo>
                      <a:pt x="790" y="676"/>
                    </a:lnTo>
                    <a:lnTo>
                      <a:pt x="790" y="674"/>
                    </a:lnTo>
                    <a:lnTo>
                      <a:pt x="785" y="672"/>
                    </a:lnTo>
                    <a:lnTo>
                      <a:pt x="774" y="672"/>
                    </a:lnTo>
                    <a:lnTo>
                      <a:pt x="769" y="671"/>
                    </a:lnTo>
                    <a:lnTo>
                      <a:pt x="762" y="669"/>
                    </a:lnTo>
                    <a:lnTo>
                      <a:pt x="757" y="668"/>
                    </a:lnTo>
                    <a:lnTo>
                      <a:pt x="755" y="666"/>
                    </a:lnTo>
                    <a:lnTo>
                      <a:pt x="757" y="664"/>
                    </a:lnTo>
                    <a:lnTo>
                      <a:pt x="760" y="664"/>
                    </a:lnTo>
                    <a:lnTo>
                      <a:pt x="767" y="669"/>
                    </a:lnTo>
                    <a:lnTo>
                      <a:pt x="777" y="671"/>
                    </a:lnTo>
                    <a:lnTo>
                      <a:pt x="779" y="669"/>
                    </a:lnTo>
                    <a:lnTo>
                      <a:pt x="777" y="668"/>
                    </a:lnTo>
                    <a:lnTo>
                      <a:pt x="767" y="661"/>
                    </a:lnTo>
                    <a:lnTo>
                      <a:pt x="752" y="658"/>
                    </a:lnTo>
                    <a:lnTo>
                      <a:pt x="749" y="659"/>
                    </a:lnTo>
                    <a:lnTo>
                      <a:pt x="749" y="663"/>
                    </a:lnTo>
                    <a:lnTo>
                      <a:pt x="742" y="664"/>
                    </a:lnTo>
                    <a:lnTo>
                      <a:pt x="739" y="666"/>
                    </a:lnTo>
                    <a:lnTo>
                      <a:pt x="739" y="666"/>
                    </a:lnTo>
                    <a:close/>
                    <a:moveTo>
                      <a:pt x="813" y="677"/>
                    </a:moveTo>
                    <a:lnTo>
                      <a:pt x="815" y="677"/>
                    </a:lnTo>
                    <a:lnTo>
                      <a:pt x="818" y="677"/>
                    </a:lnTo>
                    <a:lnTo>
                      <a:pt x="818" y="674"/>
                    </a:lnTo>
                    <a:lnTo>
                      <a:pt x="815" y="676"/>
                    </a:lnTo>
                    <a:lnTo>
                      <a:pt x="813" y="677"/>
                    </a:lnTo>
                    <a:lnTo>
                      <a:pt x="813" y="677"/>
                    </a:lnTo>
                    <a:close/>
                    <a:moveTo>
                      <a:pt x="818" y="611"/>
                    </a:moveTo>
                    <a:lnTo>
                      <a:pt x="813" y="618"/>
                    </a:lnTo>
                    <a:lnTo>
                      <a:pt x="813" y="621"/>
                    </a:lnTo>
                    <a:lnTo>
                      <a:pt x="817" y="623"/>
                    </a:lnTo>
                    <a:lnTo>
                      <a:pt x="820" y="624"/>
                    </a:lnTo>
                    <a:lnTo>
                      <a:pt x="825" y="628"/>
                    </a:lnTo>
                    <a:lnTo>
                      <a:pt x="828" y="628"/>
                    </a:lnTo>
                    <a:lnTo>
                      <a:pt x="833" y="629"/>
                    </a:lnTo>
                    <a:lnTo>
                      <a:pt x="838" y="626"/>
                    </a:lnTo>
                    <a:lnTo>
                      <a:pt x="838" y="623"/>
                    </a:lnTo>
                    <a:lnTo>
                      <a:pt x="840" y="619"/>
                    </a:lnTo>
                    <a:lnTo>
                      <a:pt x="840" y="614"/>
                    </a:lnTo>
                    <a:lnTo>
                      <a:pt x="830" y="609"/>
                    </a:lnTo>
                    <a:lnTo>
                      <a:pt x="823" y="611"/>
                    </a:lnTo>
                    <a:lnTo>
                      <a:pt x="818" y="611"/>
                    </a:lnTo>
                    <a:lnTo>
                      <a:pt x="818" y="611"/>
                    </a:lnTo>
                    <a:close/>
                    <a:moveTo>
                      <a:pt x="863" y="608"/>
                    </a:moveTo>
                    <a:lnTo>
                      <a:pt x="865" y="608"/>
                    </a:lnTo>
                    <a:lnTo>
                      <a:pt x="870" y="604"/>
                    </a:lnTo>
                    <a:lnTo>
                      <a:pt x="868" y="603"/>
                    </a:lnTo>
                    <a:lnTo>
                      <a:pt x="867" y="603"/>
                    </a:lnTo>
                    <a:lnTo>
                      <a:pt x="863" y="604"/>
                    </a:lnTo>
                    <a:lnTo>
                      <a:pt x="863" y="608"/>
                    </a:lnTo>
                    <a:lnTo>
                      <a:pt x="863" y="608"/>
                    </a:lnTo>
                    <a:close/>
                    <a:moveTo>
                      <a:pt x="843" y="583"/>
                    </a:moveTo>
                    <a:lnTo>
                      <a:pt x="842" y="586"/>
                    </a:lnTo>
                    <a:lnTo>
                      <a:pt x="842" y="591"/>
                    </a:lnTo>
                    <a:lnTo>
                      <a:pt x="843" y="594"/>
                    </a:lnTo>
                    <a:lnTo>
                      <a:pt x="847" y="598"/>
                    </a:lnTo>
                    <a:lnTo>
                      <a:pt x="848" y="596"/>
                    </a:lnTo>
                    <a:lnTo>
                      <a:pt x="850" y="593"/>
                    </a:lnTo>
                    <a:lnTo>
                      <a:pt x="852" y="591"/>
                    </a:lnTo>
                    <a:lnTo>
                      <a:pt x="850" y="586"/>
                    </a:lnTo>
                    <a:lnTo>
                      <a:pt x="847" y="584"/>
                    </a:lnTo>
                    <a:lnTo>
                      <a:pt x="843" y="583"/>
                    </a:lnTo>
                    <a:lnTo>
                      <a:pt x="843" y="583"/>
                    </a:lnTo>
                    <a:close/>
                    <a:moveTo>
                      <a:pt x="873" y="566"/>
                    </a:moveTo>
                    <a:lnTo>
                      <a:pt x="873" y="576"/>
                    </a:lnTo>
                    <a:lnTo>
                      <a:pt x="872" y="581"/>
                    </a:lnTo>
                    <a:lnTo>
                      <a:pt x="873" y="584"/>
                    </a:lnTo>
                    <a:lnTo>
                      <a:pt x="877" y="588"/>
                    </a:lnTo>
                    <a:lnTo>
                      <a:pt x="882" y="586"/>
                    </a:lnTo>
                    <a:lnTo>
                      <a:pt x="887" y="586"/>
                    </a:lnTo>
                    <a:lnTo>
                      <a:pt x="888" y="584"/>
                    </a:lnTo>
                    <a:lnTo>
                      <a:pt x="890" y="588"/>
                    </a:lnTo>
                    <a:lnTo>
                      <a:pt x="893" y="589"/>
                    </a:lnTo>
                    <a:lnTo>
                      <a:pt x="895" y="584"/>
                    </a:lnTo>
                    <a:lnTo>
                      <a:pt x="897" y="584"/>
                    </a:lnTo>
                    <a:lnTo>
                      <a:pt x="897" y="578"/>
                    </a:lnTo>
                    <a:lnTo>
                      <a:pt x="895" y="576"/>
                    </a:lnTo>
                    <a:lnTo>
                      <a:pt x="893" y="578"/>
                    </a:lnTo>
                    <a:lnTo>
                      <a:pt x="893" y="581"/>
                    </a:lnTo>
                    <a:lnTo>
                      <a:pt x="890" y="579"/>
                    </a:lnTo>
                    <a:lnTo>
                      <a:pt x="887" y="574"/>
                    </a:lnTo>
                    <a:lnTo>
                      <a:pt x="888" y="573"/>
                    </a:lnTo>
                    <a:lnTo>
                      <a:pt x="885" y="570"/>
                    </a:lnTo>
                    <a:lnTo>
                      <a:pt x="887" y="568"/>
                    </a:lnTo>
                    <a:lnTo>
                      <a:pt x="888" y="568"/>
                    </a:lnTo>
                    <a:lnTo>
                      <a:pt x="890" y="563"/>
                    </a:lnTo>
                    <a:lnTo>
                      <a:pt x="887" y="563"/>
                    </a:lnTo>
                    <a:lnTo>
                      <a:pt x="882" y="566"/>
                    </a:lnTo>
                    <a:lnTo>
                      <a:pt x="878" y="565"/>
                    </a:lnTo>
                    <a:lnTo>
                      <a:pt x="877" y="566"/>
                    </a:lnTo>
                    <a:lnTo>
                      <a:pt x="873" y="566"/>
                    </a:lnTo>
                    <a:lnTo>
                      <a:pt x="873" y="566"/>
                    </a:lnTo>
                    <a:close/>
                    <a:moveTo>
                      <a:pt x="878" y="496"/>
                    </a:moveTo>
                    <a:lnTo>
                      <a:pt x="875" y="500"/>
                    </a:lnTo>
                    <a:lnTo>
                      <a:pt x="875" y="501"/>
                    </a:lnTo>
                    <a:lnTo>
                      <a:pt x="878" y="503"/>
                    </a:lnTo>
                    <a:lnTo>
                      <a:pt x="878" y="506"/>
                    </a:lnTo>
                    <a:lnTo>
                      <a:pt x="877" y="508"/>
                    </a:lnTo>
                    <a:lnTo>
                      <a:pt x="877" y="513"/>
                    </a:lnTo>
                    <a:lnTo>
                      <a:pt x="880" y="518"/>
                    </a:lnTo>
                    <a:lnTo>
                      <a:pt x="880" y="526"/>
                    </a:lnTo>
                    <a:lnTo>
                      <a:pt x="878" y="530"/>
                    </a:lnTo>
                    <a:lnTo>
                      <a:pt x="878" y="535"/>
                    </a:lnTo>
                    <a:lnTo>
                      <a:pt x="880" y="536"/>
                    </a:lnTo>
                    <a:lnTo>
                      <a:pt x="882" y="535"/>
                    </a:lnTo>
                    <a:lnTo>
                      <a:pt x="883" y="528"/>
                    </a:lnTo>
                    <a:lnTo>
                      <a:pt x="885" y="526"/>
                    </a:lnTo>
                    <a:lnTo>
                      <a:pt x="885" y="520"/>
                    </a:lnTo>
                    <a:lnTo>
                      <a:pt x="882" y="516"/>
                    </a:lnTo>
                    <a:lnTo>
                      <a:pt x="880" y="508"/>
                    </a:lnTo>
                    <a:lnTo>
                      <a:pt x="882" y="503"/>
                    </a:lnTo>
                    <a:lnTo>
                      <a:pt x="882" y="500"/>
                    </a:lnTo>
                    <a:lnTo>
                      <a:pt x="878" y="496"/>
                    </a:lnTo>
                    <a:lnTo>
                      <a:pt x="878" y="496"/>
                    </a:lnTo>
                    <a:close/>
                    <a:moveTo>
                      <a:pt x="843" y="508"/>
                    </a:moveTo>
                    <a:lnTo>
                      <a:pt x="842" y="511"/>
                    </a:lnTo>
                    <a:lnTo>
                      <a:pt x="843" y="511"/>
                    </a:lnTo>
                    <a:lnTo>
                      <a:pt x="848" y="511"/>
                    </a:lnTo>
                    <a:lnTo>
                      <a:pt x="850" y="510"/>
                    </a:lnTo>
                    <a:lnTo>
                      <a:pt x="848" y="506"/>
                    </a:lnTo>
                    <a:lnTo>
                      <a:pt x="845" y="506"/>
                    </a:lnTo>
                    <a:lnTo>
                      <a:pt x="843" y="508"/>
                    </a:lnTo>
                    <a:lnTo>
                      <a:pt x="843" y="508"/>
                    </a:lnTo>
                    <a:close/>
                    <a:moveTo>
                      <a:pt x="837" y="500"/>
                    </a:moveTo>
                    <a:lnTo>
                      <a:pt x="838" y="503"/>
                    </a:lnTo>
                    <a:lnTo>
                      <a:pt x="842" y="503"/>
                    </a:lnTo>
                    <a:lnTo>
                      <a:pt x="840" y="500"/>
                    </a:lnTo>
                    <a:lnTo>
                      <a:pt x="838" y="500"/>
                    </a:lnTo>
                    <a:lnTo>
                      <a:pt x="837" y="500"/>
                    </a:lnTo>
                    <a:lnTo>
                      <a:pt x="837" y="500"/>
                    </a:lnTo>
                    <a:close/>
                    <a:moveTo>
                      <a:pt x="868" y="428"/>
                    </a:moveTo>
                    <a:lnTo>
                      <a:pt x="872" y="433"/>
                    </a:lnTo>
                    <a:lnTo>
                      <a:pt x="875" y="435"/>
                    </a:lnTo>
                    <a:lnTo>
                      <a:pt x="878" y="437"/>
                    </a:lnTo>
                    <a:lnTo>
                      <a:pt x="878" y="433"/>
                    </a:lnTo>
                    <a:lnTo>
                      <a:pt x="875" y="432"/>
                    </a:lnTo>
                    <a:lnTo>
                      <a:pt x="872" y="427"/>
                    </a:lnTo>
                    <a:lnTo>
                      <a:pt x="868" y="427"/>
                    </a:lnTo>
                    <a:lnTo>
                      <a:pt x="868" y="428"/>
                    </a:lnTo>
                    <a:lnTo>
                      <a:pt x="868" y="428"/>
                    </a:lnTo>
                    <a:close/>
                    <a:moveTo>
                      <a:pt x="898" y="445"/>
                    </a:moveTo>
                    <a:lnTo>
                      <a:pt x="898" y="445"/>
                    </a:lnTo>
                    <a:lnTo>
                      <a:pt x="900" y="448"/>
                    </a:lnTo>
                    <a:lnTo>
                      <a:pt x="903" y="448"/>
                    </a:lnTo>
                    <a:lnTo>
                      <a:pt x="905" y="445"/>
                    </a:lnTo>
                    <a:lnTo>
                      <a:pt x="903" y="443"/>
                    </a:lnTo>
                    <a:lnTo>
                      <a:pt x="905" y="438"/>
                    </a:lnTo>
                    <a:lnTo>
                      <a:pt x="907" y="437"/>
                    </a:lnTo>
                    <a:lnTo>
                      <a:pt x="907" y="432"/>
                    </a:lnTo>
                    <a:lnTo>
                      <a:pt x="902" y="437"/>
                    </a:lnTo>
                    <a:lnTo>
                      <a:pt x="902" y="442"/>
                    </a:lnTo>
                    <a:lnTo>
                      <a:pt x="898" y="445"/>
                    </a:lnTo>
                    <a:lnTo>
                      <a:pt x="898" y="445"/>
                    </a:lnTo>
                    <a:close/>
                    <a:moveTo>
                      <a:pt x="885" y="420"/>
                    </a:moveTo>
                    <a:lnTo>
                      <a:pt x="887" y="422"/>
                    </a:lnTo>
                    <a:lnTo>
                      <a:pt x="888" y="420"/>
                    </a:lnTo>
                    <a:lnTo>
                      <a:pt x="890" y="415"/>
                    </a:lnTo>
                    <a:lnTo>
                      <a:pt x="888" y="413"/>
                    </a:lnTo>
                    <a:lnTo>
                      <a:pt x="888" y="415"/>
                    </a:lnTo>
                    <a:lnTo>
                      <a:pt x="885" y="420"/>
                    </a:lnTo>
                    <a:lnTo>
                      <a:pt x="885" y="420"/>
                    </a:lnTo>
                    <a:close/>
                    <a:moveTo>
                      <a:pt x="888" y="405"/>
                    </a:moveTo>
                    <a:lnTo>
                      <a:pt x="887" y="407"/>
                    </a:lnTo>
                    <a:lnTo>
                      <a:pt x="888" y="407"/>
                    </a:lnTo>
                    <a:lnTo>
                      <a:pt x="890" y="407"/>
                    </a:lnTo>
                    <a:lnTo>
                      <a:pt x="890" y="405"/>
                    </a:lnTo>
                    <a:lnTo>
                      <a:pt x="888" y="405"/>
                    </a:lnTo>
                    <a:lnTo>
                      <a:pt x="888" y="405"/>
                    </a:lnTo>
                    <a:close/>
                    <a:moveTo>
                      <a:pt x="908" y="357"/>
                    </a:moveTo>
                    <a:lnTo>
                      <a:pt x="911" y="362"/>
                    </a:lnTo>
                    <a:lnTo>
                      <a:pt x="911" y="364"/>
                    </a:lnTo>
                    <a:lnTo>
                      <a:pt x="915" y="360"/>
                    </a:lnTo>
                    <a:lnTo>
                      <a:pt x="918" y="355"/>
                    </a:lnTo>
                    <a:lnTo>
                      <a:pt x="916" y="350"/>
                    </a:lnTo>
                    <a:lnTo>
                      <a:pt x="918" y="347"/>
                    </a:lnTo>
                    <a:lnTo>
                      <a:pt x="916" y="345"/>
                    </a:lnTo>
                    <a:lnTo>
                      <a:pt x="913" y="347"/>
                    </a:lnTo>
                    <a:lnTo>
                      <a:pt x="911" y="352"/>
                    </a:lnTo>
                    <a:lnTo>
                      <a:pt x="908" y="357"/>
                    </a:lnTo>
                    <a:lnTo>
                      <a:pt x="908" y="357"/>
                    </a:lnTo>
                    <a:close/>
                    <a:moveTo>
                      <a:pt x="895" y="294"/>
                    </a:moveTo>
                    <a:lnTo>
                      <a:pt x="897" y="294"/>
                    </a:lnTo>
                    <a:lnTo>
                      <a:pt x="898" y="292"/>
                    </a:lnTo>
                    <a:lnTo>
                      <a:pt x="905" y="292"/>
                    </a:lnTo>
                    <a:lnTo>
                      <a:pt x="908" y="289"/>
                    </a:lnTo>
                    <a:lnTo>
                      <a:pt x="908" y="284"/>
                    </a:lnTo>
                    <a:lnTo>
                      <a:pt x="905" y="280"/>
                    </a:lnTo>
                    <a:lnTo>
                      <a:pt x="897" y="284"/>
                    </a:lnTo>
                    <a:lnTo>
                      <a:pt x="895" y="289"/>
                    </a:lnTo>
                    <a:lnTo>
                      <a:pt x="895" y="294"/>
                    </a:lnTo>
                    <a:lnTo>
                      <a:pt x="895" y="294"/>
                    </a:lnTo>
                    <a:close/>
                    <a:moveTo>
                      <a:pt x="945" y="173"/>
                    </a:moveTo>
                    <a:lnTo>
                      <a:pt x="946" y="171"/>
                    </a:lnTo>
                    <a:lnTo>
                      <a:pt x="948" y="166"/>
                    </a:lnTo>
                    <a:lnTo>
                      <a:pt x="946" y="159"/>
                    </a:lnTo>
                    <a:lnTo>
                      <a:pt x="948" y="156"/>
                    </a:lnTo>
                    <a:lnTo>
                      <a:pt x="946" y="153"/>
                    </a:lnTo>
                    <a:lnTo>
                      <a:pt x="943" y="154"/>
                    </a:lnTo>
                    <a:lnTo>
                      <a:pt x="943" y="158"/>
                    </a:lnTo>
                    <a:lnTo>
                      <a:pt x="943" y="158"/>
                    </a:lnTo>
                    <a:lnTo>
                      <a:pt x="943" y="163"/>
                    </a:lnTo>
                    <a:lnTo>
                      <a:pt x="941" y="166"/>
                    </a:lnTo>
                    <a:lnTo>
                      <a:pt x="945" y="173"/>
                    </a:lnTo>
                    <a:lnTo>
                      <a:pt x="945" y="173"/>
                    </a:lnTo>
                    <a:close/>
                    <a:moveTo>
                      <a:pt x="930" y="186"/>
                    </a:moveTo>
                    <a:lnTo>
                      <a:pt x="930" y="186"/>
                    </a:lnTo>
                    <a:lnTo>
                      <a:pt x="931" y="187"/>
                    </a:lnTo>
                    <a:lnTo>
                      <a:pt x="933" y="184"/>
                    </a:lnTo>
                    <a:lnTo>
                      <a:pt x="933" y="176"/>
                    </a:lnTo>
                    <a:lnTo>
                      <a:pt x="931" y="174"/>
                    </a:lnTo>
                    <a:lnTo>
                      <a:pt x="928" y="178"/>
                    </a:lnTo>
                    <a:lnTo>
                      <a:pt x="928" y="181"/>
                    </a:lnTo>
                    <a:lnTo>
                      <a:pt x="930" y="186"/>
                    </a:lnTo>
                    <a:lnTo>
                      <a:pt x="930" y="186"/>
                    </a:lnTo>
                    <a:close/>
                    <a:moveTo>
                      <a:pt x="921" y="174"/>
                    </a:moveTo>
                    <a:lnTo>
                      <a:pt x="923" y="176"/>
                    </a:lnTo>
                    <a:lnTo>
                      <a:pt x="926" y="173"/>
                    </a:lnTo>
                    <a:lnTo>
                      <a:pt x="926" y="168"/>
                    </a:lnTo>
                    <a:lnTo>
                      <a:pt x="928" y="166"/>
                    </a:lnTo>
                    <a:lnTo>
                      <a:pt x="928" y="163"/>
                    </a:lnTo>
                    <a:lnTo>
                      <a:pt x="926" y="159"/>
                    </a:lnTo>
                    <a:lnTo>
                      <a:pt x="923" y="161"/>
                    </a:lnTo>
                    <a:lnTo>
                      <a:pt x="920" y="166"/>
                    </a:lnTo>
                    <a:lnTo>
                      <a:pt x="921" y="169"/>
                    </a:lnTo>
                    <a:lnTo>
                      <a:pt x="921" y="174"/>
                    </a:lnTo>
                    <a:lnTo>
                      <a:pt x="921" y="174"/>
                    </a:lnTo>
                    <a:close/>
                    <a:moveTo>
                      <a:pt x="667" y="13"/>
                    </a:moveTo>
                    <a:lnTo>
                      <a:pt x="669" y="13"/>
                    </a:lnTo>
                    <a:lnTo>
                      <a:pt x="671" y="11"/>
                    </a:lnTo>
                    <a:lnTo>
                      <a:pt x="671" y="8"/>
                    </a:lnTo>
                    <a:lnTo>
                      <a:pt x="669" y="5"/>
                    </a:lnTo>
                    <a:lnTo>
                      <a:pt x="667" y="5"/>
                    </a:lnTo>
                    <a:lnTo>
                      <a:pt x="666" y="10"/>
                    </a:lnTo>
                    <a:lnTo>
                      <a:pt x="667" y="13"/>
                    </a:lnTo>
                    <a:lnTo>
                      <a:pt x="667" y="13"/>
                    </a:lnTo>
                    <a:close/>
                    <a:moveTo>
                      <a:pt x="667" y="21"/>
                    </a:moveTo>
                    <a:lnTo>
                      <a:pt x="669" y="21"/>
                    </a:lnTo>
                    <a:lnTo>
                      <a:pt x="672" y="21"/>
                    </a:lnTo>
                    <a:lnTo>
                      <a:pt x="674" y="20"/>
                    </a:lnTo>
                    <a:lnTo>
                      <a:pt x="674" y="15"/>
                    </a:lnTo>
                    <a:lnTo>
                      <a:pt x="672" y="16"/>
                    </a:lnTo>
                    <a:lnTo>
                      <a:pt x="667" y="18"/>
                    </a:lnTo>
                    <a:lnTo>
                      <a:pt x="667" y="21"/>
                    </a:lnTo>
                    <a:lnTo>
                      <a:pt x="667" y="21"/>
                    </a:lnTo>
                    <a:close/>
                    <a:moveTo>
                      <a:pt x="647" y="21"/>
                    </a:moveTo>
                    <a:lnTo>
                      <a:pt x="651" y="26"/>
                    </a:lnTo>
                    <a:lnTo>
                      <a:pt x="652" y="30"/>
                    </a:lnTo>
                    <a:lnTo>
                      <a:pt x="656" y="28"/>
                    </a:lnTo>
                    <a:lnTo>
                      <a:pt x="657" y="26"/>
                    </a:lnTo>
                    <a:lnTo>
                      <a:pt x="661" y="25"/>
                    </a:lnTo>
                    <a:lnTo>
                      <a:pt x="654" y="20"/>
                    </a:lnTo>
                    <a:lnTo>
                      <a:pt x="652" y="16"/>
                    </a:lnTo>
                    <a:lnTo>
                      <a:pt x="651" y="13"/>
                    </a:lnTo>
                    <a:lnTo>
                      <a:pt x="649" y="15"/>
                    </a:lnTo>
                    <a:lnTo>
                      <a:pt x="647" y="18"/>
                    </a:lnTo>
                    <a:lnTo>
                      <a:pt x="646" y="18"/>
                    </a:lnTo>
                    <a:lnTo>
                      <a:pt x="647" y="21"/>
                    </a:lnTo>
                    <a:lnTo>
                      <a:pt x="647" y="21"/>
                    </a:lnTo>
                    <a:close/>
                    <a:moveTo>
                      <a:pt x="636" y="26"/>
                    </a:moveTo>
                    <a:lnTo>
                      <a:pt x="636" y="28"/>
                    </a:lnTo>
                    <a:lnTo>
                      <a:pt x="637" y="30"/>
                    </a:lnTo>
                    <a:lnTo>
                      <a:pt x="639" y="28"/>
                    </a:lnTo>
                    <a:lnTo>
                      <a:pt x="639" y="26"/>
                    </a:lnTo>
                    <a:lnTo>
                      <a:pt x="636" y="25"/>
                    </a:lnTo>
                    <a:lnTo>
                      <a:pt x="636" y="26"/>
                    </a:lnTo>
                    <a:lnTo>
                      <a:pt x="636" y="26"/>
                    </a:lnTo>
                    <a:close/>
                    <a:moveTo>
                      <a:pt x="563" y="43"/>
                    </a:moveTo>
                    <a:lnTo>
                      <a:pt x="564" y="46"/>
                    </a:lnTo>
                    <a:lnTo>
                      <a:pt x="568" y="48"/>
                    </a:lnTo>
                    <a:lnTo>
                      <a:pt x="574" y="55"/>
                    </a:lnTo>
                    <a:lnTo>
                      <a:pt x="578" y="55"/>
                    </a:lnTo>
                    <a:lnTo>
                      <a:pt x="579" y="50"/>
                    </a:lnTo>
                    <a:lnTo>
                      <a:pt x="579" y="45"/>
                    </a:lnTo>
                    <a:lnTo>
                      <a:pt x="581" y="45"/>
                    </a:lnTo>
                    <a:lnTo>
                      <a:pt x="581" y="41"/>
                    </a:lnTo>
                    <a:lnTo>
                      <a:pt x="578" y="41"/>
                    </a:lnTo>
                    <a:lnTo>
                      <a:pt x="573" y="35"/>
                    </a:lnTo>
                    <a:lnTo>
                      <a:pt x="569" y="35"/>
                    </a:lnTo>
                    <a:lnTo>
                      <a:pt x="568" y="36"/>
                    </a:lnTo>
                    <a:lnTo>
                      <a:pt x="569" y="41"/>
                    </a:lnTo>
                    <a:lnTo>
                      <a:pt x="569" y="43"/>
                    </a:lnTo>
                    <a:lnTo>
                      <a:pt x="568" y="45"/>
                    </a:lnTo>
                    <a:lnTo>
                      <a:pt x="566" y="43"/>
                    </a:lnTo>
                    <a:lnTo>
                      <a:pt x="563" y="43"/>
                    </a:lnTo>
                    <a:lnTo>
                      <a:pt x="563" y="43"/>
                    </a:lnTo>
                    <a:close/>
                    <a:moveTo>
                      <a:pt x="558" y="46"/>
                    </a:moveTo>
                    <a:lnTo>
                      <a:pt x="561" y="53"/>
                    </a:lnTo>
                    <a:lnTo>
                      <a:pt x="563" y="53"/>
                    </a:lnTo>
                    <a:lnTo>
                      <a:pt x="563" y="48"/>
                    </a:lnTo>
                    <a:lnTo>
                      <a:pt x="559" y="45"/>
                    </a:lnTo>
                    <a:lnTo>
                      <a:pt x="558" y="46"/>
                    </a:lnTo>
                    <a:lnTo>
                      <a:pt x="558" y="46"/>
                    </a:lnTo>
                    <a:close/>
                    <a:moveTo>
                      <a:pt x="534" y="45"/>
                    </a:moveTo>
                    <a:lnTo>
                      <a:pt x="534" y="48"/>
                    </a:lnTo>
                    <a:lnTo>
                      <a:pt x="541" y="50"/>
                    </a:lnTo>
                    <a:lnTo>
                      <a:pt x="543" y="51"/>
                    </a:lnTo>
                    <a:lnTo>
                      <a:pt x="546" y="51"/>
                    </a:lnTo>
                    <a:lnTo>
                      <a:pt x="546" y="50"/>
                    </a:lnTo>
                    <a:lnTo>
                      <a:pt x="544" y="46"/>
                    </a:lnTo>
                    <a:lnTo>
                      <a:pt x="541" y="46"/>
                    </a:lnTo>
                    <a:lnTo>
                      <a:pt x="541" y="43"/>
                    </a:lnTo>
                    <a:lnTo>
                      <a:pt x="538" y="41"/>
                    </a:lnTo>
                    <a:lnTo>
                      <a:pt x="534" y="43"/>
                    </a:lnTo>
                    <a:lnTo>
                      <a:pt x="534" y="45"/>
                    </a:lnTo>
                    <a:lnTo>
                      <a:pt x="534" y="45"/>
                    </a:lnTo>
                    <a:close/>
                    <a:moveTo>
                      <a:pt x="519" y="86"/>
                    </a:moveTo>
                    <a:lnTo>
                      <a:pt x="523" y="88"/>
                    </a:lnTo>
                    <a:lnTo>
                      <a:pt x="524" y="86"/>
                    </a:lnTo>
                    <a:lnTo>
                      <a:pt x="526" y="83"/>
                    </a:lnTo>
                    <a:lnTo>
                      <a:pt x="523" y="80"/>
                    </a:lnTo>
                    <a:lnTo>
                      <a:pt x="521" y="75"/>
                    </a:lnTo>
                    <a:lnTo>
                      <a:pt x="518" y="71"/>
                    </a:lnTo>
                    <a:lnTo>
                      <a:pt x="516" y="71"/>
                    </a:lnTo>
                    <a:lnTo>
                      <a:pt x="514" y="75"/>
                    </a:lnTo>
                    <a:lnTo>
                      <a:pt x="518" y="78"/>
                    </a:lnTo>
                    <a:lnTo>
                      <a:pt x="518" y="84"/>
                    </a:lnTo>
                    <a:lnTo>
                      <a:pt x="519" y="86"/>
                    </a:lnTo>
                    <a:lnTo>
                      <a:pt x="519" y="86"/>
                    </a:lnTo>
                    <a:close/>
                    <a:moveTo>
                      <a:pt x="526" y="128"/>
                    </a:moveTo>
                    <a:lnTo>
                      <a:pt x="533" y="128"/>
                    </a:lnTo>
                    <a:lnTo>
                      <a:pt x="534" y="126"/>
                    </a:lnTo>
                    <a:lnTo>
                      <a:pt x="534" y="121"/>
                    </a:lnTo>
                    <a:lnTo>
                      <a:pt x="531" y="119"/>
                    </a:lnTo>
                    <a:lnTo>
                      <a:pt x="531" y="116"/>
                    </a:lnTo>
                    <a:lnTo>
                      <a:pt x="528" y="114"/>
                    </a:lnTo>
                    <a:lnTo>
                      <a:pt x="524" y="116"/>
                    </a:lnTo>
                    <a:lnTo>
                      <a:pt x="521" y="119"/>
                    </a:lnTo>
                    <a:lnTo>
                      <a:pt x="523" y="123"/>
                    </a:lnTo>
                    <a:lnTo>
                      <a:pt x="524" y="128"/>
                    </a:lnTo>
                    <a:lnTo>
                      <a:pt x="526" y="128"/>
                    </a:lnTo>
                    <a:lnTo>
                      <a:pt x="526" y="128"/>
                    </a:lnTo>
                    <a:close/>
                    <a:moveTo>
                      <a:pt x="526" y="133"/>
                    </a:moveTo>
                    <a:lnTo>
                      <a:pt x="526" y="138"/>
                    </a:lnTo>
                    <a:lnTo>
                      <a:pt x="526" y="139"/>
                    </a:lnTo>
                    <a:lnTo>
                      <a:pt x="526" y="144"/>
                    </a:lnTo>
                    <a:lnTo>
                      <a:pt x="533" y="149"/>
                    </a:lnTo>
                    <a:lnTo>
                      <a:pt x="536" y="146"/>
                    </a:lnTo>
                    <a:lnTo>
                      <a:pt x="536" y="136"/>
                    </a:lnTo>
                    <a:lnTo>
                      <a:pt x="533" y="133"/>
                    </a:lnTo>
                    <a:lnTo>
                      <a:pt x="529" y="133"/>
                    </a:lnTo>
                    <a:lnTo>
                      <a:pt x="526" y="133"/>
                    </a:lnTo>
                    <a:lnTo>
                      <a:pt x="526" y="133"/>
                    </a:lnTo>
                    <a:close/>
                    <a:moveTo>
                      <a:pt x="460" y="91"/>
                    </a:moveTo>
                    <a:lnTo>
                      <a:pt x="460" y="89"/>
                    </a:lnTo>
                    <a:lnTo>
                      <a:pt x="460" y="88"/>
                    </a:lnTo>
                    <a:lnTo>
                      <a:pt x="460" y="84"/>
                    </a:lnTo>
                    <a:lnTo>
                      <a:pt x="458" y="83"/>
                    </a:lnTo>
                    <a:lnTo>
                      <a:pt x="456" y="84"/>
                    </a:lnTo>
                    <a:lnTo>
                      <a:pt x="456" y="88"/>
                    </a:lnTo>
                    <a:lnTo>
                      <a:pt x="460" y="91"/>
                    </a:lnTo>
                    <a:lnTo>
                      <a:pt x="460" y="91"/>
                    </a:lnTo>
                    <a:close/>
                    <a:moveTo>
                      <a:pt x="450" y="118"/>
                    </a:moveTo>
                    <a:lnTo>
                      <a:pt x="451" y="119"/>
                    </a:lnTo>
                    <a:lnTo>
                      <a:pt x="453" y="116"/>
                    </a:lnTo>
                    <a:lnTo>
                      <a:pt x="453" y="109"/>
                    </a:lnTo>
                    <a:lnTo>
                      <a:pt x="446" y="104"/>
                    </a:lnTo>
                    <a:lnTo>
                      <a:pt x="446" y="98"/>
                    </a:lnTo>
                    <a:lnTo>
                      <a:pt x="450" y="91"/>
                    </a:lnTo>
                    <a:lnTo>
                      <a:pt x="450" y="84"/>
                    </a:lnTo>
                    <a:lnTo>
                      <a:pt x="446" y="81"/>
                    </a:lnTo>
                    <a:lnTo>
                      <a:pt x="446" y="75"/>
                    </a:lnTo>
                    <a:lnTo>
                      <a:pt x="446" y="71"/>
                    </a:lnTo>
                    <a:lnTo>
                      <a:pt x="441" y="75"/>
                    </a:lnTo>
                    <a:lnTo>
                      <a:pt x="441" y="86"/>
                    </a:lnTo>
                    <a:lnTo>
                      <a:pt x="438" y="89"/>
                    </a:lnTo>
                    <a:lnTo>
                      <a:pt x="438" y="96"/>
                    </a:lnTo>
                    <a:lnTo>
                      <a:pt x="443" y="104"/>
                    </a:lnTo>
                    <a:lnTo>
                      <a:pt x="445" y="111"/>
                    </a:lnTo>
                    <a:lnTo>
                      <a:pt x="450" y="118"/>
                    </a:lnTo>
                    <a:lnTo>
                      <a:pt x="450" y="118"/>
                    </a:lnTo>
                    <a:close/>
                    <a:moveTo>
                      <a:pt x="187" y="154"/>
                    </a:moveTo>
                    <a:lnTo>
                      <a:pt x="191" y="156"/>
                    </a:lnTo>
                    <a:lnTo>
                      <a:pt x="191" y="159"/>
                    </a:lnTo>
                    <a:lnTo>
                      <a:pt x="194" y="161"/>
                    </a:lnTo>
                    <a:lnTo>
                      <a:pt x="196" y="156"/>
                    </a:lnTo>
                    <a:lnTo>
                      <a:pt x="192" y="154"/>
                    </a:lnTo>
                    <a:lnTo>
                      <a:pt x="187" y="154"/>
                    </a:lnTo>
                    <a:lnTo>
                      <a:pt x="187" y="154"/>
                    </a:lnTo>
                    <a:close/>
                    <a:moveTo>
                      <a:pt x="23" y="345"/>
                    </a:moveTo>
                    <a:lnTo>
                      <a:pt x="24" y="349"/>
                    </a:lnTo>
                    <a:lnTo>
                      <a:pt x="33" y="349"/>
                    </a:lnTo>
                    <a:lnTo>
                      <a:pt x="36" y="350"/>
                    </a:lnTo>
                    <a:lnTo>
                      <a:pt x="39" y="350"/>
                    </a:lnTo>
                    <a:lnTo>
                      <a:pt x="38" y="347"/>
                    </a:lnTo>
                    <a:lnTo>
                      <a:pt x="34" y="347"/>
                    </a:lnTo>
                    <a:lnTo>
                      <a:pt x="31" y="344"/>
                    </a:lnTo>
                    <a:lnTo>
                      <a:pt x="26" y="344"/>
                    </a:lnTo>
                    <a:lnTo>
                      <a:pt x="23" y="344"/>
                    </a:lnTo>
                    <a:lnTo>
                      <a:pt x="23" y="345"/>
                    </a:lnTo>
                    <a:lnTo>
                      <a:pt x="23" y="345"/>
                    </a:lnTo>
                    <a:close/>
                    <a:moveTo>
                      <a:pt x="0" y="345"/>
                    </a:moveTo>
                    <a:lnTo>
                      <a:pt x="3" y="350"/>
                    </a:lnTo>
                    <a:lnTo>
                      <a:pt x="10" y="350"/>
                    </a:lnTo>
                    <a:lnTo>
                      <a:pt x="13" y="354"/>
                    </a:lnTo>
                    <a:lnTo>
                      <a:pt x="19" y="350"/>
                    </a:lnTo>
                    <a:lnTo>
                      <a:pt x="13" y="345"/>
                    </a:lnTo>
                    <a:lnTo>
                      <a:pt x="6" y="344"/>
                    </a:lnTo>
                    <a:lnTo>
                      <a:pt x="1" y="344"/>
                    </a:lnTo>
                    <a:lnTo>
                      <a:pt x="0" y="345"/>
                    </a:lnTo>
                    <a:lnTo>
                      <a:pt x="0" y="345"/>
                    </a:lnTo>
                    <a:close/>
                    <a:moveTo>
                      <a:pt x="184" y="528"/>
                    </a:moveTo>
                    <a:lnTo>
                      <a:pt x="184" y="530"/>
                    </a:lnTo>
                    <a:lnTo>
                      <a:pt x="186" y="531"/>
                    </a:lnTo>
                    <a:lnTo>
                      <a:pt x="187" y="528"/>
                    </a:lnTo>
                    <a:lnTo>
                      <a:pt x="186" y="526"/>
                    </a:lnTo>
                    <a:lnTo>
                      <a:pt x="184" y="528"/>
                    </a:lnTo>
                    <a:lnTo>
                      <a:pt x="184" y="528"/>
                    </a:lnTo>
                    <a:close/>
                    <a:moveTo>
                      <a:pt x="186" y="546"/>
                    </a:moveTo>
                    <a:lnTo>
                      <a:pt x="189" y="546"/>
                    </a:lnTo>
                    <a:lnTo>
                      <a:pt x="191" y="548"/>
                    </a:lnTo>
                    <a:lnTo>
                      <a:pt x="199" y="548"/>
                    </a:lnTo>
                    <a:lnTo>
                      <a:pt x="202" y="550"/>
                    </a:lnTo>
                    <a:lnTo>
                      <a:pt x="204" y="551"/>
                    </a:lnTo>
                    <a:lnTo>
                      <a:pt x="206" y="548"/>
                    </a:lnTo>
                    <a:lnTo>
                      <a:pt x="202" y="545"/>
                    </a:lnTo>
                    <a:lnTo>
                      <a:pt x="196" y="543"/>
                    </a:lnTo>
                    <a:lnTo>
                      <a:pt x="194" y="545"/>
                    </a:lnTo>
                    <a:lnTo>
                      <a:pt x="189" y="543"/>
                    </a:lnTo>
                    <a:lnTo>
                      <a:pt x="186" y="543"/>
                    </a:lnTo>
                    <a:lnTo>
                      <a:pt x="184" y="545"/>
                    </a:lnTo>
                    <a:lnTo>
                      <a:pt x="186" y="546"/>
                    </a:lnTo>
                    <a:lnTo>
                      <a:pt x="186" y="546"/>
                    </a:lnTo>
                    <a:close/>
                    <a:moveTo>
                      <a:pt x="191" y="553"/>
                    </a:moveTo>
                    <a:lnTo>
                      <a:pt x="192" y="555"/>
                    </a:lnTo>
                    <a:lnTo>
                      <a:pt x="194" y="555"/>
                    </a:lnTo>
                    <a:lnTo>
                      <a:pt x="194" y="553"/>
                    </a:lnTo>
                    <a:lnTo>
                      <a:pt x="191" y="553"/>
                    </a:lnTo>
                    <a:lnTo>
                      <a:pt x="191" y="553"/>
                    </a:lnTo>
                    <a:close/>
                    <a:moveTo>
                      <a:pt x="192" y="581"/>
                    </a:moveTo>
                    <a:lnTo>
                      <a:pt x="194" y="583"/>
                    </a:lnTo>
                    <a:lnTo>
                      <a:pt x="197" y="583"/>
                    </a:lnTo>
                    <a:lnTo>
                      <a:pt x="199" y="586"/>
                    </a:lnTo>
                    <a:lnTo>
                      <a:pt x="202" y="584"/>
                    </a:lnTo>
                    <a:lnTo>
                      <a:pt x="201" y="581"/>
                    </a:lnTo>
                    <a:lnTo>
                      <a:pt x="196" y="579"/>
                    </a:lnTo>
                    <a:lnTo>
                      <a:pt x="194" y="579"/>
                    </a:lnTo>
                    <a:lnTo>
                      <a:pt x="192" y="581"/>
                    </a:lnTo>
                    <a:lnTo>
                      <a:pt x="192" y="581"/>
                    </a:lnTo>
                    <a:close/>
                    <a:moveTo>
                      <a:pt x="187" y="591"/>
                    </a:moveTo>
                    <a:lnTo>
                      <a:pt x="189" y="593"/>
                    </a:lnTo>
                    <a:lnTo>
                      <a:pt x="192" y="594"/>
                    </a:lnTo>
                    <a:lnTo>
                      <a:pt x="196" y="591"/>
                    </a:lnTo>
                    <a:lnTo>
                      <a:pt x="191" y="591"/>
                    </a:lnTo>
                    <a:lnTo>
                      <a:pt x="189" y="589"/>
                    </a:lnTo>
                    <a:lnTo>
                      <a:pt x="187" y="591"/>
                    </a:lnTo>
                    <a:lnTo>
                      <a:pt x="187" y="591"/>
                    </a:lnTo>
                    <a:close/>
                    <a:moveTo>
                      <a:pt x="194" y="609"/>
                    </a:moveTo>
                    <a:lnTo>
                      <a:pt x="196" y="609"/>
                    </a:lnTo>
                    <a:lnTo>
                      <a:pt x="197" y="608"/>
                    </a:lnTo>
                    <a:lnTo>
                      <a:pt x="196" y="604"/>
                    </a:lnTo>
                    <a:lnTo>
                      <a:pt x="194" y="603"/>
                    </a:lnTo>
                    <a:lnTo>
                      <a:pt x="194" y="604"/>
                    </a:lnTo>
                    <a:lnTo>
                      <a:pt x="194" y="609"/>
                    </a:lnTo>
                    <a:lnTo>
                      <a:pt x="194" y="609"/>
                    </a:lnTo>
                    <a:close/>
                    <a:moveTo>
                      <a:pt x="201" y="613"/>
                    </a:moveTo>
                    <a:lnTo>
                      <a:pt x="201" y="614"/>
                    </a:lnTo>
                    <a:lnTo>
                      <a:pt x="202" y="614"/>
                    </a:lnTo>
                    <a:lnTo>
                      <a:pt x="202" y="613"/>
                    </a:lnTo>
                    <a:lnTo>
                      <a:pt x="201" y="613"/>
                    </a:lnTo>
                    <a:lnTo>
                      <a:pt x="201" y="613"/>
                    </a:lnTo>
                    <a:close/>
                    <a:moveTo>
                      <a:pt x="187" y="616"/>
                    </a:moveTo>
                    <a:lnTo>
                      <a:pt x="189" y="614"/>
                    </a:lnTo>
                    <a:lnTo>
                      <a:pt x="187" y="613"/>
                    </a:lnTo>
                    <a:lnTo>
                      <a:pt x="186" y="614"/>
                    </a:lnTo>
                    <a:lnTo>
                      <a:pt x="187" y="616"/>
                    </a:lnTo>
                    <a:lnTo>
                      <a:pt x="187" y="616"/>
                    </a:lnTo>
                    <a:close/>
                    <a:moveTo>
                      <a:pt x="192" y="614"/>
                    </a:moveTo>
                    <a:lnTo>
                      <a:pt x="194" y="616"/>
                    </a:lnTo>
                    <a:lnTo>
                      <a:pt x="196" y="614"/>
                    </a:lnTo>
                    <a:lnTo>
                      <a:pt x="194" y="613"/>
                    </a:lnTo>
                    <a:lnTo>
                      <a:pt x="192" y="614"/>
                    </a:lnTo>
                    <a:lnTo>
                      <a:pt x="192" y="614"/>
                    </a:lnTo>
                    <a:close/>
                    <a:moveTo>
                      <a:pt x="191" y="621"/>
                    </a:moveTo>
                    <a:lnTo>
                      <a:pt x="194" y="619"/>
                    </a:lnTo>
                    <a:lnTo>
                      <a:pt x="194" y="618"/>
                    </a:lnTo>
                    <a:lnTo>
                      <a:pt x="192" y="618"/>
                    </a:lnTo>
                    <a:lnTo>
                      <a:pt x="191" y="621"/>
                    </a:lnTo>
                    <a:lnTo>
                      <a:pt x="191" y="621"/>
                    </a:lnTo>
                    <a:close/>
                    <a:moveTo>
                      <a:pt x="194" y="628"/>
                    </a:moveTo>
                    <a:lnTo>
                      <a:pt x="196" y="626"/>
                    </a:lnTo>
                    <a:lnTo>
                      <a:pt x="192" y="626"/>
                    </a:lnTo>
                    <a:lnTo>
                      <a:pt x="191" y="626"/>
                    </a:lnTo>
                    <a:lnTo>
                      <a:pt x="191" y="628"/>
                    </a:lnTo>
                    <a:lnTo>
                      <a:pt x="194" y="628"/>
                    </a:lnTo>
                    <a:lnTo>
                      <a:pt x="194" y="628"/>
                    </a:lnTo>
                    <a:close/>
                    <a:moveTo>
                      <a:pt x="197" y="631"/>
                    </a:moveTo>
                    <a:lnTo>
                      <a:pt x="201" y="631"/>
                    </a:lnTo>
                    <a:lnTo>
                      <a:pt x="201" y="629"/>
                    </a:lnTo>
                    <a:lnTo>
                      <a:pt x="199" y="628"/>
                    </a:lnTo>
                    <a:lnTo>
                      <a:pt x="196" y="631"/>
                    </a:lnTo>
                    <a:lnTo>
                      <a:pt x="196" y="631"/>
                    </a:lnTo>
                    <a:lnTo>
                      <a:pt x="197" y="631"/>
                    </a:lnTo>
                    <a:lnTo>
                      <a:pt x="197" y="631"/>
                    </a:lnTo>
                    <a:close/>
                    <a:moveTo>
                      <a:pt x="182" y="643"/>
                    </a:moveTo>
                    <a:lnTo>
                      <a:pt x="187" y="641"/>
                    </a:lnTo>
                    <a:lnTo>
                      <a:pt x="187" y="641"/>
                    </a:lnTo>
                    <a:lnTo>
                      <a:pt x="187" y="639"/>
                    </a:lnTo>
                    <a:lnTo>
                      <a:pt x="182" y="639"/>
                    </a:lnTo>
                    <a:lnTo>
                      <a:pt x="181" y="641"/>
                    </a:lnTo>
                    <a:lnTo>
                      <a:pt x="182" y="643"/>
                    </a:lnTo>
                    <a:lnTo>
                      <a:pt x="182" y="643"/>
                    </a:lnTo>
                    <a:close/>
                    <a:moveTo>
                      <a:pt x="191" y="649"/>
                    </a:moveTo>
                    <a:lnTo>
                      <a:pt x="199" y="644"/>
                    </a:lnTo>
                    <a:lnTo>
                      <a:pt x="202" y="641"/>
                    </a:lnTo>
                    <a:lnTo>
                      <a:pt x="202" y="638"/>
                    </a:lnTo>
                    <a:lnTo>
                      <a:pt x="199" y="638"/>
                    </a:lnTo>
                    <a:lnTo>
                      <a:pt x="194" y="641"/>
                    </a:lnTo>
                    <a:lnTo>
                      <a:pt x="191" y="643"/>
                    </a:lnTo>
                    <a:lnTo>
                      <a:pt x="189" y="644"/>
                    </a:lnTo>
                    <a:lnTo>
                      <a:pt x="187" y="646"/>
                    </a:lnTo>
                    <a:lnTo>
                      <a:pt x="187" y="648"/>
                    </a:lnTo>
                    <a:lnTo>
                      <a:pt x="187" y="651"/>
                    </a:lnTo>
                    <a:lnTo>
                      <a:pt x="189" y="651"/>
                    </a:lnTo>
                    <a:lnTo>
                      <a:pt x="191" y="649"/>
                    </a:lnTo>
                    <a:lnTo>
                      <a:pt x="191" y="649"/>
                    </a:lnTo>
                    <a:close/>
                    <a:moveTo>
                      <a:pt x="199" y="648"/>
                    </a:moveTo>
                    <a:lnTo>
                      <a:pt x="199" y="648"/>
                    </a:lnTo>
                    <a:lnTo>
                      <a:pt x="202" y="648"/>
                    </a:lnTo>
                    <a:lnTo>
                      <a:pt x="202" y="646"/>
                    </a:lnTo>
                    <a:lnTo>
                      <a:pt x="199" y="648"/>
                    </a:lnTo>
                    <a:lnTo>
                      <a:pt x="199" y="648"/>
                    </a:lnTo>
                    <a:close/>
                    <a:moveTo>
                      <a:pt x="196" y="653"/>
                    </a:moveTo>
                    <a:lnTo>
                      <a:pt x="197" y="653"/>
                    </a:lnTo>
                    <a:lnTo>
                      <a:pt x="197" y="651"/>
                    </a:lnTo>
                    <a:lnTo>
                      <a:pt x="196" y="651"/>
                    </a:lnTo>
                    <a:lnTo>
                      <a:pt x="196" y="653"/>
                    </a:lnTo>
                    <a:lnTo>
                      <a:pt x="196" y="653"/>
                    </a:lnTo>
                    <a:close/>
                    <a:moveTo>
                      <a:pt x="189" y="654"/>
                    </a:moveTo>
                    <a:lnTo>
                      <a:pt x="191" y="653"/>
                    </a:lnTo>
                    <a:lnTo>
                      <a:pt x="189" y="651"/>
                    </a:lnTo>
                    <a:lnTo>
                      <a:pt x="187" y="653"/>
                    </a:lnTo>
                    <a:lnTo>
                      <a:pt x="187" y="654"/>
                    </a:lnTo>
                    <a:lnTo>
                      <a:pt x="189" y="654"/>
                    </a:lnTo>
                    <a:lnTo>
                      <a:pt x="189" y="654"/>
                    </a:lnTo>
                    <a:close/>
                    <a:moveTo>
                      <a:pt x="181" y="669"/>
                    </a:moveTo>
                    <a:lnTo>
                      <a:pt x="181" y="672"/>
                    </a:lnTo>
                    <a:lnTo>
                      <a:pt x="184" y="672"/>
                    </a:lnTo>
                    <a:lnTo>
                      <a:pt x="187" y="669"/>
                    </a:lnTo>
                    <a:lnTo>
                      <a:pt x="192" y="668"/>
                    </a:lnTo>
                    <a:lnTo>
                      <a:pt x="192" y="666"/>
                    </a:lnTo>
                    <a:lnTo>
                      <a:pt x="191" y="664"/>
                    </a:lnTo>
                    <a:lnTo>
                      <a:pt x="189" y="666"/>
                    </a:lnTo>
                    <a:lnTo>
                      <a:pt x="184" y="666"/>
                    </a:lnTo>
                    <a:lnTo>
                      <a:pt x="182" y="669"/>
                    </a:lnTo>
                    <a:lnTo>
                      <a:pt x="182" y="669"/>
                    </a:lnTo>
                    <a:lnTo>
                      <a:pt x="181" y="669"/>
                    </a:lnTo>
                    <a:lnTo>
                      <a:pt x="181" y="669"/>
                    </a:lnTo>
                    <a:close/>
                    <a:moveTo>
                      <a:pt x="177" y="682"/>
                    </a:moveTo>
                    <a:lnTo>
                      <a:pt x="177" y="686"/>
                    </a:lnTo>
                    <a:lnTo>
                      <a:pt x="181" y="687"/>
                    </a:lnTo>
                    <a:lnTo>
                      <a:pt x="182" y="684"/>
                    </a:lnTo>
                    <a:lnTo>
                      <a:pt x="179" y="682"/>
                    </a:lnTo>
                    <a:lnTo>
                      <a:pt x="177" y="682"/>
                    </a:lnTo>
                    <a:lnTo>
                      <a:pt x="177" y="682"/>
                    </a:lnTo>
                    <a:close/>
                    <a:moveTo>
                      <a:pt x="284" y="1189"/>
                    </a:moveTo>
                    <a:lnTo>
                      <a:pt x="287" y="1186"/>
                    </a:lnTo>
                    <a:lnTo>
                      <a:pt x="290" y="1184"/>
                    </a:lnTo>
                    <a:lnTo>
                      <a:pt x="292" y="1186"/>
                    </a:lnTo>
                    <a:lnTo>
                      <a:pt x="290" y="1187"/>
                    </a:lnTo>
                    <a:lnTo>
                      <a:pt x="287" y="1189"/>
                    </a:lnTo>
                    <a:lnTo>
                      <a:pt x="285" y="1189"/>
                    </a:lnTo>
                    <a:lnTo>
                      <a:pt x="284" y="1189"/>
                    </a:lnTo>
                    <a:lnTo>
                      <a:pt x="284" y="1189"/>
                    </a:lnTo>
                    <a:close/>
                    <a:moveTo>
                      <a:pt x="257" y="1174"/>
                    </a:moveTo>
                    <a:lnTo>
                      <a:pt x="259" y="1174"/>
                    </a:lnTo>
                    <a:lnTo>
                      <a:pt x="260" y="1172"/>
                    </a:lnTo>
                    <a:lnTo>
                      <a:pt x="262" y="1171"/>
                    </a:lnTo>
                    <a:lnTo>
                      <a:pt x="262" y="1167"/>
                    </a:lnTo>
                    <a:lnTo>
                      <a:pt x="260" y="1167"/>
                    </a:lnTo>
                    <a:lnTo>
                      <a:pt x="259" y="1169"/>
                    </a:lnTo>
                    <a:lnTo>
                      <a:pt x="257" y="1171"/>
                    </a:lnTo>
                    <a:lnTo>
                      <a:pt x="257" y="1174"/>
                    </a:lnTo>
                    <a:lnTo>
                      <a:pt x="257" y="1174"/>
                    </a:lnTo>
                    <a:close/>
                    <a:moveTo>
                      <a:pt x="239" y="1146"/>
                    </a:moveTo>
                    <a:lnTo>
                      <a:pt x="240" y="1148"/>
                    </a:lnTo>
                    <a:lnTo>
                      <a:pt x="244" y="1148"/>
                    </a:lnTo>
                    <a:lnTo>
                      <a:pt x="247" y="1146"/>
                    </a:lnTo>
                    <a:lnTo>
                      <a:pt x="245" y="1144"/>
                    </a:lnTo>
                    <a:lnTo>
                      <a:pt x="242" y="1144"/>
                    </a:lnTo>
                    <a:lnTo>
                      <a:pt x="239" y="1146"/>
                    </a:lnTo>
                    <a:lnTo>
                      <a:pt x="239" y="1146"/>
                    </a:lnTo>
                    <a:close/>
                    <a:moveTo>
                      <a:pt x="230" y="1146"/>
                    </a:moveTo>
                    <a:lnTo>
                      <a:pt x="230" y="1148"/>
                    </a:lnTo>
                    <a:lnTo>
                      <a:pt x="234" y="1148"/>
                    </a:lnTo>
                    <a:lnTo>
                      <a:pt x="234" y="1146"/>
                    </a:lnTo>
                    <a:lnTo>
                      <a:pt x="232" y="1144"/>
                    </a:lnTo>
                    <a:lnTo>
                      <a:pt x="230" y="1146"/>
                    </a:lnTo>
                    <a:lnTo>
                      <a:pt x="230" y="1146"/>
                    </a:lnTo>
                    <a:close/>
                    <a:moveTo>
                      <a:pt x="204" y="1148"/>
                    </a:moveTo>
                    <a:lnTo>
                      <a:pt x="204" y="1149"/>
                    </a:lnTo>
                    <a:lnTo>
                      <a:pt x="207" y="1149"/>
                    </a:lnTo>
                    <a:lnTo>
                      <a:pt x="207" y="1153"/>
                    </a:lnTo>
                    <a:lnTo>
                      <a:pt x="211" y="1151"/>
                    </a:lnTo>
                    <a:lnTo>
                      <a:pt x="209" y="1148"/>
                    </a:lnTo>
                    <a:lnTo>
                      <a:pt x="206" y="1146"/>
                    </a:lnTo>
                    <a:lnTo>
                      <a:pt x="204" y="1148"/>
                    </a:lnTo>
                    <a:lnTo>
                      <a:pt x="204" y="1148"/>
                    </a:lnTo>
                    <a:close/>
                    <a:moveTo>
                      <a:pt x="171" y="1015"/>
                    </a:moveTo>
                    <a:lnTo>
                      <a:pt x="172" y="1013"/>
                    </a:lnTo>
                    <a:lnTo>
                      <a:pt x="176" y="1011"/>
                    </a:lnTo>
                    <a:lnTo>
                      <a:pt x="181" y="1006"/>
                    </a:lnTo>
                    <a:lnTo>
                      <a:pt x="177" y="1006"/>
                    </a:lnTo>
                    <a:lnTo>
                      <a:pt x="176" y="1010"/>
                    </a:lnTo>
                    <a:lnTo>
                      <a:pt x="171" y="1015"/>
                    </a:lnTo>
                    <a:lnTo>
                      <a:pt x="171" y="1015"/>
                    </a:lnTo>
                    <a:close/>
                    <a:moveTo>
                      <a:pt x="171" y="1010"/>
                    </a:moveTo>
                    <a:lnTo>
                      <a:pt x="171" y="1010"/>
                    </a:lnTo>
                    <a:lnTo>
                      <a:pt x="171" y="1010"/>
                    </a:lnTo>
                    <a:lnTo>
                      <a:pt x="172" y="1010"/>
                    </a:lnTo>
                    <a:lnTo>
                      <a:pt x="174" y="1008"/>
                    </a:lnTo>
                    <a:lnTo>
                      <a:pt x="176" y="1005"/>
                    </a:lnTo>
                    <a:lnTo>
                      <a:pt x="174" y="1005"/>
                    </a:lnTo>
                    <a:lnTo>
                      <a:pt x="171" y="1010"/>
                    </a:lnTo>
                    <a:lnTo>
                      <a:pt x="171" y="1010"/>
                    </a:lnTo>
                    <a:close/>
                    <a:moveTo>
                      <a:pt x="151" y="965"/>
                    </a:moveTo>
                    <a:lnTo>
                      <a:pt x="149" y="966"/>
                    </a:lnTo>
                    <a:lnTo>
                      <a:pt x="149" y="966"/>
                    </a:lnTo>
                    <a:lnTo>
                      <a:pt x="154" y="966"/>
                    </a:lnTo>
                    <a:lnTo>
                      <a:pt x="152" y="965"/>
                    </a:lnTo>
                    <a:lnTo>
                      <a:pt x="151" y="963"/>
                    </a:lnTo>
                    <a:lnTo>
                      <a:pt x="151" y="965"/>
                    </a:lnTo>
                    <a:lnTo>
                      <a:pt x="151" y="965"/>
                    </a:lnTo>
                    <a:close/>
                    <a:moveTo>
                      <a:pt x="147" y="958"/>
                    </a:moveTo>
                    <a:lnTo>
                      <a:pt x="149" y="962"/>
                    </a:lnTo>
                    <a:lnTo>
                      <a:pt x="152" y="962"/>
                    </a:lnTo>
                    <a:lnTo>
                      <a:pt x="152" y="958"/>
                    </a:lnTo>
                    <a:lnTo>
                      <a:pt x="151" y="958"/>
                    </a:lnTo>
                    <a:lnTo>
                      <a:pt x="147" y="958"/>
                    </a:lnTo>
                    <a:lnTo>
                      <a:pt x="147" y="958"/>
                    </a:lnTo>
                    <a:close/>
                    <a:moveTo>
                      <a:pt x="151" y="917"/>
                    </a:moveTo>
                    <a:lnTo>
                      <a:pt x="156" y="917"/>
                    </a:lnTo>
                    <a:lnTo>
                      <a:pt x="157" y="915"/>
                    </a:lnTo>
                    <a:lnTo>
                      <a:pt x="154" y="915"/>
                    </a:lnTo>
                    <a:lnTo>
                      <a:pt x="151" y="917"/>
                    </a:lnTo>
                    <a:lnTo>
                      <a:pt x="151" y="917"/>
                    </a:lnTo>
                    <a:close/>
                    <a:moveTo>
                      <a:pt x="152" y="912"/>
                    </a:moveTo>
                    <a:lnTo>
                      <a:pt x="156" y="913"/>
                    </a:lnTo>
                    <a:lnTo>
                      <a:pt x="159" y="913"/>
                    </a:lnTo>
                    <a:lnTo>
                      <a:pt x="161" y="912"/>
                    </a:lnTo>
                    <a:lnTo>
                      <a:pt x="157" y="910"/>
                    </a:lnTo>
                    <a:lnTo>
                      <a:pt x="154" y="910"/>
                    </a:lnTo>
                    <a:lnTo>
                      <a:pt x="152" y="912"/>
                    </a:lnTo>
                    <a:lnTo>
                      <a:pt x="152" y="912"/>
                    </a:lnTo>
                    <a:close/>
                    <a:moveTo>
                      <a:pt x="144" y="910"/>
                    </a:moveTo>
                    <a:lnTo>
                      <a:pt x="146" y="912"/>
                    </a:lnTo>
                    <a:lnTo>
                      <a:pt x="147" y="912"/>
                    </a:lnTo>
                    <a:lnTo>
                      <a:pt x="147" y="910"/>
                    </a:lnTo>
                    <a:lnTo>
                      <a:pt x="146" y="910"/>
                    </a:lnTo>
                    <a:lnTo>
                      <a:pt x="144" y="910"/>
                    </a:lnTo>
                    <a:lnTo>
                      <a:pt x="144" y="910"/>
                    </a:lnTo>
                    <a:close/>
                    <a:moveTo>
                      <a:pt x="157" y="872"/>
                    </a:moveTo>
                    <a:lnTo>
                      <a:pt x="156" y="873"/>
                    </a:lnTo>
                    <a:lnTo>
                      <a:pt x="157" y="875"/>
                    </a:lnTo>
                    <a:lnTo>
                      <a:pt x="159" y="875"/>
                    </a:lnTo>
                    <a:lnTo>
                      <a:pt x="162" y="872"/>
                    </a:lnTo>
                    <a:lnTo>
                      <a:pt x="162" y="870"/>
                    </a:lnTo>
                    <a:lnTo>
                      <a:pt x="159" y="870"/>
                    </a:lnTo>
                    <a:lnTo>
                      <a:pt x="157" y="872"/>
                    </a:lnTo>
                    <a:lnTo>
                      <a:pt x="157" y="872"/>
                    </a:lnTo>
                    <a:close/>
                    <a:moveTo>
                      <a:pt x="196" y="857"/>
                    </a:moveTo>
                    <a:lnTo>
                      <a:pt x="199" y="859"/>
                    </a:lnTo>
                    <a:lnTo>
                      <a:pt x="206" y="859"/>
                    </a:lnTo>
                    <a:lnTo>
                      <a:pt x="206" y="857"/>
                    </a:lnTo>
                    <a:lnTo>
                      <a:pt x="199" y="855"/>
                    </a:lnTo>
                    <a:lnTo>
                      <a:pt x="196" y="855"/>
                    </a:lnTo>
                    <a:lnTo>
                      <a:pt x="196" y="857"/>
                    </a:lnTo>
                    <a:lnTo>
                      <a:pt x="196" y="857"/>
                    </a:lnTo>
                    <a:close/>
                    <a:moveTo>
                      <a:pt x="181" y="837"/>
                    </a:moveTo>
                    <a:lnTo>
                      <a:pt x="179" y="839"/>
                    </a:lnTo>
                    <a:lnTo>
                      <a:pt x="181" y="840"/>
                    </a:lnTo>
                    <a:lnTo>
                      <a:pt x="187" y="840"/>
                    </a:lnTo>
                    <a:lnTo>
                      <a:pt x="187" y="837"/>
                    </a:lnTo>
                    <a:lnTo>
                      <a:pt x="182" y="837"/>
                    </a:lnTo>
                    <a:lnTo>
                      <a:pt x="181" y="837"/>
                    </a:lnTo>
                    <a:lnTo>
                      <a:pt x="181" y="837"/>
                    </a:lnTo>
                    <a:close/>
                    <a:moveTo>
                      <a:pt x="199" y="835"/>
                    </a:moveTo>
                    <a:lnTo>
                      <a:pt x="201" y="839"/>
                    </a:lnTo>
                    <a:lnTo>
                      <a:pt x="204" y="839"/>
                    </a:lnTo>
                    <a:lnTo>
                      <a:pt x="207" y="837"/>
                    </a:lnTo>
                    <a:lnTo>
                      <a:pt x="204" y="835"/>
                    </a:lnTo>
                    <a:lnTo>
                      <a:pt x="199" y="835"/>
                    </a:lnTo>
                    <a:lnTo>
                      <a:pt x="199" y="835"/>
                    </a:lnTo>
                    <a:close/>
                    <a:moveTo>
                      <a:pt x="189" y="834"/>
                    </a:moveTo>
                    <a:lnTo>
                      <a:pt x="194" y="835"/>
                    </a:lnTo>
                    <a:lnTo>
                      <a:pt x="197" y="835"/>
                    </a:lnTo>
                    <a:lnTo>
                      <a:pt x="201" y="834"/>
                    </a:lnTo>
                    <a:lnTo>
                      <a:pt x="197" y="832"/>
                    </a:lnTo>
                    <a:lnTo>
                      <a:pt x="192" y="830"/>
                    </a:lnTo>
                    <a:lnTo>
                      <a:pt x="189" y="832"/>
                    </a:lnTo>
                    <a:lnTo>
                      <a:pt x="189" y="834"/>
                    </a:lnTo>
                    <a:lnTo>
                      <a:pt x="189" y="834"/>
                    </a:lnTo>
                    <a:close/>
                    <a:moveTo>
                      <a:pt x="230" y="747"/>
                    </a:moveTo>
                    <a:lnTo>
                      <a:pt x="232" y="751"/>
                    </a:lnTo>
                    <a:lnTo>
                      <a:pt x="234" y="754"/>
                    </a:lnTo>
                    <a:lnTo>
                      <a:pt x="235" y="751"/>
                    </a:lnTo>
                    <a:lnTo>
                      <a:pt x="234" y="749"/>
                    </a:lnTo>
                    <a:lnTo>
                      <a:pt x="230" y="747"/>
                    </a:lnTo>
                    <a:lnTo>
                      <a:pt x="230" y="747"/>
                    </a:lnTo>
                    <a:close/>
                    <a:moveTo>
                      <a:pt x="227" y="737"/>
                    </a:moveTo>
                    <a:lnTo>
                      <a:pt x="227" y="741"/>
                    </a:lnTo>
                    <a:lnTo>
                      <a:pt x="232" y="742"/>
                    </a:lnTo>
                    <a:lnTo>
                      <a:pt x="234" y="742"/>
                    </a:lnTo>
                    <a:lnTo>
                      <a:pt x="232" y="739"/>
                    </a:lnTo>
                    <a:lnTo>
                      <a:pt x="232" y="739"/>
                    </a:lnTo>
                    <a:lnTo>
                      <a:pt x="227" y="737"/>
                    </a:lnTo>
                    <a:lnTo>
                      <a:pt x="227" y="737"/>
                    </a:lnTo>
                    <a:close/>
                    <a:moveTo>
                      <a:pt x="214" y="709"/>
                    </a:moveTo>
                    <a:lnTo>
                      <a:pt x="217" y="709"/>
                    </a:lnTo>
                    <a:lnTo>
                      <a:pt x="222" y="706"/>
                    </a:lnTo>
                    <a:lnTo>
                      <a:pt x="225" y="704"/>
                    </a:lnTo>
                    <a:lnTo>
                      <a:pt x="225" y="702"/>
                    </a:lnTo>
                    <a:lnTo>
                      <a:pt x="220" y="702"/>
                    </a:lnTo>
                    <a:lnTo>
                      <a:pt x="217" y="701"/>
                    </a:lnTo>
                    <a:lnTo>
                      <a:pt x="214" y="702"/>
                    </a:lnTo>
                    <a:lnTo>
                      <a:pt x="214" y="706"/>
                    </a:lnTo>
                    <a:lnTo>
                      <a:pt x="214" y="709"/>
                    </a:lnTo>
                    <a:lnTo>
                      <a:pt x="214" y="709"/>
                    </a:lnTo>
                    <a:close/>
                    <a:moveTo>
                      <a:pt x="215" y="724"/>
                    </a:moveTo>
                    <a:lnTo>
                      <a:pt x="217" y="726"/>
                    </a:lnTo>
                    <a:lnTo>
                      <a:pt x="220" y="726"/>
                    </a:lnTo>
                    <a:lnTo>
                      <a:pt x="225" y="722"/>
                    </a:lnTo>
                    <a:lnTo>
                      <a:pt x="224" y="717"/>
                    </a:lnTo>
                    <a:lnTo>
                      <a:pt x="220" y="716"/>
                    </a:lnTo>
                    <a:lnTo>
                      <a:pt x="217" y="717"/>
                    </a:lnTo>
                    <a:lnTo>
                      <a:pt x="215" y="724"/>
                    </a:lnTo>
                    <a:lnTo>
                      <a:pt x="215" y="724"/>
                    </a:lnTo>
                    <a:close/>
                    <a:moveTo>
                      <a:pt x="201" y="726"/>
                    </a:moveTo>
                    <a:lnTo>
                      <a:pt x="204" y="727"/>
                    </a:lnTo>
                    <a:lnTo>
                      <a:pt x="207" y="724"/>
                    </a:lnTo>
                    <a:lnTo>
                      <a:pt x="207" y="722"/>
                    </a:lnTo>
                    <a:lnTo>
                      <a:pt x="207" y="716"/>
                    </a:lnTo>
                    <a:lnTo>
                      <a:pt x="202" y="719"/>
                    </a:lnTo>
                    <a:lnTo>
                      <a:pt x="199" y="721"/>
                    </a:lnTo>
                    <a:lnTo>
                      <a:pt x="201" y="726"/>
                    </a:lnTo>
                    <a:lnTo>
                      <a:pt x="201" y="726"/>
                    </a:lnTo>
                    <a:close/>
                    <a:moveTo>
                      <a:pt x="171" y="747"/>
                    </a:moveTo>
                    <a:lnTo>
                      <a:pt x="169" y="749"/>
                    </a:lnTo>
                    <a:lnTo>
                      <a:pt x="172" y="752"/>
                    </a:lnTo>
                    <a:lnTo>
                      <a:pt x="176" y="754"/>
                    </a:lnTo>
                    <a:lnTo>
                      <a:pt x="176" y="751"/>
                    </a:lnTo>
                    <a:lnTo>
                      <a:pt x="174" y="747"/>
                    </a:lnTo>
                    <a:lnTo>
                      <a:pt x="171" y="747"/>
                    </a:lnTo>
                    <a:lnTo>
                      <a:pt x="171" y="747"/>
                    </a:lnTo>
                    <a:close/>
                    <a:moveTo>
                      <a:pt x="227" y="789"/>
                    </a:moveTo>
                    <a:lnTo>
                      <a:pt x="227" y="789"/>
                    </a:lnTo>
                    <a:lnTo>
                      <a:pt x="230" y="789"/>
                    </a:lnTo>
                    <a:lnTo>
                      <a:pt x="230" y="792"/>
                    </a:lnTo>
                    <a:lnTo>
                      <a:pt x="229" y="795"/>
                    </a:lnTo>
                    <a:lnTo>
                      <a:pt x="230" y="799"/>
                    </a:lnTo>
                    <a:lnTo>
                      <a:pt x="234" y="795"/>
                    </a:lnTo>
                    <a:lnTo>
                      <a:pt x="235" y="790"/>
                    </a:lnTo>
                    <a:lnTo>
                      <a:pt x="239" y="787"/>
                    </a:lnTo>
                    <a:lnTo>
                      <a:pt x="237" y="785"/>
                    </a:lnTo>
                    <a:lnTo>
                      <a:pt x="235" y="785"/>
                    </a:lnTo>
                    <a:lnTo>
                      <a:pt x="230" y="785"/>
                    </a:lnTo>
                    <a:lnTo>
                      <a:pt x="227" y="789"/>
                    </a:lnTo>
                    <a:lnTo>
                      <a:pt x="227" y="789"/>
                    </a:lnTo>
                    <a:close/>
                    <a:moveTo>
                      <a:pt x="171" y="802"/>
                    </a:moveTo>
                    <a:lnTo>
                      <a:pt x="172" y="804"/>
                    </a:lnTo>
                    <a:lnTo>
                      <a:pt x="181" y="805"/>
                    </a:lnTo>
                    <a:lnTo>
                      <a:pt x="181" y="809"/>
                    </a:lnTo>
                    <a:lnTo>
                      <a:pt x="186" y="809"/>
                    </a:lnTo>
                    <a:lnTo>
                      <a:pt x="189" y="807"/>
                    </a:lnTo>
                    <a:lnTo>
                      <a:pt x="201" y="805"/>
                    </a:lnTo>
                    <a:lnTo>
                      <a:pt x="209" y="805"/>
                    </a:lnTo>
                    <a:lnTo>
                      <a:pt x="217" y="799"/>
                    </a:lnTo>
                    <a:lnTo>
                      <a:pt x="215" y="792"/>
                    </a:lnTo>
                    <a:lnTo>
                      <a:pt x="212" y="785"/>
                    </a:lnTo>
                    <a:lnTo>
                      <a:pt x="209" y="785"/>
                    </a:lnTo>
                    <a:lnTo>
                      <a:pt x="204" y="784"/>
                    </a:lnTo>
                    <a:lnTo>
                      <a:pt x="201" y="774"/>
                    </a:lnTo>
                    <a:lnTo>
                      <a:pt x="196" y="767"/>
                    </a:lnTo>
                    <a:lnTo>
                      <a:pt x="189" y="766"/>
                    </a:lnTo>
                    <a:lnTo>
                      <a:pt x="184" y="761"/>
                    </a:lnTo>
                    <a:lnTo>
                      <a:pt x="177" y="761"/>
                    </a:lnTo>
                    <a:lnTo>
                      <a:pt x="172" y="757"/>
                    </a:lnTo>
                    <a:lnTo>
                      <a:pt x="171" y="761"/>
                    </a:lnTo>
                    <a:lnTo>
                      <a:pt x="166" y="766"/>
                    </a:lnTo>
                    <a:lnTo>
                      <a:pt x="166" y="770"/>
                    </a:lnTo>
                    <a:lnTo>
                      <a:pt x="171" y="774"/>
                    </a:lnTo>
                    <a:lnTo>
                      <a:pt x="172" y="777"/>
                    </a:lnTo>
                    <a:lnTo>
                      <a:pt x="169" y="775"/>
                    </a:lnTo>
                    <a:lnTo>
                      <a:pt x="164" y="777"/>
                    </a:lnTo>
                    <a:lnTo>
                      <a:pt x="164" y="780"/>
                    </a:lnTo>
                    <a:lnTo>
                      <a:pt x="162" y="784"/>
                    </a:lnTo>
                    <a:lnTo>
                      <a:pt x="169" y="787"/>
                    </a:lnTo>
                    <a:lnTo>
                      <a:pt x="166" y="787"/>
                    </a:lnTo>
                    <a:lnTo>
                      <a:pt x="164" y="789"/>
                    </a:lnTo>
                    <a:lnTo>
                      <a:pt x="166" y="792"/>
                    </a:lnTo>
                    <a:lnTo>
                      <a:pt x="177" y="795"/>
                    </a:lnTo>
                    <a:lnTo>
                      <a:pt x="179" y="797"/>
                    </a:lnTo>
                    <a:lnTo>
                      <a:pt x="182" y="799"/>
                    </a:lnTo>
                    <a:lnTo>
                      <a:pt x="189" y="794"/>
                    </a:lnTo>
                    <a:lnTo>
                      <a:pt x="184" y="800"/>
                    </a:lnTo>
                    <a:lnTo>
                      <a:pt x="181" y="800"/>
                    </a:lnTo>
                    <a:lnTo>
                      <a:pt x="174" y="799"/>
                    </a:lnTo>
                    <a:lnTo>
                      <a:pt x="171" y="799"/>
                    </a:lnTo>
                    <a:lnTo>
                      <a:pt x="171" y="8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5" name="Freeform 148"/>
              <p:cNvSpPr>
                <a:spLocks noEditPoints="1"/>
              </p:cNvSpPr>
              <p:nvPr/>
            </p:nvSpPr>
            <p:spPr bwMode="auto">
              <a:xfrm>
                <a:off x="4827835" y="1824354"/>
                <a:ext cx="1125901" cy="915153"/>
              </a:xfrm>
              <a:custGeom>
                <a:avLst/>
                <a:gdLst/>
                <a:ahLst/>
                <a:cxnLst>
                  <a:cxn ang="0">
                    <a:pos x="1530" y="128"/>
                  </a:cxn>
                  <a:cxn ang="0">
                    <a:pos x="1544" y="304"/>
                  </a:cxn>
                  <a:cxn ang="0">
                    <a:pos x="1537" y="331"/>
                  </a:cxn>
                  <a:cxn ang="0">
                    <a:pos x="1647" y="206"/>
                  </a:cxn>
                  <a:cxn ang="0">
                    <a:pos x="1686" y="121"/>
                  </a:cxn>
                  <a:cxn ang="0">
                    <a:pos x="1801" y="43"/>
                  </a:cxn>
                  <a:cxn ang="0">
                    <a:pos x="2092" y="65"/>
                  </a:cxn>
                  <a:cxn ang="0">
                    <a:pos x="1788" y="272"/>
                  </a:cxn>
                  <a:cxn ang="0">
                    <a:pos x="1618" y="390"/>
                  </a:cxn>
                  <a:cxn ang="0">
                    <a:pos x="1682" y="892"/>
                  </a:cxn>
                  <a:cxn ang="0">
                    <a:pos x="1469" y="337"/>
                  </a:cxn>
                  <a:cxn ang="0">
                    <a:pos x="1316" y="238"/>
                  </a:cxn>
                  <a:cxn ang="0">
                    <a:pos x="1095" y="199"/>
                  </a:cxn>
                  <a:cxn ang="0">
                    <a:pos x="1437" y="397"/>
                  </a:cxn>
                  <a:cxn ang="0">
                    <a:pos x="1500" y="532"/>
                  </a:cxn>
                  <a:cxn ang="0">
                    <a:pos x="878" y="271"/>
                  </a:cxn>
                  <a:cxn ang="0">
                    <a:pos x="1366" y="533"/>
                  </a:cxn>
                  <a:cxn ang="0">
                    <a:pos x="1261" y="407"/>
                  </a:cxn>
                  <a:cxn ang="0">
                    <a:pos x="951" y="311"/>
                  </a:cxn>
                  <a:cxn ang="0">
                    <a:pos x="1060" y="362"/>
                  </a:cxn>
                  <a:cxn ang="0">
                    <a:pos x="733" y="434"/>
                  </a:cxn>
                  <a:cxn ang="0">
                    <a:pos x="1100" y="578"/>
                  </a:cxn>
                  <a:cxn ang="0">
                    <a:pos x="1220" y="551"/>
                  </a:cxn>
                  <a:cxn ang="0">
                    <a:pos x="1253" y="615"/>
                  </a:cxn>
                  <a:cxn ang="0">
                    <a:pos x="1449" y="857"/>
                  </a:cxn>
                  <a:cxn ang="0">
                    <a:pos x="1294" y="933"/>
                  </a:cxn>
                  <a:cxn ang="0">
                    <a:pos x="1025" y="714"/>
                  </a:cxn>
                  <a:cxn ang="0">
                    <a:pos x="929" y="537"/>
                  </a:cxn>
                  <a:cxn ang="0">
                    <a:pos x="833" y="646"/>
                  </a:cxn>
                  <a:cxn ang="0">
                    <a:pos x="1476" y="874"/>
                  </a:cxn>
                  <a:cxn ang="0">
                    <a:pos x="1632" y="749"/>
                  </a:cxn>
                  <a:cxn ang="0">
                    <a:pos x="1535" y="942"/>
                  </a:cxn>
                  <a:cxn ang="0">
                    <a:pos x="1399" y="756"/>
                  </a:cxn>
                  <a:cxn ang="0">
                    <a:pos x="1383" y="689"/>
                  </a:cxn>
                  <a:cxn ang="0">
                    <a:pos x="1510" y="663"/>
                  </a:cxn>
                  <a:cxn ang="0">
                    <a:pos x="1630" y="744"/>
                  </a:cxn>
                  <a:cxn ang="0">
                    <a:pos x="1690" y="847"/>
                  </a:cxn>
                  <a:cxn ang="0">
                    <a:pos x="1731" y="947"/>
                  </a:cxn>
                  <a:cxn ang="0">
                    <a:pos x="1670" y="1000"/>
                  </a:cxn>
                  <a:cxn ang="0">
                    <a:pos x="1662" y="1085"/>
                  </a:cxn>
                  <a:cxn ang="0">
                    <a:pos x="1326" y="1051"/>
                  </a:cxn>
                  <a:cxn ang="0">
                    <a:pos x="1627" y="1168"/>
                  </a:cxn>
                  <a:cxn ang="0">
                    <a:pos x="1275" y="1329"/>
                  </a:cxn>
                  <a:cxn ang="0">
                    <a:pos x="1700" y="1548"/>
                  </a:cxn>
                  <a:cxn ang="0">
                    <a:pos x="1768" y="1643"/>
                  </a:cxn>
                  <a:cxn ang="0">
                    <a:pos x="1733" y="1561"/>
                  </a:cxn>
                  <a:cxn ang="0">
                    <a:pos x="1627" y="1663"/>
                  </a:cxn>
                  <a:cxn ang="0">
                    <a:pos x="133" y="1367"/>
                  </a:cxn>
                  <a:cxn ang="0">
                    <a:pos x="567" y="550"/>
                  </a:cxn>
                  <a:cxn ang="0">
                    <a:pos x="153" y="1400"/>
                  </a:cxn>
                  <a:cxn ang="0">
                    <a:pos x="123" y="1156"/>
                  </a:cxn>
                  <a:cxn ang="0">
                    <a:pos x="467" y="606"/>
                  </a:cxn>
                  <a:cxn ang="0">
                    <a:pos x="831" y="797"/>
                  </a:cxn>
                  <a:cxn ang="0">
                    <a:pos x="1067" y="827"/>
                  </a:cxn>
                  <a:cxn ang="0">
                    <a:pos x="1145" y="703"/>
                  </a:cxn>
                  <a:cxn ang="0">
                    <a:pos x="1289" y="854"/>
                  </a:cxn>
                  <a:cxn ang="0">
                    <a:pos x="1258" y="909"/>
                  </a:cxn>
                  <a:cxn ang="0">
                    <a:pos x="1032" y="1095"/>
                  </a:cxn>
                  <a:cxn ang="0">
                    <a:pos x="1246" y="1397"/>
                  </a:cxn>
                  <a:cxn ang="0">
                    <a:pos x="1514" y="1249"/>
                  </a:cxn>
                  <a:cxn ang="0">
                    <a:pos x="1658" y="1370"/>
                  </a:cxn>
                  <a:cxn ang="0">
                    <a:pos x="1680" y="1518"/>
                  </a:cxn>
                  <a:cxn ang="0">
                    <a:pos x="1547" y="1699"/>
                  </a:cxn>
                </a:cxnLst>
                <a:rect l="0" t="0" r="r" b="b"/>
                <a:pathLst>
                  <a:path w="2105" h="1764">
                    <a:moveTo>
                      <a:pt x="1522" y="311"/>
                    </a:moveTo>
                    <a:lnTo>
                      <a:pt x="1525" y="307"/>
                    </a:lnTo>
                    <a:lnTo>
                      <a:pt x="1529" y="302"/>
                    </a:lnTo>
                    <a:lnTo>
                      <a:pt x="1535" y="296"/>
                    </a:lnTo>
                    <a:lnTo>
                      <a:pt x="1539" y="286"/>
                    </a:lnTo>
                    <a:lnTo>
                      <a:pt x="1542" y="284"/>
                    </a:lnTo>
                    <a:lnTo>
                      <a:pt x="1544" y="287"/>
                    </a:lnTo>
                    <a:lnTo>
                      <a:pt x="1540" y="292"/>
                    </a:lnTo>
                    <a:lnTo>
                      <a:pt x="1540" y="294"/>
                    </a:lnTo>
                    <a:lnTo>
                      <a:pt x="1545" y="296"/>
                    </a:lnTo>
                    <a:lnTo>
                      <a:pt x="1550" y="291"/>
                    </a:lnTo>
                    <a:lnTo>
                      <a:pt x="1554" y="289"/>
                    </a:lnTo>
                    <a:lnTo>
                      <a:pt x="1554" y="284"/>
                    </a:lnTo>
                    <a:lnTo>
                      <a:pt x="1549" y="282"/>
                    </a:lnTo>
                    <a:lnTo>
                      <a:pt x="1549" y="282"/>
                    </a:lnTo>
                    <a:lnTo>
                      <a:pt x="1554" y="281"/>
                    </a:lnTo>
                    <a:lnTo>
                      <a:pt x="1554" y="274"/>
                    </a:lnTo>
                    <a:lnTo>
                      <a:pt x="1552" y="272"/>
                    </a:lnTo>
                    <a:lnTo>
                      <a:pt x="1552" y="267"/>
                    </a:lnTo>
                    <a:lnTo>
                      <a:pt x="1559" y="262"/>
                    </a:lnTo>
                    <a:lnTo>
                      <a:pt x="1560" y="256"/>
                    </a:lnTo>
                    <a:lnTo>
                      <a:pt x="1565" y="254"/>
                    </a:lnTo>
                    <a:lnTo>
                      <a:pt x="1567" y="251"/>
                    </a:lnTo>
                    <a:lnTo>
                      <a:pt x="1567" y="254"/>
                    </a:lnTo>
                    <a:lnTo>
                      <a:pt x="1569" y="257"/>
                    </a:lnTo>
                    <a:lnTo>
                      <a:pt x="1565" y="257"/>
                    </a:lnTo>
                    <a:lnTo>
                      <a:pt x="1562" y="266"/>
                    </a:lnTo>
                    <a:lnTo>
                      <a:pt x="1557" y="271"/>
                    </a:lnTo>
                    <a:lnTo>
                      <a:pt x="1557" y="276"/>
                    </a:lnTo>
                    <a:lnTo>
                      <a:pt x="1559" y="281"/>
                    </a:lnTo>
                    <a:lnTo>
                      <a:pt x="1560" y="286"/>
                    </a:lnTo>
                    <a:lnTo>
                      <a:pt x="1562" y="282"/>
                    </a:lnTo>
                    <a:lnTo>
                      <a:pt x="1567" y="276"/>
                    </a:lnTo>
                    <a:lnTo>
                      <a:pt x="1575" y="269"/>
                    </a:lnTo>
                    <a:lnTo>
                      <a:pt x="1579" y="264"/>
                    </a:lnTo>
                    <a:lnTo>
                      <a:pt x="1579" y="259"/>
                    </a:lnTo>
                    <a:lnTo>
                      <a:pt x="1582" y="254"/>
                    </a:lnTo>
                    <a:lnTo>
                      <a:pt x="1585" y="252"/>
                    </a:lnTo>
                    <a:lnTo>
                      <a:pt x="1585" y="256"/>
                    </a:lnTo>
                    <a:lnTo>
                      <a:pt x="1583" y="257"/>
                    </a:lnTo>
                    <a:lnTo>
                      <a:pt x="1583" y="262"/>
                    </a:lnTo>
                    <a:lnTo>
                      <a:pt x="1588" y="261"/>
                    </a:lnTo>
                    <a:lnTo>
                      <a:pt x="1593" y="254"/>
                    </a:lnTo>
                    <a:lnTo>
                      <a:pt x="1597" y="254"/>
                    </a:lnTo>
                    <a:lnTo>
                      <a:pt x="1603" y="256"/>
                    </a:lnTo>
                    <a:lnTo>
                      <a:pt x="1612" y="252"/>
                    </a:lnTo>
                    <a:lnTo>
                      <a:pt x="1617" y="252"/>
                    </a:lnTo>
                    <a:lnTo>
                      <a:pt x="1620" y="249"/>
                    </a:lnTo>
                    <a:lnTo>
                      <a:pt x="1625" y="247"/>
                    </a:lnTo>
                    <a:lnTo>
                      <a:pt x="1627" y="244"/>
                    </a:lnTo>
                    <a:lnTo>
                      <a:pt x="1627" y="241"/>
                    </a:lnTo>
                    <a:lnTo>
                      <a:pt x="1627" y="238"/>
                    </a:lnTo>
                    <a:lnTo>
                      <a:pt x="1623" y="236"/>
                    </a:lnTo>
                    <a:lnTo>
                      <a:pt x="1627" y="229"/>
                    </a:lnTo>
                    <a:lnTo>
                      <a:pt x="1625" y="219"/>
                    </a:lnTo>
                    <a:lnTo>
                      <a:pt x="1623" y="219"/>
                    </a:lnTo>
                    <a:lnTo>
                      <a:pt x="1620" y="226"/>
                    </a:lnTo>
                    <a:lnTo>
                      <a:pt x="1615" y="231"/>
                    </a:lnTo>
                    <a:lnTo>
                      <a:pt x="1612" y="231"/>
                    </a:lnTo>
                    <a:lnTo>
                      <a:pt x="1612" y="229"/>
                    </a:lnTo>
                    <a:lnTo>
                      <a:pt x="1617" y="224"/>
                    </a:lnTo>
                    <a:lnTo>
                      <a:pt x="1622" y="223"/>
                    </a:lnTo>
                    <a:lnTo>
                      <a:pt x="1622" y="219"/>
                    </a:lnTo>
                    <a:lnTo>
                      <a:pt x="1617" y="214"/>
                    </a:lnTo>
                    <a:lnTo>
                      <a:pt x="1615" y="211"/>
                    </a:lnTo>
                    <a:lnTo>
                      <a:pt x="1613" y="211"/>
                    </a:lnTo>
                    <a:lnTo>
                      <a:pt x="1610" y="213"/>
                    </a:lnTo>
                    <a:lnTo>
                      <a:pt x="1610" y="214"/>
                    </a:lnTo>
                    <a:lnTo>
                      <a:pt x="1607" y="213"/>
                    </a:lnTo>
                    <a:lnTo>
                      <a:pt x="1602" y="213"/>
                    </a:lnTo>
                    <a:lnTo>
                      <a:pt x="1598" y="216"/>
                    </a:lnTo>
                    <a:lnTo>
                      <a:pt x="1595" y="214"/>
                    </a:lnTo>
                    <a:lnTo>
                      <a:pt x="1595" y="213"/>
                    </a:lnTo>
                    <a:lnTo>
                      <a:pt x="1607" y="208"/>
                    </a:lnTo>
                    <a:lnTo>
                      <a:pt x="1612" y="208"/>
                    </a:lnTo>
                    <a:lnTo>
                      <a:pt x="1620" y="199"/>
                    </a:lnTo>
                    <a:lnTo>
                      <a:pt x="1623" y="198"/>
                    </a:lnTo>
                    <a:lnTo>
                      <a:pt x="1628" y="189"/>
                    </a:lnTo>
                    <a:lnTo>
                      <a:pt x="1630" y="183"/>
                    </a:lnTo>
                    <a:lnTo>
                      <a:pt x="1628" y="181"/>
                    </a:lnTo>
                    <a:lnTo>
                      <a:pt x="1625" y="181"/>
                    </a:lnTo>
                    <a:lnTo>
                      <a:pt x="1622" y="183"/>
                    </a:lnTo>
                    <a:lnTo>
                      <a:pt x="1620" y="181"/>
                    </a:lnTo>
                    <a:lnTo>
                      <a:pt x="1622" y="179"/>
                    </a:lnTo>
                    <a:lnTo>
                      <a:pt x="1625" y="178"/>
                    </a:lnTo>
                    <a:lnTo>
                      <a:pt x="1628" y="178"/>
                    </a:lnTo>
                    <a:lnTo>
                      <a:pt x="1630" y="174"/>
                    </a:lnTo>
                    <a:lnTo>
                      <a:pt x="1630" y="169"/>
                    </a:lnTo>
                    <a:lnTo>
                      <a:pt x="1635" y="166"/>
                    </a:lnTo>
                    <a:lnTo>
                      <a:pt x="1635" y="161"/>
                    </a:lnTo>
                    <a:lnTo>
                      <a:pt x="1633" y="159"/>
                    </a:lnTo>
                    <a:lnTo>
                      <a:pt x="1633" y="156"/>
                    </a:lnTo>
                    <a:lnTo>
                      <a:pt x="1630" y="154"/>
                    </a:lnTo>
                    <a:lnTo>
                      <a:pt x="1625" y="156"/>
                    </a:lnTo>
                    <a:lnTo>
                      <a:pt x="1620" y="166"/>
                    </a:lnTo>
                    <a:lnTo>
                      <a:pt x="1618" y="171"/>
                    </a:lnTo>
                    <a:lnTo>
                      <a:pt x="1622" y="173"/>
                    </a:lnTo>
                    <a:lnTo>
                      <a:pt x="1618" y="178"/>
                    </a:lnTo>
                    <a:lnTo>
                      <a:pt x="1615" y="179"/>
                    </a:lnTo>
                    <a:lnTo>
                      <a:pt x="1615" y="178"/>
                    </a:lnTo>
                    <a:lnTo>
                      <a:pt x="1615" y="176"/>
                    </a:lnTo>
                    <a:lnTo>
                      <a:pt x="1613" y="173"/>
                    </a:lnTo>
                    <a:lnTo>
                      <a:pt x="1613" y="169"/>
                    </a:lnTo>
                    <a:lnTo>
                      <a:pt x="1617" y="163"/>
                    </a:lnTo>
                    <a:lnTo>
                      <a:pt x="1615" y="158"/>
                    </a:lnTo>
                    <a:lnTo>
                      <a:pt x="1617" y="156"/>
                    </a:lnTo>
                    <a:lnTo>
                      <a:pt x="1618" y="158"/>
                    </a:lnTo>
                    <a:lnTo>
                      <a:pt x="1622" y="156"/>
                    </a:lnTo>
                    <a:lnTo>
                      <a:pt x="1620" y="149"/>
                    </a:lnTo>
                    <a:lnTo>
                      <a:pt x="1617" y="146"/>
                    </a:lnTo>
                    <a:lnTo>
                      <a:pt x="1613" y="146"/>
                    </a:lnTo>
                    <a:lnTo>
                      <a:pt x="1608" y="148"/>
                    </a:lnTo>
                    <a:lnTo>
                      <a:pt x="1605" y="151"/>
                    </a:lnTo>
                    <a:lnTo>
                      <a:pt x="1605" y="148"/>
                    </a:lnTo>
                    <a:lnTo>
                      <a:pt x="1603" y="148"/>
                    </a:lnTo>
                    <a:lnTo>
                      <a:pt x="1603" y="141"/>
                    </a:lnTo>
                    <a:lnTo>
                      <a:pt x="1600" y="135"/>
                    </a:lnTo>
                    <a:lnTo>
                      <a:pt x="1602" y="126"/>
                    </a:lnTo>
                    <a:lnTo>
                      <a:pt x="1602" y="120"/>
                    </a:lnTo>
                    <a:lnTo>
                      <a:pt x="1603" y="115"/>
                    </a:lnTo>
                    <a:lnTo>
                      <a:pt x="1605" y="106"/>
                    </a:lnTo>
                    <a:lnTo>
                      <a:pt x="1605" y="101"/>
                    </a:lnTo>
                    <a:lnTo>
                      <a:pt x="1608" y="95"/>
                    </a:lnTo>
                    <a:lnTo>
                      <a:pt x="1608" y="88"/>
                    </a:lnTo>
                    <a:lnTo>
                      <a:pt x="1605" y="85"/>
                    </a:lnTo>
                    <a:lnTo>
                      <a:pt x="1603" y="80"/>
                    </a:lnTo>
                    <a:lnTo>
                      <a:pt x="1597" y="75"/>
                    </a:lnTo>
                    <a:lnTo>
                      <a:pt x="1595" y="71"/>
                    </a:lnTo>
                    <a:lnTo>
                      <a:pt x="1588" y="68"/>
                    </a:lnTo>
                    <a:lnTo>
                      <a:pt x="1585" y="70"/>
                    </a:lnTo>
                    <a:lnTo>
                      <a:pt x="1585" y="73"/>
                    </a:lnTo>
                    <a:lnTo>
                      <a:pt x="1583" y="73"/>
                    </a:lnTo>
                    <a:lnTo>
                      <a:pt x="1577" y="68"/>
                    </a:lnTo>
                    <a:lnTo>
                      <a:pt x="1572" y="68"/>
                    </a:lnTo>
                    <a:lnTo>
                      <a:pt x="1572" y="73"/>
                    </a:lnTo>
                    <a:lnTo>
                      <a:pt x="1569" y="80"/>
                    </a:lnTo>
                    <a:lnTo>
                      <a:pt x="1572" y="81"/>
                    </a:lnTo>
                    <a:lnTo>
                      <a:pt x="1577" y="81"/>
                    </a:lnTo>
                    <a:lnTo>
                      <a:pt x="1582" y="81"/>
                    </a:lnTo>
                    <a:lnTo>
                      <a:pt x="1587" y="83"/>
                    </a:lnTo>
                    <a:lnTo>
                      <a:pt x="1588" y="86"/>
                    </a:lnTo>
                    <a:lnTo>
                      <a:pt x="1593" y="88"/>
                    </a:lnTo>
                    <a:lnTo>
                      <a:pt x="1592" y="90"/>
                    </a:lnTo>
                    <a:lnTo>
                      <a:pt x="1585" y="96"/>
                    </a:lnTo>
                    <a:lnTo>
                      <a:pt x="1582" y="96"/>
                    </a:lnTo>
                    <a:lnTo>
                      <a:pt x="1577" y="93"/>
                    </a:lnTo>
                    <a:lnTo>
                      <a:pt x="1572" y="93"/>
                    </a:lnTo>
                    <a:lnTo>
                      <a:pt x="1567" y="93"/>
                    </a:lnTo>
                    <a:lnTo>
                      <a:pt x="1570" y="96"/>
                    </a:lnTo>
                    <a:lnTo>
                      <a:pt x="1574" y="96"/>
                    </a:lnTo>
                    <a:lnTo>
                      <a:pt x="1570" y="100"/>
                    </a:lnTo>
                    <a:lnTo>
                      <a:pt x="1565" y="101"/>
                    </a:lnTo>
                    <a:lnTo>
                      <a:pt x="1559" y="95"/>
                    </a:lnTo>
                    <a:lnTo>
                      <a:pt x="1552" y="98"/>
                    </a:lnTo>
                    <a:lnTo>
                      <a:pt x="1550" y="105"/>
                    </a:lnTo>
                    <a:lnTo>
                      <a:pt x="1547" y="106"/>
                    </a:lnTo>
                    <a:lnTo>
                      <a:pt x="1547" y="110"/>
                    </a:lnTo>
                    <a:lnTo>
                      <a:pt x="1550" y="111"/>
                    </a:lnTo>
                    <a:lnTo>
                      <a:pt x="1552" y="116"/>
                    </a:lnTo>
                    <a:lnTo>
                      <a:pt x="1557" y="120"/>
                    </a:lnTo>
                    <a:lnTo>
                      <a:pt x="1557" y="121"/>
                    </a:lnTo>
                    <a:lnTo>
                      <a:pt x="1554" y="121"/>
                    </a:lnTo>
                    <a:lnTo>
                      <a:pt x="1554" y="125"/>
                    </a:lnTo>
                    <a:lnTo>
                      <a:pt x="1555" y="126"/>
                    </a:lnTo>
                    <a:lnTo>
                      <a:pt x="1555" y="130"/>
                    </a:lnTo>
                    <a:lnTo>
                      <a:pt x="1552" y="130"/>
                    </a:lnTo>
                    <a:lnTo>
                      <a:pt x="1549" y="126"/>
                    </a:lnTo>
                    <a:lnTo>
                      <a:pt x="1544" y="126"/>
                    </a:lnTo>
                    <a:lnTo>
                      <a:pt x="1539" y="123"/>
                    </a:lnTo>
                    <a:lnTo>
                      <a:pt x="1535" y="123"/>
                    </a:lnTo>
                    <a:lnTo>
                      <a:pt x="1530" y="125"/>
                    </a:lnTo>
                    <a:lnTo>
                      <a:pt x="1530" y="128"/>
                    </a:lnTo>
                    <a:lnTo>
                      <a:pt x="1534" y="133"/>
                    </a:lnTo>
                    <a:lnTo>
                      <a:pt x="1530" y="136"/>
                    </a:lnTo>
                    <a:lnTo>
                      <a:pt x="1529" y="135"/>
                    </a:lnTo>
                    <a:lnTo>
                      <a:pt x="1529" y="131"/>
                    </a:lnTo>
                    <a:lnTo>
                      <a:pt x="1525" y="130"/>
                    </a:lnTo>
                    <a:lnTo>
                      <a:pt x="1520" y="128"/>
                    </a:lnTo>
                    <a:lnTo>
                      <a:pt x="1519" y="128"/>
                    </a:lnTo>
                    <a:lnTo>
                      <a:pt x="1515" y="125"/>
                    </a:lnTo>
                    <a:lnTo>
                      <a:pt x="1512" y="125"/>
                    </a:lnTo>
                    <a:lnTo>
                      <a:pt x="1510" y="126"/>
                    </a:lnTo>
                    <a:lnTo>
                      <a:pt x="1514" y="133"/>
                    </a:lnTo>
                    <a:lnTo>
                      <a:pt x="1512" y="136"/>
                    </a:lnTo>
                    <a:lnTo>
                      <a:pt x="1514" y="143"/>
                    </a:lnTo>
                    <a:lnTo>
                      <a:pt x="1519" y="145"/>
                    </a:lnTo>
                    <a:lnTo>
                      <a:pt x="1524" y="146"/>
                    </a:lnTo>
                    <a:lnTo>
                      <a:pt x="1525" y="148"/>
                    </a:lnTo>
                    <a:lnTo>
                      <a:pt x="1524" y="149"/>
                    </a:lnTo>
                    <a:lnTo>
                      <a:pt x="1519" y="148"/>
                    </a:lnTo>
                    <a:lnTo>
                      <a:pt x="1525" y="151"/>
                    </a:lnTo>
                    <a:lnTo>
                      <a:pt x="1527" y="154"/>
                    </a:lnTo>
                    <a:lnTo>
                      <a:pt x="1530" y="158"/>
                    </a:lnTo>
                    <a:lnTo>
                      <a:pt x="1537" y="158"/>
                    </a:lnTo>
                    <a:lnTo>
                      <a:pt x="1540" y="154"/>
                    </a:lnTo>
                    <a:lnTo>
                      <a:pt x="1542" y="154"/>
                    </a:lnTo>
                    <a:lnTo>
                      <a:pt x="1544" y="158"/>
                    </a:lnTo>
                    <a:lnTo>
                      <a:pt x="1539" y="161"/>
                    </a:lnTo>
                    <a:lnTo>
                      <a:pt x="1537" y="168"/>
                    </a:lnTo>
                    <a:lnTo>
                      <a:pt x="1534" y="168"/>
                    </a:lnTo>
                    <a:lnTo>
                      <a:pt x="1529" y="163"/>
                    </a:lnTo>
                    <a:lnTo>
                      <a:pt x="1515" y="161"/>
                    </a:lnTo>
                    <a:lnTo>
                      <a:pt x="1510" y="154"/>
                    </a:lnTo>
                    <a:lnTo>
                      <a:pt x="1507" y="153"/>
                    </a:lnTo>
                    <a:lnTo>
                      <a:pt x="1505" y="151"/>
                    </a:lnTo>
                    <a:lnTo>
                      <a:pt x="1504" y="151"/>
                    </a:lnTo>
                    <a:lnTo>
                      <a:pt x="1502" y="156"/>
                    </a:lnTo>
                    <a:lnTo>
                      <a:pt x="1502" y="158"/>
                    </a:lnTo>
                    <a:lnTo>
                      <a:pt x="1500" y="159"/>
                    </a:lnTo>
                    <a:lnTo>
                      <a:pt x="1502" y="166"/>
                    </a:lnTo>
                    <a:lnTo>
                      <a:pt x="1499" y="169"/>
                    </a:lnTo>
                    <a:lnTo>
                      <a:pt x="1495" y="168"/>
                    </a:lnTo>
                    <a:lnTo>
                      <a:pt x="1495" y="173"/>
                    </a:lnTo>
                    <a:lnTo>
                      <a:pt x="1492" y="174"/>
                    </a:lnTo>
                    <a:lnTo>
                      <a:pt x="1492" y="184"/>
                    </a:lnTo>
                    <a:lnTo>
                      <a:pt x="1495" y="186"/>
                    </a:lnTo>
                    <a:lnTo>
                      <a:pt x="1504" y="188"/>
                    </a:lnTo>
                    <a:lnTo>
                      <a:pt x="1507" y="189"/>
                    </a:lnTo>
                    <a:lnTo>
                      <a:pt x="1512" y="188"/>
                    </a:lnTo>
                    <a:lnTo>
                      <a:pt x="1512" y="189"/>
                    </a:lnTo>
                    <a:lnTo>
                      <a:pt x="1509" y="191"/>
                    </a:lnTo>
                    <a:lnTo>
                      <a:pt x="1504" y="189"/>
                    </a:lnTo>
                    <a:lnTo>
                      <a:pt x="1495" y="189"/>
                    </a:lnTo>
                    <a:lnTo>
                      <a:pt x="1494" y="189"/>
                    </a:lnTo>
                    <a:lnTo>
                      <a:pt x="1489" y="189"/>
                    </a:lnTo>
                    <a:lnTo>
                      <a:pt x="1482" y="198"/>
                    </a:lnTo>
                    <a:lnTo>
                      <a:pt x="1482" y="199"/>
                    </a:lnTo>
                    <a:lnTo>
                      <a:pt x="1485" y="203"/>
                    </a:lnTo>
                    <a:lnTo>
                      <a:pt x="1484" y="206"/>
                    </a:lnTo>
                    <a:lnTo>
                      <a:pt x="1482" y="206"/>
                    </a:lnTo>
                    <a:lnTo>
                      <a:pt x="1481" y="209"/>
                    </a:lnTo>
                    <a:lnTo>
                      <a:pt x="1484" y="213"/>
                    </a:lnTo>
                    <a:lnTo>
                      <a:pt x="1487" y="211"/>
                    </a:lnTo>
                    <a:lnTo>
                      <a:pt x="1492" y="211"/>
                    </a:lnTo>
                    <a:lnTo>
                      <a:pt x="1497" y="208"/>
                    </a:lnTo>
                    <a:lnTo>
                      <a:pt x="1499" y="209"/>
                    </a:lnTo>
                    <a:lnTo>
                      <a:pt x="1499" y="213"/>
                    </a:lnTo>
                    <a:lnTo>
                      <a:pt x="1494" y="213"/>
                    </a:lnTo>
                    <a:lnTo>
                      <a:pt x="1492" y="218"/>
                    </a:lnTo>
                    <a:lnTo>
                      <a:pt x="1494" y="219"/>
                    </a:lnTo>
                    <a:lnTo>
                      <a:pt x="1497" y="219"/>
                    </a:lnTo>
                    <a:lnTo>
                      <a:pt x="1500" y="216"/>
                    </a:lnTo>
                    <a:lnTo>
                      <a:pt x="1504" y="216"/>
                    </a:lnTo>
                    <a:lnTo>
                      <a:pt x="1509" y="213"/>
                    </a:lnTo>
                    <a:lnTo>
                      <a:pt x="1509" y="216"/>
                    </a:lnTo>
                    <a:lnTo>
                      <a:pt x="1505" y="218"/>
                    </a:lnTo>
                    <a:lnTo>
                      <a:pt x="1509" y="219"/>
                    </a:lnTo>
                    <a:lnTo>
                      <a:pt x="1515" y="219"/>
                    </a:lnTo>
                    <a:lnTo>
                      <a:pt x="1517" y="223"/>
                    </a:lnTo>
                    <a:lnTo>
                      <a:pt x="1514" y="223"/>
                    </a:lnTo>
                    <a:lnTo>
                      <a:pt x="1514" y="226"/>
                    </a:lnTo>
                    <a:lnTo>
                      <a:pt x="1517" y="226"/>
                    </a:lnTo>
                    <a:lnTo>
                      <a:pt x="1522" y="224"/>
                    </a:lnTo>
                    <a:lnTo>
                      <a:pt x="1527" y="229"/>
                    </a:lnTo>
                    <a:lnTo>
                      <a:pt x="1539" y="231"/>
                    </a:lnTo>
                    <a:lnTo>
                      <a:pt x="1540" y="233"/>
                    </a:lnTo>
                    <a:lnTo>
                      <a:pt x="1530" y="233"/>
                    </a:lnTo>
                    <a:lnTo>
                      <a:pt x="1525" y="233"/>
                    </a:lnTo>
                    <a:lnTo>
                      <a:pt x="1519" y="229"/>
                    </a:lnTo>
                    <a:lnTo>
                      <a:pt x="1514" y="231"/>
                    </a:lnTo>
                    <a:lnTo>
                      <a:pt x="1512" y="234"/>
                    </a:lnTo>
                    <a:lnTo>
                      <a:pt x="1519" y="236"/>
                    </a:lnTo>
                    <a:lnTo>
                      <a:pt x="1529" y="238"/>
                    </a:lnTo>
                    <a:lnTo>
                      <a:pt x="1539" y="238"/>
                    </a:lnTo>
                    <a:lnTo>
                      <a:pt x="1542" y="239"/>
                    </a:lnTo>
                    <a:lnTo>
                      <a:pt x="1530" y="241"/>
                    </a:lnTo>
                    <a:lnTo>
                      <a:pt x="1527" y="241"/>
                    </a:lnTo>
                    <a:lnTo>
                      <a:pt x="1519" y="239"/>
                    </a:lnTo>
                    <a:lnTo>
                      <a:pt x="1512" y="239"/>
                    </a:lnTo>
                    <a:lnTo>
                      <a:pt x="1509" y="236"/>
                    </a:lnTo>
                    <a:lnTo>
                      <a:pt x="1504" y="234"/>
                    </a:lnTo>
                    <a:lnTo>
                      <a:pt x="1497" y="229"/>
                    </a:lnTo>
                    <a:lnTo>
                      <a:pt x="1495" y="231"/>
                    </a:lnTo>
                    <a:lnTo>
                      <a:pt x="1492" y="234"/>
                    </a:lnTo>
                    <a:lnTo>
                      <a:pt x="1484" y="234"/>
                    </a:lnTo>
                    <a:lnTo>
                      <a:pt x="1481" y="236"/>
                    </a:lnTo>
                    <a:lnTo>
                      <a:pt x="1479" y="244"/>
                    </a:lnTo>
                    <a:lnTo>
                      <a:pt x="1485" y="249"/>
                    </a:lnTo>
                    <a:lnTo>
                      <a:pt x="1485" y="254"/>
                    </a:lnTo>
                    <a:lnTo>
                      <a:pt x="1484" y="256"/>
                    </a:lnTo>
                    <a:lnTo>
                      <a:pt x="1481" y="249"/>
                    </a:lnTo>
                    <a:lnTo>
                      <a:pt x="1477" y="249"/>
                    </a:lnTo>
                    <a:lnTo>
                      <a:pt x="1474" y="257"/>
                    </a:lnTo>
                    <a:lnTo>
                      <a:pt x="1476" y="264"/>
                    </a:lnTo>
                    <a:lnTo>
                      <a:pt x="1479" y="264"/>
                    </a:lnTo>
                    <a:lnTo>
                      <a:pt x="1481" y="262"/>
                    </a:lnTo>
                    <a:lnTo>
                      <a:pt x="1484" y="262"/>
                    </a:lnTo>
                    <a:lnTo>
                      <a:pt x="1487" y="267"/>
                    </a:lnTo>
                    <a:lnTo>
                      <a:pt x="1490" y="269"/>
                    </a:lnTo>
                    <a:lnTo>
                      <a:pt x="1485" y="269"/>
                    </a:lnTo>
                    <a:lnTo>
                      <a:pt x="1484" y="271"/>
                    </a:lnTo>
                    <a:lnTo>
                      <a:pt x="1479" y="267"/>
                    </a:lnTo>
                    <a:lnTo>
                      <a:pt x="1474" y="267"/>
                    </a:lnTo>
                    <a:lnTo>
                      <a:pt x="1472" y="276"/>
                    </a:lnTo>
                    <a:lnTo>
                      <a:pt x="1474" y="279"/>
                    </a:lnTo>
                    <a:lnTo>
                      <a:pt x="1477" y="277"/>
                    </a:lnTo>
                    <a:lnTo>
                      <a:pt x="1476" y="281"/>
                    </a:lnTo>
                    <a:lnTo>
                      <a:pt x="1476" y="289"/>
                    </a:lnTo>
                    <a:lnTo>
                      <a:pt x="1479" y="287"/>
                    </a:lnTo>
                    <a:lnTo>
                      <a:pt x="1482" y="289"/>
                    </a:lnTo>
                    <a:lnTo>
                      <a:pt x="1482" y="296"/>
                    </a:lnTo>
                    <a:lnTo>
                      <a:pt x="1489" y="297"/>
                    </a:lnTo>
                    <a:lnTo>
                      <a:pt x="1499" y="302"/>
                    </a:lnTo>
                    <a:lnTo>
                      <a:pt x="1504" y="301"/>
                    </a:lnTo>
                    <a:lnTo>
                      <a:pt x="1505" y="297"/>
                    </a:lnTo>
                    <a:lnTo>
                      <a:pt x="1504" y="294"/>
                    </a:lnTo>
                    <a:lnTo>
                      <a:pt x="1510" y="294"/>
                    </a:lnTo>
                    <a:lnTo>
                      <a:pt x="1512" y="297"/>
                    </a:lnTo>
                    <a:lnTo>
                      <a:pt x="1510" y="302"/>
                    </a:lnTo>
                    <a:lnTo>
                      <a:pt x="1512" y="306"/>
                    </a:lnTo>
                    <a:lnTo>
                      <a:pt x="1514" y="306"/>
                    </a:lnTo>
                    <a:lnTo>
                      <a:pt x="1517" y="294"/>
                    </a:lnTo>
                    <a:lnTo>
                      <a:pt x="1517" y="286"/>
                    </a:lnTo>
                    <a:lnTo>
                      <a:pt x="1519" y="279"/>
                    </a:lnTo>
                    <a:lnTo>
                      <a:pt x="1524" y="274"/>
                    </a:lnTo>
                    <a:lnTo>
                      <a:pt x="1527" y="271"/>
                    </a:lnTo>
                    <a:lnTo>
                      <a:pt x="1527" y="276"/>
                    </a:lnTo>
                    <a:lnTo>
                      <a:pt x="1520" y="284"/>
                    </a:lnTo>
                    <a:lnTo>
                      <a:pt x="1520" y="291"/>
                    </a:lnTo>
                    <a:lnTo>
                      <a:pt x="1522" y="294"/>
                    </a:lnTo>
                    <a:lnTo>
                      <a:pt x="1519" y="302"/>
                    </a:lnTo>
                    <a:lnTo>
                      <a:pt x="1522" y="306"/>
                    </a:lnTo>
                    <a:lnTo>
                      <a:pt x="1520" y="309"/>
                    </a:lnTo>
                    <a:lnTo>
                      <a:pt x="1522" y="311"/>
                    </a:lnTo>
                    <a:lnTo>
                      <a:pt x="1522" y="311"/>
                    </a:lnTo>
                    <a:close/>
                    <a:moveTo>
                      <a:pt x="1534" y="118"/>
                    </a:moveTo>
                    <a:lnTo>
                      <a:pt x="1535" y="116"/>
                    </a:lnTo>
                    <a:lnTo>
                      <a:pt x="1539" y="116"/>
                    </a:lnTo>
                    <a:lnTo>
                      <a:pt x="1540" y="118"/>
                    </a:lnTo>
                    <a:lnTo>
                      <a:pt x="1544" y="118"/>
                    </a:lnTo>
                    <a:lnTo>
                      <a:pt x="1545" y="121"/>
                    </a:lnTo>
                    <a:lnTo>
                      <a:pt x="1542" y="121"/>
                    </a:lnTo>
                    <a:lnTo>
                      <a:pt x="1540" y="120"/>
                    </a:lnTo>
                    <a:lnTo>
                      <a:pt x="1535" y="120"/>
                    </a:lnTo>
                    <a:lnTo>
                      <a:pt x="1534" y="118"/>
                    </a:lnTo>
                    <a:lnTo>
                      <a:pt x="1534" y="118"/>
                    </a:lnTo>
                    <a:close/>
                    <a:moveTo>
                      <a:pt x="1537" y="309"/>
                    </a:moveTo>
                    <a:lnTo>
                      <a:pt x="1539" y="304"/>
                    </a:lnTo>
                    <a:lnTo>
                      <a:pt x="1542" y="302"/>
                    </a:lnTo>
                    <a:lnTo>
                      <a:pt x="1542" y="299"/>
                    </a:lnTo>
                    <a:lnTo>
                      <a:pt x="1545" y="297"/>
                    </a:lnTo>
                    <a:lnTo>
                      <a:pt x="1547" y="299"/>
                    </a:lnTo>
                    <a:lnTo>
                      <a:pt x="1545" y="301"/>
                    </a:lnTo>
                    <a:lnTo>
                      <a:pt x="1544" y="304"/>
                    </a:lnTo>
                    <a:lnTo>
                      <a:pt x="1539" y="307"/>
                    </a:lnTo>
                    <a:lnTo>
                      <a:pt x="1537" y="309"/>
                    </a:lnTo>
                    <a:lnTo>
                      <a:pt x="1537" y="309"/>
                    </a:lnTo>
                    <a:close/>
                    <a:moveTo>
                      <a:pt x="1587" y="267"/>
                    </a:moveTo>
                    <a:lnTo>
                      <a:pt x="1593" y="259"/>
                    </a:lnTo>
                    <a:lnTo>
                      <a:pt x="1597" y="259"/>
                    </a:lnTo>
                    <a:lnTo>
                      <a:pt x="1602" y="257"/>
                    </a:lnTo>
                    <a:lnTo>
                      <a:pt x="1605" y="259"/>
                    </a:lnTo>
                    <a:lnTo>
                      <a:pt x="1610" y="262"/>
                    </a:lnTo>
                    <a:lnTo>
                      <a:pt x="1608" y="266"/>
                    </a:lnTo>
                    <a:lnTo>
                      <a:pt x="1602" y="266"/>
                    </a:lnTo>
                    <a:lnTo>
                      <a:pt x="1598" y="269"/>
                    </a:lnTo>
                    <a:lnTo>
                      <a:pt x="1592" y="269"/>
                    </a:lnTo>
                    <a:lnTo>
                      <a:pt x="1588" y="269"/>
                    </a:lnTo>
                    <a:lnTo>
                      <a:pt x="1587" y="267"/>
                    </a:lnTo>
                    <a:lnTo>
                      <a:pt x="1587" y="267"/>
                    </a:lnTo>
                    <a:close/>
                    <a:moveTo>
                      <a:pt x="1952" y="8"/>
                    </a:moveTo>
                    <a:lnTo>
                      <a:pt x="1954" y="5"/>
                    </a:lnTo>
                    <a:lnTo>
                      <a:pt x="1957" y="5"/>
                    </a:lnTo>
                    <a:lnTo>
                      <a:pt x="1959" y="8"/>
                    </a:lnTo>
                    <a:lnTo>
                      <a:pt x="1956" y="10"/>
                    </a:lnTo>
                    <a:lnTo>
                      <a:pt x="1952" y="8"/>
                    </a:lnTo>
                    <a:lnTo>
                      <a:pt x="1952" y="8"/>
                    </a:lnTo>
                    <a:close/>
                    <a:moveTo>
                      <a:pt x="1776" y="317"/>
                    </a:moveTo>
                    <a:lnTo>
                      <a:pt x="1775" y="319"/>
                    </a:lnTo>
                    <a:lnTo>
                      <a:pt x="1778" y="322"/>
                    </a:lnTo>
                    <a:lnTo>
                      <a:pt x="1781" y="322"/>
                    </a:lnTo>
                    <a:lnTo>
                      <a:pt x="1783" y="319"/>
                    </a:lnTo>
                    <a:lnTo>
                      <a:pt x="1780" y="317"/>
                    </a:lnTo>
                    <a:lnTo>
                      <a:pt x="1780" y="317"/>
                    </a:lnTo>
                    <a:lnTo>
                      <a:pt x="1776" y="317"/>
                    </a:lnTo>
                    <a:lnTo>
                      <a:pt x="1776" y="317"/>
                    </a:lnTo>
                    <a:close/>
                    <a:moveTo>
                      <a:pt x="1690" y="367"/>
                    </a:moveTo>
                    <a:lnTo>
                      <a:pt x="1691" y="369"/>
                    </a:lnTo>
                    <a:lnTo>
                      <a:pt x="1696" y="369"/>
                    </a:lnTo>
                    <a:lnTo>
                      <a:pt x="1693" y="365"/>
                    </a:lnTo>
                    <a:lnTo>
                      <a:pt x="1690" y="367"/>
                    </a:lnTo>
                    <a:lnTo>
                      <a:pt x="1690" y="367"/>
                    </a:lnTo>
                    <a:close/>
                    <a:moveTo>
                      <a:pt x="1567" y="364"/>
                    </a:moveTo>
                    <a:lnTo>
                      <a:pt x="1565" y="359"/>
                    </a:lnTo>
                    <a:lnTo>
                      <a:pt x="1565" y="357"/>
                    </a:lnTo>
                    <a:lnTo>
                      <a:pt x="1567" y="355"/>
                    </a:lnTo>
                    <a:lnTo>
                      <a:pt x="1570" y="359"/>
                    </a:lnTo>
                    <a:lnTo>
                      <a:pt x="1570" y="362"/>
                    </a:lnTo>
                    <a:lnTo>
                      <a:pt x="1569" y="364"/>
                    </a:lnTo>
                    <a:lnTo>
                      <a:pt x="1567" y="364"/>
                    </a:lnTo>
                    <a:lnTo>
                      <a:pt x="1567" y="364"/>
                    </a:lnTo>
                    <a:close/>
                    <a:moveTo>
                      <a:pt x="1532" y="430"/>
                    </a:moveTo>
                    <a:lnTo>
                      <a:pt x="1532" y="429"/>
                    </a:lnTo>
                    <a:lnTo>
                      <a:pt x="1532" y="424"/>
                    </a:lnTo>
                    <a:lnTo>
                      <a:pt x="1530" y="419"/>
                    </a:lnTo>
                    <a:lnTo>
                      <a:pt x="1529" y="417"/>
                    </a:lnTo>
                    <a:lnTo>
                      <a:pt x="1527" y="419"/>
                    </a:lnTo>
                    <a:lnTo>
                      <a:pt x="1525" y="424"/>
                    </a:lnTo>
                    <a:lnTo>
                      <a:pt x="1527" y="432"/>
                    </a:lnTo>
                    <a:lnTo>
                      <a:pt x="1530" y="437"/>
                    </a:lnTo>
                    <a:lnTo>
                      <a:pt x="1529" y="440"/>
                    </a:lnTo>
                    <a:lnTo>
                      <a:pt x="1527" y="440"/>
                    </a:lnTo>
                    <a:lnTo>
                      <a:pt x="1524" y="439"/>
                    </a:lnTo>
                    <a:lnTo>
                      <a:pt x="1514" y="439"/>
                    </a:lnTo>
                    <a:lnTo>
                      <a:pt x="1514" y="435"/>
                    </a:lnTo>
                    <a:lnTo>
                      <a:pt x="1512" y="434"/>
                    </a:lnTo>
                    <a:lnTo>
                      <a:pt x="1504" y="430"/>
                    </a:lnTo>
                    <a:lnTo>
                      <a:pt x="1500" y="430"/>
                    </a:lnTo>
                    <a:lnTo>
                      <a:pt x="1500" y="429"/>
                    </a:lnTo>
                    <a:lnTo>
                      <a:pt x="1499" y="427"/>
                    </a:lnTo>
                    <a:lnTo>
                      <a:pt x="1495" y="427"/>
                    </a:lnTo>
                    <a:lnTo>
                      <a:pt x="1495" y="425"/>
                    </a:lnTo>
                    <a:lnTo>
                      <a:pt x="1497" y="422"/>
                    </a:lnTo>
                    <a:lnTo>
                      <a:pt x="1500" y="420"/>
                    </a:lnTo>
                    <a:lnTo>
                      <a:pt x="1502" y="417"/>
                    </a:lnTo>
                    <a:lnTo>
                      <a:pt x="1502" y="414"/>
                    </a:lnTo>
                    <a:lnTo>
                      <a:pt x="1499" y="409"/>
                    </a:lnTo>
                    <a:lnTo>
                      <a:pt x="1497" y="407"/>
                    </a:lnTo>
                    <a:lnTo>
                      <a:pt x="1497" y="410"/>
                    </a:lnTo>
                    <a:lnTo>
                      <a:pt x="1499" y="412"/>
                    </a:lnTo>
                    <a:lnTo>
                      <a:pt x="1499" y="415"/>
                    </a:lnTo>
                    <a:lnTo>
                      <a:pt x="1497" y="419"/>
                    </a:lnTo>
                    <a:lnTo>
                      <a:pt x="1494" y="419"/>
                    </a:lnTo>
                    <a:lnTo>
                      <a:pt x="1492" y="419"/>
                    </a:lnTo>
                    <a:lnTo>
                      <a:pt x="1494" y="420"/>
                    </a:lnTo>
                    <a:lnTo>
                      <a:pt x="1494" y="424"/>
                    </a:lnTo>
                    <a:lnTo>
                      <a:pt x="1490" y="425"/>
                    </a:lnTo>
                    <a:lnTo>
                      <a:pt x="1489" y="425"/>
                    </a:lnTo>
                    <a:lnTo>
                      <a:pt x="1485" y="420"/>
                    </a:lnTo>
                    <a:lnTo>
                      <a:pt x="1485" y="419"/>
                    </a:lnTo>
                    <a:lnTo>
                      <a:pt x="1485" y="415"/>
                    </a:lnTo>
                    <a:lnTo>
                      <a:pt x="1487" y="410"/>
                    </a:lnTo>
                    <a:lnTo>
                      <a:pt x="1487" y="409"/>
                    </a:lnTo>
                    <a:lnTo>
                      <a:pt x="1487" y="405"/>
                    </a:lnTo>
                    <a:lnTo>
                      <a:pt x="1484" y="407"/>
                    </a:lnTo>
                    <a:lnTo>
                      <a:pt x="1484" y="412"/>
                    </a:lnTo>
                    <a:lnTo>
                      <a:pt x="1481" y="415"/>
                    </a:lnTo>
                    <a:lnTo>
                      <a:pt x="1482" y="417"/>
                    </a:lnTo>
                    <a:lnTo>
                      <a:pt x="1481" y="420"/>
                    </a:lnTo>
                    <a:lnTo>
                      <a:pt x="1476" y="420"/>
                    </a:lnTo>
                    <a:lnTo>
                      <a:pt x="1474" y="417"/>
                    </a:lnTo>
                    <a:lnTo>
                      <a:pt x="1471" y="417"/>
                    </a:lnTo>
                    <a:lnTo>
                      <a:pt x="1469" y="415"/>
                    </a:lnTo>
                    <a:lnTo>
                      <a:pt x="1471" y="412"/>
                    </a:lnTo>
                    <a:lnTo>
                      <a:pt x="1472" y="407"/>
                    </a:lnTo>
                    <a:lnTo>
                      <a:pt x="1474" y="405"/>
                    </a:lnTo>
                    <a:lnTo>
                      <a:pt x="1474" y="402"/>
                    </a:lnTo>
                    <a:lnTo>
                      <a:pt x="1479" y="392"/>
                    </a:lnTo>
                    <a:lnTo>
                      <a:pt x="1476" y="394"/>
                    </a:lnTo>
                    <a:lnTo>
                      <a:pt x="1472" y="395"/>
                    </a:lnTo>
                    <a:lnTo>
                      <a:pt x="1469" y="404"/>
                    </a:lnTo>
                    <a:lnTo>
                      <a:pt x="1469" y="410"/>
                    </a:lnTo>
                    <a:lnTo>
                      <a:pt x="1466" y="414"/>
                    </a:lnTo>
                    <a:lnTo>
                      <a:pt x="1464" y="412"/>
                    </a:lnTo>
                    <a:lnTo>
                      <a:pt x="1467" y="409"/>
                    </a:lnTo>
                    <a:lnTo>
                      <a:pt x="1467" y="407"/>
                    </a:lnTo>
                    <a:lnTo>
                      <a:pt x="1466" y="407"/>
                    </a:lnTo>
                    <a:lnTo>
                      <a:pt x="1462" y="412"/>
                    </a:lnTo>
                    <a:lnTo>
                      <a:pt x="1457" y="412"/>
                    </a:lnTo>
                    <a:lnTo>
                      <a:pt x="1456" y="410"/>
                    </a:lnTo>
                    <a:lnTo>
                      <a:pt x="1457" y="405"/>
                    </a:lnTo>
                    <a:lnTo>
                      <a:pt x="1456" y="402"/>
                    </a:lnTo>
                    <a:lnTo>
                      <a:pt x="1456" y="399"/>
                    </a:lnTo>
                    <a:lnTo>
                      <a:pt x="1461" y="395"/>
                    </a:lnTo>
                    <a:lnTo>
                      <a:pt x="1462" y="394"/>
                    </a:lnTo>
                    <a:lnTo>
                      <a:pt x="1462" y="390"/>
                    </a:lnTo>
                    <a:lnTo>
                      <a:pt x="1464" y="387"/>
                    </a:lnTo>
                    <a:lnTo>
                      <a:pt x="1467" y="384"/>
                    </a:lnTo>
                    <a:lnTo>
                      <a:pt x="1471" y="384"/>
                    </a:lnTo>
                    <a:lnTo>
                      <a:pt x="1472" y="382"/>
                    </a:lnTo>
                    <a:lnTo>
                      <a:pt x="1479" y="382"/>
                    </a:lnTo>
                    <a:lnTo>
                      <a:pt x="1482" y="379"/>
                    </a:lnTo>
                    <a:lnTo>
                      <a:pt x="1487" y="377"/>
                    </a:lnTo>
                    <a:lnTo>
                      <a:pt x="1489" y="377"/>
                    </a:lnTo>
                    <a:lnTo>
                      <a:pt x="1489" y="374"/>
                    </a:lnTo>
                    <a:lnTo>
                      <a:pt x="1492" y="372"/>
                    </a:lnTo>
                    <a:lnTo>
                      <a:pt x="1495" y="372"/>
                    </a:lnTo>
                    <a:lnTo>
                      <a:pt x="1502" y="374"/>
                    </a:lnTo>
                    <a:lnTo>
                      <a:pt x="1510" y="374"/>
                    </a:lnTo>
                    <a:lnTo>
                      <a:pt x="1512" y="372"/>
                    </a:lnTo>
                    <a:lnTo>
                      <a:pt x="1517" y="374"/>
                    </a:lnTo>
                    <a:lnTo>
                      <a:pt x="1519" y="377"/>
                    </a:lnTo>
                    <a:lnTo>
                      <a:pt x="1522" y="377"/>
                    </a:lnTo>
                    <a:lnTo>
                      <a:pt x="1522" y="375"/>
                    </a:lnTo>
                    <a:lnTo>
                      <a:pt x="1525" y="375"/>
                    </a:lnTo>
                    <a:lnTo>
                      <a:pt x="1530" y="379"/>
                    </a:lnTo>
                    <a:lnTo>
                      <a:pt x="1532" y="377"/>
                    </a:lnTo>
                    <a:lnTo>
                      <a:pt x="1537" y="377"/>
                    </a:lnTo>
                    <a:lnTo>
                      <a:pt x="1539" y="375"/>
                    </a:lnTo>
                    <a:lnTo>
                      <a:pt x="1537" y="374"/>
                    </a:lnTo>
                    <a:lnTo>
                      <a:pt x="1534" y="375"/>
                    </a:lnTo>
                    <a:lnTo>
                      <a:pt x="1530" y="372"/>
                    </a:lnTo>
                    <a:lnTo>
                      <a:pt x="1527" y="372"/>
                    </a:lnTo>
                    <a:lnTo>
                      <a:pt x="1529" y="370"/>
                    </a:lnTo>
                    <a:lnTo>
                      <a:pt x="1530" y="369"/>
                    </a:lnTo>
                    <a:lnTo>
                      <a:pt x="1532" y="365"/>
                    </a:lnTo>
                    <a:lnTo>
                      <a:pt x="1527" y="365"/>
                    </a:lnTo>
                    <a:lnTo>
                      <a:pt x="1529" y="364"/>
                    </a:lnTo>
                    <a:lnTo>
                      <a:pt x="1534" y="364"/>
                    </a:lnTo>
                    <a:lnTo>
                      <a:pt x="1534" y="362"/>
                    </a:lnTo>
                    <a:lnTo>
                      <a:pt x="1529" y="360"/>
                    </a:lnTo>
                    <a:lnTo>
                      <a:pt x="1529" y="362"/>
                    </a:lnTo>
                    <a:lnTo>
                      <a:pt x="1525" y="362"/>
                    </a:lnTo>
                    <a:lnTo>
                      <a:pt x="1522" y="359"/>
                    </a:lnTo>
                    <a:lnTo>
                      <a:pt x="1522" y="357"/>
                    </a:lnTo>
                    <a:lnTo>
                      <a:pt x="1527" y="354"/>
                    </a:lnTo>
                    <a:lnTo>
                      <a:pt x="1527" y="350"/>
                    </a:lnTo>
                    <a:lnTo>
                      <a:pt x="1525" y="350"/>
                    </a:lnTo>
                    <a:lnTo>
                      <a:pt x="1524" y="347"/>
                    </a:lnTo>
                    <a:lnTo>
                      <a:pt x="1524" y="341"/>
                    </a:lnTo>
                    <a:lnTo>
                      <a:pt x="1525" y="339"/>
                    </a:lnTo>
                    <a:lnTo>
                      <a:pt x="1524" y="336"/>
                    </a:lnTo>
                    <a:lnTo>
                      <a:pt x="1524" y="331"/>
                    </a:lnTo>
                    <a:lnTo>
                      <a:pt x="1527" y="331"/>
                    </a:lnTo>
                    <a:lnTo>
                      <a:pt x="1532" y="329"/>
                    </a:lnTo>
                    <a:lnTo>
                      <a:pt x="1537" y="331"/>
                    </a:lnTo>
                    <a:lnTo>
                      <a:pt x="1540" y="329"/>
                    </a:lnTo>
                    <a:lnTo>
                      <a:pt x="1545" y="331"/>
                    </a:lnTo>
                    <a:lnTo>
                      <a:pt x="1549" y="331"/>
                    </a:lnTo>
                    <a:lnTo>
                      <a:pt x="1554" y="336"/>
                    </a:lnTo>
                    <a:lnTo>
                      <a:pt x="1557" y="345"/>
                    </a:lnTo>
                    <a:lnTo>
                      <a:pt x="1557" y="357"/>
                    </a:lnTo>
                    <a:lnTo>
                      <a:pt x="1555" y="364"/>
                    </a:lnTo>
                    <a:lnTo>
                      <a:pt x="1557" y="365"/>
                    </a:lnTo>
                    <a:lnTo>
                      <a:pt x="1560" y="364"/>
                    </a:lnTo>
                    <a:lnTo>
                      <a:pt x="1569" y="367"/>
                    </a:lnTo>
                    <a:lnTo>
                      <a:pt x="1572" y="372"/>
                    </a:lnTo>
                    <a:lnTo>
                      <a:pt x="1575" y="374"/>
                    </a:lnTo>
                    <a:lnTo>
                      <a:pt x="1575" y="370"/>
                    </a:lnTo>
                    <a:lnTo>
                      <a:pt x="1585" y="370"/>
                    </a:lnTo>
                    <a:lnTo>
                      <a:pt x="1590" y="375"/>
                    </a:lnTo>
                    <a:lnTo>
                      <a:pt x="1593" y="374"/>
                    </a:lnTo>
                    <a:lnTo>
                      <a:pt x="1590" y="372"/>
                    </a:lnTo>
                    <a:lnTo>
                      <a:pt x="1593" y="369"/>
                    </a:lnTo>
                    <a:lnTo>
                      <a:pt x="1602" y="365"/>
                    </a:lnTo>
                    <a:lnTo>
                      <a:pt x="1607" y="359"/>
                    </a:lnTo>
                    <a:lnTo>
                      <a:pt x="1615" y="354"/>
                    </a:lnTo>
                    <a:lnTo>
                      <a:pt x="1623" y="347"/>
                    </a:lnTo>
                    <a:lnTo>
                      <a:pt x="1623" y="342"/>
                    </a:lnTo>
                    <a:lnTo>
                      <a:pt x="1627" y="341"/>
                    </a:lnTo>
                    <a:lnTo>
                      <a:pt x="1623" y="341"/>
                    </a:lnTo>
                    <a:lnTo>
                      <a:pt x="1620" y="342"/>
                    </a:lnTo>
                    <a:lnTo>
                      <a:pt x="1620" y="345"/>
                    </a:lnTo>
                    <a:lnTo>
                      <a:pt x="1612" y="354"/>
                    </a:lnTo>
                    <a:lnTo>
                      <a:pt x="1607" y="357"/>
                    </a:lnTo>
                    <a:lnTo>
                      <a:pt x="1607" y="357"/>
                    </a:lnTo>
                    <a:lnTo>
                      <a:pt x="1600" y="364"/>
                    </a:lnTo>
                    <a:lnTo>
                      <a:pt x="1592" y="365"/>
                    </a:lnTo>
                    <a:lnTo>
                      <a:pt x="1588" y="364"/>
                    </a:lnTo>
                    <a:lnTo>
                      <a:pt x="1585" y="364"/>
                    </a:lnTo>
                    <a:lnTo>
                      <a:pt x="1585" y="365"/>
                    </a:lnTo>
                    <a:lnTo>
                      <a:pt x="1580" y="365"/>
                    </a:lnTo>
                    <a:lnTo>
                      <a:pt x="1574" y="362"/>
                    </a:lnTo>
                    <a:lnTo>
                      <a:pt x="1574" y="360"/>
                    </a:lnTo>
                    <a:lnTo>
                      <a:pt x="1577" y="357"/>
                    </a:lnTo>
                    <a:lnTo>
                      <a:pt x="1582" y="354"/>
                    </a:lnTo>
                    <a:lnTo>
                      <a:pt x="1582" y="350"/>
                    </a:lnTo>
                    <a:lnTo>
                      <a:pt x="1577" y="354"/>
                    </a:lnTo>
                    <a:lnTo>
                      <a:pt x="1575" y="357"/>
                    </a:lnTo>
                    <a:lnTo>
                      <a:pt x="1572" y="355"/>
                    </a:lnTo>
                    <a:lnTo>
                      <a:pt x="1569" y="350"/>
                    </a:lnTo>
                    <a:lnTo>
                      <a:pt x="1569" y="349"/>
                    </a:lnTo>
                    <a:lnTo>
                      <a:pt x="1572" y="349"/>
                    </a:lnTo>
                    <a:lnTo>
                      <a:pt x="1575" y="347"/>
                    </a:lnTo>
                    <a:lnTo>
                      <a:pt x="1577" y="345"/>
                    </a:lnTo>
                    <a:lnTo>
                      <a:pt x="1572" y="345"/>
                    </a:lnTo>
                    <a:lnTo>
                      <a:pt x="1572" y="344"/>
                    </a:lnTo>
                    <a:lnTo>
                      <a:pt x="1575" y="342"/>
                    </a:lnTo>
                    <a:lnTo>
                      <a:pt x="1579" y="342"/>
                    </a:lnTo>
                    <a:lnTo>
                      <a:pt x="1582" y="342"/>
                    </a:lnTo>
                    <a:lnTo>
                      <a:pt x="1582" y="341"/>
                    </a:lnTo>
                    <a:lnTo>
                      <a:pt x="1579" y="341"/>
                    </a:lnTo>
                    <a:lnTo>
                      <a:pt x="1575" y="339"/>
                    </a:lnTo>
                    <a:lnTo>
                      <a:pt x="1574" y="341"/>
                    </a:lnTo>
                    <a:lnTo>
                      <a:pt x="1570" y="341"/>
                    </a:lnTo>
                    <a:lnTo>
                      <a:pt x="1569" y="337"/>
                    </a:lnTo>
                    <a:lnTo>
                      <a:pt x="1570" y="336"/>
                    </a:lnTo>
                    <a:lnTo>
                      <a:pt x="1574" y="334"/>
                    </a:lnTo>
                    <a:lnTo>
                      <a:pt x="1577" y="332"/>
                    </a:lnTo>
                    <a:lnTo>
                      <a:pt x="1582" y="332"/>
                    </a:lnTo>
                    <a:lnTo>
                      <a:pt x="1587" y="334"/>
                    </a:lnTo>
                    <a:lnTo>
                      <a:pt x="1590" y="332"/>
                    </a:lnTo>
                    <a:lnTo>
                      <a:pt x="1585" y="332"/>
                    </a:lnTo>
                    <a:lnTo>
                      <a:pt x="1583" y="329"/>
                    </a:lnTo>
                    <a:lnTo>
                      <a:pt x="1588" y="326"/>
                    </a:lnTo>
                    <a:lnTo>
                      <a:pt x="1592" y="326"/>
                    </a:lnTo>
                    <a:lnTo>
                      <a:pt x="1593" y="324"/>
                    </a:lnTo>
                    <a:lnTo>
                      <a:pt x="1588" y="324"/>
                    </a:lnTo>
                    <a:lnTo>
                      <a:pt x="1588" y="321"/>
                    </a:lnTo>
                    <a:lnTo>
                      <a:pt x="1592" y="317"/>
                    </a:lnTo>
                    <a:lnTo>
                      <a:pt x="1597" y="317"/>
                    </a:lnTo>
                    <a:lnTo>
                      <a:pt x="1593" y="314"/>
                    </a:lnTo>
                    <a:lnTo>
                      <a:pt x="1600" y="306"/>
                    </a:lnTo>
                    <a:lnTo>
                      <a:pt x="1603" y="302"/>
                    </a:lnTo>
                    <a:lnTo>
                      <a:pt x="1605" y="301"/>
                    </a:lnTo>
                    <a:lnTo>
                      <a:pt x="1602" y="301"/>
                    </a:lnTo>
                    <a:lnTo>
                      <a:pt x="1595" y="307"/>
                    </a:lnTo>
                    <a:lnTo>
                      <a:pt x="1588" y="317"/>
                    </a:lnTo>
                    <a:lnTo>
                      <a:pt x="1582" y="322"/>
                    </a:lnTo>
                    <a:lnTo>
                      <a:pt x="1577" y="327"/>
                    </a:lnTo>
                    <a:lnTo>
                      <a:pt x="1572" y="327"/>
                    </a:lnTo>
                    <a:lnTo>
                      <a:pt x="1565" y="327"/>
                    </a:lnTo>
                    <a:lnTo>
                      <a:pt x="1565" y="324"/>
                    </a:lnTo>
                    <a:lnTo>
                      <a:pt x="1569" y="319"/>
                    </a:lnTo>
                    <a:lnTo>
                      <a:pt x="1574" y="317"/>
                    </a:lnTo>
                    <a:lnTo>
                      <a:pt x="1574" y="312"/>
                    </a:lnTo>
                    <a:lnTo>
                      <a:pt x="1567" y="317"/>
                    </a:lnTo>
                    <a:lnTo>
                      <a:pt x="1560" y="317"/>
                    </a:lnTo>
                    <a:lnTo>
                      <a:pt x="1560" y="321"/>
                    </a:lnTo>
                    <a:lnTo>
                      <a:pt x="1557" y="322"/>
                    </a:lnTo>
                    <a:lnTo>
                      <a:pt x="1550" y="322"/>
                    </a:lnTo>
                    <a:lnTo>
                      <a:pt x="1544" y="317"/>
                    </a:lnTo>
                    <a:lnTo>
                      <a:pt x="1547" y="316"/>
                    </a:lnTo>
                    <a:lnTo>
                      <a:pt x="1552" y="314"/>
                    </a:lnTo>
                    <a:lnTo>
                      <a:pt x="1550" y="312"/>
                    </a:lnTo>
                    <a:lnTo>
                      <a:pt x="1547" y="312"/>
                    </a:lnTo>
                    <a:lnTo>
                      <a:pt x="1549" y="307"/>
                    </a:lnTo>
                    <a:lnTo>
                      <a:pt x="1554" y="302"/>
                    </a:lnTo>
                    <a:lnTo>
                      <a:pt x="1555" y="299"/>
                    </a:lnTo>
                    <a:lnTo>
                      <a:pt x="1560" y="297"/>
                    </a:lnTo>
                    <a:lnTo>
                      <a:pt x="1564" y="296"/>
                    </a:lnTo>
                    <a:lnTo>
                      <a:pt x="1569" y="294"/>
                    </a:lnTo>
                    <a:lnTo>
                      <a:pt x="1569" y="289"/>
                    </a:lnTo>
                    <a:lnTo>
                      <a:pt x="1572" y="284"/>
                    </a:lnTo>
                    <a:lnTo>
                      <a:pt x="1579" y="276"/>
                    </a:lnTo>
                    <a:lnTo>
                      <a:pt x="1583" y="277"/>
                    </a:lnTo>
                    <a:lnTo>
                      <a:pt x="1592" y="276"/>
                    </a:lnTo>
                    <a:lnTo>
                      <a:pt x="1600" y="277"/>
                    </a:lnTo>
                    <a:lnTo>
                      <a:pt x="1603" y="276"/>
                    </a:lnTo>
                    <a:lnTo>
                      <a:pt x="1607" y="276"/>
                    </a:lnTo>
                    <a:lnTo>
                      <a:pt x="1612" y="272"/>
                    </a:lnTo>
                    <a:lnTo>
                      <a:pt x="1615" y="272"/>
                    </a:lnTo>
                    <a:lnTo>
                      <a:pt x="1617" y="274"/>
                    </a:lnTo>
                    <a:lnTo>
                      <a:pt x="1622" y="279"/>
                    </a:lnTo>
                    <a:lnTo>
                      <a:pt x="1625" y="279"/>
                    </a:lnTo>
                    <a:lnTo>
                      <a:pt x="1637" y="286"/>
                    </a:lnTo>
                    <a:lnTo>
                      <a:pt x="1638" y="289"/>
                    </a:lnTo>
                    <a:lnTo>
                      <a:pt x="1640" y="292"/>
                    </a:lnTo>
                    <a:lnTo>
                      <a:pt x="1643" y="292"/>
                    </a:lnTo>
                    <a:lnTo>
                      <a:pt x="1650" y="302"/>
                    </a:lnTo>
                    <a:lnTo>
                      <a:pt x="1650" y="296"/>
                    </a:lnTo>
                    <a:lnTo>
                      <a:pt x="1655" y="296"/>
                    </a:lnTo>
                    <a:lnTo>
                      <a:pt x="1653" y="292"/>
                    </a:lnTo>
                    <a:lnTo>
                      <a:pt x="1648" y="292"/>
                    </a:lnTo>
                    <a:lnTo>
                      <a:pt x="1645" y="291"/>
                    </a:lnTo>
                    <a:lnTo>
                      <a:pt x="1645" y="287"/>
                    </a:lnTo>
                    <a:lnTo>
                      <a:pt x="1650" y="286"/>
                    </a:lnTo>
                    <a:lnTo>
                      <a:pt x="1660" y="286"/>
                    </a:lnTo>
                    <a:lnTo>
                      <a:pt x="1665" y="289"/>
                    </a:lnTo>
                    <a:lnTo>
                      <a:pt x="1667" y="286"/>
                    </a:lnTo>
                    <a:lnTo>
                      <a:pt x="1667" y="281"/>
                    </a:lnTo>
                    <a:lnTo>
                      <a:pt x="1668" y="277"/>
                    </a:lnTo>
                    <a:lnTo>
                      <a:pt x="1668" y="274"/>
                    </a:lnTo>
                    <a:lnTo>
                      <a:pt x="1667" y="276"/>
                    </a:lnTo>
                    <a:lnTo>
                      <a:pt x="1665" y="279"/>
                    </a:lnTo>
                    <a:lnTo>
                      <a:pt x="1660" y="282"/>
                    </a:lnTo>
                    <a:lnTo>
                      <a:pt x="1657" y="284"/>
                    </a:lnTo>
                    <a:lnTo>
                      <a:pt x="1648" y="282"/>
                    </a:lnTo>
                    <a:lnTo>
                      <a:pt x="1640" y="281"/>
                    </a:lnTo>
                    <a:lnTo>
                      <a:pt x="1638" y="277"/>
                    </a:lnTo>
                    <a:lnTo>
                      <a:pt x="1633" y="276"/>
                    </a:lnTo>
                    <a:lnTo>
                      <a:pt x="1627" y="277"/>
                    </a:lnTo>
                    <a:lnTo>
                      <a:pt x="1622" y="267"/>
                    </a:lnTo>
                    <a:lnTo>
                      <a:pt x="1620" y="259"/>
                    </a:lnTo>
                    <a:lnTo>
                      <a:pt x="1623" y="257"/>
                    </a:lnTo>
                    <a:lnTo>
                      <a:pt x="1628" y="261"/>
                    </a:lnTo>
                    <a:lnTo>
                      <a:pt x="1630" y="264"/>
                    </a:lnTo>
                    <a:lnTo>
                      <a:pt x="1632" y="267"/>
                    </a:lnTo>
                    <a:lnTo>
                      <a:pt x="1635" y="262"/>
                    </a:lnTo>
                    <a:lnTo>
                      <a:pt x="1637" y="256"/>
                    </a:lnTo>
                    <a:lnTo>
                      <a:pt x="1633" y="257"/>
                    </a:lnTo>
                    <a:lnTo>
                      <a:pt x="1632" y="256"/>
                    </a:lnTo>
                    <a:lnTo>
                      <a:pt x="1632" y="251"/>
                    </a:lnTo>
                    <a:lnTo>
                      <a:pt x="1635" y="244"/>
                    </a:lnTo>
                    <a:lnTo>
                      <a:pt x="1635" y="239"/>
                    </a:lnTo>
                    <a:lnTo>
                      <a:pt x="1638" y="233"/>
                    </a:lnTo>
                    <a:lnTo>
                      <a:pt x="1637" y="221"/>
                    </a:lnTo>
                    <a:lnTo>
                      <a:pt x="1635" y="214"/>
                    </a:lnTo>
                    <a:lnTo>
                      <a:pt x="1632" y="213"/>
                    </a:lnTo>
                    <a:lnTo>
                      <a:pt x="1630" y="208"/>
                    </a:lnTo>
                    <a:lnTo>
                      <a:pt x="1630" y="204"/>
                    </a:lnTo>
                    <a:lnTo>
                      <a:pt x="1633" y="203"/>
                    </a:lnTo>
                    <a:lnTo>
                      <a:pt x="1637" y="203"/>
                    </a:lnTo>
                    <a:lnTo>
                      <a:pt x="1638" y="204"/>
                    </a:lnTo>
                    <a:lnTo>
                      <a:pt x="1642" y="206"/>
                    </a:lnTo>
                    <a:lnTo>
                      <a:pt x="1645" y="211"/>
                    </a:lnTo>
                    <a:lnTo>
                      <a:pt x="1647" y="209"/>
                    </a:lnTo>
                    <a:lnTo>
                      <a:pt x="1647" y="206"/>
                    </a:lnTo>
                    <a:lnTo>
                      <a:pt x="1645" y="201"/>
                    </a:lnTo>
                    <a:lnTo>
                      <a:pt x="1640" y="199"/>
                    </a:lnTo>
                    <a:lnTo>
                      <a:pt x="1637" y="198"/>
                    </a:lnTo>
                    <a:lnTo>
                      <a:pt x="1637" y="194"/>
                    </a:lnTo>
                    <a:lnTo>
                      <a:pt x="1638" y="188"/>
                    </a:lnTo>
                    <a:lnTo>
                      <a:pt x="1653" y="174"/>
                    </a:lnTo>
                    <a:lnTo>
                      <a:pt x="1660" y="173"/>
                    </a:lnTo>
                    <a:lnTo>
                      <a:pt x="1665" y="174"/>
                    </a:lnTo>
                    <a:lnTo>
                      <a:pt x="1667" y="178"/>
                    </a:lnTo>
                    <a:lnTo>
                      <a:pt x="1672" y="183"/>
                    </a:lnTo>
                    <a:lnTo>
                      <a:pt x="1677" y="183"/>
                    </a:lnTo>
                    <a:lnTo>
                      <a:pt x="1686" y="188"/>
                    </a:lnTo>
                    <a:lnTo>
                      <a:pt x="1686" y="193"/>
                    </a:lnTo>
                    <a:lnTo>
                      <a:pt x="1691" y="199"/>
                    </a:lnTo>
                    <a:lnTo>
                      <a:pt x="1695" y="209"/>
                    </a:lnTo>
                    <a:lnTo>
                      <a:pt x="1693" y="218"/>
                    </a:lnTo>
                    <a:lnTo>
                      <a:pt x="1695" y="224"/>
                    </a:lnTo>
                    <a:lnTo>
                      <a:pt x="1698" y="229"/>
                    </a:lnTo>
                    <a:lnTo>
                      <a:pt x="1700" y="226"/>
                    </a:lnTo>
                    <a:lnTo>
                      <a:pt x="1701" y="226"/>
                    </a:lnTo>
                    <a:lnTo>
                      <a:pt x="1706" y="231"/>
                    </a:lnTo>
                    <a:lnTo>
                      <a:pt x="1706" y="234"/>
                    </a:lnTo>
                    <a:lnTo>
                      <a:pt x="1708" y="231"/>
                    </a:lnTo>
                    <a:lnTo>
                      <a:pt x="1711" y="229"/>
                    </a:lnTo>
                    <a:lnTo>
                      <a:pt x="1716" y="229"/>
                    </a:lnTo>
                    <a:lnTo>
                      <a:pt x="1713" y="228"/>
                    </a:lnTo>
                    <a:lnTo>
                      <a:pt x="1706" y="228"/>
                    </a:lnTo>
                    <a:lnTo>
                      <a:pt x="1703" y="223"/>
                    </a:lnTo>
                    <a:lnTo>
                      <a:pt x="1700" y="221"/>
                    </a:lnTo>
                    <a:lnTo>
                      <a:pt x="1700" y="219"/>
                    </a:lnTo>
                    <a:lnTo>
                      <a:pt x="1705" y="214"/>
                    </a:lnTo>
                    <a:lnTo>
                      <a:pt x="1705" y="211"/>
                    </a:lnTo>
                    <a:lnTo>
                      <a:pt x="1703" y="196"/>
                    </a:lnTo>
                    <a:lnTo>
                      <a:pt x="1703" y="191"/>
                    </a:lnTo>
                    <a:lnTo>
                      <a:pt x="1703" y="186"/>
                    </a:lnTo>
                    <a:lnTo>
                      <a:pt x="1713" y="186"/>
                    </a:lnTo>
                    <a:lnTo>
                      <a:pt x="1716" y="188"/>
                    </a:lnTo>
                    <a:lnTo>
                      <a:pt x="1723" y="189"/>
                    </a:lnTo>
                    <a:lnTo>
                      <a:pt x="1730" y="189"/>
                    </a:lnTo>
                    <a:lnTo>
                      <a:pt x="1738" y="193"/>
                    </a:lnTo>
                    <a:lnTo>
                      <a:pt x="1746" y="193"/>
                    </a:lnTo>
                    <a:lnTo>
                      <a:pt x="1755" y="189"/>
                    </a:lnTo>
                    <a:lnTo>
                      <a:pt x="1758" y="189"/>
                    </a:lnTo>
                    <a:lnTo>
                      <a:pt x="1763" y="193"/>
                    </a:lnTo>
                    <a:lnTo>
                      <a:pt x="1773" y="194"/>
                    </a:lnTo>
                    <a:lnTo>
                      <a:pt x="1778" y="196"/>
                    </a:lnTo>
                    <a:lnTo>
                      <a:pt x="1783" y="196"/>
                    </a:lnTo>
                    <a:lnTo>
                      <a:pt x="1783" y="193"/>
                    </a:lnTo>
                    <a:lnTo>
                      <a:pt x="1778" y="191"/>
                    </a:lnTo>
                    <a:lnTo>
                      <a:pt x="1771" y="191"/>
                    </a:lnTo>
                    <a:lnTo>
                      <a:pt x="1765" y="189"/>
                    </a:lnTo>
                    <a:lnTo>
                      <a:pt x="1761" y="186"/>
                    </a:lnTo>
                    <a:lnTo>
                      <a:pt x="1763" y="184"/>
                    </a:lnTo>
                    <a:lnTo>
                      <a:pt x="1766" y="184"/>
                    </a:lnTo>
                    <a:lnTo>
                      <a:pt x="1773" y="183"/>
                    </a:lnTo>
                    <a:lnTo>
                      <a:pt x="1789" y="181"/>
                    </a:lnTo>
                    <a:lnTo>
                      <a:pt x="1801" y="179"/>
                    </a:lnTo>
                    <a:lnTo>
                      <a:pt x="1809" y="183"/>
                    </a:lnTo>
                    <a:lnTo>
                      <a:pt x="1816" y="188"/>
                    </a:lnTo>
                    <a:lnTo>
                      <a:pt x="1819" y="184"/>
                    </a:lnTo>
                    <a:lnTo>
                      <a:pt x="1826" y="184"/>
                    </a:lnTo>
                    <a:lnTo>
                      <a:pt x="1823" y="181"/>
                    </a:lnTo>
                    <a:lnTo>
                      <a:pt x="1819" y="181"/>
                    </a:lnTo>
                    <a:lnTo>
                      <a:pt x="1816" y="179"/>
                    </a:lnTo>
                    <a:lnTo>
                      <a:pt x="1816" y="178"/>
                    </a:lnTo>
                    <a:lnTo>
                      <a:pt x="1811" y="174"/>
                    </a:lnTo>
                    <a:lnTo>
                      <a:pt x="1804" y="174"/>
                    </a:lnTo>
                    <a:lnTo>
                      <a:pt x="1801" y="173"/>
                    </a:lnTo>
                    <a:lnTo>
                      <a:pt x="1789" y="174"/>
                    </a:lnTo>
                    <a:lnTo>
                      <a:pt x="1789" y="173"/>
                    </a:lnTo>
                    <a:lnTo>
                      <a:pt x="1791" y="169"/>
                    </a:lnTo>
                    <a:lnTo>
                      <a:pt x="1794" y="164"/>
                    </a:lnTo>
                    <a:lnTo>
                      <a:pt x="1799" y="163"/>
                    </a:lnTo>
                    <a:lnTo>
                      <a:pt x="1804" y="159"/>
                    </a:lnTo>
                    <a:lnTo>
                      <a:pt x="1808" y="154"/>
                    </a:lnTo>
                    <a:lnTo>
                      <a:pt x="1821" y="146"/>
                    </a:lnTo>
                    <a:lnTo>
                      <a:pt x="1828" y="146"/>
                    </a:lnTo>
                    <a:lnTo>
                      <a:pt x="1839" y="141"/>
                    </a:lnTo>
                    <a:lnTo>
                      <a:pt x="1839" y="140"/>
                    </a:lnTo>
                    <a:lnTo>
                      <a:pt x="1826" y="145"/>
                    </a:lnTo>
                    <a:lnTo>
                      <a:pt x="1816" y="145"/>
                    </a:lnTo>
                    <a:lnTo>
                      <a:pt x="1803" y="153"/>
                    </a:lnTo>
                    <a:lnTo>
                      <a:pt x="1803" y="158"/>
                    </a:lnTo>
                    <a:lnTo>
                      <a:pt x="1801" y="158"/>
                    </a:lnTo>
                    <a:lnTo>
                      <a:pt x="1799" y="153"/>
                    </a:lnTo>
                    <a:lnTo>
                      <a:pt x="1798" y="153"/>
                    </a:lnTo>
                    <a:lnTo>
                      <a:pt x="1794" y="158"/>
                    </a:lnTo>
                    <a:lnTo>
                      <a:pt x="1789" y="158"/>
                    </a:lnTo>
                    <a:lnTo>
                      <a:pt x="1783" y="164"/>
                    </a:lnTo>
                    <a:lnTo>
                      <a:pt x="1786" y="164"/>
                    </a:lnTo>
                    <a:lnTo>
                      <a:pt x="1786" y="168"/>
                    </a:lnTo>
                    <a:lnTo>
                      <a:pt x="1778" y="173"/>
                    </a:lnTo>
                    <a:lnTo>
                      <a:pt x="1773" y="174"/>
                    </a:lnTo>
                    <a:lnTo>
                      <a:pt x="1756" y="179"/>
                    </a:lnTo>
                    <a:lnTo>
                      <a:pt x="1751" y="181"/>
                    </a:lnTo>
                    <a:lnTo>
                      <a:pt x="1746" y="181"/>
                    </a:lnTo>
                    <a:lnTo>
                      <a:pt x="1731" y="181"/>
                    </a:lnTo>
                    <a:lnTo>
                      <a:pt x="1726" y="174"/>
                    </a:lnTo>
                    <a:lnTo>
                      <a:pt x="1718" y="176"/>
                    </a:lnTo>
                    <a:lnTo>
                      <a:pt x="1715" y="174"/>
                    </a:lnTo>
                    <a:lnTo>
                      <a:pt x="1715" y="171"/>
                    </a:lnTo>
                    <a:lnTo>
                      <a:pt x="1721" y="166"/>
                    </a:lnTo>
                    <a:lnTo>
                      <a:pt x="1726" y="166"/>
                    </a:lnTo>
                    <a:lnTo>
                      <a:pt x="1731" y="164"/>
                    </a:lnTo>
                    <a:lnTo>
                      <a:pt x="1740" y="163"/>
                    </a:lnTo>
                    <a:lnTo>
                      <a:pt x="1745" y="159"/>
                    </a:lnTo>
                    <a:lnTo>
                      <a:pt x="1741" y="159"/>
                    </a:lnTo>
                    <a:lnTo>
                      <a:pt x="1735" y="161"/>
                    </a:lnTo>
                    <a:lnTo>
                      <a:pt x="1730" y="161"/>
                    </a:lnTo>
                    <a:lnTo>
                      <a:pt x="1723" y="163"/>
                    </a:lnTo>
                    <a:lnTo>
                      <a:pt x="1718" y="163"/>
                    </a:lnTo>
                    <a:lnTo>
                      <a:pt x="1718" y="158"/>
                    </a:lnTo>
                    <a:lnTo>
                      <a:pt x="1725" y="156"/>
                    </a:lnTo>
                    <a:lnTo>
                      <a:pt x="1720" y="154"/>
                    </a:lnTo>
                    <a:lnTo>
                      <a:pt x="1713" y="158"/>
                    </a:lnTo>
                    <a:lnTo>
                      <a:pt x="1711" y="163"/>
                    </a:lnTo>
                    <a:lnTo>
                      <a:pt x="1705" y="169"/>
                    </a:lnTo>
                    <a:lnTo>
                      <a:pt x="1696" y="169"/>
                    </a:lnTo>
                    <a:lnTo>
                      <a:pt x="1686" y="168"/>
                    </a:lnTo>
                    <a:lnTo>
                      <a:pt x="1677" y="166"/>
                    </a:lnTo>
                    <a:lnTo>
                      <a:pt x="1673" y="163"/>
                    </a:lnTo>
                    <a:lnTo>
                      <a:pt x="1673" y="159"/>
                    </a:lnTo>
                    <a:lnTo>
                      <a:pt x="1668" y="159"/>
                    </a:lnTo>
                    <a:lnTo>
                      <a:pt x="1662" y="156"/>
                    </a:lnTo>
                    <a:lnTo>
                      <a:pt x="1663" y="153"/>
                    </a:lnTo>
                    <a:lnTo>
                      <a:pt x="1667" y="151"/>
                    </a:lnTo>
                    <a:lnTo>
                      <a:pt x="1670" y="145"/>
                    </a:lnTo>
                    <a:lnTo>
                      <a:pt x="1678" y="141"/>
                    </a:lnTo>
                    <a:lnTo>
                      <a:pt x="1682" y="136"/>
                    </a:lnTo>
                    <a:lnTo>
                      <a:pt x="1688" y="133"/>
                    </a:lnTo>
                    <a:lnTo>
                      <a:pt x="1691" y="130"/>
                    </a:lnTo>
                    <a:lnTo>
                      <a:pt x="1696" y="131"/>
                    </a:lnTo>
                    <a:lnTo>
                      <a:pt x="1706" y="131"/>
                    </a:lnTo>
                    <a:lnTo>
                      <a:pt x="1710" y="131"/>
                    </a:lnTo>
                    <a:lnTo>
                      <a:pt x="1713" y="131"/>
                    </a:lnTo>
                    <a:lnTo>
                      <a:pt x="1723" y="136"/>
                    </a:lnTo>
                    <a:lnTo>
                      <a:pt x="1731" y="136"/>
                    </a:lnTo>
                    <a:lnTo>
                      <a:pt x="1735" y="138"/>
                    </a:lnTo>
                    <a:lnTo>
                      <a:pt x="1743" y="136"/>
                    </a:lnTo>
                    <a:lnTo>
                      <a:pt x="1745" y="135"/>
                    </a:lnTo>
                    <a:lnTo>
                      <a:pt x="1740" y="133"/>
                    </a:lnTo>
                    <a:lnTo>
                      <a:pt x="1731" y="133"/>
                    </a:lnTo>
                    <a:lnTo>
                      <a:pt x="1721" y="131"/>
                    </a:lnTo>
                    <a:lnTo>
                      <a:pt x="1715" y="128"/>
                    </a:lnTo>
                    <a:lnTo>
                      <a:pt x="1708" y="128"/>
                    </a:lnTo>
                    <a:lnTo>
                      <a:pt x="1700" y="130"/>
                    </a:lnTo>
                    <a:lnTo>
                      <a:pt x="1690" y="126"/>
                    </a:lnTo>
                    <a:lnTo>
                      <a:pt x="1686" y="126"/>
                    </a:lnTo>
                    <a:lnTo>
                      <a:pt x="1683" y="130"/>
                    </a:lnTo>
                    <a:lnTo>
                      <a:pt x="1678" y="135"/>
                    </a:lnTo>
                    <a:lnTo>
                      <a:pt x="1670" y="140"/>
                    </a:lnTo>
                    <a:lnTo>
                      <a:pt x="1662" y="143"/>
                    </a:lnTo>
                    <a:lnTo>
                      <a:pt x="1657" y="149"/>
                    </a:lnTo>
                    <a:lnTo>
                      <a:pt x="1653" y="151"/>
                    </a:lnTo>
                    <a:lnTo>
                      <a:pt x="1650" y="149"/>
                    </a:lnTo>
                    <a:lnTo>
                      <a:pt x="1643" y="141"/>
                    </a:lnTo>
                    <a:lnTo>
                      <a:pt x="1640" y="141"/>
                    </a:lnTo>
                    <a:lnTo>
                      <a:pt x="1638" y="138"/>
                    </a:lnTo>
                    <a:lnTo>
                      <a:pt x="1637" y="133"/>
                    </a:lnTo>
                    <a:lnTo>
                      <a:pt x="1635" y="126"/>
                    </a:lnTo>
                    <a:lnTo>
                      <a:pt x="1633" y="125"/>
                    </a:lnTo>
                    <a:lnTo>
                      <a:pt x="1633" y="118"/>
                    </a:lnTo>
                    <a:lnTo>
                      <a:pt x="1635" y="116"/>
                    </a:lnTo>
                    <a:lnTo>
                      <a:pt x="1640" y="118"/>
                    </a:lnTo>
                    <a:lnTo>
                      <a:pt x="1645" y="116"/>
                    </a:lnTo>
                    <a:lnTo>
                      <a:pt x="1647" y="118"/>
                    </a:lnTo>
                    <a:lnTo>
                      <a:pt x="1662" y="118"/>
                    </a:lnTo>
                    <a:lnTo>
                      <a:pt x="1668" y="123"/>
                    </a:lnTo>
                    <a:lnTo>
                      <a:pt x="1673" y="123"/>
                    </a:lnTo>
                    <a:lnTo>
                      <a:pt x="1675" y="125"/>
                    </a:lnTo>
                    <a:lnTo>
                      <a:pt x="1680" y="125"/>
                    </a:lnTo>
                    <a:lnTo>
                      <a:pt x="1686" y="121"/>
                    </a:lnTo>
                    <a:lnTo>
                      <a:pt x="1691" y="123"/>
                    </a:lnTo>
                    <a:lnTo>
                      <a:pt x="1693" y="121"/>
                    </a:lnTo>
                    <a:lnTo>
                      <a:pt x="1698" y="121"/>
                    </a:lnTo>
                    <a:lnTo>
                      <a:pt x="1700" y="120"/>
                    </a:lnTo>
                    <a:lnTo>
                      <a:pt x="1710" y="118"/>
                    </a:lnTo>
                    <a:lnTo>
                      <a:pt x="1720" y="116"/>
                    </a:lnTo>
                    <a:lnTo>
                      <a:pt x="1721" y="113"/>
                    </a:lnTo>
                    <a:lnTo>
                      <a:pt x="1720" y="111"/>
                    </a:lnTo>
                    <a:lnTo>
                      <a:pt x="1718" y="111"/>
                    </a:lnTo>
                    <a:lnTo>
                      <a:pt x="1715" y="113"/>
                    </a:lnTo>
                    <a:lnTo>
                      <a:pt x="1711" y="115"/>
                    </a:lnTo>
                    <a:lnTo>
                      <a:pt x="1705" y="115"/>
                    </a:lnTo>
                    <a:lnTo>
                      <a:pt x="1696" y="115"/>
                    </a:lnTo>
                    <a:lnTo>
                      <a:pt x="1688" y="120"/>
                    </a:lnTo>
                    <a:lnTo>
                      <a:pt x="1685" y="120"/>
                    </a:lnTo>
                    <a:lnTo>
                      <a:pt x="1678" y="118"/>
                    </a:lnTo>
                    <a:lnTo>
                      <a:pt x="1677" y="120"/>
                    </a:lnTo>
                    <a:lnTo>
                      <a:pt x="1672" y="120"/>
                    </a:lnTo>
                    <a:lnTo>
                      <a:pt x="1667" y="115"/>
                    </a:lnTo>
                    <a:lnTo>
                      <a:pt x="1663" y="115"/>
                    </a:lnTo>
                    <a:lnTo>
                      <a:pt x="1660" y="113"/>
                    </a:lnTo>
                    <a:lnTo>
                      <a:pt x="1655" y="113"/>
                    </a:lnTo>
                    <a:lnTo>
                      <a:pt x="1647" y="110"/>
                    </a:lnTo>
                    <a:lnTo>
                      <a:pt x="1642" y="113"/>
                    </a:lnTo>
                    <a:lnTo>
                      <a:pt x="1637" y="110"/>
                    </a:lnTo>
                    <a:lnTo>
                      <a:pt x="1635" y="106"/>
                    </a:lnTo>
                    <a:lnTo>
                      <a:pt x="1638" y="105"/>
                    </a:lnTo>
                    <a:lnTo>
                      <a:pt x="1638" y="100"/>
                    </a:lnTo>
                    <a:lnTo>
                      <a:pt x="1642" y="96"/>
                    </a:lnTo>
                    <a:lnTo>
                      <a:pt x="1643" y="96"/>
                    </a:lnTo>
                    <a:lnTo>
                      <a:pt x="1647" y="101"/>
                    </a:lnTo>
                    <a:lnTo>
                      <a:pt x="1655" y="100"/>
                    </a:lnTo>
                    <a:lnTo>
                      <a:pt x="1657" y="100"/>
                    </a:lnTo>
                    <a:lnTo>
                      <a:pt x="1653" y="96"/>
                    </a:lnTo>
                    <a:lnTo>
                      <a:pt x="1648" y="96"/>
                    </a:lnTo>
                    <a:lnTo>
                      <a:pt x="1645" y="91"/>
                    </a:lnTo>
                    <a:lnTo>
                      <a:pt x="1647" y="90"/>
                    </a:lnTo>
                    <a:lnTo>
                      <a:pt x="1653" y="90"/>
                    </a:lnTo>
                    <a:lnTo>
                      <a:pt x="1660" y="85"/>
                    </a:lnTo>
                    <a:lnTo>
                      <a:pt x="1668" y="85"/>
                    </a:lnTo>
                    <a:lnTo>
                      <a:pt x="1672" y="83"/>
                    </a:lnTo>
                    <a:lnTo>
                      <a:pt x="1677" y="83"/>
                    </a:lnTo>
                    <a:lnTo>
                      <a:pt x="1680" y="85"/>
                    </a:lnTo>
                    <a:lnTo>
                      <a:pt x="1683" y="83"/>
                    </a:lnTo>
                    <a:lnTo>
                      <a:pt x="1683" y="81"/>
                    </a:lnTo>
                    <a:lnTo>
                      <a:pt x="1682" y="78"/>
                    </a:lnTo>
                    <a:lnTo>
                      <a:pt x="1672" y="80"/>
                    </a:lnTo>
                    <a:lnTo>
                      <a:pt x="1663" y="81"/>
                    </a:lnTo>
                    <a:lnTo>
                      <a:pt x="1657" y="83"/>
                    </a:lnTo>
                    <a:lnTo>
                      <a:pt x="1652" y="83"/>
                    </a:lnTo>
                    <a:lnTo>
                      <a:pt x="1648" y="86"/>
                    </a:lnTo>
                    <a:lnTo>
                      <a:pt x="1645" y="86"/>
                    </a:lnTo>
                    <a:lnTo>
                      <a:pt x="1645" y="83"/>
                    </a:lnTo>
                    <a:lnTo>
                      <a:pt x="1643" y="80"/>
                    </a:lnTo>
                    <a:lnTo>
                      <a:pt x="1648" y="76"/>
                    </a:lnTo>
                    <a:lnTo>
                      <a:pt x="1657" y="71"/>
                    </a:lnTo>
                    <a:lnTo>
                      <a:pt x="1663" y="71"/>
                    </a:lnTo>
                    <a:lnTo>
                      <a:pt x="1667" y="70"/>
                    </a:lnTo>
                    <a:lnTo>
                      <a:pt x="1662" y="70"/>
                    </a:lnTo>
                    <a:lnTo>
                      <a:pt x="1660" y="68"/>
                    </a:lnTo>
                    <a:lnTo>
                      <a:pt x="1662" y="61"/>
                    </a:lnTo>
                    <a:lnTo>
                      <a:pt x="1658" y="63"/>
                    </a:lnTo>
                    <a:lnTo>
                      <a:pt x="1658" y="66"/>
                    </a:lnTo>
                    <a:lnTo>
                      <a:pt x="1655" y="68"/>
                    </a:lnTo>
                    <a:lnTo>
                      <a:pt x="1653" y="63"/>
                    </a:lnTo>
                    <a:lnTo>
                      <a:pt x="1652" y="65"/>
                    </a:lnTo>
                    <a:lnTo>
                      <a:pt x="1648" y="66"/>
                    </a:lnTo>
                    <a:lnTo>
                      <a:pt x="1643" y="66"/>
                    </a:lnTo>
                    <a:lnTo>
                      <a:pt x="1643" y="71"/>
                    </a:lnTo>
                    <a:lnTo>
                      <a:pt x="1642" y="73"/>
                    </a:lnTo>
                    <a:lnTo>
                      <a:pt x="1635" y="75"/>
                    </a:lnTo>
                    <a:lnTo>
                      <a:pt x="1635" y="71"/>
                    </a:lnTo>
                    <a:lnTo>
                      <a:pt x="1635" y="66"/>
                    </a:lnTo>
                    <a:lnTo>
                      <a:pt x="1633" y="66"/>
                    </a:lnTo>
                    <a:lnTo>
                      <a:pt x="1633" y="61"/>
                    </a:lnTo>
                    <a:lnTo>
                      <a:pt x="1633" y="60"/>
                    </a:lnTo>
                    <a:lnTo>
                      <a:pt x="1637" y="61"/>
                    </a:lnTo>
                    <a:lnTo>
                      <a:pt x="1638" y="56"/>
                    </a:lnTo>
                    <a:lnTo>
                      <a:pt x="1642" y="55"/>
                    </a:lnTo>
                    <a:lnTo>
                      <a:pt x="1648" y="56"/>
                    </a:lnTo>
                    <a:lnTo>
                      <a:pt x="1650" y="51"/>
                    </a:lnTo>
                    <a:lnTo>
                      <a:pt x="1657" y="48"/>
                    </a:lnTo>
                    <a:lnTo>
                      <a:pt x="1660" y="50"/>
                    </a:lnTo>
                    <a:lnTo>
                      <a:pt x="1667" y="47"/>
                    </a:lnTo>
                    <a:lnTo>
                      <a:pt x="1677" y="45"/>
                    </a:lnTo>
                    <a:lnTo>
                      <a:pt x="1680" y="43"/>
                    </a:lnTo>
                    <a:lnTo>
                      <a:pt x="1683" y="45"/>
                    </a:lnTo>
                    <a:lnTo>
                      <a:pt x="1683" y="48"/>
                    </a:lnTo>
                    <a:lnTo>
                      <a:pt x="1682" y="50"/>
                    </a:lnTo>
                    <a:lnTo>
                      <a:pt x="1682" y="61"/>
                    </a:lnTo>
                    <a:lnTo>
                      <a:pt x="1685" y="60"/>
                    </a:lnTo>
                    <a:lnTo>
                      <a:pt x="1686" y="53"/>
                    </a:lnTo>
                    <a:lnTo>
                      <a:pt x="1690" y="50"/>
                    </a:lnTo>
                    <a:lnTo>
                      <a:pt x="1691" y="53"/>
                    </a:lnTo>
                    <a:lnTo>
                      <a:pt x="1690" y="55"/>
                    </a:lnTo>
                    <a:lnTo>
                      <a:pt x="1691" y="58"/>
                    </a:lnTo>
                    <a:lnTo>
                      <a:pt x="1693" y="56"/>
                    </a:lnTo>
                    <a:lnTo>
                      <a:pt x="1693" y="53"/>
                    </a:lnTo>
                    <a:lnTo>
                      <a:pt x="1695" y="50"/>
                    </a:lnTo>
                    <a:lnTo>
                      <a:pt x="1695" y="47"/>
                    </a:lnTo>
                    <a:lnTo>
                      <a:pt x="1695" y="42"/>
                    </a:lnTo>
                    <a:lnTo>
                      <a:pt x="1698" y="42"/>
                    </a:lnTo>
                    <a:lnTo>
                      <a:pt x="1705" y="37"/>
                    </a:lnTo>
                    <a:lnTo>
                      <a:pt x="1706" y="37"/>
                    </a:lnTo>
                    <a:lnTo>
                      <a:pt x="1708" y="42"/>
                    </a:lnTo>
                    <a:lnTo>
                      <a:pt x="1708" y="47"/>
                    </a:lnTo>
                    <a:lnTo>
                      <a:pt x="1711" y="48"/>
                    </a:lnTo>
                    <a:lnTo>
                      <a:pt x="1713" y="53"/>
                    </a:lnTo>
                    <a:lnTo>
                      <a:pt x="1711" y="56"/>
                    </a:lnTo>
                    <a:lnTo>
                      <a:pt x="1713" y="60"/>
                    </a:lnTo>
                    <a:lnTo>
                      <a:pt x="1713" y="63"/>
                    </a:lnTo>
                    <a:lnTo>
                      <a:pt x="1716" y="66"/>
                    </a:lnTo>
                    <a:lnTo>
                      <a:pt x="1718" y="65"/>
                    </a:lnTo>
                    <a:lnTo>
                      <a:pt x="1716" y="61"/>
                    </a:lnTo>
                    <a:lnTo>
                      <a:pt x="1716" y="56"/>
                    </a:lnTo>
                    <a:lnTo>
                      <a:pt x="1718" y="55"/>
                    </a:lnTo>
                    <a:lnTo>
                      <a:pt x="1723" y="48"/>
                    </a:lnTo>
                    <a:lnTo>
                      <a:pt x="1726" y="48"/>
                    </a:lnTo>
                    <a:lnTo>
                      <a:pt x="1730" y="55"/>
                    </a:lnTo>
                    <a:lnTo>
                      <a:pt x="1731" y="60"/>
                    </a:lnTo>
                    <a:lnTo>
                      <a:pt x="1730" y="63"/>
                    </a:lnTo>
                    <a:lnTo>
                      <a:pt x="1731" y="66"/>
                    </a:lnTo>
                    <a:lnTo>
                      <a:pt x="1733" y="70"/>
                    </a:lnTo>
                    <a:lnTo>
                      <a:pt x="1735" y="66"/>
                    </a:lnTo>
                    <a:lnTo>
                      <a:pt x="1735" y="61"/>
                    </a:lnTo>
                    <a:lnTo>
                      <a:pt x="1738" y="60"/>
                    </a:lnTo>
                    <a:lnTo>
                      <a:pt x="1741" y="58"/>
                    </a:lnTo>
                    <a:lnTo>
                      <a:pt x="1741" y="61"/>
                    </a:lnTo>
                    <a:lnTo>
                      <a:pt x="1740" y="63"/>
                    </a:lnTo>
                    <a:lnTo>
                      <a:pt x="1741" y="66"/>
                    </a:lnTo>
                    <a:lnTo>
                      <a:pt x="1743" y="70"/>
                    </a:lnTo>
                    <a:lnTo>
                      <a:pt x="1746" y="65"/>
                    </a:lnTo>
                    <a:lnTo>
                      <a:pt x="1748" y="65"/>
                    </a:lnTo>
                    <a:lnTo>
                      <a:pt x="1748" y="70"/>
                    </a:lnTo>
                    <a:lnTo>
                      <a:pt x="1751" y="66"/>
                    </a:lnTo>
                    <a:lnTo>
                      <a:pt x="1750" y="61"/>
                    </a:lnTo>
                    <a:lnTo>
                      <a:pt x="1746" y="56"/>
                    </a:lnTo>
                    <a:lnTo>
                      <a:pt x="1745" y="56"/>
                    </a:lnTo>
                    <a:lnTo>
                      <a:pt x="1741" y="53"/>
                    </a:lnTo>
                    <a:lnTo>
                      <a:pt x="1741" y="48"/>
                    </a:lnTo>
                    <a:lnTo>
                      <a:pt x="1738" y="45"/>
                    </a:lnTo>
                    <a:lnTo>
                      <a:pt x="1736" y="42"/>
                    </a:lnTo>
                    <a:lnTo>
                      <a:pt x="1735" y="38"/>
                    </a:lnTo>
                    <a:lnTo>
                      <a:pt x="1735" y="33"/>
                    </a:lnTo>
                    <a:lnTo>
                      <a:pt x="1740" y="35"/>
                    </a:lnTo>
                    <a:lnTo>
                      <a:pt x="1743" y="37"/>
                    </a:lnTo>
                    <a:lnTo>
                      <a:pt x="1748" y="35"/>
                    </a:lnTo>
                    <a:lnTo>
                      <a:pt x="1753" y="37"/>
                    </a:lnTo>
                    <a:lnTo>
                      <a:pt x="1755" y="35"/>
                    </a:lnTo>
                    <a:lnTo>
                      <a:pt x="1755" y="27"/>
                    </a:lnTo>
                    <a:lnTo>
                      <a:pt x="1751" y="23"/>
                    </a:lnTo>
                    <a:lnTo>
                      <a:pt x="1753" y="20"/>
                    </a:lnTo>
                    <a:lnTo>
                      <a:pt x="1758" y="18"/>
                    </a:lnTo>
                    <a:lnTo>
                      <a:pt x="1760" y="20"/>
                    </a:lnTo>
                    <a:lnTo>
                      <a:pt x="1770" y="20"/>
                    </a:lnTo>
                    <a:lnTo>
                      <a:pt x="1773" y="23"/>
                    </a:lnTo>
                    <a:lnTo>
                      <a:pt x="1773" y="27"/>
                    </a:lnTo>
                    <a:lnTo>
                      <a:pt x="1770" y="28"/>
                    </a:lnTo>
                    <a:lnTo>
                      <a:pt x="1770" y="32"/>
                    </a:lnTo>
                    <a:lnTo>
                      <a:pt x="1780" y="35"/>
                    </a:lnTo>
                    <a:lnTo>
                      <a:pt x="1780" y="37"/>
                    </a:lnTo>
                    <a:lnTo>
                      <a:pt x="1778" y="43"/>
                    </a:lnTo>
                    <a:lnTo>
                      <a:pt x="1778" y="53"/>
                    </a:lnTo>
                    <a:lnTo>
                      <a:pt x="1783" y="51"/>
                    </a:lnTo>
                    <a:lnTo>
                      <a:pt x="1784" y="47"/>
                    </a:lnTo>
                    <a:lnTo>
                      <a:pt x="1788" y="47"/>
                    </a:lnTo>
                    <a:lnTo>
                      <a:pt x="1788" y="50"/>
                    </a:lnTo>
                    <a:lnTo>
                      <a:pt x="1789" y="53"/>
                    </a:lnTo>
                    <a:lnTo>
                      <a:pt x="1793" y="50"/>
                    </a:lnTo>
                    <a:lnTo>
                      <a:pt x="1796" y="47"/>
                    </a:lnTo>
                    <a:lnTo>
                      <a:pt x="1801" y="45"/>
                    </a:lnTo>
                    <a:lnTo>
                      <a:pt x="1801" y="43"/>
                    </a:lnTo>
                    <a:lnTo>
                      <a:pt x="1799" y="35"/>
                    </a:lnTo>
                    <a:lnTo>
                      <a:pt x="1801" y="32"/>
                    </a:lnTo>
                    <a:lnTo>
                      <a:pt x="1804" y="32"/>
                    </a:lnTo>
                    <a:lnTo>
                      <a:pt x="1808" y="33"/>
                    </a:lnTo>
                    <a:lnTo>
                      <a:pt x="1814" y="33"/>
                    </a:lnTo>
                    <a:lnTo>
                      <a:pt x="1814" y="30"/>
                    </a:lnTo>
                    <a:lnTo>
                      <a:pt x="1808" y="25"/>
                    </a:lnTo>
                    <a:lnTo>
                      <a:pt x="1806" y="20"/>
                    </a:lnTo>
                    <a:lnTo>
                      <a:pt x="1808" y="18"/>
                    </a:lnTo>
                    <a:lnTo>
                      <a:pt x="1809" y="13"/>
                    </a:lnTo>
                    <a:lnTo>
                      <a:pt x="1811" y="13"/>
                    </a:lnTo>
                    <a:lnTo>
                      <a:pt x="1821" y="17"/>
                    </a:lnTo>
                    <a:lnTo>
                      <a:pt x="1823" y="23"/>
                    </a:lnTo>
                    <a:lnTo>
                      <a:pt x="1823" y="28"/>
                    </a:lnTo>
                    <a:lnTo>
                      <a:pt x="1823" y="33"/>
                    </a:lnTo>
                    <a:lnTo>
                      <a:pt x="1824" y="37"/>
                    </a:lnTo>
                    <a:lnTo>
                      <a:pt x="1826" y="43"/>
                    </a:lnTo>
                    <a:lnTo>
                      <a:pt x="1828" y="47"/>
                    </a:lnTo>
                    <a:lnTo>
                      <a:pt x="1831" y="45"/>
                    </a:lnTo>
                    <a:lnTo>
                      <a:pt x="1831" y="40"/>
                    </a:lnTo>
                    <a:lnTo>
                      <a:pt x="1829" y="37"/>
                    </a:lnTo>
                    <a:lnTo>
                      <a:pt x="1829" y="30"/>
                    </a:lnTo>
                    <a:lnTo>
                      <a:pt x="1826" y="25"/>
                    </a:lnTo>
                    <a:lnTo>
                      <a:pt x="1828" y="17"/>
                    </a:lnTo>
                    <a:lnTo>
                      <a:pt x="1828" y="8"/>
                    </a:lnTo>
                    <a:lnTo>
                      <a:pt x="1829" y="5"/>
                    </a:lnTo>
                    <a:lnTo>
                      <a:pt x="1833" y="5"/>
                    </a:lnTo>
                    <a:lnTo>
                      <a:pt x="1836" y="8"/>
                    </a:lnTo>
                    <a:lnTo>
                      <a:pt x="1839" y="8"/>
                    </a:lnTo>
                    <a:lnTo>
                      <a:pt x="1841" y="10"/>
                    </a:lnTo>
                    <a:lnTo>
                      <a:pt x="1841" y="17"/>
                    </a:lnTo>
                    <a:lnTo>
                      <a:pt x="1844" y="20"/>
                    </a:lnTo>
                    <a:lnTo>
                      <a:pt x="1844" y="25"/>
                    </a:lnTo>
                    <a:lnTo>
                      <a:pt x="1844" y="33"/>
                    </a:lnTo>
                    <a:lnTo>
                      <a:pt x="1846" y="33"/>
                    </a:lnTo>
                    <a:lnTo>
                      <a:pt x="1846" y="30"/>
                    </a:lnTo>
                    <a:lnTo>
                      <a:pt x="1848" y="27"/>
                    </a:lnTo>
                    <a:lnTo>
                      <a:pt x="1849" y="27"/>
                    </a:lnTo>
                    <a:lnTo>
                      <a:pt x="1859" y="35"/>
                    </a:lnTo>
                    <a:lnTo>
                      <a:pt x="1859" y="33"/>
                    </a:lnTo>
                    <a:lnTo>
                      <a:pt x="1863" y="33"/>
                    </a:lnTo>
                    <a:lnTo>
                      <a:pt x="1863" y="32"/>
                    </a:lnTo>
                    <a:lnTo>
                      <a:pt x="1859" y="30"/>
                    </a:lnTo>
                    <a:lnTo>
                      <a:pt x="1856" y="25"/>
                    </a:lnTo>
                    <a:lnTo>
                      <a:pt x="1858" y="23"/>
                    </a:lnTo>
                    <a:lnTo>
                      <a:pt x="1858" y="22"/>
                    </a:lnTo>
                    <a:lnTo>
                      <a:pt x="1853" y="17"/>
                    </a:lnTo>
                    <a:lnTo>
                      <a:pt x="1851" y="13"/>
                    </a:lnTo>
                    <a:lnTo>
                      <a:pt x="1853" y="12"/>
                    </a:lnTo>
                    <a:lnTo>
                      <a:pt x="1858" y="12"/>
                    </a:lnTo>
                    <a:lnTo>
                      <a:pt x="1856" y="10"/>
                    </a:lnTo>
                    <a:lnTo>
                      <a:pt x="1851" y="8"/>
                    </a:lnTo>
                    <a:lnTo>
                      <a:pt x="1849" y="5"/>
                    </a:lnTo>
                    <a:lnTo>
                      <a:pt x="1851" y="5"/>
                    </a:lnTo>
                    <a:lnTo>
                      <a:pt x="1856" y="5"/>
                    </a:lnTo>
                    <a:lnTo>
                      <a:pt x="1861" y="0"/>
                    </a:lnTo>
                    <a:lnTo>
                      <a:pt x="1871" y="2"/>
                    </a:lnTo>
                    <a:lnTo>
                      <a:pt x="1873" y="3"/>
                    </a:lnTo>
                    <a:lnTo>
                      <a:pt x="1873" y="8"/>
                    </a:lnTo>
                    <a:lnTo>
                      <a:pt x="1869" y="13"/>
                    </a:lnTo>
                    <a:lnTo>
                      <a:pt x="1871" y="15"/>
                    </a:lnTo>
                    <a:lnTo>
                      <a:pt x="1874" y="15"/>
                    </a:lnTo>
                    <a:lnTo>
                      <a:pt x="1878" y="8"/>
                    </a:lnTo>
                    <a:lnTo>
                      <a:pt x="1879" y="7"/>
                    </a:lnTo>
                    <a:lnTo>
                      <a:pt x="1881" y="10"/>
                    </a:lnTo>
                    <a:lnTo>
                      <a:pt x="1879" y="17"/>
                    </a:lnTo>
                    <a:lnTo>
                      <a:pt x="1882" y="18"/>
                    </a:lnTo>
                    <a:lnTo>
                      <a:pt x="1884" y="17"/>
                    </a:lnTo>
                    <a:lnTo>
                      <a:pt x="1886" y="15"/>
                    </a:lnTo>
                    <a:lnTo>
                      <a:pt x="1892" y="10"/>
                    </a:lnTo>
                    <a:lnTo>
                      <a:pt x="1894" y="12"/>
                    </a:lnTo>
                    <a:lnTo>
                      <a:pt x="1892" y="17"/>
                    </a:lnTo>
                    <a:lnTo>
                      <a:pt x="1891" y="20"/>
                    </a:lnTo>
                    <a:lnTo>
                      <a:pt x="1892" y="28"/>
                    </a:lnTo>
                    <a:lnTo>
                      <a:pt x="1889" y="32"/>
                    </a:lnTo>
                    <a:lnTo>
                      <a:pt x="1892" y="33"/>
                    </a:lnTo>
                    <a:lnTo>
                      <a:pt x="1897" y="32"/>
                    </a:lnTo>
                    <a:lnTo>
                      <a:pt x="1901" y="33"/>
                    </a:lnTo>
                    <a:lnTo>
                      <a:pt x="1902" y="32"/>
                    </a:lnTo>
                    <a:lnTo>
                      <a:pt x="1902" y="25"/>
                    </a:lnTo>
                    <a:lnTo>
                      <a:pt x="1906" y="17"/>
                    </a:lnTo>
                    <a:lnTo>
                      <a:pt x="1902" y="8"/>
                    </a:lnTo>
                    <a:lnTo>
                      <a:pt x="1902" y="2"/>
                    </a:lnTo>
                    <a:lnTo>
                      <a:pt x="1906" y="0"/>
                    </a:lnTo>
                    <a:lnTo>
                      <a:pt x="1909" y="2"/>
                    </a:lnTo>
                    <a:lnTo>
                      <a:pt x="1912" y="2"/>
                    </a:lnTo>
                    <a:lnTo>
                      <a:pt x="1917" y="3"/>
                    </a:lnTo>
                    <a:lnTo>
                      <a:pt x="1924" y="2"/>
                    </a:lnTo>
                    <a:lnTo>
                      <a:pt x="1929" y="3"/>
                    </a:lnTo>
                    <a:lnTo>
                      <a:pt x="1931" y="7"/>
                    </a:lnTo>
                    <a:lnTo>
                      <a:pt x="1937" y="8"/>
                    </a:lnTo>
                    <a:lnTo>
                      <a:pt x="1942" y="7"/>
                    </a:lnTo>
                    <a:lnTo>
                      <a:pt x="1949" y="10"/>
                    </a:lnTo>
                    <a:lnTo>
                      <a:pt x="1951" y="13"/>
                    </a:lnTo>
                    <a:lnTo>
                      <a:pt x="1952" y="17"/>
                    </a:lnTo>
                    <a:lnTo>
                      <a:pt x="1952" y="22"/>
                    </a:lnTo>
                    <a:lnTo>
                      <a:pt x="1951" y="27"/>
                    </a:lnTo>
                    <a:lnTo>
                      <a:pt x="1951" y="28"/>
                    </a:lnTo>
                    <a:lnTo>
                      <a:pt x="1956" y="28"/>
                    </a:lnTo>
                    <a:lnTo>
                      <a:pt x="1961" y="23"/>
                    </a:lnTo>
                    <a:lnTo>
                      <a:pt x="1967" y="18"/>
                    </a:lnTo>
                    <a:lnTo>
                      <a:pt x="1971" y="15"/>
                    </a:lnTo>
                    <a:lnTo>
                      <a:pt x="1976" y="13"/>
                    </a:lnTo>
                    <a:lnTo>
                      <a:pt x="1980" y="17"/>
                    </a:lnTo>
                    <a:lnTo>
                      <a:pt x="1987" y="17"/>
                    </a:lnTo>
                    <a:lnTo>
                      <a:pt x="1987" y="20"/>
                    </a:lnTo>
                    <a:lnTo>
                      <a:pt x="1982" y="25"/>
                    </a:lnTo>
                    <a:lnTo>
                      <a:pt x="1984" y="28"/>
                    </a:lnTo>
                    <a:lnTo>
                      <a:pt x="1987" y="28"/>
                    </a:lnTo>
                    <a:lnTo>
                      <a:pt x="1987" y="23"/>
                    </a:lnTo>
                    <a:lnTo>
                      <a:pt x="1992" y="20"/>
                    </a:lnTo>
                    <a:lnTo>
                      <a:pt x="1997" y="18"/>
                    </a:lnTo>
                    <a:lnTo>
                      <a:pt x="2005" y="22"/>
                    </a:lnTo>
                    <a:lnTo>
                      <a:pt x="2014" y="23"/>
                    </a:lnTo>
                    <a:lnTo>
                      <a:pt x="2017" y="27"/>
                    </a:lnTo>
                    <a:lnTo>
                      <a:pt x="2015" y="28"/>
                    </a:lnTo>
                    <a:lnTo>
                      <a:pt x="2012" y="28"/>
                    </a:lnTo>
                    <a:lnTo>
                      <a:pt x="2014" y="32"/>
                    </a:lnTo>
                    <a:lnTo>
                      <a:pt x="2010" y="35"/>
                    </a:lnTo>
                    <a:lnTo>
                      <a:pt x="2012" y="38"/>
                    </a:lnTo>
                    <a:lnTo>
                      <a:pt x="2015" y="35"/>
                    </a:lnTo>
                    <a:lnTo>
                      <a:pt x="2020" y="33"/>
                    </a:lnTo>
                    <a:lnTo>
                      <a:pt x="2020" y="38"/>
                    </a:lnTo>
                    <a:lnTo>
                      <a:pt x="2024" y="40"/>
                    </a:lnTo>
                    <a:lnTo>
                      <a:pt x="2027" y="35"/>
                    </a:lnTo>
                    <a:lnTo>
                      <a:pt x="2034" y="35"/>
                    </a:lnTo>
                    <a:lnTo>
                      <a:pt x="2034" y="38"/>
                    </a:lnTo>
                    <a:lnTo>
                      <a:pt x="2032" y="40"/>
                    </a:lnTo>
                    <a:lnTo>
                      <a:pt x="2032" y="43"/>
                    </a:lnTo>
                    <a:lnTo>
                      <a:pt x="2035" y="45"/>
                    </a:lnTo>
                    <a:lnTo>
                      <a:pt x="2039" y="43"/>
                    </a:lnTo>
                    <a:lnTo>
                      <a:pt x="2042" y="40"/>
                    </a:lnTo>
                    <a:lnTo>
                      <a:pt x="2044" y="40"/>
                    </a:lnTo>
                    <a:lnTo>
                      <a:pt x="2045" y="43"/>
                    </a:lnTo>
                    <a:lnTo>
                      <a:pt x="2055" y="48"/>
                    </a:lnTo>
                    <a:lnTo>
                      <a:pt x="2059" y="48"/>
                    </a:lnTo>
                    <a:lnTo>
                      <a:pt x="2060" y="50"/>
                    </a:lnTo>
                    <a:lnTo>
                      <a:pt x="2059" y="53"/>
                    </a:lnTo>
                    <a:lnTo>
                      <a:pt x="2049" y="56"/>
                    </a:lnTo>
                    <a:lnTo>
                      <a:pt x="2044" y="61"/>
                    </a:lnTo>
                    <a:lnTo>
                      <a:pt x="2039" y="63"/>
                    </a:lnTo>
                    <a:lnTo>
                      <a:pt x="2032" y="65"/>
                    </a:lnTo>
                    <a:lnTo>
                      <a:pt x="2029" y="66"/>
                    </a:lnTo>
                    <a:lnTo>
                      <a:pt x="2025" y="65"/>
                    </a:lnTo>
                    <a:lnTo>
                      <a:pt x="2022" y="66"/>
                    </a:lnTo>
                    <a:lnTo>
                      <a:pt x="2015" y="68"/>
                    </a:lnTo>
                    <a:lnTo>
                      <a:pt x="2025" y="68"/>
                    </a:lnTo>
                    <a:lnTo>
                      <a:pt x="2035" y="70"/>
                    </a:lnTo>
                    <a:lnTo>
                      <a:pt x="2039" y="71"/>
                    </a:lnTo>
                    <a:lnTo>
                      <a:pt x="2042" y="71"/>
                    </a:lnTo>
                    <a:lnTo>
                      <a:pt x="2045" y="66"/>
                    </a:lnTo>
                    <a:lnTo>
                      <a:pt x="2047" y="66"/>
                    </a:lnTo>
                    <a:lnTo>
                      <a:pt x="2052" y="66"/>
                    </a:lnTo>
                    <a:lnTo>
                      <a:pt x="2055" y="61"/>
                    </a:lnTo>
                    <a:lnTo>
                      <a:pt x="2062" y="58"/>
                    </a:lnTo>
                    <a:lnTo>
                      <a:pt x="2067" y="58"/>
                    </a:lnTo>
                    <a:lnTo>
                      <a:pt x="2069" y="61"/>
                    </a:lnTo>
                    <a:lnTo>
                      <a:pt x="2065" y="66"/>
                    </a:lnTo>
                    <a:lnTo>
                      <a:pt x="2069" y="68"/>
                    </a:lnTo>
                    <a:lnTo>
                      <a:pt x="2070" y="66"/>
                    </a:lnTo>
                    <a:lnTo>
                      <a:pt x="2072" y="63"/>
                    </a:lnTo>
                    <a:lnTo>
                      <a:pt x="2077" y="60"/>
                    </a:lnTo>
                    <a:lnTo>
                      <a:pt x="2079" y="61"/>
                    </a:lnTo>
                    <a:lnTo>
                      <a:pt x="2077" y="65"/>
                    </a:lnTo>
                    <a:lnTo>
                      <a:pt x="2077" y="66"/>
                    </a:lnTo>
                    <a:lnTo>
                      <a:pt x="2075" y="70"/>
                    </a:lnTo>
                    <a:lnTo>
                      <a:pt x="2077" y="73"/>
                    </a:lnTo>
                    <a:lnTo>
                      <a:pt x="2080" y="71"/>
                    </a:lnTo>
                    <a:lnTo>
                      <a:pt x="2082" y="70"/>
                    </a:lnTo>
                    <a:lnTo>
                      <a:pt x="2083" y="65"/>
                    </a:lnTo>
                    <a:lnTo>
                      <a:pt x="2088" y="65"/>
                    </a:lnTo>
                    <a:lnTo>
                      <a:pt x="2092" y="65"/>
                    </a:lnTo>
                    <a:lnTo>
                      <a:pt x="2090" y="75"/>
                    </a:lnTo>
                    <a:lnTo>
                      <a:pt x="2087" y="76"/>
                    </a:lnTo>
                    <a:lnTo>
                      <a:pt x="2088" y="76"/>
                    </a:lnTo>
                    <a:lnTo>
                      <a:pt x="2090" y="81"/>
                    </a:lnTo>
                    <a:lnTo>
                      <a:pt x="2090" y="88"/>
                    </a:lnTo>
                    <a:lnTo>
                      <a:pt x="2085" y="90"/>
                    </a:lnTo>
                    <a:lnTo>
                      <a:pt x="2085" y="93"/>
                    </a:lnTo>
                    <a:lnTo>
                      <a:pt x="2079" y="100"/>
                    </a:lnTo>
                    <a:lnTo>
                      <a:pt x="2080" y="101"/>
                    </a:lnTo>
                    <a:lnTo>
                      <a:pt x="2083" y="101"/>
                    </a:lnTo>
                    <a:lnTo>
                      <a:pt x="2087" y="96"/>
                    </a:lnTo>
                    <a:lnTo>
                      <a:pt x="2092" y="96"/>
                    </a:lnTo>
                    <a:lnTo>
                      <a:pt x="2092" y="95"/>
                    </a:lnTo>
                    <a:lnTo>
                      <a:pt x="2095" y="95"/>
                    </a:lnTo>
                    <a:lnTo>
                      <a:pt x="2102" y="98"/>
                    </a:lnTo>
                    <a:lnTo>
                      <a:pt x="2103" y="103"/>
                    </a:lnTo>
                    <a:lnTo>
                      <a:pt x="2105" y="110"/>
                    </a:lnTo>
                    <a:lnTo>
                      <a:pt x="2103" y="120"/>
                    </a:lnTo>
                    <a:lnTo>
                      <a:pt x="2097" y="130"/>
                    </a:lnTo>
                    <a:lnTo>
                      <a:pt x="2088" y="135"/>
                    </a:lnTo>
                    <a:lnTo>
                      <a:pt x="2085" y="136"/>
                    </a:lnTo>
                    <a:lnTo>
                      <a:pt x="2082" y="136"/>
                    </a:lnTo>
                    <a:lnTo>
                      <a:pt x="2077" y="138"/>
                    </a:lnTo>
                    <a:lnTo>
                      <a:pt x="2077" y="140"/>
                    </a:lnTo>
                    <a:lnTo>
                      <a:pt x="2074" y="141"/>
                    </a:lnTo>
                    <a:lnTo>
                      <a:pt x="2059" y="148"/>
                    </a:lnTo>
                    <a:lnTo>
                      <a:pt x="2054" y="151"/>
                    </a:lnTo>
                    <a:lnTo>
                      <a:pt x="2049" y="153"/>
                    </a:lnTo>
                    <a:lnTo>
                      <a:pt x="2042" y="154"/>
                    </a:lnTo>
                    <a:lnTo>
                      <a:pt x="2035" y="154"/>
                    </a:lnTo>
                    <a:lnTo>
                      <a:pt x="2032" y="153"/>
                    </a:lnTo>
                    <a:lnTo>
                      <a:pt x="2030" y="156"/>
                    </a:lnTo>
                    <a:lnTo>
                      <a:pt x="2027" y="158"/>
                    </a:lnTo>
                    <a:lnTo>
                      <a:pt x="2022" y="154"/>
                    </a:lnTo>
                    <a:lnTo>
                      <a:pt x="2017" y="151"/>
                    </a:lnTo>
                    <a:lnTo>
                      <a:pt x="2009" y="151"/>
                    </a:lnTo>
                    <a:lnTo>
                      <a:pt x="2009" y="154"/>
                    </a:lnTo>
                    <a:lnTo>
                      <a:pt x="2014" y="154"/>
                    </a:lnTo>
                    <a:lnTo>
                      <a:pt x="2017" y="156"/>
                    </a:lnTo>
                    <a:lnTo>
                      <a:pt x="2014" y="158"/>
                    </a:lnTo>
                    <a:lnTo>
                      <a:pt x="2007" y="156"/>
                    </a:lnTo>
                    <a:lnTo>
                      <a:pt x="2004" y="158"/>
                    </a:lnTo>
                    <a:lnTo>
                      <a:pt x="2000" y="154"/>
                    </a:lnTo>
                    <a:lnTo>
                      <a:pt x="1992" y="154"/>
                    </a:lnTo>
                    <a:lnTo>
                      <a:pt x="1989" y="153"/>
                    </a:lnTo>
                    <a:lnTo>
                      <a:pt x="1987" y="153"/>
                    </a:lnTo>
                    <a:lnTo>
                      <a:pt x="1984" y="154"/>
                    </a:lnTo>
                    <a:lnTo>
                      <a:pt x="1977" y="146"/>
                    </a:lnTo>
                    <a:lnTo>
                      <a:pt x="1972" y="141"/>
                    </a:lnTo>
                    <a:lnTo>
                      <a:pt x="1974" y="146"/>
                    </a:lnTo>
                    <a:lnTo>
                      <a:pt x="1979" y="151"/>
                    </a:lnTo>
                    <a:lnTo>
                      <a:pt x="1979" y="153"/>
                    </a:lnTo>
                    <a:lnTo>
                      <a:pt x="1976" y="154"/>
                    </a:lnTo>
                    <a:lnTo>
                      <a:pt x="1967" y="151"/>
                    </a:lnTo>
                    <a:lnTo>
                      <a:pt x="1971" y="154"/>
                    </a:lnTo>
                    <a:lnTo>
                      <a:pt x="1987" y="158"/>
                    </a:lnTo>
                    <a:lnTo>
                      <a:pt x="1995" y="159"/>
                    </a:lnTo>
                    <a:lnTo>
                      <a:pt x="1999" y="161"/>
                    </a:lnTo>
                    <a:lnTo>
                      <a:pt x="1995" y="164"/>
                    </a:lnTo>
                    <a:lnTo>
                      <a:pt x="1974" y="171"/>
                    </a:lnTo>
                    <a:lnTo>
                      <a:pt x="1961" y="174"/>
                    </a:lnTo>
                    <a:lnTo>
                      <a:pt x="1956" y="174"/>
                    </a:lnTo>
                    <a:lnTo>
                      <a:pt x="1947" y="174"/>
                    </a:lnTo>
                    <a:lnTo>
                      <a:pt x="1942" y="174"/>
                    </a:lnTo>
                    <a:lnTo>
                      <a:pt x="1941" y="171"/>
                    </a:lnTo>
                    <a:lnTo>
                      <a:pt x="1936" y="173"/>
                    </a:lnTo>
                    <a:lnTo>
                      <a:pt x="1932" y="173"/>
                    </a:lnTo>
                    <a:lnTo>
                      <a:pt x="1927" y="173"/>
                    </a:lnTo>
                    <a:lnTo>
                      <a:pt x="1926" y="178"/>
                    </a:lnTo>
                    <a:lnTo>
                      <a:pt x="1931" y="176"/>
                    </a:lnTo>
                    <a:lnTo>
                      <a:pt x="1931" y="181"/>
                    </a:lnTo>
                    <a:lnTo>
                      <a:pt x="1937" y="178"/>
                    </a:lnTo>
                    <a:lnTo>
                      <a:pt x="1951" y="178"/>
                    </a:lnTo>
                    <a:lnTo>
                      <a:pt x="1957" y="178"/>
                    </a:lnTo>
                    <a:lnTo>
                      <a:pt x="1976" y="178"/>
                    </a:lnTo>
                    <a:lnTo>
                      <a:pt x="1987" y="176"/>
                    </a:lnTo>
                    <a:lnTo>
                      <a:pt x="1995" y="168"/>
                    </a:lnTo>
                    <a:lnTo>
                      <a:pt x="2000" y="168"/>
                    </a:lnTo>
                    <a:lnTo>
                      <a:pt x="2004" y="169"/>
                    </a:lnTo>
                    <a:lnTo>
                      <a:pt x="2010" y="168"/>
                    </a:lnTo>
                    <a:lnTo>
                      <a:pt x="2017" y="169"/>
                    </a:lnTo>
                    <a:lnTo>
                      <a:pt x="2015" y="174"/>
                    </a:lnTo>
                    <a:lnTo>
                      <a:pt x="2010" y="181"/>
                    </a:lnTo>
                    <a:lnTo>
                      <a:pt x="2002" y="184"/>
                    </a:lnTo>
                    <a:lnTo>
                      <a:pt x="2000" y="186"/>
                    </a:lnTo>
                    <a:lnTo>
                      <a:pt x="1990" y="188"/>
                    </a:lnTo>
                    <a:lnTo>
                      <a:pt x="1987" y="193"/>
                    </a:lnTo>
                    <a:lnTo>
                      <a:pt x="1984" y="193"/>
                    </a:lnTo>
                    <a:lnTo>
                      <a:pt x="1979" y="198"/>
                    </a:lnTo>
                    <a:lnTo>
                      <a:pt x="1971" y="201"/>
                    </a:lnTo>
                    <a:lnTo>
                      <a:pt x="1966" y="201"/>
                    </a:lnTo>
                    <a:lnTo>
                      <a:pt x="1962" y="203"/>
                    </a:lnTo>
                    <a:lnTo>
                      <a:pt x="1957" y="203"/>
                    </a:lnTo>
                    <a:lnTo>
                      <a:pt x="1952" y="206"/>
                    </a:lnTo>
                    <a:lnTo>
                      <a:pt x="1944" y="208"/>
                    </a:lnTo>
                    <a:lnTo>
                      <a:pt x="1941" y="213"/>
                    </a:lnTo>
                    <a:lnTo>
                      <a:pt x="1931" y="214"/>
                    </a:lnTo>
                    <a:lnTo>
                      <a:pt x="1927" y="216"/>
                    </a:lnTo>
                    <a:lnTo>
                      <a:pt x="1922" y="214"/>
                    </a:lnTo>
                    <a:lnTo>
                      <a:pt x="1919" y="218"/>
                    </a:lnTo>
                    <a:lnTo>
                      <a:pt x="1916" y="218"/>
                    </a:lnTo>
                    <a:lnTo>
                      <a:pt x="1914" y="219"/>
                    </a:lnTo>
                    <a:lnTo>
                      <a:pt x="1914" y="224"/>
                    </a:lnTo>
                    <a:lnTo>
                      <a:pt x="1909" y="228"/>
                    </a:lnTo>
                    <a:lnTo>
                      <a:pt x="1906" y="233"/>
                    </a:lnTo>
                    <a:lnTo>
                      <a:pt x="1894" y="233"/>
                    </a:lnTo>
                    <a:lnTo>
                      <a:pt x="1891" y="234"/>
                    </a:lnTo>
                    <a:lnTo>
                      <a:pt x="1887" y="233"/>
                    </a:lnTo>
                    <a:lnTo>
                      <a:pt x="1886" y="231"/>
                    </a:lnTo>
                    <a:lnTo>
                      <a:pt x="1889" y="228"/>
                    </a:lnTo>
                    <a:lnTo>
                      <a:pt x="1889" y="224"/>
                    </a:lnTo>
                    <a:lnTo>
                      <a:pt x="1886" y="221"/>
                    </a:lnTo>
                    <a:lnTo>
                      <a:pt x="1886" y="228"/>
                    </a:lnTo>
                    <a:lnTo>
                      <a:pt x="1884" y="229"/>
                    </a:lnTo>
                    <a:lnTo>
                      <a:pt x="1882" y="233"/>
                    </a:lnTo>
                    <a:lnTo>
                      <a:pt x="1887" y="236"/>
                    </a:lnTo>
                    <a:lnTo>
                      <a:pt x="1889" y="239"/>
                    </a:lnTo>
                    <a:lnTo>
                      <a:pt x="1884" y="244"/>
                    </a:lnTo>
                    <a:lnTo>
                      <a:pt x="1882" y="244"/>
                    </a:lnTo>
                    <a:lnTo>
                      <a:pt x="1878" y="241"/>
                    </a:lnTo>
                    <a:lnTo>
                      <a:pt x="1874" y="243"/>
                    </a:lnTo>
                    <a:lnTo>
                      <a:pt x="1866" y="241"/>
                    </a:lnTo>
                    <a:lnTo>
                      <a:pt x="1863" y="243"/>
                    </a:lnTo>
                    <a:lnTo>
                      <a:pt x="1859" y="243"/>
                    </a:lnTo>
                    <a:lnTo>
                      <a:pt x="1859" y="239"/>
                    </a:lnTo>
                    <a:lnTo>
                      <a:pt x="1858" y="238"/>
                    </a:lnTo>
                    <a:lnTo>
                      <a:pt x="1856" y="241"/>
                    </a:lnTo>
                    <a:lnTo>
                      <a:pt x="1851" y="241"/>
                    </a:lnTo>
                    <a:lnTo>
                      <a:pt x="1851" y="244"/>
                    </a:lnTo>
                    <a:lnTo>
                      <a:pt x="1859" y="246"/>
                    </a:lnTo>
                    <a:lnTo>
                      <a:pt x="1873" y="246"/>
                    </a:lnTo>
                    <a:lnTo>
                      <a:pt x="1876" y="249"/>
                    </a:lnTo>
                    <a:lnTo>
                      <a:pt x="1874" y="252"/>
                    </a:lnTo>
                    <a:lnTo>
                      <a:pt x="1869" y="256"/>
                    </a:lnTo>
                    <a:lnTo>
                      <a:pt x="1863" y="254"/>
                    </a:lnTo>
                    <a:lnTo>
                      <a:pt x="1856" y="256"/>
                    </a:lnTo>
                    <a:lnTo>
                      <a:pt x="1854" y="257"/>
                    </a:lnTo>
                    <a:lnTo>
                      <a:pt x="1858" y="259"/>
                    </a:lnTo>
                    <a:lnTo>
                      <a:pt x="1859" y="257"/>
                    </a:lnTo>
                    <a:lnTo>
                      <a:pt x="1863" y="261"/>
                    </a:lnTo>
                    <a:lnTo>
                      <a:pt x="1863" y="264"/>
                    </a:lnTo>
                    <a:lnTo>
                      <a:pt x="1854" y="271"/>
                    </a:lnTo>
                    <a:lnTo>
                      <a:pt x="1848" y="269"/>
                    </a:lnTo>
                    <a:lnTo>
                      <a:pt x="1836" y="269"/>
                    </a:lnTo>
                    <a:lnTo>
                      <a:pt x="1834" y="267"/>
                    </a:lnTo>
                    <a:lnTo>
                      <a:pt x="1829" y="267"/>
                    </a:lnTo>
                    <a:lnTo>
                      <a:pt x="1828" y="264"/>
                    </a:lnTo>
                    <a:lnTo>
                      <a:pt x="1828" y="257"/>
                    </a:lnTo>
                    <a:lnTo>
                      <a:pt x="1821" y="256"/>
                    </a:lnTo>
                    <a:lnTo>
                      <a:pt x="1818" y="254"/>
                    </a:lnTo>
                    <a:lnTo>
                      <a:pt x="1819" y="251"/>
                    </a:lnTo>
                    <a:lnTo>
                      <a:pt x="1816" y="247"/>
                    </a:lnTo>
                    <a:lnTo>
                      <a:pt x="1813" y="249"/>
                    </a:lnTo>
                    <a:lnTo>
                      <a:pt x="1809" y="247"/>
                    </a:lnTo>
                    <a:lnTo>
                      <a:pt x="1801" y="249"/>
                    </a:lnTo>
                    <a:lnTo>
                      <a:pt x="1801" y="251"/>
                    </a:lnTo>
                    <a:lnTo>
                      <a:pt x="1804" y="252"/>
                    </a:lnTo>
                    <a:lnTo>
                      <a:pt x="1806" y="251"/>
                    </a:lnTo>
                    <a:lnTo>
                      <a:pt x="1809" y="252"/>
                    </a:lnTo>
                    <a:lnTo>
                      <a:pt x="1821" y="261"/>
                    </a:lnTo>
                    <a:lnTo>
                      <a:pt x="1819" y="274"/>
                    </a:lnTo>
                    <a:lnTo>
                      <a:pt x="1818" y="276"/>
                    </a:lnTo>
                    <a:lnTo>
                      <a:pt x="1813" y="274"/>
                    </a:lnTo>
                    <a:lnTo>
                      <a:pt x="1809" y="271"/>
                    </a:lnTo>
                    <a:lnTo>
                      <a:pt x="1806" y="272"/>
                    </a:lnTo>
                    <a:lnTo>
                      <a:pt x="1806" y="276"/>
                    </a:lnTo>
                    <a:lnTo>
                      <a:pt x="1804" y="276"/>
                    </a:lnTo>
                    <a:lnTo>
                      <a:pt x="1799" y="272"/>
                    </a:lnTo>
                    <a:lnTo>
                      <a:pt x="1796" y="272"/>
                    </a:lnTo>
                    <a:lnTo>
                      <a:pt x="1793" y="276"/>
                    </a:lnTo>
                    <a:lnTo>
                      <a:pt x="1789" y="276"/>
                    </a:lnTo>
                    <a:lnTo>
                      <a:pt x="1788" y="272"/>
                    </a:lnTo>
                    <a:lnTo>
                      <a:pt x="1783" y="272"/>
                    </a:lnTo>
                    <a:lnTo>
                      <a:pt x="1780" y="267"/>
                    </a:lnTo>
                    <a:lnTo>
                      <a:pt x="1778" y="269"/>
                    </a:lnTo>
                    <a:lnTo>
                      <a:pt x="1776" y="264"/>
                    </a:lnTo>
                    <a:lnTo>
                      <a:pt x="1773" y="262"/>
                    </a:lnTo>
                    <a:lnTo>
                      <a:pt x="1766" y="262"/>
                    </a:lnTo>
                    <a:lnTo>
                      <a:pt x="1763" y="257"/>
                    </a:lnTo>
                    <a:lnTo>
                      <a:pt x="1761" y="259"/>
                    </a:lnTo>
                    <a:lnTo>
                      <a:pt x="1763" y="262"/>
                    </a:lnTo>
                    <a:lnTo>
                      <a:pt x="1766" y="266"/>
                    </a:lnTo>
                    <a:lnTo>
                      <a:pt x="1773" y="267"/>
                    </a:lnTo>
                    <a:lnTo>
                      <a:pt x="1778" y="276"/>
                    </a:lnTo>
                    <a:lnTo>
                      <a:pt x="1776" y="277"/>
                    </a:lnTo>
                    <a:lnTo>
                      <a:pt x="1763" y="274"/>
                    </a:lnTo>
                    <a:lnTo>
                      <a:pt x="1760" y="272"/>
                    </a:lnTo>
                    <a:lnTo>
                      <a:pt x="1760" y="267"/>
                    </a:lnTo>
                    <a:lnTo>
                      <a:pt x="1756" y="264"/>
                    </a:lnTo>
                    <a:lnTo>
                      <a:pt x="1755" y="266"/>
                    </a:lnTo>
                    <a:lnTo>
                      <a:pt x="1755" y="269"/>
                    </a:lnTo>
                    <a:lnTo>
                      <a:pt x="1755" y="271"/>
                    </a:lnTo>
                    <a:lnTo>
                      <a:pt x="1750" y="271"/>
                    </a:lnTo>
                    <a:lnTo>
                      <a:pt x="1746" y="267"/>
                    </a:lnTo>
                    <a:lnTo>
                      <a:pt x="1743" y="269"/>
                    </a:lnTo>
                    <a:lnTo>
                      <a:pt x="1743" y="272"/>
                    </a:lnTo>
                    <a:lnTo>
                      <a:pt x="1750" y="274"/>
                    </a:lnTo>
                    <a:lnTo>
                      <a:pt x="1750" y="277"/>
                    </a:lnTo>
                    <a:lnTo>
                      <a:pt x="1751" y="277"/>
                    </a:lnTo>
                    <a:lnTo>
                      <a:pt x="1755" y="276"/>
                    </a:lnTo>
                    <a:lnTo>
                      <a:pt x="1758" y="276"/>
                    </a:lnTo>
                    <a:lnTo>
                      <a:pt x="1761" y="279"/>
                    </a:lnTo>
                    <a:lnTo>
                      <a:pt x="1766" y="281"/>
                    </a:lnTo>
                    <a:lnTo>
                      <a:pt x="1771" y="286"/>
                    </a:lnTo>
                    <a:lnTo>
                      <a:pt x="1775" y="286"/>
                    </a:lnTo>
                    <a:lnTo>
                      <a:pt x="1778" y="284"/>
                    </a:lnTo>
                    <a:lnTo>
                      <a:pt x="1791" y="287"/>
                    </a:lnTo>
                    <a:lnTo>
                      <a:pt x="1794" y="289"/>
                    </a:lnTo>
                    <a:lnTo>
                      <a:pt x="1789" y="292"/>
                    </a:lnTo>
                    <a:lnTo>
                      <a:pt x="1791" y="294"/>
                    </a:lnTo>
                    <a:lnTo>
                      <a:pt x="1789" y="299"/>
                    </a:lnTo>
                    <a:lnTo>
                      <a:pt x="1791" y="302"/>
                    </a:lnTo>
                    <a:lnTo>
                      <a:pt x="1788" y="306"/>
                    </a:lnTo>
                    <a:lnTo>
                      <a:pt x="1786" y="304"/>
                    </a:lnTo>
                    <a:lnTo>
                      <a:pt x="1783" y="302"/>
                    </a:lnTo>
                    <a:lnTo>
                      <a:pt x="1776" y="301"/>
                    </a:lnTo>
                    <a:lnTo>
                      <a:pt x="1770" y="296"/>
                    </a:lnTo>
                    <a:lnTo>
                      <a:pt x="1768" y="292"/>
                    </a:lnTo>
                    <a:lnTo>
                      <a:pt x="1770" y="287"/>
                    </a:lnTo>
                    <a:lnTo>
                      <a:pt x="1766" y="284"/>
                    </a:lnTo>
                    <a:lnTo>
                      <a:pt x="1760" y="284"/>
                    </a:lnTo>
                    <a:lnTo>
                      <a:pt x="1748" y="282"/>
                    </a:lnTo>
                    <a:lnTo>
                      <a:pt x="1745" y="279"/>
                    </a:lnTo>
                    <a:lnTo>
                      <a:pt x="1740" y="281"/>
                    </a:lnTo>
                    <a:lnTo>
                      <a:pt x="1740" y="282"/>
                    </a:lnTo>
                    <a:lnTo>
                      <a:pt x="1746" y="284"/>
                    </a:lnTo>
                    <a:lnTo>
                      <a:pt x="1755" y="286"/>
                    </a:lnTo>
                    <a:lnTo>
                      <a:pt x="1765" y="289"/>
                    </a:lnTo>
                    <a:lnTo>
                      <a:pt x="1765" y="292"/>
                    </a:lnTo>
                    <a:lnTo>
                      <a:pt x="1763" y="294"/>
                    </a:lnTo>
                    <a:lnTo>
                      <a:pt x="1758" y="291"/>
                    </a:lnTo>
                    <a:lnTo>
                      <a:pt x="1750" y="291"/>
                    </a:lnTo>
                    <a:lnTo>
                      <a:pt x="1741" y="292"/>
                    </a:lnTo>
                    <a:lnTo>
                      <a:pt x="1741" y="289"/>
                    </a:lnTo>
                    <a:lnTo>
                      <a:pt x="1740" y="287"/>
                    </a:lnTo>
                    <a:lnTo>
                      <a:pt x="1731" y="286"/>
                    </a:lnTo>
                    <a:lnTo>
                      <a:pt x="1728" y="284"/>
                    </a:lnTo>
                    <a:lnTo>
                      <a:pt x="1728" y="286"/>
                    </a:lnTo>
                    <a:lnTo>
                      <a:pt x="1736" y="289"/>
                    </a:lnTo>
                    <a:lnTo>
                      <a:pt x="1736" y="292"/>
                    </a:lnTo>
                    <a:lnTo>
                      <a:pt x="1736" y="294"/>
                    </a:lnTo>
                    <a:lnTo>
                      <a:pt x="1740" y="296"/>
                    </a:lnTo>
                    <a:lnTo>
                      <a:pt x="1741" y="294"/>
                    </a:lnTo>
                    <a:lnTo>
                      <a:pt x="1743" y="296"/>
                    </a:lnTo>
                    <a:lnTo>
                      <a:pt x="1746" y="294"/>
                    </a:lnTo>
                    <a:lnTo>
                      <a:pt x="1748" y="292"/>
                    </a:lnTo>
                    <a:lnTo>
                      <a:pt x="1750" y="294"/>
                    </a:lnTo>
                    <a:lnTo>
                      <a:pt x="1755" y="294"/>
                    </a:lnTo>
                    <a:lnTo>
                      <a:pt x="1758" y="296"/>
                    </a:lnTo>
                    <a:lnTo>
                      <a:pt x="1765" y="301"/>
                    </a:lnTo>
                    <a:lnTo>
                      <a:pt x="1765" y="302"/>
                    </a:lnTo>
                    <a:lnTo>
                      <a:pt x="1760" y="302"/>
                    </a:lnTo>
                    <a:lnTo>
                      <a:pt x="1755" y="306"/>
                    </a:lnTo>
                    <a:lnTo>
                      <a:pt x="1753" y="307"/>
                    </a:lnTo>
                    <a:lnTo>
                      <a:pt x="1758" y="306"/>
                    </a:lnTo>
                    <a:lnTo>
                      <a:pt x="1761" y="306"/>
                    </a:lnTo>
                    <a:lnTo>
                      <a:pt x="1766" y="306"/>
                    </a:lnTo>
                    <a:lnTo>
                      <a:pt x="1771" y="309"/>
                    </a:lnTo>
                    <a:lnTo>
                      <a:pt x="1775" y="312"/>
                    </a:lnTo>
                    <a:lnTo>
                      <a:pt x="1775" y="316"/>
                    </a:lnTo>
                    <a:lnTo>
                      <a:pt x="1770" y="324"/>
                    </a:lnTo>
                    <a:lnTo>
                      <a:pt x="1768" y="331"/>
                    </a:lnTo>
                    <a:lnTo>
                      <a:pt x="1765" y="331"/>
                    </a:lnTo>
                    <a:lnTo>
                      <a:pt x="1758" y="336"/>
                    </a:lnTo>
                    <a:lnTo>
                      <a:pt x="1755" y="334"/>
                    </a:lnTo>
                    <a:lnTo>
                      <a:pt x="1751" y="334"/>
                    </a:lnTo>
                    <a:lnTo>
                      <a:pt x="1748" y="332"/>
                    </a:lnTo>
                    <a:lnTo>
                      <a:pt x="1746" y="331"/>
                    </a:lnTo>
                    <a:lnTo>
                      <a:pt x="1743" y="329"/>
                    </a:lnTo>
                    <a:lnTo>
                      <a:pt x="1738" y="329"/>
                    </a:lnTo>
                    <a:lnTo>
                      <a:pt x="1738" y="331"/>
                    </a:lnTo>
                    <a:lnTo>
                      <a:pt x="1743" y="332"/>
                    </a:lnTo>
                    <a:lnTo>
                      <a:pt x="1745" y="334"/>
                    </a:lnTo>
                    <a:lnTo>
                      <a:pt x="1748" y="336"/>
                    </a:lnTo>
                    <a:lnTo>
                      <a:pt x="1753" y="339"/>
                    </a:lnTo>
                    <a:lnTo>
                      <a:pt x="1755" y="344"/>
                    </a:lnTo>
                    <a:lnTo>
                      <a:pt x="1753" y="347"/>
                    </a:lnTo>
                    <a:lnTo>
                      <a:pt x="1748" y="347"/>
                    </a:lnTo>
                    <a:lnTo>
                      <a:pt x="1743" y="352"/>
                    </a:lnTo>
                    <a:lnTo>
                      <a:pt x="1740" y="352"/>
                    </a:lnTo>
                    <a:lnTo>
                      <a:pt x="1733" y="347"/>
                    </a:lnTo>
                    <a:lnTo>
                      <a:pt x="1728" y="347"/>
                    </a:lnTo>
                    <a:lnTo>
                      <a:pt x="1726" y="345"/>
                    </a:lnTo>
                    <a:lnTo>
                      <a:pt x="1721" y="345"/>
                    </a:lnTo>
                    <a:lnTo>
                      <a:pt x="1718" y="347"/>
                    </a:lnTo>
                    <a:lnTo>
                      <a:pt x="1720" y="349"/>
                    </a:lnTo>
                    <a:lnTo>
                      <a:pt x="1735" y="357"/>
                    </a:lnTo>
                    <a:lnTo>
                      <a:pt x="1740" y="357"/>
                    </a:lnTo>
                    <a:lnTo>
                      <a:pt x="1740" y="359"/>
                    </a:lnTo>
                    <a:lnTo>
                      <a:pt x="1735" y="360"/>
                    </a:lnTo>
                    <a:lnTo>
                      <a:pt x="1731" y="365"/>
                    </a:lnTo>
                    <a:lnTo>
                      <a:pt x="1728" y="365"/>
                    </a:lnTo>
                    <a:lnTo>
                      <a:pt x="1723" y="362"/>
                    </a:lnTo>
                    <a:lnTo>
                      <a:pt x="1720" y="362"/>
                    </a:lnTo>
                    <a:lnTo>
                      <a:pt x="1715" y="365"/>
                    </a:lnTo>
                    <a:lnTo>
                      <a:pt x="1708" y="365"/>
                    </a:lnTo>
                    <a:lnTo>
                      <a:pt x="1705" y="362"/>
                    </a:lnTo>
                    <a:lnTo>
                      <a:pt x="1695" y="360"/>
                    </a:lnTo>
                    <a:lnTo>
                      <a:pt x="1690" y="362"/>
                    </a:lnTo>
                    <a:lnTo>
                      <a:pt x="1688" y="369"/>
                    </a:lnTo>
                    <a:lnTo>
                      <a:pt x="1683" y="374"/>
                    </a:lnTo>
                    <a:lnTo>
                      <a:pt x="1688" y="374"/>
                    </a:lnTo>
                    <a:lnTo>
                      <a:pt x="1690" y="374"/>
                    </a:lnTo>
                    <a:lnTo>
                      <a:pt x="1690" y="379"/>
                    </a:lnTo>
                    <a:lnTo>
                      <a:pt x="1682" y="382"/>
                    </a:lnTo>
                    <a:lnTo>
                      <a:pt x="1682" y="387"/>
                    </a:lnTo>
                    <a:lnTo>
                      <a:pt x="1677" y="390"/>
                    </a:lnTo>
                    <a:lnTo>
                      <a:pt x="1675" y="389"/>
                    </a:lnTo>
                    <a:lnTo>
                      <a:pt x="1673" y="389"/>
                    </a:lnTo>
                    <a:lnTo>
                      <a:pt x="1672" y="392"/>
                    </a:lnTo>
                    <a:lnTo>
                      <a:pt x="1668" y="394"/>
                    </a:lnTo>
                    <a:lnTo>
                      <a:pt x="1665" y="394"/>
                    </a:lnTo>
                    <a:lnTo>
                      <a:pt x="1667" y="390"/>
                    </a:lnTo>
                    <a:lnTo>
                      <a:pt x="1663" y="390"/>
                    </a:lnTo>
                    <a:lnTo>
                      <a:pt x="1662" y="394"/>
                    </a:lnTo>
                    <a:lnTo>
                      <a:pt x="1658" y="399"/>
                    </a:lnTo>
                    <a:lnTo>
                      <a:pt x="1655" y="400"/>
                    </a:lnTo>
                    <a:lnTo>
                      <a:pt x="1643" y="395"/>
                    </a:lnTo>
                    <a:lnTo>
                      <a:pt x="1638" y="395"/>
                    </a:lnTo>
                    <a:lnTo>
                      <a:pt x="1637" y="397"/>
                    </a:lnTo>
                    <a:lnTo>
                      <a:pt x="1630" y="395"/>
                    </a:lnTo>
                    <a:lnTo>
                      <a:pt x="1620" y="384"/>
                    </a:lnTo>
                    <a:lnTo>
                      <a:pt x="1618" y="375"/>
                    </a:lnTo>
                    <a:lnTo>
                      <a:pt x="1622" y="374"/>
                    </a:lnTo>
                    <a:lnTo>
                      <a:pt x="1622" y="370"/>
                    </a:lnTo>
                    <a:lnTo>
                      <a:pt x="1620" y="367"/>
                    </a:lnTo>
                    <a:lnTo>
                      <a:pt x="1620" y="364"/>
                    </a:lnTo>
                    <a:lnTo>
                      <a:pt x="1617" y="369"/>
                    </a:lnTo>
                    <a:lnTo>
                      <a:pt x="1617" y="372"/>
                    </a:lnTo>
                    <a:lnTo>
                      <a:pt x="1615" y="379"/>
                    </a:lnTo>
                    <a:lnTo>
                      <a:pt x="1612" y="382"/>
                    </a:lnTo>
                    <a:lnTo>
                      <a:pt x="1617" y="387"/>
                    </a:lnTo>
                    <a:lnTo>
                      <a:pt x="1615" y="389"/>
                    </a:lnTo>
                    <a:lnTo>
                      <a:pt x="1613" y="389"/>
                    </a:lnTo>
                    <a:lnTo>
                      <a:pt x="1607" y="389"/>
                    </a:lnTo>
                    <a:lnTo>
                      <a:pt x="1605" y="389"/>
                    </a:lnTo>
                    <a:lnTo>
                      <a:pt x="1600" y="389"/>
                    </a:lnTo>
                    <a:lnTo>
                      <a:pt x="1605" y="392"/>
                    </a:lnTo>
                    <a:lnTo>
                      <a:pt x="1602" y="399"/>
                    </a:lnTo>
                    <a:lnTo>
                      <a:pt x="1605" y="399"/>
                    </a:lnTo>
                    <a:lnTo>
                      <a:pt x="1612" y="394"/>
                    </a:lnTo>
                    <a:lnTo>
                      <a:pt x="1613" y="394"/>
                    </a:lnTo>
                    <a:lnTo>
                      <a:pt x="1615" y="392"/>
                    </a:lnTo>
                    <a:lnTo>
                      <a:pt x="1618" y="390"/>
                    </a:lnTo>
                    <a:lnTo>
                      <a:pt x="1625" y="394"/>
                    </a:lnTo>
                    <a:lnTo>
                      <a:pt x="1628" y="399"/>
                    </a:lnTo>
                    <a:lnTo>
                      <a:pt x="1627" y="404"/>
                    </a:lnTo>
                    <a:lnTo>
                      <a:pt x="1632" y="400"/>
                    </a:lnTo>
                    <a:lnTo>
                      <a:pt x="1640" y="397"/>
                    </a:lnTo>
                    <a:lnTo>
                      <a:pt x="1647" y="400"/>
                    </a:lnTo>
                    <a:lnTo>
                      <a:pt x="1647" y="404"/>
                    </a:lnTo>
                    <a:lnTo>
                      <a:pt x="1645" y="407"/>
                    </a:lnTo>
                    <a:lnTo>
                      <a:pt x="1642" y="414"/>
                    </a:lnTo>
                    <a:lnTo>
                      <a:pt x="1640" y="415"/>
                    </a:lnTo>
                    <a:lnTo>
                      <a:pt x="1638" y="417"/>
                    </a:lnTo>
                    <a:lnTo>
                      <a:pt x="1640" y="419"/>
                    </a:lnTo>
                    <a:lnTo>
                      <a:pt x="1643" y="419"/>
                    </a:lnTo>
                    <a:lnTo>
                      <a:pt x="1643" y="422"/>
                    </a:lnTo>
                    <a:lnTo>
                      <a:pt x="1638" y="425"/>
                    </a:lnTo>
                    <a:lnTo>
                      <a:pt x="1643" y="425"/>
                    </a:lnTo>
                    <a:lnTo>
                      <a:pt x="1645" y="422"/>
                    </a:lnTo>
                    <a:lnTo>
                      <a:pt x="1652" y="419"/>
                    </a:lnTo>
                    <a:lnTo>
                      <a:pt x="1655" y="419"/>
                    </a:lnTo>
                    <a:lnTo>
                      <a:pt x="1657" y="419"/>
                    </a:lnTo>
                    <a:lnTo>
                      <a:pt x="1660" y="419"/>
                    </a:lnTo>
                    <a:lnTo>
                      <a:pt x="1658" y="424"/>
                    </a:lnTo>
                    <a:lnTo>
                      <a:pt x="1660" y="427"/>
                    </a:lnTo>
                    <a:lnTo>
                      <a:pt x="1658" y="434"/>
                    </a:lnTo>
                    <a:lnTo>
                      <a:pt x="1653" y="442"/>
                    </a:lnTo>
                    <a:lnTo>
                      <a:pt x="1648" y="442"/>
                    </a:lnTo>
                    <a:lnTo>
                      <a:pt x="1643" y="445"/>
                    </a:lnTo>
                    <a:lnTo>
                      <a:pt x="1640" y="450"/>
                    </a:lnTo>
                    <a:lnTo>
                      <a:pt x="1637" y="453"/>
                    </a:lnTo>
                    <a:lnTo>
                      <a:pt x="1635" y="452"/>
                    </a:lnTo>
                    <a:lnTo>
                      <a:pt x="1637" y="447"/>
                    </a:lnTo>
                    <a:lnTo>
                      <a:pt x="1637" y="442"/>
                    </a:lnTo>
                    <a:lnTo>
                      <a:pt x="1635" y="440"/>
                    </a:lnTo>
                    <a:lnTo>
                      <a:pt x="1632" y="442"/>
                    </a:lnTo>
                    <a:lnTo>
                      <a:pt x="1628" y="448"/>
                    </a:lnTo>
                    <a:lnTo>
                      <a:pt x="1625" y="448"/>
                    </a:lnTo>
                    <a:lnTo>
                      <a:pt x="1618" y="455"/>
                    </a:lnTo>
                    <a:lnTo>
                      <a:pt x="1617" y="453"/>
                    </a:lnTo>
                    <a:lnTo>
                      <a:pt x="1612" y="453"/>
                    </a:lnTo>
                    <a:lnTo>
                      <a:pt x="1603" y="458"/>
                    </a:lnTo>
                    <a:lnTo>
                      <a:pt x="1602" y="458"/>
                    </a:lnTo>
                    <a:lnTo>
                      <a:pt x="1597" y="460"/>
                    </a:lnTo>
                    <a:lnTo>
                      <a:pt x="1593" y="458"/>
                    </a:lnTo>
                    <a:lnTo>
                      <a:pt x="1592" y="457"/>
                    </a:lnTo>
                    <a:lnTo>
                      <a:pt x="1588" y="455"/>
                    </a:lnTo>
                    <a:lnTo>
                      <a:pt x="1593" y="452"/>
                    </a:lnTo>
                    <a:lnTo>
                      <a:pt x="1597" y="448"/>
                    </a:lnTo>
                    <a:lnTo>
                      <a:pt x="1597" y="443"/>
                    </a:lnTo>
                    <a:lnTo>
                      <a:pt x="1592" y="437"/>
                    </a:lnTo>
                    <a:lnTo>
                      <a:pt x="1588" y="440"/>
                    </a:lnTo>
                    <a:lnTo>
                      <a:pt x="1582" y="439"/>
                    </a:lnTo>
                    <a:lnTo>
                      <a:pt x="1580" y="435"/>
                    </a:lnTo>
                    <a:lnTo>
                      <a:pt x="1583" y="430"/>
                    </a:lnTo>
                    <a:lnTo>
                      <a:pt x="1587" y="430"/>
                    </a:lnTo>
                    <a:lnTo>
                      <a:pt x="1583" y="429"/>
                    </a:lnTo>
                    <a:lnTo>
                      <a:pt x="1580" y="427"/>
                    </a:lnTo>
                    <a:lnTo>
                      <a:pt x="1577" y="422"/>
                    </a:lnTo>
                    <a:lnTo>
                      <a:pt x="1579" y="419"/>
                    </a:lnTo>
                    <a:lnTo>
                      <a:pt x="1579" y="414"/>
                    </a:lnTo>
                    <a:lnTo>
                      <a:pt x="1577" y="410"/>
                    </a:lnTo>
                    <a:lnTo>
                      <a:pt x="1577" y="415"/>
                    </a:lnTo>
                    <a:lnTo>
                      <a:pt x="1574" y="422"/>
                    </a:lnTo>
                    <a:lnTo>
                      <a:pt x="1579" y="429"/>
                    </a:lnTo>
                    <a:lnTo>
                      <a:pt x="1579" y="432"/>
                    </a:lnTo>
                    <a:lnTo>
                      <a:pt x="1575" y="434"/>
                    </a:lnTo>
                    <a:lnTo>
                      <a:pt x="1575" y="439"/>
                    </a:lnTo>
                    <a:lnTo>
                      <a:pt x="1572" y="440"/>
                    </a:lnTo>
                    <a:lnTo>
                      <a:pt x="1569" y="439"/>
                    </a:lnTo>
                    <a:lnTo>
                      <a:pt x="1565" y="440"/>
                    </a:lnTo>
                    <a:lnTo>
                      <a:pt x="1562" y="437"/>
                    </a:lnTo>
                    <a:lnTo>
                      <a:pt x="1560" y="434"/>
                    </a:lnTo>
                    <a:lnTo>
                      <a:pt x="1564" y="427"/>
                    </a:lnTo>
                    <a:lnTo>
                      <a:pt x="1562" y="422"/>
                    </a:lnTo>
                    <a:lnTo>
                      <a:pt x="1564" y="419"/>
                    </a:lnTo>
                    <a:lnTo>
                      <a:pt x="1569" y="414"/>
                    </a:lnTo>
                    <a:lnTo>
                      <a:pt x="1564" y="415"/>
                    </a:lnTo>
                    <a:lnTo>
                      <a:pt x="1559" y="419"/>
                    </a:lnTo>
                    <a:lnTo>
                      <a:pt x="1559" y="424"/>
                    </a:lnTo>
                    <a:lnTo>
                      <a:pt x="1560" y="429"/>
                    </a:lnTo>
                    <a:lnTo>
                      <a:pt x="1557" y="435"/>
                    </a:lnTo>
                    <a:lnTo>
                      <a:pt x="1552" y="435"/>
                    </a:lnTo>
                    <a:lnTo>
                      <a:pt x="1547" y="434"/>
                    </a:lnTo>
                    <a:lnTo>
                      <a:pt x="1549" y="430"/>
                    </a:lnTo>
                    <a:lnTo>
                      <a:pt x="1547" y="429"/>
                    </a:lnTo>
                    <a:lnTo>
                      <a:pt x="1547" y="425"/>
                    </a:lnTo>
                    <a:lnTo>
                      <a:pt x="1549" y="422"/>
                    </a:lnTo>
                    <a:lnTo>
                      <a:pt x="1550" y="419"/>
                    </a:lnTo>
                    <a:lnTo>
                      <a:pt x="1549" y="415"/>
                    </a:lnTo>
                    <a:lnTo>
                      <a:pt x="1547" y="414"/>
                    </a:lnTo>
                    <a:lnTo>
                      <a:pt x="1545" y="417"/>
                    </a:lnTo>
                    <a:lnTo>
                      <a:pt x="1545" y="420"/>
                    </a:lnTo>
                    <a:lnTo>
                      <a:pt x="1542" y="424"/>
                    </a:lnTo>
                    <a:lnTo>
                      <a:pt x="1542" y="427"/>
                    </a:lnTo>
                    <a:lnTo>
                      <a:pt x="1540" y="429"/>
                    </a:lnTo>
                    <a:lnTo>
                      <a:pt x="1537" y="429"/>
                    </a:lnTo>
                    <a:lnTo>
                      <a:pt x="1535" y="430"/>
                    </a:lnTo>
                    <a:lnTo>
                      <a:pt x="1532" y="430"/>
                    </a:lnTo>
                    <a:lnTo>
                      <a:pt x="1532" y="430"/>
                    </a:lnTo>
                    <a:close/>
                    <a:moveTo>
                      <a:pt x="1663" y="1080"/>
                    </a:moveTo>
                    <a:lnTo>
                      <a:pt x="1663" y="1086"/>
                    </a:lnTo>
                    <a:lnTo>
                      <a:pt x="1662" y="1091"/>
                    </a:lnTo>
                    <a:lnTo>
                      <a:pt x="1663" y="1095"/>
                    </a:lnTo>
                    <a:lnTo>
                      <a:pt x="1665" y="1093"/>
                    </a:lnTo>
                    <a:lnTo>
                      <a:pt x="1665" y="1091"/>
                    </a:lnTo>
                    <a:lnTo>
                      <a:pt x="1667" y="1086"/>
                    </a:lnTo>
                    <a:lnTo>
                      <a:pt x="1665" y="1081"/>
                    </a:lnTo>
                    <a:lnTo>
                      <a:pt x="1663" y="1080"/>
                    </a:lnTo>
                    <a:lnTo>
                      <a:pt x="1663" y="1080"/>
                    </a:lnTo>
                    <a:close/>
                    <a:moveTo>
                      <a:pt x="1658" y="1056"/>
                    </a:moveTo>
                    <a:lnTo>
                      <a:pt x="1658" y="1055"/>
                    </a:lnTo>
                    <a:lnTo>
                      <a:pt x="1660" y="1053"/>
                    </a:lnTo>
                    <a:lnTo>
                      <a:pt x="1662" y="1055"/>
                    </a:lnTo>
                    <a:lnTo>
                      <a:pt x="1660" y="1056"/>
                    </a:lnTo>
                    <a:lnTo>
                      <a:pt x="1658" y="1056"/>
                    </a:lnTo>
                    <a:lnTo>
                      <a:pt x="1658" y="1056"/>
                    </a:lnTo>
                    <a:close/>
                    <a:moveTo>
                      <a:pt x="1652" y="1043"/>
                    </a:moveTo>
                    <a:lnTo>
                      <a:pt x="1655" y="1038"/>
                    </a:lnTo>
                    <a:lnTo>
                      <a:pt x="1658" y="1036"/>
                    </a:lnTo>
                    <a:lnTo>
                      <a:pt x="1660" y="1040"/>
                    </a:lnTo>
                    <a:lnTo>
                      <a:pt x="1655" y="1041"/>
                    </a:lnTo>
                    <a:lnTo>
                      <a:pt x="1653" y="1043"/>
                    </a:lnTo>
                    <a:lnTo>
                      <a:pt x="1652" y="1043"/>
                    </a:lnTo>
                    <a:lnTo>
                      <a:pt x="1652" y="1043"/>
                    </a:lnTo>
                    <a:close/>
                    <a:moveTo>
                      <a:pt x="1613" y="716"/>
                    </a:moveTo>
                    <a:lnTo>
                      <a:pt x="1613" y="713"/>
                    </a:lnTo>
                    <a:lnTo>
                      <a:pt x="1615" y="711"/>
                    </a:lnTo>
                    <a:lnTo>
                      <a:pt x="1615" y="716"/>
                    </a:lnTo>
                    <a:lnTo>
                      <a:pt x="1613" y="716"/>
                    </a:lnTo>
                    <a:lnTo>
                      <a:pt x="1613" y="716"/>
                    </a:lnTo>
                    <a:close/>
                    <a:moveTo>
                      <a:pt x="1620" y="719"/>
                    </a:moveTo>
                    <a:lnTo>
                      <a:pt x="1618" y="718"/>
                    </a:lnTo>
                    <a:lnTo>
                      <a:pt x="1618" y="714"/>
                    </a:lnTo>
                    <a:lnTo>
                      <a:pt x="1622" y="713"/>
                    </a:lnTo>
                    <a:lnTo>
                      <a:pt x="1623" y="716"/>
                    </a:lnTo>
                    <a:lnTo>
                      <a:pt x="1622" y="719"/>
                    </a:lnTo>
                    <a:lnTo>
                      <a:pt x="1620" y="719"/>
                    </a:lnTo>
                    <a:lnTo>
                      <a:pt x="1620" y="719"/>
                    </a:lnTo>
                    <a:close/>
                    <a:moveTo>
                      <a:pt x="1612" y="731"/>
                    </a:moveTo>
                    <a:lnTo>
                      <a:pt x="1610" y="728"/>
                    </a:lnTo>
                    <a:lnTo>
                      <a:pt x="1612" y="726"/>
                    </a:lnTo>
                    <a:lnTo>
                      <a:pt x="1610" y="721"/>
                    </a:lnTo>
                    <a:lnTo>
                      <a:pt x="1613" y="719"/>
                    </a:lnTo>
                    <a:lnTo>
                      <a:pt x="1615" y="723"/>
                    </a:lnTo>
                    <a:lnTo>
                      <a:pt x="1617" y="723"/>
                    </a:lnTo>
                    <a:lnTo>
                      <a:pt x="1618" y="724"/>
                    </a:lnTo>
                    <a:lnTo>
                      <a:pt x="1615" y="726"/>
                    </a:lnTo>
                    <a:lnTo>
                      <a:pt x="1613" y="731"/>
                    </a:lnTo>
                    <a:lnTo>
                      <a:pt x="1612" y="731"/>
                    </a:lnTo>
                    <a:lnTo>
                      <a:pt x="1612" y="731"/>
                    </a:lnTo>
                    <a:close/>
                    <a:moveTo>
                      <a:pt x="1685" y="829"/>
                    </a:moveTo>
                    <a:lnTo>
                      <a:pt x="1688" y="826"/>
                    </a:lnTo>
                    <a:lnTo>
                      <a:pt x="1691" y="827"/>
                    </a:lnTo>
                    <a:lnTo>
                      <a:pt x="1688" y="829"/>
                    </a:lnTo>
                    <a:lnTo>
                      <a:pt x="1686" y="829"/>
                    </a:lnTo>
                    <a:lnTo>
                      <a:pt x="1685" y="829"/>
                    </a:lnTo>
                    <a:lnTo>
                      <a:pt x="1685" y="829"/>
                    </a:lnTo>
                    <a:close/>
                    <a:moveTo>
                      <a:pt x="1677" y="827"/>
                    </a:moveTo>
                    <a:lnTo>
                      <a:pt x="1677" y="824"/>
                    </a:lnTo>
                    <a:lnTo>
                      <a:pt x="1682" y="824"/>
                    </a:lnTo>
                    <a:lnTo>
                      <a:pt x="1683" y="822"/>
                    </a:lnTo>
                    <a:lnTo>
                      <a:pt x="1685" y="824"/>
                    </a:lnTo>
                    <a:lnTo>
                      <a:pt x="1680" y="829"/>
                    </a:lnTo>
                    <a:lnTo>
                      <a:pt x="1677" y="829"/>
                    </a:lnTo>
                    <a:lnTo>
                      <a:pt x="1677" y="827"/>
                    </a:lnTo>
                    <a:lnTo>
                      <a:pt x="1677" y="827"/>
                    </a:lnTo>
                    <a:close/>
                    <a:moveTo>
                      <a:pt x="1662" y="872"/>
                    </a:moveTo>
                    <a:lnTo>
                      <a:pt x="1665" y="874"/>
                    </a:lnTo>
                    <a:lnTo>
                      <a:pt x="1667" y="874"/>
                    </a:lnTo>
                    <a:lnTo>
                      <a:pt x="1665" y="872"/>
                    </a:lnTo>
                    <a:lnTo>
                      <a:pt x="1662" y="872"/>
                    </a:lnTo>
                    <a:lnTo>
                      <a:pt x="1662" y="872"/>
                    </a:lnTo>
                    <a:close/>
                    <a:moveTo>
                      <a:pt x="1682" y="892"/>
                    </a:moveTo>
                    <a:lnTo>
                      <a:pt x="1686" y="894"/>
                    </a:lnTo>
                    <a:lnTo>
                      <a:pt x="1688" y="894"/>
                    </a:lnTo>
                    <a:lnTo>
                      <a:pt x="1686" y="890"/>
                    </a:lnTo>
                    <a:lnTo>
                      <a:pt x="1685" y="890"/>
                    </a:lnTo>
                    <a:lnTo>
                      <a:pt x="1685" y="890"/>
                    </a:lnTo>
                    <a:lnTo>
                      <a:pt x="1682" y="892"/>
                    </a:lnTo>
                    <a:lnTo>
                      <a:pt x="1682" y="892"/>
                    </a:lnTo>
                    <a:close/>
                    <a:moveTo>
                      <a:pt x="1720" y="925"/>
                    </a:moveTo>
                    <a:lnTo>
                      <a:pt x="1718" y="920"/>
                    </a:lnTo>
                    <a:lnTo>
                      <a:pt x="1721" y="917"/>
                    </a:lnTo>
                    <a:lnTo>
                      <a:pt x="1725" y="920"/>
                    </a:lnTo>
                    <a:lnTo>
                      <a:pt x="1725" y="925"/>
                    </a:lnTo>
                    <a:lnTo>
                      <a:pt x="1721" y="925"/>
                    </a:lnTo>
                    <a:lnTo>
                      <a:pt x="1720" y="925"/>
                    </a:lnTo>
                    <a:lnTo>
                      <a:pt x="1720" y="925"/>
                    </a:lnTo>
                    <a:close/>
                    <a:moveTo>
                      <a:pt x="1738" y="947"/>
                    </a:moveTo>
                    <a:lnTo>
                      <a:pt x="1738" y="942"/>
                    </a:lnTo>
                    <a:lnTo>
                      <a:pt x="1741" y="940"/>
                    </a:lnTo>
                    <a:lnTo>
                      <a:pt x="1743" y="938"/>
                    </a:lnTo>
                    <a:lnTo>
                      <a:pt x="1746" y="940"/>
                    </a:lnTo>
                    <a:lnTo>
                      <a:pt x="1743" y="945"/>
                    </a:lnTo>
                    <a:lnTo>
                      <a:pt x="1740" y="945"/>
                    </a:lnTo>
                    <a:lnTo>
                      <a:pt x="1740" y="945"/>
                    </a:lnTo>
                    <a:lnTo>
                      <a:pt x="1738" y="947"/>
                    </a:lnTo>
                    <a:lnTo>
                      <a:pt x="1738" y="947"/>
                    </a:lnTo>
                    <a:close/>
                    <a:moveTo>
                      <a:pt x="1603" y="478"/>
                    </a:moveTo>
                    <a:lnTo>
                      <a:pt x="1603" y="473"/>
                    </a:lnTo>
                    <a:lnTo>
                      <a:pt x="1607" y="472"/>
                    </a:lnTo>
                    <a:lnTo>
                      <a:pt x="1608" y="468"/>
                    </a:lnTo>
                    <a:lnTo>
                      <a:pt x="1620" y="462"/>
                    </a:lnTo>
                    <a:lnTo>
                      <a:pt x="1625" y="462"/>
                    </a:lnTo>
                    <a:lnTo>
                      <a:pt x="1622" y="465"/>
                    </a:lnTo>
                    <a:lnTo>
                      <a:pt x="1615" y="470"/>
                    </a:lnTo>
                    <a:lnTo>
                      <a:pt x="1613" y="473"/>
                    </a:lnTo>
                    <a:lnTo>
                      <a:pt x="1615" y="477"/>
                    </a:lnTo>
                    <a:lnTo>
                      <a:pt x="1615" y="478"/>
                    </a:lnTo>
                    <a:lnTo>
                      <a:pt x="1612" y="478"/>
                    </a:lnTo>
                    <a:lnTo>
                      <a:pt x="1610" y="475"/>
                    </a:lnTo>
                    <a:lnTo>
                      <a:pt x="1608" y="477"/>
                    </a:lnTo>
                    <a:lnTo>
                      <a:pt x="1607" y="478"/>
                    </a:lnTo>
                    <a:lnTo>
                      <a:pt x="1603" y="478"/>
                    </a:lnTo>
                    <a:lnTo>
                      <a:pt x="1603" y="478"/>
                    </a:lnTo>
                    <a:close/>
                    <a:moveTo>
                      <a:pt x="1580" y="458"/>
                    </a:moveTo>
                    <a:lnTo>
                      <a:pt x="1580" y="458"/>
                    </a:lnTo>
                    <a:lnTo>
                      <a:pt x="1582" y="460"/>
                    </a:lnTo>
                    <a:lnTo>
                      <a:pt x="1585" y="460"/>
                    </a:lnTo>
                    <a:lnTo>
                      <a:pt x="1587" y="458"/>
                    </a:lnTo>
                    <a:lnTo>
                      <a:pt x="1585" y="457"/>
                    </a:lnTo>
                    <a:lnTo>
                      <a:pt x="1580" y="458"/>
                    </a:lnTo>
                    <a:lnTo>
                      <a:pt x="1580" y="458"/>
                    </a:lnTo>
                    <a:close/>
                    <a:moveTo>
                      <a:pt x="1449" y="405"/>
                    </a:moveTo>
                    <a:lnTo>
                      <a:pt x="1444" y="404"/>
                    </a:lnTo>
                    <a:lnTo>
                      <a:pt x="1444" y="399"/>
                    </a:lnTo>
                    <a:lnTo>
                      <a:pt x="1444" y="392"/>
                    </a:lnTo>
                    <a:lnTo>
                      <a:pt x="1442" y="389"/>
                    </a:lnTo>
                    <a:lnTo>
                      <a:pt x="1442" y="384"/>
                    </a:lnTo>
                    <a:lnTo>
                      <a:pt x="1441" y="384"/>
                    </a:lnTo>
                    <a:lnTo>
                      <a:pt x="1446" y="382"/>
                    </a:lnTo>
                    <a:lnTo>
                      <a:pt x="1454" y="384"/>
                    </a:lnTo>
                    <a:lnTo>
                      <a:pt x="1454" y="389"/>
                    </a:lnTo>
                    <a:lnTo>
                      <a:pt x="1451" y="399"/>
                    </a:lnTo>
                    <a:lnTo>
                      <a:pt x="1449" y="400"/>
                    </a:lnTo>
                    <a:lnTo>
                      <a:pt x="1451" y="402"/>
                    </a:lnTo>
                    <a:lnTo>
                      <a:pt x="1452" y="405"/>
                    </a:lnTo>
                    <a:lnTo>
                      <a:pt x="1449" y="405"/>
                    </a:lnTo>
                    <a:lnTo>
                      <a:pt x="1449" y="405"/>
                    </a:lnTo>
                    <a:close/>
                    <a:moveTo>
                      <a:pt x="1449" y="163"/>
                    </a:moveTo>
                    <a:lnTo>
                      <a:pt x="1454" y="159"/>
                    </a:lnTo>
                    <a:lnTo>
                      <a:pt x="1457" y="153"/>
                    </a:lnTo>
                    <a:lnTo>
                      <a:pt x="1457" y="149"/>
                    </a:lnTo>
                    <a:lnTo>
                      <a:pt x="1462" y="146"/>
                    </a:lnTo>
                    <a:lnTo>
                      <a:pt x="1466" y="140"/>
                    </a:lnTo>
                    <a:lnTo>
                      <a:pt x="1464" y="136"/>
                    </a:lnTo>
                    <a:lnTo>
                      <a:pt x="1459" y="136"/>
                    </a:lnTo>
                    <a:lnTo>
                      <a:pt x="1456" y="135"/>
                    </a:lnTo>
                    <a:lnTo>
                      <a:pt x="1457" y="131"/>
                    </a:lnTo>
                    <a:lnTo>
                      <a:pt x="1456" y="131"/>
                    </a:lnTo>
                    <a:lnTo>
                      <a:pt x="1449" y="136"/>
                    </a:lnTo>
                    <a:lnTo>
                      <a:pt x="1442" y="138"/>
                    </a:lnTo>
                    <a:lnTo>
                      <a:pt x="1442" y="141"/>
                    </a:lnTo>
                    <a:lnTo>
                      <a:pt x="1439" y="143"/>
                    </a:lnTo>
                    <a:lnTo>
                      <a:pt x="1439" y="146"/>
                    </a:lnTo>
                    <a:lnTo>
                      <a:pt x="1444" y="148"/>
                    </a:lnTo>
                    <a:lnTo>
                      <a:pt x="1449" y="146"/>
                    </a:lnTo>
                    <a:lnTo>
                      <a:pt x="1449" y="151"/>
                    </a:lnTo>
                    <a:lnTo>
                      <a:pt x="1444" y="154"/>
                    </a:lnTo>
                    <a:lnTo>
                      <a:pt x="1444" y="158"/>
                    </a:lnTo>
                    <a:lnTo>
                      <a:pt x="1447" y="159"/>
                    </a:lnTo>
                    <a:lnTo>
                      <a:pt x="1449" y="163"/>
                    </a:lnTo>
                    <a:lnTo>
                      <a:pt x="1449" y="163"/>
                    </a:lnTo>
                    <a:close/>
                    <a:moveTo>
                      <a:pt x="1386" y="294"/>
                    </a:moveTo>
                    <a:lnTo>
                      <a:pt x="1386" y="289"/>
                    </a:lnTo>
                    <a:lnTo>
                      <a:pt x="1389" y="286"/>
                    </a:lnTo>
                    <a:lnTo>
                      <a:pt x="1386" y="284"/>
                    </a:lnTo>
                    <a:lnTo>
                      <a:pt x="1386" y="279"/>
                    </a:lnTo>
                    <a:lnTo>
                      <a:pt x="1381" y="277"/>
                    </a:lnTo>
                    <a:lnTo>
                      <a:pt x="1383" y="274"/>
                    </a:lnTo>
                    <a:lnTo>
                      <a:pt x="1384" y="271"/>
                    </a:lnTo>
                    <a:lnTo>
                      <a:pt x="1389" y="271"/>
                    </a:lnTo>
                    <a:lnTo>
                      <a:pt x="1394" y="276"/>
                    </a:lnTo>
                    <a:lnTo>
                      <a:pt x="1397" y="276"/>
                    </a:lnTo>
                    <a:lnTo>
                      <a:pt x="1397" y="271"/>
                    </a:lnTo>
                    <a:lnTo>
                      <a:pt x="1392" y="264"/>
                    </a:lnTo>
                    <a:lnTo>
                      <a:pt x="1387" y="262"/>
                    </a:lnTo>
                    <a:lnTo>
                      <a:pt x="1387" y="261"/>
                    </a:lnTo>
                    <a:lnTo>
                      <a:pt x="1391" y="259"/>
                    </a:lnTo>
                    <a:lnTo>
                      <a:pt x="1389" y="256"/>
                    </a:lnTo>
                    <a:lnTo>
                      <a:pt x="1392" y="251"/>
                    </a:lnTo>
                    <a:lnTo>
                      <a:pt x="1392" y="244"/>
                    </a:lnTo>
                    <a:lnTo>
                      <a:pt x="1394" y="239"/>
                    </a:lnTo>
                    <a:lnTo>
                      <a:pt x="1397" y="239"/>
                    </a:lnTo>
                    <a:lnTo>
                      <a:pt x="1401" y="238"/>
                    </a:lnTo>
                    <a:lnTo>
                      <a:pt x="1402" y="231"/>
                    </a:lnTo>
                    <a:lnTo>
                      <a:pt x="1406" y="228"/>
                    </a:lnTo>
                    <a:lnTo>
                      <a:pt x="1411" y="223"/>
                    </a:lnTo>
                    <a:lnTo>
                      <a:pt x="1416" y="223"/>
                    </a:lnTo>
                    <a:lnTo>
                      <a:pt x="1421" y="229"/>
                    </a:lnTo>
                    <a:lnTo>
                      <a:pt x="1424" y="234"/>
                    </a:lnTo>
                    <a:lnTo>
                      <a:pt x="1422" y="238"/>
                    </a:lnTo>
                    <a:lnTo>
                      <a:pt x="1424" y="241"/>
                    </a:lnTo>
                    <a:lnTo>
                      <a:pt x="1427" y="243"/>
                    </a:lnTo>
                    <a:lnTo>
                      <a:pt x="1427" y="247"/>
                    </a:lnTo>
                    <a:lnTo>
                      <a:pt x="1431" y="247"/>
                    </a:lnTo>
                    <a:lnTo>
                      <a:pt x="1431" y="251"/>
                    </a:lnTo>
                    <a:lnTo>
                      <a:pt x="1432" y="256"/>
                    </a:lnTo>
                    <a:lnTo>
                      <a:pt x="1437" y="256"/>
                    </a:lnTo>
                    <a:lnTo>
                      <a:pt x="1437" y="257"/>
                    </a:lnTo>
                    <a:lnTo>
                      <a:pt x="1441" y="261"/>
                    </a:lnTo>
                    <a:lnTo>
                      <a:pt x="1442" y="269"/>
                    </a:lnTo>
                    <a:lnTo>
                      <a:pt x="1437" y="272"/>
                    </a:lnTo>
                    <a:lnTo>
                      <a:pt x="1434" y="276"/>
                    </a:lnTo>
                    <a:lnTo>
                      <a:pt x="1431" y="276"/>
                    </a:lnTo>
                    <a:lnTo>
                      <a:pt x="1427" y="277"/>
                    </a:lnTo>
                    <a:lnTo>
                      <a:pt x="1429" y="279"/>
                    </a:lnTo>
                    <a:lnTo>
                      <a:pt x="1432" y="279"/>
                    </a:lnTo>
                    <a:lnTo>
                      <a:pt x="1432" y="286"/>
                    </a:lnTo>
                    <a:lnTo>
                      <a:pt x="1432" y="289"/>
                    </a:lnTo>
                    <a:lnTo>
                      <a:pt x="1424" y="294"/>
                    </a:lnTo>
                    <a:lnTo>
                      <a:pt x="1421" y="297"/>
                    </a:lnTo>
                    <a:lnTo>
                      <a:pt x="1419" y="297"/>
                    </a:lnTo>
                    <a:lnTo>
                      <a:pt x="1417" y="292"/>
                    </a:lnTo>
                    <a:lnTo>
                      <a:pt x="1416" y="291"/>
                    </a:lnTo>
                    <a:lnTo>
                      <a:pt x="1411" y="296"/>
                    </a:lnTo>
                    <a:lnTo>
                      <a:pt x="1406" y="294"/>
                    </a:lnTo>
                    <a:lnTo>
                      <a:pt x="1399" y="296"/>
                    </a:lnTo>
                    <a:lnTo>
                      <a:pt x="1396" y="296"/>
                    </a:lnTo>
                    <a:lnTo>
                      <a:pt x="1396" y="291"/>
                    </a:lnTo>
                    <a:lnTo>
                      <a:pt x="1391" y="291"/>
                    </a:lnTo>
                    <a:lnTo>
                      <a:pt x="1391" y="292"/>
                    </a:lnTo>
                    <a:lnTo>
                      <a:pt x="1386" y="294"/>
                    </a:lnTo>
                    <a:lnTo>
                      <a:pt x="1386" y="294"/>
                    </a:lnTo>
                    <a:close/>
                    <a:moveTo>
                      <a:pt x="1441" y="287"/>
                    </a:moveTo>
                    <a:lnTo>
                      <a:pt x="1444" y="287"/>
                    </a:lnTo>
                    <a:lnTo>
                      <a:pt x="1444" y="284"/>
                    </a:lnTo>
                    <a:lnTo>
                      <a:pt x="1444" y="277"/>
                    </a:lnTo>
                    <a:lnTo>
                      <a:pt x="1441" y="277"/>
                    </a:lnTo>
                    <a:lnTo>
                      <a:pt x="1439" y="279"/>
                    </a:lnTo>
                    <a:lnTo>
                      <a:pt x="1441" y="284"/>
                    </a:lnTo>
                    <a:lnTo>
                      <a:pt x="1441" y="287"/>
                    </a:lnTo>
                    <a:lnTo>
                      <a:pt x="1441" y="287"/>
                    </a:lnTo>
                    <a:close/>
                    <a:moveTo>
                      <a:pt x="1459" y="354"/>
                    </a:moveTo>
                    <a:lnTo>
                      <a:pt x="1459" y="357"/>
                    </a:lnTo>
                    <a:lnTo>
                      <a:pt x="1462" y="360"/>
                    </a:lnTo>
                    <a:lnTo>
                      <a:pt x="1469" y="360"/>
                    </a:lnTo>
                    <a:lnTo>
                      <a:pt x="1474" y="359"/>
                    </a:lnTo>
                    <a:lnTo>
                      <a:pt x="1479" y="352"/>
                    </a:lnTo>
                    <a:lnTo>
                      <a:pt x="1479" y="349"/>
                    </a:lnTo>
                    <a:lnTo>
                      <a:pt x="1477" y="347"/>
                    </a:lnTo>
                    <a:lnTo>
                      <a:pt x="1477" y="345"/>
                    </a:lnTo>
                    <a:lnTo>
                      <a:pt x="1476" y="342"/>
                    </a:lnTo>
                    <a:lnTo>
                      <a:pt x="1472" y="342"/>
                    </a:lnTo>
                    <a:lnTo>
                      <a:pt x="1469" y="337"/>
                    </a:lnTo>
                    <a:lnTo>
                      <a:pt x="1466" y="337"/>
                    </a:lnTo>
                    <a:lnTo>
                      <a:pt x="1461" y="341"/>
                    </a:lnTo>
                    <a:lnTo>
                      <a:pt x="1461" y="345"/>
                    </a:lnTo>
                    <a:lnTo>
                      <a:pt x="1457" y="349"/>
                    </a:lnTo>
                    <a:lnTo>
                      <a:pt x="1459" y="354"/>
                    </a:lnTo>
                    <a:lnTo>
                      <a:pt x="1459" y="354"/>
                    </a:lnTo>
                    <a:close/>
                    <a:moveTo>
                      <a:pt x="1452" y="355"/>
                    </a:moveTo>
                    <a:lnTo>
                      <a:pt x="1452" y="359"/>
                    </a:lnTo>
                    <a:lnTo>
                      <a:pt x="1454" y="362"/>
                    </a:lnTo>
                    <a:lnTo>
                      <a:pt x="1456" y="364"/>
                    </a:lnTo>
                    <a:lnTo>
                      <a:pt x="1457" y="362"/>
                    </a:lnTo>
                    <a:lnTo>
                      <a:pt x="1457" y="360"/>
                    </a:lnTo>
                    <a:lnTo>
                      <a:pt x="1456" y="359"/>
                    </a:lnTo>
                    <a:lnTo>
                      <a:pt x="1454" y="355"/>
                    </a:lnTo>
                    <a:lnTo>
                      <a:pt x="1452" y="355"/>
                    </a:lnTo>
                    <a:lnTo>
                      <a:pt x="1452" y="355"/>
                    </a:lnTo>
                    <a:close/>
                    <a:moveTo>
                      <a:pt x="1383" y="322"/>
                    </a:moveTo>
                    <a:lnTo>
                      <a:pt x="1381" y="316"/>
                    </a:lnTo>
                    <a:lnTo>
                      <a:pt x="1384" y="309"/>
                    </a:lnTo>
                    <a:lnTo>
                      <a:pt x="1387" y="306"/>
                    </a:lnTo>
                    <a:lnTo>
                      <a:pt x="1392" y="306"/>
                    </a:lnTo>
                    <a:lnTo>
                      <a:pt x="1396" y="304"/>
                    </a:lnTo>
                    <a:lnTo>
                      <a:pt x="1399" y="306"/>
                    </a:lnTo>
                    <a:lnTo>
                      <a:pt x="1402" y="306"/>
                    </a:lnTo>
                    <a:lnTo>
                      <a:pt x="1406" y="306"/>
                    </a:lnTo>
                    <a:lnTo>
                      <a:pt x="1406" y="307"/>
                    </a:lnTo>
                    <a:lnTo>
                      <a:pt x="1411" y="309"/>
                    </a:lnTo>
                    <a:lnTo>
                      <a:pt x="1412" y="307"/>
                    </a:lnTo>
                    <a:lnTo>
                      <a:pt x="1416" y="309"/>
                    </a:lnTo>
                    <a:lnTo>
                      <a:pt x="1419" y="309"/>
                    </a:lnTo>
                    <a:lnTo>
                      <a:pt x="1424" y="316"/>
                    </a:lnTo>
                    <a:lnTo>
                      <a:pt x="1427" y="317"/>
                    </a:lnTo>
                    <a:lnTo>
                      <a:pt x="1426" y="319"/>
                    </a:lnTo>
                    <a:lnTo>
                      <a:pt x="1427" y="321"/>
                    </a:lnTo>
                    <a:lnTo>
                      <a:pt x="1431" y="321"/>
                    </a:lnTo>
                    <a:lnTo>
                      <a:pt x="1434" y="319"/>
                    </a:lnTo>
                    <a:lnTo>
                      <a:pt x="1437" y="322"/>
                    </a:lnTo>
                    <a:lnTo>
                      <a:pt x="1441" y="324"/>
                    </a:lnTo>
                    <a:lnTo>
                      <a:pt x="1439" y="327"/>
                    </a:lnTo>
                    <a:lnTo>
                      <a:pt x="1441" y="329"/>
                    </a:lnTo>
                    <a:lnTo>
                      <a:pt x="1439" y="331"/>
                    </a:lnTo>
                    <a:lnTo>
                      <a:pt x="1432" y="331"/>
                    </a:lnTo>
                    <a:lnTo>
                      <a:pt x="1427" y="336"/>
                    </a:lnTo>
                    <a:lnTo>
                      <a:pt x="1422" y="336"/>
                    </a:lnTo>
                    <a:lnTo>
                      <a:pt x="1417" y="332"/>
                    </a:lnTo>
                    <a:lnTo>
                      <a:pt x="1409" y="332"/>
                    </a:lnTo>
                    <a:lnTo>
                      <a:pt x="1402" y="327"/>
                    </a:lnTo>
                    <a:lnTo>
                      <a:pt x="1397" y="327"/>
                    </a:lnTo>
                    <a:lnTo>
                      <a:pt x="1392" y="326"/>
                    </a:lnTo>
                    <a:lnTo>
                      <a:pt x="1389" y="322"/>
                    </a:lnTo>
                    <a:lnTo>
                      <a:pt x="1384" y="322"/>
                    </a:lnTo>
                    <a:lnTo>
                      <a:pt x="1383" y="322"/>
                    </a:lnTo>
                    <a:lnTo>
                      <a:pt x="1383" y="322"/>
                    </a:lnTo>
                    <a:close/>
                    <a:moveTo>
                      <a:pt x="1323" y="249"/>
                    </a:moveTo>
                    <a:lnTo>
                      <a:pt x="1324" y="247"/>
                    </a:lnTo>
                    <a:lnTo>
                      <a:pt x="1326" y="246"/>
                    </a:lnTo>
                    <a:lnTo>
                      <a:pt x="1328" y="247"/>
                    </a:lnTo>
                    <a:lnTo>
                      <a:pt x="1326" y="251"/>
                    </a:lnTo>
                    <a:lnTo>
                      <a:pt x="1324" y="251"/>
                    </a:lnTo>
                    <a:lnTo>
                      <a:pt x="1323" y="249"/>
                    </a:lnTo>
                    <a:lnTo>
                      <a:pt x="1323" y="249"/>
                    </a:lnTo>
                    <a:close/>
                    <a:moveTo>
                      <a:pt x="1326" y="274"/>
                    </a:moveTo>
                    <a:lnTo>
                      <a:pt x="1329" y="281"/>
                    </a:lnTo>
                    <a:lnTo>
                      <a:pt x="1331" y="286"/>
                    </a:lnTo>
                    <a:lnTo>
                      <a:pt x="1334" y="284"/>
                    </a:lnTo>
                    <a:lnTo>
                      <a:pt x="1339" y="284"/>
                    </a:lnTo>
                    <a:lnTo>
                      <a:pt x="1341" y="286"/>
                    </a:lnTo>
                    <a:lnTo>
                      <a:pt x="1344" y="286"/>
                    </a:lnTo>
                    <a:lnTo>
                      <a:pt x="1351" y="282"/>
                    </a:lnTo>
                    <a:lnTo>
                      <a:pt x="1351" y="279"/>
                    </a:lnTo>
                    <a:lnTo>
                      <a:pt x="1356" y="277"/>
                    </a:lnTo>
                    <a:lnTo>
                      <a:pt x="1359" y="272"/>
                    </a:lnTo>
                    <a:lnTo>
                      <a:pt x="1359" y="267"/>
                    </a:lnTo>
                    <a:lnTo>
                      <a:pt x="1361" y="261"/>
                    </a:lnTo>
                    <a:lnTo>
                      <a:pt x="1364" y="254"/>
                    </a:lnTo>
                    <a:lnTo>
                      <a:pt x="1363" y="252"/>
                    </a:lnTo>
                    <a:lnTo>
                      <a:pt x="1363" y="251"/>
                    </a:lnTo>
                    <a:lnTo>
                      <a:pt x="1366" y="247"/>
                    </a:lnTo>
                    <a:lnTo>
                      <a:pt x="1369" y="243"/>
                    </a:lnTo>
                    <a:lnTo>
                      <a:pt x="1373" y="243"/>
                    </a:lnTo>
                    <a:lnTo>
                      <a:pt x="1376" y="239"/>
                    </a:lnTo>
                    <a:lnTo>
                      <a:pt x="1381" y="236"/>
                    </a:lnTo>
                    <a:lnTo>
                      <a:pt x="1383" y="229"/>
                    </a:lnTo>
                    <a:lnTo>
                      <a:pt x="1383" y="226"/>
                    </a:lnTo>
                    <a:lnTo>
                      <a:pt x="1386" y="223"/>
                    </a:lnTo>
                    <a:lnTo>
                      <a:pt x="1386" y="219"/>
                    </a:lnTo>
                    <a:lnTo>
                      <a:pt x="1384" y="216"/>
                    </a:lnTo>
                    <a:lnTo>
                      <a:pt x="1383" y="211"/>
                    </a:lnTo>
                    <a:lnTo>
                      <a:pt x="1381" y="211"/>
                    </a:lnTo>
                    <a:lnTo>
                      <a:pt x="1376" y="209"/>
                    </a:lnTo>
                    <a:lnTo>
                      <a:pt x="1371" y="209"/>
                    </a:lnTo>
                    <a:lnTo>
                      <a:pt x="1369" y="208"/>
                    </a:lnTo>
                    <a:lnTo>
                      <a:pt x="1371" y="204"/>
                    </a:lnTo>
                    <a:lnTo>
                      <a:pt x="1379" y="199"/>
                    </a:lnTo>
                    <a:lnTo>
                      <a:pt x="1379" y="198"/>
                    </a:lnTo>
                    <a:lnTo>
                      <a:pt x="1376" y="194"/>
                    </a:lnTo>
                    <a:lnTo>
                      <a:pt x="1376" y="189"/>
                    </a:lnTo>
                    <a:lnTo>
                      <a:pt x="1378" y="186"/>
                    </a:lnTo>
                    <a:lnTo>
                      <a:pt x="1373" y="181"/>
                    </a:lnTo>
                    <a:lnTo>
                      <a:pt x="1369" y="181"/>
                    </a:lnTo>
                    <a:lnTo>
                      <a:pt x="1364" y="184"/>
                    </a:lnTo>
                    <a:lnTo>
                      <a:pt x="1358" y="186"/>
                    </a:lnTo>
                    <a:lnTo>
                      <a:pt x="1356" y="189"/>
                    </a:lnTo>
                    <a:lnTo>
                      <a:pt x="1353" y="193"/>
                    </a:lnTo>
                    <a:lnTo>
                      <a:pt x="1349" y="193"/>
                    </a:lnTo>
                    <a:lnTo>
                      <a:pt x="1348" y="189"/>
                    </a:lnTo>
                    <a:lnTo>
                      <a:pt x="1353" y="186"/>
                    </a:lnTo>
                    <a:lnTo>
                      <a:pt x="1356" y="183"/>
                    </a:lnTo>
                    <a:lnTo>
                      <a:pt x="1356" y="178"/>
                    </a:lnTo>
                    <a:lnTo>
                      <a:pt x="1358" y="169"/>
                    </a:lnTo>
                    <a:lnTo>
                      <a:pt x="1356" y="166"/>
                    </a:lnTo>
                    <a:lnTo>
                      <a:pt x="1353" y="163"/>
                    </a:lnTo>
                    <a:lnTo>
                      <a:pt x="1351" y="159"/>
                    </a:lnTo>
                    <a:lnTo>
                      <a:pt x="1346" y="156"/>
                    </a:lnTo>
                    <a:lnTo>
                      <a:pt x="1341" y="158"/>
                    </a:lnTo>
                    <a:lnTo>
                      <a:pt x="1336" y="156"/>
                    </a:lnTo>
                    <a:lnTo>
                      <a:pt x="1329" y="161"/>
                    </a:lnTo>
                    <a:lnTo>
                      <a:pt x="1326" y="159"/>
                    </a:lnTo>
                    <a:lnTo>
                      <a:pt x="1326" y="153"/>
                    </a:lnTo>
                    <a:lnTo>
                      <a:pt x="1324" y="151"/>
                    </a:lnTo>
                    <a:lnTo>
                      <a:pt x="1321" y="154"/>
                    </a:lnTo>
                    <a:lnTo>
                      <a:pt x="1319" y="158"/>
                    </a:lnTo>
                    <a:lnTo>
                      <a:pt x="1314" y="161"/>
                    </a:lnTo>
                    <a:lnTo>
                      <a:pt x="1313" y="164"/>
                    </a:lnTo>
                    <a:lnTo>
                      <a:pt x="1308" y="171"/>
                    </a:lnTo>
                    <a:lnTo>
                      <a:pt x="1308" y="174"/>
                    </a:lnTo>
                    <a:lnTo>
                      <a:pt x="1311" y="178"/>
                    </a:lnTo>
                    <a:lnTo>
                      <a:pt x="1314" y="174"/>
                    </a:lnTo>
                    <a:lnTo>
                      <a:pt x="1319" y="174"/>
                    </a:lnTo>
                    <a:lnTo>
                      <a:pt x="1321" y="176"/>
                    </a:lnTo>
                    <a:lnTo>
                      <a:pt x="1316" y="181"/>
                    </a:lnTo>
                    <a:lnTo>
                      <a:pt x="1309" y="183"/>
                    </a:lnTo>
                    <a:lnTo>
                      <a:pt x="1304" y="189"/>
                    </a:lnTo>
                    <a:lnTo>
                      <a:pt x="1306" y="191"/>
                    </a:lnTo>
                    <a:lnTo>
                      <a:pt x="1313" y="189"/>
                    </a:lnTo>
                    <a:lnTo>
                      <a:pt x="1319" y="183"/>
                    </a:lnTo>
                    <a:lnTo>
                      <a:pt x="1321" y="183"/>
                    </a:lnTo>
                    <a:lnTo>
                      <a:pt x="1324" y="181"/>
                    </a:lnTo>
                    <a:lnTo>
                      <a:pt x="1328" y="184"/>
                    </a:lnTo>
                    <a:lnTo>
                      <a:pt x="1326" y="189"/>
                    </a:lnTo>
                    <a:lnTo>
                      <a:pt x="1323" y="189"/>
                    </a:lnTo>
                    <a:lnTo>
                      <a:pt x="1318" y="194"/>
                    </a:lnTo>
                    <a:lnTo>
                      <a:pt x="1316" y="198"/>
                    </a:lnTo>
                    <a:lnTo>
                      <a:pt x="1318" y="201"/>
                    </a:lnTo>
                    <a:lnTo>
                      <a:pt x="1324" y="199"/>
                    </a:lnTo>
                    <a:lnTo>
                      <a:pt x="1328" y="201"/>
                    </a:lnTo>
                    <a:lnTo>
                      <a:pt x="1323" y="204"/>
                    </a:lnTo>
                    <a:lnTo>
                      <a:pt x="1316" y="208"/>
                    </a:lnTo>
                    <a:lnTo>
                      <a:pt x="1313" y="206"/>
                    </a:lnTo>
                    <a:lnTo>
                      <a:pt x="1311" y="209"/>
                    </a:lnTo>
                    <a:lnTo>
                      <a:pt x="1316" y="209"/>
                    </a:lnTo>
                    <a:lnTo>
                      <a:pt x="1316" y="213"/>
                    </a:lnTo>
                    <a:lnTo>
                      <a:pt x="1309" y="219"/>
                    </a:lnTo>
                    <a:lnTo>
                      <a:pt x="1308" y="219"/>
                    </a:lnTo>
                    <a:lnTo>
                      <a:pt x="1304" y="213"/>
                    </a:lnTo>
                    <a:lnTo>
                      <a:pt x="1301" y="211"/>
                    </a:lnTo>
                    <a:lnTo>
                      <a:pt x="1296" y="206"/>
                    </a:lnTo>
                    <a:lnTo>
                      <a:pt x="1288" y="211"/>
                    </a:lnTo>
                    <a:lnTo>
                      <a:pt x="1288" y="213"/>
                    </a:lnTo>
                    <a:lnTo>
                      <a:pt x="1283" y="221"/>
                    </a:lnTo>
                    <a:lnTo>
                      <a:pt x="1286" y="226"/>
                    </a:lnTo>
                    <a:lnTo>
                      <a:pt x="1286" y="229"/>
                    </a:lnTo>
                    <a:lnTo>
                      <a:pt x="1289" y="231"/>
                    </a:lnTo>
                    <a:lnTo>
                      <a:pt x="1293" y="229"/>
                    </a:lnTo>
                    <a:lnTo>
                      <a:pt x="1298" y="228"/>
                    </a:lnTo>
                    <a:lnTo>
                      <a:pt x="1304" y="231"/>
                    </a:lnTo>
                    <a:lnTo>
                      <a:pt x="1313" y="231"/>
                    </a:lnTo>
                    <a:lnTo>
                      <a:pt x="1314" y="233"/>
                    </a:lnTo>
                    <a:lnTo>
                      <a:pt x="1321" y="231"/>
                    </a:lnTo>
                    <a:lnTo>
                      <a:pt x="1321" y="234"/>
                    </a:lnTo>
                    <a:lnTo>
                      <a:pt x="1318" y="234"/>
                    </a:lnTo>
                    <a:lnTo>
                      <a:pt x="1316" y="238"/>
                    </a:lnTo>
                    <a:lnTo>
                      <a:pt x="1316" y="241"/>
                    </a:lnTo>
                    <a:lnTo>
                      <a:pt x="1323" y="241"/>
                    </a:lnTo>
                    <a:lnTo>
                      <a:pt x="1328" y="244"/>
                    </a:lnTo>
                    <a:lnTo>
                      <a:pt x="1331" y="251"/>
                    </a:lnTo>
                    <a:lnTo>
                      <a:pt x="1334" y="251"/>
                    </a:lnTo>
                    <a:lnTo>
                      <a:pt x="1336" y="252"/>
                    </a:lnTo>
                    <a:lnTo>
                      <a:pt x="1334" y="256"/>
                    </a:lnTo>
                    <a:lnTo>
                      <a:pt x="1334" y="261"/>
                    </a:lnTo>
                    <a:lnTo>
                      <a:pt x="1326" y="274"/>
                    </a:lnTo>
                    <a:lnTo>
                      <a:pt x="1326" y="274"/>
                    </a:lnTo>
                    <a:close/>
                    <a:moveTo>
                      <a:pt x="1301" y="243"/>
                    </a:moveTo>
                    <a:lnTo>
                      <a:pt x="1303" y="238"/>
                    </a:lnTo>
                    <a:lnTo>
                      <a:pt x="1308" y="236"/>
                    </a:lnTo>
                    <a:lnTo>
                      <a:pt x="1313" y="236"/>
                    </a:lnTo>
                    <a:lnTo>
                      <a:pt x="1309" y="238"/>
                    </a:lnTo>
                    <a:lnTo>
                      <a:pt x="1309" y="241"/>
                    </a:lnTo>
                    <a:lnTo>
                      <a:pt x="1304" y="243"/>
                    </a:lnTo>
                    <a:lnTo>
                      <a:pt x="1301" y="243"/>
                    </a:lnTo>
                    <a:lnTo>
                      <a:pt x="1301" y="243"/>
                    </a:lnTo>
                    <a:close/>
                    <a:moveTo>
                      <a:pt x="1291" y="266"/>
                    </a:moveTo>
                    <a:lnTo>
                      <a:pt x="1293" y="262"/>
                    </a:lnTo>
                    <a:lnTo>
                      <a:pt x="1301" y="261"/>
                    </a:lnTo>
                    <a:lnTo>
                      <a:pt x="1308" y="262"/>
                    </a:lnTo>
                    <a:lnTo>
                      <a:pt x="1316" y="271"/>
                    </a:lnTo>
                    <a:lnTo>
                      <a:pt x="1314" y="276"/>
                    </a:lnTo>
                    <a:lnTo>
                      <a:pt x="1316" y="282"/>
                    </a:lnTo>
                    <a:lnTo>
                      <a:pt x="1313" y="282"/>
                    </a:lnTo>
                    <a:lnTo>
                      <a:pt x="1308" y="281"/>
                    </a:lnTo>
                    <a:lnTo>
                      <a:pt x="1303" y="282"/>
                    </a:lnTo>
                    <a:lnTo>
                      <a:pt x="1299" y="282"/>
                    </a:lnTo>
                    <a:lnTo>
                      <a:pt x="1296" y="276"/>
                    </a:lnTo>
                    <a:lnTo>
                      <a:pt x="1291" y="272"/>
                    </a:lnTo>
                    <a:lnTo>
                      <a:pt x="1291" y="266"/>
                    </a:lnTo>
                    <a:lnTo>
                      <a:pt x="1291" y="266"/>
                    </a:lnTo>
                    <a:close/>
                    <a:moveTo>
                      <a:pt x="1230" y="304"/>
                    </a:moveTo>
                    <a:lnTo>
                      <a:pt x="1233" y="301"/>
                    </a:lnTo>
                    <a:lnTo>
                      <a:pt x="1241" y="301"/>
                    </a:lnTo>
                    <a:lnTo>
                      <a:pt x="1238" y="304"/>
                    </a:lnTo>
                    <a:lnTo>
                      <a:pt x="1233" y="306"/>
                    </a:lnTo>
                    <a:lnTo>
                      <a:pt x="1230" y="304"/>
                    </a:lnTo>
                    <a:lnTo>
                      <a:pt x="1230" y="304"/>
                    </a:lnTo>
                    <a:close/>
                    <a:moveTo>
                      <a:pt x="1226" y="297"/>
                    </a:moveTo>
                    <a:lnTo>
                      <a:pt x="1223" y="292"/>
                    </a:lnTo>
                    <a:lnTo>
                      <a:pt x="1226" y="287"/>
                    </a:lnTo>
                    <a:lnTo>
                      <a:pt x="1228" y="282"/>
                    </a:lnTo>
                    <a:lnTo>
                      <a:pt x="1228" y="277"/>
                    </a:lnTo>
                    <a:lnTo>
                      <a:pt x="1233" y="274"/>
                    </a:lnTo>
                    <a:lnTo>
                      <a:pt x="1233" y="271"/>
                    </a:lnTo>
                    <a:lnTo>
                      <a:pt x="1235" y="269"/>
                    </a:lnTo>
                    <a:lnTo>
                      <a:pt x="1235" y="267"/>
                    </a:lnTo>
                    <a:lnTo>
                      <a:pt x="1238" y="261"/>
                    </a:lnTo>
                    <a:lnTo>
                      <a:pt x="1238" y="256"/>
                    </a:lnTo>
                    <a:lnTo>
                      <a:pt x="1240" y="254"/>
                    </a:lnTo>
                    <a:lnTo>
                      <a:pt x="1243" y="257"/>
                    </a:lnTo>
                    <a:lnTo>
                      <a:pt x="1245" y="262"/>
                    </a:lnTo>
                    <a:lnTo>
                      <a:pt x="1246" y="266"/>
                    </a:lnTo>
                    <a:lnTo>
                      <a:pt x="1241" y="274"/>
                    </a:lnTo>
                    <a:lnTo>
                      <a:pt x="1243" y="277"/>
                    </a:lnTo>
                    <a:lnTo>
                      <a:pt x="1240" y="282"/>
                    </a:lnTo>
                    <a:lnTo>
                      <a:pt x="1241" y="286"/>
                    </a:lnTo>
                    <a:lnTo>
                      <a:pt x="1238" y="296"/>
                    </a:lnTo>
                    <a:lnTo>
                      <a:pt x="1233" y="299"/>
                    </a:lnTo>
                    <a:lnTo>
                      <a:pt x="1226" y="297"/>
                    </a:lnTo>
                    <a:lnTo>
                      <a:pt x="1226" y="297"/>
                    </a:lnTo>
                    <a:close/>
                    <a:moveTo>
                      <a:pt x="1172" y="198"/>
                    </a:moveTo>
                    <a:lnTo>
                      <a:pt x="1168" y="193"/>
                    </a:lnTo>
                    <a:lnTo>
                      <a:pt x="1167" y="188"/>
                    </a:lnTo>
                    <a:lnTo>
                      <a:pt x="1170" y="186"/>
                    </a:lnTo>
                    <a:lnTo>
                      <a:pt x="1167" y="183"/>
                    </a:lnTo>
                    <a:lnTo>
                      <a:pt x="1162" y="184"/>
                    </a:lnTo>
                    <a:lnTo>
                      <a:pt x="1158" y="183"/>
                    </a:lnTo>
                    <a:lnTo>
                      <a:pt x="1155" y="184"/>
                    </a:lnTo>
                    <a:lnTo>
                      <a:pt x="1150" y="184"/>
                    </a:lnTo>
                    <a:lnTo>
                      <a:pt x="1147" y="184"/>
                    </a:lnTo>
                    <a:lnTo>
                      <a:pt x="1147" y="181"/>
                    </a:lnTo>
                    <a:lnTo>
                      <a:pt x="1150" y="178"/>
                    </a:lnTo>
                    <a:lnTo>
                      <a:pt x="1152" y="174"/>
                    </a:lnTo>
                    <a:lnTo>
                      <a:pt x="1157" y="174"/>
                    </a:lnTo>
                    <a:lnTo>
                      <a:pt x="1162" y="174"/>
                    </a:lnTo>
                    <a:lnTo>
                      <a:pt x="1175" y="169"/>
                    </a:lnTo>
                    <a:lnTo>
                      <a:pt x="1180" y="171"/>
                    </a:lnTo>
                    <a:lnTo>
                      <a:pt x="1183" y="173"/>
                    </a:lnTo>
                    <a:lnTo>
                      <a:pt x="1187" y="173"/>
                    </a:lnTo>
                    <a:lnTo>
                      <a:pt x="1193" y="173"/>
                    </a:lnTo>
                    <a:lnTo>
                      <a:pt x="1198" y="169"/>
                    </a:lnTo>
                    <a:lnTo>
                      <a:pt x="1206" y="169"/>
                    </a:lnTo>
                    <a:lnTo>
                      <a:pt x="1208" y="169"/>
                    </a:lnTo>
                    <a:lnTo>
                      <a:pt x="1211" y="168"/>
                    </a:lnTo>
                    <a:lnTo>
                      <a:pt x="1215" y="168"/>
                    </a:lnTo>
                    <a:lnTo>
                      <a:pt x="1215" y="171"/>
                    </a:lnTo>
                    <a:lnTo>
                      <a:pt x="1216" y="176"/>
                    </a:lnTo>
                    <a:lnTo>
                      <a:pt x="1216" y="179"/>
                    </a:lnTo>
                    <a:lnTo>
                      <a:pt x="1213" y="186"/>
                    </a:lnTo>
                    <a:lnTo>
                      <a:pt x="1216" y="191"/>
                    </a:lnTo>
                    <a:lnTo>
                      <a:pt x="1213" y="201"/>
                    </a:lnTo>
                    <a:lnTo>
                      <a:pt x="1206" y="203"/>
                    </a:lnTo>
                    <a:lnTo>
                      <a:pt x="1203" y="208"/>
                    </a:lnTo>
                    <a:lnTo>
                      <a:pt x="1198" y="206"/>
                    </a:lnTo>
                    <a:lnTo>
                      <a:pt x="1195" y="206"/>
                    </a:lnTo>
                    <a:lnTo>
                      <a:pt x="1191" y="204"/>
                    </a:lnTo>
                    <a:lnTo>
                      <a:pt x="1187" y="204"/>
                    </a:lnTo>
                    <a:lnTo>
                      <a:pt x="1182" y="199"/>
                    </a:lnTo>
                    <a:lnTo>
                      <a:pt x="1182" y="193"/>
                    </a:lnTo>
                    <a:lnTo>
                      <a:pt x="1178" y="188"/>
                    </a:lnTo>
                    <a:lnTo>
                      <a:pt x="1175" y="191"/>
                    </a:lnTo>
                    <a:lnTo>
                      <a:pt x="1177" y="194"/>
                    </a:lnTo>
                    <a:lnTo>
                      <a:pt x="1172" y="198"/>
                    </a:lnTo>
                    <a:lnTo>
                      <a:pt x="1172" y="198"/>
                    </a:lnTo>
                    <a:close/>
                    <a:moveTo>
                      <a:pt x="1105" y="231"/>
                    </a:moveTo>
                    <a:lnTo>
                      <a:pt x="1108" y="228"/>
                    </a:lnTo>
                    <a:lnTo>
                      <a:pt x="1108" y="224"/>
                    </a:lnTo>
                    <a:lnTo>
                      <a:pt x="1113" y="219"/>
                    </a:lnTo>
                    <a:lnTo>
                      <a:pt x="1115" y="214"/>
                    </a:lnTo>
                    <a:lnTo>
                      <a:pt x="1120" y="213"/>
                    </a:lnTo>
                    <a:lnTo>
                      <a:pt x="1123" y="209"/>
                    </a:lnTo>
                    <a:lnTo>
                      <a:pt x="1127" y="209"/>
                    </a:lnTo>
                    <a:lnTo>
                      <a:pt x="1138" y="208"/>
                    </a:lnTo>
                    <a:lnTo>
                      <a:pt x="1142" y="209"/>
                    </a:lnTo>
                    <a:lnTo>
                      <a:pt x="1147" y="209"/>
                    </a:lnTo>
                    <a:lnTo>
                      <a:pt x="1150" y="211"/>
                    </a:lnTo>
                    <a:lnTo>
                      <a:pt x="1155" y="211"/>
                    </a:lnTo>
                    <a:lnTo>
                      <a:pt x="1158" y="209"/>
                    </a:lnTo>
                    <a:lnTo>
                      <a:pt x="1165" y="211"/>
                    </a:lnTo>
                    <a:lnTo>
                      <a:pt x="1165" y="213"/>
                    </a:lnTo>
                    <a:lnTo>
                      <a:pt x="1172" y="213"/>
                    </a:lnTo>
                    <a:lnTo>
                      <a:pt x="1178" y="214"/>
                    </a:lnTo>
                    <a:lnTo>
                      <a:pt x="1180" y="216"/>
                    </a:lnTo>
                    <a:lnTo>
                      <a:pt x="1185" y="216"/>
                    </a:lnTo>
                    <a:lnTo>
                      <a:pt x="1187" y="218"/>
                    </a:lnTo>
                    <a:lnTo>
                      <a:pt x="1182" y="226"/>
                    </a:lnTo>
                    <a:lnTo>
                      <a:pt x="1178" y="224"/>
                    </a:lnTo>
                    <a:lnTo>
                      <a:pt x="1167" y="228"/>
                    </a:lnTo>
                    <a:lnTo>
                      <a:pt x="1162" y="229"/>
                    </a:lnTo>
                    <a:lnTo>
                      <a:pt x="1157" y="233"/>
                    </a:lnTo>
                    <a:lnTo>
                      <a:pt x="1157" y="236"/>
                    </a:lnTo>
                    <a:lnTo>
                      <a:pt x="1162" y="236"/>
                    </a:lnTo>
                    <a:lnTo>
                      <a:pt x="1163" y="236"/>
                    </a:lnTo>
                    <a:lnTo>
                      <a:pt x="1165" y="239"/>
                    </a:lnTo>
                    <a:lnTo>
                      <a:pt x="1158" y="246"/>
                    </a:lnTo>
                    <a:lnTo>
                      <a:pt x="1157" y="247"/>
                    </a:lnTo>
                    <a:lnTo>
                      <a:pt x="1153" y="249"/>
                    </a:lnTo>
                    <a:lnTo>
                      <a:pt x="1153" y="251"/>
                    </a:lnTo>
                    <a:lnTo>
                      <a:pt x="1150" y="256"/>
                    </a:lnTo>
                    <a:lnTo>
                      <a:pt x="1145" y="256"/>
                    </a:lnTo>
                    <a:lnTo>
                      <a:pt x="1140" y="257"/>
                    </a:lnTo>
                    <a:lnTo>
                      <a:pt x="1133" y="257"/>
                    </a:lnTo>
                    <a:lnTo>
                      <a:pt x="1130" y="254"/>
                    </a:lnTo>
                    <a:lnTo>
                      <a:pt x="1127" y="256"/>
                    </a:lnTo>
                    <a:lnTo>
                      <a:pt x="1122" y="254"/>
                    </a:lnTo>
                    <a:lnTo>
                      <a:pt x="1117" y="254"/>
                    </a:lnTo>
                    <a:lnTo>
                      <a:pt x="1115" y="252"/>
                    </a:lnTo>
                    <a:lnTo>
                      <a:pt x="1118" y="251"/>
                    </a:lnTo>
                    <a:lnTo>
                      <a:pt x="1115" y="244"/>
                    </a:lnTo>
                    <a:lnTo>
                      <a:pt x="1110" y="243"/>
                    </a:lnTo>
                    <a:lnTo>
                      <a:pt x="1107" y="241"/>
                    </a:lnTo>
                    <a:lnTo>
                      <a:pt x="1105" y="236"/>
                    </a:lnTo>
                    <a:lnTo>
                      <a:pt x="1105" y="231"/>
                    </a:lnTo>
                    <a:lnTo>
                      <a:pt x="1105" y="231"/>
                    </a:lnTo>
                    <a:close/>
                    <a:moveTo>
                      <a:pt x="1098" y="216"/>
                    </a:moveTo>
                    <a:lnTo>
                      <a:pt x="1102" y="218"/>
                    </a:lnTo>
                    <a:lnTo>
                      <a:pt x="1108" y="216"/>
                    </a:lnTo>
                    <a:lnTo>
                      <a:pt x="1112" y="211"/>
                    </a:lnTo>
                    <a:lnTo>
                      <a:pt x="1112" y="206"/>
                    </a:lnTo>
                    <a:lnTo>
                      <a:pt x="1113" y="203"/>
                    </a:lnTo>
                    <a:lnTo>
                      <a:pt x="1113" y="199"/>
                    </a:lnTo>
                    <a:lnTo>
                      <a:pt x="1113" y="194"/>
                    </a:lnTo>
                    <a:lnTo>
                      <a:pt x="1110" y="194"/>
                    </a:lnTo>
                    <a:lnTo>
                      <a:pt x="1107" y="194"/>
                    </a:lnTo>
                    <a:lnTo>
                      <a:pt x="1103" y="193"/>
                    </a:lnTo>
                    <a:lnTo>
                      <a:pt x="1100" y="196"/>
                    </a:lnTo>
                    <a:lnTo>
                      <a:pt x="1097" y="196"/>
                    </a:lnTo>
                    <a:lnTo>
                      <a:pt x="1095" y="199"/>
                    </a:lnTo>
                    <a:lnTo>
                      <a:pt x="1095" y="204"/>
                    </a:lnTo>
                    <a:lnTo>
                      <a:pt x="1095" y="209"/>
                    </a:lnTo>
                    <a:lnTo>
                      <a:pt x="1098" y="216"/>
                    </a:lnTo>
                    <a:lnTo>
                      <a:pt x="1098" y="216"/>
                    </a:lnTo>
                    <a:close/>
                    <a:moveTo>
                      <a:pt x="1507" y="538"/>
                    </a:moveTo>
                    <a:lnTo>
                      <a:pt x="1512" y="540"/>
                    </a:lnTo>
                    <a:lnTo>
                      <a:pt x="1517" y="538"/>
                    </a:lnTo>
                    <a:lnTo>
                      <a:pt x="1517" y="543"/>
                    </a:lnTo>
                    <a:lnTo>
                      <a:pt x="1522" y="543"/>
                    </a:lnTo>
                    <a:lnTo>
                      <a:pt x="1524" y="545"/>
                    </a:lnTo>
                    <a:lnTo>
                      <a:pt x="1527" y="545"/>
                    </a:lnTo>
                    <a:lnTo>
                      <a:pt x="1535" y="540"/>
                    </a:lnTo>
                    <a:lnTo>
                      <a:pt x="1540" y="538"/>
                    </a:lnTo>
                    <a:lnTo>
                      <a:pt x="1547" y="541"/>
                    </a:lnTo>
                    <a:lnTo>
                      <a:pt x="1552" y="541"/>
                    </a:lnTo>
                    <a:lnTo>
                      <a:pt x="1554" y="543"/>
                    </a:lnTo>
                    <a:lnTo>
                      <a:pt x="1557" y="541"/>
                    </a:lnTo>
                    <a:lnTo>
                      <a:pt x="1557" y="538"/>
                    </a:lnTo>
                    <a:lnTo>
                      <a:pt x="1560" y="533"/>
                    </a:lnTo>
                    <a:lnTo>
                      <a:pt x="1564" y="533"/>
                    </a:lnTo>
                    <a:lnTo>
                      <a:pt x="1564" y="530"/>
                    </a:lnTo>
                    <a:lnTo>
                      <a:pt x="1560" y="525"/>
                    </a:lnTo>
                    <a:lnTo>
                      <a:pt x="1560" y="522"/>
                    </a:lnTo>
                    <a:lnTo>
                      <a:pt x="1564" y="523"/>
                    </a:lnTo>
                    <a:lnTo>
                      <a:pt x="1564" y="527"/>
                    </a:lnTo>
                    <a:lnTo>
                      <a:pt x="1567" y="532"/>
                    </a:lnTo>
                    <a:lnTo>
                      <a:pt x="1570" y="528"/>
                    </a:lnTo>
                    <a:lnTo>
                      <a:pt x="1572" y="528"/>
                    </a:lnTo>
                    <a:lnTo>
                      <a:pt x="1575" y="528"/>
                    </a:lnTo>
                    <a:lnTo>
                      <a:pt x="1579" y="530"/>
                    </a:lnTo>
                    <a:lnTo>
                      <a:pt x="1579" y="527"/>
                    </a:lnTo>
                    <a:lnTo>
                      <a:pt x="1577" y="522"/>
                    </a:lnTo>
                    <a:lnTo>
                      <a:pt x="1579" y="520"/>
                    </a:lnTo>
                    <a:lnTo>
                      <a:pt x="1575" y="517"/>
                    </a:lnTo>
                    <a:lnTo>
                      <a:pt x="1570" y="518"/>
                    </a:lnTo>
                    <a:lnTo>
                      <a:pt x="1564" y="520"/>
                    </a:lnTo>
                    <a:lnTo>
                      <a:pt x="1564" y="515"/>
                    </a:lnTo>
                    <a:lnTo>
                      <a:pt x="1565" y="515"/>
                    </a:lnTo>
                    <a:lnTo>
                      <a:pt x="1569" y="515"/>
                    </a:lnTo>
                    <a:lnTo>
                      <a:pt x="1574" y="513"/>
                    </a:lnTo>
                    <a:lnTo>
                      <a:pt x="1575" y="510"/>
                    </a:lnTo>
                    <a:lnTo>
                      <a:pt x="1579" y="512"/>
                    </a:lnTo>
                    <a:lnTo>
                      <a:pt x="1582" y="512"/>
                    </a:lnTo>
                    <a:lnTo>
                      <a:pt x="1583" y="508"/>
                    </a:lnTo>
                    <a:lnTo>
                      <a:pt x="1583" y="505"/>
                    </a:lnTo>
                    <a:lnTo>
                      <a:pt x="1585" y="502"/>
                    </a:lnTo>
                    <a:lnTo>
                      <a:pt x="1585" y="498"/>
                    </a:lnTo>
                    <a:lnTo>
                      <a:pt x="1588" y="498"/>
                    </a:lnTo>
                    <a:lnTo>
                      <a:pt x="1588" y="495"/>
                    </a:lnTo>
                    <a:lnTo>
                      <a:pt x="1582" y="493"/>
                    </a:lnTo>
                    <a:lnTo>
                      <a:pt x="1579" y="495"/>
                    </a:lnTo>
                    <a:lnTo>
                      <a:pt x="1580" y="492"/>
                    </a:lnTo>
                    <a:lnTo>
                      <a:pt x="1582" y="490"/>
                    </a:lnTo>
                    <a:lnTo>
                      <a:pt x="1583" y="487"/>
                    </a:lnTo>
                    <a:lnTo>
                      <a:pt x="1579" y="483"/>
                    </a:lnTo>
                    <a:lnTo>
                      <a:pt x="1569" y="483"/>
                    </a:lnTo>
                    <a:lnTo>
                      <a:pt x="1567" y="482"/>
                    </a:lnTo>
                    <a:lnTo>
                      <a:pt x="1569" y="478"/>
                    </a:lnTo>
                    <a:lnTo>
                      <a:pt x="1570" y="478"/>
                    </a:lnTo>
                    <a:lnTo>
                      <a:pt x="1569" y="473"/>
                    </a:lnTo>
                    <a:lnTo>
                      <a:pt x="1562" y="468"/>
                    </a:lnTo>
                    <a:lnTo>
                      <a:pt x="1557" y="468"/>
                    </a:lnTo>
                    <a:lnTo>
                      <a:pt x="1554" y="470"/>
                    </a:lnTo>
                    <a:lnTo>
                      <a:pt x="1547" y="470"/>
                    </a:lnTo>
                    <a:lnTo>
                      <a:pt x="1540" y="472"/>
                    </a:lnTo>
                    <a:lnTo>
                      <a:pt x="1532" y="467"/>
                    </a:lnTo>
                    <a:lnTo>
                      <a:pt x="1530" y="463"/>
                    </a:lnTo>
                    <a:lnTo>
                      <a:pt x="1529" y="462"/>
                    </a:lnTo>
                    <a:lnTo>
                      <a:pt x="1524" y="465"/>
                    </a:lnTo>
                    <a:lnTo>
                      <a:pt x="1520" y="465"/>
                    </a:lnTo>
                    <a:lnTo>
                      <a:pt x="1517" y="465"/>
                    </a:lnTo>
                    <a:lnTo>
                      <a:pt x="1512" y="467"/>
                    </a:lnTo>
                    <a:lnTo>
                      <a:pt x="1510" y="470"/>
                    </a:lnTo>
                    <a:lnTo>
                      <a:pt x="1507" y="467"/>
                    </a:lnTo>
                    <a:lnTo>
                      <a:pt x="1504" y="465"/>
                    </a:lnTo>
                    <a:lnTo>
                      <a:pt x="1499" y="467"/>
                    </a:lnTo>
                    <a:lnTo>
                      <a:pt x="1494" y="467"/>
                    </a:lnTo>
                    <a:lnTo>
                      <a:pt x="1494" y="470"/>
                    </a:lnTo>
                    <a:lnTo>
                      <a:pt x="1492" y="472"/>
                    </a:lnTo>
                    <a:lnTo>
                      <a:pt x="1492" y="468"/>
                    </a:lnTo>
                    <a:lnTo>
                      <a:pt x="1490" y="467"/>
                    </a:lnTo>
                    <a:lnTo>
                      <a:pt x="1485" y="468"/>
                    </a:lnTo>
                    <a:lnTo>
                      <a:pt x="1476" y="467"/>
                    </a:lnTo>
                    <a:lnTo>
                      <a:pt x="1474" y="468"/>
                    </a:lnTo>
                    <a:lnTo>
                      <a:pt x="1477" y="472"/>
                    </a:lnTo>
                    <a:lnTo>
                      <a:pt x="1477" y="475"/>
                    </a:lnTo>
                    <a:lnTo>
                      <a:pt x="1481" y="477"/>
                    </a:lnTo>
                    <a:lnTo>
                      <a:pt x="1476" y="477"/>
                    </a:lnTo>
                    <a:lnTo>
                      <a:pt x="1474" y="473"/>
                    </a:lnTo>
                    <a:lnTo>
                      <a:pt x="1471" y="473"/>
                    </a:lnTo>
                    <a:lnTo>
                      <a:pt x="1464" y="475"/>
                    </a:lnTo>
                    <a:lnTo>
                      <a:pt x="1461" y="473"/>
                    </a:lnTo>
                    <a:lnTo>
                      <a:pt x="1466" y="472"/>
                    </a:lnTo>
                    <a:lnTo>
                      <a:pt x="1467" y="468"/>
                    </a:lnTo>
                    <a:lnTo>
                      <a:pt x="1462" y="463"/>
                    </a:lnTo>
                    <a:lnTo>
                      <a:pt x="1462" y="460"/>
                    </a:lnTo>
                    <a:lnTo>
                      <a:pt x="1461" y="458"/>
                    </a:lnTo>
                    <a:lnTo>
                      <a:pt x="1454" y="460"/>
                    </a:lnTo>
                    <a:lnTo>
                      <a:pt x="1456" y="463"/>
                    </a:lnTo>
                    <a:lnTo>
                      <a:pt x="1454" y="467"/>
                    </a:lnTo>
                    <a:lnTo>
                      <a:pt x="1451" y="465"/>
                    </a:lnTo>
                    <a:lnTo>
                      <a:pt x="1452" y="462"/>
                    </a:lnTo>
                    <a:lnTo>
                      <a:pt x="1452" y="460"/>
                    </a:lnTo>
                    <a:lnTo>
                      <a:pt x="1447" y="458"/>
                    </a:lnTo>
                    <a:lnTo>
                      <a:pt x="1444" y="460"/>
                    </a:lnTo>
                    <a:lnTo>
                      <a:pt x="1441" y="460"/>
                    </a:lnTo>
                    <a:lnTo>
                      <a:pt x="1442" y="457"/>
                    </a:lnTo>
                    <a:lnTo>
                      <a:pt x="1442" y="455"/>
                    </a:lnTo>
                    <a:lnTo>
                      <a:pt x="1442" y="450"/>
                    </a:lnTo>
                    <a:lnTo>
                      <a:pt x="1437" y="450"/>
                    </a:lnTo>
                    <a:lnTo>
                      <a:pt x="1432" y="455"/>
                    </a:lnTo>
                    <a:lnTo>
                      <a:pt x="1432" y="462"/>
                    </a:lnTo>
                    <a:lnTo>
                      <a:pt x="1429" y="462"/>
                    </a:lnTo>
                    <a:lnTo>
                      <a:pt x="1427" y="457"/>
                    </a:lnTo>
                    <a:lnTo>
                      <a:pt x="1429" y="453"/>
                    </a:lnTo>
                    <a:lnTo>
                      <a:pt x="1429" y="452"/>
                    </a:lnTo>
                    <a:lnTo>
                      <a:pt x="1432" y="445"/>
                    </a:lnTo>
                    <a:lnTo>
                      <a:pt x="1429" y="442"/>
                    </a:lnTo>
                    <a:lnTo>
                      <a:pt x="1422" y="443"/>
                    </a:lnTo>
                    <a:lnTo>
                      <a:pt x="1422" y="442"/>
                    </a:lnTo>
                    <a:lnTo>
                      <a:pt x="1427" y="440"/>
                    </a:lnTo>
                    <a:lnTo>
                      <a:pt x="1429" y="435"/>
                    </a:lnTo>
                    <a:lnTo>
                      <a:pt x="1429" y="432"/>
                    </a:lnTo>
                    <a:lnTo>
                      <a:pt x="1426" y="434"/>
                    </a:lnTo>
                    <a:lnTo>
                      <a:pt x="1421" y="432"/>
                    </a:lnTo>
                    <a:lnTo>
                      <a:pt x="1419" y="434"/>
                    </a:lnTo>
                    <a:lnTo>
                      <a:pt x="1416" y="434"/>
                    </a:lnTo>
                    <a:lnTo>
                      <a:pt x="1417" y="432"/>
                    </a:lnTo>
                    <a:lnTo>
                      <a:pt x="1417" y="429"/>
                    </a:lnTo>
                    <a:lnTo>
                      <a:pt x="1412" y="429"/>
                    </a:lnTo>
                    <a:lnTo>
                      <a:pt x="1411" y="432"/>
                    </a:lnTo>
                    <a:lnTo>
                      <a:pt x="1404" y="434"/>
                    </a:lnTo>
                    <a:lnTo>
                      <a:pt x="1404" y="430"/>
                    </a:lnTo>
                    <a:lnTo>
                      <a:pt x="1407" y="429"/>
                    </a:lnTo>
                    <a:lnTo>
                      <a:pt x="1409" y="425"/>
                    </a:lnTo>
                    <a:lnTo>
                      <a:pt x="1411" y="422"/>
                    </a:lnTo>
                    <a:lnTo>
                      <a:pt x="1414" y="422"/>
                    </a:lnTo>
                    <a:lnTo>
                      <a:pt x="1417" y="427"/>
                    </a:lnTo>
                    <a:lnTo>
                      <a:pt x="1424" y="427"/>
                    </a:lnTo>
                    <a:lnTo>
                      <a:pt x="1424" y="424"/>
                    </a:lnTo>
                    <a:lnTo>
                      <a:pt x="1419" y="420"/>
                    </a:lnTo>
                    <a:lnTo>
                      <a:pt x="1416" y="419"/>
                    </a:lnTo>
                    <a:lnTo>
                      <a:pt x="1417" y="417"/>
                    </a:lnTo>
                    <a:lnTo>
                      <a:pt x="1412" y="412"/>
                    </a:lnTo>
                    <a:lnTo>
                      <a:pt x="1407" y="410"/>
                    </a:lnTo>
                    <a:lnTo>
                      <a:pt x="1409" y="409"/>
                    </a:lnTo>
                    <a:lnTo>
                      <a:pt x="1411" y="407"/>
                    </a:lnTo>
                    <a:lnTo>
                      <a:pt x="1412" y="407"/>
                    </a:lnTo>
                    <a:lnTo>
                      <a:pt x="1416" y="410"/>
                    </a:lnTo>
                    <a:lnTo>
                      <a:pt x="1419" y="415"/>
                    </a:lnTo>
                    <a:lnTo>
                      <a:pt x="1426" y="417"/>
                    </a:lnTo>
                    <a:lnTo>
                      <a:pt x="1429" y="420"/>
                    </a:lnTo>
                    <a:lnTo>
                      <a:pt x="1432" y="417"/>
                    </a:lnTo>
                    <a:lnTo>
                      <a:pt x="1434" y="420"/>
                    </a:lnTo>
                    <a:lnTo>
                      <a:pt x="1442" y="422"/>
                    </a:lnTo>
                    <a:lnTo>
                      <a:pt x="1447" y="422"/>
                    </a:lnTo>
                    <a:lnTo>
                      <a:pt x="1449" y="419"/>
                    </a:lnTo>
                    <a:lnTo>
                      <a:pt x="1447" y="414"/>
                    </a:lnTo>
                    <a:lnTo>
                      <a:pt x="1437" y="407"/>
                    </a:lnTo>
                    <a:lnTo>
                      <a:pt x="1434" y="404"/>
                    </a:lnTo>
                    <a:lnTo>
                      <a:pt x="1431" y="404"/>
                    </a:lnTo>
                    <a:lnTo>
                      <a:pt x="1429" y="400"/>
                    </a:lnTo>
                    <a:lnTo>
                      <a:pt x="1426" y="395"/>
                    </a:lnTo>
                    <a:lnTo>
                      <a:pt x="1422" y="395"/>
                    </a:lnTo>
                    <a:lnTo>
                      <a:pt x="1421" y="394"/>
                    </a:lnTo>
                    <a:lnTo>
                      <a:pt x="1422" y="390"/>
                    </a:lnTo>
                    <a:lnTo>
                      <a:pt x="1426" y="392"/>
                    </a:lnTo>
                    <a:lnTo>
                      <a:pt x="1429" y="395"/>
                    </a:lnTo>
                    <a:lnTo>
                      <a:pt x="1432" y="395"/>
                    </a:lnTo>
                    <a:lnTo>
                      <a:pt x="1434" y="399"/>
                    </a:lnTo>
                    <a:lnTo>
                      <a:pt x="1436" y="400"/>
                    </a:lnTo>
                    <a:lnTo>
                      <a:pt x="1437" y="397"/>
                    </a:lnTo>
                    <a:lnTo>
                      <a:pt x="1436" y="389"/>
                    </a:lnTo>
                    <a:lnTo>
                      <a:pt x="1431" y="384"/>
                    </a:lnTo>
                    <a:lnTo>
                      <a:pt x="1427" y="384"/>
                    </a:lnTo>
                    <a:lnTo>
                      <a:pt x="1426" y="382"/>
                    </a:lnTo>
                    <a:lnTo>
                      <a:pt x="1421" y="382"/>
                    </a:lnTo>
                    <a:lnTo>
                      <a:pt x="1416" y="385"/>
                    </a:lnTo>
                    <a:lnTo>
                      <a:pt x="1411" y="385"/>
                    </a:lnTo>
                    <a:lnTo>
                      <a:pt x="1407" y="382"/>
                    </a:lnTo>
                    <a:lnTo>
                      <a:pt x="1404" y="384"/>
                    </a:lnTo>
                    <a:lnTo>
                      <a:pt x="1401" y="380"/>
                    </a:lnTo>
                    <a:lnTo>
                      <a:pt x="1396" y="387"/>
                    </a:lnTo>
                    <a:lnTo>
                      <a:pt x="1389" y="390"/>
                    </a:lnTo>
                    <a:lnTo>
                      <a:pt x="1387" y="394"/>
                    </a:lnTo>
                    <a:lnTo>
                      <a:pt x="1384" y="395"/>
                    </a:lnTo>
                    <a:lnTo>
                      <a:pt x="1384" y="392"/>
                    </a:lnTo>
                    <a:lnTo>
                      <a:pt x="1387" y="389"/>
                    </a:lnTo>
                    <a:lnTo>
                      <a:pt x="1389" y="387"/>
                    </a:lnTo>
                    <a:lnTo>
                      <a:pt x="1399" y="379"/>
                    </a:lnTo>
                    <a:lnTo>
                      <a:pt x="1401" y="375"/>
                    </a:lnTo>
                    <a:lnTo>
                      <a:pt x="1399" y="372"/>
                    </a:lnTo>
                    <a:lnTo>
                      <a:pt x="1399" y="362"/>
                    </a:lnTo>
                    <a:lnTo>
                      <a:pt x="1401" y="360"/>
                    </a:lnTo>
                    <a:lnTo>
                      <a:pt x="1396" y="357"/>
                    </a:lnTo>
                    <a:lnTo>
                      <a:pt x="1394" y="359"/>
                    </a:lnTo>
                    <a:lnTo>
                      <a:pt x="1389" y="359"/>
                    </a:lnTo>
                    <a:lnTo>
                      <a:pt x="1387" y="357"/>
                    </a:lnTo>
                    <a:lnTo>
                      <a:pt x="1386" y="352"/>
                    </a:lnTo>
                    <a:lnTo>
                      <a:pt x="1386" y="350"/>
                    </a:lnTo>
                    <a:lnTo>
                      <a:pt x="1378" y="347"/>
                    </a:lnTo>
                    <a:lnTo>
                      <a:pt x="1374" y="344"/>
                    </a:lnTo>
                    <a:lnTo>
                      <a:pt x="1369" y="344"/>
                    </a:lnTo>
                    <a:lnTo>
                      <a:pt x="1364" y="341"/>
                    </a:lnTo>
                    <a:lnTo>
                      <a:pt x="1363" y="344"/>
                    </a:lnTo>
                    <a:lnTo>
                      <a:pt x="1353" y="344"/>
                    </a:lnTo>
                    <a:lnTo>
                      <a:pt x="1353" y="345"/>
                    </a:lnTo>
                    <a:lnTo>
                      <a:pt x="1349" y="345"/>
                    </a:lnTo>
                    <a:lnTo>
                      <a:pt x="1348" y="350"/>
                    </a:lnTo>
                    <a:lnTo>
                      <a:pt x="1351" y="354"/>
                    </a:lnTo>
                    <a:lnTo>
                      <a:pt x="1353" y="357"/>
                    </a:lnTo>
                    <a:lnTo>
                      <a:pt x="1349" y="357"/>
                    </a:lnTo>
                    <a:lnTo>
                      <a:pt x="1344" y="350"/>
                    </a:lnTo>
                    <a:lnTo>
                      <a:pt x="1343" y="355"/>
                    </a:lnTo>
                    <a:lnTo>
                      <a:pt x="1344" y="359"/>
                    </a:lnTo>
                    <a:lnTo>
                      <a:pt x="1349" y="362"/>
                    </a:lnTo>
                    <a:lnTo>
                      <a:pt x="1354" y="369"/>
                    </a:lnTo>
                    <a:lnTo>
                      <a:pt x="1359" y="369"/>
                    </a:lnTo>
                    <a:lnTo>
                      <a:pt x="1356" y="370"/>
                    </a:lnTo>
                    <a:lnTo>
                      <a:pt x="1353" y="370"/>
                    </a:lnTo>
                    <a:lnTo>
                      <a:pt x="1351" y="375"/>
                    </a:lnTo>
                    <a:lnTo>
                      <a:pt x="1358" y="382"/>
                    </a:lnTo>
                    <a:lnTo>
                      <a:pt x="1361" y="384"/>
                    </a:lnTo>
                    <a:lnTo>
                      <a:pt x="1361" y="387"/>
                    </a:lnTo>
                    <a:lnTo>
                      <a:pt x="1359" y="385"/>
                    </a:lnTo>
                    <a:lnTo>
                      <a:pt x="1353" y="385"/>
                    </a:lnTo>
                    <a:lnTo>
                      <a:pt x="1353" y="387"/>
                    </a:lnTo>
                    <a:lnTo>
                      <a:pt x="1349" y="389"/>
                    </a:lnTo>
                    <a:lnTo>
                      <a:pt x="1348" y="392"/>
                    </a:lnTo>
                    <a:lnTo>
                      <a:pt x="1354" y="390"/>
                    </a:lnTo>
                    <a:lnTo>
                      <a:pt x="1358" y="392"/>
                    </a:lnTo>
                    <a:lnTo>
                      <a:pt x="1366" y="390"/>
                    </a:lnTo>
                    <a:lnTo>
                      <a:pt x="1366" y="392"/>
                    </a:lnTo>
                    <a:lnTo>
                      <a:pt x="1371" y="394"/>
                    </a:lnTo>
                    <a:lnTo>
                      <a:pt x="1373" y="397"/>
                    </a:lnTo>
                    <a:lnTo>
                      <a:pt x="1379" y="400"/>
                    </a:lnTo>
                    <a:lnTo>
                      <a:pt x="1381" y="400"/>
                    </a:lnTo>
                    <a:lnTo>
                      <a:pt x="1381" y="399"/>
                    </a:lnTo>
                    <a:lnTo>
                      <a:pt x="1383" y="400"/>
                    </a:lnTo>
                    <a:lnTo>
                      <a:pt x="1387" y="397"/>
                    </a:lnTo>
                    <a:lnTo>
                      <a:pt x="1391" y="399"/>
                    </a:lnTo>
                    <a:lnTo>
                      <a:pt x="1392" y="400"/>
                    </a:lnTo>
                    <a:lnTo>
                      <a:pt x="1391" y="405"/>
                    </a:lnTo>
                    <a:lnTo>
                      <a:pt x="1391" y="412"/>
                    </a:lnTo>
                    <a:lnTo>
                      <a:pt x="1389" y="419"/>
                    </a:lnTo>
                    <a:lnTo>
                      <a:pt x="1389" y="422"/>
                    </a:lnTo>
                    <a:lnTo>
                      <a:pt x="1391" y="425"/>
                    </a:lnTo>
                    <a:lnTo>
                      <a:pt x="1389" y="432"/>
                    </a:lnTo>
                    <a:lnTo>
                      <a:pt x="1389" y="434"/>
                    </a:lnTo>
                    <a:lnTo>
                      <a:pt x="1387" y="439"/>
                    </a:lnTo>
                    <a:lnTo>
                      <a:pt x="1381" y="443"/>
                    </a:lnTo>
                    <a:lnTo>
                      <a:pt x="1376" y="445"/>
                    </a:lnTo>
                    <a:lnTo>
                      <a:pt x="1374" y="448"/>
                    </a:lnTo>
                    <a:lnTo>
                      <a:pt x="1369" y="453"/>
                    </a:lnTo>
                    <a:lnTo>
                      <a:pt x="1369" y="457"/>
                    </a:lnTo>
                    <a:lnTo>
                      <a:pt x="1366" y="460"/>
                    </a:lnTo>
                    <a:lnTo>
                      <a:pt x="1363" y="463"/>
                    </a:lnTo>
                    <a:lnTo>
                      <a:pt x="1363" y="468"/>
                    </a:lnTo>
                    <a:lnTo>
                      <a:pt x="1366" y="468"/>
                    </a:lnTo>
                    <a:lnTo>
                      <a:pt x="1366" y="472"/>
                    </a:lnTo>
                    <a:lnTo>
                      <a:pt x="1363" y="473"/>
                    </a:lnTo>
                    <a:lnTo>
                      <a:pt x="1361" y="477"/>
                    </a:lnTo>
                    <a:lnTo>
                      <a:pt x="1364" y="478"/>
                    </a:lnTo>
                    <a:lnTo>
                      <a:pt x="1359" y="483"/>
                    </a:lnTo>
                    <a:lnTo>
                      <a:pt x="1359" y="487"/>
                    </a:lnTo>
                    <a:lnTo>
                      <a:pt x="1361" y="492"/>
                    </a:lnTo>
                    <a:lnTo>
                      <a:pt x="1364" y="492"/>
                    </a:lnTo>
                    <a:lnTo>
                      <a:pt x="1364" y="495"/>
                    </a:lnTo>
                    <a:lnTo>
                      <a:pt x="1368" y="498"/>
                    </a:lnTo>
                    <a:lnTo>
                      <a:pt x="1371" y="497"/>
                    </a:lnTo>
                    <a:lnTo>
                      <a:pt x="1371" y="493"/>
                    </a:lnTo>
                    <a:lnTo>
                      <a:pt x="1373" y="492"/>
                    </a:lnTo>
                    <a:lnTo>
                      <a:pt x="1374" y="493"/>
                    </a:lnTo>
                    <a:lnTo>
                      <a:pt x="1378" y="493"/>
                    </a:lnTo>
                    <a:lnTo>
                      <a:pt x="1381" y="487"/>
                    </a:lnTo>
                    <a:lnTo>
                      <a:pt x="1383" y="490"/>
                    </a:lnTo>
                    <a:lnTo>
                      <a:pt x="1381" y="495"/>
                    </a:lnTo>
                    <a:lnTo>
                      <a:pt x="1376" y="495"/>
                    </a:lnTo>
                    <a:lnTo>
                      <a:pt x="1376" y="498"/>
                    </a:lnTo>
                    <a:lnTo>
                      <a:pt x="1378" y="500"/>
                    </a:lnTo>
                    <a:lnTo>
                      <a:pt x="1378" y="502"/>
                    </a:lnTo>
                    <a:lnTo>
                      <a:pt x="1383" y="507"/>
                    </a:lnTo>
                    <a:lnTo>
                      <a:pt x="1387" y="507"/>
                    </a:lnTo>
                    <a:lnTo>
                      <a:pt x="1387" y="508"/>
                    </a:lnTo>
                    <a:lnTo>
                      <a:pt x="1394" y="508"/>
                    </a:lnTo>
                    <a:lnTo>
                      <a:pt x="1397" y="507"/>
                    </a:lnTo>
                    <a:lnTo>
                      <a:pt x="1402" y="505"/>
                    </a:lnTo>
                    <a:lnTo>
                      <a:pt x="1402" y="498"/>
                    </a:lnTo>
                    <a:lnTo>
                      <a:pt x="1404" y="498"/>
                    </a:lnTo>
                    <a:lnTo>
                      <a:pt x="1407" y="497"/>
                    </a:lnTo>
                    <a:lnTo>
                      <a:pt x="1407" y="500"/>
                    </a:lnTo>
                    <a:lnTo>
                      <a:pt x="1407" y="502"/>
                    </a:lnTo>
                    <a:lnTo>
                      <a:pt x="1407" y="505"/>
                    </a:lnTo>
                    <a:lnTo>
                      <a:pt x="1409" y="503"/>
                    </a:lnTo>
                    <a:lnTo>
                      <a:pt x="1412" y="497"/>
                    </a:lnTo>
                    <a:lnTo>
                      <a:pt x="1416" y="497"/>
                    </a:lnTo>
                    <a:lnTo>
                      <a:pt x="1416" y="498"/>
                    </a:lnTo>
                    <a:lnTo>
                      <a:pt x="1416" y="503"/>
                    </a:lnTo>
                    <a:lnTo>
                      <a:pt x="1409" y="510"/>
                    </a:lnTo>
                    <a:lnTo>
                      <a:pt x="1406" y="513"/>
                    </a:lnTo>
                    <a:lnTo>
                      <a:pt x="1406" y="517"/>
                    </a:lnTo>
                    <a:lnTo>
                      <a:pt x="1411" y="518"/>
                    </a:lnTo>
                    <a:lnTo>
                      <a:pt x="1416" y="522"/>
                    </a:lnTo>
                    <a:lnTo>
                      <a:pt x="1419" y="520"/>
                    </a:lnTo>
                    <a:lnTo>
                      <a:pt x="1421" y="522"/>
                    </a:lnTo>
                    <a:lnTo>
                      <a:pt x="1426" y="523"/>
                    </a:lnTo>
                    <a:lnTo>
                      <a:pt x="1427" y="520"/>
                    </a:lnTo>
                    <a:lnTo>
                      <a:pt x="1432" y="520"/>
                    </a:lnTo>
                    <a:lnTo>
                      <a:pt x="1431" y="522"/>
                    </a:lnTo>
                    <a:lnTo>
                      <a:pt x="1431" y="523"/>
                    </a:lnTo>
                    <a:lnTo>
                      <a:pt x="1434" y="525"/>
                    </a:lnTo>
                    <a:lnTo>
                      <a:pt x="1437" y="527"/>
                    </a:lnTo>
                    <a:lnTo>
                      <a:pt x="1441" y="525"/>
                    </a:lnTo>
                    <a:lnTo>
                      <a:pt x="1441" y="523"/>
                    </a:lnTo>
                    <a:lnTo>
                      <a:pt x="1439" y="520"/>
                    </a:lnTo>
                    <a:lnTo>
                      <a:pt x="1442" y="515"/>
                    </a:lnTo>
                    <a:lnTo>
                      <a:pt x="1444" y="518"/>
                    </a:lnTo>
                    <a:lnTo>
                      <a:pt x="1442" y="523"/>
                    </a:lnTo>
                    <a:lnTo>
                      <a:pt x="1444" y="527"/>
                    </a:lnTo>
                    <a:lnTo>
                      <a:pt x="1447" y="527"/>
                    </a:lnTo>
                    <a:lnTo>
                      <a:pt x="1449" y="523"/>
                    </a:lnTo>
                    <a:lnTo>
                      <a:pt x="1451" y="520"/>
                    </a:lnTo>
                    <a:lnTo>
                      <a:pt x="1454" y="520"/>
                    </a:lnTo>
                    <a:lnTo>
                      <a:pt x="1452" y="523"/>
                    </a:lnTo>
                    <a:lnTo>
                      <a:pt x="1451" y="525"/>
                    </a:lnTo>
                    <a:lnTo>
                      <a:pt x="1451" y="528"/>
                    </a:lnTo>
                    <a:lnTo>
                      <a:pt x="1457" y="528"/>
                    </a:lnTo>
                    <a:lnTo>
                      <a:pt x="1461" y="525"/>
                    </a:lnTo>
                    <a:lnTo>
                      <a:pt x="1464" y="518"/>
                    </a:lnTo>
                    <a:lnTo>
                      <a:pt x="1466" y="522"/>
                    </a:lnTo>
                    <a:lnTo>
                      <a:pt x="1462" y="525"/>
                    </a:lnTo>
                    <a:lnTo>
                      <a:pt x="1462" y="528"/>
                    </a:lnTo>
                    <a:lnTo>
                      <a:pt x="1469" y="527"/>
                    </a:lnTo>
                    <a:lnTo>
                      <a:pt x="1471" y="522"/>
                    </a:lnTo>
                    <a:lnTo>
                      <a:pt x="1472" y="518"/>
                    </a:lnTo>
                    <a:lnTo>
                      <a:pt x="1471" y="528"/>
                    </a:lnTo>
                    <a:lnTo>
                      <a:pt x="1472" y="530"/>
                    </a:lnTo>
                    <a:lnTo>
                      <a:pt x="1477" y="532"/>
                    </a:lnTo>
                    <a:lnTo>
                      <a:pt x="1484" y="535"/>
                    </a:lnTo>
                    <a:lnTo>
                      <a:pt x="1487" y="533"/>
                    </a:lnTo>
                    <a:lnTo>
                      <a:pt x="1490" y="532"/>
                    </a:lnTo>
                    <a:lnTo>
                      <a:pt x="1492" y="535"/>
                    </a:lnTo>
                    <a:lnTo>
                      <a:pt x="1497" y="533"/>
                    </a:lnTo>
                    <a:lnTo>
                      <a:pt x="1500" y="532"/>
                    </a:lnTo>
                    <a:lnTo>
                      <a:pt x="1500" y="527"/>
                    </a:lnTo>
                    <a:lnTo>
                      <a:pt x="1505" y="523"/>
                    </a:lnTo>
                    <a:lnTo>
                      <a:pt x="1507" y="520"/>
                    </a:lnTo>
                    <a:lnTo>
                      <a:pt x="1504" y="517"/>
                    </a:lnTo>
                    <a:lnTo>
                      <a:pt x="1507" y="512"/>
                    </a:lnTo>
                    <a:lnTo>
                      <a:pt x="1509" y="513"/>
                    </a:lnTo>
                    <a:lnTo>
                      <a:pt x="1509" y="518"/>
                    </a:lnTo>
                    <a:lnTo>
                      <a:pt x="1512" y="518"/>
                    </a:lnTo>
                    <a:lnTo>
                      <a:pt x="1512" y="522"/>
                    </a:lnTo>
                    <a:lnTo>
                      <a:pt x="1509" y="523"/>
                    </a:lnTo>
                    <a:lnTo>
                      <a:pt x="1505" y="530"/>
                    </a:lnTo>
                    <a:lnTo>
                      <a:pt x="1507" y="538"/>
                    </a:lnTo>
                    <a:lnTo>
                      <a:pt x="1507" y="538"/>
                    </a:lnTo>
                    <a:close/>
                    <a:moveTo>
                      <a:pt x="1341" y="341"/>
                    </a:moveTo>
                    <a:lnTo>
                      <a:pt x="1344" y="339"/>
                    </a:lnTo>
                    <a:lnTo>
                      <a:pt x="1344" y="337"/>
                    </a:lnTo>
                    <a:lnTo>
                      <a:pt x="1341" y="337"/>
                    </a:lnTo>
                    <a:lnTo>
                      <a:pt x="1339" y="339"/>
                    </a:lnTo>
                    <a:lnTo>
                      <a:pt x="1341" y="341"/>
                    </a:lnTo>
                    <a:lnTo>
                      <a:pt x="1341" y="341"/>
                    </a:lnTo>
                    <a:close/>
                    <a:moveTo>
                      <a:pt x="1333" y="367"/>
                    </a:moveTo>
                    <a:lnTo>
                      <a:pt x="1336" y="364"/>
                    </a:lnTo>
                    <a:lnTo>
                      <a:pt x="1336" y="360"/>
                    </a:lnTo>
                    <a:lnTo>
                      <a:pt x="1338" y="364"/>
                    </a:lnTo>
                    <a:lnTo>
                      <a:pt x="1334" y="367"/>
                    </a:lnTo>
                    <a:lnTo>
                      <a:pt x="1333" y="367"/>
                    </a:lnTo>
                    <a:lnTo>
                      <a:pt x="1333" y="367"/>
                    </a:lnTo>
                    <a:close/>
                    <a:moveTo>
                      <a:pt x="1216" y="405"/>
                    </a:moveTo>
                    <a:lnTo>
                      <a:pt x="1215" y="407"/>
                    </a:lnTo>
                    <a:lnTo>
                      <a:pt x="1216" y="409"/>
                    </a:lnTo>
                    <a:lnTo>
                      <a:pt x="1218" y="407"/>
                    </a:lnTo>
                    <a:lnTo>
                      <a:pt x="1216" y="405"/>
                    </a:lnTo>
                    <a:lnTo>
                      <a:pt x="1216" y="405"/>
                    </a:lnTo>
                    <a:close/>
                    <a:moveTo>
                      <a:pt x="1291" y="339"/>
                    </a:moveTo>
                    <a:lnTo>
                      <a:pt x="1291" y="341"/>
                    </a:lnTo>
                    <a:lnTo>
                      <a:pt x="1294" y="344"/>
                    </a:lnTo>
                    <a:lnTo>
                      <a:pt x="1294" y="347"/>
                    </a:lnTo>
                    <a:lnTo>
                      <a:pt x="1298" y="345"/>
                    </a:lnTo>
                    <a:lnTo>
                      <a:pt x="1296" y="342"/>
                    </a:lnTo>
                    <a:lnTo>
                      <a:pt x="1294" y="339"/>
                    </a:lnTo>
                    <a:lnTo>
                      <a:pt x="1291" y="339"/>
                    </a:lnTo>
                    <a:lnTo>
                      <a:pt x="1291" y="339"/>
                    </a:lnTo>
                    <a:close/>
                    <a:moveTo>
                      <a:pt x="1255" y="341"/>
                    </a:moveTo>
                    <a:lnTo>
                      <a:pt x="1255" y="342"/>
                    </a:lnTo>
                    <a:lnTo>
                      <a:pt x="1258" y="344"/>
                    </a:lnTo>
                    <a:lnTo>
                      <a:pt x="1261" y="342"/>
                    </a:lnTo>
                    <a:lnTo>
                      <a:pt x="1266" y="342"/>
                    </a:lnTo>
                    <a:lnTo>
                      <a:pt x="1270" y="342"/>
                    </a:lnTo>
                    <a:lnTo>
                      <a:pt x="1276" y="339"/>
                    </a:lnTo>
                    <a:lnTo>
                      <a:pt x="1280" y="339"/>
                    </a:lnTo>
                    <a:lnTo>
                      <a:pt x="1285" y="337"/>
                    </a:lnTo>
                    <a:lnTo>
                      <a:pt x="1283" y="336"/>
                    </a:lnTo>
                    <a:lnTo>
                      <a:pt x="1276" y="336"/>
                    </a:lnTo>
                    <a:lnTo>
                      <a:pt x="1270" y="336"/>
                    </a:lnTo>
                    <a:lnTo>
                      <a:pt x="1270" y="336"/>
                    </a:lnTo>
                    <a:lnTo>
                      <a:pt x="1266" y="339"/>
                    </a:lnTo>
                    <a:lnTo>
                      <a:pt x="1266" y="339"/>
                    </a:lnTo>
                    <a:lnTo>
                      <a:pt x="1263" y="337"/>
                    </a:lnTo>
                    <a:lnTo>
                      <a:pt x="1258" y="339"/>
                    </a:lnTo>
                    <a:lnTo>
                      <a:pt x="1255" y="341"/>
                    </a:lnTo>
                    <a:lnTo>
                      <a:pt x="1255" y="341"/>
                    </a:lnTo>
                    <a:close/>
                    <a:moveTo>
                      <a:pt x="1218" y="352"/>
                    </a:moveTo>
                    <a:lnTo>
                      <a:pt x="1215" y="349"/>
                    </a:lnTo>
                    <a:lnTo>
                      <a:pt x="1208" y="349"/>
                    </a:lnTo>
                    <a:lnTo>
                      <a:pt x="1205" y="347"/>
                    </a:lnTo>
                    <a:lnTo>
                      <a:pt x="1203" y="342"/>
                    </a:lnTo>
                    <a:lnTo>
                      <a:pt x="1206" y="339"/>
                    </a:lnTo>
                    <a:lnTo>
                      <a:pt x="1206" y="336"/>
                    </a:lnTo>
                    <a:lnTo>
                      <a:pt x="1206" y="332"/>
                    </a:lnTo>
                    <a:lnTo>
                      <a:pt x="1206" y="329"/>
                    </a:lnTo>
                    <a:lnTo>
                      <a:pt x="1210" y="327"/>
                    </a:lnTo>
                    <a:lnTo>
                      <a:pt x="1216" y="327"/>
                    </a:lnTo>
                    <a:lnTo>
                      <a:pt x="1218" y="327"/>
                    </a:lnTo>
                    <a:lnTo>
                      <a:pt x="1220" y="329"/>
                    </a:lnTo>
                    <a:lnTo>
                      <a:pt x="1220" y="331"/>
                    </a:lnTo>
                    <a:lnTo>
                      <a:pt x="1218" y="332"/>
                    </a:lnTo>
                    <a:lnTo>
                      <a:pt x="1216" y="336"/>
                    </a:lnTo>
                    <a:lnTo>
                      <a:pt x="1218" y="336"/>
                    </a:lnTo>
                    <a:lnTo>
                      <a:pt x="1223" y="336"/>
                    </a:lnTo>
                    <a:lnTo>
                      <a:pt x="1223" y="337"/>
                    </a:lnTo>
                    <a:lnTo>
                      <a:pt x="1221" y="341"/>
                    </a:lnTo>
                    <a:lnTo>
                      <a:pt x="1223" y="342"/>
                    </a:lnTo>
                    <a:lnTo>
                      <a:pt x="1223" y="347"/>
                    </a:lnTo>
                    <a:lnTo>
                      <a:pt x="1221" y="350"/>
                    </a:lnTo>
                    <a:lnTo>
                      <a:pt x="1218" y="352"/>
                    </a:lnTo>
                    <a:lnTo>
                      <a:pt x="1218" y="352"/>
                    </a:lnTo>
                    <a:close/>
                    <a:moveTo>
                      <a:pt x="1211" y="367"/>
                    </a:moveTo>
                    <a:lnTo>
                      <a:pt x="1221" y="369"/>
                    </a:lnTo>
                    <a:lnTo>
                      <a:pt x="1225" y="365"/>
                    </a:lnTo>
                    <a:lnTo>
                      <a:pt x="1228" y="360"/>
                    </a:lnTo>
                    <a:lnTo>
                      <a:pt x="1225" y="355"/>
                    </a:lnTo>
                    <a:lnTo>
                      <a:pt x="1220" y="357"/>
                    </a:lnTo>
                    <a:lnTo>
                      <a:pt x="1215" y="354"/>
                    </a:lnTo>
                    <a:lnTo>
                      <a:pt x="1208" y="354"/>
                    </a:lnTo>
                    <a:lnTo>
                      <a:pt x="1205" y="354"/>
                    </a:lnTo>
                    <a:lnTo>
                      <a:pt x="1200" y="354"/>
                    </a:lnTo>
                    <a:lnTo>
                      <a:pt x="1198" y="355"/>
                    </a:lnTo>
                    <a:lnTo>
                      <a:pt x="1195" y="357"/>
                    </a:lnTo>
                    <a:lnTo>
                      <a:pt x="1195" y="360"/>
                    </a:lnTo>
                    <a:lnTo>
                      <a:pt x="1195" y="362"/>
                    </a:lnTo>
                    <a:lnTo>
                      <a:pt x="1196" y="362"/>
                    </a:lnTo>
                    <a:lnTo>
                      <a:pt x="1198" y="364"/>
                    </a:lnTo>
                    <a:lnTo>
                      <a:pt x="1201" y="365"/>
                    </a:lnTo>
                    <a:lnTo>
                      <a:pt x="1206" y="367"/>
                    </a:lnTo>
                    <a:lnTo>
                      <a:pt x="1211" y="367"/>
                    </a:lnTo>
                    <a:lnTo>
                      <a:pt x="1211" y="367"/>
                    </a:lnTo>
                    <a:close/>
                    <a:moveTo>
                      <a:pt x="1195" y="374"/>
                    </a:moveTo>
                    <a:lnTo>
                      <a:pt x="1205" y="377"/>
                    </a:lnTo>
                    <a:lnTo>
                      <a:pt x="1210" y="375"/>
                    </a:lnTo>
                    <a:lnTo>
                      <a:pt x="1213" y="375"/>
                    </a:lnTo>
                    <a:lnTo>
                      <a:pt x="1215" y="375"/>
                    </a:lnTo>
                    <a:lnTo>
                      <a:pt x="1218" y="375"/>
                    </a:lnTo>
                    <a:lnTo>
                      <a:pt x="1223" y="374"/>
                    </a:lnTo>
                    <a:lnTo>
                      <a:pt x="1223" y="372"/>
                    </a:lnTo>
                    <a:lnTo>
                      <a:pt x="1220" y="370"/>
                    </a:lnTo>
                    <a:lnTo>
                      <a:pt x="1210" y="372"/>
                    </a:lnTo>
                    <a:lnTo>
                      <a:pt x="1205" y="372"/>
                    </a:lnTo>
                    <a:lnTo>
                      <a:pt x="1203" y="370"/>
                    </a:lnTo>
                    <a:lnTo>
                      <a:pt x="1196" y="370"/>
                    </a:lnTo>
                    <a:lnTo>
                      <a:pt x="1193" y="372"/>
                    </a:lnTo>
                    <a:lnTo>
                      <a:pt x="1195" y="374"/>
                    </a:lnTo>
                    <a:lnTo>
                      <a:pt x="1195" y="374"/>
                    </a:lnTo>
                    <a:close/>
                    <a:moveTo>
                      <a:pt x="1191" y="385"/>
                    </a:moveTo>
                    <a:lnTo>
                      <a:pt x="1195" y="384"/>
                    </a:lnTo>
                    <a:lnTo>
                      <a:pt x="1200" y="384"/>
                    </a:lnTo>
                    <a:lnTo>
                      <a:pt x="1205" y="380"/>
                    </a:lnTo>
                    <a:lnTo>
                      <a:pt x="1215" y="379"/>
                    </a:lnTo>
                    <a:lnTo>
                      <a:pt x="1216" y="379"/>
                    </a:lnTo>
                    <a:lnTo>
                      <a:pt x="1220" y="379"/>
                    </a:lnTo>
                    <a:lnTo>
                      <a:pt x="1223" y="379"/>
                    </a:lnTo>
                    <a:lnTo>
                      <a:pt x="1223" y="380"/>
                    </a:lnTo>
                    <a:lnTo>
                      <a:pt x="1220" y="384"/>
                    </a:lnTo>
                    <a:lnTo>
                      <a:pt x="1216" y="384"/>
                    </a:lnTo>
                    <a:lnTo>
                      <a:pt x="1211" y="384"/>
                    </a:lnTo>
                    <a:lnTo>
                      <a:pt x="1210" y="385"/>
                    </a:lnTo>
                    <a:lnTo>
                      <a:pt x="1205" y="389"/>
                    </a:lnTo>
                    <a:lnTo>
                      <a:pt x="1200" y="387"/>
                    </a:lnTo>
                    <a:lnTo>
                      <a:pt x="1195" y="387"/>
                    </a:lnTo>
                    <a:lnTo>
                      <a:pt x="1193" y="389"/>
                    </a:lnTo>
                    <a:lnTo>
                      <a:pt x="1191" y="387"/>
                    </a:lnTo>
                    <a:lnTo>
                      <a:pt x="1191" y="385"/>
                    </a:lnTo>
                    <a:lnTo>
                      <a:pt x="1191" y="385"/>
                    </a:lnTo>
                    <a:close/>
                    <a:moveTo>
                      <a:pt x="1079" y="254"/>
                    </a:moveTo>
                    <a:lnTo>
                      <a:pt x="1077" y="252"/>
                    </a:lnTo>
                    <a:lnTo>
                      <a:pt x="1079" y="249"/>
                    </a:lnTo>
                    <a:lnTo>
                      <a:pt x="1084" y="249"/>
                    </a:lnTo>
                    <a:lnTo>
                      <a:pt x="1082" y="252"/>
                    </a:lnTo>
                    <a:lnTo>
                      <a:pt x="1079" y="254"/>
                    </a:lnTo>
                    <a:lnTo>
                      <a:pt x="1079" y="254"/>
                    </a:lnTo>
                    <a:close/>
                    <a:moveTo>
                      <a:pt x="1045" y="266"/>
                    </a:moveTo>
                    <a:lnTo>
                      <a:pt x="1050" y="266"/>
                    </a:lnTo>
                    <a:lnTo>
                      <a:pt x="1052" y="264"/>
                    </a:lnTo>
                    <a:lnTo>
                      <a:pt x="1059" y="267"/>
                    </a:lnTo>
                    <a:lnTo>
                      <a:pt x="1064" y="266"/>
                    </a:lnTo>
                    <a:lnTo>
                      <a:pt x="1067" y="267"/>
                    </a:lnTo>
                    <a:lnTo>
                      <a:pt x="1067" y="271"/>
                    </a:lnTo>
                    <a:lnTo>
                      <a:pt x="1069" y="272"/>
                    </a:lnTo>
                    <a:lnTo>
                      <a:pt x="1065" y="276"/>
                    </a:lnTo>
                    <a:lnTo>
                      <a:pt x="1062" y="277"/>
                    </a:lnTo>
                    <a:lnTo>
                      <a:pt x="1057" y="276"/>
                    </a:lnTo>
                    <a:lnTo>
                      <a:pt x="1054" y="276"/>
                    </a:lnTo>
                    <a:lnTo>
                      <a:pt x="1052" y="272"/>
                    </a:lnTo>
                    <a:lnTo>
                      <a:pt x="1049" y="269"/>
                    </a:lnTo>
                    <a:lnTo>
                      <a:pt x="1047" y="267"/>
                    </a:lnTo>
                    <a:lnTo>
                      <a:pt x="1047" y="267"/>
                    </a:lnTo>
                    <a:lnTo>
                      <a:pt x="1045" y="266"/>
                    </a:lnTo>
                    <a:lnTo>
                      <a:pt x="1045" y="266"/>
                    </a:lnTo>
                    <a:close/>
                    <a:moveTo>
                      <a:pt x="876" y="274"/>
                    </a:moveTo>
                    <a:lnTo>
                      <a:pt x="871" y="272"/>
                    </a:lnTo>
                    <a:lnTo>
                      <a:pt x="871" y="271"/>
                    </a:lnTo>
                    <a:lnTo>
                      <a:pt x="873" y="271"/>
                    </a:lnTo>
                    <a:lnTo>
                      <a:pt x="878" y="271"/>
                    </a:lnTo>
                    <a:lnTo>
                      <a:pt x="878" y="274"/>
                    </a:lnTo>
                    <a:lnTo>
                      <a:pt x="876" y="274"/>
                    </a:lnTo>
                    <a:lnTo>
                      <a:pt x="876" y="274"/>
                    </a:lnTo>
                    <a:close/>
                    <a:moveTo>
                      <a:pt x="894" y="296"/>
                    </a:moveTo>
                    <a:lnTo>
                      <a:pt x="899" y="292"/>
                    </a:lnTo>
                    <a:lnTo>
                      <a:pt x="899" y="294"/>
                    </a:lnTo>
                    <a:lnTo>
                      <a:pt x="894" y="297"/>
                    </a:lnTo>
                    <a:lnTo>
                      <a:pt x="894" y="297"/>
                    </a:lnTo>
                    <a:lnTo>
                      <a:pt x="894" y="296"/>
                    </a:lnTo>
                    <a:lnTo>
                      <a:pt x="894" y="296"/>
                    </a:lnTo>
                    <a:close/>
                    <a:moveTo>
                      <a:pt x="902" y="289"/>
                    </a:moveTo>
                    <a:lnTo>
                      <a:pt x="904" y="287"/>
                    </a:lnTo>
                    <a:lnTo>
                      <a:pt x="904" y="284"/>
                    </a:lnTo>
                    <a:lnTo>
                      <a:pt x="906" y="282"/>
                    </a:lnTo>
                    <a:lnTo>
                      <a:pt x="909" y="277"/>
                    </a:lnTo>
                    <a:lnTo>
                      <a:pt x="911" y="277"/>
                    </a:lnTo>
                    <a:lnTo>
                      <a:pt x="916" y="274"/>
                    </a:lnTo>
                    <a:lnTo>
                      <a:pt x="919" y="276"/>
                    </a:lnTo>
                    <a:lnTo>
                      <a:pt x="919" y="279"/>
                    </a:lnTo>
                    <a:lnTo>
                      <a:pt x="914" y="281"/>
                    </a:lnTo>
                    <a:lnTo>
                      <a:pt x="911" y="287"/>
                    </a:lnTo>
                    <a:lnTo>
                      <a:pt x="914" y="291"/>
                    </a:lnTo>
                    <a:lnTo>
                      <a:pt x="911" y="292"/>
                    </a:lnTo>
                    <a:lnTo>
                      <a:pt x="909" y="296"/>
                    </a:lnTo>
                    <a:lnTo>
                      <a:pt x="911" y="299"/>
                    </a:lnTo>
                    <a:lnTo>
                      <a:pt x="912" y="296"/>
                    </a:lnTo>
                    <a:lnTo>
                      <a:pt x="916" y="297"/>
                    </a:lnTo>
                    <a:lnTo>
                      <a:pt x="916" y="301"/>
                    </a:lnTo>
                    <a:lnTo>
                      <a:pt x="917" y="301"/>
                    </a:lnTo>
                    <a:lnTo>
                      <a:pt x="926" y="296"/>
                    </a:lnTo>
                    <a:lnTo>
                      <a:pt x="929" y="292"/>
                    </a:lnTo>
                    <a:lnTo>
                      <a:pt x="932" y="292"/>
                    </a:lnTo>
                    <a:lnTo>
                      <a:pt x="936" y="289"/>
                    </a:lnTo>
                    <a:lnTo>
                      <a:pt x="934" y="284"/>
                    </a:lnTo>
                    <a:lnTo>
                      <a:pt x="937" y="284"/>
                    </a:lnTo>
                    <a:lnTo>
                      <a:pt x="941" y="281"/>
                    </a:lnTo>
                    <a:lnTo>
                      <a:pt x="941" y="276"/>
                    </a:lnTo>
                    <a:lnTo>
                      <a:pt x="942" y="274"/>
                    </a:lnTo>
                    <a:lnTo>
                      <a:pt x="946" y="274"/>
                    </a:lnTo>
                    <a:lnTo>
                      <a:pt x="944" y="279"/>
                    </a:lnTo>
                    <a:lnTo>
                      <a:pt x="944" y="281"/>
                    </a:lnTo>
                    <a:lnTo>
                      <a:pt x="942" y="286"/>
                    </a:lnTo>
                    <a:lnTo>
                      <a:pt x="946" y="291"/>
                    </a:lnTo>
                    <a:lnTo>
                      <a:pt x="947" y="291"/>
                    </a:lnTo>
                    <a:lnTo>
                      <a:pt x="952" y="286"/>
                    </a:lnTo>
                    <a:lnTo>
                      <a:pt x="952" y="281"/>
                    </a:lnTo>
                    <a:lnTo>
                      <a:pt x="952" y="279"/>
                    </a:lnTo>
                    <a:lnTo>
                      <a:pt x="957" y="279"/>
                    </a:lnTo>
                    <a:lnTo>
                      <a:pt x="962" y="272"/>
                    </a:lnTo>
                    <a:lnTo>
                      <a:pt x="962" y="267"/>
                    </a:lnTo>
                    <a:lnTo>
                      <a:pt x="962" y="264"/>
                    </a:lnTo>
                    <a:lnTo>
                      <a:pt x="964" y="259"/>
                    </a:lnTo>
                    <a:lnTo>
                      <a:pt x="967" y="264"/>
                    </a:lnTo>
                    <a:lnTo>
                      <a:pt x="976" y="259"/>
                    </a:lnTo>
                    <a:lnTo>
                      <a:pt x="977" y="254"/>
                    </a:lnTo>
                    <a:lnTo>
                      <a:pt x="979" y="249"/>
                    </a:lnTo>
                    <a:lnTo>
                      <a:pt x="982" y="249"/>
                    </a:lnTo>
                    <a:lnTo>
                      <a:pt x="986" y="247"/>
                    </a:lnTo>
                    <a:lnTo>
                      <a:pt x="989" y="249"/>
                    </a:lnTo>
                    <a:lnTo>
                      <a:pt x="992" y="246"/>
                    </a:lnTo>
                    <a:lnTo>
                      <a:pt x="995" y="247"/>
                    </a:lnTo>
                    <a:lnTo>
                      <a:pt x="992" y="256"/>
                    </a:lnTo>
                    <a:lnTo>
                      <a:pt x="987" y="261"/>
                    </a:lnTo>
                    <a:lnTo>
                      <a:pt x="986" y="266"/>
                    </a:lnTo>
                    <a:lnTo>
                      <a:pt x="982" y="269"/>
                    </a:lnTo>
                    <a:lnTo>
                      <a:pt x="982" y="271"/>
                    </a:lnTo>
                    <a:lnTo>
                      <a:pt x="979" y="272"/>
                    </a:lnTo>
                    <a:lnTo>
                      <a:pt x="972" y="281"/>
                    </a:lnTo>
                    <a:lnTo>
                      <a:pt x="972" y="284"/>
                    </a:lnTo>
                    <a:lnTo>
                      <a:pt x="974" y="287"/>
                    </a:lnTo>
                    <a:lnTo>
                      <a:pt x="972" y="291"/>
                    </a:lnTo>
                    <a:lnTo>
                      <a:pt x="977" y="292"/>
                    </a:lnTo>
                    <a:lnTo>
                      <a:pt x="981" y="294"/>
                    </a:lnTo>
                    <a:lnTo>
                      <a:pt x="984" y="291"/>
                    </a:lnTo>
                    <a:lnTo>
                      <a:pt x="989" y="289"/>
                    </a:lnTo>
                    <a:lnTo>
                      <a:pt x="989" y="286"/>
                    </a:lnTo>
                    <a:lnTo>
                      <a:pt x="989" y="281"/>
                    </a:lnTo>
                    <a:lnTo>
                      <a:pt x="992" y="279"/>
                    </a:lnTo>
                    <a:lnTo>
                      <a:pt x="995" y="274"/>
                    </a:lnTo>
                    <a:lnTo>
                      <a:pt x="999" y="274"/>
                    </a:lnTo>
                    <a:lnTo>
                      <a:pt x="1000" y="272"/>
                    </a:lnTo>
                    <a:lnTo>
                      <a:pt x="1004" y="276"/>
                    </a:lnTo>
                    <a:lnTo>
                      <a:pt x="1009" y="276"/>
                    </a:lnTo>
                    <a:lnTo>
                      <a:pt x="1010" y="272"/>
                    </a:lnTo>
                    <a:lnTo>
                      <a:pt x="1019" y="272"/>
                    </a:lnTo>
                    <a:lnTo>
                      <a:pt x="1022" y="269"/>
                    </a:lnTo>
                    <a:lnTo>
                      <a:pt x="1024" y="262"/>
                    </a:lnTo>
                    <a:lnTo>
                      <a:pt x="1027" y="256"/>
                    </a:lnTo>
                    <a:lnTo>
                      <a:pt x="1029" y="251"/>
                    </a:lnTo>
                    <a:lnTo>
                      <a:pt x="1029" y="249"/>
                    </a:lnTo>
                    <a:lnTo>
                      <a:pt x="1034" y="254"/>
                    </a:lnTo>
                    <a:lnTo>
                      <a:pt x="1037" y="256"/>
                    </a:lnTo>
                    <a:lnTo>
                      <a:pt x="1039" y="252"/>
                    </a:lnTo>
                    <a:lnTo>
                      <a:pt x="1039" y="251"/>
                    </a:lnTo>
                    <a:lnTo>
                      <a:pt x="1034" y="244"/>
                    </a:lnTo>
                    <a:lnTo>
                      <a:pt x="1034" y="241"/>
                    </a:lnTo>
                    <a:lnTo>
                      <a:pt x="1039" y="238"/>
                    </a:lnTo>
                    <a:lnTo>
                      <a:pt x="1044" y="236"/>
                    </a:lnTo>
                    <a:lnTo>
                      <a:pt x="1049" y="234"/>
                    </a:lnTo>
                    <a:lnTo>
                      <a:pt x="1052" y="236"/>
                    </a:lnTo>
                    <a:lnTo>
                      <a:pt x="1054" y="236"/>
                    </a:lnTo>
                    <a:lnTo>
                      <a:pt x="1059" y="231"/>
                    </a:lnTo>
                    <a:lnTo>
                      <a:pt x="1057" y="228"/>
                    </a:lnTo>
                    <a:lnTo>
                      <a:pt x="1057" y="218"/>
                    </a:lnTo>
                    <a:lnTo>
                      <a:pt x="1059" y="216"/>
                    </a:lnTo>
                    <a:lnTo>
                      <a:pt x="1057" y="214"/>
                    </a:lnTo>
                    <a:lnTo>
                      <a:pt x="1057" y="209"/>
                    </a:lnTo>
                    <a:lnTo>
                      <a:pt x="1054" y="208"/>
                    </a:lnTo>
                    <a:lnTo>
                      <a:pt x="1050" y="209"/>
                    </a:lnTo>
                    <a:lnTo>
                      <a:pt x="1044" y="211"/>
                    </a:lnTo>
                    <a:lnTo>
                      <a:pt x="1044" y="218"/>
                    </a:lnTo>
                    <a:lnTo>
                      <a:pt x="1044" y="221"/>
                    </a:lnTo>
                    <a:lnTo>
                      <a:pt x="1044" y="223"/>
                    </a:lnTo>
                    <a:lnTo>
                      <a:pt x="1040" y="224"/>
                    </a:lnTo>
                    <a:lnTo>
                      <a:pt x="1039" y="219"/>
                    </a:lnTo>
                    <a:lnTo>
                      <a:pt x="1037" y="219"/>
                    </a:lnTo>
                    <a:lnTo>
                      <a:pt x="1037" y="223"/>
                    </a:lnTo>
                    <a:lnTo>
                      <a:pt x="1035" y="224"/>
                    </a:lnTo>
                    <a:lnTo>
                      <a:pt x="1032" y="221"/>
                    </a:lnTo>
                    <a:lnTo>
                      <a:pt x="1032" y="214"/>
                    </a:lnTo>
                    <a:lnTo>
                      <a:pt x="1027" y="211"/>
                    </a:lnTo>
                    <a:lnTo>
                      <a:pt x="1025" y="211"/>
                    </a:lnTo>
                    <a:lnTo>
                      <a:pt x="1024" y="213"/>
                    </a:lnTo>
                    <a:lnTo>
                      <a:pt x="1017" y="213"/>
                    </a:lnTo>
                    <a:lnTo>
                      <a:pt x="1012" y="211"/>
                    </a:lnTo>
                    <a:lnTo>
                      <a:pt x="1009" y="211"/>
                    </a:lnTo>
                    <a:lnTo>
                      <a:pt x="999" y="209"/>
                    </a:lnTo>
                    <a:lnTo>
                      <a:pt x="994" y="213"/>
                    </a:lnTo>
                    <a:lnTo>
                      <a:pt x="992" y="216"/>
                    </a:lnTo>
                    <a:lnTo>
                      <a:pt x="990" y="219"/>
                    </a:lnTo>
                    <a:lnTo>
                      <a:pt x="987" y="219"/>
                    </a:lnTo>
                    <a:lnTo>
                      <a:pt x="986" y="219"/>
                    </a:lnTo>
                    <a:lnTo>
                      <a:pt x="974" y="226"/>
                    </a:lnTo>
                    <a:lnTo>
                      <a:pt x="971" y="229"/>
                    </a:lnTo>
                    <a:lnTo>
                      <a:pt x="966" y="229"/>
                    </a:lnTo>
                    <a:lnTo>
                      <a:pt x="961" y="234"/>
                    </a:lnTo>
                    <a:lnTo>
                      <a:pt x="956" y="234"/>
                    </a:lnTo>
                    <a:lnTo>
                      <a:pt x="952" y="238"/>
                    </a:lnTo>
                    <a:lnTo>
                      <a:pt x="951" y="239"/>
                    </a:lnTo>
                    <a:lnTo>
                      <a:pt x="944" y="239"/>
                    </a:lnTo>
                    <a:lnTo>
                      <a:pt x="941" y="241"/>
                    </a:lnTo>
                    <a:lnTo>
                      <a:pt x="936" y="241"/>
                    </a:lnTo>
                    <a:lnTo>
                      <a:pt x="934" y="243"/>
                    </a:lnTo>
                    <a:lnTo>
                      <a:pt x="931" y="243"/>
                    </a:lnTo>
                    <a:lnTo>
                      <a:pt x="922" y="247"/>
                    </a:lnTo>
                    <a:lnTo>
                      <a:pt x="917" y="251"/>
                    </a:lnTo>
                    <a:lnTo>
                      <a:pt x="912" y="249"/>
                    </a:lnTo>
                    <a:lnTo>
                      <a:pt x="907" y="251"/>
                    </a:lnTo>
                    <a:lnTo>
                      <a:pt x="896" y="252"/>
                    </a:lnTo>
                    <a:lnTo>
                      <a:pt x="891" y="259"/>
                    </a:lnTo>
                    <a:lnTo>
                      <a:pt x="888" y="261"/>
                    </a:lnTo>
                    <a:lnTo>
                      <a:pt x="881" y="261"/>
                    </a:lnTo>
                    <a:lnTo>
                      <a:pt x="878" y="266"/>
                    </a:lnTo>
                    <a:lnTo>
                      <a:pt x="883" y="266"/>
                    </a:lnTo>
                    <a:lnTo>
                      <a:pt x="884" y="267"/>
                    </a:lnTo>
                    <a:lnTo>
                      <a:pt x="881" y="267"/>
                    </a:lnTo>
                    <a:lnTo>
                      <a:pt x="879" y="271"/>
                    </a:lnTo>
                    <a:lnTo>
                      <a:pt x="883" y="272"/>
                    </a:lnTo>
                    <a:lnTo>
                      <a:pt x="881" y="276"/>
                    </a:lnTo>
                    <a:lnTo>
                      <a:pt x="874" y="277"/>
                    </a:lnTo>
                    <a:lnTo>
                      <a:pt x="874" y="279"/>
                    </a:lnTo>
                    <a:lnTo>
                      <a:pt x="879" y="281"/>
                    </a:lnTo>
                    <a:lnTo>
                      <a:pt x="884" y="281"/>
                    </a:lnTo>
                    <a:lnTo>
                      <a:pt x="886" y="277"/>
                    </a:lnTo>
                    <a:lnTo>
                      <a:pt x="889" y="276"/>
                    </a:lnTo>
                    <a:lnTo>
                      <a:pt x="894" y="277"/>
                    </a:lnTo>
                    <a:lnTo>
                      <a:pt x="897" y="284"/>
                    </a:lnTo>
                    <a:lnTo>
                      <a:pt x="897" y="287"/>
                    </a:lnTo>
                    <a:lnTo>
                      <a:pt x="902" y="289"/>
                    </a:lnTo>
                    <a:lnTo>
                      <a:pt x="902" y="289"/>
                    </a:lnTo>
                    <a:close/>
                    <a:moveTo>
                      <a:pt x="1364" y="535"/>
                    </a:moveTo>
                    <a:lnTo>
                      <a:pt x="1366" y="533"/>
                    </a:lnTo>
                    <a:lnTo>
                      <a:pt x="1371" y="535"/>
                    </a:lnTo>
                    <a:lnTo>
                      <a:pt x="1373" y="537"/>
                    </a:lnTo>
                    <a:lnTo>
                      <a:pt x="1369" y="538"/>
                    </a:lnTo>
                    <a:lnTo>
                      <a:pt x="1368" y="538"/>
                    </a:lnTo>
                    <a:lnTo>
                      <a:pt x="1364" y="535"/>
                    </a:lnTo>
                    <a:lnTo>
                      <a:pt x="1364" y="535"/>
                    </a:lnTo>
                    <a:close/>
                    <a:moveTo>
                      <a:pt x="1311" y="440"/>
                    </a:moveTo>
                    <a:lnTo>
                      <a:pt x="1306" y="437"/>
                    </a:lnTo>
                    <a:lnTo>
                      <a:pt x="1303" y="437"/>
                    </a:lnTo>
                    <a:lnTo>
                      <a:pt x="1301" y="439"/>
                    </a:lnTo>
                    <a:lnTo>
                      <a:pt x="1306" y="439"/>
                    </a:lnTo>
                    <a:lnTo>
                      <a:pt x="1308" y="440"/>
                    </a:lnTo>
                    <a:lnTo>
                      <a:pt x="1306" y="442"/>
                    </a:lnTo>
                    <a:lnTo>
                      <a:pt x="1301" y="443"/>
                    </a:lnTo>
                    <a:lnTo>
                      <a:pt x="1298" y="443"/>
                    </a:lnTo>
                    <a:lnTo>
                      <a:pt x="1301" y="448"/>
                    </a:lnTo>
                    <a:lnTo>
                      <a:pt x="1301" y="448"/>
                    </a:lnTo>
                    <a:lnTo>
                      <a:pt x="1301" y="450"/>
                    </a:lnTo>
                    <a:lnTo>
                      <a:pt x="1296" y="448"/>
                    </a:lnTo>
                    <a:lnTo>
                      <a:pt x="1291" y="450"/>
                    </a:lnTo>
                    <a:lnTo>
                      <a:pt x="1288" y="453"/>
                    </a:lnTo>
                    <a:lnTo>
                      <a:pt x="1285" y="457"/>
                    </a:lnTo>
                    <a:lnTo>
                      <a:pt x="1285" y="458"/>
                    </a:lnTo>
                    <a:lnTo>
                      <a:pt x="1285" y="460"/>
                    </a:lnTo>
                    <a:lnTo>
                      <a:pt x="1286" y="460"/>
                    </a:lnTo>
                    <a:lnTo>
                      <a:pt x="1286" y="462"/>
                    </a:lnTo>
                    <a:lnTo>
                      <a:pt x="1285" y="465"/>
                    </a:lnTo>
                    <a:lnTo>
                      <a:pt x="1286" y="465"/>
                    </a:lnTo>
                    <a:lnTo>
                      <a:pt x="1289" y="462"/>
                    </a:lnTo>
                    <a:lnTo>
                      <a:pt x="1291" y="463"/>
                    </a:lnTo>
                    <a:lnTo>
                      <a:pt x="1289" y="467"/>
                    </a:lnTo>
                    <a:lnTo>
                      <a:pt x="1289" y="470"/>
                    </a:lnTo>
                    <a:lnTo>
                      <a:pt x="1293" y="472"/>
                    </a:lnTo>
                    <a:lnTo>
                      <a:pt x="1294" y="470"/>
                    </a:lnTo>
                    <a:lnTo>
                      <a:pt x="1296" y="472"/>
                    </a:lnTo>
                    <a:lnTo>
                      <a:pt x="1296" y="475"/>
                    </a:lnTo>
                    <a:lnTo>
                      <a:pt x="1298" y="475"/>
                    </a:lnTo>
                    <a:lnTo>
                      <a:pt x="1301" y="473"/>
                    </a:lnTo>
                    <a:lnTo>
                      <a:pt x="1303" y="473"/>
                    </a:lnTo>
                    <a:lnTo>
                      <a:pt x="1303" y="478"/>
                    </a:lnTo>
                    <a:lnTo>
                      <a:pt x="1304" y="482"/>
                    </a:lnTo>
                    <a:lnTo>
                      <a:pt x="1308" y="480"/>
                    </a:lnTo>
                    <a:lnTo>
                      <a:pt x="1309" y="485"/>
                    </a:lnTo>
                    <a:lnTo>
                      <a:pt x="1314" y="485"/>
                    </a:lnTo>
                    <a:lnTo>
                      <a:pt x="1319" y="488"/>
                    </a:lnTo>
                    <a:lnTo>
                      <a:pt x="1324" y="488"/>
                    </a:lnTo>
                    <a:lnTo>
                      <a:pt x="1326" y="488"/>
                    </a:lnTo>
                    <a:lnTo>
                      <a:pt x="1328" y="488"/>
                    </a:lnTo>
                    <a:lnTo>
                      <a:pt x="1326" y="485"/>
                    </a:lnTo>
                    <a:lnTo>
                      <a:pt x="1329" y="483"/>
                    </a:lnTo>
                    <a:lnTo>
                      <a:pt x="1333" y="478"/>
                    </a:lnTo>
                    <a:lnTo>
                      <a:pt x="1331" y="473"/>
                    </a:lnTo>
                    <a:lnTo>
                      <a:pt x="1334" y="467"/>
                    </a:lnTo>
                    <a:lnTo>
                      <a:pt x="1336" y="465"/>
                    </a:lnTo>
                    <a:lnTo>
                      <a:pt x="1339" y="458"/>
                    </a:lnTo>
                    <a:lnTo>
                      <a:pt x="1339" y="453"/>
                    </a:lnTo>
                    <a:lnTo>
                      <a:pt x="1341" y="452"/>
                    </a:lnTo>
                    <a:lnTo>
                      <a:pt x="1339" y="447"/>
                    </a:lnTo>
                    <a:lnTo>
                      <a:pt x="1336" y="443"/>
                    </a:lnTo>
                    <a:lnTo>
                      <a:pt x="1336" y="440"/>
                    </a:lnTo>
                    <a:lnTo>
                      <a:pt x="1333" y="437"/>
                    </a:lnTo>
                    <a:lnTo>
                      <a:pt x="1333" y="434"/>
                    </a:lnTo>
                    <a:lnTo>
                      <a:pt x="1326" y="430"/>
                    </a:lnTo>
                    <a:lnTo>
                      <a:pt x="1321" y="434"/>
                    </a:lnTo>
                    <a:lnTo>
                      <a:pt x="1318" y="432"/>
                    </a:lnTo>
                    <a:lnTo>
                      <a:pt x="1311" y="432"/>
                    </a:lnTo>
                    <a:lnTo>
                      <a:pt x="1309" y="434"/>
                    </a:lnTo>
                    <a:lnTo>
                      <a:pt x="1313" y="437"/>
                    </a:lnTo>
                    <a:lnTo>
                      <a:pt x="1313" y="440"/>
                    </a:lnTo>
                    <a:lnTo>
                      <a:pt x="1311" y="440"/>
                    </a:lnTo>
                    <a:lnTo>
                      <a:pt x="1311" y="440"/>
                    </a:lnTo>
                    <a:close/>
                    <a:moveTo>
                      <a:pt x="1343" y="405"/>
                    </a:moveTo>
                    <a:lnTo>
                      <a:pt x="1339" y="404"/>
                    </a:lnTo>
                    <a:lnTo>
                      <a:pt x="1339" y="402"/>
                    </a:lnTo>
                    <a:lnTo>
                      <a:pt x="1344" y="400"/>
                    </a:lnTo>
                    <a:lnTo>
                      <a:pt x="1344" y="400"/>
                    </a:lnTo>
                    <a:lnTo>
                      <a:pt x="1343" y="405"/>
                    </a:lnTo>
                    <a:lnTo>
                      <a:pt x="1343" y="405"/>
                    </a:lnTo>
                    <a:close/>
                    <a:moveTo>
                      <a:pt x="1336" y="427"/>
                    </a:moveTo>
                    <a:lnTo>
                      <a:pt x="1336" y="424"/>
                    </a:lnTo>
                    <a:lnTo>
                      <a:pt x="1334" y="422"/>
                    </a:lnTo>
                    <a:lnTo>
                      <a:pt x="1334" y="420"/>
                    </a:lnTo>
                    <a:lnTo>
                      <a:pt x="1336" y="419"/>
                    </a:lnTo>
                    <a:lnTo>
                      <a:pt x="1336" y="414"/>
                    </a:lnTo>
                    <a:lnTo>
                      <a:pt x="1336" y="412"/>
                    </a:lnTo>
                    <a:lnTo>
                      <a:pt x="1343" y="412"/>
                    </a:lnTo>
                    <a:lnTo>
                      <a:pt x="1341" y="422"/>
                    </a:lnTo>
                    <a:lnTo>
                      <a:pt x="1338" y="425"/>
                    </a:lnTo>
                    <a:lnTo>
                      <a:pt x="1338" y="425"/>
                    </a:lnTo>
                    <a:lnTo>
                      <a:pt x="1336" y="427"/>
                    </a:lnTo>
                    <a:lnTo>
                      <a:pt x="1336" y="427"/>
                    </a:lnTo>
                    <a:close/>
                    <a:moveTo>
                      <a:pt x="1303" y="417"/>
                    </a:moveTo>
                    <a:lnTo>
                      <a:pt x="1301" y="415"/>
                    </a:lnTo>
                    <a:lnTo>
                      <a:pt x="1303" y="414"/>
                    </a:lnTo>
                    <a:lnTo>
                      <a:pt x="1308" y="414"/>
                    </a:lnTo>
                    <a:lnTo>
                      <a:pt x="1309" y="414"/>
                    </a:lnTo>
                    <a:lnTo>
                      <a:pt x="1306" y="415"/>
                    </a:lnTo>
                    <a:lnTo>
                      <a:pt x="1304" y="417"/>
                    </a:lnTo>
                    <a:lnTo>
                      <a:pt x="1303" y="417"/>
                    </a:lnTo>
                    <a:lnTo>
                      <a:pt x="1303" y="417"/>
                    </a:lnTo>
                    <a:close/>
                    <a:moveTo>
                      <a:pt x="1294" y="424"/>
                    </a:moveTo>
                    <a:lnTo>
                      <a:pt x="1293" y="422"/>
                    </a:lnTo>
                    <a:lnTo>
                      <a:pt x="1296" y="420"/>
                    </a:lnTo>
                    <a:lnTo>
                      <a:pt x="1298" y="420"/>
                    </a:lnTo>
                    <a:lnTo>
                      <a:pt x="1296" y="422"/>
                    </a:lnTo>
                    <a:lnTo>
                      <a:pt x="1294" y="424"/>
                    </a:lnTo>
                    <a:lnTo>
                      <a:pt x="1294" y="424"/>
                    </a:lnTo>
                    <a:close/>
                    <a:moveTo>
                      <a:pt x="1301" y="434"/>
                    </a:moveTo>
                    <a:lnTo>
                      <a:pt x="1301" y="430"/>
                    </a:lnTo>
                    <a:lnTo>
                      <a:pt x="1299" y="429"/>
                    </a:lnTo>
                    <a:lnTo>
                      <a:pt x="1301" y="425"/>
                    </a:lnTo>
                    <a:lnTo>
                      <a:pt x="1303" y="425"/>
                    </a:lnTo>
                    <a:lnTo>
                      <a:pt x="1304" y="427"/>
                    </a:lnTo>
                    <a:lnTo>
                      <a:pt x="1306" y="430"/>
                    </a:lnTo>
                    <a:lnTo>
                      <a:pt x="1303" y="432"/>
                    </a:lnTo>
                    <a:lnTo>
                      <a:pt x="1301" y="434"/>
                    </a:lnTo>
                    <a:lnTo>
                      <a:pt x="1301" y="434"/>
                    </a:lnTo>
                    <a:close/>
                    <a:moveTo>
                      <a:pt x="1291" y="437"/>
                    </a:moveTo>
                    <a:lnTo>
                      <a:pt x="1288" y="435"/>
                    </a:lnTo>
                    <a:lnTo>
                      <a:pt x="1288" y="430"/>
                    </a:lnTo>
                    <a:lnTo>
                      <a:pt x="1289" y="429"/>
                    </a:lnTo>
                    <a:lnTo>
                      <a:pt x="1291" y="427"/>
                    </a:lnTo>
                    <a:lnTo>
                      <a:pt x="1294" y="427"/>
                    </a:lnTo>
                    <a:lnTo>
                      <a:pt x="1296" y="429"/>
                    </a:lnTo>
                    <a:lnTo>
                      <a:pt x="1298" y="429"/>
                    </a:lnTo>
                    <a:lnTo>
                      <a:pt x="1298" y="430"/>
                    </a:lnTo>
                    <a:lnTo>
                      <a:pt x="1298" y="434"/>
                    </a:lnTo>
                    <a:lnTo>
                      <a:pt x="1294" y="435"/>
                    </a:lnTo>
                    <a:lnTo>
                      <a:pt x="1293" y="437"/>
                    </a:lnTo>
                    <a:lnTo>
                      <a:pt x="1291" y="437"/>
                    </a:lnTo>
                    <a:lnTo>
                      <a:pt x="1291" y="437"/>
                    </a:lnTo>
                    <a:close/>
                    <a:moveTo>
                      <a:pt x="1278" y="439"/>
                    </a:moveTo>
                    <a:lnTo>
                      <a:pt x="1278" y="435"/>
                    </a:lnTo>
                    <a:lnTo>
                      <a:pt x="1280" y="435"/>
                    </a:lnTo>
                    <a:lnTo>
                      <a:pt x="1281" y="437"/>
                    </a:lnTo>
                    <a:lnTo>
                      <a:pt x="1280" y="439"/>
                    </a:lnTo>
                    <a:lnTo>
                      <a:pt x="1278" y="439"/>
                    </a:lnTo>
                    <a:lnTo>
                      <a:pt x="1278" y="439"/>
                    </a:lnTo>
                    <a:close/>
                    <a:moveTo>
                      <a:pt x="1228" y="445"/>
                    </a:moveTo>
                    <a:lnTo>
                      <a:pt x="1226" y="442"/>
                    </a:lnTo>
                    <a:lnTo>
                      <a:pt x="1221" y="443"/>
                    </a:lnTo>
                    <a:lnTo>
                      <a:pt x="1220" y="440"/>
                    </a:lnTo>
                    <a:lnTo>
                      <a:pt x="1220" y="437"/>
                    </a:lnTo>
                    <a:lnTo>
                      <a:pt x="1220" y="435"/>
                    </a:lnTo>
                    <a:lnTo>
                      <a:pt x="1220" y="432"/>
                    </a:lnTo>
                    <a:lnTo>
                      <a:pt x="1221" y="429"/>
                    </a:lnTo>
                    <a:lnTo>
                      <a:pt x="1223" y="429"/>
                    </a:lnTo>
                    <a:lnTo>
                      <a:pt x="1226" y="432"/>
                    </a:lnTo>
                    <a:lnTo>
                      <a:pt x="1228" y="430"/>
                    </a:lnTo>
                    <a:lnTo>
                      <a:pt x="1225" y="429"/>
                    </a:lnTo>
                    <a:lnTo>
                      <a:pt x="1226" y="425"/>
                    </a:lnTo>
                    <a:lnTo>
                      <a:pt x="1223" y="425"/>
                    </a:lnTo>
                    <a:lnTo>
                      <a:pt x="1221" y="422"/>
                    </a:lnTo>
                    <a:lnTo>
                      <a:pt x="1221" y="420"/>
                    </a:lnTo>
                    <a:lnTo>
                      <a:pt x="1220" y="419"/>
                    </a:lnTo>
                    <a:lnTo>
                      <a:pt x="1221" y="419"/>
                    </a:lnTo>
                    <a:lnTo>
                      <a:pt x="1225" y="420"/>
                    </a:lnTo>
                    <a:lnTo>
                      <a:pt x="1225" y="419"/>
                    </a:lnTo>
                    <a:lnTo>
                      <a:pt x="1225" y="417"/>
                    </a:lnTo>
                    <a:lnTo>
                      <a:pt x="1228" y="415"/>
                    </a:lnTo>
                    <a:lnTo>
                      <a:pt x="1231" y="417"/>
                    </a:lnTo>
                    <a:lnTo>
                      <a:pt x="1238" y="419"/>
                    </a:lnTo>
                    <a:lnTo>
                      <a:pt x="1241" y="417"/>
                    </a:lnTo>
                    <a:lnTo>
                      <a:pt x="1238" y="415"/>
                    </a:lnTo>
                    <a:lnTo>
                      <a:pt x="1235" y="415"/>
                    </a:lnTo>
                    <a:lnTo>
                      <a:pt x="1236" y="414"/>
                    </a:lnTo>
                    <a:lnTo>
                      <a:pt x="1245" y="414"/>
                    </a:lnTo>
                    <a:lnTo>
                      <a:pt x="1250" y="410"/>
                    </a:lnTo>
                    <a:lnTo>
                      <a:pt x="1255" y="410"/>
                    </a:lnTo>
                    <a:lnTo>
                      <a:pt x="1260" y="412"/>
                    </a:lnTo>
                    <a:lnTo>
                      <a:pt x="1265" y="409"/>
                    </a:lnTo>
                    <a:lnTo>
                      <a:pt x="1261" y="407"/>
                    </a:lnTo>
                    <a:lnTo>
                      <a:pt x="1241" y="404"/>
                    </a:lnTo>
                    <a:lnTo>
                      <a:pt x="1236" y="404"/>
                    </a:lnTo>
                    <a:lnTo>
                      <a:pt x="1233" y="404"/>
                    </a:lnTo>
                    <a:lnTo>
                      <a:pt x="1226" y="404"/>
                    </a:lnTo>
                    <a:lnTo>
                      <a:pt x="1221" y="402"/>
                    </a:lnTo>
                    <a:lnTo>
                      <a:pt x="1218" y="402"/>
                    </a:lnTo>
                    <a:lnTo>
                      <a:pt x="1215" y="400"/>
                    </a:lnTo>
                    <a:lnTo>
                      <a:pt x="1211" y="400"/>
                    </a:lnTo>
                    <a:lnTo>
                      <a:pt x="1210" y="402"/>
                    </a:lnTo>
                    <a:lnTo>
                      <a:pt x="1206" y="400"/>
                    </a:lnTo>
                    <a:lnTo>
                      <a:pt x="1203" y="402"/>
                    </a:lnTo>
                    <a:lnTo>
                      <a:pt x="1201" y="400"/>
                    </a:lnTo>
                    <a:lnTo>
                      <a:pt x="1201" y="395"/>
                    </a:lnTo>
                    <a:lnTo>
                      <a:pt x="1205" y="395"/>
                    </a:lnTo>
                    <a:lnTo>
                      <a:pt x="1208" y="394"/>
                    </a:lnTo>
                    <a:lnTo>
                      <a:pt x="1211" y="395"/>
                    </a:lnTo>
                    <a:lnTo>
                      <a:pt x="1213" y="394"/>
                    </a:lnTo>
                    <a:lnTo>
                      <a:pt x="1211" y="392"/>
                    </a:lnTo>
                    <a:lnTo>
                      <a:pt x="1213" y="389"/>
                    </a:lnTo>
                    <a:lnTo>
                      <a:pt x="1216" y="387"/>
                    </a:lnTo>
                    <a:lnTo>
                      <a:pt x="1221" y="387"/>
                    </a:lnTo>
                    <a:lnTo>
                      <a:pt x="1223" y="385"/>
                    </a:lnTo>
                    <a:lnTo>
                      <a:pt x="1223" y="389"/>
                    </a:lnTo>
                    <a:lnTo>
                      <a:pt x="1226" y="390"/>
                    </a:lnTo>
                    <a:lnTo>
                      <a:pt x="1226" y="397"/>
                    </a:lnTo>
                    <a:lnTo>
                      <a:pt x="1228" y="397"/>
                    </a:lnTo>
                    <a:lnTo>
                      <a:pt x="1230" y="395"/>
                    </a:lnTo>
                    <a:lnTo>
                      <a:pt x="1230" y="390"/>
                    </a:lnTo>
                    <a:lnTo>
                      <a:pt x="1226" y="389"/>
                    </a:lnTo>
                    <a:lnTo>
                      <a:pt x="1228" y="384"/>
                    </a:lnTo>
                    <a:lnTo>
                      <a:pt x="1233" y="382"/>
                    </a:lnTo>
                    <a:lnTo>
                      <a:pt x="1233" y="380"/>
                    </a:lnTo>
                    <a:lnTo>
                      <a:pt x="1230" y="379"/>
                    </a:lnTo>
                    <a:lnTo>
                      <a:pt x="1231" y="374"/>
                    </a:lnTo>
                    <a:lnTo>
                      <a:pt x="1236" y="372"/>
                    </a:lnTo>
                    <a:lnTo>
                      <a:pt x="1236" y="369"/>
                    </a:lnTo>
                    <a:lnTo>
                      <a:pt x="1241" y="367"/>
                    </a:lnTo>
                    <a:lnTo>
                      <a:pt x="1240" y="364"/>
                    </a:lnTo>
                    <a:lnTo>
                      <a:pt x="1236" y="365"/>
                    </a:lnTo>
                    <a:lnTo>
                      <a:pt x="1235" y="364"/>
                    </a:lnTo>
                    <a:lnTo>
                      <a:pt x="1235" y="362"/>
                    </a:lnTo>
                    <a:lnTo>
                      <a:pt x="1240" y="359"/>
                    </a:lnTo>
                    <a:lnTo>
                      <a:pt x="1241" y="355"/>
                    </a:lnTo>
                    <a:lnTo>
                      <a:pt x="1246" y="354"/>
                    </a:lnTo>
                    <a:lnTo>
                      <a:pt x="1248" y="355"/>
                    </a:lnTo>
                    <a:lnTo>
                      <a:pt x="1248" y="360"/>
                    </a:lnTo>
                    <a:lnTo>
                      <a:pt x="1251" y="362"/>
                    </a:lnTo>
                    <a:lnTo>
                      <a:pt x="1251" y="365"/>
                    </a:lnTo>
                    <a:lnTo>
                      <a:pt x="1250" y="367"/>
                    </a:lnTo>
                    <a:lnTo>
                      <a:pt x="1251" y="370"/>
                    </a:lnTo>
                    <a:lnTo>
                      <a:pt x="1255" y="372"/>
                    </a:lnTo>
                    <a:lnTo>
                      <a:pt x="1255" y="385"/>
                    </a:lnTo>
                    <a:lnTo>
                      <a:pt x="1255" y="389"/>
                    </a:lnTo>
                    <a:lnTo>
                      <a:pt x="1255" y="390"/>
                    </a:lnTo>
                    <a:lnTo>
                      <a:pt x="1260" y="394"/>
                    </a:lnTo>
                    <a:lnTo>
                      <a:pt x="1263" y="390"/>
                    </a:lnTo>
                    <a:lnTo>
                      <a:pt x="1261" y="387"/>
                    </a:lnTo>
                    <a:lnTo>
                      <a:pt x="1263" y="380"/>
                    </a:lnTo>
                    <a:lnTo>
                      <a:pt x="1266" y="380"/>
                    </a:lnTo>
                    <a:lnTo>
                      <a:pt x="1266" y="377"/>
                    </a:lnTo>
                    <a:lnTo>
                      <a:pt x="1260" y="372"/>
                    </a:lnTo>
                    <a:lnTo>
                      <a:pt x="1260" y="370"/>
                    </a:lnTo>
                    <a:lnTo>
                      <a:pt x="1265" y="370"/>
                    </a:lnTo>
                    <a:lnTo>
                      <a:pt x="1268" y="372"/>
                    </a:lnTo>
                    <a:lnTo>
                      <a:pt x="1268" y="369"/>
                    </a:lnTo>
                    <a:lnTo>
                      <a:pt x="1263" y="365"/>
                    </a:lnTo>
                    <a:lnTo>
                      <a:pt x="1261" y="359"/>
                    </a:lnTo>
                    <a:lnTo>
                      <a:pt x="1263" y="357"/>
                    </a:lnTo>
                    <a:lnTo>
                      <a:pt x="1263" y="350"/>
                    </a:lnTo>
                    <a:lnTo>
                      <a:pt x="1266" y="349"/>
                    </a:lnTo>
                    <a:lnTo>
                      <a:pt x="1270" y="349"/>
                    </a:lnTo>
                    <a:lnTo>
                      <a:pt x="1271" y="347"/>
                    </a:lnTo>
                    <a:lnTo>
                      <a:pt x="1276" y="347"/>
                    </a:lnTo>
                    <a:lnTo>
                      <a:pt x="1276" y="347"/>
                    </a:lnTo>
                    <a:lnTo>
                      <a:pt x="1281" y="344"/>
                    </a:lnTo>
                    <a:lnTo>
                      <a:pt x="1281" y="344"/>
                    </a:lnTo>
                    <a:lnTo>
                      <a:pt x="1285" y="344"/>
                    </a:lnTo>
                    <a:lnTo>
                      <a:pt x="1286" y="347"/>
                    </a:lnTo>
                    <a:lnTo>
                      <a:pt x="1289" y="349"/>
                    </a:lnTo>
                    <a:lnTo>
                      <a:pt x="1293" y="349"/>
                    </a:lnTo>
                    <a:lnTo>
                      <a:pt x="1294" y="350"/>
                    </a:lnTo>
                    <a:lnTo>
                      <a:pt x="1293" y="359"/>
                    </a:lnTo>
                    <a:lnTo>
                      <a:pt x="1289" y="362"/>
                    </a:lnTo>
                    <a:lnTo>
                      <a:pt x="1291" y="365"/>
                    </a:lnTo>
                    <a:lnTo>
                      <a:pt x="1293" y="365"/>
                    </a:lnTo>
                    <a:lnTo>
                      <a:pt x="1294" y="364"/>
                    </a:lnTo>
                    <a:lnTo>
                      <a:pt x="1298" y="364"/>
                    </a:lnTo>
                    <a:lnTo>
                      <a:pt x="1299" y="362"/>
                    </a:lnTo>
                    <a:lnTo>
                      <a:pt x="1299" y="355"/>
                    </a:lnTo>
                    <a:lnTo>
                      <a:pt x="1303" y="352"/>
                    </a:lnTo>
                    <a:lnTo>
                      <a:pt x="1308" y="355"/>
                    </a:lnTo>
                    <a:lnTo>
                      <a:pt x="1311" y="354"/>
                    </a:lnTo>
                    <a:lnTo>
                      <a:pt x="1309" y="350"/>
                    </a:lnTo>
                    <a:lnTo>
                      <a:pt x="1309" y="349"/>
                    </a:lnTo>
                    <a:lnTo>
                      <a:pt x="1313" y="349"/>
                    </a:lnTo>
                    <a:lnTo>
                      <a:pt x="1314" y="352"/>
                    </a:lnTo>
                    <a:lnTo>
                      <a:pt x="1313" y="355"/>
                    </a:lnTo>
                    <a:lnTo>
                      <a:pt x="1314" y="357"/>
                    </a:lnTo>
                    <a:lnTo>
                      <a:pt x="1313" y="359"/>
                    </a:lnTo>
                    <a:lnTo>
                      <a:pt x="1311" y="359"/>
                    </a:lnTo>
                    <a:lnTo>
                      <a:pt x="1313" y="362"/>
                    </a:lnTo>
                    <a:lnTo>
                      <a:pt x="1318" y="364"/>
                    </a:lnTo>
                    <a:lnTo>
                      <a:pt x="1319" y="367"/>
                    </a:lnTo>
                    <a:lnTo>
                      <a:pt x="1318" y="372"/>
                    </a:lnTo>
                    <a:lnTo>
                      <a:pt x="1314" y="375"/>
                    </a:lnTo>
                    <a:lnTo>
                      <a:pt x="1309" y="382"/>
                    </a:lnTo>
                    <a:lnTo>
                      <a:pt x="1309" y="385"/>
                    </a:lnTo>
                    <a:lnTo>
                      <a:pt x="1309" y="389"/>
                    </a:lnTo>
                    <a:lnTo>
                      <a:pt x="1304" y="392"/>
                    </a:lnTo>
                    <a:lnTo>
                      <a:pt x="1299" y="397"/>
                    </a:lnTo>
                    <a:lnTo>
                      <a:pt x="1298" y="399"/>
                    </a:lnTo>
                    <a:lnTo>
                      <a:pt x="1293" y="404"/>
                    </a:lnTo>
                    <a:lnTo>
                      <a:pt x="1293" y="405"/>
                    </a:lnTo>
                    <a:lnTo>
                      <a:pt x="1291" y="410"/>
                    </a:lnTo>
                    <a:lnTo>
                      <a:pt x="1288" y="410"/>
                    </a:lnTo>
                    <a:lnTo>
                      <a:pt x="1286" y="409"/>
                    </a:lnTo>
                    <a:lnTo>
                      <a:pt x="1283" y="410"/>
                    </a:lnTo>
                    <a:lnTo>
                      <a:pt x="1283" y="414"/>
                    </a:lnTo>
                    <a:lnTo>
                      <a:pt x="1289" y="415"/>
                    </a:lnTo>
                    <a:lnTo>
                      <a:pt x="1289" y="419"/>
                    </a:lnTo>
                    <a:lnTo>
                      <a:pt x="1283" y="425"/>
                    </a:lnTo>
                    <a:lnTo>
                      <a:pt x="1281" y="427"/>
                    </a:lnTo>
                    <a:lnTo>
                      <a:pt x="1281" y="425"/>
                    </a:lnTo>
                    <a:lnTo>
                      <a:pt x="1281" y="422"/>
                    </a:lnTo>
                    <a:lnTo>
                      <a:pt x="1278" y="420"/>
                    </a:lnTo>
                    <a:lnTo>
                      <a:pt x="1276" y="422"/>
                    </a:lnTo>
                    <a:lnTo>
                      <a:pt x="1275" y="425"/>
                    </a:lnTo>
                    <a:lnTo>
                      <a:pt x="1273" y="427"/>
                    </a:lnTo>
                    <a:lnTo>
                      <a:pt x="1270" y="430"/>
                    </a:lnTo>
                    <a:lnTo>
                      <a:pt x="1265" y="430"/>
                    </a:lnTo>
                    <a:lnTo>
                      <a:pt x="1263" y="434"/>
                    </a:lnTo>
                    <a:lnTo>
                      <a:pt x="1266" y="435"/>
                    </a:lnTo>
                    <a:lnTo>
                      <a:pt x="1270" y="435"/>
                    </a:lnTo>
                    <a:lnTo>
                      <a:pt x="1270" y="437"/>
                    </a:lnTo>
                    <a:lnTo>
                      <a:pt x="1268" y="440"/>
                    </a:lnTo>
                    <a:lnTo>
                      <a:pt x="1268" y="442"/>
                    </a:lnTo>
                    <a:lnTo>
                      <a:pt x="1268" y="445"/>
                    </a:lnTo>
                    <a:lnTo>
                      <a:pt x="1266" y="447"/>
                    </a:lnTo>
                    <a:lnTo>
                      <a:pt x="1263" y="443"/>
                    </a:lnTo>
                    <a:lnTo>
                      <a:pt x="1263" y="439"/>
                    </a:lnTo>
                    <a:lnTo>
                      <a:pt x="1261" y="437"/>
                    </a:lnTo>
                    <a:lnTo>
                      <a:pt x="1260" y="439"/>
                    </a:lnTo>
                    <a:lnTo>
                      <a:pt x="1260" y="442"/>
                    </a:lnTo>
                    <a:lnTo>
                      <a:pt x="1261" y="445"/>
                    </a:lnTo>
                    <a:lnTo>
                      <a:pt x="1256" y="448"/>
                    </a:lnTo>
                    <a:lnTo>
                      <a:pt x="1245" y="448"/>
                    </a:lnTo>
                    <a:lnTo>
                      <a:pt x="1245" y="445"/>
                    </a:lnTo>
                    <a:lnTo>
                      <a:pt x="1243" y="443"/>
                    </a:lnTo>
                    <a:lnTo>
                      <a:pt x="1240" y="445"/>
                    </a:lnTo>
                    <a:lnTo>
                      <a:pt x="1235" y="445"/>
                    </a:lnTo>
                    <a:lnTo>
                      <a:pt x="1235" y="443"/>
                    </a:lnTo>
                    <a:lnTo>
                      <a:pt x="1238" y="439"/>
                    </a:lnTo>
                    <a:lnTo>
                      <a:pt x="1233" y="442"/>
                    </a:lnTo>
                    <a:lnTo>
                      <a:pt x="1231" y="443"/>
                    </a:lnTo>
                    <a:lnTo>
                      <a:pt x="1228" y="445"/>
                    </a:lnTo>
                    <a:lnTo>
                      <a:pt x="1228" y="445"/>
                    </a:lnTo>
                    <a:close/>
                    <a:moveTo>
                      <a:pt x="914" y="326"/>
                    </a:moveTo>
                    <a:lnTo>
                      <a:pt x="912" y="324"/>
                    </a:lnTo>
                    <a:lnTo>
                      <a:pt x="914" y="319"/>
                    </a:lnTo>
                    <a:lnTo>
                      <a:pt x="924" y="311"/>
                    </a:lnTo>
                    <a:lnTo>
                      <a:pt x="931" y="309"/>
                    </a:lnTo>
                    <a:lnTo>
                      <a:pt x="934" y="307"/>
                    </a:lnTo>
                    <a:lnTo>
                      <a:pt x="937" y="306"/>
                    </a:lnTo>
                    <a:lnTo>
                      <a:pt x="944" y="302"/>
                    </a:lnTo>
                    <a:lnTo>
                      <a:pt x="951" y="301"/>
                    </a:lnTo>
                    <a:lnTo>
                      <a:pt x="954" y="299"/>
                    </a:lnTo>
                    <a:lnTo>
                      <a:pt x="957" y="299"/>
                    </a:lnTo>
                    <a:lnTo>
                      <a:pt x="966" y="297"/>
                    </a:lnTo>
                    <a:lnTo>
                      <a:pt x="967" y="297"/>
                    </a:lnTo>
                    <a:lnTo>
                      <a:pt x="966" y="301"/>
                    </a:lnTo>
                    <a:lnTo>
                      <a:pt x="959" y="306"/>
                    </a:lnTo>
                    <a:lnTo>
                      <a:pt x="951" y="311"/>
                    </a:lnTo>
                    <a:lnTo>
                      <a:pt x="937" y="321"/>
                    </a:lnTo>
                    <a:lnTo>
                      <a:pt x="932" y="326"/>
                    </a:lnTo>
                    <a:lnTo>
                      <a:pt x="929" y="327"/>
                    </a:lnTo>
                    <a:lnTo>
                      <a:pt x="926" y="327"/>
                    </a:lnTo>
                    <a:lnTo>
                      <a:pt x="924" y="329"/>
                    </a:lnTo>
                    <a:lnTo>
                      <a:pt x="921" y="331"/>
                    </a:lnTo>
                    <a:lnTo>
                      <a:pt x="919" y="326"/>
                    </a:lnTo>
                    <a:lnTo>
                      <a:pt x="916" y="324"/>
                    </a:lnTo>
                    <a:lnTo>
                      <a:pt x="914" y="326"/>
                    </a:lnTo>
                    <a:lnTo>
                      <a:pt x="914" y="326"/>
                    </a:lnTo>
                    <a:close/>
                    <a:moveTo>
                      <a:pt x="1147" y="414"/>
                    </a:moveTo>
                    <a:lnTo>
                      <a:pt x="1147" y="412"/>
                    </a:lnTo>
                    <a:lnTo>
                      <a:pt x="1147" y="412"/>
                    </a:lnTo>
                    <a:lnTo>
                      <a:pt x="1152" y="410"/>
                    </a:lnTo>
                    <a:lnTo>
                      <a:pt x="1153" y="407"/>
                    </a:lnTo>
                    <a:lnTo>
                      <a:pt x="1153" y="404"/>
                    </a:lnTo>
                    <a:lnTo>
                      <a:pt x="1162" y="400"/>
                    </a:lnTo>
                    <a:lnTo>
                      <a:pt x="1162" y="399"/>
                    </a:lnTo>
                    <a:lnTo>
                      <a:pt x="1167" y="399"/>
                    </a:lnTo>
                    <a:lnTo>
                      <a:pt x="1167" y="404"/>
                    </a:lnTo>
                    <a:lnTo>
                      <a:pt x="1168" y="405"/>
                    </a:lnTo>
                    <a:lnTo>
                      <a:pt x="1168" y="412"/>
                    </a:lnTo>
                    <a:lnTo>
                      <a:pt x="1167" y="415"/>
                    </a:lnTo>
                    <a:lnTo>
                      <a:pt x="1162" y="419"/>
                    </a:lnTo>
                    <a:lnTo>
                      <a:pt x="1158" y="419"/>
                    </a:lnTo>
                    <a:lnTo>
                      <a:pt x="1155" y="420"/>
                    </a:lnTo>
                    <a:lnTo>
                      <a:pt x="1152" y="420"/>
                    </a:lnTo>
                    <a:lnTo>
                      <a:pt x="1150" y="417"/>
                    </a:lnTo>
                    <a:lnTo>
                      <a:pt x="1147" y="414"/>
                    </a:lnTo>
                    <a:lnTo>
                      <a:pt x="1147" y="414"/>
                    </a:lnTo>
                    <a:close/>
                    <a:moveTo>
                      <a:pt x="961" y="409"/>
                    </a:moveTo>
                    <a:lnTo>
                      <a:pt x="962" y="404"/>
                    </a:lnTo>
                    <a:lnTo>
                      <a:pt x="961" y="400"/>
                    </a:lnTo>
                    <a:lnTo>
                      <a:pt x="962" y="394"/>
                    </a:lnTo>
                    <a:lnTo>
                      <a:pt x="969" y="392"/>
                    </a:lnTo>
                    <a:lnTo>
                      <a:pt x="977" y="394"/>
                    </a:lnTo>
                    <a:lnTo>
                      <a:pt x="981" y="392"/>
                    </a:lnTo>
                    <a:lnTo>
                      <a:pt x="986" y="392"/>
                    </a:lnTo>
                    <a:lnTo>
                      <a:pt x="990" y="392"/>
                    </a:lnTo>
                    <a:lnTo>
                      <a:pt x="997" y="389"/>
                    </a:lnTo>
                    <a:lnTo>
                      <a:pt x="1004" y="389"/>
                    </a:lnTo>
                    <a:lnTo>
                      <a:pt x="1012" y="392"/>
                    </a:lnTo>
                    <a:lnTo>
                      <a:pt x="1017" y="392"/>
                    </a:lnTo>
                    <a:lnTo>
                      <a:pt x="1020" y="392"/>
                    </a:lnTo>
                    <a:lnTo>
                      <a:pt x="1024" y="390"/>
                    </a:lnTo>
                    <a:lnTo>
                      <a:pt x="1037" y="389"/>
                    </a:lnTo>
                    <a:lnTo>
                      <a:pt x="1037" y="387"/>
                    </a:lnTo>
                    <a:lnTo>
                      <a:pt x="1040" y="384"/>
                    </a:lnTo>
                    <a:lnTo>
                      <a:pt x="1039" y="382"/>
                    </a:lnTo>
                    <a:lnTo>
                      <a:pt x="1035" y="385"/>
                    </a:lnTo>
                    <a:lnTo>
                      <a:pt x="1029" y="385"/>
                    </a:lnTo>
                    <a:lnTo>
                      <a:pt x="1029" y="382"/>
                    </a:lnTo>
                    <a:lnTo>
                      <a:pt x="1020" y="385"/>
                    </a:lnTo>
                    <a:lnTo>
                      <a:pt x="1015" y="385"/>
                    </a:lnTo>
                    <a:lnTo>
                      <a:pt x="1015" y="382"/>
                    </a:lnTo>
                    <a:lnTo>
                      <a:pt x="1012" y="380"/>
                    </a:lnTo>
                    <a:lnTo>
                      <a:pt x="1009" y="382"/>
                    </a:lnTo>
                    <a:lnTo>
                      <a:pt x="1004" y="384"/>
                    </a:lnTo>
                    <a:lnTo>
                      <a:pt x="999" y="384"/>
                    </a:lnTo>
                    <a:lnTo>
                      <a:pt x="997" y="382"/>
                    </a:lnTo>
                    <a:lnTo>
                      <a:pt x="992" y="384"/>
                    </a:lnTo>
                    <a:lnTo>
                      <a:pt x="987" y="382"/>
                    </a:lnTo>
                    <a:lnTo>
                      <a:pt x="987" y="379"/>
                    </a:lnTo>
                    <a:lnTo>
                      <a:pt x="992" y="374"/>
                    </a:lnTo>
                    <a:lnTo>
                      <a:pt x="997" y="370"/>
                    </a:lnTo>
                    <a:lnTo>
                      <a:pt x="994" y="370"/>
                    </a:lnTo>
                    <a:lnTo>
                      <a:pt x="989" y="372"/>
                    </a:lnTo>
                    <a:lnTo>
                      <a:pt x="986" y="375"/>
                    </a:lnTo>
                    <a:lnTo>
                      <a:pt x="984" y="370"/>
                    </a:lnTo>
                    <a:lnTo>
                      <a:pt x="982" y="372"/>
                    </a:lnTo>
                    <a:lnTo>
                      <a:pt x="981" y="375"/>
                    </a:lnTo>
                    <a:lnTo>
                      <a:pt x="972" y="380"/>
                    </a:lnTo>
                    <a:lnTo>
                      <a:pt x="972" y="382"/>
                    </a:lnTo>
                    <a:lnTo>
                      <a:pt x="967" y="384"/>
                    </a:lnTo>
                    <a:lnTo>
                      <a:pt x="962" y="380"/>
                    </a:lnTo>
                    <a:lnTo>
                      <a:pt x="962" y="377"/>
                    </a:lnTo>
                    <a:lnTo>
                      <a:pt x="964" y="374"/>
                    </a:lnTo>
                    <a:lnTo>
                      <a:pt x="961" y="374"/>
                    </a:lnTo>
                    <a:lnTo>
                      <a:pt x="959" y="372"/>
                    </a:lnTo>
                    <a:lnTo>
                      <a:pt x="957" y="379"/>
                    </a:lnTo>
                    <a:lnTo>
                      <a:pt x="954" y="380"/>
                    </a:lnTo>
                    <a:lnTo>
                      <a:pt x="951" y="379"/>
                    </a:lnTo>
                    <a:lnTo>
                      <a:pt x="951" y="374"/>
                    </a:lnTo>
                    <a:lnTo>
                      <a:pt x="946" y="370"/>
                    </a:lnTo>
                    <a:lnTo>
                      <a:pt x="946" y="367"/>
                    </a:lnTo>
                    <a:lnTo>
                      <a:pt x="944" y="365"/>
                    </a:lnTo>
                    <a:lnTo>
                      <a:pt x="942" y="370"/>
                    </a:lnTo>
                    <a:lnTo>
                      <a:pt x="941" y="369"/>
                    </a:lnTo>
                    <a:lnTo>
                      <a:pt x="936" y="364"/>
                    </a:lnTo>
                    <a:lnTo>
                      <a:pt x="927" y="359"/>
                    </a:lnTo>
                    <a:lnTo>
                      <a:pt x="927" y="357"/>
                    </a:lnTo>
                    <a:lnTo>
                      <a:pt x="932" y="355"/>
                    </a:lnTo>
                    <a:lnTo>
                      <a:pt x="932" y="352"/>
                    </a:lnTo>
                    <a:lnTo>
                      <a:pt x="931" y="349"/>
                    </a:lnTo>
                    <a:lnTo>
                      <a:pt x="939" y="344"/>
                    </a:lnTo>
                    <a:lnTo>
                      <a:pt x="946" y="342"/>
                    </a:lnTo>
                    <a:lnTo>
                      <a:pt x="947" y="344"/>
                    </a:lnTo>
                    <a:lnTo>
                      <a:pt x="956" y="344"/>
                    </a:lnTo>
                    <a:lnTo>
                      <a:pt x="962" y="347"/>
                    </a:lnTo>
                    <a:lnTo>
                      <a:pt x="967" y="347"/>
                    </a:lnTo>
                    <a:lnTo>
                      <a:pt x="972" y="345"/>
                    </a:lnTo>
                    <a:lnTo>
                      <a:pt x="977" y="344"/>
                    </a:lnTo>
                    <a:lnTo>
                      <a:pt x="984" y="341"/>
                    </a:lnTo>
                    <a:lnTo>
                      <a:pt x="979" y="339"/>
                    </a:lnTo>
                    <a:lnTo>
                      <a:pt x="977" y="337"/>
                    </a:lnTo>
                    <a:lnTo>
                      <a:pt x="972" y="337"/>
                    </a:lnTo>
                    <a:lnTo>
                      <a:pt x="967" y="339"/>
                    </a:lnTo>
                    <a:lnTo>
                      <a:pt x="959" y="336"/>
                    </a:lnTo>
                    <a:lnTo>
                      <a:pt x="954" y="336"/>
                    </a:lnTo>
                    <a:lnTo>
                      <a:pt x="952" y="334"/>
                    </a:lnTo>
                    <a:lnTo>
                      <a:pt x="959" y="327"/>
                    </a:lnTo>
                    <a:lnTo>
                      <a:pt x="966" y="322"/>
                    </a:lnTo>
                    <a:lnTo>
                      <a:pt x="971" y="321"/>
                    </a:lnTo>
                    <a:lnTo>
                      <a:pt x="972" y="322"/>
                    </a:lnTo>
                    <a:lnTo>
                      <a:pt x="982" y="321"/>
                    </a:lnTo>
                    <a:lnTo>
                      <a:pt x="992" y="321"/>
                    </a:lnTo>
                    <a:lnTo>
                      <a:pt x="999" y="322"/>
                    </a:lnTo>
                    <a:lnTo>
                      <a:pt x="1000" y="322"/>
                    </a:lnTo>
                    <a:lnTo>
                      <a:pt x="999" y="319"/>
                    </a:lnTo>
                    <a:lnTo>
                      <a:pt x="997" y="319"/>
                    </a:lnTo>
                    <a:lnTo>
                      <a:pt x="992" y="317"/>
                    </a:lnTo>
                    <a:lnTo>
                      <a:pt x="987" y="317"/>
                    </a:lnTo>
                    <a:lnTo>
                      <a:pt x="977" y="314"/>
                    </a:lnTo>
                    <a:lnTo>
                      <a:pt x="974" y="311"/>
                    </a:lnTo>
                    <a:lnTo>
                      <a:pt x="979" y="307"/>
                    </a:lnTo>
                    <a:lnTo>
                      <a:pt x="982" y="304"/>
                    </a:lnTo>
                    <a:lnTo>
                      <a:pt x="986" y="301"/>
                    </a:lnTo>
                    <a:lnTo>
                      <a:pt x="989" y="301"/>
                    </a:lnTo>
                    <a:lnTo>
                      <a:pt x="994" y="299"/>
                    </a:lnTo>
                    <a:lnTo>
                      <a:pt x="999" y="299"/>
                    </a:lnTo>
                    <a:lnTo>
                      <a:pt x="1000" y="301"/>
                    </a:lnTo>
                    <a:lnTo>
                      <a:pt x="1004" y="301"/>
                    </a:lnTo>
                    <a:lnTo>
                      <a:pt x="1010" y="306"/>
                    </a:lnTo>
                    <a:lnTo>
                      <a:pt x="1012" y="306"/>
                    </a:lnTo>
                    <a:lnTo>
                      <a:pt x="1010" y="302"/>
                    </a:lnTo>
                    <a:lnTo>
                      <a:pt x="1005" y="299"/>
                    </a:lnTo>
                    <a:lnTo>
                      <a:pt x="1005" y="296"/>
                    </a:lnTo>
                    <a:lnTo>
                      <a:pt x="1002" y="294"/>
                    </a:lnTo>
                    <a:lnTo>
                      <a:pt x="1005" y="291"/>
                    </a:lnTo>
                    <a:lnTo>
                      <a:pt x="1019" y="289"/>
                    </a:lnTo>
                    <a:lnTo>
                      <a:pt x="1022" y="289"/>
                    </a:lnTo>
                    <a:lnTo>
                      <a:pt x="1030" y="289"/>
                    </a:lnTo>
                    <a:lnTo>
                      <a:pt x="1035" y="292"/>
                    </a:lnTo>
                    <a:lnTo>
                      <a:pt x="1037" y="299"/>
                    </a:lnTo>
                    <a:lnTo>
                      <a:pt x="1034" y="301"/>
                    </a:lnTo>
                    <a:lnTo>
                      <a:pt x="1029" y="307"/>
                    </a:lnTo>
                    <a:lnTo>
                      <a:pt x="1030" y="311"/>
                    </a:lnTo>
                    <a:lnTo>
                      <a:pt x="1040" y="311"/>
                    </a:lnTo>
                    <a:lnTo>
                      <a:pt x="1044" y="307"/>
                    </a:lnTo>
                    <a:lnTo>
                      <a:pt x="1047" y="311"/>
                    </a:lnTo>
                    <a:lnTo>
                      <a:pt x="1049" y="311"/>
                    </a:lnTo>
                    <a:lnTo>
                      <a:pt x="1050" y="312"/>
                    </a:lnTo>
                    <a:lnTo>
                      <a:pt x="1052" y="316"/>
                    </a:lnTo>
                    <a:lnTo>
                      <a:pt x="1054" y="317"/>
                    </a:lnTo>
                    <a:lnTo>
                      <a:pt x="1054" y="321"/>
                    </a:lnTo>
                    <a:lnTo>
                      <a:pt x="1050" y="322"/>
                    </a:lnTo>
                    <a:lnTo>
                      <a:pt x="1049" y="326"/>
                    </a:lnTo>
                    <a:lnTo>
                      <a:pt x="1054" y="331"/>
                    </a:lnTo>
                    <a:lnTo>
                      <a:pt x="1054" y="339"/>
                    </a:lnTo>
                    <a:lnTo>
                      <a:pt x="1052" y="342"/>
                    </a:lnTo>
                    <a:lnTo>
                      <a:pt x="1047" y="341"/>
                    </a:lnTo>
                    <a:lnTo>
                      <a:pt x="1044" y="342"/>
                    </a:lnTo>
                    <a:lnTo>
                      <a:pt x="1044" y="345"/>
                    </a:lnTo>
                    <a:lnTo>
                      <a:pt x="1049" y="344"/>
                    </a:lnTo>
                    <a:lnTo>
                      <a:pt x="1054" y="345"/>
                    </a:lnTo>
                    <a:lnTo>
                      <a:pt x="1057" y="345"/>
                    </a:lnTo>
                    <a:lnTo>
                      <a:pt x="1054" y="355"/>
                    </a:lnTo>
                    <a:lnTo>
                      <a:pt x="1050" y="357"/>
                    </a:lnTo>
                    <a:lnTo>
                      <a:pt x="1050" y="365"/>
                    </a:lnTo>
                    <a:lnTo>
                      <a:pt x="1052" y="367"/>
                    </a:lnTo>
                    <a:lnTo>
                      <a:pt x="1059" y="365"/>
                    </a:lnTo>
                    <a:lnTo>
                      <a:pt x="1060" y="362"/>
                    </a:lnTo>
                    <a:lnTo>
                      <a:pt x="1064" y="365"/>
                    </a:lnTo>
                    <a:lnTo>
                      <a:pt x="1064" y="367"/>
                    </a:lnTo>
                    <a:lnTo>
                      <a:pt x="1069" y="369"/>
                    </a:lnTo>
                    <a:lnTo>
                      <a:pt x="1072" y="367"/>
                    </a:lnTo>
                    <a:lnTo>
                      <a:pt x="1080" y="370"/>
                    </a:lnTo>
                    <a:lnTo>
                      <a:pt x="1085" y="375"/>
                    </a:lnTo>
                    <a:lnTo>
                      <a:pt x="1087" y="374"/>
                    </a:lnTo>
                    <a:lnTo>
                      <a:pt x="1087" y="370"/>
                    </a:lnTo>
                    <a:lnTo>
                      <a:pt x="1085" y="370"/>
                    </a:lnTo>
                    <a:lnTo>
                      <a:pt x="1092" y="367"/>
                    </a:lnTo>
                    <a:lnTo>
                      <a:pt x="1090" y="359"/>
                    </a:lnTo>
                    <a:lnTo>
                      <a:pt x="1087" y="355"/>
                    </a:lnTo>
                    <a:lnTo>
                      <a:pt x="1087" y="352"/>
                    </a:lnTo>
                    <a:lnTo>
                      <a:pt x="1084" y="347"/>
                    </a:lnTo>
                    <a:lnTo>
                      <a:pt x="1087" y="345"/>
                    </a:lnTo>
                    <a:lnTo>
                      <a:pt x="1088" y="345"/>
                    </a:lnTo>
                    <a:lnTo>
                      <a:pt x="1097" y="344"/>
                    </a:lnTo>
                    <a:lnTo>
                      <a:pt x="1102" y="344"/>
                    </a:lnTo>
                    <a:lnTo>
                      <a:pt x="1103" y="337"/>
                    </a:lnTo>
                    <a:lnTo>
                      <a:pt x="1100" y="331"/>
                    </a:lnTo>
                    <a:lnTo>
                      <a:pt x="1098" y="329"/>
                    </a:lnTo>
                    <a:lnTo>
                      <a:pt x="1098" y="324"/>
                    </a:lnTo>
                    <a:lnTo>
                      <a:pt x="1097" y="319"/>
                    </a:lnTo>
                    <a:lnTo>
                      <a:pt x="1100" y="314"/>
                    </a:lnTo>
                    <a:lnTo>
                      <a:pt x="1105" y="311"/>
                    </a:lnTo>
                    <a:lnTo>
                      <a:pt x="1107" y="312"/>
                    </a:lnTo>
                    <a:lnTo>
                      <a:pt x="1112" y="312"/>
                    </a:lnTo>
                    <a:lnTo>
                      <a:pt x="1110" y="309"/>
                    </a:lnTo>
                    <a:lnTo>
                      <a:pt x="1113" y="306"/>
                    </a:lnTo>
                    <a:lnTo>
                      <a:pt x="1118" y="304"/>
                    </a:lnTo>
                    <a:lnTo>
                      <a:pt x="1128" y="294"/>
                    </a:lnTo>
                    <a:lnTo>
                      <a:pt x="1132" y="296"/>
                    </a:lnTo>
                    <a:lnTo>
                      <a:pt x="1138" y="297"/>
                    </a:lnTo>
                    <a:lnTo>
                      <a:pt x="1138" y="301"/>
                    </a:lnTo>
                    <a:lnTo>
                      <a:pt x="1140" y="304"/>
                    </a:lnTo>
                    <a:lnTo>
                      <a:pt x="1138" y="307"/>
                    </a:lnTo>
                    <a:lnTo>
                      <a:pt x="1133" y="307"/>
                    </a:lnTo>
                    <a:lnTo>
                      <a:pt x="1132" y="309"/>
                    </a:lnTo>
                    <a:lnTo>
                      <a:pt x="1132" y="312"/>
                    </a:lnTo>
                    <a:lnTo>
                      <a:pt x="1130" y="317"/>
                    </a:lnTo>
                    <a:lnTo>
                      <a:pt x="1130" y="322"/>
                    </a:lnTo>
                    <a:lnTo>
                      <a:pt x="1132" y="324"/>
                    </a:lnTo>
                    <a:lnTo>
                      <a:pt x="1132" y="336"/>
                    </a:lnTo>
                    <a:lnTo>
                      <a:pt x="1128" y="337"/>
                    </a:lnTo>
                    <a:lnTo>
                      <a:pt x="1127" y="337"/>
                    </a:lnTo>
                    <a:lnTo>
                      <a:pt x="1120" y="342"/>
                    </a:lnTo>
                    <a:lnTo>
                      <a:pt x="1117" y="344"/>
                    </a:lnTo>
                    <a:lnTo>
                      <a:pt x="1117" y="345"/>
                    </a:lnTo>
                    <a:lnTo>
                      <a:pt x="1118" y="347"/>
                    </a:lnTo>
                    <a:lnTo>
                      <a:pt x="1123" y="345"/>
                    </a:lnTo>
                    <a:lnTo>
                      <a:pt x="1130" y="345"/>
                    </a:lnTo>
                    <a:lnTo>
                      <a:pt x="1130" y="347"/>
                    </a:lnTo>
                    <a:lnTo>
                      <a:pt x="1127" y="352"/>
                    </a:lnTo>
                    <a:lnTo>
                      <a:pt x="1120" y="357"/>
                    </a:lnTo>
                    <a:lnTo>
                      <a:pt x="1113" y="362"/>
                    </a:lnTo>
                    <a:lnTo>
                      <a:pt x="1112" y="365"/>
                    </a:lnTo>
                    <a:lnTo>
                      <a:pt x="1113" y="369"/>
                    </a:lnTo>
                    <a:lnTo>
                      <a:pt x="1115" y="364"/>
                    </a:lnTo>
                    <a:lnTo>
                      <a:pt x="1123" y="360"/>
                    </a:lnTo>
                    <a:lnTo>
                      <a:pt x="1127" y="357"/>
                    </a:lnTo>
                    <a:lnTo>
                      <a:pt x="1130" y="357"/>
                    </a:lnTo>
                    <a:lnTo>
                      <a:pt x="1137" y="359"/>
                    </a:lnTo>
                    <a:lnTo>
                      <a:pt x="1137" y="365"/>
                    </a:lnTo>
                    <a:lnTo>
                      <a:pt x="1132" y="372"/>
                    </a:lnTo>
                    <a:lnTo>
                      <a:pt x="1133" y="374"/>
                    </a:lnTo>
                    <a:lnTo>
                      <a:pt x="1138" y="369"/>
                    </a:lnTo>
                    <a:lnTo>
                      <a:pt x="1142" y="370"/>
                    </a:lnTo>
                    <a:lnTo>
                      <a:pt x="1142" y="367"/>
                    </a:lnTo>
                    <a:lnTo>
                      <a:pt x="1142" y="365"/>
                    </a:lnTo>
                    <a:lnTo>
                      <a:pt x="1145" y="362"/>
                    </a:lnTo>
                    <a:lnTo>
                      <a:pt x="1145" y="357"/>
                    </a:lnTo>
                    <a:lnTo>
                      <a:pt x="1153" y="352"/>
                    </a:lnTo>
                    <a:lnTo>
                      <a:pt x="1155" y="352"/>
                    </a:lnTo>
                    <a:lnTo>
                      <a:pt x="1162" y="355"/>
                    </a:lnTo>
                    <a:lnTo>
                      <a:pt x="1165" y="364"/>
                    </a:lnTo>
                    <a:lnTo>
                      <a:pt x="1167" y="367"/>
                    </a:lnTo>
                    <a:lnTo>
                      <a:pt x="1165" y="372"/>
                    </a:lnTo>
                    <a:lnTo>
                      <a:pt x="1158" y="382"/>
                    </a:lnTo>
                    <a:lnTo>
                      <a:pt x="1153" y="387"/>
                    </a:lnTo>
                    <a:lnTo>
                      <a:pt x="1148" y="389"/>
                    </a:lnTo>
                    <a:lnTo>
                      <a:pt x="1145" y="389"/>
                    </a:lnTo>
                    <a:lnTo>
                      <a:pt x="1143" y="392"/>
                    </a:lnTo>
                    <a:lnTo>
                      <a:pt x="1145" y="395"/>
                    </a:lnTo>
                    <a:lnTo>
                      <a:pt x="1140" y="400"/>
                    </a:lnTo>
                    <a:lnTo>
                      <a:pt x="1137" y="400"/>
                    </a:lnTo>
                    <a:lnTo>
                      <a:pt x="1132" y="404"/>
                    </a:lnTo>
                    <a:lnTo>
                      <a:pt x="1132" y="407"/>
                    </a:lnTo>
                    <a:lnTo>
                      <a:pt x="1130" y="410"/>
                    </a:lnTo>
                    <a:lnTo>
                      <a:pt x="1127" y="410"/>
                    </a:lnTo>
                    <a:lnTo>
                      <a:pt x="1125" y="412"/>
                    </a:lnTo>
                    <a:lnTo>
                      <a:pt x="1125" y="414"/>
                    </a:lnTo>
                    <a:lnTo>
                      <a:pt x="1122" y="415"/>
                    </a:lnTo>
                    <a:lnTo>
                      <a:pt x="1118" y="412"/>
                    </a:lnTo>
                    <a:lnTo>
                      <a:pt x="1115" y="414"/>
                    </a:lnTo>
                    <a:lnTo>
                      <a:pt x="1112" y="414"/>
                    </a:lnTo>
                    <a:lnTo>
                      <a:pt x="1103" y="417"/>
                    </a:lnTo>
                    <a:lnTo>
                      <a:pt x="1097" y="417"/>
                    </a:lnTo>
                    <a:lnTo>
                      <a:pt x="1090" y="415"/>
                    </a:lnTo>
                    <a:lnTo>
                      <a:pt x="1090" y="412"/>
                    </a:lnTo>
                    <a:lnTo>
                      <a:pt x="1092" y="409"/>
                    </a:lnTo>
                    <a:lnTo>
                      <a:pt x="1092" y="407"/>
                    </a:lnTo>
                    <a:lnTo>
                      <a:pt x="1090" y="405"/>
                    </a:lnTo>
                    <a:lnTo>
                      <a:pt x="1085" y="409"/>
                    </a:lnTo>
                    <a:lnTo>
                      <a:pt x="1084" y="410"/>
                    </a:lnTo>
                    <a:lnTo>
                      <a:pt x="1080" y="412"/>
                    </a:lnTo>
                    <a:lnTo>
                      <a:pt x="1075" y="410"/>
                    </a:lnTo>
                    <a:lnTo>
                      <a:pt x="1075" y="407"/>
                    </a:lnTo>
                    <a:lnTo>
                      <a:pt x="1077" y="405"/>
                    </a:lnTo>
                    <a:lnTo>
                      <a:pt x="1075" y="402"/>
                    </a:lnTo>
                    <a:lnTo>
                      <a:pt x="1072" y="402"/>
                    </a:lnTo>
                    <a:lnTo>
                      <a:pt x="1072" y="404"/>
                    </a:lnTo>
                    <a:lnTo>
                      <a:pt x="1069" y="405"/>
                    </a:lnTo>
                    <a:lnTo>
                      <a:pt x="1065" y="405"/>
                    </a:lnTo>
                    <a:lnTo>
                      <a:pt x="1057" y="409"/>
                    </a:lnTo>
                    <a:lnTo>
                      <a:pt x="1055" y="410"/>
                    </a:lnTo>
                    <a:lnTo>
                      <a:pt x="1050" y="410"/>
                    </a:lnTo>
                    <a:lnTo>
                      <a:pt x="1049" y="409"/>
                    </a:lnTo>
                    <a:lnTo>
                      <a:pt x="1042" y="410"/>
                    </a:lnTo>
                    <a:lnTo>
                      <a:pt x="1039" y="407"/>
                    </a:lnTo>
                    <a:lnTo>
                      <a:pt x="1037" y="410"/>
                    </a:lnTo>
                    <a:lnTo>
                      <a:pt x="1034" y="410"/>
                    </a:lnTo>
                    <a:lnTo>
                      <a:pt x="1030" y="412"/>
                    </a:lnTo>
                    <a:lnTo>
                      <a:pt x="1030" y="415"/>
                    </a:lnTo>
                    <a:lnTo>
                      <a:pt x="1027" y="417"/>
                    </a:lnTo>
                    <a:lnTo>
                      <a:pt x="1022" y="417"/>
                    </a:lnTo>
                    <a:lnTo>
                      <a:pt x="1020" y="419"/>
                    </a:lnTo>
                    <a:lnTo>
                      <a:pt x="1015" y="420"/>
                    </a:lnTo>
                    <a:lnTo>
                      <a:pt x="1014" y="420"/>
                    </a:lnTo>
                    <a:lnTo>
                      <a:pt x="1009" y="422"/>
                    </a:lnTo>
                    <a:lnTo>
                      <a:pt x="1004" y="422"/>
                    </a:lnTo>
                    <a:lnTo>
                      <a:pt x="1002" y="419"/>
                    </a:lnTo>
                    <a:lnTo>
                      <a:pt x="995" y="419"/>
                    </a:lnTo>
                    <a:lnTo>
                      <a:pt x="989" y="422"/>
                    </a:lnTo>
                    <a:lnTo>
                      <a:pt x="982" y="422"/>
                    </a:lnTo>
                    <a:lnTo>
                      <a:pt x="974" y="419"/>
                    </a:lnTo>
                    <a:lnTo>
                      <a:pt x="969" y="417"/>
                    </a:lnTo>
                    <a:lnTo>
                      <a:pt x="966" y="414"/>
                    </a:lnTo>
                    <a:lnTo>
                      <a:pt x="961" y="409"/>
                    </a:lnTo>
                    <a:lnTo>
                      <a:pt x="961" y="409"/>
                    </a:lnTo>
                    <a:close/>
                    <a:moveTo>
                      <a:pt x="672" y="545"/>
                    </a:moveTo>
                    <a:lnTo>
                      <a:pt x="672" y="537"/>
                    </a:lnTo>
                    <a:lnTo>
                      <a:pt x="677" y="530"/>
                    </a:lnTo>
                    <a:lnTo>
                      <a:pt x="675" y="525"/>
                    </a:lnTo>
                    <a:lnTo>
                      <a:pt x="677" y="518"/>
                    </a:lnTo>
                    <a:lnTo>
                      <a:pt x="677" y="513"/>
                    </a:lnTo>
                    <a:lnTo>
                      <a:pt x="673" y="512"/>
                    </a:lnTo>
                    <a:lnTo>
                      <a:pt x="670" y="500"/>
                    </a:lnTo>
                    <a:lnTo>
                      <a:pt x="675" y="502"/>
                    </a:lnTo>
                    <a:lnTo>
                      <a:pt x="675" y="497"/>
                    </a:lnTo>
                    <a:lnTo>
                      <a:pt x="667" y="497"/>
                    </a:lnTo>
                    <a:lnTo>
                      <a:pt x="658" y="495"/>
                    </a:lnTo>
                    <a:lnTo>
                      <a:pt x="658" y="490"/>
                    </a:lnTo>
                    <a:lnTo>
                      <a:pt x="662" y="492"/>
                    </a:lnTo>
                    <a:lnTo>
                      <a:pt x="667" y="488"/>
                    </a:lnTo>
                    <a:lnTo>
                      <a:pt x="673" y="485"/>
                    </a:lnTo>
                    <a:lnTo>
                      <a:pt x="675" y="482"/>
                    </a:lnTo>
                    <a:lnTo>
                      <a:pt x="677" y="482"/>
                    </a:lnTo>
                    <a:lnTo>
                      <a:pt x="682" y="478"/>
                    </a:lnTo>
                    <a:lnTo>
                      <a:pt x="685" y="477"/>
                    </a:lnTo>
                    <a:lnTo>
                      <a:pt x="688" y="472"/>
                    </a:lnTo>
                    <a:lnTo>
                      <a:pt x="696" y="470"/>
                    </a:lnTo>
                    <a:lnTo>
                      <a:pt x="696" y="467"/>
                    </a:lnTo>
                    <a:lnTo>
                      <a:pt x="700" y="467"/>
                    </a:lnTo>
                    <a:lnTo>
                      <a:pt x="705" y="460"/>
                    </a:lnTo>
                    <a:lnTo>
                      <a:pt x="705" y="453"/>
                    </a:lnTo>
                    <a:lnTo>
                      <a:pt x="706" y="455"/>
                    </a:lnTo>
                    <a:lnTo>
                      <a:pt x="720" y="457"/>
                    </a:lnTo>
                    <a:lnTo>
                      <a:pt x="720" y="452"/>
                    </a:lnTo>
                    <a:lnTo>
                      <a:pt x="718" y="445"/>
                    </a:lnTo>
                    <a:lnTo>
                      <a:pt x="718" y="442"/>
                    </a:lnTo>
                    <a:lnTo>
                      <a:pt x="723" y="440"/>
                    </a:lnTo>
                    <a:lnTo>
                      <a:pt x="733" y="434"/>
                    </a:lnTo>
                    <a:lnTo>
                      <a:pt x="738" y="427"/>
                    </a:lnTo>
                    <a:lnTo>
                      <a:pt x="748" y="424"/>
                    </a:lnTo>
                    <a:lnTo>
                      <a:pt x="750" y="420"/>
                    </a:lnTo>
                    <a:lnTo>
                      <a:pt x="756" y="414"/>
                    </a:lnTo>
                    <a:lnTo>
                      <a:pt x="761" y="414"/>
                    </a:lnTo>
                    <a:lnTo>
                      <a:pt x="765" y="410"/>
                    </a:lnTo>
                    <a:lnTo>
                      <a:pt x="761" y="407"/>
                    </a:lnTo>
                    <a:lnTo>
                      <a:pt x="763" y="397"/>
                    </a:lnTo>
                    <a:lnTo>
                      <a:pt x="763" y="392"/>
                    </a:lnTo>
                    <a:lnTo>
                      <a:pt x="765" y="387"/>
                    </a:lnTo>
                    <a:lnTo>
                      <a:pt x="763" y="385"/>
                    </a:lnTo>
                    <a:lnTo>
                      <a:pt x="765" y="382"/>
                    </a:lnTo>
                    <a:lnTo>
                      <a:pt x="773" y="380"/>
                    </a:lnTo>
                    <a:lnTo>
                      <a:pt x="776" y="380"/>
                    </a:lnTo>
                    <a:lnTo>
                      <a:pt x="791" y="380"/>
                    </a:lnTo>
                    <a:lnTo>
                      <a:pt x="794" y="382"/>
                    </a:lnTo>
                    <a:lnTo>
                      <a:pt x="811" y="382"/>
                    </a:lnTo>
                    <a:lnTo>
                      <a:pt x="821" y="377"/>
                    </a:lnTo>
                    <a:lnTo>
                      <a:pt x="834" y="380"/>
                    </a:lnTo>
                    <a:lnTo>
                      <a:pt x="833" y="385"/>
                    </a:lnTo>
                    <a:lnTo>
                      <a:pt x="836" y="387"/>
                    </a:lnTo>
                    <a:lnTo>
                      <a:pt x="839" y="392"/>
                    </a:lnTo>
                    <a:lnTo>
                      <a:pt x="853" y="399"/>
                    </a:lnTo>
                    <a:lnTo>
                      <a:pt x="853" y="402"/>
                    </a:lnTo>
                    <a:lnTo>
                      <a:pt x="849" y="405"/>
                    </a:lnTo>
                    <a:lnTo>
                      <a:pt x="854" y="405"/>
                    </a:lnTo>
                    <a:lnTo>
                      <a:pt x="858" y="402"/>
                    </a:lnTo>
                    <a:lnTo>
                      <a:pt x="863" y="405"/>
                    </a:lnTo>
                    <a:lnTo>
                      <a:pt x="861" y="410"/>
                    </a:lnTo>
                    <a:lnTo>
                      <a:pt x="854" y="417"/>
                    </a:lnTo>
                    <a:lnTo>
                      <a:pt x="854" y="419"/>
                    </a:lnTo>
                    <a:lnTo>
                      <a:pt x="864" y="414"/>
                    </a:lnTo>
                    <a:lnTo>
                      <a:pt x="864" y="409"/>
                    </a:lnTo>
                    <a:lnTo>
                      <a:pt x="868" y="405"/>
                    </a:lnTo>
                    <a:lnTo>
                      <a:pt x="874" y="407"/>
                    </a:lnTo>
                    <a:lnTo>
                      <a:pt x="881" y="405"/>
                    </a:lnTo>
                    <a:lnTo>
                      <a:pt x="884" y="405"/>
                    </a:lnTo>
                    <a:lnTo>
                      <a:pt x="884" y="410"/>
                    </a:lnTo>
                    <a:lnTo>
                      <a:pt x="894" y="419"/>
                    </a:lnTo>
                    <a:lnTo>
                      <a:pt x="896" y="429"/>
                    </a:lnTo>
                    <a:lnTo>
                      <a:pt x="892" y="434"/>
                    </a:lnTo>
                    <a:lnTo>
                      <a:pt x="896" y="440"/>
                    </a:lnTo>
                    <a:lnTo>
                      <a:pt x="896" y="447"/>
                    </a:lnTo>
                    <a:lnTo>
                      <a:pt x="894" y="448"/>
                    </a:lnTo>
                    <a:lnTo>
                      <a:pt x="897" y="452"/>
                    </a:lnTo>
                    <a:lnTo>
                      <a:pt x="897" y="457"/>
                    </a:lnTo>
                    <a:lnTo>
                      <a:pt x="897" y="460"/>
                    </a:lnTo>
                    <a:lnTo>
                      <a:pt x="894" y="465"/>
                    </a:lnTo>
                    <a:lnTo>
                      <a:pt x="884" y="467"/>
                    </a:lnTo>
                    <a:lnTo>
                      <a:pt x="881" y="470"/>
                    </a:lnTo>
                    <a:lnTo>
                      <a:pt x="871" y="470"/>
                    </a:lnTo>
                    <a:lnTo>
                      <a:pt x="864" y="470"/>
                    </a:lnTo>
                    <a:lnTo>
                      <a:pt x="851" y="475"/>
                    </a:lnTo>
                    <a:lnTo>
                      <a:pt x="841" y="477"/>
                    </a:lnTo>
                    <a:lnTo>
                      <a:pt x="831" y="480"/>
                    </a:lnTo>
                    <a:lnTo>
                      <a:pt x="828" y="480"/>
                    </a:lnTo>
                    <a:lnTo>
                      <a:pt x="821" y="483"/>
                    </a:lnTo>
                    <a:lnTo>
                      <a:pt x="813" y="483"/>
                    </a:lnTo>
                    <a:lnTo>
                      <a:pt x="809" y="487"/>
                    </a:lnTo>
                    <a:lnTo>
                      <a:pt x="808" y="483"/>
                    </a:lnTo>
                    <a:lnTo>
                      <a:pt x="804" y="485"/>
                    </a:lnTo>
                    <a:lnTo>
                      <a:pt x="796" y="487"/>
                    </a:lnTo>
                    <a:lnTo>
                      <a:pt x="794" y="492"/>
                    </a:lnTo>
                    <a:lnTo>
                      <a:pt x="790" y="497"/>
                    </a:lnTo>
                    <a:lnTo>
                      <a:pt x="788" y="497"/>
                    </a:lnTo>
                    <a:lnTo>
                      <a:pt x="785" y="503"/>
                    </a:lnTo>
                    <a:lnTo>
                      <a:pt x="780" y="505"/>
                    </a:lnTo>
                    <a:lnTo>
                      <a:pt x="773" y="508"/>
                    </a:lnTo>
                    <a:lnTo>
                      <a:pt x="766" y="508"/>
                    </a:lnTo>
                    <a:lnTo>
                      <a:pt x="763" y="502"/>
                    </a:lnTo>
                    <a:lnTo>
                      <a:pt x="760" y="508"/>
                    </a:lnTo>
                    <a:lnTo>
                      <a:pt x="760" y="512"/>
                    </a:lnTo>
                    <a:lnTo>
                      <a:pt x="755" y="515"/>
                    </a:lnTo>
                    <a:lnTo>
                      <a:pt x="748" y="520"/>
                    </a:lnTo>
                    <a:lnTo>
                      <a:pt x="746" y="523"/>
                    </a:lnTo>
                    <a:lnTo>
                      <a:pt x="741" y="528"/>
                    </a:lnTo>
                    <a:lnTo>
                      <a:pt x="741" y="532"/>
                    </a:lnTo>
                    <a:lnTo>
                      <a:pt x="735" y="538"/>
                    </a:lnTo>
                    <a:lnTo>
                      <a:pt x="730" y="543"/>
                    </a:lnTo>
                    <a:lnTo>
                      <a:pt x="723" y="541"/>
                    </a:lnTo>
                    <a:lnTo>
                      <a:pt x="716" y="545"/>
                    </a:lnTo>
                    <a:lnTo>
                      <a:pt x="713" y="545"/>
                    </a:lnTo>
                    <a:lnTo>
                      <a:pt x="710" y="541"/>
                    </a:lnTo>
                    <a:lnTo>
                      <a:pt x="713" y="538"/>
                    </a:lnTo>
                    <a:lnTo>
                      <a:pt x="713" y="533"/>
                    </a:lnTo>
                    <a:lnTo>
                      <a:pt x="711" y="530"/>
                    </a:lnTo>
                    <a:lnTo>
                      <a:pt x="706" y="533"/>
                    </a:lnTo>
                    <a:lnTo>
                      <a:pt x="706" y="537"/>
                    </a:lnTo>
                    <a:lnTo>
                      <a:pt x="705" y="537"/>
                    </a:lnTo>
                    <a:lnTo>
                      <a:pt x="696" y="543"/>
                    </a:lnTo>
                    <a:lnTo>
                      <a:pt x="691" y="545"/>
                    </a:lnTo>
                    <a:lnTo>
                      <a:pt x="687" y="543"/>
                    </a:lnTo>
                    <a:lnTo>
                      <a:pt x="682" y="545"/>
                    </a:lnTo>
                    <a:lnTo>
                      <a:pt x="678" y="548"/>
                    </a:lnTo>
                    <a:lnTo>
                      <a:pt x="675" y="546"/>
                    </a:lnTo>
                    <a:lnTo>
                      <a:pt x="672" y="546"/>
                    </a:lnTo>
                    <a:lnTo>
                      <a:pt x="672" y="545"/>
                    </a:lnTo>
                    <a:lnTo>
                      <a:pt x="672" y="545"/>
                    </a:lnTo>
                    <a:close/>
                    <a:moveTo>
                      <a:pt x="1288" y="480"/>
                    </a:moveTo>
                    <a:lnTo>
                      <a:pt x="1289" y="480"/>
                    </a:lnTo>
                    <a:lnTo>
                      <a:pt x="1293" y="483"/>
                    </a:lnTo>
                    <a:lnTo>
                      <a:pt x="1291" y="488"/>
                    </a:lnTo>
                    <a:lnTo>
                      <a:pt x="1289" y="488"/>
                    </a:lnTo>
                    <a:lnTo>
                      <a:pt x="1288" y="487"/>
                    </a:lnTo>
                    <a:lnTo>
                      <a:pt x="1286" y="482"/>
                    </a:lnTo>
                    <a:lnTo>
                      <a:pt x="1288" y="480"/>
                    </a:lnTo>
                    <a:lnTo>
                      <a:pt x="1288" y="480"/>
                    </a:lnTo>
                    <a:close/>
                    <a:moveTo>
                      <a:pt x="1241" y="480"/>
                    </a:moveTo>
                    <a:lnTo>
                      <a:pt x="1243" y="475"/>
                    </a:lnTo>
                    <a:lnTo>
                      <a:pt x="1250" y="473"/>
                    </a:lnTo>
                    <a:lnTo>
                      <a:pt x="1253" y="475"/>
                    </a:lnTo>
                    <a:lnTo>
                      <a:pt x="1251" y="478"/>
                    </a:lnTo>
                    <a:lnTo>
                      <a:pt x="1248" y="478"/>
                    </a:lnTo>
                    <a:lnTo>
                      <a:pt x="1245" y="480"/>
                    </a:lnTo>
                    <a:lnTo>
                      <a:pt x="1241" y="480"/>
                    </a:lnTo>
                    <a:lnTo>
                      <a:pt x="1241" y="480"/>
                    </a:lnTo>
                    <a:close/>
                    <a:moveTo>
                      <a:pt x="1195" y="505"/>
                    </a:moveTo>
                    <a:lnTo>
                      <a:pt x="1196" y="507"/>
                    </a:lnTo>
                    <a:lnTo>
                      <a:pt x="1203" y="508"/>
                    </a:lnTo>
                    <a:lnTo>
                      <a:pt x="1208" y="513"/>
                    </a:lnTo>
                    <a:lnTo>
                      <a:pt x="1211" y="510"/>
                    </a:lnTo>
                    <a:lnTo>
                      <a:pt x="1215" y="512"/>
                    </a:lnTo>
                    <a:lnTo>
                      <a:pt x="1221" y="510"/>
                    </a:lnTo>
                    <a:lnTo>
                      <a:pt x="1225" y="510"/>
                    </a:lnTo>
                    <a:lnTo>
                      <a:pt x="1228" y="510"/>
                    </a:lnTo>
                    <a:lnTo>
                      <a:pt x="1231" y="507"/>
                    </a:lnTo>
                    <a:lnTo>
                      <a:pt x="1238" y="507"/>
                    </a:lnTo>
                    <a:lnTo>
                      <a:pt x="1236" y="503"/>
                    </a:lnTo>
                    <a:lnTo>
                      <a:pt x="1230" y="500"/>
                    </a:lnTo>
                    <a:lnTo>
                      <a:pt x="1226" y="502"/>
                    </a:lnTo>
                    <a:lnTo>
                      <a:pt x="1220" y="502"/>
                    </a:lnTo>
                    <a:lnTo>
                      <a:pt x="1218" y="502"/>
                    </a:lnTo>
                    <a:lnTo>
                      <a:pt x="1213" y="503"/>
                    </a:lnTo>
                    <a:lnTo>
                      <a:pt x="1206" y="502"/>
                    </a:lnTo>
                    <a:lnTo>
                      <a:pt x="1201" y="505"/>
                    </a:lnTo>
                    <a:lnTo>
                      <a:pt x="1196" y="503"/>
                    </a:lnTo>
                    <a:lnTo>
                      <a:pt x="1195" y="505"/>
                    </a:lnTo>
                    <a:lnTo>
                      <a:pt x="1195" y="505"/>
                    </a:lnTo>
                    <a:close/>
                    <a:moveTo>
                      <a:pt x="1168" y="658"/>
                    </a:moveTo>
                    <a:lnTo>
                      <a:pt x="1167" y="656"/>
                    </a:lnTo>
                    <a:lnTo>
                      <a:pt x="1167" y="653"/>
                    </a:lnTo>
                    <a:lnTo>
                      <a:pt x="1170" y="653"/>
                    </a:lnTo>
                    <a:lnTo>
                      <a:pt x="1170" y="656"/>
                    </a:lnTo>
                    <a:lnTo>
                      <a:pt x="1168" y="658"/>
                    </a:lnTo>
                    <a:lnTo>
                      <a:pt x="1168" y="658"/>
                    </a:lnTo>
                    <a:close/>
                    <a:moveTo>
                      <a:pt x="1138" y="653"/>
                    </a:moveTo>
                    <a:lnTo>
                      <a:pt x="1137" y="651"/>
                    </a:lnTo>
                    <a:lnTo>
                      <a:pt x="1135" y="646"/>
                    </a:lnTo>
                    <a:lnTo>
                      <a:pt x="1133" y="643"/>
                    </a:lnTo>
                    <a:lnTo>
                      <a:pt x="1130" y="646"/>
                    </a:lnTo>
                    <a:lnTo>
                      <a:pt x="1130" y="643"/>
                    </a:lnTo>
                    <a:lnTo>
                      <a:pt x="1130" y="639"/>
                    </a:lnTo>
                    <a:lnTo>
                      <a:pt x="1130" y="635"/>
                    </a:lnTo>
                    <a:lnTo>
                      <a:pt x="1127" y="631"/>
                    </a:lnTo>
                    <a:lnTo>
                      <a:pt x="1130" y="626"/>
                    </a:lnTo>
                    <a:lnTo>
                      <a:pt x="1128" y="621"/>
                    </a:lnTo>
                    <a:lnTo>
                      <a:pt x="1130" y="618"/>
                    </a:lnTo>
                    <a:lnTo>
                      <a:pt x="1127" y="616"/>
                    </a:lnTo>
                    <a:lnTo>
                      <a:pt x="1125" y="613"/>
                    </a:lnTo>
                    <a:lnTo>
                      <a:pt x="1125" y="610"/>
                    </a:lnTo>
                    <a:lnTo>
                      <a:pt x="1120" y="605"/>
                    </a:lnTo>
                    <a:lnTo>
                      <a:pt x="1120" y="598"/>
                    </a:lnTo>
                    <a:lnTo>
                      <a:pt x="1117" y="593"/>
                    </a:lnTo>
                    <a:lnTo>
                      <a:pt x="1115" y="593"/>
                    </a:lnTo>
                    <a:lnTo>
                      <a:pt x="1113" y="590"/>
                    </a:lnTo>
                    <a:lnTo>
                      <a:pt x="1113" y="585"/>
                    </a:lnTo>
                    <a:lnTo>
                      <a:pt x="1112" y="585"/>
                    </a:lnTo>
                    <a:lnTo>
                      <a:pt x="1108" y="586"/>
                    </a:lnTo>
                    <a:lnTo>
                      <a:pt x="1105" y="585"/>
                    </a:lnTo>
                    <a:lnTo>
                      <a:pt x="1102" y="585"/>
                    </a:lnTo>
                    <a:lnTo>
                      <a:pt x="1100" y="583"/>
                    </a:lnTo>
                    <a:lnTo>
                      <a:pt x="1100" y="578"/>
                    </a:lnTo>
                    <a:lnTo>
                      <a:pt x="1105" y="576"/>
                    </a:lnTo>
                    <a:lnTo>
                      <a:pt x="1105" y="570"/>
                    </a:lnTo>
                    <a:lnTo>
                      <a:pt x="1103" y="566"/>
                    </a:lnTo>
                    <a:lnTo>
                      <a:pt x="1105" y="565"/>
                    </a:lnTo>
                    <a:lnTo>
                      <a:pt x="1105" y="556"/>
                    </a:lnTo>
                    <a:lnTo>
                      <a:pt x="1102" y="553"/>
                    </a:lnTo>
                    <a:lnTo>
                      <a:pt x="1108" y="546"/>
                    </a:lnTo>
                    <a:lnTo>
                      <a:pt x="1113" y="545"/>
                    </a:lnTo>
                    <a:lnTo>
                      <a:pt x="1115" y="543"/>
                    </a:lnTo>
                    <a:lnTo>
                      <a:pt x="1117" y="541"/>
                    </a:lnTo>
                    <a:lnTo>
                      <a:pt x="1118" y="545"/>
                    </a:lnTo>
                    <a:lnTo>
                      <a:pt x="1127" y="541"/>
                    </a:lnTo>
                    <a:lnTo>
                      <a:pt x="1130" y="543"/>
                    </a:lnTo>
                    <a:lnTo>
                      <a:pt x="1132" y="546"/>
                    </a:lnTo>
                    <a:lnTo>
                      <a:pt x="1130" y="548"/>
                    </a:lnTo>
                    <a:lnTo>
                      <a:pt x="1128" y="548"/>
                    </a:lnTo>
                    <a:lnTo>
                      <a:pt x="1128" y="551"/>
                    </a:lnTo>
                    <a:lnTo>
                      <a:pt x="1132" y="551"/>
                    </a:lnTo>
                    <a:lnTo>
                      <a:pt x="1133" y="555"/>
                    </a:lnTo>
                    <a:lnTo>
                      <a:pt x="1132" y="558"/>
                    </a:lnTo>
                    <a:lnTo>
                      <a:pt x="1138" y="563"/>
                    </a:lnTo>
                    <a:lnTo>
                      <a:pt x="1138" y="568"/>
                    </a:lnTo>
                    <a:lnTo>
                      <a:pt x="1142" y="571"/>
                    </a:lnTo>
                    <a:lnTo>
                      <a:pt x="1147" y="571"/>
                    </a:lnTo>
                    <a:lnTo>
                      <a:pt x="1148" y="570"/>
                    </a:lnTo>
                    <a:lnTo>
                      <a:pt x="1147" y="566"/>
                    </a:lnTo>
                    <a:lnTo>
                      <a:pt x="1150" y="565"/>
                    </a:lnTo>
                    <a:lnTo>
                      <a:pt x="1153" y="560"/>
                    </a:lnTo>
                    <a:lnTo>
                      <a:pt x="1152" y="556"/>
                    </a:lnTo>
                    <a:lnTo>
                      <a:pt x="1155" y="555"/>
                    </a:lnTo>
                    <a:lnTo>
                      <a:pt x="1157" y="551"/>
                    </a:lnTo>
                    <a:lnTo>
                      <a:pt x="1155" y="548"/>
                    </a:lnTo>
                    <a:lnTo>
                      <a:pt x="1157" y="545"/>
                    </a:lnTo>
                    <a:lnTo>
                      <a:pt x="1160" y="545"/>
                    </a:lnTo>
                    <a:lnTo>
                      <a:pt x="1163" y="545"/>
                    </a:lnTo>
                    <a:lnTo>
                      <a:pt x="1165" y="550"/>
                    </a:lnTo>
                    <a:lnTo>
                      <a:pt x="1168" y="550"/>
                    </a:lnTo>
                    <a:lnTo>
                      <a:pt x="1168" y="548"/>
                    </a:lnTo>
                    <a:lnTo>
                      <a:pt x="1165" y="541"/>
                    </a:lnTo>
                    <a:lnTo>
                      <a:pt x="1163" y="538"/>
                    </a:lnTo>
                    <a:lnTo>
                      <a:pt x="1163" y="538"/>
                    </a:lnTo>
                    <a:lnTo>
                      <a:pt x="1160" y="541"/>
                    </a:lnTo>
                    <a:lnTo>
                      <a:pt x="1155" y="543"/>
                    </a:lnTo>
                    <a:lnTo>
                      <a:pt x="1150" y="537"/>
                    </a:lnTo>
                    <a:lnTo>
                      <a:pt x="1150" y="535"/>
                    </a:lnTo>
                    <a:lnTo>
                      <a:pt x="1147" y="530"/>
                    </a:lnTo>
                    <a:lnTo>
                      <a:pt x="1147" y="525"/>
                    </a:lnTo>
                    <a:lnTo>
                      <a:pt x="1150" y="522"/>
                    </a:lnTo>
                    <a:lnTo>
                      <a:pt x="1153" y="523"/>
                    </a:lnTo>
                    <a:lnTo>
                      <a:pt x="1155" y="520"/>
                    </a:lnTo>
                    <a:lnTo>
                      <a:pt x="1158" y="522"/>
                    </a:lnTo>
                    <a:lnTo>
                      <a:pt x="1160" y="525"/>
                    </a:lnTo>
                    <a:lnTo>
                      <a:pt x="1162" y="533"/>
                    </a:lnTo>
                    <a:lnTo>
                      <a:pt x="1163" y="533"/>
                    </a:lnTo>
                    <a:lnTo>
                      <a:pt x="1165" y="528"/>
                    </a:lnTo>
                    <a:lnTo>
                      <a:pt x="1167" y="527"/>
                    </a:lnTo>
                    <a:lnTo>
                      <a:pt x="1165" y="522"/>
                    </a:lnTo>
                    <a:lnTo>
                      <a:pt x="1162" y="520"/>
                    </a:lnTo>
                    <a:lnTo>
                      <a:pt x="1162" y="517"/>
                    </a:lnTo>
                    <a:lnTo>
                      <a:pt x="1160" y="512"/>
                    </a:lnTo>
                    <a:lnTo>
                      <a:pt x="1163" y="512"/>
                    </a:lnTo>
                    <a:lnTo>
                      <a:pt x="1165" y="507"/>
                    </a:lnTo>
                    <a:lnTo>
                      <a:pt x="1168" y="505"/>
                    </a:lnTo>
                    <a:lnTo>
                      <a:pt x="1172" y="507"/>
                    </a:lnTo>
                    <a:lnTo>
                      <a:pt x="1173" y="505"/>
                    </a:lnTo>
                    <a:lnTo>
                      <a:pt x="1177" y="510"/>
                    </a:lnTo>
                    <a:lnTo>
                      <a:pt x="1182" y="512"/>
                    </a:lnTo>
                    <a:lnTo>
                      <a:pt x="1185" y="508"/>
                    </a:lnTo>
                    <a:lnTo>
                      <a:pt x="1180" y="508"/>
                    </a:lnTo>
                    <a:lnTo>
                      <a:pt x="1178" y="505"/>
                    </a:lnTo>
                    <a:lnTo>
                      <a:pt x="1180" y="503"/>
                    </a:lnTo>
                    <a:lnTo>
                      <a:pt x="1183" y="502"/>
                    </a:lnTo>
                    <a:lnTo>
                      <a:pt x="1190" y="503"/>
                    </a:lnTo>
                    <a:lnTo>
                      <a:pt x="1191" y="505"/>
                    </a:lnTo>
                    <a:lnTo>
                      <a:pt x="1190" y="507"/>
                    </a:lnTo>
                    <a:lnTo>
                      <a:pt x="1190" y="510"/>
                    </a:lnTo>
                    <a:lnTo>
                      <a:pt x="1193" y="512"/>
                    </a:lnTo>
                    <a:lnTo>
                      <a:pt x="1196" y="515"/>
                    </a:lnTo>
                    <a:lnTo>
                      <a:pt x="1200" y="515"/>
                    </a:lnTo>
                    <a:lnTo>
                      <a:pt x="1205" y="517"/>
                    </a:lnTo>
                    <a:lnTo>
                      <a:pt x="1211" y="517"/>
                    </a:lnTo>
                    <a:lnTo>
                      <a:pt x="1213" y="515"/>
                    </a:lnTo>
                    <a:lnTo>
                      <a:pt x="1216" y="515"/>
                    </a:lnTo>
                    <a:lnTo>
                      <a:pt x="1228" y="515"/>
                    </a:lnTo>
                    <a:lnTo>
                      <a:pt x="1231" y="518"/>
                    </a:lnTo>
                    <a:lnTo>
                      <a:pt x="1235" y="518"/>
                    </a:lnTo>
                    <a:lnTo>
                      <a:pt x="1236" y="522"/>
                    </a:lnTo>
                    <a:lnTo>
                      <a:pt x="1235" y="523"/>
                    </a:lnTo>
                    <a:lnTo>
                      <a:pt x="1236" y="527"/>
                    </a:lnTo>
                    <a:lnTo>
                      <a:pt x="1235" y="530"/>
                    </a:lnTo>
                    <a:lnTo>
                      <a:pt x="1228" y="533"/>
                    </a:lnTo>
                    <a:lnTo>
                      <a:pt x="1225" y="532"/>
                    </a:lnTo>
                    <a:lnTo>
                      <a:pt x="1223" y="530"/>
                    </a:lnTo>
                    <a:lnTo>
                      <a:pt x="1221" y="532"/>
                    </a:lnTo>
                    <a:lnTo>
                      <a:pt x="1218" y="533"/>
                    </a:lnTo>
                    <a:lnTo>
                      <a:pt x="1220" y="535"/>
                    </a:lnTo>
                    <a:lnTo>
                      <a:pt x="1225" y="538"/>
                    </a:lnTo>
                    <a:lnTo>
                      <a:pt x="1223" y="541"/>
                    </a:lnTo>
                    <a:lnTo>
                      <a:pt x="1221" y="546"/>
                    </a:lnTo>
                    <a:lnTo>
                      <a:pt x="1220" y="548"/>
                    </a:lnTo>
                    <a:lnTo>
                      <a:pt x="1218" y="546"/>
                    </a:lnTo>
                    <a:lnTo>
                      <a:pt x="1215" y="546"/>
                    </a:lnTo>
                    <a:lnTo>
                      <a:pt x="1210" y="548"/>
                    </a:lnTo>
                    <a:lnTo>
                      <a:pt x="1206" y="550"/>
                    </a:lnTo>
                    <a:lnTo>
                      <a:pt x="1198" y="551"/>
                    </a:lnTo>
                    <a:lnTo>
                      <a:pt x="1193" y="556"/>
                    </a:lnTo>
                    <a:lnTo>
                      <a:pt x="1190" y="556"/>
                    </a:lnTo>
                    <a:lnTo>
                      <a:pt x="1187" y="561"/>
                    </a:lnTo>
                    <a:lnTo>
                      <a:pt x="1187" y="565"/>
                    </a:lnTo>
                    <a:lnTo>
                      <a:pt x="1190" y="563"/>
                    </a:lnTo>
                    <a:lnTo>
                      <a:pt x="1190" y="561"/>
                    </a:lnTo>
                    <a:lnTo>
                      <a:pt x="1198" y="560"/>
                    </a:lnTo>
                    <a:lnTo>
                      <a:pt x="1200" y="560"/>
                    </a:lnTo>
                    <a:lnTo>
                      <a:pt x="1208" y="563"/>
                    </a:lnTo>
                    <a:lnTo>
                      <a:pt x="1208" y="568"/>
                    </a:lnTo>
                    <a:lnTo>
                      <a:pt x="1206" y="570"/>
                    </a:lnTo>
                    <a:lnTo>
                      <a:pt x="1203" y="570"/>
                    </a:lnTo>
                    <a:lnTo>
                      <a:pt x="1206" y="571"/>
                    </a:lnTo>
                    <a:lnTo>
                      <a:pt x="1208" y="575"/>
                    </a:lnTo>
                    <a:lnTo>
                      <a:pt x="1208" y="578"/>
                    </a:lnTo>
                    <a:lnTo>
                      <a:pt x="1203" y="581"/>
                    </a:lnTo>
                    <a:lnTo>
                      <a:pt x="1203" y="585"/>
                    </a:lnTo>
                    <a:lnTo>
                      <a:pt x="1205" y="586"/>
                    </a:lnTo>
                    <a:lnTo>
                      <a:pt x="1208" y="583"/>
                    </a:lnTo>
                    <a:lnTo>
                      <a:pt x="1213" y="580"/>
                    </a:lnTo>
                    <a:lnTo>
                      <a:pt x="1215" y="578"/>
                    </a:lnTo>
                    <a:lnTo>
                      <a:pt x="1218" y="578"/>
                    </a:lnTo>
                    <a:lnTo>
                      <a:pt x="1215" y="581"/>
                    </a:lnTo>
                    <a:lnTo>
                      <a:pt x="1216" y="588"/>
                    </a:lnTo>
                    <a:lnTo>
                      <a:pt x="1213" y="595"/>
                    </a:lnTo>
                    <a:lnTo>
                      <a:pt x="1213" y="598"/>
                    </a:lnTo>
                    <a:lnTo>
                      <a:pt x="1205" y="603"/>
                    </a:lnTo>
                    <a:lnTo>
                      <a:pt x="1201" y="603"/>
                    </a:lnTo>
                    <a:lnTo>
                      <a:pt x="1200" y="605"/>
                    </a:lnTo>
                    <a:lnTo>
                      <a:pt x="1201" y="608"/>
                    </a:lnTo>
                    <a:lnTo>
                      <a:pt x="1200" y="613"/>
                    </a:lnTo>
                    <a:lnTo>
                      <a:pt x="1196" y="615"/>
                    </a:lnTo>
                    <a:lnTo>
                      <a:pt x="1195" y="611"/>
                    </a:lnTo>
                    <a:lnTo>
                      <a:pt x="1191" y="613"/>
                    </a:lnTo>
                    <a:lnTo>
                      <a:pt x="1191" y="615"/>
                    </a:lnTo>
                    <a:lnTo>
                      <a:pt x="1198" y="618"/>
                    </a:lnTo>
                    <a:lnTo>
                      <a:pt x="1196" y="621"/>
                    </a:lnTo>
                    <a:lnTo>
                      <a:pt x="1193" y="621"/>
                    </a:lnTo>
                    <a:lnTo>
                      <a:pt x="1195" y="625"/>
                    </a:lnTo>
                    <a:lnTo>
                      <a:pt x="1190" y="630"/>
                    </a:lnTo>
                    <a:lnTo>
                      <a:pt x="1188" y="628"/>
                    </a:lnTo>
                    <a:lnTo>
                      <a:pt x="1185" y="630"/>
                    </a:lnTo>
                    <a:lnTo>
                      <a:pt x="1180" y="630"/>
                    </a:lnTo>
                    <a:lnTo>
                      <a:pt x="1175" y="631"/>
                    </a:lnTo>
                    <a:lnTo>
                      <a:pt x="1175" y="635"/>
                    </a:lnTo>
                    <a:lnTo>
                      <a:pt x="1168" y="636"/>
                    </a:lnTo>
                    <a:lnTo>
                      <a:pt x="1162" y="633"/>
                    </a:lnTo>
                    <a:lnTo>
                      <a:pt x="1158" y="636"/>
                    </a:lnTo>
                    <a:lnTo>
                      <a:pt x="1155" y="635"/>
                    </a:lnTo>
                    <a:lnTo>
                      <a:pt x="1153" y="626"/>
                    </a:lnTo>
                    <a:lnTo>
                      <a:pt x="1157" y="621"/>
                    </a:lnTo>
                    <a:lnTo>
                      <a:pt x="1157" y="618"/>
                    </a:lnTo>
                    <a:lnTo>
                      <a:pt x="1148" y="625"/>
                    </a:lnTo>
                    <a:lnTo>
                      <a:pt x="1148" y="630"/>
                    </a:lnTo>
                    <a:lnTo>
                      <a:pt x="1152" y="636"/>
                    </a:lnTo>
                    <a:lnTo>
                      <a:pt x="1155" y="639"/>
                    </a:lnTo>
                    <a:lnTo>
                      <a:pt x="1153" y="643"/>
                    </a:lnTo>
                    <a:lnTo>
                      <a:pt x="1148" y="646"/>
                    </a:lnTo>
                    <a:lnTo>
                      <a:pt x="1145" y="651"/>
                    </a:lnTo>
                    <a:lnTo>
                      <a:pt x="1145" y="651"/>
                    </a:lnTo>
                    <a:lnTo>
                      <a:pt x="1138" y="653"/>
                    </a:lnTo>
                    <a:lnTo>
                      <a:pt x="1138" y="653"/>
                    </a:lnTo>
                    <a:close/>
                    <a:moveTo>
                      <a:pt x="1220" y="551"/>
                    </a:moveTo>
                    <a:lnTo>
                      <a:pt x="1220" y="553"/>
                    </a:lnTo>
                    <a:lnTo>
                      <a:pt x="1221" y="553"/>
                    </a:lnTo>
                    <a:lnTo>
                      <a:pt x="1223" y="551"/>
                    </a:lnTo>
                    <a:lnTo>
                      <a:pt x="1220" y="551"/>
                    </a:lnTo>
                    <a:lnTo>
                      <a:pt x="1220" y="551"/>
                    </a:lnTo>
                    <a:close/>
                    <a:moveTo>
                      <a:pt x="1216" y="568"/>
                    </a:moveTo>
                    <a:lnTo>
                      <a:pt x="1218" y="568"/>
                    </a:lnTo>
                    <a:lnTo>
                      <a:pt x="1223" y="563"/>
                    </a:lnTo>
                    <a:lnTo>
                      <a:pt x="1223" y="560"/>
                    </a:lnTo>
                    <a:lnTo>
                      <a:pt x="1221" y="558"/>
                    </a:lnTo>
                    <a:lnTo>
                      <a:pt x="1221" y="555"/>
                    </a:lnTo>
                    <a:lnTo>
                      <a:pt x="1218" y="556"/>
                    </a:lnTo>
                    <a:lnTo>
                      <a:pt x="1216" y="560"/>
                    </a:lnTo>
                    <a:lnTo>
                      <a:pt x="1213" y="561"/>
                    </a:lnTo>
                    <a:lnTo>
                      <a:pt x="1215" y="566"/>
                    </a:lnTo>
                    <a:lnTo>
                      <a:pt x="1216" y="568"/>
                    </a:lnTo>
                    <a:lnTo>
                      <a:pt x="1216" y="568"/>
                    </a:lnTo>
                    <a:close/>
                    <a:moveTo>
                      <a:pt x="1213" y="578"/>
                    </a:moveTo>
                    <a:lnTo>
                      <a:pt x="1216" y="576"/>
                    </a:lnTo>
                    <a:lnTo>
                      <a:pt x="1218" y="571"/>
                    </a:lnTo>
                    <a:lnTo>
                      <a:pt x="1215" y="571"/>
                    </a:lnTo>
                    <a:lnTo>
                      <a:pt x="1211" y="575"/>
                    </a:lnTo>
                    <a:lnTo>
                      <a:pt x="1211" y="576"/>
                    </a:lnTo>
                    <a:lnTo>
                      <a:pt x="1213" y="578"/>
                    </a:lnTo>
                    <a:lnTo>
                      <a:pt x="1213" y="578"/>
                    </a:lnTo>
                    <a:close/>
                    <a:moveTo>
                      <a:pt x="1029" y="485"/>
                    </a:moveTo>
                    <a:lnTo>
                      <a:pt x="1029" y="487"/>
                    </a:lnTo>
                    <a:lnTo>
                      <a:pt x="1030" y="488"/>
                    </a:lnTo>
                    <a:lnTo>
                      <a:pt x="1034" y="487"/>
                    </a:lnTo>
                    <a:lnTo>
                      <a:pt x="1037" y="488"/>
                    </a:lnTo>
                    <a:lnTo>
                      <a:pt x="1039" y="487"/>
                    </a:lnTo>
                    <a:lnTo>
                      <a:pt x="1037" y="485"/>
                    </a:lnTo>
                    <a:lnTo>
                      <a:pt x="1030" y="483"/>
                    </a:lnTo>
                    <a:lnTo>
                      <a:pt x="1029" y="485"/>
                    </a:lnTo>
                    <a:lnTo>
                      <a:pt x="1029" y="485"/>
                    </a:lnTo>
                    <a:close/>
                    <a:moveTo>
                      <a:pt x="1060" y="540"/>
                    </a:moveTo>
                    <a:lnTo>
                      <a:pt x="1057" y="535"/>
                    </a:lnTo>
                    <a:lnTo>
                      <a:pt x="1055" y="527"/>
                    </a:lnTo>
                    <a:lnTo>
                      <a:pt x="1054" y="522"/>
                    </a:lnTo>
                    <a:lnTo>
                      <a:pt x="1054" y="518"/>
                    </a:lnTo>
                    <a:lnTo>
                      <a:pt x="1054" y="517"/>
                    </a:lnTo>
                    <a:lnTo>
                      <a:pt x="1052" y="512"/>
                    </a:lnTo>
                    <a:lnTo>
                      <a:pt x="1052" y="505"/>
                    </a:lnTo>
                    <a:lnTo>
                      <a:pt x="1049" y="500"/>
                    </a:lnTo>
                    <a:lnTo>
                      <a:pt x="1044" y="497"/>
                    </a:lnTo>
                    <a:lnTo>
                      <a:pt x="1045" y="495"/>
                    </a:lnTo>
                    <a:lnTo>
                      <a:pt x="1052" y="490"/>
                    </a:lnTo>
                    <a:lnTo>
                      <a:pt x="1055" y="488"/>
                    </a:lnTo>
                    <a:lnTo>
                      <a:pt x="1060" y="485"/>
                    </a:lnTo>
                    <a:lnTo>
                      <a:pt x="1067" y="483"/>
                    </a:lnTo>
                    <a:lnTo>
                      <a:pt x="1070" y="487"/>
                    </a:lnTo>
                    <a:lnTo>
                      <a:pt x="1074" y="487"/>
                    </a:lnTo>
                    <a:lnTo>
                      <a:pt x="1079" y="490"/>
                    </a:lnTo>
                    <a:lnTo>
                      <a:pt x="1080" y="488"/>
                    </a:lnTo>
                    <a:lnTo>
                      <a:pt x="1085" y="490"/>
                    </a:lnTo>
                    <a:lnTo>
                      <a:pt x="1088" y="490"/>
                    </a:lnTo>
                    <a:lnTo>
                      <a:pt x="1092" y="490"/>
                    </a:lnTo>
                    <a:lnTo>
                      <a:pt x="1097" y="495"/>
                    </a:lnTo>
                    <a:lnTo>
                      <a:pt x="1095" y="498"/>
                    </a:lnTo>
                    <a:lnTo>
                      <a:pt x="1095" y="500"/>
                    </a:lnTo>
                    <a:lnTo>
                      <a:pt x="1097" y="505"/>
                    </a:lnTo>
                    <a:lnTo>
                      <a:pt x="1097" y="507"/>
                    </a:lnTo>
                    <a:lnTo>
                      <a:pt x="1095" y="508"/>
                    </a:lnTo>
                    <a:lnTo>
                      <a:pt x="1095" y="512"/>
                    </a:lnTo>
                    <a:lnTo>
                      <a:pt x="1090" y="517"/>
                    </a:lnTo>
                    <a:lnTo>
                      <a:pt x="1087" y="517"/>
                    </a:lnTo>
                    <a:lnTo>
                      <a:pt x="1080" y="523"/>
                    </a:lnTo>
                    <a:lnTo>
                      <a:pt x="1074" y="527"/>
                    </a:lnTo>
                    <a:lnTo>
                      <a:pt x="1069" y="533"/>
                    </a:lnTo>
                    <a:lnTo>
                      <a:pt x="1064" y="533"/>
                    </a:lnTo>
                    <a:lnTo>
                      <a:pt x="1062" y="535"/>
                    </a:lnTo>
                    <a:lnTo>
                      <a:pt x="1062" y="538"/>
                    </a:lnTo>
                    <a:lnTo>
                      <a:pt x="1060" y="540"/>
                    </a:lnTo>
                    <a:lnTo>
                      <a:pt x="1060" y="540"/>
                    </a:lnTo>
                    <a:close/>
                    <a:moveTo>
                      <a:pt x="1233" y="630"/>
                    </a:moveTo>
                    <a:lnTo>
                      <a:pt x="1226" y="623"/>
                    </a:lnTo>
                    <a:lnTo>
                      <a:pt x="1223" y="625"/>
                    </a:lnTo>
                    <a:lnTo>
                      <a:pt x="1215" y="623"/>
                    </a:lnTo>
                    <a:lnTo>
                      <a:pt x="1218" y="620"/>
                    </a:lnTo>
                    <a:lnTo>
                      <a:pt x="1221" y="618"/>
                    </a:lnTo>
                    <a:lnTo>
                      <a:pt x="1225" y="618"/>
                    </a:lnTo>
                    <a:lnTo>
                      <a:pt x="1226" y="616"/>
                    </a:lnTo>
                    <a:lnTo>
                      <a:pt x="1225" y="615"/>
                    </a:lnTo>
                    <a:lnTo>
                      <a:pt x="1221" y="615"/>
                    </a:lnTo>
                    <a:lnTo>
                      <a:pt x="1220" y="613"/>
                    </a:lnTo>
                    <a:lnTo>
                      <a:pt x="1226" y="606"/>
                    </a:lnTo>
                    <a:lnTo>
                      <a:pt x="1228" y="600"/>
                    </a:lnTo>
                    <a:lnTo>
                      <a:pt x="1228" y="595"/>
                    </a:lnTo>
                    <a:lnTo>
                      <a:pt x="1231" y="595"/>
                    </a:lnTo>
                    <a:lnTo>
                      <a:pt x="1231" y="591"/>
                    </a:lnTo>
                    <a:lnTo>
                      <a:pt x="1226" y="588"/>
                    </a:lnTo>
                    <a:lnTo>
                      <a:pt x="1230" y="586"/>
                    </a:lnTo>
                    <a:lnTo>
                      <a:pt x="1230" y="581"/>
                    </a:lnTo>
                    <a:lnTo>
                      <a:pt x="1233" y="571"/>
                    </a:lnTo>
                    <a:lnTo>
                      <a:pt x="1236" y="570"/>
                    </a:lnTo>
                    <a:lnTo>
                      <a:pt x="1236" y="566"/>
                    </a:lnTo>
                    <a:lnTo>
                      <a:pt x="1241" y="563"/>
                    </a:lnTo>
                    <a:lnTo>
                      <a:pt x="1243" y="558"/>
                    </a:lnTo>
                    <a:lnTo>
                      <a:pt x="1245" y="556"/>
                    </a:lnTo>
                    <a:lnTo>
                      <a:pt x="1246" y="551"/>
                    </a:lnTo>
                    <a:lnTo>
                      <a:pt x="1251" y="545"/>
                    </a:lnTo>
                    <a:lnTo>
                      <a:pt x="1253" y="540"/>
                    </a:lnTo>
                    <a:lnTo>
                      <a:pt x="1258" y="538"/>
                    </a:lnTo>
                    <a:lnTo>
                      <a:pt x="1258" y="535"/>
                    </a:lnTo>
                    <a:lnTo>
                      <a:pt x="1256" y="533"/>
                    </a:lnTo>
                    <a:lnTo>
                      <a:pt x="1260" y="528"/>
                    </a:lnTo>
                    <a:lnTo>
                      <a:pt x="1263" y="530"/>
                    </a:lnTo>
                    <a:lnTo>
                      <a:pt x="1266" y="535"/>
                    </a:lnTo>
                    <a:lnTo>
                      <a:pt x="1268" y="538"/>
                    </a:lnTo>
                    <a:lnTo>
                      <a:pt x="1273" y="540"/>
                    </a:lnTo>
                    <a:lnTo>
                      <a:pt x="1273" y="535"/>
                    </a:lnTo>
                    <a:lnTo>
                      <a:pt x="1268" y="530"/>
                    </a:lnTo>
                    <a:lnTo>
                      <a:pt x="1270" y="528"/>
                    </a:lnTo>
                    <a:lnTo>
                      <a:pt x="1273" y="528"/>
                    </a:lnTo>
                    <a:lnTo>
                      <a:pt x="1270" y="523"/>
                    </a:lnTo>
                    <a:lnTo>
                      <a:pt x="1273" y="518"/>
                    </a:lnTo>
                    <a:lnTo>
                      <a:pt x="1283" y="515"/>
                    </a:lnTo>
                    <a:lnTo>
                      <a:pt x="1291" y="515"/>
                    </a:lnTo>
                    <a:lnTo>
                      <a:pt x="1294" y="515"/>
                    </a:lnTo>
                    <a:lnTo>
                      <a:pt x="1298" y="515"/>
                    </a:lnTo>
                    <a:lnTo>
                      <a:pt x="1301" y="515"/>
                    </a:lnTo>
                    <a:lnTo>
                      <a:pt x="1303" y="518"/>
                    </a:lnTo>
                    <a:lnTo>
                      <a:pt x="1306" y="517"/>
                    </a:lnTo>
                    <a:lnTo>
                      <a:pt x="1313" y="517"/>
                    </a:lnTo>
                    <a:lnTo>
                      <a:pt x="1316" y="522"/>
                    </a:lnTo>
                    <a:lnTo>
                      <a:pt x="1319" y="522"/>
                    </a:lnTo>
                    <a:lnTo>
                      <a:pt x="1321" y="523"/>
                    </a:lnTo>
                    <a:lnTo>
                      <a:pt x="1323" y="523"/>
                    </a:lnTo>
                    <a:lnTo>
                      <a:pt x="1326" y="527"/>
                    </a:lnTo>
                    <a:lnTo>
                      <a:pt x="1326" y="532"/>
                    </a:lnTo>
                    <a:lnTo>
                      <a:pt x="1328" y="532"/>
                    </a:lnTo>
                    <a:lnTo>
                      <a:pt x="1331" y="532"/>
                    </a:lnTo>
                    <a:lnTo>
                      <a:pt x="1338" y="532"/>
                    </a:lnTo>
                    <a:lnTo>
                      <a:pt x="1348" y="533"/>
                    </a:lnTo>
                    <a:lnTo>
                      <a:pt x="1354" y="537"/>
                    </a:lnTo>
                    <a:lnTo>
                      <a:pt x="1354" y="540"/>
                    </a:lnTo>
                    <a:lnTo>
                      <a:pt x="1358" y="541"/>
                    </a:lnTo>
                    <a:lnTo>
                      <a:pt x="1359" y="545"/>
                    </a:lnTo>
                    <a:lnTo>
                      <a:pt x="1358" y="545"/>
                    </a:lnTo>
                    <a:lnTo>
                      <a:pt x="1356" y="545"/>
                    </a:lnTo>
                    <a:lnTo>
                      <a:pt x="1353" y="550"/>
                    </a:lnTo>
                    <a:lnTo>
                      <a:pt x="1346" y="555"/>
                    </a:lnTo>
                    <a:lnTo>
                      <a:pt x="1343" y="560"/>
                    </a:lnTo>
                    <a:lnTo>
                      <a:pt x="1338" y="561"/>
                    </a:lnTo>
                    <a:lnTo>
                      <a:pt x="1338" y="563"/>
                    </a:lnTo>
                    <a:lnTo>
                      <a:pt x="1328" y="570"/>
                    </a:lnTo>
                    <a:lnTo>
                      <a:pt x="1323" y="576"/>
                    </a:lnTo>
                    <a:lnTo>
                      <a:pt x="1318" y="576"/>
                    </a:lnTo>
                    <a:lnTo>
                      <a:pt x="1318" y="578"/>
                    </a:lnTo>
                    <a:lnTo>
                      <a:pt x="1319" y="580"/>
                    </a:lnTo>
                    <a:lnTo>
                      <a:pt x="1316" y="583"/>
                    </a:lnTo>
                    <a:lnTo>
                      <a:pt x="1309" y="588"/>
                    </a:lnTo>
                    <a:lnTo>
                      <a:pt x="1303" y="593"/>
                    </a:lnTo>
                    <a:lnTo>
                      <a:pt x="1294" y="598"/>
                    </a:lnTo>
                    <a:lnTo>
                      <a:pt x="1289" y="601"/>
                    </a:lnTo>
                    <a:lnTo>
                      <a:pt x="1286" y="600"/>
                    </a:lnTo>
                    <a:lnTo>
                      <a:pt x="1285" y="598"/>
                    </a:lnTo>
                    <a:lnTo>
                      <a:pt x="1281" y="598"/>
                    </a:lnTo>
                    <a:lnTo>
                      <a:pt x="1276" y="593"/>
                    </a:lnTo>
                    <a:lnTo>
                      <a:pt x="1275" y="590"/>
                    </a:lnTo>
                    <a:lnTo>
                      <a:pt x="1271" y="588"/>
                    </a:lnTo>
                    <a:lnTo>
                      <a:pt x="1268" y="590"/>
                    </a:lnTo>
                    <a:lnTo>
                      <a:pt x="1263" y="588"/>
                    </a:lnTo>
                    <a:lnTo>
                      <a:pt x="1260" y="588"/>
                    </a:lnTo>
                    <a:lnTo>
                      <a:pt x="1256" y="586"/>
                    </a:lnTo>
                    <a:lnTo>
                      <a:pt x="1253" y="586"/>
                    </a:lnTo>
                    <a:lnTo>
                      <a:pt x="1251" y="590"/>
                    </a:lnTo>
                    <a:lnTo>
                      <a:pt x="1253" y="591"/>
                    </a:lnTo>
                    <a:lnTo>
                      <a:pt x="1263" y="591"/>
                    </a:lnTo>
                    <a:lnTo>
                      <a:pt x="1261" y="595"/>
                    </a:lnTo>
                    <a:lnTo>
                      <a:pt x="1258" y="598"/>
                    </a:lnTo>
                    <a:lnTo>
                      <a:pt x="1260" y="601"/>
                    </a:lnTo>
                    <a:lnTo>
                      <a:pt x="1261" y="605"/>
                    </a:lnTo>
                    <a:lnTo>
                      <a:pt x="1258" y="610"/>
                    </a:lnTo>
                    <a:lnTo>
                      <a:pt x="1255" y="611"/>
                    </a:lnTo>
                    <a:lnTo>
                      <a:pt x="1253" y="615"/>
                    </a:lnTo>
                    <a:lnTo>
                      <a:pt x="1248" y="615"/>
                    </a:lnTo>
                    <a:lnTo>
                      <a:pt x="1245" y="616"/>
                    </a:lnTo>
                    <a:lnTo>
                      <a:pt x="1243" y="620"/>
                    </a:lnTo>
                    <a:lnTo>
                      <a:pt x="1238" y="623"/>
                    </a:lnTo>
                    <a:lnTo>
                      <a:pt x="1235" y="623"/>
                    </a:lnTo>
                    <a:lnTo>
                      <a:pt x="1235" y="628"/>
                    </a:lnTo>
                    <a:lnTo>
                      <a:pt x="1235" y="628"/>
                    </a:lnTo>
                    <a:lnTo>
                      <a:pt x="1233" y="630"/>
                    </a:lnTo>
                    <a:lnTo>
                      <a:pt x="1233" y="630"/>
                    </a:lnTo>
                    <a:close/>
                    <a:moveTo>
                      <a:pt x="1532" y="648"/>
                    </a:moveTo>
                    <a:lnTo>
                      <a:pt x="1525" y="644"/>
                    </a:lnTo>
                    <a:lnTo>
                      <a:pt x="1520" y="643"/>
                    </a:lnTo>
                    <a:lnTo>
                      <a:pt x="1519" y="638"/>
                    </a:lnTo>
                    <a:lnTo>
                      <a:pt x="1515" y="636"/>
                    </a:lnTo>
                    <a:lnTo>
                      <a:pt x="1514" y="633"/>
                    </a:lnTo>
                    <a:lnTo>
                      <a:pt x="1514" y="626"/>
                    </a:lnTo>
                    <a:lnTo>
                      <a:pt x="1519" y="625"/>
                    </a:lnTo>
                    <a:lnTo>
                      <a:pt x="1519" y="621"/>
                    </a:lnTo>
                    <a:lnTo>
                      <a:pt x="1522" y="618"/>
                    </a:lnTo>
                    <a:lnTo>
                      <a:pt x="1520" y="615"/>
                    </a:lnTo>
                    <a:lnTo>
                      <a:pt x="1517" y="613"/>
                    </a:lnTo>
                    <a:lnTo>
                      <a:pt x="1512" y="610"/>
                    </a:lnTo>
                    <a:lnTo>
                      <a:pt x="1517" y="601"/>
                    </a:lnTo>
                    <a:lnTo>
                      <a:pt x="1520" y="601"/>
                    </a:lnTo>
                    <a:lnTo>
                      <a:pt x="1520" y="600"/>
                    </a:lnTo>
                    <a:lnTo>
                      <a:pt x="1520" y="595"/>
                    </a:lnTo>
                    <a:lnTo>
                      <a:pt x="1524" y="591"/>
                    </a:lnTo>
                    <a:lnTo>
                      <a:pt x="1524" y="586"/>
                    </a:lnTo>
                    <a:lnTo>
                      <a:pt x="1529" y="585"/>
                    </a:lnTo>
                    <a:lnTo>
                      <a:pt x="1532" y="586"/>
                    </a:lnTo>
                    <a:lnTo>
                      <a:pt x="1534" y="591"/>
                    </a:lnTo>
                    <a:lnTo>
                      <a:pt x="1542" y="593"/>
                    </a:lnTo>
                    <a:lnTo>
                      <a:pt x="1545" y="596"/>
                    </a:lnTo>
                    <a:lnTo>
                      <a:pt x="1550" y="598"/>
                    </a:lnTo>
                    <a:lnTo>
                      <a:pt x="1554" y="596"/>
                    </a:lnTo>
                    <a:lnTo>
                      <a:pt x="1562" y="600"/>
                    </a:lnTo>
                    <a:lnTo>
                      <a:pt x="1569" y="600"/>
                    </a:lnTo>
                    <a:lnTo>
                      <a:pt x="1572" y="601"/>
                    </a:lnTo>
                    <a:lnTo>
                      <a:pt x="1574" y="605"/>
                    </a:lnTo>
                    <a:lnTo>
                      <a:pt x="1580" y="608"/>
                    </a:lnTo>
                    <a:lnTo>
                      <a:pt x="1582" y="613"/>
                    </a:lnTo>
                    <a:lnTo>
                      <a:pt x="1580" y="618"/>
                    </a:lnTo>
                    <a:lnTo>
                      <a:pt x="1580" y="621"/>
                    </a:lnTo>
                    <a:lnTo>
                      <a:pt x="1583" y="623"/>
                    </a:lnTo>
                    <a:lnTo>
                      <a:pt x="1583" y="626"/>
                    </a:lnTo>
                    <a:lnTo>
                      <a:pt x="1583" y="630"/>
                    </a:lnTo>
                    <a:lnTo>
                      <a:pt x="1583" y="631"/>
                    </a:lnTo>
                    <a:lnTo>
                      <a:pt x="1587" y="636"/>
                    </a:lnTo>
                    <a:lnTo>
                      <a:pt x="1585" y="639"/>
                    </a:lnTo>
                    <a:lnTo>
                      <a:pt x="1583" y="643"/>
                    </a:lnTo>
                    <a:lnTo>
                      <a:pt x="1588" y="644"/>
                    </a:lnTo>
                    <a:lnTo>
                      <a:pt x="1588" y="646"/>
                    </a:lnTo>
                    <a:lnTo>
                      <a:pt x="1587" y="649"/>
                    </a:lnTo>
                    <a:lnTo>
                      <a:pt x="1585" y="651"/>
                    </a:lnTo>
                    <a:lnTo>
                      <a:pt x="1575" y="649"/>
                    </a:lnTo>
                    <a:lnTo>
                      <a:pt x="1574" y="648"/>
                    </a:lnTo>
                    <a:lnTo>
                      <a:pt x="1565" y="646"/>
                    </a:lnTo>
                    <a:lnTo>
                      <a:pt x="1562" y="644"/>
                    </a:lnTo>
                    <a:lnTo>
                      <a:pt x="1557" y="643"/>
                    </a:lnTo>
                    <a:lnTo>
                      <a:pt x="1554" y="643"/>
                    </a:lnTo>
                    <a:lnTo>
                      <a:pt x="1550" y="641"/>
                    </a:lnTo>
                    <a:lnTo>
                      <a:pt x="1544" y="643"/>
                    </a:lnTo>
                    <a:lnTo>
                      <a:pt x="1539" y="643"/>
                    </a:lnTo>
                    <a:lnTo>
                      <a:pt x="1534" y="646"/>
                    </a:lnTo>
                    <a:lnTo>
                      <a:pt x="1532" y="648"/>
                    </a:lnTo>
                    <a:lnTo>
                      <a:pt x="1532" y="648"/>
                    </a:lnTo>
                    <a:close/>
                    <a:moveTo>
                      <a:pt x="1504" y="654"/>
                    </a:moveTo>
                    <a:lnTo>
                      <a:pt x="1504" y="649"/>
                    </a:lnTo>
                    <a:lnTo>
                      <a:pt x="1505" y="648"/>
                    </a:lnTo>
                    <a:lnTo>
                      <a:pt x="1507" y="649"/>
                    </a:lnTo>
                    <a:lnTo>
                      <a:pt x="1507" y="651"/>
                    </a:lnTo>
                    <a:lnTo>
                      <a:pt x="1504" y="654"/>
                    </a:lnTo>
                    <a:lnTo>
                      <a:pt x="1504" y="654"/>
                    </a:lnTo>
                    <a:close/>
                    <a:moveTo>
                      <a:pt x="1510" y="658"/>
                    </a:moveTo>
                    <a:lnTo>
                      <a:pt x="1509" y="654"/>
                    </a:lnTo>
                    <a:lnTo>
                      <a:pt x="1512" y="653"/>
                    </a:lnTo>
                    <a:lnTo>
                      <a:pt x="1514" y="654"/>
                    </a:lnTo>
                    <a:lnTo>
                      <a:pt x="1514" y="656"/>
                    </a:lnTo>
                    <a:lnTo>
                      <a:pt x="1510" y="658"/>
                    </a:lnTo>
                    <a:lnTo>
                      <a:pt x="1510" y="658"/>
                    </a:lnTo>
                    <a:close/>
                    <a:moveTo>
                      <a:pt x="1524" y="658"/>
                    </a:moveTo>
                    <a:lnTo>
                      <a:pt x="1520" y="658"/>
                    </a:lnTo>
                    <a:lnTo>
                      <a:pt x="1520" y="654"/>
                    </a:lnTo>
                    <a:lnTo>
                      <a:pt x="1522" y="654"/>
                    </a:lnTo>
                    <a:lnTo>
                      <a:pt x="1525" y="656"/>
                    </a:lnTo>
                    <a:lnTo>
                      <a:pt x="1524" y="658"/>
                    </a:lnTo>
                    <a:lnTo>
                      <a:pt x="1524" y="658"/>
                    </a:lnTo>
                    <a:close/>
                    <a:moveTo>
                      <a:pt x="1223" y="751"/>
                    </a:moveTo>
                    <a:lnTo>
                      <a:pt x="1221" y="749"/>
                    </a:lnTo>
                    <a:lnTo>
                      <a:pt x="1225" y="747"/>
                    </a:lnTo>
                    <a:lnTo>
                      <a:pt x="1226" y="747"/>
                    </a:lnTo>
                    <a:lnTo>
                      <a:pt x="1230" y="747"/>
                    </a:lnTo>
                    <a:lnTo>
                      <a:pt x="1228" y="749"/>
                    </a:lnTo>
                    <a:lnTo>
                      <a:pt x="1226" y="751"/>
                    </a:lnTo>
                    <a:lnTo>
                      <a:pt x="1223" y="751"/>
                    </a:lnTo>
                    <a:lnTo>
                      <a:pt x="1223" y="751"/>
                    </a:lnTo>
                    <a:close/>
                    <a:moveTo>
                      <a:pt x="1238" y="772"/>
                    </a:moveTo>
                    <a:lnTo>
                      <a:pt x="1238" y="777"/>
                    </a:lnTo>
                    <a:lnTo>
                      <a:pt x="1241" y="776"/>
                    </a:lnTo>
                    <a:lnTo>
                      <a:pt x="1241" y="776"/>
                    </a:lnTo>
                    <a:lnTo>
                      <a:pt x="1243" y="772"/>
                    </a:lnTo>
                    <a:lnTo>
                      <a:pt x="1240" y="771"/>
                    </a:lnTo>
                    <a:lnTo>
                      <a:pt x="1238" y="772"/>
                    </a:lnTo>
                    <a:lnTo>
                      <a:pt x="1238" y="772"/>
                    </a:lnTo>
                    <a:close/>
                    <a:moveTo>
                      <a:pt x="1233" y="772"/>
                    </a:moveTo>
                    <a:lnTo>
                      <a:pt x="1231" y="776"/>
                    </a:lnTo>
                    <a:lnTo>
                      <a:pt x="1235" y="777"/>
                    </a:lnTo>
                    <a:lnTo>
                      <a:pt x="1233" y="781"/>
                    </a:lnTo>
                    <a:lnTo>
                      <a:pt x="1235" y="781"/>
                    </a:lnTo>
                    <a:lnTo>
                      <a:pt x="1236" y="779"/>
                    </a:lnTo>
                    <a:lnTo>
                      <a:pt x="1236" y="774"/>
                    </a:lnTo>
                    <a:lnTo>
                      <a:pt x="1235" y="772"/>
                    </a:lnTo>
                    <a:lnTo>
                      <a:pt x="1233" y="772"/>
                    </a:lnTo>
                    <a:lnTo>
                      <a:pt x="1233" y="772"/>
                    </a:lnTo>
                    <a:close/>
                    <a:moveTo>
                      <a:pt x="1326" y="757"/>
                    </a:moveTo>
                    <a:lnTo>
                      <a:pt x="1324" y="756"/>
                    </a:lnTo>
                    <a:lnTo>
                      <a:pt x="1321" y="756"/>
                    </a:lnTo>
                    <a:lnTo>
                      <a:pt x="1319" y="754"/>
                    </a:lnTo>
                    <a:lnTo>
                      <a:pt x="1318" y="756"/>
                    </a:lnTo>
                    <a:lnTo>
                      <a:pt x="1314" y="754"/>
                    </a:lnTo>
                    <a:lnTo>
                      <a:pt x="1314" y="751"/>
                    </a:lnTo>
                    <a:lnTo>
                      <a:pt x="1313" y="749"/>
                    </a:lnTo>
                    <a:lnTo>
                      <a:pt x="1318" y="747"/>
                    </a:lnTo>
                    <a:lnTo>
                      <a:pt x="1318" y="747"/>
                    </a:lnTo>
                    <a:lnTo>
                      <a:pt x="1323" y="747"/>
                    </a:lnTo>
                    <a:lnTo>
                      <a:pt x="1324" y="751"/>
                    </a:lnTo>
                    <a:lnTo>
                      <a:pt x="1329" y="751"/>
                    </a:lnTo>
                    <a:lnTo>
                      <a:pt x="1331" y="754"/>
                    </a:lnTo>
                    <a:lnTo>
                      <a:pt x="1329" y="757"/>
                    </a:lnTo>
                    <a:lnTo>
                      <a:pt x="1329" y="757"/>
                    </a:lnTo>
                    <a:lnTo>
                      <a:pt x="1326" y="757"/>
                    </a:lnTo>
                    <a:lnTo>
                      <a:pt x="1326" y="757"/>
                    </a:lnTo>
                    <a:close/>
                    <a:moveTo>
                      <a:pt x="1379" y="777"/>
                    </a:moveTo>
                    <a:lnTo>
                      <a:pt x="1376" y="777"/>
                    </a:lnTo>
                    <a:lnTo>
                      <a:pt x="1374" y="772"/>
                    </a:lnTo>
                    <a:lnTo>
                      <a:pt x="1378" y="774"/>
                    </a:lnTo>
                    <a:lnTo>
                      <a:pt x="1379" y="774"/>
                    </a:lnTo>
                    <a:lnTo>
                      <a:pt x="1381" y="776"/>
                    </a:lnTo>
                    <a:lnTo>
                      <a:pt x="1379" y="777"/>
                    </a:lnTo>
                    <a:lnTo>
                      <a:pt x="1379" y="777"/>
                    </a:lnTo>
                    <a:close/>
                    <a:moveTo>
                      <a:pt x="1384" y="777"/>
                    </a:moveTo>
                    <a:lnTo>
                      <a:pt x="1389" y="779"/>
                    </a:lnTo>
                    <a:lnTo>
                      <a:pt x="1387" y="776"/>
                    </a:lnTo>
                    <a:lnTo>
                      <a:pt x="1384" y="777"/>
                    </a:lnTo>
                    <a:lnTo>
                      <a:pt x="1384" y="777"/>
                    </a:lnTo>
                    <a:close/>
                    <a:moveTo>
                      <a:pt x="1392" y="779"/>
                    </a:moveTo>
                    <a:lnTo>
                      <a:pt x="1396" y="781"/>
                    </a:lnTo>
                    <a:lnTo>
                      <a:pt x="1397" y="782"/>
                    </a:lnTo>
                    <a:lnTo>
                      <a:pt x="1401" y="781"/>
                    </a:lnTo>
                    <a:lnTo>
                      <a:pt x="1401" y="779"/>
                    </a:lnTo>
                    <a:lnTo>
                      <a:pt x="1396" y="777"/>
                    </a:lnTo>
                    <a:lnTo>
                      <a:pt x="1396" y="777"/>
                    </a:lnTo>
                    <a:lnTo>
                      <a:pt x="1392" y="777"/>
                    </a:lnTo>
                    <a:lnTo>
                      <a:pt x="1391" y="779"/>
                    </a:lnTo>
                    <a:lnTo>
                      <a:pt x="1392" y="779"/>
                    </a:lnTo>
                    <a:lnTo>
                      <a:pt x="1392" y="779"/>
                    </a:lnTo>
                    <a:close/>
                    <a:moveTo>
                      <a:pt x="1449" y="849"/>
                    </a:moveTo>
                    <a:lnTo>
                      <a:pt x="1449" y="845"/>
                    </a:lnTo>
                    <a:lnTo>
                      <a:pt x="1451" y="844"/>
                    </a:lnTo>
                    <a:lnTo>
                      <a:pt x="1449" y="840"/>
                    </a:lnTo>
                    <a:lnTo>
                      <a:pt x="1451" y="840"/>
                    </a:lnTo>
                    <a:lnTo>
                      <a:pt x="1454" y="842"/>
                    </a:lnTo>
                    <a:lnTo>
                      <a:pt x="1452" y="845"/>
                    </a:lnTo>
                    <a:lnTo>
                      <a:pt x="1452" y="847"/>
                    </a:lnTo>
                    <a:lnTo>
                      <a:pt x="1449" y="849"/>
                    </a:lnTo>
                    <a:lnTo>
                      <a:pt x="1449" y="849"/>
                    </a:lnTo>
                    <a:close/>
                    <a:moveTo>
                      <a:pt x="1444" y="862"/>
                    </a:moveTo>
                    <a:lnTo>
                      <a:pt x="1442" y="857"/>
                    </a:lnTo>
                    <a:lnTo>
                      <a:pt x="1444" y="854"/>
                    </a:lnTo>
                    <a:lnTo>
                      <a:pt x="1446" y="854"/>
                    </a:lnTo>
                    <a:lnTo>
                      <a:pt x="1449" y="854"/>
                    </a:lnTo>
                    <a:lnTo>
                      <a:pt x="1449" y="857"/>
                    </a:lnTo>
                    <a:lnTo>
                      <a:pt x="1446" y="857"/>
                    </a:lnTo>
                    <a:lnTo>
                      <a:pt x="1446" y="860"/>
                    </a:lnTo>
                    <a:lnTo>
                      <a:pt x="1444" y="862"/>
                    </a:lnTo>
                    <a:lnTo>
                      <a:pt x="1444" y="862"/>
                    </a:lnTo>
                    <a:close/>
                    <a:moveTo>
                      <a:pt x="1411" y="796"/>
                    </a:moveTo>
                    <a:lnTo>
                      <a:pt x="1409" y="794"/>
                    </a:lnTo>
                    <a:lnTo>
                      <a:pt x="1411" y="794"/>
                    </a:lnTo>
                    <a:lnTo>
                      <a:pt x="1411" y="796"/>
                    </a:lnTo>
                    <a:lnTo>
                      <a:pt x="1411" y="796"/>
                    </a:lnTo>
                    <a:close/>
                    <a:moveTo>
                      <a:pt x="1404" y="796"/>
                    </a:moveTo>
                    <a:lnTo>
                      <a:pt x="1401" y="792"/>
                    </a:lnTo>
                    <a:lnTo>
                      <a:pt x="1404" y="794"/>
                    </a:lnTo>
                    <a:lnTo>
                      <a:pt x="1404" y="796"/>
                    </a:lnTo>
                    <a:lnTo>
                      <a:pt x="1404" y="796"/>
                    </a:lnTo>
                    <a:lnTo>
                      <a:pt x="1404" y="796"/>
                    </a:lnTo>
                    <a:close/>
                    <a:moveTo>
                      <a:pt x="1406" y="799"/>
                    </a:moveTo>
                    <a:lnTo>
                      <a:pt x="1407" y="801"/>
                    </a:lnTo>
                    <a:lnTo>
                      <a:pt x="1409" y="801"/>
                    </a:lnTo>
                    <a:lnTo>
                      <a:pt x="1412" y="802"/>
                    </a:lnTo>
                    <a:lnTo>
                      <a:pt x="1412" y="799"/>
                    </a:lnTo>
                    <a:lnTo>
                      <a:pt x="1411" y="797"/>
                    </a:lnTo>
                    <a:lnTo>
                      <a:pt x="1406" y="797"/>
                    </a:lnTo>
                    <a:lnTo>
                      <a:pt x="1406" y="799"/>
                    </a:lnTo>
                    <a:lnTo>
                      <a:pt x="1406" y="799"/>
                    </a:lnTo>
                    <a:close/>
                    <a:moveTo>
                      <a:pt x="1436" y="787"/>
                    </a:moveTo>
                    <a:lnTo>
                      <a:pt x="1441" y="789"/>
                    </a:lnTo>
                    <a:lnTo>
                      <a:pt x="1441" y="791"/>
                    </a:lnTo>
                    <a:lnTo>
                      <a:pt x="1442" y="792"/>
                    </a:lnTo>
                    <a:lnTo>
                      <a:pt x="1441" y="794"/>
                    </a:lnTo>
                    <a:lnTo>
                      <a:pt x="1442" y="796"/>
                    </a:lnTo>
                    <a:lnTo>
                      <a:pt x="1446" y="796"/>
                    </a:lnTo>
                    <a:lnTo>
                      <a:pt x="1446" y="792"/>
                    </a:lnTo>
                    <a:lnTo>
                      <a:pt x="1449" y="792"/>
                    </a:lnTo>
                    <a:lnTo>
                      <a:pt x="1452" y="792"/>
                    </a:lnTo>
                    <a:lnTo>
                      <a:pt x="1454" y="792"/>
                    </a:lnTo>
                    <a:lnTo>
                      <a:pt x="1457" y="791"/>
                    </a:lnTo>
                    <a:lnTo>
                      <a:pt x="1454" y="787"/>
                    </a:lnTo>
                    <a:lnTo>
                      <a:pt x="1449" y="786"/>
                    </a:lnTo>
                    <a:lnTo>
                      <a:pt x="1446" y="784"/>
                    </a:lnTo>
                    <a:lnTo>
                      <a:pt x="1441" y="782"/>
                    </a:lnTo>
                    <a:lnTo>
                      <a:pt x="1441" y="786"/>
                    </a:lnTo>
                    <a:lnTo>
                      <a:pt x="1441" y="786"/>
                    </a:lnTo>
                    <a:lnTo>
                      <a:pt x="1436" y="787"/>
                    </a:lnTo>
                    <a:lnTo>
                      <a:pt x="1436" y="787"/>
                    </a:lnTo>
                    <a:close/>
                    <a:moveTo>
                      <a:pt x="1490" y="784"/>
                    </a:moveTo>
                    <a:lnTo>
                      <a:pt x="1492" y="781"/>
                    </a:lnTo>
                    <a:lnTo>
                      <a:pt x="1494" y="781"/>
                    </a:lnTo>
                    <a:lnTo>
                      <a:pt x="1492" y="784"/>
                    </a:lnTo>
                    <a:lnTo>
                      <a:pt x="1490" y="784"/>
                    </a:lnTo>
                    <a:lnTo>
                      <a:pt x="1490" y="784"/>
                    </a:lnTo>
                    <a:close/>
                    <a:moveTo>
                      <a:pt x="1472" y="804"/>
                    </a:moveTo>
                    <a:lnTo>
                      <a:pt x="1476" y="802"/>
                    </a:lnTo>
                    <a:lnTo>
                      <a:pt x="1477" y="797"/>
                    </a:lnTo>
                    <a:lnTo>
                      <a:pt x="1481" y="797"/>
                    </a:lnTo>
                    <a:lnTo>
                      <a:pt x="1482" y="796"/>
                    </a:lnTo>
                    <a:lnTo>
                      <a:pt x="1485" y="794"/>
                    </a:lnTo>
                    <a:lnTo>
                      <a:pt x="1487" y="797"/>
                    </a:lnTo>
                    <a:lnTo>
                      <a:pt x="1485" y="799"/>
                    </a:lnTo>
                    <a:lnTo>
                      <a:pt x="1482" y="801"/>
                    </a:lnTo>
                    <a:lnTo>
                      <a:pt x="1477" y="804"/>
                    </a:lnTo>
                    <a:lnTo>
                      <a:pt x="1474" y="804"/>
                    </a:lnTo>
                    <a:lnTo>
                      <a:pt x="1472" y="804"/>
                    </a:lnTo>
                    <a:lnTo>
                      <a:pt x="1472" y="804"/>
                    </a:lnTo>
                    <a:close/>
                    <a:moveTo>
                      <a:pt x="1454" y="831"/>
                    </a:moveTo>
                    <a:lnTo>
                      <a:pt x="1464" y="824"/>
                    </a:lnTo>
                    <a:lnTo>
                      <a:pt x="1466" y="821"/>
                    </a:lnTo>
                    <a:lnTo>
                      <a:pt x="1467" y="821"/>
                    </a:lnTo>
                    <a:lnTo>
                      <a:pt x="1472" y="817"/>
                    </a:lnTo>
                    <a:lnTo>
                      <a:pt x="1476" y="814"/>
                    </a:lnTo>
                    <a:lnTo>
                      <a:pt x="1476" y="811"/>
                    </a:lnTo>
                    <a:lnTo>
                      <a:pt x="1472" y="809"/>
                    </a:lnTo>
                    <a:lnTo>
                      <a:pt x="1469" y="811"/>
                    </a:lnTo>
                    <a:lnTo>
                      <a:pt x="1469" y="814"/>
                    </a:lnTo>
                    <a:lnTo>
                      <a:pt x="1466" y="814"/>
                    </a:lnTo>
                    <a:lnTo>
                      <a:pt x="1462" y="817"/>
                    </a:lnTo>
                    <a:lnTo>
                      <a:pt x="1459" y="819"/>
                    </a:lnTo>
                    <a:lnTo>
                      <a:pt x="1452" y="819"/>
                    </a:lnTo>
                    <a:lnTo>
                      <a:pt x="1449" y="821"/>
                    </a:lnTo>
                    <a:lnTo>
                      <a:pt x="1447" y="824"/>
                    </a:lnTo>
                    <a:lnTo>
                      <a:pt x="1444" y="827"/>
                    </a:lnTo>
                    <a:lnTo>
                      <a:pt x="1444" y="832"/>
                    </a:lnTo>
                    <a:lnTo>
                      <a:pt x="1446" y="831"/>
                    </a:lnTo>
                    <a:lnTo>
                      <a:pt x="1451" y="831"/>
                    </a:lnTo>
                    <a:lnTo>
                      <a:pt x="1454" y="831"/>
                    </a:lnTo>
                    <a:lnTo>
                      <a:pt x="1454" y="831"/>
                    </a:lnTo>
                    <a:close/>
                    <a:moveTo>
                      <a:pt x="1494" y="827"/>
                    </a:moveTo>
                    <a:lnTo>
                      <a:pt x="1492" y="821"/>
                    </a:lnTo>
                    <a:lnTo>
                      <a:pt x="1494" y="819"/>
                    </a:lnTo>
                    <a:lnTo>
                      <a:pt x="1495" y="814"/>
                    </a:lnTo>
                    <a:lnTo>
                      <a:pt x="1499" y="814"/>
                    </a:lnTo>
                    <a:lnTo>
                      <a:pt x="1504" y="816"/>
                    </a:lnTo>
                    <a:lnTo>
                      <a:pt x="1505" y="821"/>
                    </a:lnTo>
                    <a:lnTo>
                      <a:pt x="1502" y="824"/>
                    </a:lnTo>
                    <a:lnTo>
                      <a:pt x="1500" y="824"/>
                    </a:lnTo>
                    <a:lnTo>
                      <a:pt x="1497" y="827"/>
                    </a:lnTo>
                    <a:lnTo>
                      <a:pt x="1494" y="827"/>
                    </a:lnTo>
                    <a:lnTo>
                      <a:pt x="1494" y="827"/>
                    </a:lnTo>
                    <a:close/>
                    <a:moveTo>
                      <a:pt x="1525" y="862"/>
                    </a:moveTo>
                    <a:lnTo>
                      <a:pt x="1524" y="857"/>
                    </a:lnTo>
                    <a:lnTo>
                      <a:pt x="1525" y="850"/>
                    </a:lnTo>
                    <a:lnTo>
                      <a:pt x="1522" y="847"/>
                    </a:lnTo>
                    <a:lnTo>
                      <a:pt x="1520" y="847"/>
                    </a:lnTo>
                    <a:lnTo>
                      <a:pt x="1519" y="852"/>
                    </a:lnTo>
                    <a:lnTo>
                      <a:pt x="1517" y="855"/>
                    </a:lnTo>
                    <a:lnTo>
                      <a:pt x="1517" y="860"/>
                    </a:lnTo>
                    <a:lnTo>
                      <a:pt x="1519" y="862"/>
                    </a:lnTo>
                    <a:lnTo>
                      <a:pt x="1520" y="865"/>
                    </a:lnTo>
                    <a:lnTo>
                      <a:pt x="1522" y="864"/>
                    </a:lnTo>
                    <a:lnTo>
                      <a:pt x="1525" y="862"/>
                    </a:lnTo>
                    <a:lnTo>
                      <a:pt x="1525" y="862"/>
                    </a:lnTo>
                    <a:close/>
                    <a:moveTo>
                      <a:pt x="1529" y="859"/>
                    </a:moveTo>
                    <a:lnTo>
                      <a:pt x="1527" y="855"/>
                    </a:lnTo>
                    <a:lnTo>
                      <a:pt x="1529" y="850"/>
                    </a:lnTo>
                    <a:lnTo>
                      <a:pt x="1530" y="855"/>
                    </a:lnTo>
                    <a:lnTo>
                      <a:pt x="1532" y="857"/>
                    </a:lnTo>
                    <a:lnTo>
                      <a:pt x="1530" y="860"/>
                    </a:lnTo>
                    <a:lnTo>
                      <a:pt x="1529" y="859"/>
                    </a:lnTo>
                    <a:lnTo>
                      <a:pt x="1529" y="859"/>
                    </a:lnTo>
                    <a:close/>
                    <a:moveTo>
                      <a:pt x="1535" y="869"/>
                    </a:moveTo>
                    <a:lnTo>
                      <a:pt x="1534" y="865"/>
                    </a:lnTo>
                    <a:lnTo>
                      <a:pt x="1535" y="864"/>
                    </a:lnTo>
                    <a:lnTo>
                      <a:pt x="1537" y="864"/>
                    </a:lnTo>
                    <a:lnTo>
                      <a:pt x="1537" y="867"/>
                    </a:lnTo>
                    <a:lnTo>
                      <a:pt x="1535" y="869"/>
                    </a:lnTo>
                    <a:lnTo>
                      <a:pt x="1535" y="869"/>
                    </a:lnTo>
                    <a:close/>
                    <a:moveTo>
                      <a:pt x="1519" y="877"/>
                    </a:moveTo>
                    <a:lnTo>
                      <a:pt x="1519" y="879"/>
                    </a:lnTo>
                    <a:lnTo>
                      <a:pt x="1519" y="884"/>
                    </a:lnTo>
                    <a:lnTo>
                      <a:pt x="1520" y="889"/>
                    </a:lnTo>
                    <a:lnTo>
                      <a:pt x="1522" y="890"/>
                    </a:lnTo>
                    <a:lnTo>
                      <a:pt x="1525" y="889"/>
                    </a:lnTo>
                    <a:lnTo>
                      <a:pt x="1529" y="890"/>
                    </a:lnTo>
                    <a:lnTo>
                      <a:pt x="1532" y="890"/>
                    </a:lnTo>
                    <a:lnTo>
                      <a:pt x="1535" y="890"/>
                    </a:lnTo>
                    <a:lnTo>
                      <a:pt x="1540" y="892"/>
                    </a:lnTo>
                    <a:lnTo>
                      <a:pt x="1542" y="889"/>
                    </a:lnTo>
                    <a:lnTo>
                      <a:pt x="1540" y="885"/>
                    </a:lnTo>
                    <a:lnTo>
                      <a:pt x="1540" y="882"/>
                    </a:lnTo>
                    <a:lnTo>
                      <a:pt x="1535" y="882"/>
                    </a:lnTo>
                    <a:lnTo>
                      <a:pt x="1534" y="879"/>
                    </a:lnTo>
                    <a:lnTo>
                      <a:pt x="1530" y="877"/>
                    </a:lnTo>
                    <a:lnTo>
                      <a:pt x="1529" y="879"/>
                    </a:lnTo>
                    <a:lnTo>
                      <a:pt x="1529" y="877"/>
                    </a:lnTo>
                    <a:lnTo>
                      <a:pt x="1529" y="874"/>
                    </a:lnTo>
                    <a:lnTo>
                      <a:pt x="1527" y="875"/>
                    </a:lnTo>
                    <a:lnTo>
                      <a:pt x="1524" y="877"/>
                    </a:lnTo>
                    <a:lnTo>
                      <a:pt x="1522" y="877"/>
                    </a:lnTo>
                    <a:lnTo>
                      <a:pt x="1519" y="877"/>
                    </a:lnTo>
                    <a:lnTo>
                      <a:pt x="1519" y="877"/>
                    </a:lnTo>
                    <a:close/>
                    <a:moveTo>
                      <a:pt x="1392" y="1038"/>
                    </a:moveTo>
                    <a:lnTo>
                      <a:pt x="1397" y="1038"/>
                    </a:lnTo>
                    <a:lnTo>
                      <a:pt x="1399" y="1038"/>
                    </a:lnTo>
                    <a:lnTo>
                      <a:pt x="1397" y="1035"/>
                    </a:lnTo>
                    <a:lnTo>
                      <a:pt x="1394" y="1036"/>
                    </a:lnTo>
                    <a:lnTo>
                      <a:pt x="1392" y="1038"/>
                    </a:lnTo>
                    <a:lnTo>
                      <a:pt x="1392" y="1038"/>
                    </a:lnTo>
                    <a:close/>
                    <a:moveTo>
                      <a:pt x="1321" y="932"/>
                    </a:moveTo>
                    <a:lnTo>
                      <a:pt x="1324" y="933"/>
                    </a:lnTo>
                    <a:lnTo>
                      <a:pt x="1328" y="935"/>
                    </a:lnTo>
                    <a:lnTo>
                      <a:pt x="1328" y="933"/>
                    </a:lnTo>
                    <a:lnTo>
                      <a:pt x="1324" y="932"/>
                    </a:lnTo>
                    <a:lnTo>
                      <a:pt x="1323" y="930"/>
                    </a:lnTo>
                    <a:lnTo>
                      <a:pt x="1321" y="932"/>
                    </a:lnTo>
                    <a:lnTo>
                      <a:pt x="1321" y="932"/>
                    </a:lnTo>
                    <a:close/>
                    <a:moveTo>
                      <a:pt x="1306" y="957"/>
                    </a:moveTo>
                    <a:lnTo>
                      <a:pt x="1306" y="953"/>
                    </a:lnTo>
                    <a:lnTo>
                      <a:pt x="1303" y="950"/>
                    </a:lnTo>
                    <a:lnTo>
                      <a:pt x="1298" y="948"/>
                    </a:lnTo>
                    <a:lnTo>
                      <a:pt x="1299" y="945"/>
                    </a:lnTo>
                    <a:lnTo>
                      <a:pt x="1298" y="942"/>
                    </a:lnTo>
                    <a:lnTo>
                      <a:pt x="1294" y="940"/>
                    </a:lnTo>
                    <a:lnTo>
                      <a:pt x="1294" y="933"/>
                    </a:lnTo>
                    <a:lnTo>
                      <a:pt x="1296" y="932"/>
                    </a:lnTo>
                    <a:lnTo>
                      <a:pt x="1298" y="937"/>
                    </a:lnTo>
                    <a:lnTo>
                      <a:pt x="1303" y="938"/>
                    </a:lnTo>
                    <a:lnTo>
                      <a:pt x="1303" y="942"/>
                    </a:lnTo>
                    <a:lnTo>
                      <a:pt x="1306" y="943"/>
                    </a:lnTo>
                    <a:lnTo>
                      <a:pt x="1306" y="948"/>
                    </a:lnTo>
                    <a:lnTo>
                      <a:pt x="1311" y="952"/>
                    </a:lnTo>
                    <a:lnTo>
                      <a:pt x="1314" y="952"/>
                    </a:lnTo>
                    <a:lnTo>
                      <a:pt x="1313" y="957"/>
                    </a:lnTo>
                    <a:lnTo>
                      <a:pt x="1309" y="955"/>
                    </a:lnTo>
                    <a:lnTo>
                      <a:pt x="1306" y="957"/>
                    </a:lnTo>
                    <a:lnTo>
                      <a:pt x="1306" y="957"/>
                    </a:lnTo>
                    <a:close/>
                    <a:moveTo>
                      <a:pt x="1278" y="955"/>
                    </a:moveTo>
                    <a:lnTo>
                      <a:pt x="1278" y="950"/>
                    </a:lnTo>
                    <a:lnTo>
                      <a:pt x="1276" y="948"/>
                    </a:lnTo>
                    <a:lnTo>
                      <a:pt x="1278" y="945"/>
                    </a:lnTo>
                    <a:lnTo>
                      <a:pt x="1278" y="940"/>
                    </a:lnTo>
                    <a:lnTo>
                      <a:pt x="1280" y="935"/>
                    </a:lnTo>
                    <a:lnTo>
                      <a:pt x="1283" y="937"/>
                    </a:lnTo>
                    <a:lnTo>
                      <a:pt x="1283" y="940"/>
                    </a:lnTo>
                    <a:lnTo>
                      <a:pt x="1281" y="942"/>
                    </a:lnTo>
                    <a:lnTo>
                      <a:pt x="1281" y="943"/>
                    </a:lnTo>
                    <a:lnTo>
                      <a:pt x="1283" y="947"/>
                    </a:lnTo>
                    <a:lnTo>
                      <a:pt x="1280" y="953"/>
                    </a:lnTo>
                    <a:lnTo>
                      <a:pt x="1278" y="955"/>
                    </a:lnTo>
                    <a:lnTo>
                      <a:pt x="1278" y="955"/>
                    </a:lnTo>
                    <a:close/>
                    <a:moveTo>
                      <a:pt x="1275" y="850"/>
                    </a:moveTo>
                    <a:lnTo>
                      <a:pt x="1275" y="855"/>
                    </a:lnTo>
                    <a:lnTo>
                      <a:pt x="1276" y="855"/>
                    </a:lnTo>
                    <a:lnTo>
                      <a:pt x="1281" y="855"/>
                    </a:lnTo>
                    <a:lnTo>
                      <a:pt x="1285" y="854"/>
                    </a:lnTo>
                    <a:lnTo>
                      <a:pt x="1283" y="852"/>
                    </a:lnTo>
                    <a:lnTo>
                      <a:pt x="1280" y="850"/>
                    </a:lnTo>
                    <a:lnTo>
                      <a:pt x="1275" y="850"/>
                    </a:lnTo>
                    <a:lnTo>
                      <a:pt x="1275" y="850"/>
                    </a:lnTo>
                    <a:close/>
                    <a:moveTo>
                      <a:pt x="1276" y="849"/>
                    </a:moveTo>
                    <a:lnTo>
                      <a:pt x="1278" y="845"/>
                    </a:lnTo>
                    <a:lnTo>
                      <a:pt x="1278" y="840"/>
                    </a:lnTo>
                    <a:lnTo>
                      <a:pt x="1285" y="837"/>
                    </a:lnTo>
                    <a:lnTo>
                      <a:pt x="1288" y="834"/>
                    </a:lnTo>
                    <a:lnTo>
                      <a:pt x="1288" y="835"/>
                    </a:lnTo>
                    <a:lnTo>
                      <a:pt x="1288" y="840"/>
                    </a:lnTo>
                    <a:lnTo>
                      <a:pt x="1286" y="844"/>
                    </a:lnTo>
                    <a:lnTo>
                      <a:pt x="1286" y="849"/>
                    </a:lnTo>
                    <a:lnTo>
                      <a:pt x="1283" y="849"/>
                    </a:lnTo>
                    <a:lnTo>
                      <a:pt x="1276" y="849"/>
                    </a:lnTo>
                    <a:lnTo>
                      <a:pt x="1276" y="849"/>
                    </a:lnTo>
                    <a:close/>
                    <a:moveTo>
                      <a:pt x="1044" y="806"/>
                    </a:moveTo>
                    <a:lnTo>
                      <a:pt x="1047" y="804"/>
                    </a:lnTo>
                    <a:lnTo>
                      <a:pt x="1047" y="801"/>
                    </a:lnTo>
                    <a:lnTo>
                      <a:pt x="1042" y="801"/>
                    </a:lnTo>
                    <a:lnTo>
                      <a:pt x="1042" y="804"/>
                    </a:lnTo>
                    <a:lnTo>
                      <a:pt x="1044" y="806"/>
                    </a:lnTo>
                    <a:lnTo>
                      <a:pt x="1044" y="806"/>
                    </a:lnTo>
                    <a:close/>
                    <a:moveTo>
                      <a:pt x="846" y="756"/>
                    </a:moveTo>
                    <a:lnTo>
                      <a:pt x="848" y="754"/>
                    </a:lnTo>
                    <a:lnTo>
                      <a:pt x="851" y="754"/>
                    </a:lnTo>
                    <a:lnTo>
                      <a:pt x="848" y="756"/>
                    </a:lnTo>
                    <a:lnTo>
                      <a:pt x="848" y="756"/>
                    </a:lnTo>
                    <a:lnTo>
                      <a:pt x="846" y="756"/>
                    </a:lnTo>
                    <a:lnTo>
                      <a:pt x="846" y="756"/>
                    </a:lnTo>
                    <a:close/>
                    <a:moveTo>
                      <a:pt x="829" y="762"/>
                    </a:moveTo>
                    <a:lnTo>
                      <a:pt x="834" y="762"/>
                    </a:lnTo>
                    <a:lnTo>
                      <a:pt x="834" y="761"/>
                    </a:lnTo>
                    <a:lnTo>
                      <a:pt x="831" y="759"/>
                    </a:lnTo>
                    <a:lnTo>
                      <a:pt x="829" y="762"/>
                    </a:lnTo>
                    <a:lnTo>
                      <a:pt x="829" y="762"/>
                    </a:lnTo>
                    <a:close/>
                    <a:moveTo>
                      <a:pt x="836" y="777"/>
                    </a:moveTo>
                    <a:lnTo>
                      <a:pt x="836" y="776"/>
                    </a:lnTo>
                    <a:lnTo>
                      <a:pt x="838" y="774"/>
                    </a:lnTo>
                    <a:lnTo>
                      <a:pt x="838" y="777"/>
                    </a:lnTo>
                    <a:lnTo>
                      <a:pt x="836" y="777"/>
                    </a:lnTo>
                    <a:lnTo>
                      <a:pt x="836" y="777"/>
                    </a:lnTo>
                    <a:close/>
                    <a:moveTo>
                      <a:pt x="836" y="779"/>
                    </a:moveTo>
                    <a:lnTo>
                      <a:pt x="834" y="774"/>
                    </a:lnTo>
                    <a:lnTo>
                      <a:pt x="833" y="776"/>
                    </a:lnTo>
                    <a:lnTo>
                      <a:pt x="834" y="777"/>
                    </a:lnTo>
                    <a:lnTo>
                      <a:pt x="836" y="779"/>
                    </a:lnTo>
                    <a:lnTo>
                      <a:pt x="836" y="779"/>
                    </a:lnTo>
                    <a:close/>
                    <a:moveTo>
                      <a:pt x="844" y="789"/>
                    </a:moveTo>
                    <a:lnTo>
                      <a:pt x="846" y="796"/>
                    </a:lnTo>
                    <a:lnTo>
                      <a:pt x="848" y="796"/>
                    </a:lnTo>
                    <a:lnTo>
                      <a:pt x="851" y="792"/>
                    </a:lnTo>
                    <a:lnTo>
                      <a:pt x="851" y="791"/>
                    </a:lnTo>
                    <a:lnTo>
                      <a:pt x="853" y="787"/>
                    </a:lnTo>
                    <a:lnTo>
                      <a:pt x="849" y="787"/>
                    </a:lnTo>
                    <a:lnTo>
                      <a:pt x="848" y="791"/>
                    </a:lnTo>
                    <a:lnTo>
                      <a:pt x="846" y="789"/>
                    </a:lnTo>
                    <a:lnTo>
                      <a:pt x="844" y="789"/>
                    </a:lnTo>
                    <a:lnTo>
                      <a:pt x="844" y="789"/>
                    </a:lnTo>
                    <a:close/>
                    <a:moveTo>
                      <a:pt x="838" y="816"/>
                    </a:moveTo>
                    <a:lnTo>
                      <a:pt x="836" y="809"/>
                    </a:lnTo>
                    <a:lnTo>
                      <a:pt x="839" y="807"/>
                    </a:lnTo>
                    <a:lnTo>
                      <a:pt x="839" y="804"/>
                    </a:lnTo>
                    <a:lnTo>
                      <a:pt x="843" y="799"/>
                    </a:lnTo>
                    <a:lnTo>
                      <a:pt x="843" y="801"/>
                    </a:lnTo>
                    <a:lnTo>
                      <a:pt x="843" y="804"/>
                    </a:lnTo>
                    <a:lnTo>
                      <a:pt x="844" y="806"/>
                    </a:lnTo>
                    <a:lnTo>
                      <a:pt x="843" y="807"/>
                    </a:lnTo>
                    <a:lnTo>
                      <a:pt x="844" y="811"/>
                    </a:lnTo>
                    <a:lnTo>
                      <a:pt x="841" y="812"/>
                    </a:lnTo>
                    <a:lnTo>
                      <a:pt x="839" y="814"/>
                    </a:lnTo>
                    <a:lnTo>
                      <a:pt x="838" y="816"/>
                    </a:lnTo>
                    <a:lnTo>
                      <a:pt x="838" y="816"/>
                    </a:lnTo>
                    <a:close/>
                    <a:moveTo>
                      <a:pt x="1017" y="716"/>
                    </a:moveTo>
                    <a:lnTo>
                      <a:pt x="1017" y="714"/>
                    </a:lnTo>
                    <a:lnTo>
                      <a:pt x="1019" y="713"/>
                    </a:lnTo>
                    <a:lnTo>
                      <a:pt x="1020" y="714"/>
                    </a:lnTo>
                    <a:lnTo>
                      <a:pt x="1019" y="718"/>
                    </a:lnTo>
                    <a:lnTo>
                      <a:pt x="1017" y="716"/>
                    </a:lnTo>
                    <a:lnTo>
                      <a:pt x="1017" y="716"/>
                    </a:lnTo>
                    <a:close/>
                    <a:moveTo>
                      <a:pt x="1077" y="683"/>
                    </a:moveTo>
                    <a:lnTo>
                      <a:pt x="1077" y="678"/>
                    </a:lnTo>
                    <a:lnTo>
                      <a:pt x="1075" y="676"/>
                    </a:lnTo>
                    <a:lnTo>
                      <a:pt x="1077" y="671"/>
                    </a:lnTo>
                    <a:lnTo>
                      <a:pt x="1079" y="669"/>
                    </a:lnTo>
                    <a:lnTo>
                      <a:pt x="1080" y="671"/>
                    </a:lnTo>
                    <a:lnTo>
                      <a:pt x="1080" y="674"/>
                    </a:lnTo>
                    <a:lnTo>
                      <a:pt x="1082" y="676"/>
                    </a:lnTo>
                    <a:lnTo>
                      <a:pt x="1080" y="679"/>
                    </a:lnTo>
                    <a:lnTo>
                      <a:pt x="1080" y="683"/>
                    </a:lnTo>
                    <a:lnTo>
                      <a:pt x="1077" y="683"/>
                    </a:lnTo>
                    <a:lnTo>
                      <a:pt x="1077" y="683"/>
                    </a:lnTo>
                    <a:close/>
                    <a:moveTo>
                      <a:pt x="1010" y="749"/>
                    </a:moveTo>
                    <a:lnTo>
                      <a:pt x="1010" y="747"/>
                    </a:lnTo>
                    <a:lnTo>
                      <a:pt x="1010" y="744"/>
                    </a:lnTo>
                    <a:lnTo>
                      <a:pt x="1012" y="742"/>
                    </a:lnTo>
                    <a:lnTo>
                      <a:pt x="1012" y="741"/>
                    </a:lnTo>
                    <a:lnTo>
                      <a:pt x="1015" y="737"/>
                    </a:lnTo>
                    <a:lnTo>
                      <a:pt x="1015" y="734"/>
                    </a:lnTo>
                    <a:lnTo>
                      <a:pt x="1010" y="734"/>
                    </a:lnTo>
                    <a:lnTo>
                      <a:pt x="1010" y="731"/>
                    </a:lnTo>
                    <a:lnTo>
                      <a:pt x="1012" y="728"/>
                    </a:lnTo>
                    <a:lnTo>
                      <a:pt x="1015" y="728"/>
                    </a:lnTo>
                    <a:lnTo>
                      <a:pt x="1015" y="724"/>
                    </a:lnTo>
                    <a:lnTo>
                      <a:pt x="1010" y="721"/>
                    </a:lnTo>
                    <a:lnTo>
                      <a:pt x="1009" y="723"/>
                    </a:lnTo>
                    <a:lnTo>
                      <a:pt x="1007" y="724"/>
                    </a:lnTo>
                    <a:lnTo>
                      <a:pt x="1005" y="726"/>
                    </a:lnTo>
                    <a:lnTo>
                      <a:pt x="1004" y="724"/>
                    </a:lnTo>
                    <a:lnTo>
                      <a:pt x="997" y="724"/>
                    </a:lnTo>
                    <a:lnTo>
                      <a:pt x="992" y="729"/>
                    </a:lnTo>
                    <a:lnTo>
                      <a:pt x="987" y="733"/>
                    </a:lnTo>
                    <a:lnTo>
                      <a:pt x="987" y="731"/>
                    </a:lnTo>
                    <a:lnTo>
                      <a:pt x="992" y="728"/>
                    </a:lnTo>
                    <a:lnTo>
                      <a:pt x="995" y="724"/>
                    </a:lnTo>
                    <a:lnTo>
                      <a:pt x="995" y="719"/>
                    </a:lnTo>
                    <a:lnTo>
                      <a:pt x="992" y="723"/>
                    </a:lnTo>
                    <a:lnTo>
                      <a:pt x="990" y="721"/>
                    </a:lnTo>
                    <a:lnTo>
                      <a:pt x="990" y="718"/>
                    </a:lnTo>
                    <a:lnTo>
                      <a:pt x="994" y="716"/>
                    </a:lnTo>
                    <a:lnTo>
                      <a:pt x="992" y="711"/>
                    </a:lnTo>
                    <a:lnTo>
                      <a:pt x="994" y="708"/>
                    </a:lnTo>
                    <a:lnTo>
                      <a:pt x="997" y="708"/>
                    </a:lnTo>
                    <a:lnTo>
                      <a:pt x="997" y="709"/>
                    </a:lnTo>
                    <a:lnTo>
                      <a:pt x="999" y="716"/>
                    </a:lnTo>
                    <a:lnTo>
                      <a:pt x="1002" y="718"/>
                    </a:lnTo>
                    <a:lnTo>
                      <a:pt x="1004" y="718"/>
                    </a:lnTo>
                    <a:lnTo>
                      <a:pt x="1009" y="718"/>
                    </a:lnTo>
                    <a:lnTo>
                      <a:pt x="1012" y="713"/>
                    </a:lnTo>
                    <a:lnTo>
                      <a:pt x="1009" y="711"/>
                    </a:lnTo>
                    <a:lnTo>
                      <a:pt x="1009" y="709"/>
                    </a:lnTo>
                    <a:lnTo>
                      <a:pt x="1012" y="708"/>
                    </a:lnTo>
                    <a:lnTo>
                      <a:pt x="1014" y="709"/>
                    </a:lnTo>
                    <a:lnTo>
                      <a:pt x="1017" y="709"/>
                    </a:lnTo>
                    <a:lnTo>
                      <a:pt x="1020" y="706"/>
                    </a:lnTo>
                    <a:lnTo>
                      <a:pt x="1022" y="701"/>
                    </a:lnTo>
                    <a:lnTo>
                      <a:pt x="1022" y="706"/>
                    </a:lnTo>
                    <a:lnTo>
                      <a:pt x="1024" y="706"/>
                    </a:lnTo>
                    <a:lnTo>
                      <a:pt x="1029" y="703"/>
                    </a:lnTo>
                    <a:lnTo>
                      <a:pt x="1025" y="709"/>
                    </a:lnTo>
                    <a:lnTo>
                      <a:pt x="1025" y="714"/>
                    </a:lnTo>
                    <a:lnTo>
                      <a:pt x="1027" y="714"/>
                    </a:lnTo>
                    <a:lnTo>
                      <a:pt x="1029" y="714"/>
                    </a:lnTo>
                    <a:lnTo>
                      <a:pt x="1027" y="718"/>
                    </a:lnTo>
                    <a:lnTo>
                      <a:pt x="1030" y="718"/>
                    </a:lnTo>
                    <a:lnTo>
                      <a:pt x="1032" y="713"/>
                    </a:lnTo>
                    <a:lnTo>
                      <a:pt x="1035" y="713"/>
                    </a:lnTo>
                    <a:lnTo>
                      <a:pt x="1039" y="706"/>
                    </a:lnTo>
                    <a:lnTo>
                      <a:pt x="1042" y="704"/>
                    </a:lnTo>
                    <a:lnTo>
                      <a:pt x="1040" y="709"/>
                    </a:lnTo>
                    <a:lnTo>
                      <a:pt x="1037" y="713"/>
                    </a:lnTo>
                    <a:lnTo>
                      <a:pt x="1037" y="719"/>
                    </a:lnTo>
                    <a:lnTo>
                      <a:pt x="1040" y="719"/>
                    </a:lnTo>
                    <a:lnTo>
                      <a:pt x="1044" y="721"/>
                    </a:lnTo>
                    <a:lnTo>
                      <a:pt x="1045" y="719"/>
                    </a:lnTo>
                    <a:lnTo>
                      <a:pt x="1052" y="714"/>
                    </a:lnTo>
                    <a:lnTo>
                      <a:pt x="1054" y="708"/>
                    </a:lnTo>
                    <a:lnTo>
                      <a:pt x="1055" y="703"/>
                    </a:lnTo>
                    <a:lnTo>
                      <a:pt x="1054" y="699"/>
                    </a:lnTo>
                    <a:lnTo>
                      <a:pt x="1055" y="698"/>
                    </a:lnTo>
                    <a:lnTo>
                      <a:pt x="1055" y="694"/>
                    </a:lnTo>
                    <a:lnTo>
                      <a:pt x="1052" y="694"/>
                    </a:lnTo>
                    <a:lnTo>
                      <a:pt x="1050" y="694"/>
                    </a:lnTo>
                    <a:lnTo>
                      <a:pt x="1047" y="696"/>
                    </a:lnTo>
                    <a:lnTo>
                      <a:pt x="1047" y="691"/>
                    </a:lnTo>
                    <a:lnTo>
                      <a:pt x="1049" y="689"/>
                    </a:lnTo>
                    <a:lnTo>
                      <a:pt x="1047" y="688"/>
                    </a:lnTo>
                    <a:lnTo>
                      <a:pt x="1044" y="688"/>
                    </a:lnTo>
                    <a:lnTo>
                      <a:pt x="1042" y="686"/>
                    </a:lnTo>
                    <a:lnTo>
                      <a:pt x="1039" y="683"/>
                    </a:lnTo>
                    <a:lnTo>
                      <a:pt x="1039" y="679"/>
                    </a:lnTo>
                    <a:lnTo>
                      <a:pt x="1035" y="673"/>
                    </a:lnTo>
                    <a:lnTo>
                      <a:pt x="1034" y="668"/>
                    </a:lnTo>
                    <a:lnTo>
                      <a:pt x="1037" y="663"/>
                    </a:lnTo>
                    <a:lnTo>
                      <a:pt x="1034" y="656"/>
                    </a:lnTo>
                    <a:lnTo>
                      <a:pt x="1032" y="661"/>
                    </a:lnTo>
                    <a:lnTo>
                      <a:pt x="1032" y="666"/>
                    </a:lnTo>
                    <a:lnTo>
                      <a:pt x="1029" y="661"/>
                    </a:lnTo>
                    <a:lnTo>
                      <a:pt x="1024" y="659"/>
                    </a:lnTo>
                    <a:lnTo>
                      <a:pt x="1022" y="649"/>
                    </a:lnTo>
                    <a:lnTo>
                      <a:pt x="1019" y="648"/>
                    </a:lnTo>
                    <a:lnTo>
                      <a:pt x="1017" y="641"/>
                    </a:lnTo>
                    <a:lnTo>
                      <a:pt x="1014" y="638"/>
                    </a:lnTo>
                    <a:lnTo>
                      <a:pt x="1014" y="633"/>
                    </a:lnTo>
                    <a:lnTo>
                      <a:pt x="1012" y="630"/>
                    </a:lnTo>
                    <a:lnTo>
                      <a:pt x="1012" y="628"/>
                    </a:lnTo>
                    <a:lnTo>
                      <a:pt x="1017" y="626"/>
                    </a:lnTo>
                    <a:lnTo>
                      <a:pt x="1019" y="621"/>
                    </a:lnTo>
                    <a:lnTo>
                      <a:pt x="1022" y="621"/>
                    </a:lnTo>
                    <a:lnTo>
                      <a:pt x="1024" y="623"/>
                    </a:lnTo>
                    <a:lnTo>
                      <a:pt x="1025" y="621"/>
                    </a:lnTo>
                    <a:lnTo>
                      <a:pt x="1027" y="618"/>
                    </a:lnTo>
                    <a:lnTo>
                      <a:pt x="1030" y="610"/>
                    </a:lnTo>
                    <a:lnTo>
                      <a:pt x="1030" y="603"/>
                    </a:lnTo>
                    <a:lnTo>
                      <a:pt x="1032" y="601"/>
                    </a:lnTo>
                    <a:lnTo>
                      <a:pt x="1029" y="595"/>
                    </a:lnTo>
                    <a:lnTo>
                      <a:pt x="1030" y="590"/>
                    </a:lnTo>
                    <a:lnTo>
                      <a:pt x="1034" y="588"/>
                    </a:lnTo>
                    <a:lnTo>
                      <a:pt x="1034" y="581"/>
                    </a:lnTo>
                    <a:lnTo>
                      <a:pt x="1039" y="576"/>
                    </a:lnTo>
                    <a:lnTo>
                      <a:pt x="1039" y="573"/>
                    </a:lnTo>
                    <a:lnTo>
                      <a:pt x="1042" y="570"/>
                    </a:lnTo>
                    <a:lnTo>
                      <a:pt x="1042" y="561"/>
                    </a:lnTo>
                    <a:lnTo>
                      <a:pt x="1044" y="560"/>
                    </a:lnTo>
                    <a:lnTo>
                      <a:pt x="1044" y="556"/>
                    </a:lnTo>
                    <a:lnTo>
                      <a:pt x="1049" y="551"/>
                    </a:lnTo>
                    <a:lnTo>
                      <a:pt x="1049" y="546"/>
                    </a:lnTo>
                    <a:lnTo>
                      <a:pt x="1049" y="543"/>
                    </a:lnTo>
                    <a:lnTo>
                      <a:pt x="1052" y="541"/>
                    </a:lnTo>
                    <a:lnTo>
                      <a:pt x="1054" y="538"/>
                    </a:lnTo>
                    <a:lnTo>
                      <a:pt x="1050" y="533"/>
                    </a:lnTo>
                    <a:lnTo>
                      <a:pt x="1052" y="530"/>
                    </a:lnTo>
                    <a:lnTo>
                      <a:pt x="1052" y="527"/>
                    </a:lnTo>
                    <a:lnTo>
                      <a:pt x="1047" y="525"/>
                    </a:lnTo>
                    <a:lnTo>
                      <a:pt x="1045" y="518"/>
                    </a:lnTo>
                    <a:lnTo>
                      <a:pt x="1047" y="517"/>
                    </a:lnTo>
                    <a:lnTo>
                      <a:pt x="1044" y="510"/>
                    </a:lnTo>
                    <a:lnTo>
                      <a:pt x="1039" y="508"/>
                    </a:lnTo>
                    <a:lnTo>
                      <a:pt x="1037" y="507"/>
                    </a:lnTo>
                    <a:lnTo>
                      <a:pt x="1035" y="507"/>
                    </a:lnTo>
                    <a:lnTo>
                      <a:pt x="1034" y="513"/>
                    </a:lnTo>
                    <a:lnTo>
                      <a:pt x="1032" y="513"/>
                    </a:lnTo>
                    <a:lnTo>
                      <a:pt x="1027" y="505"/>
                    </a:lnTo>
                    <a:lnTo>
                      <a:pt x="1024" y="503"/>
                    </a:lnTo>
                    <a:lnTo>
                      <a:pt x="1020" y="500"/>
                    </a:lnTo>
                    <a:lnTo>
                      <a:pt x="1017" y="502"/>
                    </a:lnTo>
                    <a:lnTo>
                      <a:pt x="1019" y="508"/>
                    </a:lnTo>
                    <a:lnTo>
                      <a:pt x="1017" y="508"/>
                    </a:lnTo>
                    <a:lnTo>
                      <a:pt x="1014" y="508"/>
                    </a:lnTo>
                    <a:lnTo>
                      <a:pt x="1010" y="513"/>
                    </a:lnTo>
                    <a:lnTo>
                      <a:pt x="1010" y="515"/>
                    </a:lnTo>
                    <a:lnTo>
                      <a:pt x="1007" y="517"/>
                    </a:lnTo>
                    <a:lnTo>
                      <a:pt x="1004" y="528"/>
                    </a:lnTo>
                    <a:lnTo>
                      <a:pt x="1004" y="532"/>
                    </a:lnTo>
                    <a:lnTo>
                      <a:pt x="1000" y="537"/>
                    </a:lnTo>
                    <a:lnTo>
                      <a:pt x="1000" y="541"/>
                    </a:lnTo>
                    <a:lnTo>
                      <a:pt x="999" y="541"/>
                    </a:lnTo>
                    <a:lnTo>
                      <a:pt x="999" y="546"/>
                    </a:lnTo>
                    <a:lnTo>
                      <a:pt x="995" y="548"/>
                    </a:lnTo>
                    <a:lnTo>
                      <a:pt x="995" y="556"/>
                    </a:lnTo>
                    <a:lnTo>
                      <a:pt x="990" y="558"/>
                    </a:lnTo>
                    <a:lnTo>
                      <a:pt x="989" y="558"/>
                    </a:lnTo>
                    <a:lnTo>
                      <a:pt x="986" y="565"/>
                    </a:lnTo>
                    <a:lnTo>
                      <a:pt x="987" y="568"/>
                    </a:lnTo>
                    <a:lnTo>
                      <a:pt x="986" y="571"/>
                    </a:lnTo>
                    <a:lnTo>
                      <a:pt x="986" y="576"/>
                    </a:lnTo>
                    <a:lnTo>
                      <a:pt x="982" y="580"/>
                    </a:lnTo>
                    <a:lnTo>
                      <a:pt x="984" y="583"/>
                    </a:lnTo>
                    <a:lnTo>
                      <a:pt x="984" y="586"/>
                    </a:lnTo>
                    <a:lnTo>
                      <a:pt x="979" y="586"/>
                    </a:lnTo>
                    <a:lnTo>
                      <a:pt x="981" y="590"/>
                    </a:lnTo>
                    <a:lnTo>
                      <a:pt x="986" y="591"/>
                    </a:lnTo>
                    <a:lnTo>
                      <a:pt x="986" y="595"/>
                    </a:lnTo>
                    <a:lnTo>
                      <a:pt x="982" y="593"/>
                    </a:lnTo>
                    <a:lnTo>
                      <a:pt x="979" y="593"/>
                    </a:lnTo>
                    <a:lnTo>
                      <a:pt x="976" y="596"/>
                    </a:lnTo>
                    <a:lnTo>
                      <a:pt x="972" y="595"/>
                    </a:lnTo>
                    <a:lnTo>
                      <a:pt x="971" y="598"/>
                    </a:lnTo>
                    <a:lnTo>
                      <a:pt x="971" y="601"/>
                    </a:lnTo>
                    <a:lnTo>
                      <a:pt x="967" y="603"/>
                    </a:lnTo>
                    <a:lnTo>
                      <a:pt x="964" y="601"/>
                    </a:lnTo>
                    <a:lnTo>
                      <a:pt x="964" y="598"/>
                    </a:lnTo>
                    <a:lnTo>
                      <a:pt x="966" y="595"/>
                    </a:lnTo>
                    <a:lnTo>
                      <a:pt x="962" y="591"/>
                    </a:lnTo>
                    <a:lnTo>
                      <a:pt x="962" y="585"/>
                    </a:lnTo>
                    <a:lnTo>
                      <a:pt x="966" y="578"/>
                    </a:lnTo>
                    <a:lnTo>
                      <a:pt x="967" y="573"/>
                    </a:lnTo>
                    <a:lnTo>
                      <a:pt x="971" y="570"/>
                    </a:lnTo>
                    <a:lnTo>
                      <a:pt x="971" y="566"/>
                    </a:lnTo>
                    <a:lnTo>
                      <a:pt x="972" y="563"/>
                    </a:lnTo>
                    <a:lnTo>
                      <a:pt x="974" y="553"/>
                    </a:lnTo>
                    <a:lnTo>
                      <a:pt x="981" y="551"/>
                    </a:lnTo>
                    <a:lnTo>
                      <a:pt x="981" y="546"/>
                    </a:lnTo>
                    <a:lnTo>
                      <a:pt x="977" y="546"/>
                    </a:lnTo>
                    <a:lnTo>
                      <a:pt x="976" y="546"/>
                    </a:lnTo>
                    <a:lnTo>
                      <a:pt x="976" y="543"/>
                    </a:lnTo>
                    <a:lnTo>
                      <a:pt x="979" y="540"/>
                    </a:lnTo>
                    <a:lnTo>
                      <a:pt x="979" y="532"/>
                    </a:lnTo>
                    <a:lnTo>
                      <a:pt x="977" y="530"/>
                    </a:lnTo>
                    <a:lnTo>
                      <a:pt x="976" y="525"/>
                    </a:lnTo>
                    <a:lnTo>
                      <a:pt x="976" y="523"/>
                    </a:lnTo>
                    <a:lnTo>
                      <a:pt x="977" y="517"/>
                    </a:lnTo>
                    <a:lnTo>
                      <a:pt x="974" y="517"/>
                    </a:lnTo>
                    <a:lnTo>
                      <a:pt x="969" y="512"/>
                    </a:lnTo>
                    <a:lnTo>
                      <a:pt x="962" y="513"/>
                    </a:lnTo>
                    <a:lnTo>
                      <a:pt x="961" y="518"/>
                    </a:lnTo>
                    <a:lnTo>
                      <a:pt x="966" y="522"/>
                    </a:lnTo>
                    <a:lnTo>
                      <a:pt x="966" y="525"/>
                    </a:lnTo>
                    <a:lnTo>
                      <a:pt x="967" y="528"/>
                    </a:lnTo>
                    <a:lnTo>
                      <a:pt x="967" y="532"/>
                    </a:lnTo>
                    <a:lnTo>
                      <a:pt x="964" y="532"/>
                    </a:lnTo>
                    <a:lnTo>
                      <a:pt x="962" y="527"/>
                    </a:lnTo>
                    <a:lnTo>
                      <a:pt x="961" y="527"/>
                    </a:lnTo>
                    <a:lnTo>
                      <a:pt x="957" y="532"/>
                    </a:lnTo>
                    <a:lnTo>
                      <a:pt x="961" y="533"/>
                    </a:lnTo>
                    <a:lnTo>
                      <a:pt x="961" y="537"/>
                    </a:lnTo>
                    <a:lnTo>
                      <a:pt x="962" y="541"/>
                    </a:lnTo>
                    <a:lnTo>
                      <a:pt x="961" y="543"/>
                    </a:lnTo>
                    <a:lnTo>
                      <a:pt x="961" y="541"/>
                    </a:lnTo>
                    <a:lnTo>
                      <a:pt x="957" y="540"/>
                    </a:lnTo>
                    <a:lnTo>
                      <a:pt x="957" y="545"/>
                    </a:lnTo>
                    <a:lnTo>
                      <a:pt x="952" y="541"/>
                    </a:lnTo>
                    <a:lnTo>
                      <a:pt x="952" y="538"/>
                    </a:lnTo>
                    <a:lnTo>
                      <a:pt x="949" y="540"/>
                    </a:lnTo>
                    <a:lnTo>
                      <a:pt x="947" y="543"/>
                    </a:lnTo>
                    <a:lnTo>
                      <a:pt x="946" y="543"/>
                    </a:lnTo>
                    <a:lnTo>
                      <a:pt x="946" y="538"/>
                    </a:lnTo>
                    <a:lnTo>
                      <a:pt x="947" y="535"/>
                    </a:lnTo>
                    <a:lnTo>
                      <a:pt x="947" y="535"/>
                    </a:lnTo>
                    <a:lnTo>
                      <a:pt x="941" y="537"/>
                    </a:lnTo>
                    <a:lnTo>
                      <a:pt x="936" y="541"/>
                    </a:lnTo>
                    <a:lnTo>
                      <a:pt x="932" y="537"/>
                    </a:lnTo>
                    <a:lnTo>
                      <a:pt x="929" y="537"/>
                    </a:lnTo>
                    <a:lnTo>
                      <a:pt x="926" y="540"/>
                    </a:lnTo>
                    <a:lnTo>
                      <a:pt x="921" y="540"/>
                    </a:lnTo>
                    <a:lnTo>
                      <a:pt x="919" y="537"/>
                    </a:lnTo>
                    <a:lnTo>
                      <a:pt x="914" y="538"/>
                    </a:lnTo>
                    <a:lnTo>
                      <a:pt x="911" y="537"/>
                    </a:lnTo>
                    <a:lnTo>
                      <a:pt x="916" y="533"/>
                    </a:lnTo>
                    <a:lnTo>
                      <a:pt x="921" y="532"/>
                    </a:lnTo>
                    <a:lnTo>
                      <a:pt x="924" y="533"/>
                    </a:lnTo>
                    <a:lnTo>
                      <a:pt x="929" y="532"/>
                    </a:lnTo>
                    <a:lnTo>
                      <a:pt x="931" y="528"/>
                    </a:lnTo>
                    <a:lnTo>
                      <a:pt x="934" y="528"/>
                    </a:lnTo>
                    <a:lnTo>
                      <a:pt x="937" y="528"/>
                    </a:lnTo>
                    <a:lnTo>
                      <a:pt x="941" y="525"/>
                    </a:lnTo>
                    <a:lnTo>
                      <a:pt x="941" y="522"/>
                    </a:lnTo>
                    <a:lnTo>
                      <a:pt x="942" y="518"/>
                    </a:lnTo>
                    <a:lnTo>
                      <a:pt x="939" y="517"/>
                    </a:lnTo>
                    <a:lnTo>
                      <a:pt x="936" y="510"/>
                    </a:lnTo>
                    <a:lnTo>
                      <a:pt x="929" y="508"/>
                    </a:lnTo>
                    <a:lnTo>
                      <a:pt x="929" y="505"/>
                    </a:lnTo>
                    <a:lnTo>
                      <a:pt x="922" y="498"/>
                    </a:lnTo>
                    <a:lnTo>
                      <a:pt x="921" y="497"/>
                    </a:lnTo>
                    <a:lnTo>
                      <a:pt x="917" y="497"/>
                    </a:lnTo>
                    <a:lnTo>
                      <a:pt x="911" y="500"/>
                    </a:lnTo>
                    <a:lnTo>
                      <a:pt x="909" y="500"/>
                    </a:lnTo>
                    <a:lnTo>
                      <a:pt x="901" y="507"/>
                    </a:lnTo>
                    <a:lnTo>
                      <a:pt x="902" y="508"/>
                    </a:lnTo>
                    <a:lnTo>
                      <a:pt x="902" y="512"/>
                    </a:lnTo>
                    <a:lnTo>
                      <a:pt x="899" y="512"/>
                    </a:lnTo>
                    <a:lnTo>
                      <a:pt x="896" y="513"/>
                    </a:lnTo>
                    <a:lnTo>
                      <a:pt x="896" y="512"/>
                    </a:lnTo>
                    <a:lnTo>
                      <a:pt x="892" y="513"/>
                    </a:lnTo>
                    <a:lnTo>
                      <a:pt x="889" y="510"/>
                    </a:lnTo>
                    <a:lnTo>
                      <a:pt x="884" y="510"/>
                    </a:lnTo>
                    <a:lnTo>
                      <a:pt x="883" y="512"/>
                    </a:lnTo>
                    <a:lnTo>
                      <a:pt x="878" y="512"/>
                    </a:lnTo>
                    <a:lnTo>
                      <a:pt x="876" y="510"/>
                    </a:lnTo>
                    <a:lnTo>
                      <a:pt x="878" y="508"/>
                    </a:lnTo>
                    <a:lnTo>
                      <a:pt x="884" y="508"/>
                    </a:lnTo>
                    <a:lnTo>
                      <a:pt x="886" y="503"/>
                    </a:lnTo>
                    <a:lnTo>
                      <a:pt x="889" y="502"/>
                    </a:lnTo>
                    <a:lnTo>
                      <a:pt x="892" y="503"/>
                    </a:lnTo>
                    <a:lnTo>
                      <a:pt x="896" y="498"/>
                    </a:lnTo>
                    <a:lnTo>
                      <a:pt x="896" y="493"/>
                    </a:lnTo>
                    <a:lnTo>
                      <a:pt x="899" y="492"/>
                    </a:lnTo>
                    <a:lnTo>
                      <a:pt x="902" y="492"/>
                    </a:lnTo>
                    <a:lnTo>
                      <a:pt x="906" y="485"/>
                    </a:lnTo>
                    <a:lnTo>
                      <a:pt x="906" y="478"/>
                    </a:lnTo>
                    <a:lnTo>
                      <a:pt x="906" y="475"/>
                    </a:lnTo>
                    <a:lnTo>
                      <a:pt x="906" y="472"/>
                    </a:lnTo>
                    <a:lnTo>
                      <a:pt x="901" y="472"/>
                    </a:lnTo>
                    <a:lnTo>
                      <a:pt x="894" y="473"/>
                    </a:lnTo>
                    <a:lnTo>
                      <a:pt x="884" y="475"/>
                    </a:lnTo>
                    <a:lnTo>
                      <a:pt x="876" y="478"/>
                    </a:lnTo>
                    <a:lnTo>
                      <a:pt x="858" y="480"/>
                    </a:lnTo>
                    <a:lnTo>
                      <a:pt x="836" y="488"/>
                    </a:lnTo>
                    <a:lnTo>
                      <a:pt x="831" y="493"/>
                    </a:lnTo>
                    <a:lnTo>
                      <a:pt x="818" y="495"/>
                    </a:lnTo>
                    <a:lnTo>
                      <a:pt x="799" y="503"/>
                    </a:lnTo>
                    <a:lnTo>
                      <a:pt x="794" y="508"/>
                    </a:lnTo>
                    <a:lnTo>
                      <a:pt x="793" y="512"/>
                    </a:lnTo>
                    <a:lnTo>
                      <a:pt x="798" y="512"/>
                    </a:lnTo>
                    <a:lnTo>
                      <a:pt x="799" y="513"/>
                    </a:lnTo>
                    <a:lnTo>
                      <a:pt x="794" y="517"/>
                    </a:lnTo>
                    <a:lnTo>
                      <a:pt x="791" y="517"/>
                    </a:lnTo>
                    <a:lnTo>
                      <a:pt x="783" y="523"/>
                    </a:lnTo>
                    <a:lnTo>
                      <a:pt x="776" y="523"/>
                    </a:lnTo>
                    <a:lnTo>
                      <a:pt x="773" y="527"/>
                    </a:lnTo>
                    <a:lnTo>
                      <a:pt x="771" y="530"/>
                    </a:lnTo>
                    <a:lnTo>
                      <a:pt x="765" y="535"/>
                    </a:lnTo>
                    <a:lnTo>
                      <a:pt x="763" y="538"/>
                    </a:lnTo>
                    <a:lnTo>
                      <a:pt x="761" y="543"/>
                    </a:lnTo>
                    <a:lnTo>
                      <a:pt x="765" y="541"/>
                    </a:lnTo>
                    <a:lnTo>
                      <a:pt x="768" y="543"/>
                    </a:lnTo>
                    <a:lnTo>
                      <a:pt x="766" y="546"/>
                    </a:lnTo>
                    <a:lnTo>
                      <a:pt x="768" y="548"/>
                    </a:lnTo>
                    <a:lnTo>
                      <a:pt x="771" y="546"/>
                    </a:lnTo>
                    <a:lnTo>
                      <a:pt x="775" y="545"/>
                    </a:lnTo>
                    <a:lnTo>
                      <a:pt x="780" y="545"/>
                    </a:lnTo>
                    <a:lnTo>
                      <a:pt x="783" y="548"/>
                    </a:lnTo>
                    <a:lnTo>
                      <a:pt x="781" y="551"/>
                    </a:lnTo>
                    <a:lnTo>
                      <a:pt x="776" y="553"/>
                    </a:lnTo>
                    <a:lnTo>
                      <a:pt x="771" y="550"/>
                    </a:lnTo>
                    <a:lnTo>
                      <a:pt x="768" y="551"/>
                    </a:lnTo>
                    <a:lnTo>
                      <a:pt x="768" y="556"/>
                    </a:lnTo>
                    <a:lnTo>
                      <a:pt x="776" y="560"/>
                    </a:lnTo>
                    <a:lnTo>
                      <a:pt x="780" y="558"/>
                    </a:lnTo>
                    <a:lnTo>
                      <a:pt x="781" y="555"/>
                    </a:lnTo>
                    <a:lnTo>
                      <a:pt x="783" y="555"/>
                    </a:lnTo>
                    <a:lnTo>
                      <a:pt x="785" y="556"/>
                    </a:lnTo>
                    <a:lnTo>
                      <a:pt x="783" y="560"/>
                    </a:lnTo>
                    <a:lnTo>
                      <a:pt x="786" y="560"/>
                    </a:lnTo>
                    <a:lnTo>
                      <a:pt x="794" y="561"/>
                    </a:lnTo>
                    <a:lnTo>
                      <a:pt x="803" y="560"/>
                    </a:lnTo>
                    <a:lnTo>
                      <a:pt x="808" y="560"/>
                    </a:lnTo>
                    <a:lnTo>
                      <a:pt x="814" y="561"/>
                    </a:lnTo>
                    <a:lnTo>
                      <a:pt x="819" y="561"/>
                    </a:lnTo>
                    <a:lnTo>
                      <a:pt x="824" y="563"/>
                    </a:lnTo>
                    <a:lnTo>
                      <a:pt x="826" y="566"/>
                    </a:lnTo>
                    <a:lnTo>
                      <a:pt x="829" y="566"/>
                    </a:lnTo>
                    <a:lnTo>
                      <a:pt x="829" y="570"/>
                    </a:lnTo>
                    <a:lnTo>
                      <a:pt x="824" y="570"/>
                    </a:lnTo>
                    <a:lnTo>
                      <a:pt x="818" y="565"/>
                    </a:lnTo>
                    <a:lnTo>
                      <a:pt x="809" y="565"/>
                    </a:lnTo>
                    <a:lnTo>
                      <a:pt x="808" y="566"/>
                    </a:lnTo>
                    <a:lnTo>
                      <a:pt x="813" y="568"/>
                    </a:lnTo>
                    <a:lnTo>
                      <a:pt x="814" y="571"/>
                    </a:lnTo>
                    <a:lnTo>
                      <a:pt x="806" y="571"/>
                    </a:lnTo>
                    <a:lnTo>
                      <a:pt x="803" y="568"/>
                    </a:lnTo>
                    <a:lnTo>
                      <a:pt x="793" y="570"/>
                    </a:lnTo>
                    <a:lnTo>
                      <a:pt x="790" y="571"/>
                    </a:lnTo>
                    <a:lnTo>
                      <a:pt x="786" y="570"/>
                    </a:lnTo>
                    <a:lnTo>
                      <a:pt x="785" y="570"/>
                    </a:lnTo>
                    <a:lnTo>
                      <a:pt x="781" y="571"/>
                    </a:lnTo>
                    <a:lnTo>
                      <a:pt x="776" y="570"/>
                    </a:lnTo>
                    <a:lnTo>
                      <a:pt x="765" y="571"/>
                    </a:lnTo>
                    <a:lnTo>
                      <a:pt x="763" y="573"/>
                    </a:lnTo>
                    <a:lnTo>
                      <a:pt x="755" y="575"/>
                    </a:lnTo>
                    <a:lnTo>
                      <a:pt x="753" y="578"/>
                    </a:lnTo>
                    <a:lnTo>
                      <a:pt x="755" y="591"/>
                    </a:lnTo>
                    <a:lnTo>
                      <a:pt x="755" y="593"/>
                    </a:lnTo>
                    <a:lnTo>
                      <a:pt x="755" y="598"/>
                    </a:lnTo>
                    <a:lnTo>
                      <a:pt x="753" y="598"/>
                    </a:lnTo>
                    <a:lnTo>
                      <a:pt x="755" y="601"/>
                    </a:lnTo>
                    <a:lnTo>
                      <a:pt x="756" y="603"/>
                    </a:lnTo>
                    <a:lnTo>
                      <a:pt x="760" y="603"/>
                    </a:lnTo>
                    <a:lnTo>
                      <a:pt x="763" y="603"/>
                    </a:lnTo>
                    <a:lnTo>
                      <a:pt x="766" y="605"/>
                    </a:lnTo>
                    <a:lnTo>
                      <a:pt x="770" y="605"/>
                    </a:lnTo>
                    <a:lnTo>
                      <a:pt x="771" y="603"/>
                    </a:lnTo>
                    <a:lnTo>
                      <a:pt x="771" y="603"/>
                    </a:lnTo>
                    <a:lnTo>
                      <a:pt x="775" y="605"/>
                    </a:lnTo>
                    <a:lnTo>
                      <a:pt x="776" y="606"/>
                    </a:lnTo>
                    <a:lnTo>
                      <a:pt x="780" y="605"/>
                    </a:lnTo>
                    <a:lnTo>
                      <a:pt x="783" y="608"/>
                    </a:lnTo>
                    <a:lnTo>
                      <a:pt x="783" y="610"/>
                    </a:lnTo>
                    <a:lnTo>
                      <a:pt x="786" y="611"/>
                    </a:lnTo>
                    <a:lnTo>
                      <a:pt x="790" y="610"/>
                    </a:lnTo>
                    <a:lnTo>
                      <a:pt x="793" y="610"/>
                    </a:lnTo>
                    <a:lnTo>
                      <a:pt x="794" y="611"/>
                    </a:lnTo>
                    <a:lnTo>
                      <a:pt x="799" y="611"/>
                    </a:lnTo>
                    <a:lnTo>
                      <a:pt x="803" y="611"/>
                    </a:lnTo>
                    <a:lnTo>
                      <a:pt x="808" y="613"/>
                    </a:lnTo>
                    <a:lnTo>
                      <a:pt x="811" y="611"/>
                    </a:lnTo>
                    <a:lnTo>
                      <a:pt x="814" y="611"/>
                    </a:lnTo>
                    <a:lnTo>
                      <a:pt x="819" y="613"/>
                    </a:lnTo>
                    <a:lnTo>
                      <a:pt x="824" y="611"/>
                    </a:lnTo>
                    <a:lnTo>
                      <a:pt x="828" y="613"/>
                    </a:lnTo>
                    <a:lnTo>
                      <a:pt x="829" y="616"/>
                    </a:lnTo>
                    <a:lnTo>
                      <a:pt x="833" y="615"/>
                    </a:lnTo>
                    <a:lnTo>
                      <a:pt x="834" y="618"/>
                    </a:lnTo>
                    <a:lnTo>
                      <a:pt x="838" y="621"/>
                    </a:lnTo>
                    <a:lnTo>
                      <a:pt x="838" y="623"/>
                    </a:lnTo>
                    <a:lnTo>
                      <a:pt x="839" y="625"/>
                    </a:lnTo>
                    <a:lnTo>
                      <a:pt x="844" y="625"/>
                    </a:lnTo>
                    <a:lnTo>
                      <a:pt x="848" y="626"/>
                    </a:lnTo>
                    <a:lnTo>
                      <a:pt x="848" y="628"/>
                    </a:lnTo>
                    <a:lnTo>
                      <a:pt x="851" y="630"/>
                    </a:lnTo>
                    <a:lnTo>
                      <a:pt x="853" y="633"/>
                    </a:lnTo>
                    <a:lnTo>
                      <a:pt x="853" y="635"/>
                    </a:lnTo>
                    <a:lnTo>
                      <a:pt x="853" y="636"/>
                    </a:lnTo>
                    <a:lnTo>
                      <a:pt x="856" y="641"/>
                    </a:lnTo>
                    <a:lnTo>
                      <a:pt x="863" y="644"/>
                    </a:lnTo>
                    <a:lnTo>
                      <a:pt x="863" y="646"/>
                    </a:lnTo>
                    <a:lnTo>
                      <a:pt x="861" y="648"/>
                    </a:lnTo>
                    <a:lnTo>
                      <a:pt x="863" y="651"/>
                    </a:lnTo>
                    <a:lnTo>
                      <a:pt x="861" y="649"/>
                    </a:lnTo>
                    <a:lnTo>
                      <a:pt x="853" y="648"/>
                    </a:lnTo>
                    <a:lnTo>
                      <a:pt x="844" y="646"/>
                    </a:lnTo>
                    <a:lnTo>
                      <a:pt x="841" y="646"/>
                    </a:lnTo>
                    <a:lnTo>
                      <a:pt x="838" y="646"/>
                    </a:lnTo>
                    <a:lnTo>
                      <a:pt x="836" y="646"/>
                    </a:lnTo>
                    <a:lnTo>
                      <a:pt x="833" y="646"/>
                    </a:lnTo>
                    <a:lnTo>
                      <a:pt x="829" y="643"/>
                    </a:lnTo>
                    <a:lnTo>
                      <a:pt x="826" y="643"/>
                    </a:lnTo>
                    <a:lnTo>
                      <a:pt x="824" y="639"/>
                    </a:lnTo>
                    <a:lnTo>
                      <a:pt x="823" y="638"/>
                    </a:lnTo>
                    <a:lnTo>
                      <a:pt x="816" y="639"/>
                    </a:lnTo>
                    <a:lnTo>
                      <a:pt x="814" y="638"/>
                    </a:lnTo>
                    <a:lnTo>
                      <a:pt x="811" y="636"/>
                    </a:lnTo>
                    <a:lnTo>
                      <a:pt x="806" y="635"/>
                    </a:lnTo>
                    <a:lnTo>
                      <a:pt x="806" y="631"/>
                    </a:lnTo>
                    <a:lnTo>
                      <a:pt x="804" y="631"/>
                    </a:lnTo>
                    <a:lnTo>
                      <a:pt x="801" y="631"/>
                    </a:lnTo>
                    <a:lnTo>
                      <a:pt x="796" y="631"/>
                    </a:lnTo>
                    <a:lnTo>
                      <a:pt x="794" y="630"/>
                    </a:lnTo>
                    <a:lnTo>
                      <a:pt x="783" y="630"/>
                    </a:lnTo>
                    <a:lnTo>
                      <a:pt x="776" y="630"/>
                    </a:lnTo>
                    <a:lnTo>
                      <a:pt x="771" y="628"/>
                    </a:lnTo>
                    <a:lnTo>
                      <a:pt x="753" y="628"/>
                    </a:lnTo>
                    <a:lnTo>
                      <a:pt x="750" y="630"/>
                    </a:lnTo>
                    <a:lnTo>
                      <a:pt x="745" y="631"/>
                    </a:lnTo>
                    <a:lnTo>
                      <a:pt x="741" y="635"/>
                    </a:lnTo>
                    <a:lnTo>
                      <a:pt x="741" y="641"/>
                    </a:lnTo>
                    <a:lnTo>
                      <a:pt x="736" y="646"/>
                    </a:lnTo>
                    <a:lnTo>
                      <a:pt x="738" y="653"/>
                    </a:lnTo>
                    <a:lnTo>
                      <a:pt x="736" y="656"/>
                    </a:lnTo>
                    <a:lnTo>
                      <a:pt x="738" y="658"/>
                    </a:lnTo>
                    <a:lnTo>
                      <a:pt x="741" y="659"/>
                    </a:lnTo>
                    <a:lnTo>
                      <a:pt x="740" y="661"/>
                    </a:lnTo>
                    <a:lnTo>
                      <a:pt x="738" y="663"/>
                    </a:lnTo>
                    <a:lnTo>
                      <a:pt x="741" y="671"/>
                    </a:lnTo>
                    <a:lnTo>
                      <a:pt x="745" y="674"/>
                    </a:lnTo>
                    <a:lnTo>
                      <a:pt x="746" y="676"/>
                    </a:lnTo>
                    <a:lnTo>
                      <a:pt x="753" y="681"/>
                    </a:lnTo>
                    <a:lnTo>
                      <a:pt x="756" y="683"/>
                    </a:lnTo>
                    <a:lnTo>
                      <a:pt x="760" y="681"/>
                    </a:lnTo>
                    <a:lnTo>
                      <a:pt x="761" y="684"/>
                    </a:lnTo>
                    <a:lnTo>
                      <a:pt x="765" y="684"/>
                    </a:lnTo>
                    <a:lnTo>
                      <a:pt x="770" y="683"/>
                    </a:lnTo>
                    <a:lnTo>
                      <a:pt x="773" y="683"/>
                    </a:lnTo>
                    <a:lnTo>
                      <a:pt x="776" y="686"/>
                    </a:lnTo>
                    <a:lnTo>
                      <a:pt x="781" y="686"/>
                    </a:lnTo>
                    <a:lnTo>
                      <a:pt x="785" y="691"/>
                    </a:lnTo>
                    <a:lnTo>
                      <a:pt x="788" y="691"/>
                    </a:lnTo>
                    <a:lnTo>
                      <a:pt x="790" y="694"/>
                    </a:lnTo>
                    <a:lnTo>
                      <a:pt x="783" y="696"/>
                    </a:lnTo>
                    <a:lnTo>
                      <a:pt x="785" y="698"/>
                    </a:lnTo>
                    <a:lnTo>
                      <a:pt x="781" y="701"/>
                    </a:lnTo>
                    <a:lnTo>
                      <a:pt x="783" y="703"/>
                    </a:lnTo>
                    <a:lnTo>
                      <a:pt x="780" y="706"/>
                    </a:lnTo>
                    <a:lnTo>
                      <a:pt x="775" y="708"/>
                    </a:lnTo>
                    <a:lnTo>
                      <a:pt x="775" y="711"/>
                    </a:lnTo>
                    <a:lnTo>
                      <a:pt x="773" y="713"/>
                    </a:lnTo>
                    <a:lnTo>
                      <a:pt x="776" y="716"/>
                    </a:lnTo>
                    <a:lnTo>
                      <a:pt x="776" y="721"/>
                    </a:lnTo>
                    <a:lnTo>
                      <a:pt x="780" y="726"/>
                    </a:lnTo>
                    <a:lnTo>
                      <a:pt x="778" y="728"/>
                    </a:lnTo>
                    <a:lnTo>
                      <a:pt x="773" y="729"/>
                    </a:lnTo>
                    <a:lnTo>
                      <a:pt x="775" y="731"/>
                    </a:lnTo>
                    <a:lnTo>
                      <a:pt x="783" y="733"/>
                    </a:lnTo>
                    <a:lnTo>
                      <a:pt x="786" y="733"/>
                    </a:lnTo>
                    <a:lnTo>
                      <a:pt x="788" y="733"/>
                    </a:lnTo>
                    <a:lnTo>
                      <a:pt x="790" y="734"/>
                    </a:lnTo>
                    <a:lnTo>
                      <a:pt x="791" y="731"/>
                    </a:lnTo>
                    <a:lnTo>
                      <a:pt x="794" y="731"/>
                    </a:lnTo>
                    <a:lnTo>
                      <a:pt x="796" y="733"/>
                    </a:lnTo>
                    <a:lnTo>
                      <a:pt x="803" y="733"/>
                    </a:lnTo>
                    <a:lnTo>
                      <a:pt x="809" y="736"/>
                    </a:lnTo>
                    <a:lnTo>
                      <a:pt x="813" y="733"/>
                    </a:lnTo>
                    <a:lnTo>
                      <a:pt x="819" y="733"/>
                    </a:lnTo>
                    <a:lnTo>
                      <a:pt x="821" y="734"/>
                    </a:lnTo>
                    <a:lnTo>
                      <a:pt x="821" y="734"/>
                    </a:lnTo>
                    <a:lnTo>
                      <a:pt x="823" y="734"/>
                    </a:lnTo>
                    <a:lnTo>
                      <a:pt x="826" y="733"/>
                    </a:lnTo>
                    <a:lnTo>
                      <a:pt x="829" y="734"/>
                    </a:lnTo>
                    <a:lnTo>
                      <a:pt x="829" y="736"/>
                    </a:lnTo>
                    <a:lnTo>
                      <a:pt x="833" y="736"/>
                    </a:lnTo>
                    <a:lnTo>
                      <a:pt x="834" y="734"/>
                    </a:lnTo>
                    <a:lnTo>
                      <a:pt x="836" y="736"/>
                    </a:lnTo>
                    <a:lnTo>
                      <a:pt x="838" y="739"/>
                    </a:lnTo>
                    <a:lnTo>
                      <a:pt x="839" y="739"/>
                    </a:lnTo>
                    <a:lnTo>
                      <a:pt x="841" y="737"/>
                    </a:lnTo>
                    <a:lnTo>
                      <a:pt x="848" y="737"/>
                    </a:lnTo>
                    <a:lnTo>
                      <a:pt x="851" y="734"/>
                    </a:lnTo>
                    <a:lnTo>
                      <a:pt x="854" y="733"/>
                    </a:lnTo>
                    <a:lnTo>
                      <a:pt x="858" y="733"/>
                    </a:lnTo>
                    <a:lnTo>
                      <a:pt x="863" y="729"/>
                    </a:lnTo>
                    <a:lnTo>
                      <a:pt x="869" y="726"/>
                    </a:lnTo>
                    <a:lnTo>
                      <a:pt x="873" y="726"/>
                    </a:lnTo>
                    <a:lnTo>
                      <a:pt x="874" y="724"/>
                    </a:lnTo>
                    <a:lnTo>
                      <a:pt x="878" y="724"/>
                    </a:lnTo>
                    <a:lnTo>
                      <a:pt x="883" y="724"/>
                    </a:lnTo>
                    <a:lnTo>
                      <a:pt x="886" y="724"/>
                    </a:lnTo>
                    <a:lnTo>
                      <a:pt x="888" y="726"/>
                    </a:lnTo>
                    <a:lnTo>
                      <a:pt x="897" y="726"/>
                    </a:lnTo>
                    <a:lnTo>
                      <a:pt x="907" y="719"/>
                    </a:lnTo>
                    <a:lnTo>
                      <a:pt x="909" y="718"/>
                    </a:lnTo>
                    <a:lnTo>
                      <a:pt x="911" y="718"/>
                    </a:lnTo>
                    <a:lnTo>
                      <a:pt x="912" y="718"/>
                    </a:lnTo>
                    <a:lnTo>
                      <a:pt x="914" y="716"/>
                    </a:lnTo>
                    <a:lnTo>
                      <a:pt x="917" y="714"/>
                    </a:lnTo>
                    <a:lnTo>
                      <a:pt x="917" y="711"/>
                    </a:lnTo>
                    <a:lnTo>
                      <a:pt x="919" y="709"/>
                    </a:lnTo>
                    <a:lnTo>
                      <a:pt x="921" y="711"/>
                    </a:lnTo>
                    <a:lnTo>
                      <a:pt x="922" y="709"/>
                    </a:lnTo>
                    <a:lnTo>
                      <a:pt x="924" y="708"/>
                    </a:lnTo>
                    <a:lnTo>
                      <a:pt x="924" y="706"/>
                    </a:lnTo>
                    <a:lnTo>
                      <a:pt x="926" y="706"/>
                    </a:lnTo>
                    <a:lnTo>
                      <a:pt x="929" y="706"/>
                    </a:lnTo>
                    <a:lnTo>
                      <a:pt x="931" y="708"/>
                    </a:lnTo>
                    <a:lnTo>
                      <a:pt x="931" y="711"/>
                    </a:lnTo>
                    <a:lnTo>
                      <a:pt x="932" y="713"/>
                    </a:lnTo>
                    <a:lnTo>
                      <a:pt x="929" y="714"/>
                    </a:lnTo>
                    <a:lnTo>
                      <a:pt x="929" y="718"/>
                    </a:lnTo>
                    <a:lnTo>
                      <a:pt x="926" y="721"/>
                    </a:lnTo>
                    <a:lnTo>
                      <a:pt x="924" y="721"/>
                    </a:lnTo>
                    <a:lnTo>
                      <a:pt x="924" y="723"/>
                    </a:lnTo>
                    <a:lnTo>
                      <a:pt x="927" y="724"/>
                    </a:lnTo>
                    <a:lnTo>
                      <a:pt x="931" y="726"/>
                    </a:lnTo>
                    <a:lnTo>
                      <a:pt x="932" y="726"/>
                    </a:lnTo>
                    <a:lnTo>
                      <a:pt x="936" y="724"/>
                    </a:lnTo>
                    <a:lnTo>
                      <a:pt x="939" y="726"/>
                    </a:lnTo>
                    <a:lnTo>
                      <a:pt x="941" y="731"/>
                    </a:lnTo>
                    <a:lnTo>
                      <a:pt x="942" y="733"/>
                    </a:lnTo>
                    <a:lnTo>
                      <a:pt x="944" y="731"/>
                    </a:lnTo>
                    <a:lnTo>
                      <a:pt x="944" y="729"/>
                    </a:lnTo>
                    <a:lnTo>
                      <a:pt x="947" y="731"/>
                    </a:lnTo>
                    <a:lnTo>
                      <a:pt x="947" y="733"/>
                    </a:lnTo>
                    <a:lnTo>
                      <a:pt x="944" y="736"/>
                    </a:lnTo>
                    <a:lnTo>
                      <a:pt x="941" y="736"/>
                    </a:lnTo>
                    <a:lnTo>
                      <a:pt x="939" y="739"/>
                    </a:lnTo>
                    <a:lnTo>
                      <a:pt x="939" y="741"/>
                    </a:lnTo>
                    <a:lnTo>
                      <a:pt x="942" y="741"/>
                    </a:lnTo>
                    <a:lnTo>
                      <a:pt x="944" y="741"/>
                    </a:lnTo>
                    <a:lnTo>
                      <a:pt x="949" y="744"/>
                    </a:lnTo>
                    <a:lnTo>
                      <a:pt x="951" y="744"/>
                    </a:lnTo>
                    <a:lnTo>
                      <a:pt x="956" y="739"/>
                    </a:lnTo>
                    <a:lnTo>
                      <a:pt x="956" y="739"/>
                    </a:lnTo>
                    <a:lnTo>
                      <a:pt x="956" y="742"/>
                    </a:lnTo>
                    <a:lnTo>
                      <a:pt x="959" y="747"/>
                    </a:lnTo>
                    <a:lnTo>
                      <a:pt x="962" y="747"/>
                    </a:lnTo>
                    <a:lnTo>
                      <a:pt x="964" y="746"/>
                    </a:lnTo>
                    <a:lnTo>
                      <a:pt x="967" y="747"/>
                    </a:lnTo>
                    <a:lnTo>
                      <a:pt x="971" y="749"/>
                    </a:lnTo>
                    <a:lnTo>
                      <a:pt x="974" y="749"/>
                    </a:lnTo>
                    <a:lnTo>
                      <a:pt x="976" y="752"/>
                    </a:lnTo>
                    <a:lnTo>
                      <a:pt x="977" y="752"/>
                    </a:lnTo>
                    <a:lnTo>
                      <a:pt x="977" y="749"/>
                    </a:lnTo>
                    <a:lnTo>
                      <a:pt x="979" y="749"/>
                    </a:lnTo>
                    <a:lnTo>
                      <a:pt x="982" y="747"/>
                    </a:lnTo>
                    <a:lnTo>
                      <a:pt x="984" y="749"/>
                    </a:lnTo>
                    <a:lnTo>
                      <a:pt x="984" y="752"/>
                    </a:lnTo>
                    <a:lnTo>
                      <a:pt x="986" y="752"/>
                    </a:lnTo>
                    <a:lnTo>
                      <a:pt x="989" y="752"/>
                    </a:lnTo>
                    <a:lnTo>
                      <a:pt x="992" y="749"/>
                    </a:lnTo>
                    <a:lnTo>
                      <a:pt x="994" y="749"/>
                    </a:lnTo>
                    <a:lnTo>
                      <a:pt x="995" y="752"/>
                    </a:lnTo>
                    <a:lnTo>
                      <a:pt x="997" y="752"/>
                    </a:lnTo>
                    <a:lnTo>
                      <a:pt x="999" y="751"/>
                    </a:lnTo>
                    <a:lnTo>
                      <a:pt x="999" y="749"/>
                    </a:lnTo>
                    <a:lnTo>
                      <a:pt x="1002" y="747"/>
                    </a:lnTo>
                    <a:lnTo>
                      <a:pt x="1005" y="747"/>
                    </a:lnTo>
                    <a:lnTo>
                      <a:pt x="1007" y="749"/>
                    </a:lnTo>
                    <a:lnTo>
                      <a:pt x="1009" y="749"/>
                    </a:lnTo>
                    <a:lnTo>
                      <a:pt x="1010" y="749"/>
                    </a:lnTo>
                    <a:lnTo>
                      <a:pt x="1010" y="749"/>
                    </a:lnTo>
                    <a:close/>
                    <a:moveTo>
                      <a:pt x="1462" y="904"/>
                    </a:moveTo>
                    <a:lnTo>
                      <a:pt x="1464" y="899"/>
                    </a:lnTo>
                    <a:lnTo>
                      <a:pt x="1462" y="897"/>
                    </a:lnTo>
                    <a:lnTo>
                      <a:pt x="1464" y="892"/>
                    </a:lnTo>
                    <a:lnTo>
                      <a:pt x="1464" y="887"/>
                    </a:lnTo>
                    <a:lnTo>
                      <a:pt x="1471" y="882"/>
                    </a:lnTo>
                    <a:lnTo>
                      <a:pt x="1472" y="877"/>
                    </a:lnTo>
                    <a:lnTo>
                      <a:pt x="1476" y="874"/>
                    </a:lnTo>
                    <a:lnTo>
                      <a:pt x="1484" y="865"/>
                    </a:lnTo>
                    <a:lnTo>
                      <a:pt x="1487" y="862"/>
                    </a:lnTo>
                    <a:lnTo>
                      <a:pt x="1490" y="862"/>
                    </a:lnTo>
                    <a:lnTo>
                      <a:pt x="1492" y="860"/>
                    </a:lnTo>
                    <a:lnTo>
                      <a:pt x="1495" y="862"/>
                    </a:lnTo>
                    <a:lnTo>
                      <a:pt x="1499" y="859"/>
                    </a:lnTo>
                    <a:lnTo>
                      <a:pt x="1504" y="860"/>
                    </a:lnTo>
                    <a:lnTo>
                      <a:pt x="1507" y="864"/>
                    </a:lnTo>
                    <a:lnTo>
                      <a:pt x="1509" y="864"/>
                    </a:lnTo>
                    <a:lnTo>
                      <a:pt x="1512" y="867"/>
                    </a:lnTo>
                    <a:lnTo>
                      <a:pt x="1514" y="872"/>
                    </a:lnTo>
                    <a:lnTo>
                      <a:pt x="1514" y="875"/>
                    </a:lnTo>
                    <a:lnTo>
                      <a:pt x="1510" y="877"/>
                    </a:lnTo>
                    <a:lnTo>
                      <a:pt x="1509" y="882"/>
                    </a:lnTo>
                    <a:lnTo>
                      <a:pt x="1507" y="887"/>
                    </a:lnTo>
                    <a:lnTo>
                      <a:pt x="1502" y="895"/>
                    </a:lnTo>
                    <a:lnTo>
                      <a:pt x="1499" y="899"/>
                    </a:lnTo>
                    <a:lnTo>
                      <a:pt x="1495" y="900"/>
                    </a:lnTo>
                    <a:lnTo>
                      <a:pt x="1489" y="902"/>
                    </a:lnTo>
                    <a:lnTo>
                      <a:pt x="1489" y="904"/>
                    </a:lnTo>
                    <a:lnTo>
                      <a:pt x="1485" y="904"/>
                    </a:lnTo>
                    <a:lnTo>
                      <a:pt x="1479" y="907"/>
                    </a:lnTo>
                    <a:lnTo>
                      <a:pt x="1477" y="905"/>
                    </a:lnTo>
                    <a:lnTo>
                      <a:pt x="1471" y="905"/>
                    </a:lnTo>
                    <a:lnTo>
                      <a:pt x="1466" y="905"/>
                    </a:lnTo>
                    <a:lnTo>
                      <a:pt x="1464" y="905"/>
                    </a:lnTo>
                    <a:lnTo>
                      <a:pt x="1462" y="904"/>
                    </a:lnTo>
                    <a:lnTo>
                      <a:pt x="1462" y="904"/>
                    </a:lnTo>
                    <a:close/>
                    <a:moveTo>
                      <a:pt x="1034" y="736"/>
                    </a:moveTo>
                    <a:lnTo>
                      <a:pt x="1032" y="733"/>
                    </a:lnTo>
                    <a:lnTo>
                      <a:pt x="1034" y="731"/>
                    </a:lnTo>
                    <a:lnTo>
                      <a:pt x="1037" y="729"/>
                    </a:lnTo>
                    <a:lnTo>
                      <a:pt x="1034" y="726"/>
                    </a:lnTo>
                    <a:lnTo>
                      <a:pt x="1035" y="724"/>
                    </a:lnTo>
                    <a:lnTo>
                      <a:pt x="1037" y="724"/>
                    </a:lnTo>
                    <a:lnTo>
                      <a:pt x="1037" y="726"/>
                    </a:lnTo>
                    <a:lnTo>
                      <a:pt x="1040" y="729"/>
                    </a:lnTo>
                    <a:lnTo>
                      <a:pt x="1040" y="731"/>
                    </a:lnTo>
                    <a:lnTo>
                      <a:pt x="1039" y="734"/>
                    </a:lnTo>
                    <a:lnTo>
                      <a:pt x="1037" y="733"/>
                    </a:lnTo>
                    <a:lnTo>
                      <a:pt x="1035" y="736"/>
                    </a:lnTo>
                    <a:lnTo>
                      <a:pt x="1034" y="736"/>
                    </a:lnTo>
                    <a:lnTo>
                      <a:pt x="1034" y="736"/>
                    </a:lnTo>
                    <a:close/>
                    <a:moveTo>
                      <a:pt x="992" y="769"/>
                    </a:moveTo>
                    <a:lnTo>
                      <a:pt x="995" y="767"/>
                    </a:lnTo>
                    <a:lnTo>
                      <a:pt x="997" y="764"/>
                    </a:lnTo>
                    <a:lnTo>
                      <a:pt x="997" y="762"/>
                    </a:lnTo>
                    <a:lnTo>
                      <a:pt x="997" y="759"/>
                    </a:lnTo>
                    <a:lnTo>
                      <a:pt x="995" y="759"/>
                    </a:lnTo>
                    <a:lnTo>
                      <a:pt x="992" y="761"/>
                    </a:lnTo>
                    <a:lnTo>
                      <a:pt x="992" y="762"/>
                    </a:lnTo>
                    <a:lnTo>
                      <a:pt x="987" y="762"/>
                    </a:lnTo>
                    <a:lnTo>
                      <a:pt x="986" y="764"/>
                    </a:lnTo>
                    <a:lnTo>
                      <a:pt x="989" y="767"/>
                    </a:lnTo>
                    <a:lnTo>
                      <a:pt x="992" y="769"/>
                    </a:lnTo>
                    <a:lnTo>
                      <a:pt x="992" y="769"/>
                    </a:lnTo>
                    <a:close/>
                    <a:moveTo>
                      <a:pt x="1040" y="761"/>
                    </a:moveTo>
                    <a:lnTo>
                      <a:pt x="1035" y="764"/>
                    </a:lnTo>
                    <a:lnTo>
                      <a:pt x="1035" y="766"/>
                    </a:lnTo>
                    <a:lnTo>
                      <a:pt x="1034" y="769"/>
                    </a:lnTo>
                    <a:lnTo>
                      <a:pt x="1030" y="764"/>
                    </a:lnTo>
                    <a:lnTo>
                      <a:pt x="1030" y="762"/>
                    </a:lnTo>
                    <a:lnTo>
                      <a:pt x="1035" y="756"/>
                    </a:lnTo>
                    <a:lnTo>
                      <a:pt x="1034" y="752"/>
                    </a:lnTo>
                    <a:lnTo>
                      <a:pt x="1037" y="751"/>
                    </a:lnTo>
                    <a:lnTo>
                      <a:pt x="1040" y="751"/>
                    </a:lnTo>
                    <a:lnTo>
                      <a:pt x="1040" y="754"/>
                    </a:lnTo>
                    <a:lnTo>
                      <a:pt x="1044" y="757"/>
                    </a:lnTo>
                    <a:lnTo>
                      <a:pt x="1040" y="761"/>
                    </a:lnTo>
                    <a:lnTo>
                      <a:pt x="1040" y="761"/>
                    </a:lnTo>
                    <a:close/>
                    <a:moveTo>
                      <a:pt x="1045" y="756"/>
                    </a:moveTo>
                    <a:lnTo>
                      <a:pt x="1045" y="752"/>
                    </a:lnTo>
                    <a:lnTo>
                      <a:pt x="1044" y="751"/>
                    </a:lnTo>
                    <a:lnTo>
                      <a:pt x="1047" y="746"/>
                    </a:lnTo>
                    <a:lnTo>
                      <a:pt x="1049" y="746"/>
                    </a:lnTo>
                    <a:lnTo>
                      <a:pt x="1052" y="749"/>
                    </a:lnTo>
                    <a:lnTo>
                      <a:pt x="1049" y="752"/>
                    </a:lnTo>
                    <a:lnTo>
                      <a:pt x="1049" y="756"/>
                    </a:lnTo>
                    <a:lnTo>
                      <a:pt x="1049" y="756"/>
                    </a:lnTo>
                    <a:lnTo>
                      <a:pt x="1045" y="756"/>
                    </a:lnTo>
                    <a:lnTo>
                      <a:pt x="1045" y="756"/>
                    </a:lnTo>
                    <a:close/>
                    <a:moveTo>
                      <a:pt x="1135" y="757"/>
                    </a:moveTo>
                    <a:lnTo>
                      <a:pt x="1138" y="751"/>
                    </a:lnTo>
                    <a:lnTo>
                      <a:pt x="1143" y="746"/>
                    </a:lnTo>
                    <a:lnTo>
                      <a:pt x="1148" y="747"/>
                    </a:lnTo>
                    <a:lnTo>
                      <a:pt x="1148" y="751"/>
                    </a:lnTo>
                    <a:lnTo>
                      <a:pt x="1143" y="759"/>
                    </a:lnTo>
                    <a:lnTo>
                      <a:pt x="1140" y="759"/>
                    </a:lnTo>
                    <a:lnTo>
                      <a:pt x="1142" y="756"/>
                    </a:lnTo>
                    <a:lnTo>
                      <a:pt x="1142" y="752"/>
                    </a:lnTo>
                    <a:lnTo>
                      <a:pt x="1140" y="754"/>
                    </a:lnTo>
                    <a:lnTo>
                      <a:pt x="1138" y="757"/>
                    </a:lnTo>
                    <a:lnTo>
                      <a:pt x="1138" y="757"/>
                    </a:lnTo>
                    <a:lnTo>
                      <a:pt x="1135" y="757"/>
                    </a:lnTo>
                    <a:lnTo>
                      <a:pt x="1135" y="757"/>
                    </a:lnTo>
                    <a:close/>
                    <a:moveTo>
                      <a:pt x="1132" y="752"/>
                    </a:moveTo>
                    <a:lnTo>
                      <a:pt x="1133" y="752"/>
                    </a:lnTo>
                    <a:lnTo>
                      <a:pt x="1137" y="747"/>
                    </a:lnTo>
                    <a:lnTo>
                      <a:pt x="1133" y="742"/>
                    </a:lnTo>
                    <a:lnTo>
                      <a:pt x="1132" y="746"/>
                    </a:lnTo>
                    <a:lnTo>
                      <a:pt x="1132" y="752"/>
                    </a:lnTo>
                    <a:lnTo>
                      <a:pt x="1132" y="752"/>
                    </a:lnTo>
                    <a:close/>
                    <a:moveTo>
                      <a:pt x="1128" y="789"/>
                    </a:moveTo>
                    <a:lnTo>
                      <a:pt x="1130" y="787"/>
                    </a:lnTo>
                    <a:lnTo>
                      <a:pt x="1137" y="784"/>
                    </a:lnTo>
                    <a:lnTo>
                      <a:pt x="1138" y="781"/>
                    </a:lnTo>
                    <a:lnTo>
                      <a:pt x="1132" y="782"/>
                    </a:lnTo>
                    <a:lnTo>
                      <a:pt x="1130" y="779"/>
                    </a:lnTo>
                    <a:lnTo>
                      <a:pt x="1135" y="769"/>
                    </a:lnTo>
                    <a:lnTo>
                      <a:pt x="1137" y="766"/>
                    </a:lnTo>
                    <a:lnTo>
                      <a:pt x="1130" y="767"/>
                    </a:lnTo>
                    <a:lnTo>
                      <a:pt x="1127" y="774"/>
                    </a:lnTo>
                    <a:lnTo>
                      <a:pt x="1127" y="771"/>
                    </a:lnTo>
                    <a:lnTo>
                      <a:pt x="1130" y="761"/>
                    </a:lnTo>
                    <a:lnTo>
                      <a:pt x="1128" y="746"/>
                    </a:lnTo>
                    <a:lnTo>
                      <a:pt x="1122" y="741"/>
                    </a:lnTo>
                    <a:lnTo>
                      <a:pt x="1122" y="737"/>
                    </a:lnTo>
                    <a:lnTo>
                      <a:pt x="1117" y="737"/>
                    </a:lnTo>
                    <a:lnTo>
                      <a:pt x="1113" y="741"/>
                    </a:lnTo>
                    <a:lnTo>
                      <a:pt x="1113" y="736"/>
                    </a:lnTo>
                    <a:lnTo>
                      <a:pt x="1117" y="734"/>
                    </a:lnTo>
                    <a:lnTo>
                      <a:pt x="1115" y="729"/>
                    </a:lnTo>
                    <a:lnTo>
                      <a:pt x="1115" y="726"/>
                    </a:lnTo>
                    <a:lnTo>
                      <a:pt x="1115" y="721"/>
                    </a:lnTo>
                    <a:lnTo>
                      <a:pt x="1108" y="723"/>
                    </a:lnTo>
                    <a:lnTo>
                      <a:pt x="1102" y="728"/>
                    </a:lnTo>
                    <a:lnTo>
                      <a:pt x="1098" y="736"/>
                    </a:lnTo>
                    <a:lnTo>
                      <a:pt x="1100" y="742"/>
                    </a:lnTo>
                    <a:lnTo>
                      <a:pt x="1097" y="741"/>
                    </a:lnTo>
                    <a:lnTo>
                      <a:pt x="1095" y="736"/>
                    </a:lnTo>
                    <a:lnTo>
                      <a:pt x="1093" y="736"/>
                    </a:lnTo>
                    <a:lnTo>
                      <a:pt x="1092" y="741"/>
                    </a:lnTo>
                    <a:lnTo>
                      <a:pt x="1088" y="741"/>
                    </a:lnTo>
                    <a:lnTo>
                      <a:pt x="1092" y="744"/>
                    </a:lnTo>
                    <a:lnTo>
                      <a:pt x="1088" y="747"/>
                    </a:lnTo>
                    <a:lnTo>
                      <a:pt x="1085" y="747"/>
                    </a:lnTo>
                    <a:lnTo>
                      <a:pt x="1082" y="752"/>
                    </a:lnTo>
                    <a:lnTo>
                      <a:pt x="1074" y="751"/>
                    </a:lnTo>
                    <a:lnTo>
                      <a:pt x="1070" y="752"/>
                    </a:lnTo>
                    <a:lnTo>
                      <a:pt x="1067" y="752"/>
                    </a:lnTo>
                    <a:lnTo>
                      <a:pt x="1057" y="757"/>
                    </a:lnTo>
                    <a:lnTo>
                      <a:pt x="1059" y="762"/>
                    </a:lnTo>
                    <a:lnTo>
                      <a:pt x="1062" y="767"/>
                    </a:lnTo>
                    <a:lnTo>
                      <a:pt x="1067" y="766"/>
                    </a:lnTo>
                    <a:lnTo>
                      <a:pt x="1065" y="764"/>
                    </a:lnTo>
                    <a:lnTo>
                      <a:pt x="1067" y="761"/>
                    </a:lnTo>
                    <a:lnTo>
                      <a:pt x="1072" y="764"/>
                    </a:lnTo>
                    <a:lnTo>
                      <a:pt x="1070" y="769"/>
                    </a:lnTo>
                    <a:lnTo>
                      <a:pt x="1075" y="774"/>
                    </a:lnTo>
                    <a:lnTo>
                      <a:pt x="1079" y="769"/>
                    </a:lnTo>
                    <a:lnTo>
                      <a:pt x="1080" y="772"/>
                    </a:lnTo>
                    <a:lnTo>
                      <a:pt x="1079" y="776"/>
                    </a:lnTo>
                    <a:lnTo>
                      <a:pt x="1084" y="781"/>
                    </a:lnTo>
                    <a:lnTo>
                      <a:pt x="1088" y="782"/>
                    </a:lnTo>
                    <a:lnTo>
                      <a:pt x="1090" y="789"/>
                    </a:lnTo>
                    <a:lnTo>
                      <a:pt x="1093" y="792"/>
                    </a:lnTo>
                    <a:lnTo>
                      <a:pt x="1098" y="787"/>
                    </a:lnTo>
                    <a:lnTo>
                      <a:pt x="1098" y="791"/>
                    </a:lnTo>
                    <a:lnTo>
                      <a:pt x="1105" y="796"/>
                    </a:lnTo>
                    <a:lnTo>
                      <a:pt x="1108" y="796"/>
                    </a:lnTo>
                    <a:lnTo>
                      <a:pt x="1112" y="796"/>
                    </a:lnTo>
                    <a:lnTo>
                      <a:pt x="1117" y="791"/>
                    </a:lnTo>
                    <a:lnTo>
                      <a:pt x="1120" y="791"/>
                    </a:lnTo>
                    <a:lnTo>
                      <a:pt x="1127" y="786"/>
                    </a:lnTo>
                    <a:lnTo>
                      <a:pt x="1128" y="789"/>
                    </a:lnTo>
                    <a:lnTo>
                      <a:pt x="1128" y="789"/>
                    </a:lnTo>
                    <a:close/>
                    <a:moveTo>
                      <a:pt x="1623" y="759"/>
                    </a:moveTo>
                    <a:lnTo>
                      <a:pt x="1623" y="756"/>
                    </a:lnTo>
                    <a:lnTo>
                      <a:pt x="1622" y="754"/>
                    </a:lnTo>
                    <a:lnTo>
                      <a:pt x="1623" y="751"/>
                    </a:lnTo>
                    <a:lnTo>
                      <a:pt x="1628" y="747"/>
                    </a:lnTo>
                    <a:lnTo>
                      <a:pt x="1632" y="749"/>
                    </a:lnTo>
                    <a:lnTo>
                      <a:pt x="1633" y="752"/>
                    </a:lnTo>
                    <a:lnTo>
                      <a:pt x="1637" y="752"/>
                    </a:lnTo>
                    <a:lnTo>
                      <a:pt x="1638" y="754"/>
                    </a:lnTo>
                    <a:lnTo>
                      <a:pt x="1635" y="757"/>
                    </a:lnTo>
                    <a:lnTo>
                      <a:pt x="1632" y="757"/>
                    </a:lnTo>
                    <a:lnTo>
                      <a:pt x="1630" y="757"/>
                    </a:lnTo>
                    <a:lnTo>
                      <a:pt x="1627" y="757"/>
                    </a:lnTo>
                    <a:lnTo>
                      <a:pt x="1625" y="761"/>
                    </a:lnTo>
                    <a:lnTo>
                      <a:pt x="1625" y="761"/>
                    </a:lnTo>
                    <a:lnTo>
                      <a:pt x="1623" y="759"/>
                    </a:lnTo>
                    <a:lnTo>
                      <a:pt x="1623" y="759"/>
                    </a:lnTo>
                    <a:close/>
                    <a:moveTo>
                      <a:pt x="1613" y="1143"/>
                    </a:moveTo>
                    <a:lnTo>
                      <a:pt x="1608" y="1143"/>
                    </a:lnTo>
                    <a:lnTo>
                      <a:pt x="1603" y="1141"/>
                    </a:lnTo>
                    <a:lnTo>
                      <a:pt x="1597" y="1138"/>
                    </a:lnTo>
                    <a:lnTo>
                      <a:pt x="1593" y="1136"/>
                    </a:lnTo>
                    <a:lnTo>
                      <a:pt x="1590" y="1136"/>
                    </a:lnTo>
                    <a:lnTo>
                      <a:pt x="1583" y="1131"/>
                    </a:lnTo>
                    <a:lnTo>
                      <a:pt x="1582" y="1128"/>
                    </a:lnTo>
                    <a:lnTo>
                      <a:pt x="1579" y="1126"/>
                    </a:lnTo>
                    <a:lnTo>
                      <a:pt x="1575" y="1126"/>
                    </a:lnTo>
                    <a:lnTo>
                      <a:pt x="1574" y="1126"/>
                    </a:lnTo>
                    <a:lnTo>
                      <a:pt x="1572" y="1126"/>
                    </a:lnTo>
                    <a:lnTo>
                      <a:pt x="1564" y="1125"/>
                    </a:lnTo>
                    <a:lnTo>
                      <a:pt x="1564" y="1121"/>
                    </a:lnTo>
                    <a:lnTo>
                      <a:pt x="1560" y="1120"/>
                    </a:lnTo>
                    <a:lnTo>
                      <a:pt x="1557" y="1120"/>
                    </a:lnTo>
                    <a:lnTo>
                      <a:pt x="1552" y="1115"/>
                    </a:lnTo>
                    <a:lnTo>
                      <a:pt x="1552" y="1111"/>
                    </a:lnTo>
                    <a:lnTo>
                      <a:pt x="1550" y="1111"/>
                    </a:lnTo>
                    <a:lnTo>
                      <a:pt x="1547" y="1110"/>
                    </a:lnTo>
                    <a:lnTo>
                      <a:pt x="1545" y="1106"/>
                    </a:lnTo>
                    <a:lnTo>
                      <a:pt x="1547" y="1105"/>
                    </a:lnTo>
                    <a:lnTo>
                      <a:pt x="1550" y="1103"/>
                    </a:lnTo>
                    <a:lnTo>
                      <a:pt x="1545" y="1101"/>
                    </a:lnTo>
                    <a:lnTo>
                      <a:pt x="1544" y="1103"/>
                    </a:lnTo>
                    <a:lnTo>
                      <a:pt x="1542" y="1105"/>
                    </a:lnTo>
                    <a:lnTo>
                      <a:pt x="1540" y="1103"/>
                    </a:lnTo>
                    <a:lnTo>
                      <a:pt x="1540" y="1101"/>
                    </a:lnTo>
                    <a:lnTo>
                      <a:pt x="1535" y="1101"/>
                    </a:lnTo>
                    <a:lnTo>
                      <a:pt x="1529" y="1096"/>
                    </a:lnTo>
                    <a:lnTo>
                      <a:pt x="1525" y="1096"/>
                    </a:lnTo>
                    <a:lnTo>
                      <a:pt x="1524" y="1095"/>
                    </a:lnTo>
                    <a:lnTo>
                      <a:pt x="1519" y="1091"/>
                    </a:lnTo>
                    <a:lnTo>
                      <a:pt x="1519" y="1088"/>
                    </a:lnTo>
                    <a:lnTo>
                      <a:pt x="1515" y="1088"/>
                    </a:lnTo>
                    <a:lnTo>
                      <a:pt x="1514" y="1085"/>
                    </a:lnTo>
                    <a:lnTo>
                      <a:pt x="1510" y="1081"/>
                    </a:lnTo>
                    <a:lnTo>
                      <a:pt x="1510" y="1076"/>
                    </a:lnTo>
                    <a:lnTo>
                      <a:pt x="1505" y="1075"/>
                    </a:lnTo>
                    <a:lnTo>
                      <a:pt x="1507" y="1073"/>
                    </a:lnTo>
                    <a:lnTo>
                      <a:pt x="1514" y="1073"/>
                    </a:lnTo>
                    <a:lnTo>
                      <a:pt x="1522" y="1068"/>
                    </a:lnTo>
                    <a:lnTo>
                      <a:pt x="1524" y="1065"/>
                    </a:lnTo>
                    <a:lnTo>
                      <a:pt x="1517" y="1066"/>
                    </a:lnTo>
                    <a:lnTo>
                      <a:pt x="1514" y="1061"/>
                    </a:lnTo>
                    <a:lnTo>
                      <a:pt x="1512" y="1056"/>
                    </a:lnTo>
                    <a:lnTo>
                      <a:pt x="1514" y="1055"/>
                    </a:lnTo>
                    <a:lnTo>
                      <a:pt x="1510" y="1056"/>
                    </a:lnTo>
                    <a:lnTo>
                      <a:pt x="1509" y="1060"/>
                    </a:lnTo>
                    <a:lnTo>
                      <a:pt x="1507" y="1063"/>
                    </a:lnTo>
                    <a:lnTo>
                      <a:pt x="1504" y="1060"/>
                    </a:lnTo>
                    <a:lnTo>
                      <a:pt x="1507" y="1056"/>
                    </a:lnTo>
                    <a:lnTo>
                      <a:pt x="1507" y="1050"/>
                    </a:lnTo>
                    <a:lnTo>
                      <a:pt x="1504" y="1055"/>
                    </a:lnTo>
                    <a:lnTo>
                      <a:pt x="1502" y="1053"/>
                    </a:lnTo>
                    <a:lnTo>
                      <a:pt x="1502" y="1048"/>
                    </a:lnTo>
                    <a:lnTo>
                      <a:pt x="1499" y="1048"/>
                    </a:lnTo>
                    <a:lnTo>
                      <a:pt x="1497" y="1045"/>
                    </a:lnTo>
                    <a:lnTo>
                      <a:pt x="1497" y="1041"/>
                    </a:lnTo>
                    <a:lnTo>
                      <a:pt x="1495" y="1035"/>
                    </a:lnTo>
                    <a:lnTo>
                      <a:pt x="1492" y="1033"/>
                    </a:lnTo>
                    <a:lnTo>
                      <a:pt x="1492" y="1030"/>
                    </a:lnTo>
                    <a:lnTo>
                      <a:pt x="1497" y="1025"/>
                    </a:lnTo>
                    <a:lnTo>
                      <a:pt x="1495" y="1023"/>
                    </a:lnTo>
                    <a:lnTo>
                      <a:pt x="1487" y="1030"/>
                    </a:lnTo>
                    <a:lnTo>
                      <a:pt x="1487" y="1033"/>
                    </a:lnTo>
                    <a:lnTo>
                      <a:pt x="1485" y="1030"/>
                    </a:lnTo>
                    <a:lnTo>
                      <a:pt x="1489" y="1025"/>
                    </a:lnTo>
                    <a:lnTo>
                      <a:pt x="1485" y="1025"/>
                    </a:lnTo>
                    <a:lnTo>
                      <a:pt x="1482" y="1025"/>
                    </a:lnTo>
                    <a:lnTo>
                      <a:pt x="1482" y="1025"/>
                    </a:lnTo>
                    <a:lnTo>
                      <a:pt x="1479" y="1031"/>
                    </a:lnTo>
                    <a:lnTo>
                      <a:pt x="1476" y="1033"/>
                    </a:lnTo>
                    <a:lnTo>
                      <a:pt x="1474" y="1030"/>
                    </a:lnTo>
                    <a:lnTo>
                      <a:pt x="1477" y="1027"/>
                    </a:lnTo>
                    <a:lnTo>
                      <a:pt x="1477" y="1022"/>
                    </a:lnTo>
                    <a:lnTo>
                      <a:pt x="1479" y="1018"/>
                    </a:lnTo>
                    <a:lnTo>
                      <a:pt x="1474" y="1020"/>
                    </a:lnTo>
                    <a:lnTo>
                      <a:pt x="1471" y="1023"/>
                    </a:lnTo>
                    <a:lnTo>
                      <a:pt x="1469" y="1023"/>
                    </a:lnTo>
                    <a:lnTo>
                      <a:pt x="1466" y="1027"/>
                    </a:lnTo>
                    <a:lnTo>
                      <a:pt x="1464" y="1030"/>
                    </a:lnTo>
                    <a:lnTo>
                      <a:pt x="1459" y="1028"/>
                    </a:lnTo>
                    <a:lnTo>
                      <a:pt x="1456" y="1025"/>
                    </a:lnTo>
                    <a:lnTo>
                      <a:pt x="1452" y="1025"/>
                    </a:lnTo>
                    <a:lnTo>
                      <a:pt x="1447" y="1018"/>
                    </a:lnTo>
                    <a:lnTo>
                      <a:pt x="1446" y="1018"/>
                    </a:lnTo>
                    <a:lnTo>
                      <a:pt x="1444" y="1022"/>
                    </a:lnTo>
                    <a:lnTo>
                      <a:pt x="1444" y="1025"/>
                    </a:lnTo>
                    <a:lnTo>
                      <a:pt x="1441" y="1028"/>
                    </a:lnTo>
                    <a:lnTo>
                      <a:pt x="1437" y="1027"/>
                    </a:lnTo>
                    <a:lnTo>
                      <a:pt x="1434" y="1027"/>
                    </a:lnTo>
                    <a:lnTo>
                      <a:pt x="1429" y="1028"/>
                    </a:lnTo>
                    <a:lnTo>
                      <a:pt x="1427" y="1030"/>
                    </a:lnTo>
                    <a:lnTo>
                      <a:pt x="1422" y="1030"/>
                    </a:lnTo>
                    <a:lnTo>
                      <a:pt x="1421" y="1031"/>
                    </a:lnTo>
                    <a:lnTo>
                      <a:pt x="1417" y="1030"/>
                    </a:lnTo>
                    <a:lnTo>
                      <a:pt x="1409" y="1030"/>
                    </a:lnTo>
                    <a:lnTo>
                      <a:pt x="1411" y="1027"/>
                    </a:lnTo>
                    <a:lnTo>
                      <a:pt x="1406" y="1022"/>
                    </a:lnTo>
                    <a:lnTo>
                      <a:pt x="1402" y="1023"/>
                    </a:lnTo>
                    <a:lnTo>
                      <a:pt x="1399" y="1020"/>
                    </a:lnTo>
                    <a:lnTo>
                      <a:pt x="1396" y="1012"/>
                    </a:lnTo>
                    <a:lnTo>
                      <a:pt x="1397" y="1007"/>
                    </a:lnTo>
                    <a:lnTo>
                      <a:pt x="1401" y="1005"/>
                    </a:lnTo>
                    <a:lnTo>
                      <a:pt x="1401" y="1000"/>
                    </a:lnTo>
                    <a:lnTo>
                      <a:pt x="1404" y="997"/>
                    </a:lnTo>
                    <a:lnTo>
                      <a:pt x="1411" y="997"/>
                    </a:lnTo>
                    <a:lnTo>
                      <a:pt x="1412" y="993"/>
                    </a:lnTo>
                    <a:lnTo>
                      <a:pt x="1417" y="993"/>
                    </a:lnTo>
                    <a:lnTo>
                      <a:pt x="1419" y="993"/>
                    </a:lnTo>
                    <a:lnTo>
                      <a:pt x="1421" y="990"/>
                    </a:lnTo>
                    <a:lnTo>
                      <a:pt x="1417" y="987"/>
                    </a:lnTo>
                    <a:lnTo>
                      <a:pt x="1417" y="983"/>
                    </a:lnTo>
                    <a:lnTo>
                      <a:pt x="1419" y="983"/>
                    </a:lnTo>
                    <a:lnTo>
                      <a:pt x="1422" y="983"/>
                    </a:lnTo>
                    <a:lnTo>
                      <a:pt x="1422" y="982"/>
                    </a:lnTo>
                    <a:lnTo>
                      <a:pt x="1422" y="980"/>
                    </a:lnTo>
                    <a:lnTo>
                      <a:pt x="1424" y="978"/>
                    </a:lnTo>
                    <a:lnTo>
                      <a:pt x="1429" y="985"/>
                    </a:lnTo>
                    <a:lnTo>
                      <a:pt x="1434" y="985"/>
                    </a:lnTo>
                    <a:lnTo>
                      <a:pt x="1439" y="988"/>
                    </a:lnTo>
                    <a:lnTo>
                      <a:pt x="1442" y="992"/>
                    </a:lnTo>
                    <a:lnTo>
                      <a:pt x="1444" y="993"/>
                    </a:lnTo>
                    <a:lnTo>
                      <a:pt x="1451" y="995"/>
                    </a:lnTo>
                    <a:lnTo>
                      <a:pt x="1452" y="992"/>
                    </a:lnTo>
                    <a:lnTo>
                      <a:pt x="1457" y="993"/>
                    </a:lnTo>
                    <a:lnTo>
                      <a:pt x="1459" y="995"/>
                    </a:lnTo>
                    <a:lnTo>
                      <a:pt x="1462" y="995"/>
                    </a:lnTo>
                    <a:lnTo>
                      <a:pt x="1467" y="997"/>
                    </a:lnTo>
                    <a:lnTo>
                      <a:pt x="1471" y="993"/>
                    </a:lnTo>
                    <a:lnTo>
                      <a:pt x="1472" y="988"/>
                    </a:lnTo>
                    <a:lnTo>
                      <a:pt x="1479" y="988"/>
                    </a:lnTo>
                    <a:lnTo>
                      <a:pt x="1479" y="990"/>
                    </a:lnTo>
                    <a:lnTo>
                      <a:pt x="1477" y="992"/>
                    </a:lnTo>
                    <a:lnTo>
                      <a:pt x="1481" y="993"/>
                    </a:lnTo>
                    <a:lnTo>
                      <a:pt x="1485" y="990"/>
                    </a:lnTo>
                    <a:lnTo>
                      <a:pt x="1487" y="987"/>
                    </a:lnTo>
                    <a:lnTo>
                      <a:pt x="1492" y="983"/>
                    </a:lnTo>
                    <a:lnTo>
                      <a:pt x="1494" y="987"/>
                    </a:lnTo>
                    <a:lnTo>
                      <a:pt x="1494" y="992"/>
                    </a:lnTo>
                    <a:lnTo>
                      <a:pt x="1495" y="997"/>
                    </a:lnTo>
                    <a:lnTo>
                      <a:pt x="1495" y="992"/>
                    </a:lnTo>
                    <a:lnTo>
                      <a:pt x="1499" y="990"/>
                    </a:lnTo>
                    <a:lnTo>
                      <a:pt x="1500" y="992"/>
                    </a:lnTo>
                    <a:lnTo>
                      <a:pt x="1504" y="988"/>
                    </a:lnTo>
                    <a:lnTo>
                      <a:pt x="1502" y="978"/>
                    </a:lnTo>
                    <a:lnTo>
                      <a:pt x="1497" y="973"/>
                    </a:lnTo>
                    <a:lnTo>
                      <a:pt x="1497" y="968"/>
                    </a:lnTo>
                    <a:lnTo>
                      <a:pt x="1494" y="965"/>
                    </a:lnTo>
                    <a:lnTo>
                      <a:pt x="1495" y="960"/>
                    </a:lnTo>
                    <a:lnTo>
                      <a:pt x="1497" y="958"/>
                    </a:lnTo>
                    <a:lnTo>
                      <a:pt x="1500" y="958"/>
                    </a:lnTo>
                    <a:lnTo>
                      <a:pt x="1507" y="953"/>
                    </a:lnTo>
                    <a:lnTo>
                      <a:pt x="1515" y="948"/>
                    </a:lnTo>
                    <a:lnTo>
                      <a:pt x="1519" y="947"/>
                    </a:lnTo>
                    <a:lnTo>
                      <a:pt x="1525" y="940"/>
                    </a:lnTo>
                    <a:lnTo>
                      <a:pt x="1527" y="940"/>
                    </a:lnTo>
                    <a:lnTo>
                      <a:pt x="1530" y="943"/>
                    </a:lnTo>
                    <a:lnTo>
                      <a:pt x="1534" y="942"/>
                    </a:lnTo>
                    <a:lnTo>
                      <a:pt x="1535" y="942"/>
                    </a:lnTo>
                    <a:lnTo>
                      <a:pt x="1530" y="938"/>
                    </a:lnTo>
                    <a:lnTo>
                      <a:pt x="1529" y="935"/>
                    </a:lnTo>
                    <a:lnTo>
                      <a:pt x="1539" y="929"/>
                    </a:lnTo>
                    <a:lnTo>
                      <a:pt x="1539" y="925"/>
                    </a:lnTo>
                    <a:lnTo>
                      <a:pt x="1542" y="924"/>
                    </a:lnTo>
                    <a:lnTo>
                      <a:pt x="1549" y="925"/>
                    </a:lnTo>
                    <a:lnTo>
                      <a:pt x="1555" y="924"/>
                    </a:lnTo>
                    <a:lnTo>
                      <a:pt x="1557" y="920"/>
                    </a:lnTo>
                    <a:lnTo>
                      <a:pt x="1554" y="917"/>
                    </a:lnTo>
                    <a:lnTo>
                      <a:pt x="1557" y="914"/>
                    </a:lnTo>
                    <a:lnTo>
                      <a:pt x="1557" y="905"/>
                    </a:lnTo>
                    <a:lnTo>
                      <a:pt x="1559" y="904"/>
                    </a:lnTo>
                    <a:lnTo>
                      <a:pt x="1557" y="904"/>
                    </a:lnTo>
                    <a:lnTo>
                      <a:pt x="1557" y="899"/>
                    </a:lnTo>
                    <a:lnTo>
                      <a:pt x="1560" y="895"/>
                    </a:lnTo>
                    <a:lnTo>
                      <a:pt x="1560" y="892"/>
                    </a:lnTo>
                    <a:lnTo>
                      <a:pt x="1557" y="890"/>
                    </a:lnTo>
                    <a:lnTo>
                      <a:pt x="1557" y="889"/>
                    </a:lnTo>
                    <a:lnTo>
                      <a:pt x="1559" y="882"/>
                    </a:lnTo>
                    <a:lnTo>
                      <a:pt x="1562" y="882"/>
                    </a:lnTo>
                    <a:lnTo>
                      <a:pt x="1562" y="879"/>
                    </a:lnTo>
                    <a:lnTo>
                      <a:pt x="1565" y="875"/>
                    </a:lnTo>
                    <a:lnTo>
                      <a:pt x="1564" y="872"/>
                    </a:lnTo>
                    <a:lnTo>
                      <a:pt x="1562" y="874"/>
                    </a:lnTo>
                    <a:lnTo>
                      <a:pt x="1559" y="875"/>
                    </a:lnTo>
                    <a:lnTo>
                      <a:pt x="1559" y="879"/>
                    </a:lnTo>
                    <a:lnTo>
                      <a:pt x="1557" y="879"/>
                    </a:lnTo>
                    <a:lnTo>
                      <a:pt x="1557" y="875"/>
                    </a:lnTo>
                    <a:lnTo>
                      <a:pt x="1557" y="872"/>
                    </a:lnTo>
                    <a:lnTo>
                      <a:pt x="1555" y="872"/>
                    </a:lnTo>
                    <a:lnTo>
                      <a:pt x="1545" y="870"/>
                    </a:lnTo>
                    <a:lnTo>
                      <a:pt x="1542" y="869"/>
                    </a:lnTo>
                    <a:lnTo>
                      <a:pt x="1544" y="865"/>
                    </a:lnTo>
                    <a:lnTo>
                      <a:pt x="1550" y="864"/>
                    </a:lnTo>
                    <a:lnTo>
                      <a:pt x="1550" y="862"/>
                    </a:lnTo>
                    <a:lnTo>
                      <a:pt x="1545" y="860"/>
                    </a:lnTo>
                    <a:lnTo>
                      <a:pt x="1549" y="855"/>
                    </a:lnTo>
                    <a:lnTo>
                      <a:pt x="1549" y="854"/>
                    </a:lnTo>
                    <a:lnTo>
                      <a:pt x="1544" y="849"/>
                    </a:lnTo>
                    <a:lnTo>
                      <a:pt x="1542" y="850"/>
                    </a:lnTo>
                    <a:lnTo>
                      <a:pt x="1540" y="852"/>
                    </a:lnTo>
                    <a:lnTo>
                      <a:pt x="1542" y="855"/>
                    </a:lnTo>
                    <a:lnTo>
                      <a:pt x="1542" y="859"/>
                    </a:lnTo>
                    <a:lnTo>
                      <a:pt x="1535" y="859"/>
                    </a:lnTo>
                    <a:lnTo>
                      <a:pt x="1534" y="855"/>
                    </a:lnTo>
                    <a:lnTo>
                      <a:pt x="1532" y="855"/>
                    </a:lnTo>
                    <a:lnTo>
                      <a:pt x="1530" y="849"/>
                    </a:lnTo>
                    <a:lnTo>
                      <a:pt x="1535" y="845"/>
                    </a:lnTo>
                    <a:lnTo>
                      <a:pt x="1534" y="844"/>
                    </a:lnTo>
                    <a:lnTo>
                      <a:pt x="1527" y="844"/>
                    </a:lnTo>
                    <a:lnTo>
                      <a:pt x="1527" y="842"/>
                    </a:lnTo>
                    <a:lnTo>
                      <a:pt x="1534" y="840"/>
                    </a:lnTo>
                    <a:lnTo>
                      <a:pt x="1534" y="839"/>
                    </a:lnTo>
                    <a:lnTo>
                      <a:pt x="1530" y="839"/>
                    </a:lnTo>
                    <a:lnTo>
                      <a:pt x="1534" y="837"/>
                    </a:lnTo>
                    <a:lnTo>
                      <a:pt x="1535" y="835"/>
                    </a:lnTo>
                    <a:lnTo>
                      <a:pt x="1537" y="834"/>
                    </a:lnTo>
                    <a:lnTo>
                      <a:pt x="1534" y="832"/>
                    </a:lnTo>
                    <a:lnTo>
                      <a:pt x="1530" y="834"/>
                    </a:lnTo>
                    <a:lnTo>
                      <a:pt x="1527" y="839"/>
                    </a:lnTo>
                    <a:lnTo>
                      <a:pt x="1524" y="840"/>
                    </a:lnTo>
                    <a:lnTo>
                      <a:pt x="1522" y="839"/>
                    </a:lnTo>
                    <a:lnTo>
                      <a:pt x="1522" y="834"/>
                    </a:lnTo>
                    <a:lnTo>
                      <a:pt x="1519" y="835"/>
                    </a:lnTo>
                    <a:lnTo>
                      <a:pt x="1517" y="840"/>
                    </a:lnTo>
                    <a:lnTo>
                      <a:pt x="1514" y="840"/>
                    </a:lnTo>
                    <a:lnTo>
                      <a:pt x="1510" y="842"/>
                    </a:lnTo>
                    <a:lnTo>
                      <a:pt x="1505" y="842"/>
                    </a:lnTo>
                    <a:lnTo>
                      <a:pt x="1502" y="842"/>
                    </a:lnTo>
                    <a:lnTo>
                      <a:pt x="1502" y="844"/>
                    </a:lnTo>
                    <a:lnTo>
                      <a:pt x="1499" y="844"/>
                    </a:lnTo>
                    <a:lnTo>
                      <a:pt x="1499" y="842"/>
                    </a:lnTo>
                    <a:lnTo>
                      <a:pt x="1502" y="839"/>
                    </a:lnTo>
                    <a:lnTo>
                      <a:pt x="1500" y="837"/>
                    </a:lnTo>
                    <a:lnTo>
                      <a:pt x="1499" y="835"/>
                    </a:lnTo>
                    <a:lnTo>
                      <a:pt x="1502" y="832"/>
                    </a:lnTo>
                    <a:lnTo>
                      <a:pt x="1504" y="831"/>
                    </a:lnTo>
                    <a:lnTo>
                      <a:pt x="1507" y="832"/>
                    </a:lnTo>
                    <a:lnTo>
                      <a:pt x="1510" y="834"/>
                    </a:lnTo>
                    <a:lnTo>
                      <a:pt x="1512" y="832"/>
                    </a:lnTo>
                    <a:lnTo>
                      <a:pt x="1515" y="832"/>
                    </a:lnTo>
                    <a:lnTo>
                      <a:pt x="1519" y="829"/>
                    </a:lnTo>
                    <a:lnTo>
                      <a:pt x="1520" y="826"/>
                    </a:lnTo>
                    <a:lnTo>
                      <a:pt x="1519" y="822"/>
                    </a:lnTo>
                    <a:lnTo>
                      <a:pt x="1517" y="821"/>
                    </a:lnTo>
                    <a:lnTo>
                      <a:pt x="1512" y="819"/>
                    </a:lnTo>
                    <a:lnTo>
                      <a:pt x="1510" y="816"/>
                    </a:lnTo>
                    <a:lnTo>
                      <a:pt x="1509" y="812"/>
                    </a:lnTo>
                    <a:lnTo>
                      <a:pt x="1509" y="811"/>
                    </a:lnTo>
                    <a:lnTo>
                      <a:pt x="1509" y="807"/>
                    </a:lnTo>
                    <a:lnTo>
                      <a:pt x="1504" y="807"/>
                    </a:lnTo>
                    <a:lnTo>
                      <a:pt x="1502" y="807"/>
                    </a:lnTo>
                    <a:lnTo>
                      <a:pt x="1500" y="806"/>
                    </a:lnTo>
                    <a:lnTo>
                      <a:pt x="1499" y="802"/>
                    </a:lnTo>
                    <a:lnTo>
                      <a:pt x="1502" y="801"/>
                    </a:lnTo>
                    <a:lnTo>
                      <a:pt x="1504" y="802"/>
                    </a:lnTo>
                    <a:lnTo>
                      <a:pt x="1507" y="802"/>
                    </a:lnTo>
                    <a:lnTo>
                      <a:pt x="1507" y="799"/>
                    </a:lnTo>
                    <a:lnTo>
                      <a:pt x="1512" y="797"/>
                    </a:lnTo>
                    <a:lnTo>
                      <a:pt x="1505" y="797"/>
                    </a:lnTo>
                    <a:lnTo>
                      <a:pt x="1502" y="794"/>
                    </a:lnTo>
                    <a:lnTo>
                      <a:pt x="1500" y="794"/>
                    </a:lnTo>
                    <a:lnTo>
                      <a:pt x="1499" y="792"/>
                    </a:lnTo>
                    <a:lnTo>
                      <a:pt x="1495" y="792"/>
                    </a:lnTo>
                    <a:lnTo>
                      <a:pt x="1494" y="796"/>
                    </a:lnTo>
                    <a:lnTo>
                      <a:pt x="1492" y="796"/>
                    </a:lnTo>
                    <a:lnTo>
                      <a:pt x="1492" y="794"/>
                    </a:lnTo>
                    <a:lnTo>
                      <a:pt x="1495" y="786"/>
                    </a:lnTo>
                    <a:lnTo>
                      <a:pt x="1499" y="781"/>
                    </a:lnTo>
                    <a:lnTo>
                      <a:pt x="1500" y="779"/>
                    </a:lnTo>
                    <a:lnTo>
                      <a:pt x="1502" y="772"/>
                    </a:lnTo>
                    <a:lnTo>
                      <a:pt x="1502" y="769"/>
                    </a:lnTo>
                    <a:lnTo>
                      <a:pt x="1504" y="767"/>
                    </a:lnTo>
                    <a:lnTo>
                      <a:pt x="1502" y="764"/>
                    </a:lnTo>
                    <a:lnTo>
                      <a:pt x="1499" y="766"/>
                    </a:lnTo>
                    <a:lnTo>
                      <a:pt x="1495" y="764"/>
                    </a:lnTo>
                    <a:lnTo>
                      <a:pt x="1494" y="766"/>
                    </a:lnTo>
                    <a:lnTo>
                      <a:pt x="1494" y="767"/>
                    </a:lnTo>
                    <a:lnTo>
                      <a:pt x="1490" y="767"/>
                    </a:lnTo>
                    <a:lnTo>
                      <a:pt x="1485" y="762"/>
                    </a:lnTo>
                    <a:lnTo>
                      <a:pt x="1484" y="759"/>
                    </a:lnTo>
                    <a:lnTo>
                      <a:pt x="1482" y="756"/>
                    </a:lnTo>
                    <a:lnTo>
                      <a:pt x="1481" y="756"/>
                    </a:lnTo>
                    <a:lnTo>
                      <a:pt x="1481" y="751"/>
                    </a:lnTo>
                    <a:lnTo>
                      <a:pt x="1485" y="749"/>
                    </a:lnTo>
                    <a:lnTo>
                      <a:pt x="1487" y="746"/>
                    </a:lnTo>
                    <a:lnTo>
                      <a:pt x="1485" y="744"/>
                    </a:lnTo>
                    <a:lnTo>
                      <a:pt x="1484" y="739"/>
                    </a:lnTo>
                    <a:lnTo>
                      <a:pt x="1482" y="741"/>
                    </a:lnTo>
                    <a:lnTo>
                      <a:pt x="1479" y="742"/>
                    </a:lnTo>
                    <a:lnTo>
                      <a:pt x="1479" y="749"/>
                    </a:lnTo>
                    <a:lnTo>
                      <a:pt x="1477" y="752"/>
                    </a:lnTo>
                    <a:lnTo>
                      <a:pt x="1476" y="749"/>
                    </a:lnTo>
                    <a:lnTo>
                      <a:pt x="1472" y="747"/>
                    </a:lnTo>
                    <a:lnTo>
                      <a:pt x="1472" y="747"/>
                    </a:lnTo>
                    <a:lnTo>
                      <a:pt x="1472" y="751"/>
                    </a:lnTo>
                    <a:lnTo>
                      <a:pt x="1469" y="751"/>
                    </a:lnTo>
                    <a:lnTo>
                      <a:pt x="1469" y="756"/>
                    </a:lnTo>
                    <a:lnTo>
                      <a:pt x="1472" y="761"/>
                    </a:lnTo>
                    <a:lnTo>
                      <a:pt x="1476" y="761"/>
                    </a:lnTo>
                    <a:lnTo>
                      <a:pt x="1479" y="767"/>
                    </a:lnTo>
                    <a:lnTo>
                      <a:pt x="1481" y="771"/>
                    </a:lnTo>
                    <a:lnTo>
                      <a:pt x="1479" y="774"/>
                    </a:lnTo>
                    <a:lnTo>
                      <a:pt x="1479" y="777"/>
                    </a:lnTo>
                    <a:lnTo>
                      <a:pt x="1476" y="782"/>
                    </a:lnTo>
                    <a:lnTo>
                      <a:pt x="1472" y="784"/>
                    </a:lnTo>
                    <a:lnTo>
                      <a:pt x="1462" y="784"/>
                    </a:lnTo>
                    <a:lnTo>
                      <a:pt x="1461" y="784"/>
                    </a:lnTo>
                    <a:lnTo>
                      <a:pt x="1457" y="784"/>
                    </a:lnTo>
                    <a:lnTo>
                      <a:pt x="1452" y="781"/>
                    </a:lnTo>
                    <a:lnTo>
                      <a:pt x="1452" y="779"/>
                    </a:lnTo>
                    <a:lnTo>
                      <a:pt x="1452" y="776"/>
                    </a:lnTo>
                    <a:lnTo>
                      <a:pt x="1446" y="776"/>
                    </a:lnTo>
                    <a:lnTo>
                      <a:pt x="1437" y="772"/>
                    </a:lnTo>
                    <a:lnTo>
                      <a:pt x="1431" y="771"/>
                    </a:lnTo>
                    <a:lnTo>
                      <a:pt x="1434" y="779"/>
                    </a:lnTo>
                    <a:lnTo>
                      <a:pt x="1436" y="784"/>
                    </a:lnTo>
                    <a:lnTo>
                      <a:pt x="1436" y="784"/>
                    </a:lnTo>
                    <a:lnTo>
                      <a:pt x="1431" y="784"/>
                    </a:lnTo>
                    <a:lnTo>
                      <a:pt x="1429" y="781"/>
                    </a:lnTo>
                    <a:lnTo>
                      <a:pt x="1426" y="776"/>
                    </a:lnTo>
                    <a:lnTo>
                      <a:pt x="1424" y="776"/>
                    </a:lnTo>
                    <a:lnTo>
                      <a:pt x="1422" y="772"/>
                    </a:lnTo>
                    <a:lnTo>
                      <a:pt x="1417" y="769"/>
                    </a:lnTo>
                    <a:lnTo>
                      <a:pt x="1414" y="764"/>
                    </a:lnTo>
                    <a:lnTo>
                      <a:pt x="1414" y="762"/>
                    </a:lnTo>
                    <a:lnTo>
                      <a:pt x="1411" y="762"/>
                    </a:lnTo>
                    <a:lnTo>
                      <a:pt x="1406" y="757"/>
                    </a:lnTo>
                    <a:lnTo>
                      <a:pt x="1402" y="756"/>
                    </a:lnTo>
                    <a:lnTo>
                      <a:pt x="1402" y="754"/>
                    </a:lnTo>
                    <a:lnTo>
                      <a:pt x="1397" y="752"/>
                    </a:lnTo>
                    <a:lnTo>
                      <a:pt x="1399" y="756"/>
                    </a:lnTo>
                    <a:lnTo>
                      <a:pt x="1407" y="762"/>
                    </a:lnTo>
                    <a:lnTo>
                      <a:pt x="1411" y="766"/>
                    </a:lnTo>
                    <a:lnTo>
                      <a:pt x="1414" y="769"/>
                    </a:lnTo>
                    <a:lnTo>
                      <a:pt x="1417" y="771"/>
                    </a:lnTo>
                    <a:lnTo>
                      <a:pt x="1419" y="774"/>
                    </a:lnTo>
                    <a:lnTo>
                      <a:pt x="1416" y="777"/>
                    </a:lnTo>
                    <a:lnTo>
                      <a:pt x="1414" y="776"/>
                    </a:lnTo>
                    <a:lnTo>
                      <a:pt x="1412" y="779"/>
                    </a:lnTo>
                    <a:lnTo>
                      <a:pt x="1406" y="774"/>
                    </a:lnTo>
                    <a:lnTo>
                      <a:pt x="1402" y="776"/>
                    </a:lnTo>
                    <a:lnTo>
                      <a:pt x="1401" y="772"/>
                    </a:lnTo>
                    <a:lnTo>
                      <a:pt x="1396" y="771"/>
                    </a:lnTo>
                    <a:lnTo>
                      <a:pt x="1394" y="766"/>
                    </a:lnTo>
                    <a:lnTo>
                      <a:pt x="1386" y="767"/>
                    </a:lnTo>
                    <a:lnTo>
                      <a:pt x="1383" y="769"/>
                    </a:lnTo>
                    <a:lnTo>
                      <a:pt x="1379" y="767"/>
                    </a:lnTo>
                    <a:lnTo>
                      <a:pt x="1374" y="766"/>
                    </a:lnTo>
                    <a:lnTo>
                      <a:pt x="1369" y="766"/>
                    </a:lnTo>
                    <a:lnTo>
                      <a:pt x="1366" y="762"/>
                    </a:lnTo>
                    <a:lnTo>
                      <a:pt x="1361" y="759"/>
                    </a:lnTo>
                    <a:lnTo>
                      <a:pt x="1361" y="757"/>
                    </a:lnTo>
                    <a:lnTo>
                      <a:pt x="1368" y="751"/>
                    </a:lnTo>
                    <a:lnTo>
                      <a:pt x="1371" y="751"/>
                    </a:lnTo>
                    <a:lnTo>
                      <a:pt x="1371" y="749"/>
                    </a:lnTo>
                    <a:lnTo>
                      <a:pt x="1368" y="749"/>
                    </a:lnTo>
                    <a:lnTo>
                      <a:pt x="1363" y="752"/>
                    </a:lnTo>
                    <a:lnTo>
                      <a:pt x="1359" y="756"/>
                    </a:lnTo>
                    <a:lnTo>
                      <a:pt x="1358" y="757"/>
                    </a:lnTo>
                    <a:lnTo>
                      <a:pt x="1353" y="754"/>
                    </a:lnTo>
                    <a:lnTo>
                      <a:pt x="1349" y="752"/>
                    </a:lnTo>
                    <a:lnTo>
                      <a:pt x="1348" y="754"/>
                    </a:lnTo>
                    <a:lnTo>
                      <a:pt x="1351" y="756"/>
                    </a:lnTo>
                    <a:lnTo>
                      <a:pt x="1349" y="757"/>
                    </a:lnTo>
                    <a:lnTo>
                      <a:pt x="1343" y="757"/>
                    </a:lnTo>
                    <a:lnTo>
                      <a:pt x="1336" y="752"/>
                    </a:lnTo>
                    <a:lnTo>
                      <a:pt x="1336" y="747"/>
                    </a:lnTo>
                    <a:lnTo>
                      <a:pt x="1331" y="744"/>
                    </a:lnTo>
                    <a:lnTo>
                      <a:pt x="1333" y="741"/>
                    </a:lnTo>
                    <a:lnTo>
                      <a:pt x="1341" y="737"/>
                    </a:lnTo>
                    <a:lnTo>
                      <a:pt x="1343" y="734"/>
                    </a:lnTo>
                    <a:lnTo>
                      <a:pt x="1341" y="734"/>
                    </a:lnTo>
                    <a:lnTo>
                      <a:pt x="1338" y="736"/>
                    </a:lnTo>
                    <a:lnTo>
                      <a:pt x="1331" y="736"/>
                    </a:lnTo>
                    <a:lnTo>
                      <a:pt x="1329" y="741"/>
                    </a:lnTo>
                    <a:lnTo>
                      <a:pt x="1326" y="741"/>
                    </a:lnTo>
                    <a:lnTo>
                      <a:pt x="1326" y="739"/>
                    </a:lnTo>
                    <a:lnTo>
                      <a:pt x="1326" y="734"/>
                    </a:lnTo>
                    <a:lnTo>
                      <a:pt x="1324" y="734"/>
                    </a:lnTo>
                    <a:lnTo>
                      <a:pt x="1323" y="734"/>
                    </a:lnTo>
                    <a:lnTo>
                      <a:pt x="1321" y="737"/>
                    </a:lnTo>
                    <a:lnTo>
                      <a:pt x="1323" y="739"/>
                    </a:lnTo>
                    <a:lnTo>
                      <a:pt x="1321" y="741"/>
                    </a:lnTo>
                    <a:lnTo>
                      <a:pt x="1318" y="741"/>
                    </a:lnTo>
                    <a:lnTo>
                      <a:pt x="1314" y="737"/>
                    </a:lnTo>
                    <a:lnTo>
                      <a:pt x="1311" y="736"/>
                    </a:lnTo>
                    <a:lnTo>
                      <a:pt x="1308" y="737"/>
                    </a:lnTo>
                    <a:lnTo>
                      <a:pt x="1308" y="741"/>
                    </a:lnTo>
                    <a:lnTo>
                      <a:pt x="1304" y="741"/>
                    </a:lnTo>
                    <a:lnTo>
                      <a:pt x="1301" y="737"/>
                    </a:lnTo>
                    <a:lnTo>
                      <a:pt x="1299" y="733"/>
                    </a:lnTo>
                    <a:lnTo>
                      <a:pt x="1301" y="734"/>
                    </a:lnTo>
                    <a:lnTo>
                      <a:pt x="1304" y="736"/>
                    </a:lnTo>
                    <a:lnTo>
                      <a:pt x="1304" y="734"/>
                    </a:lnTo>
                    <a:lnTo>
                      <a:pt x="1299" y="729"/>
                    </a:lnTo>
                    <a:lnTo>
                      <a:pt x="1294" y="726"/>
                    </a:lnTo>
                    <a:lnTo>
                      <a:pt x="1293" y="723"/>
                    </a:lnTo>
                    <a:lnTo>
                      <a:pt x="1294" y="718"/>
                    </a:lnTo>
                    <a:lnTo>
                      <a:pt x="1293" y="713"/>
                    </a:lnTo>
                    <a:lnTo>
                      <a:pt x="1291" y="706"/>
                    </a:lnTo>
                    <a:lnTo>
                      <a:pt x="1293" y="703"/>
                    </a:lnTo>
                    <a:lnTo>
                      <a:pt x="1296" y="703"/>
                    </a:lnTo>
                    <a:lnTo>
                      <a:pt x="1296" y="701"/>
                    </a:lnTo>
                    <a:lnTo>
                      <a:pt x="1293" y="696"/>
                    </a:lnTo>
                    <a:lnTo>
                      <a:pt x="1294" y="694"/>
                    </a:lnTo>
                    <a:lnTo>
                      <a:pt x="1299" y="694"/>
                    </a:lnTo>
                    <a:lnTo>
                      <a:pt x="1301" y="698"/>
                    </a:lnTo>
                    <a:lnTo>
                      <a:pt x="1308" y="698"/>
                    </a:lnTo>
                    <a:lnTo>
                      <a:pt x="1313" y="701"/>
                    </a:lnTo>
                    <a:lnTo>
                      <a:pt x="1314" y="704"/>
                    </a:lnTo>
                    <a:lnTo>
                      <a:pt x="1323" y="708"/>
                    </a:lnTo>
                    <a:lnTo>
                      <a:pt x="1331" y="708"/>
                    </a:lnTo>
                    <a:lnTo>
                      <a:pt x="1333" y="706"/>
                    </a:lnTo>
                    <a:lnTo>
                      <a:pt x="1339" y="706"/>
                    </a:lnTo>
                    <a:lnTo>
                      <a:pt x="1336" y="704"/>
                    </a:lnTo>
                    <a:lnTo>
                      <a:pt x="1336" y="701"/>
                    </a:lnTo>
                    <a:lnTo>
                      <a:pt x="1329" y="698"/>
                    </a:lnTo>
                    <a:lnTo>
                      <a:pt x="1329" y="693"/>
                    </a:lnTo>
                    <a:lnTo>
                      <a:pt x="1323" y="693"/>
                    </a:lnTo>
                    <a:lnTo>
                      <a:pt x="1318" y="689"/>
                    </a:lnTo>
                    <a:lnTo>
                      <a:pt x="1313" y="689"/>
                    </a:lnTo>
                    <a:lnTo>
                      <a:pt x="1308" y="686"/>
                    </a:lnTo>
                    <a:lnTo>
                      <a:pt x="1303" y="686"/>
                    </a:lnTo>
                    <a:lnTo>
                      <a:pt x="1294" y="681"/>
                    </a:lnTo>
                    <a:lnTo>
                      <a:pt x="1293" y="678"/>
                    </a:lnTo>
                    <a:lnTo>
                      <a:pt x="1294" y="671"/>
                    </a:lnTo>
                    <a:lnTo>
                      <a:pt x="1298" y="668"/>
                    </a:lnTo>
                    <a:lnTo>
                      <a:pt x="1298" y="664"/>
                    </a:lnTo>
                    <a:lnTo>
                      <a:pt x="1299" y="659"/>
                    </a:lnTo>
                    <a:lnTo>
                      <a:pt x="1303" y="659"/>
                    </a:lnTo>
                    <a:lnTo>
                      <a:pt x="1306" y="656"/>
                    </a:lnTo>
                    <a:lnTo>
                      <a:pt x="1306" y="648"/>
                    </a:lnTo>
                    <a:lnTo>
                      <a:pt x="1308" y="644"/>
                    </a:lnTo>
                    <a:lnTo>
                      <a:pt x="1311" y="644"/>
                    </a:lnTo>
                    <a:lnTo>
                      <a:pt x="1311" y="639"/>
                    </a:lnTo>
                    <a:lnTo>
                      <a:pt x="1318" y="636"/>
                    </a:lnTo>
                    <a:lnTo>
                      <a:pt x="1323" y="636"/>
                    </a:lnTo>
                    <a:lnTo>
                      <a:pt x="1323" y="633"/>
                    </a:lnTo>
                    <a:lnTo>
                      <a:pt x="1321" y="635"/>
                    </a:lnTo>
                    <a:lnTo>
                      <a:pt x="1319" y="635"/>
                    </a:lnTo>
                    <a:lnTo>
                      <a:pt x="1319" y="631"/>
                    </a:lnTo>
                    <a:lnTo>
                      <a:pt x="1324" y="625"/>
                    </a:lnTo>
                    <a:lnTo>
                      <a:pt x="1328" y="618"/>
                    </a:lnTo>
                    <a:lnTo>
                      <a:pt x="1329" y="616"/>
                    </a:lnTo>
                    <a:lnTo>
                      <a:pt x="1333" y="613"/>
                    </a:lnTo>
                    <a:lnTo>
                      <a:pt x="1336" y="613"/>
                    </a:lnTo>
                    <a:lnTo>
                      <a:pt x="1338" y="613"/>
                    </a:lnTo>
                    <a:lnTo>
                      <a:pt x="1339" y="606"/>
                    </a:lnTo>
                    <a:lnTo>
                      <a:pt x="1343" y="606"/>
                    </a:lnTo>
                    <a:lnTo>
                      <a:pt x="1344" y="610"/>
                    </a:lnTo>
                    <a:lnTo>
                      <a:pt x="1346" y="606"/>
                    </a:lnTo>
                    <a:lnTo>
                      <a:pt x="1344" y="603"/>
                    </a:lnTo>
                    <a:lnTo>
                      <a:pt x="1351" y="596"/>
                    </a:lnTo>
                    <a:lnTo>
                      <a:pt x="1354" y="596"/>
                    </a:lnTo>
                    <a:lnTo>
                      <a:pt x="1354" y="591"/>
                    </a:lnTo>
                    <a:lnTo>
                      <a:pt x="1358" y="586"/>
                    </a:lnTo>
                    <a:lnTo>
                      <a:pt x="1363" y="586"/>
                    </a:lnTo>
                    <a:lnTo>
                      <a:pt x="1366" y="583"/>
                    </a:lnTo>
                    <a:lnTo>
                      <a:pt x="1369" y="583"/>
                    </a:lnTo>
                    <a:lnTo>
                      <a:pt x="1373" y="585"/>
                    </a:lnTo>
                    <a:lnTo>
                      <a:pt x="1371" y="581"/>
                    </a:lnTo>
                    <a:lnTo>
                      <a:pt x="1373" y="576"/>
                    </a:lnTo>
                    <a:lnTo>
                      <a:pt x="1381" y="573"/>
                    </a:lnTo>
                    <a:lnTo>
                      <a:pt x="1389" y="566"/>
                    </a:lnTo>
                    <a:lnTo>
                      <a:pt x="1402" y="563"/>
                    </a:lnTo>
                    <a:lnTo>
                      <a:pt x="1411" y="561"/>
                    </a:lnTo>
                    <a:lnTo>
                      <a:pt x="1414" y="561"/>
                    </a:lnTo>
                    <a:lnTo>
                      <a:pt x="1421" y="561"/>
                    </a:lnTo>
                    <a:lnTo>
                      <a:pt x="1424" y="561"/>
                    </a:lnTo>
                    <a:lnTo>
                      <a:pt x="1427" y="561"/>
                    </a:lnTo>
                    <a:lnTo>
                      <a:pt x="1434" y="561"/>
                    </a:lnTo>
                    <a:lnTo>
                      <a:pt x="1439" y="565"/>
                    </a:lnTo>
                    <a:lnTo>
                      <a:pt x="1451" y="570"/>
                    </a:lnTo>
                    <a:lnTo>
                      <a:pt x="1451" y="573"/>
                    </a:lnTo>
                    <a:lnTo>
                      <a:pt x="1449" y="576"/>
                    </a:lnTo>
                    <a:lnTo>
                      <a:pt x="1444" y="578"/>
                    </a:lnTo>
                    <a:lnTo>
                      <a:pt x="1436" y="581"/>
                    </a:lnTo>
                    <a:lnTo>
                      <a:pt x="1431" y="581"/>
                    </a:lnTo>
                    <a:lnTo>
                      <a:pt x="1429" y="585"/>
                    </a:lnTo>
                    <a:lnTo>
                      <a:pt x="1424" y="588"/>
                    </a:lnTo>
                    <a:lnTo>
                      <a:pt x="1419" y="590"/>
                    </a:lnTo>
                    <a:lnTo>
                      <a:pt x="1411" y="598"/>
                    </a:lnTo>
                    <a:lnTo>
                      <a:pt x="1402" y="608"/>
                    </a:lnTo>
                    <a:lnTo>
                      <a:pt x="1394" y="611"/>
                    </a:lnTo>
                    <a:lnTo>
                      <a:pt x="1392" y="613"/>
                    </a:lnTo>
                    <a:lnTo>
                      <a:pt x="1387" y="621"/>
                    </a:lnTo>
                    <a:lnTo>
                      <a:pt x="1386" y="626"/>
                    </a:lnTo>
                    <a:lnTo>
                      <a:pt x="1389" y="631"/>
                    </a:lnTo>
                    <a:lnTo>
                      <a:pt x="1391" y="633"/>
                    </a:lnTo>
                    <a:lnTo>
                      <a:pt x="1391" y="638"/>
                    </a:lnTo>
                    <a:lnTo>
                      <a:pt x="1387" y="639"/>
                    </a:lnTo>
                    <a:lnTo>
                      <a:pt x="1384" y="643"/>
                    </a:lnTo>
                    <a:lnTo>
                      <a:pt x="1379" y="648"/>
                    </a:lnTo>
                    <a:lnTo>
                      <a:pt x="1379" y="653"/>
                    </a:lnTo>
                    <a:lnTo>
                      <a:pt x="1376" y="658"/>
                    </a:lnTo>
                    <a:lnTo>
                      <a:pt x="1374" y="659"/>
                    </a:lnTo>
                    <a:lnTo>
                      <a:pt x="1373" y="663"/>
                    </a:lnTo>
                    <a:lnTo>
                      <a:pt x="1376" y="666"/>
                    </a:lnTo>
                    <a:lnTo>
                      <a:pt x="1376" y="673"/>
                    </a:lnTo>
                    <a:lnTo>
                      <a:pt x="1378" y="676"/>
                    </a:lnTo>
                    <a:lnTo>
                      <a:pt x="1378" y="681"/>
                    </a:lnTo>
                    <a:lnTo>
                      <a:pt x="1383" y="686"/>
                    </a:lnTo>
                    <a:lnTo>
                      <a:pt x="1383" y="689"/>
                    </a:lnTo>
                    <a:lnTo>
                      <a:pt x="1387" y="691"/>
                    </a:lnTo>
                    <a:lnTo>
                      <a:pt x="1387" y="696"/>
                    </a:lnTo>
                    <a:lnTo>
                      <a:pt x="1386" y="699"/>
                    </a:lnTo>
                    <a:lnTo>
                      <a:pt x="1384" y="696"/>
                    </a:lnTo>
                    <a:lnTo>
                      <a:pt x="1383" y="696"/>
                    </a:lnTo>
                    <a:lnTo>
                      <a:pt x="1381" y="698"/>
                    </a:lnTo>
                    <a:lnTo>
                      <a:pt x="1379" y="698"/>
                    </a:lnTo>
                    <a:lnTo>
                      <a:pt x="1376" y="699"/>
                    </a:lnTo>
                    <a:lnTo>
                      <a:pt x="1373" y="699"/>
                    </a:lnTo>
                    <a:lnTo>
                      <a:pt x="1374" y="701"/>
                    </a:lnTo>
                    <a:lnTo>
                      <a:pt x="1378" y="704"/>
                    </a:lnTo>
                    <a:lnTo>
                      <a:pt x="1381" y="704"/>
                    </a:lnTo>
                    <a:lnTo>
                      <a:pt x="1383" y="703"/>
                    </a:lnTo>
                    <a:lnTo>
                      <a:pt x="1384" y="704"/>
                    </a:lnTo>
                    <a:lnTo>
                      <a:pt x="1381" y="708"/>
                    </a:lnTo>
                    <a:lnTo>
                      <a:pt x="1378" y="714"/>
                    </a:lnTo>
                    <a:lnTo>
                      <a:pt x="1378" y="718"/>
                    </a:lnTo>
                    <a:lnTo>
                      <a:pt x="1378" y="721"/>
                    </a:lnTo>
                    <a:lnTo>
                      <a:pt x="1383" y="716"/>
                    </a:lnTo>
                    <a:lnTo>
                      <a:pt x="1383" y="713"/>
                    </a:lnTo>
                    <a:lnTo>
                      <a:pt x="1387" y="704"/>
                    </a:lnTo>
                    <a:lnTo>
                      <a:pt x="1391" y="703"/>
                    </a:lnTo>
                    <a:lnTo>
                      <a:pt x="1391" y="694"/>
                    </a:lnTo>
                    <a:lnTo>
                      <a:pt x="1394" y="691"/>
                    </a:lnTo>
                    <a:lnTo>
                      <a:pt x="1397" y="689"/>
                    </a:lnTo>
                    <a:lnTo>
                      <a:pt x="1397" y="684"/>
                    </a:lnTo>
                    <a:lnTo>
                      <a:pt x="1396" y="683"/>
                    </a:lnTo>
                    <a:lnTo>
                      <a:pt x="1397" y="679"/>
                    </a:lnTo>
                    <a:lnTo>
                      <a:pt x="1394" y="678"/>
                    </a:lnTo>
                    <a:lnTo>
                      <a:pt x="1391" y="678"/>
                    </a:lnTo>
                    <a:lnTo>
                      <a:pt x="1391" y="671"/>
                    </a:lnTo>
                    <a:lnTo>
                      <a:pt x="1391" y="671"/>
                    </a:lnTo>
                    <a:lnTo>
                      <a:pt x="1389" y="664"/>
                    </a:lnTo>
                    <a:lnTo>
                      <a:pt x="1387" y="661"/>
                    </a:lnTo>
                    <a:lnTo>
                      <a:pt x="1386" y="656"/>
                    </a:lnTo>
                    <a:lnTo>
                      <a:pt x="1389" y="654"/>
                    </a:lnTo>
                    <a:lnTo>
                      <a:pt x="1391" y="658"/>
                    </a:lnTo>
                    <a:lnTo>
                      <a:pt x="1392" y="656"/>
                    </a:lnTo>
                    <a:lnTo>
                      <a:pt x="1397" y="654"/>
                    </a:lnTo>
                    <a:lnTo>
                      <a:pt x="1401" y="653"/>
                    </a:lnTo>
                    <a:lnTo>
                      <a:pt x="1399" y="649"/>
                    </a:lnTo>
                    <a:lnTo>
                      <a:pt x="1401" y="646"/>
                    </a:lnTo>
                    <a:lnTo>
                      <a:pt x="1406" y="646"/>
                    </a:lnTo>
                    <a:lnTo>
                      <a:pt x="1407" y="653"/>
                    </a:lnTo>
                    <a:lnTo>
                      <a:pt x="1407" y="654"/>
                    </a:lnTo>
                    <a:lnTo>
                      <a:pt x="1409" y="656"/>
                    </a:lnTo>
                    <a:lnTo>
                      <a:pt x="1412" y="653"/>
                    </a:lnTo>
                    <a:lnTo>
                      <a:pt x="1412" y="649"/>
                    </a:lnTo>
                    <a:lnTo>
                      <a:pt x="1416" y="646"/>
                    </a:lnTo>
                    <a:lnTo>
                      <a:pt x="1419" y="646"/>
                    </a:lnTo>
                    <a:lnTo>
                      <a:pt x="1417" y="643"/>
                    </a:lnTo>
                    <a:lnTo>
                      <a:pt x="1421" y="641"/>
                    </a:lnTo>
                    <a:lnTo>
                      <a:pt x="1424" y="641"/>
                    </a:lnTo>
                    <a:lnTo>
                      <a:pt x="1422" y="638"/>
                    </a:lnTo>
                    <a:lnTo>
                      <a:pt x="1419" y="638"/>
                    </a:lnTo>
                    <a:lnTo>
                      <a:pt x="1412" y="643"/>
                    </a:lnTo>
                    <a:lnTo>
                      <a:pt x="1409" y="643"/>
                    </a:lnTo>
                    <a:lnTo>
                      <a:pt x="1407" y="638"/>
                    </a:lnTo>
                    <a:lnTo>
                      <a:pt x="1404" y="636"/>
                    </a:lnTo>
                    <a:lnTo>
                      <a:pt x="1404" y="633"/>
                    </a:lnTo>
                    <a:lnTo>
                      <a:pt x="1409" y="631"/>
                    </a:lnTo>
                    <a:lnTo>
                      <a:pt x="1407" y="628"/>
                    </a:lnTo>
                    <a:lnTo>
                      <a:pt x="1409" y="623"/>
                    </a:lnTo>
                    <a:lnTo>
                      <a:pt x="1412" y="616"/>
                    </a:lnTo>
                    <a:lnTo>
                      <a:pt x="1412" y="613"/>
                    </a:lnTo>
                    <a:lnTo>
                      <a:pt x="1416" y="610"/>
                    </a:lnTo>
                    <a:lnTo>
                      <a:pt x="1422" y="610"/>
                    </a:lnTo>
                    <a:lnTo>
                      <a:pt x="1426" y="615"/>
                    </a:lnTo>
                    <a:lnTo>
                      <a:pt x="1427" y="616"/>
                    </a:lnTo>
                    <a:lnTo>
                      <a:pt x="1432" y="620"/>
                    </a:lnTo>
                    <a:lnTo>
                      <a:pt x="1436" y="625"/>
                    </a:lnTo>
                    <a:lnTo>
                      <a:pt x="1441" y="625"/>
                    </a:lnTo>
                    <a:lnTo>
                      <a:pt x="1437" y="621"/>
                    </a:lnTo>
                    <a:lnTo>
                      <a:pt x="1436" y="618"/>
                    </a:lnTo>
                    <a:lnTo>
                      <a:pt x="1429" y="615"/>
                    </a:lnTo>
                    <a:lnTo>
                      <a:pt x="1427" y="610"/>
                    </a:lnTo>
                    <a:lnTo>
                      <a:pt x="1427" y="608"/>
                    </a:lnTo>
                    <a:lnTo>
                      <a:pt x="1422" y="608"/>
                    </a:lnTo>
                    <a:lnTo>
                      <a:pt x="1419" y="606"/>
                    </a:lnTo>
                    <a:lnTo>
                      <a:pt x="1421" y="605"/>
                    </a:lnTo>
                    <a:lnTo>
                      <a:pt x="1429" y="605"/>
                    </a:lnTo>
                    <a:lnTo>
                      <a:pt x="1431" y="603"/>
                    </a:lnTo>
                    <a:lnTo>
                      <a:pt x="1432" y="603"/>
                    </a:lnTo>
                    <a:lnTo>
                      <a:pt x="1441" y="610"/>
                    </a:lnTo>
                    <a:lnTo>
                      <a:pt x="1447" y="613"/>
                    </a:lnTo>
                    <a:lnTo>
                      <a:pt x="1449" y="613"/>
                    </a:lnTo>
                    <a:lnTo>
                      <a:pt x="1444" y="610"/>
                    </a:lnTo>
                    <a:lnTo>
                      <a:pt x="1439" y="603"/>
                    </a:lnTo>
                    <a:lnTo>
                      <a:pt x="1434" y="600"/>
                    </a:lnTo>
                    <a:lnTo>
                      <a:pt x="1434" y="598"/>
                    </a:lnTo>
                    <a:lnTo>
                      <a:pt x="1436" y="593"/>
                    </a:lnTo>
                    <a:lnTo>
                      <a:pt x="1442" y="591"/>
                    </a:lnTo>
                    <a:lnTo>
                      <a:pt x="1444" y="593"/>
                    </a:lnTo>
                    <a:lnTo>
                      <a:pt x="1444" y="596"/>
                    </a:lnTo>
                    <a:lnTo>
                      <a:pt x="1444" y="600"/>
                    </a:lnTo>
                    <a:lnTo>
                      <a:pt x="1447" y="598"/>
                    </a:lnTo>
                    <a:lnTo>
                      <a:pt x="1446" y="595"/>
                    </a:lnTo>
                    <a:lnTo>
                      <a:pt x="1449" y="591"/>
                    </a:lnTo>
                    <a:lnTo>
                      <a:pt x="1454" y="591"/>
                    </a:lnTo>
                    <a:lnTo>
                      <a:pt x="1457" y="596"/>
                    </a:lnTo>
                    <a:lnTo>
                      <a:pt x="1459" y="598"/>
                    </a:lnTo>
                    <a:lnTo>
                      <a:pt x="1461" y="603"/>
                    </a:lnTo>
                    <a:lnTo>
                      <a:pt x="1464" y="601"/>
                    </a:lnTo>
                    <a:lnTo>
                      <a:pt x="1464" y="598"/>
                    </a:lnTo>
                    <a:lnTo>
                      <a:pt x="1459" y="593"/>
                    </a:lnTo>
                    <a:lnTo>
                      <a:pt x="1461" y="590"/>
                    </a:lnTo>
                    <a:lnTo>
                      <a:pt x="1472" y="588"/>
                    </a:lnTo>
                    <a:lnTo>
                      <a:pt x="1479" y="585"/>
                    </a:lnTo>
                    <a:lnTo>
                      <a:pt x="1485" y="585"/>
                    </a:lnTo>
                    <a:lnTo>
                      <a:pt x="1490" y="581"/>
                    </a:lnTo>
                    <a:lnTo>
                      <a:pt x="1497" y="583"/>
                    </a:lnTo>
                    <a:lnTo>
                      <a:pt x="1505" y="583"/>
                    </a:lnTo>
                    <a:lnTo>
                      <a:pt x="1512" y="585"/>
                    </a:lnTo>
                    <a:lnTo>
                      <a:pt x="1514" y="588"/>
                    </a:lnTo>
                    <a:lnTo>
                      <a:pt x="1512" y="590"/>
                    </a:lnTo>
                    <a:lnTo>
                      <a:pt x="1510" y="600"/>
                    </a:lnTo>
                    <a:lnTo>
                      <a:pt x="1510" y="601"/>
                    </a:lnTo>
                    <a:lnTo>
                      <a:pt x="1507" y="605"/>
                    </a:lnTo>
                    <a:lnTo>
                      <a:pt x="1504" y="610"/>
                    </a:lnTo>
                    <a:lnTo>
                      <a:pt x="1504" y="613"/>
                    </a:lnTo>
                    <a:lnTo>
                      <a:pt x="1509" y="615"/>
                    </a:lnTo>
                    <a:lnTo>
                      <a:pt x="1510" y="618"/>
                    </a:lnTo>
                    <a:lnTo>
                      <a:pt x="1510" y="620"/>
                    </a:lnTo>
                    <a:lnTo>
                      <a:pt x="1504" y="626"/>
                    </a:lnTo>
                    <a:lnTo>
                      <a:pt x="1502" y="630"/>
                    </a:lnTo>
                    <a:lnTo>
                      <a:pt x="1502" y="635"/>
                    </a:lnTo>
                    <a:lnTo>
                      <a:pt x="1505" y="636"/>
                    </a:lnTo>
                    <a:lnTo>
                      <a:pt x="1505" y="639"/>
                    </a:lnTo>
                    <a:lnTo>
                      <a:pt x="1502" y="643"/>
                    </a:lnTo>
                    <a:lnTo>
                      <a:pt x="1499" y="644"/>
                    </a:lnTo>
                    <a:lnTo>
                      <a:pt x="1495" y="648"/>
                    </a:lnTo>
                    <a:lnTo>
                      <a:pt x="1490" y="648"/>
                    </a:lnTo>
                    <a:lnTo>
                      <a:pt x="1487" y="651"/>
                    </a:lnTo>
                    <a:lnTo>
                      <a:pt x="1484" y="654"/>
                    </a:lnTo>
                    <a:lnTo>
                      <a:pt x="1482" y="658"/>
                    </a:lnTo>
                    <a:lnTo>
                      <a:pt x="1485" y="658"/>
                    </a:lnTo>
                    <a:lnTo>
                      <a:pt x="1490" y="653"/>
                    </a:lnTo>
                    <a:lnTo>
                      <a:pt x="1495" y="649"/>
                    </a:lnTo>
                    <a:lnTo>
                      <a:pt x="1499" y="649"/>
                    </a:lnTo>
                    <a:lnTo>
                      <a:pt x="1500" y="649"/>
                    </a:lnTo>
                    <a:lnTo>
                      <a:pt x="1497" y="653"/>
                    </a:lnTo>
                    <a:lnTo>
                      <a:pt x="1495" y="656"/>
                    </a:lnTo>
                    <a:lnTo>
                      <a:pt x="1489" y="661"/>
                    </a:lnTo>
                    <a:lnTo>
                      <a:pt x="1485" y="663"/>
                    </a:lnTo>
                    <a:lnTo>
                      <a:pt x="1484" y="664"/>
                    </a:lnTo>
                    <a:lnTo>
                      <a:pt x="1485" y="666"/>
                    </a:lnTo>
                    <a:lnTo>
                      <a:pt x="1484" y="669"/>
                    </a:lnTo>
                    <a:lnTo>
                      <a:pt x="1482" y="668"/>
                    </a:lnTo>
                    <a:lnTo>
                      <a:pt x="1479" y="668"/>
                    </a:lnTo>
                    <a:lnTo>
                      <a:pt x="1479" y="671"/>
                    </a:lnTo>
                    <a:lnTo>
                      <a:pt x="1481" y="671"/>
                    </a:lnTo>
                    <a:lnTo>
                      <a:pt x="1482" y="673"/>
                    </a:lnTo>
                    <a:lnTo>
                      <a:pt x="1482" y="676"/>
                    </a:lnTo>
                    <a:lnTo>
                      <a:pt x="1479" y="678"/>
                    </a:lnTo>
                    <a:lnTo>
                      <a:pt x="1482" y="678"/>
                    </a:lnTo>
                    <a:lnTo>
                      <a:pt x="1484" y="676"/>
                    </a:lnTo>
                    <a:lnTo>
                      <a:pt x="1489" y="674"/>
                    </a:lnTo>
                    <a:lnTo>
                      <a:pt x="1490" y="671"/>
                    </a:lnTo>
                    <a:lnTo>
                      <a:pt x="1490" y="668"/>
                    </a:lnTo>
                    <a:lnTo>
                      <a:pt x="1495" y="666"/>
                    </a:lnTo>
                    <a:lnTo>
                      <a:pt x="1497" y="663"/>
                    </a:lnTo>
                    <a:lnTo>
                      <a:pt x="1499" y="664"/>
                    </a:lnTo>
                    <a:lnTo>
                      <a:pt x="1499" y="669"/>
                    </a:lnTo>
                    <a:lnTo>
                      <a:pt x="1502" y="671"/>
                    </a:lnTo>
                    <a:lnTo>
                      <a:pt x="1502" y="666"/>
                    </a:lnTo>
                    <a:lnTo>
                      <a:pt x="1500" y="661"/>
                    </a:lnTo>
                    <a:lnTo>
                      <a:pt x="1500" y="658"/>
                    </a:lnTo>
                    <a:lnTo>
                      <a:pt x="1504" y="656"/>
                    </a:lnTo>
                    <a:lnTo>
                      <a:pt x="1507" y="658"/>
                    </a:lnTo>
                    <a:lnTo>
                      <a:pt x="1507" y="663"/>
                    </a:lnTo>
                    <a:lnTo>
                      <a:pt x="1509" y="664"/>
                    </a:lnTo>
                    <a:lnTo>
                      <a:pt x="1510" y="663"/>
                    </a:lnTo>
                    <a:lnTo>
                      <a:pt x="1517" y="658"/>
                    </a:lnTo>
                    <a:lnTo>
                      <a:pt x="1517" y="663"/>
                    </a:lnTo>
                    <a:lnTo>
                      <a:pt x="1520" y="664"/>
                    </a:lnTo>
                    <a:lnTo>
                      <a:pt x="1519" y="669"/>
                    </a:lnTo>
                    <a:lnTo>
                      <a:pt x="1514" y="676"/>
                    </a:lnTo>
                    <a:lnTo>
                      <a:pt x="1509" y="679"/>
                    </a:lnTo>
                    <a:lnTo>
                      <a:pt x="1507" y="683"/>
                    </a:lnTo>
                    <a:lnTo>
                      <a:pt x="1510" y="683"/>
                    </a:lnTo>
                    <a:lnTo>
                      <a:pt x="1515" y="686"/>
                    </a:lnTo>
                    <a:lnTo>
                      <a:pt x="1519" y="683"/>
                    </a:lnTo>
                    <a:lnTo>
                      <a:pt x="1515" y="681"/>
                    </a:lnTo>
                    <a:lnTo>
                      <a:pt x="1517" y="676"/>
                    </a:lnTo>
                    <a:lnTo>
                      <a:pt x="1522" y="673"/>
                    </a:lnTo>
                    <a:lnTo>
                      <a:pt x="1525" y="678"/>
                    </a:lnTo>
                    <a:lnTo>
                      <a:pt x="1525" y="681"/>
                    </a:lnTo>
                    <a:lnTo>
                      <a:pt x="1527" y="679"/>
                    </a:lnTo>
                    <a:lnTo>
                      <a:pt x="1525" y="673"/>
                    </a:lnTo>
                    <a:lnTo>
                      <a:pt x="1524" y="669"/>
                    </a:lnTo>
                    <a:lnTo>
                      <a:pt x="1524" y="661"/>
                    </a:lnTo>
                    <a:lnTo>
                      <a:pt x="1525" y="661"/>
                    </a:lnTo>
                    <a:lnTo>
                      <a:pt x="1530" y="663"/>
                    </a:lnTo>
                    <a:lnTo>
                      <a:pt x="1529" y="666"/>
                    </a:lnTo>
                    <a:lnTo>
                      <a:pt x="1527" y="669"/>
                    </a:lnTo>
                    <a:lnTo>
                      <a:pt x="1530" y="669"/>
                    </a:lnTo>
                    <a:lnTo>
                      <a:pt x="1534" y="668"/>
                    </a:lnTo>
                    <a:lnTo>
                      <a:pt x="1542" y="674"/>
                    </a:lnTo>
                    <a:lnTo>
                      <a:pt x="1542" y="678"/>
                    </a:lnTo>
                    <a:lnTo>
                      <a:pt x="1547" y="678"/>
                    </a:lnTo>
                    <a:lnTo>
                      <a:pt x="1550" y="679"/>
                    </a:lnTo>
                    <a:lnTo>
                      <a:pt x="1554" y="679"/>
                    </a:lnTo>
                    <a:lnTo>
                      <a:pt x="1550" y="674"/>
                    </a:lnTo>
                    <a:lnTo>
                      <a:pt x="1547" y="674"/>
                    </a:lnTo>
                    <a:lnTo>
                      <a:pt x="1545" y="673"/>
                    </a:lnTo>
                    <a:lnTo>
                      <a:pt x="1537" y="666"/>
                    </a:lnTo>
                    <a:lnTo>
                      <a:pt x="1534" y="664"/>
                    </a:lnTo>
                    <a:lnTo>
                      <a:pt x="1532" y="663"/>
                    </a:lnTo>
                    <a:lnTo>
                      <a:pt x="1537" y="656"/>
                    </a:lnTo>
                    <a:lnTo>
                      <a:pt x="1542" y="656"/>
                    </a:lnTo>
                    <a:lnTo>
                      <a:pt x="1547" y="653"/>
                    </a:lnTo>
                    <a:lnTo>
                      <a:pt x="1554" y="651"/>
                    </a:lnTo>
                    <a:lnTo>
                      <a:pt x="1560" y="651"/>
                    </a:lnTo>
                    <a:lnTo>
                      <a:pt x="1562" y="653"/>
                    </a:lnTo>
                    <a:lnTo>
                      <a:pt x="1565" y="653"/>
                    </a:lnTo>
                    <a:lnTo>
                      <a:pt x="1572" y="656"/>
                    </a:lnTo>
                    <a:lnTo>
                      <a:pt x="1572" y="659"/>
                    </a:lnTo>
                    <a:lnTo>
                      <a:pt x="1575" y="661"/>
                    </a:lnTo>
                    <a:lnTo>
                      <a:pt x="1579" y="663"/>
                    </a:lnTo>
                    <a:lnTo>
                      <a:pt x="1579" y="666"/>
                    </a:lnTo>
                    <a:lnTo>
                      <a:pt x="1582" y="666"/>
                    </a:lnTo>
                    <a:lnTo>
                      <a:pt x="1582" y="664"/>
                    </a:lnTo>
                    <a:lnTo>
                      <a:pt x="1587" y="664"/>
                    </a:lnTo>
                    <a:lnTo>
                      <a:pt x="1588" y="668"/>
                    </a:lnTo>
                    <a:lnTo>
                      <a:pt x="1593" y="671"/>
                    </a:lnTo>
                    <a:lnTo>
                      <a:pt x="1593" y="673"/>
                    </a:lnTo>
                    <a:lnTo>
                      <a:pt x="1593" y="676"/>
                    </a:lnTo>
                    <a:lnTo>
                      <a:pt x="1593" y="679"/>
                    </a:lnTo>
                    <a:lnTo>
                      <a:pt x="1595" y="681"/>
                    </a:lnTo>
                    <a:lnTo>
                      <a:pt x="1590" y="686"/>
                    </a:lnTo>
                    <a:lnTo>
                      <a:pt x="1587" y="686"/>
                    </a:lnTo>
                    <a:lnTo>
                      <a:pt x="1582" y="684"/>
                    </a:lnTo>
                    <a:lnTo>
                      <a:pt x="1575" y="686"/>
                    </a:lnTo>
                    <a:lnTo>
                      <a:pt x="1569" y="693"/>
                    </a:lnTo>
                    <a:lnTo>
                      <a:pt x="1577" y="688"/>
                    </a:lnTo>
                    <a:lnTo>
                      <a:pt x="1583" y="688"/>
                    </a:lnTo>
                    <a:lnTo>
                      <a:pt x="1585" y="689"/>
                    </a:lnTo>
                    <a:lnTo>
                      <a:pt x="1582" y="693"/>
                    </a:lnTo>
                    <a:lnTo>
                      <a:pt x="1577" y="694"/>
                    </a:lnTo>
                    <a:lnTo>
                      <a:pt x="1572" y="703"/>
                    </a:lnTo>
                    <a:lnTo>
                      <a:pt x="1569" y="704"/>
                    </a:lnTo>
                    <a:lnTo>
                      <a:pt x="1565" y="706"/>
                    </a:lnTo>
                    <a:lnTo>
                      <a:pt x="1565" y="709"/>
                    </a:lnTo>
                    <a:lnTo>
                      <a:pt x="1567" y="709"/>
                    </a:lnTo>
                    <a:lnTo>
                      <a:pt x="1575" y="701"/>
                    </a:lnTo>
                    <a:lnTo>
                      <a:pt x="1580" y="696"/>
                    </a:lnTo>
                    <a:lnTo>
                      <a:pt x="1585" y="693"/>
                    </a:lnTo>
                    <a:lnTo>
                      <a:pt x="1590" y="689"/>
                    </a:lnTo>
                    <a:lnTo>
                      <a:pt x="1595" y="691"/>
                    </a:lnTo>
                    <a:lnTo>
                      <a:pt x="1598" y="693"/>
                    </a:lnTo>
                    <a:lnTo>
                      <a:pt x="1602" y="693"/>
                    </a:lnTo>
                    <a:lnTo>
                      <a:pt x="1602" y="696"/>
                    </a:lnTo>
                    <a:lnTo>
                      <a:pt x="1600" y="699"/>
                    </a:lnTo>
                    <a:lnTo>
                      <a:pt x="1600" y="703"/>
                    </a:lnTo>
                    <a:lnTo>
                      <a:pt x="1595" y="704"/>
                    </a:lnTo>
                    <a:lnTo>
                      <a:pt x="1592" y="709"/>
                    </a:lnTo>
                    <a:lnTo>
                      <a:pt x="1587" y="709"/>
                    </a:lnTo>
                    <a:lnTo>
                      <a:pt x="1585" y="708"/>
                    </a:lnTo>
                    <a:lnTo>
                      <a:pt x="1580" y="708"/>
                    </a:lnTo>
                    <a:lnTo>
                      <a:pt x="1579" y="709"/>
                    </a:lnTo>
                    <a:lnTo>
                      <a:pt x="1583" y="709"/>
                    </a:lnTo>
                    <a:lnTo>
                      <a:pt x="1583" y="713"/>
                    </a:lnTo>
                    <a:lnTo>
                      <a:pt x="1575" y="716"/>
                    </a:lnTo>
                    <a:lnTo>
                      <a:pt x="1579" y="718"/>
                    </a:lnTo>
                    <a:lnTo>
                      <a:pt x="1582" y="714"/>
                    </a:lnTo>
                    <a:lnTo>
                      <a:pt x="1587" y="713"/>
                    </a:lnTo>
                    <a:lnTo>
                      <a:pt x="1590" y="713"/>
                    </a:lnTo>
                    <a:lnTo>
                      <a:pt x="1590" y="714"/>
                    </a:lnTo>
                    <a:lnTo>
                      <a:pt x="1588" y="716"/>
                    </a:lnTo>
                    <a:lnTo>
                      <a:pt x="1583" y="718"/>
                    </a:lnTo>
                    <a:lnTo>
                      <a:pt x="1579" y="721"/>
                    </a:lnTo>
                    <a:lnTo>
                      <a:pt x="1582" y="719"/>
                    </a:lnTo>
                    <a:lnTo>
                      <a:pt x="1583" y="721"/>
                    </a:lnTo>
                    <a:lnTo>
                      <a:pt x="1580" y="724"/>
                    </a:lnTo>
                    <a:lnTo>
                      <a:pt x="1575" y="729"/>
                    </a:lnTo>
                    <a:lnTo>
                      <a:pt x="1572" y="731"/>
                    </a:lnTo>
                    <a:lnTo>
                      <a:pt x="1575" y="733"/>
                    </a:lnTo>
                    <a:lnTo>
                      <a:pt x="1582" y="729"/>
                    </a:lnTo>
                    <a:lnTo>
                      <a:pt x="1585" y="721"/>
                    </a:lnTo>
                    <a:lnTo>
                      <a:pt x="1588" y="718"/>
                    </a:lnTo>
                    <a:lnTo>
                      <a:pt x="1595" y="713"/>
                    </a:lnTo>
                    <a:lnTo>
                      <a:pt x="1597" y="714"/>
                    </a:lnTo>
                    <a:lnTo>
                      <a:pt x="1597" y="718"/>
                    </a:lnTo>
                    <a:lnTo>
                      <a:pt x="1600" y="716"/>
                    </a:lnTo>
                    <a:lnTo>
                      <a:pt x="1602" y="713"/>
                    </a:lnTo>
                    <a:lnTo>
                      <a:pt x="1607" y="709"/>
                    </a:lnTo>
                    <a:lnTo>
                      <a:pt x="1610" y="709"/>
                    </a:lnTo>
                    <a:lnTo>
                      <a:pt x="1610" y="713"/>
                    </a:lnTo>
                    <a:lnTo>
                      <a:pt x="1603" y="718"/>
                    </a:lnTo>
                    <a:lnTo>
                      <a:pt x="1595" y="723"/>
                    </a:lnTo>
                    <a:lnTo>
                      <a:pt x="1592" y="723"/>
                    </a:lnTo>
                    <a:lnTo>
                      <a:pt x="1592" y="726"/>
                    </a:lnTo>
                    <a:lnTo>
                      <a:pt x="1593" y="726"/>
                    </a:lnTo>
                    <a:lnTo>
                      <a:pt x="1590" y="731"/>
                    </a:lnTo>
                    <a:lnTo>
                      <a:pt x="1590" y="734"/>
                    </a:lnTo>
                    <a:lnTo>
                      <a:pt x="1592" y="734"/>
                    </a:lnTo>
                    <a:lnTo>
                      <a:pt x="1593" y="731"/>
                    </a:lnTo>
                    <a:lnTo>
                      <a:pt x="1595" y="728"/>
                    </a:lnTo>
                    <a:lnTo>
                      <a:pt x="1602" y="723"/>
                    </a:lnTo>
                    <a:lnTo>
                      <a:pt x="1607" y="719"/>
                    </a:lnTo>
                    <a:lnTo>
                      <a:pt x="1607" y="723"/>
                    </a:lnTo>
                    <a:lnTo>
                      <a:pt x="1607" y="724"/>
                    </a:lnTo>
                    <a:lnTo>
                      <a:pt x="1605" y="728"/>
                    </a:lnTo>
                    <a:lnTo>
                      <a:pt x="1598" y="733"/>
                    </a:lnTo>
                    <a:lnTo>
                      <a:pt x="1598" y="736"/>
                    </a:lnTo>
                    <a:lnTo>
                      <a:pt x="1595" y="741"/>
                    </a:lnTo>
                    <a:lnTo>
                      <a:pt x="1592" y="742"/>
                    </a:lnTo>
                    <a:lnTo>
                      <a:pt x="1592" y="744"/>
                    </a:lnTo>
                    <a:lnTo>
                      <a:pt x="1597" y="742"/>
                    </a:lnTo>
                    <a:lnTo>
                      <a:pt x="1598" y="739"/>
                    </a:lnTo>
                    <a:lnTo>
                      <a:pt x="1605" y="733"/>
                    </a:lnTo>
                    <a:lnTo>
                      <a:pt x="1608" y="731"/>
                    </a:lnTo>
                    <a:lnTo>
                      <a:pt x="1610" y="734"/>
                    </a:lnTo>
                    <a:lnTo>
                      <a:pt x="1612" y="734"/>
                    </a:lnTo>
                    <a:lnTo>
                      <a:pt x="1612" y="737"/>
                    </a:lnTo>
                    <a:lnTo>
                      <a:pt x="1608" y="737"/>
                    </a:lnTo>
                    <a:lnTo>
                      <a:pt x="1603" y="744"/>
                    </a:lnTo>
                    <a:lnTo>
                      <a:pt x="1602" y="749"/>
                    </a:lnTo>
                    <a:lnTo>
                      <a:pt x="1605" y="749"/>
                    </a:lnTo>
                    <a:lnTo>
                      <a:pt x="1607" y="747"/>
                    </a:lnTo>
                    <a:lnTo>
                      <a:pt x="1607" y="744"/>
                    </a:lnTo>
                    <a:lnTo>
                      <a:pt x="1610" y="739"/>
                    </a:lnTo>
                    <a:lnTo>
                      <a:pt x="1615" y="737"/>
                    </a:lnTo>
                    <a:lnTo>
                      <a:pt x="1615" y="733"/>
                    </a:lnTo>
                    <a:lnTo>
                      <a:pt x="1617" y="729"/>
                    </a:lnTo>
                    <a:lnTo>
                      <a:pt x="1620" y="728"/>
                    </a:lnTo>
                    <a:lnTo>
                      <a:pt x="1622" y="724"/>
                    </a:lnTo>
                    <a:lnTo>
                      <a:pt x="1623" y="723"/>
                    </a:lnTo>
                    <a:lnTo>
                      <a:pt x="1625" y="721"/>
                    </a:lnTo>
                    <a:lnTo>
                      <a:pt x="1627" y="719"/>
                    </a:lnTo>
                    <a:lnTo>
                      <a:pt x="1627" y="716"/>
                    </a:lnTo>
                    <a:lnTo>
                      <a:pt x="1630" y="714"/>
                    </a:lnTo>
                    <a:lnTo>
                      <a:pt x="1633" y="721"/>
                    </a:lnTo>
                    <a:lnTo>
                      <a:pt x="1637" y="723"/>
                    </a:lnTo>
                    <a:lnTo>
                      <a:pt x="1640" y="728"/>
                    </a:lnTo>
                    <a:lnTo>
                      <a:pt x="1642" y="731"/>
                    </a:lnTo>
                    <a:lnTo>
                      <a:pt x="1642" y="736"/>
                    </a:lnTo>
                    <a:lnTo>
                      <a:pt x="1647" y="739"/>
                    </a:lnTo>
                    <a:lnTo>
                      <a:pt x="1647" y="742"/>
                    </a:lnTo>
                    <a:lnTo>
                      <a:pt x="1643" y="744"/>
                    </a:lnTo>
                    <a:lnTo>
                      <a:pt x="1640" y="749"/>
                    </a:lnTo>
                    <a:lnTo>
                      <a:pt x="1637" y="749"/>
                    </a:lnTo>
                    <a:lnTo>
                      <a:pt x="1633" y="747"/>
                    </a:lnTo>
                    <a:lnTo>
                      <a:pt x="1630" y="744"/>
                    </a:lnTo>
                    <a:lnTo>
                      <a:pt x="1627" y="744"/>
                    </a:lnTo>
                    <a:lnTo>
                      <a:pt x="1625" y="746"/>
                    </a:lnTo>
                    <a:lnTo>
                      <a:pt x="1622" y="747"/>
                    </a:lnTo>
                    <a:lnTo>
                      <a:pt x="1620" y="751"/>
                    </a:lnTo>
                    <a:lnTo>
                      <a:pt x="1617" y="752"/>
                    </a:lnTo>
                    <a:lnTo>
                      <a:pt x="1613" y="752"/>
                    </a:lnTo>
                    <a:lnTo>
                      <a:pt x="1612" y="756"/>
                    </a:lnTo>
                    <a:lnTo>
                      <a:pt x="1617" y="756"/>
                    </a:lnTo>
                    <a:lnTo>
                      <a:pt x="1618" y="756"/>
                    </a:lnTo>
                    <a:lnTo>
                      <a:pt x="1620" y="757"/>
                    </a:lnTo>
                    <a:lnTo>
                      <a:pt x="1617" y="761"/>
                    </a:lnTo>
                    <a:lnTo>
                      <a:pt x="1612" y="762"/>
                    </a:lnTo>
                    <a:lnTo>
                      <a:pt x="1608" y="764"/>
                    </a:lnTo>
                    <a:lnTo>
                      <a:pt x="1613" y="766"/>
                    </a:lnTo>
                    <a:lnTo>
                      <a:pt x="1618" y="762"/>
                    </a:lnTo>
                    <a:lnTo>
                      <a:pt x="1623" y="762"/>
                    </a:lnTo>
                    <a:lnTo>
                      <a:pt x="1627" y="762"/>
                    </a:lnTo>
                    <a:lnTo>
                      <a:pt x="1632" y="759"/>
                    </a:lnTo>
                    <a:lnTo>
                      <a:pt x="1635" y="759"/>
                    </a:lnTo>
                    <a:lnTo>
                      <a:pt x="1638" y="762"/>
                    </a:lnTo>
                    <a:lnTo>
                      <a:pt x="1638" y="764"/>
                    </a:lnTo>
                    <a:lnTo>
                      <a:pt x="1638" y="766"/>
                    </a:lnTo>
                    <a:lnTo>
                      <a:pt x="1640" y="764"/>
                    </a:lnTo>
                    <a:lnTo>
                      <a:pt x="1642" y="759"/>
                    </a:lnTo>
                    <a:lnTo>
                      <a:pt x="1640" y="756"/>
                    </a:lnTo>
                    <a:lnTo>
                      <a:pt x="1643" y="752"/>
                    </a:lnTo>
                    <a:lnTo>
                      <a:pt x="1650" y="749"/>
                    </a:lnTo>
                    <a:lnTo>
                      <a:pt x="1652" y="751"/>
                    </a:lnTo>
                    <a:lnTo>
                      <a:pt x="1650" y="754"/>
                    </a:lnTo>
                    <a:lnTo>
                      <a:pt x="1652" y="757"/>
                    </a:lnTo>
                    <a:lnTo>
                      <a:pt x="1650" y="761"/>
                    </a:lnTo>
                    <a:lnTo>
                      <a:pt x="1645" y="766"/>
                    </a:lnTo>
                    <a:lnTo>
                      <a:pt x="1640" y="767"/>
                    </a:lnTo>
                    <a:lnTo>
                      <a:pt x="1637" y="771"/>
                    </a:lnTo>
                    <a:lnTo>
                      <a:pt x="1637" y="772"/>
                    </a:lnTo>
                    <a:lnTo>
                      <a:pt x="1632" y="772"/>
                    </a:lnTo>
                    <a:lnTo>
                      <a:pt x="1630" y="771"/>
                    </a:lnTo>
                    <a:lnTo>
                      <a:pt x="1627" y="771"/>
                    </a:lnTo>
                    <a:lnTo>
                      <a:pt x="1623" y="774"/>
                    </a:lnTo>
                    <a:lnTo>
                      <a:pt x="1623" y="777"/>
                    </a:lnTo>
                    <a:lnTo>
                      <a:pt x="1618" y="781"/>
                    </a:lnTo>
                    <a:lnTo>
                      <a:pt x="1618" y="784"/>
                    </a:lnTo>
                    <a:lnTo>
                      <a:pt x="1617" y="786"/>
                    </a:lnTo>
                    <a:lnTo>
                      <a:pt x="1620" y="786"/>
                    </a:lnTo>
                    <a:lnTo>
                      <a:pt x="1625" y="781"/>
                    </a:lnTo>
                    <a:lnTo>
                      <a:pt x="1628" y="774"/>
                    </a:lnTo>
                    <a:lnTo>
                      <a:pt x="1632" y="774"/>
                    </a:lnTo>
                    <a:lnTo>
                      <a:pt x="1632" y="774"/>
                    </a:lnTo>
                    <a:lnTo>
                      <a:pt x="1635" y="776"/>
                    </a:lnTo>
                    <a:lnTo>
                      <a:pt x="1635" y="777"/>
                    </a:lnTo>
                    <a:lnTo>
                      <a:pt x="1633" y="779"/>
                    </a:lnTo>
                    <a:lnTo>
                      <a:pt x="1630" y="784"/>
                    </a:lnTo>
                    <a:lnTo>
                      <a:pt x="1623" y="789"/>
                    </a:lnTo>
                    <a:lnTo>
                      <a:pt x="1620" y="792"/>
                    </a:lnTo>
                    <a:lnTo>
                      <a:pt x="1620" y="794"/>
                    </a:lnTo>
                    <a:lnTo>
                      <a:pt x="1628" y="789"/>
                    </a:lnTo>
                    <a:lnTo>
                      <a:pt x="1637" y="782"/>
                    </a:lnTo>
                    <a:lnTo>
                      <a:pt x="1638" y="774"/>
                    </a:lnTo>
                    <a:lnTo>
                      <a:pt x="1640" y="772"/>
                    </a:lnTo>
                    <a:lnTo>
                      <a:pt x="1642" y="769"/>
                    </a:lnTo>
                    <a:lnTo>
                      <a:pt x="1645" y="769"/>
                    </a:lnTo>
                    <a:lnTo>
                      <a:pt x="1652" y="766"/>
                    </a:lnTo>
                    <a:lnTo>
                      <a:pt x="1658" y="762"/>
                    </a:lnTo>
                    <a:lnTo>
                      <a:pt x="1662" y="762"/>
                    </a:lnTo>
                    <a:lnTo>
                      <a:pt x="1662" y="764"/>
                    </a:lnTo>
                    <a:lnTo>
                      <a:pt x="1660" y="766"/>
                    </a:lnTo>
                    <a:lnTo>
                      <a:pt x="1655" y="771"/>
                    </a:lnTo>
                    <a:lnTo>
                      <a:pt x="1650" y="771"/>
                    </a:lnTo>
                    <a:lnTo>
                      <a:pt x="1647" y="772"/>
                    </a:lnTo>
                    <a:lnTo>
                      <a:pt x="1647" y="777"/>
                    </a:lnTo>
                    <a:lnTo>
                      <a:pt x="1647" y="777"/>
                    </a:lnTo>
                    <a:lnTo>
                      <a:pt x="1650" y="774"/>
                    </a:lnTo>
                    <a:lnTo>
                      <a:pt x="1655" y="774"/>
                    </a:lnTo>
                    <a:lnTo>
                      <a:pt x="1660" y="771"/>
                    </a:lnTo>
                    <a:lnTo>
                      <a:pt x="1663" y="769"/>
                    </a:lnTo>
                    <a:lnTo>
                      <a:pt x="1665" y="767"/>
                    </a:lnTo>
                    <a:lnTo>
                      <a:pt x="1668" y="766"/>
                    </a:lnTo>
                    <a:lnTo>
                      <a:pt x="1672" y="766"/>
                    </a:lnTo>
                    <a:lnTo>
                      <a:pt x="1675" y="771"/>
                    </a:lnTo>
                    <a:lnTo>
                      <a:pt x="1680" y="776"/>
                    </a:lnTo>
                    <a:lnTo>
                      <a:pt x="1682" y="779"/>
                    </a:lnTo>
                    <a:lnTo>
                      <a:pt x="1686" y="781"/>
                    </a:lnTo>
                    <a:lnTo>
                      <a:pt x="1686" y="784"/>
                    </a:lnTo>
                    <a:lnTo>
                      <a:pt x="1686" y="787"/>
                    </a:lnTo>
                    <a:lnTo>
                      <a:pt x="1682" y="791"/>
                    </a:lnTo>
                    <a:lnTo>
                      <a:pt x="1680" y="791"/>
                    </a:lnTo>
                    <a:lnTo>
                      <a:pt x="1680" y="786"/>
                    </a:lnTo>
                    <a:lnTo>
                      <a:pt x="1677" y="786"/>
                    </a:lnTo>
                    <a:lnTo>
                      <a:pt x="1677" y="789"/>
                    </a:lnTo>
                    <a:lnTo>
                      <a:pt x="1673" y="791"/>
                    </a:lnTo>
                    <a:lnTo>
                      <a:pt x="1672" y="794"/>
                    </a:lnTo>
                    <a:lnTo>
                      <a:pt x="1663" y="794"/>
                    </a:lnTo>
                    <a:lnTo>
                      <a:pt x="1660" y="796"/>
                    </a:lnTo>
                    <a:lnTo>
                      <a:pt x="1655" y="796"/>
                    </a:lnTo>
                    <a:lnTo>
                      <a:pt x="1648" y="799"/>
                    </a:lnTo>
                    <a:lnTo>
                      <a:pt x="1645" y="799"/>
                    </a:lnTo>
                    <a:lnTo>
                      <a:pt x="1638" y="802"/>
                    </a:lnTo>
                    <a:lnTo>
                      <a:pt x="1642" y="802"/>
                    </a:lnTo>
                    <a:lnTo>
                      <a:pt x="1645" y="804"/>
                    </a:lnTo>
                    <a:lnTo>
                      <a:pt x="1643" y="806"/>
                    </a:lnTo>
                    <a:lnTo>
                      <a:pt x="1637" y="807"/>
                    </a:lnTo>
                    <a:lnTo>
                      <a:pt x="1635" y="809"/>
                    </a:lnTo>
                    <a:lnTo>
                      <a:pt x="1643" y="809"/>
                    </a:lnTo>
                    <a:lnTo>
                      <a:pt x="1648" y="804"/>
                    </a:lnTo>
                    <a:lnTo>
                      <a:pt x="1655" y="799"/>
                    </a:lnTo>
                    <a:lnTo>
                      <a:pt x="1660" y="797"/>
                    </a:lnTo>
                    <a:lnTo>
                      <a:pt x="1663" y="799"/>
                    </a:lnTo>
                    <a:lnTo>
                      <a:pt x="1667" y="797"/>
                    </a:lnTo>
                    <a:lnTo>
                      <a:pt x="1670" y="797"/>
                    </a:lnTo>
                    <a:lnTo>
                      <a:pt x="1670" y="799"/>
                    </a:lnTo>
                    <a:lnTo>
                      <a:pt x="1670" y="804"/>
                    </a:lnTo>
                    <a:lnTo>
                      <a:pt x="1667" y="806"/>
                    </a:lnTo>
                    <a:lnTo>
                      <a:pt x="1663" y="809"/>
                    </a:lnTo>
                    <a:lnTo>
                      <a:pt x="1660" y="807"/>
                    </a:lnTo>
                    <a:lnTo>
                      <a:pt x="1657" y="809"/>
                    </a:lnTo>
                    <a:lnTo>
                      <a:pt x="1653" y="814"/>
                    </a:lnTo>
                    <a:lnTo>
                      <a:pt x="1650" y="816"/>
                    </a:lnTo>
                    <a:lnTo>
                      <a:pt x="1647" y="814"/>
                    </a:lnTo>
                    <a:lnTo>
                      <a:pt x="1643" y="814"/>
                    </a:lnTo>
                    <a:lnTo>
                      <a:pt x="1640" y="817"/>
                    </a:lnTo>
                    <a:lnTo>
                      <a:pt x="1642" y="817"/>
                    </a:lnTo>
                    <a:lnTo>
                      <a:pt x="1647" y="816"/>
                    </a:lnTo>
                    <a:lnTo>
                      <a:pt x="1650" y="817"/>
                    </a:lnTo>
                    <a:lnTo>
                      <a:pt x="1652" y="817"/>
                    </a:lnTo>
                    <a:lnTo>
                      <a:pt x="1657" y="814"/>
                    </a:lnTo>
                    <a:lnTo>
                      <a:pt x="1660" y="811"/>
                    </a:lnTo>
                    <a:lnTo>
                      <a:pt x="1663" y="809"/>
                    </a:lnTo>
                    <a:lnTo>
                      <a:pt x="1667" y="811"/>
                    </a:lnTo>
                    <a:lnTo>
                      <a:pt x="1672" y="811"/>
                    </a:lnTo>
                    <a:lnTo>
                      <a:pt x="1673" y="807"/>
                    </a:lnTo>
                    <a:lnTo>
                      <a:pt x="1678" y="806"/>
                    </a:lnTo>
                    <a:lnTo>
                      <a:pt x="1680" y="804"/>
                    </a:lnTo>
                    <a:lnTo>
                      <a:pt x="1680" y="802"/>
                    </a:lnTo>
                    <a:lnTo>
                      <a:pt x="1678" y="801"/>
                    </a:lnTo>
                    <a:lnTo>
                      <a:pt x="1682" y="797"/>
                    </a:lnTo>
                    <a:lnTo>
                      <a:pt x="1682" y="794"/>
                    </a:lnTo>
                    <a:lnTo>
                      <a:pt x="1685" y="794"/>
                    </a:lnTo>
                    <a:lnTo>
                      <a:pt x="1686" y="796"/>
                    </a:lnTo>
                    <a:lnTo>
                      <a:pt x="1688" y="794"/>
                    </a:lnTo>
                    <a:lnTo>
                      <a:pt x="1690" y="799"/>
                    </a:lnTo>
                    <a:lnTo>
                      <a:pt x="1693" y="807"/>
                    </a:lnTo>
                    <a:lnTo>
                      <a:pt x="1695" y="812"/>
                    </a:lnTo>
                    <a:lnTo>
                      <a:pt x="1696" y="816"/>
                    </a:lnTo>
                    <a:lnTo>
                      <a:pt x="1696" y="819"/>
                    </a:lnTo>
                    <a:lnTo>
                      <a:pt x="1695" y="822"/>
                    </a:lnTo>
                    <a:lnTo>
                      <a:pt x="1690" y="822"/>
                    </a:lnTo>
                    <a:lnTo>
                      <a:pt x="1686" y="821"/>
                    </a:lnTo>
                    <a:lnTo>
                      <a:pt x="1680" y="819"/>
                    </a:lnTo>
                    <a:lnTo>
                      <a:pt x="1677" y="821"/>
                    </a:lnTo>
                    <a:lnTo>
                      <a:pt x="1672" y="824"/>
                    </a:lnTo>
                    <a:lnTo>
                      <a:pt x="1670" y="824"/>
                    </a:lnTo>
                    <a:lnTo>
                      <a:pt x="1668" y="822"/>
                    </a:lnTo>
                    <a:lnTo>
                      <a:pt x="1663" y="822"/>
                    </a:lnTo>
                    <a:lnTo>
                      <a:pt x="1662" y="826"/>
                    </a:lnTo>
                    <a:lnTo>
                      <a:pt x="1653" y="826"/>
                    </a:lnTo>
                    <a:lnTo>
                      <a:pt x="1657" y="827"/>
                    </a:lnTo>
                    <a:lnTo>
                      <a:pt x="1665" y="826"/>
                    </a:lnTo>
                    <a:lnTo>
                      <a:pt x="1670" y="827"/>
                    </a:lnTo>
                    <a:lnTo>
                      <a:pt x="1677" y="832"/>
                    </a:lnTo>
                    <a:lnTo>
                      <a:pt x="1680" y="834"/>
                    </a:lnTo>
                    <a:lnTo>
                      <a:pt x="1682" y="834"/>
                    </a:lnTo>
                    <a:lnTo>
                      <a:pt x="1685" y="832"/>
                    </a:lnTo>
                    <a:lnTo>
                      <a:pt x="1686" y="834"/>
                    </a:lnTo>
                    <a:lnTo>
                      <a:pt x="1691" y="837"/>
                    </a:lnTo>
                    <a:lnTo>
                      <a:pt x="1695" y="839"/>
                    </a:lnTo>
                    <a:lnTo>
                      <a:pt x="1696" y="840"/>
                    </a:lnTo>
                    <a:lnTo>
                      <a:pt x="1698" y="845"/>
                    </a:lnTo>
                    <a:lnTo>
                      <a:pt x="1698" y="849"/>
                    </a:lnTo>
                    <a:lnTo>
                      <a:pt x="1696" y="850"/>
                    </a:lnTo>
                    <a:lnTo>
                      <a:pt x="1693" y="850"/>
                    </a:lnTo>
                    <a:lnTo>
                      <a:pt x="1691" y="847"/>
                    </a:lnTo>
                    <a:lnTo>
                      <a:pt x="1690" y="847"/>
                    </a:lnTo>
                    <a:lnTo>
                      <a:pt x="1688" y="850"/>
                    </a:lnTo>
                    <a:lnTo>
                      <a:pt x="1685" y="849"/>
                    </a:lnTo>
                    <a:lnTo>
                      <a:pt x="1683" y="847"/>
                    </a:lnTo>
                    <a:lnTo>
                      <a:pt x="1682" y="847"/>
                    </a:lnTo>
                    <a:lnTo>
                      <a:pt x="1678" y="847"/>
                    </a:lnTo>
                    <a:lnTo>
                      <a:pt x="1673" y="842"/>
                    </a:lnTo>
                    <a:lnTo>
                      <a:pt x="1670" y="840"/>
                    </a:lnTo>
                    <a:lnTo>
                      <a:pt x="1667" y="840"/>
                    </a:lnTo>
                    <a:lnTo>
                      <a:pt x="1663" y="842"/>
                    </a:lnTo>
                    <a:lnTo>
                      <a:pt x="1660" y="840"/>
                    </a:lnTo>
                    <a:lnTo>
                      <a:pt x="1662" y="842"/>
                    </a:lnTo>
                    <a:lnTo>
                      <a:pt x="1665" y="844"/>
                    </a:lnTo>
                    <a:lnTo>
                      <a:pt x="1670" y="844"/>
                    </a:lnTo>
                    <a:lnTo>
                      <a:pt x="1668" y="845"/>
                    </a:lnTo>
                    <a:lnTo>
                      <a:pt x="1662" y="845"/>
                    </a:lnTo>
                    <a:lnTo>
                      <a:pt x="1660" y="847"/>
                    </a:lnTo>
                    <a:lnTo>
                      <a:pt x="1655" y="847"/>
                    </a:lnTo>
                    <a:lnTo>
                      <a:pt x="1650" y="849"/>
                    </a:lnTo>
                    <a:lnTo>
                      <a:pt x="1652" y="852"/>
                    </a:lnTo>
                    <a:lnTo>
                      <a:pt x="1653" y="852"/>
                    </a:lnTo>
                    <a:lnTo>
                      <a:pt x="1655" y="850"/>
                    </a:lnTo>
                    <a:lnTo>
                      <a:pt x="1662" y="850"/>
                    </a:lnTo>
                    <a:lnTo>
                      <a:pt x="1665" y="849"/>
                    </a:lnTo>
                    <a:lnTo>
                      <a:pt x="1668" y="847"/>
                    </a:lnTo>
                    <a:lnTo>
                      <a:pt x="1670" y="850"/>
                    </a:lnTo>
                    <a:lnTo>
                      <a:pt x="1670" y="852"/>
                    </a:lnTo>
                    <a:lnTo>
                      <a:pt x="1673" y="854"/>
                    </a:lnTo>
                    <a:lnTo>
                      <a:pt x="1673" y="855"/>
                    </a:lnTo>
                    <a:lnTo>
                      <a:pt x="1673" y="855"/>
                    </a:lnTo>
                    <a:lnTo>
                      <a:pt x="1668" y="855"/>
                    </a:lnTo>
                    <a:lnTo>
                      <a:pt x="1667" y="857"/>
                    </a:lnTo>
                    <a:lnTo>
                      <a:pt x="1665" y="855"/>
                    </a:lnTo>
                    <a:lnTo>
                      <a:pt x="1663" y="854"/>
                    </a:lnTo>
                    <a:lnTo>
                      <a:pt x="1660" y="854"/>
                    </a:lnTo>
                    <a:lnTo>
                      <a:pt x="1660" y="855"/>
                    </a:lnTo>
                    <a:lnTo>
                      <a:pt x="1663" y="857"/>
                    </a:lnTo>
                    <a:lnTo>
                      <a:pt x="1667" y="859"/>
                    </a:lnTo>
                    <a:lnTo>
                      <a:pt x="1668" y="860"/>
                    </a:lnTo>
                    <a:lnTo>
                      <a:pt x="1668" y="864"/>
                    </a:lnTo>
                    <a:lnTo>
                      <a:pt x="1670" y="865"/>
                    </a:lnTo>
                    <a:lnTo>
                      <a:pt x="1667" y="865"/>
                    </a:lnTo>
                    <a:lnTo>
                      <a:pt x="1658" y="864"/>
                    </a:lnTo>
                    <a:lnTo>
                      <a:pt x="1652" y="864"/>
                    </a:lnTo>
                    <a:lnTo>
                      <a:pt x="1643" y="860"/>
                    </a:lnTo>
                    <a:lnTo>
                      <a:pt x="1640" y="860"/>
                    </a:lnTo>
                    <a:lnTo>
                      <a:pt x="1640" y="862"/>
                    </a:lnTo>
                    <a:lnTo>
                      <a:pt x="1645" y="864"/>
                    </a:lnTo>
                    <a:lnTo>
                      <a:pt x="1658" y="869"/>
                    </a:lnTo>
                    <a:lnTo>
                      <a:pt x="1658" y="870"/>
                    </a:lnTo>
                    <a:lnTo>
                      <a:pt x="1657" y="872"/>
                    </a:lnTo>
                    <a:lnTo>
                      <a:pt x="1650" y="867"/>
                    </a:lnTo>
                    <a:lnTo>
                      <a:pt x="1648" y="869"/>
                    </a:lnTo>
                    <a:lnTo>
                      <a:pt x="1645" y="872"/>
                    </a:lnTo>
                    <a:lnTo>
                      <a:pt x="1648" y="870"/>
                    </a:lnTo>
                    <a:lnTo>
                      <a:pt x="1650" y="872"/>
                    </a:lnTo>
                    <a:lnTo>
                      <a:pt x="1652" y="874"/>
                    </a:lnTo>
                    <a:lnTo>
                      <a:pt x="1653" y="874"/>
                    </a:lnTo>
                    <a:lnTo>
                      <a:pt x="1657" y="875"/>
                    </a:lnTo>
                    <a:lnTo>
                      <a:pt x="1657" y="877"/>
                    </a:lnTo>
                    <a:lnTo>
                      <a:pt x="1658" y="880"/>
                    </a:lnTo>
                    <a:lnTo>
                      <a:pt x="1660" y="879"/>
                    </a:lnTo>
                    <a:lnTo>
                      <a:pt x="1660" y="877"/>
                    </a:lnTo>
                    <a:lnTo>
                      <a:pt x="1665" y="877"/>
                    </a:lnTo>
                    <a:lnTo>
                      <a:pt x="1663" y="879"/>
                    </a:lnTo>
                    <a:lnTo>
                      <a:pt x="1662" y="880"/>
                    </a:lnTo>
                    <a:lnTo>
                      <a:pt x="1662" y="882"/>
                    </a:lnTo>
                    <a:lnTo>
                      <a:pt x="1665" y="882"/>
                    </a:lnTo>
                    <a:lnTo>
                      <a:pt x="1665" y="879"/>
                    </a:lnTo>
                    <a:lnTo>
                      <a:pt x="1668" y="879"/>
                    </a:lnTo>
                    <a:lnTo>
                      <a:pt x="1673" y="880"/>
                    </a:lnTo>
                    <a:lnTo>
                      <a:pt x="1678" y="882"/>
                    </a:lnTo>
                    <a:lnTo>
                      <a:pt x="1682" y="882"/>
                    </a:lnTo>
                    <a:lnTo>
                      <a:pt x="1680" y="885"/>
                    </a:lnTo>
                    <a:lnTo>
                      <a:pt x="1678" y="887"/>
                    </a:lnTo>
                    <a:lnTo>
                      <a:pt x="1675" y="885"/>
                    </a:lnTo>
                    <a:lnTo>
                      <a:pt x="1672" y="884"/>
                    </a:lnTo>
                    <a:lnTo>
                      <a:pt x="1667" y="885"/>
                    </a:lnTo>
                    <a:lnTo>
                      <a:pt x="1660" y="887"/>
                    </a:lnTo>
                    <a:lnTo>
                      <a:pt x="1660" y="890"/>
                    </a:lnTo>
                    <a:lnTo>
                      <a:pt x="1662" y="889"/>
                    </a:lnTo>
                    <a:lnTo>
                      <a:pt x="1668" y="889"/>
                    </a:lnTo>
                    <a:lnTo>
                      <a:pt x="1672" y="889"/>
                    </a:lnTo>
                    <a:lnTo>
                      <a:pt x="1668" y="890"/>
                    </a:lnTo>
                    <a:lnTo>
                      <a:pt x="1667" y="892"/>
                    </a:lnTo>
                    <a:lnTo>
                      <a:pt x="1670" y="890"/>
                    </a:lnTo>
                    <a:lnTo>
                      <a:pt x="1677" y="892"/>
                    </a:lnTo>
                    <a:lnTo>
                      <a:pt x="1678" y="894"/>
                    </a:lnTo>
                    <a:lnTo>
                      <a:pt x="1677" y="894"/>
                    </a:lnTo>
                    <a:lnTo>
                      <a:pt x="1682" y="895"/>
                    </a:lnTo>
                    <a:lnTo>
                      <a:pt x="1683" y="899"/>
                    </a:lnTo>
                    <a:lnTo>
                      <a:pt x="1682" y="900"/>
                    </a:lnTo>
                    <a:lnTo>
                      <a:pt x="1678" y="905"/>
                    </a:lnTo>
                    <a:lnTo>
                      <a:pt x="1680" y="909"/>
                    </a:lnTo>
                    <a:lnTo>
                      <a:pt x="1682" y="907"/>
                    </a:lnTo>
                    <a:lnTo>
                      <a:pt x="1682" y="904"/>
                    </a:lnTo>
                    <a:lnTo>
                      <a:pt x="1685" y="900"/>
                    </a:lnTo>
                    <a:lnTo>
                      <a:pt x="1688" y="900"/>
                    </a:lnTo>
                    <a:lnTo>
                      <a:pt x="1688" y="904"/>
                    </a:lnTo>
                    <a:lnTo>
                      <a:pt x="1686" y="907"/>
                    </a:lnTo>
                    <a:lnTo>
                      <a:pt x="1683" y="914"/>
                    </a:lnTo>
                    <a:lnTo>
                      <a:pt x="1680" y="917"/>
                    </a:lnTo>
                    <a:lnTo>
                      <a:pt x="1680" y="920"/>
                    </a:lnTo>
                    <a:lnTo>
                      <a:pt x="1683" y="919"/>
                    </a:lnTo>
                    <a:lnTo>
                      <a:pt x="1686" y="914"/>
                    </a:lnTo>
                    <a:lnTo>
                      <a:pt x="1686" y="912"/>
                    </a:lnTo>
                    <a:lnTo>
                      <a:pt x="1688" y="909"/>
                    </a:lnTo>
                    <a:lnTo>
                      <a:pt x="1693" y="907"/>
                    </a:lnTo>
                    <a:lnTo>
                      <a:pt x="1693" y="905"/>
                    </a:lnTo>
                    <a:lnTo>
                      <a:pt x="1695" y="902"/>
                    </a:lnTo>
                    <a:lnTo>
                      <a:pt x="1698" y="900"/>
                    </a:lnTo>
                    <a:lnTo>
                      <a:pt x="1698" y="902"/>
                    </a:lnTo>
                    <a:lnTo>
                      <a:pt x="1698" y="905"/>
                    </a:lnTo>
                    <a:lnTo>
                      <a:pt x="1693" y="910"/>
                    </a:lnTo>
                    <a:lnTo>
                      <a:pt x="1691" y="914"/>
                    </a:lnTo>
                    <a:lnTo>
                      <a:pt x="1691" y="917"/>
                    </a:lnTo>
                    <a:lnTo>
                      <a:pt x="1691" y="920"/>
                    </a:lnTo>
                    <a:lnTo>
                      <a:pt x="1693" y="920"/>
                    </a:lnTo>
                    <a:lnTo>
                      <a:pt x="1693" y="917"/>
                    </a:lnTo>
                    <a:lnTo>
                      <a:pt x="1693" y="914"/>
                    </a:lnTo>
                    <a:lnTo>
                      <a:pt x="1696" y="910"/>
                    </a:lnTo>
                    <a:lnTo>
                      <a:pt x="1700" y="907"/>
                    </a:lnTo>
                    <a:lnTo>
                      <a:pt x="1705" y="904"/>
                    </a:lnTo>
                    <a:lnTo>
                      <a:pt x="1708" y="900"/>
                    </a:lnTo>
                    <a:lnTo>
                      <a:pt x="1710" y="902"/>
                    </a:lnTo>
                    <a:lnTo>
                      <a:pt x="1710" y="907"/>
                    </a:lnTo>
                    <a:lnTo>
                      <a:pt x="1706" y="909"/>
                    </a:lnTo>
                    <a:lnTo>
                      <a:pt x="1701" y="910"/>
                    </a:lnTo>
                    <a:lnTo>
                      <a:pt x="1701" y="914"/>
                    </a:lnTo>
                    <a:lnTo>
                      <a:pt x="1700" y="917"/>
                    </a:lnTo>
                    <a:lnTo>
                      <a:pt x="1701" y="919"/>
                    </a:lnTo>
                    <a:lnTo>
                      <a:pt x="1701" y="917"/>
                    </a:lnTo>
                    <a:lnTo>
                      <a:pt x="1705" y="919"/>
                    </a:lnTo>
                    <a:lnTo>
                      <a:pt x="1706" y="917"/>
                    </a:lnTo>
                    <a:lnTo>
                      <a:pt x="1713" y="915"/>
                    </a:lnTo>
                    <a:lnTo>
                      <a:pt x="1715" y="917"/>
                    </a:lnTo>
                    <a:lnTo>
                      <a:pt x="1715" y="922"/>
                    </a:lnTo>
                    <a:lnTo>
                      <a:pt x="1715" y="925"/>
                    </a:lnTo>
                    <a:lnTo>
                      <a:pt x="1711" y="927"/>
                    </a:lnTo>
                    <a:lnTo>
                      <a:pt x="1711" y="927"/>
                    </a:lnTo>
                    <a:lnTo>
                      <a:pt x="1715" y="929"/>
                    </a:lnTo>
                    <a:lnTo>
                      <a:pt x="1716" y="932"/>
                    </a:lnTo>
                    <a:lnTo>
                      <a:pt x="1713" y="932"/>
                    </a:lnTo>
                    <a:lnTo>
                      <a:pt x="1710" y="932"/>
                    </a:lnTo>
                    <a:lnTo>
                      <a:pt x="1713" y="933"/>
                    </a:lnTo>
                    <a:lnTo>
                      <a:pt x="1716" y="935"/>
                    </a:lnTo>
                    <a:lnTo>
                      <a:pt x="1708" y="937"/>
                    </a:lnTo>
                    <a:lnTo>
                      <a:pt x="1703" y="937"/>
                    </a:lnTo>
                    <a:lnTo>
                      <a:pt x="1705" y="938"/>
                    </a:lnTo>
                    <a:lnTo>
                      <a:pt x="1710" y="938"/>
                    </a:lnTo>
                    <a:lnTo>
                      <a:pt x="1716" y="940"/>
                    </a:lnTo>
                    <a:lnTo>
                      <a:pt x="1718" y="938"/>
                    </a:lnTo>
                    <a:lnTo>
                      <a:pt x="1723" y="937"/>
                    </a:lnTo>
                    <a:lnTo>
                      <a:pt x="1723" y="937"/>
                    </a:lnTo>
                    <a:lnTo>
                      <a:pt x="1720" y="942"/>
                    </a:lnTo>
                    <a:lnTo>
                      <a:pt x="1718" y="947"/>
                    </a:lnTo>
                    <a:lnTo>
                      <a:pt x="1723" y="942"/>
                    </a:lnTo>
                    <a:lnTo>
                      <a:pt x="1726" y="942"/>
                    </a:lnTo>
                    <a:lnTo>
                      <a:pt x="1728" y="938"/>
                    </a:lnTo>
                    <a:lnTo>
                      <a:pt x="1733" y="935"/>
                    </a:lnTo>
                    <a:lnTo>
                      <a:pt x="1736" y="937"/>
                    </a:lnTo>
                    <a:lnTo>
                      <a:pt x="1736" y="938"/>
                    </a:lnTo>
                    <a:lnTo>
                      <a:pt x="1733" y="942"/>
                    </a:lnTo>
                    <a:lnTo>
                      <a:pt x="1731" y="942"/>
                    </a:lnTo>
                    <a:lnTo>
                      <a:pt x="1730" y="945"/>
                    </a:lnTo>
                    <a:lnTo>
                      <a:pt x="1726" y="948"/>
                    </a:lnTo>
                    <a:lnTo>
                      <a:pt x="1721" y="950"/>
                    </a:lnTo>
                    <a:lnTo>
                      <a:pt x="1720" y="955"/>
                    </a:lnTo>
                    <a:lnTo>
                      <a:pt x="1720" y="957"/>
                    </a:lnTo>
                    <a:lnTo>
                      <a:pt x="1723" y="958"/>
                    </a:lnTo>
                    <a:lnTo>
                      <a:pt x="1726" y="955"/>
                    </a:lnTo>
                    <a:lnTo>
                      <a:pt x="1726" y="953"/>
                    </a:lnTo>
                    <a:lnTo>
                      <a:pt x="1731" y="947"/>
                    </a:lnTo>
                    <a:lnTo>
                      <a:pt x="1735" y="947"/>
                    </a:lnTo>
                    <a:lnTo>
                      <a:pt x="1735" y="948"/>
                    </a:lnTo>
                    <a:lnTo>
                      <a:pt x="1731" y="953"/>
                    </a:lnTo>
                    <a:lnTo>
                      <a:pt x="1731" y="958"/>
                    </a:lnTo>
                    <a:lnTo>
                      <a:pt x="1730" y="962"/>
                    </a:lnTo>
                    <a:lnTo>
                      <a:pt x="1731" y="960"/>
                    </a:lnTo>
                    <a:lnTo>
                      <a:pt x="1735" y="953"/>
                    </a:lnTo>
                    <a:lnTo>
                      <a:pt x="1735" y="952"/>
                    </a:lnTo>
                    <a:lnTo>
                      <a:pt x="1738" y="950"/>
                    </a:lnTo>
                    <a:lnTo>
                      <a:pt x="1738" y="952"/>
                    </a:lnTo>
                    <a:lnTo>
                      <a:pt x="1740" y="957"/>
                    </a:lnTo>
                    <a:lnTo>
                      <a:pt x="1741" y="960"/>
                    </a:lnTo>
                    <a:lnTo>
                      <a:pt x="1743" y="960"/>
                    </a:lnTo>
                    <a:lnTo>
                      <a:pt x="1743" y="955"/>
                    </a:lnTo>
                    <a:lnTo>
                      <a:pt x="1745" y="952"/>
                    </a:lnTo>
                    <a:lnTo>
                      <a:pt x="1750" y="948"/>
                    </a:lnTo>
                    <a:lnTo>
                      <a:pt x="1751" y="950"/>
                    </a:lnTo>
                    <a:lnTo>
                      <a:pt x="1750" y="953"/>
                    </a:lnTo>
                    <a:lnTo>
                      <a:pt x="1751" y="953"/>
                    </a:lnTo>
                    <a:lnTo>
                      <a:pt x="1755" y="953"/>
                    </a:lnTo>
                    <a:lnTo>
                      <a:pt x="1756" y="957"/>
                    </a:lnTo>
                    <a:lnTo>
                      <a:pt x="1755" y="960"/>
                    </a:lnTo>
                    <a:lnTo>
                      <a:pt x="1760" y="960"/>
                    </a:lnTo>
                    <a:lnTo>
                      <a:pt x="1761" y="962"/>
                    </a:lnTo>
                    <a:lnTo>
                      <a:pt x="1761" y="965"/>
                    </a:lnTo>
                    <a:lnTo>
                      <a:pt x="1765" y="967"/>
                    </a:lnTo>
                    <a:lnTo>
                      <a:pt x="1765" y="970"/>
                    </a:lnTo>
                    <a:lnTo>
                      <a:pt x="1763" y="972"/>
                    </a:lnTo>
                    <a:lnTo>
                      <a:pt x="1761" y="972"/>
                    </a:lnTo>
                    <a:lnTo>
                      <a:pt x="1756" y="972"/>
                    </a:lnTo>
                    <a:lnTo>
                      <a:pt x="1756" y="970"/>
                    </a:lnTo>
                    <a:lnTo>
                      <a:pt x="1755" y="967"/>
                    </a:lnTo>
                    <a:lnTo>
                      <a:pt x="1751" y="965"/>
                    </a:lnTo>
                    <a:lnTo>
                      <a:pt x="1750" y="965"/>
                    </a:lnTo>
                    <a:lnTo>
                      <a:pt x="1748" y="967"/>
                    </a:lnTo>
                    <a:lnTo>
                      <a:pt x="1746" y="970"/>
                    </a:lnTo>
                    <a:lnTo>
                      <a:pt x="1750" y="968"/>
                    </a:lnTo>
                    <a:lnTo>
                      <a:pt x="1751" y="968"/>
                    </a:lnTo>
                    <a:lnTo>
                      <a:pt x="1753" y="970"/>
                    </a:lnTo>
                    <a:lnTo>
                      <a:pt x="1751" y="972"/>
                    </a:lnTo>
                    <a:lnTo>
                      <a:pt x="1753" y="972"/>
                    </a:lnTo>
                    <a:lnTo>
                      <a:pt x="1755" y="975"/>
                    </a:lnTo>
                    <a:lnTo>
                      <a:pt x="1753" y="975"/>
                    </a:lnTo>
                    <a:lnTo>
                      <a:pt x="1750" y="975"/>
                    </a:lnTo>
                    <a:lnTo>
                      <a:pt x="1746" y="977"/>
                    </a:lnTo>
                    <a:lnTo>
                      <a:pt x="1748" y="977"/>
                    </a:lnTo>
                    <a:lnTo>
                      <a:pt x="1753" y="977"/>
                    </a:lnTo>
                    <a:lnTo>
                      <a:pt x="1756" y="977"/>
                    </a:lnTo>
                    <a:lnTo>
                      <a:pt x="1756" y="978"/>
                    </a:lnTo>
                    <a:lnTo>
                      <a:pt x="1755" y="982"/>
                    </a:lnTo>
                    <a:lnTo>
                      <a:pt x="1750" y="982"/>
                    </a:lnTo>
                    <a:lnTo>
                      <a:pt x="1746" y="982"/>
                    </a:lnTo>
                    <a:lnTo>
                      <a:pt x="1743" y="982"/>
                    </a:lnTo>
                    <a:lnTo>
                      <a:pt x="1738" y="982"/>
                    </a:lnTo>
                    <a:lnTo>
                      <a:pt x="1740" y="978"/>
                    </a:lnTo>
                    <a:lnTo>
                      <a:pt x="1740" y="977"/>
                    </a:lnTo>
                    <a:lnTo>
                      <a:pt x="1736" y="975"/>
                    </a:lnTo>
                    <a:lnTo>
                      <a:pt x="1735" y="973"/>
                    </a:lnTo>
                    <a:lnTo>
                      <a:pt x="1733" y="973"/>
                    </a:lnTo>
                    <a:lnTo>
                      <a:pt x="1733" y="975"/>
                    </a:lnTo>
                    <a:lnTo>
                      <a:pt x="1735" y="977"/>
                    </a:lnTo>
                    <a:lnTo>
                      <a:pt x="1736" y="980"/>
                    </a:lnTo>
                    <a:lnTo>
                      <a:pt x="1736" y="982"/>
                    </a:lnTo>
                    <a:lnTo>
                      <a:pt x="1733" y="983"/>
                    </a:lnTo>
                    <a:lnTo>
                      <a:pt x="1730" y="980"/>
                    </a:lnTo>
                    <a:lnTo>
                      <a:pt x="1728" y="978"/>
                    </a:lnTo>
                    <a:lnTo>
                      <a:pt x="1728" y="982"/>
                    </a:lnTo>
                    <a:lnTo>
                      <a:pt x="1730" y="985"/>
                    </a:lnTo>
                    <a:lnTo>
                      <a:pt x="1735" y="985"/>
                    </a:lnTo>
                    <a:lnTo>
                      <a:pt x="1738" y="987"/>
                    </a:lnTo>
                    <a:lnTo>
                      <a:pt x="1740" y="987"/>
                    </a:lnTo>
                    <a:lnTo>
                      <a:pt x="1741" y="990"/>
                    </a:lnTo>
                    <a:lnTo>
                      <a:pt x="1740" y="993"/>
                    </a:lnTo>
                    <a:lnTo>
                      <a:pt x="1733" y="993"/>
                    </a:lnTo>
                    <a:lnTo>
                      <a:pt x="1731" y="990"/>
                    </a:lnTo>
                    <a:lnTo>
                      <a:pt x="1726" y="987"/>
                    </a:lnTo>
                    <a:lnTo>
                      <a:pt x="1725" y="985"/>
                    </a:lnTo>
                    <a:lnTo>
                      <a:pt x="1723" y="985"/>
                    </a:lnTo>
                    <a:lnTo>
                      <a:pt x="1725" y="987"/>
                    </a:lnTo>
                    <a:lnTo>
                      <a:pt x="1730" y="990"/>
                    </a:lnTo>
                    <a:lnTo>
                      <a:pt x="1731" y="993"/>
                    </a:lnTo>
                    <a:lnTo>
                      <a:pt x="1731" y="998"/>
                    </a:lnTo>
                    <a:lnTo>
                      <a:pt x="1730" y="1002"/>
                    </a:lnTo>
                    <a:lnTo>
                      <a:pt x="1726" y="1000"/>
                    </a:lnTo>
                    <a:lnTo>
                      <a:pt x="1726" y="998"/>
                    </a:lnTo>
                    <a:lnTo>
                      <a:pt x="1723" y="995"/>
                    </a:lnTo>
                    <a:lnTo>
                      <a:pt x="1720" y="995"/>
                    </a:lnTo>
                    <a:lnTo>
                      <a:pt x="1720" y="997"/>
                    </a:lnTo>
                    <a:lnTo>
                      <a:pt x="1721" y="997"/>
                    </a:lnTo>
                    <a:lnTo>
                      <a:pt x="1721" y="1002"/>
                    </a:lnTo>
                    <a:lnTo>
                      <a:pt x="1721" y="1007"/>
                    </a:lnTo>
                    <a:lnTo>
                      <a:pt x="1720" y="1007"/>
                    </a:lnTo>
                    <a:lnTo>
                      <a:pt x="1718" y="1007"/>
                    </a:lnTo>
                    <a:lnTo>
                      <a:pt x="1716" y="1005"/>
                    </a:lnTo>
                    <a:lnTo>
                      <a:pt x="1716" y="1002"/>
                    </a:lnTo>
                    <a:lnTo>
                      <a:pt x="1715" y="1002"/>
                    </a:lnTo>
                    <a:lnTo>
                      <a:pt x="1715" y="1005"/>
                    </a:lnTo>
                    <a:lnTo>
                      <a:pt x="1711" y="1005"/>
                    </a:lnTo>
                    <a:lnTo>
                      <a:pt x="1710" y="1005"/>
                    </a:lnTo>
                    <a:lnTo>
                      <a:pt x="1710" y="1002"/>
                    </a:lnTo>
                    <a:lnTo>
                      <a:pt x="1708" y="998"/>
                    </a:lnTo>
                    <a:lnTo>
                      <a:pt x="1708" y="995"/>
                    </a:lnTo>
                    <a:lnTo>
                      <a:pt x="1706" y="993"/>
                    </a:lnTo>
                    <a:lnTo>
                      <a:pt x="1706" y="997"/>
                    </a:lnTo>
                    <a:lnTo>
                      <a:pt x="1706" y="1002"/>
                    </a:lnTo>
                    <a:lnTo>
                      <a:pt x="1705" y="1003"/>
                    </a:lnTo>
                    <a:lnTo>
                      <a:pt x="1701" y="1003"/>
                    </a:lnTo>
                    <a:lnTo>
                      <a:pt x="1701" y="1005"/>
                    </a:lnTo>
                    <a:lnTo>
                      <a:pt x="1705" y="1005"/>
                    </a:lnTo>
                    <a:lnTo>
                      <a:pt x="1705" y="1007"/>
                    </a:lnTo>
                    <a:lnTo>
                      <a:pt x="1703" y="1010"/>
                    </a:lnTo>
                    <a:lnTo>
                      <a:pt x="1700" y="1008"/>
                    </a:lnTo>
                    <a:lnTo>
                      <a:pt x="1700" y="1008"/>
                    </a:lnTo>
                    <a:lnTo>
                      <a:pt x="1698" y="1010"/>
                    </a:lnTo>
                    <a:lnTo>
                      <a:pt x="1701" y="1012"/>
                    </a:lnTo>
                    <a:lnTo>
                      <a:pt x="1703" y="1012"/>
                    </a:lnTo>
                    <a:lnTo>
                      <a:pt x="1705" y="1013"/>
                    </a:lnTo>
                    <a:lnTo>
                      <a:pt x="1703" y="1015"/>
                    </a:lnTo>
                    <a:lnTo>
                      <a:pt x="1701" y="1017"/>
                    </a:lnTo>
                    <a:lnTo>
                      <a:pt x="1701" y="1018"/>
                    </a:lnTo>
                    <a:lnTo>
                      <a:pt x="1703" y="1022"/>
                    </a:lnTo>
                    <a:lnTo>
                      <a:pt x="1703" y="1023"/>
                    </a:lnTo>
                    <a:lnTo>
                      <a:pt x="1701" y="1023"/>
                    </a:lnTo>
                    <a:lnTo>
                      <a:pt x="1700" y="1022"/>
                    </a:lnTo>
                    <a:lnTo>
                      <a:pt x="1698" y="1023"/>
                    </a:lnTo>
                    <a:lnTo>
                      <a:pt x="1701" y="1025"/>
                    </a:lnTo>
                    <a:lnTo>
                      <a:pt x="1701" y="1028"/>
                    </a:lnTo>
                    <a:lnTo>
                      <a:pt x="1701" y="1031"/>
                    </a:lnTo>
                    <a:lnTo>
                      <a:pt x="1696" y="1033"/>
                    </a:lnTo>
                    <a:lnTo>
                      <a:pt x="1695" y="1035"/>
                    </a:lnTo>
                    <a:lnTo>
                      <a:pt x="1693" y="1033"/>
                    </a:lnTo>
                    <a:lnTo>
                      <a:pt x="1693" y="1031"/>
                    </a:lnTo>
                    <a:lnTo>
                      <a:pt x="1691" y="1031"/>
                    </a:lnTo>
                    <a:lnTo>
                      <a:pt x="1691" y="1030"/>
                    </a:lnTo>
                    <a:lnTo>
                      <a:pt x="1690" y="1028"/>
                    </a:lnTo>
                    <a:lnTo>
                      <a:pt x="1690" y="1027"/>
                    </a:lnTo>
                    <a:lnTo>
                      <a:pt x="1691" y="1025"/>
                    </a:lnTo>
                    <a:lnTo>
                      <a:pt x="1691" y="1023"/>
                    </a:lnTo>
                    <a:lnTo>
                      <a:pt x="1690" y="1023"/>
                    </a:lnTo>
                    <a:lnTo>
                      <a:pt x="1686" y="1025"/>
                    </a:lnTo>
                    <a:lnTo>
                      <a:pt x="1685" y="1027"/>
                    </a:lnTo>
                    <a:lnTo>
                      <a:pt x="1683" y="1027"/>
                    </a:lnTo>
                    <a:lnTo>
                      <a:pt x="1682" y="1025"/>
                    </a:lnTo>
                    <a:lnTo>
                      <a:pt x="1683" y="1022"/>
                    </a:lnTo>
                    <a:lnTo>
                      <a:pt x="1682" y="1020"/>
                    </a:lnTo>
                    <a:lnTo>
                      <a:pt x="1682" y="1018"/>
                    </a:lnTo>
                    <a:lnTo>
                      <a:pt x="1683" y="1017"/>
                    </a:lnTo>
                    <a:lnTo>
                      <a:pt x="1683" y="1015"/>
                    </a:lnTo>
                    <a:lnTo>
                      <a:pt x="1683" y="1013"/>
                    </a:lnTo>
                    <a:lnTo>
                      <a:pt x="1683" y="1013"/>
                    </a:lnTo>
                    <a:lnTo>
                      <a:pt x="1680" y="1015"/>
                    </a:lnTo>
                    <a:lnTo>
                      <a:pt x="1678" y="1020"/>
                    </a:lnTo>
                    <a:lnTo>
                      <a:pt x="1677" y="1023"/>
                    </a:lnTo>
                    <a:lnTo>
                      <a:pt x="1675" y="1022"/>
                    </a:lnTo>
                    <a:lnTo>
                      <a:pt x="1675" y="1018"/>
                    </a:lnTo>
                    <a:lnTo>
                      <a:pt x="1673" y="1017"/>
                    </a:lnTo>
                    <a:lnTo>
                      <a:pt x="1672" y="1013"/>
                    </a:lnTo>
                    <a:lnTo>
                      <a:pt x="1673" y="1012"/>
                    </a:lnTo>
                    <a:lnTo>
                      <a:pt x="1678" y="1010"/>
                    </a:lnTo>
                    <a:lnTo>
                      <a:pt x="1678" y="1010"/>
                    </a:lnTo>
                    <a:lnTo>
                      <a:pt x="1680" y="1008"/>
                    </a:lnTo>
                    <a:lnTo>
                      <a:pt x="1680" y="1008"/>
                    </a:lnTo>
                    <a:lnTo>
                      <a:pt x="1677" y="1007"/>
                    </a:lnTo>
                    <a:lnTo>
                      <a:pt x="1673" y="1008"/>
                    </a:lnTo>
                    <a:lnTo>
                      <a:pt x="1670" y="1007"/>
                    </a:lnTo>
                    <a:lnTo>
                      <a:pt x="1670" y="1007"/>
                    </a:lnTo>
                    <a:lnTo>
                      <a:pt x="1670" y="1003"/>
                    </a:lnTo>
                    <a:lnTo>
                      <a:pt x="1673" y="1003"/>
                    </a:lnTo>
                    <a:lnTo>
                      <a:pt x="1677" y="1000"/>
                    </a:lnTo>
                    <a:lnTo>
                      <a:pt x="1675" y="1000"/>
                    </a:lnTo>
                    <a:lnTo>
                      <a:pt x="1672" y="1002"/>
                    </a:lnTo>
                    <a:lnTo>
                      <a:pt x="1670" y="1000"/>
                    </a:lnTo>
                    <a:lnTo>
                      <a:pt x="1670" y="998"/>
                    </a:lnTo>
                    <a:lnTo>
                      <a:pt x="1672" y="997"/>
                    </a:lnTo>
                    <a:lnTo>
                      <a:pt x="1675" y="997"/>
                    </a:lnTo>
                    <a:lnTo>
                      <a:pt x="1678" y="995"/>
                    </a:lnTo>
                    <a:lnTo>
                      <a:pt x="1677" y="993"/>
                    </a:lnTo>
                    <a:lnTo>
                      <a:pt x="1672" y="995"/>
                    </a:lnTo>
                    <a:lnTo>
                      <a:pt x="1670" y="995"/>
                    </a:lnTo>
                    <a:lnTo>
                      <a:pt x="1668" y="995"/>
                    </a:lnTo>
                    <a:lnTo>
                      <a:pt x="1668" y="993"/>
                    </a:lnTo>
                    <a:lnTo>
                      <a:pt x="1672" y="988"/>
                    </a:lnTo>
                    <a:lnTo>
                      <a:pt x="1675" y="987"/>
                    </a:lnTo>
                    <a:lnTo>
                      <a:pt x="1680" y="987"/>
                    </a:lnTo>
                    <a:lnTo>
                      <a:pt x="1683" y="983"/>
                    </a:lnTo>
                    <a:lnTo>
                      <a:pt x="1686" y="982"/>
                    </a:lnTo>
                    <a:lnTo>
                      <a:pt x="1688" y="978"/>
                    </a:lnTo>
                    <a:lnTo>
                      <a:pt x="1691" y="975"/>
                    </a:lnTo>
                    <a:lnTo>
                      <a:pt x="1693" y="973"/>
                    </a:lnTo>
                    <a:lnTo>
                      <a:pt x="1693" y="972"/>
                    </a:lnTo>
                    <a:lnTo>
                      <a:pt x="1691" y="973"/>
                    </a:lnTo>
                    <a:lnTo>
                      <a:pt x="1686" y="975"/>
                    </a:lnTo>
                    <a:lnTo>
                      <a:pt x="1685" y="977"/>
                    </a:lnTo>
                    <a:lnTo>
                      <a:pt x="1683" y="980"/>
                    </a:lnTo>
                    <a:lnTo>
                      <a:pt x="1677" y="983"/>
                    </a:lnTo>
                    <a:lnTo>
                      <a:pt x="1673" y="982"/>
                    </a:lnTo>
                    <a:lnTo>
                      <a:pt x="1668" y="987"/>
                    </a:lnTo>
                    <a:lnTo>
                      <a:pt x="1663" y="987"/>
                    </a:lnTo>
                    <a:lnTo>
                      <a:pt x="1660" y="987"/>
                    </a:lnTo>
                    <a:lnTo>
                      <a:pt x="1660" y="985"/>
                    </a:lnTo>
                    <a:lnTo>
                      <a:pt x="1667" y="978"/>
                    </a:lnTo>
                    <a:lnTo>
                      <a:pt x="1672" y="975"/>
                    </a:lnTo>
                    <a:lnTo>
                      <a:pt x="1673" y="973"/>
                    </a:lnTo>
                    <a:lnTo>
                      <a:pt x="1675" y="972"/>
                    </a:lnTo>
                    <a:lnTo>
                      <a:pt x="1675" y="968"/>
                    </a:lnTo>
                    <a:lnTo>
                      <a:pt x="1672" y="973"/>
                    </a:lnTo>
                    <a:lnTo>
                      <a:pt x="1662" y="978"/>
                    </a:lnTo>
                    <a:lnTo>
                      <a:pt x="1658" y="980"/>
                    </a:lnTo>
                    <a:lnTo>
                      <a:pt x="1657" y="980"/>
                    </a:lnTo>
                    <a:lnTo>
                      <a:pt x="1655" y="978"/>
                    </a:lnTo>
                    <a:lnTo>
                      <a:pt x="1657" y="975"/>
                    </a:lnTo>
                    <a:lnTo>
                      <a:pt x="1655" y="973"/>
                    </a:lnTo>
                    <a:lnTo>
                      <a:pt x="1652" y="973"/>
                    </a:lnTo>
                    <a:lnTo>
                      <a:pt x="1650" y="973"/>
                    </a:lnTo>
                    <a:lnTo>
                      <a:pt x="1652" y="972"/>
                    </a:lnTo>
                    <a:lnTo>
                      <a:pt x="1653" y="970"/>
                    </a:lnTo>
                    <a:lnTo>
                      <a:pt x="1653" y="968"/>
                    </a:lnTo>
                    <a:lnTo>
                      <a:pt x="1652" y="967"/>
                    </a:lnTo>
                    <a:lnTo>
                      <a:pt x="1650" y="967"/>
                    </a:lnTo>
                    <a:lnTo>
                      <a:pt x="1648" y="967"/>
                    </a:lnTo>
                    <a:lnTo>
                      <a:pt x="1650" y="962"/>
                    </a:lnTo>
                    <a:lnTo>
                      <a:pt x="1652" y="962"/>
                    </a:lnTo>
                    <a:lnTo>
                      <a:pt x="1652" y="958"/>
                    </a:lnTo>
                    <a:lnTo>
                      <a:pt x="1648" y="957"/>
                    </a:lnTo>
                    <a:lnTo>
                      <a:pt x="1647" y="955"/>
                    </a:lnTo>
                    <a:lnTo>
                      <a:pt x="1647" y="955"/>
                    </a:lnTo>
                    <a:lnTo>
                      <a:pt x="1645" y="958"/>
                    </a:lnTo>
                    <a:lnTo>
                      <a:pt x="1647" y="960"/>
                    </a:lnTo>
                    <a:lnTo>
                      <a:pt x="1643" y="962"/>
                    </a:lnTo>
                    <a:lnTo>
                      <a:pt x="1640" y="960"/>
                    </a:lnTo>
                    <a:lnTo>
                      <a:pt x="1638" y="958"/>
                    </a:lnTo>
                    <a:lnTo>
                      <a:pt x="1633" y="958"/>
                    </a:lnTo>
                    <a:lnTo>
                      <a:pt x="1638" y="960"/>
                    </a:lnTo>
                    <a:lnTo>
                      <a:pt x="1642" y="965"/>
                    </a:lnTo>
                    <a:lnTo>
                      <a:pt x="1642" y="968"/>
                    </a:lnTo>
                    <a:lnTo>
                      <a:pt x="1638" y="967"/>
                    </a:lnTo>
                    <a:lnTo>
                      <a:pt x="1638" y="968"/>
                    </a:lnTo>
                    <a:lnTo>
                      <a:pt x="1638" y="970"/>
                    </a:lnTo>
                    <a:lnTo>
                      <a:pt x="1635" y="970"/>
                    </a:lnTo>
                    <a:lnTo>
                      <a:pt x="1633" y="968"/>
                    </a:lnTo>
                    <a:lnTo>
                      <a:pt x="1632" y="963"/>
                    </a:lnTo>
                    <a:lnTo>
                      <a:pt x="1630" y="962"/>
                    </a:lnTo>
                    <a:lnTo>
                      <a:pt x="1628" y="963"/>
                    </a:lnTo>
                    <a:lnTo>
                      <a:pt x="1632" y="965"/>
                    </a:lnTo>
                    <a:lnTo>
                      <a:pt x="1632" y="968"/>
                    </a:lnTo>
                    <a:lnTo>
                      <a:pt x="1630" y="972"/>
                    </a:lnTo>
                    <a:lnTo>
                      <a:pt x="1633" y="972"/>
                    </a:lnTo>
                    <a:lnTo>
                      <a:pt x="1637" y="975"/>
                    </a:lnTo>
                    <a:lnTo>
                      <a:pt x="1638" y="980"/>
                    </a:lnTo>
                    <a:lnTo>
                      <a:pt x="1637" y="982"/>
                    </a:lnTo>
                    <a:lnTo>
                      <a:pt x="1638" y="983"/>
                    </a:lnTo>
                    <a:lnTo>
                      <a:pt x="1638" y="985"/>
                    </a:lnTo>
                    <a:lnTo>
                      <a:pt x="1637" y="985"/>
                    </a:lnTo>
                    <a:lnTo>
                      <a:pt x="1632" y="985"/>
                    </a:lnTo>
                    <a:lnTo>
                      <a:pt x="1628" y="982"/>
                    </a:lnTo>
                    <a:lnTo>
                      <a:pt x="1628" y="987"/>
                    </a:lnTo>
                    <a:lnTo>
                      <a:pt x="1627" y="987"/>
                    </a:lnTo>
                    <a:lnTo>
                      <a:pt x="1622" y="982"/>
                    </a:lnTo>
                    <a:lnTo>
                      <a:pt x="1622" y="978"/>
                    </a:lnTo>
                    <a:lnTo>
                      <a:pt x="1622" y="977"/>
                    </a:lnTo>
                    <a:lnTo>
                      <a:pt x="1622" y="973"/>
                    </a:lnTo>
                    <a:lnTo>
                      <a:pt x="1618" y="972"/>
                    </a:lnTo>
                    <a:lnTo>
                      <a:pt x="1613" y="972"/>
                    </a:lnTo>
                    <a:lnTo>
                      <a:pt x="1613" y="970"/>
                    </a:lnTo>
                    <a:lnTo>
                      <a:pt x="1612" y="967"/>
                    </a:lnTo>
                    <a:lnTo>
                      <a:pt x="1608" y="968"/>
                    </a:lnTo>
                    <a:lnTo>
                      <a:pt x="1605" y="968"/>
                    </a:lnTo>
                    <a:lnTo>
                      <a:pt x="1600" y="968"/>
                    </a:lnTo>
                    <a:lnTo>
                      <a:pt x="1602" y="970"/>
                    </a:lnTo>
                    <a:lnTo>
                      <a:pt x="1607" y="972"/>
                    </a:lnTo>
                    <a:lnTo>
                      <a:pt x="1612" y="973"/>
                    </a:lnTo>
                    <a:lnTo>
                      <a:pt x="1617" y="973"/>
                    </a:lnTo>
                    <a:lnTo>
                      <a:pt x="1617" y="978"/>
                    </a:lnTo>
                    <a:lnTo>
                      <a:pt x="1613" y="982"/>
                    </a:lnTo>
                    <a:lnTo>
                      <a:pt x="1613" y="983"/>
                    </a:lnTo>
                    <a:lnTo>
                      <a:pt x="1617" y="983"/>
                    </a:lnTo>
                    <a:lnTo>
                      <a:pt x="1618" y="985"/>
                    </a:lnTo>
                    <a:lnTo>
                      <a:pt x="1617" y="988"/>
                    </a:lnTo>
                    <a:lnTo>
                      <a:pt x="1618" y="988"/>
                    </a:lnTo>
                    <a:lnTo>
                      <a:pt x="1622" y="988"/>
                    </a:lnTo>
                    <a:lnTo>
                      <a:pt x="1622" y="990"/>
                    </a:lnTo>
                    <a:lnTo>
                      <a:pt x="1620" y="993"/>
                    </a:lnTo>
                    <a:lnTo>
                      <a:pt x="1613" y="998"/>
                    </a:lnTo>
                    <a:lnTo>
                      <a:pt x="1610" y="1002"/>
                    </a:lnTo>
                    <a:lnTo>
                      <a:pt x="1618" y="1000"/>
                    </a:lnTo>
                    <a:lnTo>
                      <a:pt x="1620" y="997"/>
                    </a:lnTo>
                    <a:lnTo>
                      <a:pt x="1622" y="995"/>
                    </a:lnTo>
                    <a:lnTo>
                      <a:pt x="1628" y="995"/>
                    </a:lnTo>
                    <a:lnTo>
                      <a:pt x="1630" y="998"/>
                    </a:lnTo>
                    <a:lnTo>
                      <a:pt x="1630" y="998"/>
                    </a:lnTo>
                    <a:lnTo>
                      <a:pt x="1627" y="1002"/>
                    </a:lnTo>
                    <a:lnTo>
                      <a:pt x="1623" y="1003"/>
                    </a:lnTo>
                    <a:lnTo>
                      <a:pt x="1625" y="1005"/>
                    </a:lnTo>
                    <a:lnTo>
                      <a:pt x="1630" y="1005"/>
                    </a:lnTo>
                    <a:lnTo>
                      <a:pt x="1632" y="1008"/>
                    </a:lnTo>
                    <a:lnTo>
                      <a:pt x="1630" y="1008"/>
                    </a:lnTo>
                    <a:lnTo>
                      <a:pt x="1625" y="1010"/>
                    </a:lnTo>
                    <a:lnTo>
                      <a:pt x="1625" y="1012"/>
                    </a:lnTo>
                    <a:lnTo>
                      <a:pt x="1627" y="1012"/>
                    </a:lnTo>
                    <a:lnTo>
                      <a:pt x="1627" y="1015"/>
                    </a:lnTo>
                    <a:lnTo>
                      <a:pt x="1627" y="1015"/>
                    </a:lnTo>
                    <a:lnTo>
                      <a:pt x="1627" y="1017"/>
                    </a:lnTo>
                    <a:lnTo>
                      <a:pt x="1628" y="1017"/>
                    </a:lnTo>
                    <a:lnTo>
                      <a:pt x="1628" y="1020"/>
                    </a:lnTo>
                    <a:lnTo>
                      <a:pt x="1630" y="1020"/>
                    </a:lnTo>
                    <a:lnTo>
                      <a:pt x="1632" y="1023"/>
                    </a:lnTo>
                    <a:lnTo>
                      <a:pt x="1632" y="1028"/>
                    </a:lnTo>
                    <a:lnTo>
                      <a:pt x="1633" y="1030"/>
                    </a:lnTo>
                    <a:lnTo>
                      <a:pt x="1633" y="1027"/>
                    </a:lnTo>
                    <a:lnTo>
                      <a:pt x="1635" y="1023"/>
                    </a:lnTo>
                    <a:lnTo>
                      <a:pt x="1637" y="1022"/>
                    </a:lnTo>
                    <a:lnTo>
                      <a:pt x="1640" y="1023"/>
                    </a:lnTo>
                    <a:lnTo>
                      <a:pt x="1640" y="1028"/>
                    </a:lnTo>
                    <a:lnTo>
                      <a:pt x="1642" y="1030"/>
                    </a:lnTo>
                    <a:lnTo>
                      <a:pt x="1642" y="1031"/>
                    </a:lnTo>
                    <a:lnTo>
                      <a:pt x="1637" y="1033"/>
                    </a:lnTo>
                    <a:lnTo>
                      <a:pt x="1638" y="1035"/>
                    </a:lnTo>
                    <a:lnTo>
                      <a:pt x="1643" y="1035"/>
                    </a:lnTo>
                    <a:lnTo>
                      <a:pt x="1645" y="1033"/>
                    </a:lnTo>
                    <a:lnTo>
                      <a:pt x="1645" y="1036"/>
                    </a:lnTo>
                    <a:lnTo>
                      <a:pt x="1648" y="1033"/>
                    </a:lnTo>
                    <a:lnTo>
                      <a:pt x="1648" y="1031"/>
                    </a:lnTo>
                    <a:lnTo>
                      <a:pt x="1650" y="1031"/>
                    </a:lnTo>
                    <a:lnTo>
                      <a:pt x="1653" y="1035"/>
                    </a:lnTo>
                    <a:lnTo>
                      <a:pt x="1652" y="1038"/>
                    </a:lnTo>
                    <a:lnTo>
                      <a:pt x="1648" y="1041"/>
                    </a:lnTo>
                    <a:lnTo>
                      <a:pt x="1648" y="1043"/>
                    </a:lnTo>
                    <a:lnTo>
                      <a:pt x="1647" y="1045"/>
                    </a:lnTo>
                    <a:lnTo>
                      <a:pt x="1650" y="1046"/>
                    </a:lnTo>
                    <a:lnTo>
                      <a:pt x="1655" y="1046"/>
                    </a:lnTo>
                    <a:lnTo>
                      <a:pt x="1658" y="1045"/>
                    </a:lnTo>
                    <a:lnTo>
                      <a:pt x="1660" y="1046"/>
                    </a:lnTo>
                    <a:lnTo>
                      <a:pt x="1657" y="1050"/>
                    </a:lnTo>
                    <a:lnTo>
                      <a:pt x="1655" y="1051"/>
                    </a:lnTo>
                    <a:lnTo>
                      <a:pt x="1650" y="1051"/>
                    </a:lnTo>
                    <a:lnTo>
                      <a:pt x="1653" y="1055"/>
                    </a:lnTo>
                    <a:lnTo>
                      <a:pt x="1655" y="1060"/>
                    </a:lnTo>
                    <a:lnTo>
                      <a:pt x="1655" y="1063"/>
                    </a:lnTo>
                    <a:lnTo>
                      <a:pt x="1657" y="1063"/>
                    </a:lnTo>
                    <a:lnTo>
                      <a:pt x="1658" y="1068"/>
                    </a:lnTo>
                    <a:lnTo>
                      <a:pt x="1663" y="1076"/>
                    </a:lnTo>
                    <a:lnTo>
                      <a:pt x="1665" y="1076"/>
                    </a:lnTo>
                    <a:lnTo>
                      <a:pt x="1662" y="1078"/>
                    </a:lnTo>
                    <a:lnTo>
                      <a:pt x="1662" y="1085"/>
                    </a:lnTo>
                    <a:lnTo>
                      <a:pt x="1658" y="1090"/>
                    </a:lnTo>
                    <a:lnTo>
                      <a:pt x="1660" y="1093"/>
                    </a:lnTo>
                    <a:lnTo>
                      <a:pt x="1658" y="1095"/>
                    </a:lnTo>
                    <a:lnTo>
                      <a:pt x="1652" y="1088"/>
                    </a:lnTo>
                    <a:lnTo>
                      <a:pt x="1650" y="1083"/>
                    </a:lnTo>
                    <a:lnTo>
                      <a:pt x="1652" y="1080"/>
                    </a:lnTo>
                    <a:lnTo>
                      <a:pt x="1650" y="1073"/>
                    </a:lnTo>
                    <a:lnTo>
                      <a:pt x="1650" y="1078"/>
                    </a:lnTo>
                    <a:lnTo>
                      <a:pt x="1648" y="1085"/>
                    </a:lnTo>
                    <a:lnTo>
                      <a:pt x="1652" y="1093"/>
                    </a:lnTo>
                    <a:lnTo>
                      <a:pt x="1652" y="1100"/>
                    </a:lnTo>
                    <a:lnTo>
                      <a:pt x="1650" y="1103"/>
                    </a:lnTo>
                    <a:lnTo>
                      <a:pt x="1652" y="1106"/>
                    </a:lnTo>
                    <a:lnTo>
                      <a:pt x="1650" y="1108"/>
                    </a:lnTo>
                    <a:lnTo>
                      <a:pt x="1647" y="1108"/>
                    </a:lnTo>
                    <a:lnTo>
                      <a:pt x="1645" y="1105"/>
                    </a:lnTo>
                    <a:lnTo>
                      <a:pt x="1640" y="1105"/>
                    </a:lnTo>
                    <a:lnTo>
                      <a:pt x="1643" y="1111"/>
                    </a:lnTo>
                    <a:lnTo>
                      <a:pt x="1643" y="1118"/>
                    </a:lnTo>
                    <a:lnTo>
                      <a:pt x="1643" y="1118"/>
                    </a:lnTo>
                    <a:lnTo>
                      <a:pt x="1643" y="1121"/>
                    </a:lnTo>
                    <a:lnTo>
                      <a:pt x="1640" y="1121"/>
                    </a:lnTo>
                    <a:lnTo>
                      <a:pt x="1637" y="1118"/>
                    </a:lnTo>
                    <a:lnTo>
                      <a:pt x="1635" y="1111"/>
                    </a:lnTo>
                    <a:lnTo>
                      <a:pt x="1637" y="1110"/>
                    </a:lnTo>
                    <a:lnTo>
                      <a:pt x="1637" y="1105"/>
                    </a:lnTo>
                    <a:lnTo>
                      <a:pt x="1635" y="1108"/>
                    </a:lnTo>
                    <a:lnTo>
                      <a:pt x="1632" y="1108"/>
                    </a:lnTo>
                    <a:lnTo>
                      <a:pt x="1630" y="1105"/>
                    </a:lnTo>
                    <a:lnTo>
                      <a:pt x="1630" y="1100"/>
                    </a:lnTo>
                    <a:lnTo>
                      <a:pt x="1627" y="1101"/>
                    </a:lnTo>
                    <a:lnTo>
                      <a:pt x="1627" y="1103"/>
                    </a:lnTo>
                    <a:lnTo>
                      <a:pt x="1625" y="1103"/>
                    </a:lnTo>
                    <a:lnTo>
                      <a:pt x="1625" y="1100"/>
                    </a:lnTo>
                    <a:lnTo>
                      <a:pt x="1623" y="1096"/>
                    </a:lnTo>
                    <a:lnTo>
                      <a:pt x="1622" y="1095"/>
                    </a:lnTo>
                    <a:lnTo>
                      <a:pt x="1622" y="1096"/>
                    </a:lnTo>
                    <a:lnTo>
                      <a:pt x="1623" y="1098"/>
                    </a:lnTo>
                    <a:lnTo>
                      <a:pt x="1622" y="1101"/>
                    </a:lnTo>
                    <a:lnTo>
                      <a:pt x="1618" y="1100"/>
                    </a:lnTo>
                    <a:lnTo>
                      <a:pt x="1617" y="1098"/>
                    </a:lnTo>
                    <a:lnTo>
                      <a:pt x="1615" y="1095"/>
                    </a:lnTo>
                    <a:lnTo>
                      <a:pt x="1617" y="1091"/>
                    </a:lnTo>
                    <a:lnTo>
                      <a:pt x="1613" y="1085"/>
                    </a:lnTo>
                    <a:lnTo>
                      <a:pt x="1613" y="1083"/>
                    </a:lnTo>
                    <a:lnTo>
                      <a:pt x="1612" y="1086"/>
                    </a:lnTo>
                    <a:lnTo>
                      <a:pt x="1613" y="1093"/>
                    </a:lnTo>
                    <a:lnTo>
                      <a:pt x="1613" y="1096"/>
                    </a:lnTo>
                    <a:lnTo>
                      <a:pt x="1612" y="1100"/>
                    </a:lnTo>
                    <a:lnTo>
                      <a:pt x="1608" y="1091"/>
                    </a:lnTo>
                    <a:lnTo>
                      <a:pt x="1605" y="1090"/>
                    </a:lnTo>
                    <a:lnTo>
                      <a:pt x="1605" y="1086"/>
                    </a:lnTo>
                    <a:lnTo>
                      <a:pt x="1602" y="1086"/>
                    </a:lnTo>
                    <a:lnTo>
                      <a:pt x="1598" y="1080"/>
                    </a:lnTo>
                    <a:lnTo>
                      <a:pt x="1597" y="1078"/>
                    </a:lnTo>
                    <a:lnTo>
                      <a:pt x="1597" y="1076"/>
                    </a:lnTo>
                    <a:lnTo>
                      <a:pt x="1595" y="1073"/>
                    </a:lnTo>
                    <a:lnTo>
                      <a:pt x="1592" y="1073"/>
                    </a:lnTo>
                    <a:lnTo>
                      <a:pt x="1592" y="1076"/>
                    </a:lnTo>
                    <a:lnTo>
                      <a:pt x="1595" y="1081"/>
                    </a:lnTo>
                    <a:lnTo>
                      <a:pt x="1595" y="1085"/>
                    </a:lnTo>
                    <a:lnTo>
                      <a:pt x="1593" y="1083"/>
                    </a:lnTo>
                    <a:lnTo>
                      <a:pt x="1592" y="1080"/>
                    </a:lnTo>
                    <a:lnTo>
                      <a:pt x="1590" y="1078"/>
                    </a:lnTo>
                    <a:lnTo>
                      <a:pt x="1585" y="1075"/>
                    </a:lnTo>
                    <a:lnTo>
                      <a:pt x="1582" y="1070"/>
                    </a:lnTo>
                    <a:lnTo>
                      <a:pt x="1582" y="1065"/>
                    </a:lnTo>
                    <a:lnTo>
                      <a:pt x="1577" y="1065"/>
                    </a:lnTo>
                    <a:lnTo>
                      <a:pt x="1575" y="1068"/>
                    </a:lnTo>
                    <a:lnTo>
                      <a:pt x="1572" y="1066"/>
                    </a:lnTo>
                    <a:lnTo>
                      <a:pt x="1570" y="1070"/>
                    </a:lnTo>
                    <a:lnTo>
                      <a:pt x="1572" y="1075"/>
                    </a:lnTo>
                    <a:lnTo>
                      <a:pt x="1579" y="1080"/>
                    </a:lnTo>
                    <a:lnTo>
                      <a:pt x="1579" y="1081"/>
                    </a:lnTo>
                    <a:lnTo>
                      <a:pt x="1579" y="1085"/>
                    </a:lnTo>
                    <a:lnTo>
                      <a:pt x="1580" y="1090"/>
                    </a:lnTo>
                    <a:lnTo>
                      <a:pt x="1582" y="1090"/>
                    </a:lnTo>
                    <a:lnTo>
                      <a:pt x="1587" y="1091"/>
                    </a:lnTo>
                    <a:lnTo>
                      <a:pt x="1590" y="1095"/>
                    </a:lnTo>
                    <a:lnTo>
                      <a:pt x="1588" y="1096"/>
                    </a:lnTo>
                    <a:lnTo>
                      <a:pt x="1592" y="1096"/>
                    </a:lnTo>
                    <a:lnTo>
                      <a:pt x="1593" y="1096"/>
                    </a:lnTo>
                    <a:lnTo>
                      <a:pt x="1592" y="1100"/>
                    </a:lnTo>
                    <a:lnTo>
                      <a:pt x="1597" y="1100"/>
                    </a:lnTo>
                    <a:lnTo>
                      <a:pt x="1597" y="1103"/>
                    </a:lnTo>
                    <a:lnTo>
                      <a:pt x="1600" y="1108"/>
                    </a:lnTo>
                    <a:lnTo>
                      <a:pt x="1598" y="1111"/>
                    </a:lnTo>
                    <a:lnTo>
                      <a:pt x="1603" y="1111"/>
                    </a:lnTo>
                    <a:lnTo>
                      <a:pt x="1605" y="1111"/>
                    </a:lnTo>
                    <a:lnTo>
                      <a:pt x="1607" y="1116"/>
                    </a:lnTo>
                    <a:lnTo>
                      <a:pt x="1603" y="1120"/>
                    </a:lnTo>
                    <a:lnTo>
                      <a:pt x="1605" y="1120"/>
                    </a:lnTo>
                    <a:lnTo>
                      <a:pt x="1607" y="1123"/>
                    </a:lnTo>
                    <a:lnTo>
                      <a:pt x="1607" y="1125"/>
                    </a:lnTo>
                    <a:lnTo>
                      <a:pt x="1610" y="1121"/>
                    </a:lnTo>
                    <a:lnTo>
                      <a:pt x="1612" y="1123"/>
                    </a:lnTo>
                    <a:lnTo>
                      <a:pt x="1612" y="1128"/>
                    </a:lnTo>
                    <a:lnTo>
                      <a:pt x="1613" y="1130"/>
                    </a:lnTo>
                    <a:lnTo>
                      <a:pt x="1615" y="1128"/>
                    </a:lnTo>
                    <a:lnTo>
                      <a:pt x="1617" y="1130"/>
                    </a:lnTo>
                    <a:lnTo>
                      <a:pt x="1615" y="1133"/>
                    </a:lnTo>
                    <a:lnTo>
                      <a:pt x="1612" y="1131"/>
                    </a:lnTo>
                    <a:lnTo>
                      <a:pt x="1610" y="1134"/>
                    </a:lnTo>
                    <a:lnTo>
                      <a:pt x="1612" y="1136"/>
                    </a:lnTo>
                    <a:lnTo>
                      <a:pt x="1613" y="1139"/>
                    </a:lnTo>
                    <a:lnTo>
                      <a:pt x="1613" y="1143"/>
                    </a:lnTo>
                    <a:lnTo>
                      <a:pt x="1613" y="1143"/>
                    </a:lnTo>
                    <a:lnTo>
                      <a:pt x="1613" y="1143"/>
                    </a:lnTo>
                    <a:close/>
                    <a:moveTo>
                      <a:pt x="1208" y="1035"/>
                    </a:moveTo>
                    <a:lnTo>
                      <a:pt x="1208" y="1035"/>
                    </a:lnTo>
                    <a:lnTo>
                      <a:pt x="1210" y="1035"/>
                    </a:lnTo>
                    <a:lnTo>
                      <a:pt x="1211" y="1031"/>
                    </a:lnTo>
                    <a:lnTo>
                      <a:pt x="1213" y="1030"/>
                    </a:lnTo>
                    <a:lnTo>
                      <a:pt x="1215" y="1031"/>
                    </a:lnTo>
                    <a:lnTo>
                      <a:pt x="1218" y="1033"/>
                    </a:lnTo>
                    <a:lnTo>
                      <a:pt x="1221" y="1033"/>
                    </a:lnTo>
                    <a:lnTo>
                      <a:pt x="1223" y="1031"/>
                    </a:lnTo>
                    <a:lnTo>
                      <a:pt x="1226" y="1031"/>
                    </a:lnTo>
                    <a:lnTo>
                      <a:pt x="1228" y="1033"/>
                    </a:lnTo>
                    <a:lnTo>
                      <a:pt x="1230" y="1036"/>
                    </a:lnTo>
                    <a:lnTo>
                      <a:pt x="1226" y="1041"/>
                    </a:lnTo>
                    <a:lnTo>
                      <a:pt x="1226" y="1045"/>
                    </a:lnTo>
                    <a:lnTo>
                      <a:pt x="1223" y="1048"/>
                    </a:lnTo>
                    <a:lnTo>
                      <a:pt x="1223" y="1053"/>
                    </a:lnTo>
                    <a:lnTo>
                      <a:pt x="1225" y="1055"/>
                    </a:lnTo>
                    <a:lnTo>
                      <a:pt x="1228" y="1055"/>
                    </a:lnTo>
                    <a:lnTo>
                      <a:pt x="1230" y="1055"/>
                    </a:lnTo>
                    <a:lnTo>
                      <a:pt x="1233" y="1055"/>
                    </a:lnTo>
                    <a:lnTo>
                      <a:pt x="1235" y="1053"/>
                    </a:lnTo>
                    <a:lnTo>
                      <a:pt x="1240" y="1053"/>
                    </a:lnTo>
                    <a:lnTo>
                      <a:pt x="1241" y="1051"/>
                    </a:lnTo>
                    <a:lnTo>
                      <a:pt x="1245" y="1050"/>
                    </a:lnTo>
                    <a:lnTo>
                      <a:pt x="1248" y="1050"/>
                    </a:lnTo>
                    <a:lnTo>
                      <a:pt x="1251" y="1046"/>
                    </a:lnTo>
                    <a:lnTo>
                      <a:pt x="1253" y="1043"/>
                    </a:lnTo>
                    <a:lnTo>
                      <a:pt x="1256" y="1040"/>
                    </a:lnTo>
                    <a:lnTo>
                      <a:pt x="1258" y="1036"/>
                    </a:lnTo>
                    <a:lnTo>
                      <a:pt x="1260" y="1036"/>
                    </a:lnTo>
                    <a:lnTo>
                      <a:pt x="1263" y="1038"/>
                    </a:lnTo>
                    <a:lnTo>
                      <a:pt x="1266" y="1036"/>
                    </a:lnTo>
                    <a:lnTo>
                      <a:pt x="1268" y="1035"/>
                    </a:lnTo>
                    <a:lnTo>
                      <a:pt x="1271" y="1035"/>
                    </a:lnTo>
                    <a:lnTo>
                      <a:pt x="1273" y="1030"/>
                    </a:lnTo>
                    <a:lnTo>
                      <a:pt x="1273" y="1025"/>
                    </a:lnTo>
                    <a:lnTo>
                      <a:pt x="1276" y="1022"/>
                    </a:lnTo>
                    <a:lnTo>
                      <a:pt x="1278" y="1018"/>
                    </a:lnTo>
                    <a:lnTo>
                      <a:pt x="1281" y="1018"/>
                    </a:lnTo>
                    <a:lnTo>
                      <a:pt x="1283" y="1020"/>
                    </a:lnTo>
                    <a:lnTo>
                      <a:pt x="1286" y="1018"/>
                    </a:lnTo>
                    <a:lnTo>
                      <a:pt x="1288" y="1017"/>
                    </a:lnTo>
                    <a:lnTo>
                      <a:pt x="1291" y="1018"/>
                    </a:lnTo>
                    <a:lnTo>
                      <a:pt x="1291" y="1022"/>
                    </a:lnTo>
                    <a:lnTo>
                      <a:pt x="1288" y="1025"/>
                    </a:lnTo>
                    <a:lnTo>
                      <a:pt x="1286" y="1027"/>
                    </a:lnTo>
                    <a:lnTo>
                      <a:pt x="1289" y="1028"/>
                    </a:lnTo>
                    <a:lnTo>
                      <a:pt x="1296" y="1028"/>
                    </a:lnTo>
                    <a:lnTo>
                      <a:pt x="1299" y="1030"/>
                    </a:lnTo>
                    <a:lnTo>
                      <a:pt x="1301" y="1033"/>
                    </a:lnTo>
                    <a:lnTo>
                      <a:pt x="1298" y="1036"/>
                    </a:lnTo>
                    <a:lnTo>
                      <a:pt x="1294" y="1038"/>
                    </a:lnTo>
                    <a:lnTo>
                      <a:pt x="1294" y="1043"/>
                    </a:lnTo>
                    <a:lnTo>
                      <a:pt x="1298" y="1045"/>
                    </a:lnTo>
                    <a:lnTo>
                      <a:pt x="1299" y="1043"/>
                    </a:lnTo>
                    <a:lnTo>
                      <a:pt x="1303" y="1043"/>
                    </a:lnTo>
                    <a:lnTo>
                      <a:pt x="1304" y="1045"/>
                    </a:lnTo>
                    <a:lnTo>
                      <a:pt x="1308" y="1043"/>
                    </a:lnTo>
                    <a:lnTo>
                      <a:pt x="1309" y="1046"/>
                    </a:lnTo>
                    <a:lnTo>
                      <a:pt x="1313" y="1046"/>
                    </a:lnTo>
                    <a:lnTo>
                      <a:pt x="1316" y="1050"/>
                    </a:lnTo>
                    <a:lnTo>
                      <a:pt x="1318" y="1050"/>
                    </a:lnTo>
                    <a:lnTo>
                      <a:pt x="1324" y="1051"/>
                    </a:lnTo>
                    <a:lnTo>
                      <a:pt x="1326" y="1051"/>
                    </a:lnTo>
                    <a:lnTo>
                      <a:pt x="1329" y="1046"/>
                    </a:lnTo>
                    <a:lnTo>
                      <a:pt x="1331" y="1045"/>
                    </a:lnTo>
                    <a:lnTo>
                      <a:pt x="1336" y="1041"/>
                    </a:lnTo>
                    <a:lnTo>
                      <a:pt x="1339" y="1041"/>
                    </a:lnTo>
                    <a:lnTo>
                      <a:pt x="1341" y="1040"/>
                    </a:lnTo>
                    <a:lnTo>
                      <a:pt x="1338" y="1038"/>
                    </a:lnTo>
                    <a:lnTo>
                      <a:pt x="1334" y="1035"/>
                    </a:lnTo>
                    <a:lnTo>
                      <a:pt x="1338" y="1035"/>
                    </a:lnTo>
                    <a:lnTo>
                      <a:pt x="1339" y="1031"/>
                    </a:lnTo>
                    <a:lnTo>
                      <a:pt x="1336" y="1031"/>
                    </a:lnTo>
                    <a:lnTo>
                      <a:pt x="1334" y="1028"/>
                    </a:lnTo>
                    <a:lnTo>
                      <a:pt x="1333" y="1028"/>
                    </a:lnTo>
                    <a:lnTo>
                      <a:pt x="1333" y="1031"/>
                    </a:lnTo>
                    <a:lnTo>
                      <a:pt x="1331" y="1031"/>
                    </a:lnTo>
                    <a:lnTo>
                      <a:pt x="1329" y="1031"/>
                    </a:lnTo>
                    <a:lnTo>
                      <a:pt x="1326" y="1030"/>
                    </a:lnTo>
                    <a:lnTo>
                      <a:pt x="1324" y="1027"/>
                    </a:lnTo>
                    <a:lnTo>
                      <a:pt x="1323" y="1027"/>
                    </a:lnTo>
                    <a:lnTo>
                      <a:pt x="1319" y="1030"/>
                    </a:lnTo>
                    <a:lnTo>
                      <a:pt x="1313" y="1030"/>
                    </a:lnTo>
                    <a:lnTo>
                      <a:pt x="1309" y="1028"/>
                    </a:lnTo>
                    <a:lnTo>
                      <a:pt x="1314" y="1025"/>
                    </a:lnTo>
                    <a:lnTo>
                      <a:pt x="1318" y="1025"/>
                    </a:lnTo>
                    <a:lnTo>
                      <a:pt x="1321" y="1023"/>
                    </a:lnTo>
                    <a:lnTo>
                      <a:pt x="1321" y="1020"/>
                    </a:lnTo>
                    <a:lnTo>
                      <a:pt x="1319" y="1018"/>
                    </a:lnTo>
                    <a:lnTo>
                      <a:pt x="1319" y="1015"/>
                    </a:lnTo>
                    <a:lnTo>
                      <a:pt x="1319" y="1012"/>
                    </a:lnTo>
                    <a:lnTo>
                      <a:pt x="1319" y="1010"/>
                    </a:lnTo>
                    <a:lnTo>
                      <a:pt x="1318" y="1007"/>
                    </a:lnTo>
                    <a:lnTo>
                      <a:pt x="1318" y="1005"/>
                    </a:lnTo>
                    <a:lnTo>
                      <a:pt x="1311" y="998"/>
                    </a:lnTo>
                    <a:lnTo>
                      <a:pt x="1306" y="995"/>
                    </a:lnTo>
                    <a:lnTo>
                      <a:pt x="1304" y="993"/>
                    </a:lnTo>
                    <a:lnTo>
                      <a:pt x="1303" y="988"/>
                    </a:lnTo>
                    <a:lnTo>
                      <a:pt x="1299" y="988"/>
                    </a:lnTo>
                    <a:lnTo>
                      <a:pt x="1299" y="987"/>
                    </a:lnTo>
                    <a:lnTo>
                      <a:pt x="1299" y="982"/>
                    </a:lnTo>
                    <a:lnTo>
                      <a:pt x="1298" y="978"/>
                    </a:lnTo>
                    <a:lnTo>
                      <a:pt x="1293" y="978"/>
                    </a:lnTo>
                    <a:lnTo>
                      <a:pt x="1285" y="975"/>
                    </a:lnTo>
                    <a:lnTo>
                      <a:pt x="1281" y="970"/>
                    </a:lnTo>
                    <a:lnTo>
                      <a:pt x="1285" y="968"/>
                    </a:lnTo>
                    <a:lnTo>
                      <a:pt x="1285" y="967"/>
                    </a:lnTo>
                    <a:lnTo>
                      <a:pt x="1280" y="963"/>
                    </a:lnTo>
                    <a:lnTo>
                      <a:pt x="1280" y="960"/>
                    </a:lnTo>
                    <a:lnTo>
                      <a:pt x="1278" y="960"/>
                    </a:lnTo>
                    <a:lnTo>
                      <a:pt x="1273" y="965"/>
                    </a:lnTo>
                    <a:lnTo>
                      <a:pt x="1273" y="968"/>
                    </a:lnTo>
                    <a:lnTo>
                      <a:pt x="1270" y="972"/>
                    </a:lnTo>
                    <a:lnTo>
                      <a:pt x="1268" y="970"/>
                    </a:lnTo>
                    <a:lnTo>
                      <a:pt x="1268" y="963"/>
                    </a:lnTo>
                    <a:lnTo>
                      <a:pt x="1266" y="960"/>
                    </a:lnTo>
                    <a:lnTo>
                      <a:pt x="1266" y="957"/>
                    </a:lnTo>
                    <a:lnTo>
                      <a:pt x="1270" y="958"/>
                    </a:lnTo>
                    <a:lnTo>
                      <a:pt x="1273" y="958"/>
                    </a:lnTo>
                    <a:lnTo>
                      <a:pt x="1271" y="955"/>
                    </a:lnTo>
                    <a:lnTo>
                      <a:pt x="1273" y="952"/>
                    </a:lnTo>
                    <a:lnTo>
                      <a:pt x="1271" y="947"/>
                    </a:lnTo>
                    <a:lnTo>
                      <a:pt x="1266" y="948"/>
                    </a:lnTo>
                    <a:lnTo>
                      <a:pt x="1266" y="945"/>
                    </a:lnTo>
                    <a:lnTo>
                      <a:pt x="1271" y="942"/>
                    </a:lnTo>
                    <a:lnTo>
                      <a:pt x="1268" y="940"/>
                    </a:lnTo>
                    <a:lnTo>
                      <a:pt x="1260" y="943"/>
                    </a:lnTo>
                    <a:lnTo>
                      <a:pt x="1255" y="948"/>
                    </a:lnTo>
                    <a:lnTo>
                      <a:pt x="1251" y="957"/>
                    </a:lnTo>
                    <a:lnTo>
                      <a:pt x="1246" y="962"/>
                    </a:lnTo>
                    <a:lnTo>
                      <a:pt x="1246" y="965"/>
                    </a:lnTo>
                    <a:lnTo>
                      <a:pt x="1243" y="968"/>
                    </a:lnTo>
                    <a:lnTo>
                      <a:pt x="1243" y="972"/>
                    </a:lnTo>
                    <a:lnTo>
                      <a:pt x="1238" y="978"/>
                    </a:lnTo>
                    <a:lnTo>
                      <a:pt x="1240" y="982"/>
                    </a:lnTo>
                    <a:lnTo>
                      <a:pt x="1236" y="982"/>
                    </a:lnTo>
                    <a:lnTo>
                      <a:pt x="1236" y="987"/>
                    </a:lnTo>
                    <a:lnTo>
                      <a:pt x="1236" y="990"/>
                    </a:lnTo>
                    <a:lnTo>
                      <a:pt x="1230" y="995"/>
                    </a:lnTo>
                    <a:lnTo>
                      <a:pt x="1228" y="998"/>
                    </a:lnTo>
                    <a:lnTo>
                      <a:pt x="1228" y="1005"/>
                    </a:lnTo>
                    <a:lnTo>
                      <a:pt x="1226" y="1007"/>
                    </a:lnTo>
                    <a:lnTo>
                      <a:pt x="1226" y="1013"/>
                    </a:lnTo>
                    <a:lnTo>
                      <a:pt x="1223" y="1017"/>
                    </a:lnTo>
                    <a:lnTo>
                      <a:pt x="1218" y="1017"/>
                    </a:lnTo>
                    <a:lnTo>
                      <a:pt x="1210" y="1020"/>
                    </a:lnTo>
                    <a:lnTo>
                      <a:pt x="1210" y="1023"/>
                    </a:lnTo>
                    <a:lnTo>
                      <a:pt x="1206" y="1030"/>
                    </a:lnTo>
                    <a:lnTo>
                      <a:pt x="1208" y="1035"/>
                    </a:lnTo>
                    <a:lnTo>
                      <a:pt x="1208" y="1035"/>
                    </a:lnTo>
                    <a:close/>
                    <a:moveTo>
                      <a:pt x="1248" y="1098"/>
                    </a:moveTo>
                    <a:lnTo>
                      <a:pt x="1248" y="1098"/>
                    </a:lnTo>
                    <a:lnTo>
                      <a:pt x="1248" y="1100"/>
                    </a:lnTo>
                    <a:lnTo>
                      <a:pt x="1250" y="1100"/>
                    </a:lnTo>
                    <a:lnTo>
                      <a:pt x="1255" y="1095"/>
                    </a:lnTo>
                    <a:lnTo>
                      <a:pt x="1258" y="1095"/>
                    </a:lnTo>
                    <a:lnTo>
                      <a:pt x="1260" y="1095"/>
                    </a:lnTo>
                    <a:lnTo>
                      <a:pt x="1261" y="1096"/>
                    </a:lnTo>
                    <a:lnTo>
                      <a:pt x="1265" y="1098"/>
                    </a:lnTo>
                    <a:lnTo>
                      <a:pt x="1271" y="1093"/>
                    </a:lnTo>
                    <a:lnTo>
                      <a:pt x="1275" y="1091"/>
                    </a:lnTo>
                    <a:lnTo>
                      <a:pt x="1278" y="1088"/>
                    </a:lnTo>
                    <a:lnTo>
                      <a:pt x="1283" y="1083"/>
                    </a:lnTo>
                    <a:lnTo>
                      <a:pt x="1286" y="1083"/>
                    </a:lnTo>
                    <a:lnTo>
                      <a:pt x="1291" y="1080"/>
                    </a:lnTo>
                    <a:lnTo>
                      <a:pt x="1293" y="1076"/>
                    </a:lnTo>
                    <a:lnTo>
                      <a:pt x="1296" y="1073"/>
                    </a:lnTo>
                    <a:lnTo>
                      <a:pt x="1294" y="1071"/>
                    </a:lnTo>
                    <a:lnTo>
                      <a:pt x="1289" y="1071"/>
                    </a:lnTo>
                    <a:lnTo>
                      <a:pt x="1288" y="1070"/>
                    </a:lnTo>
                    <a:lnTo>
                      <a:pt x="1285" y="1070"/>
                    </a:lnTo>
                    <a:lnTo>
                      <a:pt x="1281" y="1071"/>
                    </a:lnTo>
                    <a:lnTo>
                      <a:pt x="1280" y="1071"/>
                    </a:lnTo>
                    <a:lnTo>
                      <a:pt x="1276" y="1071"/>
                    </a:lnTo>
                    <a:lnTo>
                      <a:pt x="1273" y="1075"/>
                    </a:lnTo>
                    <a:lnTo>
                      <a:pt x="1270" y="1073"/>
                    </a:lnTo>
                    <a:lnTo>
                      <a:pt x="1268" y="1070"/>
                    </a:lnTo>
                    <a:lnTo>
                      <a:pt x="1266" y="1070"/>
                    </a:lnTo>
                    <a:lnTo>
                      <a:pt x="1261" y="1071"/>
                    </a:lnTo>
                    <a:lnTo>
                      <a:pt x="1256" y="1076"/>
                    </a:lnTo>
                    <a:lnTo>
                      <a:pt x="1256" y="1078"/>
                    </a:lnTo>
                    <a:lnTo>
                      <a:pt x="1255" y="1081"/>
                    </a:lnTo>
                    <a:lnTo>
                      <a:pt x="1246" y="1083"/>
                    </a:lnTo>
                    <a:lnTo>
                      <a:pt x="1245" y="1086"/>
                    </a:lnTo>
                    <a:lnTo>
                      <a:pt x="1248" y="1088"/>
                    </a:lnTo>
                    <a:lnTo>
                      <a:pt x="1248" y="1091"/>
                    </a:lnTo>
                    <a:lnTo>
                      <a:pt x="1248" y="1095"/>
                    </a:lnTo>
                    <a:lnTo>
                      <a:pt x="1248" y="1098"/>
                    </a:lnTo>
                    <a:lnTo>
                      <a:pt x="1248" y="1098"/>
                    </a:lnTo>
                    <a:close/>
                    <a:moveTo>
                      <a:pt x="1638" y="1128"/>
                    </a:moveTo>
                    <a:lnTo>
                      <a:pt x="1638" y="1128"/>
                    </a:lnTo>
                    <a:lnTo>
                      <a:pt x="1643" y="1128"/>
                    </a:lnTo>
                    <a:lnTo>
                      <a:pt x="1647" y="1131"/>
                    </a:lnTo>
                    <a:lnTo>
                      <a:pt x="1650" y="1131"/>
                    </a:lnTo>
                    <a:lnTo>
                      <a:pt x="1650" y="1128"/>
                    </a:lnTo>
                    <a:lnTo>
                      <a:pt x="1652" y="1126"/>
                    </a:lnTo>
                    <a:lnTo>
                      <a:pt x="1652" y="1125"/>
                    </a:lnTo>
                    <a:lnTo>
                      <a:pt x="1648" y="1123"/>
                    </a:lnTo>
                    <a:lnTo>
                      <a:pt x="1645" y="1125"/>
                    </a:lnTo>
                    <a:lnTo>
                      <a:pt x="1642" y="1125"/>
                    </a:lnTo>
                    <a:lnTo>
                      <a:pt x="1638" y="1128"/>
                    </a:lnTo>
                    <a:lnTo>
                      <a:pt x="1638" y="1128"/>
                    </a:lnTo>
                    <a:close/>
                    <a:moveTo>
                      <a:pt x="1515" y="1098"/>
                    </a:moveTo>
                    <a:lnTo>
                      <a:pt x="1517" y="1100"/>
                    </a:lnTo>
                    <a:lnTo>
                      <a:pt x="1522" y="1101"/>
                    </a:lnTo>
                    <a:lnTo>
                      <a:pt x="1522" y="1103"/>
                    </a:lnTo>
                    <a:lnTo>
                      <a:pt x="1522" y="1105"/>
                    </a:lnTo>
                    <a:lnTo>
                      <a:pt x="1524" y="1106"/>
                    </a:lnTo>
                    <a:lnTo>
                      <a:pt x="1525" y="1108"/>
                    </a:lnTo>
                    <a:lnTo>
                      <a:pt x="1527" y="1110"/>
                    </a:lnTo>
                    <a:lnTo>
                      <a:pt x="1530" y="1110"/>
                    </a:lnTo>
                    <a:lnTo>
                      <a:pt x="1532" y="1108"/>
                    </a:lnTo>
                    <a:lnTo>
                      <a:pt x="1532" y="1108"/>
                    </a:lnTo>
                    <a:lnTo>
                      <a:pt x="1532" y="1105"/>
                    </a:lnTo>
                    <a:lnTo>
                      <a:pt x="1529" y="1103"/>
                    </a:lnTo>
                    <a:lnTo>
                      <a:pt x="1525" y="1101"/>
                    </a:lnTo>
                    <a:lnTo>
                      <a:pt x="1525" y="1100"/>
                    </a:lnTo>
                    <a:lnTo>
                      <a:pt x="1520" y="1098"/>
                    </a:lnTo>
                    <a:lnTo>
                      <a:pt x="1517" y="1098"/>
                    </a:lnTo>
                    <a:lnTo>
                      <a:pt x="1515" y="1098"/>
                    </a:lnTo>
                    <a:lnTo>
                      <a:pt x="1515" y="1098"/>
                    </a:lnTo>
                    <a:close/>
                    <a:moveTo>
                      <a:pt x="1633" y="1156"/>
                    </a:moveTo>
                    <a:lnTo>
                      <a:pt x="1628" y="1153"/>
                    </a:lnTo>
                    <a:lnTo>
                      <a:pt x="1628" y="1149"/>
                    </a:lnTo>
                    <a:lnTo>
                      <a:pt x="1627" y="1148"/>
                    </a:lnTo>
                    <a:lnTo>
                      <a:pt x="1627" y="1146"/>
                    </a:lnTo>
                    <a:lnTo>
                      <a:pt x="1628" y="1144"/>
                    </a:lnTo>
                    <a:lnTo>
                      <a:pt x="1632" y="1148"/>
                    </a:lnTo>
                    <a:lnTo>
                      <a:pt x="1632" y="1149"/>
                    </a:lnTo>
                    <a:lnTo>
                      <a:pt x="1633" y="1151"/>
                    </a:lnTo>
                    <a:lnTo>
                      <a:pt x="1635" y="1154"/>
                    </a:lnTo>
                    <a:lnTo>
                      <a:pt x="1633" y="1156"/>
                    </a:lnTo>
                    <a:lnTo>
                      <a:pt x="1633" y="1156"/>
                    </a:lnTo>
                    <a:close/>
                    <a:moveTo>
                      <a:pt x="1628" y="1169"/>
                    </a:moveTo>
                    <a:lnTo>
                      <a:pt x="1627" y="1168"/>
                    </a:lnTo>
                    <a:lnTo>
                      <a:pt x="1627" y="1164"/>
                    </a:lnTo>
                    <a:lnTo>
                      <a:pt x="1625" y="1163"/>
                    </a:lnTo>
                    <a:lnTo>
                      <a:pt x="1622" y="1163"/>
                    </a:lnTo>
                    <a:lnTo>
                      <a:pt x="1618" y="1159"/>
                    </a:lnTo>
                    <a:lnTo>
                      <a:pt x="1618" y="1158"/>
                    </a:lnTo>
                    <a:lnTo>
                      <a:pt x="1622" y="1156"/>
                    </a:lnTo>
                    <a:lnTo>
                      <a:pt x="1623" y="1156"/>
                    </a:lnTo>
                    <a:lnTo>
                      <a:pt x="1630" y="1156"/>
                    </a:lnTo>
                    <a:lnTo>
                      <a:pt x="1635" y="1159"/>
                    </a:lnTo>
                    <a:lnTo>
                      <a:pt x="1635" y="1161"/>
                    </a:lnTo>
                    <a:lnTo>
                      <a:pt x="1633" y="1163"/>
                    </a:lnTo>
                    <a:lnTo>
                      <a:pt x="1633" y="1164"/>
                    </a:lnTo>
                    <a:lnTo>
                      <a:pt x="1632" y="1166"/>
                    </a:lnTo>
                    <a:lnTo>
                      <a:pt x="1630" y="1168"/>
                    </a:lnTo>
                    <a:lnTo>
                      <a:pt x="1628" y="1169"/>
                    </a:lnTo>
                    <a:lnTo>
                      <a:pt x="1628" y="1169"/>
                    </a:lnTo>
                    <a:close/>
                    <a:moveTo>
                      <a:pt x="1509" y="1234"/>
                    </a:moveTo>
                    <a:lnTo>
                      <a:pt x="1507" y="1237"/>
                    </a:lnTo>
                    <a:lnTo>
                      <a:pt x="1509" y="1236"/>
                    </a:lnTo>
                    <a:lnTo>
                      <a:pt x="1509" y="1234"/>
                    </a:lnTo>
                    <a:lnTo>
                      <a:pt x="1509" y="1234"/>
                    </a:lnTo>
                    <a:close/>
                    <a:moveTo>
                      <a:pt x="1510" y="1236"/>
                    </a:moveTo>
                    <a:lnTo>
                      <a:pt x="1510" y="1237"/>
                    </a:lnTo>
                    <a:lnTo>
                      <a:pt x="1510" y="1237"/>
                    </a:lnTo>
                    <a:lnTo>
                      <a:pt x="1510" y="1236"/>
                    </a:lnTo>
                    <a:lnTo>
                      <a:pt x="1510" y="1236"/>
                    </a:lnTo>
                    <a:close/>
                    <a:moveTo>
                      <a:pt x="1514" y="1234"/>
                    </a:moveTo>
                    <a:lnTo>
                      <a:pt x="1512" y="1237"/>
                    </a:lnTo>
                    <a:lnTo>
                      <a:pt x="1514" y="1241"/>
                    </a:lnTo>
                    <a:lnTo>
                      <a:pt x="1514" y="1242"/>
                    </a:lnTo>
                    <a:lnTo>
                      <a:pt x="1514" y="1242"/>
                    </a:lnTo>
                    <a:lnTo>
                      <a:pt x="1515" y="1237"/>
                    </a:lnTo>
                    <a:lnTo>
                      <a:pt x="1514" y="1234"/>
                    </a:lnTo>
                    <a:lnTo>
                      <a:pt x="1514" y="1234"/>
                    </a:lnTo>
                    <a:close/>
                    <a:moveTo>
                      <a:pt x="1545" y="1203"/>
                    </a:moveTo>
                    <a:lnTo>
                      <a:pt x="1545" y="1199"/>
                    </a:lnTo>
                    <a:lnTo>
                      <a:pt x="1547" y="1196"/>
                    </a:lnTo>
                    <a:lnTo>
                      <a:pt x="1549" y="1194"/>
                    </a:lnTo>
                    <a:lnTo>
                      <a:pt x="1549" y="1191"/>
                    </a:lnTo>
                    <a:lnTo>
                      <a:pt x="1554" y="1188"/>
                    </a:lnTo>
                    <a:lnTo>
                      <a:pt x="1559" y="1188"/>
                    </a:lnTo>
                    <a:lnTo>
                      <a:pt x="1560" y="1189"/>
                    </a:lnTo>
                    <a:lnTo>
                      <a:pt x="1559" y="1191"/>
                    </a:lnTo>
                    <a:lnTo>
                      <a:pt x="1560" y="1193"/>
                    </a:lnTo>
                    <a:lnTo>
                      <a:pt x="1560" y="1194"/>
                    </a:lnTo>
                    <a:lnTo>
                      <a:pt x="1557" y="1196"/>
                    </a:lnTo>
                    <a:lnTo>
                      <a:pt x="1555" y="1199"/>
                    </a:lnTo>
                    <a:lnTo>
                      <a:pt x="1552" y="1199"/>
                    </a:lnTo>
                    <a:lnTo>
                      <a:pt x="1547" y="1203"/>
                    </a:lnTo>
                    <a:lnTo>
                      <a:pt x="1545" y="1203"/>
                    </a:lnTo>
                    <a:lnTo>
                      <a:pt x="1545" y="1203"/>
                    </a:lnTo>
                    <a:close/>
                    <a:moveTo>
                      <a:pt x="1441" y="1093"/>
                    </a:moveTo>
                    <a:lnTo>
                      <a:pt x="1444" y="1096"/>
                    </a:lnTo>
                    <a:lnTo>
                      <a:pt x="1447" y="1100"/>
                    </a:lnTo>
                    <a:lnTo>
                      <a:pt x="1451" y="1100"/>
                    </a:lnTo>
                    <a:lnTo>
                      <a:pt x="1456" y="1101"/>
                    </a:lnTo>
                    <a:lnTo>
                      <a:pt x="1454" y="1100"/>
                    </a:lnTo>
                    <a:lnTo>
                      <a:pt x="1451" y="1098"/>
                    </a:lnTo>
                    <a:lnTo>
                      <a:pt x="1444" y="1095"/>
                    </a:lnTo>
                    <a:lnTo>
                      <a:pt x="1442" y="1093"/>
                    </a:lnTo>
                    <a:lnTo>
                      <a:pt x="1441" y="1093"/>
                    </a:lnTo>
                    <a:lnTo>
                      <a:pt x="1441" y="1093"/>
                    </a:lnTo>
                    <a:close/>
                    <a:moveTo>
                      <a:pt x="1404" y="1065"/>
                    </a:moveTo>
                    <a:lnTo>
                      <a:pt x="1404" y="1065"/>
                    </a:lnTo>
                    <a:lnTo>
                      <a:pt x="1407" y="1065"/>
                    </a:lnTo>
                    <a:lnTo>
                      <a:pt x="1409" y="1066"/>
                    </a:lnTo>
                    <a:lnTo>
                      <a:pt x="1411" y="1066"/>
                    </a:lnTo>
                    <a:lnTo>
                      <a:pt x="1412" y="1065"/>
                    </a:lnTo>
                    <a:lnTo>
                      <a:pt x="1414" y="1063"/>
                    </a:lnTo>
                    <a:lnTo>
                      <a:pt x="1414" y="1061"/>
                    </a:lnTo>
                    <a:lnTo>
                      <a:pt x="1411" y="1060"/>
                    </a:lnTo>
                    <a:lnTo>
                      <a:pt x="1414" y="1058"/>
                    </a:lnTo>
                    <a:lnTo>
                      <a:pt x="1414" y="1058"/>
                    </a:lnTo>
                    <a:lnTo>
                      <a:pt x="1409" y="1055"/>
                    </a:lnTo>
                    <a:lnTo>
                      <a:pt x="1406" y="1055"/>
                    </a:lnTo>
                    <a:lnTo>
                      <a:pt x="1406" y="1053"/>
                    </a:lnTo>
                    <a:lnTo>
                      <a:pt x="1404" y="1051"/>
                    </a:lnTo>
                    <a:lnTo>
                      <a:pt x="1402" y="1051"/>
                    </a:lnTo>
                    <a:lnTo>
                      <a:pt x="1399" y="1051"/>
                    </a:lnTo>
                    <a:lnTo>
                      <a:pt x="1396" y="1051"/>
                    </a:lnTo>
                    <a:lnTo>
                      <a:pt x="1396" y="1053"/>
                    </a:lnTo>
                    <a:lnTo>
                      <a:pt x="1396" y="1055"/>
                    </a:lnTo>
                    <a:lnTo>
                      <a:pt x="1397" y="1055"/>
                    </a:lnTo>
                    <a:lnTo>
                      <a:pt x="1399" y="1056"/>
                    </a:lnTo>
                    <a:lnTo>
                      <a:pt x="1401" y="1058"/>
                    </a:lnTo>
                    <a:lnTo>
                      <a:pt x="1404" y="1061"/>
                    </a:lnTo>
                    <a:lnTo>
                      <a:pt x="1404" y="1065"/>
                    </a:lnTo>
                    <a:lnTo>
                      <a:pt x="1404" y="1065"/>
                    </a:lnTo>
                    <a:close/>
                    <a:moveTo>
                      <a:pt x="1379" y="1075"/>
                    </a:moveTo>
                    <a:lnTo>
                      <a:pt x="1383" y="1075"/>
                    </a:lnTo>
                    <a:lnTo>
                      <a:pt x="1384" y="1073"/>
                    </a:lnTo>
                    <a:lnTo>
                      <a:pt x="1387" y="1073"/>
                    </a:lnTo>
                    <a:lnTo>
                      <a:pt x="1389" y="1071"/>
                    </a:lnTo>
                    <a:lnTo>
                      <a:pt x="1389" y="1070"/>
                    </a:lnTo>
                    <a:lnTo>
                      <a:pt x="1389" y="1068"/>
                    </a:lnTo>
                    <a:lnTo>
                      <a:pt x="1389" y="1061"/>
                    </a:lnTo>
                    <a:lnTo>
                      <a:pt x="1387" y="1061"/>
                    </a:lnTo>
                    <a:lnTo>
                      <a:pt x="1383" y="1060"/>
                    </a:lnTo>
                    <a:lnTo>
                      <a:pt x="1379" y="1058"/>
                    </a:lnTo>
                    <a:lnTo>
                      <a:pt x="1378" y="1055"/>
                    </a:lnTo>
                    <a:lnTo>
                      <a:pt x="1376" y="1056"/>
                    </a:lnTo>
                    <a:lnTo>
                      <a:pt x="1371" y="1056"/>
                    </a:lnTo>
                    <a:lnTo>
                      <a:pt x="1369" y="1056"/>
                    </a:lnTo>
                    <a:lnTo>
                      <a:pt x="1368" y="1058"/>
                    </a:lnTo>
                    <a:lnTo>
                      <a:pt x="1369" y="1061"/>
                    </a:lnTo>
                    <a:lnTo>
                      <a:pt x="1373" y="1065"/>
                    </a:lnTo>
                    <a:lnTo>
                      <a:pt x="1374" y="1068"/>
                    </a:lnTo>
                    <a:lnTo>
                      <a:pt x="1376" y="1070"/>
                    </a:lnTo>
                    <a:lnTo>
                      <a:pt x="1376" y="1073"/>
                    </a:lnTo>
                    <a:lnTo>
                      <a:pt x="1379" y="1075"/>
                    </a:lnTo>
                    <a:lnTo>
                      <a:pt x="1379" y="1075"/>
                    </a:lnTo>
                    <a:close/>
                    <a:moveTo>
                      <a:pt x="1374" y="1093"/>
                    </a:moveTo>
                    <a:lnTo>
                      <a:pt x="1374" y="1093"/>
                    </a:lnTo>
                    <a:lnTo>
                      <a:pt x="1376" y="1093"/>
                    </a:lnTo>
                    <a:lnTo>
                      <a:pt x="1371" y="1091"/>
                    </a:lnTo>
                    <a:lnTo>
                      <a:pt x="1369" y="1091"/>
                    </a:lnTo>
                    <a:lnTo>
                      <a:pt x="1371" y="1093"/>
                    </a:lnTo>
                    <a:lnTo>
                      <a:pt x="1374" y="1093"/>
                    </a:lnTo>
                    <a:lnTo>
                      <a:pt x="1374" y="1093"/>
                    </a:lnTo>
                    <a:close/>
                    <a:moveTo>
                      <a:pt x="1321" y="1128"/>
                    </a:moveTo>
                    <a:lnTo>
                      <a:pt x="1323" y="1128"/>
                    </a:lnTo>
                    <a:lnTo>
                      <a:pt x="1323" y="1126"/>
                    </a:lnTo>
                    <a:lnTo>
                      <a:pt x="1324" y="1125"/>
                    </a:lnTo>
                    <a:lnTo>
                      <a:pt x="1326" y="1123"/>
                    </a:lnTo>
                    <a:lnTo>
                      <a:pt x="1326" y="1120"/>
                    </a:lnTo>
                    <a:lnTo>
                      <a:pt x="1324" y="1120"/>
                    </a:lnTo>
                    <a:lnTo>
                      <a:pt x="1326" y="1118"/>
                    </a:lnTo>
                    <a:lnTo>
                      <a:pt x="1329" y="1115"/>
                    </a:lnTo>
                    <a:lnTo>
                      <a:pt x="1333" y="1111"/>
                    </a:lnTo>
                    <a:lnTo>
                      <a:pt x="1336" y="1110"/>
                    </a:lnTo>
                    <a:lnTo>
                      <a:pt x="1336" y="1110"/>
                    </a:lnTo>
                    <a:lnTo>
                      <a:pt x="1336" y="1108"/>
                    </a:lnTo>
                    <a:lnTo>
                      <a:pt x="1336" y="1105"/>
                    </a:lnTo>
                    <a:lnTo>
                      <a:pt x="1338" y="1103"/>
                    </a:lnTo>
                    <a:lnTo>
                      <a:pt x="1339" y="1100"/>
                    </a:lnTo>
                    <a:lnTo>
                      <a:pt x="1339" y="1098"/>
                    </a:lnTo>
                    <a:lnTo>
                      <a:pt x="1339" y="1095"/>
                    </a:lnTo>
                    <a:lnTo>
                      <a:pt x="1338" y="1093"/>
                    </a:lnTo>
                    <a:lnTo>
                      <a:pt x="1334" y="1095"/>
                    </a:lnTo>
                    <a:lnTo>
                      <a:pt x="1333" y="1095"/>
                    </a:lnTo>
                    <a:lnTo>
                      <a:pt x="1331" y="1093"/>
                    </a:lnTo>
                    <a:lnTo>
                      <a:pt x="1329" y="1091"/>
                    </a:lnTo>
                    <a:lnTo>
                      <a:pt x="1326" y="1095"/>
                    </a:lnTo>
                    <a:lnTo>
                      <a:pt x="1323" y="1098"/>
                    </a:lnTo>
                    <a:lnTo>
                      <a:pt x="1321" y="1098"/>
                    </a:lnTo>
                    <a:lnTo>
                      <a:pt x="1318" y="1101"/>
                    </a:lnTo>
                    <a:lnTo>
                      <a:pt x="1316" y="1105"/>
                    </a:lnTo>
                    <a:lnTo>
                      <a:pt x="1318" y="1108"/>
                    </a:lnTo>
                    <a:lnTo>
                      <a:pt x="1314" y="1110"/>
                    </a:lnTo>
                    <a:lnTo>
                      <a:pt x="1314" y="1113"/>
                    </a:lnTo>
                    <a:lnTo>
                      <a:pt x="1314" y="1116"/>
                    </a:lnTo>
                    <a:lnTo>
                      <a:pt x="1313" y="1118"/>
                    </a:lnTo>
                    <a:lnTo>
                      <a:pt x="1313" y="1120"/>
                    </a:lnTo>
                    <a:lnTo>
                      <a:pt x="1318" y="1121"/>
                    </a:lnTo>
                    <a:lnTo>
                      <a:pt x="1318" y="1123"/>
                    </a:lnTo>
                    <a:lnTo>
                      <a:pt x="1319" y="1125"/>
                    </a:lnTo>
                    <a:lnTo>
                      <a:pt x="1321" y="1128"/>
                    </a:lnTo>
                    <a:lnTo>
                      <a:pt x="1321" y="1128"/>
                    </a:lnTo>
                    <a:close/>
                    <a:moveTo>
                      <a:pt x="1273" y="1311"/>
                    </a:moveTo>
                    <a:lnTo>
                      <a:pt x="1273" y="1312"/>
                    </a:lnTo>
                    <a:lnTo>
                      <a:pt x="1275" y="1312"/>
                    </a:lnTo>
                    <a:lnTo>
                      <a:pt x="1275" y="1311"/>
                    </a:lnTo>
                    <a:lnTo>
                      <a:pt x="1273" y="1311"/>
                    </a:lnTo>
                    <a:lnTo>
                      <a:pt x="1273" y="1311"/>
                    </a:lnTo>
                    <a:close/>
                    <a:moveTo>
                      <a:pt x="1275" y="1329"/>
                    </a:moveTo>
                    <a:lnTo>
                      <a:pt x="1278" y="1326"/>
                    </a:lnTo>
                    <a:lnTo>
                      <a:pt x="1280" y="1322"/>
                    </a:lnTo>
                    <a:lnTo>
                      <a:pt x="1281" y="1322"/>
                    </a:lnTo>
                    <a:lnTo>
                      <a:pt x="1281" y="1327"/>
                    </a:lnTo>
                    <a:lnTo>
                      <a:pt x="1278" y="1329"/>
                    </a:lnTo>
                    <a:lnTo>
                      <a:pt x="1278" y="1329"/>
                    </a:lnTo>
                    <a:lnTo>
                      <a:pt x="1275" y="1329"/>
                    </a:lnTo>
                    <a:lnTo>
                      <a:pt x="1275" y="1329"/>
                    </a:lnTo>
                    <a:close/>
                    <a:moveTo>
                      <a:pt x="1246" y="1324"/>
                    </a:moveTo>
                    <a:lnTo>
                      <a:pt x="1250" y="1319"/>
                    </a:lnTo>
                    <a:lnTo>
                      <a:pt x="1253" y="1319"/>
                    </a:lnTo>
                    <a:lnTo>
                      <a:pt x="1253" y="1317"/>
                    </a:lnTo>
                    <a:lnTo>
                      <a:pt x="1255" y="1317"/>
                    </a:lnTo>
                    <a:lnTo>
                      <a:pt x="1260" y="1316"/>
                    </a:lnTo>
                    <a:lnTo>
                      <a:pt x="1261" y="1314"/>
                    </a:lnTo>
                    <a:lnTo>
                      <a:pt x="1258" y="1319"/>
                    </a:lnTo>
                    <a:lnTo>
                      <a:pt x="1251" y="1324"/>
                    </a:lnTo>
                    <a:lnTo>
                      <a:pt x="1248" y="1324"/>
                    </a:lnTo>
                    <a:lnTo>
                      <a:pt x="1246" y="1324"/>
                    </a:lnTo>
                    <a:lnTo>
                      <a:pt x="1246" y="1324"/>
                    </a:lnTo>
                    <a:close/>
                    <a:moveTo>
                      <a:pt x="1266" y="1332"/>
                    </a:moveTo>
                    <a:lnTo>
                      <a:pt x="1271" y="1324"/>
                    </a:lnTo>
                    <a:lnTo>
                      <a:pt x="1273" y="1322"/>
                    </a:lnTo>
                    <a:lnTo>
                      <a:pt x="1275" y="1322"/>
                    </a:lnTo>
                    <a:lnTo>
                      <a:pt x="1275" y="1324"/>
                    </a:lnTo>
                    <a:lnTo>
                      <a:pt x="1268" y="1330"/>
                    </a:lnTo>
                    <a:lnTo>
                      <a:pt x="1266" y="1334"/>
                    </a:lnTo>
                    <a:lnTo>
                      <a:pt x="1270" y="1332"/>
                    </a:lnTo>
                    <a:lnTo>
                      <a:pt x="1275" y="1326"/>
                    </a:lnTo>
                    <a:lnTo>
                      <a:pt x="1276" y="1324"/>
                    </a:lnTo>
                    <a:lnTo>
                      <a:pt x="1278" y="1321"/>
                    </a:lnTo>
                    <a:lnTo>
                      <a:pt x="1276" y="1317"/>
                    </a:lnTo>
                    <a:lnTo>
                      <a:pt x="1275" y="1317"/>
                    </a:lnTo>
                    <a:lnTo>
                      <a:pt x="1275" y="1316"/>
                    </a:lnTo>
                    <a:lnTo>
                      <a:pt x="1271" y="1314"/>
                    </a:lnTo>
                    <a:lnTo>
                      <a:pt x="1270" y="1316"/>
                    </a:lnTo>
                    <a:lnTo>
                      <a:pt x="1266" y="1322"/>
                    </a:lnTo>
                    <a:lnTo>
                      <a:pt x="1263" y="1324"/>
                    </a:lnTo>
                    <a:lnTo>
                      <a:pt x="1260" y="1327"/>
                    </a:lnTo>
                    <a:lnTo>
                      <a:pt x="1261" y="1324"/>
                    </a:lnTo>
                    <a:lnTo>
                      <a:pt x="1265" y="1321"/>
                    </a:lnTo>
                    <a:lnTo>
                      <a:pt x="1266" y="1317"/>
                    </a:lnTo>
                    <a:lnTo>
                      <a:pt x="1265" y="1316"/>
                    </a:lnTo>
                    <a:lnTo>
                      <a:pt x="1261" y="1317"/>
                    </a:lnTo>
                    <a:lnTo>
                      <a:pt x="1260" y="1322"/>
                    </a:lnTo>
                    <a:lnTo>
                      <a:pt x="1255" y="1327"/>
                    </a:lnTo>
                    <a:lnTo>
                      <a:pt x="1253" y="1330"/>
                    </a:lnTo>
                    <a:lnTo>
                      <a:pt x="1250" y="1334"/>
                    </a:lnTo>
                    <a:lnTo>
                      <a:pt x="1251" y="1337"/>
                    </a:lnTo>
                    <a:lnTo>
                      <a:pt x="1253" y="1335"/>
                    </a:lnTo>
                    <a:lnTo>
                      <a:pt x="1258" y="1330"/>
                    </a:lnTo>
                    <a:lnTo>
                      <a:pt x="1260" y="1330"/>
                    </a:lnTo>
                    <a:lnTo>
                      <a:pt x="1258" y="1332"/>
                    </a:lnTo>
                    <a:lnTo>
                      <a:pt x="1255" y="1337"/>
                    </a:lnTo>
                    <a:lnTo>
                      <a:pt x="1256" y="1337"/>
                    </a:lnTo>
                    <a:lnTo>
                      <a:pt x="1260" y="1335"/>
                    </a:lnTo>
                    <a:lnTo>
                      <a:pt x="1263" y="1335"/>
                    </a:lnTo>
                    <a:lnTo>
                      <a:pt x="1263" y="1335"/>
                    </a:lnTo>
                    <a:lnTo>
                      <a:pt x="1266" y="1332"/>
                    </a:lnTo>
                    <a:lnTo>
                      <a:pt x="1266" y="1332"/>
                    </a:lnTo>
                    <a:close/>
                    <a:moveTo>
                      <a:pt x="1261" y="1332"/>
                    </a:moveTo>
                    <a:lnTo>
                      <a:pt x="1263" y="1329"/>
                    </a:lnTo>
                    <a:lnTo>
                      <a:pt x="1270" y="1322"/>
                    </a:lnTo>
                    <a:lnTo>
                      <a:pt x="1266" y="1327"/>
                    </a:lnTo>
                    <a:lnTo>
                      <a:pt x="1263" y="1332"/>
                    </a:lnTo>
                    <a:lnTo>
                      <a:pt x="1261" y="1332"/>
                    </a:lnTo>
                    <a:lnTo>
                      <a:pt x="1261" y="1332"/>
                    </a:lnTo>
                    <a:close/>
                    <a:moveTo>
                      <a:pt x="1588" y="1631"/>
                    </a:moveTo>
                    <a:lnTo>
                      <a:pt x="1587" y="1631"/>
                    </a:lnTo>
                    <a:lnTo>
                      <a:pt x="1585" y="1629"/>
                    </a:lnTo>
                    <a:lnTo>
                      <a:pt x="1587" y="1629"/>
                    </a:lnTo>
                    <a:lnTo>
                      <a:pt x="1588" y="1626"/>
                    </a:lnTo>
                    <a:lnTo>
                      <a:pt x="1592" y="1624"/>
                    </a:lnTo>
                    <a:lnTo>
                      <a:pt x="1592" y="1624"/>
                    </a:lnTo>
                    <a:lnTo>
                      <a:pt x="1592" y="1623"/>
                    </a:lnTo>
                    <a:lnTo>
                      <a:pt x="1592" y="1623"/>
                    </a:lnTo>
                    <a:lnTo>
                      <a:pt x="1587" y="1626"/>
                    </a:lnTo>
                    <a:lnTo>
                      <a:pt x="1585" y="1629"/>
                    </a:lnTo>
                    <a:lnTo>
                      <a:pt x="1585" y="1633"/>
                    </a:lnTo>
                    <a:lnTo>
                      <a:pt x="1587" y="1633"/>
                    </a:lnTo>
                    <a:lnTo>
                      <a:pt x="1588" y="1631"/>
                    </a:lnTo>
                    <a:lnTo>
                      <a:pt x="1588" y="1631"/>
                    </a:lnTo>
                    <a:close/>
                    <a:moveTo>
                      <a:pt x="1708" y="1651"/>
                    </a:moveTo>
                    <a:lnTo>
                      <a:pt x="1706" y="1649"/>
                    </a:lnTo>
                    <a:lnTo>
                      <a:pt x="1708" y="1646"/>
                    </a:lnTo>
                    <a:lnTo>
                      <a:pt x="1706" y="1643"/>
                    </a:lnTo>
                    <a:lnTo>
                      <a:pt x="1705" y="1639"/>
                    </a:lnTo>
                    <a:lnTo>
                      <a:pt x="1706" y="1638"/>
                    </a:lnTo>
                    <a:lnTo>
                      <a:pt x="1708" y="1636"/>
                    </a:lnTo>
                    <a:lnTo>
                      <a:pt x="1708" y="1638"/>
                    </a:lnTo>
                    <a:lnTo>
                      <a:pt x="1710" y="1639"/>
                    </a:lnTo>
                    <a:lnTo>
                      <a:pt x="1710" y="1643"/>
                    </a:lnTo>
                    <a:lnTo>
                      <a:pt x="1708" y="1643"/>
                    </a:lnTo>
                    <a:lnTo>
                      <a:pt x="1708" y="1646"/>
                    </a:lnTo>
                    <a:lnTo>
                      <a:pt x="1710" y="1646"/>
                    </a:lnTo>
                    <a:lnTo>
                      <a:pt x="1710" y="1648"/>
                    </a:lnTo>
                    <a:lnTo>
                      <a:pt x="1710" y="1651"/>
                    </a:lnTo>
                    <a:lnTo>
                      <a:pt x="1708" y="1651"/>
                    </a:lnTo>
                    <a:lnTo>
                      <a:pt x="1708" y="1651"/>
                    </a:lnTo>
                    <a:close/>
                    <a:moveTo>
                      <a:pt x="1711" y="1653"/>
                    </a:moveTo>
                    <a:lnTo>
                      <a:pt x="1713" y="1651"/>
                    </a:lnTo>
                    <a:lnTo>
                      <a:pt x="1715" y="1651"/>
                    </a:lnTo>
                    <a:lnTo>
                      <a:pt x="1715" y="1653"/>
                    </a:lnTo>
                    <a:lnTo>
                      <a:pt x="1713" y="1654"/>
                    </a:lnTo>
                    <a:lnTo>
                      <a:pt x="1711" y="1653"/>
                    </a:lnTo>
                    <a:lnTo>
                      <a:pt x="1711" y="1653"/>
                    </a:lnTo>
                    <a:close/>
                    <a:moveTo>
                      <a:pt x="1760" y="1500"/>
                    </a:moveTo>
                    <a:lnTo>
                      <a:pt x="1761" y="1495"/>
                    </a:lnTo>
                    <a:lnTo>
                      <a:pt x="1765" y="1493"/>
                    </a:lnTo>
                    <a:lnTo>
                      <a:pt x="1765" y="1497"/>
                    </a:lnTo>
                    <a:lnTo>
                      <a:pt x="1763" y="1498"/>
                    </a:lnTo>
                    <a:lnTo>
                      <a:pt x="1760" y="1500"/>
                    </a:lnTo>
                    <a:lnTo>
                      <a:pt x="1760" y="1500"/>
                    </a:lnTo>
                    <a:lnTo>
                      <a:pt x="1760" y="1500"/>
                    </a:lnTo>
                    <a:lnTo>
                      <a:pt x="1760" y="1500"/>
                    </a:lnTo>
                    <a:close/>
                    <a:moveTo>
                      <a:pt x="1745" y="1531"/>
                    </a:moveTo>
                    <a:lnTo>
                      <a:pt x="1745" y="1533"/>
                    </a:lnTo>
                    <a:lnTo>
                      <a:pt x="1746" y="1535"/>
                    </a:lnTo>
                    <a:lnTo>
                      <a:pt x="1746" y="1533"/>
                    </a:lnTo>
                    <a:lnTo>
                      <a:pt x="1748" y="1533"/>
                    </a:lnTo>
                    <a:lnTo>
                      <a:pt x="1748" y="1531"/>
                    </a:lnTo>
                    <a:lnTo>
                      <a:pt x="1746" y="1531"/>
                    </a:lnTo>
                    <a:lnTo>
                      <a:pt x="1745" y="1531"/>
                    </a:lnTo>
                    <a:lnTo>
                      <a:pt x="1745" y="1531"/>
                    </a:lnTo>
                    <a:close/>
                    <a:moveTo>
                      <a:pt x="1770" y="1568"/>
                    </a:moveTo>
                    <a:lnTo>
                      <a:pt x="1768" y="1563"/>
                    </a:lnTo>
                    <a:lnTo>
                      <a:pt x="1768" y="1563"/>
                    </a:lnTo>
                    <a:lnTo>
                      <a:pt x="1770" y="1563"/>
                    </a:lnTo>
                    <a:lnTo>
                      <a:pt x="1771" y="1565"/>
                    </a:lnTo>
                    <a:lnTo>
                      <a:pt x="1773" y="1563"/>
                    </a:lnTo>
                    <a:lnTo>
                      <a:pt x="1775" y="1565"/>
                    </a:lnTo>
                    <a:lnTo>
                      <a:pt x="1775" y="1566"/>
                    </a:lnTo>
                    <a:lnTo>
                      <a:pt x="1773" y="1568"/>
                    </a:lnTo>
                    <a:lnTo>
                      <a:pt x="1773" y="1568"/>
                    </a:lnTo>
                    <a:lnTo>
                      <a:pt x="1770" y="1568"/>
                    </a:lnTo>
                    <a:lnTo>
                      <a:pt x="1770" y="1568"/>
                    </a:lnTo>
                    <a:close/>
                    <a:moveTo>
                      <a:pt x="1758" y="1568"/>
                    </a:moveTo>
                    <a:lnTo>
                      <a:pt x="1761" y="1568"/>
                    </a:lnTo>
                    <a:lnTo>
                      <a:pt x="1763" y="1568"/>
                    </a:lnTo>
                    <a:lnTo>
                      <a:pt x="1763" y="1565"/>
                    </a:lnTo>
                    <a:lnTo>
                      <a:pt x="1763" y="1565"/>
                    </a:lnTo>
                    <a:lnTo>
                      <a:pt x="1765" y="1565"/>
                    </a:lnTo>
                    <a:lnTo>
                      <a:pt x="1765" y="1566"/>
                    </a:lnTo>
                    <a:lnTo>
                      <a:pt x="1763" y="1570"/>
                    </a:lnTo>
                    <a:lnTo>
                      <a:pt x="1760" y="1571"/>
                    </a:lnTo>
                    <a:lnTo>
                      <a:pt x="1756" y="1570"/>
                    </a:lnTo>
                    <a:lnTo>
                      <a:pt x="1758" y="1568"/>
                    </a:lnTo>
                    <a:lnTo>
                      <a:pt x="1758" y="1568"/>
                    </a:lnTo>
                    <a:lnTo>
                      <a:pt x="1758" y="1568"/>
                    </a:lnTo>
                    <a:close/>
                    <a:moveTo>
                      <a:pt x="1720" y="1624"/>
                    </a:moveTo>
                    <a:lnTo>
                      <a:pt x="1720" y="1621"/>
                    </a:lnTo>
                    <a:lnTo>
                      <a:pt x="1721" y="1623"/>
                    </a:lnTo>
                    <a:lnTo>
                      <a:pt x="1721" y="1624"/>
                    </a:lnTo>
                    <a:lnTo>
                      <a:pt x="1720" y="1624"/>
                    </a:lnTo>
                    <a:lnTo>
                      <a:pt x="1720" y="1624"/>
                    </a:lnTo>
                    <a:close/>
                    <a:moveTo>
                      <a:pt x="1770" y="1611"/>
                    </a:moveTo>
                    <a:lnTo>
                      <a:pt x="1770" y="1613"/>
                    </a:lnTo>
                    <a:lnTo>
                      <a:pt x="1773" y="1613"/>
                    </a:lnTo>
                    <a:lnTo>
                      <a:pt x="1776" y="1613"/>
                    </a:lnTo>
                    <a:lnTo>
                      <a:pt x="1776" y="1611"/>
                    </a:lnTo>
                    <a:lnTo>
                      <a:pt x="1773" y="1611"/>
                    </a:lnTo>
                    <a:lnTo>
                      <a:pt x="1770" y="1611"/>
                    </a:lnTo>
                    <a:lnTo>
                      <a:pt x="1770" y="1611"/>
                    </a:lnTo>
                    <a:close/>
                    <a:moveTo>
                      <a:pt x="1716" y="1528"/>
                    </a:moveTo>
                    <a:lnTo>
                      <a:pt x="1713" y="1530"/>
                    </a:lnTo>
                    <a:lnTo>
                      <a:pt x="1710" y="1533"/>
                    </a:lnTo>
                    <a:lnTo>
                      <a:pt x="1706" y="1533"/>
                    </a:lnTo>
                    <a:lnTo>
                      <a:pt x="1708" y="1535"/>
                    </a:lnTo>
                    <a:lnTo>
                      <a:pt x="1706" y="1536"/>
                    </a:lnTo>
                    <a:lnTo>
                      <a:pt x="1705" y="1536"/>
                    </a:lnTo>
                    <a:lnTo>
                      <a:pt x="1705" y="1540"/>
                    </a:lnTo>
                    <a:lnTo>
                      <a:pt x="1706" y="1540"/>
                    </a:lnTo>
                    <a:lnTo>
                      <a:pt x="1705" y="1541"/>
                    </a:lnTo>
                    <a:lnTo>
                      <a:pt x="1701" y="1541"/>
                    </a:lnTo>
                    <a:lnTo>
                      <a:pt x="1700" y="1545"/>
                    </a:lnTo>
                    <a:lnTo>
                      <a:pt x="1700" y="1546"/>
                    </a:lnTo>
                    <a:lnTo>
                      <a:pt x="1700" y="1546"/>
                    </a:lnTo>
                    <a:lnTo>
                      <a:pt x="1701" y="1546"/>
                    </a:lnTo>
                    <a:lnTo>
                      <a:pt x="1700" y="1548"/>
                    </a:lnTo>
                    <a:lnTo>
                      <a:pt x="1696" y="1548"/>
                    </a:lnTo>
                    <a:lnTo>
                      <a:pt x="1693" y="1553"/>
                    </a:lnTo>
                    <a:lnTo>
                      <a:pt x="1693" y="1555"/>
                    </a:lnTo>
                    <a:lnTo>
                      <a:pt x="1688" y="1561"/>
                    </a:lnTo>
                    <a:lnTo>
                      <a:pt x="1688" y="1565"/>
                    </a:lnTo>
                    <a:lnTo>
                      <a:pt x="1690" y="1566"/>
                    </a:lnTo>
                    <a:lnTo>
                      <a:pt x="1690" y="1568"/>
                    </a:lnTo>
                    <a:lnTo>
                      <a:pt x="1688" y="1568"/>
                    </a:lnTo>
                    <a:lnTo>
                      <a:pt x="1686" y="1566"/>
                    </a:lnTo>
                    <a:lnTo>
                      <a:pt x="1686" y="1568"/>
                    </a:lnTo>
                    <a:lnTo>
                      <a:pt x="1682" y="1570"/>
                    </a:lnTo>
                    <a:lnTo>
                      <a:pt x="1680" y="1571"/>
                    </a:lnTo>
                    <a:lnTo>
                      <a:pt x="1680" y="1573"/>
                    </a:lnTo>
                    <a:lnTo>
                      <a:pt x="1683" y="1575"/>
                    </a:lnTo>
                    <a:lnTo>
                      <a:pt x="1685" y="1576"/>
                    </a:lnTo>
                    <a:lnTo>
                      <a:pt x="1683" y="1576"/>
                    </a:lnTo>
                    <a:lnTo>
                      <a:pt x="1682" y="1580"/>
                    </a:lnTo>
                    <a:lnTo>
                      <a:pt x="1680" y="1581"/>
                    </a:lnTo>
                    <a:lnTo>
                      <a:pt x="1675" y="1580"/>
                    </a:lnTo>
                    <a:lnTo>
                      <a:pt x="1673" y="1581"/>
                    </a:lnTo>
                    <a:lnTo>
                      <a:pt x="1673" y="1583"/>
                    </a:lnTo>
                    <a:lnTo>
                      <a:pt x="1670" y="1586"/>
                    </a:lnTo>
                    <a:lnTo>
                      <a:pt x="1668" y="1590"/>
                    </a:lnTo>
                    <a:lnTo>
                      <a:pt x="1665" y="1593"/>
                    </a:lnTo>
                    <a:lnTo>
                      <a:pt x="1663" y="1593"/>
                    </a:lnTo>
                    <a:lnTo>
                      <a:pt x="1663" y="1590"/>
                    </a:lnTo>
                    <a:lnTo>
                      <a:pt x="1662" y="1593"/>
                    </a:lnTo>
                    <a:lnTo>
                      <a:pt x="1660" y="1590"/>
                    </a:lnTo>
                    <a:lnTo>
                      <a:pt x="1662" y="1588"/>
                    </a:lnTo>
                    <a:lnTo>
                      <a:pt x="1663" y="1586"/>
                    </a:lnTo>
                    <a:lnTo>
                      <a:pt x="1665" y="1585"/>
                    </a:lnTo>
                    <a:lnTo>
                      <a:pt x="1663" y="1585"/>
                    </a:lnTo>
                    <a:lnTo>
                      <a:pt x="1660" y="1588"/>
                    </a:lnTo>
                    <a:lnTo>
                      <a:pt x="1655" y="1591"/>
                    </a:lnTo>
                    <a:lnTo>
                      <a:pt x="1652" y="1596"/>
                    </a:lnTo>
                    <a:lnTo>
                      <a:pt x="1653" y="1596"/>
                    </a:lnTo>
                    <a:lnTo>
                      <a:pt x="1657" y="1595"/>
                    </a:lnTo>
                    <a:lnTo>
                      <a:pt x="1663" y="1595"/>
                    </a:lnTo>
                    <a:lnTo>
                      <a:pt x="1670" y="1595"/>
                    </a:lnTo>
                    <a:lnTo>
                      <a:pt x="1667" y="1596"/>
                    </a:lnTo>
                    <a:lnTo>
                      <a:pt x="1662" y="1601"/>
                    </a:lnTo>
                    <a:lnTo>
                      <a:pt x="1658" y="1606"/>
                    </a:lnTo>
                    <a:lnTo>
                      <a:pt x="1653" y="1608"/>
                    </a:lnTo>
                    <a:lnTo>
                      <a:pt x="1648" y="1613"/>
                    </a:lnTo>
                    <a:lnTo>
                      <a:pt x="1647" y="1613"/>
                    </a:lnTo>
                    <a:lnTo>
                      <a:pt x="1645" y="1615"/>
                    </a:lnTo>
                    <a:lnTo>
                      <a:pt x="1647" y="1616"/>
                    </a:lnTo>
                    <a:lnTo>
                      <a:pt x="1645" y="1620"/>
                    </a:lnTo>
                    <a:lnTo>
                      <a:pt x="1647" y="1621"/>
                    </a:lnTo>
                    <a:lnTo>
                      <a:pt x="1648" y="1623"/>
                    </a:lnTo>
                    <a:lnTo>
                      <a:pt x="1653" y="1623"/>
                    </a:lnTo>
                    <a:lnTo>
                      <a:pt x="1658" y="1623"/>
                    </a:lnTo>
                    <a:lnTo>
                      <a:pt x="1662" y="1621"/>
                    </a:lnTo>
                    <a:lnTo>
                      <a:pt x="1667" y="1620"/>
                    </a:lnTo>
                    <a:lnTo>
                      <a:pt x="1670" y="1618"/>
                    </a:lnTo>
                    <a:lnTo>
                      <a:pt x="1670" y="1616"/>
                    </a:lnTo>
                    <a:lnTo>
                      <a:pt x="1670" y="1618"/>
                    </a:lnTo>
                    <a:lnTo>
                      <a:pt x="1668" y="1620"/>
                    </a:lnTo>
                    <a:lnTo>
                      <a:pt x="1673" y="1621"/>
                    </a:lnTo>
                    <a:lnTo>
                      <a:pt x="1677" y="1620"/>
                    </a:lnTo>
                    <a:lnTo>
                      <a:pt x="1678" y="1621"/>
                    </a:lnTo>
                    <a:lnTo>
                      <a:pt x="1685" y="1623"/>
                    </a:lnTo>
                    <a:lnTo>
                      <a:pt x="1688" y="1621"/>
                    </a:lnTo>
                    <a:lnTo>
                      <a:pt x="1690" y="1623"/>
                    </a:lnTo>
                    <a:lnTo>
                      <a:pt x="1691" y="1624"/>
                    </a:lnTo>
                    <a:lnTo>
                      <a:pt x="1695" y="1624"/>
                    </a:lnTo>
                    <a:lnTo>
                      <a:pt x="1696" y="1624"/>
                    </a:lnTo>
                    <a:lnTo>
                      <a:pt x="1698" y="1626"/>
                    </a:lnTo>
                    <a:lnTo>
                      <a:pt x="1700" y="1626"/>
                    </a:lnTo>
                    <a:lnTo>
                      <a:pt x="1703" y="1624"/>
                    </a:lnTo>
                    <a:lnTo>
                      <a:pt x="1703" y="1623"/>
                    </a:lnTo>
                    <a:lnTo>
                      <a:pt x="1706" y="1623"/>
                    </a:lnTo>
                    <a:lnTo>
                      <a:pt x="1708" y="1624"/>
                    </a:lnTo>
                    <a:lnTo>
                      <a:pt x="1710" y="1624"/>
                    </a:lnTo>
                    <a:lnTo>
                      <a:pt x="1711" y="1623"/>
                    </a:lnTo>
                    <a:lnTo>
                      <a:pt x="1713" y="1623"/>
                    </a:lnTo>
                    <a:lnTo>
                      <a:pt x="1716" y="1623"/>
                    </a:lnTo>
                    <a:lnTo>
                      <a:pt x="1716" y="1621"/>
                    </a:lnTo>
                    <a:lnTo>
                      <a:pt x="1716" y="1620"/>
                    </a:lnTo>
                    <a:lnTo>
                      <a:pt x="1716" y="1616"/>
                    </a:lnTo>
                    <a:lnTo>
                      <a:pt x="1718" y="1618"/>
                    </a:lnTo>
                    <a:lnTo>
                      <a:pt x="1720" y="1615"/>
                    </a:lnTo>
                    <a:lnTo>
                      <a:pt x="1721" y="1615"/>
                    </a:lnTo>
                    <a:lnTo>
                      <a:pt x="1720" y="1616"/>
                    </a:lnTo>
                    <a:lnTo>
                      <a:pt x="1718" y="1620"/>
                    </a:lnTo>
                    <a:lnTo>
                      <a:pt x="1720" y="1621"/>
                    </a:lnTo>
                    <a:lnTo>
                      <a:pt x="1720" y="1620"/>
                    </a:lnTo>
                    <a:lnTo>
                      <a:pt x="1723" y="1616"/>
                    </a:lnTo>
                    <a:lnTo>
                      <a:pt x="1725" y="1616"/>
                    </a:lnTo>
                    <a:lnTo>
                      <a:pt x="1725" y="1618"/>
                    </a:lnTo>
                    <a:lnTo>
                      <a:pt x="1723" y="1621"/>
                    </a:lnTo>
                    <a:lnTo>
                      <a:pt x="1723" y="1623"/>
                    </a:lnTo>
                    <a:lnTo>
                      <a:pt x="1726" y="1621"/>
                    </a:lnTo>
                    <a:lnTo>
                      <a:pt x="1726" y="1621"/>
                    </a:lnTo>
                    <a:lnTo>
                      <a:pt x="1726" y="1623"/>
                    </a:lnTo>
                    <a:lnTo>
                      <a:pt x="1721" y="1624"/>
                    </a:lnTo>
                    <a:lnTo>
                      <a:pt x="1718" y="1626"/>
                    </a:lnTo>
                    <a:lnTo>
                      <a:pt x="1718" y="1628"/>
                    </a:lnTo>
                    <a:lnTo>
                      <a:pt x="1720" y="1626"/>
                    </a:lnTo>
                    <a:lnTo>
                      <a:pt x="1723" y="1626"/>
                    </a:lnTo>
                    <a:lnTo>
                      <a:pt x="1723" y="1628"/>
                    </a:lnTo>
                    <a:lnTo>
                      <a:pt x="1726" y="1628"/>
                    </a:lnTo>
                    <a:lnTo>
                      <a:pt x="1728" y="1629"/>
                    </a:lnTo>
                    <a:lnTo>
                      <a:pt x="1730" y="1628"/>
                    </a:lnTo>
                    <a:lnTo>
                      <a:pt x="1731" y="1628"/>
                    </a:lnTo>
                    <a:lnTo>
                      <a:pt x="1733" y="1624"/>
                    </a:lnTo>
                    <a:lnTo>
                      <a:pt x="1733" y="1623"/>
                    </a:lnTo>
                    <a:lnTo>
                      <a:pt x="1735" y="1623"/>
                    </a:lnTo>
                    <a:lnTo>
                      <a:pt x="1738" y="1624"/>
                    </a:lnTo>
                    <a:lnTo>
                      <a:pt x="1741" y="1626"/>
                    </a:lnTo>
                    <a:lnTo>
                      <a:pt x="1743" y="1626"/>
                    </a:lnTo>
                    <a:lnTo>
                      <a:pt x="1746" y="1624"/>
                    </a:lnTo>
                    <a:lnTo>
                      <a:pt x="1750" y="1624"/>
                    </a:lnTo>
                    <a:lnTo>
                      <a:pt x="1746" y="1626"/>
                    </a:lnTo>
                    <a:lnTo>
                      <a:pt x="1746" y="1628"/>
                    </a:lnTo>
                    <a:lnTo>
                      <a:pt x="1741" y="1629"/>
                    </a:lnTo>
                    <a:lnTo>
                      <a:pt x="1738" y="1629"/>
                    </a:lnTo>
                    <a:lnTo>
                      <a:pt x="1735" y="1631"/>
                    </a:lnTo>
                    <a:lnTo>
                      <a:pt x="1735" y="1633"/>
                    </a:lnTo>
                    <a:lnTo>
                      <a:pt x="1735" y="1634"/>
                    </a:lnTo>
                    <a:lnTo>
                      <a:pt x="1733" y="1636"/>
                    </a:lnTo>
                    <a:lnTo>
                      <a:pt x="1730" y="1636"/>
                    </a:lnTo>
                    <a:lnTo>
                      <a:pt x="1728" y="1636"/>
                    </a:lnTo>
                    <a:lnTo>
                      <a:pt x="1728" y="1638"/>
                    </a:lnTo>
                    <a:lnTo>
                      <a:pt x="1726" y="1639"/>
                    </a:lnTo>
                    <a:lnTo>
                      <a:pt x="1721" y="1639"/>
                    </a:lnTo>
                    <a:lnTo>
                      <a:pt x="1718" y="1643"/>
                    </a:lnTo>
                    <a:lnTo>
                      <a:pt x="1718" y="1644"/>
                    </a:lnTo>
                    <a:lnTo>
                      <a:pt x="1718" y="1646"/>
                    </a:lnTo>
                    <a:lnTo>
                      <a:pt x="1720" y="1646"/>
                    </a:lnTo>
                    <a:lnTo>
                      <a:pt x="1723" y="1646"/>
                    </a:lnTo>
                    <a:lnTo>
                      <a:pt x="1725" y="1644"/>
                    </a:lnTo>
                    <a:lnTo>
                      <a:pt x="1725" y="1644"/>
                    </a:lnTo>
                    <a:lnTo>
                      <a:pt x="1728" y="1644"/>
                    </a:lnTo>
                    <a:lnTo>
                      <a:pt x="1728" y="1646"/>
                    </a:lnTo>
                    <a:lnTo>
                      <a:pt x="1730" y="1648"/>
                    </a:lnTo>
                    <a:lnTo>
                      <a:pt x="1733" y="1646"/>
                    </a:lnTo>
                    <a:lnTo>
                      <a:pt x="1735" y="1644"/>
                    </a:lnTo>
                    <a:lnTo>
                      <a:pt x="1736" y="1641"/>
                    </a:lnTo>
                    <a:lnTo>
                      <a:pt x="1736" y="1641"/>
                    </a:lnTo>
                    <a:lnTo>
                      <a:pt x="1738" y="1639"/>
                    </a:lnTo>
                    <a:lnTo>
                      <a:pt x="1738" y="1636"/>
                    </a:lnTo>
                    <a:lnTo>
                      <a:pt x="1740" y="1636"/>
                    </a:lnTo>
                    <a:lnTo>
                      <a:pt x="1745" y="1631"/>
                    </a:lnTo>
                    <a:lnTo>
                      <a:pt x="1746" y="1631"/>
                    </a:lnTo>
                    <a:lnTo>
                      <a:pt x="1748" y="1633"/>
                    </a:lnTo>
                    <a:lnTo>
                      <a:pt x="1751" y="1631"/>
                    </a:lnTo>
                    <a:lnTo>
                      <a:pt x="1750" y="1633"/>
                    </a:lnTo>
                    <a:lnTo>
                      <a:pt x="1751" y="1633"/>
                    </a:lnTo>
                    <a:lnTo>
                      <a:pt x="1753" y="1631"/>
                    </a:lnTo>
                    <a:lnTo>
                      <a:pt x="1755" y="1626"/>
                    </a:lnTo>
                    <a:lnTo>
                      <a:pt x="1758" y="1623"/>
                    </a:lnTo>
                    <a:lnTo>
                      <a:pt x="1758" y="1618"/>
                    </a:lnTo>
                    <a:lnTo>
                      <a:pt x="1758" y="1618"/>
                    </a:lnTo>
                    <a:lnTo>
                      <a:pt x="1760" y="1618"/>
                    </a:lnTo>
                    <a:lnTo>
                      <a:pt x="1761" y="1620"/>
                    </a:lnTo>
                    <a:lnTo>
                      <a:pt x="1763" y="1620"/>
                    </a:lnTo>
                    <a:lnTo>
                      <a:pt x="1765" y="1621"/>
                    </a:lnTo>
                    <a:lnTo>
                      <a:pt x="1766" y="1624"/>
                    </a:lnTo>
                    <a:lnTo>
                      <a:pt x="1765" y="1628"/>
                    </a:lnTo>
                    <a:lnTo>
                      <a:pt x="1765" y="1631"/>
                    </a:lnTo>
                    <a:lnTo>
                      <a:pt x="1765" y="1633"/>
                    </a:lnTo>
                    <a:lnTo>
                      <a:pt x="1765" y="1634"/>
                    </a:lnTo>
                    <a:lnTo>
                      <a:pt x="1761" y="1638"/>
                    </a:lnTo>
                    <a:lnTo>
                      <a:pt x="1758" y="1644"/>
                    </a:lnTo>
                    <a:lnTo>
                      <a:pt x="1758" y="1646"/>
                    </a:lnTo>
                    <a:lnTo>
                      <a:pt x="1756" y="1648"/>
                    </a:lnTo>
                    <a:lnTo>
                      <a:pt x="1756" y="1649"/>
                    </a:lnTo>
                    <a:lnTo>
                      <a:pt x="1760" y="1651"/>
                    </a:lnTo>
                    <a:lnTo>
                      <a:pt x="1763" y="1649"/>
                    </a:lnTo>
                    <a:lnTo>
                      <a:pt x="1766" y="1643"/>
                    </a:lnTo>
                    <a:lnTo>
                      <a:pt x="1768" y="1643"/>
                    </a:lnTo>
                    <a:lnTo>
                      <a:pt x="1771" y="1639"/>
                    </a:lnTo>
                    <a:lnTo>
                      <a:pt x="1773" y="1638"/>
                    </a:lnTo>
                    <a:lnTo>
                      <a:pt x="1773" y="1639"/>
                    </a:lnTo>
                    <a:lnTo>
                      <a:pt x="1778" y="1639"/>
                    </a:lnTo>
                    <a:lnTo>
                      <a:pt x="1778" y="1639"/>
                    </a:lnTo>
                    <a:lnTo>
                      <a:pt x="1775" y="1641"/>
                    </a:lnTo>
                    <a:lnTo>
                      <a:pt x="1770" y="1644"/>
                    </a:lnTo>
                    <a:lnTo>
                      <a:pt x="1770" y="1648"/>
                    </a:lnTo>
                    <a:lnTo>
                      <a:pt x="1770" y="1649"/>
                    </a:lnTo>
                    <a:lnTo>
                      <a:pt x="1770" y="1651"/>
                    </a:lnTo>
                    <a:lnTo>
                      <a:pt x="1771" y="1656"/>
                    </a:lnTo>
                    <a:lnTo>
                      <a:pt x="1773" y="1658"/>
                    </a:lnTo>
                    <a:lnTo>
                      <a:pt x="1775" y="1654"/>
                    </a:lnTo>
                    <a:lnTo>
                      <a:pt x="1776" y="1653"/>
                    </a:lnTo>
                    <a:lnTo>
                      <a:pt x="1776" y="1653"/>
                    </a:lnTo>
                    <a:lnTo>
                      <a:pt x="1778" y="1653"/>
                    </a:lnTo>
                    <a:lnTo>
                      <a:pt x="1778" y="1653"/>
                    </a:lnTo>
                    <a:lnTo>
                      <a:pt x="1780" y="1654"/>
                    </a:lnTo>
                    <a:lnTo>
                      <a:pt x="1783" y="1656"/>
                    </a:lnTo>
                    <a:lnTo>
                      <a:pt x="1786" y="1654"/>
                    </a:lnTo>
                    <a:lnTo>
                      <a:pt x="1786" y="1651"/>
                    </a:lnTo>
                    <a:lnTo>
                      <a:pt x="1786" y="1651"/>
                    </a:lnTo>
                    <a:lnTo>
                      <a:pt x="1788" y="1649"/>
                    </a:lnTo>
                    <a:lnTo>
                      <a:pt x="1788" y="1646"/>
                    </a:lnTo>
                    <a:lnTo>
                      <a:pt x="1789" y="1646"/>
                    </a:lnTo>
                    <a:lnTo>
                      <a:pt x="1789" y="1644"/>
                    </a:lnTo>
                    <a:lnTo>
                      <a:pt x="1788" y="1643"/>
                    </a:lnTo>
                    <a:lnTo>
                      <a:pt x="1789" y="1639"/>
                    </a:lnTo>
                    <a:lnTo>
                      <a:pt x="1793" y="1634"/>
                    </a:lnTo>
                    <a:lnTo>
                      <a:pt x="1796" y="1629"/>
                    </a:lnTo>
                    <a:lnTo>
                      <a:pt x="1796" y="1624"/>
                    </a:lnTo>
                    <a:lnTo>
                      <a:pt x="1794" y="1621"/>
                    </a:lnTo>
                    <a:lnTo>
                      <a:pt x="1793" y="1621"/>
                    </a:lnTo>
                    <a:lnTo>
                      <a:pt x="1793" y="1623"/>
                    </a:lnTo>
                    <a:lnTo>
                      <a:pt x="1791" y="1626"/>
                    </a:lnTo>
                    <a:lnTo>
                      <a:pt x="1789" y="1628"/>
                    </a:lnTo>
                    <a:lnTo>
                      <a:pt x="1786" y="1631"/>
                    </a:lnTo>
                    <a:lnTo>
                      <a:pt x="1784" y="1631"/>
                    </a:lnTo>
                    <a:lnTo>
                      <a:pt x="1783" y="1629"/>
                    </a:lnTo>
                    <a:lnTo>
                      <a:pt x="1783" y="1626"/>
                    </a:lnTo>
                    <a:lnTo>
                      <a:pt x="1783" y="1623"/>
                    </a:lnTo>
                    <a:lnTo>
                      <a:pt x="1786" y="1620"/>
                    </a:lnTo>
                    <a:lnTo>
                      <a:pt x="1788" y="1618"/>
                    </a:lnTo>
                    <a:lnTo>
                      <a:pt x="1791" y="1616"/>
                    </a:lnTo>
                    <a:lnTo>
                      <a:pt x="1793" y="1616"/>
                    </a:lnTo>
                    <a:lnTo>
                      <a:pt x="1794" y="1615"/>
                    </a:lnTo>
                    <a:lnTo>
                      <a:pt x="1793" y="1613"/>
                    </a:lnTo>
                    <a:lnTo>
                      <a:pt x="1791" y="1615"/>
                    </a:lnTo>
                    <a:lnTo>
                      <a:pt x="1789" y="1615"/>
                    </a:lnTo>
                    <a:lnTo>
                      <a:pt x="1786" y="1616"/>
                    </a:lnTo>
                    <a:lnTo>
                      <a:pt x="1784" y="1616"/>
                    </a:lnTo>
                    <a:lnTo>
                      <a:pt x="1781" y="1620"/>
                    </a:lnTo>
                    <a:lnTo>
                      <a:pt x="1781" y="1621"/>
                    </a:lnTo>
                    <a:lnTo>
                      <a:pt x="1776" y="1624"/>
                    </a:lnTo>
                    <a:lnTo>
                      <a:pt x="1775" y="1626"/>
                    </a:lnTo>
                    <a:lnTo>
                      <a:pt x="1773" y="1628"/>
                    </a:lnTo>
                    <a:lnTo>
                      <a:pt x="1770" y="1624"/>
                    </a:lnTo>
                    <a:lnTo>
                      <a:pt x="1770" y="1623"/>
                    </a:lnTo>
                    <a:lnTo>
                      <a:pt x="1768" y="1620"/>
                    </a:lnTo>
                    <a:lnTo>
                      <a:pt x="1768" y="1618"/>
                    </a:lnTo>
                    <a:lnTo>
                      <a:pt x="1770" y="1620"/>
                    </a:lnTo>
                    <a:lnTo>
                      <a:pt x="1771" y="1620"/>
                    </a:lnTo>
                    <a:lnTo>
                      <a:pt x="1775" y="1616"/>
                    </a:lnTo>
                    <a:lnTo>
                      <a:pt x="1771" y="1616"/>
                    </a:lnTo>
                    <a:lnTo>
                      <a:pt x="1768" y="1615"/>
                    </a:lnTo>
                    <a:lnTo>
                      <a:pt x="1771" y="1615"/>
                    </a:lnTo>
                    <a:lnTo>
                      <a:pt x="1775" y="1615"/>
                    </a:lnTo>
                    <a:lnTo>
                      <a:pt x="1771" y="1615"/>
                    </a:lnTo>
                    <a:lnTo>
                      <a:pt x="1770" y="1613"/>
                    </a:lnTo>
                    <a:lnTo>
                      <a:pt x="1770" y="1610"/>
                    </a:lnTo>
                    <a:lnTo>
                      <a:pt x="1770" y="1610"/>
                    </a:lnTo>
                    <a:lnTo>
                      <a:pt x="1775" y="1610"/>
                    </a:lnTo>
                    <a:lnTo>
                      <a:pt x="1776" y="1608"/>
                    </a:lnTo>
                    <a:lnTo>
                      <a:pt x="1780" y="1606"/>
                    </a:lnTo>
                    <a:lnTo>
                      <a:pt x="1781" y="1603"/>
                    </a:lnTo>
                    <a:lnTo>
                      <a:pt x="1784" y="1603"/>
                    </a:lnTo>
                    <a:lnTo>
                      <a:pt x="1786" y="1603"/>
                    </a:lnTo>
                    <a:lnTo>
                      <a:pt x="1789" y="1601"/>
                    </a:lnTo>
                    <a:lnTo>
                      <a:pt x="1791" y="1598"/>
                    </a:lnTo>
                    <a:lnTo>
                      <a:pt x="1791" y="1595"/>
                    </a:lnTo>
                    <a:lnTo>
                      <a:pt x="1789" y="1593"/>
                    </a:lnTo>
                    <a:lnTo>
                      <a:pt x="1786" y="1596"/>
                    </a:lnTo>
                    <a:lnTo>
                      <a:pt x="1784" y="1598"/>
                    </a:lnTo>
                    <a:lnTo>
                      <a:pt x="1784" y="1596"/>
                    </a:lnTo>
                    <a:lnTo>
                      <a:pt x="1781" y="1596"/>
                    </a:lnTo>
                    <a:lnTo>
                      <a:pt x="1781" y="1598"/>
                    </a:lnTo>
                    <a:lnTo>
                      <a:pt x="1781" y="1600"/>
                    </a:lnTo>
                    <a:lnTo>
                      <a:pt x="1780" y="1601"/>
                    </a:lnTo>
                    <a:lnTo>
                      <a:pt x="1776" y="1601"/>
                    </a:lnTo>
                    <a:lnTo>
                      <a:pt x="1775" y="1603"/>
                    </a:lnTo>
                    <a:lnTo>
                      <a:pt x="1771" y="1605"/>
                    </a:lnTo>
                    <a:lnTo>
                      <a:pt x="1771" y="1606"/>
                    </a:lnTo>
                    <a:lnTo>
                      <a:pt x="1770" y="1608"/>
                    </a:lnTo>
                    <a:lnTo>
                      <a:pt x="1770" y="1606"/>
                    </a:lnTo>
                    <a:lnTo>
                      <a:pt x="1771" y="1603"/>
                    </a:lnTo>
                    <a:lnTo>
                      <a:pt x="1770" y="1605"/>
                    </a:lnTo>
                    <a:lnTo>
                      <a:pt x="1766" y="1605"/>
                    </a:lnTo>
                    <a:lnTo>
                      <a:pt x="1770" y="1603"/>
                    </a:lnTo>
                    <a:lnTo>
                      <a:pt x="1771" y="1601"/>
                    </a:lnTo>
                    <a:lnTo>
                      <a:pt x="1773" y="1600"/>
                    </a:lnTo>
                    <a:lnTo>
                      <a:pt x="1771" y="1598"/>
                    </a:lnTo>
                    <a:lnTo>
                      <a:pt x="1773" y="1596"/>
                    </a:lnTo>
                    <a:lnTo>
                      <a:pt x="1775" y="1593"/>
                    </a:lnTo>
                    <a:lnTo>
                      <a:pt x="1773" y="1593"/>
                    </a:lnTo>
                    <a:lnTo>
                      <a:pt x="1771" y="1595"/>
                    </a:lnTo>
                    <a:lnTo>
                      <a:pt x="1771" y="1593"/>
                    </a:lnTo>
                    <a:lnTo>
                      <a:pt x="1771" y="1590"/>
                    </a:lnTo>
                    <a:lnTo>
                      <a:pt x="1771" y="1590"/>
                    </a:lnTo>
                    <a:lnTo>
                      <a:pt x="1768" y="1591"/>
                    </a:lnTo>
                    <a:lnTo>
                      <a:pt x="1763" y="1590"/>
                    </a:lnTo>
                    <a:lnTo>
                      <a:pt x="1768" y="1590"/>
                    </a:lnTo>
                    <a:lnTo>
                      <a:pt x="1770" y="1590"/>
                    </a:lnTo>
                    <a:lnTo>
                      <a:pt x="1773" y="1588"/>
                    </a:lnTo>
                    <a:lnTo>
                      <a:pt x="1776" y="1586"/>
                    </a:lnTo>
                    <a:lnTo>
                      <a:pt x="1778" y="1585"/>
                    </a:lnTo>
                    <a:lnTo>
                      <a:pt x="1780" y="1585"/>
                    </a:lnTo>
                    <a:lnTo>
                      <a:pt x="1783" y="1583"/>
                    </a:lnTo>
                    <a:lnTo>
                      <a:pt x="1783" y="1581"/>
                    </a:lnTo>
                    <a:lnTo>
                      <a:pt x="1784" y="1580"/>
                    </a:lnTo>
                    <a:lnTo>
                      <a:pt x="1784" y="1576"/>
                    </a:lnTo>
                    <a:lnTo>
                      <a:pt x="1781" y="1575"/>
                    </a:lnTo>
                    <a:lnTo>
                      <a:pt x="1778" y="1571"/>
                    </a:lnTo>
                    <a:lnTo>
                      <a:pt x="1775" y="1571"/>
                    </a:lnTo>
                    <a:lnTo>
                      <a:pt x="1770" y="1573"/>
                    </a:lnTo>
                    <a:lnTo>
                      <a:pt x="1768" y="1573"/>
                    </a:lnTo>
                    <a:lnTo>
                      <a:pt x="1768" y="1575"/>
                    </a:lnTo>
                    <a:lnTo>
                      <a:pt x="1766" y="1578"/>
                    </a:lnTo>
                    <a:lnTo>
                      <a:pt x="1765" y="1581"/>
                    </a:lnTo>
                    <a:lnTo>
                      <a:pt x="1763" y="1583"/>
                    </a:lnTo>
                    <a:lnTo>
                      <a:pt x="1765" y="1581"/>
                    </a:lnTo>
                    <a:lnTo>
                      <a:pt x="1765" y="1578"/>
                    </a:lnTo>
                    <a:lnTo>
                      <a:pt x="1763" y="1576"/>
                    </a:lnTo>
                    <a:lnTo>
                      <a:pt x="1765" y="1575"/>
                    </a:lnTo>
                    <a:lnTo>
                      <a:pt x="1766" y="1571"/>
                    </a:lnTo>
                    <a:lnTo>
                      <a:pt x="1765" y="1571"/>
                    </a:lnTo>
                    <a:lnTo>
                      <a:pt x="1761" y="1573"/>
                    </a:lnTo>
                    <a:lnTo>
                      <a:pt x="1760" y="1575"/>
                    </a:lnTo>
                    <a:lnTo>
                      <a:pt x="1758" y="1576"/>
                    </a:lnTo>
                    <a:lnTo>
                      <a:pt x="1756" y="1575"/>
                    </a:lnTo>
                    <a:lnTo>
                      <a:pt x="1755" y="1576"/>
                    </a:lnTo>
                    <a:lnTo>
                      <a:pt x="1751" y="1578"/>
                    </a:lnTo>
                    <a:lnTo>
                      <a:pt x="1751" y="1576"/>
                    </a:lnTo>
                    <a:lnTo>
                      <a:pt x="1748" y="1578"/>
                    </a:lnTo>
                    <a:lnTo>
                      <a:pt x="1746" y="1583"/>
                    </a:lnTo>
                    <a:lnTo>
                      <a:pt x="1743" y="1585"/>
                    </a:lnTo>
                    <a:lnTo>
                      <a:pt x="1746" y="1581"/>
                    </a:lnTo>
                    <a:lnTo>
                      <a:pt x="1746" y="1576"/>
                    </a:lnTo>
                    <a:lnTo>
                      <a:pt x="1750" y="1573"/>
                    </a:lnTo>
                    <a:lnTo>
                      <a:pt x="1748" y="1573"/>
                    </a:lnTo>
                    <a:lnTo>
                      <a:pt x="1746" y="1573"/>
                    </a:lnTo>
                    <a:lnTo>
                      <a:pt x="1745" y="1575"/>
                    </a:lnTo>
                    <a:lnTo>
                      <a:pt x="1741" y="1578"/>
                    </a:lnTo>
                    <a:lnTo>
                      <a:pt x="1741" y="1576"/>
                    </a:lnTo>
                    <a:lnTo>
                      <a:pt x="1743" y="1575"/>
                    </a:lnTo>
                    <a:lnTo>
                      <a:pt x="1743" y="1573"/>
                    </a:lnTo>
                    <a:lnTo>
                      <a:pt x="1743" y="1571"/>
                    </a:lnTo>
                    <a:lnTo>
                      <a:pt x="1740" y="1573"/>
                    </a:lnTo>
                    <a:lnTo>
                      <a:pt x="1736" y="1575"/>
                    </a:lnTo>
                    <a:lnTo>
                      <a:pt x="1735" y="1575"/>
                    </a:lnTo>
                    <a:lnTo>
                      <a:pt x="1733" y="1571"/>
                    </a:lnTo>
                    <a:lnTo>
                      <a:pt x="1731" y="1571"/>
                    </a:lnTo>
                    <a:lnTo>
                      <a:pt x="1728" y="1575"/>
                    </a:lnTo>
                    <a:lnTo>
                      <a:pt x="1726" y="1573"/>
                    </a:lnTo>
                    <a:lnTo>
                      <a:pt x="1726" y="1573"/>
                    </a:lnTo>
                    <a:lnTo>
                      <a:pt x="1730" y="1570"/>
                    </a:lnTo>
                    <a:lnTo>
                      <a:pt x="1733" y="1566"/>
                    </a:lnTo>
                    <a:lnTo>
                      <a:pt x="1733" y="1563"/>
                    </a:lnTo>
                    <a:lnTo>
                      <a:pt x="1731" y="1565"/>
                    </a:lnTo>
                    <a:lnTo>
                      <a:pt x="1730" y="1565"/>
                    </a:lnTo>
                    <a:lnTo>
                      <a:pt x="1726" y="1566"/>
                    </a:lnTo>
                    <a:lnTo>
                      <a:pt x="1728" y="1565"/>
                    </a:lnTo>
                    <a:lnTo>
                      <a:pt x="1733" y="1561"/>
                    </a:lnTo>
                    <a:lnTo>
                      <a:pt x="1736" y="1561"/>
                    </a:lnTo>
                    <a:lnTo>
                      <a:pt x="1738" y="1560"/>
                    </a:lnTo>
                    <a:lnTo>
                      <a:pt x="1741" y="1560"/>
                    </a:lnTo>
                    <a:lnTo>
                      <a:pt x="1745" y="1556"/>
                    </a:lnTo>
                    <a:lnTo>
                      <a:pt x="1745" y="1555"/>
                    </a:lnTo>
                    <a:lnTo>
                      <a:pt x="1743" y="1556"/>
                    </a:lnTo>
                    <a:lnTo>
                      <a:pt x="1738" y="1556"/>
                    </a:lnTo>
                    <a:lnTo>
                      <a:pt x="1736" y="1556"/>
                    </a:lnTo>
                    <a:lnTo>
                      <a:pt x="1733" y="1553"/>
                    </a:lnTo>
                    <a:lnTo>
                      <a:pt x="1731" y="1555"/>
                    </a:lnTo>
                    <a:lnTo>
                      <a:pt x="1728" y="1555"/>
                    </a:lnTo>
                    <a:lnTo>
                      <a:pt x="1730" y="1551"/>
                    </a:lnTo>
                    <a:lnTo>
                      <a:pt x="1731" y="1551"/>
                    </a:lnTo>
                    <a:lnTo>
                      <a:pt x="1731" y="1550"/>
                    </a:lnTo>
                    <a:lnTo>
                      <a:pt x="1730" y="1550"/>
                    </a:lnTo>
                    <a:lnTo>
                      <a:pt x="1726" y="1553"/>
                    </a:lnTo>
                    <a:lnTo>
                      <a:pt x="1725" y="1555"/>
                    </a:lnTo>
                    <a:lnTo>
                      <a:pt x="1721" y="1558"/>
                    </a:lnTo>
                    <a:lnTo>
                      <a:pt x="1718" y="1560"/>
                    </a:lnTo>
                    <a:lnTo>
                      <a:pt x="1718" y="1561"/>
                    </a:lnTo>
                    <a:lnTo>
                      <a:pt x="1715" y="1563"/>
                    </a:lnTo>
                    <a:lnTo>
                      <a:pt x="1711" y="1566"/>
                    </a:lnTo>
                    <a:lnTo>
                      <a:pt x="1711" y="1563"/>
                    </a:lnTo>
                    <a:lnTo>
                      <a:pt x="1713" y="1560"/>
                    </a:lnTo>
                    <a:lnTo>
                      <a:pt x="1715" y="1556"/>
                    </a:lnTo>
                    <a:lnTo>
                      <a:pt x="1715" y="1555"/>
                    </a:lnTo>
                    <a:lnTo>
                      <a:pt x="1716" y="1551"/>
                    </a:lnTo>
                    <a:lnTo>
                      <a:pt x="1720" y="1548"/>
                    </a:lnTo>
                    <a:lnTo>
                      <a:pt x="1720" y="1546"/>
                    </a:lnTo>
                    <a:lnTo>
                      <a:pt x="1723" y="1545"/>
                    </a:lnTo>
                    <a:lnTo>
                      <a:pt x="1723" y="1543"/>
                    </a:lnTo>
                    <a:lnTo>
                      <a:pt x="1726" y="1540"/>
                    </a:lnTo>
                    <a:lnTo>
                      <a:pt x="1728" y="1538"/>
                    </a:lnTo>
                    <a:lnTo>
                      <a:pt x="1730" y="1535"/>
                    </a:lnTo>
                    <a:lnTo>
                      <a:pt x="1733" y="1535"/>
                    </a:lnTo>
                    <a:lnTo>
                      <a:pt x="1733" y="1533"/>
                    </a:lnTo>
                    <a:lnTo>
                      <a:pt x="1733" y="1531"/>
                    </a:lnTo>
                    <a:lnTo>
                      <a:pt x="1735" y="1528"/>
                    </a:lnTo>
                    <a:lnTo>
                      <a:pt x="1736" y="1526"/>
                    </a:lnTo>
                    <a:lnTo>
                      <a:pt x="1736" y="1528"/>
                    </a:lnTo>
                    <a:lnTo>
                      <a:pt x="1735" y="1530"/>
                    </a:lnTo>
                    <a:lnTo>
                      <a:pt x="1736" y="1533"/>
                    </a:lnTo>
                    <a:lnTo>
                      <a:pt x="1740" y="1528"/>
                    </a:lnTo>
                    <a:lnTo>
                      <a:pt x="1745" y="1525"/>
                    </a:lnTo>
                    <a:lnTo>
                      <a:pt x="1745" y="1522"/>
                    </a:lnTo>
                    <a:lnTo>
                      <a:pt x="1743" y="1520"/>
                    </a:lnTo>
                    <a:lnTo>
                      <a:pt x="1741" y="1520"/>
                    </a:lnTo>
                    <a:lnTo>
                      <a:pt x="1740" y="1522"/>
                    </a:lnTo>
                    <a:lnTo>
                      <a:pt x="1740" y="1518"/>
                    </a:lnTo>
                    <a:lnTo>
                      <a:pt x="1738" y="1517"/>
                    </a:lnTo>
                    <a:lnTo>
                      <a:pt x="1738" y="1515"/>
                    </a:lnTo>
                    <a:lnTo>
                      <a:pt x="1741" y="1515"/>
                    </a:lnTo>
                    <a:lnTo>
                      <a:pt x="1745" y="1515"/>
                    </a:lnTo>
                    <a:lnTo>
                      <a:pt x="1748" y="1517"/>
                    </a:lnTo>
                    <a:lnTo>
                      <a:pt x="1750" y="1517"/>
                    </a:lnTo>
                    <a:lnTo>
                      <a:pt x="1751" y="1513"/>
                    </a:lnTo>
                    <a:lnTo>
                      <a:pt x="1751" y="1508"/>
                    </a:lnTo>
                    <a:lnTo>
                      <a:pt x="1748" y="1508"/>
                    </a:lnTo>
                    <a:lnTo>
                      <a:pt x="1746" y="1510"/>
                    </a:lnTo>
                    <a:lnTo>
                      <a:pt x="1746" y="1512"/>
                    </a:lnTo>
                    <a:lnTo>
                      <a:pt x="1745" y="1512"/>
                    </a:lnTo>
                    <a:lnTo>
                      <a:pt x="1745" y="1508"/>
                    </a:lnTo>
                    <a:lnTo>
                      <a:pt x="1745" y="1507"/>
                    </a:lnTo>
                    <a:lnTo>
                      <a:pt x="1741" y="1508"/>
                    </a:lnTo>
                    <a:lnTo>
                      <a:pt x="1740" y="1512"/>
                    </a:lnTo>
                    <a:lnTo>
                      <a:pt x="1736" y="1512"/>
                    </a:lnTo>
                    <a:lnTo>
                      <a:pt x="1735" y="1513"/>
                    </a:lnTo>
                    <a:lnTo>
                      <a:pt x="1731" y="1515"/>
                    </a:lnTo>
                    <a:lnTo>
                      <a:pt x="1728" y="1515"/>
                    </a:lnTo>
                    <a:lnTo>
                      <a:pt x="1725" y="1517"/>
                    </a:lnTo>
                    <a:lnTo>
                      <a:pt x="1720" y="1520"/>
                    </a:lnTo>
                    <a:lnTo>
                      <a:pt x="1720" y="1523"/>
                    </a:lnTo>
                    <a:lnTo>
                      <a:pt x="1718" y="1523"/>
                    </a:lnTo>
                    <a:lnTo>
                      <a:pt x="1715" y="1523"/>
                    </a:lnTo>
                    <a:lnTo>
                      <a:pt x="1715" y="1525"/>
                    </a:lnTo>
                    <a:lnTo>
                      <a:pt x="1716" y="1525"/>
                    </a:lnTo>
                    <a:lnTo>
                      <a:pt x="1716" y="1528"/>
                    </a:lnTo>
                    <a:lnTo>
                      <a:pt x="1716" y="1528"/>
                    </a:lnTo>
                    <a:close/>
                    <a:moveTo>
                      <a:pt x="1560" y="1568"/>
                    </a:moveTo>
                    <a:lnTo>
                      <a:pt x="1564" y="1568"/>
                    </a:lnTo>
                    <a:lnTo>
                      <a:pt x="1572" y="1575"/>
                    </a:lnTo>
                    <a:lnTo>
                      <a:pt x="1579" y="1575"/>
                    </a:lnTo>
                    <a:lnTo>
                      <a:pt x="1583" y="1575"/>
                    </a:lnTo>
                    <a:lnTo>
                      <a:pt x="1587" y="1578"/>
                    </a:lnTo>
                    <a:lnTo>
                      <a:pt x="1590" y="1578"/>
                    </a:lnTo>
                    <a:lnTo>
                      <a:pt x="1595" y="1580"/>
                    </a:lnTo>
                    <a:lnTo>
                      <a:pt x="1600" y="1578"/>
                    </a:lnTo>
                    <a:lnTo>
                      <a:pt x="1602" y="1576"/>
                    </a:lnTo>
                    <a:lnTo>
                      <a:pt x="1598" y="1573"/>
                    </a:lnTo>
                    <a:lnTo>
                      <a:pt x="1597" y="1571"/>
                    </a:lnTo>
                    <a:lnTo>
                      <a:pt x="1595" y="1570"/>
                    </a:lnTo>
                    <a:lnTo>
                      <a:pt x="1592" y="1568"/>
                    </a:lnTo>
                    <a:lnTo>
                      <a:pt x="1588" y="1565"/>
                    </a:lnTo>
                    <a:lnTo>
                      <a:pt x="1582" y="1561"/>
                    </a:lnTo>
                    <a:lnTo>
                      <a:pt x="1580" y="1560"/>
                    </a:lnTo>
                    <a:lnTo>
                      <a:pt x="1575" y="1556"/>
                    </a:lnTo>
                    <a:lnTo>
                      <a:pt x="1570" y="1553"/>
                    </a:lnTo>
                    <a:lnTo>
                      <a:pt x="1564" y="1553"/>
                    </a:lnTo>
                    <a:lnTo>
                      <a:pt x="1552" y="1550"/>
                    </a:lnTo>
                    <a:lnTo>
                      <a:pt x="1549" y="1548"/>
                    </a:lnTo>
                    <a:lnTo>
                      <a:pt x="1544" y="1551"/>
                    </a:lnTo>
                    <a:lnTo>
                      <a:pt x="1545" y="1555"/>
                    </a:lnTo>
                    <a:lnTo>
                      <a:pt x="1550" y="1556"/>
                    </a:lnTo>
                    <a:lnTo>
                      <a:pt x="1559" y="1561"/>
                    </a:lnTo>
                    <a:lnTo>
                      <a:pt x="1559" y="1566"/>
                    </a:lnTo>
                    <a:lnTo>
                      <a:pt x="1560" y="1568"/>
                    </a:lnTo>
                    <a:lnTo>
                      <a:pt x="1560" y="1568"/>
                    </a:lnTo>
                    <a:close/>
                    <a:moveTo>
                      <a:pt x="1562" y="1668"/>
                    </a:moveTo>
                    <a:lnTo>
                      <a:pt x="1557" y="1666"/>
                    </a:lnTo>
                    <a:lnTo>
                      <a:pt x="1555" y="1661"/>
                    </a:lnTo>
                    <a:lnTo>
                      <a:pt x="1544" y="1659"/>
                    </a:lnTo>
                    <a:lnTo>
                      <a:pt x="1542" y="1658"/>
                    </a:lnTo>
                    <a:lnTo>
                      <a:pt x="1540" y="1656"/>
                    </a:lnTo>
                    <a:lnTo>
                      <a:pt x="1539" y="1653"/>
                    </a:lnTo>
                    <a:lnTo>
                      <a:pt x="1537" y="1653"/>
                    </a:lnTo>
                    <a:lnTo>
                      <a:pt x="1535" y="1651"/>
                    </a:lnTo>
                    <a:lnTo>
                      <a:pt x="1532" y="1649"/>
                    </a:lnTo>
                    <a:lnTo>
                      <a:pt x="1532" y="1646"/>
                    </a:lnTo>
                    <a:lnTo>
                      <a:pt x="1530" y="1644"/>
                    </a:lnTo>
                    <a:lnTo>
                      <a:pt x="1527" y="1644"/>
                    </a:lnTo>
                    <a:lnTo>
                      <a:pt x="1525" y="1644"/>
                    </a:lnTo>
                    <a:lnTo>
                      <a:pt x="1527" y="1639"/>
                    </a:lnTo>
                    <a:lnTo>
                      <a:pt x="1537" y="1634"/>
                    </a:lnTo>
                    <a:lnTo>
                      <a:pt x="1537" y="1638"/>
                    </a:lnTo>
                    <a:lnTo>
                      <a:pt x="1535" y="1641"/>
                    </a:lnTo>
                    <a:lnTo>
                      <a:pt x="1535" y="1643"/>
                    </a:lnTo>
                    <a:lnTo>
                      <a:pt x="1537" y="1644"/>
                    </a:lnTo>
                    <a:lnTo>
                      <a:pt x="1537" y="1648"/>
                    </a:lnTo>
                    <a:lnTo>
                      <a:pt x="1540" y="1651"/>
                    </a:lnTo>
                    <a:lnTo>
                      <a:pt x="1540" y="1648"/>
                    </a:lnTo>
                    <a:lnTo>
                      <a:pt x="1545" y="1648"/>
                    </a:lnTo>
                    <a:lnTo>
                      <a:pt x="1550" y="1653"/>
                    </a:lnTo>
                    <a:lnTo>
                      <a:pt x="1554" y="1653"/>
                    </a:lnTo>
                    <a:lnTo>
                      <a:pt x="1555" y="1654"/>
                    </a:lnTo>
                    <a:lnTo>
                      <a:pt x="1562" y="1654"/>
                    </a:lnTo>
                    <a:lnTo>
                      <a:pt x="1565" y="1651"/>
                    </a:lnTo>
                    <a:lnTo>
                      <a:pt x="1569" y="1653"/>
                    </a:lnTo>
                    <a:lnTo>
                      <a:pt x="1575" y="1653"/>
                    </a:lnTo>
                    <a:lnTo>
                      <a:pt x="1574" y="1654"/>
                    </a:lnTo>
                    <a:lnTo>
                      <a:pt x="1569" y="1656"/>
                    </a:lnTo>
                    <a:lnTo>
                      <a:pt x="1567" y="1659"/>
                    </a:lnTo>
                    <a:lnTo>
                      <a:pt x="1567" y="1663"/>
                    </a:lnTo>
                    <a:lnTo>
                      <a:pt x="1565" y="1666"/>
                    </a:lnTo>
                    <a:lnTo>
                      <a:pt x="1562" y="1668"/>
                    </a:lnTo>
                    <a:lnTo>
                      <a:pt x="1562" y="1668"/>
                    </a:lnTo>
                    <a:close/>
                    <a:moveTo>
                      <a:pt x="1597" y="1683"/>
                    </a:moveTo>
                    <a:lnTo>
                      <a:pt x="1595" y="1679"/>
                    </a:lnTo>
                    <a:lnTo>
                      <a:pt x="1588" y="1676"/>
                    </a:lnTo>
                    <a:lnTo>
                      <a:pt x="1587" y="1669"/>
                    </a:lnTo>
                    <a:lnTo>
                      <a:pt x="1585" y="1668"/>
                    </a:lnTo>
                    <a:lnTo>
                      <a:pt x="1588" y="1664"/>
                    </a:lnTo>
                    <a:lnTo>
                      <a:pt x="1595" y="1661"/>
                    </a:lnTo>
                    <a:lnTo>
                      <a:pt x="1600" y="1654"/>
                    </a:lnTo>
                    <a:lnTo>
                      <a:pt x="1602" y="1651"/>
                    </a:lnTo>
                    <a:lnTo>
                      <a:pt x="1603" y="1648"/>
                    </a:lnTo>
                    <a:lnTo>
                      <a:pt x="1610" y="1643"/>
                    </a:lnTo>
                    <a:lnTo>
                      <a:pt x="1612" y="1639"/>
                    </a:lnTo>
                    <a:lnTo>
                      <a:pt x="1615" y="1639"/>
                    </a:lnTo>
                    <a:lnTo>
                      <a:pt x="1617" y="1641"/>
                    </a:lnTo>
                    <a:lnTo>
                      <a:pt x="1613" y="1644"/>
                    </a:lnTo>
                    <a:lnTo>
                      <a:pt x="1618" y="1644"/>
                    </a:lnTo>
                    <a:lnTo>
                      <a:pt x="1618" y="1648"/>
                    </a:lnTo>
                    <a:lnTo>
                      <a:pt x="1613" y="1656"/>
                    </a:lnTo>
                    <a:lnTo>
                      <a:pt x="1610" y="1658"/>
                    </a:lnTo>
                    <a:lnTo>
                      <a:pt x="1615" y="1659"/>
                    </a:lnTo>
                    <a:lnTo>
                      <a:pt x="1617" y="1663"/>
                    </a:lnTo>
                    <a:lnTo>
                      <a:pt x="1613" y="1666"/>
                    </a:lnTo>
                    <a:lnTo>
                      <a:pt x="1615" y="1668"/>
                    </a:lnTo>
                    <a:lnTo>
                      <a:pt x="1618" y="1666"/>
                    </a:lnTo>
                    <a:lnTo>
                      <a:pt x="1618" y="1663"/>
                    </a:lnTo>
                    <a:lnTo>
                      <a:pt x="1622" y="1661"/>
                    </a:lnTo>
                    <a:lnTo>
                      <a:pt x="1627" y="1663"/>
                    </a:lnTo>
                    <a:lnTo>
                      <a:pt x="1627" y="1668"/>
                    </a:lnTo>
                    <a:lnTo>
                      <a:pt x="1628" y="1669"/>
                    </a:lnTo>
                    <a:lnTo>
                      <a:pt x="1623" y="1671"/>
                    </a:lnTo>
                    <a:lnTo>
                      <a:pt x="1622" y="1673"/>
                    </a:lnTo>
                    <a:lnTo>
                      <a:pt x="1615" y="1674"/>
                    </a:lnTo>
                    <a:lnTo>
                      <a:pt x="1607" y="1679"/>
                    </a:lnTo>
                    <a:lnTo>
                      <a:pt x="1603" y="1679"/>
                    </a:lnTo>
                    <a:lnTo>
                      <a:pt x="1602" y="1676"/>
                    </a:lnTo>
                    <a:lnTo>
                      <a:pt x="1600" y="1678"/>
                    </a:lnTo>
                    <a:lnTo>
                      <a:pt x="1598" y="1681"/>
                    </a:lnTo>
                    <a:lnTo>
                      <a:pt x="1597" y="1683"/>
                    </a:lnTo>
                    <a:lnTo>
                      <a:pt x="1597" y="1683"/>
                    </a:lnTo>
                    <a:close/>
                    <a:moveTo>
                      <a:pt x="1221" y="1419"/>
                    </a:moveTo>
                    <a:lnTo>
                      <a:pt x="1223" y="1422"/>
                    </a:lnTo>
                    <a:lnTo>
                      <a:pt x="1223" y="1424"/>
                    </a:lnTo>
                    <a:lnTo>
                      <a:pt x="1225" y="1422"/>
                    </a:lnTo>
                    <a:lnTo>
                      <a:pt x="1225" y="1417"/>
                    </a:lnTo>
                    <a:lnTo>
                      <a:pt x="1223" y="1417"/>
                    </a:lnTo>
                    <a:lnTo>
                      <a:pt x="1221" y="1419"/>
                    </a:lnTo>
                    <a:lnTo>
                      <a:pt x="1221" y="1419"/>
                    </a:lnTo>
                    <a:close/>
                    <a:moveTo>
                      <a:pt x="1221" y="1467"/>
                    </a:moveTo>
                    <a:lnTo>
                      <a:pt x="1223" y="1463"/>
                    </a:lnTo>
                    <a:lnTo>
                      <a:pt x="1226" y="1463"/>
                    </a:lnTo>
                    <a:lnTo>
                      <a:pt x="1228" y="1462"/>
                    </a:lnTo>
                    <a:lnTo>
                      <a:pt x="1230" y="1465"/>
                    </a:lnTo>
                    <a:lnTo>
                      <a:pt x="1223" y="1468"/>
                    </a:lnTo>
                    <a:lnTo>
                      <a:pt x="1221" y="1467"/>
                    </a:lnTo>
                    <a:lnTo>
                      <a:pt x="1221" y="1467"/>
                    </a:lnTo>
                    <a:close/>
                    <a:moveTo>
                      <a:pt x="1177" y="1432"/>
                    </a:moveTo>
                    <a:lnTo>
                      <a:pt x="1182" y="1427"/>
                    </a:lnTo>
                    <a:lnTo>
                      <a:pt x="1185" y="1428"/>
                    </a:lnTo>
                    <a:lnTo>
                      <a:pt x="1185" y="1425"/>
                    </a:lnTo>
                    <a:lnTo>
                      <a:pt x="1188" y="1424"/>
                    </a:lnTo>
                    <a:lnTo>
                      <a:pt x="1193" y="1424"/>
                    </a:lnTo>
                    <a:lnTo>
                      <a:pt x="1193" y="1425"/>
                    </a:lnTo>
                    <a:lnTo>
                      <a:pt x="1198" y="1424"/>
                    </a:lnTo>
                    <a:lnTo>
                      <a:pt x="1203" y="1428"/>
                    </a:lnTo>
                    <a:lnTo>
                      <a:pt x="1205" y="1433"/>
                    </a:lnTo>
                    <a:lnTo>
                      <a:pt x="1205" y="1435"/>
                    </a:lnTo>
                    <a:lnTo>
                      <a:pt x="1205" y="1438"/>
                    </a:lnTo>
                    <a:lnTo>
                      <a:pt x="1193" y="1437"/>
                    </a:lnTo>
                    <a:lnTo>
                      <a:pt x="1190" y="1433"/>
                    </a:lnTo>
                    <a:lnTo>
                      <a:pt x="1185" y="1433"/>
                    </a:lnTo>
                    <a:lnTo>
                      <a:pt x="1185" y="1437"/>
                    </a:lnTo>
                    <a:lnTo>
                      <a:pt x="1185" y="1438"/>
                    </a:lnTo>
                    <a:lnTo>
                      <a:pt x="1183" y="1435"/>
                    </a:lnTo>
                    <a:lnTo>
                      <a:pt x="1182" y="1433"/>
                    </a:lnTo>
                    <a:lnTo>
                      <a:pt x="1178" y="1433"/>
                    </a:lnTo>
                    <a:lnTo>
                      <a:pt x="1177" y="1432"/>
                    </a:lnTo>
                    <a:lnTo>
                      <a:pt x="1177" y="1432"/>
                    </a:lnTo>
                    <a:close/>
                    <a:moveTo>
                      <a:pt x="185" y="1450"/>
                    </a:moveTo>
                    <a:lnTo>
                      <a:pt x="190" y="1453"/>
                    </a:lnTo>
                    <a:lnTo>
                      <a:pt x="195" y="1460"/>
                    </a:lnTo>
                    <a:lnTo>
                      <a:pt x="193" y="1462"/>
                    </a:lnTo>
                    <a:lnTo>
                      <a:pt x="187" y="1455"/>
                    </a:lnTo>
                    <a:lnTo>
                      <a:pt x="185" y="1450"/>
                    </a:lnTo>
                    <a:lnTo>
                      <a:pt x="185" y="1450"/>
                    </a:lnTo>
                    <a:close/>
                    <a:moveTo>
                      <a:pt x="177" y="1440"/>
                    </a:moveTo>
                    <a:lnTo>
                      <a:pt x="175" y="1433"/>
                    </a:lnTo>
                    <a:lnTo>
                      <a:pt x="178" y="1433"/>
                    </a:lnTo>
                    <a:lnTo>
                      <a:pt x="177" y="1440"/>
                    </a:lnTo>
                    <a:lnTo>
                      <a:pt x="177" y="1440"/>
                    </a:lnTo>
                    <a:close/>
                    <a:moveTo>
                      <a:pt x="150" y="1419"/>
                    </a:moveTo>
                    <a:lnTo>
                      <a:pt x="157" y="1422"/>
                    </a:lnTo>
                    <a:lnTo>
                      <a:pt x="157" y="1419"/>
                    </a:lnTo>
                    <a:lnTo>
                      <a:pt x="150" y="1419"/>
                    </a:lnTo>
                    <a:lnTo>
                      <a:pt x="150" y="1419"/>
                    </a:lnTo>
                    <a:close/>
                    <a:moveTo>
                      <a:pt x="110" y="1404"/>
                    </a:moveTo>
                    <a:lnTo>
                      <a:pt x="112" y="1409"/>
                    </a:lnTo>
                    <a:lnTo>
                      <a:pt x="113" y="1410"/>
                    </a:lnTo>
                    <a:lnTo>
                      <a:pt x="115" y="1415"/>
                    </a:lnTo>
                    <a:lnTo>
                      <a:pt x="127" y="1417"/>
                    </a:lnTo>
                    <a:lnTo>
                      <a:pt x="123" y="1419"/>
                    </a:lnTo>
                    <a:lnTo>
                      <a:pt x="117" y="1419"/>
                    </a:lnTo>
                    <a:lnTo>
                      <a:pt x="113" y="1424"/>
                    </a:lnTo>
                    <a:lnTo>
                      <a:pt x="117" y="1425"/>
                    </a:lnTo>
                    <a:lnTo>
                      <a:pt x="113" y="1430"/>
                    </a:lnTo>
                    <a:lnTo>
                      <a:pt x="115" y="1432"/>
                    </a:lnTo>
                    <a:lnTo>
                      <a:pt x="120" y="1430"/>
                    </a:lnTo>
                    <a:lnTo>
                      <a:pt x="122" y="1433"/>
                    </a:lnTo>
                    <a:lnTo>
                      <a:pt x="127" y="1433"/>
                    </a:lnTo>
                    <a:lnTo>
                      <a:pt x="127" y="1438"/>
                    </a:lnTo>
                    <a:lnTo>
                      <a:pt x="132" y="1440"/>
                    </a:lnTo>
                    <a:lnTo>
                      <a:pt x="137" y="1438"/>
                    </a:lnTo>
                    <a:lnTo>
                      <a:pt x="130" y="1445"/>
                    </a:lnTo>
                    <a:lnTo>
                      <a:pt x="133" y="1450"/>
                    </a:lnTo>
                    <a:lnTo>
                      <a:pt x="137" y="1450"/>
                    </a:lnTo>
                    <a:lnTo>
                      <a:pt x="137" y="1445"/>
                    </a:lnTo>
                    <a:lnTo>
                      <a:pt x="143" y="1443"/>
                    </a:lnTo>
                    <a:lnTo>
                      <a:pt x="142" y="1448"/>
                    </a:lnTo>
                    <a:lnTo>
                      <a:pt x="137" y="1452"/>
                    </a:lnTo>
                    <a:lnTo>
                      <a:pt x="138" y="1455"/>
                    </a:lnTo>
                    <a:lnTo>
                      <a:pt x="140" y="1455"/>
                    </a:lnTo>
                    <a:lnTo>
                      <a:pt x="142" y="1460"/>
                    </a:lnTo>
                    <a:lnTo>
                      <a:pt x="150" y="1460"/>
                    </a:lnTo>
                    <a:lnTo>
                      <a:pt x="150" y="1463"/>
                    </a:lnTo>
                    <a:lnTo>
                      <a:pt x="153" y="1463"/>
                    </a:lnTo>
                    <a:lnTo>
                      <a:pt x="155" y="1468"/>
                    </a:lnTo>
                    <a:lnTo>
                      <a:pt x="153" y="1472"/>
                    </a:lnTo>
                    <a:lnTo>
                      <a:pt x="158" y="1477"/>
                    </a:lnTo>
                    <a:lnTo>
                      <a:pt x="162" y="1473"/>
                    </a:lnTo>
                    <a:lnTo>
                      <a:pt x="165" y="1475"/>
                    </a:lnTo>
                    <a:lnTo>
                      <a:pt x="168" y="1475"/>
                    </a:lnTo>
                    <a:lnTo>
                      <a:pt x="162" y="1482"/>
                    </a:lnTo>
                    <a:lnTo>
                      <a:pt x="172" y="1490"/>
                    </a:lnTo>
                    <a:lnTo>
                      <a:pt x="173" y="1492"/>
                    </a:lnTo>
                    <a:lnTo>
                      <a:pt x="177" y="1495"/>
                    </a:lnTo>
                    <a:lnTo>
                      <a:pt x="192" y="1502"/>
                    </a:lnTo>
                    <a:lnTo>
                      <a:pt x="193" y="1500"/>
                    </a:lnTo>
                    <a:lnTo>
                      <a:pt x="198" y="1502"/>
                    </a:lnTo>
                    <a:lnTo>
                      <a:pt x="195" y="1490"/>
                    </a:lnTo>
                    <a:lnTo>
                      <a:pt x="195" y="1483"/>
                    </a:lnTo>
                    <a:lnTo>
                      <a:pt x="193" y="1480"/>
                    </a:lnTo>
                    <a:lnTo>
                      <a:pt x="195" y="1472"/>
                    </a:lnTo>
                    <a:lnTo>
                      <a:pt x="190" y="1467"/>
                    </a:lnTo>
                    <a:lnTo>
                      <a:pt x="180" y="1460"/>
                    </a:lnTo>
                    <a:lnTo>
                      <a:pt x="178" y="1447"/>
                    </a:lnTo>
                    <a:lnTo>
                      <a:pt x="173" y="1440"/>
                    </a:lnTo>
                    <a:lnTo>
                      <a:pt x="172" y="1432"/>
                    </a:lnTo>
                    <a:lnTo>
                      <a:pt x="170" y="1430"/>
                    </a:lnTo>
                    <a:lnTo>
                      <a:pt x="165" y="1428"/>
                    </a:lnTo>
                    <a:lnTo>
                      <a:pt x="157" y="1425"/>
                    </a:lnTo>
                    <a:lnTo>
                      <a:pt x="152" y="1425"/>
                    </a:lnTo>
                    <a:lnTo>
                      <a:pt x="147" y="1424"/>
                    </a:lnTo>
                    <a:lnTo>
                      <a:pt x="143" y="1419"/>
                    </a:lnTo>
                    <a:lnTo>
                      <a:pt x="137" y="1415"/>
                    </a:lnTo>
                    <a:lnTo>
                      <a:pt x="133" y="1412"/>
                    </a:lnTo>
                    <a:lnTo>
                      <a:pt x="132" y="1407"/>
                    </a:lnTo>
                    <a:lnTo>
                      <a:pt x="125" y="1409"/>
                    </a:lnTo>
                    <a:lnTo>
                      <a:pt x="123" y="1404"/>
                    </a:lnTo>
                    <a:lnTo>
                      <a:pt x="118" y="1402"/>
                    </a:lnTo>
                    <a:lnTo>
                      <a:pt x="117" y="1404"/>
                    </a:lnTo>
                    <a:lnTo>
                      <a:pt x="110" y="1404"/>
                    </a:lnTo>
                    <a:lnTo>
                      <a:pt x="110" y="1404"/>
                    </a:lnTo>
                    <a:close/>
                    <a:moveTo>
                      <a:pt x="153" y="1414"/>
                    </a:moveTo>
                    <a:lnTo>
                      <a:pt x="157" y="1412"/>
                    </a:lnTo>
                    <a:lnTo>
                      <a:pt x="158" y="1410"/>
                    </a:lnTo>
                    <a:lnTo>
                      <a:pt x="160" y="1414"/>
                    </a:lnTo>
                    <a:lnTo>
                      <a:pt x="157" y="1415"/>
                    </a:lnTo>
                    <a:lnTo>
                      <a:pt x="153" y="1417"/>
                    </a:lnTo>
                    <a:lnTo>
                      <a:pt x="153" y="1414"/>
                    </a:lnTo>
                    <a:lnTo>
                      <a:pt x="153" y="1414"/>
                    </a:lnTo>
                    <a:close/>
                    <a:moveTo>
                      <a:pt x="148" y="1409"/>
                    </a:moveTo>
                    <a:lnTo>
                      <a:pt x="152" y="1405"/>
                    </a:lnTo>
                    <a:lnTo>
                      <a:pt x="153" y="1410"/>
                    </a:lnTo>
                    <a:lnTo>
                      <a:pt x="148" y="1409"/>
                    </a:lnTo>
                    <a:lnTo>
                      <a:pt x="148" y="1409"/>
                    </a:lnTo>
                    <a:close/>
                    <a:moveTo>
                      <a:pt x="122" y="1312"/>
                    </a:moveTo>
                    <a:lnTo>
                      <a:pt x="122" y="1319"/>
                    </a:lnTo>
                    <a:lnTo>
                      <a:pt x="123" y="1316"/>
                    </a:lnTo>
                    <a:lnTo>
                      <a:pt x="122" y="1312"/>
                    </a:lnTo>
                    <a:lnTo>
                      <a:pt x="122" y="1312"/>
                    </a:lnTo>
                    <a:close/>
                    <a:moveTo>
                      <a:pt x="133" y="1359"/>
                    </a:moveTo>
                    <a:lnTo>
                      <a:pt x="133" y="1354"/>
                    </a:lnTo>
                    <a:lnTo>
                      <a:pt x="135" y="1354"/>
                    </a:lnTo>
                    <a:lnTo>
                      <a:pt x="137" y="1355"/>
                    </a:lnTo>
                    <a:lnTo>
                      <a:pt x="135" y="1359"/>
                    </a:lnTo>
                    <a:lnTo>
                      <a:pt x="133" y="1359"/>
                    </a:lnTo>
                    <a:lnTo>
                      <a:pt x="133" y="1359"/>
                    </a:lnTo>
                    <a:close/>
                    <a:moveTo>
                      <a:pt x="133" y="1372"/>
                    </a:moveTo>
                    <a:lnTo>
                      <a:pt x="130" y="1375"/>
                    </a:lnTo>
                    <a:lnTo>
                      <a:pt x="130" y="1379"/>
                    </a:lnTo>
                    <a:lnTo>
                      <a:pt x="132" y="1382"/>
                    </a:lnTo>
                    <a:lnTo>
                      <a:pt x="133" y="1375"/>
                    </a:lnTo>
                    <a:lnTo>
                      <a:pt x="133" y="1372"/>
                    </a:lnTo>
                    <a:lnTo>
                      <a:pt x="133" y="1372"/>
                    </a:lnTo>
                    <a:close/>
                    <a:moveTo>
                      <a:pt x="137" y="1367"/>
                    </a:moveTo>
                    <a:lnTo>
                      <a:pt x="140" y="1362"/>
                    </a:lnTo>
                    <a:lnTo>
                      <a:pt x="138" y="1359"/>
                    </a:lnTo>
                    <a:lnTo>
                      <a:pt x="132" y="1362"/>
                    </a:lnTo>
                    <a:lnTo>
                      <a:pt x="132" y="1367"/>
                    </a:lnTo>
                    <a:lnTo>
                      <a:pt x="133" y="1367"/>
                    </a:lnTo>
                    <a:lnTo>
                      <a:pt x="133" y="1367"/>
                    </a:lnTo>
                    <a:lnTo>
                      <a:pt x="137" y="1367"/>
                    </a:lnTo>
                    <a:lnTo>
                      <a:pt x="137" y="1367"/>
                    </a:lnTo>
                    <a:close/>
                    <a:moveTo>
                      <a:pt x="142" y="1362"/>
                    </a:moveTo>
                    <a:lnTo>
                      <a:pt x="147" y="1355"/>
                    </a:lnTo>
                    <a:lnTo>
                      <a:pt x="150" y="1355"/>
                    </a:lnTo>
                    <a:lnTo>
                      <a:pt x="153" y="1350"/>
                    </a:lnTo>
                    <a:lnTo>
                      <a:pt x="160" y="1349"/>
                    </a:lnTo>
                    <a:lnTo>
                      <a:pt x="160" y="1350"/>
                    </a:lnTo>
                    <a:lnTo>
                      <a:pt x="153" y="1357"/>
                    </a:lnTo>
                    <a:lnTo>
                      <a:pt x="148" y="1357"/>
                    </a:lnTo>
                    <a:lnTo>
                      <a:pt x="143" y="1362"/>
                    </a:lnTo>
                    <a:lnTo>
                      <a:pt x="142" y="1362"/>
                    </a:lnTo>
                    <a:lnTo>
                      <a:pt x="142" y="1362"/>
                    </a:lnTo>
                    <a:close/>
                    <a:moveTo>
                      <a:pt x="137" y="1339"/>
                    </a:moveTo>
                    <a:lnTo>
                      <a:pt x="137" y="1334"/>
                    </a:lnTo>
                    <a:lnTo>
                      <a:pt x="140" y="1330"/>
                    </a:lnTo>
                    <a:lnTo>
                      <a:pt x="142" y="1334"/>
                    </a:lnTo>
                    <a:lnTo>
                      <a:pt x="140" y="1335"/>
                    </a:lnTo>
                    <a:lnTo>
                      <a:pt x="140" y="1337"/>
                    </a:lnTo>
                    <a:lnTo>
                      <a:pt x="137" y="1339"/>
                    </a:lnTo>
                    <a:lnTo>
                      <a:pt x="137" y="1339"/>
                    </a:lnTo>
                    <a:close/>
                    <a:moveTo>
                      <a:pt x="127" y="1337"/>
                    </a:moveTo>
                    <a:lnTo>
                      <a:pt x="133" y="1340"/>
                    </a:lnTo>
                    <a:lnTo>
                      <a:pt x="135" y="1337"/>
                    </a:lnTo>
                    <a:lnTo>
                      <a:pt x="133" y="1335"/>
                    </a:lnTo>
                    <a:lnTo>
                      <a:pt x="127" y="1337"/>
                    </a:lnTo>
                    <a:lnTo>
                      <a:pt x="127" y="1337"/>
                    </a:lnTo>
                    <a:close/>
                    <a:moveTo>
                      <a:pt x="120" y="1324"/>
                    </a:moveTo>
                    <a:lnTo>
                      <a:pt x="120" y="1332"/>
                    </a:lnTo>
                    <a:lnTo>
                      <a:pt x="123" y="1334"/>
                    </a:lnTo>
                    <a:lnTo>
                      <a:pt x="123" y="1337"/>
                    </a:lnTo>
                    <a:lnTo>
                      <a:pt x="125" y="1334"/>
                    </a:lnTo>
                    <a:lnTo>
                      <a:pt x="123" y="1329"/>
                    </a:lnTo>
                    <a:lnTo>
                      <a:pt x="120" y="1324"/>
                    </a:lnTo>
                    <a:lnTo>
                      <a:pt x="120" y="1324"/>
                    </a:lnTo>
                    <a:close/>
                    <a:moveTo>
                      <a:pt x="123" y="1321"/>
                    </a:moveTo>
                    <a:lnTo>
                      <a:pt x="128" y="1321"/>
                    </a:lnTo>
                    <a:lnTo>
                      <a:pt x="127" y="1324"/>
                    </a:lnTo>
                    <a:lnTo>
                      <a:pt x="127" y="1327"/>
                    </a:lnTo>
                    <a:lnTo>
                      <a:pt x="130" y="1327"/>
                    </a:lnTo>
                    <a:lnTo>
                      <a:pt x="135" y="1324"/>
                    </a:lnTo>
                    <a:lnTo>
                      <a:pt x="133" y="1329"/>
                    </a:lnTo>
                    <a:lnTo>
                      <a:pt x="133" y="1332"/>
                    </a:lnTo>
                    <a:lnTo>
                      <a:pt x="138" y="1329"/>
                    </a:lnTo>
                    <a:lnTo>
                      <a:pt x="140" y="1317"/>
                    </a:lnTo>
                    <a:lnTo>
                      <a:pt x="133" y="1316"/>
                    </a:lnTo>
                    <a:lnTo>
                      <a:pt x="128" y="1316"/>
                    </a:lnTo>
                    <a:lnTo>
                      <a:pt x="123" y="1321"/>
                    </a:lnTo>
                    <a:lnTo>
                      <a:pt x="123" y="1321"/>
                    </a:lnTo>
                    <a:close/>
                    <a:moveTo>
                      <a:pt x="123" y="1311"/>
                    </a:moveTo>
                    <a:lnTo>
                      <a:pt x="127" y="1314"/>
                    </a:lnTo>
                    <a:lnTo>
                      <a:pt x="128" y="1312"/>
                    </a:lnTo>
                    <a:lnTo>
                      <a:pt x="127" y="1309"/>
                    </a:lnTo>
                    <a:lnTo>
                      <a:pt x="123" y="1311"/>
                    </a:lnTo>
                    <a:lnTo>
                      <a:pt x="123" y="1311"/>
                    </a:lnTo>
                    <a:close/>
                    <a:moveTo>
                      <a:pt x="133" y="1304"/>
                    </a:moveTo>
                    <a:lnTo>
                      <a:pt x="135" y="1299"/>
                    </a:lnTo>
                    <a:lnTo>
                      <a:pt x="140" y="1296"/>
                    </a:lnTo>
                    <a:lnTo>
                      <a:pt x="142" y="1296"/>
                    </a:lnTo>
                    <a:lnTo>
                      <a:pt x="140" y="1301"/>
                    </a:lnTo>
                    <a:lnTo>
                      <a:pt x="137" y="1302"/>
                    </a:lnTo>
                    <a:lnTo>
                      <a:pt x="133" y="1304"/>
                    </a:lnTo>
                    <a:lnTo>
                      <a:pt x="133" y="1304"/>
                    </a:lnTo>
                    <a:close/>
                    <a:moveTo>
                      <a:pt x="103" y="1291"/>
                    </a:moveTo>
                    <a:lnTo>
                      <a:pt x="113" y="1302"/>
                    </a:lnTo>
                    <a:lnTo>
                      <a:pt x="117" y="1307"/>
                    </a:lnTo>
                    <a:lnTo>
                      <a:pt x="115" y="1312"/>
                    </a:lnTo>
                    <a:lnTo>
                      <a:pt x="112" y="1311"/>
                    </a:lnTo>
                    <a:lnTo>
                      <a:pt x="112" y="1306"/>
                    </a:lnTo>
                    <a:lnTo>
                      <a:pt x="105" y="1299"/>
                    </a:lnTo>
                    <a:lnTo>
                      <a:pt x="102" y="1294"/>
                    </a:lnTo>
                    <a:lnTo>
                      <a:pt x="102" y="1294"/>
                    </a:lnTo>
                    <a:lnTo>
                      <a:pt x="103" y="1291"/>
                    </a:lnTo>
                    <a:lnTo>
                      <a:pt x="103" y="1291"/>
                    </a:lnTo>
                    <a:close/>
                    <a:moveTo>
                      <a:pt x="113" y="1287"/>
                    </a:moveTo>
                    <a:lnTo>
                      <a:pt x="113" y="1292"/>
                    </a:lnTo>
                    <a:lnTo>
                      <a:pt x="117" y="1297"/>
                    </a:lnTo>
                    <a:lnTo>
                      <a:pt x="118" y="1304"/>
                    </a:lnTo>
                    <a:lnTo>
                      <a:pt x="123" y="1307"/>
                    </a:lnTo>
                    <a:lnTo>
                      <a:pt x="123" y="1301"/>
                    </a:lnTo>
                    <a:lnTo>
                      <a:pt x="118" y="1292"/>
                    </a:lnTo>
                    <a:lnTo>
                      <a:pt x="117" y="1286"/>
                    </a:lnTo>
                    <a:lnTo>
                      <a:pt x="115" y="1286"/>
                    </a:lnTo>
                    <a:lnTo>
                      <a:pt x="113" y="1287"/>
                    </a:lnTo>
                    <a:lnTo>
                      <a:pt x="113" y="1287"/>
                    </a:lnTo>
                    <a:close/>
                    <a:moveTo>
                      <a:pt x="105" y="1281"/>
                    </a:moveTo>
                    <a:lnTo>
                      <a:pt x="112" y="1281"/>
                    </a:lnTo>
                    <a:lnTo>
                      <a:pt x="112" y="1282"/>
                    </a:lnTo>
                    <a:lnTo>
                      <a:pt x="115" y="1282"/>
                    </a:lnTo>
                    <a:lnTo>
                      <a:pt x="118" y="1277"/>
                    </a:lnTo>
                    <a:lnTo>
                      <a:pt x="113" y="1276"/>
                    </a:lnTo>
                    <a:lnTo>
                      <a:pt x="107" y="1277"/>
                    </a:lnTo>
                    <a:lnTo>
                      <a:pt x="105" y="1281"/>
                    </a:lnTo>
                    <a:lnTo>
                      <a:pt x="105" y="1281"/>
                    </a:lnTo>
                    <a:close/>
                    <a:moveTo>
                      <a:pt x="54" y="1284"/>
                    </a:moveTo>
                    <a:lnTo>
                      <a:pt x="52" y="1276"/>
                    </a:lnTo>
                    <a:lnTo>
                      <a:pt x="60" y="1264"/>
                    </a:lnTo>
                    <a:lnTo>
                      <a:pt x="67" y="1266"/>
                    </a:lnTo>
                    <a:lnTo>
                      <a:pt x="67" y="1272"/>
                    </a:lnTo>
                    <a:lnTo>
                      <a:pt x="69" y="1271"/>
                    </a:lnTo>
                    <a:lnTo>
                      <a:pt x="72" y="1267"/>
                    </a:lnTo>
                    <a:lnTo>
                      <a:pt x="75" y="1269"/>
                    </a:lnTo>
                    <a:lnTo>
                      <a:pt x="75" y="1272"/>
                    </a:lnTo>
                    <a:lnTo>
                      <a:pt x="75" y="1277"/>
                    </a:lnTo>
                    <a:lnTo>
                      <a:pt x="72" y="1281"/>
                    </a:lnTo>
                    <a:lnTo>
                      <a:pt x="62" y="1284"/>
                    </a:lnTo>
                    <a:lnTo>
                      <a:pt x="65" y="1286"/>
                    </a:lnTo>
                    <a:lnTo>
                      <a:pt x="65" y="1289"/>
                    </a:lnTo>
                    <a:lnTo>
                      <a:pt x="70" y="1287"/>
                    </a:lnTo>
                    <a:lnTo>
                      <a:pt x="74" y="1281"/>
                    </a:lnTo>
                    <a:lnTo>
                      <a:pt x="80" y="1274"/>
                    </a:lnTo>
                    <a:lnTo>
                      <a:pt x="87" y="1271"/>
                    </a:lnTo>
                    <a:lnTo>
                      <a:pt x="90" y="1271"/>
                    </a:lnTo>
                    <a:lnTo>
                      <a:pt x="82" y="1281"/>
                    </a:lnTo>
                    <a:lnTo>
                      <a:pt x="79" y="1287"/>
                    </a:lnTo>
                    <a:lnTo>
                      <a:pt x="75" y="1292"/>
                    </a:lnTo>
                    <a:lnTo>
                      <a:pt x="74" y="1299"/>
                    </a:lnTo>
                    <a:lnTo>
                      <a:pt x="69" y="1302"/>
                    </a:lnTo>
                    <a:lnTo>
                      <a:pt x="65" y="1302"/>
                    </a:lnTo>
                    <a:lnTo>
                      <a:pt x="60" y="1307"/>
                    </a:lnTo>
                    <a:lnTo>
                      <a:pt x="65" y="1307"/>
                    </a:lnTo>
                    <a:lnTo>
                      <a:pt x="69" y="1306"/>
                    </a:lnTo>
                    <a:lnTo>
                      <a:pt x="74" y="1306"/>
                    </a:lnTo>
                    <a:lnTo>
                      <a:pt x="74" y="1311"/>
                    </a:lnTo>
                    <a:lnTo>
                      <a:pt x="67" y="1311"/>
                    </a:lnTo>
                    <a:lnTo>
                      <a:pt x="65" y="1316"/>
                    </a:lnTo>
                    <a:lnTo>
                      <a:pt x="65" y="1321"/>
                    </a:lnTo>
                    <a:lnTo>
                      <a:pt x="65" y="1327"/>
                    </a:lnTo>
                    <a:lnTo>
                      <a:pt x="69" y="1334"/>
                    </a:lnTo>
                    <a:lnTo>
                      <a:pt x="69" y="1340"/>
                    </a:lnTo>
                    <a:lnTo>
                      <a:pt x="72" y="1340"/>
                    </a:lnTo>
                    <a:lnTo>
                      <a:pt x="75" y="1342"/>
                    </a:lnTo>
                    <a:lnTo>
                      <a:pt x="72" y="1345"/>
                    </a:lnTo>
                    <a:lnTo>
                      <a:pt x="65" y="1345"/>
                    </a:lnTo>
                    <a:lnTo>
                      <a:pt x="59" y="1330"/>
                    </a:lnTo>
                    <a:lnTo>
                      <a:pt x="59" y="1324"/>
                    </a:lnTo>
                    <a:lnTo>
                      <a:pt x="59" y="1321"/>
                    </a:lnTo>
                    <a:lnTo>
                      <a:pt x="54" y="1321"/>
                    </a:lnTo>
                    <a:lnTo>
                      <a:pt x="52" y="1317"/>
                    </a:lnTo>
                    <a:lnTo>
                      <a:pt x="54" y="1314"/>
                    </a:lnTo>
                    <a:lnTo>
                      <a:pt x="60" y="1314"/>
                    </a:lnTo>
                    <a:lnTo>
                      <a:pt x="55" y="1309"/>
                    </a:lnTo>
                    <a:lnTo>
                      <a:pt x="52" y="1309"/>
                    </a:lnTo>
                    <a:lnTo>
                      <a:pt x="55" y="1304"/>
                    </a:lnTo>
                    <a:lnTo>
                      <a:pt x="52" y="1301"/>
                    </a:lnTo>
                    <a:lnTo>
                      <a:pt x="52" y="1297"/>
                    </a:lnTo>
                    <a:lnTo>
                      <a:pt x="57" y="1299"/>
                    </a:lnTo>
                    <a:lnTo>
                      <a:pt x="59" y="1299"/>
                    </a:lnTo>
                    <a:lnTo>
                      <a:pt x="59" y="1296"/>
                    </a:lnTo>
                    <a:lnTo>
                      <a:pt x="55" y="1292"/>
                    </a:lnTo>
                    <a:lnTo>
                      <a:pt x="52" y="1292"/>
                    </a:lnTo>
                    <a:lnTo>
                      <a:pt x="50" y="1287"/>
                    </a:lnTo>
                    <a:lnTo>
                      <a:pt x="54" y="1284"/>
                    </a:lnTo>
                    <a:lnTo>
                      <a:pt x="54" y="1284"/>
                    </a:lnTo>
                    <a:close/>
                    <a:moveTo>
                      <a:pt x="112" y="1261"/>
                    </a:moveTo>
                    <a:lnTo>
                      <a:pt x="112" y="1256"/>
                    </a:lnTo>
                    <a:lnTo>
                      <a:pt x="115" y="1254"/>
                    </a:lnTo>
                    <a:lnTo>
                      <a:pt x="115" y="1257"/>
                    </a:lnTo>
                    <a:lnTo>
                      <a:pt x="112" y="1261"/>
                    </a:lnTo>
                    <a:lnTo>
                      <a:pt x="112" y="1261"/>
                    </a:lnTo>
                    <a:close/>
                    <a:moveTo>
                      <a:pt x="605" y="593"/>
                    </a:moveTo>
                    <a:lnTo>
                      <a:pt x="608" y="595"/>
                    </a:lnTo>
                    <a:lnTo>
                      <a:pt x="610" y="595"/>
                    </a:lnTo>
                    <a:lnTo>
                      <a:pt x="610" y="593"/>
                    </a:lnTo>
                    <a:lnTo>
                      <a:pt x="612" y="591"/>
                    </a:lnTo>
                    <a:lnTo>
                      <a:pt x="607" y="591"/>
                    </a:lnTo>
                    <a:lnTo>
                      <a:pt x="605" y="593"/>
                    </a:lnTo>
                    <a:lnTo>
                      <a:pt x="605" y="593"/>
                    </a:lnTo>
                    <a:close/>
                    <a:moveTo>
                      <a:pt x="559" y="551"/>
                    </a:moveTo>
                    <a:lnTo>
                      <a:pt x="562" y="553"/>
                    </a:lnTo>
                    <a:lnTo>
                      <a:pt x="567" y="550"/>
                    </a:lnTo>
                    <a:lnTo>
                      <a:pt x="567" y="545"/>
                    </a:lnTo>
                    <a:lnTo>
                      <a:pt x="560" y="548"/>
                    </a:lnTo>
                    <a:lnTo>
                      <a:pt x="559" y="551"/>
                    </a:lnTo>
                    <a:lnTo>
                      <a:pt x="559" y="551"/>
                    </a:lnTo>
                    <a:close/>
                    <a:moveTo>
                      <a:pt x="388" y="565"/>
                    </a:moveTo>
                    <a:lnTo>
                      <a:pt x="391" y="565"/>
                    </a:lnTo>
                    <a:lnTo>
                      <a:pt x="393" y="561"/>
                    </a:lnTo>
                    <a:lnTo>
                      <a:pt x="391" y="561"/>
                    </a:lnTo>
                    <a:lnTo>
                      <a:pt x="391" y="561"/>
                    </a:lnTo>
                    <a:lnTo>
                      <a:pt x="388" y="565"/>
                    </a:lnTo>
                    <a:lnTo>
                      <a:pt x="388" y="565"/>
                    </a:lnTo>
                    <a:close/>
                    <a:moveTo>
                      <a:pt x="388" y="571"/>
                    </a:moveTo>
                    <a:lnTo>
                      <a:pt x="386" y="570"/>
                    </a:lnTo>
                    <a:lnTo>
                      <a:pt x="389" y="568"/>
                    </a:lnTo>
                    <a:lnTo>
                      <a:pt x="391" y="570"/>
                    </a:lnTo>
                    <a:lnTo>
                      <a:pt x="388" y="571"/>
                    </a:lnTo>
                    <a:lnTo>
                      <a:pt x="388" y="571"/>
                    </a:lnTo>
                    <a:close/>
                    <a:moveTo>
                      <a:pt x="379" y="585"/>
                    </a:moveTo>
                    <a:lnTo>
                      <a:pt x="379" y="591"/>
                    </a:lnTo>
                    <a:lnTo>
                      <a:pt x="376" y="595"/>
                    </a:lnTo>
                    <a:lnTo>
                      <a:pt x="378" y="600"/>
                    </a:lnTo>
                    <a:lnTo>
                      <a:pt x="383" y="600"/>
                    </a:lnTo>
                    <a:lnTo>
                      <a:pt x="386" y="596"/>
                    </a:lnTo>
                    <a:lnTo>
                      <a:pt x="389" y="596"/>
                    </a:lnTo>
                    <a:lnTo>
                      <a:pt x="406" y="585"/>
                    </a:lnTo>
                    <a:lnTo>
                      <a:pt x="412" y="581"/>
                    </a:lnTo>
                    <a:lnTo>
                      <a:pt x="416" y="576"/>
                    </a:lnTo>
                    <a:lnTo>
                      <a:pt x="412" y="576"/>
                    </a:lnTo>
                    <a:lnTo>
                      <a:pt x="411" y="575"/>
                    </a:lnTo>
                    <a:lnTo>
                      <a:pt x="409" y="568"/>
                    </a:lnTo>
                    <a:lnTo>
                      <a:pt x="406" y="568"/>
                    </a:lnTo>
                    <a:lnTo>
                      <a:pt x="402" y="573"/>
                    </a:lnTo>
                    <a:lnTo>
                      <a:pt x="397" y="575"/>
                    </a:lnTo>
                    <a:lnTo>
                      <a:pt x="399" y="578"/>
                    </a:lnTo>
                    <a:lnTo>
                      <a:pt x="396" y="578"/>
                    </a:lnTo>
                    <a:lnTo>
                      <a:pt x="394" y="580"/>
                    </a:lnTo>
                    <a:lnTo>
                      <a:pt x="393" y="583"/>
                    </a:lnTo>
                    <a:lnTo>
                      <a:pt x="389" y="580"/>
                    </a:lnTo>
                    <a:lnTo>
                      <a:pt x="391" y="578"/>
                    </a:lnTo>
                    <a:lnTo>
                      <a:pt x="389" y="575"/>
                    </a:lnTo>
                    <a:lnTo>
                      <a:pt x="386" y="578"/>
                    </a:lnTo>
                    <a:lnTo>
                      <a:pt x="384" y="578"/>
                    </a:lnTo>
                    <a:lnTo>
                      <a:pt x="381" y="581"/>
                    </a:lnTo>
                    <a:lnTo>
                      <a:pt x="379" y="585"/>
                    </a:lnTo>
                    <a:lnTo>
                      <a:pt x="379" y="585"/>
                    </a:lnTo>
                    <a:close/>
                    <a:moveTo>
                      <a:pt x="361" y="598"/>
                    </a:moveTo>
                    <a:lnTo>
                      <a:pt x="363" y="595"/>
                    </a:lnTo>
                    <a:lnTo>
                      <a:pt x="363" y="586"/>
                    </a:lnTo>
                    <a:lnTo>
                      <a:pt x="358" y="590"/>
                    </a:lnTo>
                    <a:lnTo>
                      <a:pt x="358" y="593"/>
                    </a:lnTo>
                    <a:lnTo>
                      <a:pt x="356" y="595"/>
                    </a:lnTo>
                    <a:lnTo>
                      <a:pt x="358" y="596"/>
                    </a:lnTo>
                    <a:lnTo>
                      <a:pt x="358" y="596"/>
                    </a:lnTo>
                    <a:lnTo>
                      <a:pt x="361" y="598"/>
                    </a:lnTo>
                    <a:lnTo>
                      <a:pt x="361" y="598"/>
                    </a:lnTo>
                    <a:close/>
                    <a:moveTo>
                      <a:pt x="363" y="601"/>
                    </a:moveTo>
                    <a:lnTo>
                      <a:pt x="366" y="600"/>
                    </a:lnTo>
                    <a:lnTo>
                      <a:pt x="368" y="596"/>
                    </a:lnTo>
                    <a:lnTo>
                      <a:pt x="364" y="591"/>
                    </a:lnTo>
                    <a:lnTo>
                      <a:pt x="366" y="585"/>
                    </a:lnTo>
                    <a:lnTo>
                      <a:pt x="368" y="581"/>
                    </a:lnTo>
                    <a:lnTo>
                      <a:pt x="371" y="583"/>
                    </a:lnTo>
                    <a:lnTo>
                      <a:pt x="371" y="580"/>
                    </a:lnTo>
                    <a:lnTo>
                      <a:pt x="374" y="580"/>
                    </a:lnTo>
                    <a:lnTo>
                      <a:pt x="376" y="583"/>
                    </a:lnTo>
                    <a:lnTo>
                      <a:pt x="376" y="595"/>
                    </a:lnTo>
                    <a:lnTo>
                      <a:pt x="373" y="598"/>
                    </a:lnTo>
                    <a:lnTo>
                      <a:pt x="374" y="601"/>
                    </a:lnTo>
                    <a:lnTo>
                      <a:pt x="368" y="605"/>
                    </a:lnTo>
                    <a:lnTo>
                      <a:pt x="363" y="601"/>
                    </a:lnTo>
                    <a:lnTo>
                      <a:pt x="363" y="601"/>
                    </a:lnTo>
                    <a:close/>
                    <a:moveTo>
                      <a:pt x="369" y="623"/>
                    </a:moveTo>
                    <a:lnTo>
                      <a:pt x="373" y="620"/>
                    </a:lnTo>
                    <a:lnTo>
                      <a:pt x="369" y="613"/>
                    </a:lnTo>
                    <a:lnTo>
                      <a:pt x="369" y="606"/>
                    </a:lnTo>
                    <a:lnTo>
                      <a:pt x="364" y="606"/>
                    </a:lnTo>
                    <a:lnTo>
                      <a:pt x="358" y="600"/>
                    </a:lnTo>
                    <a:lnTo>
                      <a:pt x="356" y="601"/>
                    </a:lnTo>
                    <a:lnTo>
                      <a:pt x="356" y="603"/>
                    </a:lnTo>
                    <a:lnTo>
                      <a:pt x="364" y="611"/>
                    </a:lnTo>
                    <a:lnTo>
                      <a:pt x="358" y="610"/>
                    </a:lnTo>
                    <a:lnTo>
                      <a:pt x="358" y="613"/>
                    </a:lnTo>
                    <a:lnTo>
                      <a:pt x="363" y="616"/>
                    </a:lnTo>
                    <a:lnTo>
                      <a:pt x="369" y="623"/>
                    </a:lnTo>
                    <a:lnTo>
                      <a:pt x="369" y="623"/>
                    </a:lnTo>
                    <a:close/>
                    <a:moveTo>
                      <a:pt x="316" y="545"/>
                    </a:moveTo>
                    <a:lnTo>
                      <a:pt x="319" y="550"/>
                    </a:lnTo>
                    <a:lnTo>
                      <a:pt x="323" y="548"/>
                    </a:lnTo>
                    <a:lnTo>
                      <a:pt x="326" y="550"/>
                    </a:lnTo>
                    <a:lnTo>
                      <a:pt x="329" y="550"/>
                    </a:lnTo>
                    <a:lnTo>
                      <a:pt x="324" y="543"/>
                    </a:lnTo>
                    <a:lnTo>
                      <a:pt x="319" y="541"/>
                    </a:lnTo>
                    <a:lnTo>
                      <a:pt x="316" y="545"/>
                    </a:lnTo>
                    <a:lnTo>
                      <a:pt x="316" y="545"/>
                    </a:lnTo>
                    <a:close/>
                    <a:moveTo>
                      <a:pt x="215" y="1480"/>
                    </a:moveTo>
                    <a:lnTo>
                      <a:pt x="215" y="1480"/>
                    </a:lnTo>
                    <a:lnTo>
                      <a:pt x="211" y="1478"/>
                    </a:lnTo>
                    <a:lnTo>
                      <a:pt x="210" y="1472"/>
                    </a:lnTo>
                    <a:lnTo>
                      <a:pt x="215" y="1462"/>
                    </a:lnTo>
                    <a:lnTo>
                      <a:pt x="215" y="1457"/>
                    </a:lnTo>
                    <a:lnTo>
                      <a:pt x="213" y="1460"/>
                    </a:lnTo>
                    <a:lnTo>
                      <a:pt x="206" y="1462"/>
                    </a:lnTo>
                    <a:lnTo>
                      <a:pt x="201" y="1465"/>
                    </a:lnTo>
                    <a:lnTo>
                      <a:pt x="196" y="1458"/>
                    </a:lnTo>
                    <a:lnTo>
                      <a:pt x="196" y="1453"/>
                    </a:lnTo>
                    <a:lnTo>
                      <a:pt x="200" y="1455"/>
                    </a:lnTo>
                    <a:lnTo>
                      <a:pt x="201" y="1458"/>
                    </a:lnTo>
                    <a:lnTo>
                      <a:pt x="203" y="1458"/>
                    </a:lnTo>
                    <a:lnTo>
                      <a:pt x="203" y="1457"/>
                    </a:lnTo>
                    <a:lnTo>
                      <a:pt x="201" y="1453"/>
                    </a:lnTo>
                    <a:lnTo>
                      <a:pt x="200" y="1448"/>
                    </a:lnTo>
                    <a:lnTo>
                      <a:pt x="196" y="1448"/>
                    </a:lnTo>
                    <a:lnTo>
                      <a:pt x="193" y="1450"/>
                    </a:lnTo>
                    <a:lnTo>
                      <a:pt x="188" y="1448"/>
                    </a:lnTo>
                    <a:lnTo>
                      <a:pt x="185" y="1443"/>
                    </a:lnTo>
                    <a:lnTo>
                      <a:pt x="185" y="1440"/>
                    </a:lnTo>
                    <a:lnTo>
                      <a:pt x="192" y="1437"/>
                    </a:lnTo>
                    <a:lnTo>
                      <a:pt x="193" y="1432"/>
                    </a:lnTo>
                    <a:lnTo>
                      <a:pt x="196" y="1428"/>
                    </a:lnTo>
                    <a:lnTo>
                      <a:pt x="196" y="1428"/>
                    </a:lnTo>
                    <a:lnTo>
                      <a:pt x="192" y="1428"/>
                    </a:lnTo>
                    <a:lnTo>
                      <a:pt x="187" y="1428"/>
                    </a:lnTo>
                    <a:lnTo>
                      <a:pt x="185" y="1427"/>
                    </a:lnTo>
                    <a:lnTo>
                      <a:pt x="188" y="1424"/>
                    </a:lnTo>
                    <a:lnTo>
                      <a:pt x="193" y="1419"/>
                    </a:lnTo>
                    <a:lnTo>
                      <a:pt x="193" y="1412"/>
                    </a:lnTo>
                    <a:lnTo>
                      <a:pt x="195" y="1410"/>
                    </a:lnTo>
                    <a:lnTo>
                      <a:pt x="195" y="1407"/>
                    </a:lnTo>
                    <a:lnTo>
                      <a:pt x="192" y="1409"/>
                    </a:lnTo>
                    <a:lnTo>
                      <a:pt x="190" y="1412"/>
                    </a:lnTo>
                    <a:lnTo>
                      <a:pt x="188" y="1419"/>
                    </a:lnTo>
                    <a:lnTo>
                      <a:pt x="183" y="1425"/>
                    </a:lnTo>
                    <a:lnTo>
                      <a:pt x="180" y="1427"/>
                    </a:lnTo>
                    <a:lnTo>
                      <a:pt x="178" y="1425"/>
                    </a:lnTo>
                    <a:lnTo>
                      <a:pt x="175" y="1424"/>
                    </a:lnTo>
                    <a:lnTo>
                      <a:pt x="175" y="1422"/>
                    </a:lnTo>
                    <a:lnTo>
                      <a:pt x="177" y="1420"/>
                    </a:lnTo>
                    <a:lnTo>
                      <a:pt x="177" y="1417"/>
                    </a:lnTo>
                    <a:lnTo>
                      <a:pt x="173" y="1420"/>
                    </a:lnTo>
                    <a:lnTo>
                      <a:pt x="172" y="1422"/>
                    </a:lnTo>
                    <a:lnTo>
                      <a:pt x="170" y="1422"/>
                    </a:lnTo>
                    <a:lnTo>
                      <a:pt x="168" y="1420"/>
                    </a:lnTo>
                    <a:lnTo>
                      <a:pt x="165" y="1420"/>
                    </a:lnTo>
                    <a:lnTo>
                      <a:pt x="163" y="1422"/>
                    </a:lnTo>
                    <a:lnTo>
                      <a:pt x="160" y="1420"/>
                    </a:lnTo>
                    <a:lnTo>
                      <a:pt x="160" y="1420"/>
                    </a:lnTo>
                    <a:lnTo>
                      <a:pt x="163" y="1417"/>
                    </a:lnTo>
                    <a:lnTo>
                      <a:pt x="167" y="1415"/>
                    </a:lnTo>
                    <a:lnTo>
                      <a:pt x="173" y="1415"/>
                    </a:lnTo>
                    <a:lnTo>
                      <a:pt x="178" y="1410"/>
                    </a:lnTo>
                    <a:lnTo>
                      <a:pt x="182" y="1407"/>
                    </a:lnTo>
                    <a:lnTo>
                      <a:pt x="182" y="1402"/>
                    </a:lnTo>
                    <a:lnTo>
                      <a:pt x="180" y="1405"/>
                    </a:lnTo>
                    <a:lnTo>
                      <a:pt x="177" y="1409"/>
                    </a:lnTo>
                    <a:lnTo>
                      <a:pt x="173" y="1412"/>
                    </a:lnTo>
                    <a:lnTo>
                      <a:pt x="170" y="1414"/>
                    </a:lnTo>
                    <a:lnTo>
                      <a:pt x="163" y="1412"/>
                    </a:lnTo>
                    <a:lnTo>
                      <a:pt x="163" y="1409"/>
                    </a:lnTo>
                    <a:lnTo>
                      <a:pt x="158" y="1409"/>
                    </a:lnTo>
                    <a:lnTo>
                      <a:pt x="158" y="1407"/>
                    </a:lnTo>
                    <a:lnTo>
                      <a:pt x="162" y="1405"/>
                    </a:lnTo>
                    <a:lnTo>
                      <a:pt x="160" y="1404"/>
                    </a:lnTo>
                    <a:lnTo>
                      <a:pt x="153" y="1405"/>
                    </a:lnTo>
                    <a:lnTo>
                      <a:pt x="150" y="1404"/>
                    </a:lnTo>
                    <a:lnTo>
                      <a:pt x="147" y="1404"/>
                    </a:lnTo>
                    <a:lnTo>
                      <a:pt x="145" y="1407"/>
                    </a:lnTo>
                    <a:lnTo>
                      <a:pt x="140" y="1404"/>
                    </a:lnTo>
                    <a:lnTo>
                      <a:pt x="138" y="1400"/>
                    </a:lnTo>
                    <a:lnTo>
                      <a:pt x="140" y="1399"/>
                    </a:lnTo>
                    <a:lnTo>
                      <a:pt x="143" y="1400"/>
                    </a:lnTo>
                    <a:lnTo>
                      <a:pt x="148" y="1402"/>
                    </a:lnTo>
                    <a:lnTo>
                      <a:pt x="153" y="1400"/>
                    </a:lnTo>
                    <a:lnTo>
                      <a:pt x="153" y="1399"/>
                    </a:lnTo>
                    <a:lnTo>
                      <a:pt x="152" y="1399"/>
                    </a:lnTo>
                    <a:lnTo>
                      <a:pt x="145" y="1399"/>
                    </a:lnTo>
                    <a:lnTo>
                      <a:pt x="143" y="1397"/>
                    </a:lnTo>
                    <a:lnTo>
                      <a:pt x="145" y="1395"/>
                    </a:lnTo>
                    <a:lnTo>
                      <a:pt x="148" y="1397"/>
                    </a:lnTo>
                    <a:lnTo>
                      <a:pt x="153" y="1395"/>
                    </a:lnTo>
                    <a:lnTo>
                      <a:pt x="153" y="1394"/>
                    </a:lnTo>
                    <a:lnTo>
                      <a:pt x="148" y="1394"/>
                    </a:lnTo>
                    <a:lnTo>
                      <a:pt x="145" y="1392"/>
                    </a:lnTo>
                    <a:lnTo>
                      <a:pt x="140" y="1394"/>
                    </a:lnTo>
                    <a:lnTo>
                      <a:pt x="137" y="1394"/>
                    </a:lnTo>
                    <a:lnTo>
                      <a:pt x="133" y="1392"/>
                    </a:lnTo>
                    <a:lnTo>
                      <a:pt x="135" y="1389"/>
                    </a:lnTo>
                    <a:lnTo>
                      <a:pt x="140" y="1387"/>
                    </a:lnTo>
                    <a:lnTo>
                      <a:pt x="142" y="1389"/>
                    </a:lnTo>
                    <a:lnTo>
                      <a:pt x="147" y="1389"/>
                    </a:lnTo>
                    <a:lnTo>
                      <a:pt x="150" y="1387"/>
                    </a:lnTo>
                    <a:lnTo>
                      <a:pt x="145" y="1387"/>
                    </a:lnTo>
                    <a:lnTo>
                      <a:pt x="142" y="1385"/>
                    </a:lnTo>
                    <a:lnTo>
                      <a:pt x="135" y="1385"/>
                    </a:lnTo>
                    <a:lnTo>
                      <a:pt x="137" y="1384"/>
                    </a:lnTo>
                    <a:lnTo>
                      <a:pt x="143" y="1382"/>
                    </a:lnTo>
                    <a:lnTo>
                      <a:pt x="145" y="1384"/>
                    </a:lnTo>
                    <a:lnTo>
                      <a:pt x="148" y="1382"/>
                    </a:lnTo>
                    <a:lnTo>
                      <a:pt x="148" y="1380"/>
                    </a:lnTo>
                    <a:lnTo>
                      <a:pt x="148" y="1379"/>
                    </a:lnTo>
                    <a:lnTo>
                      <a:pt x="150" y="1375"/>
                    </a:lnTo>
                    <a:lnTo>
                      <a:pt x="157" y="1375"/>
                    </a:lnTo>
                    <a:lnTo>
                      <a:pt x="162" y="1377"/>
                    </a:lnTo>
                    <a:lnTo>
                      <a:pt x="162" y="1375"/>
                    </a:lnTo>
                    <a:lnTo>
                      <a:pt x="155" y="1374"/>
                    </a:lnTo>
                    <a:lnTo>
                      <a:pt x="153" y="1372"/>
                    </a:lnTo>
                    <a:lnTo>
                      <a:pt x="150" y="1372"/>
                    </a:lnTo>
                    <a:lnTo>
                      <a:pt x="148" y="1375"/>
                    </a:lnTo>
                    <a:lnTo>
                      <a:pt x="143" y="1377"/>
                    </a:lnTo>
                    <a:lnTo>
                      <a:pt x="140" y="1379"/>
                    </a:lnTo>
                    <a:lnTo>
                      <a:pt x="138" y="1377"/>
                    </a:lnTo>
                    <a:lnTo>
                      <a:pt x="138" y="1374"/>
                    </a:lnTo>
                    <a:lnTo>
                      <a:pt x="138" y="1372"/>
                    </a:lnTo>
                    <a:lnTo>
                      <a:pt x="140" y="1367"/>
                    </a:lnTo>
                    <a:lnTo>
                      <a:pt x="147" y="1365"/>
                    </a:lnTo>
                    <a:lnTo>
                      <a:pt x="148" y="1362"/>
                    </a:lnTo>
                    <a:lnTo>
                      <a:pt x="160" y="1355"/>
                    </a:lnTo>
                    <a:lnTo>
                      <a:pt x="163" y="1354"/>
                    </a:lnTo>
                    <a:lnTo>
                      <a:pt x="165" y="1355"/>
                    </a:lnTo>
                    <a:lnTo>
                      <a:pt x="165" y="1362"/>
                    </a:lnTo>
                    <a:lnTo>
                      <a:pt x="168" y="1365"/>
                    </a:lnTo>
                    <a:lnTo>
                      <a:pt x="170" y="1364"/>
                    </a:lnTo>
                    <a:lnTo>
                      <a:pt x="168" y="1359"/>
                    </a:lnTo>
                    <a:lnTo>
                      <a:pt x="168" y="1352"/>
                    </a:lnTo>
                    <a:lnTo>
                      <a:pt x="173" y="1350"/>
                    </a:lnTo>
                    <a:lnTo>
                      <a:pt x="178" y="1350"/>
                    </a:lnTo>
                    <a:lnTo>
                      <a:pt x="173" y="1349"/>
                    </a:lnTo>
                    <a:lnTo>
                      <a:pt x="168" y="1349"/>
                    </a:lnTo>
                    <a:lnTo>
                      <a:pt x="165" y="1350"/>
                    </a:lnTo>
                    <a:lnTo>
                      <a:pt x="163" y="1347"/>
                    </a:lnTo>
                    <a:lnTo>
                      <a:pt x="163" y="1345"/>
                    </a:lnTo>
                    <a:lnTo>
                      <a:pt x="168" y="1344"/>
                    </a:lnTo>
                    <a:lnTo>
                      <a:pt x="173" y="1340"/>
                    </a:lnTo>
                    <a:lnTo>
                      <a:pt x="177" y="1334"/>
                    </a:lnTo>
                    <a:lnTo>
                      <a:pt x="177" y="1332"/>
                    </a:lnTo>
                    <a:lnTo>
                      <a:pt x="175" y="1332"/>
                    </a:lnTo>
                    <a:lnTo>
                      <a:pt x="173" y="1335"/>
                    </a:lnTo>
                    <a:lnTo>
                      <a:pt x="170" y="1339"/>
                    </a:lnTo>
                    <a:lnTo>
                      <a:pt x="165" y="1340"/>
                    </a:lnTo>
                    <a:lnTo>
                      <a:pt x="160" y="1345"/>
                    </a:lnTo>
                    <a:lnTo>
                      <a:pt x="153" y="1350"/>
                    </a:lnTo>
                    <a:lnTo>
                      <a:pt x="147" y="1352"/>
                    </a:lnTo>
                    <a:lnTo>
                      <a:pt x="143" y="1349"/>
                    </a:lnTo>
                    <a:lnTo>
                      <a:pt x="143" y="1345"/>
                    </a:lnTo>
                    <a:lnTo>
                      <a:pt x="148" y="1345"/>
                    </a:lnTo>
                    <a:lnTo>
                      <a:pt x="143" y="1344"/>
                    </a:lnTo>
                    <a:lnTo>
                      <a:pt x="137" y="1347"/>
                    </a:lnTo>
                    <a:lnTo>
                      <a:pt x="135" y="1344"/>
                    </a:lnTo>
                    <a:lnTo>
                      <a:pt x="137" y="1342"/>
                    </a:lnTo>
                    <a:lnTo>
                      <a:pt x="142" y="1339"/>
                    </a:lnTo>
                    <a:lnTo>
                      <a:pt x="147" y="1337"/>
                    </a:lnTo>
                    <a:lnTo>
                      <a:pt x="150" y="1337"/>
                    </a:lnTo>
                    <a:lnTo>
                      <a:pt x="152" y="1335"/>
                    </a:lnTo>
                    <a:lnTo>
                      <a:pt x="152" y="1334"/>
                    </a:lnTo>
                    <a:lnTo>
                      <a:pt x="148" y="1332"/>
                    </a:lnTo>
                    <a:lnTo>
                      <a:pt x="150" y="1330"/>
                    </a:lnTo>
                    <a:lnTo>
                      <a:pt x="152" y="1329"/>
                    </a:lnTo>
                    <a:lnTo>
                      <a:pt x="150" y="1327"/>
                    </a:lnTo>
                    <a:lnTo>
                      <a:pt x="147" y="1329"/>
                    </a:lnTo>
                    <a:lnTo>
                      <a:pt x="143" y="1329"/>
                    </a:lnTo>
                    <a:lnTo>
                      <a:pt x="142" y="1326"/>
                    </a:lnTo>
                    <a:lnTo>
                      <a:pt x="142" y="1316"/>
                    </a:lnTo>
                    <a:lnTo>
                      <a:pt x="140" y="1312"/>
                    </a:lnTo>
                    <a:lnTo>
                      <a:pt x="138" y="1309"/>
                    </a:lnTo>
                    <a:lnTo>
                      <a:pt x="140" y="1306"/>
                    </a:lnTo>
                    <a:lnTo>
                      <a:pt x="147" y="1307"/>
                    </a:lnTo>
                    <a:lnTo>
                      <a:pt x="152" y="1309"/>
                    </a:lnTo>
                    <a:lnTo>
                      <a:pt x="157" y="1309"/>
                    </a:lnTo>
                    <a:lnTo>
                      <a:pt x="163" y="1311"/>
                    </a:lnTo>
                    <a:lnTo>
                      <a:pt x="160" y="1309"/>
                    </a:lnTo>
                    <a:lnTo>
                      <a:pt x="157" y="1307"/>
                    </a:lnTo>
                    <a:lnTo>
                      <a:pt x="152" y="1307"/>
                    </a:lnTo>
                    <a:lnTo>
                      <a:pt x="148" y="1304"/>
                    </a:lnTo>
                    <a:lnTo>
                      <a:pt x="145" y="1301"/>
                    </a:lnTo>
                    <a:lnTo>
                      <a:pt x="145" y="1299"/>
                    </a:lnTo>
                    <a:lnTo>
                      <a:pt x="148" y="1296"/>
                    </a:lnTo>
                    <a:lnTo>
                      <a:pt x="150" y="1294"/>
                    </a:lnTo>
                    <a:lnTo>
                      <a:pt x="153" y="1291"/>
                    </a:lnTo>
                    <a:lnTo>
                      <a:pt x="152" y="1286"/>
                    </a:lnTo>
                    <a:lnTo>
                      <a:pt x="150" y="1286"/>
                    </a:lnTo>
                    <a:lnTo>
                      <a:pt x="147" y="1291"/>
                    </a:lnTo>
                    <a:lnTo>
                      <a:pt x="142" y="1294"/>
                    </a:lnTo>
                    <a:lnTo>
                      <a:pt x="135" y="1296"/>
                    </a:lnTo>
                    <a:lnTo>
                      <a:pt x="130" y="1299"/>
                    </a:lnTo>
                    <a:lnTo>
                      <a:pt x="130" y="1302"/>
                    </a:lnTo>
                    <a:lnTo>
                      <a:pt x="127" y="1302"/>
                    </a:lnTo>
                    <a:lnTo>
                      <a:pt x="123" y="1296"/>
                    </a:lnTo>
                    <a:lnTo>
                      <a:pt x="122" y="1289"/>
                    </a:lnTo>
                    <a:lnTo>
                      <a:pt x="123" y="1277"/>
                    </a:lnTo>
                    <a:lnTo>
                      <a:pt x="125" y="1271"/>
                    </a:lnTo>
                    <a:lnTo>
                      <a:pt x="123" y="1267"/>
                    </a:lnTo>
                    <a:lnTo>
                      <a:pt x="120" y="1267"/>
                    </a:lnTo>
                    <a:lnTo>
                      <a:pt x="120" y="1261"/>
                    </a:lnTo>
                    <a:lnTo>
                      <a:pt x="123" y="1259"/>
                    </a:lnTo>
                    <a:lnTo>
                      <a:pt x="125" y="1261"/>
                    </a:lnTo>
                    <a:lnTo>
                      <a:pt x="128" y="1262"/>
                    </a:lnTo>
                    <a:lnTo>
                      <a:pt x="127" y="1257"/>
                    </a:lnTo>
                    <a:lnTo>
                      <a:pt x="132" y="1254"/>
                    </a:lnTo>
                    <a:lnTo>
                      <a:pt x="133" y="1247"/>
                    </a:lnTo>
                    <a:lnTo>
                      <a:pt x="138" y="1247"/>
                    </a:lnTo>
                    <a:lnTo>
                      <a:pt x="143" y="1247"/>
                    </a:lnTo>
                    <a:lnTo>
                      <a:pt x="145" y="1246"/>
                    </a:lnTo>
                    <a:lnTo>
                      <a:pt x="142" y="1246"/>
                    </a:lnTo>
                    <a:lnTo>
                      <a:pt x="142" y="1244"/>
                    </a:lnTo>
                    <a:lnTo>
                      <a:pt x="148" y="1237"/>
                    </a:lnTo>
                    <a:lnTo>
                      <a:pt x="152" y="1234"/>
                    </a:lnTo>
                    <a:lnTo>
                      <a:pt x="158" y="1229"/>
                    </a:lnTo>
                    <a:lnTo>
                      <a:pt x="158" y="1228"/>
                    </a:lnTo>
                    <a:lnTo>
                      <a:pt x="155" y="1228"/>
                    </a:lnTo>
                    <a:lnTo>
                      <a:pt x="155" y="1226"/>
                    </a:lnTo>
                    <a:lnTo>
                      <a:pt x="148" y="1229"/>
                    </a:lnTo>
                    <a:lnTo>
                      <a:pt x="147" y="1234"/>
                    </a:lnTo>
                    <a:lnTo>
                      <a:pt x="140" y="1242"/>
                    </a:lnTo>
                    <a:lnTo>
                      <a:pt x="138" y="1242"/>
                    </a:lnTo>
                    <a:lnTo>
                      <a:pt x="138" y="1239"/>
                    </a:lnTo>
                    <a:lnTo>
                      <a:pt x="143" y="1232"/>
                    </a:lnTo>
                    <a:lnTo>
                      <a:pt x="145" y="1226"/>
                    </a:lnTo>
                    <a:lnTo>
                      <a:pt x="150" y="1216"/>
                    </a:lnTo>
                    <a:lnTo>
                      <a:pt x="153" y="1211"/>
                    </a:lnTo>
                    <a:lnTo>
                      <a:pt x="152" y="1211"/>
                    </a:lnTo>
                    <a:lnTo>
                      <a:pt x="152" y="1209"/>
                    </a:lnTo>
                    <a:lnTo>
                      <a:pt x="152" y="1206"/>
                    </a:lnTo>
                    <a:lnTo>
                      <a:pt x="153" y="1204"/>
                    </a:lnTo>
                    <a:lnTo>
                      <a:pt x="153" y="1203"/>
                    </a:lnTo>
                    <a:lnTo>
                      <a:pt x="155" y="1201"/>
                    </a:lnTo>
                    <a:lnTo>
                      <a:pt x="153" y="1199"/>
                    </a:lnTo>
                    <a:lnTo>
                      <a:pt x="150" y="1198"/>
                    </a:lnTo>
                    <a:lnTo>
                      <a:pt x="150" y="1193"/>
                    </a:lnTo>
                    <a:lnTo>
                      <a:pt x="148" y="1189"/>
                    </a:lnTo>
                    <a:lnTo>
                      <a:pt x="143" y="1186"/>
                    </a:lnTo>
                    <a:lnTo>
                      <a:pt x="140" y="1183"/>
                    </a:lnTo>
                    <a:lnTo>
                      <a:pt x="138" y="1181"/>
                    </a:lnTo>
                    <a:lnTo>
                      <a:pt x="133" y="1174"/>
                    </a:lnTo>
                    <a:lnTo>
                      <a:pt x="130" y="1174"/>
                    </a:lnTo>
                    <a:lnTo>
                      <a:pt x="127" y="1174"/>
                    </a:lnTo>
                    <a:lnTo>
                      <a:pt x="127" y="1173"/>
                    </a:lnTo>
                    <a:lnTo>
                      <a:pt x="128" y="1169"/>
                    </a:lnTo>
                    <a:lnTo>
                      <a:pt x="127" y="1166"/>
                    </a:lnTo>
                    <a:lnTo>
                      <a:pt x="125" y="1164"/>
                    </a:lnTo>
                    <a:lnTo>
                      <a:pt x="125" y="1163"/>
                    </a:lnTo>
                    <a:lnTo>
                      <a:pt x="127" y="1161"/>
                    </a:lnTo>
                    <a:lnTo>
                      <a:pt x="128" y="1159"/>
                    </a:lnTo>
                    <a:lnTo>
                      <a:pt x="128" y="1158"/>
                    </a:lnTo>
                    <a:lnTo>
                      <a:pt x="125" y="1156"/>
                    </a:lnTo>
                    <a:lnTo>
                      <a:pt x="123" y="1156"/>
                    </a:lnTo>
                    <a:lnTo>
                      <a:pt x="123" y="1153"/>
                    </a:lnTo>
                    <a:lnTo>
                      <a:pt x="127" y="1151"/>
                    </a:lnTo>
                    <a:lnTo>
                      <a:pt x="125" y="1134"/>
                    </a:lnTo>
                    <a:lnTo>
                      <a:pt x="127" y="1120"/>
                    </a:lnTo>
                    <a:lnTo>
                      <a:pt x="128" y="1106"/>
                    </a:lnTo>
                    <a:lnTo>
                      <a:pt x="127" y="1103"/>
                    </a:lnTo>
                    <a:lnTo>
                      <a:pt x="125" y="1100"/>
                    </a:lnTo>
                    <a:lnTo>
                      <a:pt x="128" y="1095"/>
                    </a:lnTo>
                    <a:lnTo>
                      <a:pt x="127" y="1091"/>
                    </a:lnTo>
                    <a:lnTo>
                      <a:pt x="125" y="1088"/>
                    </a:lnTo>
                    <a:lnTo>
                      <a:pt x="123" y="1080"/>
                    </a:lnTo>
                    <a:lnTo>
                      <a:pt x="118" y="1075"/>
                    </a:lnTo>
                    <a:lnTo>
                      <a:pt x="117" y="1066"/>
                    </a:lnTo>
                    <a:lnTo>
                      <a:pt x="118" y="1063"/>
                    </a:lnTo>
                    <a:lnTo>
                      <a:pt x="113" y="1050"/>
                    </a:lnTo>
                    <a:lnTo>
                      <a:pt x="115" y="1046"/>
                    </a:lnTo>
                    <a:lnTo>
                      <a:pt x="118" y="1041"/>
                    </a:lnTo>
                    <a:lnTo>
                      <a:pt x="117" y="1038"/>
                    </a:lnTo>
                    <a:lnTo>
                      <a:pt x="117" y="1033"/>
                    </a:lnTo>
                    <a:lnTo>
                      <a:pt x="112" y="1030"/>
                    </a:lnTo>
                    <a:lnTo>
                      <a:pt x="103" y="1030"/>
                    </a:lnTo>
                    <a:lnTo>
                      <a:pt x="95" y="1033"/>
                    </a:lnTo>
                    <a:lnTo>
                      <a:pt x="94" y="1033"/>
                    </a:lnTo>
                    <a:lnTo>
                      <a:pt x="85" y="1036"/>
                    </a:lnTo>
                    <a:lnTo>
                      <a:pt x="80" y="1041"/>
                    </a:lnTo>
                    <a:lnTo>
                      <a:pt x="74" y="1050"/>
                    </a:lnTo>
                    <a:lnTo>
                      <a:pt x="67" y="1053"/>
                    </a:lnTo>
                    <a:lnTo>
                      <a:pt x="59" y="1055"/>
                    </a:lnTo>
                    <a:lnTo>
                      <a:pt x="50" y="1055"/>
                    </a:lnTo>
                    <a:lnTo>
                      <a:pt x="49" y="1056"/>
                    </a:lnTo>
                    <a:lnTo>
                      <a:pt x="49" y="1053"/>
                    </a:lnTo>
                    <a:lnTo>
                      <a:pt x="52" y="1046"/>
                    </a:lnTo>
                    <a:lnTo>
                      <a:pt x="50" y="1041"/>
                    </a:lnTo>
                    <a:lnTo>
                      <a:pt x="44" y="1017"/>
                    </a:lnTo>
                    <a:lnTo>
                      <a:pt x="39" y="1005"/>
                    </a:lnTo>
                    <a:lnTo>
                      <a:pt x="37" y="998"/>
                    </a:lnTo>
                    <a:lnTo>
                      <a:pt x="42" y="990"/>
                    </a:lnTo>
                    <a:lnTo>
                      <a:pt x="30" y="988"/>
                    </a:lnTo>
                    <a:lnTo>
                      <a:pt x="20" y="993"/>
                    </a:lnTo>
                    <a:lnTo>
                      <a:pt x="15" y="990"/>
                    </a:lnTo>
                    <a:lnTo>
                      <a:pt x="0" y="990"/>
                    </a:lnTo>
                    <a:lnTo>
                      <a:pt x="281" y="527"/>
                    </a:lnTo>
                    <a:lnTo>
                      <a:pt x="281" y="530"/>
                    </a:lnTo>
                    <a:lnTo>
                      <a:pt x="285" y="530"/>
                    </a:lnTo>
                    <a:lnTo>
                      <a:pt x="298" y="538"/>
                    </a:lnTo>
                    <a:lnTo>
                      <a:pt x="303" y="540"/>
                    </a:lnTo>
                    <a:lnTo>
                      <a:pt x="306" y="543"/>
                    </a:lnTo>
                    <a:lnTo>
                      <a:pt x="308" y="546"/>
                    </a:lnTo>
                    <a:lnTo>
                      <a:pt x="309" y="545"/>
                    </a:lnTo>
                    <a:lnTo>
                      <a:pt x="314" y="548"/>
                    </a:lnTo>
                    <a:lnTo>
                      <a:pt x="314" y="553"/>
                    </a:lnTo>
                    <a:lnTo>
                      <a:pt x="321" y="558"/>
                    </a:lnTo>
                    <a:lnTo>
                      <a:pt x="319" y="560"/>
                    </a:lnTo>
                    <a:lnTo>
                      <a:pt x="319" y="561"/>
                    </a:lnTo>
                    <a:lnTo>
                      <a:pt x="318" y="566"/>
                    </a:lnTo>
                    <a:lnTo>
                      <a:pt x="319" y="571"/>
                    </a:lnTo>
                    <a:lnTo>
                      <a:pt x="323" y="573"/>
                    </a:lnTo>
                    <a:lnTo>
                      <a:pt x="324" y="570"/>
                    </a:lnTo>
                    <a:lnTo>
                      <a:pt x="324" y="571"/>
                    </a:lnTo>
                    <a:lnTo>
                      <a:pt x="326" y="578"/>
                    </a:lnTo>
                    <a:lnTo>
                      <a:pt x="328" y="585"/>
                    </a:lnTo>
                    <a:lnTo>
                      <a:pt x="334" y="591"/>
                    </a:lnTo>
                    <a:lnTo>
                      <a:pt x="339" y="595"/>
                    </a:lnTo>
                    <a:lnTo>
                      <a:pt x="341" y="593"/>
                    </a:lnTo>
                    <a:lnTo>
                      <a:pt x="344" y="595"/>
                    </a:lnTo>
                    <a:lnTo>
                      <a:pt x="344" y="600"/>
                    </a:lnTo>
                    <a:lnTo>
                      <a:pt x="348" y="600"/>
                    </a:lnTo>
                    <a:lnTo>
                      <a:pt x="349" y="600"/>
                    </a:lnTo>
                    <a:lnTo>
                      <a:pt x="354" y="606"/>
                    </a:lnTo>
                    <a:lnTo>
                      <a:pt x="354" y="613"/>
                    </a:lnTo>
                    <a:lnTo>
                      <a:pt x="358" y="613"/>
                    </a:lnTo>
                    <a:lnTo>
                      <a:pt x="359" y="616"/>
                    </a:lnTo>
                    <a:lnTo>
                      <a:pt x="363" y="616"/>
                    </a:lnTo>
                    <a:lnTo>
                      <a:pt x="369" y="623"/>
                    </a:lnTo>
                    <a:lnTo>
                      <a:pt x="369" y="626"/>
                    </a:lnTo>
                    <a:lnTo>
                      <a:pt x="371" y="628"/>
                    </a:lnTo>
                    <a:lnTo>
                      <a:pt x="371" y="631"/>
                    </a:lnTo>
                    <a:lnTo>
                      <a:pt x="366" y="636"/>
                    </a:lnTo>
                    <a:lnTo>
                      <a:pt x="363" y="639"/>
                    </a:lnTo>
                    <a:lnTo>
                      <a:pt x="373" y="633"/>
                    </a:lnTo>
                    <a:lnTo>
                      <a:pt x="376" y="630"/>
                    </a:lnTo>
                    <a:lnTo>
                      <a:pt x="379" y="631"/>
                    </a:lnTo>
                    <a:lnTo>
                      <a:pt x="379" y="625"/>
                    </a:lnTo>
                    <a:lnTo>
                      <a:pt x="379" y="613"/>
                    </a:lnTo>
                    <a:lnTo>
                      <a:pt x="379" y="606"/>
                    </a:lnTo>
                    <a:lnTo>
                      <a:pt x="383" y="601"/>
                    </a:lnTo>
                    <a:lnTo>
                      <a:pt x="389" y="600"/>
                    </a:lnTo>
                    <a:lnTo>
                      <a:pt x="396" y="596"/>
                    </a:lnTo>
                    <a:lnTo>
                      <a:pt x="401" y="593"/>
                    </a:lnTo>
                    <a:lnTo>
                      <a:pt x="404" y="591"/>
                    </a:lnTo>
                    <a:lnTo>
                      <a:pt x="407" y="590"/>
                    </a:lnTo>
                    <a:lnTo>
                      <a:pt x="411" y="590"/>
                    </a:lnTo>
                    <a:lnTo>
                      <a:pt x="414" y="588"/>
                    </a:lnTo>
                    <a:lnTo>
                      <a:pt x="419" y="588"/>
                    </a:lnTo>
                    <a:lnTo>
                      <a:pt x="421" y="588"/>
                    </a:lnTo>
                    <a:lnTo>
                      <a:pt x="426" y="588"/>
                    </a:lnTo>
                    <a:lnTo>
                      <a:pt x="427" y="590"/>
                    </a:lnTo>
                    <a:lnTo>
                      <a:pt x="434" y="583"/>
                    </a:lnTo>
                    <a:lnTo>
                      <a:pt x="436" y="578"/>
                    </a:lnTo>
                    <a:lnTo>
                      <a:pt x="439" y="578"/>
                    </a:lnTo>
                    <a:lnTo>
                      <a:pt x="444" y="580"/>
                    </a:lnTo>
                    <a:lnTo>
                      <a:pt x="446" y="578"/>
                    </a:lnTo>
                    <a:lnTo>
                      <a:pt x="446" y="576"/>
                    </a:lnTo>
                    <a:lnTo>
                      <a:pt x="449" y="576"/>
                    </a:lnTo>
                    <a:lnTo>
                      <a:pt x="451" y="578"/>
                    </a:lnTo>
                    <a:lnTo>
                      <a:pt x="464" y="576"/>
                    </a:lnTo>
                    <a:lnTo>
                      <a:pt x="476" y="573"/>
                    </a:lnTo>
                    <a:lnTo>
                      <a:pt x="481" y="571"/>
                    </a:lnTo>
                    <a:lnTo>
                      <a:pt x="482" y="571"/>
                    </a:lnTo>
                    <a:lnTo>
                      <a:pt x="486" y="575"/>
                    </a:lnTo>
                    <a:lnTo>
                      <a:pt x="489" y="573"/>
                    </a:lnTo>
                    <a:lnTo>
                      <a:pt x="491" y="568"/>
                    </a:lnTo>
                    <a:lnTo>
                      <a:pt x="497" y="565"/>
                    </a:lnTo>
                    <a:lnTo>
                      <a:pt x="502" y="565"/>
                    </a:lnTo>
                    <a:lnTo>
                      <a:pt x="504" y="566"/>
                    </a:lnTo>
                    <a:lnTo>
                      <a:pt x="507" y="566"/>
                    </a:lnTo>
                    <a:lnTo>
                      <a:pt x="507" y="570"/>
                    </a:lnTo>
                    <a:lnTo>
                      <a:pt x="512" y="568"/>
                    </a:lnTo>
                    <a:lnTo>
                      <a:pt x="512" y="565"/>
                    </a:lnTo>
                    <a:lnTo>
                      <a:pt x="514" y="563"/>
                    </a:lnTo>
                    <a:lnTo>
                      <a:pt x="517" y="565"/>
                    </a:lnTo>
                    <a:lnTo>
                      <a:pt x="517" y="570"/>
                    </a:lnTo>
                    <a:lnTo>
                      <a:pt x="520" y="571"/>
                    </a:lnTo>
                    <a:lnTo>
                      <a:pt x="517" y="573"/>
                    </a:lnTo>
                    <a:lnTo>
                      <a:pt x="515" y="573"/>
                    </a:lnTo>
                    <a:lnTo>
                      <a:pt x="514" y="578"/>
                    </a:lnTo>
                    <a:lnTo>
                      <a:pt x="504" y="580"/>
                    </a:lnTo>
                    <a:lnTo>
                      <a:pt x="494" y="583"/>
                    </a:lnTo>
                    <a:lnTo>
                      <a:pt x="491" y="586"/>
                    </a:lnTo>
                    <a:lnTo>
                      <a:pt x="486" y="588"/>
                    </a:lnTo>
                    <a:lnTo>
                      <a:pt x="481" y="588"/>
                    </a:lnTo>
                    <a:lnTo>
                      <a:pt x="477" y="590"/>
                    </a:lnTo>
                    <a:lnTo>
                      <a:pt x="476" y="590"/>
                    </a:lnTo>
                    <a:lnTo>
                      <a:pt x="474" y="586"/>
                    </a:lnTo>
                    <a:lnTo>
                      <a:pt x="466" y="590"/>
                    </a:lnTo>
                    <a:lnTo>
                      <a:pt x="459" y="590"/>
                    </a:lnTo>
                    <a:lnTo>
                      <a:pt x="457" y="591"/>
                    </a:lnTo>
                    <a:lnTo>
                      <a:pt x="449" y="591"/>
                    </a:lnTo>
                    <a:lnTo>
                      <a:pt x="444" y="593"/>
                    </a:lnTo>
                    <a:lnTo>
                      <a:pt x="441" y="598"/>
                    </a:lnTo>
                    <a:lnTo>
                      <a:pt x="429" y="601"/>
                    </a:lnTo>
                    <a:lnTo>
                      <a:pt x="427" y="600"/>
                    </a:lnTo>
                    <a:lnTo>
                      <a:pt x="422" y="605"/>
                    </a:lnTo>
                    <a:lnTo>
                      <a:pt x="421" y="606"/>
                    </a:lnTo>
                    <a:lnTo>
                      <a:pt x="417" y="608"/>
                    </a:lnTo>
                    <a:lnTo>
                      <a:pt x="416" y="606"/>
                    </a:lnTo>
                    <a:lnTo>
                      <a:pt x="411" y="610"/>
                    </a:lnTo>
                    <a:lnTo>
                      <a:pt x="407" y="615"/>
                    </a:lnTo>
                    <a:lnTo>
                      <a:pt x="404" y="615"/>
                    </a:lnTo>
                    <a:lnTo>
                      <a:pt x="402" y="618"/>
                    </a:lnTo>
                    <a:lnTo>
                      <a:pt x="406" y="623"/>
                    </a:lnTo>
                    <a:lnTo>
                      <a:pt x="411" y="625"/>
                    </a:lnTo>
                    <a:lnTo>
                      <a:pt x="406" y="620"/>
                    </a:lnTo>
                    <a:lnTo>
                      <a:pt x="407" y="618"/>
                    </a:lnTo>
                    <a:lnTo>
                      <a:pt x="411" y="620"/>
                    </a:lnTo>
                    <a:lnTo>
                      <a:pt x="414" y="618"/>
                    </a:lnTo>
                    <a:lnTo>
                      <a:pt x="417" y="620"/>
                    </a:lnTo>
                    <a:lnTo>
                      <a:pt x="416" y="616"/>
                    </a:lnTo>
                    <a:lnTo>
                      <a:pt x="422" y="610"/>
                    </a:lnTo>
                    <a:lnTo>
                      <a:pt x="431" y="608"/>
                    </a:lnTo>
                    <a:lnTo>
                      <a:pt x="434" y="608"/>
                    </a:lnTo>
                    <a:lnTo>
                      <a:pt x="447" y="601"/>
                    </a:lnTo>
                    <a:lnTo>
                      <a:pt x="449" y="596"/>
                    </a:lnTo>
                    <a:lnTo>
                      <a:pt x="452" y="596"/>
                    </a:lnTo>
                    <a:lnTo>
                      <a:pt x="456" y="600"/>
                    </a:lnTo>
                    <a:lnTo>
                      <a:pt x="459" y="596"/>
                    </a:lnTo>
                    <a:lnTo>
                      <a:pt x="462" y="596"/>
                    </a:lnTo>
                    <a:lnTo>
                      <a:pt x="462" y="598"/>
                    </a:lnTo>
                    <a:lnTo>
                      <a:pt x="471" y="595"/>
                    </a:lnTo>
                    <a:lnTo>
                      <a:pt x="472" y="596"/>
                    </a:lnTo>
                    <a:lnTo>
                      <a:pt x="466" y="603"/>
                    </a:lnTo>
                    <a:lnTo>
                      <a:pt x="467" y="606"/>
                    </a:lnTo>
                    <a:lnTo>
                      <a:pt x="472" y="600"/>
                    </a:lnTo>
                    <a:lnTo>
                      <a:pt x="479" y="598"/>
                    </a:lnTo>
                    <a:lnTo>
                      <a:pt x="494" y="588"/>
                    </a:lnTo>
                    <a:lnTo>
                      <a:pt x="500" y="588"/>
                    </a:lnTo>
                    <a:lnTo>
                      <a:pt x="507" y="585"/>
                    </a:lnTo>
                    <a:lnTo>
                      <a:pt x="515" y="585"/>
                    </a:lnTo>
                    <a:lnTo>
                      <a:pt x="519" y="583"/>
                    </a:lnTo>
                    <a:lnTo>
                      <a:pt x="524" y="583"/>
                    </a:lnTo>
                    <a:lnTo>
                      <a:pt x="522" y="586"/>
                    </a:lnTo>
                    <a:lnTo>
                      <a:pt x="515" y="590"/>
                    </a:lnTo>
                    <a:lnTo>
                      <a:pt x="515" y="593"/>
                    </a:lnTo>
                    <a:lnTo>
                      <a:pt x="520" y="595"/>
                    </a:lnTo>
                    <a:lnTo>
                      <a:pt x="525" y="590"/>
                    </a:lnTo>
                    <a:lnTo>
                      <a:pt x="537" y="585"/>
                    </a:lnTo>
                    <a:lnTo>
                      <a:pt x="539" y="585"/>
                    </a:lnTo>
                    <a:lnTo>
                      <a:pt x="539" y="581"/>
                    </a:lnTo>
                    <a:lnTo>
                      <a:pt x="544" y="578"/>
                    </a:lnTo>
                    <a:lnTo>
                      <a:pt x="547" y="580"/>
                    </a:lnTo>
                    <a:lnTo>
                      <a:pt x="547" y="576"/>
                    </a:lnTo>
                    <a:lnTo>
                      <a:pt x="549" y="575"/>
                    </a:lnTo>
                    <a:lnTo>
                      <a:pt x="552" y="576"/>
                    </a:lnTo>
                    <a:lnTo>
                      <a:pt x="555" y="578"/>
                    </a:lnTo>
                    <a:lnTo>
                      <a:pt x="557" y="571"/>
                    </a:lnTo>
                    <a:lnTo>
                      <a:pt x="555" y="566"/>
                    </a:lnTo>
                    <a:lnTo>
                      <a:pt x="557" y="565"/>
                    </a:lnTo>
                    <a:lnTo>
                      <a:pt x="555" y="561"/>
                    </a:lnTo>
                    <a:lnTo>
                      <a:pt x="559" y="555"/>
                    </a:lnTo>
                    <a:lnTo>
                      <a:pt x="565" y="553"/>
                    </a:lnTo>
                    <a:lnTo>
                      <a:pt x="565" y="558"/>
                    </a:lnTo>
                    <a:lnTo>
                      <a:pt x="567" y="575"/>
                    </a:lnTo>
                    <a:lnTo>
                      <a:pt x="564" y="580"/>
                    </a:lnTo>
                    <a:lnTo>
                      <a:pt x="565" y="593"/>
                    </a:lnTo>
                    <a:lnTo>
                      <a:pt x="560" y="601"/>
                    </a:lnTo>
                    <a:lnTo>
                      <a:pt x="560" y="621"/>
                    </a:lnTo>
                    <a:lnTo>
                      <a:pt x="562" y="626"/>
                    </a:lnTo>
                    <a:lnTo>
                      <a:pt x="569" y="628"/>
                    </a:lnTo>
                    <a:lnTo>
                      <a:pt x="572" y="635"/>
                    </a:lnTo>
                    <a:lnTo>
                      <a:pt x="579" y="631"/>
                    </a:lnTo>
                    <a:lnTo>
                      <a:pt x="577" y="628"/>
                    </a:lnTo>
                    <a:lnTo>
                      <a:pt x="572" y="628"/>
                    </a:lnTo>
                    <a:lnTo>
                      <a:pt x="570" y="625"/>
                    </a:lnTo>
                    <a:lnTo>
                      <a:pt x="575" y="623"/>
                    </a:lnTo>
                    <a:lnTo>
                      <a:pt x="580" y="625"/>
                    </a:lnTo>
                    <a:lnTo>
                      <a:pt x="580" y="620"/>
                    </a:lnTo>
                    <a:lnTo>
                      <a:pt x="579" y="618"/>
                    </a:lnTo>
                    <a:lnTo>
                      <a:pt x="584" y="615"/>
                    </a:lnTo>
                    <a:lnTo>
                      <a:pt x="589" y="615"/>
                    </a:lnTo>
                    <a:lnTo>
                      <a:pt x="590" y="618"/>
                    </a:lnTo>
                    <a:lnTo>
                      <a:pt x="593" y="615"/>
                    </a:lnTo>
                    <a:lnTo>
                      <a:pt x="589" y="606"/>
                    </a:lnTo>
                    <a:lnTo>
                      <a:pt x="593" y="608"/>
                    </a:lnTo>
                    <a:lnTo>
                      <a:pt x="602" y="603"/>
                    </a:lnTo>
                    <a:lnTo>
                      <a:pt x="602" y="598"/>
                    </a:lnTo>
                    <a:lnTo>
                      <a:pt x="608" y="598"/>
                    </a:lnTo>
                    <a:lnTo>
                      <a:pt x="608" y="603"/>
                    </a:lnTo>
                    <a:lnTo>
                      <a:pt x="608" y="606"/>
                    </a:lnTo>
                    <a:lnTo>
                      <a:pt x="605" y="610"/>
                    </a:lnTo>
                    <a:lnTo>
                      <a:pt x="605" y="611"/>
                    </a:lnTo>
                    <a:lnTo>
                      <a:pt x="600" y="616"/>
                    </a:lnTo>
                    <a:lnTo>
                      <a:pt x="600" y="618"/>
                    </a:lnTo>
                    <a:lnTo>
                      <a:pt x="602" y="620"/>
                    </a:lnTo>
                    <a:lnTo>
                      <a:pt x="605" y="620"/>
                    </a:lnTo>
                    <a:lnTo>
                      <a:pt x="607" y="621"/>
                    </a:lnTo>
                    <a:lnTo>
                      <a:pt x="605" y="623"/>
                    </a:lnTo>
                    <a:lnTo>
                      <a:pt x="602" y="625"/>
                    </a:lnTo>
                    <a:lnTo>
                      <a:pt x="597" y="628"/>
                    </a:lnTo>
                    <a:lnTo>
                      <a:pt x="595" y="628"/>
                    </a:lnTo>
                    <a:lnTo>
                      <a:pt x="593" y="630"/>
                    </a:lnTo>
                    <a:lnTo>
                      <a:pt x="589" y="635"/>
                    </a:lnTo>
                    <a:lnTo>
                      <a:pt x="592" y="636"/>
                    </a:lnTo>
                    <a:lnTo>
                      <a:pt x="598" y="638"/>
                    </a:lnTo>
                    <a:lnTo>
                      <a:pt x="603" y="641"/>
                    </a:lnTo>
                    <a:lnTo>
                      <a:pt x="607" y="639"/>
                    </a:lnTo>
                    <a:lnTo>
                      <a:pt x="612" y="636"/>
                    </a:lnTo>
                    <a:lnTo>
                      <a:pt x="617" y="636"/>
                    </a:lnTo>
                    <a:lnTo>
                      <a:pt x="622" y="628"/>
                    </a:lnTo>
                    <a:lnTo>
                      <a:pt x="627" y="623"/>
                    </a:lnTo>
                    <a:lnTo>
                      <a:pt x="632" y="621"/>
                    </a:lnTo>
                    <a:lnTo>
                      <a:pt x="635" y="625"/>
                    </a:lnTo>
                    <a:lnTo>
                      <a:pt x="640" y="625"/>
                    </a:lnTo>
                    <a:lnTo>
                      <a:pt x="643" y="628"/>
                    </a:lnTo>
                    <a:lnTo>
                      <a:pt x="648" y="628"/>
                    </a:lnTo>
                    <a:lnTo>
                      <a:pt x="655" y="631"/>
                    </a:lnTo>
                    <a:lnTo>
                      <a:pt x="658" y="631"/>
                    </a:lnTo>
                    <a:lnTo>
                      <a:pt x="658" y="636"/>
                    </a:lnTo>
                    <a:lnTo>
                      <a:pt x="663" y="646"/>
                    </a:lnTo>
                    <a:lnTo>
                      <a:pt x="663" y="651"/>
                    </a:lnTo>
                    <a:lnTo>
                      <a:pt x="668" y="659"/>
                    </a:lnTo>
                    <a:lnTo>
                      <a:pt x="688" y="671"/>
                    </a:lnTo>
                    <a:lnTo>
                      <a:pt x="690" y="674"/>
                    </a:lnTo>
                    <a:lnTo>
                      <a:pt x="696" y="678"/>
                    </a:lnTo>
                    <a:lnTo>
                      <a:pt x="703" y="684"/>
                    </a:lnTo>
                    <a:lnTo>
                      <a:pt x="705" y="684"/>
                    </a:lnTo>
                    <a:lnTo>
                      <a:pt x="710" y="688"/>
                    </a:lnTo>
                    <a:lnTo>
                      <a:pt x="711" y="691"/>
                    </a:lnTo>
                    <a:lnTo>
                      <a:pt x="715" y="693"/>
                    </a:lnTo>
                    <a:lnTo>
                      <a:pt x="718" y="691"/>
                    </a:lnTo>
                    <a:lnTo>
                      <a:pt x="720" y="694"/>
                    </a:lnTo>
                    <a:lnTo>
                      <a:pt x="726" y="698"/>
                    </a:lnTo>
                    <a:lnTo>
                      <a:pt x="730" y="698"/>
                    </a:lnTo>
                    <a:lnTo>
                      <a:pt x="730" y="703"/>
                    </a:lnTo>
                    <a:lnTo>
                      <a:pt x="733" y="706"/>
                    </a:lnTo>
                    <a:lnTo>
                      <a:pt x="735" y="703"/>
                    </a:lnTo>
                    <a:lnTo>
                      <a:pt x="733" y="699"/>
                    </a:lnTo>
                    <a:lnTo>
                      <a:pt x="735" y="698"/>
                    </a:lnTo>
                    <a:lnTo>
                      <a:pt x="730" y="694"/>
                    </a:lnTo>
                    <a:lnTo>
                      <a:pt x="730" y="691"/>
                    </a:lnTo>
                    <a:lnTo>
                      <a:pt x="736" y="694"/>
                    </a:lnTo>
                    <a:lnTo>
                      <a:pt x="738" y="698"/>
                    </a:lnTo>
                    <a:lnTo>
                      <a:pt x="741" y="698"/>
                    </a:lnTo>
                    <a:lnTo>
                      <a:pt x="741" y="694"/>
                    </a:lnTo>
                    <a:lnTo>
                      <a:pt x="745" y="694"/>
                    </a:lnTo>
                    <a:lnTo>
                      <a:pt x="750" y="699"/>
                    </a:lnTo>
                    <a:lnTo>
                      <a:pt x="751" y="703"/>
                    </a:lnTo>
                    <a:lnTo>
                      <a:pt x="755" y="704"/>
                    </a:lnTo>
                    <a:lnTo>
                      <a:pt x="758" y="709"/>
                    </a:lnTo>
                    <a:lnTo>
                      <a:pt x="760" y="713"/>
                    </a:lnTo>
                    <a:lnTo>
                      <a:pt x="760" y="719"/>
                    </a:lnTo>
                    <a:lnTo>
                      <a:pt x="763" y="724"/>
                    </a:lnTo>
                    <a:lnTo>
                      <a:pt x="760" y="728"/>
                    </a:lnTo>
                    <a:lnTo>
                      <a:pt x="760" y="733"/>
                    </a:lnTo>
                    <a:lnTo>
                      <a:pt x="755" y="737"/>
                    </a:lnTo>
                    <a:lnTo>
                      <a:pt x="745" y="734"/>
                    </a:lnTo>
                    <a:lnTo>
                      <a:pt x="738" y="733"/>
                    </a:lnTo>
                    <a:lnTo>
                      <a:pt x="738" y="736"/>
                    </a:lnTo>
                    <a:lnTo>
                      <a:pt x="736" y="736"/>
                    </a:lnTo>
                    <a:lnTo>
                      <a:pt x="731" y="734"/>
                    </a:lnTo>
                    <a:lnTo>
                      <a:pt x="726" y="734"/>
                    </a:lnTo>
                    <a:lnTo>
                      <a:pt x="728" y="737"/>
                    </a:lnTo>
                    <a:lnTo>
                      <a:pt x="723" y="739"/>
                    </a:lnTo>
                    <a:lnTo>
                      <a:pt x="723" y="744"/>
                    </a:lnTo>
                    <a:lnTo>
                      <a:pt x="718" y="744"/>
                    </a:lnTo>
                    <a:lnTo>
                      <a:pt x="713" y="746"/>
                    </a:lnTo>
                    <a:lnTo>
                      <a:pt x="716" y="747"/>
                    </a:lnTo>
                    <a:lnTo>
                      <a:pt x="720" y="749"/>
                    </a:lnTo>
                    <a:lnTo>
                      <a:pt x="721" y="754"/>
                    </a:lnTo>
                    <a:lnTo>
                      <a:pt x="726" y="757"/>
                    </a:lnTo>
                    <a:lnTo>
                      <a:pt x="728" y="756"/>
                    </a:lnTo>
                    <a:lnTo>
                      <a:pt x="735" y="759"/>
                    </a:lnTo>
                    <a:lnTo>
                      <a:pt x="735" y="764"/>
                    </a:lnTo>
                    <a:lnTo>
                      <a:pt x="741" y="764"/>
                    </a:lnTo>
                    <a:lnTo>
                      <a:pt x="748" y="767"/>
                    </a:lnTo>
                    <a:lnTo>
                      <a:pt x="756" y="767"/>
                    </a:lnTo>
                    <a:lnTo>
                      <a:pt x="766" y="772"/>
                    </a:lnTo>
                    <a:lnTo>
                      <a:pt x="773" y="772"/>
                    </a:lnTo>
                    <a:lnTo>
                      <a:pt x="773" y="771"/>
                    </a:lnTo>
                    <a:lnTo>
                      <a:pt x="776" y="771"/>
                    </a:lnTo>
                    <a:lnTo>
                      <a:pt x="780" y="772"/>
                    </a:lnTo>
                    <a:lnTo>
                      <a:pt x="780" y="776"/>
                    </a:lnTo>
                    <a:lnTo>
                      <a:pt x="786" y="771"/>
                    </a:lnTo>
                    <a:lnTo>
                      <a:pt x="790" y="772"/>
                    </a:lnTo>
                    <a:lnTo>
                      <a:pt x="791" y="772"/>
                    </a:lnTo>
                    <a:lnTo>
                      <a:pt x="794" y="769"/>
                    </a:lnTo>
                    <a:lnTo>
                      <a:pt x="798" y="769"/>
                    </a:lnTo>
                    <a:lnTo>
                      <a:pt x="798" y="771"/>
                    </a:lnTo>
                    <a:lnTo>
                      <a:pt x="799" y="772"/>
                    </a:lnTo>
                    <a:lnTo>
                      <a:pt x="808" y="769"/>
                    </a:lnTo>
                    <a:lnTo>
                      <a:pt x="821" y="764"/>
                    </a:lnTo>
                    <a:lnTo>
                      <a:pt x="824" y="764"/>
                    </a:lnTo>
                    <a:lnTo>
                      <a:pt x="824" y="767"/>
                    </a:lnTo>
                    <a:lnTo>
                      <a:pt x="823" y="771"/>
                    </a:lnTo>
                    <a:lnTo>
                      <a:pt x="823" y="771"/>
                    </a:lnTo>
                    <a:lnTo>
                      <a:pt x="826" y="772"/>
                    </a:lnTo>
                    <a:lnTo>
                      <a:pt x="826" y="776"/>
                    </a:lnTo>
                    <a:lnTo>
                      <a:pt x="824" y="779"/>
                    </a:lnTo>
                    <a:lnTo>
                      <a:pt x="826" y="782"/>
                    </a:lnTo>
                    <a:lnTo>
                      <a:pt x="828" y="782"/>
                    </a:lnTo>
                    <a:lnTo>
                      <a:pt x="831" y="781"/>
                    </a:lnTo>
                    <a:lnTo>
                      <a:pt x="834" y="782"/>
                    </a:lnTo>
                    <a:lnTo>
                      <a:pt x="833" y="786"/>
                    </a:lnTo>
                    <a:lnTo>
                      <a:pt x="829" y="794"/>
                    </a:lnTo>
                    <a:lnTo>
                      <a:pt x="831" y="797"/>
                    </a:lnTo>
                    <a:lnTo>
                      <a:pt x="833" y="799"/>
                    </a:lnTo>
                    <a:lnTo>
                      <a:pt x="836" y="796"/>
                    </a:lnTo>
                    <a:lnTo>
                      <a:pt x="836" y="791"/>
                    </a:lnTo>
                    <a:lnTo>
                      <a:pt x="838" y="787"/>
                    </a:lnTo>
                    <a:lnTo>
                      <a:pt x="839" y="787"/>
                    </a:lnTo>
                    <a:lnTo>
                      <a:pt x="839" y="794"/>
                    </a:lnTo>
                    <a:lnTo>
                      <a:pt x="836" y="801"/>
                    </a:lnTo>
                    <a:lnTo>
                      <a:pt x="833" y="806"/>
                    </a:lnTo>
                    <a:lnTo>
                      <a:pt x="833" y="812"/>
                    </a:lnTo>
                    <a:lnTo>
                      <a:pt x="836" y="817"/>
                    </a:lnTo>
                    <a:lnTo>
                      <a:pt x="836" y="826"/>
                    </a:lnTo>
                    <a:lnTo>
                      <a:pt x="834" y="831"/>
                    </a:lnTo>
                    <a:lnTo>
                      <a:pt x="839" y="834"/>
                    </a:lnTo>
                    <a:lnTo>
                      <a:pt x="839" y="837"/>
                    </a:lnTo>
                    <a:lnTo>
                      <a:pt x="836" y="840"/>
                    </a:lnTo>
                    <a:lnTo>
                      <a:pt x="839" y="842"/>
                    </a:lnTo>
                    <a:lnTo>
                      <a:pt x="841" y="849"/>
                    </a:lnTo>
                    <a:lnTo>
                      <a:pt x="843" y="862"/>
                    </a:lnTo>
                    <a:lnTo>
                      <a:pt x="843" y="849"/>
                    </a:lnTo>
                    <a:lnTo>
                      <a:pt x="839" y="839"/>
                    </a:lnTo>
                    <a:lnTo>
                      <a:pt x="841" y="829"/>
                    </a:lnTo>
                    <a:lnTo>
                      <a:pt x="848" y="819"/>
                    </a:lnTo>
                    <a:lnTo>
                      <a:pt x="851" y="821"/>
                    </a:lnTo>
                    <a:lnTo>
                      <a:pt x="851" y="824"/>
                    </a:lnTo>
                    <a:lnTo>
                      <a:pt x="849" y="824"/>
                    </a:lnTo>
                    <a:lnTo>
                      <a:pt x="848" y="827"/>
                    </a:lnTo>
                    <a:lnTo>
                      <a:pt x="849" y="829"/>
                    </a:lnTo>
                    <a:lnTo>
                      <a:pt x="853" y="827"/>
                    </a:lnTo>
                    <a:lnTo>
                      <a:pt x="854" y="829"/>
                    </a:lnTo>
                    <a:lnTo>
                      <a:pt x="856" y="827"/>
                    </a:lnTo>
                    <a:lnTo>
                      <a:pt x="856" y="822"/>
                    </a:lnTo>
                    <a:lnTo>
                      <a:pt x="853" y="819"/>
                    </a:lnTo>
                    <a:lnTo>
                      <a:pt x="853" y="816"/>
                    </a:lnTo>
                    <a:lnTo>
                      <a:pt x="858" y="816"/>
                    </a:lnTo>
                    <a:lnTo>
                      <a:pt x="859" y="812"/>
                    </a:lnTo>
                    <a:lnTo>
                      <a:pt x="854" y="809"/>
                    </a:lnTo>
                    <a:lnTo>
                      <a:pt x="854" y="806"/>
                    </a:lnTo>
                    <a:lnTo>
                      <a:pt x="858" y="799"/>
                    </a:lnTo>
                    <a:lnTo>
                      <a:pt x="861" y="787"/>
                    </a:lnTo>
                    <a:lnTo>
                      <a:pt x="861" y="784"/>
                    </a:lnTo>
                    <a:lnTo>
                      <a:pt x="861" y="781"/>
                    </a:lnTo>
                    <a:lnTo>
                      <a:pt x="863" y="777"/>
                    </a:lnTo>
                    <a:lnTo>
                      <a:pt x="871" y="777"/>
                    </a:lnTo>
                    <a:lnTo>
                      <a:pt x="871" y="776"/>
                    </a:lnTo>
                    <a:lnTo>
                      <a:pt x="873" y="774"/>
                    </a:lnTo>
                    <a:lnTo>
                      <a:pt x="876" y="772"/>
                    </a:lnTo>
                    <a:lnTo>
                      <a:pt x="878" y="776"/>
                    </a:lnTo>
                    <a:lnTo>
                      <a:pt x="881" y="774"/>
                    </a:lnTo>
                    <a:lnTo>
                      <a:pt x="884" y="771"/>
                    </a:lnTo>
                    <a:lnTo>
                      <a:pt x="888" y="769"/>
                    </a:lnTo>
                    <a:lnTo>
                      <a:pt x="888" y="772"/>
                    </a:lnTo>
                    <a:lnTo>
                      <a:pt x="889" y="772"/>
                    </a:lnTo>
                    <a:lnTo>
                      <a:pt x="894" y="771"/>
                    </a:lnTo>
                    <a:lnTo>
                      <a:pt x="897" y="767"/>
                    </a:lnTo>
                    <a:lnTo>
                      <a:pt x="899" y="767"/>
                    </a:lnTo>
                    <a:lnTo>
                      <a:pt x="901" y="771"/>
                    </a:lnTo>
                    <a:lnTo>
                      <a:pt x="904" y="771"/>
                    </a:lnTo>
                    <a:lnTo>
                      <a:pt x="904" y="776"/>
                    </a:lnTo>
                    <a:lnTo>
                      <a:pt x="904" y="771"/>
                    </a:lnTo>
                    <a:lnTo>
                      <a:pt x="902" y="766"/>
                    </a:lnTo>
                    <a:lnTo>
                      <a:pt x="907" y="759"/>
                    </a:lnTo>
                    <a:lnTo>
                      <a:pt x="911" y="759"/>
                    </a:lnTo>
                    <a:lnTo>
                      <a:pt x="912" y="761"/>
                    </a:lnTo>
                    <a:lnTo>
                      <a:pt x="916" y="761"/>
                    </a:lnTo>
                    <a:lnTo>
                      <a:pt x="919" y="759"/>
                    </a:lnTo>
                    <a:lnTo>
                      <a:pt x="922" y="761"/>
                    </a:lnTo>
                    <a:lnTo>
                      <a:pt x="927" y="756"/>
                    </a:lnTo>
                    <a:lnTo>
                      <a:pt x="926" y="752"/>
                    </a:lnTo>
                    <a:lnTo>
                      <a:pt x="929" y="749"/>
                    </a:lnTo>
                    <a:lnTo>
                      <a:pt x="924" y="749"/>
                    </a:lnTo>
                    <a:lnTo>
                      <a:pt x="924" y="747"/>
                    </a:lnTo>
                    <a:lnTo>
                      <a:pt x="921" y="747"/>
                    </a:lnTo>
                    <a:lnTo>
                      <a:pt x="911" y="751"/>
                    </a:lnTo>
                    <a:lnTo>
                      <a:pt x="907" y="751"/>
                    </a:lnTo>
                    <a:lnTo>
                      <a:pt x="906" y="754"/>
                    </a:lnTo>
                    <a:lnTo>
                      <a:pt x="902" y="754"/>
                    </a:lnTo>
                    <a:lnTo>
                      <a:pt x="902" y="757"/>
                    </a:lnTo>
                    <a:lnTo>
                      <a:pt x="901" y="759"/>
                    </a:lnTo>
                    <a:lnTo>
                      <a:pt x="897" y="754"/>
                    </a:lnTo>
                    <a:lnTo>
                      <a:pt x="897" y="751"/>
                    </a:lnTo>
                    <a:lnTo>
                      <a:pt x="894" y="754"/>
                    </a:lnTo>
                    <a:lnTo>
                      <a:pt x="894" y="757"/>
                    </a:lnTo>
                    <a:lnTo>
                      <a:pt x="891" y="759"/>
                    </a:lnTo>
                    <a:lnTo>
                      <a:pt x="886" y="756"/>
                    </a:lnTo>
                    <a:lnTo>
                      <a:pt x="883" y="756"/>
                    </a:lnTo>
                    <a:lnTo>
                      <a:pt x="881" y="754"/>
                    </a:lnTo>
                    <a:lnTo>
                      <a:pt x="879" y="754"/>
                    </a:lnTo>
                    <a:lnTo>
                      <a:pt x="878" y="757"/>
                    </a:lnTo>
                    <a:lnTo>
                      <a:pt x="881" y="761"/>
                    </a:lnTo>
                    <a:lnTo>
                      <a:pt x="881" y="762"/>
                    </a:lnTo>
                    <a:lnTo>
                      <a:pt x="876" y="764"/>
                    </a:lnTo>
                    <a:lnTo>
                      <a:pt x="874" y="762"/>
                    </a:lnTo>
                    <a:lnTo>
                      <a:pt x="868" y="761"/>
                    </a:lnTo>
                    <a:lnTo>
                      <a:pt x="868" y="759"/>
                    </a:lnTo>
                    <a:lnTo>
                      <a:pt x="871" y="756"/>
                    </a:lnTo>
                    <a:lnTo>
                      <a:pt x="873" y="752"/>
                    </a:lnTo>
                    <a:lnTo>
                      <a:pt x="869" y="752"/>
                    </a:lnTo>
                    <a:lnTo>
                      <a:pt x="868" y="754"/>
                    </a:lnTo>
                    <a:lnTo>
                      <a:pt x="863" y="752"/>
                    </a:lnTo>
                    <a:lnTo>
                      <a:pt x="866" y="749"/>
                    </a:lnTo>
                    <a:lnTo>
                      <a:pt x="869" y="746"/>
                    </a:lnTo>
                    <a:lnTo>
                      <a:pt x="876" y="739"/>
                    </a:lnTo>
                    <a:lnTo>
                      <a:pt x="881" y="739"/>
                    </a:lnTo>
                    <a:lnTo>
                      <a:pt x="886" y="739"/>
                    </a:lnTo>
                    <a:lnTo>
                      <a:pt x="902" y="739"/>
                    </a:lnTo>
                    <a:lnTo>
                      <a:pt x="916" y="736"/>
                    </a:lnTo>
                    <a:lnTo>
                      <a:pt x="919" y="736"/>
                    </a:lnTo>
                    <a:lnTo>
                      <a:pt x="924" y="734"/>
                    </a:lnTo>
                    <a:lnTo>
                      <a:pt x="927" y="737"/>
                    </a:lnTo>
                    <a:lnTo>
                      <a:pt x="931" y="739"/>
                    </a:lnTo>
                    <a:lnTo>
                      <a:pt x="932" y="741"/>
                    </a:lnTo>
                    <a:lnTo>
                      <a:pt x="934" y="744"/>
                    </a:lnTo>
                    <a:lnTo>
                      <a:pt x="932" y="752"/>
                    </a:lnTo>
                    <a:lnTo>
                      <a:pt x="932" y="756"/>
                    </a:lnTo>
                    <a:lnTo>
                      <a:pt x="934" y="756"/>
                    </a:lnTo>
                    <a:lnTo>
                      <a:pt x="934" y="757"/>
                    </a:lnTo>
                    <a:lnTo>
                      <a:pt x="929" y="761"/>
                    </a:lnTo>
                    <a:lnTo>
                      <a:pt x="931" y="762"/>
                    </a:lnTo>
                    <a:lnTo>
                      <a:pt x="932" y="764"/>
                    </a:lnTo>
                    <a:lnTo>
                      <a:pt x="932" y="772"/>
                    </a:lnTo>
                    <a:lnTo>
                      <a:pt x="936" y="772"/>
                    </a:lnTo>
                    <a:lnTo>
                      <a:pt x="939" y="774"/>
                    </a:lnTo>
                    <a:lnTo>
                      <a:pt x="939" y="776"/>
                    </a:lnTo>
                    <a:lnTo>
                      <a:pt x="936" y="777"/>
                    </a:lnTo>
                    <a:lnTo>
                      <a:pt x="936" y="781"/>
                    </a:lnTo>
                    <a:lnTo>
                      <a:pt x="934" y="784"/>
                    </a:lnTo>
                    <a:lnTo>
                      <a:pt x="937" y="784"/>
                    </a:lnTo>
                    <a:lnTo>
                      <a:pt x="942" y="786"/>
                    </a:lnTo>
                    <a:lnTo>
                      <a:pt x="944" y="787"/>
                    </a:lnTo>
                    <a:lnTo>
                      <a:pt x="946" y="787"/>
                    </a:lnTo>
                    <a:lnTo>
                      <a:pt x="949" y="791"/>
                    </a:lnTo>
                    <a:lnTo>
                      <a:pt x="954" y="791"/>
                    </a:lnTo>
                    <a:lnTo>
                      <a:pt x="957" y="787"/>
                    </a:lnTo>
                    <a:lnTo>
                      <a:pt x="959" y="789"/>
                    </a:lnTo>
                    <a:lnTo>
                      <a:pt x="959" y="792"/>
                    </a:lnTo>
                    <a:lnTo>
                      <a:pt x="961" y="794"/>
                    </a:lnTo>
                    <a:lnTo>
                      <a:pt x="962" y="792"/>
                    </a:lnTo>
                    <a:lnTo>
                      <a:pt x="966" y="796"/>
                    </a:lnTo>
                    <a:lnTo>
                      <a:pt x="964" y="797"/>
                    </a:lnTo>
                    <a:lnTo>
                      <a:pt x="964" y="801"/>
                    </a:lnTo>
                    <a:lnTo>
                      <a:pt x="966" y="801"/>
                    </a:lnTo>
                    <a:lnTo>
                      <a:pt x="967" y="804"/>
                    </a:lnTo>
                    <a:lnTo>
                      <a:pt x="974" y="809"/>
                    </a:lnTo>
                    <a:lnTo>
                      <a:pt x="974" y="812"/>
                    </a:lnTo>
                    <a:lnTo>
                      <a:pt x="979" y="809"/>
                    </a:lnTo>
                    <a:lnTo>
                      <a:pt x="981" y="811"/>
                    </a:lnTo>
                    <a:lnTo>
                      <a:pt x="981" y="814"/>
                    </a:lnTo>
                    <a:lnTo>
                      <a:pt x="982" y="814"/>
                    </a:lnTo>
                    <a:lnTo>
                      <a:pt x="987" y="819"/>
                    </a:lnTo>
                    <a:lnTo>
                      <a:pt x="992" y="816"/>
                    </a:lnTo>
                    <a:lnTo>
                      <a:pt x="1000" y="816"/>
                    </a:lnTo>
                    <a:lnTo>
                      <a:pt x="1004" y="812"/>
                    </a:lnTo>
                    <a:lnTo>
                      <a:pt x="1010" y="809"/>
                    </a:lnTo>
                    <a:lnTo>
                      <a:pt x="1010" y="809"/>
                    </a:lnTo>
                    <a:lnTo>
                      <a:pt x="1012" y="812"/>
                    </a:lnTo>
                    <a:lnTo>
                      <a:pt x="1022" y="812"/>
                    </a:lnTo>
                    <a:lnTo>
                      <a:pt x="1030" y="817"/>
                    </a:lnTo>
                    <a:lnTo>
                      <a:pt x="1034" y="817"/>
                    </a:lnTo>
                    <a:lnTo>
                      <a:pt x="1037" y="821"/>
                    </a:lnTo>
                    <a:lnTo>
                      <a:pt x="1039" y="819"/>
                    </a:lnTo>
                    <a:lnTo>
                      <a:pt x="1049" y="817"/>
                    </a:lnTo>
                    <a:lnTo>
                      <a:pt x="1052" y="822"/>
                    </a:lnTo>
                    <a:lnTo>
                      <a:pt x="1054" y="821"/>
                    </a:lnTo>
                    <a:lnTo>
                      <a:pt x="1054" y="816"/>
                    </a:lnTo>
                    <a:lnTo>
                      <a:pt x="1049" y="812"/>
                    </a:lnTo>
                    <a:lnTo>
                      <a:pt x="1049" y="806"/>
                    </a:lnTo>
                    <a:lnTo>
                      <a:pt x="1050" y="804"/>
                    </a:lnTo>
                    <a:lnTo>
                      <a:pt x="1052" y="804"/>
                    </a:lnTo>
                    <a:lnTo>
                      <a:pt x="1055" y="812"/>
                    </a:lnTo>
                    <a:lnTo>
                      <a:pt x="1057" y="817"/>
                    </a:lnTo>
                    <a:lnTo>
                      <a:pt x="1064" y="824"/>
                    </a:lnTo>
                    <a:lnTo>
                      <a:pt x="1067" y="827"/>
                    </a:lnTo>
                    <a:lnTo>
                      <a:pt x="1069" y="832"/>
                    </a:lnTo>
                    <a:lnTo>
                      <a:pt x="1069" y="822"/>
                    </a:lnTo>
                    <a:lnTo>
                      <a:pt x="1065" y="819"/>
                    </a:lnTo>
                    <a:lnTo>
                      <a:pt x="1059" y="817"/>
                    </a:lnTo>
                    <a:lnTo>
                      <a:pt x="1057" y="811"/>
                    </a:lnTo>
                    <a:lnTo>
                      <a:pt x="1055" y="802"/>
                    </a:lnTo>
                    <a:lnTo>
                      <a:pt x="1057" y="799"/>
                    </a:lnTo>
                    <a:lnTo>
                      <a:pt x="1059" y="799"/>
                    </a:lnTo>
                    <a:lnTo>
                      <a:pt x="1059" y="802"/>
                    </a:lnTo>
                    <a:lnTo>
                      <a:pt x="1060" y="804"/>
                    </a:lnTo>
                    <a:lnTo>
                      <a:pt x="1064" y="802"/>
                    </a:lnTo>
                    <a:lnTo>
                      <a:pt x="1064" y="799"/>
                    </a:lnTo>
                    <a:lnTo>
                      <a:pt x="1060" y="796"/>
                    </a:lnTo>
                    <a:lnTo>
                      <a:pt x="1062" y="794"/>
                    </a:lnTo>
                    <a:lnTo>
                      <a:pt x="1062" y="791"/>
                    </a:lnTo>
                    <a:lnTo>
                      <a:pt x="1062" y="789"/>
                    </a:lnTo>
                    <a:lnTo>
                      <a:pt x="1065" y="789"/>
                    </a:lnTo>
                    <a:lnTo>
                      <a:pt x="1069" y="792"/>
                    </a:lnTo>
                    <a:lnTo>
                      <a:pt x="1069" y="794"/>
                    </a:lnTo>
                    <a:lnTo>
                      <a:pt x="1070" y="796"/>
                    </a:lnTo>
                    <a:lnTo>
                      <a:pt x="1070" y="794"/>
                    </a:lnTo>
                    <a:lnTo>
                      <a:pt x="1075" y="791"/>
                    </a:lnTo>
                    <a:lnTo>
                      <a:pt x="1079" y="787"/>
                    </a:lnTo>
                    <a:lnTo>
                      <a:pt x="1082" y="787"/>
                    </a:lnTo>
                    <a:lnTo>
                      <a:pt x="1084" y="791"/>
                    </a:lnTo>
                    <a:lnTo>
                      <a:pt x="1082" y="792"/>
                    </a:lnTo>
                    <a:lnTo>
                      <a:pt x="1082" y="796"/>
                    </a:lnTo>
                    <a:lnTo>
                      <a:pt x="1084" y="792"/>
                    </a:lnTo>
                    <a:lnTo>
                      <a:pt x="1087" y="792"/>
                    </a:lnTo>
                    <a:lnTo>
                      <a:pt x="1090" y="796"/>
                    </a:lnTo>
                    <a:lnTo>
                      <a:pt x="1088" y="801"/>
                    </a:lnTo>
                    <a:lnTo>
                      <a:pt x="1088" y="802"/>
                    </a:lnTo>
                    <a:lnTo>
                      <a:pt x="1090" y="806"/>
                    </a:lnTo>
                    <a:lnTo>
                      <a:pt x="1093" y="806"/>
                    </a:lnTo>
                    <a:lnTo>
                      <a:pt x="1097" y="806"/>
                    </a:lnTo>
                    <a:lnTo>
                      <a:pt x="1097" y="811"/>
                    </a:lnTo>
                    <a:lnTo>
                      <a:pt x="1090" y="812"/>
                    </a:lnTo>
                    <a:lnTo>
                      <a:pt x="1090" y="814"/>
                    </a:lnTo>
                    <a:lnTo>
                      <a:pt x="1093" y="816"/>
                    </a:lnTo>
                    <a:lnTo>
                      <a:pt x="1098" y="812"/>
                    </a:lnTo>
                    <a:lnTo>
                      <a:pt x="1102" y="807"/>
                    </a:lnTo>
                    <a:lnTo>
                      <a:pt x="1107" y="806"/>
                    </a:lnTo>
                    <a:lnTo>
                      <a:pt x="1112" y="806"/>
                    </a:lnTo>
                    <a:lnTo>
                      <a:pt x="1112" y="807"/>
                    </a:lnTo>
                    <a:lnTo>
                      <a:pt x="1108" y="809"/>
                    </a:lnTo>
                    <a:lnTo>
                      <a:pt x="1105" y="811"/>
                    </a:lnTo>
                    <a:lnTo>
                      <a:pt x="1105" y="817"/>
                    </a:lnTo>
                    <a:lnTo>
                      <a:pt x="1098" y="821"/>
                    </a:lnTo>
                    <a:lnTo>
                      <a:pt x="1097" y="824"/>
                    </a:lnTo>
                    <a:lnTo>
                      <a:pt x="1090" y="829"/>
                    </a:lnTo>
                    <a:lnTo>
                      <a:pt x="1090" y="832"/>
                    </a:lnTo>
                    <a:lnTo>
                      <a:pt x="1088" y="834"/>
                    </a:lnTo>
                    <a:lnTo>
                      <a:pt x="1088" y="831"/>
                    </a:lnTo>
                    <a:lnTo>
                      <a:pt x="1085" y="834"/>
                    </a:lnTo>
                    <a:lnTo>
                      <a:pt x="1084" y="842"/>
                    </a:lnTo>
                    <a:lnTo>
                      <a:pt x="1084" y="844"/>
                    </a:lnTo>
                    <a:lnTo>
                      <a:pt x="1087" y="842"/>
                    </a:lnTo>
                    <a:lnTo>
                      <a:pt x="1090" y="842"/>
                    </a:lnTo>
                    <a:lnTo>
                      <a:pt x="1090" y="847"/>
                    </a:lnTo>
                    <a:lnTo>
                      <a:pt x="1085" y="849"/>
                    </a:lnTo>
                    <a:lnTo>
                      <a:pt x="1084" y="852"/>
                    </a:lnTo>
                    <a:lnTo>
                      <a:pt x="1090" y="850"/>
                    </a:lnTo>
                    <a:lnTo>
                      <a:pt x="1093" y="847"/>
                    </a:lnTo>
                    <a:lnTo>
                      <a:pt x="1097" y="847"/>
                    </a:lnTo>
                    <a:lnTo>
                      <a:pt x="1095" y="852"/>
                    </a:lnTo>
                    <a:lnTo>
                      <a:pt x="1092" y="854"/>
                    </a:lnTo>
                    <a:lnTo>
                      <a:pt x="1093" y="855"/>
                    </a:lnTo>
                    <a:lnTo>
                      <a:pt x="1098" y="854"/>
                    </a:lnTo>
                    <a:lnTo>
                      <a:pt x="1095" y="859"/>
                    </a:lnTo>
                    <a:lnTo>
                      <a:pt x="1095" y="862"/>
                    </a:lnTo>
                    <a:lnTo>
                      <a:pt x="1092" y="865"/>
                    </a:lnTo>
                    <a:lnTo>
                      <a:pt x="1087" y="864"/>
                    </a:lnTo>
                    <a:lnTo>
                      <a:pt x="1085" y="859"/>
                    </a:lnTo>
                    <a:lnTo>
                      <a:pt x="1079" y="862"/>
                    </a:lnTo>
                    <a:lnTo>
                      <a:pt x="1077" y="855"/>
                    </a:lnTo>
                    <a:lnTo>
                      <a:pt x="1075" y="855"/>
                    </a:lnTo>
                    <a:lnTo>
                      <a:pt x="1074" y="862"/>
                    </a:lnTo>
                    <a:lnTo>
                      <a:pt x="1077" y="867"/>
                    </a:lnTo>
                    <a:lnTo>
                      <a:pt x="1079" y="872"/>
                    </a:lnTo>
                    <a:lnTo>
                      <a:pt x="1077" y="882"/>
                    </a:lnTo>
                    <a:lnTo>
                      <a:pt x="1080" y="874"/>
                    </a:lnTo>
                    <a:lnTo>
                      <a:pt x="1079" y="865"/>
                    </a:lnTo>
                    <a:lnTo>
                      <a:pt x="1082" y="864"/>
                    </a:lnTo>
                    <a:lnTo>
                      <a:pt x="1085" y="867"/>
                    </a:lnTo>
                    <a:lnTo>
                      <a:pt x="1090" y="867"/>
                    </a:lnTo>
                    <a:lnTo>
                      <a:pt x="1095" y="869"/>
                    </a:lnTo>
                    <a:lnTo>
                      <a:pt x="1098" y="867"/>
                    </a:lnTo>
                    <a:lnTo>
                      <a:pt x="1098" y="862"/>
                    </a:lnTo>
                    <a:lnTo>
                      <a:pt x="1105" y="860"/>
                    </a:lnTo>
                    <a:lnTo>
                      <a:pt x="1108" y="855"/>
                    </a:lnTo>
                    <a:lnTo>
                      <a:pt x="1113" y="855"/>
                    </a:lnTo>
                    <a:lnTo>
                      <a:pt x="1117" y="852"/>
                    </a:lnTo>
                    <a:lnTo>
                      <a:pt x="1113" y="854"/>
                    </a:lnTo>
                    <a:lnTo>
                      <a:pt x="1108" y="854"/>
                    </a:lnTo>
                    <a:lnTo>
                      <a:pt x="1105" y="857"/>
                    </a:lnTo>
                    <a:lnTo>
                      <a:pt x="1103" y="859"/>
                    </a:lnTo>
                    <a:lnTo>
                      <a:pt x="1102" y="859"/>
                    </a:lnTo>
                    <a:lnTo>
                      <a:pt x="1103" y="854"/>
                    </a:lnTo>
                    <a:lnTo>
                      <a:pt x="1107" y="850"/>
                    </a:lnTo>
                    <a:lnTo>
                      <a:pt x="1105" y="849"/>
                    </a:lnTo>
                    <a:lnTo>
                      <a:pt x="1105" y="845"/>
                    </a:lnTo>
                    <a:lnTo>
                      <a:pt x="1107" y="839"/>
                    </a:lnTo>
                    <a:lnTo>
                      <a:pt x="1107" y="835"/>
                    </a:lnTo>
                    <a:lnTo>
                      <a:pt x="1105" y="834"/>
                    </a:lnTo>
                    <a:lnTo>
                      <a:pt x="1107" y="832"/>
                    </a:lnTo>
                    <a:lnTo>
                      <a:pt x="1110" y="826"/>
                    </a:lnTo>
                    <a:lnTo>
                      <a:pt x="1112" y="821"/>
                    </a:lnTo>
                    <a:lnTo>
                      <a:pt x="1117" y="817"/>
                    </a:lnTo>
                    <a:lnTo>
                      <a:pt x="1118" y="819"/>
                    </a:lnTo>
                    <a:lnTo>
                      <a:pt x="1117" y="821"/>
                    </a:lnTo>
                    <a:lnTo>
                      <a:pt x="1120" y="821"/>
                    </a:lnTo>
                    <a:lnTo>
                      <a:pt x="1122" y="816"/>
                    </a:lnTo>
                    <a:lnTo>
                      <a:pt x="1123" y="819"/>
                    </a:lnTo>
                    <a:lnTo>
                      <a:pt x="1125" y="819"/>
                    </a:lnTo>
                    <a:lnTo>
                      <a:pt x="1127" y="821"/>
                    </a:lnTo>
                    <a:lnTo>
                      <a:pt x="1132" y="821"/>
                    </a:lnTo>
                    <a:lnTo>
                      <a:pt x="1135" y="816"/>
                    </a:lnTo>
                    <a:lnTo>
                      <a:pt x="1145" y="812"/>
                    </a:lnTo>
                    <a:lnTo>
                      <a:pt x="1148" y="809"/>
                    </a:lnTo>
                    <a:lnTo>
                      <a:pt x="1147" y="806"/>
                    </a:lnTo>
                    <a:lnTo>
                      <a:pt x="1150" y="806"/>
                    </a:lnTo>
                    <a:lnTo>
                      <a:pt x="1155" y="801"/>
                    </a:lnTo>
                    <a:lnTo>
                      <a:pt x="1162" y="801"/>
                    </a:lnTo>
                    <a:lnTo>
                      <a:pt x="1165" y="797"/>
                    </a:lnTo>
                    <a:lnTo>
                      <a:pt x="1165" y="794"/>
                    </a:lnTo>
                    <a:lnTo>
                      <a:pt x="1167" y="789"/>
                    </a:lnTo>
                    <a:lnTo>
                      <a:pt x="1170" y="784"/>
                    </a:lnTo>
                    <a:lnTo>
                      <a:pt x="1170" y="779"/>
                    </a:lnTo>
                    <a:lnTo>
                      <a:pt x="1168" y="777"/>
                    </a:lnTo>
                    <a:lnTo>
                      <a:pt x="1165" y="779"/>
                    </a:lnTo>
                    <a:lnTo>
                      <a:pt x="1162" y="781"/>
                    </a:lnTo>
                    <a:lnTo>
                      <a:pt x="1163" y="782"/>
                    </a:lnTo>
                    <a:lnTo>
                      <a:pt x="1160" y="786"/>
                    </a:lnTo>
                    <a:lnTo>
                      <a:pt x="1155" y="786"/>
                    </a:lnTo>
                    <a:lnTo>
                      <a:pt x="1153" y="784"/>
                    </a:lnTo>
                    <a:lnTo>
                      <a:pt x="1150" y="784"/>
                    </a:lnTo>
                    <a:lnTo>
                      <a:pt x="1148" y="782"/>
                    </a:lnTo>
                    <a:lnTo>
                      <a:pt x="1152" y="777"/>
                    </a:lnTo>
                    <a:lnTo>
                      <a:pt x="1155" y="777"/>
                    </a:lnTo>
                    <a:lnTo>
                      <a:pt x="1158" y="774"/>
                    </a:lnTo>
                    <a:lnTo>
                      <a:pt x="1165" y="771"/>
                    </a:lnTo>
                    <a:lnTo>
                      <a:pt x="1165" y="769"/>
                    </a:lnTo>
                    <a:lnTo>
                      <a:pt x="1162" y="766"/>
                    </a:lnTo>
                    <a:lnTo>
                      <a:pt x="1167" y="762"/>
                    </a:lnTo>
                    <a:lnTo>
                      <a:pt x="1172" y="761"/>
                    </a:lnTo>
                    <a:lnTo>
                      <a:pt x="1177" y="762"/>
                    </a:lnTo>
                    <a:lnTo>
                      <a:pt x="1173" y="764"/>
                    </a:lnTo>
                    <a:lnTo>
                      <a:pt x="1173" y="769"/>
                    </a:lnTo>
                    <a:lnTo>
                      <a:pt x="1173" y="771"/>
                    </a:lnTo>
                    <a:lnTo>
                      <a:pt x="1178" y="767"/>
                    </a:lnTo>
                    <a:lnTo>
                      <a:pt x="1183" y="759"/>
                    </a:lnTo>
                    <a:lnTo>
                      <a:pt x="1183" y="756"/>
                    </a:lnTo>
                    <a:lnTo>
                      <a:pt x="1178" y="756"/>
                    </a:lnTo>
                    <a:lnTo>
                      <a:pt x="1173" y="756"/>
                    </a:lnTo>
                    <a:lnTo>
                      <a:pt x="1172" y="752"/>
                    </a:lnTo>
                    <a:lnTo>
                      <a:pt x="1165" y="752"/>
                    </a:lnTo>
                    <a:lnTo>
                      <a:pt x="1162" y="746"/>
                    </a:lnTo>
                    <a:lnTo>
                      <a:pt x="1163" y="741"/>
                    </a:lnTo>
                    <a:lnTo>
                      <a:pt x="1160" y="746"/>
                    </a:lnTo>
                    <a:lnTo>
                      <a:pt x="1157" y="746"/>
                    </a:lnTo>
                    <a:lnTo>
                      <a:pt x="1155" y="741"/>
                    </a:lnTo>
                    <a:lnTo>
                      <a:pt x="1150" y="739"/>
                    </a:lnTo>
                    <a:lnTo>
                      <a:pt x="1148" y="734"/>
                    </a:lnTo>
                    <a:lnTo>
                      <a:pt x="1147" y="733"/>
                    </a:lnTo>
                    <a:lnTo>
                      <a:pt x="1143" y="734"/>
                    </a:lnTo>
                    <a:lnTo>
                      <a:pt x="1142" y="729"/>
                    </a:lnTo>
                    <a:lnTo>
                      <a:pt x="1140" y="728"/>
                    </a:lnTo>
                    <a:lnTo>
                      <a:pt x="1143" y="724"/>
                    </a:lnTo>
                    <a:lnTo>
                      <a:pt x="1143" y="721"/>
                    </a:lnTo>
                    <a:lnTo>
                      <a:pt x="1140" y="718"/>
                    </a:lnTo>
                    <a:lnTo>
                      <a:pt x="1142" y="706"/>
                    </a:lnTo>
                    <a:lnTo>
                      <a:pt x="1145" y="703"/>
                    </a:lnTo>
                    <a:lnTo>
                      <a:pt x="1153" y="696"/>
                    </a:lnTo>
                    <a:lnTo>
                      <a:pt x="1158" y="694"/>
                    </a:lnTo>
                    <a:lnTo>
                      <a:pt x="1162" y="694"/>
                    </a:lnTo>
                    <a:lnTo>
                      <a:pt x="1162" y="693"/>
                    </a:lnTo>
                    <a:lnTo>
                      <a:pt x="1165" y="691"/>
                    </a:lnTo>
                    <a:lnTo>
                      <a:pt x="1167" y="688"/>
                    </a:lnTo>
                    <a:lnTo>
                      <a:pt x="1163" y="688"/>
                    </a:lnTo>
                    <a:lnTo>
                      <a:pt x="1160" y="689"/>
                    </a:lnTo>
                    <a:lnTo>
                      <a:pt x="1157" y="689"/>
                    </a:lnTo>
                    <a:lnTo>
                      <a:pt x="1157" y="686"/>
                    </a:lnTo>
                    <a:lnTo>
                      <a:pt x="1155" y="681"/>
                    </a:lnTo>
                    <a:lnTo>
                      <a:pt x="1157" y="678"/>
                    </a:lnTo>
                    <a:lnTo>
                      <a:pt x="1162" y="671"/>
                    </a:lnTo>
                    <a:lnTo>
                      <a:pt x="1167" y="663"/>
                    </a:lnTo>
                    <a:lnTo>
                      <a:pt x="1170" y="663"/>
                    </a:lnTo>
                    <a:lnTo>
                      <a:pt x="1173" y="656"/>
                    </a:lnTo>
                    <a:lnTo>
                      <a:pt x="1175" y="656"/>
                    </a:lnTo>
                    <a:lnTo>
                      <a:pt x="1180" y="651"/>
                    </a:lnTo>
                    <a:lnTo>
                      <a:pt x="1185" y="649"/>
                    </a:lnTo>
                    <a:lnTo>
                      <a:pt x="1188" y="651"/>
                    </a:lnTo>
                    <a:lnTo>
                      <a:pt x="1187" y="656"/>
                    </a:lnTo>
                    <a:lnTo>
                      <a:pt x="1190" y="659"/>
                    </a:lnTo>
                    <a:lnTo>
                      <a:pt x="1188" y="663"/>
                    </a:lnTo>
                    <a:lnTo>
                      <a:pt x="1193" y="659"/>
                    </a:lnTo>
                    <a:lnTo>
                      <a:pt x="1193" y="656"/>
                    </a:lnTo>
                    <a:lnTo>
                      <a:pt x="1200" y="649"/>
                    </a:lnTo>
                    <a:lnTo>
                      <a:pt x="1200" y="648"/>
                    </a:lnTo>
                    <a:lnTo>
                      <a:pt x="1195" y="646"/>
                    </a:lnTo>
                    <a:lnTo>
                      <a:pt x="1191" y="644"/>
                    </a:lnTo>
                    <a:lnTo>
                      <a:pt x="1188" y="641"/>
                    </a:lnTo>
                    <a:lnTo>
                      <a:pt x="1193" y="638"/>
                    </a:lnTo>
                    <a:lnTo>
                      <a:pt x="1198" y="638"/>
                    </a:lnTo>
                    <a:lnTo>
                      <a:pt x="1200" y="636"/>
                    </a:lnTo>
                    <a:lnTo>
                      <a:pt x="1206" y="631"/>
                    </a:lnTo>
                    <a:lnTo>
                      <a:pt x="1206" y="628"/>
                    </a:lnTo>
                    <a:lnTo>
                      <a:pt x="1210" y="626"/>
                    </a:lnTo>
                    <a:lnTo>
                      <a:pt x="1216" y="628"/>
                    </a:lnTo>
                    <a:lnTo>
                      <a:pt x="1223" y="630"/>
                    </a:lnTo>
                    <a:lnTo>
                      <a:pt x="1225" y="633"/>
                    </a:lnTo>
                    <a:lnTo>
                      <a:pt x="1223" y="636"/>
                    </a:lnTo>
                    <a:lnTo>
                      <a:pt x="1226" y="636"/>
                    </a:lnTo>
                    <a:lnTo>
                      <a:pt x="1230" y="639"/>
                    </a:lnTo>
                    <a:lnTo>
                      <a:pt x="1233" y="643"/>
                    </a:lnTo>
                    <a:lnTo>
                      <a:pt x="1231" y="646"/>
                    </a:lnTo>
                    <a:lnTo>
                      <a:pt x="1230" y="648"/>
                    </a:lnTo>
                    <a:lnTo>
                      <a:pt x="1231" y="651"/>
                    </a:lnTo>
                    <a:lnTo>
                      <a:pt x="1230" y="654"/>
                    </a:lnTo>
                    <a:lnTo>
                      <a:pt x="1235" y="658"/>
                    </a:lnTo>
                    <a:lnTo>
                      <a:pt x="1235" y="661"/>
                    </a:lnTo>
                    <a:lnTo>
                      <a:pt x="1235" y="669"/>
                    </a:lnTo>
                    <a:lnTo>
                      <a:pt x="1238" y="671"/>
                    </a:lnTo>
                    <a:lnTo>
                      <a:pt x="1238" y="673"/>
                    </a:lnTo>
                    <a:lnTo>
                      <a:pt x="1235" y="678"/>
                    </a:lnTo>
                    <a:lnTo>
                      <a:pt x="1233" y="681"/>
                    </a:lnTo>
                    <a:lnTo>
                      <a:pt x="1230" y="686"/>
                    </a:lnTo>
                    <a:lnTo>
                      <a:pt x="1230" y="691"/>
                    </a:lnTo>
                    <a:lnTo>
                      <a:pt x="1228" y="693"/>
                    </a:lnTo>
                    <a:lnTo>
                      <a:pt x="1230" y="696"/>
                    </a:lnTo>
                    <a:lnTo>
                      <a:pt x="1228" y="701"/>
                    </a:lnTo>
                    <a:lnTo>
                      <a:pt x="1233" y="706"/>
                    </a:lnTo>
                    <a:lnTo>
                      <a:pt x="1233" y="709"/>
                    </a:lnTo>
                    <a:lnTo>
                      <a:pt x="1231" y="711"/>
                    </a:lnTo>
                    <a:lnTo>
                      <a:pt x="1233" y="714"/>
                    </a:lnTo>
                    <a:lnTo>
                      <a:pt x="1231" y="719"/>
                    </a:lnTo>
                    <a:lnTo>
                      <a:pt x="1231" y="723"/>
                    </a:lnTo>
                    <a:lnTo>
                      <a:pt x="1235" y="723"/>
                    </a:lnTo>
                    <a:lnTo>
                      <a:pt x="1238" y="726"/>
                    </a:lnTo>
                    <a:lnTo>
                      <a:pt x="1238" y="731"/>
                    </a:lnTo>
                    <a:lnTo>
                      <a:pt x="1233" y="733"/>
                    </a:lnTo>
                    <a:lnTo>
                      <a:pt x="1231" y="731"/>
                    </a:lnTo>
                    <a:lnTo>
                      <a:pt x="1226" y="733"/>
                    </a:lnTo>
                    <a:lnTo>
                      <a:pt x="1225" y="728"/>
                    </a:lnTo>
                    <a:lnTo>
                      <a:pt x="1226" y="724"/>
                    </a:lnTo>
                    <a:lnTo>
                      <a:pt x="1220" y="726"/>
                    </a:lnTo>
                    <a:lnTo>
                      <a:pt x="1218" y="731"/>
                    </a:lnTo>
                    <a:lnTo>
                      <a:pt x="1213" y="733"/>
                    </a:lnTo>
                    <a:lnTo>
                      <a:pt x="1213" y="734"/>
                    </a:lnTo>
                    <a:lnTo>
                      <a:pt x="1220" y="733"/>
                    </a:lnTo>
                    <a:lnTo>
                      <a:pt x="1223" y="736"/>
                    </a:lnTo>
                    <a:lnTo>
                      <a:pt x="1221" y="737"/>
                    </a:lnTo>
                    <a:lnTo>
                      <a:pt x="1210" y="746"/>
                    </a:lnTo>
                    <a:lnTo>
                      <a:pt x="1206" y="746"/>
                    </a:lnTo>
                    <a:lnTo>
                      <a:pt x="1205" y="749"/>
                    </a:lnTo>
                    <a:lnTo>
                      <a:pt x="1201" y="749"/>
                    </a:lnTo>
                    <a:lnTo>
                      <a:pt x="1201" y="754"/>
                    </a:lnTo>
                    <a:lnTo>
                      <a:pt x="1203" y="756"/>
                    </a:lnTo>
                    <a:lnTo>
                      <a:pt x="1208" y="756"/>
                    </a:lnTo>
                    <a:lnTo>
                      <a:pt x="1211" y="756"/>
                    </a:lnTo>
                    <a:lnTo>
                      <a:pt x="1211" y="761"/>
                    </a:lnTo>
                    <a:lnTo>
                      <a:pt x="1216" y="764"/>
                    </a:lnTo>
                    <a:lnTo>
                      <a:pt x="1221" y="762"/>
                    </a:lnTo>
                    <a:lnTo>
                      <a:pt x="1223" y="759"/>
                    </a:lnTo>
                    <a:lnTo>
                      <a:pt x="1226" y="759"/>
                    </a:lnTo>
                    <a:lnTo>
                      <a:pt x="1228" y="761"/>
                    </a:lnTo>
                    <a:lnTo>
                      <a:pt x="1226" y="762"/>
                    </a:lnTo>
                    <a:lnTo>
                      <a:pt x="1226" y="762"/>
                    </a:lnTo>
                    <a:lnTo>
                      <a:pt x="1230" y="764"/>
                    </a:lnTo>
                    <a:lnTo>
                      <a:pt x="1233" y="767"/>
                    </a:lnTo>
                    <a:lnTo>
                      <a:pt x="1238" y="764"/>
                    </a:lnTo>
                    <a:lnTo>
                      <a:pt x="1241" y="766"/>
                    </a:lnTo>
                    <a:lnTo>
                      <a:pt x="1238" y="769"/>
                    </a:lnTo>
                    <a:lnTo>
                      <a:pt x="1233" y="769"/>
                    </a:lnTo>
                    <a:lnTo>
                      <a:pt x="1228" y="774"/>
                    </a:lnTo>
                    <a:lnTo>
                      <a:pt x="1226" y="776"/>
                    </a:lnTo>
                    <a:lnTo>
                      <a:pt x="1225" y="771"/>
                    </a:lnTo>
                    <a:lnTo>
                      <a:pt x="1223" y="771"/>
                    </a:lnTo>
                    <a:lnTo>
                      <a:pt x="1221" y="771"/>
                    </a:lnTo>
                    <a:lnTo>
                      <a:pt x="1221" y="772"/>
                    </a:lnTo>
                    <a:lnTo>
                      <a:pt x="1225" y="776"/>
                    </a:lnTo>
                    <a:lnTo>
                      <a:pt x="1225" y="779"/>
                    </a:lnTo>
                    <a:lnTo>
                      <a:pt x="1228" y="786"/>
                    </a:lnTo>
                    <a:lnTo>
                      <a:pt x="1228" y="791"/>
                    </a:lnTo>
                    <a:lnTo>
                      <a:pt x="1228" y="792"/>
                    </a:lnTo>
                    <a:lnTo>
                      <a:pt x="1228" y="796"/>
                    </a:lnTo>
                    <a:lnTo>
                      <a:pt x="1225" y="799"/>
                    </a:lnTo>
                    <a:lnTo>
                      <a:pt x="1225" y="802"/>
                    </a:lnTo>
                    <a:lnTo>
                      <a:pt x="1223" y="807"/>
                    </a:lnTo>
                    <a:lnTo>
                      <a:pt x="1220" y="812"/>
                    </a:lnTo>
                    <a:lnTo>
                      <a:pt x="1220" y="814"/>
                    </a:lnTo>
                    <a:lnTo>
                      <a:pt x="1221" y="819"/>
                    </a:lnTo>
                    <a:lnTo>
                      <a:pt x="1218" y="821"/>
                    </a:lnTo>
                    <a:lnTo>
                      <a:pt x="1218" y="824"/>
                    </a:lnTo>
                    <a:lnTo>
                      <a:pt x="1221" y="824"/>
                    </a:lnTo>
                    <a:lnTo>
                      <a:pt x="1225" y="819"/>
                    </a:lnTo>
                    <a:lnTo>
                      <a:pt x="1226" y="816"/>
                    </a:lnTo>
                    <a:lnTo>
                      <a:pt x="1233" y="814"/>
                    </a:lnTo>
                    <a:lnTo>
                      <a:pt x="1233" y="812"/>
                    </a:lnTo>
                    <a:lnTo>
                      <a:pt x="1233" y="811"/>
                    </a:lnTo>
                    <a:lnTo>
                      <a:pt x="1236" y="807"/>
                    </a:lnTo>
                    <a:lnTo>
                      <a:pt x="1238" y="809"/>
                    </a:lnTo>
                    <a:lnTo>
                      <a:pt x="1241" y="807"/>
                    </a:lnTo>
                    <a:lnTo>
                      <a:pt x="1241" y="799"/>
                    </a:lnTo>
                    <a:lnTo>
                      <a:pt x="1241" y="796"/>
                    </a:lnTo>
                    <a:lnTo>
                      <a:pt x="1248" y="791"/>
                    </a:lnTo>
                    <a:lnTo>
                      <a:pt x="1253" y="782"/>
                    </a:lnTo>
                    <a:lnTo>
                      <a:pt x="1255" y="779"/>
                    </a:lnTo>
                    <a:lnTo>
                      <a:pt x="1258" y="779"/>
                    </a:lnTo>
                    <a:lnTo>
                      <a:pt x="1260" y="781"/>
                    </a:lnTo>
                    <a:lnTo>
                      <a:pt x="1260" y="784"/>
                    </a:lnTo>
                    <a:lnTo>
                      <a:pt x="1265" y="792"/>
                    </a:lnTo>
                    <a:lnTo>
                      <a:pt x="1265" y="797"/>
                    </a:lnTo>
                    <a:lnTo>
                      <a:pt x="1270" y="802"/>
                    </a:lnTo>
                    <a:lnTo>
                      <a:pt x="1270" y="807"/>
                    </a:lnTo>
                    <a:lnTo>
                      <a:pt x="1268" y="811"/>
                    </a:lnTo>
                    <a:lnTo>
                      <a:pt x="1270" y="821"/>
                    </a:lnTo>
                    <a:lnTo>
                      <a:pt x="1266" y="824"/>
                    </a:lnTo>
                    <a:lnTo>
                      <a:pt x="1263" y="826"/>
                    </a:lnTo>
                    <a:lnTo>
                      <a:pt x="1260" y="824"/>
                    </a:lnTo>
                    <a:lnTo>
                      <a:pt x="1256" y="826"/>
                    </a:lnTo>
                    <a:lnTo>
                      <a:pt x="1255" y="829"/>
                    </a:lnTo>
                    <a:lnTo>
                      <a:pt x="1256" y="834"/>
                    </a:lnTo>
                    <a:lnTo>
                      <a:pt x="1253" y="837"/>
                    </a:lnTo>
                    <a:lnTo>
                      <a:pt x="1250" y="844"/>
                    </a:lnTo>
                    <a:lnTo>
                      <a:pt x="1251" y="845"/>
                    </a:lnTo>
                    <a:lnTo>
                      <a:pt x="1253" y="854"/>
                    </a:lnTo>
                    <a:lnTo>
                      <a:pt x="1256" y="869"/>
                    </a:lnTo>
                    <a:lnTo>
                      <a:pt x="1260" y="875"/>
                    </a:lnTo>
                    <a:lnTo>
                      <a:pt x="1258" y="879"/>
                    </a:lnTo>
                    <a:lnTo>
                      <a:pt x="1261" y="882"/>
                    </a:lnTo>
                    <a:lnTo>
                      <a:pt x="1266" y="882"/>
                    </a:lnTo>
                    <a:lnTo>
                      <a:pt x="1265" y="877"/>
                    </a:lnTo>
                    <a:lnTo>
                      <a:pt x="1263" y="875"/>
                    </a:lnTo>
                    <a:lnTo>
                      <a:pt x="1266" y="872"/>
                    </a:lnTo>
                    <a:lnTo>
                      <a:pt x="1270" y="872"/>
                    </a:lnTo>
                    <a:lnTo>
                      <a:pt x="1271" y="877"/>
                    </a:lnTo>
                    <a:lnTo>
                      <a:pt x="1275" y="877"/>
                    </a:lnTo>
                    <a:lnTo>
                      <a:pt x="1276" y="872"/>
                    </a:lnTo>
                    <a:lnTo>
                      <a:pt x="1280" y="869"/>
                    </a:lnTo>
                    <a:lnTo>
                      <a:pt x="1280" y="862"/>
                    </a:lnTo>
                    <a:lnTo>
                      <a:pt x="1283" y="860"/>
                    </a:lnTo>
                    <a:lnTo>
                      <a:pt x="1288" y="854"/>
                    </a:lnTo>
                    <a:lnTo>
                      <a:pt x="1289" y="854"/>
                    </a:lnTo>
                    <a:lnTo>
                      <a:pt x="1293" y="850"/>
                    </a:lnTo>
                    <a:lnTo>
                      <a:pt x="1301" y="844"/>
                    </a:lnTo>
                    <a:lnTo>
                      <a:pt x="1306" y="835"/>
                    </a:lnTo>
                    <a:lnTo>
                      <a:pt x="1311" y="827"/>
                    </a:lnTo>
                    <a:lnTo>
                      <a:pt x="1314" y="819"/>
                    </a:lnTo>
                    <a:lnTo>
                      <a:pt x="1319" y="816"/>
                    </a:lnTo>
                    <a:lnTo>
                      <a:pt x="1323" y="821"/>
                    </a:lnTo>
                    <a:lnTo>
                      <a:pt x="1326" y="817"/>
                    </a:lnTo>
                    <a:lnTo>
                      <a:pt x="1328" y="819"/>
                    </a:lnTo>
                    <a:lnTo>
                      <a:pt x="1333" y="819"/>
                    </a:lnTo>
                    <a:lnTo>
                      <a:pt x="1333" y="816"/>
                    </a:lnTo>
                    <a:lnTo>
                      <a:pt x="1331" y="816"/>
                    </a:lnTo>
                    <a:lnTo>
                      <a:pt x="1326" y="812"/>
                    </a:lnTo>
                    <a:lnTo>
                      <a:pt x="1328" y="811"/>
                    </a:lnTo>
                    <a:lnTo>
                      <a:pt x="1334" y="809"/>
                    </a:lnTo>
                    <a:lnTo>
                      <a:pt x="1336" y="812"/>
                    </a:lnTo>
                    <a:lnTo>
                      <a:pt x="1338" y="811"/>
                    </a:lnTo>
                    <a:lnTo>
                      <a:pt x="1341" y="811"/>
                    </a:lnTo>
                    <a:lnTo>
                      <a:pt x="1344" y="809"/>
                    </a:lnTo>
                    <a:lnTo>
                      <a:pt x="1341" y="806"/>
                    </a:lnTo>
                    <a:lnTo>
                      <a:pt x="1339" y="804"/>
                    </a:lnTo>
                    <a:lnTo>
                      <a:pt x="1338" y="801"/>
                    </a:lnTo>
                    <a:lnTo>
                      <a:pt x="1334" y="801"/>
                    </a:lnTo>
                    <a:lnTo>
                      <a:pt x="1334" y="794"/>
                    </a:lnTo>
                    <a:lnTo>
                      <a:pt x="1338" y="791"/>
                    </a:lnTo>
                    <a:lnTo>
                      <a:pt x="1338" y="787"/>
                    </a:lnTo>
                    <a:lnTo>
                      <a:pt x="1341" y="787"/>
                    </a:lnTo>
                    <a:lnTo>
                      <a:pt x="1339" y="784"/>
                    </a:lnTo>
                    <a:lnTo>
                      <a:pt x="1339" y="781"/>
                    </a:lnTo>
                    <a:lnTo>
                      <a:pt x="1343" y="777"/>
                    </a:lnTo>
                    <a:lnTo>
                      <a:pt x="1341" y="776"/>
                    </a:lnTo>
                    <a:lnTo>
                      <a:pt x="1341" y="774"/>
                    </a:lnTo>
                    <a:lnTo>
                      <a:pt x="1346" y="774"/>
                    </a:lnTo>
                    <a:lnTo>
                      <a:pt x="1348" y="771"/>
                    </a:lnTo>
                    <a:lnTo>
                      <a:pt x="1344" y="769"/>
                    </a:lnTo>
                    <a:lnTo>
                      <a:pt x="1343" y="767"/>
                    </a:lnTo>
                    <a:lnTo>
                      <a:pt x="1348" y="767"/>
                    </a:lnTo>
                    <a:lnTo>
                      <a:pt x="1349" y="771"/>
                    </a:lnTo>
                    <a:lnTo>
                      <a:pt x="1353" y="771"/>
                    </a:lnTo>
                    <a:lnTo>
                      <a:pt x="1356" y="769"/>
                    </a:lnTo>
                    <a:lnTo>
                      <a:pt x="1364" y="769"/>
                    </a:lnTo>
                    <a:lnTo>
                      <a:pt x="1371" y="774"/>
                    </a:lnTo>
                    <a:lnTo>
                      <a:pt x="1371" y="776"/>
                    </a:lnTo>
                    <a:lnTo>
                      <a:pt x="1373" y="779"/>
                    </a:lnTo>
                    <a:lnTo>
                      <a:pt x="1383" y="782"/>
                    </a:lnTo>
                    <a:lnTo>
                      <a:pt x="1386" y="781"/>
                    </a:lnTo>
                    <a:lnTo>
                      <a:pt x="1391" y="782"/>
                    </a:lnTo>
                    <a:lnTo>
                      <a:pt x="1397" y="786"/>
                    </a:lnTo>
                    <a:lnTo>
                      <a:pt x="1397" y="787"/>
                    </a:lnTo>
                    <a:lnTo>
                      <a:pt x="1394" y="789"/>
                    </a:lnTo>
                    <a:lnTo>
                      <a:pt x="1397" y="792"/>
                    </a:lnTo>
                    <a:lnTo>
                      <a:pt x="1394" y="794"/>
                    </a:lnTo>
                    <a:lnTo>
                      <a:pt x="1391" y="791"/>
                    </a:lnTo>
                    <a:lnTo>
                      <a:pt x="1387" y="791"/>
                    </a:lnTo>
                    <a:lnTo>
                      <a:pt x="1387" y="792"/>
                    </a:lnTo>
                    <a:lnTo>
                      <a:pt x="1397" y="799"/>
                    </a:lnTo>
                    <a:lnTo>
                      <a:pt x="1399" y="802"/>
                    </a:lnTo>
                    <a:lnTo>
                      <a:pt x="1394" y="804"/>
                    </a:lnTo>
                    <a:lnTo>
                      <a:pt x="1397" y="806"/>
                    </a:lnTo>
                    <a:lnTo>
                      <a:pt x="1401" y="804"/>
                    </a:lnTo>
                    <a:lnTo>
                      <a:pt x="1409" y="806"/>
                    </a:lnTo>
                    <a:lnTo>
                      <a:pt x="1411" y="809"/>
                    </a:lnTo>
                    <a:lnTo>
                      <a:pt x="1412" y="809"/>
                    </a:lnTo>
                    <a:lnTo>
                      <a:pt x="1414" y="811"/>
                    </a:lnTo>
                    <a:lnTo>
                      <a:pt x="1411" y="816"/>
                    </a:lnTo>
                    <a:lnTo>
                      <a:pt x="1402" y="821"/>
                    </a:lnTo>
                    <a:lnTo>
                      <a:pt x="1399" y="822"/>
                    </a:lnTo>
                    <a:lnTo>
                      <a:pt x="1396" y="824"/>
                    </a:lnTo>
                    <a:lnTo>
                      <a:pt x="1402" y="824"/>
                    </a:lnTo>
                    <a:lnTo>
                      <a:pt x="1404" y="824"/>
                    </a:lnTo>
                    <a:lnTo>
                      <a:pt x="1404" y="827"/>
                    </a:lnTo>
                    <a:lnTo>
                      <a:pt x="1406" y="827"/>
                    </a:lnTo>
                    <a:lnTo>
                      <a:pt x="1407" y="829"/>
                    </a:lnTo>
                    <a:lnTo>
                      <a:pt x="1404" y="834"/>
                    </a:lnTo>
                    <a:lnTo>
                      <a:pt x="1407" y="835"/>
                    </a:lnTo>
                    <a:lnTo>
                      <a:pt x="1401" y="839"/>
                    </a:lnTo>
                    <a:lnTo>
                      <a:pt x="1394" y="840"/>
                    </a:lnTo>
                    <a:lnTo>
                      <a:pt x="1391" y="840"/>
                    </a:lnTo>
                    <a:lnTo>
                      <a:pt x="1389" y="842"/>
                    </a:lnTo>
                    <a:lnTo>
                      <a:pt x="1384" y="842"/>
                    </a:lnTo>
                    <a:lnTo>
                      <a:pt x="1381" y="837"/>
                    </a:lnTo>
                    <a:lnTo>
                      <a:pt x="1376" y="837"/>
                    </a:lnTo>
                    <a:lnTo>
                      <a:pt x="1376" y="835"/>
                    </a:lnTo>
                    <a:lnTo>
                      <a:pt x="1373" y="835"/>
                    </a:lnTo>
                    <a:lnTo>
                      <a:pt x="1373" y="839"/>
                    </a:lnTo>
                    <a:lnTo>
                      <a:pt x="1369" y="840"/>
                    </a:lnTo>
                    <a:lnTo>
                      <a:pt x="1374" y="840"/>
                    </a:lnTo>
                    <a:lnTo>
                      <a:pt x="1378" y="844"/>
                    </a:lnTo>
                    <a:lnTo>
                      <a:pt x="1376" y="845"/>
                    </a:lnTo>
                    <a:lnTo>
                      <a:pt x="1373" y="849"/>
                    </a:lnTo>
                    <a:lnTo>
                      <a:pt x="1378" y="849"/>
                    </a:lnTo>
                    <a:lnTo>
                      <a:pt x="1374" y="852"/>
                    </a:lnTo>
                    <a:lnTo>
                      <a:pt x="1374" y="855"/>
                    </a:lnTo>
                    <a:lnTo>
                      <a:pt x="1376" y="855"/>
                    </a:lnTo>
                    <a:lnTo>
                      <a:pt x="1379" y="854"/>
                    </a:lnTo>
                    <a:lnTo>
                      <a:pt x="1381" y="854"/>
                    </a:lnTo>
                    <a:lnTo>
                      <a:pt x="1379" y="857"/>
                    </a:lnTo>
                    <a:lnTo>
                      <a:pt x="1374" y="859"/>
                    </a:lnTo>
                    <a:lnTo>
                      <a:pt x="1371" y="862"/>
                    </a:lnTo>
                    <a:lnTo>
                      <a:pt x="1373" y="867"/>
                    </a:lnTo>
                    <a:lnTo>
                      <a:pt x="1378" y="870"/>
                    </a:lnTo>
                    <a:lnTo>
                      <a:pt x="1378" y="874"/>
                    </a:lnTo>
                    <a:lnTo>
                      <a:pt x="1383" y="884"/>
                    </a:lnTo>
                    <a:lnTo>
                      <a:pt x="1381" y="889"/>
                    </a:lnTo>
                    <a:lnTo>
                      <a:pt x="1379" y="890"/>
                    </a:lnTo>
                    <a:lnTo>
                      <a:pt x="1379" y="894"/>
                    </a:lnTo>
                    <a:lnTo>
                      <a:pt x="1373" y="899"/>
                    </a:lnTo>
                    <a:lnTo>
                      <a:pt x="1374" y="902"/>
                    </a:lnTo>
                    <a:lnTo>
                      <a:pt x="1371" y="905"/>
                    </a:lnTo>
                    <a:lnTo>
                      <a:pt x="1368" y="904"/>
                    </a:lnTo>
                    <a:lnTo>
                      <a:pt x="1359" y="904"/>
                    </a:lnTo>
                    <a:lnTo>
                      <a:pt x="1356" y="905"/>
                    </a:lnTo>
                    <a:lnTo>
                      <a:pt x="1356" y="910"/>
                    </a:lnTo>
                    <a:lnTo>
                      <a:pt x="1351" y="914"/>
                    </a:lnTo>
                    <a:lnTo>
                      <a:pt x="1348" y="915"/>
                    </a:lnTo>
                    <a:lnTo>
                      <a:pt x="1344" y="915"/>
                    </a:lnTo>
                    <a:lnTo>
                      <a:pt x="1338" y="922"/>
                    </a:lnTo>
                    <a:lnTo>
                      <a:pt x="1336" y="922"/>
                    </a:lnTo>
                    <a:lnTo>
                      <a:pt x="1331" y="922"/>
                    </a:lnTo>
                    <a:lnTo>
                      <a:pt x="1329" y="927"/>
                    </a:lnTo>
                    <a:lnTo>
                      <a:pt x="1318" y="929"/>
                    </a:lnTo>
                    <a:lnTo>
                      <a:pt x="1314" y="927"/>
                    </a:lnTo>
                    <a:lnTo>
                      <a:pt x="1316" y="925"/>
                    </a:lnTo>
                    <a:lnTo>
                      <a:pt x="1314" y="919"/>
                    </a:lnTo>
                    <a:lnTo>
                      <a:pt x="1311" y="915"/>
                    </a:lnTo>
                    <a:lnTo>
                      <a:pt x="1311" y="914"/>
                    </a:lnTo>
                    <a:lnTo>
                      <a:pt x="1314" y="912"/>
                    </a:lnTo>
                    <a:lnTo>
                      <a:pt x="1314" y="909"/>
                    </a:lnTo>
                    <a:lnTo>
                      <a:pt x="1318" y="904"/>
                    </a:lnTo>
                    <a:lnTo>
                      <a:pt x="1313" y="907"/>
                    </a:lnTo>
                    <a:lnTo>
                      <a:pt x="1311" y="909"/>
                    </a:lnTo>
                    <a:lnTo>
                      <a:pt x="1311" y="899"/>
                    </a:lnTo>
                    <a:lnTo>
                      <a:pt x="1309" y="899"/>
                    </a:lnTo>
                    <a:lnTo>
                      <a:pt x="1306" y="894"/>
                    </a:lnTo>
                    <a:lnTo>
                      <a:pt x="1301" y="897"/>
                    </a:lnTo>
                    <a:lnTo>
                      <a:pt x="1299" y="895"/>
                    </a:lnTo>
                    <a:lnTo>
                      <a:pt x="1296" y="895"/>
                    </a:lnTo>
                    <a:lnTo>
                      <a:pt x="1291" y="902"/>
                    </a:lnTo>
                    <a:lnTo>
                      <a:pt x="1294" y="902"/>
                    </a:lnTo>
                    <a:lnTo>
                      <a:pt x="1299" y="899"/>
                    </a:lnTo>
                    <a:lnTo>
                      <a:pt x="1303" y="899"/>
                    </a:lnTo>
                    <a:lnTo>
                      <a:pt x="1303" y="904"/>
                    </a:lnTo>
                    <a:lnTo>
                      <a:pt x="1306" y="905"/>
                    </a:lnTo>
                    <a:lnTo>
                      <a:pt x="1309" y="912"/>
                    </a:lnTo>
                    <a:lnTo>
                      <a:pt x="1308" y="917"/>
                    </a:lnTo>
                    <a:lnTo>
                      <a:pt x="1311" y="919"/>
                    </a:lnTo>
                    <a:lnTo>
                      <a:pt x="1311" y="925"/>
                    </a:lnTo>
                    <a:lnTo>
                      <a:pt x="1309" y="927"/>
                    </a:lnTo>
                    <a:lnTo>
                      <a:pt x="1311" y="929"/>
                    </a:lnTo>
                    <a:lnTo>
                      <a:pt x="1311" y="932"/>
                    </a:lnTo>
                    <a:lnTo>
                      <a:pt x="1308" y="933"/>
                    </a:lnTo>
                    <a:lnTo>
                      <a:pt x="1301" y="927"/>
                    </a:lnTo>
                    <a:lnTo>
                      <a:pt x="1299" y="924"/>
                    </a:lnTo>
                    <a:lnTo>
                      <a:pt x="1296" y="922"/>
                    </a:lnTo>
                    <a:lnTo>
                      <a:pt x="1296" y="919"/>
                    </a:lnTo>
                    <a:lnTo>
                      <a:pt x="1293" y="922"/>
                    </a:lnTo>
                    <a:lnTo>
                      <a:pt x="1298" y="925"/>
                    </a:lnTo>
                    <a:lnTo>
                      <a:pt x="1296" y="930"/>
                    </a:lnTo>
                    <a:lnTo>
                      <a:pt x="1291" y="927"/>
                    </a:lnTo>
                    <a:lnTo>
                      <a:pt x="1286" y="925"/>
                    </a:lnTo>
                    <a:lnTo>
                      <a:pt x="1286" y="924"/>
                    </a:lnTo>
                    <a:lnTo>
                      <a:pt x="1283" y="925"/>
                    </a:lnTo>
                    <a:lnTo>
                      <a:pt x="1283" y="922"/>
                    </a:lnTo>
                    <a:lnTo>
                      <a:pt x="1285" y="915"/>
                    </a:lnTo>
                    <a:lnTo>
                      <a:pt x="1286" y="915"/>
                    </a:lnTo>
                    <a:lnTo>
                      <a:pt x="1283" y="914"/>
                    </a:lnTo>
                    <a:lnTo>
                      <a:pt x="1283" y="912"/>
                    </a:lnTo>
                    <a:lnTo>
                      <a:pt x="1276" y="914"/>
                    </a:lnTo>
                    <a:lnTo>
                      <a:pt x="1271" y="914"/>
                    </a:lnTo>
                    <a:lnTo>
                      <a:pt x="1266" y="912"/>
                    </a:lnTo>
                    <a:lnTo>
                      <a:pt x="1263" y="912"/>
                    </a:lnTo>
                    <a:lnTo>
                      <a:pt x="1258" y="909"/>
                    </a:lnTo>
                    <a:lnTo>
                      <a:pt x="1256" y="912"/>
                    </a:lnTo>
                    <a:lnTo>
                      <a:pt x="1258" y="915"/>
                    </a:lnTo>
                    <a:lnTo>
                      <a:pt x="1256" y="917"/>
                    </a:lnTo>
                    <a:lnTo>
                      <a:pt x="1256" y="920"/>
                    </a:lnTo>
                    <a:lnTo>
                      <a:pt x="1258" y="924"/>
                    </a:lnTo>
                    <a:lnTo>
                      <a:pt x="1265" y="925"/>
                    </a:lnTo>
                    <a:lnTo>
                      <a:pt x="1266" y="929"/>
                    </a:lnTo>
                    <a:lnTo>
                      <a:pt x="1263" y="935"/>
                    </a:lnTo>
                    <a:lnTo>
                      <a:pt x="1260" y="935"/>
                    </a:lnTo>
                    <a:lnTo>
                      <a:pt x="1248" y="943"/>
                    </a:lnTo>
                    <a:lnTo>
                      <a:pt x="1243" y="948"/>
                    </a:lnTo>
                    <a:lnTo>
                      <a:pt x="1238" y="955"/>
                    </a:lnTo>
                    <a:lnTo>
                      <a:pt x="1235" y="953"/>
                    </a:lnTo>
                    <a:lnTo>
                      <a:pt x="1231" y="957"/>
                    </a:lnTo>
                    <a:lnTo>
                      <a:pt x="1228" y="962"/>
                    </a:lnTo>
                    <a:lnTo>
                      <a:pt x="1225" y="963"/>
                    </a:lnTo>
                    <a:lnTo>
                      <a:pt x="1210" y="960"/>
                    </a:lnTo>
                    <a:lnTo>
                      <a:pt x="1206" y="955"/>
                    </a:lnTo>
                    <a:lnTo>
                      <a:pt x="1203" y="950"/>
                    </a:lnTo>
                    <a:lnTo>
                      <a:pt x="1196" y="948"/>
                    </a:lnTo>
                    <a:lnTo>
                      <a:pt x="1196" y="945"/>
                    </a:lnTo>
                    <a:lnTo>
                      <a:pt x="1198" y="945"/>
                    </a:lnTo>
                    <a:lnTo>
                      <a:pt x="1201" y="943"/>
                    </a:lnTo>
                    <a:lnTo>
                      <a:pt x="1198" y="942"/>
                    </a:lnTo>
                    <a:lnTo>
                      <a:pt x="1193" y="940"/>
                    </a:lnTo>
                    <a:lnTo>
                      <a:pt x="1188" y="932"/>
                    </a:lnTo>
                    <a:lnTo>
                      <a:pt x="1183" y="929"/>
                    </a:lnTo>
                    <a:lnTo>
                      <a:pt x="1173" y="929"/>
                    </a:lnTo>
                    <a:lnTo>
                      <a:pt x="1167" y="924"/>
                    </a:lnTo>
                    <a:lnTo>
                      <a:pt x="1155" y="924"/>
                    </a:lnTo>
                    <a:lnTo>
                      <a:pt x="1150" y="922"/>
                    </a:lnTo>
                    <a:lnTo>
                      <a:pt x="1150" y="925"/>
                    </a:lnTo>
                    <a:lnTo>
                      <a:pt x="1153" y="929"/>
                    </a:lnTo>
                    <a:lnTo>
                      <a:pt x="1155" y="927"/>
                    </a:lnTo>
                    <a:lnTo>
                      <a:pt x="1158" y="925"/>
                    </a:lnTo>
                    <a:lnTo>
                      <a:pt x="1168" y="929"/>
                    </a:lnTo>
                    <a:lnTo>
                      <a:pt x="1178" y="929"/>
                    </a:lnTo>
                    <a:lnTo>
                      <a:pt x="1182" y="930"/>
                    </a:lnTo>
                    <a:lnTo>
                      <a:pt x="1182" y="933"/>
                    </a:lnTo>
                    <a:lnTo>
                      <a:pt x="1180" y="933"/>
                    </a:lnTo>
                    <a:lnTo>
                      <a:pt x="1178" y="935"/>
                    </a:lnTo>
                    <a:lnTo>
                      <a:pt x="1178" y="937"/>
                    </a:lnTo>
                    <a:lnTo>
                      <a:pt x="1180" y="943"/>
                    </a:lnTo>
                    <a:lnTo>
                      <a:pt x="1182" y="943"/>
                    </a:lnTo>
                    <a:lnTo>
                      <a:pt x="1187" y="953"/>
                    </a:lnTo>
                    <a:lnTo>
                      <a:pt x="1190" y="960"/>
                    </a:lnTo>
                    <a:lnTo>
                      <a:pt x="1198" y="962"/>
                    </a:lnTo>
                    <a:lnTo>
                      <a:pt x="1208" y="963"/>
                    </a:lnTo>
                    <a:lnTo>
                      <a:pt x="1226" y="968"/>
                    </a:lnTo>
                    <a:lnTo>
                      <a:pt x="1226" y="973"/>
                    </a:lnTo>
                    <a:lnTo>
                      <a:pt x="1225" y="975"/>
                    </a:lnTo>
                    <a:lnTo>
                      <a:pt x="1218" y="978"/>
                    </a:lnTo>
                    <a:lnTo>
                      <a:pt x="1215" y="980"/>
                    </a:lnTo>
                    <a:lnTo>
                      <a:pt x="1208" y="988"/>
                    </a:lnTo>
                    <a:lnTo>
                      <a:pt x="1206" y="987"/>
                    </a:lnTo>
                    <a:lnTo>
                      <a:pt x="1205" y="988"/>
                    </a:lnTo>
                    <a:lnTo>
                      <a:pt x="1203" y="990"/>
                    </a:lnTo>
                    <a:lnTo>
                      <a:pt x="1188" y="1005"/>
                    </a:lnTo>
                    <a:lnTo>
                      <a:pt x="1182" y="1008"/>
                    </a:lnTo>
                    <a:lnTo>
                      <a:pt x="1178" y="1015"/>
                    </a:lnTo>
                    <a:lnTo>
                      <a:pt x="1173" y="1015"/>
                    </a:lnTo>
                    <a:lnTo>
                      <a:pt x="1172" y="1013"/>
                    </a:lnTo>
                    <a:lnTo>
                      <a:pt x="1168" y="1013"/>
                    </a:lnTo>
                    <a:lnTo>
                      <a:pt x="1168" y="1017"/>
                    </a:lnTo>
                    <a:lnTo>
                      <a:pt x="1162" y="1010"/>
                    </a:lnTo>
                    <a:lnTo>
                      <a:pt x="1158" y="1008"/>
                    </a:lnTo>
                    <a:lnTo>
                      <a:pt x="1155" y="1012"/>
                    </a:lnTo>
                    <a:lnTo>
                      <a:pt x="1153" y="1008"/>
                    </a:lnTo>
                    <a:lnTo>
                      <a:pt x="1152" y="1008"/>
                    </a:lnTo>
                    <a:lnTo>
                      <a:pt x="1155" y="1003"/>
                    </a:lnTo>
                    <a:lnTo>
                      <a:pt x="1153" y="1002"/>
                    </a:lnTo>
                    <a:lnTo>
                      <a:pt x="1153" y="1000"/>
                    </a:lnTo>
                    <a:lnTo>
                      <a:pt x="1148" y="1003"/>
                    </a:lnTo>
                    <a:lnTo>
                      <a:pt x="1145" y="1012"/>
                    </a:lnTo>
                    <a:lnTo>
                      <a:pt x="1145" y="1007"/>
                    </a:lnTo>
                    <a:lnTo>
                      <a:pt x="1142" y="1000"/>
                    </a:lnTo>
                    <a:lnTo>
                      <a:pt x="1140" y="1007"/>
                    </a:lnTo>
                    <a:lnTo>
                      <a:pt x="1142" y="1010"/>
                    </a:lnTo>
                    <a:lnTo>
                      <a:pt x="1142" y="1017"/>
                    </a:lnTo>
                    <a:lnTo>
                      <a:pt x="1135" y="1025"/>
                    </a:lnTo>
                    <a:lnTo>
                      <a:pt x="1132" y="1023"/>
                    </a:lnTo>
                    <a:lnTo>
                      <a:pt x="1132" y="1022"/>
                    </a:lnTo>
                    <a:lnTo>
                      <a:pt x="1128" y="1017"/>
                    </a:lnTo>
                    <a:lnTo>
                      <a:pt x="1127" y="1020"/>
                    </a:lnTo>
                    <a:lnTo>
                      <a:pt x="1130" y="1022"/>
                    </a:lnTo>
                    <a:lnTo>
                      <a:pt x="1125" y="1025"/>
                    </a:lnTo>
                    <a:lnTo>
                      <a:pt x="1125" y="1030"/>
                    </a:lnTo>
                    <a:lnTo>
                      <a:pt x="1123" y="1028"/>
                    </a:lnTo>
                    <a:lnTo>
                      <a:pt x="1118" y="1027"/>
                    </a:lnTo>
                    <a:lnTo>
                      <a:pt x="1117" y="1023"/>
                    </a:lnTo>
                    <a:lnTo>
                      <a:pt x="1113" y="1020"/>
                    </a:lnTo>
                    <a:lnTo>
                      <a:pt x="1108" y="1015"/>
                    </a:lnTo>
                    <a:lnTo>
                      <a:pt x="1098" y="1012"/>
                    </a:lnTo>
                    <a:lnTo>
                      <a:pt x="1090" y="1007"/>
                    </a:lnTo>
                    <a:lnTo>
                      <a:pt x="1087" y="1000"/>
                    </a:lnTo>
                    <a:lnTo>
                      <a:pt x="1084" y="1000"/>
                    </a:lnTo>
                    <a:lnTo>
                      <a:pt x="1077" y="995"/>
                    </a:lnTo>
                    <a:lnTo>
                      <a:pt x="1074" y="992"/>
                    </a:lnTo>
                    <a:lnTo>
                      <a:pt x="1074" y="998"/>
                    </a:lnTo>
                    <a:lnTo>
                      <a:pt x="1069" y="997"/>
                    </a:lnTo>
                    <a:lnTo>
                      <a:pt x="1072" y="1003"/>
                    </a:lnTo>
                    <a:lnTo>
                      <a:pt x="1077" y="1007"/>
                    </a:lnTo>
                    <a:lnTo>
                      <a:pt x="1079" y="1005"/>
                    </a:lnTo>
                    <a:lnTo>
                      <a:pt x="1075" y="1002"/>
                    </a:lnTo>
                    <a:lnTo>
                      <a:pt x="1077" y="1000"/>
                    </a:lnTo>
                    <a:lnTo>
                      <a:pt x="1079" y="1000"/>
                    </a:lnTo>
                    <a:lnTo>
                      <a:pt x="1088" y="1008"/>
                    </a:lnTo>
                    <a:lnTo>
                      <a:pt x="1097" y="1013"/>
                    </a:lnTo>
                    <a:lnTo>
                      <a:pt x="1098" y="1017"/>
                    </a:lnTo>
                    <a:lnTo>
                      <a:pt x="1092" y="1020"/>
                    </a:lnTo>
                    <a:lnTo>
                      <a:pt x="1087" y="1020"/>
                    </a:lnTo>
                    <a:lnTo>
                      <a:pt x="1084" y="1020"/>
                    </a:lnTo>
                    <a:lnTo>
                      <a:pt x="1084" y="1022"/>
                    </a:lnTo>
                    <a:lnTo>
                      <a:pt x="1084" y="1023"/>
                    </a:lnTo>
                    <a:lnTo>
                      <a:pt x="1087" y="1022"/>
                    </a:lnTo>
                    <a:lnTo>
                      <a:pt x="1097" y="1022"/>
                    </a:lnTo>
                    <a:lnTo>
                      <a:pt x="1102" y="1017"/>
                    </a:lnTo>
                    <a:lnTo>
                      <a:pt x="1103" y="1017"/>
                    </a:lnTo>
                    <a:lnTo>
                      <a:pt x="1107" y="1020"/>
                    </a:lnTo>
                    <a:lnTo>
                      <a:pt x="1107" y="1025"/>
                    </a:lnTo>
                    <a:lnTo>
                      <a:pt x="1117" y="1035"/>
                    </a:lnTo>
                    <a:lnTo>
                      <a:pt x="1115" y="1045"/>
                    </a:lnTo>
                    <a:lnTo>
                      <a:pt x="1110" y="1051"/>
                    </a:lnTo>
                    <a:lnTo>
                      <a:pt x="1105" y="1051"/>
                    </a:lnTo>
                    <a:lnTo>
                      <a:pt x="1103" y="1053"/>
                    </a:lnTo>
                    <a:lnTo>
                      <a:pt x="1097" y="1053"/>
                    </a:lnTo>
                    <a:lnTo>
                      <a:pt x="1093" y="1050"/>
                    </a:lnTo>
                    <a:lnTo>
                      <a:pt x="1082" y="1048"/>
                    </a:lnTo>
                    <a:lnTo>
                      <a:pt x="1075" y="1041"/>
                    </a:lnTo>
                    <a:lnTo>
                      <a:pt x="1074" y="1033"/>
                    </a:lnTo>
                    <a:lnTo>
                      <a:pt x="1070" y="1031"/>
                    </a:lnTo>
                    <a:lnTo>
                      <a:pt x="1069" y="1033"/>
                    </a:lnTo>
                    <a:lnTo>
                      <a:pt x="1070" y="1035"/>
                    </a:lnTo>
                    <a:lnTo>
                      <a:pt x="1070" y="1040"/>
                    </a:lnTo>
                    <a:lnTo>
                      <a:pt x="1074" y="1045"/>
                    </a:lnTo>
                    <a:lnTo>
                      <a:pt x="1077" y="1053"/>
                    </a:lnTo>
                    <a:lnTo>
                      <a:pt x="1082" y="1061"/>
                    </a:lnTo>
                    <a:lnTo>
                      <a:pt x="1079" y="1063"/>
                    </a:lnTo>
                    <a:lnTo>
                      <a:pt x="1077" y="1061"/>
                    </a:lnTo>
                    <a:lnTo>
                      <a:pt x="1072" y="1063"/>
                    </a:lnTo>
                    <a:lnTo>
                      <a:pt x="1070" y="1056"/>
                    </a:lnTo>
                    <a:lnTo>
                      <a:pt x="1070" y="1060"/>
                    </a:lnTo>
                    <a:lnTo>
                      <a:pt x="1067" y="1061"/>
                    </a:lnTo>
                    <a:lnTo>
                      <a:pt x="1069" y="1063"/>
                    </a:lnTo>
                    <a:lnTo>
                      <a:pt x="1074" y="1065"/>
                    </a:lnTo>
                    <a:lnTo>
                      <a:pt x="1075" y="1068"/>
                    </a:lnTo>
                    <a:lnTo>
                      <a:pt x="1065" y="1066"/>
                    </a:lnTo>
                    <a:lnTo>
                      <a:pt x="1064" y="1065"/>
                    </a:lnTo>
                    <a:lnTo>
                      <a:pt x="1064" y="1068"/>
                    </a:lnTo>
                    <a:lnTo>
                      <a:pt x="1067" y="1070"/>
                    </a:lnTo>
                    <a:lnTo>
                      <a:pt x="1067" y="1073"/>
                    </a:lnTo>
                    <a:lnTo>
                      <a:pt x="1062" y="1078"/>
                    </a:lnTo>
                    <a:lnTo>
                      <a:pt x="1062" y="1073"/>
                    </a:lnTo>
                    <a:lnTo>
                      <a:pt x="1059" y="1073"/>
                    </a:lnTo>
                    <a:lnTo>
                      <a:pt x="1060" y="1075"/>
                    </a:lnTo>
                    <a:lnTo>
                      <a:pt x="1060" y="1078"/>
                    </a:lnTo>
                    <a:lnTo>
                      <a:pt x="1059" y="1076"/>
                    </a:lnTo>
                    <a:lnTo>
                      <a:pt x="1052" y="1076"/>
                    </a:lnTo>
                    <a:lnTo>
                      <a:pt x="1050" y="1080"/>
                    </a:lnTo>
                    <a:lnTo>
                      <a:pt x="1042" y="1081"/>
                    </a:lnTo>
                    <a:lnTo>
                      <a:pt x="1047" y="1083"/>
                    </a:lnTo>
                    <a:lnTo>
                      <a:pt x="1047" y="1086"/>
                    </a:lnTo>
                    <a:lnTo>
                      <a:pt x="1045" y="1088"/>
                    </a:lnTo>
                    <a:lnTo>
                      <a:pt x="1044" y="1086"/>
                    </a:lnTo>
                    <a:lnTo>
                      <a:pt x="1039" y="1081"/>
                    </a:lnTo>
                    <a:lnTo>
                      <a:pt x="1035" y="1081"/>
                    </a:lnTo>
                    <a:lnTo>
                      <a:pt x="1035" y="1085"/>
                    </a:lnTo>
                    <a:lnTo>
                      <a:pt x="1032" y="1085"/>
                    </a:lnTo>
                    <a:lnTo>
                      <a:pt x="1039" y="1090"/>
                    </a:lnTo>
                    <a:lnTo>
                      <a:pt x="1035" y="1091"/>
                    </a:lnTo>
                    <a:lnTo>
                      <a:pt x="1035" y="1095"/>
                    </a:lnTo>
                    <a:lnTo>
                      <a:pt x="1032" y="1095"/>
                    </a:lnTo>
                    <a:lnTo>
                      <a:pt x="1027" y="1100"/>
                    </a:lnTo>
                    <a:lnTo>
                      <a:pt x="1022" y="1103"/>
                    </a:lnTo>
                    <a:lnTo>
                      <a:pt x="1024" y="1105"/>
                    </a:lnTo>
                    <a:lnTo>
                      <a:pt x="1022" y="1108"/>
                    </a:lnTo>
                    <a:lnTo>
                      <a:pt x="1020" y="1108"/>
                    </a:lnTo>
                    <a:lnTo>
                      <a:pt x="1017" y="1111"/>
                    </a:lnTo>
                    <a:lnTo>
                      <a:pt x="1017" y="1115"/>
                    </a:lnTo>
                    <a:lnTo>
                      <a:pt x="1014" y="1116"/>
                    </a:lnTo>
                    <a:lnTo>
                      <a:pt x="1007" y="1123"/>
                    </a:lnTo>
                    <a:lnTo>
                      <a:pt x="1002" y="1125"/>
                    </a:lnTo>
                    <a:lnTo>
                      <a:pt x="1000" y="1128"/>
                    </a:lnTo>
                    <a:lnTo>
                      <a:pt x="995" y="1133"/>
                    </a:lnTo>
                    <a:lnTo>
                      <a:pt x="990" y="1130"/>
                    </a:lnTo>
                    <a:lnTo>
                      <a:pt x="990" y="1133"/>
                    </a:lnTo>
                    <a:lnTo>
                      <a:pt x="992" y="1138"/>
                    </a:lnTo>
                    <a:lnTo>
                      <a:pt x="989" y="1141"/>
                    </a:lnTo>
                    <a:lnTo>
                      <a:pt x="987" y="1149"/>
                    </a:lnTo>
                    <a:lnTo>
                      <a:pt x="984" y="1153"/>
                    </a:lnTo>
                    <a:lnTo>
                      <a:pt x="982" y="1159"/>
                    </a:lnTo>
                    <a:lnTo>
                      <a:pt x="977" y="1161"/>
                    </a:lnTo>
                    <a:lnTo>
                      <a:pt x="974" y="1169"/>
                    </a:lnTo>
                    <a:lnTo>
                      <a:pt x="976" y="1171"/>
                    </a:lnTo>
                    <a:lnTo>
                      <a:pt x="976" y="1178"/>
                    </a:lnTo>
                    <a:lnTo>
                      <a:pt x="972" y="1184"/>
                    </a:lnTo>
                    <a:lnTo>
                      <a:pt x="971" y="1189"/>
                    </a:lnTo>
                    <a:lnTo>
                      <a:pt x="966" y="1189"/>
                    </a:lnTo>
                    <a:lnTo>
                      <a:pt x="964" y="1193"/>
                    </a:lnTo>
                    <a:lnTo>
                      <a:pt x="969" y="1193"/>
                    </a:lnTo>
                    <a:lnTo>
                      <a:pt x="971" y="1196"/>
                    </a:lnTo>
                    <a:lnTo>
                      <a:pt x="969" y="1199"/>
                    </a:lnTo>
                    <a:lnTo>
                      <a:pt x="971" y="1203"/>
                    </a:lnTo>
                    <a:lnTo>
                      <a:pt x="971" y="1208"/>
                    </a:lnTo>
                    <a:lnTo>
                      <a:pt x="972" y="1209"/>
                    </a:lnTo>
                    <a:lnTo>
                      <a:pt x="969" y="1219"/>
                    </a:lnTo>
                    <a:lnTo>
                      <a:pt x="962" y="1226"/>
                    </a:lnTo>
                    <a:lnTo>
                      <a:pt x="949" y="1228"/>
                    </a:lnTo>
                    <a:lnTo>
                      <a:pt x="947" y="1232"/>
                    </a:lnTo>
                    <a:lnTo>
                      <a:pt x="954" y="1228"/>
                    </a:lnTo>
                    <a:lnTo>
                      <a:pt x="966" y="1226"/>
                    </a:lnTo>
                    <a:lnTo>
                      <a:pt x="974" y="1218"/>
                    </a:lnTo>
                    <a:lnTo>
                      <a:pt x="979" y="1206"/>
                    </a:lnTo>
                    <a:lnTo>
                      <a:pt x="994" y="1206"/>
                    </a:lnTo>
                    <a:lnTo>
                      <a:pt x="997" y="1208"/>
                    </a:lnTo>
                    <a:lnTo>
                      <a:pt x="997" y="1211"/>
                    </a:lnTo>
                    <a:lnTo>
                      <a:pt x="995" y="1216"/>
                    </a:lnTo>
                    <a:lnTo>
                      <a:pt x="995" y="1221"/>
                    </a:lnTo>
                    <a:lnTo>
                      <a:pt x="999" y="1228"/>
                    </a:lnTo>
                    <a:lnTo>
                      <a:pt x="999" y="1236"/>
                    </a:lnTo>
                    <a:lnTo>
                      <a:pt x="994" y="1244"/>
                    </a:lnTo>
                    <a:lnTo>
                      <a:pt x="997" y="1247"/>
                    </a:lnTo>
                    <a:lnTo>
                      <a:pt x="999" y="1257"/>
                    </a:lnTo>
                    <a:lnTo>
                      <a:pt x="997" y="1261"/>
                    </a:lnTo>
                    <a:lnTo>
                      <a:pt x="982" y="1274"/>
                    </a:lnTo>
                    <a:lnTo>
                      <a:pt x="976" y="1276"/>
                    </a:lnTo>
                    <a:lnTo>
                      <a:pt x="971" y="1276"/>
                    </a:lnTo>
                    <a:lnTo>
                      <a:pt x="976" y="1277"/>
                    </a:lnTo>
                    <a:lnTo>
                      <a:pt x="982" y="1277"/>
                    </a:lnTo>
                    <a:lnTo>
                      <a:pt x="1000" y="1272"/>
                    </a:lnTo>
                    <a:lnTo>
                      <a:pt x="1017" y="1267"/>
                    </a:lnTo>
                    <a:lnTo>
                      <a:pt x="1025" y="1266"/>
                    </a:lnTo>
                    <a:lnTo>
                      <a:pt x="1037" y="1272"/>
                    </a:lnTo>
                    <a:lnTo>
                      <a:pt x="1044" y="1279"/>
                    </a:lnTo>
                    <a:lnTo>
                      <a:pt x="1055" y="1282"/>
                    </a:lnTo>
                    <a:lnTo>
                      <a:pt x="1057" y="1284"/>
                    </a:lnTo>
                    <a:lnTo>
                      <a:pt x="1062" y="1286"/>
                    </a:lnTo>
                    <a:lnTo>
                      <a:pt x="1070" y="1292"/>
                    </a:lnTo>
                    <a:lnTo>
                      <a:pt x="1074" y="1294"/>
                    </a:lnTo>
                    <a:lnTo>
                      <a:pt x="1077" y="1301"/>
                    </a:lnTo>
                    <a:lnTo>
                      <a:pt x="1082" y="1302"/>
                    </a:lnTo>
                    <a:lnTo>
                      <a:pt x="1082" y="1306"/>
                    </a:lnTo>
                    <a:lnTo>
                      <a:pt x="1085" y="1309"/>
                    </a:lnTo>
                    <a:lnTo>
                      <a:pt x="1088" y="1317"/>
                    </a:lnTo>
                    <a:lnTo>
                      <a:pt x="1088" y="1319"/>
                    </a:lnTo>
                    <a:lnTo>
                      <a:pt x="1092" y="1317"/>
                    </a:lnTo>
                    <a:lnTo>
                      <a:pt x="1093" y="1321"/>
                    </a:lnTo>
                    <a:lnTo>
                      <a:pt x="1103" y="1326"/>
                    </a:lnTo>
                    <a:lnTo>
                      <a:pt x="1107" y="1327"/>
                    </a:lnTo>
                    <a:lnTo>
                      <a:pt x="1113" y="1330"/>
                    </a:lnTo>
                    <a:lnTo>
                      <a:pt x="1118" y="1332"/>
                    </a:lnTo>
                    <a:lnTo>
                      <a:pt x="1125" y="1339"/>
                    </a:lnTo>
                    <a:lnTo>
                      <a:pt x="1127" y="1342"/>
                    </a:lnTo>
                    <a:lnTo>
                      <a:pt x="1133" y="1347"/>
                    </a:lnTo>
                    <a:lnTo>
                      <a:pt x="1132" y="1349"/>
                    </a:lnTo>
                    <a:lnTo>
                      <a:pt x="1133" y="1350"/>
                    </a:lnTo>
                    <a:lnTo>
                      <a:pt x="1142" y="1350"/>
                    </a:lnTo>
                    <a:lnTo>
                      <a:pt x="1143" y="1352"/>
                    </a:lnTo>
                    <a:lnTo>
                      <a:pt x="1148" y="1350"/>
                    </a:lnTo>
                    <a:lnTo>
                      <a:pt x="1160" y="1350"/>
                    </a:lnTo>
                    <a:lnTo>
                      <a:pt x="1162" y="1354"/>
                    </a:lnTo>
                    <a:lnTo>
                      <a:pt x="1163" y="1354"/>
                    </a:lnTo>
                    <a:lnTo>
                      <a:pt x="1172" y="1355"/>
                    </a:lnTo>
                    <a:lnTo>
                      <a:pt x="1180" y="1357"/>
                    </a:lnTo>
                    <a:lnTo>
                      <a:pt x="1185" y="1355"/>
                    </a:lnTo>
                    <a:lnTo>
                      <a:pt x="1188" y="1355"/>
                    </a:lnTo>
                    <a:lnTo>
                      <a:pt x="1188" y="1357"/>
                    </a:lnTo>
                    <a:lnTo>
                      <a:pt x="1190" y="1355"/>
                    </a:lnTo>
                    <a:lnTo>
                      <a:pt x="1193" y="1355"/>
                    </a:lnTo>
                    <a:lnTo>
                      <a:pt x="1193" y="1362"/>
                    </a:lnTo>
                    <a:lnTo>
                      <a:pt x="1187" y="1372"/>
                    </a:lnTo>
                    <a:lnTo>
                      <a:pt x="1187" y="1377"/>
                    </a:lnTo>
                    <a:lnTo>
                      <a:pt x="1183" y="1380"/>
                    </a:lnTo>
                    <a:lnTo>
                      <a:pt x="1180" y="1387"/>
                    </a:lnTo>
                    <a:lnTo>
                      <a:pt x="1182" y="1392"/>
                    </a:lnTo>
                    <a:lnTo>
                      <a:pt x="1183" y="1392"/>
                    </a:lnTo>
                    <a:lnTo>
                      <a:pt x="1183" y="1402"/>
                    </a:lnTo>
                    <a:lnTo>
                      <a:pt x="1177" y="1410"/>
                    </a:lnTo>
                    <a:lnTo>
                      <a:pt x="1177" y="1415"/>
                    </a:lnTo>
                    <a:lnTo>
                      <a:pt x="1175" y="1420"/>
                    </a:lnTo>
                    <a:lnTo>
                      <a:pt x="1170" y="1424"/>
                    </a:lnTo>
                    <a:lnTo>
                      <a:pt x="1167" y="1433"/>
                    </a:lnTo>
                    <a:lnTo>
                      <a:pt x="1170" y="1437"/>
                    </a:lnTo>
                    <a:lnTo>
                      <a:pt x="1175" y="1440"/>
                    </a:lnTo>
                    <a:lnTo>
                      <a:pt x="1175" y="1445"/>
                    </a:lnTo>
                    <a:lnTo>
                      <a:pt x="1178" y="1447"/>
                    </a:lnTo>
                    <a:lnTo>
                      <a:pt x="1180" y="1450"/>
                    </a:lnTo>
                    <a:lnTo>
                      <a:pt x="1180" y="1453"/>
                    </a:lnTo>
                    <a:lnTo>
                      <a:pt x="1180" y="1457"/>
                    </a:lnTo>
                    <a:lnTo>
                      <a:pt x="1180" y="1458"/>
                    </a:lnTo>
                    <a:lnTo>
                      <a:pt x="1185" y="1460"/>
                    </a:lnTo>
                    <a:lnTo>
                      <a:pt x="1190" y="1463"/>
                    </a:lnTo>
                    <a:lnTo>
                      <a:pt x="1191" y="1463"/>
                    </a:lnTo>
                    <a:lnTo>
                      <a:pt x="1191" y="1467"/>
                    </a:lnTo>
                    <a:lnTo>
                      <a:pt x="1195" y="1470"/>
                    </a:lnTo>
                    <a:lnTo>
                      <a:pt x="1196" y="1477"/>
                    </a:lnTo>
                    <a:lnTo>
                      <a:pt x="1196" y="1480"/>
                    </a:lnTo>
                    <a:lnTo>
                      <a:pt x="1195" y="1487"/>
                    </a:lnTo>
                    <a:lnTo>
                      <a:pt x="1187" y="1493"/>
                    </a:lnTo>
                    <a:lnTo>
                      <a:pt x="1193" y="1490"/>
                    </a:lnTo>
                    <a:lnTo>
                      <a:pt x="1198" y="1487"/>
                    </a:lnTo>
                    <a:lnTo>
                      <a:pt x="1205" y="1488"/>
                    </a:lnTo>
                    <a:lnTo>
                      <a:pt x="1210" y="1492"/>
                    </a:lnTo>
                    <a:lnTo>
                      <a:pt x="1213" y="1492"/>
                    </a:lnTo>
                    <a:lnTo>
                      <a:pt x="1215" y="1488"/>
                    </a:lnTo>
                    <a:lnTo>
                      <a:pt x="1215" y="1485"/>
                    </a:lnTo>
                    <a:lnTo>
                      <a:pt x="1223" y="1475"/>
                    </a:lnTo>
                    <a:lnTo>
                      <a:pt x="1225" y="1475"/>
                    </a:lnTo>
                    <a:lnTo>
                      <a:pt x="1225" y="1480"/>
                    </a:lnTo>
                    <a:lnTo>
                      <a:pt x="1225" y="1482"/>
                    </a:lnTo>
                    <a:lnTo>
                      <a:pt x="1228" y="1482"/>
                    </a:lnTo>
                    <a:lnTo>
                      <a:pt x="1230" y="1490"/>
                    </a:lnTo>
                    <a:lnTo>
                      <a:pt x="1228" y="1497"/>
                    </a:lnTo>
                    <a:lnTo>
                      <a:pt x="1235" y="1500"/>
                    </a:lnTo>
                    <a:lnTo>
                      <a:pt x="1243" y="1500"/>
                    </a:lnTo>
                    <a:lnTo>
                      <a:pt x="1238" y="1498"/>
                    </a:lnTo>
                    <a:lnTo>
                      <a:pt x="1233" y="1493"/>
                    </a:lnTo>
                    <a:lnTo>
                      <a:pt x="1231" y="1488"/>
                    </a:lnTo>
                    <a:lnTo>
                      <a:pt x="1233" y="1482"/>
                    </a:lnTo>
                    <a:lnTo>
                      <a:pt x="1236" y="1478"/>
                    </a:lnTo>
                    <a:lnTo>
                      <a:pt x="1233" y="1477"/>
                    </a:lnTo>
                    <a:lnTo>
                      <a:pt x="1233" y="1472"/>
                    </a:lnTo>
                    <a:lnTo>
                      <a:pt x="1235" y="1473"/>
                    </a:lnTo>
                    <a:lnTo>
                      <a:pt x="1238" y="1472"/>
                    </a:lnTo>
                    <a:lnTo>
                      <a:pt x="1240" y="1467"/>
                    </a:lnTo>
                    <a:lnTo>
                      <a:pt x="1245" y="1462"/>
                    </a:lnTo>
                    <a:lnTo>
                      <a:pt x="1243" y="1458"/>
                    </a:lnTo>
                    <a:lnTo>
                      <a:pt x="1243" y="1453"/>
                    </a:lnTo>
                    <a:lnTo>
                      <a:pt x="1240" y="1452"/>
                    </a:lnTo>
                    <a:lnTo>
                      <a:pt x="1240" y="1447"/>
                    </a:lnTo>
                    <a:lnTo>
                      <a:pt x="1245" y="1442"/>
                    </a:lnTo>
                    <a:lnTo>
                      <a:pt x="1243" y="1440"/>
                    </a:lnTo>
                    <a:lnTo>
                      <a:pt x="1243" y="1437"/>
                    </a:lnTo>
                    <a:lnTo>
                      <a:pt x="1241" y="1437"/>
                    </a:lnTo>
                    <a:lnTo>
                      <a:pt x="1240" y="1433"/>
                    </a:lnTo>
                    <a:lnTo>
                      <a:pt x="1245" y="1422"/>
                    </a:lnTo>
                    <a:lnTo>
                      <a:pt x="1243" y="1419"/>
                    </a:lnTo>
                    <a:lnTo>
                      <a:pt x="1245" y="1410"/>
                    </a:lnTo>
                    <a:lnTo>
                      <a:pt x="1246" y="1409"/>
                    </a:lnTo>
                    <a:lnTo>
                      <a:pt x="1245" y="1405"/>
                    </a:lnTo>
                    <a:lnTo>
                      <a:pt x="1248" y="1404"/>
                    </a:lnTo>
                    <a:lnTo>
                      <a:pt x="1246" y="1400"/>
                    </a:lnTo>
                    <a:lnTo>
                      <a:pt x="1248" y="1397"/>
                    </a:lnTo>
                    <a:lnTo>
                      <a:pt x="1246" y="1397"/>
                    </a:lnTo>
                    <a:lnTo>
                      <a:pt x="1245" y="1394"/>
                    </a:lnTo>
                    <a:lnTo>
                      <a:pt x="1246" y="1394"/>
                    </a:lnTo>
                    <a:lnTo>
                      <a:pt x="1245" y="1390"/>
                    </a:lnTo>
                    <a:lnTo>
                      <a:pt x="1245" y="1385"/>
                    </a:lnTo>
                    <a:lnTo>
                      <a:pt x="1243" y="1382"/>
                    </a:lnTo>
                    <a:lnTo>
                      <a:pt x="1243" y="1377"/>
                    </a:lnTo>
                    <a:lnTo>
                      <a:pt x="1241" y="1375"/>
                    </a:lnTo>
                    <a:lnTo>
                      <a:pt x="1248" y="1372"/>
                    </a:lnTo>
                    <a:lnTo>
                      <a:pt x="1256" y="1372"/>
                    </a:lnTo>
                    <a:lnTo>
                      <a:pt x="1261" y="1367"/>
                    </a:lnTo>
                    <a:lnTo>
                      <a:pt x="1268" y="1369"/>
                    </a:lnTo>
                    <a:lnTo>
                      <a:pt x="1270" y="1365"/>
                    </a:lnTo>
                    <a:lnTo>
                      <a:pt x="1280" y="1362"/>
                    </a:lnTo>
                    <a:lnTo>
                      <a:pt x="1294" y="1357"/>
                    </a:lnTo>
                    <a:lnTo>
                      <a:pt x="1294" y="1355"/>
                    </a:lnTo>
                    <a:lnTo>
                      <a:pt x="1298" y="1352"/>
                    </a:lnTo>
                    <a:lnTo>
                      <a:pt x="1309" y="1349"/>
                    </a:lnTo>
                    <a:lnTo>
                      <a:pt x="1309" y="1344"/>
                    </a:lnTo>
                    <a:lnTo>
                      <a:pt x="1316" y="1342"/>
                    </a:lnTo>
                    <a:lnTo>
                      <a:pt x="1323" y="1332"/>
                    </a:lnTo>
                    <a:lnTo>
                      <a:pt x="1324" y="1332"/>
                    </a:lnTo>
                    <a:lnTo>
                      <a:pt x="1328" y="1335"/>
                    </a:lnTo>
                    <a:lnTo>
                      <a:pt x="1333" y="1334"/>
                    </a:lnTo>
                    <a:lnTo>
                      <a:pt x="1336" y="1330"/>
                    </a:lnTo>
                    <a:lnTo>
                      <a:pt x="1331" y="1326"/>
                    </a:lnTo>
                    <a:lnTo>
                      <a:pt x="1331" y="1321"/>
                    </a:lnTo>
                    <a:lnTo>
                      <a:pt x="1328" y="1322"/>
                    </a:lnTo>
                    <a:lnTo>
                      <a:pt x="1328" y="1327"/>
                    </a:lnTo>
                    <a:lnTo>
                      <a:pt x="1324" y="1327"/>
                    </a:lnTo>
                    <a:lnTo>
                      <a:pt x="1326" y="1322"/>
                    </a:lnTo>
                    <a:lnTo>
                      <a:pt x="1331" y="1311"/>
                    </a:lnTo>
                    <a:lnTo>
                      <a:pt x="1333" y="1309"/>
                    </a:lnTo>
                    <a:lnTo>
                      <a:pt x="1333" y="1302"/>
                    </a:lnTo>
                    <a:lnTo>
                      <a:pt x="1334" y="1297"/>
                    </a:lnTo>
                    <a:lnTo>
                      <a:pt x="1329" y="1291"/>
                    </a:lnTo>
                    <a:lnTo>
                      <a:pt x="1331" y="1277"/>
                    </a:lnTo>
                    <a:lnTo>
                      <a:pt x="1329" y="1266"/>
                    </a:lnTo>
                    <a:lnTo>
                      <a:pt x="1321" y="1256"/>
                    </a:lnTo>
                    <a:lnTo>
                      <a:pt x="1316" y="1252"/>
                    </a:lnTo>
                    <a:lnTo>
                      <a:pt x="1314" y="1247"/>
                    </a:lnTo>
                    <a:lnTo>
                      <a:pt x="1309" y="1246"/>
                    </a:lnTo>
                    <a:lnTo>
                      <a:pt x="1308" y="1242"/>
                    </a:lnTo>
                    <a:lnTo>
                      <a:pt x="1311" y="1234"/>
                    </a:lnTo>
                    <a:lnTo>
                      <a:pt x="1316" y="1232"/>
                    </a:lnTo>
                    <a:lnTo>
                      <a:pt x="1329" y="1221"/>
                    </a:lnTo>
                    <a:lnTo>
                      <a:pt x="1333" y="1219"/>
                    </a:lnTo>
                    <a:lnTo>
                      <a:pt x="1336" y="1216"/>
                    </a:lnTo>
                    <a:lnTo>
                      <a:pt x="1336" y="1213"/>
                    </a:lnTo>
                    <a:lnTo>
                      <a:pt x="1334" y="1213"/>
                    </a:lnTo>
                    <a:lnTo>
                      <a:pt x="1334" y="1211"/>
                    </a:lnTo>
                    <a:lnTo>
                      <a:pt x="1339" y="1204"/>
                    </a:lnTo>
                    <a:lnTo>
                      <a:pt x="1341" y="1204"/>
                    </a:lnTo>
                    <a:lnTo>
                      <a:pt x="1344" y="1209"/>
                    </a:lnTo>
                    <a:lnTo>
                      <a:pt x="1348" y="1211"/>
                    </a:lnTo>
                    <a:lnTo>
                      <a:pt x="1346" y="1209"/>
                    </a:lnTo>
                    <a:lnTo>
                      <a:pt x="1346" y="1204"/>
                    </a:lnTo>
                    <a:lnTo>
                      <a:pt x="1351" y="1201"/>
                    </a:lnTo>
                    <a:lnTo>
                      <a:pt x="1356" y="1193"/>
                    </a:lnTo>
                    <a:lnTo>
                      <a:pt x="1356" y="1191"/>
                    </a:lnTo>
                    <a:lnTo>
                      <a:pt x="1349" y="1191"/>
                    </a:lnTo>
                    <a:lnTo>
                      <a:pt x="1349" y="1189"/>
                    </a:lnTo>
                    <a:lnTo>
                      <a:pt x="1353" y="1184"/>
                    </a:lnTo>
                    <a:lnTo>
                      <a:pt x="1351" y="1181"/>
                    </a:lnTo>
                    <a:lnTo>
                      <a:pt x="1349" y="1179"/>
                    </a:lnTo>
                    <a:lnTo>
                      <a:pt x="1353" y="1174"/>
                    </a:lnTo>
                    <a:lnTo>
                      <a:pt x="1356" y="1174"/>
                    </a:lnTo>
                    <a:lnTo>
                      <a:pt x="1351" y="1173"/>
                    </a:lnTo>
                    <a:lnTo>
                      <a:pt x="1351" y="1171"/>
                    </a:lnTo>
                    <a:lnTo>
                      <a:pt x="1353" y="1164"/>
                    </a:lnTo>
                    <a:lnTo>
                      <a:pt x="1358" y="1163"/>
                    </a:lnTo>
                    <a:lnTo>
                      <a:pt x="1354" y="1161"/>
                    </a:lnTo>
                    <a:lnTo>
                      <a:pt x="1346" y="1163"/>
                    </a:lnTo>
                    <a:lnTo>
                      <a:pt x="1344" y="1161"/>
                    </a:lnTo>
                    <a:lnTo>
                      <a:pt x="1344" y="1158"/>
                    </a:lnTo>
                    <a:lnTo>
                      <a:pt x="1354" y="1151"/>
                    </a:lnTo>
                    <a:lnTo>
                      <a:pt x="1361" y="1143"/>
                    </a:lnTo>
                    <a:lnTo>
                      <a:pt x="1363" y="1138"/>
                    </a:lnTo>
                    <a:lnTo>
                      <a:pt x="1366" y="1138"/>
                    </a:lnTo>
                    <a:lnTo>
                      <a:pt x="1368" y="1136"/>
                    </a:lnTo>
                    <a:lnTo>
                      <a:pt x="1368" y="1131"/>
                    </a:lnTo>
                    <a:lnTo>
                      <a:pt x="1364" y="1130"/>
                    </a:lnTo>
                    <a:lnTo>
                      <a:pt x="1364" y="1128"/>
                    </a:lnTo>
                    <a:lnTo>
                      <a:pt x="1363" y="1128"/>
                    </a:lnTo>
                    <a:lnTo>
                      <a:pt x="1359" y="1123"/>
                    </a:lnTo>
                    <a:lnTo>
                      <a:pt x="1359" y="1115"/>
                    </a:lnTo>
                    <a:lnTo>
                      <a:pt x="1363" y="1108"/>
                    </a:lnTo>
                    <a:lnTo>
                      <a:pt x="1363" y="1103"/>
                    </a:lnTo>
                    <a:lnTo>
                      <a:pt x="1366" y="1101"/>
                    </a:lnTo>
                    <a:lnTo>
                      <a:pt x="1368" y="1101"/>
                    </a:lnTo>
                    <a:lnTo>
                      <a:pt x="1371" y="1101"/>
                    </a:lnTo>
                    <a:lnTo>
                      <a:pt x="1371" y="1100"/>
                    </a:lnTo>
                    <a:lnTo>
                      <a:pt x="1374" y="1096"/>
                    </a:lnTo>
                    <a:lnTo>
                      <a:pt x="1378" y="1096"/>
                    </a:lnTo>
                    <a:lnTo>
                      <a:pt x="1381" y="1095"/>
                    </a:lnTo>
                    <a:lnTo>
                      <a:pt x="1383" y="1096"/>
                    </a:lnTo>
                    <a:lnTo>
                      <a:pt x="1391" y="1096"/>
                    </a:lnTo>
                    <a:lnTo>
                      <a:pt x="1399" y="1101"/>
                    </a:lnTo>
                    <a:lnTo>
                      <a:pt x="1411" y="1106"/>
                    </a:lnTo>
                    <a:lnTo>
                      <a:pt x="1416" y="1106"/>
                    </a:lnTo>
                    <a:lnTo>
                      <a:pt x="1414" y="1110"/>
                    </a:lnTo>
                    <a:lnTo>
                      <a:pt x="1409" y="1113"/>
                    </a:lnTo>
                    <a:lnTo>
                      <a:pt x="1416" y="1113"/>
                    </a:lnTo>
                    <a:lnTo>
                      <a:pt x="1422" y="1108"/>
                    </a:lnTo>
                    <a:lnTo>
                      <a:pt x="1427" y="1108"/>
                    </a:lnTo>
                    <a:lnTo>
                      <a:pt x="1431" y="1111"/>
                    </a:lnTo>
                    <a:lnTo>
                      <a:pt x="1434" y="1111"/>
                    </a:lnTo>
                    <a:lnTo>
                      <a:pt x="1437" y="1115"/>
                    </a:lnTo>
                    <a:lnTo>
                      <a:pt x="1437" y="1110"/>
                    </a:lnTo>
                    <a:lnTo>
                      <a:pt x="1442" y="1113"/>
                    </a:lnTo>
                    <a:lnTo>
                      <a:pt x="1446" y="1110"/>
                    </a:lnTo>
                    <a:lnTo>
                      <a:pt x="1449" y="1110"/>
                    </a:lnTo>
                    <a:lnTo>
                      <a:pt x="1456" y="1106"/>
                    </a:lnTo>
                    <a:lnTo>
                      <a:pt x="1464" y="1113"/>
                    </a:lnTo>
                    <a:lnTo>
                      <a:pt x="1464" y="1116"/>
                    </a:lnTo>
                    <a:lnTo>
                      <a:pt x="1469" y="1121"/>
                    </a:lnTo>
                    <a:lnTo>
                      <a:pt x="1474" y="1121"/>
                    </a:lnTo>
                    <a:lnTo>
                      <a:pt x="1474" y="1128"/>
                    </a:lnTo>
                    <a:lnTo>
                      <a:pt x="1471" y="1131"/>
                    </a:lnTo>
                    <a:lnTo>
                      <a:pt x="1471" y="1134"/>
                    </a:lnTo>
                    <a:lnTo>
                      <a:pt x="1474" y="1133"/>
                    </a:lnTo>
                    <a:lnTo>
                      <a:pt x="1479" y="1136"/>
                    </a:lnTo>
                    <a:lnTo>
                      <a:pt x="1482" y="1141"/>
                    </a:lnTo>
                    <a:lnTo>
                      <a:pt x="1477" y="1143"/>
                    </a:lnTo>
                    <a:lnTo>
                      <a:pt x="1482" y="1146"/>
                    </a:lnTo>
                    <a:lnTo>
                      <a:pt x="1485" y="1143"/>
                    </a:lnTo>
                    <a:lnTo>
                      <a:pt x="1489" y="1148"/>
                    </a:lnTo>
                    <a:lnTo>
                      <a:pt x="1489" y="1151"/>
                    </a:lnTo>
                    <a:lnTo>
                      <a:pt x="1485" y="1148"/>
                    </a:lnTo>
                    <a:lnTo>
                      <a:pt x="1482" y="1151"/>
                    </a:lnTo>
                    <a:lnTo>
                      <a:pt x="1479" y="1151"/>
                    </a:lnTo>
                    <a:lnTo>
                      <a:pt x="1484" y="1158"/>
                    </a:lnTo>
                    <a:lnTo>
                      <a:pt x="1484" y="1161"/>
                    </a:lnTo>
                    <a:lnTo>
                      <a:pt x="1489" y="1158"/>
                    </a:lnTo>
                    <a:lnTo>
                      <a:pt x="1489" y="1161"/>
                    </a:lnTo>
                    <a:lnTo>
                      <a:pt x="1492" y="1159"/>
                    </a:lnTo>
                    <a:lnTo>
                      <a:pt x="1500" y="1164"/>
                    </a:lnTo>
                    <a:lnTo>
                      <a:pt x="1502" y="1164"/>
                    </a:lnTo>
                    <a:lnTo>
                      <a:pt x="1505" y="1166"/>
                    </a:lnTo>
                    <a:lnTo>
                      <a:pt x="1510" y="1164"/>
                    </a:lnTo>
                    <a:lnTo>
                      <a:pt x="1515" y="1166"/>
                    </a:lnTo>
                    <a:lnTo>
                      <a:pt x="1515" y="1174"/>
                    </a:lnTo>
                    <a:lnTo>
                      <a:pt x="1517" y="1178"/>
                    </a:lnTo>
                    <a:lnTo>
                      <a:pt x="1524" y="1173"/>
                    </a:lnTo>
                    <a:lnTo>
                      <a:pt x="1524" y="1168"/>
                    </a:lnTo>
                    <a:lnTo>
                      <a:pt x="1529" y="1166"/>
                    </a:lnTo>
                    <a:lnTo>
                      <a:pt x="1529" y="1174"/>
                    </a:lnTo>
                    <a:lnTo>
                      <a:pt x="1527" y="1181"/>
                    </a:lnTo>
                    <a:lnTo>
                      <a:pt x="1520" y="1183"/>
                    </a:lnTo>
                    <a:lnTo>
                      <a:pt x="1515" y="1189"/>
                    </a:lnTo>
                    <a:lnTo>
                      <a:pt x="1517" y="1199"/>
                    </a:lnTo>
                    <a:lnTo>
                      <a:pt x="1515" y="1204"/>
                    </a:lnTo>
                    <a:lnTo>
                      <a:pt x="1514" y="1198"/>
                    </a:lnTo>
                    <a:lnTo>
                      <a:pt x="1512" y="1201"/>
                    </a:lnTo>
                    <a:lnTo>
                      <a:pt x="1510" y="1208"/>
                    </a:lnTo>
                    <a:lnTo>
                      <a:pt x="1500" y="1206"/>
                    </a:lnTo>
                    <a:lnTo>
                      <a:pt x="1487" y="1203"/>
                    </a:lnTo>
                    <a:lnTo>
                      <a:pt x="1499" y="1208"/>
                    </a:lnTo>
                    <a:lnTo>
                      <a:pt x="1507" y="1209"/>
                    </a:lnTo>
                    <a:lnTo>
                      <a:pt x="1514" y="1214"/>
                    </a:lnTo>
                    <a:lnTo>
                      <a:pt x="1514" y="1223"/>
                    </a:lnTo>
                    <a:lnTo>
                      <a:pt x="1509" y="1228"/>
                    </a:lnTo>
                    <a:lnTo>
                      <a:pt x="1509" y="1229"/>
                    </a:lnTo>
                    <a:lnTo>
                      <a:pt x="1504" y="1236"/>
                    </a:lnTo>
                    <a:lnTo>
                      <a:pt x="1505" y="1236"/>
                    </a:lnTo>
                    <a:lnTo>
                      <a:pt x="1512" y="1244"/>
                    </a:lnTo>
                    <a:lnTo>
                      <a:pt x="1515" y="1246"/>
                    </a:lnTo>
                    <a:lnTo>
                      <a:pt x="1512" y="1247"/>
                    </a:lnTo>
                    <a:lnTo>
                      <a:pt x="1504" y="1244"/>
                    </a:lnTo>
                    <a:lnTo>
                      <a:pt x="1510" y="1251"/>
                    </a:lnTo>
                    <a:lnTo>
                      <a:pt x="1514" y="1254"/>
                    </a:lnTo>
                    <a:lnTo>
                      <a:pt x="1515" y="1254"/>
                    </a:lnTo>
                    <a:lnTo>
                      <a:pt x="1514" y="1249"/>
                    </a:lnTo>
                    <a:lnTo>
                      <a:pt x="1519" y="1249"/>
                    </a:lnTo>
                    <a:lnTo>
                      <a:pt x="1524" y="1252"/>
                    </a:lnTo>
                    <a:lnTo>
                      <a:pt x="1525" y="1257"/>
                    </a:lnTo>
                    <a:lnTo>
                      <a:pt x="1525" y="1262"/>
                    </a:lnTo>
                    <a:lnTo>
                      <a:pt x="1525" y="1267"/>
                    </a:lnTo>
                    <a:lnTo>
                      <a:pt x="1520" y="1274"/>
                    </a:lnTo>
                    <a:lnTo>
                      <a:pt x="1519" y="1279"/>
                    </a:lnTo>
                    <a:lnTo>
                      <a:pt x="1515" y="1282"/>
                    </a:lnTo>
                    <a:lnTo>
                      <a:pt x="1520" y="1281"/>
                    </a:lnTo>
                    <a:lnTo>
                      <a:pt x="1527" y="1269"/>
                    </a:lnTo>
                    <a:lnTo>
                      <a:pt x="1534" y="1264"/>
                    </a:lnTo>
                    <a:lnTo>
                      <a:pt x="1535" y="1264"/>
                    </a:lnTo>
                    <a:lnTo>
                      <a:pt x="1534" y="1267"/>
                    </a:lnTo>
                    <a:lnTo>
                      <a:pt x="1535" y="1277"/>
                    </a:lnTo>
                    <a:lnTo>
                      <a:pt x="1534" y="1279"/>
                    </a:lnTo>
                    <a:lnTo>
                      <a:pt x="1534" y="1282"/>
                    </a:lnTo>
                    <a:lnTo>
                      <a:pt x="1532" y="1287"/>
                    </a:lnTo>
                    <a:lnTo>
                      <a:pt x="1537" y="1281"/>
                    </a:lnTo>
                    <a:lnTo>
                      <a:pt x="1537" y="1276"/>
                    </a:lnTo>
                    <a:lnTo>
                      <a:pt x="1544" y="1272"/>
                    </a:lnTo>
                    <a:lnTo>
                      <a:pt x="1547" y="1272"/>
                    </a:lnTo>
                    <a:lnTo>
                      <a:pt x="1552" y="1269"/>
                    </a:lnTo>
                    <a:lnTo>
                      <a:pt x="1555" y="1269"/>
                    </a:lnTo>
                    <a:lnTo>
                      <a:pt x="1555" y="1271"/>
                    </a:lnTo>
                    <a:lnTo>
                      <a:pt x="1557" y="1269"/>
                    </a:lnTo>
                    <a:lnTo>
                      <a:pt x="1562" y="1267"/>
                    </a:lnTo>
                    <a:lnTo>
                      <a:pt x="1564" y="1264"/>
                    </a:lnTo>
                    <a:lnTo>
                      <a:pt x="1565" y="1259"/>
                    </a:lnTo>
                    <a:lnTo>
                      <a:pt x="1572" y="1256"/>
                    </a:lnTo>
                    <a:lnTo>
                      <a:pt x="1575" y="1257"/>
                    </a:lnTo>
                    <a:lnTo>
                      <a:pt x="1577" y="1264"/>
                    </a:lnTo>
                    <a:lnTo>
                      <a:pt x="1577" y="1269"/>
                    </a:lnTo>
                    <a:lnTo>
                      <a:pt x="1580" y="1262"/>
                    </a:lnTo>
                    <a:lnTo>
                      <a:pt x="1579" y="1256"/>
                    </a:lnTo>
                    <a:lnTo>
                      <a:pt x="1582" y="1256"/>
                    </a:lnTo>
                    <a:lnTo>
                      <a:pt x="1580" y="1254"/>
                    </a:lnTo>
                    <a:lnTo>
                      <a:pt x="1583" y="1249"/>
                    </a:lnTo>
                    <a:lnTo>
                      <a:pt x="1587" y="1249"/>
                    </a:lnTo>
                    <a:lnTo>
                      <a:pt x="1588" y="1244"/>
                    </a:lnTo>
                    <a:lnTo>
                      <a:pt x="1592" y="1241"/>
                    </a:lnTo>
                    <a:lnTo>
                      <a:pt x="1595" y="1237"/>
                    </a:lnTo>
                    <a:lnTo>
                      <a:pt x="1597" y="1234"/>
                    </a:lnTo>
                    <a:lnTo>
                      <a:pt x="1600" y="1234"/>
                    </a:lnTo>
                    <a:lnTo>
                      <a:pt x="1603" y="1237"/>
                    </a:lnTo>
                    <a:lnTo>
                      <a:pt x="1603" y="1236"/>
                    </a:lnTo>
                    <a:lnTo>
                      <a:pt x="1602" y="1232"/>
                    </a:lnTo>
                    <a:lnTo>
                      <a:pt x="1597" y="1232"/>
                    </a:lnTo>
                    <a:lnTo>
                      <a:pt x="1597" y="1229"/>
                    </a:lnTo>
                    <a:lnTo>
                      <a:pt x="1600" y="1223"/>
                    </a:lnTo>
                    <a:lnTo>
                      <a:pt x="1603" y="1221"/>
                    </a:lnTo>
                    <a:lnTo>
                      <a:pt x="1605" y="1224"/>
                    </a:lnTo>
                    <a:lnTo>
                      <a:pt x="1605" y="1219"/>
                    </a:lnTo>
                    <a:lnTo>
                      <a:pt x="1608" y="1218"/>
                    </a:lnTo>
                    <a:lnTo>
                      <a:pt x="1608" y="1214"/>
                    </a:lnTo>
                    <a:lnTo>
                      <a:pt x="1613" y="1209"/>
                    </a:lnTo>
                    <a:lnTo>
                      <a:pt x="1617" y="1206"/>
                    </a:lnTo>
                    <a:lnTo>
                      <a:pt x="1615" y="1203"/>
                    </a:lnTo>
                    <a:lnTo>
                      <a:pt x="1620" y="1198"/>
                    </a:lnTo>
                    <a:lnTo>
                      <a:pt x="1625" y="1196"/>
                    </a:lnTo>
                    <a:lnTo>
                      <a:pt x="1627" y="1198"/>
                    </a:lnTo>
                    <a:lnTo>
                      <a:pt x="1622" y="1201"/>
                    </a:lnTo>
                    <a:lnTo>
                      <a:pt x="1627" y="1199"/>
                    </a:lnTo>
                    <a:lnTo>
                      <a:pt x="1628" y="1201"/>
                    </a:lnTo>
                    <a:lnTo>
                      <a:pt x="1625" y="1203"/>
                    </a:lnTo>
                    <a:lnTo>
                      <a:pt x="1625" y="1206"/>
                    </a:lnTo>
                    <a:lnTo>
                      <a:pt x="1628" y="1208"/>
                    </a:lnTo>
                    <a:lnTo>
                      <a:pt x="1625" y="1211"/>
                    </a:lnTo>
                    <a:lnTo>
                      <a:pt x="1622" y="1213"/>
                    </a:lnTo>
                    <a:lnTo>
                      <a:pt x="1622" y="1213"/>
                    </a:lnTo>
                    <a:lnTo>
                      <a:pt x="1625" y="1214"/>
                    </a:lnTo>
                    <a:lnTo>
                      <a:pt x="1628" y="1214"/>
                    </a:lnTo>
                    <a:lnTo>
                      <a:pt x="1627" y="1218"/>
                    </a:lnTo>
                    <a:lnTo>
                      <a:pt x="1625" y="1219"/>
                    </a:lnTo>
                    <a:lnTo>
                      <a:pt x="1628" y="1219"/>
                    </a:lnTo>
                    <a:lnTo>
                      <a:pt x="1630" y="1223"/>
                    </a:lnTo>
                    <a:lnTo>
                      <a:pt x="1627" y="1226"/>
                    </a:lnTo>
                    <a:lnTo>
                      <a:pt x="1627" y="1229"/>
                    </a:lnTo>
                    <a:lnTo>
                      <a:pt x="1632" y="1232"/>
                    </a:lnTo>
                    <a:lnTo>
                      <a:pt x="1632" y="1239"/>
                    </a:lnTo>
                    <a:lnTo>
                      <a:pt x="1630" y="1241"/>
                    </a:lnTo>
                    <a:lnTo>
                      <a:pt x="1628" y="1239"/>
                    </a:lnTo>
                    <a:lnTo>
                      <a:pt x="1625" y="1239"/>
                    </a:lnTo>
                    <a:lnTo>
                      <a:pt x="1628" y="1242"/>
                    </a:lnTo>
                    <a:lnTo>
                      <a:pt x="1628" y="1244"/>
                    </a:lnTo>
                    <a:lnTo>
                      <a:pt x="1632" y="1244"/>
                    </a:lnTo>
                    <a:lnTo>
                      <a:pt x="1633" y="1242"/>
                    </a:lnTo>
                    <a:lnTo>
                      <a:pt x="1635" y="1246"/>
                    </a:lnTo>
                    <a:lnTo>
                      <a:pt x="1638" y="1247"/>
                    </a:lnTo>
                    <a:lnTo>
                      <a:pt x="1635" y="1252"/>
                    </a:lnTo>
                    <a:lnTo>
                      <a:pt x="1630" y="1254"/>
                    </a:lnTo>
                    <a:lnTo>
                      <a:pt x="1625" y="1252"/>
                    </a:lnTo>
                    <a:lnTo>
                      <a:pt x="1622" y="1256"/>
                    </a:lnTo>
                    <a:lnTo>
                      <a:pt x="1627" y="1257"/>
                    </a:lnTo>
                    <a:lnTo>
                      <a:pt x="1637" y="1254"/>
                    </a:lnTo>
                    <a:lnTo>
                      <a:pt x="1642" y="1256"/>
                    </a:lnTo>
                    <a:lnTo>
                      <a:pt x="1640" y="1259"/>
                    </a:lnTo>
                    <a:lnTo>
                      <a:pt x="1635" y="1264"/>
                    </a:lnTo>
                    <a:lnTo>
                      <a:pt x="1638" y="1264"/>
                    </a:lnTo>
                    <a:lnTo>
                      <a:pt x="1643" y="1262"/>
                    </a:lnTo>
                    <a:lnTo>
                      <a:pt x="1643" y="1267"/>
                    </a:lnTo>
                    <a:lnTo>
                      <a:pt x="1638" y="1272"/>
                    </a:lnTo>
                    <a:lnTo>
                      <a:pt x="1632" y="1272"/>
                    </a:lnTo>
                    <a:lnTo>
                      <a:pt x="1628" y="1271"/>
                    </a:lnTo>
                    <a:lnTo>
                      <a:pt x="1625" y="1274"/>
                    </a:lnTo>
                    <a:lnTo>
                      <a:pt x="1627" y="1276"/>
                    </a:lnTo>
                    <a:lnTo>
                      <a:pt x="1625" y="1279"/>
                    </a:lnTo>
                    <a:lnTo>
                      <a:pt x="1632" y="1277"/>
                    </a:lnTo>
                    <a:lnTo>
                      <a:pt x="1640" y="1277"/>
                    </a:lnTo>
                    <a:lnTo>
                      <a:pt x="1645" y="1276"/>
                    </a:lnTo>
                    <a:lnTo>
                      <a:pt x="1647" y="1276"/>
                    </a:lnTo>
                    <a:lnTo>
                      <a:pt x="1643" y="1279"/>
                    </a:lnTo>
                    <a:lnTo>
                      <a:pt x="1643" y="1281"/>
                    </a:lnTo>
                    <a:lnTo>
                      <a:pt x="1638" y="1284"/>
                    </a:lnTo>
                    <a:lnTo>
                      <a:pt x="1635" y="1284"/>
                    </a:lnTo>
                    <a:lnTo>
                      <a:pt x="1627" y="1292"/>
                    </a:lnTo>
                    <a:lnTo>
                      <a:pt x="1635" y="1289"/>
                    </a:lnTo>
                    <a:lnTo>
                      <a:pt x="1640" y="1289"/>
                    </a:lnTo>
                    <a:lnTo>
                      <a:pt x="1643" y="1287"/>
                    </a:lnTo>
                    <a:lnTo>
                      <a:pt x="1648" y="1287"/>
                    </a:lnTo>
                    <a:lnTo>
                      <a:pt x="1648" y="1292"/>
                    </a:lnTo>
                    <a:lnTo>
                      <a:pt x="1645" y="1292"/>
                    </a:lnTo>
                    <a:lnTo>
                      <a:pt x="1640" y="1296"/>
                    </a:lnTo>
                    <a:lnTo>
                      <a:pt x="1638" y="1299"/>
                    </a:lnTo>
                    <a:lnTo>
                      <a:pt x="1640" y="1297"/>
                    </a:lnTo>
                    <a:lnTo>
                      <a:pt x="1645" y="1299"/>
                    </a:lnTo>
                    <a:lnTo>
                      <a:pt x="1648" y="1296"/>
                    </a:lnTo>
                    <a:lnTo>
                      <a:pt x="1653" y="1299"/>
                    </a:lnTo>
                    <a:lnTo>
                      <a:pt x="1655" y="1307"/>
                    </a:lnTo>
                    <a:lnTo>
                      <a:pt x="1650" y="1311"/>
                    </a:lnTo>
                    <a:lnTo>
                      <a:pt x="1647" y="1309"/>
                    </a:lnTo>
                    <a:lnTo>
                      <a:pt x="1645" y="1311"/>
                    </a:lnTo>
                    <a:lnTo>
                      <a:pt x="1640" y="1311"/>
                    </a:lnTo>
                    <a:lnTo>
                      <a:pt x="1643" y="1314"/>
                    </a:lnTo>
                    <a:lnTo>
                      <a:pt x="1647" y="1314"/>
                    </a:lnTo>
                    <a:lnTo>
                      <a:pt x="1648" y="1314"/>
                    </a:lnTo>
                    <a:lnTo>
                      <a:pt x="1653" y="1314"/>
                    </a:lnTo>
                    <a:lnTo>
                      <a:pt x="1655" y="1317"/>
                    </a:lnTo>
                    <a:lnTo>
                      <a:pt x="1655" y="1321"/>
                    </a:lnTo>
                    <a:lnTo>
                      <a:pt x="1652" y="1322"/>
                    </a:lnTo>
                    <a:lnTo>
                      <a:pt x="1655" y="1324"/>
                    </a:lnTo>
                    <a:lnTo>
                      <a:pt x="1658" y="1322"/>
                    </a:lnTo>
                    <a:lnTo>
                      <a:pt x="1663" y="1327"/>
                    </a:lnTo>
                    <a:lnTo>
                      <a:pt x="1662" y="1330"/>
                    </a:lnTo>
                    <a:lnTo>
                      <a:pt x="1658" y="1332"/>
                    </a:lnTo>
                    <a:lnTo>
                      <a:pt x="1653" y="1337"/>
                    </a:lnTo>
                    <a:lnTo>
                      <a:pt x="1648" y="1335"/>
                    </a:lnTo>
                    <a:lnTo>
                      <a:pt x="1648" y="1337"/>
                    </a:lnTo>
                    <a:lnTo>
                      <a:pt x="1652" y="1339"/>
                    </a:lnTo>
                    <a:lnTo>
                      <a:pt x="1652" y="1342"/>
                    </a:lnTo>
                    <a:lnTo>
                      <a:pt x="1647" y="1342"/>
                    </a:lnTo>
                    <a:lnTo>
                      <a:pt x="1642" y="1339"/>
                    </a:lnTo>
                    <a:lnTo>
                      <a:pt x="1635" y="1339"/>
                    </a:lnTo>
                    <a:lnTo>
                      <a:pt x="1640" y="1342"/>
                    </a:lnTo>
                    <a:lnTo>
                      <a:pt x="1640" y="1345"/>
                    </a:lnTo>
                    <a:lnTo>
                      <a:pt x="1645" y="1350"/>
                    </a:lnTo>
                    <a:lnTo>
                      <a:pt x="1648" y="1352"/>
                    </a:lnTo>
                    <a:lnTo>
                      <a:pt x="1647" y="1355"/>
                    </a:lnTo>
                    <a:lnTo>
                      <a:pt x="1642" y="1355"/>
                    </a:lnTo>
                    <a:lnTo>
                      <a:pt x="1640" y="1359"/>
                    </a:lnTo>
                    <a:lnTo>
                      <a:pt x="1633" y="1357"/>
                    </a:lnTo>
                    <a:lnTo>
                      <a:pt x="1642" y="1360"/>
                    </a:lnTo>
                    <a:lnTo>
                      <a:pt x="1645" y="1359"/>
                    </a:lnTo>
                    <a:lnTo>
                      <a:pt x="1645" y="1357"/>
                    </a:lnTo>
                    <a:lnTo>
                      <a:pt x="1652" y="1355"/>
                    </a:lnTo>
                    <a:lnTo>
                      <a:pt x="1655" y="1357"/>
                    </a:lnTo>
                    <a:lnTo>
                      <a:pt x="1655" y="1360"/>
                    </a:lnTo>
                    <a:lnTo>
                      <a:pt x="1657" y="1362"/>
                    </a:lnTo>
                    <a:lnTo>
                      <a:pt x="1653" y="1364"/>
                    </a:lnTo>
                    <a:lnTo>
                      <a:pt x="1657" y="1364"/>
                    </a:lnTo>
                    <a:lnTo>
                      <a:pt x="1658" y="1365"/>
                    </a:lnTo>
                    <a:lnTo>
                      <a:pt x="1657" y="1369"/>
                    </a:lnTo>
                    <a:lnTo>
                      <a:pt x="1658" y="1370"/>
                    </a:lnTo>
                    <a:lnTo>
                      <a:pt x="1663" y="1367"/>
                    </a:lnTo>
                    <a:lnTo>
                      <a:pt x="1665" y="1369"/>
                    </a:lnTo>
                    <a:lnTo>
                      <a:pt x="1668" y="1369"/>
                    </a:lnTo>
                    <a:lnTo>
                      <a:pt x="1667" y="1374"/>
                    </a:lnTo>
                    <a:lnTo>
                      <a:pt x="1665" y="1377"/>
                    </a:lnTo>
                    <a:lnTo>
                      <a:pt x="1665" y="1379"/>
                    </a:lnTo>
                    <a:lnTo>
                      <a:pt x="1668" y="1379"/>
                    </a:lnTo>
                    <a:lnTo>
                      <a:pt x="1673" y="1374"/>
                    </a:lnTo>
                    <a:lnTo>
                      <a:pt x="1673" y="1374"/>
                    </a:lnTo>
                    <a:lnTo>
                      <a:pt x="1673" y="1377"/>
                    </a:lnTo>
                    <a:lnTo>
                      <a:pt x="1677" y="1380"/>
                    </a:lnTo>
                    <a:lnTo>
                      <a:pt x="1670" y="1384"/>
                    </a:lnTo>
                    <a:lnTo>
                      <a:pt x="1663" y="1392"/>
                    </a:lnTo>
                    <a:lnTo>
                      <a:pt x="1658" y="1395"/>
                    </a:lnTo>
                    <a:lnTo>
                      <a:pt x="1653" y="1394"/>
                    </a:lnTo>
                    <a:lnTo>
                      <a:pt x="1658" y="1397"/>
                    </a:lnTo>
                    <a:lnTo>
                      <a:pt x="1662" y="1395"/>
                    </a:lnTo>
                    <a:lnTo>
                      <a:pt x="1672" y="1387"/>
                    </a:lnTo>
                    <a:lnTo>
                      <a:pt x="1675" y="1387"/>
                    </a:lnTo>
                    <a:lnTo>
                      <a:pt x="1675" y="1390"/>
                    </a:lnTo>
                    <a:lnTo>
                      <a:pt x="1672" y="1392"/>
                    </a:lnTo>
                    <a:lnTo>
                      <a:pt x="1668" y="1397"/>
                    </a:lnTo>
                    <a:lnTo>
                      <a:pt x="1672" y="1397"/>
                    </a:lnTo>
                    <a:lnTo>
                      <a:pt x="1677" y="1392"/>
                    </a:lnTo>
                    <a:lnTo>
                      <a:pt x="1680" y="1387"/>
                    </a:lnTo>
                    <a:lnTo>
                      <a:pt x="1685" y="1387"/>
                    </a:lnTo>
                    <a:lnTo>
                      <a:pt x="1685" y="1389"/>
                    </a:lnTo>
                    <a:lnTo>
                      <a:pt x="1682" y="1390"/>
                    </a:lnTo>
                    <a:lnTo>
                      <a:pt x="1680" y="1392"/>
                    </a:lnTo>
                    <a:lnTo>
                      <a:pt x="1682" y="1394"/>
                    </a:lnTo>
                    <a:lnTo>
                      <a:pt x="1688" y="1390"/>
                    </a:lnTo>
                    <a:lnTo>
                      <a:pt x="1690" y="1394"/>
                    </a:lnTo>
                    <a:lnTo>
                      <a:pt x="1683" y="1397"/>
                    </a:lnTo>
                    <a:lnTo>
                      <a:pt x="1680" y="1400"/>
                    </a:lnTo>
                    <a:lnTo>
                      <a:pt x="1682" y="1402"/>
                    </a:lnTo>
                    <a:lnTo>
                      <a:pt x="1686" y="1399"/>
                    </a:lnTo>
                    <a:lnTo>
                      <a:pt x="1695" y="1392"/>
                    </a:lnTo>
                    <a:lnTo>
                      <a:pt x="1696" y="1392"/>
                    </a:lnTo>
                    <a:lnTo>
                      <a:pt x="1695" y="1394"/>
                    </a:lnTo>
                    <a:lnTo>
                      <a:pt x="1693" y="1395"/>
                    </a:lnTo>
                    <a:lnTo>
                      <a:pt x="1700" y="1392"/>
                    </a:lnTo>
                    <a:lnTo>
                      <a:pt x="1700" y="1394"/>
                    </a:lnTo>
                    <a:lnTo>
                      <a:pt x="1700" y="1402"/>
                    </a:lnTo>
                    <a:lnTo>
                      <a:pt x="1696" y="1402"/>
                    </a:lnTo>
                    <a:lnTo>
                      <a:pt x="1698" y="1405"/>
                    </a:lnTo>
                    <a:lnTo>
                      <a:pt x="1703" y="1404"/>
                    </a:lnTo>
                    <a:lnTo>
                      <a:pt x="1708" y="1407"/>
                    </a:lnTo>
                    <a:lnTo>
                      <a:pt x="1711" y="1404"/>
                    </a:lnTo>
                    <a:lnTo>
                      <a:pt x="1718" y="1402"/>
                    </a:lnTo>
                    <a:lnTo>
                      <a:pt x="1721" y="1402"/>
                    </a:lnTo>
                    <a:lnTo>
                      <a:pt x="1720" y="1407"/>
                    </a:lnTo>
                    <a:lnTo>
                      <a:pt x="1716" y="1407"/>
                    </a:lnTo>
                    <a:lnTo>
                      <a:pt x="1715" y="1409"/>
                    </a:lnTo>
                    <a:lnTo>
                      <a:pt x="1726" y="1412"/>
                    </a:lnTo>
                    <a:lnTo>
                      <a:pt x="1731" y="1415"/>
                    </a:lnTo>
                    <a:lnTo>
                      <a:pt x="1723" y="1415"/>
                    </a:lnTo>
                    <a:lnTo>
                      <a:pt x="1723" y="1417"/>
                    </a:lnTo>
                    <a:lnTo>
                      <a:pt x="1713" y="1419"/>
                    </a:lnTo>
                    <a:lnTo>
                      <a:pt x="1711" y="1417"/>
                    </a:lnTo>
                    <a:lnTo>
                      <a:pt x="1705" y="1420"/>
                    </a:lnTo>
                    <a:lnTo>
                      <a:pt x="1700" y="1424"/>
                    </a:lnTo>
                    <a:lnTo>
                      <a:pt x="1691" y="1425"/>
                    </a:lnTo>
                    <a:lnTo>
                      <a:pt x="1678" y="1427"/>
                    </a:lnTo>
                    <a:lnTo>
                      <a:pt x="1678" y="1430"/>
                    </a:lnTo>
                    <a:lnTo>
                      <a:pt x="1686" y="1428"/>
                    </a:lnTo>
                    <a:lnTo>
                      <a:pt x="1696" y="1425"/>
                    </a:lnTo>
                    <a:lnTo>
                      <a:pt x="1700" y="1425"/>
                    </a:lnTo>
                    <a:lnTo>
                      <a:pt x="1700" y="1428"/>
                    </a:lnTo>
                    <a:lnTo>
                      <a:pt x="1691" y="1428"/>
                    </a:lnTo>
                    <a:lnTo>
                      <a:pt x="1682" y="1430"/>
                    </a:lnTo>
                    <a:lnTo>
                      <a:pt x="1673" y="1435"/>
                    </a:lnTo>
                    <a:lnTo>
                      <a:pt x="1672" y="1437"/>
                    </a:lnTo>
                    <a:lnTo>
                      <a:pt x="1665" y="1437"/>
                    </a:lnTo>
                    <a:lnTo>
                      <a:pt x="1665" y="1442"/>
                    </a:lnTo>
                    <a:lnTo>
                      <a:pt x="1663" y="1443"/>
                    </a:lnTo>
                    <a:lnTo>
                      <a:pt x="1653" y="1438"/>
                    </a:lnTo>
                    <a:lnTo>
                      <a:pt x="1648" y="1430"/>
                    </a:lnTo>
                    <a:lnTo>
                      <a:pt x="1650" y="1433"/>
                    </a:lnTo>
                    <a:lnTo>
                      <a:pt x="1648" y="1437"/>
                    </a:lnTo>
                    <a:lnTo>
                      <a:pt x="1652" y="1438"/>
                    </a:lnTo>
                    <a:lnTo>
                      <a:pt x="1653" y="1440"/>
                    </a:lnTo>
                    <a:lnTo>
                      <a:pt x="1662" y="1447"/>
                    </a:lnTo>
                    <a:lnTo>
                      <a:pt x="1660" y="1450"/>
                    </a:lnTo>
                    <a:lnTo>
                      <a:pt x="1658" y="1448"/>
                    </a:lnTo>
                    <a:lnTo>
                      <a:pt x="1655" y="1452"/>
                    </a:lnTo>
                    <a:lnTo>
                      <a:pt x="1657" y="1455"/>
                    </a:lnTo>
                    <a:lnTo>
                      <a:pt x="1660" y="1455"/>
                    </a:lnTo>
                    <a:lnTo>
                      <a:pt x="1662" y="1453"/>
                    </a:lnTo>
                    <a:lnTo>
                      <a:pt x="1663" y="1453"/>
                    </a:lnTo>
                    <a:lnTo>
                      <a:pt x="1668" y="1445"/>
                    </a:lnTo>
                    <a:lnTo>
                      <a:pt x="1675" y="1447"/>
                    </a:lnTo>
                    <a:lnTo>
                      <a:pt x="1680" y="1442"/>
                    </a:lnTo>
                    <a:lnTo>
                      <a:pt x="1683" y="1442"/>
                    </a:lnTo>
                    <a:lnTo>
                      <a:pt x="1686" y="1437"/>
                    </a:lnTo>
                    <a:lnTo>
                      <a:pt x="1690" y="1433"/>
                    </a:lnTo>
                    <a:lnTo>
                      <a:pt x="1696" y="1432"/>
                    </a:lnTo>
                    <a:lnTo>
                      <a:pt x="1703" y="1428"/>
                    </a:lnTo>
                    <a:lnTo>
                      <a:pt x="1710" y="1430"/>
                    </a:lnTo>
                    <a:lnTo>
                      <a:pt x="1715" y="1430"/>
                    </a:lnTo>
                    <a:lnTo>
                      <a:pt x="1713" y="1428"/>
                    </a:lnTo>
                    <a:lnTo>
                      <a:pt x="1708" y="1428"/>
                    </a:lnTo>
                    <a:lnTo>
                      <a:pt x="1706" y="1427"/>
                    </a:lnTo>
                    <a:lnTo>
                      <a:pt x="1710" y="1425"/>
                    </a:lnTo>
                    <a:lnTo>
                      <a:pt x="1720" y="1425"/>
                    </a:lnTo>
                    <a:lnTo>
                      <a:pt x="1728" y="1427"/>
                    </a:lnTo>
                    <a:lnTo>
                      <a:pt x="1731" y="1433"/>
                    </a:lnTo>
                    <a:lnTo>
                      <a:pt x="1731" y="1437"/>
                    </a:lnTo>
                    <a:lnTo>
                      <a:pt x="1725" y="1442"/>
                    </a:lnTo>
                    <a:lnTo>
                      <a:pt x="1723" y="1442"/>
                    </a:lnTo>
                    <a:lnTo>
                      <a:pt x="1720" y="1445"/>
                    </a:lnTo>
                    <a:lnTo>
                      <a:pt x="1725" y="1445"/>
                    </a:lnTo>
                    <a:lnTo>
                      <a:pt x="1726" y="1450"/>
                    </a:lnTo>
                    <a:lnTo>
                      <a:pt x="1730" y="1447"/>
                    </a:lnTo>
                    <a:lnTo>
                      <a:pt x="1731" y="1443"/>
                    </a:lnTo>
                    <a:lnTo>
                      <a:pt x="1738" y="1440"/>
                    </a:lnTo>
                    <a:lnTo>
                      <a:pt x="1743" y="1440"/>
                    </a:lnTo>
                    <a:lnTo>
                      <a:pt x="1745" y="1442"/>
                    </a:lnTo>
                    <a:lnTo>
                      <a:pt x="1743" y="1443"/>
                    </a:lnTo>
                    <a:lnTo>
                      <a:pt x="1741" y="1445"/>
                    </a:lnTo>
                    <a:lnTo>
                      <a:pt x="1748" y="1445"/>
                    </a:lnTo>
                    <a:lnTo>
                      <a:pt x="1755" y="1448"/>
                    </a:lnTo>
                    <a:lnTo>
                      <a:pt x="1755" y="1450"/>
                    </a:lnTo>
                    <a:lnTo>
                      <a:pt x="1751" y="1448"/>
                    </a:lnTo>
                    <a:lnTo>
                      <a:pt x="1748" y="1450"/>
                    </a:lnTo>
                    <a:lnTo>
                      <a:pt x="1750" y="1453"/>
                    </a:lnTo>
                    <a:lnTo>
                      <a:pt x="1756" y="1455"/>
                    </a:lnTo>
                    <a:lnTo>
                      <a:pt x="1758" y="1458"/>
                    </a:lnTo>
                    <a:lnTo>
                      <a:pt x="1755" y="1462"/>
                    </a:lnTo>
                    <a:lnTo>
                      <a:pt x="1750" y="1460"/>
                    </a:lnTo>
                    <a:lnTo>
                      <a:pt x="1746" y="1463"/>
                    </a:lnTo>
                    <a:lnTo>
                      <a:pt x="1753" y="1465"/>
                    </a:lnTo>
                    <a:lnTo>
                      <a:pt x="1751" y="1470"/>
                    </a:lnTo>
                    <a:lnTo>
                      <a:pt x="1748" y="1472"/>
                    </a:lnTo>
                    <a:lnTo>
                      <a:pt x="1746" y="1475"/>
                    </a:lnTo>
                    <a:lnTo>
                      <a:pt x="1743" y="1477"/>
                    </a:lnTo>
                    <a:lnTo>
                      <a:pt x="1738" y="1473"/>
                    </a:lnTo>
                    <a:lnTo>
                      <a:pt x="1740" y="1477"/>
                    </a:lnTo>
                    <a:lnTo>
                      <a:pt x="1746" y="1480"/>
                    </a:lnTo>
                    <a:lnTo>
                      <a:pt x="1750" y="1478"/>
                    </a:lnTo>
                    <a:lnTo>
                      <a:pt x="1753" y="1482"/>
                    </a:lnTo>
                    <a:lnTo>
                      <a:pt x="1750" y="1483"/>
                    </a:lnTo>
                    <a:lnTo>
                      <a:pt x="1746" y="1483"/>
                    </a:lnTo>
                    <a:lnTo>
                      <a:pt x="1743" y="1483"/>
                    </a:lnTo>
                    <a:lnTo>
                      <a:pt x="1746" y="1485"/>
                    </a:lnTo>
                    <a:lnTo>
                      <a:pt x="1751" y="1485"/>
                    </a:lnTo>
                    <a:lnTo>
                      <a:pt x="1753" y="1487"/>
                    </a:lnTo>
                    <a:lnTo>
                      <a:pt x="1751" y="1490"/>
                    </a:lnTo>
                    <a:lnTo>
                      <a:pt x="1751" y="1493"/>
                    </a:lnTo>
                    <a:lnTo>
                      <a:pt x="1746" y="1493"/>
                    </a:lnTo>
                    <a:lnTo>
                      <a:pt x="1745" y="1498"/>
                    </a:lnTo>
                    <a:lnTo>
                      <a:pt x="1738" y="1502"/>
                    </a:lnTo>
                    <a:lnTo>
                      <a:pt x="1733" y="1502"/>
                    </a:lnTo>
                    <a:lnTo>
                      <a:pt x="1728" y="1507"/>
                    </a:lnTo>
                    <a:lnTo>
                      <a:pt x="1726" y="1507"/>
                    </a:lnTo>
                    <a:lnTo>
                      <a:pt x="1723" y="1510"/>
                    </a:lnTo>
                    <a:lnTo>
                      <a:pt x="1720" y="1510"/>
                    </a:lnTo>
                    <a:lnTo>
                      <a:pt x="1720" y="1512"/>
                    </a:lnTo>
                    <a:lnTo>
                      <a:pt x="1715" y="1513"/>
                    </a:lnTo>
                    <a:lnTo>
                      <a:pt x="1711" y="1510"/>
                    </a:lnTo>
                    <a:lnTo>
                      <a:pt x="1708" y="1512"/>
                    </a:lnTo>
                    <a:lnTo>
                      <a:pt x="1705" y="1512"/>
                    </a:lnTo>
                    <a:lnTo>
                      <a:pt x="1703" y="1510"/>
                    </a:lnTo>
                    <a:lnTo>
                      <a:pt x="1698" y="1513"/>
                    </a:lnTo>
                    <a:lnTo>
                      <a:pt x="1693" y="1513"/>
                    </a:lnTo>
                    <a:lnTo>
                      <a:pt x="1691" y="1510"/>
                    </a:lnTo>
                    <a:lnTo>
                      <a:pt x="1690" y="1510"/>
                    </a:lnTo>
                    <a:lnTo>
                      <a:pt x="1690" y="1513"/>
                    </a:lnTo>
                    <a:lnTo>
                      <a:pt x="1685" y="1515"/>
                    </a:lnTo>
                    <a:lnTo>
                      <a:pt x="1680" y="1513"/>
                    </a:lnTo>
                    <a:lnTo>
                      <a:pt x="1680" y="1515"/>
                    </a:lnTo>
                    <a:lnTo>
                      <a:pt x="1682" y="1517"/>
                    </a:lnTo>
                    <a:lnTo>
                      <a:pt x="1680" y="1518"/>
                    </a:lnTo>
                    <a:lnTo>
                      <a:pt x="1677" y="1522"/>
                    </a:lnTo>
                    <a:lnTo>
                      <a:pt x="1673" y="1522"/>
                    </a:lnTo>
                    <a:lnTo>
                      <a:pt x="1673" y="1525"/>
                    </a:lnTo>
                    <a:lnTo>
                      <a:pt x="1670" y="1531"/>
                    </a:lnTo>
                    <a:lnTo>
                      <a:pt x="1667" y="1531"/>
                    </a:lnTo>
                    <a:lnTo>
                      <a:pt x="1665" y="1533"/>
                    </a:lnTo>
                    <a:lnTo>
                      <a:pt x="1662" y="1535"/>
                    </a:lnTo>
                    <a:lnTo>
                      <a:pt x="1658" y="1540"/>
                    </a:lnTo>
                    <a:lnTo>
                      <a:pt x="1657" y="1538"/>
                    </a:lnTo>
                    <a:lnTo>
                      <a:pt x="1653" y="1540"/>
                    </a:lnTo>
                    <a:lnTo>
                      <a:pt x="1648" y="1540"/>
                    </a:lnTo>
                    <a:lnTo>
                      <a:pt x="1647" y="1543"/>
                    </a:lnTo>
                    <a:lnTo>
                      <a:pt x="1643" y="1545"/>
                    </a:lnTo>
                    <a:lnTo>
                      <a:pt x="1640" y="1543"/>
                    </a:lnTo>
                    <a:lnTo>
                      <a:pt x="1632" y="1543"/>
                    </a:lnTo>
                    <a:lnTo>
                      <a:pt x="1630" y="1541"/>
                    </a:lnTo>
                    <a:lnTo>
                      <a:pt x="1625" y="1543"/>
                    </a:lnTo>
                    <a:lnTo>
                      <a:pt x="1622" y="1543"/>
                    </a:lnTo>
                    <a:lnTo>
                      <a:pt x="1610" y="1546"/>
                    </a:lnTo>
                    <a:lnTo>
                      <a:pt x="1607" y="1545"/>
                    </a:lnTo>
                    <a:lnTo>
                      <a:pt x="1607" y="1543"/>
                    </a:lnTo>
                    <a:lnTo>
                      <a:pt x="1603" y="1541"/>
                    </a:lnTo>
                    <a:lnTo>
                      <a:pt x="1600" y="1543"/>
                    </a:lnTo>
                    <a:lnTo>
                      <a:pt x="1595" y="1543"/>
                    </a:lnTo>
                    <a:lnTo>
                      <a:pt x="1588" y="1540"/>
                    </a:lnTo>
                    <a:lnTo>
                      <a:pt x="1587" y="1541"/>
                    </a:lnTo>
                    <a:lnTo>
                      <a:pt x="1580" y="1540"/>
                    </a:lnTo>
                    <a:lnTo>
                      <a:pt x="1577" y="1538"/>
                    </a:lnTo>
                    <a:lnTo>
                      <a:pt x="1575" y="1538"/>
                    </a:lnTo>
                    <a:lnTo>
                      <a:pt x="1572" y="1540"/>
                    </a:lnTo>
                    <a:lnTo>
                      <a:pt x="1564" y="1540"/>
                    </a:lnTo>
                    <a:lnTo>
                      <a:pt x="1559" y="1536"/>
                    </a:lnTo>
                    <a:lnTo>
                      <a:pt x="1554" y="1538"/>
                    </a:lnTo>
                    <a:lnTo>
                      <a:pt x="1550" y="1538"/>
                    </a:lnTo>
                    <a:lnTo>
                      <a:pt x="1547" y="1536"/>
                    </a:lnTo>
                    <a:lnTo>
                      <a:pt x="1540" y="1538"/>
                    </a:lnTo>
                    <a:lnTo>
                      <a:pt x="1539" y="1538"/>
                    </a:lnTo>
                    <a:lnTo>
                      <a:pt x="1535" y="1538"/>
                    </a:lnTo>
                    <a:lnTo>
                      <a:pt x="1527" y="1535"/>
                    </a:lnTo>
                    <a:lnTo>
                      <a:pt x="1517" y="1536"/>
                    </a:lnTo>
                    <a:lnTo>
                      <a:pt x="1512" y="1535"/>
                    </a:lnTo>
                    <a:lnTo>
                      <a:pt x="1507" y="1531"/>
                    </a:lnTo>
                    <a:lnTo>
                      <a:pt x="1504" y="1533"/>
                    </a:lnTo>
                    <a:lnTo>
                      <a:pt x="1500" y="1535"/>
                    </a:lnTo>
                    <a:lnTo>
                      <a:pt x="1504" y="1538"/>
                    </a:lnTo>
                    <a:lnTo>
                      <a:pt x="1502" y="1540"/>
                    </a:lnTo>
                    <a:lnTo>
                      <a:pt x="1497" y="1540"/>
                    </a:lnTo>
                    <a:lnTo>
                      <a:pt x="1489" y="1548"/>
                    </a:lnTo>
                    <a:lnTo>
                      <a:pt x="1482" y="1550"/>
                    </a:lnTo>
                    <a:lnTo>
                      <a:pt x="1482" y="1553"/>
                    </a:lnTo>
                    <a:lnTo>
                      <a:pt x="1481" y="1556"/>
                    </a:lnTo>
                    <a:lnTo>
                      <a:pt x="1479" y="1561"/>
                    </a:lnTo>
                    <a:lnTo>
                      <a:pt x="1477" y="1565"/>
                    </a:lnTo>
                    <a:lnTo>
                      <a:pt x="1469" y="1565"/>
                    </a:lnTo>
                    <a:lnTo>
                      <a:pt x="1466" y="1566"/>
                    </a:lnTo>
                    <a:lnTo>
                      <a:pt x="1457" y="1566"/>
                    </a:lnTo>
                    <a:lnTo>
                      <a:pt x="1454" y="1571"/>
                    </a:lnTo>
                    <a:lnTo>
                      <a:pt x="1451" y="1573"/>
                    </a:lnTo>
                    <a:lnTo>
                      <a:pt x="1449" y="1571"/>
                    </a:lnTo>
                    <a:lnTo>
                      <a:pt x="1444" y="1573"/>
                    </a:lnTo>
                    <a:lnTo>
                      <a:pt x="1442" y="1578"/>
                    </a:lnTo>
                    <a:lnTo>
                      <a:pt x="1437" y="1578"/>
                    </a:lnTo>
                    <a:lnTo>
                      <a:pt x="1432" y="1581"/>
                    </a:lnTo>
                    <a:lnTo>
                      <a:pt x="1432" y="1585"/>
                    </a:lnTo>
                    <a:lnTo>
                      <a:pt x="1429" y="1585"/>
                    </a:lnTo>
                    <a:lnTo>
                      <a:pt x="1422" y="1593"/>
                    </a:lnTo>
                    <a:lnTo>
                      <a:pt x="1414" y="1596"/>
                    </a:lnTo>
                    <a:lnTo>
                      <a:pt x="1411" y="1605"/>
                    </a:lnTo>
                    <a:lnTo>
                      <a:pt x="1404" y="1608"/>
                    </a:lnTo>
                    <a:lnTo>
                      <a:pt x="1399" y="1613"/>
                    </a:lnTo>
                    <a:lnTo>
                      <a:pt x="1394" y="1613"/>
                    </a:lnTo>
                    <a:lnTo>
                      <a:pt x="1392" y="1620"/>
                    </a:lnTo>
                    <a:lnTo>
                      <a:pt x="1389" y="1624"/>
                    </a:lnTo>
                    <a:lnTo>
                      <a:pt x="1378" y="1629"/>
                    </a:lnTo>
                    <a:lnTo>
                      <a:pt x="1378" y="1633"/>
                    </a:lnTo>
                    <a:lnTo>
                      <a:pt x="1364" y="1638"/>
                    </a:lnTo>
                    <a:lnTo>
                      <a:pt x="1358" y="1639"/>
                    </a:lnTo>
                    <a:lnTo>
                      <a:pt x="1363" y="1639"/>
                    </a:lnTo>
                    <a:lnTo>
                      <a:pt x="1376" y="1634"/>
                    </a:lnTo>
                    <a:lnTo>
                      <a:pt x="1386" y="1629"/>
                    </a:lnTo>
                    <a:lnTo>
                      <a:pt x="1394" y="1626"/>
                    </a:lnTo>
                    <a:lnTo>
                      <a:pt x="1401" y="1618"/>
                    </a:lnTo>
                    <a:lnTo>
                      <a:pt x="1407" y="1613"/>
                    </a:lnTo>
                    <a:lnTo>
                      <a:pt x="1411" y="1611"/>
                    </a:lnTo>
                    <a:lnTo>
                      <a:pt x="1422" y="1601"/>
                    </a:lnTo>
                    <a:lnTo>
                      <a:pt x="1439" y="1591"/>
                    </a:lnTo>
                    <a:lnTo>
                      <a:pt x="1451" y="1585"/>
                    </a:lnTo>
                    <a:lnTo>
                      <a:pt x="1457" y="1585"/>
                    </a:lnTo>
                    <a:lnTo>
                      <a:pt x="1464" y="1581"/>
                    </a:lnTo>
                    <a:lnTo>
                      <a:pt x="1476" y="1578"/>
                    </a:lnTo>
                    <a:lnTo>
                      <a:pt x="1490" y="1575"/>
                    </a:lnTo>
                    <a:lnTo>
                      <a:pt x="1495" y="1573"/>
                    </a:lnTo>
                    <a:lnTo>
                      <a:pt x="1500" y="1571"/>
                    </a:lnTo>
                    <a:lnTo>
                      <a:pt x="1517" y="1571"/>
                    </a:lnTo>
                    <a:lnTo>
                      <a:pt x="1525" y="1575"/>
                    </a:lnTo>
                    <a:lnTo>
                      <a:pt x="1535" y="1580"/>
                    </a:lnTo>
                    <a:lnTo>
                      <a:pt x="1535" y="1581"/>
                    </a:lnTo>
                    <a:lnTo>
                      <a:pt x="1529" y="1581"/>
                    </a:lnTo>
                    <a:lnTo>
                      <a:pt x="1529" y="1581"/>
                    </a:lnTo>
                    <a:lnTo>
                      <a:pt x="1527" y="1583"/>
                    </a:lnTo>
                    <a:lnTo>
                      <a:pt x="1532" y="1583"/>
                    </a:lnTo>
                    <a:lnTo>
                      <a:pt x="1537" y="1585"/>
                    </a:lnTo>
                    <a:lnTo>
                      <a:pt x="1539" y="1588"/>
                    </a:lnTo>
                    <a:lnTo>
                      <a:pt x="1535" y="1588"/>
                    </a:lnTo>
                    <a:lnTo>
                      <a:pt x="1539" y="1590"/>
                    </a:lnTo>
                    <a:lnTo>
                      <a:pt x="1534" y="1598"/>
                    </a:lnTo>
                    <a:lnTo>
                      <a:pt x="1529" y="1598"/>
                    </a:lnTo>
                    <a:lnTo>
                      <a:pt x="1524" y="1603"/>
                    </a:lnTo>
                    <a:lnTo>
                      <a:pt x="1520" y="1603"/>
                    </a:lnTo>
                    <a:lnTo>
                      <a:pt x="1514" y="1606"/>
                    </a:lnTo>
                    <a:lnTo>
                      <a:pt x="1509" y="1606"/>
                    </a:lnTo>
                    <a:lnTo>
                      <a:pt x="1505" y="1603"/>
                    </a:lnTo>
                    <a:lnTo>
                      <a:pt x="1499" y="1601"/>
                    </a:lnTo>
                    <a:lnTo>
                      <a:pt x="1495" y="1605"/>
                    </a:lnTo>
                    <a:lnTo>
                      <a:pt x="1490" y="1605"/>
                    </a:lnTo>
                    <a:lnTo>
                      <a:pt x="1485" y="1605"/>
                    </a:lnTo>
                    <a:lnTo>
                      <a:pt x="1479" y="1606"/>
                    </a:lnTo>
                    <a:lnTo>
                      <a:pt x="1485" y="1606"/>
                    </a:lnTo>
                    <a:lnTo>
                      <a:pt x="1492" y="1606"/>
                    </a:lnTo>
                    <a:lnTo>
                      <a:pt x="1502" y="1610"/>
                    </a:lnTo>
                    <a:lnTo>
                      <a:pt x="1504" y="1613"/>
                    </a:lnTo>
                    <a:lnTo>
                      <a:pt x="1505" y="1616"/>
                    </a:lnTo>
                    <a:lnTo>
                      <a:pt x="1510" y="1613"/>
                    </a:lnTo>
                    <a:lnTo>
                      <a:pt x="1515" y="1611"/>
                    </a:lnTo>
                    <a:lnTo>
                      <a:pt x="1520" y="1611"/>
                    </a:lnTo>
                    <a:lnTo>
                      <a:pt x="1522" y="1613"/>
                    </a:lnTo>
                    <a:lnTo>
                      <a:pt x="1525" y="1613"/>
                    </a:lnTo>
                    <a:lnTo>
                      <a:pt x="1525" y="1615"/>
                    </a:lnTo>
                    <a:lnTo>
                      <a:pt x="1522" y="1618"/>
                    </a:lnTo>
                    <a:lnTo>
                      <a:pt x="1515" y="1629"/>
                    </a:lnTo>
                    <a:lnTo>
                      <a:pt x="1512" y="1629"/>
                    </a:lnTo>
                    <a:lnTo>
                      <a:pt x="1509" y="1633"/>
                    </a:lnTo>
                    <a:lnTo>
                      <a:pt x="1519" y="1633"/>
                    </a:lnTo>
                    <a:lnTo>
                      <a:pt x="1519" y="1634"/>
                    </a:lnTo>
                    <a:lnTo>
                      <a:pt x="1515" y="1639"/>
                    </a:lnTo>
                    <a:lnTo>
                      <a:pt x="1519" y="1643"/>
                    </a:lnTo>
                    <a:lnTo>
                      <a:pt x="1519" y="1646"/>
                    </a:lnTo>
                    <a:lnTo>
                      <a:pt x="1519" y="1653"/>
                    </a:lnTo>
                    <a:lnTo>
                      <a:pt x="1520" y="1653"/>
                    </a:lnTo>
                    <a:lnTo>
                      <a:pt x="1524" y="1659"/>
                    </a:lnTo>
                    <a:lnTo>
                      <a:pt x="1529" y="1659"/>
                    </a:lnTo>
                    <a:lnTo>
                      <a:pt x="1530" y="1661"/>
                    </a:lnTo>
                    <a:lnTo>
                      <a:pt x="1537" y="1661"/>
                    </a:lnTo>
                    <a:lnTo>
                      <a:pt x="1535" y="1664"/>
                    </a:lnTo>
                    <a:lnTo>
                      <a:pt x="1530" y="1666"/>
                    </a:lnTo>
                    <a:lnTo>
                      <a:pt x="1537" y="1669"/>
                    </a:lnTo>
                    <a:lnTo>
                      <a:pt x="1545" y="1669"/>
                    </a:lnTo>
                    <a:lnTo>
                      <a:pt x="1549" y="1673"/>
                    </a:lnTo>
                    <a:lnTo>
                      <a:pt x="1552" y="1671"/>
                    </a:lnTo>
                    <a:lnTo>
                      <a:pt x="1559" y="1673"/>
                    </a:lnTo>
                    <a:lnTo>
                      <a:pt x="1559" y="1676"/>
                    </a:lnTo>
                    <a:lnTo>
                      <a:pt x="1567" y="1676"/>
                    </a:lnTo>
                    <a:lnTo>
                      <a:pt x="1569" y="1674"/>
                    </a:lnTo>
                    <a:lnTo>
                      <a:pt x="1577" y="1669"/>
                    </a:lnTo>
                    <a:lnTo>
                      <a:pt x="1577" y="1674"/>
                    </a:lnTo>
                    <a:lnTo>
                      <a:pt x="1575" y="1676"/>
                    </a:lnTo>
                    <a:lnTo>
                      <a:pt x="1582" y="1676"/>
                    </a:lnTo>
                    <a:lnTo>
                      <a:pt x="1590" y="1679"/>
                    </a:lnTo>
                    <a:lnTo>
                      <a:pt x="1590" y="1683"/>
                    </a:lnTo>
                    <a:lnTo>
                      <a:pt x="1587" y="1683"/>
                    </a:lnTo>
                    <a:lnTo>
                      <a:pt x="1585" y="1683"/>
                    </a:lnTo>
                    <a:lnTo>
                      <a:pt x="1588" y="1686"/>
                    </a:lnTo>
                    <a:lnTo>
                      <a:pt x="1593" y="1686"/>
                    </a:lnTo>
                    <a:lnTo>
                      <a:pt x="1597" y="1688"/>
                    </a:lnTo>
                    <a:lnTo>
                      <a:pt x="1592" y="1689"/>
                    </a:lnTo>
                    <a:lnTo>
                      <a:pt x="1588" y="1688"/>
                    </a:lnTo>
                    <a:lnTo>
                      <a:pt x="1585" y="1689"/>
                    </a:lnTo>
                    <a:lnTo>
                      <a:pt x="1577" y="1691"/>
                    </a:lnTo>
                    <a:lnTo>
                      <a:pt x="1567" y="1696"/>
                    </a:lnTo>
                    <a:lnTo>
                      <a:pt x="1562" y="1696"/>
                    </a:lnTo>
                    <a:lnTo>
                      <a:pt x="1554" y="1698"/>
                    </a:lnTo>
                    <a:lnTo>
                      <a:pt x="1547" y="1699"/>
                    </a:lnTo>
                    <a:lnTo>
                      <a:pt x="1539" y="1704"/>
                    </a:lnTo>
                    <a:lnTo>
                      <a:pt x="1535" y="1704"/>
                    </a:lnTo>
                    <a:lnTo>
                      <a:pt x="1535" y="1706"/>
                    </a:lnTo>
                    <a:lnTo>
                      <a:pt x="1529" y="1704"/>
                    </a:lnTo>
                    <a:lnTo>
                      <a:pt x="1527" y="1701"/>
                    </a:lnTo>
                    <a:lnTo>
                      <a:pt x="1525" y="1701"/>
                    </a:lnTo>
                    <a:lnTo>
                      <a:pt x="1524" y="1703"/>
                    </a:lnTo>
                    <a:lnTo>
                      <a:pt x="1520" y="1703"/>
                    </a:lnTo>
                    <a:lnTo>
                      <a:pt x="1517" y="1708"/>
                    </a:lnTo>
                    <a:lnTo>
                      <a:pt x="1519" y="1709"/>
                    </a:lnTo>
                    <a:lnTo>
                      <a:pt x="1510" y="1714"/>
                    </a:lnTo>
                    <a:lnTo>
                      <a:pt x="1504" y="1722"/>
                    </a:lnTo>
                    <a:lnTo>
                      <a:pt x="1500" y="1724"/>
                    </a:lnTo>
                    <a:lnTo>
                      <a:pt x="1494" y="1727"/>
                    </a:lnTo>
                    <a:lnTo>
                      <a:pt x="1492" y="1727"/>
                    </a:lnTo>
                    <a:lnTo>
                      <a:pt x="1490" y="1727"/>
                    </a:lnTo>
                    <a:lnTo>
                      <a:pt x="1489" y="1732"/>
                    </a:lnTo>
                    <a:lnTo>
                      <a:pt x="1487" y="1734"/>
                    </a:lnTo>
                    <a:lnTo>
                      <a:pt x="1484" y="1732"/>
                    </a:lnTo>
                    <a:lnTo>
                      <a:pt x="1482" y="1734"/>
                    </a:lnTo>
                    <a:lnTo>
                      <a:pt x="1479" y="1731"/>
                    </a:lnTo>
                    <a:lnTo>
                      <a:pt x="1477" y="1726"/>
                    </a:lnTo>
                    <a:lnTo>
                      <a:pt x="1476" y="1724"/>
                    </a:lnTo>
                    <a:lnTo>
                      <a:pt x="1472" y="1726"/>
                    </a:lnTo>
                    <a:lnTo>
                      <a:pt x="1472" y="1721"/>
                    </a:lnTo>
                    <a:lnTo>
                      <a:pt x="1471" y="1718"/>
                    </a:lnTo>
                    <a:lnTo>
                      <a:pt x="1471" y="1713"/>
                    </a:lnTo>
                    <a:lnTo>
                      <a:pt x="1474" y="1706"/>
                    </a:lnTo>
                    <a:lnTo>
                      <a:pt x="1481" y="1701"/>
                    </a:lnTo>
                    <a:lnTo>
                      <a:pt x="1481" y="1698"/>
                    </a:lnTo>
                    <a:lnTo>
                      <a:pt x="1490" y="1693"/>
                    </a:lnTo>
                    <a:lnTo>
                      <a:pt x="1500" y="1691"/>
                    </a:lnTo>
                    <a:lnTo>
                      <a:pt x="1509" y="1686"/>
                    </a:lnTo>
                    <a:lnTo>
                      <a:pt x="1515" y="1684"/>
                    </a:lnTo>
                    <a:lnTo>
                      <a:pt x="1519" y="1686"/>
                    </a:lnTo>
                    <a:lnTo>
                      <a:pt x="1520" y="1689"/>
                    </a:lnTo>
                    <a:lnTo>
                      <a:pt x="1524" y="1691"/>
                    </a:lnTo>
                    <a:lnTo>
                      <a:pt x="1522" y="1689"/>
                    </a:lnTo>
                    <a:lnTo>
                      <a:pt x="1524" y="1686"/>
                    </a:lnTo>
                    <a:lnTo>
                      <a:pt x="1529" y="1686"/>
                    </a:lnTo>
                    <a:lnTo>
                      <a:pt x="1535" y="1684"/>
                    </a:lnTo>
                    <a:lnTo>
                      <a:pt x="1540" y="1683"/>
                    </a:lnTo>
                    <a:lnTo>
                      <a:pt x="1532" y="1683"/>
                    </a:lnTo>
                    <a:lnTo>
                      <a:pt x="1522" y="1683"/>
                    </a:lnTo>
                    <a:lnTo>
                      <a:pt x="1519" y="1681"/>
                    </a:lnTo>
                    <a:lnTo>
                      <a:pt x="1514" y="1681"/>
                    </a:lnTo>
                    <a:lnTo>
                      <a:pt x="1512" y="1684"/>
                    </a:lnTo>
                    <a:lnTo>
                      <a:pt x="1505" y="1683"/>
                    </a:lnTo>
                    <a:lnTo>
                      <a:pt x="1510" y="1678"/>
                    </a:lnTo>
                    <a:lnTo>
                      <a:pt x="1515" y="1676"/>
                    </a:lnTo>
                    <a:lnTo>
                      <a:pt x="1520" y="1671"/>
                    </a:lnTo>
                    <a:lnTo>
                      <a:pt x="1520" y="1669"/>
                    </a:lnTo>
                    <a:lnTo>
                      <a:pt x="1517" y="1671"/>
                    </a:lnTo>
                    <a:lnTo>
                      <a:pt x="1517" y="1668"/>
                    </a:lnTo>
                    <a:lnTo>
                      <a:pt x="1512" y="1674"/>
                    </a:lnTo>
                    <a:lnTo>
                      <a:pt x="1507" y="1676"/>
                    </a:lnTo>
                    <a:lnTo>
                      <a:pt x="1502" y="1681"/>
                    </a:lnTo>
                    <a:lnTo>
                      <a:pt x="1497" y="1681"/>
                    </a:lnTo>
                    <a:lnTo>
                      <a:pt x="1495" y="1683"/>
                    </a:lnTo>
                    <a:lnTo>
                      <a:pt x="1484" y="1686"/>
                    </a:lnTo>
                    <a:lnTo>
                      <a:pt x="1482" y="1684"/>
                    </a:lnTo>
                    <a:lnTo>
                      <a:pt x="1484" y="1683"/>
                    </a:lnTo>
                    <a:lnTo>
                      <a:pt x="1482" y="1683"/>
                    </a:lnTo>
                    <a:lnTo>
                      <a:pt x="1484" y="1678"/>
                    </a:lnTo>
                    <a:lnTo>
                      <a:pt x="1481" y="1683"/>
                    </a:lnTo>
                    <a:lnTo>
                      <a:pt x="1477" y="1686"/>
                    </a:lnTo>
                    <a:lnTo>
                      <a:pt x="1472" y="1688"/>
                    </a:lnTo>
                    <a:lnTo>
                      <a:pt x="1469" y="1686"/>
                    </a:lnTo>
                    <a:lnTo>
                      <a:pt x="1466" y="1689"/>
                    </a:lnTo>
                    <a:lnTo>
                      <a:pt x="1464" y="1688"/>
                    </a:lnTo>
                    <a:lnTo>
                      <a:pt x="1462" y="1684"/>
                    </a:lnTo>
                    <a:lnTo>
                      <a:pt x="1457" y="1686"/>
                    </a:lnTo>
                    <a:lnTo>
                      <a:pt x="1449" y="1684"/>
                    </a:lnTo>
                    <a:lnTo>
                      <a:pt x="1449" y="1684"/>
                    </a:lnTo>
                    <a:lnTo>
                      <a:pt x="1449" y="1683"/>
                    </a:lnTo>
                    <a:lnTo>
                      <a:pt x="1449" y="1681"/>
                    </a:lnTo>
                    <a:lnTo>
                      <a:pt x="1449" y="1679"/>
                    </a:lnTo>
                    <a:lnTo>
                      <a:pt x="1449" y="1676"/>
                    </a:lnTo>
                    <a:lnTo>
                      <a:pt x="1449" y="1673"/>
                    </a:lnTo>
                    <a:lnTo>
                      <a:pt x="1447" y="1671"/>
                    </a:lnTo>
                    <a:lnTo>
                      <a:pt x="1446" y="1668"/>
                    </a:lnTo>
                    <a:lnTo>
                      <a:pt x="1444" y="1668"/>
                    </a:lnTo>
                    <a:lnTo>
                      <a:pt x="1446" y="1664"/>
                    </a:lnTo>
                    <a:lnTo>
                      <a:pt x="1451" y="1636"/>
                    </a:lnTo>
                    <a:lnTo>
                      <a:pt x="1451" y="1629"/>
                    </a:lnTo>
                    <a:lnTo>
                      <a:pt x="1441" y="1621"/>
                    </a:lnTo>
                    <a:lnTo>
                      <a:pt x="1439" y="1623"/>
                    </a:lnTo>
                    <a:lnTo>
                      <a:pt x="1432" y="1621"/>
                    </a:lnTo>
                    <a:lnTo>
                      <a:pt x="1427" y="1623"/>
                    </a:lnTo>
                    <a:lnTo>
                      <a:pt x="1424" y="1620"/>
                    </a:lnTo>
                    <a:lnTo>
                      <a:pt x="1421" y="1618"/>
                    </a:lnTo>
                    <a:lnTo>
                      <a:pt x="1419" y="1618"/>
                    </a:lnTo>
                    <a:lnTo>
                      <a:pt x="1416" y="1623"/>
                    </a:lnTo>
                    <a:lnTo>
                      <a:pt x="1412" y="1626"/>
                    </a:lnTo>
                    <a:lnTo>
                      <a:pt x="1404" y="1634"/>
                    </a:lnTo>
                    <a:lnTo>
                      <a:pt x="1401" y="1639"/>
                    </a:lnTo>
                    <a:lnTo>
                      <a:pt x="1401" y="1643"/>
                    </a:lnTo>
                    <a:lnTo>
                      <a:pt x="1394" y="1646"/>
                    </a:lnTo>
                    <a:lnTo>
                      <a:pt x="1394" y="1651"/>
                    </a:lnTo>
                    <a:lnTo>
                      <a:pt x="1391" y="1656"/>
                    </a:lnTo>
                    <a:lnTo>
                      <a:pt x="1386" y="1663"/>
                    </a:lnTo>
                    <a:lnTo>
                      <a:pt x="1383" y="1664"/>
                    </a:lnTo>
                    <a:lnTo>
                      <a:pt x="1374" y="1671"/>
                    </a:lnTo>
                    <a:lnTo>
                      <a:pt x="1373" y="1674"/>
                    </a:lnTo>
                    <a:lnTo>
                      <a:pt x="1371" y="1676"/>
                    </a:lnTo>
                    <a:lnTo>
                      <a:pt x="1366" y="1676"/>
                    </a:lnTo>
                    <a:lnTo>
                      <a:pt x="1363" y="1676"/>
                    </a:lnTo>
                    <a:lnTo>
                      <a:pt x="1361" y="1678"/>
                    </a:lnTo>
                    <a:lnTo>
                      <a:pt x="1359" y="1678"/>
                    </a:lnTo>
                    <a:lnTo>
                      <a:pt x="1353" y="1683"/>
                    </a:lnTo>
                    <a:lnTo>
                      <a:pt x="1283" y="1681"/>
                    </a:lnTo>
                    <a:lnTo>
                      <a:pt x="1275" y="1683"/>
                    </a:lnTo>
                    <a:lnTo>
                      <a:pt x="1270" y="1686"/>
                    </a:lnTo>
                    <a:lnTo>
                      <a:pt x="1265" y="1688"/>
                    </a:lnTo>
                    <a:lnTo>
                      <a:pt x="1260" y="1691"/>
                    </a:lnTo>
                    <a:lnTo>
                      <a:pt x="1248" y="1701"/>
                    </a:lnTo>
                    <a:lnTo>
                      <a:pt x="1241" y="1703"/>
                    </a:lnTo>
                    <a:lnTo>
                      <a:pt x="1238" y="1704"/>
                    </a:lnTo>
                    <a:lnTo>
                      <a:pt x="1216" y="1719"/>
                    </a:lnTo>
                    <a:lnTo>
                      <a:pt x="1172" y="1731"/>
                    </a:lnTo>
                    <a:lnTo>
                      <a:pt x="1170" y="1741"/>
                    </a:lnTo>
                    <a:lnTo>
                      <a:pt x="1158" y="1744"/>
                    </a:lnTo>
                    <a:lnTo>
                      <a:pt x="1075" y="1764"/>
                    </a:lnTo>
                    <a:lnTo>
                      <a:pt x="1072" y="1757"/>
                    </a:lnTo>
                    <a:lnTo>
                      <a:pt x="1077" y="1752"/>
                    </a:lnTo>
                    <a:lnTo>
                      <a:pt x="1085" y="1749"/>
                    </a:lnTo>
                    <a:lnTo>
                      <a:pt x="1088" y="1744"/>
                    </a:lnTo>
                    <a:lnTo>
                      <a:pt x="1092" y="1739"/>
                    </a:lnTo>
                    <a:lnTo>
                      <a:pt x="1095" y="1734"/>
                    </a:lnTo>
                    <a:lnTo>
                      <a:pt x="1097" y="1704"/>
                    </a:lnTo>
                    <a:lnTo>
                      <a:pt x="1080" y="1638"/>
                    </a:lnTo>
                    <a:lnTo>
                      <a:pt x="1065" y="1626"/>
                    </a:lnTo>
                    <a:lnTo>
                      <a:pt x="1060" y="1620"/>
                    </a:lnTo>
                    <a:lnTo>
                      <a:pt x="962" y="1578"/>
                    </a:lnTo>
                    <a:lnTo>
                      <a:pt x="959" y="1576"/>
                    </a:lnTo>
                    <a:lnTo>
                      <a:pt x="954" y="1575"/>
                    </a:lnTo>
                    <a:lnTo>
                      <a:pt x="951" y="1573"/>
                    </a:lnTo>
                    <a:lnTo>
                      <a:pt x="939" y="1573"/>
                    </a:lnTo>
                    <a:lnTo>
                      <a:pt x="937" y="1570"/>
                    </a:lnTo>
                    <a:lnTo>
                      <a:pt x="936" y="1566"/>
                    </a:lnTo>
                    <a:lnTo>
                      <a:pt x="931" y="1570"/>
                    </a:lnTo>
                    <a:lnTo>
                      <a:pt x="922" y="1570"/>
                    </a:lnTo>
                    <a:lnTo>
                      <a:pt x="919" y="1568"/>
                    </a:lnTo>
                    <a:lnTo>
                      <a:pt x="916" y="1565"/>
                    </a:lnTo>
                    <a:lnTo>
                      <a:pt x="911" y="1563"/>
                    </a:lnTo>
                    <a:lnTo>
                      <a:pt x="902" y="1561"/>
                    </a:lnTo>
                    <a:lnTo>
                      <a:pt x="901" y="1556"/>
                    </a:lnTo>
                    <a:lnTo>
                      <a:pt x="897" y="1556"/>
                    </a:lnTo>
                    <a:lnTo>
                      <a:pt x="892" y="1551"/>
                    </a:lnTo>
                    <a:lnTo>
                      <a:pt x="888" y="1553"/>
                    </a:lnTo>
                    <a:lnTo>
                      <a:pt x="884" y="1551"/>
                    </a:lnTo>
                    <a:lnTo>
                      <a:pt x="879" y="1553"/>
                    </a:lnTo>
                    <a:lnTo>
                      <a:pt x="878" y="1553"/>
                    </a:lnTo>
                    <a:lnTo>
                      <a:pt x="874" y="1550"/>
                    </a:lnTo>
                    <a:lnTo>
                      <a:pt x="869" y="1548"/>
                    </a:lnTo>
                    <a:lnTo>
                      <a:pt x="869" y="1548"/>
                    </a:lnTo>
                    <a:lnTo>
                      <a:pt x="864" y="1546"/>
                    </a:lnTo>
                    <a:lnTo>
                      <a:pt x="863" y="1545"/>
                    </a:lnTo>
                    <a:lnTo>
                      <a:pt x="859" y="1543"/>
                    </a:lnTo>
                    <a:lnTo>
                      <a:pt x="859" y="1541"/>
                    </a:lnTo>
                    <a:lnTo>
                      <a:pt x="854" y="1536"/>
                    </a:lnTo>
                    <a:lnTo>
                      <a:pt x="849" y="1536"/>
                    </a:lnTo>
                    <a:lnTo>
                      <a:pt x="844" y="1536"/>
                    </a:lnTo>
                    <a:lnTo>
                      <a:pt x="215" y="14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6" name="Freeform 149"/>
              <p:cNvSpPr>
                <a:spLocks noEditPoints="1"/>
              </p:cNvSpPr>
              <p:nvPr/>
            </p:nvSpPr>
            <p:spPr bwMode="auto">
              <a:xfrm>
                <a:off x="4480005" y="2005932"/>
                <a:ext cx="497665" cy="466915"/>
              </a:xfrm>
              <a:custGeom>
                <a:avLst/>
                <a:gdLst/>
                <a:ahLst/>
                <a:cxnLst>
                  <a:cxn ang="0">
                    <a:pos x="776" y="741"/>
                  </a:cxn>
                  <a:cxn ang="0">
                    <a:pos x="924" y="173"/>
                  </a:cxn>
                  <a:cxn ang="0">
                    <a:pos x="837" y="125"/>
                  </a:cxn>
                  <a:cxn ang="0">
                    <a:pos x="769" y="92"/>
                  </a:cxn>
                  <a:cxn ang="0">
                    <a:pos x="733" y="22"/>
                  </a:cxn>
                  <a:cxn ang="0">
                    <a:pos x="718" y="7"/>
                  </a:cxn>
                  <a:cxn ang="0">
                    <a:pos x="605" y="44"/>
                  </a:cxn>
                  <a:cxn ang="0">
                    <a:pos x="435" y="82"/>
                  </a:cxn>
                  <a:cxn ang="0">
                    <a:pos x="434" y="231"/>
                  </a:cxn>
                  <a:cxn ang="0">
                    <a:pos x="410" y="260"/>
                  </a:cxn>
                  <a:cxn ang="0">
                    <a:pos x="341" y="216"/>
                  </a:cxn>
                  <a:cxn ang="0">
                    <a:pos x="289" y="281"/>
                  </a:cxn>
                  <a:cxn ang="0">
                    <a:pos x="316" y="324"/>
                  </a:cxn>
                  <a:cxn ang="0">
                    <a:pos x="346" y="368"/>
                  </a:cxn>
                  <a:cxn ang="0">
                    <a:pos x="219" y="422"/>
                  </a:cxn>
                  <a:cxn ang="0">
                    <a:pos x="168" y="494"/>
                  </a:cxn>
                  <a:cxn ang="0">
                    <a:pos x="154" y="510"/>
                  </a:cxn>
                  <a:cxn ang="0">
                    <a:pos x="201" y="560"/>
                  </a:cxn>
                  <a:cxn ang="0">
                    <a:pos x="216" y="600"/>
                  </a:cxn>
                  <a:cxn ang="0">
                    <a:pos x="291" y="615"/>
                  </a:cxn>
                  <a:cxn ang="0">
                    <a:pos x="194" y="703"/>
                  </a:cxn>
                  <a:cxn ang="0">
                    <a:pos x="78" y="758"/>
                  </a:cxn>
                  <a:cxn ang="0">
                    <a:pos x="111" y="750"/>
                  </a:cxn>
                  <a:cxn ang="0">
                    <a:pos x="174" y="743"/>
                  </a:cxn>
                  <a:cxn ang="0">
                    <a:pos x="236" y="713"/>
                  </a:cxn>
                  <a:cxn ang="0">
                    <a:pos x="317" y="672"/>
                  </a:cxn>
                  <a:cxn ang="0">
                    <a:pos x="362" y="608"/>
                  </a:cxn>
                  <a:cxn ang="0">
                    <a:pos x="473" y="547"/>
                  </a:cxn>
                  <a:cxn ang="0">
                    <a:pos x="410" y="612"/>
                  </a:cxn>
                  <a:cxn ang="0">
                    <a:pos x="445" y="625"/>
                  </a:cxn>
                  <a:cxn ang="0">
                    <a:pos x="507" y="588"/>
                  </a:cxn>
                  <a:cxn ang="0">
                    <a:pos x="553" y="580"/>
                  </a:cxn>
                  <a:cxn ang="0">
                    <a:pos x="585" y="617"/>
                  </a:cxn>
                  <a:cxn ang="0">
                    <a:pos x="663" y="662"/>
                  </a:cxn>
                  <a:cxn ang="0">
                    <a:pos x="688" y="720"/>
                  </a:cxn>
                  <a:cxn ang="0">
                    <a:pos x="726" y="720"/>
                  </a:cxn>
                  <a:cxn ang="0">
                    <a:pos x="747" y="730"/>
                  </a:cxn>
                  <a:cxn ang="0">
                    <a:pos x="756" y="798"/>
                  </a:cxn>
                  <a:cxn ang="0">
                    <a:pos x="774" y="849"/>
                  </a:cxn>
                  <a:cxn ang="0">
                    <a:pos x="799" y="861"/>
                  </a:cxn>
                  <a:cxn ang="0">
                    <a:pos x="772" y="856"/>
                  </a:cxn>
                  <a:cxn ang="0">
                    <a:pos x="719" y="874"/>
                  </a:cxn>
                  <a:cxn ang="0">
                    <a:pos x="739" y="841"/>
                  </a:cxn>
                  <a:cxn ang="0">
                    <a:pos x="738" y="876"/>
                  </a:cxn>
                  <a:cxn ang="0">
                    <a:pos x="754" y="849"/>
                  </a:cxn>
                  <a:cxn ang="0">
                    <a:pos x="749" y="804"/>
                  </a:cxn>
                  <a:cxn ang="0">
                    <a:pos x="721" y="834"/>
                  </a:cxn>
                  <a:cxn ang="0">
                    <a:pos x="706" y="813"/>
                  </a:cxn>
                  <a:cxn ang="0">
                    <a:pos x="736" y="780"/>
                  </a:cxn>
                  <a:cxn ang="0">
                    <a:pos x="734" y="760"/>
                  </a:cxn>
                  <a:cxn ang="0">
                    <a:pos x="711" y="748"/>
                  </a:cxn>
                  <a:cxn ang="0">
                    <a:pos x="248" y="401"/>
                  </a:cxn>
                  <a:cxn ang="0">
                    <a:pos x="535" y="610"/>
                  </a:cxn>
                  <a:cxn ang="0">
                    <a:pos x="502" y="618"/>
                  </a:cxn>
                  <a:cxn ang="0">
                    <a:pos x="374" y="615"/>
                  </a:cxn>
                  <a:cxn ang="0">
                    <a:pos x="362" y="677"/>
                  </a:cxn>
                  <a:cxn ang="0">
                    <a:pos x="334" y="690"/>
                  </a:cxn>
                  <a:cxn ang="0">
                    <a:pos x="327" y="708"/>
                  </a:cxn>
                  <a:cxn ang="0">
                    <a:pos x="287" y="731"/>
                  </a:cxn>
                  <a:cxn ang="0">
                    <a:pos x="143" y="776"/>
                  </a:cxn>
                  <a:cxn ang="0">
                    <a:pos x="75" y="781"/>
                  </a:cxn>
                  <a:cxn ang="0">
                    <a:pos x="25" y="768"/>
                  </a:cxn>
                </a:cxnLst>
                <a:rect l="0" t="0" r="r" b="b"/>
                <a:pathLst>
                  <a:path w="930" h="899">
                    <a:moveTo>
                      <a:pt x="801" y="861"/>
                    </a:moveTo>
                    <a:lnTo>
                      <a:pt x="801" y="859"/>
                    </a:lnTo>
                    <a:lnTo>
                      <a:pt x="801" y="856"/>
                    </a:lnTo>
                    <a:lnTo>
                      <a:pt x="802" y="854"/>
                    </a:lnTo>
                    <a:lnTo>
                      <a:pt x="802" y="853"/>
                    </a:lnTo>
                    <a:lnTo>
                      <a:pt x="804" y="851"/>
                    </a:lnTo>
                    <a:lnTo>
                      <a:pt x="802" y="849"/>
                    </a:lnTo>
                    <a:lnTo>
                      <a:pt x="799" y="848"/>
                    </a:lnTo>
                    <a:lnTo>
                      <a:pt x="799" y="843"/>
                    </a:lnTo>
                    <a:lnTo>
                      <a:pt x="797" y="839"/>
                    </a:lnTo>
                    <a:lnTo>
                      <a:pt x="792" y="836"/>
                    </a:lnTo>
                    <a:lnTo>
                      <a:pt x="789" y="833"/>
                    </a:lnTo>
                    <a:lnTo>
                      <a:pt x="787" y="831"/>
                    </a:lnTo>
                    <a:lnTo>
                      <a:pt x="782" y="824"/>
                    </a:lnTo>
                    <a:lnTo>
                      <a:pt x="779" y="824"/>
                    </a:lnTo>
                    <a:lnTo>
                      <a:pt x="776" y="824"/>
                    </a:lnTo>
                    <a:lnTo>
                      <a:pt x="776" y="823"/>
                    </a:lnTo>
                    <a:lnTo>
                      <a:pt x="777" y="819"/>
                    </a:lnTo>
                    <a:lnTo>
                      <a:pt x="776" y="816"/>
                    </a:lnTo>
                    <a:lnTo>
                      <a:pt x="774" y="814"/>
                    </a:lnTo>
                    <a:lnTo>
                      <a:pt x="774" y="813"/>
                    </a:lnTo>
                    <a:lnTo>
                      <a:pt x="776" y="811"/>
                    </a:lnTo>
                    <a:lnTo>
                      <a:pt x="777" y="809"/>
                    </a:lnTo>
                    <a:lnTo>
                      <a:pt x="777" y="808"/>
                    </a:lnTo>
                    <a:lnTo>
                      <a:pt x="774" y="806"/>
                    </a:lnTo>
                    <a:lnTo>
                      <a:pt x="772" y="806"/>
                    </a:lnTo>
                    <a:lnTo>
                      <a:pt x="772" y="803"/>
                    </a:lnTo>
                    <a:lnTo>
                      <a:pt x="776" y="801"/>
                    </a:lnTo>
                    <a:lnTo>
                      <a:pt x="774" y="784"/>
                    </a:lnTo>
                    <a:lnTo>
                      <a:pt x="776" y="770"/>
                    </a:lnTo>
                    <a:lnTo>
                      <a:pt x="777" y="756"/>
                    </a:lnTo>
                    <a:lnTo>
                      <a:pt x="776" y="753"/>
                    </a:lnTo>
                    <a:lnTo>
                      <a:pt x="774" y="750"/>
                    </a:lnTo>
                    <a:lnTo>
                      <a:pt x="777" y="745"/>
                    </a:lnTo>
                    <a:lnTo>
                      <a:pt x="776" y="741"/>
                    </a:lnTo>
                    <a:lnTo>
                      <a:pt x="774" y="738"/>
                    </a:lnTo>
                    <a:lnTo>
                      <a:pt x="772" y="730"/>
                    </a:lnTo>
                    <a:lnTo>
                      <a:pt x="767" y="725"/>
                    </a:lnTo>
                    <a:lnTo>
                      <a:pt x="766" y="716"/>
                    </a:lnTo>
                    <a:lnTo>
                      <a:pt x="767" y="713"/>
                    </a:lnTo>
                    <a:lnTo>
                      <a:pt x="762" y="700"/>
                    </a:lnTo>
                    <a:lnTo>
                      <a:pt x="764" y="696"/>
                    </a:lnTo>
                    <a:lnTo>
                      <a:pt x="767" y="691"/>
                    </a:lnTo>
                    <a:lnTo>
                      <a:pt x="766" y="688"/>
                    </a:lnTo>
                    <a:lnTo>
                      <a:pt x="766" y="683"/>
                    </a:lnTo>
                    <a:lnTo>
                      <a:pt x="761" y="680"/>
                    </a:lnTo>
                    <a:lnTo>
                      <a:pt x="752" y="680"/>
                    </a:lnTo>
                    <a:lnTo>
                      <a:pt x="744" y="683"/>
                    </a:lnTo>
                    <a:lnTo>
                      <a:pt x="743" y="683"/>
                    </a:lnTo>
                    <a:lnTo>
                      <a:pt x="734" y="686"/>
                    </a:lnTo>
                    <a:lnTo>
                      <a:pt x="729" y="691"/>
                    </a:lnTo>
                    <a:lnTo>
                      <a:pt x="723" y="700"/>
                    </a:lnTo>
                    <a:lnTo>
                      <a:pt x="716" y="703"/>
                    </a:lnTo>
                    <a:lnTo>
                      <a:pt x="708" y="705"/>
                    </a:lnTo>
                    <a:lnTo>
                      <a:pt x="699" y="705"/>
                    </a:lnTo>
                    <a:lnTo>
                      <a:pt x="698" y="706"/>
                    </a:lnTo>
                    <a:lnTo>
                      <a:pt x="698" y="703"/>
                    </a:lnTo>
                    <a:lnTo>
                      <a:pt x="701" y="696"/>
                    </a:lnTo>
                    <a:lnTo>
                      <a:pt x="699" y="691"/>
                    </a:lnTo>
                    <a:lnTo>
                      <a:pt x="693" y="667"/>
                    </a:lnTo>
                    <a:lnTo>
                      <a:pt x="688" y="655"/>
                    </a:lnTo>
                    <a:lnTo>
                      <a:pt x="686" y="648"/>
                    </a:lnTo>
                    <a:lnTo>
                      <a:pt x="691" y="640"/>
                    </a:lnTo>
                    <a:lnTo>
                      <a:pt x="679" y="638"/>
                    </a:lnTo>
                    <a:lnTo>
                      <a:pt x="669" y="643"/>
                    </a:lnTo>
                    <a:lnTo>
                      <a:pt x="664" y="640"/>
                    </a:lnTo>
                    <a:lnTo>
                      <a:pt x="649" y="640"/>
                    </a:lnTo>
                    <a:lnTo>
                      <a:pt x="930" y="177"/>
                    </a:lnTo>
                    <a:lnTo>
                      <a:pt x="929" y="175"/>
                    </a:lnTo>
                    <a:lnTo>
                      <a:pt x="924" y="173"/>
                    </a:lnTo>
                    <a:lnTo>
                      <a:pt x="920" y="175"/>
                    </a:lnTo>
                    <a:lnTo>
                      <a:pt x="917" y="172"/>
                    </a:lnTo>
                    <a:lnTo>
                      <a:pt x="915" y="163"/>
                    </a:lnTo>
                    <a:lnTo>
                      <a:pt x="914" y="158"/>
                    </a:lnTo>
                    <a:lnTo>
                      <a:pt x="910" y="157"/>
                    </a:lnTo>
                    <a:lnTo>
                      <a:pt x="909" y="152"/>
                    </a:lnTo>
                    <a:lnTo>
                      <a:pt x="905" y="147"/>
                    </a:lnTo>
                    <a:lnTo>
                      <a:pt x="904" y="145"/>
                    </a:lnTo>
                    <a:lnTo>
                      <a:pt x="895" y="145"/>
                    </a:lnTo>
                    <a:lnTo>
                      <a:pt x="894" y="145"/>
                    </a:lnTo>
                    <a:lnTo>
                      <a:pt x="887" y="145"/>
                    </a:lnTo>
                    <a:lnTo>
                      <a:pt x="880" y="147"/>
                    </a:lnTo>
                    <a:lnTo>
                      <a:pt x="877" y="145"/>
                    </a:lnTo>
                    <a:lnTo>
                      <a:pt x="875" y="145"/>
                    </a:lnTo>
                    <a:lnTo>
                      <a:pt x="874" y="143"/>
                    </a:lnTo>
                    <a:lnTo>
                      <a:pt x="872" y="145"/>
                    </a:lnTo>
                    <a:lnTo>
                      <a:pt x="869" y="145"/>
                    </a:lnTo>
                    <a:lnTo>
                      <a:pt x="869" y="143"/>
                    </a:lnTo>
                    <a:lnTo>
                      <a:pt x="870" y="143"/>
                    </a:lnTo>
                    <a:lnTo>
                      <a:pt x="872" y="142"/>
                    </a:lnTo>
                    <a:lnTo>
                      <a:pt x="867" y="138"/>
                    </a:lnTo>
                    <a:lnTo>
                      <a:pt x="864" y="140"/>
                    </a:lnTo>
                    <a:lnTo>
                      <a:pt x="862" y="138"/>
                    </a:lnTo>
                    <a:lnTo>
                      <a:pt x="862" y="137"/>
                    </a:lnTo>
                    <a:lnTo>
                      <a:pt x="864" y="135"/>
                    </a:lnTo>
                    <a:lnTo>
                      <a:pt x="862" y="133"/>
                    </a:lnTo>
                    <a:lnTo>
                      <a:pt x="859" y="135"/>
                    </a:lnTo>
                    <a:lnTo>
                      <a:pt x="855" y="133"/>
                    </a:lnTo>
                    <a:lnTo>
                      <a:pt x="855" y="132"/>
                    </a:lnTo>
                    <a:lnTo>
                      <a:pt x="852" y="128"/>
                    </a:lnTo>
                    <a:lnTo>
                      <a:pt x="845" y="123"/>
                    </a:lnTo>
                    <a:lnTo>
                      <a:pt x="844" y="123"/>
                    </a:lnTo>
                    <a:lnTo>
                      <a:pt x="842" y="123"/>
                    </a:lnTo>
                    <a:lnTo>
                      <a:pt x="841" y="123"/>
                    </a:lnTo>
                    <a:lnTo>
                      <a:pt x="837" y="125"/>
                    </a:lnTo>
                    <a:lnTo>
                      <a:pt x="839" y="123"/>
                    </a:lnTo>
                    <a:lnTo>
                      <a:pt x="837" y="122"/>
                    </a:lnTo>
                    <a:lnTo>
                      <a:pt x="834" y="120"/>
                    </a:lnTo>
                    <a:lnTo>
                      <a:pt x="831" y="123"/>
                    </a:lnTo>
                    <a:lnTo>
                      <a:pt x="829" y="122"/>
                    </a:lnTo>
                    <a:lnTo>
                      <a:pt x="829" y="120"/>
                    </a:lnTo>
                    <a:lnTo>
                      <a:pt x="831" y="118"/>
                    </a:lnTo>
                    <a:lnTo>
                      <a:pt x="829" y="117"/>
                    </a:lnTo>
                    <a:lnTo>
                      <a:pt x="826" y="115"/>
                    </a:lnTo>
                    <a:lnTo>
                      <a:pt x="822" y="115"/>
                    </a:lnTo>
                    <a:lnTo>
                      <a:pt x="824" y="113"/>
                    </a:lnTo>
                    <a:lnTo>
                      <a:pt x="822" y="112"/>
                    </a:lnTo>
                    <a:lnTo>
                      <a:pt x="819" y="110"/>
                    </a:lnTo>
                    <a:lnTo>
                      <a:pt x="816" y="107"/>
                    </a:lnTo>
                    <a:lnTo>
                      <a:pt x="816" y="105"/>
                    </a:lnTo>
                    <a:lnTo>
                      <a:pt x="816" y="103"/>
                    </a:lnTo>
                    <a:lnTo>
                      <a:pt x="812" y="102"/>
                    </a:lnTo>
                    <a:lnTo>
                      <a:pt x="809" y="103"/>
                    </a:lnTo>
                    <a:lnTo>
                      <a:pt x="801" y="112"/>
                    </a:lnTo>
                    <a:lnTo>
                      <a:pt x="791" y="117"/>
                    </a:lnTo>
                    <a:lnTo>
                      <a:pt x="799" y="112"/>
                    </a:lnTo>
                    <a:lnTo>
                      <a:pt x="804" y="103"/>
                    </a:lnTo>
                    <a:lnTo>
                      <a:pt x="811" y="98"/>
                    </a:lnTo>
                    <a:lnTo>
                      <a:pt x="811" y="93"/>
                    </a:lnTo>
                    <a:lnTo>
                      <a:pt x="807" y="92"/>
                    </a:lnTo>
                    <a:lnTo>
                      <a:pt x="802" y="87"/>
                    </a:lnTo>
                    <a:lnTo>
                      <a:pt x="796" y="87"/>
                    </a:lnTo>
                    <a:lnTo>
                      <a:pt x="789" y="90"/>
                    </a:lnTo>
                    <a:lnTo>
                      <a:pt x="786" y="90"/>
                    </a:lnTo>
                    <a:lnTo>
                      <a:pt x="784" y="90"/>
                    </a:lnTo>
                    <a:lnTo>
                      <a:pt x="777" y="92"/>
                    </a:lnTo>
                    <a:lnTo>
                      <a:pt x="771" y="98"/>
                    </a:lnTo>
                    <a:lnTo>
                      <a:pt x="764" y="102"/>
                    </a:lnTo>
                    <a:lnTo>
                      <a:pt x="769" y="97"/>
                    </a:lnTo>
                    <a:lnTo>
                      <a:pt x="769" y="92"/>
                    </a:lnTo>
                    <a:lnTo>
                      <a:pt x="769" y="87"/>
                    </a:lnTo>
                    <a:lnTo>
                      <a:pt x="769" y="84"/>
                    </a:lnTo>
                    <a:lnTo>
                      <a:pt x="762" y="79"/>
                    </a:lnTo>
                    <a:lnTo>
                      <a:pt x="762" y="77"/>
                    </a:lnTo>
                    <a:lnTo>
                      <a:pt x="766" y="75"/>
                    </a:lnTo>
                    <a:lnTo>
                      <a:pt x="771" y="75"/>
                    </a:lnTo>
                    <a:lnTo>
                      <a:pt x="769" y="74"/>
                    </a:lnTo>
                    <a:lnTo>
                      <a:pt x="757" y="67"/>
                    </a:lnTo>
                    <a:lnTo>
                      <a:pt x="757" y="65"/>
                    </a:lnTo>
                    <a:lnTo>
                      <a:pt x="759" y="62"/>
                    </a:lnTo>
                    <a:lnTo>
                      <a:pt x="766" y="59"/>
                    </a:lnTo>
                    <a:lnTo>
                      <a:pt x="769" y="55"/>
                    </a:lnTo>
                    <a:lnTo>
                      <a:pt x="767" y="52"/>
                    </a:lnTo>
                    <a:lnTo>
                      <a:pt x="764" y="49"/>
                    </a:lnTo>
                    <a:lnTo>
                      <a:pt x="762" y="49"/>
                    </a:lnTo>
                    <a:lnTo>
                      <a:pt x="759" y="49"/>
                    </a:lnTo>
                    <a:lnTo>
                      <a:pt x="757" y="45"/>
                    </a:lnTo>
                    <a:lnTo>
                      <a:pt x="754" y="44"/>
                    </a:lnTo>
                    <a:lnTo>
                      <a:pt x="749" y="45"/>
                    </a:lnTo>
                    <a:lnTo>
                      <a:pt x="744" y="42"/>
                    </a:lnTo>
                    <a:lnTo>
                      <a:pt x="741" y="42"/>
                    </a:lnTo>
                    <a:lnTo>
                      <a:pt x="738" y="44"/>
                    </a:lnTo>
                    <a:lnTo>
                      <a:pt x="733" y="44"/>
                    </a:lnTo>
                    <a:lnTo>
                      <a:pt x="729" y="47"/>
                    </a:lnTo>
                    <a:lnTo>
                      <a:pt x="729" y="49"/>
                    </a:lnTo>
                    <a:lnTo>
                      <a:pt x="726" y="45"/>
                    </a:lnTo>
                    <a:lnTo>
                      <a:pt x="728" y="42"/>
                    </a:lnTo>
                    <a:lnTo>
                      <a:pt x="731" y="40"/>
                    </a:lnTo>
                    <a:lnTo>
                      <a:pt x="729" y="37"/>
                    </a:lnTo>
                    <a:lnTo>
                      <a:pt x="731" y="34"/>
                    </a:lnTo>
                    <a:lnTo>
                      <a:pt x="734" y="32"/>
                    </a:lnTo>
                    <a:lnTo>
                      <a:pt x="734" y="29"/>
                    </a:lnTo>
                    <a:lnTo>
                      <a:pt x="736" y="24"/>
                    </a:lnTo>
                    <a:lnTo>
                      <a:pt x="734" y="22"/>
                    </a:lnTo>
                    <a:lnTo>
                      <a:pt x="733" y="22"/>
                    </a:lnTo>
                    <a:lnTo>
                      <a:pt x="728" y="27"/>
                    </a:lnTo>
                    <a:lnTo>
                      <a:pt x="726" y="30"/>
                    </a:lnTo>
                    <a:lnTo>
                      <a:pt x="724" y="30"/>
                    </a:lnTo>
                    <a:lnTo>
                      <a:pt x="721" y="29"/>
                    </a:lnTo>
                    <a:lnTo>
                      <a:pt x="716" y="30"/>
                    </a:lnTo>
                    <a:lnTo>
                      <a:pt x="716" y="32"/>
                    </a:lnTo>
                    <a:lnTo>
                      <a:pt x="716" y="37"/>
                    </a:lnTo>
                    <a:lnTo>
                      <a:pt x="714" y="40"/>
                    </a:lnTo>
                    <a:lnTo>
                      <a:pt x="711" y="40"/>
                    </a:lnTo>
                    <a:lnTo>
                      <a:pt x="709" y="39"/>
                    </a:lnTo>
                    <a:lnTo>
                      <a:pt x="708" y="44"/>
                    </a:lnTo>
                    <a:lnTo>
                      <a:pt x="708" y="49"/>
                    </a:lnTo>
                    <a:lnTo>
                      <a:pt x="706" y="44"/>
                    </a:lnTo>
                    <a:lnTo>
                      <a:pt x="706" y="39"/>
                    </a:lnTo>
                    <a:lnTo>
                      <a:pt x="708" y="35"/>
                    </a:lnTo>
                    <a:lnTo>
                      <a:pt x="706" y="35"/>
                    </a:lnTo>
                    <a:lnTo>
                      <a:pt x="703" y="37"/>
                    </a:lnTo>
                    <a:lnTo>
                      <a:pt x="701" y="40"/>
                    </a:lnTo>
                    <a:lnTo>
                      <a:pt x="698" y="42"/>
                    </a:lnTo>
                    <a:lnTo>
                      <a:pt x="699" y="35"/>
                    </a:lnTo>
                    <a:lnTo>
                      <a:pt x="698" y="30"/>
                    </a:lnTo>
                    <a:lnTo>
                      <a:pt x="693" y="32"/>
                    </a:lnTo>
                    <a:lnTo>
                      <a:pt x="694" y="29"/>
                    </a:lnTo>
                    <a:lnTo>
                      <a:pt x="699" y="25"/>
                    </a:lnTo>
                    <a:lnTo>
                      <a:pt x="704" y="24"/>
                    </a:lnTo>
                    <a:lnTo>
                      <a:pt x="709" y="27"/>
                    </a:lnTo>
                    <a:lnTo>
                      <a:pt x="716" y="25"/>
                    </a:lnTo>
                    <a:lnTo>
                      <a:pt x="721" y="24"/>
                    </a:lnTo>
                    <a:lnTo>
                      <a:pt x="726" y="19"/>
                    </a:lnTo>
                    <a:lnTo>
                      <a:pt x="726" y="17"/>
                    </a:lnTo>
                    <a:lnTo>
                      <a:pt x="728" y="15"/>
                    </a:lnTo>
                    <a:lnTo>
                      <a:pt x="726" y="14"/>
                    </a:lnTo>
                    <a:lnTo>
                      <a:pt x="721" y="10"/>
                    </a:lnTo>
                    <a:lnTo>
                      <a:pt x="719" y="12"/>
                    </a:lnTo>
                    <a:lnTo>
                      <a:pt x="718" y="7"/>
                    </a:lnTo>
                    <a:lnTo>
                      <a:pt x="716" y="5"/>
                    </a:lnTo>
                    <a:lnTo>
                      <a:pt x="714" y="5"/>
                    </a:lnTo>
                    <a:lnTo>
                      <a:pt x="716" y="4"/>
                    </a:lnTo>
                    <a:lnTo>
                      <a:pt x="718" y="2"/>
                    </a:lnTo>
                    <a:lnTo>
                      <a:pt x="719" y="0"/>
                    </a:lnTo>
                    <a:lnTo>
                      <a:pt x="716" y="0"/>
                    </a:lnTo>
                    <a:lnTo>
                      <a:pt x="708" y="5"/>
                    </a:lnTo>
                    <a:lnTo>
                      <a:pt x="706" y="7"/>
                    </a:lnTo>
                    <a:lnTo>
                      <a:pt x="699" y="7"/>
                    </a:lnTo>
                    <a:lnTo>
                      <a:pt x="694" y="10"/>
                    </a:lnTo>
                    <a:lnTo>
                      <a:pt x="684" y="17"/>
                    </a:lnTo>
                    <a:lnTo>
                      <a:pt x="678" y="19"/>
                    </a:lnTo>
                    <a:lnTo>
                      <a:pt x="666" y="19"/>
                    </a:lnTo>
                    <a:lnTo>
                      <a:pt x="659" y="15"/>
                    </a:lnTo>
                    <a:lnTo>
                      <a:pt x="658" y="14"/>
                    </a:lnTo>
                    <a:lnTo>
                      <a:pt x="658" y="15"/>
                    </a:lnTo>
                    <a:lnTo>
                      <a:pt x="653" y="15"/>
                    </a:lnTo>
                    <a:lnTo>
                      <a:pt x="648" y="12"/>
                    </a:lnTo>
                    <a:lnTo>
                      <a:pt x="645" y="14"/>
                    </a:lnTo>
                    <a:lnTo>
                      <a:pt x="643" y="17"/>
                    </a:lnTo>
                    <a:lnTo>
                      <a:pt x="641" y="17"/>
                    </a:lnTo>
                    <a:lnTo>
                      <a:pt x="640" y="14"/>
                    </a:lnTo>
                    <a:lnTo>
                      <a:pt x="641" y="12"/>
                    </a:lnTo>
                    <a:lnTo>
                      <a:pt x="645" y="10"/>
                    </a:lnTo>
                    <a:lnTo>
                      <a:pt x="643" y="9"/>
                    </a:lnTo>
                    <a:lnTo>
                      <a:pt x="636" y="10"/>
                    </a:lnTo>
                    <a:lnTo>
                      <a:pt x="628" y="14"/>
                    </a:lnTo>
                    <a:lnTo>
                      <a:pt x="621" y="17"/>
                    </a:lnTo>
                    <a:lnTo>
                      <a:pt x="618" y="22"/>
                    </a:lnTo>
                    <a:lnTo>
                      <a:pt x="620" y="25"/>
                    </a:lnTo>
                    <a:lnTo>
                      <a:pt x="626" y="27"/>
                    </a:lnTo>
                    <a:lnTo>
                      <a:pt x="623" y="29"/>
                    </a:lnTo>
                    <a:lnTo>
                      <a:pt x="616" y="29"/>
                    </a:lnTo>
                    <a:lnTo>
                      <a:pt x="610" y="34"/>
                    </a:lnTo>
                    <a:lnTo>
                      <a:pt x="605" y="44"/>
                    </a:lnTo>
                    <a:lnTo>
                      <a:pt x="603" y="52"/>
                    </a:lnTo>
                    <a:lnTo>
                      <a:pt x="600" y="52"/>
                    </a:lnTo>
                    <a:lnTo>
                      <a:pt x="600" y="50"/>
                    </a:lnTo>
                    <a:lnTo>
                      <a:pt x="601" y="42"/>
                    </a:lnTo>
                    <a:lnTo>
                      <a:pt x="608" y="32"/>
                    </a:lnTo>
                    <a:lnTo>
                      <a:pt x="608" y="30"/>
                    </a:lnTo>
                    <a:lnTo>
                      <a:pt x="606" y="30"/>
                    </a:lnTo>
                    <a:lnTo>
                      <a:pt x="593" y="34"/>
                    </a:lnTo>
                    <a:lnTo>
                      <a:pt x="588" y="34"/>
                    </a:lnTo>
                    <a:lnTo>
                      <a:pt x="585" y="34"/>
                    </a:lnTo>
                    <a:lnTo>
                      <a:pt x="581" y="29"/>
                    </a:lnTo>
                    <a:lnTo>
                      <a:pt x="576" y="27"/>
                    </a:lnTo>
                    <a:lnTo>
                      <a:pt x="573" y="27"/>
                    </a:lnTo>
                    <a:lnTo>
                      <a:pt x="573" y="29"/>
                    </a:lnTo>
                    <a:lnTo>
                      <a:pt x="580" y="32"/>
                    </a:lnTo>
                    <a:lnTo>
                      <a:pt x="583" y="35"/>
                    </a:lnTo>
                    <a:lnTo>
                      <a:pt x="581" y="35"/>
                    </a:lnTo>
                    <a:lnTo>
                      <a:pt x="573" y="34"/>
                    </a:lnTo>
                    <a:lnTo>
                      <a:pt x="565" y="34"/>
                    </a:lnTo>
                    <a:lnTo>
                      <a:pt x="555" y="37"/>
                    </a:lnTo>
                    <a:lnTo>
                      <a:pt x="543" y="47"/>
                    </a:lnTo>
                    <a:lnTo>
                      <a:pt x="530" y="54"/>
                    </a:lnTo>
                    <a:lnTo>
                      <a:pt x="520" y="60"/>
                    </a:lnTo>
                    <a:lnTo>
                      <a:pt x="510" y="69"/>
                    </a:lnTo>
                    <a:lnTo>
                      <a:pt x="497" y="79"/>
                    </a:lnTo>
                    <a:lnTo>
                      <a:pt x="488" y="80"/>
                    </a:lnTo>
                    <a:lnTo>
                      <a:pt x="485" y="82"/>
                    </a:lnTo>
                    <a:lnTo>
                      <a:pt x="478" y="85"/>
                    </a:lnTo>
                    <a:lnTo>
                      <a:pt x="473" y="85"/>
                    </a:lnTo>
                    <a:lnTo>
                      <a:pt x="465" y="90"/>
                    </a:lnTo>
                    <a:lnTo>
                      <a:pt x="457" y="90"/>
                    </a:lnTo>
                    <a:lnTo>
                      <a:pt x="453" y="87"/>
                    </a:lnTo>
                    <a:lnTo>
                      <a:pt x="447" y="87"/>
                    </a:lnTo>
                    <a:lnTo>
                      <a:pt x="440" y="84"/>
                    </a:lnTo>
                    <a:lnTo>
                      <a:pt x="435" y="82"/>
                    </a:lnTo>
                    <a:lnTo>
                      <a:pt x="427" y="79"/>
                    </a:lnTo>
                    <a:lnTo>
                      <a:pt x="425" y="79"/>
                    </a:lnTo>
                    <a:lnTo>
                      <a:pt x="419" y="84"/>
                    </a:lnTo>
                    <a:lnTo>
                      <a:pt x="410" y="92"/>
                    </a:lnTo>
                    <a:lnTo>
                      <a:pt x="409" y="97"/>
                    </a:lnTo>
                    <a:lnTo>
                      <a:pt x="404" y="100"/>
                    </a:lnTo>
                    <a:lnTo>
                      <a:pt x="400" y="107"/>
                    </a:lnTo>
                    <a:lnTo>
                      <a:pt x="397" y="105"/>
                    </a:lnTo>
                    <a:lnTo>
                      <a:pt x="394" y="103"/>
                    </a:lnTo>
                    <a:lnTo>
                      <a:pt x="392" y="105"/>
                    </a:lnTo>
                    <a:lnTo>
                      <a:pt x="395" y="115"/>
                    </a:lnTo>
                    <a:lnTo>
                      <a:pt x="402" y="133"/>
                    </a:lnTo>
                    <a:lnTo>
                      <a:pt x="407" y="148"/>
                    </a:lnTo>
                    <a:lnTo>
                      <a:pt x="410" y="162"/>
                    </a:lnTo>
                    <a:lnTo>
                      <a:pt x="409" y="175"/>
                    </a:lnTo>
                    <a:lnTo>
                      <a:pt x="404" y="183"/>
                    </a:lnTo>
                    <a:lnTo>
                      <a:pt x="399" y="188"/>
                    </a:lnTo>
                    <a:lnTo>
                      <a:pt x="399" y="191"/>
                    </a:lnTo>
                    <a:lnTo>
                      <a:pt x="409" y="201"/>
                    </a:lnTo>
                    <a:lnTo>
                      <a:pt x="414" y="203"/>
                    </a:lnTo>
                    <a:lnTo>
                      <a:pt x="414" y="198"/>
                    </a:lnTo>
                    <a:lnTo>
                      <a:pt x="415" y="200"/>
                    </a:lnTo>
                    <a:lnTo>
                      <a:pt x="419" y="198"/>
                    </a:lnTo>
                    <a:lnTo>
                      <a:pt x="424" y="198"/>
                    </a:lnTo>
                    <a:lnTo>
                      <a:pt x="419" y="201"/>
                    </a:lnTo>
                    <a:lnTo>
                      <a:pt x="419" y="203"/>
                    </a:lnTo>
                    <a:lnTo>
                      <a:pt x="430" y="213"/>
                    </a:lnTo>
                    <a:lnTo>
                      <a:pt x="429" y="215"/>
                    </a:lnTo>
                    <a:lnTo>
                      <a:pt x="424" y="213"/>
                    </a:lnTo>
                    <a:lnTo>
                      <a:pt x="422" y="216"/>
                    </a:lnTo>
                    <a:lnTo>
                      <a:pt x="420" y="228"/>
                    </a:lnTo>
                    <a:lnTo>
                      <a:pt x="422" y="233"/>
                    </a:lnTo>
                    <a:lnTo>
                      <a:pt x="424" y="235"/>
                    </a:lnTo>
                    <a:lnTo>
                      <a:pt x="427" y="231"/>
                    </a:lnTo>
                    <a:lnTo>
                      <a:pt x="434" y="231"/>
                    </a:lnTo>
                    <a:lnTo>
                      <a:pt x="437" y="233"/>
                    </a:lnTo>
                    <a:lnTo>
                      <a:pt x="439" y="235"/>
                    </a:lnTo>
                    <a:lnTo>
                      <a:pt x="445" y="233"/>
                    </a:lnTo>
                    <a:lnTo>
                      <a:pt x="452" y="235"/>
                    </a:lnTo>
                    <a:lnTo>
                      <a:pt x="458" y="238"/>
                    </a:lnTo>
                    <a:lnTo>
                      <a:pt x="452" y="241"/>
                    </a:lnTo>
                    <a:lnTo>
                      <a:pt x="453" y="246"/>
                    </a:lnTo>
                    <a:lnTo>
                      <a:pt x="452" y="251"/>
                    </a:lnTo>
                    <a:lnTo>
                      <a:pt x="444" y="251"/>
                    </a:lnTo>
                    <a:lnTo>
                      <a:pt x="445" y="248"/>
                    </a:lnTo>
                    <a:lnTo>
                      <a:pt x="440" y="246"/>
                    </a:lnTo>
                    <a:lnTo>
                      <a:pt x="437" y="248"/>
                    </a:lnTo>
                    <a:lnTo>
                      <a:pt x="430" y="246"/>
                    </a:lnTo>
                    <a:lnTo>
                      <a:pt x="429" y="245"/>
                    </a:lnTo>
                    <a:lnTo>
                      <a:pt x="425" y="238"/>
                    </a:lnTo>
                    <a:lnTo>
                      <a:pt x="422" y="236"/>
                    </a:lnTo>
                    <a:lnTo>
                      <a:pt x="419" y="238"/>
                    </a:lnTo>
                    <a:lnTo>
                      <a:pt x="414" y="233"/>
                    </a:lnTo>
                    <a:lnTo>
                      <a:pt x="414" y="226"/>
                    </a:lnTo>
                    <a:lnTo>
                      <a:pt x="420" y="213"/>
                    </a:lnTo>
                    <a:lnTo>
                      <a:pt x="419" y="210"/>
                    </a:lnTo>
                    <a:lnTo>
                      <a:pt x="417" y="210"/>
                    </a:lnTo>
                    <a:lnTo>
                      <a:pt x="412" y="213"/>
                    </a:lnTo>
                    <a:lnTo>
                      <a:pt x="412" y="226"/>
                    </a:lnTo>
                    <a:lnTo>
                      <a:pt x="410" y="235"/>
                    </a:lnTo>
                    <a:lnTo>
                      <a:pt x="405" y="240"/>
                    </a:lnTo>
                    <a:lnTo>
                      <a:pt x="405" y="243"/>
                    </a:lnTo>
                    <a:lnTo>
                      <a:pt x="409" y="238"/>
                    </a:lnTo>
                    <a:lnTo>
                      <a:pt x="412" y="238"/>
                    </a:lnTo>
                    <a:lnTo>
                      <a:pt x="414" y="240"/>
                    </a:lnTo>
                    <a:lnTo>
                      <a:pt x="420" y="240"/>
                    </a:lnTo>
                    <a:lnTo>
                      <a:pt x="422" y="245"/>
                    </a:lnTo>
                    <a:lnTo>
                      <a:pt x="422" y="253"/>
                    </a:lnTo>
                    <a:lnTo>
                      <a:pt x="417" y="258"/>
                    </a:lnTo>
                    <a:lnTo>
                      <a:pt x="410" y="260"/>
                    </a:lnTo>
                    <a:lnTo>
                      <a:pt x="417" y="253"/>
                    </a:lnTo>
                    <a:lnTo>
                      <a:pt x="417" y="250"/>
                    </a:lnTo>
                    <a:lnTo>
                      <a:pt x="414" y="250"/>
                    </a:lnTo>
                    <a:lnTo>
                      <a:pt x="412" y="248"/>
                    </a:lnTo>
                    <a:lnTo>
                      <a:pt x="409" y="250"/>
                    </a:lnTo>
                    <a:lnTo>
                      <a:pt x="400" y="255"/>
                    </a:lnTo>
                    <a:lnTo>
                      <a:pt x="400" y="258"/>
                    </a:lnTo>
                    <a:lnTo>
                      <a:pt x="397" y="260"/>
                    </a:lnTo>
                    <a:lnTo>
                      <a:pt x="392" y="261"/>
                    </a:lnTo>
                    <a:lnTo>
                      <a:pt x="390" y="258"/>
                    </a:lnTo>
                    <a:lnTo>
                      <a:pt x="389" y="256"/>
                    </a:lnTo>
                    <a:lnTo>
                      <a:pt x="382" y="258"/>
                    </a:lnTo>
                    <a:lnTo>
                      <a:pt x="379" y="256"/>
                    </a:lnTo>
                    <a:lnTo>
                      <a:pt x="379" y="251"/>
                    </a:lnTo>
                    <a:lnTo>
                      <a:pt x="375" y="251"/>
                    </a:lnTo>
                    <a:lnTo>
                      <a:pt x="372" y="251"/>
                    </a:lnTo>
                    <a:lnTo>
                      <a:pt x="369" y="251"/>
                    </a:lnTo>
                    <a:lnTo>
                      <a:pt x="369" y="248"/>
                    </a:lnTo>
                    <a:lnTo>
                      <a:pt x="365" y="246"/>
                    </a:lnTo>
                    <a:lnTo>
                      <a:pt x="362" y="248"/>
                    </a:lnTo>
                    <a:lnTo>
                      <a:pt x="359" y="248"/>
                    </a:lnTo>
                    <a:lnTo>
                      <a:pt x="359" y="243"/>
                    </a:lnTo>
                    <a:lnTo>
                      <a:pt x="357" y="240"/>
                    </a:lnTo>
                    <a:lnTo>
                      <a:pt x="357" y="236"/>
                    </a:lnTo>
                    <a:lnTo>
                      <a:pt x="362" y="235"/>
                    </a:lnTo>
                    <a:lnTo>
                      <a:pt x="367" y="228"/>
                    </a:lnTo>
                    <a:lnTo>
                      <a:pt x="369" y="228"/>
                    </a:lnTo>
                    <a:lnTo>
                      <a:pt x="372" y="225"/>
                    </a:lnTo>
                    <a:lnTo>
                      <a:pt x="372" y="221"/>
                    </a:lnTo>
                    <a:lnTo>
                      <a:pt x="365" y="216"/>
                    </a:lnTo>
                    <a:lnTo>
                      <a:pt x="362" y="215"/>
                    </a:lnTo>
                    <a:lnTo>
                      <a:pt x="357" y="215"/>
                    </a:lnTo>
                    <a:lnTo>
                      <a:pt x="350" y="218"/>
                    </a:lnTo>
                    <a:lnTo>
                      <a:pt x="346" y="218"/>
                    </a:lnTo>
                    <a:lnTo>
                      <a:pt x="341" y="216"/>
                    </a:lnTo>
                    <a:lnTo>
                      <a:pt x="337" y="216"/>
                    </a:lnTo>
                    <a:lnTo>
                      <a:pt x="322" y="221"/>
                    </a:lnTo>
                    <a:lnTo>
                      <a:pt x="322" y="223"/>
                    </a:lnTo>
                    <a:lnTo>
                      <a:pt x="324" y="226"/>
                    </a:lnTo>
                    <a:lnTo>
                      <a:pt x="329" y="230"/>
                    </a:lnTo>
                    <a:lnTo>
                      <a:pt x="329" y="231"/>
                    </a:lnTo>
                    <a:lnTo>
                      <a:pt x="324" y="231"/>
                    </a:lnTo>
                    <a:lnTo>
                      <a:pt x="321" y="231"/>
                    </a:lnTo>
                    <a:lnTo>
                      <a:pt x="319" y="228"/>
                    </a:lnTo>
                    <a:lnTo>
                      <a:pt x="314" y="228"/>
                    </a:lnTo>
                    <a:lnTo>
                      <a:pt x="306" y="226"/>
                    </a:lnTo>
                    <a:lnTo>
                      <a:pt x="296" y="228"/>
                    </a:lnTo>
                    <a:lnTo>
                      <a:pt x="292" y="230"/>
                    </a:lnTo>
                    <a:lnTo>
                      <a:pt x="292" y="231"/>
                    </a:lnTo>
                    <a:lnTo>
                      <a:pt x="287" y="231"/>
                    </a:lnTo>
                    <a:lnTo>
                      <a:pt x="287" y="231"/>
                    </a:lnTo>
                    <a:lnTo>
                      <a:pt x="282" y="231"/>
                    </a:lnTo>
                    <a:lnTo>
                      <a:pt x="276" y="235"/>
                    </a:lnTo>
                    <a:lnTo>
                      <a:pt x="276" y="236"/>
                    </a:lnTo>
                    <a:lnTo>
                      <a:pt x="272" y="238"/>
                    </a:lnTo>
                    <a:lnTo>
                      <a:pt x="266" y="241"/>
                    </a:lnTo>
                    <a:lnTo>
                      <a:pt x="261" y="245"/>
                    </a:lnTo>
                    <a:lnTo>
                      <a:pt x="257" y="245"/>
                    </a:lnTo>
                    <a:lnTo>
                      <a:pt x="259" y="243"/>
                    </a:lnTo>
                    <a:lnTo>
                      <a:pt x="259" y="240"/>
                    </a:lnTo>
                    <a:lnTo>
                      <a:pt x="256" y="241"/>
                    </a:lnTo>
                    <a:lnTo>
                      <a:pt x="252" y="246"/>
                    </a:lnTo>
                    <a:lnTo>
                      <a:pt x="251" y="248"/>
                    </a:lnTo>
                    <a:lnTo>
                      <a:pt x="257" y="256"/>
                    </a:lnTo>
                    <a:lnTo>
                      <a:pt x="264" y="265"/>
                    </a:lnTo>
                    <a:lnTo>
                      <a:pt x="271" y="266"/>
                    </a:lnTo>
                    <a:lnTo>
                      <a:pt x="276" y="273"/>
                    </a:lnTo>
                    <a:lnTo>
                      <a:pt x="282" y="275"/>
                    </a:lnTo>
                    <a:lnTo>
                      <a:pt x="284" y="280"/>
                    </a:lnTo>
                    <a:lnTo>
                      <a:pt x="289" y="281"/>
                    </a:lnTo>
                    <a:lnTo>
                      <a:pt x="294" y="285"/>
                    </a:lnTo>
                    <a:lnTo>
                      <a:pt x="292" y="286"/>
                    </a:lnTo>
                    <a:lnTo>
                      <a:pt x="284" y="286"/>
                    </a:lnTo>
                    <a:lnTo>
                      <a:pt x="284" y="281"/>
                    </a:lnTo>
                    <a:lnTo>
                      <a:pt x="277" y="278"/>
                    </a:lnTo>
                    <a:lnTo>
                      <a:pt x="274" y="275"/>
                    </a:lnTo>
                    <a:lnTo>
                      <a:pt x="272" y="276"/>
                    </a:lnTo>
                    <a:lnTo>
                      <a:pt x="267" y="281"/>
                    </a:lnTo>
                    <a:lnTo>
                      <a:pt x="264" y="281"/>
                    </a:lnTo>
                    <a:lnTo>
                      <a:pt x="261" y="276"/>
                    </a:lnTo>
                    <a:lnTo>
                      <a:pt x="264" y="273"/>
                    </a:lnTo>
                    <a:lnTo>
                      <a:pt x="264" y="271"/>
                    </a:lnTo>
                    <a:lnTo>
                      <a:pt x="261" y="271"/>
                    </a:lnTo>
                    <a:lnTo>
                      <a:pt x="257" y="276"/>
                    </a:lnTo>
                    <a:lnTo>
                      <a:pt x="257" y="285"/>
                    </a:lnTo>
                    <a:lnTo>
                      <a:pt x="259" y="286"/>
                    </a:lnTo>
                    <a:lnTo>
                      <a:pt x="259" y="289"/>
                    </a:lnTo>
                    <a:lnTo>
                      <a:pt x="254" y="293"/>
                    </a:lnTo>
                    <a:lnTo>
                      <a:pt x="251" y="299"/>
                    </a:lnTo>
                    <a:lnTo>
                      <a:pt x="249" y="304"/>
                    </a:lnTo>
                    <a:lnTo>
                      <a:pt x="251" y="311"/>
                    </a:lnTo>
                    <a:lnTo>
                      <a:pt x="259" y="319"/>
                    </a:lnTo>
                    <a:lnTo>
                      <a:pt x="267" y="323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81" y="324"/>
                    </a:lnTo>
                    <a:lnTo>
                      <a:pt x="287" y="321"/>
                    </a:lnTo>
                    <a:lnTo>
                      <a:pt x="294" y="324"/>
                    </a:lnTo>
                    <a:lnTo>
                      <a:pt x="304" y="326"/>
                    </a:lnTo>
                    <a:lnTo>
                      <a:pt x="309" y="328"/>
                    </a:lnTo>
                    <a:lnTo>
                      <a:pt x="311" y="333"/>
                    </a:lnTo>
                    <a:lnTo>
                      <a:pt x="312" y="334"/>
                    </a:lnTo>
                    <a:lnTo>
                      <a:pt x="316" y="333"/>
                    </a:lnTo>
                    <a:lnTo>
                      <a:pt x="314" y="326"/>
                    </a:lnTo>
                    <a:lnTo>
                      <a:pt x="316" y="324"/>
                    </a:lnTo>
                    <a:lnTo>
                      <a:pt x="321" y="326"/>
                    </a:lnTo>
                    <a:lnTo>
                      <a:pt x="321" y="329"/>
                    </a:lnTo>
                    <a:lnTo>
                      <a:pt x="316" y="334"/>
                    </a:lnTo>
                    <a:lnTo>
                      <a:pt x="316" y="338"/>
                    </a:lnTo>
                    <a:lnTo>
                      <a:pt x="319" y="338"/>
                    </a:lnTo>
                    <a:lnTo>
                      <a:pt x="324" y="333"/>
                    </a:lnTo>
                    <a:lnTo>
                      <a:pt x="327" y="331"/>
                    </a:lnTo>
                    <a:lnTo>
                      <a:pt x="334" y="329"/>
                    </a:lnTo>
                    <a:lnTo>
                      <a:pt x="344" y="324"/>
                    </a:lnTo>
                    <a:lnTo>
                      <a:pt x="350" y="323"/>
                    </a:lnTo>
                    <a:lnTo>
                      <a:pt x="354" y="319"/>
                    </a:lnTo>
                    <a:lnTo>
                      <a:pt x="357" y="319"/>
                    </a:lnTo>
                    <a:lnTo>
                      <a:pt x="357" y="321"/>
                    </a:lnTo>
                    <a:lnTo>
                      <a:pt x="360" y="323"/>
                    </a:lnTo>
                    <a:lnTo>
                      <a:pt x="369" y="318"/>
                    </a:lnTo>
                    <a:lnTo>
                      <a:pt x="374" y="318"/>
                    </a:lnTo>
                    <a:lnTo>
                      <a:pt x="377" y="316"/>
                    </a:lnTo>
                    <a:lnTo>
                      <a:pt x="375" y="319"/>
                    </a:lnTo>
                    <a:lnTo>
                      <a:pt x="369" y="323"/>
                    </a:lnTo>
                    <a:lnTo>
                      <a:pt x="369" y="324"/>
                    </a:lnTo>
                    <a:lnTo>
                      <a:pt x="372" y="326"/>
                    </a:lnTo>
                    <a:lnTo>
                      <a:pt x="367" y="333"/>
                    </a:lnTo>
                    <a:lnTo>
                      <a:pt x="360" y="334"/>
                    </a:lnTo>
                    <a:lnTo>
                      <a:pt x="359" y="331"/>
                    </a:lnTo>
                    <a:lnTo>
                      <a:pt x="355" y="331"/>
                    </a:lnTo>
                    <a:lnTo>
                      <a:pt x="349" y="336"/>
                    </a:lnTo>
                    <a:lnTo>
                      <a:pt x="349" y="338"/>
                    </a:lnTo>
                    <a:lnTo>
                      <a:pt x="355" y="338"/>
                    </a:lnTo>
                    <a:lnTo>
                      <a:pt x="357" y="341"/>
                    </a:lnTo>
                    <a:lnTo>
                      <a:pt x="357" y="346"/>
                    </a:lnTo>
                    <a:lnTo>
                      <a:pt x="349" y="354"/>
                    </a:lnTo>
                    <a:lnTo>
                      <a:pt x="349" y="359"/>
                    </a:lnTo>
                    <a:lnTo>
                      <a:pt x="346" y="363"/>
                    </a:lnTo>
                    <a:lnTo>
                      <a:pt x="346" y="366"/>
                    </a:lnTo>
                    <a:lnTo>
                      <a:pt x="346" y="368"/>
                    </a:lnTo>
                    <a:lnTo>
                      <a:pt x="347" y="371"/>
                    </a:lnTo>
                    <a:lnTo>
                      <a:pt x="346" y="374"/>
                    </a:lnTo>
                    <a:lnTo>
                      <a:pt x="341" y="381"/>
                    </a:lnTo>
                    <a:lnTo>
                      <a:pt x="337" y="383"/>
                    </a:lnTo>
                    <a:lnTo>
                      <a:pt x="332" y="383"/>
                    </a:lnTo>
                    <a:lnTo>
                      <a:pt x="329" y="384"/>
                    </a:lnTo>
                    <a:lnTo>
                      <a:pt x="324" y="387"/>
                    </a:lnTo>
                    <a:lnTo>
                      <a:pt x="321" y="389"/>
                    </a:lnTo>
                    <a:lnTo>
                      <a:pt x="316" y="389"/>
                    </a:lnTo>
                    <a:lnTo>
                      <a:pt x="307" y="384"/>
                    </a:lnTo>
                    <a:lnTo>
                      <a:pt x="306" y="386"/>
                    </a:lnTo>
                    <a:lnTo>
                      <a:pt x="304" y="384"/>
                    </a:lnTo>
                    <a:lnTo>
                      <a:pt x="301" y="379"/>
                    </a:lnTo>
                    <a:lnTo>
                      <a:pt x="299" y="381"/>
                    </a:lnTo>
                    <a:lnTo>
                      <a:pt x="294" y="386"/>
                    </a:lnTo>
                    <a:lnTo>
                      <a:pt x="289" y="389"/>
                    </a:lnTo>
                    <a:lnTo>
                      <a:pt x="284" y="394"/>
                    </a:lnTo>
                    <a:lnTo>
                      <a:pt x="276" y="397"/>
                    </a:lnTo>
                    <a:lnTo>
                      <a:pt x="272" y="399"/>
                    </a:lnTo>
                    <a:lnTo>
                      <a:pt x="267" y="399"/>
                    </a:lnTo>
                    <a:lnTo>
                      <a:pt x="264" y="397"/>
                    </a:lnTo>
                    <a:lnTo>
                      <a:pt x="256" y="397"/>
                    </a:lnTo>
                    <a:lnTo>
                      <a:pt x="249" y="402"/>
                    </a:lnTo>
                    <a:lnTo>
                      <a:pt x="244" y="402"/>
                    </a:lnTo>
                    <a:lnTo>
                      <a:pt x="241" y="404"/>
                    </a:lnTo>
                    <a:lnTo>
                      <a:pt x="241" y="411"/>
                    </a:lnTo>
                    <a:lnTo>
                      <a:pt x="238" y="417"/>
                    </a:lnTo>
                    <a:lnTo>
                      <a:pt x="234" y="421"/>
                    </a:lnTo>
                    <a:lnTo>
                      <a:pt x="234" y="417"/>
                    </a:lnTo>
                    <a:lnTo>
                      <a:pt x="228" y="412"/>
                    </a:lnTo>
                    <a:lnTo>
                      <a:pt x="221" y="412"/>
                    </a:lnTo>
                    <a:lnTo>
                      <a:pt x="218" y="414"/>
                    </a:lnTo>
                    <a:lnTo>
                      <a:pt x="219" y="417"/>
                    </a:lnTo>
                    <a:lnTo>
                      <a:pt x="223" y="419"/>
                    </a:lnTo>
                    <a:lnTo>
                      <a:pt x="219" y="422"/>
                    </a:lnTo>
                    <a:lnTo>
                      <a:pt x="218" y="422"/>
                    </a:lnTo>
                    <a:lnTo>
                      <a:pt x="216" y="419"/>
                    </a:lnTo>
                    <a:lnTo>
                      <a:pt x="211" y="414"/>
                    </a:lnTo>
                    <a:lnTo>
                      <a:pt x="209" y="414"/>
                    </a:lnTo>
                    <a:lnTo>
                      <a:pt x="203" y="421"/>
                    </a:lnTo>
                    <a:lnTo>
                      <a:pt x="199" y="426"/>
                    </a:lnTo>
                    <a:lnTo>
                      <a:pt x="198" y="427"/>
                    </a:lnTo>
                    <a:lnTo>
                      <a:pt x="194" y="427"/>
                    </a:lnTo>
                    <a:lnTo>
                      <a:pt x="183" y="436"/>
                    </a:lnTo>
                    <a:lnTo>
                      <a:pt x="181" y="442"/>
                    </a:lnTo>
                    <a:lnTo>
                      <a:pt x="179" y="444"/>
                    </a:lnTo>
                    <a:lnTo>
                      <a:pt x="174" y="446"/>
                    </a:lnTo>
                    <a:lnTo>
                      <a:pt x="169" y="444"/>
                    </a:lnTo>
                    <a:lnTo>
                      <a:pt x="168" y="446"/>
                    </a:lnTo>
                    <a:lnTo>
                      <a:pt x="173" y="451"/>
                    </a:lnTo>
                    <a:lnTo>
                      <a:pt x="173" y="452"/>
                    </a:lnTo>
                    <a:lnTo>
                      <a:pt x="169" y="454"/>
                    </a:lnTo>
                    <a:lnTo>
                      <a:pt x="166" y="449"/>
                    </a:lnTo>
                    <a:lnTo>
                      <a:pt x="164" y="451"/>
                    </a:lnTo>
                    <a:lnTo>
                      <a:pt x="163" y="454"/>
                    </a:lnTo>
                    <a:lnTo>
                      <a:pt x="156" y="461"/>
                    </a:lnTo>
                    <a:lnTo>
                      <a:pt x="156" y="462"/>
                    </a:lnTo>
                    <a:lnTo>
                      <a:pt x="161" y="469"/>
                    </a:lnTo>
                    <a:lnTo>
                      <a:pt x="161" y="474"/>
                    </a:lnTo>
                    <a:lnTo>
                      <a:pt x="161" y="477"/>
                    </a:lnTo>
                    <a:lnTo>
                      <a:pt x="158" y="482"/>
                    </a:lnTo>
                    <a:lnTo>
                      <a:pt x="159" y="485"/>
                    </a:lnTo>
                    <a:lnTo>
                      <a:pt x="163" y="484"/>
                    </a:lnTo>
                    <a:lnTo>
                      <a:pt x="166" y="481"/>
                    </a:lnTo>
                    <a:lnTo>
                      <a:pt x="166" y="484"/>
                    </a:lnTo>
                    <a:lnTo>
                      <a:pt x="168" y="489"/>
                    </a:lnTo>
                    <a:lnTo>
                      <a:pt x="164" y="490"/>
                    </a:lnTo>
                    <a:lnTo>
                      <a:pt x="163" y="492"/>
                    </a:lnTo>
                    <a:lnTo>
                      <a:pt x="164" y="494"/>
                    </a:lnTo>
                    <a:lnTo>
                      <a:pt x="168" y="494"/>
                    </a:lnTo>
                    <a:lnTo>
                      <a:pt x="169" y="492"/>
                    </a:lnTo>
                    <a:lnTo>
                      <a:pt x="173" y="492"/>
                    </a:lnTo>
                    <a:lnTo>
                      <a:pt x="174" y="494"/>
                    </a:lnTo>
                    <a:lnTo>
                      <a:pt x="174" y="495"/>
                    </a:lnTo>
                    <a:lnTo>
                      <a:pt x="179" y="497"/>
                    </a:lnTo>
                    <a:lnTo>
                      <a:pt x="184" y="499"/>
                    </a:lnTo>
                    <a:lnTo>
                      <a:pt x="189" y="499"/>
                    </a:lnTo>
                    <a:lnTo>
                      <a:pt x="193" y="495"/>
                    </a:lnTo>
                    <a:lnTo>
                      <a:pt x="194" y="487"/>
                    </a:lnTo>
                    <a:lnTo>
                      <a:pt x="198" y="484"/>
                    </a:lnTo>
                    <a:lnTo>
                      <a:pt x="206" y="484"/>
                    </a:lnTo>
                    <a:lnTo>
                      <a:pt x="211" y="482"/>
                    </a:lnTo>
                    <a:lnTo>
                      <a:pt x="206" y="487"/>
                    </a:lnTo>
                    <a:lnTo>
                      <a:pt x="203" y="487"/>
                    </a:lnTo>
                    <a:lnTo>
                      <a:pt x="194" y="494"/>
                    </a:lnTo>
                    <a:lnTo>
                      <a:pt x="193" y="499"/>
                    </a:lnTo>
                    <a:lnTo>
                      <a:pt x="191" y="500"/>
                    </a:lnTo>
                    <a:lnTo>
                      <a:pt x="194" y="505"/>
                    </a:lnTo>
                    <a:lnTo>
                      <a:pt x="196" y="509"/>
                    </a:lnTo>
                    <a:lnTo>
                      <a:pt x="189" y="510"/>
                    </a:lnTo>
                    <a:lnTo>
                      <a:pt x="186" y="509"/>
                    </a:lnTo>
                    <a:lnTo>
                      <a:pt x="186" y="505"/>
                    </a:lnTo>
                    <a:lnTo>
                      <a:pt x="184" y="504"/>
                    </a:lnTo>
                    <a:lnTo>
                      <a:pt x="181" y="504"/>
                    </a:lnTo>
                    <a:lnTo>
                      <a:pt x="178" y="500"/>
                    </a:lnTo>
                    <a:lnTo>
                      <a:pt x="171" y="499"/>
                    </a:lnTo>
                    <a:lnTo>
                      <a:pt x="169" y="495"/>
                    </a:lnTo>
                    <a:lnTo>
                      <a:pt x="164" y="499"/>
                    </a:lnTo>
                    <a:lnTo>
                      <a:pt x="161" y="499"/>
                    </a:lnTo>
                    <a:lnTo>
                      <a:pt x="159" y="504"/>
                    </a:lnTo>
                    <a:lnTo>
                      <a:pt x="156" y="505"/>
                    </a:lnTo>
                    <a:lnTo>
                      <a:pt x="151" y="504"/>
                    </a:lnTo>
                    <a:lnTo>
                      <a:pt x="151" y="507"/>
                    </a:lnTo>
                    <a:lnTo>
                      <a:pt x="153" y="510"/>
                    </a:lnTo>
                    <a:lnTo>
                      <a:pt x="154" y="510"/>
                    </a:lnTo>
                    <a:lnTo>
                      <a:pt x="153" y="514"/>
                    </a:lnTo>
                    <a:lnTo>
                      <a:pt x="151" y="520"/>
                    </a:lnTo>
                    <a:lnTo>
                      <a:pt x="153" y="524"/>
                    </a:lnTo>
                    <a:lnTo>
                      <a:pt x="156" y="524"/>
                    </a:lnTo>
                    <a:lnTo>
                      <a:pt x="156" y="532"/>
                    </a:lnTo>
                    <a:lnTo>
                      <a:pt x="158" y="534"/>
                    </a:lnTo>
                    <a:lnTo>
                      <a:pt x="158" y="537"/>
                    </a:lnTo>
                    <a:lnTo>
                      <a:pt x="161" y="540"/>
                    </a:lnTo>
                    <a:lnTo>
                      <a:pt x="161" y="542"/>
                    </a:lnTo>
                    <a:lnTo>
                      <a:pt x="156" y="544"/>
                    </a:lnTo>
                    <a:lnTo>
                      <a:pt x="154" y="545"/>
                    </a:lnTo>
                    <a:lnTo>
                      <a:pt x="171" y="552"/>
                    </a:lnTo>
                    <a:lnTo>
                      <a:pt x="178" y="552"/>
                    </a:lnTo>
                    <a:lnTo>
                      <a:pt x="184" y="550"/>
                    </a:lnTo>
                    <a:lnTo>
                      <a:pt x="188" y="549"/>
                    </a:lnTo>
                    <a:lnTo>
                      <a:pt x="191" y="550"/>
                    </a:lnTo>
                    <a:lnTo>
                      <a:pt x="194" y="549"/>
                    </a:lnTo>
                    <a:lnTo>
                      <a:pt x="201" y="542"/>
                    </a:lnTo>
                    <a:lnTo>
                      <a:pt x="201" y="537"/>
                    </a:lnTo>
                    <a:lnTo>
                      <a:pt x="198" y="535"/>
                    </a:lnTo>
                    <a:lnTo>
                      <a:pt x="198" y="532"/>
                    </a:lnTo>
                    <a:lnTo>
                      <a:pt x="204" y="530"/>
                    </a:lnTo>
                    <a:lnTo>
                      <a:pt x="211" y="525"/>
                    </a:lnTo>
                    <a:lnTo>
                      <a:pt x="223" y="519"/>
                    </a:lnTo>
                    <a:lnTo>
                      <a:pt x="226" y="519"/>
                    </a:lnTo>
                    <a:lnTo>
                      <a:pt x="221" y="520"/>
                    </a:lnTo>
                    <a:lnTo>
                      <a:pt x="211" y="529"/>
                    </a:lnTo>
                    <a:lnTo>
                      <a:pt x="206" y="532"/>
                    </a:lnTo>
                    <a:lnTo>
                      <a:pt x="204" y="535"/>
                    </a:lnTo>
                    <a:lnTo>
                      <a:pt x="209" y="537"/>
                    </a:lnTo>
                    <a:lnTo>
                      <a:pt x="209" y="540"/>
                    </a:lnTo>
                    <a:lnTo>
                      <a:pt x="204" y="547"/>
                    </a:lnTo>
                    <a:lnTo>
                      <a:pt x="199" y="550"/>
                    </a:lnTo>
                    <a:lnTo>
                      <a:pt x="199" y="554"/>
                    </a:lnTo>
                    <a:lnTo>
                      <a:pt x="201" y="560"/>
                    </a:lnTo>
                    <a:lnTo>
                      <a:pt x="199" y="564"/>
                    </a:lnTo>
                    <a:lnTo>
                      <a:pt x="199" y="567"/>
                    </a:lnTo>
                    <a:lnTo>
                      <a:pt x="199" y="570"/>
                    </a:lnTo>
                    <a:lnTo>
                      <a:pt x="199" y="575"/>
                    </a:lnTo>
                    <a:lnTo>
                      <a:pt x="193" y="577"/>
                    </a:lnTo>
                    <a:lnTo>
                      <a:pt x="189" y="579"/>
                    </a:lnTo>
                    <a:lnTo>
                      <a:pt x="189" y="582"/>
                    </a:lnTo>
                    <a:lnTo>
                      <a:pt x="186" y="582"/>
                    </a:lnTo>
                    <a:lnTo>
                      <a:pt x="184" y="582"/>
                    </a:lnTo>
                    <a:lnTo>
                      <a:pt x="186" y="587"/>
                    </a:lnTo>
                    <a:lnTo>
                      <a:pt x="186" y="592"/>
                    </a:lnTo>
                    <a:lnTo>
                      <a:pt x="189" y="592"/>
                    </a:lnTo>
                    <a:lnTo>
                      <a:pt x="193" y="592"/>
                    </a:lnTo>
                    <a:lnTo>
                      <a:pt x="196" y="590"/>
                    </a:lnTo>
                    <a:lnTo>
                      <a:pt x="198" y="593"/>
                    </a:lnTo>
                    <a:lnTo>
                      <a:pt x="194" y="597"/>
                    </a:lnTo>
                    <a:lnTo>
                      <a:pt x="189" y="595"/>
                    </a:lnTo>
                    <a:lnTo>
                      <a:pt x="188" y="598"/>
                    </a:lnTo>
                    <a:lnTo>
                      <a:pt x="188" y="600"/>
                    </a:lnTo>
                    <a:lnTo>
                      <a:pt x="188" y="602"/>
                    </a:lnTo>
                    <a:lnTo>
                      <a:pt x="189" y="605"/>
                    </a:lnTo>
                    <a:lnTo>
                      <a:pt x="186" y="607"/>
                    </a:lnTo>
                    <a:lnTo>
                      <a:pt x="183" y="608"/>
                    </a:lnTo>
                    <a:lnTo>
                      <a:pt x="178" y="610"/>
                    </a:lnTo>
                    <a:lnTo>
                      <a:pt x="174" y="610"/>
                    </a:lnTo>
                    <a:lnTo>
                      <a:pt x="173" y="610"/>
                    </a:lnTo>
                    <a:lnTo>
                      <a:pt x="176" y="613"/>
                    </a:lnTo>
                    <a:lnTo>
                      <a:pt x="181" y="613"/>
                    </a:lnTo>
                    <a:lnTo>
                      <a:pt x="183" y="615"/>
                    </a:lnTo>
                    <a:lnTo>
                      <a:pt x="188" y="610"/>
                    </a:lnTo>
                    <a:lnTo>
                      <a:pt x="198" y="605"/>
                    </a:lnTo>
                    <a:lnTo>
                      <a:pt x="201" y="605"/>
                    </a:lnTo>
                    <a:lnTo>
                      <a:pt x="204" y="605"/>
                    </a:lnTo>
                    <a:lnTo>
                      <a:pt x="208" y="602"/>
                    </a:lnTo>
                    <a:lnTo>
                      <a:pt x="216" y="600"/>
                    </a:lnTo>
                    <a:lnTo>
                      <a:pt x="214" y="603"/>
                    </a:lnTo>
                    <a:lnTo>
                      <a:pt x="211" y="605"/>
                    </a:lnTo>
                    <a:lnTo>
                      <a:pt x="211" y="607"/>
                    </a:lnTo>
                    <a:lnTo>
                      <a:pt x="214" y="608"/>
                    </a:lnTo>
                    <a:lnTo>
                      <a:pt x="216" y="612"/>
                    </a:lnTo>
                    <a:lnTo>
                      <a:pt x="214" y="613"/>
                    </a:lnTo>
                    <a:lnTo>
                      <a:pt x="218" y="617"/>
                    </a:lnTo>
                    <a:lnTo>
                      <a:pt x="223" y="613"/>
                    </a:lnTo>
                    <a:lnTo>
                      <a:pt x="224" y="610"/>
                    </a:lnTo>
                    <a:lnTo>
                      <a:pt x="226" y="612"/>
                    </a:lnTo>
                    <a:lnTo>
                      <a:pt x="224" y="613"/>
                    </a:lnTo>
                    <a:lnTo>
                      <a:pt x="228" y="618"/>
                    </a:lnTo>
                    <a:lnTo>
                      <a:pt x="229" y="627"/>
                    </a:lnTo>
                    <a:lnTo>
                      <a:pt x="228" y="630"/>
                    </a:lnTo>
                    <a:lnTo>
                      <a:pt x="231" y="635"/>
                    </a:lnTo>
                    <a:lnTo>
                      <a:pt x="233" y="637"/>
                    </a:lnTo>
                    <a:lnTo>
                      <a:pt x="236" y="630"/>
                    </a:lnTo>
                    <a:lnTo>
                      <a:pt x="234" y="627"/>
                    </a:lnTo>
                    <a:lnTo>
                      <a:pt x="239" y="620"/>
                    </a:lnTo>
                    <a:lnTo>
                      <a:pt x="241" y="617"/>
                    </a:lnTo>
                    <a:lnTo>
                      <a:pt x="246" y="612"/>
                    </a:lnTo>
                    <a:lnTo>
                      <a:pt x="248" y="612"/>
                    </a:lnTo>
                    <a:lnTo>
                      <a:pt x="252" y="608"/>
                    </a:lnTo>
                    <a:lnTo>
                      <a:pt x="259" y="608"/>
                    </a:lnTo>
                    <a:lnTo>
                      <a:pt x="252" y="612"/>
                    </a:lnTo>
                    <a:lnTo>
                      <a:pt x="246" y="618"/>
                    </a:lnTo>
                    <a:lnTo>
                      <a:pt x="246" y="620"/>
                    </a:lnTo>
                    <a:lnTo>
                      <a:pt x="251" y="627"/>
                    </a:lnTo>
                    <a:lnTo>
                      <a:pt x="254" y="627"/>
                    </a:lnTo>
                    <a:lnTo>
                      <a:pt x="262" y="623"/>
                    </a:lnTo>
                    <a:lnTo>
                      <a:pt x="271" y="623"/>
                    </a:lnTo>
                    <a:lnTo>
                      <a:pt x="276" y="620"/>
                    </a:lnTo>
                    <a:lnTo>
                      <a:pt x="279" y="620"/>
                    </a:lnTo>
                    <a:lnTo>
                      <a:pt x="287" y="615"/>
                    </a:lnTo>
                    <a:lnTo>
                      <a:pt x="291" y="615"/>
                    </a:lnTo>
                    <a:lnTo>
                      <a:pt x="287" y="617"/>
                    </a:lnTo>
                    <a:lnTo>
                      <a:pt x="282" y="623"/>
                    </a:lnTo>
                    <a:lnTo>
                      <a:pt x="282" y="625"/>
                    </a:lnTo>
                    <a:lnTo>
                      <a:pt x="279" y="628"/>
                    </a:lnTo>
                    <a:lnTo>
                      <a:pt x="266" y="635"/>
                    </a:lnTo>
                    <a:lnTo>
                      <a:pt x="259" y="638"/>
                    </a:lnTo>
                    <a:lnTo>
                      <a:pt x="256" y="647"/>
                    </a:lnTo>
                    <a:lnTo>
                      <a:pt x="254" y="650"/>
                    </a:lnTo>
                    <a:lnTo>
                      <a:pt x="256" y="653"/>
                    </a:lnTo>
                    <a:lnTo>
                      <a:pt x="261" y="657"/>
                    </a:lnTo>
                    <a:lnTo>
                      <a:pt x="252" y="655"/>
                    </a:lnTo>
                    <a:lnTo>
                      <a:pt x="249" y="657"/>
                    </a:lnTo>
                    <a:lnTo>
                      <a:pt x="246" y="662"/>
                    </a:lnTo>
                    <a:lnTo>
                      <a:pt x="244" y="667"/>
                    </a:lnTo>
                    <a:lnTo>
                      <a:pt x="238" y="673"/>
                    </a:lnTo>
                    <a:lnTo>
                      <a:pt x="234" y="677"/>
                    </a:lnTo>
                    <a:lnTo>
                      <a:pt x="236" y="680"/>
                    </a:lnTo>
                    <a:lnTo>
                      <a:pt x="238" y="681"/>
                    </a:lnTo>
                    <a:lnTo>
                      <a:pt x="238" y="685"/>
                    </a:lnTo>
                    <a:lnTo>
                      <a:pt x="234" y="683"/>
                    </a:lnTo>
                    <a:lnTo>
                      <a:pt x="233" y="680"/>
                    </a:lnTo>
                    <a:lnTo>
                      <a:pt x="229" y="680"/>
                    </a:lnTo>
                    <a:lnTo>
                      <a:pt x="226" y="685"/>
                    </a:lnTo>
                    <a:lnTo>
                      <a:pt x="219" y="688"/>
                    </a:lnTo>
                    <a:lnTo>
                      <a:pt x="221" y="690"/>
                    </a:lnTo>
                    <a:lnTo>
                      <a:pt x="219" y="693"/>
                    </a:lnTo>
                    <a:lnTo>
                      <a:pt x="216" y="693"/>
                    </a:lnTo>
                    <a:lnTo>
                      <a:pt x="214" y="690"/>
                    </a:lnTo>
                    <a:lnTo>
                      <a:pt x="213" y="691"/>
                    </a:lnTo>
                    <a:lnTo>
                      <a:pt x="201" y="700"/>
                    </a:lnTo>
                    <a:lnTo>
                      <a:pt x="198" y="705"/>
                    </a:lnTo>
                    <a:lnTo>
                      <a:pt x="199" y="706"/>
                    </a:lnTo>
                    <a:lnTo>
                      <a:pt x="198" y="708"/>
                    </a:lnTo>
                    <a:lnTo>
                      <a:pt x="194" y="706"/>
                    </a:lnTo>
                    <a:lnTo>
                      <a:pt x="194" y="703"/>
                    </a:lnTo>
                    <a:lnTo>
                      <a:pt x="186" y="706"/>
                    </a:lnTo>
                    <a:lnTo>
                      <a:pt x="181" y="710"/>
                    </a:lnTo>
                    <a:lnTo>
                      <a:pt x="178" y="711"/>
                    </a:lnTo>
                    <a:lnTo>
                      <a:pt x="176" y="713"/>
                    </a:lnTo>
                    <a:lnTo>
                      <a:pt x="173" y="715"/>
                    </a:lnTo>
                    <a:lnTo>
                      <a:pt x="166" y="715"/>
                    </a:lnTo>
                    <a:lnTo>
                      <a:pt x="159" y="721"/>
                    </a:lnTo>
                    <a:lnTo>
                      <a:pt x="148" y="725"/>
                    </a:lnTo>
                    <a:lnTo>
                      <a:pt x="140" y="730"/>
                    </a:lnTo>
                    <a:lnTo>
                      <a:pt x="138" y="736"/>
                    </a:lnTo>
                    <a:lnTo>
                      <a:pt x="136" y="738"/>
                    </a:lnTo>
                    <a:lnTo>
                      <a:pt x="138" y="741"/>
                    </a:lnTo>
                    <a:lnTo>
                      <a:pt x="138" y="745"/>
                    </a:lnTo>
                    <a:lnTo>
                      <a:pt x="136" y="746"/>
                    </a:lnTo>
                    <a:lnTo>
                      <a:pt x="135" y="743"/>
                    </a:lnTo>
                    <a:lnTo>
                      <a:pt x="131" y="743"/>
                    </a:lnTo>
                    <a:lnTo>
                      <a:pt x="131" y="745"/>
                    </a:lnTo>
                    <a:lnTo>
                      <a:pt x="131" y="748"/>
                    </a:lnTo>
                    <a:lnTo>
                      <a:pt x="130" y="750"/>
                    </a:lnTo>
                    <a:lnTo>
                      <a:pt x="126" y="746"/>
                    </a:lnTo>
                    <a:lnTo>
                      <a:pt x="126" y="741"/>
                    </a:lnTo>
                    <a:lnTo>
                      <a:pt x="128" y="740"/>
                    </a:lnTo>
                    <a:lnTo>
                      <a:pt x="125" y="738"/>
                    </a:lnTo>
                    <a:lnTo>
                      <a:pt x="120" y="738"/>
                    </a:lnTo>
                    <a:lnTo>
                      <a:pt x="118" y="736"/>
                    </a:lnTo>
                    <a:lnTo>
                      <a:pt x="113" y="738"/>
                    </a:lnTo>
                    <a:lnTo>
                      <a:pt x="106" y="738"/>
                    </a:lnTo>
                    <a:lnTo>
                      <a:pt x="101" y="741"/>
                    </a:lnTo>
                    <a:lnTo>
                      <a:pt x="98" y="745"/>
                    </a:lnTo>
                    <a:lnTo>
                      <a:pt x="91" y="746"/>
                    </a:lnTo>
                    <a:lnTo>
                      <a:pt x="86" y="750"/>
                    </a:lnTo>
                    <a:lnTo>
                      <a:pt x="81" y="755"/>
                    </a:lnTo>
                    <a:lnTo>
                      <a:pt x="81" y="758"/>
                    </a:lnTo>
                    <a:lnTo>
                      <a:pt x="80" y="760"/>
                    </a:lnTo>
                    <a:lnTo>
                      <a:pt x="78" y="758"/>
                    </a:lnTo>
                    <a:lnTo>
                      <a:pt x="71" y="761"/>
                    </a:lnTo>
                    <a:lnTo>
                      <a:pt x="68" y="763"/>
                    </a:lnTo>
                    <a:lnTo>
                      <a:pt x="68" y="766"/>
                    </a:lnTo>
                    <a:lnTo>
                      <a:pt x="66" y="766"/>
                    </a:lnTo>
                    <a:lnTo>
                      <a:pt x="61" y="765"/>
                    </a:lnTo>
                    <a:lnTo>
                      <a:pt x="58" y="766"/>
                    </a:lnTo>
                    <a:lnTo>
                      <a:pt x="56" y="770"/>
                    </a:lnTo>
                    <a:lnTo>
                      <a:pt x="55" y="773"/>
                    </a:lnTo>
                    <a:lnTo>
                      <a:pt x="56" y="776"/>
                    </a:lnTo>
                    <a:lnTo>
                      <a:pt x="60" y="775"/>
                    </a:lnTo>
                    <a:lnTo>
                      <a:pt x="60" y="773"/>
                    </a:lnTo>
                    <a:lnTo>
                      <a:pt x="60" y="770"/>
                    </a:lnTo>
                    <a:lnTo>
                      <a:pt x="63" y="768"/>
                    </a:lnTo>
                    <a:lnTo>
                      <a:pt x="65" y="770"/>
                    </a:lnTo>
                    <a:lnTo>
                      <a:pt x="65" y="773"/>
                    </a:lnTo>
                    <a:lnTo>
                      <a:pt x="65" y="775"/>
                    </a:lnTo>
                    <a:lnTo>
                      <a:pt x="68" y="773"/>
                    </a:lnTo>
                    <a:lnTo>
                      <a:pt x="73" y="766"/>
                    </a:lnTo>
                    <a:lnTo>
                      <a:pt x="75" y="766"/>
                    </a:lnTo>
                    <a:lnTo>
                      <a:pt x="76" y="768"/>
                    </a:lnTo>
                    <a:lnTo>
                      <a:pt x="76" y="771"/>
                    </a:lnTo>
                    <a:lnTo>
                      <a:pt x="76" y="773"/>
                    </a:lnTo>
                    <a:lnTo>
                      <a:pt x="81" y="773"/>
                    </a:lnTo>
                    <a:lnTo>
                      <a:pt x="83" y="768"/>
                    </a:lnTo>
                    <a:lnTo>
                      <a:pt x="83" y="771"/>
                    </a:lnTo>
                    <a:lnTo>
                      <a:pt x="85" y="771"/>
                    </a:lnTo>
                    <a:lnTo>
                      <a:pt x="86" y="768"/>
                    </a:lnTo>
                    <a:lnTo>
                      <a:pt x="90" y="766"/>
                    </a:lnTo>
                    <a:lnTo>
                      <a:pt x="95" y="768"/>
                    </a:lnTo>
                    <a:lnTo>
                      <a:pt x="98" y="765"/>
                    </a:lnTo>
                    <a:lnTo>
                      <a:pt x="101" y="760"/>
                    </a:lnTo>
                    <a:lnTo>
                      <a:pt x="101" y="756"/>
                    </a:lnTo>
                    <a:lnTo>
                      <a:pt x="105" y="755"/>
                    </a:lnTo>
                    <a:lnTo>
                      <a:pt x="108" y="750"/>
                    </a:lnTo>
                    <a:lnTo>
                      <a:pt x="111" y="750"/>
                    </a:lnTo>
                    <a:lnTo>
                      <a:pt x="116" y="753"/>
                    </a:lnTo>
                    <a:lnTo>
                      <a:pt x="115" y="755"/>
                    </a:lnTo>
                    <a:lnTo>
                      <a:pt x="111" y="756"/>
                    </a:lnTo>
                    <a:lnTo>
                      <a:pt x="108" y="760"/>
                    </a:lnTo>
                    <a:lnTo>
                      <a:pt x="108" y="763"/>
                    </a:lnTo>
                    <a:lnTo>
                      <a:pt x="110" y="765"/>
                    </a:lnTo>
                    <a:lnTo>
                      <a:pt x="116" y="760"/>
                    </a:lnTo>
                    <a:lnTo>
                      <a:pt x="118" y="756"/>
                    </a:lnTo>
                    <a:lnTo>
                      <a:pt x="120" y="756"/>
                    </a:lnTo>
                    <a:lnTo>
                      <a:pt x="121" y="758"/>
                    </a:lnTo>
                    <a:lnTo>
                      <a:pt x="123" y="755"/>
                    </a:lnTo>
                    <a:lnTo>
                      <a:pt x="125" y="756"/>
                    </a:lnTo>
                    <a:lnTo>
                      <a:pt x="126" y="758"/>
                    </a:lnTo>
                    <a:lnTo>
                      <a:pt x="125" y="761"/>
                    </a:lnTo>
                    <a:lnTo>
                      <a:pt x="126" y="761"/>
                    </a:lnTo>
                    <a:lnTo>
                      <a:pt x="130" y="756"/>
                    </a:lnTo>
                    <a:lnTo>
                      <a:pt x="133" y="758"/>
                    </a:lnTo>
                    <a:lnTo>
                      <a:pt x="136" y="755"/>
                    </a:lnTo>
                    <a:lnTo>
                      <a:pt x="141" y="755"/>
                    </a:lnTo>
                    <a:lnTo>
                      <a:pt x="146" y="748"/>
                    </a:lnTo>
                    <a:lnTo>
                      <a:pt x="149" y="746"/>
                    </a:lnTo>
                    <a:lnTo>
                      <a:pt x="153" y="748"/>
                    </a:lnTo>
                    <a:lnTo>
                      <a:pt x="153" y="750"/>
                    </a:lnTo>
                    <a:lnTo>
                      <a:pt x="149" y="755"/>
                    </a:lnTo>
                    <a:lnTo>
                      <a:pt x="146" y="760"/>
                    </a:lnTo>
                    <a:lnTo>
                      <a:pt x="146" y="761"/>
                    </a:lnTo>
                    <a:lnTo>
                      <a:pt x="149" y="761"/>
                    </a:lnTo>
                    <a:lnTo>
                      <a:pt x="156" y="755"/>
                    </a:lnTo>
                    <a:lnTo>
                      <a:pt x="156" y="748"/>
                    </a:lnTo>
                    <a:lnTo>
                      <a:pt x="156" y="746"/>
                    </a:lnTo>
                    <a:lnTo>
                      <a:pt x="159" y="750"/>
                    </a:lnTo>
                    <a:lnTo>
                      <a:pt x="163" y="748"/>
                    </a:lnTo>
                    <a:lnTo>
                      <a:pt x="166" y="748"/>
                    </a:lnTo>
                    <a:lnTo>
                      <a:pt x="171" y="748"/>
                    </a:lnTo>
                    <a:lnTo>
                      <a:pt x="174" y="743"/>
                    </a:lnTo>
                    <a:lnTo>
                      <a:pt x="176" y="743"/>
                    </a:lnTo>
                    <a:lnTo>
                      <a:pt x="178" y="745"/>
                    </a:lnTo>
                    <a:lnTo>
                      <a:pt x="181" y="740"/>
                    </a:lnTo>
                    <a:lnTo>
                      <a:pt x="183" y="736"/>
                    </a:lnTo>
                    <a:lnTo>
                      <a:pt x="184" y="738"/>
                    </a:lnTo>
                    <a:lnTo>
                      <a:pt x="183" y="741"/>
                    </a:lnTo>
                    <a:lnTo>
                      <a:pt x="183" y="745"/>
                    </a:lnTo>
                    <a:lnTo>
                      <a:pt x="186" y="745"/>
                    </a:lnTo>
                    <a:lnTo>
                      <a:pt x="189" y="741"/>
                    </a:lnTo>
                    <a:lnTo>
                      <a:pt x="188" y="740"/>
                    </a:lnTo>
                    <a:lnTo>
                      <a:pt x="191" y="736"/>
                    </a:lnTo>
                    <a:lnTo>
                      <a:pt x="191" y="735"/>
                    </a:lnTo>
                    <a:lnTo>
                      <a:pt x="184" y="735"/>
                    </a:lnTo>
                    <a:lnTo>
                      <a:pt x="183" y="733"/>
                    </a:lnTo>
                    <a:lnTo>
                      <a:pt x="188" y="733"/>
                    </a:lnTo>
                    <a:lnTo>
                      <a:pt x="196" y="728"/>
                    </a:lnTo>
                    <a:lnTo>
                      <a:pt x="206" y="728"/>
                    </a:lnTo>
                    <a:lnTo>
                      <a:pt x="208" y="726"/>
                    </a:lnTo>
                    <a:lnTo>
                      <a:pt x="208" y="723"/>
                    </a:lnTo>
                    <a:lnTo>
                      <a:pt x="204" y="723"/>
                    </a:lnTo>
                    <a:lnTo>
                      <a:pt x="208" y="721"/>
                    </a:lnTo>
                    <a:lnTo>
                      <a:pt x="211" y="721"/>
                    </a:lnTo>
                    <a:lnTo>
                      <a:pt x="214" y="720"/>
                    </a:lnTo>
                    <a:lnTo>
                      <a:pt x="216" y="720"/>
                    </a:lnTo>
                    <a:lnTo>
                      <a:pt x="218" y="723"/>
                    </a:lnTo>
                    <a:lnTo>
                      <a:pt x="219" y="723"/>
                    </a:lnTo>
                    <a:lnTo>
                      <a:pt x="221" y="720"/>
                    </a:lnTo>
                    <a:lnTo>
                      <a:pt x="221" y="720"/>
                    </a:lnTo>
                    <a:lnTo>
                      <a:pt x="224" y="716"/>
                    </a:lnTo>
                    <a:lnTo>
                      <a:pt x="224" y="713"/>
                    </a:lnTo>
                    <a:lnTo>
                      <a:pt x="226" y="711"/>
                    </a:lnTo>
                    <a:lnTo>
                      <a:pt x="228" y="713"/>
                    </a:lnTo>
                    <a:lnTo>
                      <a:pt x="228" y="716"/>
                    </a:lnTo>
                    <a:lnTo>
                      <a:pt x="231" y="718"/>
                    </a:lnTo>
                    <a:lnTo>
                      <a:pt x="236" y="713"/>
                    </a:lnTo>
                    <a:lnTo>
                      <a:pt x="239" y="711"/>
                    </a:lnTo>
                    <a:lnTo>
                      <a:pt x="243" y="711"/>
                    </a:lnTo>
                    <a:lnTo>
                      <a:pt x="244" y="706"/>
                    </a:lnTo>
                    <a:lnTo>
                      <a:pt x="246" y="706"/>
                    </a:lnTo>
                    <a:lnTo>
                      <a:pt x="249" y="708"/>
                    </a:lnTo>
                    <a:lnTo>
                      <a:pt x="252" y="708"/>
                    </a:lnTo>
                    <a:lnTo>
                      <a:pt x="257" y="701"/>
                    </a:lnTo>
                    <a:lnTo>
                      <a:pt x="257" y="698"/>
                    </a:lnTo>
                    <a:lnTo>
                      <a:pt x="256" y="698"/>
                    </a:lnTo>
                    <a:lnTo>
                      <a:pt x="252" y="698"/>
                    </a:lnTo>
                    <a:lnTo>
                      <a:pt x="252" y="698"/>
                    </a:lnTo>
                    <a:lnTo>
                      <a:pt x="259" y="693"/>
                    </a:lnTo>
                    <a:lnTo>
                      <a:pt x="262" y="691"/>
                    </a:lnTo>
                    <a:lnTo>
                      <a:pt x="267" y="688"/>
                    </a:lnTo>
                    <a:lnTo>
                      <a:pt x="269" y="688"/>
                    </a:lnTo>
                    <a:lnTo>
                      <a:pt x="271" y="690"/>
                    </a:lnTo>
                    <a:lnTo>
                      <a:pt x="276" y="686"/>
                    </a:lnTo>
                    <a:lnTo>
                      <a:pt x="279" y="685"/>
                    </a:lnTo>
                    <a:lnTo>
                      <a:pt x="281" y="681"/>
                    </a:lnTo>
                    <a:lnTo>
                      <a:pt x="284" y="680"/>
                    </a:lnTo>
                    <a:lnTo>
                      <a:pt x="286" y="678"/>
                    </a:lnTo>
                    <a:lnTo>
                      <a:pt x="289" y="677"/>
                    </a:lnTo>
                    <a:lnTo>
                      <a:pt x="291" y="680"/>
                    </a:lnTo>
                    <a:lnTo>
                      <a:pt x="292" y="681"/>
                    </a:lnTo>
                    <a:lnTo>
                      <a:pt x="294" y="678"/>
                    </a:lnTo>
                    <a:lnTo>
                      <a:pt x="297" y="678"/>
                    </a:lnTo>
                    <a:lnTo>
                      <a:pt x="299" y="677"/>
                    </a:lnTo>
                    <a:lnTo>
                      <a:pt x="299" y="673"/>
                    </a:lnTo>
                    <a:lnTo>
                      <a:pt x="304" y="673"/>
                    </a:lnTo>
                    <a:lnTo>
                      <a:pt x="304" y="672"/>
                    </a:lnTo>
                    <a:lnTo>
                      <a:pt x="306" y="672"/>
                    </a:lnTo>
                    <a:lnTo>
                      <a:pt x="312" y="673"/>
                    </a:lnTo>
                    <a:lnTo>
                      <a:pt x="314" y="668"/>
                    </a:lnTo>
                    <a:lnTo>
                      <a:pt x="316" y="668"/>
                    </a:lnTo>
                    <a:lnTo>
                      <a:pt x="317" y="672"/>
                    </a:lnTo>
                    <a:lnTo>
                      <a:pt x="319" y="672"/>
                    </a:lnTo>
                    <a:lnTo>
                      <a:pt x="321" y="668"/>
                    </a:lnTo>
                    <a:lnTo>
                      <a:pt x="322" y="670"/>
                    </a:lnTo>
                    <a:lnTo>
                      <a:pt x="324" y="670"/>
                    </a:lnTo>
                    <a:lnTo>
                      <a:pt x="327" y="663"/>
                    </a:lnTo>
                    <a:lnTo>
                      <a:pt x="326" y="663"/>
                    </a:lnTo>
                    <a:lnTo>
                      <a:pt x="322" y="665"/>
                    </a:lnTo>
                    <a:lnTo>
                      <a:pt x="324" y="662"/>
                    </a:lnTo>
                    <a:lnTo>
                      <a:pt x="329" y="658"/>
                    </a:lnTo>
                    <a:lnTo>
                      <a:pt x="331" y="658"/>
                    </a:lnTo>
                    <a:lnTo>
                      <a:pt x="332" y="658"/>
                    </a:lnTo>
                    <a:lnTo>
                      <a:pt x="334" y="658"/>
                    </a:lnTo>
                    <a:lnTo>
                      <a:pt x="332" y="655"/>
                    </a:lnTo>
                    <a:lnTo>
                      <a:pt x="329" y="653"/>
                    </a:lnTo>
                    <a:lnTo>
                      <a:pt x="332" y="653"/>
                    </a:lnTo>
                    <a:lnTo>
                      <a:pt x="336" y="655"/>
                    </a:lnTo>
                    <a:lnTo>
                      <a:pt x="341" y="650"/>
                    </a:lnTo>
                    <a:lnTo>
                      <a:pt x="347" y="650"/>
                    </a:lnTo>
                    <a:lnTo>
                      <a:pt x="352" y="647"/>
                    </a:lnTo>
                    <a:lnTo>
                      <a:pt x="355" y="645"/>
                    </a:lnTo>
                    <a:lnTo>
                      <a:pt x="360" y="640"/>
                    </a:lnTo>
                    <a:lnTo>
                      <a:pt x="360" y="633"/>
                    </a:lnTo>
                    <a:lnTo>
                      <a:pt x="359" y="632"/>
                    </a:lnTo>
                    <a:lnTo>
                      <a:pt x="357" y="632"/>
                    </a:lnTo>
                    <a:lnTo>
                      <a:pt x="355" y="628"/>
                    </a:lnTo>
                    <a:lnTo>
                      <a:pt x="354" y="627"/>
                    </a:lnTo>
                    <a:lnTo>
                      <a:pt x="347" y="627"/>
                    </a:lnTo>
                    <a:lnTo>
                      <a:pt x="349" y="622"/>
                    </a:lnTo>
                    <a:lnTo>
                      <a:pt x="347" y="618"/>
                    </a:lnTo>
                    <a:lnTo>
                      <a:pt x="354" y="615"/>
                    </a:lnTo>
                    <a:lnTo>
                      <a:pt x="355" y="613"/>
                    </a:lnTo>
                    <a:lnTo>
                      <a:pt x="359" y="613"/>
                    </a:lnTo>
                    <a:lnTo>
                      <a:pt x="360" y="610"/>
                    </a:lnTo>
                    <a:lnTo>
                      <a:pt x="359" y="610"/>
                    </a:lnTo>
                    <a:lnTo>
                      <a:pt x="362" y="608"/>
                    </a:lnTo>
                    <a:lnTo>
                      <a:pt x="365" y="608"/>
                    </a:lnTo>
                    <a:lnTo>
                      <a:pt x="372" y="605"/>
                    </a:lnTo>
                    <a:lnTo>
                      <a:pt x="377" y="608"/>
                    </a:lnTo>
                    <a:lnTo>
                      <a:pt x="382" y="605"/>
                    </a:lnTo>
                    <a:lnTo>
                      <a:pt x="382" y="608"/>
                    </a:lnTo>
                    <a:lnTo>
                      <a:pt x="384" y="612"/>
                    </a:lnTo>
                    <a:lnTo>
                      <a:pt x="385" y="610"/>
                    </a:lnTo>
                    <a:lnTo>
                      <a:pt x="392" y="605"/>
                    </a:lnTo>
                    <a:lnTo>
                      <a:pt x="390" y="603"/>
                    </a:lnTo>
                    <a:lnTo>
                      <a:pt x="387" y="603"/>
                    </a:lnTo>
                    <a:lnTo>
                      <a:pt x="387" y="600"/>
                    </a:lnTo>
                    <a:lnTo>
                      <a:pt x="389" y="600"/>
                    </a:lnTo>
                    <a:lnTo>
                      <a:pt x="394" y="602"/>
                    </a:lnTo>
                    <a:lnTo>
                      <a:pt x="402" y="600"/>
                    </a:lnTo>
                    <a:lnTo>
                      <a:pt x="404" y="593"/>
                    </a:lnTo>
                    <a:lnTo>
                      <a:pt x="402" y="588"/>
                    </a:lnTo>
                    <a:lnTo>
                      <a:pt x="395" y="585"/>
                    </a:lnTo>
                    <a:lnTo>
                      <a:pt x="392" y="585"/>
                    </a:lnTo>
                    <a:lnTo>
                      <a:pt x="389" y="587"/>
                    </a:lnTo>
                    <a:lnTo>
                      <a:pt x="389" y="585"/>
                    </a:lnTo>
                    <a:lnTo>
                      <a:pt x="392" y="583"/>
                    </a:lnTo>
                    <a:lnTo>
                      <a:pt x="399" y="582"/>
                    </a:lnTo>
                    <a:lnTo>
                      <a:pt x="402" y="585"/>
                    </a:lnTo>
                    <a:lnTo>
                      <a:pt x="409" y="585"/>
                    </a:lnTo>
                    <a:lnTo>
                      <a:pt x="414" y="582"/>
                    </a:lnTo>
                    <a:lnTo>
                      <a:pt x="414" y="579"/>
                    </a:lnTo>
                    <a:lnTo>
                      <a:pt x="424" y="574"/>
                    </a:lnTo>
                    <a:lnTo>
                      <a:pt x="430" y="569"/>
                    </a:lnTo>
                    <a:lnTo>
                      <a:pt x="435" y="569"/>
                    </a:lnTo>
                    <a:lnTo>
                      <a:pt x="437" y="567"/>
                    </a:lnTo>
                    <a:lnTo>
                      <a:pt x="437" y="564"/>
                    </a:lnTo>
                    <a:lnTo>
                      <a:pt x="447" y="557"/>
                    </a:lnTo>
                    <a:lnTo>
                      <a:pt x="457" y="557"/>
                    </a:lnTo>
                    <a:lnTo>
                      <a:pt x="467" y="549"/>
                    </a:lnTo>
                    <a:lnTo>
                      <a:pt x="473" y="547"/>
                    </a:lnTo>
                    <a:lnTo>
                      <a:pt x="482" y="539"/>
                    </a:lnTo>
                    <a:lnTo>
                      <a:pt x="478" y="544"/>
                    </a:lnTo>
                    <a:lnTo>
                      <a:pt x="478" y="549"/>
                    </a:lnTo>
                    <a:lnTo>
                      <a:pt x="482" y="550"/>
                    </a:lnTo>
                    <a:lnTo>
                      <a:pt x="485" y="550"/>
                    </a:lnTo>
                    <a:lnTo>
                      <a:pt x="487" y="552"/>
                    </a:lnTo>
                    <a:lnTo>
                      <a:pt x="493" y="547"/>
                    </a:lnTo>
                    <a:lnTo>
                      <a:pt x="498" y="545"/>
                    </a:lnTo>
                    <a:lnTo>
                      <a:pt x="507" y="542"/>
                    </a:lnTo>
                    <a:lnTo>
                      <a:pt x="510" y="539"/>
                    </a:lnTo>
                    <a:lnTo>
                      <a:pt x="508" y="544"/>
                    </a:lnTo>
                    <a:lnTo>
                      <a:pt x="502" y="547"/>
                    </a:lnTo>
                    <a:lnTo>
                      <a:pt x="495" y="549"/>
                    </a:lnTo>
                    <a:lnTo>
                      <a:pt x="485" y="559"/>
                    </a:lnTo>
                    <a:lnTo>
                      <a:pt x="483" y="562"/>
                    </a:lnTo>
                    <a:lnTo>
                      <a:pt x="490" y="569"/>
                    </a:lnTo>
                    <a:lnTo>
                      <a:pt x="490" y="574"/>
                    </a:lnTo>
                    <a:lnTo>
                      <a:pt x="485" y="570"/>
                    </a:lnTo>
                    <a:lnTo>
                      <a:pt x="482" y="570"/>
                    </a:lnTo>
                    <a:lnTo>
                      <a:pt x="480" y="570"/>
                    </a:lnTo>
                    <a:lnTo>
                      <a:pt x="475" y="570"/>
                    </a:lnTo>
                    <a:lnTo>
                      <a:pt x="472" y="567"/>
                    </a:lnTo>
                    <a:lnTo>
                      <a:pt x="470" y="562"/>
                    </a:lnTo>
                    <a:lnTo>
                      <a:pt x="462" y="565"/>
                    </a:lnTo>
                    <a:lnTo>
                      <a:pt x="458" y="565"/>
                    </a:lnTo>
                    <a:lnTo>
                      <a:pt x="452" y="570"/>
                    </a:lnTo>
                    <a:lnTo>
                      <a:pt x="445" y="570"/>
                    </a:lnTo>
                    <a:lnTo>
                      <a:pt x="440" y="574"/>
                    </a:lnTo>
                    <a:lnTo>
                      <a:pt x="440" y="579"/>
                    </a:lnTo>
                    <a:lnTo>
                      <a:pt x="440" y="580"/>
                    </a:lnTo>
                    <a:lnTo>
                      <a:pt x="437" y="587"/>
                    </a:lnTo>
                    <a:lnTo>
                      <a:pt x="430" y="590"/>
                    </a:lnTo>
                    <a:lnTo>
                      <a:pt x="429" y="597"/>
                    </a:lnTo>
                    <a:lnTo>
                      <a:pt x="415" y="607"/>
                    </a:lnTo>
                    <a:lnTo>
                      <a:pt x="410" y="612"/>
                    </a:lnTo>
                    <a:lnTo>
                      <a:pt x="412" y="615"/>
                    </a:lnTo>
                    <a:lnTo>
                      <a:pt x="417" y="622"/>
                    </a:lnTo>
                    <a:lnTo>
                      <a:pt x="419" y="617"/>
                    </a:lnTo>
                    <a:lnTo>
                      <a:pt x="422" y="617"/>
                    </a:lnTo>
                    <a:lnTo>
                      <a:pt x="425" y="615"/>
                    </a:lnTo>
                    <a:lnTo>
                      <a:pt x="430" y="615"/>
                    </a:lnTo>
                    <a:lnTo>
                      <a:pt x="430" y="618"/>
                    </a:lnTo>
                    <a:lnTo>
                      <a:pt x="420" y="623"/>
                    </a:lnTo>
                    <a:lnTo>
                      <a:pt x="417" y="623"/>
                    </a:lnTo>
                    <a:lnTo>
                      <a:pt x="415" y="628"/>
                    </a:lnTo>
                    <a:lnTo>
                      <a:pt x="410" y="625"/>
                    </a:lnTo>
                    <a:lnTo>
                      <a:pt x="407" y="627"/>
                    </a:lnTo>
                    <a:lnTo>
                      <a:pt x="404" y="627"/>
                    </a:lnTo>
                    <a:lnTo>
                      <a:pt x="404" y="632"/>
                    </a:lnTo>
                    <a:lnTo>
                      <a:pt x="400" y="630"/>
                    </a:lnTo>
                    <a:lnTo>
                      <a:pt x="395" y="632"/>
                    </a:lnTo>
                    <a:lnTo>
                      <a:pt x="397" y="637"/>
                    </a:lnTo>
                    <a:lnTo>
                      <a:pt x="404" y="643"/>
                    </a:lnTo>
                    <a:lnTo>
                      <a:pt x="405" y="642"/>
                    </a:lnTo>
                    <a:lnTo>
                      <a:pt x="407" y="638"/>
                    </a:lnTo>
                    <a:lnTo>
                      <a:pt x="410" y="642"/>
                    </a:lnTo>
                    <a:lnTo>
                      <a:pt x="412" y="637"/>
                    </a:lnTo>
                    <a:lnTo>
                      <a:pt x="415" y="637"/>
                    </a:lnTo>
                    <a:lnTo>
                      <a:pt x="415" y="640"/>
                    </a:lnTo>
                    <a:lnTo>
                      <a:pt x="419" y="638"/>
                    </a:lnTo>
                    <a:lnTo>
                      <a:pt x="419" y="637"/>
                    </a:lnTo>
                    <a:lnTo>
                      <a:pt x="422" y="635"/>
                    </a:lnTo>
                    <a:lnTo>
                      <a:pt x="427" y="632"/>
                    </a:lnTo>
                    <a:lnTo>
                      <a:pt x="427" y="627"/>
                    </a:lnTo>
                    <a:lnTo>
                      <a:pt x="430" y="623"/>
                    </a:lnTo>
                    <a:lnTo>
                      <a:pt x="432" y="627"/>
                    </a:lnTo>
                    <a:lnTo>
                      <a:pt x="430" y="628"/>
                    </a:lnTo>
                    <a:lnTo>
                      <a:pt x="432" y="632"/>
                    </a:lnTo>
                    <a:lnTo>
                      <a:pt x="437" y="630"/>
                    </a:lnTo>
                    <a:lnTo>
                      <a:pt x="445" y="625"/>
                    </a:lnTo>
                    <a:lnTo>
                      <a:pt x="450" y="625"/>
                    </a:lnTo>
                    <a:lnTo>
                      <a:pt x="452" y="628"/>
                    </a:lnTo>
                    <a:lnTo>
                      <a:pt x="453" y="625"/>
                    </a:lnTo>
                    <a:lnTo>
                      <a:pt x="457" y="618"/>
                    </a:lnTo>
                    <a:lnTo>
                      <a:pt x="462" y="615"/>
                    </a:lnTo>
                    <a:lnTo>
                      <a:pt x="463" y="615"/>
                    </a:lnTo>
                    <a:lnTo>
                      <a:pt x="458" y="620"/>
                    </a:lnTo>
                    <a:lnTo>
                      <a:pt x="458" y="625"/>
                    </a:lnTo>
                    <a:lnTo>
                      <a:pt x="462" y="622"/>
                    </a:lnTo>
                    <a:lnTo>
                      <a:pt x="467" y="617"/>
                    </a:lnTo>
                    <a:lnTo>
                      <a:pt x="470" y="608"/>
                    </a:lnTo>
                    <a:lnTo>
                      <a:pt x="473" y="607"/>
                    </a:lnTo>
                    <a:lnTo>
                      <a:pt x="473" y="610"/>
                    </a:lnTo>
                    <a:lnTo>
                      <a:pt x="470" y="615"/>
                    </a:lnTo>
                    <a:lnTo>
                      <a:pt x="470" y="617"/>
                    </a:lnTo>
                    <a:lnTo>
                      <a:pt x="475" y="612"/>
                    </a:lnTo>
                    <a:lnTo>
                      <a:pt x="477" y="615"/>
                    </a:lnTo>
                    <a:lnTo>
                      <a:pt x="477" y="617"/>
                    </a:lnTo>
                    <a:lnTo>
                      <a:pt x="482" y="618"/>
                    </a:lnTo>
                    <a:lnTo>
                      <a:pt x="485" y="620"/>
                    </a:lnTo>
                    <a:lnTo>
                      <a:pt x="488" y="617"/>
                    </a:lnTo>
                    <a:lnTo>
                      <a:pt x="490" y="612"/>
                    </a:lnTo>
                    <a:lnTo>
                      <a:pt x="497" y="612"/>
                    </a:lnTo>
                    <a:lnTo>
                      <a:pt x="502" y="608"/>
                    </a:lnTo>
                    <a:lnTo>
                      <a:pt x="498" y="607"/>
                    </a:lnTo>
                    <a:lnTo>
                      <a:pt x="500" y="603"/>
                    </a:lnTo>
                    <a:lnTo>
                      <a:pt x="508" y="600"/>
                    </a:lnTo>
                    <a:lnTo>
                      <a:pt x="510" y="597"/>
                    </a:lnTo>
                    <a:lnTo>
                      <a:pt x="510" y="593"/>
                    </a:lnTo>
                    <a:lnTo>
                      <a:pt x="507" y="593"/>
                    </a:lnTo>
                    <a:lnTo>
                      <a:pt x="503" y="592"/>
                    </a:lnTo>
                    <a:lnTo>
                      <a:pt x="497" y="590"/>
                    </a:lnTo>
                    <a:lnTo>
                      <a:pt x="500" y="588"/>
                    </a:lnTo>
                    <a:lnTo>
                      <a:pt x="503" y="588"/>
                    </a:lnTo>
                    <a:lnTo>
                      <a:pt x="507" y="588"/>
                    </a:lnTo>
                    <a:lnTo>
                      <a:pt x="510" y="587"/>
                    </a:lnTo>
                    <a:lnTo>
                      <a:pt x="510" y="583"/>
                    </a:lnTo>
                    <a:lnTo>
                      <a:pt x="505" y="585"/>
                    </a:lnTo>
                    <a:lnTo>
                      <a:pt x="500" y="582"/>
                    </a:lnTo>
                    <a:lnTo>
                      <a:pt x="500" y="577"/>
                    </a:lnTo>
                    <a:lnTo>
                      <a:pt x="507" y="577"/>
                    </a:lnTo>
                    <a:lnTo>
                      <a:pt x="508" y="575"/>
                    </a:lnTo>
                    <a:lnTo>
                      <a:pt x="512" y="577"/>
                    </a:lnTo>
                    <a:lnTo>
                      <a:pt x="512" y="575"/>
                    </a:lnTo>
                    <a:lnTo>
                      <a:pt x="510" y="570"/>
                    </a:lnTo>
                    <a:lnTo>
                      <a:pt x="518" y="567"/>
                    </a:lnTo>
                    <a:lnTo>
                      <a:pt x="523" y="570"/>
                    </a:lnTo>
                    <a:lnTo>
                      <a:pt x="527" y="569"/>
                    </a:lnTo>
                    <a:lnTo>
                      <a:pt x="532" y="569"/>
                    </a:lnTo>
                    <a:lnTo>
                      <a:pt x="523" y="575"/>
                    </a:lnTo>
                    <a:lnTo>
                      <a:pt x="523" y="579"/>
                    </a:lnTo>
                    <a:lnTo>
                      <a:pt x="525" y="585"/>
                    </a:lnTo>
                    <a:lnTo>
                      <a:pt x="527" y="585"/>
                    </a:lnTo>
                    <a:lnTo>
                      <a:pt x="530" y="577"/>
                    </a:lnTo>
                    <a:lnTo>
                      <a:pt x="533" y="575"/>
                    </a:lnTo>
                    <a:lnTo>
                      <a:pt x="537" y="575"/>
                    </a:lnTo>
                    <a:lnTo>
                      <a:pt x="535" y="577"/>
                    </a:lnTo>
                    <a:lnTo>
                      <a:pt x="532" y="580"/>
                    </a:lnTo>
                    <a:lnTo>
                      <a:pt x="533" y="583"/>
                    </a:lnTo>
                    <a:lnTo>
                      <a:pt x="538" y="580"/>
                    </a:lnTo>
                    <a:lnTo>
                      <a:pt x="540" y="577"/>
                    </a:lnTo>
                    <a:lnTo>
                      <a:pt x="543" y="580"/>
                    </a:lnTo>
                    <a:lnTo>
                      <a:pt x="548" y="577"/>
                    </a:lnTo>
                    <a:lnTo>
                      <a:pt x="550" y="577"/>
                    </a:lnTo>
                    <a:lnTo>
                      <a:pt x="555" y="574"/>
                    </a:lnTo>
                    <a:lnTo>
                      <a:pt x="560" y="572"/>
                    </a:lnTo>
                    <a:lnTo>
                      <a:pt x="565" y="574"/>
                    </a:lnTo>
                    <a:lnTo>
                      <a:pt x="563" y="575"/>
                    </a:lnTo>
                    <a:lnTo>
                      <a:pt x="558" y="575"/>
                    </a:lnTo>
                    <a:lnTo>
                      <a:pt x="553" y="580"/>
                    </a:lnTo>
                    <a:lnTo>
                      <a:pt x="550" y="580"/>
                    </a:lnTo>
                    <a:lnTo>
                      <a:pt x="548" y="583"/>
                    </a:lnTo>
                    <a:lnTo>
                      <a:pt x="550" y="585"/>
                    </a:lnTo>
                    <a:lnTo>
                      <a:pt x="558" y="587"/>
                    </a:lnTo>
                    <a:lnTo>
                      <a:pt x="561" y="590"/>
                    </a:lnTo>
                    <a:lnTo>
                      <a:pt x="561" y="592"/>
                    </a:lnTo>
                    <a:lnTo>
                      <a:pt x="556" y="588"/>
                    </a:lnTo>
                    <a:lnTo>
                      <a:pt x="550" y="587"/>
                    </a:lnTo>
                    <a:lnTo>
                      <a:pt x="545" y="588"/>
                    </a:lnTo>
                    <a:lnTo>
                      <a:pt x="545" y="593"/>
                    </a:lnTo>
                    <a:lnTo>
                      <a:pt x="548" y="593"/>
                    </a:lnTo>
                    <a:lnTo>
                      <a:pt x="551" y="592"/>
                    </a:lnTo>
                    <a:lnTo>
                      <a:pt x="556" y="595"/>
                    </a:lnTo>
                    <a:lnTo>
                      <a:pt x="553" y="595"/>
                    </a:lnTo>
                    <a:lnTo>
                      <a:pt x="548" y="595"/>
                    </a:lnTo>
                    <a:lnTo>
                      <a:pt x="550" y="598"/>
                    </a:lnTo>
                    <a:lnTo>
                      <a:pt x="556" y="600"/>
                    </a:lnTo>
                    <a:lnTo>
                      <a:pt x="558" y="603"/>
                    </a:lnTo>
                    <a:lnTo>
                      <a:pt x="555" y="605"/>
                    </a:lnTo>
                    <a:lnTo>
                      <a:pt x="551" y="605"/>
                    </a:lnTo>
                    <a:lnTo>
                      <a:pt x="551" y="608"/>
                    </a:lnTo>
                    <a:lnTo>
                      <a:pt x="556" y="608"/>
                    </a:lnTo>
                    <a:lnTo>
                      <a:pt x="561" y="607"/>
                    </a:lnTo>
                    <a:lnTo>
                      <a:pt x="565" y="610"/>
                    </a:lnTo>
                    <a:lnTo>
                      <a:pt x="570" y="612"/>
                    </a:lnTo>
                    <a:lnTo>
                      <a:pt x="576" y="608"/>
                    </a:lnTo>
                    <a:lnTo>
                      <a:pt x="578" y="612"/>
                    </a:lnTo>
                    <a:lnTo>
                      <a:pt x="578" y="613"/>
                    </a:lnTo>
                    <a:lnTo>
                      <a:pt x="575" y="615"/>
                    </a:lnTo>
                    <a:lnTo>
                      <a:pt x="576" y="618"/>
                    </a:lnTo>
                    <a:lnTo>
                      <a:pt x="578" y="618"/>
                    </a:lnTo>
                    <a:lnTo>
                      <a:pt x="578" y="622"/>
                    </a:lnTo>
                    <a:lnTo>
                      <a:pt x="583" y="622"/>
                    </a:lnTo>
                    <a:lnTo>
                      <a:pt x="586" y="618"/>
                    </a:lnTo>
                    <a:lnTo>
                      <a:pt x="585" y="617"/>
                    </a:lnTo>
                    <a:lnTo>
                      <a:pt x="585" y="615"/>
                    </a:lnTo>
                    <a:lnTo>
                      <a:pt x="591" y="615"/>
                    </a:lnTo>
                    <a:lnTo>
                      <a:pt x="588" y="618"/>
                    </a:lnTo>
                    <a:lnTo>
                      <a:pt x="588" y="622"/>
                    </a:lnTo>
                    <a:lnTo>
                      <a:pt x="581" y="627"/>
                    </a:lnTo>
                    <a:lnTo>
                      <a:pt x="586" y="630"/>
                    </a:lnTo>
                    <a:lnTo>
                      <a:pt x="585" y="632"/>
                    </a:lnTo>
                    <a:lnTo>
                      <a:pt x="581" y="632"/>
                    </a:lnTo>
                    <a:lnTo>
                      <a:pt x="580" y="632"/>
                    </a:lnTo>
                    <a:lnTo>
                      <a:pt x="581" y="635"/>
                    </a:lnTo>
                    <a:lnTo>
                      <a:pt x="593" y="637"/>
                    </a:lnTo>
                    <a:lnTo>
                      <a:pt x="596" y="635"/>
                    </a:lnTo>
                    <a:lnTo>
                      <a:pt x="600" y="637"/>
                    </a:lnTo>
                    <a:lnTo>
                      <a:pt x="605" y="635"/>
                    </a:lnTo>
                    <a:lnTo>
                      <a:pt x="610" y="637"/>
                    </a:lnTo>
                    <a:lnTo>
                      <a:pt x="616" y="635"/>
                    </a:lnTo>
                    <a:lnTo>
                      <a:pt x="618" y="637"/>
                    </a:lnTo>
                    <a:lnTo>
                      <a:pt x="618" y="638"/>
                    </a:lnTo>
                    <a:lnTo>
                      <a:pt x="621" y="640"/>
                    </a:lnTo>
                    <a:lnTo>
                      <a:pt x="625" y="643"/>
                    </a:lnTo>
                    <a:lnTo>
                      <a:pt x="628" y="645"/>
                    </a:lnTo>
                    <a:lnTo>
                      <a:pt x="628" y="648"/>
                    </a:lnTo>
                    <a:lnTo>
                      <a:pt x="633" y="648"/>
                    </a:lnTo>
                    <a:lnTo>
                      <a:pt x="640" y="645"/>
                    </a:lnTo>
                    <a:lnTo>
                      <a:pt x="641" y="643"/>
                    </a:lnTo>
                    <a:lnTo>
                      <a:pt x="643" y="645"/>
                    </a:lnTo>
                    <a:lnTo>
                      <a:pt x="643" y="648"/>
                    </a:lnTo>
                    <a:lnTo>
                      <a:pt x="640" y="650"/>
                    </a:lnTo>
                    <a:lnTo>
                      <a:pt x="635" y="652"/>
                    </a:lnTo>
                    <a:lnTo>
                      <a:pt x="636" y="653"/>
                    </a:lnTo>
                    <a:lnTo>
                      <a:pt x="643" y="655"/>
                    </a:lnTo>
                    <a:lnTo>
                      <a:pt x="645" y="658"/>
                    </a:lnTo>
                    <a:lnTo>
                      <a:pt x="648" y="662"/>
                    </a:lnTo>
                    <a:lnTo>
                      <a:pt x="654" y="663"/>
                    </a:lnTo>
                    <a:lnTo>
                      <a:pt x="663" y="662"/>
                    </a:lnTo>
                    <a:lnTo>
                      <a:pt x="668" y="660"/>
                    </a:lnTo>
                    <a:lnTo>
                      <a:pt x="668" y="663"/>
                    </a:lnTo>
                    <a:lnTo>
                      <a:pt x="671" y="660"/>
                    </a:lnTo>
                    <a:lnTo>
                      <a:pt x="678" y="655"/>
                    </a:lnTo>
                    <a:lnTo>
                      <a:pt x="679" y="655"/>
                    </a:lnTo>
                    <a:lnTo>
                      <a:pt x="678" y="658"/>
                    </a:lnTo>
                    <a:lnTo>
                      <a:pt x="673" y="662"/>
                    </a:lnTo>
                    <a:lnTo>
                      <a:pt x="673" y="668"/>
                    </a:lnTo>
                    <a:lnTo>
                      <a:pt x="669" y="673"/>
                    </a:lnTo>
                    <a:lnTo>
                      <a:pt x="668" y="673"/>
                    </a:lnTo>
                    <a:lnTo>
                      <a:pt x="663" y="672"/>
                    </a:lnTo>
                    <a:lnTo>
                      <a:pt x="661" y="672"/>
                    </a:lnTo>
                    <a:lnTo>
                      <a:pt x="663" y="677"/>
                    </a:lnTo>
                    <a:lnTo>
                      <a:pt x="664" y="681"/>
                    </a:lnTo>
                    <a:lnTo>
                      <a:pt x="668" y="683"/>
                    </a:lnTo>
                    <a:lnTo>
                      <a:pt x="671" y="681"/>
                    </a:lnTo>
                    <a:lnTo>
                      <a:pt x="674" y="683"/>
                    </a:lnTo>
                    <a:lnTo>
                      <a:pt x="673" y="686"/>
                    </a:lnTo>
                    <a:lnTo>
                      <a:pt x="671" y="686"/>
                    </a:lnTo>
                    <a:lnTo>
                      <a:pt x="671" y="688"/>
                    </a:lnTo>
                    <a:lnTo>
                      <a:pt x="678" y="695"/>
                    </a:lnTo>
                    <a:lnTo>
                      <a:pt x="679" y="693"/>
                    </a:lnTo>
                    <a:lnTo>
                      <a:pt x="684" y="693"/>
                    </a:lnTo>
                    <a:lnTo>
                      <a:pt x="688" y="690"/>
                    </a:lnTo>
                    <a:lnTo>
                      <a:pt x="693" y="680"/>
                    </a:lnTo>
                    <a:lnTo>
                      <a:pt x="691" y="686"/>
                    </a:lnTo>
                    <a:lnTo>
                      <a:pt x="691" y="691"/>
                    </a:lnTo>
                    <a:lnTo>
                      <a:pt x="689" y="695"/>
                    </a:lnTo>
                    <a:lnTo>
                      <a:pt x="686" y="696"/>
                    </a:lnTo>
                    <a:lnTo>
                      <a:pt x="683" y="700"/>
                    </a:lnTo>
                    <a:lnTo>
                      <a:pt x="684" y="703"/>
                    </a:lnTo>
                    <a:lnTo>
                      <a:pt x="688" y="705"/>
                    </a:lnTo>
                    <a:lnTo>
                      <a:pt x="686" y="706"/>
                    </a:lnTo>
                    <a:lnTo>
                      <a:pt x="686" y="716"/>
                    </a:lnTo>
                    <a:lnTo>
                      <a:pt x="688" y="720"/>
                    </a:lnTo>
                    <a:lnTo>
                      <a:pt x="691" y="720"/>
                    </a:lnTo>
                    <a:lnTo>
                      <a:pt x="689" y="723"/>
                    </a:lnTo>
                    <a:lnTo>
                      <a:pt x="691" y="726"/>
                    </a:lnTo>
                    <a:lnTo>
                      <a:pt x="699" y="735"/>
                    </a:lnTo>
                    <a:lnTo>
                      <a:pt x="701" y="735"/>
                    </a:lnTo>
                    <a:lnTo>
                      <a:pt x="703" y="738"/>
                    </a:lnTo>
                    <a:lnTo>
                      <a:pt x="704" y="736"/>
                    </a:lnTo>
                    <a:lnTo>
                      <a:pt x="708" y="740"/>
                    </a:lnTo>
                    <a:lnTo>
                      <a:pt x="711" y="738"/>
                    </a:lnTo>
                    <a:lnTo>
                      <a:pt x="709" y="736"/>
                    </a:lnTo>
                    <a:lnTo>
                      <a:pt x="711" y="735"/>
                    </a:lnTo>
                    <a:lnTo>
                      <a:pt x="713" y="736"/>
                    </a:lnTo>
                    <a:lnTo>
                      <a:pt x="714" y="736"/>
                    </a:lnTo>
                    <a:lnTo>
                      <a:pt x="718" y="733"/>
                    </a:lnTo>
                    <a:lnTo>
                      <a:pt x="714" y="726"/>
                    </a:lnTo>
                    <a:lnTo>
                      <a:pt x="711" y="728"/>
                    </a:lnTo>
                    <a:lnTo>
                      <a:pt x="709" y="728"/>
                    </a:lnTo>
                    <a:lnTo>
                      <a:pt x="708" y="726"/>
                    </a:lnTo>
                    <a:lnTo>
                      <a:pt x="711" y="723"/>
                    </a:lnTo>
                    <a:lnTo>
                      <a:pt x="711" y="720"/>
                    </a:lnTo>
                    <a:lnTo>
                      <a:pt x="709" y="716"/>
                    </a:lnTo>
                    <a:lnTo>
                      <a:pt x="706" y="716"/>
                    </a:lnTo>
                    <a:lnTo>
                      <a:pt x="706" y="713"/>
                    </a:lnTo>
                    <a:lnTo>
                      <a:pt x="708" y="711"/>
                    </a:lnTo>
                    <a:lnTo>
                      <a:pt x="709" y="706"/>
                    </a:lnTo>
                    <a:lnTo>
                      <a:pt x="711" y="706"/>
                    </a:lnTo>
                    <a:lnTo>
                      <a:pt x="711" y="711"/>
                    </a:lnTo>
                    <a:lnTo>
                      <a:pt x="713" y="715"/>
                    </a:lnTo>
                    <a:lnTo>
                      <a:pt x="716" y="710"/>
                    </a:lnTo>
                    <a:lnTo>
                      <a:pt x="718" y="713"/>
                    </a:lnTo>
                    <a:lnTo>
                      <a:pt x="719" y="715"/>
                    </a:lnTo>
                    <a:lnTo>
                      <a:pt x="718" y="720"/>
                    </a:lnTo>
                    <a:lnTo>
                      <a:pt x="719" y="723"/>
                    </a:lnTo>
                    <a:lnTo>
                      <a:pt x="721" y="723"/>
                    </a:lnTo>
                    <a:lnTo>
                      <a:pt x="726" y="720"/>
                    </a:lnTo>
                    <a:lnTo>
                      <a:pt x="728" y="720"/>
                    </a:lnTo>
                    <a:lnTo>
                      <a:pt x="726" y="723"/>
                    </a:lnTo>
                    <a:lnTo>
                      <a:pt x="723" y="726"/>
                    </a:lnTo>
                    <a:lnTo>
                      <a:pt x="723" y="730"/>
                    </a:lnTo>
                    <a:lnTo>
                      <a:pt x="724" y="733"/>
                    </a:lnTo>
                    <a:lnTo>
                      <a:pt x="723" y="738"/>
                    </a:lnTo>
                    <a:lnTo>
                      <a:pt x="724" y="740"/>
                    </a:lnTo>
                    <a:lnTo>
                      <a:pt x="729" y="741"/>
                    </a:lnTo>
                    <a:lnTo>
                      <a:pt x="729" y="740"/>
                    </a:lnTo>
                    <a:lnTo>
                      <a:pt x="733" y="736"/>
                    </a:lnTo>
                    <a:lnTo>
                      <a:pt x="733" y="740"/>
                    </a:lnTo>
                    <a:lnTo>
                      <a:pt x="731" y="741"/>
                    </a:lnTo>
                    <a:lnTo>
                      <a:pt x="733" y="746"/>
                    </a:lnTo>
                    <a:lnTo>
                      <a:pt x="736" y="748"/>
                    </a:lnTo>
                    <a:lnTo>
                      <a:pt x="739" y="741"/>
                    </a:lnTo>
                    <a:lnTo>
                      <a:pt x="741" y="735"/>
                    </a:lnTo>
                    <a:lnTo>
                      <a:pt x="743" y="733"/>
                    </a:lnTo>
                    <a:lnTo>
                      <a:pt x="743" y="721"/>
                    </a:lnTo>
                    <a:lnTo>
                      <a:pt x="746" y="713"/>
                    </a:lnTo>
                    <a:lnTo>
                      <a:pt x="746" y="703"/>
                    </a:lnTo>
                    <a:lnTo>
                      <a:pt x="746" y="696"/>
                    </a:lnTo>
                    <a:lnTo>
                      <a:pt x="744" y="693"/>
                    </a:lnTo>
                    <a:lnTo>
                      <a:pt x="744" y="693"/>
                    </a:lnTo>
                    <a:lnTo>
                      <a:pt x="746" y="693"/>
                    </a:lnTo>
                    <a:lnTo>
                      <a:pt x="747" y="700"/>
                    </a:lnTo>
                    <a:lnTo>
                      <a:pt x="751" y="700"/>
                    </a:lnTo>
                    <a:lnTo>
                      <a:pt x="752" y="695"/>
                    </a:lnTo>
                    <a:lnTo>
                      <a:pt x="757" y="691"/>
                    </a:lnTo>
                    <a:lnTo>
                      <a:pt x="754" y="698"/>
                    </a:lnTo>
                    <a:lnTo>
                      <a:pt x="752" y="705"/>
                    </a:lnTo>
                    <a:lnTo>
                      <a:pt x="754" y="711"/>
                    </a:lnTo>
                    <a:lnTo>
                      <a:pt x="749" y="720"/>
                    </a:lnTo>
                    <a:lnTo>
                      <a:pt x="749" y="725"/>
                    </a:lnTo>
                    <a:lnTo>
                      <a:pt x="751" y="726"/>
                    </a:lnTo>
                    <a:lnTo>
                      <a:pt x="747" y="730"/>
                    </a:lnTo>
                    <a:lnTo>
                      <a:pt x="747" y="736"/>
                    </a:lnTo>
                    <a:lnTo>
                      <a:pt x="747" y="740"/>
                    </a:lnTo>
                    <a:lnTo>
                      <a:pt x="749" y="745"/>
                    </a:lnTo>
                    <a:lnTo>
                      <a:pt x="752" y="748"/>
                    </a:lnTo>
                    <a:lnTo>
                      <a:pt x="754" y="753"/>
                    </a:lnTo>
                    <a:lnTo>
                      <a:pt x="756" y="753"/>
                    </a:lnTo>
                    <a:lnTo>
                      <a:pt x="756" y="758"/>
                    </a:lnTo>
                    <a:lnTo>
                      <a:pt x="761" y="760"/>
                    </a:lnTo>
                    <a:lnTo>
                      <a:pt x="762" y="758"/>
                    </a:lnTo>
                    <a:lnTo>
                      <a:pt x="766" y="760"/>
                    </a:lnTo>
                    <a:lnTo>
                      <a:pt x="769" y="758"/>
                    </a:lnTo>
                    <a:lnTo>
                      <a:pt x="776" y="758"/>
                    </a:lnTo>
                    <a:lnTo>
                      <a:pt x="776" y="760"/>
                    </a:lnTo>
                    <a:lnTo>
                      <a:pt x="769" y="763"/>
                    </a:lnTo>
                    <a:lnTo>
                      <a:pt x="766" y="765"/>
                    </a:lnTo>
                    <a:lnTo>
                      <a:pt x="766" y="766"/>
                    </a:lnTo>
                    <a:lnTo>
                      <a:pt x="769" y="768"/>
                    </a:lnTo>
                    <a:lnTo>
                      <a:pt x="767" y="770"/>
                    </a:lnTo>
                    <a:lnTo>
                      <a:pt x="764" y="770"/>
                    </a:lnTo>
                    <a:lnTo>
                      <a:pt x="764" y="773"/>
                    </a:lnTo>
                    <a:lnTo>
                      <a:pt x="767" y="778"/>
                    </a:lnTo>
                    <a:lnTo>
                      <a:pt x="767" y="781"/>
                    </a:lnTo>
                    <a:lnTo>
                      <a:pt x="766" y="783"/>
                    </a:lnTo>
                    <a:lnTo>
                      <a:pt x="762" y="780"/>
                    </a:lnTo>
                    <a:lnTo>
                      <a:pt x="761" y="776"/>
                    </a:lnTo>
                    <a:lnTo>
                      <a:pt x="759" y="778"/>
                    </a:lnTo>
                    <a:lnTo>
                      <a:pt x="761" y="781"/>
                    </a:lnTo>
                    <a:lnTo>
                      <a:pt x="757" y="784"/>
                    </a:lnTo>
                    <a:lnTo>
                      <a:pt x="757" y="789"/>
                    </a:lnTo>
                    <a:lnTo>
                      <a:pt x="759" y="791"/>
                    </a:lnTo>
                    <a:lnTo>
                      <a:pt x="757" y="793"/>
                    </a:lnTo>
                    <a:lnTo>
                      <a:pt x="754" y="793"/>
                    </a:lnTo>
                    <a:lnTo>
                      <a:pt x="752" y="796"/>
                    </a:lnTo>
                    <a:lnTo>
                      <a:pt x="752" y="798"/>
                    </a:lnTo>
                    <a:lnTo>
                      <a:pt x="756" y="798"/>
                    </a:lnTo>
                    <a:lnTo>
                      <a:pt x="757" y="798"/>
                    </a:lnTo>
                    <a:lnTo>
                      <a:pt x="759" y="801"/>
                    </a:lnTo>
                    <a:lnTo>
                      <a:pt x="762" y="804"/>
                    </a:lnTo>
                    <a:lnTo>
                      <a:pt x="766" y="804"/>
                    </a:lnTo>
                    <a:lnTo>
                      <a:pt x="767" y="806"/>
                    </a:lnTo>
                    <a:lnTo>
                      <a:pt x="767" y="808"/>
                    </a:lnTo>
                    <a:lnTo>
                      <a:pt x="764" y="808"/>
                    </a:lnTo>
                    <a:lnTo>
                      <a:pt x="762" y="808"/>
                    </a:lnTo>
                    <a:lnTo>
                      <a:pt x="764" y="811"/>
                    </a:lnTo>
                    <a:lnTo>
                      <a:pt x="767" y="813"/>
                    </a:lnTo>
                    <a:lnTo>
                      <a:pt x="769" y="816"/>
                    </a:lnTo>
                    <a:lnTo>
                      <a:pt x="772" y="819"/>
                    </a:lnTo>
                    <a:lnTo>
                      <a:pt x="774" y="819"/>
                    </a:lnTo>
                    <a:lnTo>
                      <a:pt x="772" y="821"/>
                    </a:lnTo>
                    <a:lnTo>
                      <a:pt x="769" y="821"/>
                    </a:lnTo>
                    <a:lnTo>
                      <a:pt x="766" y="824"/>
                    </a:lnTo>
                    <a:lnTo>
                      <a:pt x="767" y="829"/>
                    </a:lnTo>
                    <a:lnTo>
                      <a:pt x="771" y="836"/>
                    </a:lnTo>
                    <a:lnTo>
                      <a:pt x="774" y="838"/>
                    </a:lnTo>
                    <a:lnTo>
                      <a:pt x="779" y="838"/>
                    </a:lnTo>
                    <a:lnTo>
                      <a:pt x="782" y="839"/>
                    </a:lnTo>
                    <a:lnTo>
                      <a:pt x="777" y="841"/>
                    </a:lnTo>
                    <a:lnTo>
                      <a:pt x="772" y="841"/>
                    </a:lnTo>
                    <a:lnTo>
                      <a:pt x="769" y="841"/>
                    </a:lnTo>
                    <a:lnTo>
                      <a:pt x="766" y="846"/>
                    </a:lnTo>
                    <a:lnTo>
                      <a:pt x="759" y="854"/>
                    </a:lnTo>
                    <a:lnTo>
                      <a:pt x="752" y="858"/>
                    </a:lnTo>
                    <a:lnTo>
                      <a:pt x="752" y="863"/>
                    </a:lnTo>
                    <a:lnTo>
                      <a:pt x="756" y="866"/>
                    </a:lnTo>
                    <a:lnTo>
                      <a:pt x="761" y="863"/>
                    </a:lnTo>
                    <a:lnTo>
                      <a:pt x="764" y="856"/>
                    </a:lnTo>
                    <a:lnTo>
                      <a:pt x="764" y="854"/>
                    </a:lnTo>
                    <a:lnTo>
                      <a:pt x="767" y="853"/>
                    </a:lnTo>
                    <a:lnTo>
                      <a:pt x="772" y="848"/>
                    </a:lnTo>
                    <a:lnTo>
                      <a:pt x="774" y="849"/>
                    </a:lnTo>
                    <a:lnTo>
                      <a:pt x="777" y="849"/>
                    </a:lnTo>
                    <a:lnTo>
                      <a:pt x="784" y="849"/>
                    </a:lnTo>
                    <a:lnTo>
                      <a:pt x="781" y="853"/>
                    </a:lnTo>
                    <a:lnTo>
                      <a:pt x="781" y="854"/>
                    </a:lnTo>
                    <a:lnTo>
                      <a:pt x="786" y="854"/>
                    </a:lnTo>
                    <a:lnTo>
                      <a:pt x="786" y="856"/>
                    </a:lnTo>
                    <a:lnTo>
                      <a:pt x="781" y="861"/>
                    </a:lnTo>
                    <a:lnTo>
                      <a:pt x="781" y="864"/>
                    </a:lnTo>
                    <a:lnTo>
                      <a:pt x="782" y="868"/>
                    </a:lnTo>
                    <a:lnTo>
                      <a:pt x="779" y="873"/>
                    </a:lnTo>
                    <a:lnTo>
                      <a:pt x="777" y="876"/>
                    </a:lnTo>
                    <a:lnTo>
                      <a:pt x="779" y="878"/>
                    </a:lnTo>
                    <a:lnTo>
                      <a:pt x="779" y="879"/>
                    </a:lnTo>
                    <a:lnTo>
                      <a:pt x="776" y="879"/>
                    </a:lnTo>
                    <a:lnTo>
                      <a:pt x="772" y="879"/>
                    </a:lnTo>
                    <a:lnTo>
                      <a:pt x="769" y="882"/>
                    </a:lnTo>
                    <a:lnTo>
                      <a:pt x="769" y="884"/>
                    </a:lnTo>
                    <a:lnTo>
                      <a:pt x="772" y="886"/>
                    </a:lnTo>
                    <a:lnTo>
                      <a:pt x="774" y="884"/>
                    </a:lnTo>
                    <a:lnTo>
                      <a:pt x="779" y="884"/>
                    </a:lnTo>
                    <a:lnTo>
                      <a:pt x="779" y="886"/>
                    </a:lnTo>
                    <a:lnTo>
                      <a:pt x="776" y="889"/>
                    </a:lnTo>
                    <a:lnTo>
                      <a:pt x="772" y="887"/>
                    </a:lnTo>
                    <a:lnTo>
                      <a:pt x="771" y="887"/>
                    </a:lnTo>
                    <a:lnTo>
                      <a:pt x="767" y="891"/>
                    </a:lnTo>
                    <a:lnTo>
                      <a:pt x="766" y="896"/>
                    </a:lnTo>
                    <a:lnTo>
                      <a:pt x="769" y="899"/>
                    </a:lnTo>
                    <a:lnTo>
                      <a:pt x="772" y="897"/>
                    </a:lnTo>
                    <a:lnTo>
                      <a:pt x="772" y="896"/>
                    </a:lnTo>
                    <a:lnTo>
                      <a:pt x="776" y="896"/>
                    </a:lnTo>
                    <a:lnTo>
                      <a:pt x="781" y="894"/>
                    </a:lnTo>
                    <a:lnTo>
                      <a:pt x="786" y="887"/>
                    </a:lnTo>
                    <a:lnTo>
                      <a:pt x="791" y="881"/>
                    </a:lnTo>
                    <a:lnTo>
                      <a:pt x="792" y="873"/>
                    </a:lnTo>
                    <a:lnTo>
                      <a:pt x="799" y="861"/>
                    </a:lnTo>
                    <a:lnTo>
                      <a:pt x="801" y="861"/>
                    </a:lnTo>
                    <a:lnTo>
                      <a:pt x="801" y="861"/>
                    </a:lnTo>
                    <a:lnTo>
                      <a:pt x="801" y="861"/>
                    </a:lnTo>
                    <a:close/>
                    <a:moveTo>
                      <a:pt x="729" y="884"/>
                    </a:moveTo>
                    <a:lnTo>
                      <a:pt x="728" y="882"/>
                    </a:lnTo>
                    <a:lnTo>
                      <a:pt x="729" y="879"/>
                    </a:lnTo>
                    <a:lnTo>
                      <a:pt x="731" y="882"/>
                    </a:lnTo>
                    <a:lnTo>
                      <a:pt x="729" y="884"/>
                    </a:lnTo>
                    <a:lnTo>
                      <a:pt x="729" y="884"/>
                    </a:lnTo>
                    <a:close/>
                    <a:moveTo>
                      <a:pt x="756" y="892"/>
                    </a:moveTo>
                    <a:lnTo>
                      <a:pt x="759" y="889"/>
                    </a:lnTo>
                    <a:lnTo>
                      <a:pt x="762" y="891"/>
                    </a:lnTo>
                    <a:lnTo>
                      <a:pt x="759" y="894"/>
                    </a:lnTo>
                    <a:lnTo>
                      <a:pt x="756" y="892"/>
                    </a:lnTo>
                    <a:lnTo>
                      <a:pt x="756" y="892"/>
                    </a:lnTo>
                    <a:close/>
                    <a:moveTo>
                      <a:pt x="757" y="881"/>
                    </a:moveTo>
                    <a:lnTo>
                      <a:pt x="761" y="879"/>
                    </a:lnTo>
                    <a:lnTo>
                      <a:pt x="764" y="884"/>
                    </a:lnTo>
                    <a:lnTo>
                      <a:pt x="759" y="887"/>
                    </a:lnTo>
                    <a:lnTo>
                      <a:pt x="756" y="886"/>
                    </a:lnTo>
                    <a:lnTo>
                      <a:pt x="757" y="882"/>
                    </a:lnTo>
                    <a:lnTo>
                      <a:pt x="757" y="881"/>
                    </a:lnTo>
                    <a:lnTo>
                      <a:pt x="757" y="881"/>
                    </a:lnTo>
                    <a:close/>
                    <a:moveTo>
                      <a:pt x="756" y="871"/>
                    </a:moveTo>
                    <a:lnTo>
                      <a:pt x="759" y="876"/>
                    </a:lnTo>
                    <a:lnTo>
                      <a:pt x="756" y="879"/>
                    </a:lnTo>
                    <a:lnTo>
                      <a:pt x="756" y="874"/>
                    </a:lnTo>
                    <a:lnTo>
                      <a:pt x="754" y="873"/>
                    </a:lnTo>
                    <a:lnTo>
                      <a:pt x="756" y="871"/>
                    </a:lnTo>
                    <a:lnTo>
                      <a:pt x="756" y="871"/>
                    </a:lnTo>
                    <a:close/>
                    <a:moveTo>
                      <a:pt x="761" y="869"/>
                    </a:moveTo>
                    <a:lnTo>
                      <a:pt x="764" y="866"/>
                    </a:lnTo>
                    <a:lnTo>
                      <a:pt x="764" y="864"/>
                    </a:lnTo>
                    <a:lnTo>
                      <a:pt x="767" y="858"/>
                    </a:lnTo>
                    <a:lnTo>
                      <a:pt x="772" y="856"/>
                    </a:lnTo>
                    <a:lnTo>
                      <a:pt x="772" y="854"/>
                    </a:lnTo>
                    <a:lnTo>
                      <a:pt x="777" y="854"/>
                    </a:lnTo>
                    <a:lnTo>
                      <a:pt x="779" y="858"/>
                    </a:lnTo>
                    <a:lnTo>
                      <a:pt x="777" y="863"/>
                    </a:lnTo>
                    <a:lnTo>
                      <a:pt x="779" y="868"/>
                    </a:lnTo>
                    <a:lnTo>
                      <a:pt x="772" y="876"/>
                    </a:lnTo>
                    <a:lnTo>
                      <a:pt x="766" y="881"/>
                    </a:lnTo>
                    <a:lnTo>
                      <a:pt x="762" y="878"/>
                    </a:lnTo>
                    <a:lnTo>
                      <a:pt x="766" y="874"/>
                    </a:lnTo>
                    <a:lnTo>
                      <a:pt x="771" y="871"/>
                    </a:lnTo>
                    <a:lnTo>
                      <a:pt x="771" y="868"/>
                    </a:lnTo>
                    <a:lnTo>
                      <a:pt x="762" y="873"/>
                    </a:lnTo>
                    <a:lnTo>
                      <a:pt x="761" y="869"/>
                    </a:lnTo>
                    <a:lnTo>
                      <a:pt x="761" y="869"/>
                    </a:lnTo>
                    <a:close/>
                    <a:moveTo>
                      <a:pt x="718" y="884"/>
                    </a:moveTo>
                    <a:lnTo>
                      <a:pt x="719" y="882"/>
                    </a:lnTo>
                    <a:lnTo>
                      <a:pt x="723" y="884"/>
                    </a:lnTo>
                    <a:lnTo>
                      <a:pt x="723" y="887"/>
                    </a:lnTo>
                    <a:lnTo>
                      <a:pt x="726" y="892"/>
                    </a:lnTo>
                    <a:lnTo>
                      <a:pt x="723" y="897"/>
                    </a:lnTo>
                    <a:lnTo>
                      <a:pt x="721" y="896"/>
                    </a:lnTo>
                    <a:lnTo>
                      <a:pt x="721" y="892"/>
                    </a:lnTo>
                    <a:lnTo>
                      <a:pt x="716" y="886"/>
                    </a:lnTo>
                    <a:lnTo>
                      <a:pt x="718" y="884"/>
                    </a:lnTo>
                    <a:lnTo>
                      <a:pt x="718" y="884"/>
                    </a:lnTo>
                    <a:close/>
                    <a:moveTo>
                      <a:pt x="719" y="878"/>
                    </a:moveTo>
                    <a:lnTo>
                      <a:pt x="721" y="876"/>
                    </a:lnTo>
                    <a:lnTo>
                      <a:pt x="723" y="878"/>
                    </a:lnTo>
                    <a:lnTo>
                      <a:pt x="724" y="881"/>
                    </a:lnTo>
                    <a:lnTo>
                      <a:pt x="721" y="881"/>
                    </a:lnTo>
                    <a:lnTo>
                      <a:pt x="719" y="878"/>
                    </a:lnTo>
                    <a:lnTo>
                      <a:pt x="719" y="878"/>
                    </a:lnTo>
                    <a:close/>
                    <a:moveTo>
                      <a:pt x="716" y="873"/>
                    </a:moveTo>
                    <a:lnTo>
                      <a:pt x="719" y="869"/>
                    </a:lnTo>
                    <a:lnTo>
                      <a:pt x="719" y="874"/>
                    </a:lnTo>
                    <a:lnTo>
                      <a:pt x="716" y="873"/>
                    </a:lnTo>
                    <a:lnTo>
                      <a:pt x="716" y="873"/>
                    </a:lnTo>
                    <a:close/>
                    <a:moveTo>
                      <a:pt x="713" y="866"/>
                    </a:moveTo>
                    <a:lnTo>
                      <a:pt x="716" y="868"/>
                    </a:lnTo>
                    <a:lnTo>
                      <a:pt x="713" y="873"/>
                    </a:lnTo>
                    <a:lnTo>
                      <a:pt x="713" y="866"/>
                    </a:lnTo>
                    <a:lnTo>
                      <a:pt x="713" y="866"/>
                    </a:lnTo>
                    <a:close/>
                    <a:moveTo>
                      <a:pt x="711" y="846"/>
                    </a:moveTo>
                    <a:lnTo>
                      <a:pt x="709" y="843"/>
                    </a:lnTo>
                    <a:lnTo>
                      <a:pt x="713" y="844"/>
                    </a:lnTo>
                    <a:lnTo>
                      <a:pt x="711" y="846"/>
                    </a:lnTo>
                    <a:lnTo>
                      <a:pt x="711" y="846"/>
                    </a:lnTo>
                    <a:close/>
                    <a:moveTo>
                      <a:pt x="723" y="851"/>
                    </a:moveTo>
                    <a:lnTo>
                      <a:pt x="726" y="849"/>
                    </a:lnTo>
                    <a:lnTo>
                      <a:pt x="728" y="853"/>
                    </a:lnTo>
                    <a:lnTo>
                      <a:pt x="726" y="854"/>
                    </a:lnTo>
                    <a:lnTo>
                      <a:pt x="723" y="851"/>
                    </a:lnTo>
                    <a:lnTo>
                      <a:pt x="723" y="851"/>
                    </a:lnTo>
                    <a:close/>
                    <a:moveTo>
                      <a:pt x="724" y="844"/>
                    </a:moveTo>
                    <a:lnTo>
                      <a:pt x="728" y="839"/>
                    </a:lnTo>
                    <a:lnTo>
                      <a:pt x="733" y="838"/>
                    </a:lnTo>
                    <a:lnTo>
                      <a:pt x="736" y="841"/>
                    </a:lnTo>
                    <a:lnTo>
                      <a:pt x="733" y="843"/>
                    </a:lnTo>
                    <a:lnTo>
                      <a:pt x="729" y="843"/>
                    </a:lnTo>
                    <a:lnTo>
                      <a:pt x="726" y="846"/>
                    </a:lnTo>
                    <a:lnTo>
                      <a:pt x="724" y="844"/>
                    </a:lnTo>
                    <a:lnTo>
                      <a:pt x="724" y="844"/>
                    </a:lnTo>
                    <a:close/>
                    <a:moveTo>
                      <a:pt x="736" y="848"/>
                    </a:moveTo>
                    <a:lnTo>
                      <a:pt x="738" y="841"/>
                    </a:lnTo>
                    <a:lnTo>
                      <a:pt x="736" y="838"/>
                    </a:lnTo>
                    <a:lnTo>
                      <a:pt x="733" y="834"/>
                    </a:lnTo>
                    <a:lnTo>
                      <a:pt x="736" y="831"/>
                    </a:lnTo>
                    <a:lnTo>
                      <a:pt x="739" y="833"/>
                    </a:lnTo>
                    <a:lnTo>
                      <a:pt x="743" y="838"/>
                    </a:lnTo>
                    <a:lnTo>
                      <a:pt x="739" y="841"/>
                    </a:lnTo>
                    <a:lnTo>
                      <a:pt x="739" y="844"/>
                    </a:lnTo>
                    <a:lnTo>
                      <a:pt x="741" y="846"/>
                    </a:lnTo>
                    <a:lnTo>
                      <a:pt x="743" y="846"/>
                    </a:lnTo>
                    <a:lnTo>
                      <a:pt x="747" y="849"/>
                    </a:lnTo>
                    <a:lnTo>
                      <a:pt x="747" y="854"/>
                    </a:lnTo>
                    <a:lnTo>
                      <a:pt x="744" y="856"/>
                    </a:lnTo>
                    <a:lnTo>
                      <a:pt x="749" y="859"/>
                    </a:lnTo>
                    <a:lnTo>
                      <a:pt x="749" y="863"/>
                    </a:lnTo>
                    <a:lnTo>
                      <a:pt x="746" y="863"/>
                    </a:lnTo>
                    <a:lnTo>
                      <a:pt x="744" y="861"/>
                    </a:lnTo>
                    <a:lnTo>
                      <a:pt x="743" y="866"/>
                    </a:lnTo>
                    <a:lnTo>
                      <a:pt x="747" y="869"/>
                    </a:lnTo>
                    <a:lnTo>
                      <a:pt x="751" y="873"/>
                    </a:lnTo>
                    <a:lnTo>
                      <a:pt x="746" y="876"/>
                    </a:lnTo>
                    <a:lnTo>
                      <a:pt x="744" y="878"/>
                    </a:lnTo>
                    <a:lnTo>
                      <a:pt x="747" y="878"/>
                    </a:lnTo>
                    <a:lnTo>
                      <a:pt x="749" y="878"/>
                    </a:lnTo>
                    <a:lnTo>
                      <a:pt x="749" y="881"/>
                    </a:lnTo>
                    <a:lnTo>
                      <a:pt x="746" y="884"/>
                    </a:lnTo>
                    <a:lnTo>
                      <a:pt x="743" y="884"/>
                    </a:lnTo>
                    <a:lnTo>
                      <a:pt x="741" y="887"/>
                    </a:lnTo>
                    <a:lnTo>
                      <a:pt x="743" y="887"/>
                    </a:lnTo>
                    <a:lnTo>
                      <a:pt x="744" y="889"/>
                    </a:lnTo>
                    <a:lnTo>
                      <a:pt x="743" y="892"/>
                    </a:lnTo>
                    <a:lnTo>
                      <a:pt x="744" y="894"/>
                    </a:lnTo>
                    <a:lnTo>
                      <a:pt x="743" y="897"/>
                    </a:lnTo>
                    <a:lnTo>
                      <a:pt x="738" y="897"/>
                    </a:lnTo>
                    <a:lnTo>
                      <a:pt x="736" y="896"/>
                    </a:lnTo>
                    <a:lnTo>
                      <a:pt x="738" y="892"/>
                    </a:lnTo>
                    <a:lnTo>
                      <a:pt x="733" y="889"/>
                    </a:lnTo>
                    <a:lnTo>
                      <a:pt x="733" y="886"/>
                    </a:lnTo>
                    <a:lnTo>
                      <a:pt x="736" y="882"/>
                    </a:lnTo>
                    <a:lnTo>
                      <a:pt x="734" y="879"/>
                    </a:lnTo>
                    <a:lnTo>
                      <a:pt x="734" y="878"/>
                    </a:lnTo>
                    <a:lnTo>
                      <a:pt x="738" y="876"/>
                    </a:lnTo>
                    <a:lnTo>
                      <a:pt x="736" y="874"/>
                    </a:lnTo>
                    <a:lnTo>
                      <a:pt x="733" y="874"/>
                    </a:lnTo>
                    <a:lnTo>
                      <a:pt x="731" y="876"/>
                    </a:lnTo>
                    <a:lnTo>
                      <a:pt x="729" y="874"/>
                    </a:lnTo>
                    <a:lnTo>
                      <a:pt x="726" y="874"/>
                    </a:lnTo>
                    <a:lnTo>
                      <a:pt x="724" y="873"/>
                    </a:lnTo>
                    <a:lnTo>
                      <a:pt x="726" y="869"/>
                    </a:lnTo>
                    <a:lnTo>
                      <a:pt x="729" y="869"/>
                    </a:lnTo>
                    <a:lnTo>
                      <a:pt x="731" y="868"/>
                    </a:lnTo>
                    <a:lnTo>
                      <a:pt x="731" y="864"/>
                    </a:lnTo>
                    <a:lnTo>
                      <a:pt x="736" y="861"/>
                    </a:lnTo>
                    <a:lnTo>
                      <a:pt x="736" y="859"/>
                    </a:lnTo>
                    <a:lnTo>
                      <a:pt x="733" y="859"/>
                    </a:lnTo>
                    <a:lnTo>
                      <a:pt x="729" y="859"/>
                    </a:lnTo>
                    <a:lnTo>
                      <a:pt x="728" y="858"/>
                    </a:lnTo>
                    <a:lnTo>
                      <a:pt x="729" y="856"/>
                    </a:lnTo>
                    <a:lnTo>
                      <a:pt x="734" y="854"/>
                    </a:lnTo>
                    <a:lnTo>
                      <a:pt x="736" y="851"/>
                    </a:lnTo>
                    <a:lnTo>
                      <a:pt x="736" y="848"/>
                    </a:lnTo>
                    <a:lnTo>
                      <a:pt x="736" y="848"/>
                    </a:lnTo>
                    <a:close/>
                    <a:moveTo>
                      <a:pt x="764" y="844"/>
                    </a:moveTo>
                    <a:lnTo>
                      <a:pt x="761" y="841"/>
                    </a:lnTo>
                    <a:lnTo>
                      <a:pt x="764" y="838"/>
                    </a:lnTo>
                    <a:lnTo>
                      <a:pt x="766" y="834"/>
                    </a:lnTo>
                    <a:lnTo>
                      <a:pt x="767" y="836"/>
                    </a:lnTo>
                    <a:lnTo>
                      <a:pt x="767" y="841"/>
                    </a:lnTo>
                    <a:lnTo>
                      <a:pt x="764" y="844"/>
                    </a:lnTo>
                    <a:lnTo>
                      <a:pt x="764" y="844"/>
                    </a:lnTo>
                    <a:close/>
                    <a:moveTo>
                      <a:pt x="754" y="849"/>
                    </a:moveTo>
                    <a:lnTo>
                      <a:pt x="757" y="843"/>
                    </a:lnTo>
                    <a:lnTo>
                      <a:pt x="761" y="843"/>
                    </a:lnTo>
                    <a:lnTo>
                      <a:pt x="761" y="848"/>
                    </a:lnTo>
                    <a:lnTo>
                      <a:pt x="757" y="849"/>
                    </a:lnTo>
                    <a:lnTo>
                      <a:pt x="754" y="849"/>
                    </a:lnTo>
                    <a:lnTo>
                      <a:pt x="754" y="849"/>
                    </a:lnTo>
                    <a:close/>
                    <a:moveTo>
                      <a:pt x="751" y="844"/>
                    </a:moveTo>
                    <a:lnTo>
                      <a:pt x="752" y="841"/>
                    </a:lnTo>
                    <a:lnTo>
                      <a:pt x="759" y="836"/>
                    </a:lnTo>
                    <a:lnTo>
                      <a:pt x="759" y="839"/>
                    </a:lnTo>
                    <a:lnTo>
                      <a:pt x="757" y="841"/>
                    </a:lnTo>
                    <a:lnTo>
                      <a:pt x="754" y="844"/>
                    </a:lnTo>
                    <a:lnTo>
                      <a:pt x="751" y="844"/>
                    </a:lnTo>
                    <a:lnTo>
                      <a:pt x="751" y="844"/>
                    </a:lnTo>
                    <a:close/>
                    <a:moveTo>
                      <a:pt x="746" y="833"/>
                    </a:moveTo>
                    <a:lnTo>
                      <a:pt x="751" y="829"/>
                    </a:lnTo>
                    <a:lnTo>
                      <a:pt x="757" y="829"/>
                    </a:lnTo>
                    <a:lnTo>
                      <a:pt x="757" y="833"/>
                    </a:lnTo>
                    <a:lnTo>
                      <a:pt x="752" y="838"/>
                    </a:lnTo>
                    <a:lnTo>
                      <a:pt x="749" y="836"/>
                    </a:lnTo>
                    <a:lnTo>
                      <a:pt x="746" y="833"/>
                    </a:lnTo>
                    <a:lnTo>
                      <a:pt x="746" y="833"/>
                    </a:lnTo>
                    <a:close/>
                    <a:moveTo>
                      <a:pt x="752" y="823"/>
                    </a:moveTo>
                    <a:lnTo>
                      <a:pt x="757" y="816"/>
                    </a:lnTo>
                    <a:lnTo>
                      <a:pt x="761" y="814"/>
                    </a:lnTo>
                    <a:lnTo>
                      <a:pt x="764" y="821"/>
                    </a:lnTo>
                    <a:lnTo>
                      <a:pt x="761" y="826"/>
                    </a:lnTo>
                    <a:lnTo>
                      <a:pt x="754" y="828"/>
                    </a:lnTo>
                    <a:lnTo>
                      <a:pt x="752" y="824"/>
                    </a:lnTo>
                    <a:lnTo>
                      <a:pt x="752" y="823"/>
                    </a:lnTo>
                    <a:lnTo>
                      <a:pt x="752" y="823"/>
                    </a:lnTo>
                    <a:close/>
                    <a:moveTo>
                      <a:pt x="738" y="828"/>
                    </a:moveTo>
                    <a:lnTo>
                      <a:pt x="738" y="823"/>
                    </a:lnTo>
                    <a:lnTo>
                      <a:pt x="741" y="813"/>
                    </a:lnTo>
                    <a:lnTo>
                      <a:pt x="743" y="809"/>
                    </a:lnTo>
                    <a:lnTo>
                      <a:pt x="738" y="808"/>
                    </a:lnTo>
                    <a:lnTo>
                      <a:pt x="739" y="804"/>
                    </a:lnTo>
                    <a:lnTo>
                      <a:pt x="738" y="803"/>
                    </a:lnTo>
                    <a:lnTo>
                      <a:pt x="738" y="799"/>
                    </a:lnTo>
                    <a:lnTo>
                      <a:pt x="744" y="799"/>
                    </a:lnTo>
                    <a:lnTo>
                      <a:pt x="749" y="804"/>
                    </a:lnTo>
                    <a:lnTo>
                      <a:pt x="752" y="804"/>
                    </a:lnTo>
                    <a:lnTo>
                      <a:pt x="756" y="808"/>
                    </a:lnTo>
                    <a:lnTo>
                      <a:pt x="756" y="814"/>
                    </a:lnTo>
                    <a:lnTo>
                      <a:pt x="752" y="819"/>
                    </a:lnTo>
                    <a:lnTo>
                      <a:pt x="751" y="819"/>
                    </a:lnTo>
                    <a:lnTo>
                      <a:pt x="751" y="814"/>
                    </a:lnTo>
                    <a:lnTo>
                      <a:pt x="747" y="814"/>
                    </a:lnTo>
                    <a:lnTo>
                      <a:pt x="747" y="819"/>
                    </a:lnTo>
                    <a:lnTo>
                      <a:pt x="746" y="821"/>
                    </a:lnTo>
                    <a:lnTo>
                      <a:pt x="747" y="826"/>
                    </a:lnTo>
                    <a:lnTo>
                      <a:pt x="744" y="828"/>
                    </a:lnTo>
                    <a:lnTo>
                      <a:pt x="743" y="826"/>
                    </a:lnTo>
                    <a:lnTo>
                      <a:pt x="741" y="829"/>
                    </a:lnTo>
                    <a:lnTo>
                      <a:pt x="738" y="828"/>
                    </a:lnTo>
                    <a:lnTo>
                      <a:pt x="738" y="828"/>
                    </a:lnTo>
                    <a:close/>
                    <a:moveTo>
                      <a:pt x="724" y="823"/>
                    </a:moveTo>
                    <a:lnTo>
                      <a:pt x="721" y="819"/>
                    </a:lnTo>
                    <a:lnTo>
                      <a:pt x="724" y="814"/>
                    </a:lnTo>
                    <a:lnTo>
                      <a:pt x="723" y="813"/>
                    </a:lnTo>
                    <a:lnTo>
                      <a:pt x="723" y="809"/>
                    </a:lnTo>
                    <a:lnTo>
                      <a:pt x="724" y="806"/>
                    </a:lnTo>
                    <a:lnTo>
                      <a:pt x="729" y="808"/>
                    </a:lnTo>
                    <a:lnTo>
                      <a:pt x="729" y="803"/>
                    </a:lnTo>
                    <a:lnTo>
                      <a:pt x="731" y="803"/>
                    </a:lnTo>
                    <a:lnTo>
                      <a:pt x="734" y="808"/>
                    </a:lnTo>
                    <a:lnTo>
                      <a:pt x="733" y="811"/>
                    </a:lnTo>
                    <a:lnTo>
                      <a:pt x="734" y="814"/>
                    </a:lnTo>
                    <a:lnTo>
                      <a:pt x="736" y="813"/>
                    </a:lnTo>
                    <a:lnTo>
                      <a:pt x="738" y="814"/>
                    </a:lnTo>
                    <a:lnTo>
                      <a:pt x="734" y="823"/>
                    </a:lnTo>
                    <a:lnTo>
                      <a:pt x="728" y="829"/>
                    </a:lnTo>
                    <a:lnTo>
                      <a:pt x="728" y="833"/>
                    </a:lnTo>
                    <a:lnTo>
                      <a:pt x="724" y="836"/>
                    </a:lnTo>
                    <a:lnTo>
                      <a:pt x="719" y="838"/>
                    </a:lnTo>
                    <a:lnTo>
                      <a:pt x="721" y="834"/>
                    </a:lnTo>
                    <a:lnTo>
                      <a:pt x="719" y="831"/>
                    </a:lnTo>
                    <a:lnTo>
                      <a:pt x="718" y="839"/>
                    </a:lnTo>
                    <a:lnTo>
                      <a:pt x="716" y="838"/>
                    </a:lnTo>
                    <a:lnTo>
                      <a:pt x="716" y="834"/>
                    </a:lnTo>
                    <a:lnTo>
                      <a:pt x="718" y="831"/>
                    </a:lnTo>
                    <a:lnTo>
                      <a:pt x="718" y="828"/>
                    </a:lnTo>
                    <a:lnTo>
                      <a:pt x="719" y="824"/>
                    </a:lnTo>
                    <a:lnTo>
                      <a:pt x="723" y="828"/>
                    </a:lnTo>
                    <a:lnTo>
                      <a:pt x="724" y="824"/>
                    </a:lnTo>
                    <a:lnTo>
                      <a:pt x="724" y="823"/>
                    </a:lnTo>
                    <a:lnTo>
                      <a:pt x="724" y="823"/>
                    </a:lnTo>
                    <a:close/>
                    <a:moveTo>
                      <a:pt x="721" y="784"/>
                    </a:moveTo>
                    <a:lnTo>
                      <a:pt x="726" y="784"/>
                    </a:lnTo>
                    <a:lnTo>
                      <a:pt x="724" y="788"/>
                    </a:lnTo>
                    <a:lnTo>
                      <a:pt x="721" y="784"/>
                    </a:lnTo>
                    <a:lnTo>
                      <a:pt x="721" y="784"/>
                    </a:lnTo>
                    <a:close/>
                    <a:moveTo>
                      <a:pt x="709" y="784"/>
                    </a:moveTo>
                    <a:lnTo>
                      <a:pt x="714" y="783"/>
                    </a:lnTo>
                    <a:lnTo>
                      <a:pt x="716" y="781"/>
                    </a:lnTo>
                    <a:lnTo>
                      <a:pt x="719" y="783"/>
                    </a:lnTo>
                    <a:lnTo>
                      <a:pt x="721" y="788"/>
                    </a:lnTo>
                    <a:lnTo>
                      <a:pt x="721" y="796"/>
                    </a:lnTo>
                    <a:lnTo>
                      <a:pt x="721" y="803"/>
                    </a:lnTo>
                    <a:lnTo>
                      <a:pt x="718" y="804"/>
                    </a:lnTo>
                    <a:lnTo>
                      <a:pt x="716" y="813"/>
                    </a:lnTo>
                    <a:lnTo>
                      <a:pt x="714" y="814"/>
                    </a:lnTo>
                    <a:lnTo>
                      <a:pt x="713" y="821"/>
                    </a:lnTo>
                    <a:lnTo>
                      <a:pt x="711" y="826"/>
                    </a:lnTo>
                    <a:lnTo>
                      <a:pt x="709" y="829"/>
                    </a:lnTo>
                    <a:lnTo>
                      <a:pt x="708" y="831"/>
                    </a:lnTo>
                    <a:lnTo>
                      <a:pt x="708" y="828"/>
                    </a:lnTo>
                    <a:lnTo>
                      <a:pt x="708" y="824"/>
                    </a:lnTo>
                    <a:lnTo>
                      <a:pt x="706" y="823"/>
                    </a:lnTo>
                    <a:lnTo>
                      <a:pt x="704" y="816"/>
                    </a:lnTo>
                    <a:lnTo>
                      <a:pt x="706" y="813"/>
                    </a:lnTo>
                    <a:lnTo>
                      <a:pt x="709" y="813"/>
                    </a:lnTo>
                    <a:lnTo>
                      <a:pt x="713" y="811"/>
                    </a:lnTo>
                    <a:lnTo>
                      <a:pt x="711" y="809"/>
                    </a:lnTo>
                    <a:lnTo>
                      <a:pt x="709" y="811"/>
                    </a:lnTo>
                    <a:lnTo>
                      <a:pt x="706" y="811"/>
                    </a:lnTo>
                    <a:lnTo>
                      <a:pt x="706" y="808"/>
                    </a:lnTo>
                    <a:lnTo>
                      <a:pt x="708" y="806"/>
                    </a:lnTo>
                    <a:lnTo>
                      <a:pt x="709" y="804"/>
                    </a:lnTo>
                    <a:lnTo>
                      <a:pt x="704" y="803"/>
                    </a:lnTo>
                    <a:lnTo>
                      <a:pt x="704" y="801"/>
                    </a:lnTo>
                    <a:lnTo>
                      <a:pt x="709" y="801"/>
                    </a:lnTo>
                    <a:lnTo>
                      <a:pt x="711" y="798"/>
                    </a:lnTo>
                    <a:lnTo>
                      <a:pt x="711" y="793"/>
                    </a:lnTo>
                    <a:lnTo>
                      <a:pt x="714" y="791"/>
                    </a:lnTo>
                    <a:lnTo>
                      <a:pt x="711" y="788"/>
                    </a:lnTo>
                    <a:lnTo>
                      <a:pt x="709" y="784"/>
                    </a:lnTo>
                    <a:lnTo>
                      <a:pt x="709" y="784"/>
                    </a:lnTo>
                    <a:close/>
                    <a:moveTo>
                      <a:pt x="701" y="786"/>
                    </a:moveTo>
                    <a:lnTo>
                      <a:pt x="704" y="784"/>
                    </a:lnTo>
                    <a:lnTo>
                      <a:pt x="706" y="786"/>
                    </a:lnTo>
                    <a:lnTo>
                      <a:pt x="704" y="789"/>
                    </a:lnTo>
                    <a:lnTo>
                      <a:pt x="704" y="794"/>
                    </a:lnTo>
                    <a:lnTo>
                      <a:pt x="699" y="796"/>
                    </a:lnTo>
                    <a:lnTo>
                      <a:pt x="699" y="793"/>
                    </a:lnTo>
                    <a:lnTo>
                      <a:pt x="701" y="791"/>
                    </a:lnTo>
                    <a:lnTo>
                      <a:pt x="701" y="789"/>
                    </a:lnTo>
                    <a:lnTo>
                      <a:pt x="701" y="786"/>
                    </a:lnTo>
                    <a:lnTo>
                      <a:pt x="701" y="786"/>
                    </a:lnTo>
                    <a:close/>
                    <a:moveTo>
                      <a:pt x="724" y="796"/>
                    </a:moveTo>
                    <a:lnTo>
                      <a:pt x="728" y="791"/>
                    </a:lnTo>
                    <a:lnTo>
                      <a:pt x="728" y="786"/>
                    </a:lnTo>
                    <a:lnTo>
                      <a:pt x="731" y="784"/>
                    </a:lnTo>
                    <a:lnTo>
                      <a:pt x="736" y="784"/>
                    </a:lnTo>
                    <a:lnTo>
                      <a:pt x="734" y="781"/>
                    </a:lnTo>
                    <a:lnTo>
                      <a:pt x="736" y="780"/>
                    </a:lnTo>
                    <a:lnTo>
                      <a:pt x="733" y="776"/>
                    </a:lnTo>
                    <a:lnTo>
                      <a:pt x="733" y="770"/>
                    </a:lnTo>
                    <a:lnTo>
                      <a:pt x="738" y="765"/>
                    </a:lnTo>
                    <a:lnTo>
                      <a:pt x="739" y="750"/>
                    </a:lnTo>
                    <a:lnTo>
                      <a:pt x="743" y="745"/>
                    </a:lnTo>
                    <a:lnTo>
                      <a:pt x="744" y="746"/>
                    </a:lnTo>
                    <a:lnTo>
                      <a:pt x="744" y="751"/>
                    </a:lnTo>
                    <a:lnTo>
                      <a:pt x="751" y="755"/>
                    </a:lnTo>
                    <a:lnTo>
                      <a:pt x="752" y="758"/>
                    </a:lnTo>
                    <a:lnTo>
                      <a:pt x="754" y="775"/>
                    </a:lnTo>
                    <a:lnTo>
                      <a:pt x="751" y="780"/>
                    </a:lnTo>
                    <a:lnTo>
                      <a:pt x="749" y="780"/>
                    </a:lnTo>
                    <a:lnTo>
                      <a:pt x="751" y="770"/>
                    </a:lnTo>
                    <a:lnTo>
                      <a:pt x="749" y="760"/>
                    </a:lnTo>
                    <a:lnTo>
                      <a:pt x="747" y="765"/>
                    </a:lnTo>
                    <a:lnTo>
                      <a:pt x="747" y="780"/>
                    </a:lnTo>
                    <a:lnTo>
                      <a:pt x="746" y="781"/>
                    </a:lnTo>
                    <a:lnTo>
                      <a:pt x="744" y="786"/>
                    </a:lnTo>
                    <a:lnTo>
                      <a:pt x="743" y="788"/>
                    </a:lnTo>
                    <a:lnTo>
                      <a:pt x="739" y="786"/>
                    </a:lnTo>
                    <a:lnTo>
                      <a:pt x="738" y="793"/>
                    </a:lnTo>
                    <a:lnTo>
                      <a:pt x="731" y="796"/>
                    </a:lnTo>
                    <a:lnTo>
                      <a:pt x="726" y="799"/>
                    </a:lnTo>
                    <a:lnTo>
                      <a:pt x="724" y="796"/>
                    </a:lnTo>
                    <a:lnTo>
                      <a:pt x="724" y="796"/>
                    </a:lnTo>
                    <a:close/>
                    <a:moveTo>
                      <a:pt x="713" y="746"/>
                    </a:moveTo>
                    <a:lnTo>
                      <a:pt x="719" y="745"/>
                    </a:lnTo>
                    <a:lnTo>
                      <a:pt x="724" y="748"/>
                    </a:lnTo>
                    <a:lnTo>
                      <a:pt x="724" y="751"/>
                    </a:lnTo>
                    <a:lnTo>
                      <a:pt x="721" y="753"/>
                    </a:lnTo>
                    <a:lnTo>
                      <a:pt x="723" y="756"/>
                    </a:lnTo>
                    <a:lnTo>
                      <a:pt x="724" y="755"/>
                    </a:lnTo>
                    <a:lnTo>
                      <a:pt x="729" y="753"/>
                    </a:lnTo>
                    <a:lnTo>
                      <a:pt x="734" y="756"/>
                    </a:lnTo>
                    <a:lnTo>
                      <a:pt x="734" y="760"/>
                    </a:lnTo>
                    <a:lnTo>
                      <a:pt x="729" y="761"/>
                    </a:lnTo>
                    <a:lnTo>
                      <a:pt x="731" y="763"/>
                    </a:lnTo>
                    <a:lnTo>
                      <a:pt x="728" y="766"/>
                    </a:lnTo>
                    <a:lnTo>
                      <a:pt x="724" y="765"/>
                    </a:lnTo>
                    <a:lnTo>
                      <a:pt x="721" y="760"/>
                    </a:lnTo>
                    <a:lnTo>
                      <a:pt x="716" y="755"/>
                    </a:lnTo>
                    <a:lnTo>
                      <a:pt x="716" y="756"/>
                    </a:lnTo>
                    <a:lnTo>
                      <a:pt x="721" y="765"/>
                    </a:lnTo>
                    <a:lnTo>
                      <a:pt x="721" y="768"/>
                    </a:lnTo>
                    <a:lnTo>
                      <a:pt x="726" y="770"/>
                    </a:lnTo>
                    <a:lnTo>
                      <a:pt x="729" y="773"/>
                    </a:lnTo>
                    <a:lnTo>
                      <a:pt x="726" y="775"/>
                    </a:lnTo>
                    <a:lnTo>
                      <a:pt x="726" y="781"/>
                    </a:lnTo>
                    <a:lnTo>
                      <a:pt x="723" y="781"/>
                    </a:lnTo>
                    <a:lnTo>
                      <a:pt x="718" y="776"/>
                    </a:lnTo>
                    <a:lnTo>
                      <a:pt x="718" y="773"/>
                    </a:lnTo>
                    <a:lnTo>
                      <a:pt x="713" y="763"/>
                    </a:lnTo>
                    <a:lnTo>
                      <a:pt x="711" y="768"/>
                    </a:lnTo>
                    <a:lnTo>
                      <a:pt x="714" y="773"/>
                    </a:lnTo>
                    <a:lnTo>
                      <a:pt x="714" y="778"/>
                    </a:lnTo>
                    <a:lnTo>
                      <a:pt x="711" y="781"/>
                    </a:lnTo>
                    <a:lnTo>
                      <a:pt x="708" y="781"/>
                    </a:lnTo>
                    <a:lnTo>
                      <a:pt x="703" y="776"/>
                    </a:lnTo>
                    <a:lnTo>
                      <a:pt x="706" y="773"/>
                    </a:lnTo>
                    <a:lnTo>
                      <a:pt x="703" y="771"/>
                    </a:lnTo>
                    <a:lnTo>
                      <a:pt x="704" y="766"/>
                    </a:lnTo>
                    <a:lnTo>
                      <a:pt x="701" y="761"/>
                    </a:lnTo>
                    <a:lnTo>
                      <a:pt x="704" y="758"/>
                    </a:lnTo>
                    <a:lnTo>
                      <a:pt x="706" y="760"/>
                    </a:lnTo>
                    <a:lnTo>
                      <a:pt x="708" y="756"/>
                    </a:lnTo>
                    <a:lnTo>
                      <a:pt x="706" y="755"/>
                    </a:lnTo>
                    <a:lnTo>
                      <a:pt x="704" y="750"/>
                    </a:lnTo>
                    <a:lnTo>
                      <a:pt x="708" y="745"/>
                    </a:lnTo>
                    <a:lnTo>
                      <a:pt x="709" y="750"/>
                    </a:lnTo>
                    <a:lnTo>
                      <a:pt x="711" y="748"/>
                    </a:lnTo>
                    <a:lnTo>
                      <a:pt x="713" y="746"/>
                    </a:lnTo>
                    <a:lnTo>
                      <a:pt x="713" y="746"/>
                    </a:lnTo>
                    <a:close/>
                    <a:moveTo>
                      <a:pt x="713" y="741"/>
                    </a:moveTo>
                    <a:lnTo>
                      <a:pt x="718" y="738"/>
                    </a:lnTo>
                    <a:lnTo>
                      <a:pt x="719" y="741"/>
                    </a:lnTo>
                    <a:lnTo>
                      <a:pt x="716" y="743"/>
                    </a:lnTo>
                    <a:lnTo>
                      <a:pt x="713" y="741"/>
                    </a:lnTo>
                    <a:lnTo>
                      <a:pt x="713" y="741"/>
                    </a:lnTo>
                    <a:close/>
                    <a:moveTo>
                      <a:pt x="239" y="401"/>
                    </a:moveTo>
                    <a:lnTo>
                      <a:pt x="238" y="406"/>
                    </a:lnTo>
                    <a:lnTo>
                      <a:pt x="236" y="414"/>
                    </a:lnTo>
                    <a:lnTo>
                      <a:pt x="233" y="412"/>
                    </a:lnTo>
                    <a:lnTo>
                      <a:pt x="233" y="411"/>
                    </a:lnTo>
                    <a:lnTo>
                      <a:pt x="229" y="407"/>
                    </a:lnTo>
                    <a:lnTo>
                      <a:pt x="224" y="409"/>
                    </a:lnTo>
                    <a:lnTo>
                      <a:pt x="219" y="407"/>
                    </a:lnTo>
                    <a:lnTo>
                      <a:pt x="219" y="404"/>
                    </a:lnTo>
                    <a:lnTo>
                      <a:pt x="233" y="392"/>
                    </a:lnTo>
                    <a:lnTo>
                      <a:pt x="238" y="389"/>
                    </a:lnTo>
                    <a:lnTo>
                      <a:pt x="239" y="391"/>
                    </a:lnTo>
                    <a:lnTo>
                      <a:pt x="239" y="401"/>
                    </a:lnTo>
                    <a:lnTo>
                      <a:pt x="239" y="401"/>
                    </a:lnTo>
                    <a:close/>
                    <a:moveTo>
                      <a:pt x="244" y="401"/>
                    </a:moveTo>
                    <a:lnTo>
                      <a:pt x="244" y="401"/>
                    </a:lnTo>
                    <a:lnTo>
                      <a:pt x="246" y="397"/>
                    </a:lnTo>
                    <a:lnTo>
                      <a:pt x="246" y="396"/>
                    </a:lnTo>
                    <a:lnTo>
                      <a:pt x="244" y="392"/>
                    </a:lnTo>
                    <a:lnTo>
                      <a:pt x="244" y="389"/>
                    </a:lnTo>
                    <a:lnTo>
                      <a:pt x="241" y="386"/>
                    </a:lnTo>
                    <a:lnTo>
                      <a:pt x="244" y="384"/>
                    </a:lnTo>
                    <a:lnTo>
                      <a:pt x="252" y="383"/>
                    </a:lnTo>
                    <a:lnTo>
                      <a:pt x="261" y="387"/>
                    </a:lnTo>
                    <a:lnTo>
                      <a:pt x="262" y="391"/>
                    </a:lnTo>
                    <a:lnTo>
                      <a:pt x="257" y="392"/>
                    </a:lnTo>
                    <a:lnTo>
                      <a:pt x="248" y="401"/>
                    </a:lnTo>
                    <a:lnTo>
                      <a:pt x="244" y="401"/>
                    </a:lnTo>
                    <a:lnTo>
                      <a:pt x="244" y="401"/>
                    </a:lnTo>
                    <a:close/>
                    <a:moveTo>
                      <a:pt x="291" y="373"/>
                    </a:moveTo>
                    <a:lnTo>
                      <a:pt x="292" y="371"/>
                    </a:lnTo>
                    <a:lnTo>
                      <a:pt x="297" y="371"/>
                    </a:lnTo>
                    <a:lnTo>
                      <a:pt x="301" y="374"/>
                    </a:lnTo>
                    <a:lnTo>
                      <a:pt x="299" y="378"/>
                    </a:lnTo>
                    <a:lnTo>
                      <a:pt x="296" y="378"/>
                    </a:lnTo>
                    <a:lnTo>
                      <a:pt x="291" y="373"/>
                    </a:lnTo>
                    <a:lnTo>
                      <a:pt x="291" y="373"/>
                    </a:lnTo>
                    <a:close/>
                    <a:moveTo>
                      <a:pt x="537" y="583"/>
                    </a:moveTo>
                    <a:lnTo>
                      <a:pt x="540" y="582"/>
                    </a:lnTo>
                    <a:lnTo>
                      <a:pt x="543" y="582"/>
                    </a:lnTo>
                    <a:lnTo>
                      <a:pt x="542" y="585"/>
                    </a:lnTo>
                    <a:lnTo>
                      <a:pt x="537" y="583"/>
                    </a:lnTo>
                    <a:lnTo>
                      <a:pt x="537" y="583"/>
                    </a:lnTo>
                    <a:close/>
                    <a:moveTo>
                      <a:pt x="513" y="648"/>
                    </a:moveTo>
                    <a:lnTo>
                      <a:pt x="518" y="647"/>
                    </a:lnTo>
                    <a:lnTo>
                      <a:pt x="522" y="648"/>
                    </a:lnTo>
                    <a:lnTo>
                      <a:pt x="513" y="648"/>
                    </a:lnTo>
                    <a:lnTo>
                      <a:pt x="513" y="648"/>
                    </a:lnTo>
                    <a:close/>
                    <a:moveTo>
                      <a:pt x="566" y="637"/>
                    </a:moveTo>
                    <a:lnTo>
                      <a:pt x="573" y="635"/>
                    </a:lnTo>
                    <a:lnTo>
                      <a:pt x="576" y="635"/>
                    </a:lnTo>
                    <a:lnTo>
                      <a:pt x="571" y="640"/>
                    </a:lnTo>
                    <a:lnTo>
                      <a:pt x="566" y="642"/>
                    </a:lnTo>
                    <a:lnTo>
                      <a:pt x="566" y="637"/>
                    </a:lnTo>
                    <a:lnTo>
                      <a:pt x="566" y="637"/>
                    </a:lnTo>
                    <a:close/>
                    <a:moveTo>
                      <a:pt x="528" y="592"/>
                    </a:moveTo>
                    <a:lnTo>
                      <a:pt x="528" y="590"/>
                    </a:lnTo>
                    <a:lnTo>
                      <a:pt x="532" y="590"/>
                    </a:lnTo>
                    <a:lnTo>
                      <a:pt x="533" y="593"/>
                    </a:lnTo>
                    <a:lnTo>
                      <a:pt x="528" y="592"/>
                    </a:lnTo>
                    <a:lnTo>
                      <a:pt x="528" y="592"/>
                    </a:lnTo>
                    <a:close/>
                    <a:moveTo>
                      <a:pt x="535" y="610"/>
                    </a:moveTo>
                    <a:lnTo>
                      <a:pt x="535" y="603"/>
                    </a:lnTo>
                    <a:lnTo>
                      <a:pt x="538" y="602"/>
                    </a:lnTo>
                    <a:lnTo>
                      <a:pt x="540" y="602"/>
                    </a:lnTo>
                    <a:lnTo>
                      <a:pt x="542" y="607"/>
                    </a:lnTo>
                    <a:lnTo>
                      <a:pt x="543" y="607"/>
                    </a:lnTo>
                    <a:lnTo>
                      <a:pt x="545" y="608"/>
                    </a:lnTo>
                    <a:lnTo>
                      <a:pt x="542" y="612"/>
                    </a:lnTo>
                    <a:lnTo>
                      <a:pt x="535" y="610"/>
                    </a:lnTo>
                    <a:lnTo>
                      <a:pt x="535" y="610"/>
                    </a:lnTo>
                    <a:close/>
                    <a:moveTo>
                      <a:pt x="495" y="628"/>
                    </a:moveTo>
                    <a:lnTo>
                      <a:pt x="500" y="627"/>
                    </a:lnTo>
                    <a:lnTo>
                      <a:pt x="502" y="625"/>
                    </a:lnTo>
                    <a:lnTo>
                      <a:pt x="502" y="623"/>
                    </a:lnTo>
                    <a:lnTo>
                      <a:pt x="510" y="617"/>
                    </a:lnTo>
                    <a:lnTo>
                      <a:pt x="515" y="615"/>
                    </a:lnTo>
                    <a:lnTo>
                      <a:pt x="520" y="610"/>
                    </a:lnTo>
                    <a:lnTo>
                      <a:pt x="522" y="610"/>
                    </a:lnTo>
                    <a:lnTo>
                      <a:pt x="527" y="605"/>
                    </a:lnTo>
                    <a:lnTo>
                      <a:pt x="528" y="607"/>
                    </a:lnTo>
                    <a:lnTo>
                      <a:pt x="527" y="610"/>
                    </a:lnTo>
                    <a:lnTo>
                      <a:pt x="528" y="612"/>
                    </a:lnTo>
                    <a:lnTo>
                      <a:pt x="527" y="613"/>
                    </a:lnTo>
                    <a:lnTo>
                      <a:pt x="520" y="615"/>
                    </a:lnTo>
                    <a:lnTo>
                      <a:pt x="513" y="623"/>
                    </a:lnTo>
                    <a:lnTo>
                      <a:pt x="508" y="623"/>
                    </a:lnTo>
                    <a:lnTo>
                      <a:pt x="510" y="627"/>
                    </a:lnTo>
                    <a:lnTo>
                      <a:pt x="508" y="628"/>
                    </a:lnTo>
                    <a:lnTo>
                      <a:pt x="503" y="628"/>
                    </a:lnTo>
                    <a:lnTo>
                      <a:pt x="500" y="630"/>
                    </a:lnTo>
                    <a:lnTo>
                      <a:pt x="495" y="630"/>
                    </a:lnTo>
                    <a:lnTo>
                      <a:pt x="495" y="628"/>
                    </a:lnTo>
                    <a:lnTo>
                      <a:pt x="495" y="628"/>
                    </a:lnTo>
                    <a:close/>
                    <a:moveTo>
                      <a:pt x="495" y="620"/>
                    </a:moveTo>
                    <a:lnTo>
                      <a:pt x="502" y="615"/>
                    </a:lnTo>
                    <a:lnTo>
                      <a:pt x="502" y="618"/>
                    </a:lnTo>
                    <a:lnTo>
                      <a:pt x="497" y="620"/>
                    </a:lnTo>
                    <a:lnTo>
                      <a:pt x="497" y="620"/>
                    </a:lnTo>
                    <a:lnTo>
                      <a:pt x="495" y="620"/>
                    </a:lnTo>
                    <a:lnTo>
                      <a:pt x="495" y="620"/>
                    </a:lnTo>
                    <a:close/>
                    <a:moveTo>
                      <a:pt x="507" y="608"/>
                    </a:moveTo>
                    <a:lnTo>
                      <a:pt x="513" y="603"/>
                    </a:lnTo>
                    <a:lnTo>
                      <a:pt x="513" y="600"/>
                    </a:lnTo>
                    <a:lnTo>
                      <a:pt x="517" y="597"/>
                    </a:lnTo>
                    <a:lnTo>
                      <a:pt x="520" y="597"/>
                    </a:lnTo>
                    <a:lnTo>
                      <a:pt x="522" y="598"/>
                    </a:lnTo>
                    <a:lnTo>
                      <a:pt x="518" y="602"/>
                    </a:lnTo>
                    <a:lnTo>
                      <a:pt x="515" y="605"/>
                    </a:lnTo>
                    <a:lnTo>
                      <a:pt x="512" y="608"/>
                    </a:lnTo>
                    <a:lnTo>
                      <a:pt x="510" y="612"/>
                    </a:lnTo>
                    <a:lnTo>
                      <a:pt x="508" y="612"/>
                    </a:lnTo>
                    <a:lnTo>
                      <a:pt x="507" y="608"/>
                    </a:lnTo>
                    <a:lnTo>
                      <a:pt x="507" y="608"/>
                    </a:lnTo>
                    <a:close/>
                    <a:moveTo>
                      <a:pt x="513" y="580"/>
                    </a:moveTo>
                    <a:lnTo>
                      <a:pt x="517" y="577"/>
                    </a:lnTo>
                    <a:lnTo>
                      <a:pt x="520" y="579"/>
                    </a:lnTo>
                    <a:lnTo>
                      <a:pt x="518" y="582"/>
                    </a:lnTo>
                    <a:lnTo>
                      <a:pt x="520" y="583"/>
                    </a:lnTo>
                    <a:lnTo>
                      <a:pt x="518" y="585"/>
                    </a:lnTo>
                    <a:lnTo>
                      <a:pt x="513" y="580"/>
                    </a:lnTo>
                    <a:lnTo>
                      <a:pt x="513" y="580"/>
                    </a:lnTo>
                    <a:close/>
                    <a:moveTo>
                      <a:pt x="417" y="583"/>
                    </a:moveTo>
                    <a:lnTo>
                      <a:pt x="424" y="577"/>
                    </a:lnTo>
                    <a:lnTo>
                      <a:pt x="427" y="577"/>
                    </a:lnTo>
                    <a:lnTo>
                      <a:pt x="429" y="580"/>
                    </a:lnTo>
                    <a:lnTo>
                      <a:pt x="422" y="583"/>
                    </a:lnTo>
                    <a:lnTo>
                      <a:pt x="417" y="583"/>
                    </a:lnTo>
                    <a:lnTo>
                      <a:pt x="417" y="583"/>
                    </a:lnTo>
                    <a:close/>
                    <a:moveTo>
                      <a:pt x="367" y="615"/>
                    </a:moveTo>
                    <a:lnTo>
                      <a:pt x="370" y="613"/>
                    </a:lnTo>
                    <a:lnTo>
                      <a:pt x="374" y="615"/>
                    </a:lnTo>
                    <a:lnTo>
                      <a:pt x="370" y="617"/>
                    </a:lnTo>
                    <a:lnTo>
                      <a:pt x="367" y="615"/>
                    </a:lnTo>
                    <a:lnTo>
                      <a:pt x="367" y="615"/>
                    </a:lnTo>
                    <a:close/>
                    <a:moveTo>
                      <a:pt x="367" y="652"/>
                    </a:moveTo>
                    <a:lnTo>
                      <a:pt x="369" y="652"/>
                    </a:lnTo>
                    <a:lnTo>
                      <a:pt x="372" y="652"/>
                    </a:lnTo>
                    <a:lnTo>
                      <a:pt x="372" y="655"/>
                    </a:lnTo>
                    <a:lnTo>
                      <a:pt x="369" y="658"/>
                    </a:lnTo>
                    <a:lnTo>
                      <a:pt x="365" y="655"/>
                    </a:lnTo>
                    <a:lnTo>
                      <a:pt x="367" y="652"/>
                    </a:lnTo>
                    <a:lnTo>
                      <a:pt x="367" y="652"/>
                    </a:lnTo>
                    <a:close/>
                    <a:moveTo>
                      <a:pt x="347" y="673"/>
                    </a:moveTo>
                    <a:lnTo>
                      <a:pt x="346" y="672"/>
                    </a:lnTo>
                    <a:lnTo>
                      <a:pt x="349" y="670"/>
                    </a:lnTo>
                    <a:lnTo>
                      <a:pt x="350" y="670"/>
                    </a:lnTo>
                    <a:lnTo>
                      <a:pt x="354" y="668"/>
                    </a:lnTo>
                    <a:lnTo>
                      <a:pt x="355" y="670"/>
                    </a:lnTo>
                    <a:lnTo>
                      <a:pt x="359" y="667"/>
                    </a:lnTo>
                    <a:lnTo>
                      <a:pt x="357" y="663"/>
                    </a:lnTo>
                    <a:lnTo>
                      <a:pt x="359" y="662"/>
                    </a:lnTo>
                    <a:lnTo>
                      <a:pt x="364" y="660"/>
                    </a:lnTo>
                    <a:lnTo>
                      <a:pt x="365" y="662"/>
                    </a:lnTo>
                    <a:lnTo>
                      <a:pt x="365" y="665"/>
                    </a:lnTo>
                    <a:lnTo>
                      <a:pt x="367" y="665"/>
                    </a:lnTo>
                    <a:lnTo>
                      <a:pt x="369" y="663"/>
                    </a:lnTo>
                    <a:lnTo>
                      <a:pt x="372" y="662"/>
                    </a:lnTo>
                    <a:lnTo>
                      <a:pt x="374" y="665"/>
                    </a:lnTo>
                    <a:lnTo>
                      <a:pt x="370" y="668"/>
                    </a:lnTo>
                    <a:lnTo>
                      <a:pt x="369" y="672"/>
                    </a:lnTo>
                    <a:lnTo>
                      <a:pt x="372" y="672"/>
                    </a:lnTo>
                    <a:lnTo>
                      <a:pt x="374" y="675"/>
                    </a:lnTo>
                    <a:lnTo>
                      <a:pt x="370" y="675"/>
                    </a:lnTo>
                    <a:lnTo>
                      <a:pt x="367" y="673"/>
                    </a:lnTo>
                    <a:lnTo>
                      <a:pt x="364" y="677"/>
                    </a:lnTo>
                    <a:lnTo>
                      <a:pt x="362" y="677"/>
                    </a:lnTo>
                    <a:lnTo>
                      <a:pt x="360" y="675"/>
                    </a:lnTo>
                    <a:lnTo>
                      <a:pt x="355" y="678"/>
                    </a:lnTo>
                    <a:lnTo>
                      <a:pt x="352" y="678"/>
                    </a:lnTo>
                    <a:lnTo>
                      <a:pt x="347" y="673"/>
                    </a:lnTo>
                    <a:lnTo>
                      <a:pt x="347" y="673"/>
                    </a:lnTo>
                    <a:close/>
                    <a:moveTo>
                      <a:pt x="296" y="718"/>
                    </a:moveTo>
                    <a:lnTo>
                      <a:pt x="296" y="721"/>
                    </a:lnTo>
                    <a:lnTo>
                      <a:pt x="292" y="721"/>
                    </a:lnTo>
                    <a:lnTo>
                      <a:pt x="289" y="720"/>
                    </a:lnTo>
                    <a:lnTo>
                      <a:pt x="289" y="716"/>
                    </a:lnTo>
                    <a:lnTo>
                      <a:pt x="291" y="713"/>
                    </a:lnTo>
                    <a:lnTo>
                      <a:pt x="292" y="708"/>
                    </a:lnTo>
                    <a:lnTo>
                      <a:pt x="292" y="703"/>
                    </a:lnTo>
                    <a:lnTo>
                      <a:pt x="291" y="701"/>
                    </a:lnTo>
                    <a:lnTo>
                      <a:pt x="292" y="698"/>
                    </a:lnTo>
                    <a:lnTo>
                      <a:pt x="297" y="695"/>
                    </a:lnTo>
                    <a:lnTo>
                      <a:pt x="309" y="690"/>
                    </a:lnTo>
                    <a:lnTo>
                      <a:pt x="316" y="688"/>
                    </a:lnTo>
                    <a:lnTo>
                      <a:pt x="317" y="690"/>
                    </a:lnTo>
                    <a:lnTo>
                      <a:pt x="317" y="698"/>
                    </a:lnTo>
                    <a:lnTo>
                      <a:pt x="319" y="700"/>
                    </a:lnTo>
                    <a:lnTo>
                      <a:pt x="322" y="695"/>
                    </a:lnTo>
                    <a:lnTo>
                      <a:pt x="321" y="690"/>
                    </a:lnTo>
                    <a:lnTo>
                      <a:pt x="322" y="690"/>
                    </a:lnTo>
                    <a:lnTo>
                      <a:pt x="326" y="691"/>
                    </a:lnTo>
                    <a:lnTo>
                      <a:pt x="327" y="688"/>
                    </a:lnTo>
                    <a:lnTo>
                      <a:pt x="322" y="685"/>
                    </a:lnTo>
                    <a:lnTo>
                      <a:pt x="322" y="683"/>
                    </a:lnTo>
                    <a:lnTo>
                      <a:pt x="326" y="680"/>
                    </a:lnTo>
                    <a:lnTo>
                      <a:pt x="329" y="678"/>
                    </a:lnTo>
                    <a:lnTo>
                      <a:pt x="332" y="681"/>
                    </a:lnTo>
                    <a:lnTo>
                      <a:pt x="332" y="685"/>
                    </a:lnTo>
                    <a:lnTo>
                      <a:pt x="331" y="688"/>
                    </a:lnTo>
                    <a:lnTo>
                      <a:pt x="331" y="690"/>
                    </a:lnTo>
                    <a:lnTo>
                      <a:pt x="334" y="690"/>
                    </a:lnTo>
                    <a:lnTo>
                      <a:pt x="336" y="686"/>
                    </a:lnTo>
                    <a:lnTo>
                      <a:pt x="337" y="685"/>
                    </a:lnTo>
                    <a:lnTo>
                      <a:pt x="341" y="686"/>
                    </a:lnTo>
                    <a:lnTo>
                      <a:pt x="341" y="683"/>
                    </a:lnTo>
                    <a:lnTo>
                      <a:pt x="339" y="680"/>
                    </a:lnTo>
                    <a:lnTo>
                      <a:pt x="342" y="678"/>
                    </a:lnTo>
                    <a:lnTo>
                      <a:pt x="346" y="681"/>
                    </a:lnTo>
                    <a:lnTo>
                      <a:pt x="346" y="685"/>
                    </a:lnTo>
                    <a:lnTo>
                      <a:pt x="344" y="686"/>
                    </a:lnTo>
                    <a:lnTo>
                      <a:pt x="344" y="688"/>
                    </a:lnTo>
                    <a:lnTo>
                      <a:pt x="347" y="688"/>
                    </a:lnTo>
                    <a:lnTo>
                      <a:pt x="350" y="683"/>
                    </a:lnTo>
                    <a:lnTo>
                      <a:pt x="355" y="683"/>
                    </a:lnTo>
                    <a:lnTo>
                      <a:pt x="359" y="683"/>
                    </a:lnTo>
                    <a:lnTo>
                      <a:pt x="360" y="688"/>
                    </a:lnTo>
                    <a:lnTo>
                      <a:pt x="355" y="690"/>
                    </a:lnTo>
                    <a:lnTo>
                      <a:pt x="352" y="690"/>
                    </a:lnTo>
                    <a:lnTo>
                      <a:pt x="352" y="691"/>
                    </a:lnTo>
                    <a:lnTo>
                      <a:pt x="354" y="693"/>
                    </a:lnTo>
                    <a:lnTo>
                      <a:pt x="355" y="696"/>
                    </a:lnTo>
                    <a:lnTo>
                      <a:pt x="352" y="701"/>
                    </a:lnTo>
                    <a:lnTo>
                      <a:pt x="349" y="700"/>
                    </a:lnTo>
                    <a:lnTo>
                      <a:pt x="347" y="698"/>
                    </a:lnTo>
                    <a:lnTo>
                      <a:pt x="344" y="700"/>
                    </a:lnTo>
                    <a:lnTo>
                      <a:pt x="341" y="698"/>
                    </a:lnTo>
                    <a:lnTo>
                      <a:pt x="337" y="698"/>
                    </a:lnTo>
                    <a:lnTo>
                      <a:pt x="336" y="700"/>
                    </a:lnTo>
                    <a:lnTo>
                      <a:pt x="341" y="701"/>
                    </a:lnTo>
                    <a:lnTo>
                      <a:pt x="342" y="706"/>
                    </a:lnTo>
                    <a:lnTo>
                      <a:pt x="339" y="710"/>
                    </a:lnTo>
                    <a:lnTo>
                      <a:pt x="336" y="710"/>
                    </a:lnTo>
                    <a:lnTo>
                      <a:pt x="332" y="705"/>
                    </a:lnTo>
                    <a:lnTo>
                      <a:pt x="327" y="705"/>
                    </a:lnTo>
                    <a:lnTo>
                      <a:pt x="322" y="706"/>
                    </a:lnTo>
                    <a:lnTo>
                      <a:pt x="327" y="708"/>
                    </a:lnTo>
                    <a:lnTo>
                      <a:pt x="329" y="710"/>
                    </a:lnTo>
                    <a:lnTo>
                      <a:pt x="327" y="713"/>
                    </a:lnTo>
                    <a:lnTo>
                      <a:pt x="322" y="711"/>
                    </a:lnTo>
                    <a:lnTo>
                      <a:pt x="319" y="713"/>
                    </a:lnTo>
                    <a:lnTo>
                      <a:pt x="316" y="711"/>
                    </a:lnTo>
                    <a:lnTo>
                      <a:pt x="314" y="716"/>
                    </a:lnTo>
                    <a:lnTo>
                      <a:pt x="311" y="716"/>
                    </a:lnTo>
                    <a:lnTo>
                      <a:pt x="309" y="718"/>
                    </a:lnTo>
                    <a:lnTo>
                      <a:pt x="311" y="721"/>
                    </a:lnTo>
                    <a:lnTo>
                      <a:pt x="304" y="723"/>
                    </a:lnTo>
                    <a:lnTo>
                      <a:pt x="304" y="726"/>
                    </a:lnTo>
                    <a:lnTo>
                      <a:pt x="301" y="728"/>
                    </a:lnTo>
                    <a:lnTo>
                      <a:pt x="299" y="731"/>
                    </a:lnTo>
                    <a:lnTo>
                      <a:pt x="294" y="730"/>
                    </a:lnTo>
                    <a:lnTo>
                      <a:pt x="296" y="728"/>
                    </a:lnTo>
                    <a:lnTo>
                      <a:pt x="304" y="721"/>
                    </a:lnTo>
                    <a:lnTo>
                      <a:pt x="304" y="720"/>
                    </a:lnTo>
                    <a:lnTo>
                      <a:pt x="307" y="716"/>
                    </a:lnTo>
                    <a:lnTo>
                      <a:pt x="304" y="716"/>
                    </a:lnTo>
                    <a:lnTo>
                      <a:pt x="301" y="718"/>
                    </a:lnTo>
                    <a:lnTo>
                      <a:pt x="299" y="716"/>
                    </a:lnTo>
                    <a:lnTo>
                      <a:pt x="301" y="715"/>
                    </a:lnTo>
                    <a:lnTo>
                      <a:pt x="296" y="715"/>
                    </a:lnTo>
                    <a:lnTo>
                      <a:pt x="292" y="716"/>
                    </a:lnTo>
                    <a:lnTo>
                      <a:pt x="296" y="716"/>
                    </a:lnTo>
                    <a:lnTo>
                      <a:pt x="296" y="718"/>
                    </a:lnTo>
                    <a:lnTo>
                      <a:pt x="296" y="718"/>
                    </a:lnTo>
                    <a:close/>
                    <a:moveTo>
                      <a:pt x="287" y="736"/>
                    </a:moveTo>
                    <a:lnTo>
                      <a:pt x="291" y="735"/>
                    </a:lnTo>
                    <a:lnTo>
                      <a:pt x="289" y="738"/>
                    </a:lnTo>
                    <a:lnTo>
                      <a:pt x="287" y="736"/>
                    </a:lnTo>
                    <a:lnTo>
                      <a:pt x="287" y="736"/>
                    </a:lnTo>
                    <a:close/>
                    <a:moveTo>
                      <a:pt x="272" y="741"/>
                    </a:moveTo>
                    <a:lnTo>
                      <a:pt x="277" y="735"/>
                    </a:lnTo>
                    <a:lnTo>
                      <a:pt x="287" y="731"/>
                    </a:lnTo>
                    <a:lnTo>
                      <a:pt x="277" y="740"/>
                    </a:lnTo>
                    <a:lnTo>
                      <a:pt x="272" y="741"/>
                    </a:lnTo>
                    <a:lnTo>
                      <a:pt x="272" y="741"/>
                    </a:lnTo>
                    <a:close/>
                    <a:moveTo>
                      <a:pt x="241" y="765"/>
                    </a:moveTo>
                    <a:lnTo>
                      <a:pt x="238" y="765"/>
                    </a:lnTo>
                    <a:lnTo>
                      <a:pt x="239" y="763"/>
                    </a:lnTo>
                    <a:lnTo>
                      <a:pt x="244" y="761"/>
                    </a:lnTo>
                    <a:lnTo>
                      <a:pt x="243" y="765"/>
                    </a:lnTo>
                    <a:lnTo>
                      <a:pt x="241" y="765"/>
                    </a:lnTo>
                    <a:lnTo>
                      <a:pt x="241" y="765"/>
                    </a:lnTo>
                    <a:close/>
                    <a:moveTo>
                      <a:pt x="223" y="726"/>
                    </a:moveTo>
                    <a:lnTo>
                      <a:pt x="228" y="726"/>
                    </a:lnTo>
                    <a:lnTo>
                      <a:pt x="229" y="728"/>
                    </a:lnTo>
                    <a:lnTo>
                      <a:pt x="226" y="730"/>
                    </a:lnTo>
                    <a:lnTo>
                      <a:pt x="223" y="726"/>
                    </a:lnTo>
                    <a:lnTo>
                      <a:pt x="223" y="726"/>
                    </a:lnTo>
                    <a:close/>
                    <a:moveTo>
                      <a:pt x="128" y="765"/>
                    </a:moveTo>
                    <a:lnTo>
                      <a:pt x="128" y="765"/>
                    </a:lnTo>
                    <a:lnTo>
                      <a:pt x="130" y="763"/>
                    </a:lnTo>
                    <a:lnTo>
                      <a:pt x="131" y="766"/>
                    </a:lnTo>
                    <a:lnTo>
                      <a:pt x="128" y="765"/>
                    </a:lnTo>
                    <a:lnTo>
                      <a:pt x="128" y="765"/>
                    </a:lnTo>
                    <a:close/>
                    <a:moveTo>
                      <a:pt x="123" y="766"/>
                    </a:moveTo>
                    <a:lnTo>
                      <a:pt x="126" y="768"/>
                    </a:lnTo>
                    <a:lnTo>
                      <a:pt x="123" y="770"/>
                    </a:lnTo>
                    <a:lnTo>
                      <a:pt x="123" y="766"/>
                    </a:lnTo>
                    <a:lnTo>
                      <a:pt x="123" y="766"/>
                    </a:lnTo>
                    <a:close/>
                    <a:moveTo>
                      <a:pt x="145" y="783"/>
                    </a:moveTo>
                    <a:lnTo>
                      <a:pt x="145" y="786"/>
                    </a:lnTo>
                    <a:lnTo>
                      <a:pt x="143" y="788"/>
                    </a:lnTo>
                    <a:lnTo>
                      <a:pt x="141" y="784"/>
                    </a:lnTo>
                    <a:lnTo>
                      <a:pt x="145" y="783"/>
                    </a:lnTo>
                    <a:lnTo>
                      <a:pt x="145" y="783"/>
                    </a:lnTo>
                    <a:close/>
                    <a:moveTo>
                      <a:pt x="140" y="781"/>
                    </a:moveTo>
                    <a:lnTo>
                      <a:pt x="143" y="776"/>
                    </a:lnTo>
                    <a:lnTo>
                      <a:pt x="143" y="780"/>
                    </a:lnTo>
                    <a:lnTo>
                      <a:pt x="143" y="780"/>
                    </a:lnTo>
                    <a:lnTo>
                      <a:pt x="140" y="781"/>
                    </a:lnTo>
                    <a:lnTo>
                      <a:pt x="140" y="781"/>
                    </a:lnTo>
                    <a:close/>
                    <a:moveTo>
                      <a:pt x="120" y="786"/>
                    </a:moveTo>
                    <a:lnTo>
                      <a:pt x="123" y="781"/>
                    </a:lnTo>
                    <a:lnTo>
                      <a:pt x="128" y="776"/>
                    </a:lnTo>
                    <a:lnTo>
                      <a:pt x="128" y="775"/>
                    </a:lnTo>
                    <a:lnTo>
                      <a:pt x="135" y="775"/>
                    </a:lnTo>
                    <a:lnTo>
                      <a:pt x="131" y="778"/>
                    </a:lnTo>
                    <a:lnTo>
                      <a:pt x="130" y="780"/>
                    </a:lnTo>
                    <a:lnTo>
                      <a:pt x="123" y="783"/>
                    </a:lnTo>
                    <a:lnTo>
                      <a:pt x="120" y="786"/>
                    </a:lnTo>
                    <a:lnTo>
                      <a:pt x="120" y="786"/>
                    </a:lnTo>
                    <a:close/>
                    <a:moveTo>
                      <a:pt x="115" y="773"/>
                    </a:moveTo>
                    <a:lnTo>
                      <a:pt x="111" y="770"/>
                    </a:lnTo>
                    <a:lnTo>
                      <a:pt x="113" y="766"/>
                    </a:lnTo>
                    <a:lnTo>
                      <a:pt x="116" y="765"/>
                    </a:lnTo>
                    <a:lnTo>
                      <a:pt x="120" y="766"/>
                    </a:lnTo>
                    <a:lnTo>
                      <a:pt x="118" y="770"/>
                    </a:lnTo>
                    <a:lnTo>
                      <a:pt x="116" y="773"/>
                    </a:lnTo>
                    <a:lnTo>
                      <a:pt x="115" y="773"/>
                    </a:lnTo>
                    <a:lnTo>
                      <a:pt x="115" y="773"/>
                    </a:lnTo>
                    <a:close/>
                    <a:moveTo>
                      <a:pt x="90" y="770"/>
                    </a:moveTo>
                    <a:lnTo>
                      <a:pt x="93" y="770"/>
                    </a:lnTo>
                    <a:lnTo>
                      <a:pt x="95" y="773"/>
                    </a:lnTo>
                    <a:lnTo>
                      <a:pt x="91" y="775"/>
                    </a:lnTo>
                    <a:lnTo>
                      <a:pt x="90" y="770"/>
                    </a:lnTo>
                    <a:lnTo>
                      <a:pt x="90" y="770"/>
                    </a:lnTo>
                    <a:close/>
                    <a:moveTo>
                      <a:pt x="75" y="781"/>
                    </a:moveTo>
                    <a:lnTo>
                      <a:pt x="71" y="778"/>
                    </a:lnTo>
                    <a:lnTo>
                      <a:pt x="76" y="775"/>
                    </a:lnTo>
                    <a:lnTo>
                      <a:pt x="78" y="778"/>
                    </a:lnTo>
                    <a:lnTo>
                      <a:pt x="75" y="781"/>
                    </a:lnTo>
                    <a:lnTo>
                      <a:pt x="75" y="781"/>
                    </a:lnTo>
                    <a:close/>
                    <a:moveTo>
                      <a:pt x="56" y="791"/>
                    </a:moveTo>
                    <a:lnTo>
                      <a:pt x="61" y="796"/>
                    </a:lnTo>
                    <a:lnTo>
                      <a:pt x="58" y="798"/>
                    </a:lnTo>
                    <a:lnTo>
                      <a:pt x="55" y="794"/>
                    </a:lnTo>
                    <a:lnTo>
                      <a:pt x="56" y="791"/>
                    </a:lnTo>
                    <a:lnTo>
                      <a:pt x="56" y="791"/>
                    </a:lnTo>
                    <a:close/>
                    <a:moveTo>
                      <a:pt x="0" y="801"/>
                    </a:moveTo>
                    <a:lnTo>
                      <a:pt x="0" y="799"/>
                    </a:lnTo>
                    <a:lnTo>
                      <a:pt x="3" y="799"/>
                    </a:lnTo>
                    <a:lnTo>
                      <a:pt x="5" y="801"/>
                    </a:lnTo>
                    <a:lnTo>
                      <a:pt x="0" y="803"/>
                    </a:lnTo>
                    <a:lnTo>
                      <a:pt x="0" y="801"/>
                    </a:lnTo>
                    <a:lnTo>
                      <a:pt x="0" y="801"/>
                    </a:lnTo>
                    <a:close/>
                    <a:moveTo>
                      <a:pt x="204" y="617"/>
                    </a:moveTo>
                    <a:lnTo>
                      <a:pt x="203" y="615"/>
                    </a:lnTo>
                    <a:lnTo>
                      <a:pt x="208" y="613"/>
                    </a:lnTo>
                    <a:lnTo>
                      <a:pt x="206" y="615"/>
                    </a:lnTo>
                    <a:lnTo>
                      <a:pt x="204" y="617"/>
                    </a:lnTo>
                    <a:lnTo>
                      <a:pt x="204" y="617"/>
                    </a:lnTo>
                    <a:close/>
                    <a:moveTo>
                      <a:pt x="194" y="618"/>
                    </a:moveTo>
                    <a:lnTo>
                      <a:pt x="193" y="617"/>
                    </a:lnTo>
                    <a:lnTo>
                      <a:pt x="193" y="613"/>
                    </a:lnTo>
                    <a:lnTo>
                      <a:pt x="199" y="610"/>
                    </a:lnTo>
                    <a:lnTo>
                      <a:pt x="203" y="608"/>
                    </a:lnTo>
                    <a:lnTo>
                      <a:pt x="203" y="610"/>
                    </a:lnTo>
                    <a:lnTo>
                      <a:pt x="198" y="617"/>
                    </a:lnTo>
                    <a:lnTo>
                      <a:pt x="194" y="618"/>
                    </a:lnTo>
                    <a:lnTo>
                      <a:pt x="194" y="618"/>
                    </a:lnTo>
                    <a:close/>
                    <a:moveTo>
                      <a:pt x="10" y="784"/>
                    </a:moveTo>
                    <a:lnTo>
                      <a:pt x="10" y="780"/>
                    </a:lnTo>
                    <a:lnTo>
                      <a:pt x="13" y="778"/>
                    </a:lnTo>
                    <a:lnTo>
                      <a:pt x="15" y="780"/>
                    </a:lnTo>
                    <a:lnTo>
                      <a:pt x="20" y="776"/>
                    </a:lnTo>
                    <a:lnTo>
                      <a:pt x="22" y="775"/>
                    </a:lnTo>
                    <a:lnTo>
                      <a:pt x="25" y="768"/>
                    </a:lnTo>
                    <a:lnTo>
                      <a:pt x="27" y="768"/>
                    </a:lnTo>
                    <a:lnTo>
                      <a:pt x="32" y="771"/>
                    </a:lnTo>
                    <a:lnTo>
                      <a:pt x="33" y="770"/>
                    </a:lnTo>
                    <a:lnTo>
                      <a:pt x="38" y="770"/>
                    </a:lnTo>
                    <a:lnTo>
                      <a:pt x="42" y="768"/>
                    </a:lnTo>
                    <a:lnTo>
                      <a:pt x="43" y="766"/>
                    </a:lnTo>
                    <a:lnTo>
                      <a:pt x="50" y="768"/>
                    </a:lnTo>
                    <a:lnTo>
                      <a:pt x="53" y="771"/>
                    </a:lnTo>
                    <a:lnTo>
                      <a:pt x="50" y="775"/>
                    </a:lnTo>
                    <a:lnTo>
                      <a:pt x="56" y="781"/>
                    </a:lnTo>
                    <a:lnTo>
                      <a:pt x="56" y="783"/>
                    </a:lnTo>
                    <a:lnTo>
                      <a:pt x="50" y="781"/>
                    </a:lnTo>
                    <a:lnTo>
                      <a:pt x="47" y="784"/>
                    </a:lnTo>
                    <a:lnTo>
                      <a:pt x="40" y="784"/>
                    </a:lnTo>
                    <a:lnTo>
                      <a:pt x="35" y="784"/>
                    </a:lnTo>
                    <a:lnTo>
                      <a:pt x="27" y="784"/>
                    </a:lnTo>
                    <a:lnTo>
                      <a:pt x="20" y="789"/>
                    </a:lnTo>
                    <a:lnTo>
                      <a:pt x="18" y="788"/>
                    </a:lnTo>
                    <a:lnTo>
                      <a:pt x="15" y="789"/>
                    </a:lnTo>
                    <a:lnTo>
                      <a:pt x="10" y="788"/>
                    </a:lnTo>
                    <a:lnTo>
                      <a:pt x="10" y="78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7" name="Freeform 150"/>
              <p:cNvSpPr>
                <a:spLocks/>
              </p:cNvSpPr>
              <p:nvPr/>
            </p:nvSpPr>
            <p:spPr bwMode="auto">
              <a:xfrm>
                <a:off x="5376873" y="3043520"/>
                <a:ext cx="3210" cy="20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5" y="4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8" name="Freeform 151"/>
              <p:cNvSpPr>
                <a:spLocks/>
              </p:cNvSpPr>
              <p:nvPr/>
            </p:nvSpPr>
            <p:spPr bwMode="auto">
              <a:xfrm>
                <a:off x="5415402" y="3053896"/>
                <a:ext cx="28896" cy="103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4" y="2"/>
                  </a:cxn>
                  <a:cxn ang="0">
                    <a:pos x="22" y="0"/>
                  </a:cxn>
                  <a:cxn ang="0">
                    <a:pos x="40" y="0"/>
                  </a:cxn>
                  <a:cxn ang="0">
                    <a:pos x="45" y="7"/>
                  </a:cxn>
                  <a:cxn ang="0">
                    <a:pos x="52" y="9"/>
                  </a:cxn>
                  <a:cxn ang="0">
                    <a:pos x="55" y="12"/>
                  </a:cxn>
                  <a:cxn ang="0">
                    <a:pos x="55" y="14"/>
                  </a:cxn>
                  <a:cxn ang="0">
                    <a:pos x="47" y="14"/>
                  </a:cxn>
                  <a:cxn ang="0">
                    <a:pos x="44" y="14"/>
                  </a:cxn>
                  <a:cxn ang="0">
                    <a:pos x="42" y="17"/>
                  </a:cxn>
                  <a:cxn ang="0">
                    <a:pos x="39" y="17"/>
                  </a:cxn>
                  <a:cxn ang="0">
                    <a:pos x="37" y="15"/>
                  </a:cxn>
                  <a:cxn ang="0">
                    <a:pos x="34" y="15"/>
                  </a:cxn>
                  <a:cxn ang="0">
                    <a:pos x="34" y="20"/>
                  </a:cxn>
                  <a:cxn ang="0">
                    <a:pos x="27" y="20"/>
                  </a:cxn>
                  <a:cxn ang="0">
                    <a:pos x="24" y="17"/>
                  </a:cxn>
                  <a:cxn ang="0">
                    <a:pos x="17" y="17"/>
                  </a:cxn>
                  <a:cxn ang="0">
                    <a:pos x="14" y="15"/>
                  </a:cxn>
                  <a:cxn ang="0">
                    <a:pos x="12" y="9"/>
                  </a:cxn>
                  <a:cxn ang="0">
                    <a:pos x="9" y="7"/>
                  </a:cxn>
                  <a:cxn ang="0">
                    <a:pos x="5" y="9"/>
                  </a:cxn>
                  <a:cxn ang="0">
                    <a:pos x="0" y="5"/>
                  </a:cxn>
                  <a:cxn ang="0">
                    <a:pos x="4" y="2"/>
                  </a:cxn>
                  <a:cxn ang="0">
                    <a:pos x="7" y="0"/>
                  </a:cxn>
                </a:cxnLst>
                <a:rect l="0" t="0" r="r" b="b"/>
                <a:pathLst>
                  <a:path w="55" h="20">
                    <a:moveTo>
                      <a:pt x="7" y="0"/>
                    </a:moveTo>
                    <a:lnTo>
                      <a:pt x="14" y="2"/>
                    </a:lnTo>
                    <a:lnTo>
                      <a:pt x="22" y="0"/>
                    </a:lnTo>
                    <a:lnTo>
                      <a:pt x="40" y="0"/>
                    </a:lnTo>
                    <a:lnTo>
                      <a:pt x="45" y="7"/>
                    </a:lnTo>
                    <a:lnTo>
                      <a:pt x="52" y="9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47" y="14"/>
                    </a:lnTo>
                    <a:lnTo>
                      <a:pt x="44" y="14"/>
                    </a:lnTo>
                    <a:lnTo>
                      <a:pt x="42" y="17"/>
                    </a:lnTo>
                    <a:lnTo>
                      <a:pt x="39" y="17"/>
                    </a:lnTo>
                    <a:lnTo>
                      <a:pt x="37" y="15"/>
                    </a:lnTo>
                    <a:lnTo>
                      <a:pt x="34" y="15"/>
                    </a:lnTo>
                    <a:lnTo>
                      <a:pt x="34" y="20"/>
                    </a:lnTo>
                    <a:lnTo>
                      <a:pt x="27" y="20"/>
                    </a:lnTo>
                    <a:lnTo>
                      <a:pt x="24" y="17"/>
                    </a:lnTo>
                    <a:lnTo>
                      <a:pt x="17" y="17"/>
                    </a:lnTo>
                    <a:lnTo>
                      <a:pt x="14" y="15"/>
                    </a:lnTo>
                    <a:lnTo>
                      <a:pt x="12" y="9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0" y="5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9" name="Freeform 152"/>
              <p:cNvSpPr>
                <a:spLocks noEditPoints="1"/>
              </p:cNvSpPr>
              <p:nvPr/>
            </p:nvSpPr>
            <p:spPr bwMode="auto">
              <a:xfrm>
                <a:off x="5466774" y="3033144"/>
                <a:ext cx="36388" cy="26977"/>
              </a:xfrm>
              <a:custGeom>
                <a:avLst/>
                <a:gdLst/>
                <a:ahLst/>
                <a:cxnLst>
                  <a:cxn ang="0">
                    <a:pos x="56" y="47"/>
                  </a:cxn>
                  <a:cxn ang="0">
                    <a:pos x="63" y="39"/>
                  </a:cxn>
                  <a:cxn ang="0">
                    <a:pos x="61" y="30"/>
                  </a:cxn>
                  <a:cxn ang="0">
                    <a:pos x="66" y="27"/>
                  </a:cxn>
                  <a:cxn ang="0">
                    <a:pos x="65" y="19"/>
                  </a:cxn>
                  <a:cxn ang="0">
                    <a:pos x="66" y="12"/>
                  </a:cxn>
                  <a:cxn ang="0">
                    <a:pos x="63" y="12"/>
                  </a:cxn>
                  <a:cxn ang="0">
                    <a:pos x="55" y="9"/>
                  </a:cxn>
                  <a:cxn ang="0">
                    <a:pos x="41" y="9"/>
                  </a:cxn>
                  <a:cxn ang="0">
                    <a:pos x="28" y="7"/>
                  </a:cxn>
                  <a:cxn ang="0">
                    <a:pos x="26" y="10"/>
                  </a:cxn>
                  <a:cxn ang="0">
                    <a:pos x="45" y="17"/>
                  </a:cxn>
                  <a:cxn ang="0">
                    <a:pos x="45" y="22"/>
                  </a:cxn>
                  <a:cxn ang="0">
                    <a:pos x="45" y="32"/>
                  </a:cxn>
                  <a:cxn ang="0">
                    <a:pos x="55" y="37"/>
                  </a:cxn>
                  <a:cxn ang="0">
                    <a:pos x="43" y="39"/>
                  </a:cxn>
                  <a:cxn ang="0">
                    <a:pos x="38" y="39"/>
                  </a:cxn>
                  <a:cxn ang="0">
                    <a:pos x="26" y="39"/>
                  </a:cxn>
                  <a:cxn ang="0">
                    <a:pos x="20" y="39"/>
                  </a:cxn>
                  <a:cxn ang="0">
                    <a:pos x="11" y="39"/>
                  </a:cxn>
                  <a:cxn ang="0">
                    <a:pos x="1" y="39"/>
                  </a:cxn>
                  <a:cxn ang="0">
                    <a:pos x="1" y="44"/>
                  </a:cxn>
                  <a:cxn ang="0">
                    <a:pos x="13" y="50"/>
                  </a:cxn>
                  <a:cxn ang="0">
                    <a:pos x="16" y="49"/>
                  </a:cxn>
                  <a:cxn ang="0">
                    <a:pos x="30" y="45"/>
                  </a:cxn>
                  <a:cxn ang="0">
                    <a:pos x="48" y="49"/>
                  </a:cxn>
                  <a:cxn ang="0">
                    <a:pos x="53" y="49"/>
                  </a:cxn>
                  <a:cxn ang="0">
                    <a:pos x="58" y="49"/>
                  </a:cxn>
                  <a:cxn ang="0">
                    <a:pos x="43" y="0"/>
                  </a:cxn>
                  <a:cxn ang="0">
                    <a:pos x="43" y="5"/>
                  </a:cxn>
                  <a:cxn ang="0">
                    <a:pos x="38" y="2"/>
                  </a:cxn>
                  <a:cxn ang="0">
                    <a:pos x="33" y="29"/>
                  </a:cxn>
                  <a:cxn ang="0">
                    <a:pos x="40" y="34"/>
                  </a:cxn>
                  <a:cxn ang="0">
                    <a:pos x="30" y="30"/>
                  </a:cxn>
                </a:cxnLst>
                <a:rect l="0" t="0" r="r" b="b"/>
                <a:pathLst>
                  <a:path w="68" h="52">
                    <a:moveTo>
                      <a:pt x="58" y="49"/>
                    </a:moveTo>
                    <a:lnTo>
                      <a:pt x="56" y="47"/>
                    </a:lnTo>
                    <a:lnTo>
                      <a:pt x="63" y="42"/>
                    </a:lnTo>
                    <a:lnTo>
                      <a:pt x="63" y="39"/>
                    </a:lnTo>
                    <a:lnTo>
                      <a:pt x="63" y="35"/>
                    </a:lnTo>
                    <a:lnTo>
                      <a:pt x="61" y="30"/>
                    </a:lnTo>
                    <a:lnTo>
                      <a:pt x="61" y="29"/>
                    </a:lnTo>
                    <a:lnTo>
                      <a:pt x="66" y="27"/>
                    </a:lnTo>
                    <a:lnTo>
                      <a:pt x="66" y="22"/>
                    </a:lnTo>
                    <a:lnTo>
                      <a:pt x="65" y="19"/>
                    </a:lnTo>
                    <a:lnTo>
                      <a:pt x="68" y="14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3" y="12"/>
                    </a:lnTo>
                    <a:lnTo>
                      <a:pt x="58" y="12"/>
                    </a:lnTo>
                    <a:lnTo>
                      <a:pt x="55" y="9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6" y="7"/>
                    </a:lnTo>
                    <a:lnTo>
                      <a:pt x="28" y="7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1" y="12"/>
                    </a:lnTo>
                    <a:lnTo>
                      <a:pt x="45" y="17"/>
                    </a:lnTo>
                    <a:lnTo>
                      <a:pt x="43" y="19"/>
                    </a:lnTo>
                    <a:lnTo>
                      <a:pt x="45" y="22"/>
                    </a:lnTo>
                    <a:lnTo>
                      <a:pt x="43" y="27"/>
                    </a:lnTo>
                    <a:lnTo>
                      <a:pt x="45" y="32"/>
                    </a:lnTo>
                    <a:lnTo>
                      <a:pt x="50" y="32"/>
                    </a:lnTo>
                    <a:lnTo>
                      <a:pt x="55" y="37"/>
                    </a:lnTo>
                    <a:lnTo>
                      <a:pt x="53" y="40"/>
                    </a:lnTo>
                    <a:lnTo>
                      <a:pt x="43" y="39"/>
                    </a:lnTo>
                    <a:lnTo>
                      <a:pt x="41" y="40"/>
                    </a:lnTo>
                    <a:lnTo>
                      <a:pt x="38" y="39"/>
                    </a:lnTo>
                    <a:lnTo>
                      <a:pt x="31" y="40"/>
                    </a:lnTo>
                    <a:lnTo>
                      <a:pt x="26" y="39"/>
                    </a:lnTo>
                    <a:lnTo>
                      <a:pt x="21" y="40"/>
                    </a:lnTo>
                    <a:lnTo>
                      <a:pt x="20" y="39"/>
                    </a:lnTo>
                    <a:lnTo>
                      <a:pt x="18" y="37"/>
                    </a:lnTo>
                    <a:lnTo>
                      <a:pt x="11" y="39"/>
                    </a:lnTo>
                    <a:lnTo>
                      <a:pt x="6" y="35"/>
                    </a:lnTo>
                    <a:lnTo>
                      <a:pt x="1" y="39"/>
                    </a:lnTo>
                    <a:lnTo>
                      <a:pt x="0" y="40"/>
                    </a:lnTo>
                    <a:lnTo>
                      <a:pt x="1" y="44"/>
                    </a:lnTo>
                    <a:lnTo>
                      <a:pt x="6" y="45"/>
                    </a:lnTo>
                    <a:lnTo>
                      <a:pt x="13" y="50"/>
                    </a:lnTo>
                    <a:lnTo>
                      <a:pt x="16" y="52"/>
                    </a:lnTo>
                    <a:lnTo>
                      <a:pt x="16" y="49"/>
                    </a:lnTo>
                    <a:lnTo>
                      <a:pt x="18" y="45"/>
                    </a:lnTo>
                    <a:lnTo>
                      <a:pt x="30" y="45"/>
                    </a:lnTo>
                    <a:lnTo>
                      <a:pt x="35" y="49"/>
                    </a:lnTo>
                    <a:lnTo>
                      <a:pt x="48" y="49"/>
                    </a:lnTo>
                    <a:lnTo>
                      <a:pt x="50" y="47"/>
                    </a:lnTo>
                    <a:lnTo>
                      <a:pt x="53" y="49"/>
                    </a:lnTo>
                    <a:lnTo>
                      <a:pt x="58" y="49"/>
                    </a:lnTo>
                    <a:lnTo>
                      <a:pt x="58" y="49"/>
                    </a:lnTo>
                    <a:close/>
                    <a:moveTo>
                      <a:pt x="38" y="2"/>
                    </a:moveTo>
                    <a:lnTo>
                      <a:pt x="43" y="0"/>
                    </a:lnTo>
                    <a:lnTo>
                      <a:pt x="51" y="5"/>
                    </a:lnTo>
                    <a:lnTo>
                      <a:pt x="43" y="5"/>
                    </a:lnTo>
                    <a:lnTo>
                      <a:pt x="38" y="2"/>
                    </a:lnTo>
                    <a:lnTo>
                      <a:pt x="38" y="2"/>
                    </a:lnTo>
                    <a:close/>
                    <a:moveTo>
                      <a:pt x="30" y="30"/>
                    </a:moveTo>
                    <a:lnTo>
                      <a:pt x="33" y="29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33" y="32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0" name="Freeform 153"/>
              <p:cNvSpPr>
                <a:spLocks noEditPoints="1"/>
              </p:cNvSpPr>
              <p:nvPr/>
            </p:nvSpPr>
            <p:spPr bwMode="auto">
              <a:xfrm>
                <a:off x="5332993" y="2995791"/>
                <a:ext cx="138062" cy="42541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51" y="42"/>
                  </a:cxn>
                  <a:cxn ang="0">
                    <a:pos x="48" y="40"/>
                  </a:cxn>
                  <a:cxn ang="0">
                    <a:pos x="49" y="37"/>
                  </a:cxn>
                  <a:cxn ang="0">
                    <a:pos x="15" y="24"/>
                  </a:cxn>
                  <a:cxn ang="0">
                    <a:pos x="11" y="27"/>
                  </a:cxn>
                  <a:cxn ang="0">
                    <a:pos x="0" y="34"/>
                  </a:cxn>
                  <a:cxn ang="0">
                    <a:pos x="11" y="32"/>
                  </a:cxn>
                  <a:cxn ang="0">
                    <a:pos x="21" y="32"/>
                  </a:cxn>
                  <a:cxn ang="0">
                    <a:pos x="35" y="24"/>
                  </a:cxn>
                  <a:cxn ang="0">
                    <a:pos x="49" y="17"/>
                  </a:cxn>
                  <a:cxn ang="0">
                    <a:pos x="64" y="14"/>
                  </a:cxn>
                  <a:cxn ang="0">
                    <a:pos x="83" y="17"/>
                  </a:cxn>
                  <a:cxn ang="0">
                    <a:pos x="69" y="22"/>
                  </a:cxn>
                  <a:cxn ang="0">
                    <a:pos x="91" y="25"/>
                  </a:cxn>
                  <a:cxn ang="0">
                    <a:pos x="106" y="29"/>
                  </a:cxn>
                  <a:cxn ang="0">
                    <a:pos x="114" y="29"/>
                  </a:cxn>
                  <a:cxn ang="0">
                    <a:pos x="129" y="37"/>
                  </a:cxn>
                  <a:cxn ang="0">
                    <a:pos x="141" y="39"/>
                  </a:cxn>
                  <a:cxn ang="0">
                    <a:pos x="154" y="39"/>
                  </a:cxn>
                  <a:cxn ang="0">
                    <a:pos x="169" y="60"/>
                  </a:cxn>
                  <a:cxn ang="0">
                    <a:pos x="186" y="62"/>
                  </a:cxn>
                  <a:cxn ang="0">
                    <a:pos x="189" y="70"/>
                  </a:cxn>
                  <a:cxn ang="0">
                    <a:pos x="176" y="82"/>
                  </a:cxn>
                  <a:cxn ang="0">
                    <a:pos x="194" y="82"/>
                  </a:cxn>
                  <a:cxn ang="0">
                    <a:pos x="221" y="83"/>
                  </a:cxn>
                  <a:cxn ang="0">
                    <a:pos x="237" y="78"/>
                  </a:cxn>
                  <a:cxn ang="0">
                    <a:pos x="255" y="77"/>
                  </a:cxn>
                  <a:cxn ang="0">
                    <a:pos x="250" y="68"/>
                  </a:cxn>
                  <a:cxn ang="0">
                    <a:pos x="226" y="58"/>
                  </a:cxn>
                  <a:cxn ang="0">
                    <a:pos x="226" y="50"/>
                  </a:cxn>
                  <a:cxn ang="0">
                    <a:pos x="214" y="50"/>
                  </a:cxn>
                  <a:cxn ang="0">
                    <a:pos x="199" y="44"/>
                  </a:cxn>
                  <a:cxn ang="0">
                    <a:pos x="187" y="40"/>
                  </a:cxn>
                  <a:cxn ang="0">
                    <a:pos x="184" y="40"/>
                  </a:cxn>
                  <a:cxn ang="0">
                    <a:pos x="166" y="30"/>
                  </a:cxn>
                  <a:cxn ang="0">
                    <a:pos x="141" y="22"/>
                  </a:cxn>
                  <a:cxn ang="0">
                    <a:pos x="129" y="10"/>
                  </a:cxn>
                  <a:cxn ang="0">
                    <a:pos x="104" y="5"/>
                  </a:cxn>
                  <a:cxn ang="0">
                    <a:pos x="86" y="2"/>
                  </a:cxn>
                  <a:cxn ang="0">
                    <a:pos x="61" y="4"/>
                  </a:cxn>
                  <a:cxn ang="0">
                    <a:pos x="33" y="10"/>
                  </a:cxn>
                  <a:cxn ang="0">
                    <a:pos x="15" y="19"/>
                  </a:cxn>
                </a:cxnLst>
                <a:rect l="0" t="0" r="r" b="b"/>
                <a:pathLst>
                  <a:path w="257" h="83">
                    <a:moveTo>
                      <a:pt x="48" y="34"/>
                    </a:moveTo>
                    <a:lnTo>
                      <a:pt x="49" y="32"/>
                    </a:lnTo>
                    <a:lnTo>
                      <a:pt x="54" y="32"/>
                    </a:lnTo>
                    <a:lnTo>
                      <a:pt x="59" y="37"/>
                    </a:lnTo>
                    <a:lnTo>
                      <a:pt x="58" y="40"/>
                    </a:lnTo>
                    <a:lnTo>
                      <a:pt x="51" y="42"/>
                    </a:lnTo>
                    <a:lnTo>
                      <a:pt x="46" y="40"/>
                    </a:lnTo>
                    <a:lnTo>
                      <a:pt x="44" y="39"/>
                    </a:lnTo>
                    <a:lnTo>
                      <a:pt x="48" y="40"/>
                    </a:lnTo>
                    <a:lnTo>
                      <a:pt x="49" y="40"/>
                    </a:lnTo>
                    <a:lnTo>
                      <a:pt x="53" y="39"/>
                    </a:lnTo>
                    <a:lnTo>
                      <a:pt x="49" y="37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  <a:moveTo>
                      <a:pt x="15" y="24"/>
                    </a:moveTo>
                    <a:lnTo>
                      <a:pt x="18" y="27"/>
                    </a:lnTo>
                    <a:lnTo>
                      <a:pt x="16" y="29"/>
                    </a:lnTo>
                    <a:lnTo>
                      <a:pt x="11" y="27"/>
                    </a:lnTo>
                    <a:lnTo>
                      <a:pt x="3" y="32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5" y="35"/>
                    </a:lnTo>
                    <a:lnTo>
                      <a:pt x="10" y="30"/>
                    </a:lnTo>
                    <a:lnTo>
                      <a:pt x="11" y="32"/>
                    </a:lnTo>
                    <a:lnTo>
                      <a:pt x="11" y="35"/>
                    </a:lnTo>
                    <a:lnTo>
                      <a:pt x="16" y="32"/>
                    </a:lnTo>
                    <a:lnTo>
                      <a:pt x="21" y="32"/>
                    </a:lnTo>
                    <a:lnTo>
                      <a:pt x="26" y="25"/>
                    </a:lnTo>
                    <a:lnTo>
                      <a:pt x="33" y="25"/>
                    </a:lnTo>
                    <a:lnTo>
                      <a:pt x="35" y="24"/>
                    </a:lnTo>
                    <a:lnTo>
                      <a:pt x="38" y="25"/>
                    </a:lnTo>
                    <a:lnTo>
                      <a:pt x="43" y="25"/>
                    </a:lnTo>
                    <a:lnTo>
                      <a:pt x="49" y="17"/>
                    </a:lnTo>
                    <a:lnTo>
                      <a:pt x="54" y="17"/>
                    </a:lnTo>
                    <a:lnTo>
                      <a:pt x="58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9" y="15"/>
                    </a:lnTo>
                    <a:lnTo>
                      <a:pt x="83" y="17"/>
                    </a:lnTo>
                    <a:lnTo>
                      <a:pt x="79" y="20"/>
                    </a:lnTo>
                    <a:lnTo>
                      <a:pt x="74" y="19"/>
                    </a:lnTo>
                    <a:lnTo>
                      <a:pt x="69" y="22"/>
                    </a:lnTo>
                    <a:lnTo>
                      <a:pt x="74" y="24"/>
                    </a:lnTo>
                    <a:lnTo>
                      <a:pt x="88" y="27"/>
                    </a:lnTo>
                    <a:lnTo>
                      <a:pt x="91" y="25"/>
                    </a:lnTo>
                    <a:lnTo>
                      <a:pt x="96" y="25"/>
                    </a:lnTo>
                    <a:lnTo>
                      <a:pt x="99" y="29"/>
                    </a:lnTo>
                    <a:lnTo>
                      <a:pt x="106" y="29"/>
                    </a:lnTo>
                    <a:lnTo>
                      <a:pt x="109" y="29"/>
                    </a:lnTo>
                    <a:lnTo>
                      <a:pt x="111" y="27"/>
                    </a:lnTo>
                    <a:lnTo>
                      <a:pt x="114" y="29"/>
                    </a:lnTo>
                    <a:lnTo>
                      <a:pt x="114" y="32"/>
                    </a:lnTo>
                    <a:lnTo>
                      <a:pt x="123" y="37"/>
                    </a:lnTo>
                    <a:lnTo>
                      <a:pt x="129" y="37"/>
                    </a:lnTo>
                    <a:lnTo>
                      <a:pt x="131" y="35"/>
                    </a:lnTo>
                    <a:lnTo>
                      <a:pt x="136" y="39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51" y="39"/>
                    </a:lnTo>
                    <a:lnTo>
                      <a:pt x="154" y="39"/>
                    </a:lnTo>
                    <a:lnTo>
                      <a:pt x="157" y="52"/>
                    </a:lnTo>
                    <a:lnTo>
                      <a:pt x="166" y="60"/>
                    </a:lnTo>
                    <a:lnTo>
                      <a:pt x="169" y="60"/>
                    </a:lnTo>
                    <a:lnTo>
                      <a:pt x="171" y="58"/>
                    </a:lnTo>
                    <a:lnTo>
                      <a:pt x="176" y="62"/>
                    </a:lnTo>
                    <a:lnTo>
                      <a:pt x="186" y="62"/>
                    </a:lnTo>
                    <a:lnTo>
                      <a:pt x="186" y="65"/>
                    </a:lnTo>
                    <a:lnTo>
                      <a:pt x="191" y="65"/>
                    </a:lnTo>
                    <a:lnTo>
                      <a:pt x="189" y="70"/>
                    </a:lnTo>
                    <a:lnTo>
                      <a:pt x="184" y="72"/>
                    </a:lnTo>
                    <a:lnTo>
                      <a:pt x="176" y="78"/>
                    </a:lnTo>
                    <a:lnTo>
                      <a:pt x="176" y="82"/>
                    </a:lnTo>
                    <a:lnTo>
                      <a:pt x="184" y="83"/>
                    </a:lnTo>
                    <a:lnTo>
                      <a:pt x="189" y="80"/>
                    </a:lnTo>
                    <a:lnTo>
                      <a:pt x="194" y="82"/>
                    </a:lnTo>
                    <a:lnTo>
                      <a:pt x="206" y="80"/>
                    </a:lnTo>
                    <a:lnTo>
                      <a:pt x="212" y="80"/>
                    </a:lnTo>
                    <a:lnTo>
                      <a:pt x="221" y="83"/>
                    </a:lnTo>
                    <a:lnTo>
                      <a:pt x="232" y="82"/>
                    </a:lnTo>
                    <a:lnTo>
                      <a:pt x="234" y="78"/>
                    </a:lnTo>
                    <a:lnTo>
                      <a:pt x="237" y="78"/>
                    </a:lnTo>
                    <a:lnTo>
                      <a:pt x="241" y="77"/>
                    </a:lnTo>
                    <a:lnTo>
                      <a:pt x="249" y="77"/>
                    </a:lnTo>
                    <a:lnTo>
                      <a:pt x="255" y="77"/>
                    </a:lnTo>
                    <a:lnTo>
                      <a:pt x="257" y="72"/>
                    </a:lnTo>
                    <a:lnTo>
                      <a:pt x="255" y="70"/>
                    </a:lnTo>
                    <a:lnTo>
                      <a:pt x="250" y="68"/>
                    </a:lnTo>
                    <a:lnTo>
                      <a:pt x="249" y="63"/>
                    </a:lnTo>
                    <a:lnTo>
                      <a:pt x="237" y="58"/>
                    </a:lnTo>
                    <a:lnTo>
                      <a:pt x="226" y="58"/>
                    </a:lnTo>
                    <a:lnTo>
                      <a:pt x="222" y="58"/>
                    </a:lnTo>
                    <a:lnTo>
                      <a:pt x="224" y="55"/>
                    </a:lnTo>
                    <a:lnTo>
                      <a:pt x="226" y="50"/>
                    </a:lnTo>
                    <a:lnTo>
                      <a:pt x="224" y="50"/>
                    </a:lnTo>
                    <a:lnTo>
                      <a:pt x="219" y="52"/>
                    </a:lnTo>
                    <a:lnTo>
                      <a:pt x="214" y="50"/>
                    </a:lnTo>
                    <a:lnTo>
                      <a:pt x="206" y="45"/>
                    </a:lnTo>
                    <a:lnTo>
                      <a:pt x="204" y="47"/>
                    </a:lnTo>
                    <a:lnTo>
                      <a:pt x="199" y="44"/>
                    </a:lnTo>
                    <a:lnTo>
                      <a:pt x="192" y="39"/>
                    </a:lnTo>
                    <a:lnTo>
                      <a:pt x="189" y="44"/>
                    </a:lnTo>
                    <a:lnTo>
                      <a:pt x="187" y="40"/>
                    </a:lnTo>
                    <a:lnTo>
                      <a:pt x="189" y="39"/>
                    </a:lnTo>
                    <a:lnTo>
                      <a:pt x="186" y="37"/>
                    </a:lnTo>
                    <a:lnTo>
                      <a:pt x="184" y="40"/>
                    </a:lnTo>
                    <a:lnTo>
                      <a:pt x="181" y="37"/>
                    </a:lnTo>
                    <a:lnTo>
                      <a:pt x="172" y="35"/>
                    </a:lnTo>
                    <a:lnTo>
                      <a:pt x="166" y="30"/>
                    </a:lnTo>
                    <a:lnTo>
                      <a:pt x="161" y="27"/>
                    </a:lnTo>
                    <a:lnTo>
                      <a:pt x="154" y="24"/>
                    </a:lnTo>
                    <a:lnTo>
                      <a:pt x="141" y="22"/>
                    </a:lnTo>
                    <a:lnTo>
                      <a:pt x="136" y="20"/>
                    </a:lnTo>
                    <a:lnTo>
                      <a:pt x="134" y="15"/>
                    </a:lnTo>
                    <a:lnTo>
                      <a:pt x="129" y="10"/>
                    </a:lnTo>
                    <a:lnTo>
                      <a:pt x="124" y="10"/>
                    </a:lnTo>
                    <a:lnTo>
                      <a:pt x="123" y="9"/>
                    </a:lnTo>
                    <a:lnTo>
                      <a:pt x="104" y="5"/>
                    </a:lnTo>
                    <a:lnTo>
                      <a:pt x="98" y="9"/>
                    </a:lnTo>
                    <a:lnTo>
                      <a:pt x="91" y="7"/>
                    </a:lnTo>
                    <a:lnTo>
                      <a:pt x="86" y="2"/>
                    </a:lnTo>
                    <a:lnTo>
                      <a:pt x="74" y="0"/>
                    </a:lnTo>
                    <a:lnTo>
                      <a:pt x="64" y="0"/>
                    </a:lnTo>
                    <a:lnTo>
                      <a:pt x="61" y="4"/>
                    </a:lnTo>
                    <a:lnTo>
                      <a:pt x="48" y="5"/>
                    </a:lnTo>
                    <a:lnTo>
                      <a:pt x="36" y="7"/>
                    </a:lnTo>
                    <a:lnTo>
                      <a:pt x="33" y="10"/>
                    </a:lnTo>
                    <a:lnTo>
                      <a:pt x="23" y="12"/>
                    </a:lnTo>
                    <a:lnTo>
                      <a:pt x="20" y="17"/>
                    </a:lnTo>
                    <a:lnTo>
                      <a:pt x="15" y="19"/>
                    </a:lnTo>
                    <a:lnTo>
                      <a:pt x="15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1" name="Freeform 154"/>
              <p:cNvSpPr>
                <a:spLocks noEditPoints="1"/>
              </p:cNvSpPr>
              <p:nvPr/>
            </p:nvSpPr>
            <p:spPr bwMode="auto">
              <a:xfrm>
                <a:off x="4878137" y="2592169"/>
                <a:ext cx="734190" cy="378720"/>
              </a:xfrm>
              <a:custGeom>
                <a:avLst/>
                <a:gdLst/>
                <a:ahLst/>
                <a:cxnLst>
                  <a:cxn ang="0">
                    <a:pos x="797" y="71"/>
                  </a:cxn>
                  <a:cxn ang="0">
                    <a:pos x="965" y="140"/>
                  </a:cxn>
                  <a:cxn ang="0">
                    <a:pos x="1146" y="223"/>
                  </a:cxn>
                  <a:cxn ang="0">
                    <a:pos x="1291" y="183"/>
                  </a:cxn>
                  <a:cxn ang="0">
                    <a:pos x="1356" y="149"/>
                  </a:cxn>
                  <a:cxn ang="0">
                    <a:pos x="1366" y="218"/>
                  </a:cxn>
                  <a:cxn ang="0">
                    <a:pos x="1319" y="228"/>
                  </a:cxn>
                  <a:cxn ang="0">
                    <a:pos x="1283" y="247"/>
                  </a:cxn>
                  <a:cxn ang="0">
                    <a:pos x="1276" y="289"/>
                  </a:cxn>
                  <a:cxn ang="0">
                    <a:pos x="1246" y="311"/>
                  </a:cxn>
                  <a:cxn ang="0">
                    <a:pos x="1178" y="336"/>
                  </a:cxn>
                  <a:cxn ang="0">
                    <a:pos x="1151" y="375"/>
                  </a:cxn>
                  <a:cxn ang="0">
                    <a:pos x="1145" y="384"/>
                  </a:cxn>
                  <a:cxn ang="0">
                    <a:pos x="1121" y="410"/>
                  </a:cxn>
                  <a:cxn ang="0">
                    <a:pos x="1116" y="367"/>
                  </a:cxn>
                  <a:cxn ang="0">
                    <a:pos x="1110" y="399"/>
                  </a:cxn>
                  <a:cxn ang="0">
                    <a:pos x="1110" y="412"/>
                  </a:cxn>
                  <a:cxn ang="0">
                    <a:pos x="1096" y="425"/>
                  </a:cxn>
                  <a:cxn ang="0">
                    <a:pos x="1101" y="455"/>
                  </a:cxn>
                  <a:cxn ang="0">
                    <a:pos x="1116" y="468"/>
                  </a:cxn>
                  <a:cxn ang="0">
                    <a:pos x="1095" y="482"/>
                  </a:cxn>
                  <a:cxn ang="0">
                    <a:pos x="1053" y="513"/>
                  </a:cxn>
                  <a:cxn ang="0">
                    <a:pos x="997" y="545"/>
                  </a:cxn>
                  <a:cxn ang="0">
                    <a:pos x="964" y="603"/>
                  </a:cxn>
                  <a:cxn ang="0">
                    <a:pos x="980" y="699"/>
                  </a:cxn>
                  <a:cxn ang="0">
                    <a:pos x="942" y="713"/>
                  </a:cxn>
                  <a:cxn ang="0">
                    <a:pos x="924" y="681"/>
                  </a:cxn>
                  <a:cxn ang="0">
                    <a:pos x="919" y="631"/>
                  </a:cxn>
                  <a:cxn ang="0">
                    <a:pos x="877" y="616"/>
                  </a:cxn>
                  <a:cxn ang="0">
                    <a:pos x="854" y="603"/>
                  </a:cxn>
                  <a:cxn ang="0">
                    <a:pos x="812" y="598"/>
                  </a:cxn>
                  <a:cxn ang="0">
                    <a:pos x="758" y="611"/>
                  </a:cxn>
                  <a:cxn ang="0">
                    <a:pos x="763" y="631"/>
                  </a:cxn>
                  <a:cxn ang="0">
                    <a:pos x="721" y="626"/>
                  </a:cxn>
                  <a:cxn ang="0">
                    <a:pos x="683" y="616"/>
                  </a:cxn>
                  <a:cxn ang="0">
                    <a:pos x="635" y="618"/>
                  </a:cxn>
                  <a:cxn ang="0">
                    <a:pos x="590" y="644"/>
                  </a:cxn>
                  <a:cxn ang="0">
                    <a:pos x="565" y="706"/>
                  </a:cxn>
                  <a:cxn ang="0">
                    <a:pos x="522" y="674"/>
                  </a:cxn>
                  <a:cxn ang="0">
                    <a:pos x="494" y="616"/>
                  </a:cxn>
                  <a:cxn ang="0">
                    <a:pos x="450" y="616"/>
                  </a:cxn>
                  <a:cxn ang="0">
                    <a:pos x="417" y="615"/>
                  </a:cxn>
                  <a:cxn ang="0">
                    <a:pos x="399" y="588"/>
                  </a:cxn>
                  <a:cxn ang="0">
                    <a:pos x="367" y="551"/>
                  </a:cxn>
                  <a:cxn ang="0">
                    <a:pos x="97" y="483"/>
                  </a:cxn>
                  <a:cxn ang="0">
                    <a:pos x="50" y="448"/>
                  </a:cxn>
                  <a:cxn ang="0">
                    <a:pos x="33" y="392"/>
                  </a:cxn>
                  <a:cxn ang="0">
                    <a:pos x="32" y="362"/>
                  </a:cxn>
                  <a:cxn ang="0">
                    <a:pos x="23" y="362"/>
                  </a:cxn>
                  <a:cxn ang="0">
                    <a:pos x="5" y="286"/>
                  </a:cxn>
                  <a:cxn ang="0">
                    <a:pos x="17" y="211"/>
                  </a:cxn>
                  <a:cxn ang="0">
                    <a:pos x="60" y="105"/>
                  </a:cxn>
                  <a:cxn ang="0">
                    <a:pos x="63" y="90"/>
                  </a:cxn>
                  <a:cxn ang="0">
                    <a:pos x="70" y="40"/>
                  </a:cxn>
                  <a:cxn ang="0">
                    <a:pos x="101" y="45"/>
                  </a:cxn>
                  <a:cxn ang="0">
                    <a:pos x="105" y="63"/>
                  </a:cxn>
                  <a:cxn ang="0">
                    <a:pos x="126" y="13"/>
                  </a:cxn>
                  <a:cxn ang="0">
                    <a:pos x="1183" y="331"/>
                  </a:cxn>
                  <a:cxn ang="0">
                    <a:pos x="1223" y="317"/>
                  </a:cxn>
                  <a:cxn ang="0">
                    <a:pos x="120" y="37"/>
                  </a:cxn>
                  <a:cxn ang="0">
                    <a:pos x="578" y="663"/>
                  </a:cxn>
                </a:cxnLst>
                <a:rect l="0" t="0" r="r" b="b"/>
                <a:pathLst>
                  <a:path w="1372" h="731">
                    <a:moveTo>
                      <a:pt x="120" y="0"/>
                    </a:moveTo>
                    <a:lnTo>
                      <a:pt x="749" y="56"/>
                    </a:lnTo>
                    <a:lnTo>
                      <a:pt x="754" y="56"/>
                    </a:lnTo>
                    <a:lnTo>
                      <a:pt x="759" y="56"/>
                    </a:lnTo>
                    <a:lnTo>
                      <a:pt x="764" y="61"/>
                    </a:lnTo>
                    <a:lnTo>
                      <a:pt x="764" y="63"/>
                    </a:lnTo>
                    <a:lnTo>
                      <a:pt x="768" y="65"/>
                    </a:lnTo>
                    <a:lnTo>
                      <a:pt x="769" y="66"/>
                    </a:lnTo>
                    <a:lnTo>
                      <a:pt x="774" y="68"/>
                    </a:lnTo>
                    <a:lnTo>
                      <a:pt x="774" y="68"/>
                    </a:lnTo>
                    <a:lnTo>
                      <a:pt x="779" y="70"/>
                    </a:lnTo>
                    <a:lnTo>
                      <a:pt x="783" y="73"/>
                    </a:lnTo>
                    <a:lnTo>
                      <a:pt x="784" y="73"/>
                    </a:lnTo>
                    <a:lnTo>
                      <a:pt x="789" y="71"/>
                    </a:lnTo>
                    <a:lnTo>
                      <a:pt x="793" y="73"/>
                    </a:lnTo>
                    <a:lnTo>
                      <a:pt x="797" y="71"/>
                    </a:lnTo>
                    <a:lnTo>
                      <a:pt x="802" y="76"/>
                    </a:lnTo>
                    <a:lnTo>
                      <a:pt x="806" y="76"/>
                    </a:lnTo>
                    <a:lnTo>
                      <a:pt x="807" y="81"/>
                    </a:lnTo>
                    <a:lnTo>
                      <a:pt x="816" y="83"/>
                    </a:lnTo>
                    <a:lnTo>
                      <a:pt x="821" y="85"/>
                    </a:lnTo>
                    <a:lnTo>
                      <a:pt x="824" y="88"/>
                    </a:lnTo>
                    <a:lnTo>
                      <a:pt x="827" y="90"/>
                    </a:lnTo>
                    <a:lnTo>
                      <a:pt x="836" y="90"/>
                    </a:lnTo>
                    <a:lnTo>
                      <a:pt x="841" y="86"/>
                    </a:lnTo>
                    <a:lnTo>
                      <a:pt x="842" y="90"/>
                    </a:lnTo>
                    <a:lnTo>
                      <a:pt x="844" y="93"/>
                    </a:lnTo>
                    <a:lnTo>
                      <a:pt x="856" y="93"/>
                    </a:lnTo>
                    <a:lnTo>
                      <a:pt x="859" y="95"/>
                    </a:lnTo>
                    <a:lnTo>
                      <a:pt x="864" y="96"/>
                    </a:lnTo>
                    <a:lnTo>
                      <a:pt x="867" y="98"/>
                    </a:lnTo>
                    <a:lnTo>
                      <a:pt x="965" y="140"/>
                    </a:lnTo>
                    <a:lnTo>
                      <a:pt x="970" y="146"/>
                    </a:lnTo>
                    <a:lnTo>
                      <a:pt x="985" y="158"/>
                    </a:lnTo>
                    <a:lnTo>
                      <a:pt x="1002" y="224"/>
                    </a:lnTo>
                    <a:lnTo>
                      <a:pt x="1000" y="254"/>
                    </a:lnTo>
                    <a:lnTo>
                      <a:pt x="997" y="259"/>
                    </a:lnTo>
                    <a:lnTo>
                      <a:pt x="993" y="264"/>
                    </a:lnTo>
                    <a:lnTo>
                      <a:pt x="990" y="269"/>
                    </a:lnTo>
                    <a:lnTo>
                      <a:pt x="982" y="272"/>
                    </a:lnTo>
                    <a:lnTo>
                      <a:pt x="977" y="277"/>
                    </a:lnTo>
                    <a:lnTo>
                      <a:pt x="980" y="284"/>
                    </a:lnTo>
                    <a:lnTo>
                      <a:pt x="1063" y="264"/>
                    </a:lnTo>
                    <a:lnTo>
                      <a:pt x="1075" y="261"/>
                    </a:lnTo>
                    <a:lnTo>
                      <a:pt x="1077" y="251"/>
                    </a:lnTo>
                    <a:lnTo>
                      <a:pt x="1121" y="239"/>
                    </a:lnTo>
                    <a:lnTo>
                      <a:pt x="1143" y="224"/>
                    </a:lnTo>
                    <a:lnTo>
                      <a:pt x="1146" y="223"/>
                    </a:lnTo>
                    <a:lnTo>
                      <a:pt x="1153" y="221"/>
                    </a:lnTo>
                    <a:lnTo>
                      <a:pt x="1165" y="211"/>
                    </a:lnTo>
                    <a:lnTo>
                      <a:pt x="1170" y="208"/>
                    </a:lnTo>
                    <a:lnTo>
                      <a:pt x="1175" y="206"/>
                    </a:lnTo>
                    <a:lnTo>
                      <a:pt x="1180" y="203"/>
                    </a:lnTo>
                    <a:lnTo>
                      <a:pt x="1188" y="201"/>
                    </a:lnTo>
                    <a:lnTo>
                      <a:pt x="1258" y="203"/>
                    </a:lnTo>
                    <a:lnTo>
                      <a:pt x="1264" y="198"/>
                    </a:lnTo>
                    <a:lnTo>
                      <a:pt x="1266" y="198"/>
                    </a:lnTo>
                    <a:lnTo>
                      <a:pt x="1268" y="196"/>
                    </a:lnTo>
                    <a:lnTo>
                      <a:pt x="1271" y="196"/>
                    </a:lnTo>
                    <a:lnTo>
                      <a:pt x="1276" y="196"/>
                    </a:lnTo>
                    <a:lnTo>
                      <a:pt x="1278" y="194"/>
                    </a:lnTo>
                    <a:lnTo>
                      <a:pt x="1279" y="191"/>
                    </a:lnTo>
                    <a:lnTo>
                      <a:pt x="1288" y="184"/>
                    </a:lnTo>
                    <a:lnTo>
                      <a:pt x="1291" y="183"/>
                    </a:lnTo>
                    <a:lnTo>
                      <a:pt x="1296" y="176"/>
                    </a:lnTo>
                    <a:lnTo>
                      <a:pt x="1299" y="171"/>
                    </a:lnTo>
                    <a:lnTo>
                      <a:pt x="1299" y="166"/>
                    </a:lnTo>
                    <a:lnTo>
                      <a:pt x="1306" y="163"/>
                    </a:lnTo>
                    <a:lnTo>
                      <a:pt x="1306" y="159"/>
                    </a:lnTo>
                    <a:lnTo>
                      <a:pt x="1309" y="154"/>
                    </a:lnTo>
                    <a:lnTo>
                      <a:pt x="1317" y="146"/>
                    </a:lnTo>
                    <a:lnTo>
                      <a:pt x="1321" y="143"/>
                    </a:lnTo>
                    <a:lnTo>
                      <a:pt x="1324" y="138"/>
                    </a:lnTo>
                    <a:lnTo>
                      <a:pt x="1326" y="138"/>
                    </a:lnTo>
                    <a:lnTo>
                      <a:pt x="1329" y="140"/>
                    </a:lnTo>
                    <a:lnTo>
                      <a:pt x="1332" y="143"/>
                    </a:lnTo>
                    <a:lnTo>
                      <a:pt x="1337" y="141"/>
                    </a:lnTo>
                    <a:lnTo>
                      <a:pt x="1344" y="143"/>
                    </a:lnTo>
                    <a:lnTo>
                      <a:pt x="1346" y="141"/>
                    </a:lnTo>
                    <a:lnTo>
                      <a:pt x="1356" y="149"/>
                    </a:lnTo>
                    <a:lnTo>
                      <a:pt x="1356" y="156"/>
                    </a:lnTo>
                    <a:lnTo>
                      <a:pt x="1351" y="184"/>
                    </a:lnTo>
                    <a:lnTo>
                      <a:pt x="1349" y="188"/>
                    </a:lnTo>
                    <a:lnTo>
                      <a:pt x="1351" y="188"/>
                    </a:lnTo>
                    <a:lnTo>
                      <a:pt x="1352" y="191"/>
                    </a:lnTo>
                    <a:lnTo>
                      <a:pt x="1354" y="193"/>
                    </a:lnTo>
                    <a:lnTo>
                      <a:pt x="1354" y="196"/>
                    </a:lnTo>
                    <a:lnTo>
                      <a:pt x="1354" y="199"/>
                    </a:lnTo>
                    <a:lnTo>
                      <a:pt x="1354" y="201"/>
                    </a:lnTo>
                    <a:lnTo>
                      <a:pt x="1354" y="203"/>
                    </a:lnTo>
                    <a:lnTo>
                      <a:pt x="1354" y="204"/>
                    </a:lnTo>
                    <a:lnTo>
                      <a:pt x="1354" y="204"/>
                    </a:lnTo>
                    <a:lnTo>
                      <a:pt x="1354" y="204"/>
                    </a:lnTo>
                    <a:lnTo>
                      <a:pt x="1364" y="209"/>
                    </a:lnTo>
                    <a:lnTo>
                      <a:pt x="1362" y="214"/>
                    </a:lnTo>
                    <a:lnTo>
                      <a:pt x="1366" y="218"/>
                    </a:lnTo>
                    <a:lnTo>
                      <a:pt x="1367" y="214"/>
                    </a:lnTo>
                    <a:lnTo>
                      <a:pt x="1372" y="216"/>
                    </a:lnTo>
                    <a:lnTo>
                      <a:pt x="1369" y="221"/>
                    </a:lnTo>
                    <a:lnTo>
                      <a:pt x="1364" y="221"/>
                    </a:lnTo>
                    <a:lnTo>
                      <a:pt x="1362" y="218"/>
                    </a:lnTo>
                    <a:lnTo>
                      <a:pt x="1357" y="221"/>
                    </a:lnTo>
                    <a:lnTo>
                      <a:pt x="1354" y="221"/>
                    </a:lnTo>
                    <a:lnTo>
                      <a:pt x="1349" y="224"/>
                    </a:lnTo>
                    <a:lnTo>
                      <a:pt x="1346" y="224"/>
                    </a:lnTo>
                    <a:lnTo>
                      <a:pt x="1342" y="224"/>
                    </a:lnTo>
                    <a:lnTo>
                      <a:pt x="1339" y="228"/>
                    </a:lnTo>
                    <a:lnTo>
                      <a:pt x="1336" y="228"/>
                    </a:lnTo>
                    <a:lnTo>
                      <a:pt x="1334" y="224"/>
                    </a:lnTo>
                    <a:lnTo>
                      <a:pt x="1329" y="224"/>
                    </a:lnTo>
                    <a:lnTo>
                      <a:pt x="1324" y="228"/>
                    </a:lnTo>
                    <a:lnTo>
                      <a:pt x="1319" y="228"/>
                    </a:lnTo>
                    <a:lnTo>
                      <a:pt x="1319" y="224"/>
                    </a:lnTo>
                    <a:lnTo>
                      <a:pt x="1321" y="221"/>
                    </a:lnTo>
                    <a:lnTo>
                      <a:pt x="1314" y="228"/>
                    </a:lnTo>
                    <a:lnTo>
                      <a:pt x="1309" y="234"/>
                    </a:lnTo>
                    <a:lnTo>
                      <a:pt x="1306" y="236"/>
                    </a:lnTo>
                    <a:lnTo>
                      <a:pt x="1306" y="234"/>
                    </a:lnTo>
                    <a:lnTo>
                      <a:pt x="1302" y="239"/>
                    </a:lnTo>
                    <a:lnTo>
                      <a:pt x="1299" y="239"/>
                    </a:lnTo>
                    <a:lnTo>
                      <a:pt x="1299" y="234"/>
                    </a:lnTo>
                    <a:lnTo>
                      <a:pt x="1296" y="239"/>
                    </a:lnTo>
                    <a:lnTo>
                      <a:pt x="1294" y="241"/>
                    </a:lnTo>
                    <a:lnTo>
                      <a:pt x="1291" y="241"/>
                    </a:lnTo>
                    <a:lnTo>
                      <a:pt x="1291" y="238"/>
                    </a:lnTo>
                    <a:lnTo>
                      <a:pt x="1288" y="241"/>
                    </a:lnTo>
                    <a:lnTo>
                      <a:pt x="1284" y="241"/>
                    </a:lnTo>
                    <a:lnTo>
                      <a:pt x="1283" y="247"/>
                    </a:lnTo>
                    <a:lnTo>
                      <a:pt x="1273" y="254"/>
                    </a:lnTo>
                    <a:lnTo>
                      <a:pt x="1269" y="261"/>
                    </a:lnTo>
                    <a:lnTo>
                      <a:pt x="1268" y="264"/>
                    </a:lnTo>
                    <a:lnTo>
                      <a:pt x="1266" y="267"/>
                    </a:lnTo>
                    <a:lnTo>
                      <a:pt x="1263" y="269"/>
                    </a:lnTo>
                    <a:lnTo>
                      <a:pt x="1263" y="272"/>
                    </a:lnTo>
                    <a:lnTo>
                      <a:pt x="1266" y="272"/>
                    </a:lnTo>
                    <a:lnTo>
                      <a:pt x="1266" y="276"/>
                    </a:lnTo>
                    <a:lnTo>
                      <a:pt x="1258" y="282"/>
                    </a:lnTo>
                    <a:lnTo>
                      <a:pt x="1258" y="284"/>
                    </a:lnTo>
                    <a:lnTo>
                      <a:pt x="1264" y="287"/>
                    </a:lnTo>
                    <a:lnTo>
                      <a:pt x="1266" y="296"/>
                    </a:lnTo>
                    <a:lnTo>
                      <a:pt x="1268" y="299"/>
                    </a:lnTo>
                    <a:lnTo>
                      <a:pt x="1274" y="299"/>
                    </a:lnTo>
                    <a:lnTo>
                      <a:pt x="1276" y="294"/>
                    </a:lnTo>
                    <a:lnTo>
                      <a:pt x="1276" y="289"/>
                    </a:lnTo>
                    <a:lnTo>
                      <a:pt x="1278" y="289"/>
                    </a:lnTo>
                    <a:lnTo>
                      <a:pt x="1281" y="296"/>
                    </a:lnTo>
                    <a:lnTo>
                      <a:pt x="1278" y="301"/>
                    </a:lnTo>
                    <a:lnTo>
                      <a:pt x="1266" y="306"/>
                    </a:lnTo>
                    <a:lnTo>
                      <a:pt x="1263" y="306"/>
                    </a:lnTo>
                    <a:lnTo>
                      <a:pt x="1263" y="302"/>
                    </a:lnTo>
                    <a:lnTo>
                      <a:pt x="1261" y="297"/>
                    </a:lnTo>
                    <a:lnTo>
                      <a:pt x="1256" y="306"/>
                    </a:lnTo>
                    <a:lnTo>
                      <a:pt x="1251" y="309"/>
                    </a:lnTo>
                    <a:lnTo>
                      <a:pt x="1249" y="309"/>
                    </a:lnTo>
                    <a:lnTo>
                      <a:pt x="1249" y="306"/>
                    </a:lnTo>
                    <a:lnTo>
                      <a:pt x="1249" y="302"/>
                    </a:lnTo>
                    <a:lnTo>
                      <a:pt x="1244" y="297"/>
                    </a:lnTo>
                    <a:lnTo>
                      <a:pt x="1244" y="302"/>
                    </a:lnTo>
                    <a:lnTo>
                      <a:pt x="1244" y="309"/>
                    </a:lnTo>
                    <a:lnTo>
                      <a:pt x="1246" y="311"/>
                    </a:lnTo>
                    <a:lnTo>
                      <a:pt x="1243" y="311"/>
                    </a:lnTo>
                    <a:lnTo>
                      <a:pt x="1233" y="312"/>
                    </a:lnTo>
                    <a:lnTo>
                      <a:pt x="1226" y="312"/>
                    </a:lnTo>
                    <a:lnTo>
                      <a:pt x="1223" y="312"/>
                    </a:lnTo>
                    <a:lnTo>
                      <a:pt x="1213" y="312"/>
                    </a:lnTo>
                    <a:lnTo>
                      <a:pt x="1211" y="311"/>
                    </a:lnTo>
                    <a:lnTo>
                      <a:pt x="1208" y="311"/>
                    </a:lnTo>
                    <a:lnTo>
                      <a:pt x="1199" y="316"/>
                    </a:lnTo>
                    <a:lnTo>
                      <a:pt x="1194" y="316"/>
                    </a:lnTo>
                    <a:lnTo>
                      <a:pt x="1188" y="321"/>
                    </a:lnTo>
                    <a:lnTo>
                      <a:pt x="1183" y="321"/>
                    </a:lnTo>
                    <a:lnTo>
                      <a:pt x="1180" y="324"/>
                    </a:lnTo>
                    <a:lnTo>
                      <a:pt x="1180" y="327"/>
                    </a:lnTo>
                    <a:lnTo>
                      <a:pt x="1173" y="331"/>
                    </a:lnTo>
                    <a:lnTo>
                      <a:pt x="1175" y="334"/>
                    </a:lnTo>
                    <a:lnTo>
                      <a:pt x="1178" y="336"/>
                    </a:lnTo>
                    <a:lnTo>
                      <a:pt x="1178" y="339"/>
                    </a:lnTo>
                    <a:lnTo>
                      <a:pt x="1176" y="342"/>
                    </a:lnTo>
                    <a:lnTo>
                      <a:pt x="1176" y="344"/>
                    </a:lnTo>
                    <a:lnTo>
                      <a:pt x="1173" y="347"/>
                    </a:lnTo>
                    <a:lnTo>
                      <a:pt x="1175" y="349"/>
                    </a:lnTo>
                    <a:lnTo>
                      <a:pt x="1173" y="352"/>
                    </a:lnTo>
                    <a:lnTo>
                      <a:pt x="1171" y="357"/>
                    </a:lnTo>
                    <a:lnTo>
                      <a:pt x="1168" y="357"/>
                    </a:lnTo>
                    <a:lnTo>
                      <a:pt x="1166" y="359"/>
                    </a:lnTo>
                    <a:lnTo>
                      <a:pt x="1165" y="365"/>
                    </a:lnTo>
                    <a:lnTo>
                      <a:pt x="1161" y="367"/>
                    </a:lnTo>
                    <a:lnTo>
                      <a:pt x="1158" y="369"/>
                    </a:lnTo>
                    <a:lnTo>
                      <a:pt x="1156" y="369"/>
                    </a:lnTo>
                    <a:lnTo>
                      <a:pt x="1156" y="372"/>
                    </a:lnTo>
                    <a:lnTo>
                      <a:pt x="1153" y="375"/>
                    </a:lnTo>
                    <a:lnTo>
                      <a:pt x="1151" y="375"/>
                    </a:lnTo>
                    <a:lnTo>
                      <a:pt x="1148" y="377"/>
                    </a:lnTo>
                    <a:lnTo>
                      <a:pt x="1151" y="372"/>
                    </a:lnTo>
                    <a:lnTo>
                      <a:pt x="1150" y="369"/>
                    </a:lnTo>
                    <a:lnTo>
                      <a:pt x="1145" y="370"/>
                    </a:lnTo>
                    <a:lnTo>
                      <a:pt x="1140" y="365"/>
                    </a:lnTo>
                    <a:lnTo>
                      <a:pt x="1138" y="362"/>
                    </a:lnTo>
                    <a:lnTo>
                      <a:pt x="1140" y="359"/>
                    </a:lnTo>
                    <a:lnTo>
                      <a:pt x="1146" y="350"/>
                    </a:lnTo>
                    <a:lnTo>
                      <a:pt x="1141" y="354"/>
                    </a:lnTo>
                    <a:lnTo>
                      <a:pt x="1138" y="357"/>
                    </a:lnTo>
                    <a:lnTo>
                      <a:pt x="1135" y="360"/>
                    </a:lnTo>
                    <a:lnTo>
                      <a:pt x="1136" y="365"/>
                    </a:lnTo>
                    <a:lnTo>
                      <a:pt x="1138" y="367"/>
                    </a:lnTo>
                    <a:lnTo>
                      <a:pt x="1138" y="374"/>
                    </a:lnTo>
                    <a:lnTo>
                      <a:pt x="1141" y="375"/>
                    </a:lnTo>
                    <a:lnTo>
                      <a:pt x="1145" y="384"/>
                    </a:lnTo>
                    <a:lnTo>
                      <a:pt x="1145" y="389"/>
                    </a:lnTo>
                    <a:lnTo>
                      <a:pt x="1140" y="397"/>
                    </a:lnTo>
                    <a:lnTo>
                      <a:pt x="1135" y="400"/>
                    </a:lnTo>
                    <a:lnTo>
                      <a:pt x="1131" y="409"/>
                    </a:lnTo>
                    <a:lnTo>
                      <a:pt x="1128" y="414"/>
                    </a:lnTo>
                    <a:lnTo>
                      <a:pt x="1128" y="415"/>
                    </a:lnTo>
                    <a:lnTo>
                      <a:pt x="1126" y="417"/>
                    </a:lnTo>
                    <a:lnTo>
                      <a:pt x="1126" y="415"/>
                    </a:lnTo>
                    <a:lnTo>
                      <a:pt x="1126" y="414"/>
                    </a:lnTo>
                    <a:lnTo>
                      <a:pt x="1121" y="422"/>
                    </a:lnTo>
                    <a:lnTo>
                      <a:pt x="1120" y="424"/>
                    </a:lnTo>
                    <a:lnTo>
                      <a:pt x="1120" y="425"/>
                    </a:lnTo>
                    <a:lnTo>
                      <a:pt x="1118" y="422"/>
                    </a:lnTo>
                    <a:lnTo>
                      <a:pt x="1120" y="417"/>
                    </a:lnTo>
                    <a:lnTo>
                      <a:pt x="1123" y="412"/>
                    </a:lnTo>
                    <a:lnTo>
                      <a:pt x="1121" y="410"/>
                    </a:lnTo>
                    <a:lnTo>
                      <a:pt x="1125" y="407"/>
                    </a:lnTo>
                    <a:lnTo>
                      <a:pt x="1125" y="405"/>
                    </a:lnTo>
                    <a:lnTo>
                      <a:pt x="1128" y="404"/>
                    </a:lnTo>
                    <a:lnTo>
                      <a:pt x="1123" y="404"/>
                    </a:lnTo>
                    <a:lnTo>
                      <a:pt x="1121" y="400"/>
                    </a:lnTo>
                    <a:lnTo>
                      <a:pt x="1121" y="399"/>
                    </a:lnTo>
                    <a:lnTo>
                      <a:pt x="1121" y="397"/>
                    </a:lnTo>
                    <a:lnTo>
                      <a:pt x="1120" y="397"/>
                    </a:lnTo>
                    <a:lnTo>
                      <a:pt x="1120" y="395"/>
                    </a:lnTo>
                    <a:lnTo>
                      <a:pt x="1118" y="397"/>
                    </a:lnTo>
                    <a:lnTo>
                      <a:pt x="1113" y="392"/>
                    </a:lnTo>
                    <a:lnTo>
                      <a:pt x="1113" y="389"/>
                    </a:lnTo>
                    <a:lnTo>
                      <a:pt x="1116" y="384"/>
                    </a:lnTo>
                    <a:lnTo>
                      <a:pt x="1118" y="377"/>
                    </a:lnTo>
                    <a:lnTo>
                      <a:pt x="1115" y="372"/>
                    </a:lnTo>
                    <a:lnTo>
                      <a:pt x="1116" y="367"/>
                    </a:lnTo>
                    <a:lnTo>
                      <a:pt x="1121" y="365"/>
                    </a:lnTo>
                    <a:lnTo>
                      <a:pt x="1120" y="364"/>
                    </a:lnTo>
                    <a:lnTo>
                      <a:pt x="1121" y="359"/>
                    </a:lnTo>
                    <a:lnTo>
                      <a:pt x="1120" y="357"/>
                    </a:lnTo>
                    <a:lnTo>
                      <a:pt x="1120" y="359"/>
                    </a:lnTo>
                    <a:lnTo>
                      <a:pt x="1118" y="364"/>
                    </a:lnTo>
                    <a:lnTo>
                      <a:pt x="1113" y="367"/>
                    </a:lnTo>
                    <a:lnTo>
                      <a:pt x="1110" y="369"/>
                    </a:lnTo>
                    <a:lnTo>
                      <a:pt x="1108" y="369"/>
                    </a:lnTo>
                    <a:lnTo>
                      <a:pt x="1111" y="372"/>
                    </a:lnTo>
                    <a:lnTo>
                      <a:pt x="1110" y="374"/>
                    </a:lnTo>
                    <a:lnTo>
                      <a:pt x="1110" y="380"/>
                    </a:lnTo>
                    <a:lnTo>
                      <a:pt x="1110" y="384"/>
                    </a:lnTo>
                    <a:lnTo>
                      <a:pt x="1110" y="385"/>
                    </a:lnTo>
                    <a:lnTo>
                      <a:pt x="1110" y="390"/>
                    </a:lnTo>
                    <a:lnTo>
                      <a:pt x="1110" y="399"/>
                    </a:lnTo>
                    <a:lnTo>
                      <a:pt x="1108" y="399"/>
                    </a:lnTo>
                    <a:lnTo>
                      <a:pt x="1101" y="394"/>
                    </a:lnTo>
                    <a:lnTo>
                      <a:pt x="1098" y="392"/>
                    </a:lnTo>
                    <a:lnTo>
                      <a:pt x="1095" y="387"/>
                    </a:lnTo>
                    <a:lnTo>
                      <a:pt x="1092" y="387"/>
                    </a:lnTo>
                    <a:lnTo>
                      <a:pt x="1092" y="385"/>
                    </a:lnTo>
                    <a:lnTo>
                      <a:pt x="1093" y="380"/>
                    </a:lnTo>
                    <a:lnTo>
                      <a:pt x="1090" y="385"/>
                    </a:lnTo>
                    <a:lnTo>
                      <a:pt x="1090" y="389"/>
                    </a:lnTo>
                    <a:lnTo>
                      <a:pt x="1093" y="390"/>
                    </a:lnTo>
                    <a:lnTo>
                      <a:pt x="1096" y="394"/>
                    </a:lnTo>
                    <a:lnTo>
                      <a:pt x="1101" y="395"/>
                    </a:lnTo>
                    <a:lnTo>
                      <a:pt x="1106" y="402"/>
                    </a:lnTo>
                    <a:lnTo>
                      <a:pt x="1111" y="404"/>
                    </a:lnTo>
                    <a:lnTo>
                      <a:pt x="1111" y="407"/>
                    </a:lnTo>
                    <a:lnTo>
                      <a:pt x="1110" y="412"/>
                    </a:lnTo>
                    <a:lnTo>
                      <a:pt x="1106" y="412"/>
                    </a:lnTo>
                    <a:lnTo>
                      <a:pt x="1105" y="409"/>
                    </a:lnTo>
                    <a:lnTo>
                      <a:pt x="1103" y="407"/>
                    </a:lnTo>
                    <a:lnTo>
                      <a:pt x="1105" y="412"/>
                    </a:lnTo>
                    <a:lnTo>
                      <a:pt x="1110" y="415"/>
                    </a:lnTo>
                    <a:lnTo>
                      <a:pt x="1111" y="419"/>
                    </a:lnTo>
                    <a:lnTo>
                      <a:pt x="1110" y="420"/>
                    </a:lnTo>
                    <a:lnTo>
                      <a:pt x="1110" y="422"/>
                    </a:lnTo>
                    <a:lnTo>
                      <a:pt x="1105" y="420"/>
                    </a:lnTo>
                    <a:lnTo>
                      <a:pt x="1110" y="425"/>
                    </a:lnTo>
                    <a:lnTo>
                      <a:pt x="1108" y="429"/>
                    </a:lnTo>
                    <a:lnTo>
                      <a:pt x="1105" y="427"/>
                    </a:lnTo>
                    <a:lnTo>
                      <a:pt x="1103" y="424"/>
                    </a:lnTo>
                    <a:lnTo>
                      <a:pt x="1096" y="424"/>
                    </a:lnTo>
                    <a:lnTo>
                      <a:pt x="1093" y="422"/>
                    </a:lnTo>
                    <a:lnTo>
                      <a:pt x="1096" y="425"/>
                    </a:lnTo>
                    <a:lnTo>
                      <a:pt x="1100" y="427"/>
                    </a:lnTo>
                    <a:lnTo>
                      <a:pt x="1103" y="427"/>
                    </a:lnTo>
                    <a:lnTo>
                      <a:pt x="1105" y="432"/>
                    </a:lnTo>
                    <a:lnTo>
                      <a:pt x="1110" y="434"/>
                    </a:lnTo>
                    <a:lnTo>
                      <a:pt x="1113" y="432"/>
                    </a:lnTo>
                    <a:lnTo>
                      <a:pt x="1115" y="434"/>
                    </a:lnTo>
                    <a:lnTo>
                      <a:pt x="1116" y="438"/>
                    </a:lnTo>
                    <a:lnTo>
                      <a:pt x="1115" y="442"/>
                    </a:lnTo>
                    <a:lnTo>
                      <a:pt x="1111" y="440"/>
                    </a:lnTo>
                    <a:lnTo>
                      <a:pt x="1111" y="443"/>
                    </a:lnTo>
                    <a:lnTo>
                      <a:pt x="1113" y="445"/>
                    </a:lnTo>
                    <a:lnTo>
                      <a:pt x="1115" y="450"/>
                    </a:lnTo>
                    <a:lnTo>
                      <a:pt x="1113" y="452"/>
                    </a:lnTo>
                    <a:lnTo>
                      <a:pt x="1110" y="452"/>
                    </a:lnTo>
                    <a:lnTo>
                      <a:pt x="1108" y="453"/>
                    </a:lnTo>
                    <a:lnTo>
                      <a:pt x="1101" y="455"/>
                    </a:lnTo>
                    <a:lnTo>
                      <a:pt x="1100" y="457"/>
                    </a:lnTo>
                    <a:lnTo>
                      <a:pt x="1096" y="455"/>
                    </a:lnTo>
                    <a:lnTo>
                      <a:pt x="1095" y="452"/>
                    </a:lnTo>
                    <a:lnTo>
                      <a:pt x="1093" y="452"/>
                    </a:lnTo>
                    <a:lnTo>
                      <a:pt x="1093" y="458"/>
                    </a:lnTo>
                    <a:lnTo>
                      <a:pt x="1092" y="462"/>
                    </a:lnTo>
                    <a:lnTo>
                      <a:pt x="1096" y="460"/>
                    </a:lnTo>
                    <a:lnTo>
                      <a:pt x="1106" y="458"/>
                    </a:lnTo>
                    <a:lnTo>
                      <a:pt x="1108" y="460"/>
                    </a:lnTo>
                    <a:lnTo>
                      <a:pt x="1108" y="465"/>
                    </a:lnTo>
                    <a:lnTo>
                      <a:pt x="1111" y="467"/>
                    </a:lnTo>
                    <a:lnTo>
                      <a:pt x="1111" y="463"/>
                    </a:lnTo>
                    <a:lnTo>
                      <a:pt x="1115" y="460"/>
                    </a:lnTo>
                    <a:lnTo>
                      <a:pt x="1115" y="460"/>
                    </a:lnTo>
                    <a:lnTo>
                      <a:pt x="1116" y="463"/>
                    </a:lnTo>
                    <a:lnTo>
                      <a:pt x="1116" y="468"/>
                    </a:lnTo>
                    <a:lnTo>
                      <a:pt x="1115" y="468"/>
                    </a:lnTo>
                    <a:lnTo>
                      <a:pt x="1110" y="472"/>
                    </a:lnTo>
                    <a:lnTo>
                      <a:pt x="1108" y="475"/>
                    </a:lnTo>
                    <a:lnTo>
                      <a:pt x="1105" y="477"/>
                    </a:lnTo>
                    <a:lnTo>
                      <a:pt x="1101" y="475"/>
                    </a:lnTo>
                    <a:lnTo>
                      <a:pt x="1098" y="475"/>
                    </a:lnTo>
                    <a:lnTo>
                      <a:pt x="1096" y="470"/>
                    </a:lnTo>
                    <a:lnTo>
                      <a:pt x="1096" y="473"/>
                    </a:lnTo>
                    <a:lnTo>
                      <a:pt x="1093" y="475"/>
                    </a:lnTo>
                    <a:lnTo>
                      <a:pt x="1090" y="473"/>
                    </a:lnTo>
                    <a:lnTo>
                      <a:pt x="1087" y="473"/>
                    </a:lnTo>
                    <a:lnTo>
                      <a:pt x="1090" y="475"/>
                    </a:lnTo>
                    <a:lnTo>
                      <a:pt x="1095" y="477"/>
                    </a:lnTo>
                    <a:lnTo>
                      <a:pt x="1096" y="478"/>
                    </a:lnTo>
                    <a:lnTo>
                      <a:pt x="1095" y="482"/>
                    </a:lnTo>
                    <a:lnTo>
                      <a:pt x="1095" y="482"/>
                    </a:lnTo>
                    <a:lnTo>
                      <a:pt x="1088" y="485"/>
                    </a:lnTo>
                    <a:lnTo>
                      <a:pt x="1085" y="483"/>
                    </a:lnTo>
                    <a:lnTo>
                      <a:pt x="1088" y="487"/>
                    </a:lnTo>
                    <a:lnTo>
                      <a:pt x="1095" y="487"/>
                    </a:lnTo>
                    <a:lnTo>
                      <a:pt x="1098" y="483"/>
                    </a:lnTo>
                    <a:lnTo>
                      <a:pt x="1100" y="485"/>
                    </a:lnTo>
                    <a:lnTo>
                      <a:pt x="1101" y="485"/>
                    </a:lnTo>
                    <a:lnTo>
                      <a:pt x="1096" y="490"/>
                    </a:lnTo>
                    <a:lnTo>
                      <a:pt x="1093" y="490"/>
                    </a:lnTo>
                    <a:lnTo>
                      <a:pt x="1092" y="488"/>
                    </a:lnTo>
                    <a:lnTo>
                      <a:pt x="1088" y="490"/>
                    </a:lnTo>
                    <a:lnTo>
                      <a:pt x="1088" y="490"/>
                    </a:lnTo>
                    <a:lnTo>
                      <a:pt x="1082" y="492"/>
                    </a:lnTo>
                    <a:lnTo>
                      <a:pt x="1070" y="497"/>
                    </a:lnTo>
                    <a:lnTo>
                      <a:pt x="1058" y="507"/>
                    </a:lnTo>
                    <a:lnTo>
                      <a:pt x="1053" y="513"/>
                    </a:lnTo>
                    <a:lnTo>
                      <a:pt x="1052" y="513"/>
                    </a:lnTo>
                    <a:lnTo>
                      <a:pt x="1050" y="512"/>
                    </a:lnTo>
                    <a:lnTo>
                      <a:pt x="1042" y="513"/>
                    </a:lnTo>
                    <a:lnTo>
                      <a:pt x="1038" y="517"/>
                    </a:lnTo>
                    <a:lnTo>
                      <a:pt x="1028" y="527"/>
                    </a:lnTo>
                    <a:lnTo>
                      <a:pt x="1028" y="530"/>
                    </a:lnTo>
                    <a:lnTo>
                      <a:pt x="1025" y="533"/>
                    </a:lnTo>
                    <a:lnTo>
                      <a:pt x="1022" y="533"/>
                    </a:lnTo>
                    <a:lnTo>
                      <a:pt x="1022" y="535"/>
                    </a:lnTo>
                    <a:lnTo>
                      <a:pt x="1018" y="540"/>
                    </a:lnTo>
                    <a:lnTo>
                      <a:pt x="1015" y="538"/>
                    </a:lnTo>
                    <a:lnTo>
                      <a:pt x="1012" y="540"/>
                    </a:lnTo>
                    <a:lnTo>
                      <a:pt x="1012" y="541"/>
                    </a:lnTo>
                    <a:lnTo>
                      <a:pt x="1007" y="541"/>
                    </a:lnTo>
                    <a:lnTo>
                      <a:pt x="1003" y="545"/>
                    </a:lnTo>
                    <a:lnTo>
                      <a:pt x="997" y="545"/>
                    </a:lnTo>
                    <a:lnTo>
                      <a:pt x="995" y="546"/>
                    </a:lnTo>
                    <a:lnTo>
                      <a:pt x="990" y="546"/>
                    </a:lnTo>
                    <a:lnTo>
                      <a:pt x="989" y="550"/>
                    </a:lnTo>
                    <a:lnTo>
                      <a:pt x="984" y="550"/>
                    </a:lnTo>
                    <a:lnTo>
                      <a:pt x="982" y="550"/>
                    </a:lnTo>
                    <a:lnTo>
                      <a:pt x="984" y="551"/>
                    </a:lnTo>
                    <a:lnTo>
                      <a:pt x="984" y="555"/>
                    </a:lnTo>
                    <a:lnTo>
                      <a:pt x="980" y="560"/>
                    </a:lnTo>
                    <a:lnTo>
                      <a:pt x="979" y="560"/>
                    </a:lnTo>
                    <a:lnTo>
                      <a:pt x="975" y="563"/>
                    </a:lnTo>
                    <a:lnTo>
                      <a:pt x="972" y="563"/>
                    </a:lnTo>
                    <a:lnTo>
                      <a:pt x="967" y="570"/>
                    </a:lnTo>
                    <a:lnTo>
                      <a:pt x="964" y="576"/>
                    </a:lnTo>
                    <a:lnTo>
                      <a:pt x="964" y="583"/>
                    </a:lnTo>
                    <a:lnTo>
                      <a:pt x="964" y="596"/>
                    </a:lnTo>
                    <a:lnTo>
                      <a:pt x="964" y="603"/>
                    </a:lnTo>
                    <a:lnTo>
                      <a:pt x="962" y="613"/>
                    </a:lnTo>
                    <a:lnTo>
                      <a:pt x="965" y="618"/>
                    </a:lnTo>
                    <a:lnTo>
                      <a:pt x="965" y="628"/>
                    </a:lnTo>
                    <a:lnTo>
                      <a:pt x="969" y="633"/>
                    </a:lnTo>
                    <a:lnTo>
                      <a:pt x="970" y="643"/>
                    </a:lnTo>
                    <a:lnTo>
                      <a:pt x="974" y="646"/>
                    </a:lnTo>
                    <a:lnTo>
                      <a:pt x="975" y="651"/>
                    </a:lnTo>
                    <a:lnTo>
                      <a:pt x="974" y="656"/>
                    </a:lnTo>
                    <a:lnTo>
                      <a:pt x="972" y="663"/>
                    </a:lnTo>
                    <a:lnTo>
                      <a:pt x="974" y="664"/>
                    </a:lnTo>
                    <a:lnTo>
                      <a:pt x="977" y="678"/>
                    </a:lnTo>
                    <a:lnTo>
                      <a:pt x="982" y="681"/>
                    </a:lnTo>
                    <a:lnTo>
                      <a:pt x="984" y="688"/>
                    </a:lnTo>
                    <a:lnTo>
                      <a:pt x="980" y="689"/>
                    </a:lnTo>
                    <a:lnTo>
                      <a:pt x="982" y="691"/>
                    </a:lnTo>
                    <a:lnTo>
                      <a:pt x="980" y="699"/>
                    </a:lnTo>
                    <a:lnTo>
                      <a:pt x="980" y="701"/>
                    </a:lnTo>
                    <a:lnTo>
                      <a:pt x="980" y="706"/>
                    </a:lnTo>
                    <a:lnTo>
                      <a:pt x="975" y="713"/>
                    </a:lnTo>
                    <a:lnTo>
                      <a:pt x="974" y="718"/>
                    </a:lnTo>
                    <a:lnTo>
                      <a:pt x="970" y="723"/>
                    </a:lnTo>
                    <a:lnTo>
                      <a:pt x="970" y="728"/>
                    </a:lnTo>
                    <a:lnTo>
                      <a:pt x="967" y="729"/>
                    </a:lnTo>
                    <a:lnTo>
                      <a:pt x="962" y="731"/>
                    </a:lnTo>
                    <a:lnTo>
                      <a:pt x="957" y="729"/>
                    </a:lnTo>
                    <a:lnTo>
                      <a:pt x="955" y="726"/>
                    </a:lnTo>
                    <a:lnTo>
                      <a:pt x="950" y="726"/>
                    </a:lnTo>
                    <a:lnTo>
                      <a:pt x="952" y="724"/>
                    </a:lnTo>
                    <a:lnTo>
                      <a:pt x="947" y="719"/>
                    </a:lnTo>
                    <a:lnTo>
                      <a:pt x="947" y="716"/>
                    </a:lnTo>
                    <a:lnTo>
                      <a:pt x="945" y="713"/>
                    </a:lnTo>
                    <a:lnTo>
                      <a:pt x="942" y="713"/>
                    </a:lnTo>
                    <a:lnTo>
                      <a:pt x="940" y="711"/>
                    </a:lnTo>
                    <a:lnTo>
                      <a:pt x="940" y="706"/>
                    </a:lnTo>
                    <a:lnTo>
                      <a:pt x="939" y="701"/>
                    </a:lnTo>
                    <a:lnTo>
                      <a:pt x="934" y="698"/>
                    </a:lnTo>
                    <a:lnTo>
                      <a:pt x="932" y="694"/>
                    </a:lnTo>
                    <a:lnTo>
                      <a:pt x="935" y="693"/>
                    </a:lnTo>
                    <a:lnTo>
                      <a:pt x="935" y="689"/>
                    </a:lnTo>
                    <a:lnTo>
                      <a:pt x="939" y="686"/>
                    </a:lnTo>
                    <a:lnTo>
                      <a:pt x="935" y="688"/>
                    </a:lnTo>
                    <a:lnTo>
                      <a:pt x="932" y="686"/>
                    </a:lnTo>
                    <a:lnTo>
                      <a:pt x="932" y="688"/>
                    </a:lnTo>
                    <a:lnTo>
                      <a:pt x="930" y="689"/>
                    </a:lnTo>
                    <a:lnTo>
                      <a:pt x="930" y="686"/>
                    </a:lnTo>
                    <a:lnTo>
                      <a:pt x="929" y="686"/>
                    </a:lnTo>
                    <a:lnTo>
                      <a:pt x="927" y="684"/>
                    </a:lnTo>
                    <a:lnTo>
                      <a:pt x="924" y="681"/>
                    </a:lnTo>
                    <a:lnTo>
                      <a:pt x="924" y="676"/>
                    </a:lnTo>
                    <a:lnTo>
                      <a:pt x="922" y="674"/>
                    </a:lnTo>
                    <a:lnTo>
                      <a:pt x="929" y="666"/>
                    </a:lnTo>
                    <a:lnTo>
                      <a:pt x="929" y="663"/>
                    </a:lnTo>
                    <a:lnTo>
                      <a:pt x="925" y="661"/>
                    </a:lnTo>
                    <a:lnTo>
                      <a:pt x="922" y="663"/>
                    </a:lnTo>
                    <a:lnTo>
                      <a:pt x="924" y="664"/>
                    </a:lnTo>
                    <a:lnTo>
                      <a:pt x="920" y="668"/>
                    </a:lnTo>
                    <a:lnTo>
                      <a:pt x="919" y="668"/>
                    </a:lnTo>
                    <a:lnTo>
                      <a:pt x="917" y="664"/>
                    </a:lnTo>
                    <a:lnTo>
                      <a:pt x="917" y="661"/>
                    </a:lnTo>
                    <a:lnTo>
                      <a:pt x="922" y="653"/>
                    </a:lnTo>
                    <a:lnTo>
                      <a:pt x="925" y="643"/>
                    </a:lnTo>
                    <a:lnTo>
                      <a:pt x="925" y="638"/>
                    </a:lnTo>
                    <a:lnTo>
                      <a:pt x="922" y="633"/>
                    </a:lnTo>
                    <a:lnTo>
                      <a:pt x="919" y="631"/>
                    </a:lnTo>
                    <a:lnTo>
                      <a:pt x="915" y="628"/>
                    </a:lnTo>
                    <a:lnTo>
                      <a:pt x="917" y="626"/>
                    </a:lnTo>
                    <a:lnTo>
                      <a:pt x="914" y="626"/>
                    </a:lnTo>
                    <a:lnTo>
                      <a:pt x="910" y="625"/>
                    </a:lnTo>
                    <a:lnTo>
                      <a:pt x="910" y="620"/>
                    </a:lnTo>
                    <a:lnTo>
                      <a:pt x="909" y="620"/>
                    </a:lnTo>
                    <a:lnTo>
                      <a:pt x="905" y="618"/>
                    </a:lnTo>
                    <a:lnTo>
                      <a:pt x="904" y="610"/>
                    </a:lnTo>
                    <a:lnTo>
                      <a:pt x="899" y="608"/>
                    </a:lnTo>
                    <a:lnTo>
                      <a:pt x="895" y="606"/>
                    </a:lnTo>
                    <a:lnTo>
                      <a:pt x="891" y="606"/>
                    </a:lnTo>
                    <a:lnTo>
                      <a:pt x="887" y="610"/>
                    </a:lnTo>
                    <a:lnTo>
                      <a:pt x="887" y="610"/>
                    </a:lnTo>
                    <a:lnTo>
                      <a:pt x="886" y="611"/>
                    </a:lnTo>
                    <a:lnTo>
                      <a:pt x="884" y="610"/>
                    </a:lnTo>
                    <a:lnTo>
                      <a:pt x="877" y="616"/>
                    </a:lnTo>
                    <a:lnTo>
                      <a:pt x="874" y="616"/>
                    </a:lnTo>
                    <a:lnTo>
                      <a:pt x="866" y="618"/>
                    </a:lnTo>
                    <a:lnTo>
                      <a:pt x="866" y="616"/>
                    </a:lnTo>
                    <a:lnTo>
                      <a:pt x="866" y="615"/>
                    </a:lnTo>
                    <a:lnTo>
                      <a:pt x="867" y="615"/>
                    </a:lnTo>
                    <a:lnTo>
                      <a:pt x="867" y="615"/>
                    </a:lnTo>
                    <a:lnTo>
                      <a:pt x="867" y="613"/>
                    </a:lnTo>
                    <a:lnTo>
                      <a:pt x="864" y="610"/>
                    </a:lnTo>
                    <a:lnTo>
                      <a:pt x="859" y="606"/>
                    </a:lnTo>
                    <a:lnTo>
                      <a:pt x="859" y="606"/>
                    </a:lnTo>
                    <a:lnTo>
                      <a:pt x="862" y="608"/>
                    </a:lnTo>
                    <a:lnTo>
                      <a:pt x="862" y="606"/>
                    </a:lnTo>
                    <a:lnTo>
                      <a:pt x="859" y="603"/>
                    </a:lnTo>
                    <a:lnTo>
                      <a:pt x="857" y="601"/>
                    </a:lnTo>
                    <a:lnTo>
                      <a:pt x="856" y="600"/>
                    </a:lnTo>
                    <a:lnTo>
                      <a:pt x="854" y="603"/>
                    </a:lnTo>
                    <a:lnTo>
                      <a:pt x="857" y="605"/>
                    </a:lnTo>
                    <a:lnTo>
                      <a:pt x="854" y="603"/>
                    </a:lnTo>
                    <a:lnTo>
                      <a:pt x="849" y="600"/>
                    </a:lnTo>
                    <a:lnTo>
                      <a:pt x="844" y="600"/>
                    </a:lnTo>
                    <a:lnTo>
                      <a:pt x="837" y="600"/>
                    </a:lnTo>
                    <a:lnTo>
                      <a:pt x="837" y="598"/>
                    </a:lnTo>
                    <a:lnTo>
                      <a:pt x="844" y="598"/>
                    </a:lnTo>
                    <a:lnTo>
                      <a:pt x="847" y="598"/>
                    </a:lnTo>
                    <a:lnTo>
                      <a:pt x="846" y="596"/>
                    </a:lnTo>
                    <a:lnTo>
                      <a:pt x="841" y="596"/>
                    </a:lnTo>
                    <a:lnTo>
                      <a:pt x="836" y="600"/>
                    </a:lnTo>
                    <a:lnTo>
                      <a:pt x="832" y="598"/>
                    </a:lnTo>
                    <a:lnTo>
                      <a:pt x="826" y="600"/>
                    </a:lnTo>
                    <a:lnTo>
                      <a:pt x="822" y="598"/>
                    </a:lnTo>
                    <a:lnTo>
                      <a:pt x="819" y="600"/>
                    </a:lnTo>
                    <a:lnTo>
                      <a:pt x="812" y="598"/>
                    </a:lnTo>
                    <a:lnTo>
                      <a:pt x="809" y="600"/>
                    </a:lnTo>
                    <a:lnTo>
                      <a:pt x="804" y="596"/>
                    </a:lnTo>
                    <a:lnTo>
                      <a:pt x="804" y="595"/>
                    </a:lnTo>
                    <a:lnTo>
                      <a:pt x="804" y="591"/>
                    </a:lnTo>
                    <a:lnTo>
                      <a:pt x="801" y="591"/>
                    </a:lnTo>
                    <a:lnTo>
                      <a:pt x="799" y="595"/>
                    </a:lnTo>
                    <a:lnTo>
                      <a:pt x="797" y="598"/>
                    </a:lnTo>
                    <a:lnTo>
                      <a:pt x="794" y="598"/>
                    </a:lnTo>
                    <a:lnTo>
                      <a:pt x="791" y="598"/>
                    </a:lnTo>
                    <a:lnTo>
                      <a:pt x="786" y="598"/>
                    </a:lnTo>
                    <a:lnTo>
                      <a:pt x="771" y="600"/>
                    </a:lnTo>
                    <a:lnTo>
                      <a:pt x="768" y="603"/>
                    </a:lnTo>
                    <a:lnTo>
                      <a:pt x="759" y="606"/>
                    </a:lnTo>
                    <a:lnTo>
                      <a:pt x="754" y="610"/>
                    </a:lnTo>
                    <a:lnTo>
                      <a:pt x="754" y="613"/>
                    </a:lnTo>
                    <a:lnTo>
                      <a:pt x="758" y="611"/>
                    </a:lnTo>
                    <a:lnTo>
                      <a:pt x="761" y="610"/>
                    </a:lnTo>
                    <a:lnTo>
                      <a:pt x="763" y="610"/>
                    </a:lnTo>
                    <a:lnTo>
                      <a:pt x="764" y="611"/>
                    </a:lnTo>
                    <a:lnTo>
                      <a:pt x="768" y="613"/>
                    </a:lnTo>
                    <a:lnTo>
                      <a:pt x="766" y="615"/>
                    </a:lnTo>
                    <a:lnTo>
                      <a:pt x="759" y="618"/>
                    </a:lnTo>
                    <a:lnTo>
                      <a:pt x="759" y="621"/>
                    </a:lnTo>
                    <a:lnTo>
                      <a:pt x="761" y="625"/>
                    </a:lnTo>
                    <a:lnTo>
                      <a:pt x="768" y="626"/>
                    </a:lnTo>
                    <a:lnTo>
                      <a:pt x="774" y="631"/>
                    </a:lnTo>
                    <a:lnTo>
                      <a:pt x="773" y="633"/>
                    </a:lnTo>
                    <a:lnTo>
                      <a:pt x="769" y="633"/>
                    </a:lnTo>
                    <a:lnTo>
                      <a:pt x="768" y="636"/>
                    </a:lnTo>
                    <a:lnTo>
                      <a:pt x="768" y="631"/>
                    </a:lnTo>
                    <a:lnTo>
                      <a:pt x="766" y="630"/>
                    </a:lnTo>
                    <a:lnTo>
                      <a:pt x="763" y="631"/>
                    </a:lnTo>
                    <a:lnTo>
                      <a:pt x="761" y="628"/>
                    </a:lnTo>
                    <a:lnTo>
                      <a:pt x="756" y="626"/>
                    </a:lnTo>
                    <a:lnTo>
                      <a:pt x="753" y="621"/>
                    </a:lnTo>
                    <a:lnTo>
                      <a:pt x="749" y="621"/>
                    </a:lnTo>
                    <a:lnTo>
                      <a:pt x="751" y="626"/>
                    </a:lnTo>
                    <a:lnTo>
                      <a:pt x="751" y="631"/>
                    </a:lnTo>
                    <a:lnTo>
                      <a:pt x="748" y="633"/>
                    </a:lnTo>
                    <a:lnTo>
                      <a:pt x="746" y="630"/>
                    </a:lnTo>
                    <a:lnTo>
                      <a:pt x="741" y="628"/>
                    </a:lnTo>
                    <a:lnTo>
                      <a:pt x="738" y="630"/>
                    </a:lnTo>
                    <a:lnTo>
                      <a:pt x="734" y="633"/>
                    </a:lnTo>
                    <a:lnTo>
                      <a:pt x="729" y="631"/>
                    </a:lnTo>
                    <a:lnTo>
                      <a:pt x="726" y="630"/>
                    </a:lnTo>
                    <a:lnTo>
                      <a:pt x="721" y="630"/>
                    </a:lnTo>
                    <a:lnTo>
                      <a:pt x="719" y="628"/>
                    </a:lnTo>
                    <a:lnTo>
                      <a:pt x="721" y="626"/>
                    </a:lnTo>
                    <a:lnTo>
                      <a:pt x="724" y="625"/>
                    </a:lnTo>
                    <a:lnTo>
                      <a:pt x="723" y="621"/>
                    </a:lnTo>
                    <a:lnTo>
                      <a:pt x="718" y="623"/>
                    </a:lnTo>
                    <a:lnTo>
                      <a:pt x="716" y="621"/>
                    </a:lnTo>
                    <a:lnTo>
                      <a:pt x="716" y="618"/>
                    </a:lnTo>
                    <a:lnTo>
                      <a:pt x="714" y="616"/>
                    </a:lnTo>
                    <a:lnTo>
                      <a:pt x="711" y="616"/>
                    </a:lnTo>
                    <a:lnTo>
                      <a:pt x="709" y="616"/>
                    </a:lnTo>
                    <a:lnTo>
                      <a:pt x="711" y="613"/>
                    </a:lnTo>
                    <a:lnTo>
                      <a:pt x="708" y="613"/>
                    </a:lnTo>
                    <a:lnTo>
                      <a:pt x="703" y="615"/>
                    </a:lnTo>
                    <a:lnTo>
                      <a:pt x="703" y="616"/>
                    </a:lnTo>
                    <a:lnTo>
                      <a:pt x="703" y="620"/>
                    </a:lnTo>
                    <a:lnTo>
                      <a:pt x="699" y="620"/>
                    </a:lnTo>
                    <a:lnTo>
                      <a:pt x="685" y="618"/>
                    </a:lnTo>
                    <a:lnTo>
                      <a:pt x="683" y="616"/>
                    </a:lnTo>
                    <a:lnTo>
                      <a:pt x="671" y="613"/>
                    </a:lnTo>
                    <a:lnTo>
                      <a:pt x="666" y="613"/>
                    </a:lnTo>
                    <a:lnTo>
                      <a:pt x="658" y="615"/>
                    </a:lnTo>
                    <a:lnTo>
                      <a:pt x="655" y="618"/>
                    </a:lnTo>
                    <a:lnTo>
                      <a:pt x="651" y="618"/>
                    </a:lnTo>
                    <a:lnTo>
                      <a:pt x="646" y="623"/>
                    </a:lnTo>
                    <a:lnTo>
                      <a:pt x="641" y="623"/>
                    </a:lnTo>
                    <a:lnTo>
                      <a:pt x="643" y="620"/>
                    </a:lnTo>
                    <a:lnTo>
                      <a:pt x="641" y="616"/>
                    </a:lnTo>
                    <a:lnTo>
                      <a:pt x="643" y="613"/>
                    </a:lnTo>
                    <a:lnTo>
                      <a:pt x="641" y="608"/>
                    </a:lnTo>
                    <a:lnTo>
                      <a:pt x="641" y="611"/>
                    </a:lnTo>
                    <a:lnTo>
                      <a:pt x="636" y="615"/>
                    </a:lnTo>
                    <a:lnTo>
                      <a:pt x="635" y="615"/>
                    </a:lnTo>
                    <a:lnTo>
                      <a:pt x="631" y="611"/>
                    </a:lnTo>
                    <a:lnTo>
                      <a:pt x="635" y="618"/>
                    </a:lnTo>
                    <a:lnTo>
                      <a:pt x="635" y="623"/>
                    </a:lnTo>
                    <a:lnTo>
                      <a:pt x="636" y="626"/>
                    </a:lnTo>
                    <a:lnTo>
                      <a:pt x="633" y="630"/>
                    </a:lnTo>
                    <a:lnTo>
                      <a:pt x="630" y="630"/>
                    </a:lnTo>
                    <a:lnTo>
                      <a:pt x="621" y="634"/>
                    </a:lnTo>
                    <a:lnTo>
                      <a:pt x="611" y="639"/>
                    </a:lnTo>
                    <a:lnTo>
                      <a:pt x="608" y="639"/>
                    </a:lnTo>
                    <a:lnTo>
                      <a:pt x="603" y="643"/>
                    </a:lnTo>
                    <a:lnTo>
                      <a:pt x="600" y="643"/>
                    </a:lnTo>
                    <a:lnTo>
                      <a:pt x="605" y="639"/>
                    </a:lnTo>
                    <a:lnTo>
                      <a:pt x="601" y="638"/>
                    </a:lnTo>
                    <a:lnTo>
                      <a:pt x="598" y="639"/>
                    </a:lnTo>
                    <a:lnTo>
                      <a:pt x="596" y="638"/>
                    </a:lnTo>
                    <a:lnTo>
                      <a:pt x="592" y="639"/>
                    </a:lnTo>
                    <a:lnTo>
                      <a:pt x="595" y="643"/>
                    </a:lnTo>
                    <a:lnTo>
                      <a:pt x="590" y="644"/>
                    </a:lnTo>
                    <a:lnTo>
                      <a:pt x="587" y="643"/>
                    </a:lnTo>
                    <a:lnTo>
                      <a:pt x="588" y="648"/>
                    </a:lnTo>
                    <a:lnTo>
                      <a:pt x="583" y="649"/>
                    </a:lnTo>
                    <a:lnTo>
                      <a:pt x="582" y="648"/>
                    </a:lnTo>
                    <a:lnTo>
                      <a:pt x="577" y="653"/>
                    </a:lnTo>
                    <a:lnTo>
                      <a:pt x="580" y="656"/>
                    </a:lnTo>
                    <a:lnTo>
                      <a:pt x="575" y="659"/>
                    </a:lnTo>
                    <a:lnTo>
                      <a:pt x="572" y="661"/>
                    </a:lnTo>
                    <a:lnTo>
                      <a:pt x="573" y="669"/>
                    </a:lnTo>
                    <a:lnTo>
                      <a:pt x="570" y="673"/>
                    </a:lnTo>
                    <a:lnTo>
                      <a:pt x="567" y="679"/>
                    </a:lnTo>
                    <a:lnTo>
                      <a:pt x="565" y="684"/>
                    </a:lnTo>
                    <a:lnTo>
                      <a:pt x="567" y="688"/>
                    </a:lnTo>
                    <a:lnTo>
                      <a:pt x="567" y="698"/>
                    </a:lnTo>
                    <a:lnTo>
                      <a:pt x="567" y="701"/>
                    </a:lnTo>
                    <a:lnTo>
                      <a:pt x="565" y="706"/>
                    </a:lnTo>
                    <a:lnTo>
                      <a:pt x="563" y="713"/>
                    </a:lnTo>
                    <a:lnTo>
                      <a:pt x="562" y="711"/>
                    </a:lnTo>
                    <a:lnTo>
                      <a:pt x="560" y="708"/>
                    </a:lnTo>
                    <a:lnTo>
                      <a:pt x="555" y="708"/>
                    </a:lnTo>
                    <a:lnTo>
                      <a:pt x="550" y="706"/>
                    </a:lnTo>
                    <a:lnTo>
                      <a:pt x="542" y="703"/>
                    </a:lnTo>
                    <a:lnTo>
                      <a:pt x="538" y="699"/>
                    </a:lnTo>
                    <a:lnTo>
                      <a:pt x="535" y="698"/>
                    </a:lnTo>
                    <a:lnTo>
                      <a:pt x="532" y="698"/>
                    </a:lnTo>
                    <a:lnTo>
                      <a:pt x="530" y="698"/>
                    </a:lnTo>
                    <a:lnTo>
                      <a:pt x="528" y="696"/>
                    </a:lnTo>
                    <a:lnTo>
                      <a:pt x="527" y="694"/>
                    </a:lnTo>
                    <a:lnTo>
                      <a:pt x="527" y="689"/>
                    </a:lnTo>
                    <a:lnTo>
                      <a:pt x="522" y="676"/>
                    </a:lnTo>
                    <a:lnTo>
                      <a:pt x="522" y="674"/>
                    </a:lnTo>
                    <a:lnTo>
                      <a:pt x="522" y="674"/>
                    </a:lnTo>
                    <a:lnTo>
                      <a:pt x="522" y="669"/>
                    </a:lnTo>
                    <a:lnTo>
                      <a:pt x="523" y="666"/>
                    </a:lnTo>
                    <a:lnTo>
                      <a:pt x="518" y="661"/>
                    </a:lnTo>
                    <a:lnTo>
                      <a:pt x="517" y="658"/>
                    </a:lnTo>
                    <a:lnTo>
                      <a:pt x="515" y="654"/>
                    </a:lnTo>
                    <a:lnTo>
                      <a:pt x="512" y="653"/>
                    </a:lnTo>
                    <a:lnTo>
                      <a:pt x="510" y="649"/>
                    </a:lnTo>
                    <a:lnTo>
                      <a:pt x="508" y="648"/>
                    </a:lnTo>
                    <a:lnTo>
                      <a:pt x="505" y="639"/>
                    </a:lnTo>
                    <a:lnTo>
                      <a:pt x="503" y="638"/>
                    </a:lnTo>
                    <a:lnTo>
                      <a:pt x="502" y="636"/>
                    </a:lnTo>
                    <a:lnTo>
                      <a:pt x="502" y="631"/>
                    </a:lnTo>
                    <a:lnTo>
                      <a:pt x="500" y="628"/>
                    </a:lnTo>
                    <a:lnTo>
                      <a:pt x="500" y="626"/>
                    </a:lnTo>
                    <a:lnTo>
                      <a:pt x="497" y="621"/>
                    </a:lnTo>
                    <a:lnTo>
                      <a:pt x="494" y="616"/>
                    </a:lnTo>
                    <a:lnTo>
                      <a:pt x="489" y="613"/>
                    </a:lnTo>
                    <a:lnTo>
                      <a:pt x="487" y="610"/>
                    </a:lnTo>
                    <a:lnTo>
                      <a:pt x="484" y="608"/>
                    </a:lnTo>
                    <a:lnTo>
                      <a:pt x="480" y="608"/>
                    </a:lnTo>
                    <a:lnTo>
                      <a:pt x="480" y="606"/>
                    </a:lnTo>
                    <a:lnTo>
                      <a:pt x="477" y="606"/>
                    </a:lnTo>
                    <a:lnTo>
                      <a:pt x="474" y="606"/>
                    </a:lnTo>
                    <a:lnTo>
                      <a:pt x="469" y="606"/>
                    </a:lnTo>
                    <a:lnTo>
                      <a:pt x="465" y="606"/>
                    </a:lnTo>
                    <a:lnTo>
                      <a:pt x="464" y="608"/>
                    </a:lnTo>
                    <a:lnTo>
                      <a:pt x="462" y="608"/>
                    </a:lnTo>
                    <a:lnTo>
                      <a:pt x="460" y="608"/>
                    </a:lnTo>
                    <a:lnTo>
                      <a:pt x="459" y="608"/>
                    </a:lnTo>
                    <a:lnTo>
                      <a:pt x="457" y="608"/>
                    </a:lnTo>
                    <a:lnTo>
                      <a:pt x="454" y="611"/>
                    </a:lnTo>
                    <a:lnTo>
                      <a:pt x="450" y="616"/>
                    </a:lnTo>
                    <a:lnTo>
                      <a:pt x="449" y="620"/>
                    </a:lnTo>
                    <a:lnTo>
                      <a:pt x="449" y="620"/>
                    </a:lnTo>
                    <a:lnTo>
                      <a:pt x="449" y="623"/>
                    </a:lnTo>
                    <a:lnTo>
                      <a:pt x="445" y="623"/>
                    </a:lnTo>
                    <a:lnTo>
                      <a:pt x="442" y="625"/>
                    </a:lnTo>
                    <a:lnTo>
                      <a:pt x="442" y="626"/>
                    </a:lnTo>
                    <a:lnTo>
                      <a:pt x="439" y="628"/>
                    </a:lnTo>
                    <a:lnTo>
                      <a:pt x="437" y="626"/>
                    </a:lnTo>
                    <a:lnTo>
                      <a:pt x="435" y="626"/>
                    </a:lnTo>
                    <a:lnTo>
                      <a:pt x="430" y="623"/>
                    </a:lnTo>
                    <a:lnTo>
                      <a:pt x="427" y="623"/>
                    </a:lnTo>
                    <a:lnTo>
                      <a:pt x="427" y="621"/>
                    </a:lnTo>
                    <a:lnTo>
                      <a:pt x="422" y="618"/>
                    </a:lnTo>
                    <a:lnTo>
                      <a:pt x="419" y="618"/>
                    </a:lnTo>
                    <a:lnTo>
                      <a:pt x="417" y="616"/>
                    </a:lnTo>
                    <a:lnTo>
                      <a:pt x="417" y="615"/>
                    </a:lnTo>
                    <a:lnTo>
                      <a:pt x="415" y="615"/>
                    </a:lnTo>
                    <a:lnTo>
                      <a:pt x="414" y="613"/>
                    </a:lnTo>
                    <a:lnTo>
                      <a:pt x="412" y="613"/>
                    </a:lnTo>
                    <a:lnTo>
                      <a:pt x="410" y="611"/>
                    </a:lnTo>
                    <a:lnTo>
                      <a:pt x="409" y="611"/>
                    </a:lnTo>
                    <a:lnTo>
                      <a:pt x="409" y="610"/>
                    </a:lnTo>
                    <a:lnTo>
                      <a:pt x="407" y="606"/>
                    </a:lnTo>
                    <a:lnTo>
                      <a:pt x="404" y="603"/>
                    </a:lnTo>
                    <a:lnTo>
                      <a:pt x="400" y="600"/>
                    </a:lnTo>
                    <a:lnTo>
                      <a:pt x="400" y="598"/>
                    </a:lnTo>
                    <a:lnTo>
                      <a:pt x="402" y="596"/>
                    </a:lnTo>
                    <a:lnTo>
                      <a:pt x="404" y="596"/>
                    </a:lnTo>
                    <a:lnTo>
                      <a:pt x="404" y="593"/>
                    </a:lnTo>
                    <a:lnTo>
                      <a:pt x="400" y="590"/>
                    </a:lnTo>
                    <a:lnTo>
                      <a:pt x="400" y="588"/>
                    </a:lnTo>
                    <a:lnTo>
                      <a:pt x="399" y="588"/>
                    </a:lnTo>
                    <a:lnTo>
                      <a:pt x="397" y="586"/>
                    </a:lnTo>
                    <a:lnTo>
                      <a:pt x="397" y="581"/>
                    </a:lnTo>
                    <a:lnTo>
                      <a:pt x="396" y="578"/>
                    </a:lnTo>
                    <a:lnTo>
                      <a:pt x="392" y="576"/>
                    </a:lnTo>
                    <a:lnTo>
                      <a:pt x="389" y="576"/>
                    </a:lnTo>
                    <a:lnTo>
                      <a:pt x="389" y="573"/>
                    </a:lnTo>
                    <a:lnTo>
                      <a:pt x="391" y="571"/>
                    </a:lnTo>
                    <a:lnTo>
                      <a:pt x="386" y="570"/>
                    </a:lnTo>
                    <a:lnTo>
                      <a:pt x="382" y="568"/>
                    </a:lnTo>
                    <a:lnTo>
                      <a:pt x="384" y="566"/>
                    </a:lnTo>
                    <a:lnTo>
                      <a:pt x="381" y="563"/>
                    </a:lnTo>
                    <a:lnTo>
                      <a:pt x="379" y="563"/>
                    </a:lnTo>
                    <a:lnTo>
                      <a:pt x="379" y="561"/>
                    </a:lnTo>
                    <a:lnTo>
                      <a:pt x="376" y="558"/>
                    </a:lnTo>
                    <a:lnTo>
                      <a:pt x="372" y="553"/>
                    </a:lnTo>
                    <a:lnTo>
                      <a:pt x="367" y="551"/>
                    </a:lnTo>
                    <a:lnTo>
                      <a:pt x="329" y="550"/>
                    </a:lnTo>
                    <a:lnTo>
                      <a:pt x="327" y="558"/>
                    </a:lnTo>
                    <a:lnTo>
                      <a:pt x="259" y="556"/>
                    </a:lnTo>
                    <a:lnTo>
                      <a:pt x="176" y="522"/>
                    </a:lnTo>
                    <a:lnTo>
                      <a:pt x="178" y="520"/>
                    </a:lnTo>
                    <a:lnTo>
                      <a:pt x="176" y="518"/>
                    </a:lnTo>
                    <a:lnTo>
                      <a:pt x="118" y="520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8" y="503"/>
                    </a:lnTo>
                    <a:lnTo>
                      <a:pt x="110" y="492"/>
                    </a:lnTo>
                    <a:lnTo>
                      <a:pt x="103" y="487"/>
                    </a:lnTo>
                    <a:lnTo>
                      <a:pt x="101" y="488"/>
                    </a:lnTo>
                    <a:lnTo>
                      <a:pt x="98" y="488"/>
                    </a:lnTo>
                    <a:lnTo>
                      <a:pt x="97" y="487"/>
                    </a:lnTo>
                    <a:lnTo>
                      <a:pt x="97" y="483"/>
                    </a:lnTo>
                    <a:lnTo>
                      <a:pt x="97" y="482"/>
                    </a:lnTo>
                    <a:lnTo>
                      <a:pt x="90" y="480"/>
                    </a:lnTo>
                    <a:lnTo>
                      <a:pt x="87" y="478"/>
                    </a:lnTo>
                    <a:lnTo>
                      <a:pt x="80" y="477"/>
                    </a:lnTo>
                    <a:lnTo>
                      <a:pt x="80" y="472"/>
                    </a:lnTo>
                    <a:lnTo>
                      <a:pt x="77" y="470"/>
                    </a:lnTo>
                    <a:lnTo>
                      <a:pt x="70" y="470"/>
                    </a:lnTo>
                    <a:lnTo>
                      <a:pt x="67" y="468"/>
                    </a:lnTo>
                    <a:lnTo>
                      <a:pt x="63" y="467"/>
                    </a:lnTo>
                    <a:lnTo>
                      <a:pt x="58" y="465"/>
                    </a:lnTo>
                    <a:lnTo>
                      <a:pt x="50" y="465"/>
                    </a:lnTo>
                    <a:lnTo>
                      <a:pt x="47" y="463"/>
                    </a:lnTo>
                    <a:lnTo>
                      <a:pt x="45" y="460"/>
                    </a:lnTo>
                    <a:lnTo>
                      <a:pt x="47" y="460"/>
                    </a:lnTo>
                    <a:lnTo>
                      <a:pt x="48" y="455"/>
                    </a:lnTo>
                    <a:lnTo>
                      <a:pt x="50" y="448"/>
                    </a:lnTo>
                    <a:lnTo>
                      <a:pt x="48" y="445"/>
                    </a:lnTo>
                    <a:lnTo>
                      <a:pt x="45" y="440"/>
                    </a:lnTo>
                    <a:lnTo>
                      <a:pt x="43" y="440"/>
                    </a:lnTo>
                    <a:lnTo>
                      <a:pt x="45" y="438"/>
                    </a:lnTo>
                    <a:lnTo>
                      <a:pt x="43" y="437"/>
                    </a:lnTo>
                    <a:lnTo>
                      <a:pt x="38" y="432"/>
                    </a:lnTo>
                    <a:lnTo>
                      <a:pt x="33" y="422"/>
                    </a:lnTo>
                    <a:lnTo>
                      <a:pt x="33" y="415"/>
                    </a:lnTo>
                    <a:lnTo>
                      <a:pt x="28" y="412"/>
                    </a:lnTo>
                    <a:lnTo>
                      <a:pt x="28" y="410"/>
                    </a:lnTo>
                    <a:lnTo>
                      <a:pt x="28" y="405"/>
                    </a:lnTo>
                    <a:lnTo>
                      <a:pt x="28" y="400"/>
                    </a:lnTo>
                    <a:lnTo>
                      <a:pt x="28" y="399"/>
                    </a:lnTo>
                    <a:lnTo>
                      <a:pt x="30" y="399"/>
                    </a:lnTo>
                    <a:lnTo>
                      <a:pt x="33" y="395"/>
                    </a:lnTo>
                    <a:lnTo>
                      <a:pt x="33" y="392"/>
                    </a:lnTo>
                    <a:lnTo>
                      <a:pt x="30" y="390"/>
                    </a:lnTo>
                    <a:lnTo>
                      <a:pt x="27" y="389"/>
                    </a:lnTo>
                    <a:lnTo>
                      <a:pt x="25" y="384"/>
                    </a:lnTo>
                    <a:lnTo>
                      <a:pt x="23" y="382"/>
                    </a:lnTo>
                    <a:lnTo>
                      <a:pt x="23" y="379"/>
                    </a:lnTo>
                    <a:lnTo>
                      <a:pt x="23" y="375"/>
                    </a:lnTo>
                    <a:lnTo>
                      <a:pt x="23" y="374"/>
                    </a:lnTo>
                    <a:lnTo>
                      <a:pt x="25" y="372"/>
                    </a:lnTo>
                    <a:lnTo>
                      <a:pt x="25" y="369"/>
                    </a:lnTo>
                    <a:lnTo>
                      <a:pt x="27" y="367"/>
                    </a:lnTo>
                    <a:lnTo>
                      <a:pt x="28" y="367"/>
                    </a:lnTo>
                    <a:lnTo>
                      <a:pt x="32" y="372"/>
                    </a:lnTo>
                    <a:lnTo>
                      <a:pt x="35" y="374"/>
                    </a:lnTo>
                    <a:lnTo>
                      <a:pt x="33" y="372"/>
                    </a:lnTo>
                    <a:lnTo>
                      <a:pt x="32" y="369"/>
                    </a:lnTo>
                    <a:lnTo>
                      <a:pt x="32" y="362"/>
                    </a:lnTo>
                    <a:lnTo>
                      <a:pt x="30" y="362"/>
                    </a:lnTo>
                    <a:lnTo>
                      <a:pt x="30" y="359"/>
                    </a:lnTo>
                    <a:lnTo>
                      <a:pt x="32" y="359"/>
                    </a:lnTo>
                    <a:lnTo>
                      <a:pt x="33" y="360"/>
                    </a:lnTo>
                    <a:lnTo>
                      <a:pt x="38" y="359"/>
                    </a:lnTo>
                    <a:lnTo>
                      <a:pt x="42" y="357"/>
                    </a:lnTo>
                    <a:lnTo>
                      <a:pt x="37" y="357"/>
                    </a:lnTo>
                    <a:lnTo>
                      <a:pt x="35" y="355"/>
                    </a:lnTo>
                    <a:lnTo>
                      <a:pt x="32" y="355"/>
                    </a:lnTo>
                    <a:lnTo>
                      <a:pt x="30" y="354"/>
                    </a:lnTo>
                    <a:lnTo>
                      <a:pt x="28" y="354"/>
                    </a:lnTo>
                    <a:lnTo>
                      <a:pt x="27" y="352"/>
                    </a:lnTo>
                    <a:lnTo>
                      <a:pt x="25" y="357"/>
                    </a:lnTo>
                    <a:lnTo>
                      <a:pt x="25" y="362"/>
                    </a:lnTo>
                    <a:lnTo>
                      <a:pt x="25" y="362"/>
                    </a:lnTo>
                    <a:lnTo>
                      <a:pt x="23" y="362"/>
                    </a:lnTo>
                    <a:lnTo>
                      <a:pt x="22" y="360"/>
                    </a:lnTo>
                    <a:lnTo>
                      <a:pt x="17" y="355"/>
                    </a:lnTo>
                    <a:lnTo>
                      <a:pt x="15" y="352"/>
                    </a:lnTo>
                    <a:lnTo>
                      <a:pt x="17" y="349"/>
                    </a:lnTo>
                    <a:lnTo>
                      <a:pt x="15" y="345"/>
                    </a:lnTo>
                    <a:lnTo>
                      <a:pt x="5" y="331"/>
                    </a:lnTo>
                    <a:lnTo>
                      <a:pt x="5" y="329"/>
                    </a:lnTo>
                    <a:lnTo>
                      <a:pt x="5" y="326"/>
                    </a:lnTo>
                    <a:lnTo>
                      <a:pt x="7" y="322"/>
                    </a:lnTo>
                    <a:lnTo>
                      <a:pt x="7" y="317"/>
                    </a:lnTo>
                    <a:lnTo>
                      <a:pt x="5" y="314"/>
                    </a:lnTo>
                    <a:lnTo>
                      <a:pt x="5" y="312"/>
                    </a:lnTo>
                    <a:lnTo>
                      <a:pt x="8" y="307"/>
                    </a:lnTo>
                    <a:lnTo>
                      <a:pt x="8" y="302"/>
                    </a:lnTo>
                    <a:lnTo>
                      <a:pt x="8" y="294"/>
                    </a:lnTo>
                    <a:lnTo>
                      <a:pt x="5" y="286"/>
                    </a:lnTo>
                    <a:lnTo>
                      <a:pt x="0" y="281"/>
                    </a:lnTo>
                    <a:lnTo>
                      <a:pt x="0" y="276"/>
                    </a:lnTo>
                    <a:lnTo>
                      <a:pt x="3" y="271"/>
                    </a:lnTo>
                    <a:lnTo>
                      <a:pt x="10" y="267"/>
                    </a:lnTo>
                    <a:lnTo>
                      <a:pt x="12" y="261"/>
                    </a:lnTo>
                    <a:lnTo>
                      <a:pt x="10" y="259"/>
                    </a:lnTo>
                    <a:lnTo>
                      <a:pt x="10" y="257"/>
                    </a:lnTo>
                    <a:lnTo>
                      <a:pt x="13" y="254"/>
                    </a:lnTo>
                    <a:lnTo>
                      <a:pt x="15" y="249"/>
                    </a:lnTo>
                    <a:lnTo>
                      <a:pt x="17" y="241"/>
                    </a:lnTo>
                    <a:lnTo>
                      <a:pt x="15" y="236"/>
                    </a:lnTo>
                    <a:lnTo>
                      <a:pt x="15" y="233"/>
                    </a:lnTo>
                    <a:lnTo>
                      <a:pt x="17" y="229"/>
                    </a:lnTo>
                    <a:lnTo>
                      <a:pt x="13" y="224"/>
                    </a:lnTo>
                    <a:lnTo>
                      <a:pt x="13" y="219"/>
                    </a:lnTo>
                    <a:lnTo>
                      <a:pt x="17" y="211"/>
                    </a:lnTo>
                    <a:lnTo>
                      <a:pt x="15" y="203"/>
                    </a:lnTo>
                    <a:lnTo>
                      <a:pt x="17" y="198"/>
                    </a:lnTo>
                    <a:lnTo>
                      <a:pt x="23" y="191"/>
                    </a:lnTo>
                    <a:lnTo>
                      <a:pt x="25" y="186"/>
                    </a:lnTo>
                    <a:lnTo>
                      <a:pt x="28" y="184"/>
                    </a:lnTo>
                    <a:lnTo>
                      <a:pt x="30" y="178"/>
                    </a:lnTo>
                    <a:lnTo>
                      <a:pt x="35" y="173"/>
                    </a:lnTo>
                    <a:lnTo>
                      <a:pt x="38" y="166"/>
                    </a:lnTo>
                    <a:lnTo>
                      <a:pt x="40" y="154"/>
                    </a:lnTo>
                    <a:lnTo>
                      <a:pt x="45" y="144"/>
                    </a:lnTo>
                    <a:lnTo>
                      <a:pt x="47" y="135"/>
                    </a:lnTo>
                    <a:lnTo>
                      <a:pt x="53" y="121"/>
                    </a:lnTo>
                    <a:lnTo>
                      <a:pt x="57" y="116"/>
                    </a:lnTo>
                    <a:lnTo>
                      <a:pt x="60" y="111"/>
                    </a:lnTo>
                    <a:lnTo>
                      <a:pt x="60" y="108"/>
                    </a:lnTo>
                    <a:lnTo>
                      <a:pt x="60" y="105"/>
                    </a:lnTo>
                    <a:lnTo>
                      <a:pt x="63" y="98"/>
                    </a:lnTo>
                    <a:lnTo>
                      <a:pt x="63" y="95"/>
                    </a:lnTo>
                    <a:lnTo>
                      <a:pt x="65" y="95"/>
                    </a:lnTo>
                    <a:lnTo>
                      <a:pt x="68" y="96"/>
                    </a:lnTo>
                    <a:lnTo>
                      <a:pt x="77" y="96"/>
                    </a:lnTo>
                    <a:lnTo>
                      <a:pt x="80" y="98"/>
                    </a:lnTo>
                    <a:lnTo>
                      <a:pt x="83" y="98"/>
                    </a:lnTo>
                    <a:lnTo>
                      <a:pt x="87" y="101"/>
                    </a:lnTo>
                    <a:lnTo>
                      <a:pt x="90" y="105"/>
                    </a:lnTo>
                    <a:lnTo>
                      <a:pt x="88" y="100"/>
                    </a:lnTo>
                    <a:lnTo>
                      <a:pt x="87" y="98"/>
                    </a:lnTo>
                    <a:lnTo>
                      <a:pt x="82" y="96"/>
                    </a:lnTo>
                    <a:lnTo>
                      <a:pt x="77" y="93"/>
                    </a:lnTo>
                    <a:lnTo>
                      <a:pt x="70" y="93"/>
                    </a:lnTo>
                    <a:lnTo>
                      <a:pt x="63" y="91"/>
                    </a:lnTo>
                    <a:lnTo>
                      <a:pt x="63" y="90"/>
                    </a:lnTo>
                    <a:lnTo>
                      <a:pt x="65" y="88"/>
                    </a:lnTo>
                    <a:lnTo>
                      <a:pt x="67" y="88"/>
                    </a:lnTo>
                    <a:lnTo>
                      <a:pt x="70" y="85"/>
                    </a:lnTo>
                    <a:lnTo>
                      <a:pt x="70" y="81"/>
                    </a:lnTo>
                    <a:lnTo>
                      <a:pt x="72" y="78"/>
                    </a:lnTo>
                    <a:lnTo>
                      <a:pt x="67" y="76"/>
                    </a:lnTo>
                    <a:lnTo>
                      <a:pt x="65" y="75"/>
                    </a:lnTo>
                    <a:lnTo>
                      <a:pt x="67" y="70"/>
                    </a:lnTo>
                    <a:lnTo>
                      <a:pt x="70" y="70"/>
                    </a:lnTo>
                    <a:lnTo>
                      <a:pt x="72" y="68"/>
                    </a:lnTo>
                    <a:lnTo>
                      <a:pt x="70" y="66"/>
                    </a:lnTo>
                    <a:lnTo>
                      <a:pt x="68" y="66"/>
                    </a:lnTo>
                    <a:lnTo>
                      <a:pt x="67" y="63"/>
                    </a:lnTo>
                    <a:lnTo>
                      <a:pt x="68" y="58"/>
                    </a:lnTo>
                    <a:lnTo>
                      <a:pt x="67" y="51"/>
                    </a:lnTo>
                    <a:lnTo>
                      <a:pt x="70" y="40"/>
                    </a:lnTo>
                    <a:lnTo>
                      <a:pt x="67" y="32"/>
                    </a:lnTo>
                    <a:lnTo>
                      <a:pt x="67" y="28"/>
                    </a:lnTo>
                    <a:lnTo>
                      <a:pt x="70" y="20"/>
                    </a:lnTo>
                    <a:lnTo>
                      <a:pt x="72" y="17"/>
                    </a:lnTo>
                    <a:lnTo>
                      <a:pt x="73" y="15"/>
                    </a:lnTo>
                    <a:lnTo>
                      <a:pt x="85" y="25"/>
                    </a:lnTo>
                    <a:lnTo>
                      <a:pt x="90" y="28"/>
                    </a:lnTo>
                    <a:lnTo>
                      <a:pt x="101" y="28"/>
                    </a:lnTo>
                    <a:lnTo>
                      <a:pt x="105" y="30"/>
                    </a:lnTo>
                    <a:lnTo>
                      <a:pt x="106" y="35"/>
                    </a:lnTo>
                    <a:lnTo>
                      <a:pt x="110" y="33"/>
                    </a:lnTo>
                    <a:lnTo>
                      <a:pt x="111" y="33"/>
                    </a:lnTo>
                    <a:lnTo>
                      <a:pt x="113" y="37"/>
                    </a:lnTo>
                    <a:lnTo>
                      <a:pt x="111" y="38"/>
                    </a:lnTo>
                    <a:lnTo>
                      <a:pt x="106" y="40"/>
                    </a:lnTo>
                    <a:lnTo>
                      <a:pt x="101" y="45"/>
                    </a:lnTo>
                    <a:lnTo>
                      <a:pt x="101" y="46"/>
                    </a:lnTo>
                    <a:lnTo>
                      <a:pt x="106" y="46"/>
                    </a:lnTo>
                    <a:lnTo>
                      <a:pt x="108" y="43"/>
                    </a:lnTo>
                    <a:lnTo>
                      <a:pt x="113" y="40"/>
                    </a:lnTo>
                    <a:lnTo>
                      <a:pt x="115" y="40"/>
                    </a:lnTo>
                    <a:lnTo>
                      <a:pt x="115" y="43"/>
                    </a:lnTo>
                    <a:lnTo>
                      <a:pt x="111" y="46"/>
                    </a:lnTo>
                    <a:lnTo>
                      <a:pt x="110" y="51"/>
                    </a:lnTo>
                    <a:lnTo>
                      <a:pt x="108" y="56"/>
                    </a:lnTo>
                    <a:lnTo>
                      <a:pt x="108" y="58"/>
                    </a:lnTo>
                    <a:lnTo>
                      <a:pt x="106" y="55"/>
                    </a:lnTo>
                    <a:lnTo>
                      <a:pt x="103" y="56"/>
                    </a:lnTo>
                    <a:lnTo>
                      <a:pt x="103" y="55"/>
                    </a:lnTo>
                    <a:lnTo>
                      <a:pt x="98" y="60"/>
                    </a:lnTo>
                    <a:lnTo>
                      <a:pt x="100" y="61"/>
                    </a:lnTo>
                    <a:lnTo>
                      <a:pt x="105" y="63"/>
                    </a:lnTo>
                    <a:lnTo>
                      <a:pt x="110" y="60"/>
                    </a:lnTo>
                    <a:lnTo>
                      <a:pt x="111" y="56"/>
                    </a:lnTo>
                    <a:lnTo>
                      <a:pt x="113" y="53"/>
                    </a:lnTo>
                    <a:lnTo>
                      <a:pt x="115" y="48"/>
                    </a:lnTo>
                    <a:lnTo>
                      <a:pt x="116" y="46"/>
                    </a:lnTo>
                    <a:lnTo>
                      <a:pt x="118" y="42"/>
                    </a:lnTo>
                    <a:lnTo>
                      <a:pt x="121" y="38"/>
                    </a:lnTo>
                    <a:lnTo>
                      <a:pt x="126" y="35"/>
                    </a:lnTo>
                    <a:lnTo>
                      <a:pt x="125" y="32"/>
                    </a:lnTo>
                    <a:lnTo>
                      <a:pt x="123" y="28"/>
                    </a:lnTo>
                    <a:lnTo>
                      <a:pt x="121" y="28"/>
                    </a:lnTo>
                    <a:lnTo>
                      <a:pt x="125" y="25"/>
                    </a:lnTo>
                    <a:lnTo>
                      <a:pt x="126" y="23"/>
                    </a:lnTo>
                    <a:lnTo>
                      <a:pt x="123" y="20"/>
                    </a:lnTo>
                    <a:lnTo>
                      <a:pt x="121" y="17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1" y="7"/>
                    </a:lnTo>
                    <a:lnTo>
                      <a:pt x="120" y="0"/>
                    </a:lnTo>
                    <a:lnTo>
                      <a:pt x="120" y="0"/>
                    </a:lnTo>
                    <a:close/>
                    <a:moveTo>
                      <a:pt x="1259" y="311"/>
                    </a:moveTo>
                    <a:lnTo>
                      <a:pt x="1259" y="312"/>
                    </a:lnTo>
                    <a:lnTo>
                      <a:pt x="1263" y="312"/>
                    </a:lnTo>
                    <a:lnTo>
                      <a:pt x="1264" y="311"/>
                    </a:lnTo>
                    <a:lnTo>
                      <a:pt x="1268" y="311"/>
                    </a:lnTo>
                    <a:lnTo>
                      <a:pt x="1266" y="309"/>
                    </a:lnTo>
                    <a:lnTo>
                      <a:pt x="1261" y="309"/>
                    </a:lnTo>
                    <a:lnTo>
                      <a:pt x="1261" y="309"/>
                    </a:lnTo>
                    <a:lnTo>
                      <a:pt x="1259" y="311"/>
                    </a:lnTo>
                    <a:lnTo>
                      <a:pt x="1259" y="311"/>
                    </a:lnTo>
                    <a:close/>
                    <a:moveTo>
                      <a:pt x="1185" y="329"/>
                    </a:moveTo>
                    <a:lnTo>
                      <a:pt x="1183" y="331"/>
                    </a:lnTo>
                    <a:lnTo>
                      <a:pt x="1186" y="329"/>
                    </a:lnTo>
                    <a:lnTo>
                      <a:pt x="1188" y="329"/>
                    </a:lnTo>
                    <a:lnTo>
                      <a:pt x="1193" y="327"/>
                    </a:lnTo>
                    <a:lnTo>
                      <a:pt x="1198" y="327"/>
                    </a:lnTo>
                    <a:lnTo>
                      <a:pt x="1206" y="326"/>
                    </a:lnTo>
                    <a:lnTo>
                      <a:pt x="1209" y="324"/>
                    </a:lnTo>
                    <a:lnTo>
                      <a:pt x="1218" y="324"/>
                    </a:lnTo>
                    <a:lnTo>
                      <a:pt x="1219" y="324"/>
                    </a:lnTo>
                    <a:lnTo>
                      <a:pt x="1221" y="324"/>
                    </a:lnTo>
                    <a:lnTo>
                      <a:pt x="1228" y="322"/>
                    </a:lnTo>
                    <a:lnTo>
                      <a:pt x="1229" y="319"/>
                    </a:lnTo>
                    <a:lnTo>
                      <a:pt x="1226" y="321"/>
                    </a:lnTo>
                    <a:lnTo>
                      <a:pt x="1223" y="319"/>
                    </a:lnTo>
                    <a:lnTo>
                      <a:pt x="1218" y="322"/>
                    </a:lnTo>
                    <a:lnTo>
                      <a:pt x="1221" y="319"/>
                    </a:lnTo>
                    <a:lnTo>
                      <a:pt x="1223" y="317"/>
                    </a:lnTo>
                    <a:lnTo>
                      <a:pt x="1223" y="316"/>
                    </a:lnTo>
                    <a:lnTo>
                      <a:pt x="1214" y="319"/>
                    </a:lnTo>
                    <a:lnTo>
                      <a:pt x="1208" y="319"/>
                    </a:lnTo>
                    <a:lnTo>
                      <a:pt x="1201" y="322"/>
                    </a:lnTo>
                    <a:lnTo>
                      <a:pt x="1196" y="321"/>
                    </a:lnTo>
                    <a:lnTo>
                      <a:pt x="1190" y="322"/>
                    </a:lnTo>
                    <a:lnTo>
                      <a:pt x="1185" y="324"/>
                    </a:lnTo>
                    <a:lnTo>
                      <a:pt x="1181" y="327"/>
                    </a:lnTo>
                    <a:lnTo>
                      <a:pt x="1181" y="329"/>
                    </a:lnTo>
                    <a:lnTo>
                      <a:pt x="1185" y="329"/>
                    </a:lnTo>
                    <a:lnTo>
                      <a:pt x="1185" y="329"/>
                    </a:lnTo>
                    <a:close/>
                    <a:moveTo>
                      <a:pt x="120" y="22"/>
                    </a:moveTo>
                    <a:lnTo>
                      <a:pt x="115" y="25"/>
                    </a:lnTo>
                    <a:lnTo>
                      <a:pt x="115" y="32"/>
                    </a:lnTo>
                    <a:lnTo>
                      <a:pt x="118" y="38"/>
                    </a:lnTo>
                    <a:lnTo>
                      <a:pt x="120" y="37"/>
                    </a:lnTo>
                    <a:lnTo>
                      <a:pt x="118" y="28"/>
                    </a:lnTo>
                    <a:lnTo>
                      <a:pt x="118" y="25"/>
                    </a:lnTo>
                    <a:lnTo>
                      <a:pt x="121" y="23"/>
                    </a:lnTo>
                    <a:lnTo>
                      <a:pt x="120" y="22"/>
                    </a:lnTo>
                    <a:lnTo>
                      <a:pt x="120" y="22"/>
                    </a:lnTo>
                    <a:close/>
                    <a:moveTo>
                      <a:pt x="580" y="661"/>
                    </a:moveTo>
                    <a:lnTo>
                      <a:pt x="582" y="659"/>
                    </a:lnTo>
                    <a:lnTo>
                      <a:pt x="587" y="653"/>
                    </a:lnTo>
                    <a:lnTo>
                      <a:pt x="590" y="649"/>
                    </a:lnTo>
                    <a:lnTo>
                      <a:pt x="585" y="653"/>
                    </a:lnTo>
                    <a:lnTo>
                      <a:pt x="580" y="661"/>
                    </a:lnTo>
                    <a:lnTo>
                      <a:pt x="580" y="661"/>
                    </a:lnTo>
                    <a:close/>
                    <a:moveTo>
                      <a:pt x="573" y="671"/>
                    </a:moveTo>
                    <a:lnTo>
                      <a:pt x="575" y="671"/>
                    </a:lnTo>
                    <a:lnTo>
                      <a:pt x="578" y="666"/>
                    </a:lnTo>
                    <a:lnTo>
                      <a:pt x="578" y="663"/>
                    </a:lnTo>
                    <a:lnTo>
                      <a:pt x="573" y="671"/>
                    </a:lnTo>
                    <a:lnTo>
                      <a:pt x="573" y="671"/>
                    </a:lnTo>
                    <a:close/>
                    <a:moveTo>
                      <a:pt x="572" y="701"/>
                    </a:moveTo>
                    <a:lnTo>
                      <a:pt x="570" y="694"/>
                    </a:lnTo>
                    <a:lnTo>
                      <a:pt x="570" y="684"/>
                    </a:lnTo>
                    <a:lnTo>
                      <a:pt x="573" y="674"/>
                    </a:lnTo>
                    <a:lnTo>
                      <a:pt x="568" y="684"/>
                    </a:lnTo>
                    <a:lnTo>
                      <a:pt x="568" y="694"/>
                    </a:lnTo>
                    <a:lnTo>
                      <a:pt x="568" y="694"/>
                    </a:lnTo>
                    <a:lnTo>
                      <a:pt x="572" y="701"/>
                    </a:lnTo>
                    <a:lnTo>
                      <a:pt x="572" y="7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2" name="Freeform 158"/>
              <p:cNvSpPr>
                <a:spLocks/>
              </p:cNvSpPr>
              <p:nvPr/>
            </p:nvSpPr>
            <p:spPr bwMode="auto">
              <a:xfrm>
                <a:off x="5266637" y="3082949"/>
                <a:ext cx="86690" cy="36316"/>
              </a:xfrm>
              <a:custGeom>
                <a:avLst/>
                <a:gdLst/>
                <a:ahLst/>
                <a:cxnLst>
                  <a:cxn ang="0">
                    <a:pos x="60" y="70"/>
                  </a:cxn>
                  <a:cxn ang="0">
                    <a:pos x="68" y="67"/>
                  </a:cxn>
                  <a:cxn ang="0">
                    <a:pos x="68" y="58"/>
                  </a:cxn>
                  <a:cxn ang="0">
                    <a:pos x="76" y="53"/>
                  </a:cxn>
                  <a:cxn ang="0">
                    <a:pos x="90" y="50"/>
                  </a:cxn>
                  <a:cxn ang="0">
                    <a:pos x="95" y="52"/>
                  </a:cxn>
                  <a:cxn ang="0">
                    <a:pos x="100" y="50"/>
                  </a:cxn>
                  <a:cxn ang="0">
                    <a:pos x="110" y="45"/>
                  </a:cxn>
                  <a:cxn ang="0">
                    <a:pos x="113" y="42"/>
                  </a:cxn>
                  <a:cxn ang="0">
                    <a:pos x="121" y="35"/>
                  </a:cxn>
                  <a:cxn ang="0">
                    <a:pos x="123" y="32"/>
                  </a:cxn>
                  <a:cxn ang="0">
                    <a:pos x="128" y="35"/>
                  </a:cxn>
                  <a:cxn ang="0">
                    <a:pos x="135" y="37"/>
                  </a:cxn>
                  <a:cxn ang="0">
                    <a:pos x="140" y="33"/>
                  </a:cxn>
                  <a:cxn ang="0">
                    <a:pos x="148" y="28"/>
                  </a:cxn>
                  <a:cxn ang="0">
                    <a:pos x="151" y="25"/>
                  </a:cxn>
                  <a:cxn ang="0">
                    <a:pos x="155" y="27"/>
                  </a:cxn>
                  <a:cxn ang="0">
                    <a:pos x="161" y="25"/>
                  </a:cxn>
                  <a:cxn ang="0">
                    <a:pos x="161" y="22"/>
                  </a:cxn>
                  <a:cxn ang="0">
                    <a:pos x="150" y="17"/>
                  </a:cxn>
                  <a:cxn ang="0">
                    <a:pos x="151" y="20"/>
                  </a:cxn>
                  <a:cxn ang="0">
                    <a:pos x="140" y="20"/>
                  </a:cxn>
                  <a:cxn ang="0">
                    <a:pos x="133" y="17"/>
                  </a:cxn>
                  <a:cxn ang="0">
                    <a:pos x="130" y="15"/>
                  </a:cxn>
                  <a:cxn ang="0">
                    <a:pos x="133" y="13"/>
                  </a:cxn>
                  <a:cxn ang="0">
                    <a:pos x="140" y="13"/>
                  </a:cxn>
                  <a:cxn ang="0">
                    <a:pos x="146" y="15"/>
                  </a:cxn>
                  <a:cxn ang="0">
                    <a:pos x="136" y="8"/>
                  </a:cxn>
                  <a:cxn ang="0">
                    <a:pos x="128" y="8"/>
                  </a:cxn>
                  <a:cxn ang="0">
                    <a:pos x="125" y="10"/>
                  </a:cxn>
                  <a:cxn ang="0">
                    <a:pos x="110" y="7"/>
                  </a:cxn>
                  <a:cxn ang="0">
                    <a:pos x="95" y="2"/>
                  </a:cxn>
                  <a:cxn ang="0">
                    <a:pos x="88" y="3"/>
                  </a:cxn>
                  <a:cxn ang="0">
                    <a:pos x="86" y="5"/>
                  </a:cxn>
                  <a:cxn ang="0">
                    <a:pos x="80" y="5"/>
                  </a:cxn>
                  <a:cxn ang="0">
                    <a:pos x="62" y="7"/>
                  </a:cxn>
                  <a:cxn ang="0">
                    <a:pos x="42" y="10"/>
                  </a:cxn>
                  <a:cxn ang="0">
                    <a:pos x="37" y="10"/>
                  </a:cxn>
                  <a:cxn ang="0">
                    <a:pos x="33" y="17"/>
                  </a:cxn>
                  <a:cxn ang="0">
                    <a:pos x="22" y="20"/>
                  </a:cxn>
                  <a:cxn ang="0">
                    <a:pos x="12" y="28"/>
                  </a:cxn>
                  <a:cxn ang="0">
                    <a:pos x="10" y="38"/>
                  </a:cxn>
                  <a:cxn ang="0">
                    <a:pos x="3" y="43"/>
                  </a:cxn>
                  <a:cxn ang="0">
                    <a:pos x="3" y="45"/>
                  </a:cxn>
                  <a:cxn ang="0">
                    <a:pos x="5" y="62"/>
                  </a:cxn>
                  <a:cxn ang="0">
                    <a:pos x="15" y="65"/>
                  </a:cxn>
                  <a:cxn ang="0">
                    <a:pos x="23" y="67"/>
                  </a:cxn>
                  <a:cxn ang="0">
                    <a:pos x="22" y="65"/>
                  </a:cxn>
                  <a:cxn ang="0">
                    <a:pos x="30" y="68"/>
                  </a:cxn>
                  <a:cxn ang="0">
                    <a:pos x="43" y="72"/>
                  </a:cxn>
                  <a:cxn ang="0">
                    <a:pos x="45" y="65"/>
                  </a:cxn>
                  <a:cxn ang="0">
                    <a:pos x="50" y="65"/>
                  </a:cxn>
                  <a:cxn ang="0">
                    <a:pos x="53" y="67"/>
                  </a:cxn>
                  <a:cxn ang="0">
                    <a:pos x="55" y="67"/>
                  </a:cxn>
                  <a:cxn ang="0">
                    <a:pos x="57" y="72"/>
                  </a:cxn>
                </a:cxnLst>
                <a:rect l="0" t="0" r="r" b="b"/>
                <a:pathLst>
                  <a:path w="163" h="72">
                    <a:moveTo>
                      <a:pt x="57" y="72"/>
                    </a:moveTo>
                    <a:lnTo>
                      <a:pt x="60" y="70"/>
                    </a:lnTo>
                    <a:lnTo>
                      <a:pt x="67" y="70"/>
                    </a:lnTo>
                    <a:lnTo>
                      <a:pt x="68" y="67"/>
                    </a:lnTo>
                    <a:lnTo>
                      <a:pt x="68" y="62"/>
                    </a:lnTo>
                    <a:lnTo>
                      <a:pt x="68" y="58"/>
                    </a:lnTo>
                    <a:lnTo>
                      <a:pt x="68" y="53"/>
                    </a:lnTo>
                    <a:lnTo>
                      <a:pt x="76" y="53"/>
                    </a:lnTo>
                    <a:lnTo>
                      <a:pt x="85" y="48"/>
                    </a:lnTo>
                    <a:lnTo>
                      <a:pt x="90" y="50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8" y="53"/>
                    </a:lnTo>
                    <a:lnTo>
                      <a:pt x="100" y="50"/>
                    </a:lnTo>
                    <a:lnTo>
                      <a:pt x="105" y="48"/>
                    </a:lnTo>
                    <a:lnTo>
                      <a:pt x="110" y="45"/>
                    </a:lnTo>
                    <a:lnTo>
                      <a:pt x="111" y="43"/>
                    </a:lnTo>
                    <a:lnTo>
                      <a:pt x="113" y="42"/>
                    </a:lnTo>
                    <a:lnTo>
                      <a:pt x="116" y="35"/>
                    </a:lnTo>
                    <a:lnTo>
                      <a:pt x="121" y="35"/>
                    </a:lnTo>
                    <a:lnTo>
                      <a:pt x="121" y="32"/>
                    </a:lnTo>
                    <a:lnTo>
                      <a:pt x="123" y="32"/>
                    </a:lnTo>
                    <a:lnTo>
                      <a:pt x="126" y="33"/>
                    </a:lnTo>
                    <a:lnTo>
                      <a:pt x="128" y="35"/>
                    </a:lnTo>
                    <a:lnTo>
                      <a:pt x="133" y="35"/>
                    </a:lnTo>
                    <a:lnTo>
                      <a:pt x="135" y="37"/>
                    </a:lnTo>
                    <a:lnTo>
                      <a:pt x="136" y="33"/>
                    </a:lnTo>
                    <a:lnTo>
                      <a:pt x="140" y="33"/>
                    </a:lnTo>
                    <a:lnTo>
                      <a:pt x="145" y="30"/>
                    </a:lnTo>
                    <a:lnTo>
                      <a:pt x="148" y="28"/>
                    </a:lnTo>
                    <a:lnTo>
                      <a:pt x="150" y="25"/>
                    </a:lnTo>
                    <a:lnTo>
                      <a:pt x="151" y="25"/>
                    </a:lnTo>
                    <a:lnTo>
                      <a:pt x="153" y="25"/>
                    </a:lnTo>
                    <a:lnTo>
                      <a:pt x="155" y="27"/>
                    </a:lnTo>
                    <a:lnTo>
                      <a:pt x="158" y="27"/>
                    </a:lnTo>
                    <a:lnTo>
                      <a:pt x="161" y="25"/>
                    </a:lnTo>
                    <a:lnTo>
                      <a:pt x="163" y="25"/>
                    </a:lnTo>
                    <a:lnTo>
                      <a:pt x="161" y="22"/>
                    </a:lnTo>
                    <a:lnTo>
                      <a:pt x="155" y="18"/>
                    </a:lnTo>
                    <a:lnTo>
                      <a:pt x="150" y="17"/>
                    </a:lnTo>
                    <a:lnTo>
                      <a:pt x="150" y="17"/>
                    </a:lnTo>
                    <a:lnTo>
                      <a:pt x="151" y="20"/>
                    </a:lnTo>
                    <a:lnTo>
                      <a:pt x="146" y="20"/>
                    </a:lnTo>
                    <a:lnTo>
                      <a:pt x="140" y="20"/>
                    </a:lnTo>
                    <a:lnTo>
                      <a:pt x="138" y="18"/>
                    </a:lnTo>
                    <a:lnTo>
                      <a:pt x="133" y="17"/>
                    </a:lnTo>
                    <a:lnTo>
                      <a:pt x="130" y="17"/>
                    </a:lnTo>
                    <a:lnTo>
                      <a:pt x="130" y="15"/>
                    </a:lnTo>
                    <a:lnTo>
                      <a:pt x="133" y="15"/>
                    </a:lnTo>
                    <a:lnTo>
                      <a:pt x="133" y="13"/>
                    </a:lnTo>
                    <a:lnTo>
                      <a:pt x="135" y="12"/>
                    </a:lnTo>
                    <a:lnTo>
                      <a:pt x="140" y="13"/>
                    </a:lnTo>
                    <a:lnTo>
                      <a:pt x="146" y="15"/>
                    </a:lnTo>
                    <a:lnTo>
                      <a:pt x="146" y="15"/>
                    </a:lnTo>
                    <a:lnTo>
                      <a:pt x="141" y="12"/>
                    </a:lnTo>
                    <a:lnTo>
                      <a:pt x="136" y="8"/>
                    </a:lnTo>
                    <a:lnTo>
                      <a:pt x="131" y="8"/>
                    </a:lnTo>
                    <a:lnTo>
                      <a:pt x="128" y="8"/>
                    </a:lnTo>
                    <a:lnTo>
                      <a:pt x="125" y="7"/>
                    </a:lnTo>
                    <a:lnTo>
                      <a:pt x="125" y="10"/>
                    </a:lnTo>
                    <a:lnTo>
                      <a:pt x="121" y="8"/>
                    </a:lnTo>
                    <a:lnTo>
                      <a:pt x="110" y="7"/>
                    </a:lnTo>
                    <a:lnTo>
                      <a:pt x="100" y="7"/>
                    </a:lnTo>
                    <a:lnTo>
                      <a:pt x="95" y="2"/>
                    </a:lnTo>
                    <a:lnTo>
                      <a:pt x="90" y="0"/>
                    </a:lnTo>
                    <a:lnTo>
                      <a:pt x="88" y="3"/>
                    </a:lnTo>
                    <a:lnTo>
                      <a:pt x="90" y="3"/>
                    </a:lnTo>
                    <a:lnTo>
                      <a:pt x="86" y="5"/>
                    </a:lnTo>
                    <a:lnTo>
                      <a:pt x="85" y="7"/>
                    </a:lnTo>
                    <a:lnTo>
                      <a:pt x="80" y="5"/>
                    </a:lnTo>
                    <a:lnTo>
                      <a:pt x="71" y="8"/>
                    </a:lnTo>
                    <a:lnTo>
                      <a:pt x="62" y="7"/>
                    </a:lnTo>
                    <a:lnTo>
                      <a:pt x="48" y="7"/>
                    </a:lnTo>
                    <a:lnTo>
                      <a:pt x="42" y="10"/>
                    </a:lnTo>
                    <a:lnTo>
                      <a:pt x="38" y="8"/>
                    </a:lnTo>
                    <a:lnTo>
                      <a:pt x="37" y="10"/>
                    </a:lnTo>
                    <a:lnTo>
                      <a:pt x="35" y="12"/>
                    </a:lnTo>
                    <a:lnTo>
                      <a:pt x="33" y="17"/>
                    </a:lnTo>
                    <a:lnTo>
                      <a:pt x="27" y="20"/>
                    </a:lnTo>
                    <a:lnTo>
                      <a:pt x="22" y="20"/>
                    </a:lnTo>
                    <a:lnTo>
                      <a:pt x="17" y="25"/>
                    </a:lnTo>
                    <a:lnTo>
                      <a:pt x="12" y="28"/>
                    </a:lnTo>
                    <a:lnTo>
                      <a:pt x="13" y="33"/>
                    </a:lnTo>
                    <a:lnTo>
                      <a:pt x="10" y="38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0" y="57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15" y="65"/>
                    </a:lnTo>
                    <a:lnTo>
                      <a:pt x="22" y="68"/>
                    </a:lnTo>
                    <a:lnTo>
                      <a:pt x="23" y="67"/>
                    </a:lnTo>
                    <a:lnTo>
                      <a:pt x="20" y="65"/>
                    </a:lnTo>
                    <a:lnTo>
                      <a:pt x="22" y="65"/>
                    </a:lnTo>
                    <a:lnTo>
                      <a:pt x="27" y="65"/>
                    </a:lnTo>
                    <a:lnTo>
                      <a:pt x="30" y="68"/>
                    </a:lnTo>
                    <a:lnTo>
                      <a:pt x="32" y="72"/>
                    </a:lnTo>
                    <a:lnTo>
                      <a:pt x="43" y="72"/>
                    </a:lnTo>
                    <a:lnTo>
                      <a:pt x="47" y="67"/>
                    </a:lnTo>
                    <a:lnTo>
                      <a:pt x="45" y="65"/>
                    </a:lnTo>
                    <a:lnTo>
                      <a:pt x="47" y="63"/>
                    </a:lnTo>
                    <a:lnTo>
                      <a:pt x="50" y="65"/>
                    </a:lnTo>
                    <a:lnTo>
                      <a:pt x="50" y="67"/>
                    </a:lnTo>
                    <a:lnTo>
                      <a:pt x="53" y="67"/>
                    </a:lnTo>
                    <a:lnTo>
                      <a:pt x="53" y="65"/>
                    </a:lnTo>
                    <a:lnTo>
                      <a:pt x="55" y="67"/>
                    </a:lnTo>
                    <a:lnTo>
                      <a:pt x="55" y="68"/>
                    </a:lnTo>
                    <a:lnTo>
                      <a:pt x="57" y="72"/>
                    </a:lnTo>
                    <a:lnTo>
                      <a:pt x="57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3" name="Freeform 160"/>
              <p:cNvSpPr>
                <a:spLocks/>
              </p:cNvSpPr>
              <p:nvPr/>
            </p:nvSpPr>
            <p:spPr bwMode="auto">
              <a:xfrm>
                <a:off x="5275199" y="3055971"/>
                <a:ext cx="14983" cy="29052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3" y="10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3" y="5"/>
                  </a:cxn>
                  <a:cxn ang="0">
                    <a:pos x="15" y="1"/>
                  </a:cxn>
                  <a:cxn ang="0">
                    <a:pos x="15" y="0"/>
                  </a:cxn>
                  <a:cxn ang="0">
                    <a:pos x="18" y="0"/>
                  </a:cxn>
                  <a:cxn ang="0">
                    <a:pos x="20" y="0"/>
                  </a:cxn>
                  <a:cxn ang="0">
                    <a:pos x="22" y="1"/>
                  </a:cxn>
                  <a:cxn ang="0">
                    <a:pos x="23" y="0"/>
                  </a:cxn>
                  <a:cxn ang="0">
                    <a:pos x="27" y="0"/>
                  </a:cxn>
                  <a:cxn ang="0">
                    <a:pos x="28" y="1"/>
                  </a:cxn>
                  <a:cxn ang="0">
                    <a:pos x="27" y="5"/>
                  </a:cxn>
                  <a:cxn ang="0">
                    <a:pos x="27" y="15"/>
                  </a:cxn>
                  <a:cxn ang="0">
                    <a:pos x="23" y="18"/>
                  </a:cxn>
                  <a:cxn ang="0">
                    <a:pos x="23" y="25"/>
                  </a:cxn>
                  <a:cxn ang="0">
                    <a:pos x="25" y="28"/>
                  </a:cxn>
                  <a:cxn ang="0">
                    <a:pos x="25" y="34"/>
                  </a:cxn>
                  <a:cxn ang="0">
                    <a:pos x="23" y="41"/>
                  </a:cxn>
                  <a:cxn ang="0">
                    <a:pos x="17" y="49"/>
                  </a:cxn>
                  <a:cxn ang="0">
                    <a:pos x="13" y="48"/>
                  </a:cxn>
                  <a:cxn ang="0">
                    <a:pos x="8" y="51"/>
                  </a:cxn>
                  <a:cxn ang="0">
                    <a:pos x="7" y="54"/>
                  </a:cxn>
                  <a:cxn ang="0">
                    <a:pos x="7" y="54"/>
                  </a:cxn>
                  <a:cxn ang="0">
                    <a:pos x="5" y="56"/>
                  </a:cxn>
                  <a:cxn ang="0">
                    <a:pos x="3" y="54"/>
                  </a:cxn>
                  <a:cxn ang="0">
                    <a:pos x="0" y="54"/>
                  </a:cxn>
                  <a:cxn ang="0">
                    <a:pos x="0" y="15"/>
                  </a:cxn>
                  <a:cxn ang="0">
                    <a:pos x="0" y="13"/>
                  </a:cxn>
                </a:cxnLst>
                <a:rect l="0" t="0" r="r" b="b"/>
                <a:pathLst>
                  <a:path w="28" h="56">
                    <a:moveTo>
                      <a:pt x="0" y="13"/>
                    </a:moveTo>
                    <a:lnTo>
                      <a:pt x="0" y="13"/>
                    </a:lnTo>
                    <a:lnTo>
                      <a:pt x="0" y="11"/>
                    </a:lnTo>
                    <a:lnTo>
                      <a:pt x="3" y="10"/>
                    </a:lnTo>
                    <a:lnTo>
                      <a:pt x="7" y="10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3" y="5"/>
                    </a:lnTo>
                    <a:lnTo>
                      <a:pt x="15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27" y="5"/>
                    </a:lnTo>
                    <a:lnTo>
                      <a:pt x="27" y="15"/>
                    </a:lnTo>
                    <a:lnTo>
                      <a:pt x="23" y="18"/>
                    </a:lnTo>
                    <a:lnTo>
                      <a:pt x="23" y="25"/>
                    </a:lnTo>
                    <a:lnTo>
                      <a:pt x="25" y="28"/>
                    </a:lnTo>
                    <a:lnTo>
                      <a:pt x="25" y="34"/>
                    </a:lnTo>
                    <a:lnTo>
                      <a:pt x="23" y="41"/>
                    </a:lnTo>
                    <a:lnTo>
                      <a:pt x="17" y="49"/>
                    </a:lnTo>
                    <a:lnTo>
                      <a:pt x="13" y="48"/>
                    </a:lnTo>
                    <a:lnTo>
                      <a:pt x="8" y="51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5" y="56"/>
                    </a:lnTo>
                    <a:lnTo>
                      <a:pt x="3" y="54"/>
                    </a:lnTo>
                    <a:lnTo>
                      <a:pt x="0" y="54"/>
                    </a:lnTo>
                    <a:lnTo>
                      <a:pt x="0" y="15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4" name="Freeform 161"/>
              <p:cNvSpPr>
                <a:spLocks/>
              </p:cNvSpPr>
              <p:nvPr/>
            </p:nvSpPr>
            <p:spPr bwMode="auto">
              <a:xfrm>
                <a:off x="5233460" y="3062197"/>
                <a:ext cx="53512" cy="49804"/>
              </a:xfrm>
              <a:custGeom>
                <a:avLst/>
                <a:gdLst/>
                <a:ahLst/>
                <a:cxnLst>
                  <a:cxn ang="0">
                    <a:pos x="48" y="95"/>
                  </a:cxn>
                  <a:cxn ang="0">
                    <a:pos x="49" y="93"/>
                  </a:cxn>
                  <a:cxn ang="0">
                    <a:pos x="49" y="90"/>
                  </a:cxn>
                  <a:cxn ang="0">
                    <a:pos x="54" y="86"/>
                  </a:cxn>
                  <a:cxn ang="0">
                    <a:pos x="61" y="85"/>
                  </a:cxn>
                  <a:cxn ang="0">
                    <a:pos x="64" y="83"/>
                  </a:cxn>
                  <a:cxn ang="0">
                    <a:pos x="64" y="81"/>
                  </a:cxn>
                  <a:cxn ang="0">
                    <a:pos x="71" y="76"/>
                  </a:cxn>
                  <a:cxn ang="0">
                    <a:pos x="74" y="71"/>
                  </a:cxn>
                  <a:cxn ang="0">
                    <a:pos x="73" y="66"/>
                  </a:cxn>
                  <a:cxn ang="0">
                    <a:pos x="78" y="63"/>
                  </a:cxn>
                  <a:cxn ang="0">
                    <a:pos x="83" y="58"/>
                  </a:cxn>
                  <a:cxn ang="0">
                    <a:pos x="88" y="58"/>
                  </a:cxn>
                  <a:cxn ang="0">
                    <a:pos x="94" y="55"/>
                  </a:cxn>
                  <a:cxn ang="0">
                    <a:pos x="96" y="50"/>
                  </a:cxn>
                  <a:cxn ang="0">
                    <a:pos x="98" y="48"/>
                  </a:cxn>
                  <a:cxn ang="0">
                    <a:pos x="99" y="46"/>
                  </a:cxn>
                  <a:cxn ang="0">
                    <a:pos x="98" y="45"/>
                  </a:cxn>
                  <a:cxn ang="0">
                    <a:pos x="93" y="45"/>
                  </a:cxn>
                  <a:cxn ang="0">
                    <a:pos x="91" y="46"/>
                  </a:cxn>
                  <a:cxn ang="0">
                    <a:pos x="88" y="45"/>
                  </a:cxn>
                  <a:cxn ang="0">
                    <a:pos x="84" y="45"/>
                  </a:cxn>
                  <a:cxn ang="0">
                    <a:pos x="83" y="41"/>
                  </a:cxn>
                  <a:cxn ang="0">
                    <a:pos x="81" y="43"/>
                  </a:cxn>
                  <a:cxn ang="0">
                    <a:pos x="79" y="41"/>
                  </a:cxn>
                  <a:cxn ang="0">
                    <a:pos x="76" y="41"/>
                  </a:cxn>
                  <a:cxn ang="0">
                    <a:pos x="76" y="2"/>
                  </a:cxn>
                  <a:cxn ang="0">
                    <a:pos x="76" y="0"/>
                  </a:cxn>
                  <a:cxn ang="0">
                    <a:pos x="34" y="0"/>
                  </a:cxn>
                  <a:cxn ang="0">
                    <a:pos x="33" y="12"/>
                  </a:cxn>
                  <a:cxn ang="0">
                    <a:pos x="23" y="13"/>
                  </a:cxn>
                  <a:cxn ang="0">
                    <a:pos x="26" y="15"/>
                  </a:cxn>
                  <a:cxn ang="0">
                    <a:pos x="28" y="17"/>
                  </a:cxn>
                  <a:cxn ang="0">
                    <a:pos x="31" y="21"/>
                  </a:cxn>
                  <a:cxn ang="0">
                    <a:pos x="36" y="25"/>
                  </a:cxn>
                  <a:cxn ang="0">
                    <a:pos x="38" y="25"/>
                  </a:cxn>
                  <a:cxn ang="0">
                    <a:pos x="39" y="26"/>
                  </a:cxn>
                  <a:cxn ang="0">
                    <a:pos x="41" y="30"/>
                  </a:cxn>
                  <a:cxn ang="0">
                    <a:pos x="43" y="31"/>
                  </a:cxn>
                  <a:cxn ang="0">
                    <a:pos x="46" y="31"/>
                  </a:cxn>
                  <a:cxn ang="0">
                    <a:pos x="49" y="33"/>
                  </a:cxn>
                  <a:cxn ang="0">
                    <a:pos x="49" y="36"/>
                  </a:cxn>
                  <a:cxn ang="0">
                    <a:pos x="46" y="38"/>
                  </a:cxn>
                  <a:cxn ang="0">
                    <a:pos x="16" y="38"/>
                  </a:cxn>
                  <a:cxn ang="0">
                    <a:pos x="1" y="60"/>
                  </a:cxn>
                  <a:cxn ang="0">
                    <a:pos x="1" y="63"/>
                  </a:cxn>
                  <a:cxn ang="0">
                    <a:pos x="1" y="65"/>
                  </a:cxn>
                  <a:cxn ang="0">
                    <a:pos x="1" y="66"/>
                  </a:cxn>
                  <a:cxn ang="0">
                    <a:pos x="3" y="68"/>
                  </a:cxn>
                  <a:cxn ang="0">
                    <a:pos x="3" y="68"/>
                  </a:cxn>
                  <a:cxn ang="0">
                    <a:pos x="3" y="71"/>
                  </a:cxn>
                  <a:cxn ang="0">
                    <a:pos x="1" y="73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3" y="80"/>
                  </a:cxn>
                  <a:cxn ang="0">
                    <a:pos x="6" y="85"/>
                  </a:cxn>
                  <a:cxn ang="0">
                    <a:pos x="10" y="85"/>
                  </a:cxn>
                  <a:cxn ang="0">
                    <a:pos x="13" y="88"/>
                  </a:cxn>
                  <a:cxn ang="0">
                    <a:pos x="26" y="93"/>
                  </a:cxn>
                  <a:cxn ang="0">
                    <a:pos x="33" y="93"/>
                  </a:cxn>
                  <a:cxn ang="0">
                    <a:pos x="39" y="91"/>
                  </a:cxn>
                  <a:cxn ang="0">
                    <a:pos x="48" y="95"/>
                  </a:cxn>
                </a:cxnLst>
                <a:rect l="0" t="0" r="r" b="b"/>
                <a:pathLst>
                  <a:path w="99" h="95">
                    <a:moveTo>
                      <a:pt x="48" y="95"/>
                    </a:moveTo>
                    <a:lnTo>
                      <a:pt x="49" y="93"/>
                    </a:lnTo>
                    <a:lnTo>
                      <a:pt x="49" y="90"/>
                    </a:lnTo>
                    <a:lnTo>
                      <a:pt x="54" y="86"/>
                    </a:lnTo>
                    <a:lnTo>
                      <a:pt x="61" y="85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71" y="76"/>
                    </a:lnTo>
                    <a:lnTo>
                      <a:pt x="74" y="71"/>
                    </a:lnTo>
                    <a:lnTo>
                      <a:pt x="73" y="66"/>
                    </a:lnTo>
                    <a:lnTo>
                      <a:pt x="78" y="63"/>
                    </a:lnTo>
                    <a:lnTo>
                      <a:pt x="83" y="58"/>
                    </a:lnTo>
                    <a:lnTo>
                      <a:pt x="88" y="58"/>
                    </a:lnTo>
                    <a:lnTo>
                      <a:pt x="94" y="55"/>
                    </a:lnTo>
                    <a:lnTo>
                      <a:pt x="96" y="50"/>
                    </a:lnTo>
                    <a:lnTo>
                      <a:pt x="98" y="48"/>
                    </a:lnTo>
                    <a:lnTo>
                      <a:pt x="99" y="46"/>
                    </a:lnTo>
                    <a:lnTo>
                      <a:pt x="98" y="45"/>
                    </a:lnTo>
                    <a:lnTo>
                      <a:pt x="93" y="45"/>
                    </a:lnTo>
                    <a:lnTo>
                      <a:pt x="91" y="46"/>
                    </a:lnTo>
                    <a:lnTo>
                      <a:pt x="88" y="45"/>
                    </a:lnTo>
                    <a:lnTo>
                      <a:pt x="84" y="45"/>
                    </a:lnTo>
                    <a:lnTo>
                      <a:pt x="83" y="41"/>
                    </a:lnTo>
                    <a:lnTo>
                      <a:pt x="81" y="43"/>
                    </a:lnTo>
                    <a:lnTo>
                      <a:pt x="79" y="41"/>
                    </a:lnTo>
                    <a:lnTo>
                      <a:pt x="76" y="41"/>
                    </a:lnTo>
                    <a:lnTo>
                      <a:pt x="76" y="2"/>
                    </a:lnTo>
                    <a:lnTo>
                      <a:pt x="76" y="0"/>
                    </a:lnTo>
                    <a:lnTo>
                      <a:pt x="34" y="0"/>
                    </a:lnTo>
                    <a:lnTo>
                      <a:pt x="33" y="12"/>
                    </a:lnTo>
                    <a:lnTo>
                      <a:pt x="23" y="13"/>
                    </a:lnTo>
                    <a:lnTo>
                      <a:pt x="26" y="15"/>
                    </a:lnTo>
                    <a:lnTo>
                      <a:pt x="28" y="17"/>
                    </a:lnTo>
                    <a:lnTo>
                      <a:pt x="31" y="21"/>
                    </a:lnTo>
                    <a:lnTo>
                      <a:pt x="36" y="25"/>
                    </a:lnTo>
                    <a:lnTo>
                      <a:pt x="38" y="25"/>
                    </a:lnTo>
                    <a:lnTo>
                      <a:pt x="39" y="26"/>
                    </a:lnTo>
                    <a:lnTo>
                      <a:pt x="41" y="30"/>
                    </a:lnTo>
                    <a:lnTo>
                      <a:pt x="43" y="31"/>
                    </a:lnTo>
                    <a:lnTo>
                      <a:pt x="46" y="31"/>
                    </a:lnTo>
                    <a:lnTo>
                      <a:pt x="49" y="33"/>
                    </a:lnTo>
                    <a:lnTo>
                      <a:pt x="49" y="36"/>
                    </a:lnTo>
                    <a:lnTo>
                      <a:pt x="46" y="38"/>
                    </a:lnTo>
                    <a:lnTo>
                      <a:pt x="16" y="38"/>
                    </a:lnTo>
                    <a:lnTo>
                      <a:pt x="1" y="60"/>
                    </a:lnTo>
                    <a:lnTo>
                      <a:pt x="1" y="63"/>
                    </a:lnTo>
                    <a:lnTo>
                      <a:pt x="1" y="65"/>
                    </a:lnTo>
                    <a:lnTo>
                      <a:pt x="1" y="66"/>
                    </a:lnTo>
                    <a:lnTo>
                      <a:pt x="3" y="68"/>
                    </a:lnTo>
                    <a:lnTo>
                      <a:pt x="3" y="68"/>
                    </a:lnTo>
                    <a:lnTo>
                      <a:pt x="3" y="71"/>
                    </a:lnTo>
                    <a:lnTo>
                      <a:pt x="1" y="73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3" y="80"/>
                    </a:lnTo>
                    <a:lnTo>
                      <a:pt x="6" y="85"/>
                    </a:lnTo>
                    <a:lnTo>
                      <a:pt x="10" y="85"/>
                    </a:lnTo>
                    <a:lnTo>
                      <a:pt x="13" y="88"/>
                    </a:lnTo>
                    <a:lnTo>
                      <a:pt x="26" y="93"/>
                    </a:lnTo>
                    <a:lnTo>
                      <a:pt x="33" y="93"/>
                    </a:lnTo>
                    <a:lnTo>
                      <a:pt x="39" y="91"/>
                    </a:lnTo>
                    <a:lnTo>
                      <a:pt x="48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5" name="Freeform 162"/>
              <p:cNvSpPr>
                <a:spLocks noEditPoints="1"/>
              </p:cNvSpPr>
              <p:nvPr/>
            </p:nvSpPr>
            <p:spPr bwMode="auto">
              <a:xfrm>
                <a:off x="4941282" y="2860905"/>
                <a:ext cx="370306" cy="240720"/>
              </a:xfrm>
              <a:custGeom>
                <a:avLst/>
                <a:gdLst/>
                <a:ahLst/>
                <a:cxnLst>
                  <a:cxn ang="0">
                    <a:pos x="261" y="43"/>
                  </a:cxn>
                  <a:cxn ang="0">
                    <a:pos x="279" y="63"/>
                  </a:cxn>
                  <a:cxn ang="0">
                    <a:pos x="289" y="88"/>
                  </a:cxn>
                  <a:cxn ang="0">
                    <a:pos x="309" y="103"/>
                  </a:cxn>
                  <a:cxn ang="0">
                    <a:pos x="331" y="102"/>
                  </a:cxn>
                  <a:cxn ang="0">
                    <a:pos x="359" y="88"/>
                  </a:cxn>
                  <a:cxn ang="0">
                    <a:pos x="384" y="118"/>
                  </a:cxn>
                  <a:cxn ang="0">
                    <a:pos x="404" y="156"/>
                  </a:cxn>
                  <a:cxn ang="0">
                    <a:pos x="432" y="188"/>
                  </a:cxn>
                  <a:cxn ang="0">
                    <a:pos x="449" y="196"/>
                  </a:cxn>
                  <a:cxn ang="0">
                    <a:pos x="437" y="216"/>
                  </a:cxn>
                  <a:cxn ang="0">
                    <a:pos x="429" y="274"/>
                  </a:cxn>
                  <a:cxn ang="0">
                    <a:pos x="435" y="309"/>
                  </a:cxn>
                  <a:cxn ang="0">
                    <a:pos x="474" y="366"/>
                  </a:cxn>
                  <a:cxn ang="0">
                    <a:pos x="527" y="372"/>
                  </a:cxn>
                  <a:cxn ang="0">
                    <a:pos x="568" y="379"/>
                  </a:cxn>
                  <a:cxn ang="0">
                    <a:pos x="591" y="344"/>
                  </a:cxn>
                  <a:cxn ang="0">
                    <a:pos x="653" y="303"/>
                  </a:cxn>
                  <a:cxn ang="0">
                    <a:pos x="684" y="322"/>
                  </a:cxn>
                  <a:cxn ang="0">
                    <a:pos x="668" y="357"/>
                  </a:cxn>
                  <a:cxn ang="0">
                    <a:pos x="656" y="366"/>
                  </a:cxn>
                  <a:cxn ang="0">
                    <a:pos x="631" y="386"/>
                  </a:cxn>
                  <a:cxn ang="0">
                    <a:pos x="575" y="406"/>
                  </a:cxn>
                  <a:cxn ang="0">
                    <a:pos x="563" y="427"/>
                  </a:cxn>
                  <a:cxn ang="0">
                    <a:pos x="542" y="460"/>
                  </a:cxn>
                  <a:cxn ang="0">
                    <a:pos x="495" y="425"/>
                  </a:cxn>
                  <a:cxn ang="0">
                    <a:pos x="492" y="425"/>
                  </a:cxn>
                  <a:cxn ang="0">
                    <a:pos x="485" y="429"/>
                  </a:cxn>
                  <a:cxn ang="0">
                    <a:pos x="404" y="425"/>
                  </a:cxn>
                  <a:cxn ang="0">
                    <a:pos x="351" y="407"/>
                  </a:cxn>
                  <a:cxn ang="0">
                    <a:pos x="291" y="381"/>
                  </a:cxn>
                  <a:cxn ang="0">
                    <a:pos x="251" y="356"/>
                  </a:cxn>
                  <a:cxn ang="0">
                    <a:pos x="239" y="322"/>
                  </a:cxn>
                  <a:cxn ang="0">
                    <a:pos x="236" y="278"/>
                  </a:cxn>
                  <a:cxn ang="0">
                    <a:pos x="186" y="219"/>
                  </a:cxn>
                  <a:cxn ang="0">
                    <a:pos x="160" y="193"/>
                  </a:cxn>
                  <a:cxn ang="0">
                    <a:pos x="163" y="171"/>
                  </a:cxn>
                  <a:cxn ang="0">
                    <a:pos x="136" y="138"/>
                  </a:cxn>
                  <a:cxn ang="0">
                    <a:pos x="111" y="115"/>
                  </a:cxn>
                  <a:cxn ang="0">
                    <a:pos x="93" y="77"/>
                  </a:cxn>
                  <a:cxn ang="0">
                    <a:pos x="80" y="38"/>
                  </a:cxn>
                  <a:cxn ang="0">
                    <a:pos x="50" y="43"/>
                  </a:cxn>
                  <a:cxn ang="0">
                    <a:pos x="68" y="100"/>
                  </a:cxn>
                  <a:cxn ang="0">
                    <a:pos x="91" y="136"/>
                  </a:cxn>
                  <a:cxn ang="0">
                    <a:pos x="108" y="160"/>
                  </a:cxn>
                  <a:cxn ang="0">
                    <a:pos x="120" y="201"/>
                  </a:cxn>
                  <a:cxn ang="0">
                    <a:pos x="131" y="226"/>
                  </a:cxn>
                  <a:cxn ang="0">
                    <a:pos x="138" y="261"/>
                  </a:cxn>
                  <a:cxn ang="0">
                    <a:pos x="103" y="223"/>
                  </a:cxn>
                  <a:cxn ang="0">
                    <a:pos x="86" y="175"/>
                  </a:cxn>
                  <a:cxn ang="0">
                    <a:pos x="58" y="156"/>
                  </a:cxn>
                  <a:cxn ang="0">
                    <a:pos x="38" y="131"/>
                  </a:cxn>
                  <a:cxn ang="0">
                    <a:pos x="53" y="121"/>
                  </a:cxn>
                  <a:cxn ang="0">
                    <a:pos x="25" y="82"/>
                  </a:cxn>
                  <a:cxn ang="0">
                    <a:pos x="15" y="42"/>
                  </a:cxn>
                  <a:cxn ang="0">
                    <a:pos x="128" y="210"/>
                  </a:cxn>
                  <a:cxn ang="0">
                    <a:pos x="130" y="221"/>
                  </a:cxn>
                  <a:cxn ang="0">
                    <a:pos x="439" y="216"/>
                  </a:cxn>
                </a:cxnLst>
                <a:rect l="0" t="0" r="r" b="b"/>
                <a:pathLst>
                  <a:path w="693" h="464">
                    <a:moveTo>
                      <a:pt x="0" y="2"/>
                    </a:moveTo>
                    <a:lnTo>
                      <a:pt x="58" y="0"/>
                    </a:lnTo>
                    <a:lnTo>
                      <a:pt x="60" y="2"/>
                    </a:lnTo>
                    <a:lnTo>
                      <a:pt x="58" y="4"/>
                    </a:lnTo>
                    <a:lnTo>
                      <a:pt x="141" y="38"/>
                    </a:lnTo>
                    <a:lnTo>
                      <a:pt x="209" y="40"/>
                    </a:lnTo>
                    <a:lnTo>
                      <a:pt x="211" y="32"/>
                    </a:lnTo>
                    <a:lnTo>
                      <a:pt x="249" y="33"/>
                    </a:lnTo>
                    <a:lnTo>
                      <a:pt x="254" y="35"/>
                    </a:lnTo>
                    <a:lnTo>
                      <a:pt x="258" y="40"/>
                    </a:lnTo>
                    <a:lnTo>
                      <a:pt x="261" y="43"/>
                    </a:lnTo>
                    <a:lnTo>
                      <a:pt x="261" y="45"/>
                    </a:lnTo>
                    <a:lnTo>
                      <a:pt x="263" y="45"/>
                    </a:lnTo>
                    <a:lnTo>
                      <a:pt x="266" y="48"/>
                    </a:lnTo>
                    <a:lnTo>
                      <a:pt x="264" y="50"/>
                    </a:lnTo>
                    <a:lnTo>
                      <a:pt x="268" y="52"/>
                    </a:lnTo>
                    <a:lnTo>
                      <a:pt x="273" y="53"/>
                    </a:lnTo>
                    <a:lnTo>
                      <a:pt x="271" y="55"/>
                    </a:lnTo>
                    <a:lnTo>
                      <a:pt x="271" y="58"/>
                    </a:lnTo>
                    <a:lnTo>
                      <a:pt x="274" y="58"/>
                    </a:lnTo>
                    <a:lnTo>
                      <a:pt x="278" y="60"/>
                    </a:lnTo>
                    <a:lnTo>
                      <a:pt x="279" y="63"/>
                    </a:lnTo>
                    <a:lnTo>
                      <a:pt x="279" y="68"/>
                    </a:lnTo>
                    <a:lnTo>
                      <a:pt x="281" y="70"/>
                    </a:lnTo>
                    <a:lnTo>
                      <a:pt x="282" y="70"/>
                    </a:lnTo>
                    <a:lnTo>
                      <a:pt x="282" y="72"/>
                    </a:lnTo>
                    <a:lnTo>
                      <a:pt x="286" y="75"/>
                    </a:lnTo>
                    <a:lnTo>
                      <a:pt x="286" y="78"/>
                    </a:lnTo>
                    <a:lnTo>
                      <a:pt x="284" y="78"/>
                    </a:lnTo>
                    <a:lnTo>
                      <a:pt x="282" y="80"/>
                    </a:lnTo>
                    <a:lnTo>
                      <a:pt x="282" y="82"/>
                    </a:lnTo>
                    <a:lnTo>
                      <a:pt x="286" y="85"/>
                    </a:lnTo>
                    <a:lnTo>
                      <a:pt x="289" y="88"/>
                    </a:lnTo>
                    <a:lnTo>
                      <a:pt x="291" y="92"/>
                    </a:lnTo>
                    <a:lnTo>
                      <a:pt x="291" y="93"/>
                    </a:lnTo>
                    <a:lnTo>
                      <a:pt x="292" y="93"/>
                    </a:lnTo>
                    <a:lnTo>
                      <a:pt x="294" y="95"/>
                    </a:lnTo>
                    <a:lnTo>
                      <a:pt x="296" y="95"/>
                    </a:lnTo>
                    <a:lnTo>
                      <a:pt x="297" y="97"/>
                    </a:lnTo>
                    <a:lnTo>
                      <a:pt x="299" y="97"/>
                    </a:lnTo>
                    <a:lnTo>
                      <a:pt x="299" y="98"/>
                    </a:lnTo>
                    <a:lnTo>
                      <a:pt x="301" y="100"/>
                    </a:lnTo>
                    <a:lnTo>
                      <a:pt x="304" y="100"/>
                    </a:lnTo>
                    <a:lnTo>
                      <a:pt x="309" y="103"/>
                    </a:lnTo>
                    <a:lnTo>
                      <a:pt x="309" y="105"/>
                    </a:lnTo>
                    <a:lnTo>
                      <a:pt x="312" y="105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10"/>
                    </a:lnTo>
                    <a:lnTo>
                      <a:pt x="324" y="108"/>
                    </a:lnTo>
                    <a:lnTo>
                      <a:pt x="324" y="107"/>
                    </a:lnTo>
                    <a:lnTo>
                      <a:pt x="327" y="105"/>
                    </a:lnTo>
                    <a:lnTo>
                      <a:pt x="331" y="105"/>
                    </a:lnTo>
                    <a:lnTo>
                      <a:pt x="331" y="102"/>
                    </a:lnTo>
                    <a:lnTo>
                      <a:pt x="331" y="102"/>
                    </a:lnTo>
                    <a:lnTo>
                      <a:pt x="332" y="98"/>
                    </a:lnTo>
                    <a:lnTo>
                      <a:pt x="336" y="93"/>
                    </a:lnTo>
                    <a:lnTo>
                      <a:pt x="339" y="90"/>
                    </a:lnTo>
                    <a:lnTo>
                      <a:pt x="341" y="90"/>
                    </a:lnTo>
                    <a:lnTo>
                      <a:pt x="342" y="90"/>
                    </a:lnTo>
                    <a:lnTo>
                      <a:pt x="344" y="90"/>
                    </a:lnTo>
                    <a:lnTo>
                      <a:pt x="346" y="90"/>
                    </a:lnTo>
                    <a:lnTo>
                      <a:pt x="347" y="88"/>
                    </a:lnTo>
                    <a:lnTo>
                      <a:pt x="351" y="88"/>
                    </a:lnTo>
                    <a:lnTo>
                      <a:pt x="356" y="88"/>
                    </a:lnTo>
                    <a:lnTo>
                      <a:pt x="359" y="88"/>
                    </a:lnTo>
                    <a:lnTo>
                      <a:pt x="362" y="88"/>
                    </a:lnTo>
                    <a:lnTo>
                      <a:pt x="362" y="90"/>
                    </a:lnTo>
                    <a:lnTo>
                      <a:pt x="366" y="90"/>
                    </a:lnTo>
                    <a:lnTo>
                      <a:pt x="369" y="92"/>
                    </a:lnTo>
                    <a:lnTo>
                      <a:pt x="371" y="95"/>
                    </a:lnTo>
                    <a:lnTo>
                      <a:pt x="376" y="98"/>
                    </a:lnTo>
                    <a:lnTo>
                      <a:pt x="379" y="103"/>
                    </a:lnTo>
                    <a:lnTo>
                      <a:pt x="382" y="108"/>
                    </a:lnTo>
                    <a:lnTo>
                      <a:pt x="382" y="110"/>
                    </a:lnTo>
                    <a:lnTo>
                      <a:pt x="384" y="113"/>
                    </a:lnTo>
                    <a:lnTo>
                      <a:pt x="384" y="118"/>
                    </a:lnTo>
                    <a:lnTo>
                      <a:pt x="385" y="120"/>
                    </a:lnTo>
                    <a:lnTo>
                      <a:pt x="387" y="121"/>
                    </a:lnTo>
                    <a:lnTo>
                      <a:pt x="390" y="130"/>
                    </a:lnTo>
                    <a:lnTo>
                      <a:pt x="392" y="131"/>
                    </a:lnTo>
                    <a:lnTo>
                      <a:pt x="394" y="135"/>
                    </a:lnTo>
                    <a:lnTo>
                      <a:pt x="397" y="136"/>
                    </a:lnTo>
                    <a:lnTo>
                      <a:pt x="399" y="140"/>
                    </a:lnTo>
                    <a:lnTo>
                      <a:pt x="400" y="143"/>
                    </a:lnTo>
                    <a:lnTo>
                      <a:pt x="405" y="148"/>
                    </a:lnTo>
                    <a:lnTo>
                      <a:pt x="404" y="151"/>
                    </a:lnTo>
                    <a:lnTo>
                      <a:pt x="404" y="156"/>
                    </a:lnTo>
                    <a:lnTo>
                      <a:pt x="404" y="156"/>
                    </a:lnTo>
                    <a:lnTo>
                      <a:pt x="404" y="158"/>
                    </a:lnTo>
                    <a:lnTo>
                      <a:pt x="409" y="171"/>
                    </a:lnTo>
                    <a:lnTo>
                      <a:pt x="409" y="176"/>
                    </a:lnTo>
                    <a:lnTo>
                      <a:pt x="410" y="178"/>
                    </a:lnTo>
                    <a:lnTo>
                      <a:pt x="412" y="180"/>
                    </a:lnTo>
                    <a:lnTo>
                      <a:pt x="414" y="180"/>
                    </a:lnTo>
                    <a:lnTo>
                      <a:pt x="417" y="180"/>
                    </a:lnTo>
                    <a:lnTo>
                      <a:pt x="420" y="181"/>
                    </a:lnTo>
                    <a:lnTo>
                      <a:pt x="424" y="185"/>
                    </a:lnTo>
                    <a:lnTo>
                      <a:pt x="432" y="188"/>
                    </a:lnTo>
                    <a:lnTo>
                      <a:pt x="437" y="190"/>
                    </a:lnTo>
                    <a:lnTo>
                      <a:pt x="442" y="190"/>
                    </a:lnTo>
                    <a:lnTo>
                      <a:pt x="444" y="193"/>
                    </a:lnTo>
                    <a:lnTo>
                      <a:pt x="445" y="195"/>
                    </a:lnTo>
                    <a:lnTo>
                      <a:pt x="444" y="198"/>
                    </a:lnTo>
                    <a:lnTo>
                      <a:pt x="449" y="195"/>
                    </a:lnTo>
                    <a:lnTo>
                      <a:pt x="449" y="188"/>
                    </a:lnTo>
                    <a:lnTo>
                      <a:pt x="452" y="186"/>
                    </a:lnTo>
                    <a:lnTo>
                      <a:pt x="452" y="188"/>
                    </a:lnTo>
                    <a:lnTo>
                      <a:pt x="452" y="193"/>
                    </a:lnTo>
                    <a:lnTo>
                      <a:pt x="449" y="196"/>
                    </a:lnTo>
                    <a:lnTo>
                      <a:pt x="449" y="201"/>
                    </a:lnTo>
                    <a:lnTo>
                      <a:pt x="444" y="205"/>
                    </a:lnTo>
                    <a:lnTo>
                      <a:pt x="444" y="210"/>
                    </a:lnTo>
                    <a:lnTo>
                      <a:pt x="440" y="210"/>
                    </a:lnTo>
                    <a:lnTo>
                      <a:pt x="442" y="208"/>
                    </a:lnTo>
                    <a:lnTo>
                      <a:pt x="442" y="203"/>
                    </a:lnTo>
                    <a:lnTo>
                      <a:pt x="439" y="203"/>
                    </a:lnTo>
                    <a:lnTo>
                      <a:pt x="439" y="210"/>
                    </a:lnTo>
                    <a:lnTo>
                      <a:pt x="435" y="213"/>
                    </a:lnTo>
                    <a:lnTo>
                      <a:pt x="439" y="214"/>
                    </a:lnTo>
                    <a:lnTo>
                      <a:pt x="437" y="216"/>
                    </a:lnTo>
                    <a:lnTo>
                      <a:pt x="435" y="223"/>
                    </a:lnTo>
                    <a:lnTo>
                      <a:pt x="434" y="224"/>
                    </a:lnTo>
                    <a:lnTo>
                      <a:pt x="434" y="229"/>
                    </a:lnTo>
                    <a:lnTo>
                      <a:pt x="435" y="233"/>
                    </a:lnTo>
                    <a:lnTo>
                      <a:pt x="434" y="234"/>
                    </a:lnTo>
                    <a:lnTo>
                      <a:pt x="434" y="238"/>
                    </a:lnTo>
                    <a:lnTo>
                      <a:pt x="430" y="249"/>
                    </a:lnTo>
                    <a:lnTo>
                      <a:pt x="432" y="256"/>
                    </a:lnTo>
                    <a:lnTo>
                      <a:pt x="430" y="266"/>
                    </a:lnTo>
                    <a:lnTo>
                      <a:pt x="427" y="271"/>
                    </a:lnTo>
                    <a:lnTo>
                      <a:pt x="429" y="274"/>
                    </a:lnTo>
                    <a:lnTo>
                      <a:pt x="430" y="283"/>
                    </a:lnTo>
                    <a:lnTo>
                      <a:pt x="429" y="288"/>
                    </a:lnTo>
                    <a:lnTo>
                      <a:pt x="435" y="296"/>
                    </a:lnTo>
                    <a:lnTo>
                      <a:pt x="435" y="303"/>
                    </a:lnTo>
                    <a:lnTo>
                      <a:pt x="434" y="304"/>
                    </a:lnTo>
                    <a:lnTo>
                      <a:pt x="434" y="296"/>
                    </a:lnTo>
                    <a:lnTo>
                      <a:pt x="429" y="289"/>
                    </a:lnTo>
                    <a:lnTo>
                      <a:pt x="427" y="294"/>
                    </a:lnTo>
                    <a:lnTo>
                      <a:pt x="430" y="298"/>
                    </a:lnTo>
                    <a:lnTo>
                      <a:pt x="434" y="308"/>
                    </a:lnTo>
                    <a:lnTo>
                      <a:pt x="435" y="309"/>
                    </a:lnTo>
                    <a:lnTo>
                      <a:pt x="434" y="312"/>
                    </a:lnTo>
                    <a:lnTo>
                      <a:pt x="435" y="316"/>
                    </a:lnTo>
                    <a:lnTo>
                      <a:pt x="437" y="321"/>
                    </a:lnTo>
                    <a:lnTo>
                      <a:pt x="450" y="334"/>
                    </a:lnTo>
                    <a:lnTo>
                      <a:pt x="452" y="339"/>
                    </a:lnTo>
                    <a:lnTo>
                      <a:pt x="457" y="344"/>
                    </a:lnTo>
                    <a:lnTo>
                      <a:pt x="457" y="347"/>
                    </a:lnTo>
                    <a:lnTo>
                      <a:pt x="459" y="351"/>
                    </a:lnTo>
                    <a:lnTo>
                      <a:pt x="469" y="362"/>
                    </a:lnTo>
                    <a:lnTo>
                      <a:pt x="472" y="366"/>
                    </a:lnTo>
                    <a:lnTo>
                      <a:pt x="474" y="366"/>
                    </a:lnTo>
                    <a:lnTo>
                      <a:pt x="480" y="366"/>
                    </a:lnTo>
                    <a:lnTo>
                      <a:pt x="482" y="367"/>
                    </a:lnTo>
                    <a:lnTo>
                      <a:pt x="488" y="369"/>
                    </a:lnTo>
                    <a:lnTo>
                      <a:pt x="493" y="376"/>
                    </a:lnTo>
                    <a:lnTo>
                      <a:pt x="497" y="382"/>
                    </a:lnTo>
                    <a:lnTo>
                      <a:pt x="502" y="379"/>
                    </a:lnTo>
                    <a:lnTo>
                      <a:pt x="510" y="377"/>
                    </a:lnTo>
                    <a:lnTo>
                      <a:pt x="512" y="381"/>
                    </a:lnTo>
                    <a:lnTo>
                      <a:pt x="515" y="381"/>
                    </a:lnTo>
                    <a:lnTo>
                      <a:pt x="525" y="376"/>
                    </a:lnTo>
                    <a:lnTo>
                      <a:pt x="527" y="372"/>
                    </a:lnTo>
                    <a:lnTo>
                      <a:pt x="535" y="372"/>
                    </a:lnTo>
                    <a:lnTo>
                      <a:pt x="540" y="372"/>
                    </a:lnTo>
                    <a:lnTo>
                      <a:pt x="545" y="369"/>
                    </a:lnTo>
                    <a:lnTo>
                      <a:pt x="552" y="369"/>
                    </a:lnTo>
                    <a:lnTo>
                      <a:pt x="557" y="371"/>
                    </a:lnTo>
                    <a:lnTo>
                      <a:pt x="558" y="367"/>
                    </a:lnTo>
                    <a:lnTo>
                      <a:pt x="565" y="369"/>
                    </a:lnTo>
                    <a:lnTo>
                      <a:pt x="562" y="372"/>
                    </a:lnTo>
                    <a:lnTo>
                      <a:pt x="560" y="374"/>
                    </a:lnTo>
                    <a:lnTo>
                      <a:pt x="565" y="376"/>
                    </a:lnTo>
                    <a:lnTo>
                      <a:pt x="568" y="379"/>
                    </a:lnTo>
                    <a:lnTo>
                      <a:pt x="570" y="377"/>
                    </a:lnTo>
                    <a:lnTo>
                      <a:pt x="572" y="376"/>
                    </a:lnTo>
                    <a:lnTo>
                      <a:pt x="577" y="371"/>
                    </a:lnTo>
                    <a:lnTo>
                      <a:pt x="577" y="366"/>
                    </a:lnTo>
                    <a:lnTo>
                      <a:pt x="578" y="361"/>
                    </a:lnTo>
                    <a:lnTo>
                      <a:pt x="573" y="364"/>
                    </a:lnTo>
                    <a:lnTo>
                      <a:pt x="573" y="364"/>
                    </a:lnTo>
                    <a:lnTo>
                      <a:pt x="583" y="357"/>
                    </a:lnTo>
                    <a:lnTo>
                      <a:pt x="586" y="357"/>
                    </a:lnTo>
                    <a:lnTo>
                      <a:pt x="591" y="352"/>
                    </a:lnTo>
                    <a:lnTo>
                      <a:pt x="591" y="344"/>
                    </a:lnTo>
                    <a:lnTo>
                      <a:pt x="600" y="336"/>
                    </a:lnTo>
                    <a:lnTo>
                      <a:pt x="600" y="334"/>
                    </a:lnTo>
                    <a:lnTo>
                      <a:pt x="600" y="321"/>
                    </a:lnTo>
                    <a:lnTo>
                      <a:pt x="610" y="312"/>
                    </a:lnTo>
                    <a:lnTo>
                      <a:pt x="605" y="311"/>
                    </a:lnTo>
                    <a:lnTo>
                      <a:pt x="605" y="308"/>
                    </a:lnTo>
                    <a:lnTo>
                      <a:pt x="621" y="304"/>
                    </a:lnTo>
                    <a:lnTo>
                      <a:pt x="641" y="306"/>
                    </a:lnTo>
                    <a:lnTo>
                      <a:pt x="645" y="301"/>
                    </a:lnTo>
                    <a:lnTo>
                      <a:pt x="651" y="301"/>
                    </a:lnTo>
                    <a:lnTo>
                      <a:pt x="653" y="303"/>
                    </a:lnTo>
                    <a:lnTo>
                      <a:pt x="660" y="299"/>
                    </a:lnTo>
                    <a:lnTo>
                      <a:pt x="660" y="298"/>
                    </a:lnTo>
                    <a:lnTo>
                      <a:pt x="668" y="298"/>
                    </a:lnTo>
                    <a:lnTo>
                      <a:pt x="679" y="299"/>
                    </a:lnTo>
                    <a:lnTo>
                      <a:pt x="683" y="299"/>
                    </a:lnTo>
                    <a:lnTo>
                      <a:pt x="681" y="296"/>
                    </a:lnTo>
                    <a:lnTo>
                      <a:pt x="686" y="296"/>
                    </a:lnTo>
                    <a:lnTo>
                      <a:pt x="693" y="304"/>
                    </a:lnTo>
                    <a:lnTo>
                      <a:pt x="693" y="309"/>
                    </a:lnTo>
                    <a:lnTo>
                      <a:pt x="689" y="314"/>
                    </a:lnTo>
                    <a:lnTo>
                      <a:pt x="684" y="322"/>
                    </a:lnTo>
                    <a:lnTo>
                      <a:pt x="673" y="331"/>
                    </a:lnTo>
                    <a:lnTo>
                      <a:pt x="671" y="334"/>
                    </a:lnTo>
                    <a:lnTo>
                      <a:pt x="671" y="341"/>
                    </a:lnTo>
                    <a:lnTo>
                      <a:pt x="666" y="342"/>
                    </a:lnTo>
                    <a:lnTo>
                      <a:pt x="665" y="344"/>
                    </a:lnTo>
                    <a:lnTo>
                      <a:pt x="668" y="347"/>
                    </a:lnTo>
                    <a:lnTo>
                      <a:pt x="671" y="347"/>
                    </a:lnTo>
                    <a:lnTo>
                      <a:pt x="671" y="349"/>
                    </a:lnTo>
                    <a:lnTo>
                      <a:pt x="666" y="356"/>
                    </a:lnTo>
                    <a:lnTo>
                      <a:pt x="666" y="357"/>
                    </a:lnTo>
                    <a:lnTo>
                      <a:pt x="668" y="357"/>
                    </a:lnTo>
                    <a:lnTo>
                      <a:pt x="670" y="356"/>
                    </a:lnTo>
                    <a:lnTo>
                      <a:pt x="673" y="356"/>
                    </a:lnTo>
                    <a:lnTo>
                      <a:pt x="670" y="359"/>
                    </a:lnTo>
                    <a:lnTo>
                      <a:pt x="666" y="372"/>
                    </a:lnTo>
                    <a:lnTo>
                      <a:pt x="661" y="379"/>
                    </a:lnTo>
                    <a:lnTo>
                      <a:pt x="660" y="381"/>
                    </a:lnTo>
                    <a:lnTo>
                      <a:pt x="658" y="376"/>
                    </a:lnTo>
                    <a:lnTo>
                      <a:pt x="653" y="374"/>
                    </a:lnTo>
                    <a:lnTo>
                      <a:pt x="653" y="372"/>
                    </a:lnTo>
                    <a:lnTo>
                      <a:pt x="655" y="371"/>
                    </a:lnTo>
                    <a:lnTo>
                      <a:pt x="656" y="366"/>
                    </a:lnTo>
                    <a:lnTo>
                      <a:pt x="653" y="366"/>
                    </a:lnTo>
                    <a:lnTo>
                      <a:pt x="648" y="372"/>
                    </a:lnTo>
                    <a:lnTo>
                      <a:pt x="643" y="376"/>
                    </a:lnTo>
                    <a:lnTo>
                      <a:pt x="643" y="376"/>
                    </a:lnTo>
                    <a:lnTo>
                      <a:pt x="641" y="376"/>
                    </a:lnTo>
                    <a:lnTo>
                      <a:pt x="638" y="376"/>
                    </a:lnTo>
                    <a:lnTo>
                      <a:pt x="638" y="377"/>
                    </a:lnTo>
                    <a:lnTo>
                      <a:pt x="636" y="381"/>
                    </a:lnTo>
                    <a:lnTo>
                      <a:pt x="633" y="386"/>
                    </a:lnTo>
                    <a:lnTo>
                      <a:pt x="633" y="386"/>
                    </a:lnTo>
                    <a:lnTo>
                      <a:pt x="631" y="386"/>
                    </a:lnTo>
                    <a:lnTo>
                      <a:pt x="631" y="387"/>
                    </a:lnTo>
                    <a:lnTo>
                      <a:pt x="630" y="387"/>
                    </a:lnTo>
                    <a:lnTo>
                      <a:pt x="630" y="386"/>
                    </a:lnTo>
                    <a:lnTo>
                      <a:pt x="626" y="386"/>
                    </a:lnTo>
                    <a:lnTo>
                      <a:pt x="623" y="387"/>
                    </a:lnTo>
                    <a:lnTo>
                      <a:pt x="623" y="389"/>
                    </a:lnTo>
                    <a:lnTo>
                      <a:pt x="581" y="389"/>
                    </a:lnTo>
                    <a:lnTo>
                      <a:pt x="580" y="401"/>
                    </a:lnTo>
                    <a:lnTo>
                      <a:pt x="570" y="402"/>
                    </a:lnTo>
                    <a:lnTo>
                      <a:pt x="573" y="404"/>
                    </a:lnTo>
                    <a:lnTo>
                      <a:pt x="575" y="406"/>
                    </a:lnTo>
                    <a:lnTo>
                      <a:pt x="578" y="410"/>
                    </a:lnTo>
                    <a:lnTo>
                      <a:pt x="583" y="414"/>
                    </a:lnTo>
                    <a:lnTo>
                      <a:pt x="585" y="414"/>
                    </a:lnTo>
                    <a:lnTo>
                      <a:pt x="586" y="415"/>
                    </a:lnTo>
                    <a:lnTo>
                      <a:pt x="588" y="419"/>
                    </a:lnTo>
                    <a:lnTo>
                      <a:pt x="590" y="420"/>
                    </a:lnTo>
                    <a:lnTo>
                      <a:pt x="593" y="420"/>
                    </a:lnTo>
                    <a:lnTo>
                      <a:pt x="596" y="422"/>
                    </a:lnTo>
                    <a:lnTo>
                      <a:pt x="596" y="425"/>
                    </a:lnTo>
                    <a:lnTo>
                      <a:pt x="593" y="427"/>
                    </a:lnTo>
                    <a:lnTo>
                      <a:pt x="563" y="427"/>
                    </a:lnTo>
                    <a:lnTo>
                      <a:pt x="548" y="449"/>
                    </a:lnTo>
                    <a:lnTo>
                      <a:pt x="548" y="452"/>
                    </a:lnTo>
                    <a:lnTo>
                      <a:pt x="548" y="454"/>
                    </a:lnTo>
                    <a:lnTo>
                      <a:pt x="548" y="455"/>
                    </a:lnTo>
                    <a:lnTo>
                      <a:pt x="550" y="457"/>
                    </a:lnTo>
                    <a:lnTo>
                      <a:pt x="550" y="457"/>
                    </a:lnTo>
                    <a:lnTo>
                      <a:pt x="550" y="460"/>
                    </a:lnTo>
                    <a:lnTo>
                      <a:pt x="548" y="462"/>
                    </a:lnTo>
                    <a:lnTo>
                      <a:pt x="547" y="464"/>
                    </a:lnTo>
                    <a:lnTo>
                      <a:pt x="547" y="464"/>
                    </a:lnTo>
                    <a:lnTo>
                      <a:pt x="542" y="460"/>
                    </a:lnTo>
                    <a:lnTo>
                      <a:pt x="535" y="455"/>
                    </a:lnTo>
                    <a:lnTo>
                      <a:pt x="535" y="452"/>
                    </a:lnTo>
                    <a:lnTo>
                      <a:pt x="530" y="452"/>
                    </a:lnTo>
                    <a:lnTo>
                      <a:pt x="513" y="439"/>
                    </a:lnTo>
                    <a:lnTo>
                      <a:pt x="510" y="435"/>
                    </a:lnTo>
                    <a:lnTo>
                      <a:pt x="510" y="434"/>
                    </a:lnTo>
                    <a:lnTo>
                      <a:pt x="507" y="429"/>
                    </a:lnTo>
                    <a:lnTo>
                      <a:pt x="502" y="425"/>
                    </a:lnTo>
                    <a:lnTo>
                      <a:pt x="497" y="425"/>
                    </a:lnTo>
                    <a:lnTo>
                      <a:pt x="497" y="425"/>
                    </a:lnTo>
                    <a:lnTo>
                      <a:pt x="495" y="425"/>
                    </a:lnTo>
                    <a:lnTo>
                      <a:pt x="495" y="425"/>
                    </a:lnTo>
                    <a:lnTo>
                      <a:pt x="503" y="429"/>
                    </a:lnTo>
                    <a:lnTo>
                      <a:pt x="508" y="434"/>
                    </a:lnTo>
                    <a:lnTo>
                      <a:pt x="508" y="435"/>
                    </a:lnTo>
                    <a:lnTo>
                      <a:pt x="505" y="432"/>
                    </a:lnTo>
                    <a:lnTo>
                      <a:pt x="498" y="429"/>
                    </a:lnTo>
                    <a:lnTo>
                      <a:pt x="493" y="427"/>
                    </a:lnTo>
                    <a:lnTo>
                      <a:pt x="490" y="427"/>
                    </a:lnTo>
                    <a:lnTo>
                      <a:pt x="488" y="427"/>
                    </a:lnTo>
                    <a:lnTo>
                      <a:pt x="490" y="425"/>
                    </a:lnTo>
                    <a:lnTo>
                      <a:pt x="492" y="425"/>
                    </a:lnTo>
                    <a:lnTo>
                      <a:pt x="492" y="424"/>
                    </a:lnTo>
                    <a:lnTo>
                      <a:pt x="488" y="424"/>
                    </a:lnTo>
                    <a:lnTo>
                      <a:pt x="485" y="425"/>
                    </a:lnTo>
                    <a:lnTo>
                      <a:pt x="485" y="422"/>
                    </a:lnTo>
                    <a:lnTo>
                      <a:pt x="483" y="422"/>
                    </a:lnTo>
                    <a:lnTo>
                      <a:pt x="478" y="425"/>
                    </a:lnTo>
                    <a:lnTo>
                      <a:pt x="478" y="427"/>
                    </a:lnTo>
                    <a:lnTo>
                      <a:pt x="482" y="427"/>
                    </a:lnTo>
                    <a:lnTo>
                      <a:pt x="487" y="427"/>
                    </a:lnTo>
                    <a:lnTo>
                      <a:pt x="487" y="429"/>
                    </a:lnTo>
                    <a:lnTo>
                      <a:pt x="485" y="429"/>
                    </a:lnTo>
                    <a:lnTo>
                      <a:pt x="478" y="429"/>
                    </a:lnTo>
                    <a:lnTo>
                      <a:pt x="474" y="429"/>
                    </a:lnTo>
                    <a:lnTo>
                      <a:pt x="467" y="434"/>
                    </a:lnTo>
                    <a:lnTo>
                      <a:pt x="462" y="434"/>
                    </a:lnTo>
                    <a:lnTo>
                      <a:pt x="450" y="439"/>
                    </a:lnTo>
                    <a:lnTo>
                      <a:pt x="445" y="439"/>
                    </a:lnTo>
                    <a:lnTo>
                      <a:pt x="432" y="435"/>
                    </a:lnTo>
                    <a:lnTo>
                      <a:pt x="425" y="432"/>
                    </a:lnTo>
                    <a:lnTo>
                      <a:pt x="417" y="432"/>
                    </a:lnTo>
                    <a:lnTo>
                      <a:pt x="409" y="429"/>
                    </a:lnTo>
                    <a:lnTo>
                      <a:pt x="404" y="425"/>
                    </a:lnTo>
                    <a:lnTo>
                      <a:pt x="402" y="427"/>
                    </a:lnTo>
                    <a:lnTo>
                      <a:pt x="399" y="425"/>
                    </a:lnTo>
                    <a:lnTo>
                      <a:pt x="392" y="424"/>
                    </a:lnTo>
                    <a:lnTo>
                      <a:pt x="389" y="419"/>
                    </a:lnTo>
                    <a:lnTo>
                      <a:pt x="387" y="417"/>
                    </a:lnTo>
                    <a:lnTo>
                      <a:pt x="384" y="419"/>
                    </a:lnTo>
                    <a:lnTo>
                      <a:pt x="377" y="417"/>
                    </a:lnTo>
                    <a:lnTo>
                      <a:pt x="371" y="415"/>
                    </a:lnTo>
                    <a:lnTo>
                      <a:pt x="367" y="412"/>
                    </a:lnTo>
                    <a:lnTo>
                      <a:pt x="362" y="409"/>
                    </a:lnTo>
                    <a:lnTo>
                      <a:pt x="351" y="407"/>
                    </a:lnTo>
                    <a:lnTo>
                      <a:pt x="341" y="404"/>
                    </a:lnTo>
                    <a:lnTo>
                      <a:pt x="332" y="397"/>
                    </a:lnTo>
                    <a:lnTo>
                      <a:pt x="329" y="397"/>
                    </a:lnTo>
                    <a:lnTo>
                      <a:pt x="317" y="386"/>
                    </a:lnTo>
                    <a:lnTo>
                      <a:pt x="316" y="384"/>
                    </a:lnTo>
                    <a:lnTo>
                      <a:pt x="312" y="384"/>
                    </a:lnTo>
                    <a:lnTo>
                      <a:pt x="312" y="386"/>
                    </a:lnTo>
                    <a:lnTo>
                      <a:pt x="307" y="386"/>
                    </a:lnTo>
                    <a:lnTo>
                      <a:pt x="299" y="382"/>
                    </a:lnTo>
                    <a:lnTo>
                      <a:pt x="296" y="382"/>
                    </a:lnTo>
                    <a:lnTo>
                      <a:pt x="291" y="381"/>
                    </a:lnTo>
                    <a:lnTo>
                      <a:pt x="289" y="381"/>
                    </a:lnTo>
                    <a:lnTo>
                      <a:pt x="284" y="379"/>
                    </a:lnTo>
                    <a:lnTo>
                      <a:pt x="281" y="374"/>
                    </a:lnTo>
                    <a:lnTo>
                      <a:pt x="276" y="367"/>
                    </a:lnTo>
                    <a:lnTo>
                      <a:pt x="271" y="362"/>
                    </a:lnTo>
                    <a:lnTo>
                      <a:pt x="264" y="361"/>
                    </a:lnTo>
                    <a:lnTo>
                      <a:pt x="264" y="359"/>
                    </a:lnTo>
                    <a:lnTo>
                      <a:pt x="266" y="356"/>
                    </a:lnTo>
                    <a:lnTo>
                      <a:pt x="264" y="356"/>
                    </a:lnTo>
                    <a:lnTo>
                      <a:pt x="258" y="357"/>
                    </a:lnTo>
                    <a:lnTo>
                      <a:pt x="251" y="356"/>
                    </a:lnTo>
                    <a:lnTo>
                      <a:pt x="249" y="352"/>
                    </a:lnTo>
                    <a:lnTo>
                      <a:pt x="246" y="352"/>
                    </a:lnTo>
                    <a:lnTo>
                      <a:pt x="243" y="351"/>
                    </a:lnTo>
                    <a:lnTo>
                      <a:pt x="241" y="346"/>
                    </a:lnTo>
                    <a:lnTo>
                      <a:pt x="238" y="341"/>
                    </a:lnTo>
                    <a:lnTo>
                      <a:pt x="238" y="337"/>
                    </a:lnTo>
                    <a:lnTo>
                      <a:pt x="234" y="334"/>
                    </a:lnTo>
                    <a:lnTo>
                      <a:pt x="231" y="326"/>
                    </a:lnTo>
                    <a:lnTo>
                      <a:pt x="231" y="324"/>
                    </a:lnTo>
                    <a:lnTo>
                      <a:pt x="234" y="322"/>
                    </a:lnTo>
                    <a:lnTo>
                      <a:pt x="239" y="322"/>
                    </a:lnTo>
                    <a:lnTo>
                      <a:pt x="241" y="321"/>
                    </a:lnTo>
                    <a:lnTo>
                      <a:pt x="238" y="319"/>
                    </a:lnTo>
                    <a:lnTo>
                      <a:pt x="236" y="317"/>
                    </a:lnTo>
                    <a:lnTo>
                      <a:pt x="236" y="316"/>
                    </a:lnTo>
                    <a:lnTo>
                      <a:pt x="243" y="311"/>
                    </a:lnTo>
                    <a:lnTo>
                      <a:pt x="244" y="308"/>
                    </a:lnTo>
                    <a:lnTo>
                      <a:pt x="244" y="303"/>
                    </a:lnTo>
                    <a:lnTo>
                      <a:pt x="239" y="291"/>
                    </a:lnTo>
                    <a:lnTo>
                      <a:pt x="236" y="284"/>
                    </a:lnTo>
                    <a:lnTo>
                      <a:pt x="234" y="281"/>
                    </a:lnTo>
                    <a:lnTo>
                      <a:pt x="236" y="278"/>
                    </a:lnTo>
                    <a:lnTo>
                      <a:pt x="236" y="273"/>
                    </a:lnTo>
                    <a:lnTo>
                      <a:pt x="228" y="263"/>
                    </a:lnTo>
                    <a:lnTo>
                      <a:pt x="226" y="258"/>
                    </a:lnTo>
                    <a:lnTo>
                      <a:pt x="219" y="251"/>
                    </a:lnTo>
                    <a:lnTo>
                      <a:pt x="213" y="241"/>
                    </a:lnTo>
                    <a:lnTo>
                      <a:pt x="206" y="233"/>
                    </a:lnTo>
                    <a:lnTo>
                      <a:pt x="199" y="228"/>
                    </a:lnTo>
                    <a:lnTo>
                      <a:pt x="198" y="226"/>
                    </a:lnTo>
                    <a:lnTo>
                      <a:pt x="198" y="224"/>
                    </a:lnTo>
                    <a:lnTo>
                      <a:pt x="189" y="221"/>
                    </a:lnTo>
                    <a:lnTo>
                      <a:pt x="186" y="219"/>
                    </a:lnTo>
                    <a:lnTo>
                      <a:pt x="186" y="218"/>
                    </a:lnTo>
                    <a:lnTo>
                      <a:pt x="188" y="216"/>
                    </a:lnTo>
                    <a:lnTo>
                      <a:pt x="191" y="213"/>
                    </a:lnTo>
                    <a:lnTo>
                      <a:pt x="188" y="210"/>
                    </a:lnTo>
                    <a:lnTo>
                      <a:pt x="186" y="206"/>
                    </a:lnTo>
                    <a:lnTo>
                      <a:pt x="186" y="203"/>
                    </a:lnTo>
                    <a:lnTo>
                      <a:pt x="183" y="203"/>
                    </a:lnTo>
                    <a:lnTo>
                      <a:pt x="176" y="203"/>
                    </a:lnTo>
                    <a:lnTo>
                      <a:pt x="168" y="196"/>
                    </a:lnTo>
                    <a:lnTo>
                      <a:pt x="165" y="193"/>
                    </a:lnTo>
                    <a:lnTo>
                      <a:pt x="160" y="193"/>
                    </a:lnTo>
                    <a:lnTo>
                      <a:pt x="156" y="190"/>
                    </a:lnTo>
                    <a:lnTo>
                      <a:pt x="156" y="186"/>
                    </a:lnTo>
                    <a:lnTo>
                      <a:pt x="158" y="180"/>
                    </a:lnTo>
                    <a:lnTo>
                      <a:pt x="163" y="176"/>
                    </a:lnTo>
                    <a:lnTo>
                      <a:pt x="165" y="175"/>
                    </a:lnTo>
                    <a:lnTo>
                      <a:pt x="168" y="178"/>
                    </a:lnTo>
                    <a:lnTo>
                      <a:pt x="170" y="175"/>
                    </a:lnTo>
                    <a:lnTo>
                      <a:pt x="170" y="173"/>
                    </a:lnTo>
                    <a:lnTo>
                      <a:pt x="168" y="171"/>
                    </a:lnTo>
                    <a:lnTo>
                      <a:pt x="166" y="173"/>
                    </a:lnTo>
                    <a:lnTo>
                      <a:pt x="163" y="171"/>
                    </a:lnTo>
                    <a:lnTo>
                      <a:pt x="163" y="168"/>
                    </a:lnTo>
                    <a:lnTo>
                      <a:pt x="158" y="163"/>
                    </a:lnTo>
                    <a:lnTo>
                      <a:pt x="155" y="163"/>
                    </a:lnTo>
                    <a:lnTo>
                      <a:pt x="150" y="161"/>
                    </a:lnTo>
                    <a:lnTo>
                      <a:pt x="148" y="158"/>
                    </a:lnTo>
                    <a:lnTo>
                      <a:pt x="150" y="155"/>
                    </a:lnTo>
                    <a:lnTo>
                      <a:pt x="146" y="153"/>
                    </a:lnTo>
                    <a:lnTo>
                      <a:pt x="143" y="155"/>
                    </a:lnTo>
                    <a:lnTo>
                      <a:pt x="135" y="146"/>
                    </a:lnTo>
                    <a:lnTo>
                      <a:pt x="133" y="141"/>
                    </a:lnTo>
                    <a:lnTo>
                      <a:pt x="136" y="138"/>
                    </a:lnTo>
                    <a:lnTo>
                      <a:pt x="136" y="133"/>
                    </a:lnTo>
                    <a:lnTo>
                      <a:pt x="133" y="131"/>
                    </a:lnTo>
                    <a:lnTo>
                      <a:pt x="130" y="133"/>
                    </a:lnTo>
                    <a:lnTo>
                      <a:pt x="128" y="131"/>
                    </a:lnTo>
                    <a:lnTo>
                      <a:pt x="125" y="131"/>
                    </a:lnTo>
                    <a:lnTo>
                      <a:pt x="125" y="130"/>
                    </a:lnTo>
                    <a:lnTo>
                      <a:pt x="121" y="126"/>
                    </a:lnTo>
                    <a:lnTo>
                      <a:pt x="120" y="123"/>
                    </a:lnTo>
                    <a:lnTo>
                      <a:pt x="116" y="118"/>
                    </a:lnTo>
                    <a:lnTo>
                      <a:pt x="113" y="116"/>
                    </a:lnTo>
                    <a:lnTo>
                      <a:pt x="111" y="115"/>
                    </a:lnTo>
                    <a:lnTo>
                      <a:pt x="111" y="110"/>
                    </a:lnTo>
                    <a:lnTo>
                      <a:pt x="110" y="107"/>
                    </a:lnTo>
                    <a:lnTo>
                      <a:pt x="106" y="105"/>
                    </a:lnTo>
                    <a:lnTo>
                      <a:pt x="103" y="98"/>
                    </a:lnTo>
                    <a:lnTo>
                      <a:pt x="101" y="97"/>
                    </a:lnTo>
                    <a:lnTo>
                      <a:pt x="100" y="97"/>
                    </a:lnTo>
                    <a:lnTo>
                      <a:pt x="98" y="93"/>
                    </a:lnTo>
                    <a:lnTo>
                      <a:pt x="100" y="92"/>
                    </a:lnTo>
                    <a:lnTo>
                      <a:pt x="100" y="88"/>
                    </a:lnTo>
                    <a:lnTo>
                      <a:pt x="95" y="82"/>
                    </a:lnTo>
                    <a:lnTo>
                      <a:pt x="93" y="77"/>
                    </a:lnTo>
                    <a:lnTo>
                      <a:pt x="93" y="75"/>
                    </a:lnTo>
                    <a:lnTo>
                      <a:pt x="93" y="70"/>
                    </a:lnTo>
                    <a:lnTo>
                      <a:pt x="91" y="67"/>
                    </a:lnTo>
                    <a:lnTo>
                      <a:pt x="90" y="58"/>
                    </a:lnTo>
                    <a:lnTo>
                      <a:pt x="86" y="53"/>
                    </a:lnTo>
                    <a:lnTo>
                      <a:pt x="86" y="50"/>
                    </a:lnTo>
                    <a:lnTo>
                      <a:pt x="90" y="45"/>
                    </a:lnTo>
                    <a:lnTo>
                      <a:pt x="90" y="43"/>
                    </a:lnTo>
                    <a:lnTo>
                      <a:pt x="85" y="42"/>
                    </a:lnTo>
                    <a:lnTo>
                      <a:pt x="80" y="42"/>
                    </a:lnTo>
                    <a:lnTo>
                      <a:pt x="80" y="38"/>
                    </a:lnTo>
                    <a:lnTo>
                      <a:pt x="75" y="35"/>
                    </a:lnTo>
                    <a:lnTo>
                      <a:pt x="73" y="37"/>
                    </a:lnTo>
                    <a:lnTo>
                      <a:pt x="68" y="37"/>
                    </a:lnTo>
                    <a:lnTo>
                      <a:pt x="67" y="35"/>
                    </a:lnTo>
                    <a:lnTo>
                      <a:pt x="62" y="28"/>
                    </a:lnTo>
                    <a:lnTo>
                      <a:pt x="55" y="27"/>
                    </a:lnTo>
                    <a:lnTo>
                      <a:pt x="52" y="22"/>
                    </a:lnTo>
                    <a:lnTo>
                      <a:pt x="53" y="27"/>
                    </a:lnTo>
                    <a:lnTo>
                      <a:pt x="55" y="30"/>
                    </a:lnTo>
                    <a:lnTo>
                      <a:pt x="52" y="38"/>
                    </a:lnTo>
                    <a:lnTo>
                      <a:pt x="50" y="43"/>
                    </a:lnTo>
                    <a:lnTo>
                      <a:pt x="52" y="52"/>
                    </a:lnTo>
                    <a:lnTo>
                      <a:pt x="52" y="67"/>
                    </a:lnTo>
                    <a:lnTo>
                      <a:pt x="50" y="72"/>
                    </a:lnTo>
                    <a:lnTo>
                      <a:pt x="53" y="73"/>
                    </a:lnTo>
                    <a:lnTo>
                      <a:pt x="57" y="80"/>
                    </a:lnTo>
                    <a:lnTo>
                      <a:pt x="57" y="83"/>
                    </a:lnTo>
                    <a:lnTo>
                      <a:pt x="58" y="85"/>
                    </a:lnTo>
                    <a:lnTo>
                      <a:pt x="60" y="87"/>
                    </a:lnTo>
                    <a:lnTo>
                      <a:pt x="67" y="92"/>
                    </a:lnTo>
                    <a:lnTo>
                      <a:pt x="68" y="97"/>
                    </a:lnTo>
                    <a:lnTo>
                      <a:pt x="68" y="100"/>
                    </a:lnTo>
                    <a:lnTo>
                      <a:pt x="70" y="105"/>
                    </a:lnTo>
                    <a:lnTo>
                      <a:pt x="73" y="107"/>
                    </a:lnTo>
                    <a:lnTo>
                      <a:pt x="77" y="108"/>
                    </a:lnTo>
                    <a:lnTo>
                      <a:pt x="77" y="113"/>
                    </a:lnTo>
                    <a:lnTo>
                      <a:pt x="78" y="115"/>
                    </a:lnTo>
                    <a:lnTo>
                      <a:pt x="81" y="116"/>
                    </a:lnTo>
                    <a:lnTo>
                      <a:pt x="86" y="121"/>
                    </a:lnTo>
                    <a:lnTo>
                      <a:pt x="85" y="126"/>
                    </a:lnTo>
                    <a:lnTo>
                      <a:pt x="85" y="131"/>
                    </a:lnTo>
                    <a:lnTo>
                      <a:pt x="90" y="135"/>
                    </a:lnTo>
                    <a:lnTo>
                      <a:pt x="91" y="136"/>
                    </a:lnTo>
                    <a:lnTo>
                      <a:pt x="96" y="141"/>
                    </a:lnTo>
                    <a:lnTo>
                      <a:pt x="98" y="151"/>
                    </a:lnTo>
                    <a:lnTo>
                      <a:pt x="100" y="151"/>
                    </a:lnTo>
                    <a:lnTo>
                      <a:pt x="101" y="153"/>
                    </a:lnTo>
                    <a:lnTo>
                      <a:pt x="100" y="156"/>
                    </a:lnTo>
                    <a:lnTo>
                      <a:pt x="100" y="160"/>
                    </a:lnTo>
                    <a:lnTo>
                      <a:pt x="105" y="165"/>
                    </a:lnTo>
                    <a:lnTo>
                      <a:pt x="106" y="163"/>
                    </a:lnTo>
                    <a:lnTo>
                      <a:pt x="106" y="161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0" y="163"/>
                    </a:lnTo>
                    <a:lnTo>
                      <a:pt x="111" y="166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13" y="185"/>
                    </a:lnTo>
                    <a:lnTo>
                      <a:pt x="115" y="186"/>
                    </a:lnTo>
                    <a:lnTo>
                      <a:pt x="115" y="190"/>
                    </a:lnTo>
                    <a:lnTo>
                      <a:pt x="116" y="193"/>
                    </a:lnTo>
                    <a:lnTo>
                      <a:pt x="116" y="196"/>
                    </a:lnTo>
                    <a:lnTo>
                      <a:pt x="120" y="198"/>
                    </a:lnTo>
                    <a:lnTo>
                      <a:pt x="120" y="201"/>
                    </a:lnTo>
                    <a:lnTo>
                      <a:pt x="118" y="205"/>
                    </a:lnTo>
                    <a:lnTo>
                      <a:pt x="121" y="210"/>
                    </a:lnTo>
                    <a:lnTo>
                      <a:pt x="121" y="213"/>
                    </a:lnTo>
                    <a:lnTo>
                      <a:pt x="120" y="218"/>
                    </a:lnTo>
                    <a:lnTo>
                      <a:pt x="120" y="221"/>
                    </a:lnTo>
                    <a:lnTo>
                      <a:pt x="125" y="224"/>
                    </a:lnTo>
                    <a:lnTo>
                      <a:pt x="128" y="228"/>
                    </a:lnTo>
                    <a:lnTo>
                      <a:pt x="128" y="231"/>
                    </a:lnTo>
                    <a:lnTo>
                      <a:pt x="131" y="229"/>
                    </a:lnTo>
                    <a:lnTo>
                      <a:pt x="131" y="226"/>
                    </a:lnTo>
                    <a:lnTo>
                      <a:pt x="131" y="226"/>
                    </a:lnTo>
                    <a:lnTo>
                      <a:pt x="135" y="226"/>
                    </a:lnTo>
                    <a:lnTo>
                      <a:pt x="136" y="229"/>
                    </a:lnTo>
                    <a:lnTo>
                      <a:pt x="138" y="233"/>
                    </a:lnTo>
                    <a:lnTo>
                      <a:pt x="141" y="234"/>
                    </a:lnTo>
                    <a:lnTo>
                      <a:pt x="143" y="238"/>
                    </a:lnTo>
                    <a:lnTo>
                      <a:pt x="146" y="241"/>
                    </a:lnTo>
                    <a:lnTo>
                      <a:pt x="146" y="244"/>
                    </a:lnTo>
                    <a:lnTo>
                      <a:pt x="150" y="246"/>
                    </a:lnTo>
                    <a:lnTo>
                      <a:pt x="150" y="251"/>
                    </a:lnTo>
                    <a:lnTo>
                      <a:pt x="145" y="258"/>
                    </a:lnTo>
                    <a:lnTo>
                      <a:pt x="138" y="261"/>
                    </a:lnTo>
                    <a:lnTo>
                      <a:pt x="135" y="259"/>
                    </a:lnTo>
                    <a:lnTo>
                      <a:pt x="133" y="256"/>
                    </a:lnTo>
                    <a:lnTo>
                      <a:pt x="133" y="253"/>
                    </a:lnTo>
                    <a:lnTo>
                      <a:pt x="130" y="249"/>
                    </a:lnTo>
                    <a:lnTo>
                      <a:pt x="130" y="244"/>
                    </a:lnTo>
                    <a:lnTo>
                      <a:pt x="126" y="241"/>
                    </a:lnTo>
                    <a:lnTo>
                      <a:pt x="121" y="241"/>
                    </a:lnTo>
                    <a:lnTo>
                      <a:pt x="118" y="236"/>
                    </a:lnTo>
                    <a:lnTo>
                      <a:pt x="116" y="234"/>
                    </a:lnTo>
                    <a:lnTo>
                      <a:pt x="113" y="233"/>
                    </a:lnTo>
                    <a:lnTo>
                      <a:pt x="103" y="223"/>
                    </a:lnTo>
                    <a:lnTo>
                      <a:pt x="100" y="218"/>
                    </a:lnTo>
                    <a:lnTo>
                      <a:pt x="95" y="218"/>
                    </a:lnTo>
                    <a:lnTo>
                      <a:pt x="95" y="214"/>
                    </a:lnTo>
                    <a:lnTo>
                      <a:pt x="91" y="214"/>
                    </a:lnTo>
                    <a:lnTo>
                      <a:pt x="88" y="211"/>
                    </a:lnTo>
                    <a:lnTo>
                      <a:pt x="86" y="208"/>
                    </a:lnTo>
                    <a:lnTo>
                      <a:pt x="91" y="201"/>
                    </a:lnTo>
                    <a:lnTo>
                      <a:pt x="93" y="195"/>
                    </a:lnTo>
                    <a:lnTo>
                      <a:pt x="91" y="186"/>
                    </a:lnTo>
                    <a:lnTo>
                      <a:pt x="88" y="178"/>
                    </a:lnTo>
                    <a:lnTo>
                      <a:pt x="86" y="175"/>
                    </a:lnTo>
                    <a:lnTo>
                      <a:pt x="83" y="175"/>
                    </a:lnTo>
                    <a:lnTo>
                      <a:pt x="80" y="173"/>
                    </a:lnTo>
                    <a:lnTo>
                      <a:pt x="72" y="166"/>
                    </a:lnTo>
                    <a:lnTo>
                      <a:pt x="70" y="158"/>
                    </a:lnTo>
                    <a:lnTo>
                      <a:pt x="72" y="155"/>
                    </a:lnTo>
                    <a:lnTo>
                      <a:pt x="70" y="155"/>
                    </a:lnTo>
                    <a:lnTo>
                      <a:pt x="67" y="160"/>
                    </a:lnTo>
                    <a:lnTo>
                      <a:pt x="63" y="160"/>
                    </a:lnTo>
                    <a:lnTo>
                      <a:pt x="60" y="161"/>
                    </a:lnTo>
                    <a:lnTo>
                      <a:pt x="58" y="158"/>
                    </a:lnTo>
                    <a:lnTo>
                      <a:pt x="58" y="156"/>
                    </a:lnTo>
                    <a:lnTo>
                      <a:pt x="55" y="155"/>
                    </a:lnTo>
                    <a:lnTo>
                      <a:pt x="53" y="155"/>
                    </a:lnTo>
                    <a:lnTo>
                      <a:pt x="53" y="153"/>
                    </a:lnTo>
                    <a:lnTo>
                      <a:pt x="47" y="150"/>
                    </a:lnTo>
                    <a:lnTo>
                      <a:pt x="43" y="150"/>
                    </a:lnTo>
                    <a:lnTo>
                      <a:pt x="40" y="145"/>
                    </a:lnTo>
                    <a:lnTo>
                      <a:pt x="40" y="141"/>
                    </a:lnTo>
                    <a:lnTo>
                      <a:pt x="35" y="140"/>
                    </a:lnTo>
                    <a:lnTo>
                      <a:pt x="30" y="133"/>
                    </a:lnTo>
                    <a:lnTo>
                      <a:pt x="32" y="131"/>
                    </a:lnTo>
                    <a:lnTo>
                      <a:pt x="38" y="131"/>
                    </a:lnTo>
                    <a:lnTo>
                      <a:pt x="42" y="133"/>
                    </a:lnTo>
                    <a:lnTo>
                      <a:pt x="48" y="133"/>
                    </a:lnTo>
                    <a:lnTo>
                      <a:pt x="52" y="136"/>
                    </a:lnTo>
                    <a:lnTo>
                      <a:pt x="53" y="133"/>
                    </a:lnTo>
                    <a:lnTo>
                      <a:pt x="53" y="131"/>
                    </a:lnTo>
                    <a:lnTo>
                      <a:pt x="50" y="130"/>
                    </a:lnTo>
                    <a:lnTo>
                      <a:pt x="48" y="130"/>
                    </a:lnTo>
                    <a:lnTo>
                      <a:pt x="52" y="126"/>
                    </a:lnTo>
                    <a:lnTo>
                      <a:pt x="55" y="128"/>
                    </a:lnTo>
                    <a:lnTo>
                      <a:pt x="55" y="125"/>
                    </a:lnTo>
                    <a:lnTo>
                      <a:pt x="53" y="121"/>
                    </a:lnTo>
                    <a:lnTo>
                      <a:pt x="53" y="120"/>
                    </a:lnTo>
                    <a:lnTo>
                      <a:pt x="57" y="116"/>
                    </a:lnTo>
                    <a:lnTo>
                      <a:pt x="53" y="112"/>
                    </a:lnTo>
                    <a:lnTo>
                      <a:pt x="52" y="110"/>
                    </a:lnTo>
                    <a:lnTo>
                      <a:pt x="48" y="103"/>
                    </a:lnTo>
                    <a:lnTo>
                      <a:pt x="43" y="98"/>
                    </a:lnTo>
                    <a:lnTo>
                      <a:pt x="42" y="95"/>
                    </a:lnTo>
                    <a:lnTo>
                      <a:pt x="38" y="90"/>
                    </a:lnTo>
                    <a:lnTo>
                      <a:pt x="32" y="85"/>
                    </a:lnTo>
                    <a:lnTo>
                      <a:pt x="28" y="85"/>
                    </a:lnTo>
                    <a:lnTo>
                      <a:pt x="25" y="82"/>
                    </a:lnTo>
                    <a:lnTo>
                      <a:pt x="22" y="75"/>
                    </a:lnTo>
                    <a:lnTo>
                      <a:pt x="22" y="68"/>
                    </a:lnTo>
                    <a:lnTo>
                      <a:pt x="22" y="65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20" y="57"/>
                    </a:lnTo>
                    <a:lnTo>
                      <a:pt x="18" y="52"/>
                    </a:lnTo>
                    <a:lnTo>
                      <a:pt x="13" y="48"/>
                    </a:lnTo>
                    <a:lnTo>
                      <a:pt x="13" y="45"/>
                    </a:lnTo>
                    <a:lnTo>
                      <a:pt x="15" y="43"/>
                    </a:lnTo>
                    <a:lnTo>
                      <a:pt x="15" y="42"/>
                    </a:lnTo>
                    <a:lnTo>
                      <a:pt x="8" y="35"/>
                    </a:lnTo>
                    <a:lnTo>
                      <a:pt x="7" y="30"/>
                    </a:lnTo>
                    <a:lnTo>
                      <a:pt x="7" y="27"/>
                    </a:lnTo>
                    <a:lnTo>
                      <a:pt x="10" y="25"/>
                    </a:lnTo>
                    <a:lnTo>
                      <a:pt x="7" y="22"/>
                    </a:lnTo>
                    <a:lnTo>
                      <a:pt x="3" y="17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  <a:moveTo>
                      <a:pt x="125" y="211"/>
                    </a:moveTo>
                    <a:lnTo>
                      <a:pt x="128" y="210"/>
                    </a:lnTo>
                    <a:lnTo>
                      <a:pt x="128" y="206"/>
                    </a:lnTo>
                    <a:lnTo>
                      <a:pt x="125" y="203"/>
                    </a:lnTo>
                    <a:lnTo>
                      <a:pt x="123" y="205"/>
                    </a:lnTo>
                    <a:lnTo>
                      <a:pt x="125" y="206"/>
                    </a:lnTo>
                    <a:lnTo>
                      <a:pt x="125" y="211"/>
                    </a:lnTo>
                    <a:lnTo>
                      <a:pt x="125" y="211"/>
                    </a:lnTo>
                    <a:close/>
                    <a:moveTo>
                      <a:pt x="130" y="221"/>
                    </a:moveTo>
                    <a:lnTo>
                      <a:pt x="130" y="224"/>
                    </a:lnTo>
                    <a:lnTo>
                      <a:pt x="131" y="224"/>
                    </a:lnTo>
                    <a:lnTo>
                      <a:pt x="133" y="221"/>
                    </a:lnTo>
                    <a:lnTo>
                      <a:pt x="130" y="221"/>
                    </a:lnTo>
                    <a:lnTo>
                      <a:pt x="130" y="221"/>
                    </a:lnTo>
                    <a:close/>
                    <a:moveTo>
                      <a:pt x="440" y="214"/>
                    </a:moveTo>
                    <a:lnTo>
                      <a:pt x="442" y="214"/>
                    </a:lnTo>
                    <a:lnTo>
                      <a:pt x="442" y="211"/>
                    </a:lnTo>
                    <a:lnTo>
                      <a:pt x="440" y="211"/>
                    </a:lnTo>
                    <a:lnTo>
                      <a:pt x="440" y="214"/>
                    </a:lnTo>
                    <a:lnTo>
                      <a:pt x="440" y="214"/>
                    </a:lnTo>
                    <a:close/>
                    <a:moveTo>
                      <a:pt x="439" y="219"/>
                    </a:moveTo>
                    <a:lnTo>
                      <a:pt x="439" y="221"/>
                    </a:lnTo>
                    <a:lnTo>
                      <a:pt x="440" y="216"/>
                    </a:lnTo>
                    <a:lnTo>
                      <a:pt x="439" y="216"/>
                    </a:lnTo>
                    <a:lnTo>
                      <a:pt x="439" y="219"/>
                    </a:lnTo>
                    <a:lnTo>
                      <a:pt x="439" y="219"/>
                    </a:lnTo>
                    <a:close/>
                    <a:moveTo>
                      <a:pt x="435" y="229"/>
                    </a:moveTo>
                    <a:lnTo>
                      <a:pt x="439" y="226"/>
                    </a:lnTo>
                    <a:lnTo>
                      <a:pt x="439" y="223"/>
                    </a:lnTo>
                    <a:lnTo>
                      <a:pt x="435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5259146" y="3095400"/>
              <a:ext cx="717067" cy="920340"/>
              <a:chOff x="5259146" y="3095400"/>
              <a:chExt cx="717067" cy="920340"/>
            </a:xfrm>
            <a:grpFill/>
          </p:grpSpPr>
          <p:sp>
            <p:nvSpPr>
              <p:cNvPr id="94" name="Freeform 155"/>
              <p:cNvSpPr>
                <a:spLocks/>
              </p:cNvSpPr>
              <p:nvPr/>
            </p:nvSpPr>
            <p:spPr bwMode="auto">
              <a:xfrm>
                <a:off x="5352257" y="3158692"/>
                <a:ext cx="71706" cy="29052"/>
              </a:xfrm>
              <a:custGeom>
                <a:avLst/>
                <a:gdLst/>
                <a:ahLst/>
                <a:cxnLst>
                  <a:cxn ang="0">
                    <a:pos x="116" y="50"/>
                  </a:cxn>
                  <a:cxn ang="0">
                    <a:pos x="107" y="37"/>
                  </a:cxn>
                  <a:cxn ang="0">
                    <a:pos x="114" y="30"/>
                  </a:cxn>
                  <a:cxn ang="0">
                    <a:pos x="119" y="29"/>
                  </a:cxn>
                  <a:cxn ang="0">
                    <a:pos x="114" y="25"/>
                  </a:cxn>
                  <a:cxn ang="0">
                    <a:pos x="111" y="30"/>
                  </a:cxn>
                  <a:cxn ang="0">
                    <a:pos x="106" y="24"/>
                  </a:cxn>
                  <a:cxn ang="0">
                    <a:pos x="99" y="19"/>
                  </a:cxn>
                  <a:cxn ang="0">
                    <a:pos x="91" y="12"/>
                  </a:cxn>
                  <a:cxn ang="0">
                    <a:pos x="78" y="17"/>
                  </a:cxn>
                  <a:cxn ang="0">
                    <a:pos x="79" y="22"/>
                  </a:cxn>
                  <a:cxn ang="0">
                    <a:pos x="73" y="30"/>
                  </a:cxn>
                  <a:cxn ang="0">
                    <a:pos x="61" y="33"/>
                  </a:cxn>
                  <a:cxn ang="0">
                    <a:pos x="61" y="38"/>
                  </a:cxn>
                  <a:cxn ang="0">
                    <a:pos x="69" y="45"/>
                  </a:cxn>
                  <a:cxn ang="0">
                    <a:pos x="66" y="50"/>
                  </a:cxn>
                  <a:cxn ang="0">
                    <a:pos x="59" y="52"/>
                  </a:cxn>
                  <a:cxn ang="0">
                    <a:pos x="49" y="55"/>
                  </a:cxn>
                  <a:cxn ang="0">
                    <a:pos x="49" y="50"/>
                  </a:cxn>
                  <a:cxn ang="0">
                    <a:pos x="48" y="43"/>
                  </a:cxn>
                  <a:cxn ang="0">
                    <a:pos x="44" y="40"/>
                  </a:cxn>
                  <a:cxn ang="0">
                    <a:pos x="44" y="45"/>
                  </a:cxn>
                  <a:cxn ang="0">
                    <a:pos x="38" y="47"/>
                  </a:cxn>
                  <a:cxn ang="0">
                    <a:pos x="31" y="40"/>
                  </a:cxn>
                  <a:cxn ang="0">
                    <a:pos x="21" y="33"/>
                  </a:cxn>
                  <a:cxn ang="0">
                    <a:pos x="19" y="30"/>
                  </a:cxn>
                  <a:cxn ang="0">
                    <a:pos x="14" y="30"/>
                  </a:cxn>
                  <a:cxn ang="0">
                    <a:pos x="6" y="30"/>
                  </a:cxn>
                  <a:cxn ang="0">
                    <a:pos x="1" y="29"/>
                  </a:cxn>
                  <a:cxn ang="0">
                    <a:pos x="1" y="22"/>
                  </a:cxn>
                  <a:cxn ang="0">
                    <a:pos x="3" y="17"/>
                  </a:cxn>
                  <a:cxn ang="0">
                    <a:pos x="1" y="12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3" y="9"/>
                  </a:cxn>
                  <a:cxn ang="0">
                    <a:pos x="18" y="10"/>
                  </a:cxn>
                  <a:cxn ang="0">
                    <a:pos x="18" y="12"/>
                  </a:cxn>
                  <a:cxn ang="0">
                    <a:pos x="18" y="14"/>
                  </a:cxn>
                  <a:cxn ang="0">
                    <a:pos x="26" y="15"/>
                  </a:cxn>
                  <a:cxn ang="0">
                    <a:pos x="23" y="12"/>
                  </a:cxn>
                  <a:cxn ang="0">
                    <a:pos x="31" y="12"/>
                  </a:cxn>
                  <a:cxn ang="0">
                    <a:pos x="46" y="19"/>
                  </a:cxn>
                  <a:cxn ang="0">
                    <a:pos x="54" y="14"/>
                  </a:cxn>
                  <a:cxn ang="0">
                    <a:pos x="78" y="5"/>
                  </a:cxn>
                  <a:cxn ang="0">
                    <a:pos x="86" y="0"/>
                  </a:cxn>
                  <a:cxn ang="0">
                    <a:pos x="91" y="4"/>
                  </a:cxn>
                  <a:cxn ang="0">
                    <a:pos x="106" y="5"/>
                  </a:cxn>
                  <a:cxn ang="0">
                    <a:pos x="122" y="12"/>
                  </a:cxn>
                  <a:cxn ang="0">
                    <a:pos x="127" y="19"/>
                  </a:cxn>
                  <a:cxn ang="0">
                    <a:pos x="132" y="22"/>
                  </a:cxn>
                  <a:cxn ang="0">
                    <a:pos x="132" y="29"/>
                  </a:cxn>
                  <a:cxn ang="0">
                    <a:pos x="131" y="40"/>
                  </a:cxn>
                  <a:cxn ang="0">
                    <a:pos x="126" y="47"/>
                  </a:cxn>
                  <a:cxn ang="0">
                    <a:pos x="121" y="53"/>
                  </a:cxn>
                </a:cxnLst>
                <a:rect l="0" t="0" r="r" b="b"/>
                <a:pathLst>
                  <a:path w="134" h="57">
                    <a:moveTo>
                      <a:pt x="121" y="53"/>
                    </a:moveTo>
                    <a:lnTo>
                      <a:pt x="116" y="50"/>
                    </a:lnTo>
                    <a:lnTo>
                      <a:pt x="111" y="43"/>
                    </a:lnTo>
                    <a:lnTo>
                      <a:pt x="107" y="37"/>
                    </a:lnTo>
                    <a:lnTo>
                      <a:pt x="111" y="35"/>
                    </a:lnTo>
                    <a:lnTo>
                      <a:pt x="114" y="30"/>
                    </a:lnTo>
                    <a:lnTo>
                      <a:pt x="116" y="30"/>
                    </a:lnTo>
                    <a:lnTo>
                      <a:pt x="119" y="29"/>
                    </a:lnTo>
                    <a:lnTo>
                      <a:pt x="117" y="25"/>
                    </a:lnTo>
                    <a:lnTo>
                      <a:pt x="114" y="25"/>
                    </a:lnTo>
                    <a:lnTo>
                      <a:pt x="112" y="29"/>
                    </a:lnTo>
                    <a:lnTo>
                      <a:pt x="111" y="30"/>
                    </a:lnTo>
                    <a:lnTo>
                      <a:pt x="107" y="29"/>
                    </a:lnTo>
                    <a:lnTo>
                      <a:pt x="106" y="24"/>
                    </a:lnTo>
                    <a:lnTo>
                      <a:pt x="103" y="19"/>
                    </a:lnTo>
                    <a:lnTo>
                      <a:pt x="99" y="19"/>
                    </a:lnTo>
                    <a:lnTo>
                      <a:pt x="94" y="14"/>
                    </a:lnTo>
                    <a:lnTo>
                      <a:pt x="91" y="12"/>
                    </a:lnTo>
                    <a:lnTo>
                      <a:pt x="86" y="14"/>
                    </a:lnTo>
                    <a:lnTo>
                      <a:pt x="78" y="17"/>
                    </a:lnTo>
                    <a:lnTo>
                      <a:pt x="78" y="20"/>
                    </a:lnTo>
                    <a:lnTo>
                      <a:pt x="79" y="22"/>
                    </a:lnTo>
                    <a:lnTo>
                      <a:pt x="79" y="24"/>
                    </a:lnTo>
                    <a:lnTo>
                      <a:pt x="73" y="30"/>
                    </a:lnTo>
                    <a:lnTo>
                      <a:pt x="64" y="32"/>
                    </a:lnTo>
                    <a:lnTo>
                      <a:pt x="61" y="33"/>
                    </a:lnTo>
                    <a:lnTo>
                      <a:pt x="59" y="35"/>
                    </a:lnTo>
                    <a:lnTo>
                      <a:pt x="61" y="38"/>
                    </a:lnTo>
                    <a:lnTo>
                      <a:pt x="66" y="42"/>
                    </a:lnTo>
                    <a:lnTo>
                      <a:pt x="69" y="45"/>
                    </a:lnTo>
                    <a:lnTo>
                      <a:pt x="69" y="48"/>
                    </a:lnTo>
                    <a:lnTo>
                      <a:pt x="66" y="50"/>
                    </a:lnTo>
                    <a:lnTo>
                      <a:pt x="63" y="48"/>
                    </a:lnTo>
                    <a:lnTo>
                      <a:pt x="59" y="52"/>
                    </a:lnTo>
                    <a:lnTo>
                      <a:pt x="56" y="57"/>
                    </a:lnTo>
                    <a:lnTo>
                      <a:pt x="49" y="55"/>
                    </a:lnTo>
                    <a:lnTo>
                      <a:pt x="48" y="53"/>
                    </a:lnTo>
                    <a:lnTo>
                      <a:pt x="49" y="50"/>
                    </a:lnTo>
                    <a:lnTo>
                      <a:pt x="48" y="45"/>
                    </a:lnTo>
                    <a:lnTo>
                      <a:pt x="48" y="43"/>
                    </a:lnTo>
                    <a:lnTo>
                      <a:pt x="46" y="42"/>
                    </a:lnTo>
                    <a:lnTo>
                      <a:pt x="44" y="40"/>
                    </a:lnTo>
                    <a:lnTo>
                      <a:pt x="43" y="43"/>
                    </a:lnTo>
                    <a:lnTo>
                      <a:pt x="44" y="45"/>
                    </a:lnTo>
                    <a:lnTo>
                      <a:pt x="43" y="47"/>
                    </a:lnTo>
                    <a:lnTo>
                      <a:pt x="38" y="47"/>
                    </a:lnTo>
                    <a:lnTo>
                      <a:pt x="34" y="45"/>
                    </a:lnTo>
                    <a:lnTo>
                      <a:pt x="31" y="40"/>
                    </a:lnTo>
                    <a:lnTo>
                      <a:pt x="29" y="33"/>
                    </a:lnTo>
                    <a:lnTo>
                      <a:pt x="21" y="33"/>
                    </a:lnTo>
                    <a:lnTo>
                      <a:pt x="18" y="32"/>
                    </a:lnTo>
                    <a:lnTo>
                      <a:pt x="19" y="30"/>
                    </a:lnTo>
                    <a:lnTo>
                      <a:pt x="16" y="29"/>
                    </a:lnTo>
                    <a:lnTo>
                      <a:pt x="14" y="30"/>
                    </a:lnTo>
                    <a:lnTo>
                      <a:pt x="9" y="30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1" y="29"/>
                    </a:lnTo>
                    <a:lnTo>
                      <a:pt x="1" y="27"/>
                    </a:lnTo>
                    <a:lnTo>
                      <a:pt x="1" y="22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3" y="5"/>
                    </a:lnTo>
                    <a:lnTo>
                      <a:pt x="6" y="4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9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23" y="15"/>
                    </a:lnTo>
                    <a:lnTo>
                      <a:pt x="26" y="15"/>
                    </a:lnTo>
                    <a:lnTo>
                      <a:pt x="26" y="14"/>
                    </a:lnTo>
                    <a:lnTo>
                      <a:pt x="23" y="12"/>
                    </a:lnTo>
                    <a:lnTo>
                      <a:pt x="24" y="10"/>
                    </a:lnTo>
                    <a:lnTo>
                      <a:pt x="31" y="12"/>
                    </a:lnTo>
                    <a:lnTo>
                      <a:pt x="39" y="19"/>
                    </a:lnTo>
                    <a:lnTo>
                      <a:pt x="46" y="19"/>
                    </a:lnTo>
                    <a:lnTo>
                      <a:pt x="51" y="19"/>
                    </a:lnTo>
                    <a:lnTo>
                      <a:pt x="54" y="14"/>
                    </a:lnTo>
                    <a:lnTo>
                      <a:pt x="69" y="7"/>
                    </a:lnTo>
                    <a:lnTo>
                      <a:pt x="78" y="5"/>
                    </a:lnTo>
                    <a:lnTo>
                      <a:pt x="84" y="2"/>
                    </a:lnTo>
                    <a:lnTo>
                      <a:pt x="86" y="0"/>
                    </a:lnTo>
                    <a:lnTo>
                      <a:pt x="91" y="2"/>
                    </a:lnTo>
                    <a:lnTo>
                      <a:pt x="91" y="4"/>
                    </a:lnTo>
                    <a:lnTo>
                      <a:pt x="96" y="5"/>
                    </a:lnTo>
                    <a:lnTo>
                      <a:pt x="106" y="5"/>
                    </a:lnTo>
                    <a:lnTo>
                      <a:pt x="112" y="7"/>
                    </a:lnTo>
                    <a:lnTo>
                      <a:pt x="122" y="12"/>
                    </a:lnTo>
                    <a:lnTo>
                      <a:pt x="126" y="17"/>
                    </a:lnTo>
                    <a:lnTo>
                      <a:pt x="127" y="19"/>
                    </a:lnTo>
                    <a:lnTo>
                      <a:pt x="131" y="20"/>
                    </a:lnTo>
                    <a:lnTo>
                      <a:pt x="132" y="22"/>
                    </a:lnTo>
                    <a:lnTo>
                      <a:pt x="131" y="25"/>
                    </a:lnTo>
                    <a:lnTo>
                      <a:pt x="132" y="29"/>
                    </a:lnTo>
                    <a:lnTo>
                      <a:pt x="134" y="33"/>
                    </a:lnTo>
                    <a:lnTo>
                      <a:pt x="131" y="40"/>
                    </a:lnTo>
                    <a:lnTo>
                      <a:pt x="129" y="45"/>
                    </a:lnTo>
                    <a:lnTo>
                      <a:pt x="126" y="47"/>
                    </a:lnTo>
                    <a:lnTo>
                      <a:pt x="124" y="47"/>
                    </a:lnTo>
                    <a:lnTo>
                      <a:pt x="121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5" name="Freeform 156"/>
              <p:cNvSpPr>
                <a:spLocks/>
              </p:cNvSpPr>
              <p:nvPr/>
            </p:nvSpPr>
            <p:spPr bwMode="auto">
              <a:xfrm>
                <a:off x="5313728" y="3140016"/>
                <a:ext cx="43880" cy="36316"/>
              </a:xfrm>
              <a:custGeom>
                <a:avLst/>
                <a:gdLst/>
                <a:ahLst/>
                <a:cxnLst>
                  <a:cxn ang="0">
                    <a:pos x="73" y="64"/>
                  </a:cxn>
                  <a:cxn ang="0">
                    <a:pos x="73" y="65"/>
                  </a:cxn>
                  <a:cxn ang="0">
                    <a:pos x="73" y="70"/>
                  </a:cxn>
                  <a:cxn ang="0">
                    <a:pos x="68" y="68"/>
                  </a:cxn>
                  <a:cxn ang="0">
                    <a:pos x="65" y="67"/>
                  </a:cxn>
                  <a:cxn ang="0">
                    <a:pos x="62" y="59"/>
                  </a:cxn>
                  <a:cxn ang="0">
                    <a:pos x="57" y="57"/>
                  </a:cxn>
                  <a:cxn ang="0">
                    <a:pos x="62" y="60"/>
                  </a:cxn>
                  <a:cxn ang="0">
                    <a:pos x="63" y="67"/>
                  </a:cxn>
                  <a:cxn ang="0">
                    <a:pos x="57" y="65"/>
                  </a:cxn>
                  <a:cxn ang="0">
                    <a:pos x="50" y="60"/>
                  </a:cxn>
                  <a:cxn ang="0">
                    <a:pos x="53" y="54"/>
                  </a:cxn>
                  <a:cxn ang="0">
                    <a:pos x="47" y="47"/>
                  </a:cxn>
                  <a:cxn ang="0">
                    <a:pos x="40" y="40"/>
                  </a:cxn>
                  <a:cxn ang="0">
                    <a:pos x="32" y="34"/>
                  </a:cxn>
                  <a:cxn ang="0">
                    <a:pos x="27" y="27"/>
                  </a:cxn>
                  <a:cxn ang="0">
                    <a:pos x="18" y="22"/>
                  </a:cxn>
                  <a:cxn ang="0">
                    <a:pos x="18" y="25"/>
                  </a:cxn>
                  <a:cxn ang="0">
                    <a:pos x="25" y="34"/>
                  </a:cxn>
                  <a:cxn ang="0">
                    <a:pos x="20" y="39"/>
                  </a:cxn>
                  <a:cxn ang="0">
                    <a:pos x="15" y="32"/>
                  </a:cxn>
                  <a:cxn ang="0">
                    <a:pos x="2" y="27"/>
                  </a:cxn>
                  <a:cxn ang="0">
                    <a:pos x="2" y="19"/>
                  </a:cxn>
                  <a:cxn ang="0">
                    <a:pos x="5" y="12"/>
                  </a:cxn>
                  <a:cxn ang="0">
                    <a:pos x="0" y="10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13" y="0"/>
                  </a:cxn>
                  <a:cxn ang="0">
                    <a:pos x="30" y="4"/>
                  </a:cxn>
                  <a:cxn ang="0">
                    <a:pos x="40" y="5"/>
                  </a:cxn>
                  <a:cxn ang="0">
                    <a:pos x="43" y="9"/>
                  </a:cxn>
                  <a:cxn ang="0">
                    <a:pos x="50" y="12"/>
                  </a:cxn>
                  <a:cxn ang="0">
                    <a:pos x="52" y="14"/>
                  </a:cxn>
                  <a:cxn ang="0">
                    <a:pos x="58" y="10"/>
                  </a:cxn>
                  <a:cxn ang="0">
                    <a:pos x="62" y="15"/>
                  </a:cxn>
                  <a:cxn ang="0">
                    <a:pos x="65" y="24"/>
                  </a:cxn>
                  <a:cxn ang="0">
                    <a:pos x="72" y="32"/>
                  </a:cxn>
                  <a:cxn ang="0">
                    <a:pos x="78" y="35"/>
                  </a:cxn>
                  <a:cxn ang="0">
                    <a:pos x="81" y="39"/>
                  </a:cxn>
                  <a:cxn ang="0">
                    <a:pos x="75" y="40"/>
                  </a:cxn>
                  <a:cxn ang="0">
                    <a:pos x="73" y="47"/>
                  </a:cxn>
                  <a:cxn ang="0">
                    <a:pos x="75" y="52"/>
                  </a:cxn>
                  <a:cxn ang="0">
                    <a:pos x="73" y="57"/>
                  </a:cxn>
                  <a:cxn ang="0">
                    <a:pos x="73" y="64"/>
                  </a:cxn>
                  <a:cxn ang="0">
                    <a:pos x="73" y="64"/>
                  </a:cxn>
                </a:cxnLst>
                <a:rect l="0" t="0" r="r" b="b"/>
                <a:pathLst>
                  <a:path w="81" h="70">
                    <a:moveTo>
                      <a:pt x="73" y="64"/>
                    </a:moveTo>
                    <a:lnTo>
                      <a:pt x="73" y="64"/>
                    </a:lnTo>
                    <a:lnTo>
                      <a:pt x="75" y="65"/>
                    </a:lnTo>
                    <a:lnTo>
                      <a:pt x="73" y="65"/>
                    </a:lnTo>
                    <a:lnTo>
                      <a:pt x="75" y="68"/>
                    </a:lnTo>
                    <a:lnTo>
                      <a:pt x="73" y="70"/>
                    </a:lnTo>
                    <a:lnTo>
                      <a:pt x="70" y="70"/>
                    </a:lnTo>
                    <a:lnTo>
                      <a:pt x="68" y="68"/>
                    </a:lnTo>
                    <a:lnTo>
                      <a:pt x="67" y="68"/>
                    </a:lnTo>
                    <a:lnTo>
                      <a:pt x="65" y="67"/>
                    </a:lnTo>
                    <a:lnTo>
                      <a:pt x="65" y="64"/>
                    </a:lnTo>
                    <a:lnTo>
                      <a:pt x="62" y="59"/>
                    </a:lnTo>
                    <a:lnTo>
                      <a:pt x="58" y="57"/>
                    </a:lnTo>
                    <a:lnTo>
                      <a:pt x="57" y="57"/>
                    </a:lnTo>
                    <a:lnTo>
                      <a:pt x="57" y="59"/>
                    </a:lnTo>
                    <a:lnTo>
                      <a:pt x="62" y="60"/>
                    </a:lnTo>
                    <a:lnTo>
                      <a:pt x="63" y="64"/>
                    </a:lnTo>
                    <a:lnTo>
                      <a:pt x="63" y="67"/>
                    </a:lnTo>
                    <a:lnTo>
                      <a:pt x="62" y="67"/>
                    </a:lnTo>
                    <a:lnTo>
                      <a:pt x="57" y="65"/>
                    </a:lnTo>
                    <a:lnTo>
                      <a:pt x="52" y="64"/>
                    </a:lnTo>
                    <a:lnTo>
                      <a:pt x="50" y="60"/>
                    </a:lnTo>
                    <a:lnTo>
                      <a:pt x="50" y="57"/>
                    </a:lnTo>
                    <a:lnTo>
                      <a:pt x="53" y="54"/>
                    </a:lnTo>
                    <a:lnTo>
                      <a:pt x="52" y="52"/>
                    </a:lnTo>
                    <a:lnTo>
                      <a:pt x="47" y="47"/>
                    </a:lnTo>
                    <a:lnTo>
                      <a:pt x="43" y="45"/>
                    </a:lnTo>
                    <a:lnTo>
                      <a:pt x="40" y="40"/>
                    </a:lnTo>
                    <a:lnTo>
                      <a:pt x="33" y="39"/>
                    </a:lnTo>
                    <a:lnTo>
                      <a:pt x="32" y="34"/>
                    </a:lnTo>
                    <a:lnTo>
                      <a:pt x="27" y="30"/>
                    </a:lnTo>
                    <a:lnTo>
                      <a:pt x="27" y="27"/>
                    </a:lnTo>
                    <a:lnTo>
                      <a:pt x="22" y="25"/>
                    </a:lnTo>
                    <a:lnTo>
                      <a:pt x="18" y="22"/>
                    </a:lnTo>
                    <a:lnTo>
                      <a:pt x="17" y="24"/>
                    </a:lnTo>
                    <a:lnTo>
                      <a:pt x="18" y="25"/>
                    </a:lnTo>
                    <a:lnTo>
                      <a:pt x="25" y="30"/>
                    </a:lnTo>
                    <a:lnTo>
                      <a:pt x="25" y="34"/>
                    </a:lnTo>
                    <a:lnTo>
                      <a:pt x="23" y="39"/>
                    </a:lnTo>
                    <a:lnTo>
                      <a:pt x="20" y="39"/>
                    </a:lnTo>
                    <a:lnTo>
                      <a:pt x="18" y="35"/>
                    </a:lnTo>
                    <a:lnTo>
                      <a:pt x="15" y="32"/>
                    </a:lnTo>
                    <a:lnTo>
                      <a:pt x="8" y="32"/>
                    </a:lnTo>
                    <a:lnTo>
                      <a:pt x="2" y="27"/>
                    </a:lnTo>
                    <a:lnTo>
                      <a:pt x="0" y="24"/>
                    </a:lnTo>
                    <a:lnTo>
                      <a:pt x="2" y="19"/>
                    </a:lnTo>
                    <a:lnTo>
                      <a:pt x="7" y="15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3" y="0"/>
                    </a:lnTo>
                    <a:lnTo>
                      <a:pt x="27" y="4"/>
                    </a:lnTo>
                    <a:lnTo>
                      <a:pt x="30" y="4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3" y="7"/>
                    </a:lnTo>
                    <a:lnTo>
                      <a:pt x="43" y="9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3" y="12"/>
                    </a:lnTo>
                    <a:lnTo>
                      <a:pt x="52" y="14"/>
                    </a:lnTo>
                    <a:lnTo>
                      <a:pt x="57" y="14"/>
                    </a:lnTo>
                    <a:lnTo>
                      <a:pt x="58" y="10"/>
                    </a:lnTo>
                    <a:lnTo>
                      <a:pt x="60" y="10"/>
                    </a:lnTo>
                    <a:lnTo>
                      <a:pt x="62" y="15"/>
                    </a:lnTo>
                    <a:lnTo>
                      <a:pt x="62" y="19"/>
                    </a:lnTo>
                    <a:lnTo>
                      <a:pt x="65" y="24"/>
                    </a:lnTo>
                    <a:lnTo>
                      <a:pt x="70" y="29"/>
                    </a:lnTo>
                    <a:lnTo>
                      <a:pt x="72" y="32"/>
                    </a:lnTo>
                    <a:lnTo>
                      <a:pt x="75" y="35"/>
                    </a:lnTo>
                    <a:lnTo>
                      <a:pt x="78" y="35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78" y="39"/>
                    </a:lnTo>
                    <a:lnTo>
                      <a:pt x="75" y="40"/>
                    </a:lnTo>
                    <a:lnTo>
                      <a:pt x="75" y="44"/>
                    </a:lnTo>
                    <a:lnTo>
                      <a:pt x="73" y="47"/>
                    </a:lnTo>
                    <a:lnTo>
                      <a:pt x="72" y="50"/>
                    </a:lnTo>
                    <a:lnTo>
                      <a:pt x="75" y="52"/>
                    </a:lnTo>
                    <a:lnTo>
                      <a:pt x="78" y="55"/>
                    </a:lnTo>
                    <a:lnTo>
                      <a:pt x="73" y="57"/>
                    </a:lnTo>
                    <a:lnTo>
                      <a:pt x="73" y="62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6" name="Freeform 157"/>
              <p:cNvSpPr>
                <a:spLocks/>
              </p:cNvSpPr>
              <p:nvPr/>
            </p:nvSpPr>
            <p:spPr bwMode="auto">
              <a:xfrm>
                <a:off x="5293394" y="3095400"/>
                <a:ext cx="59934" cy="50842"/>
              </a:xfrm>
              <a:custGeom>
                <a:avLst/>
                <a:gdLst/>
                <a:ahLst/>
                <a:cxnLst>
                  <a:cxn ang="0">
                    <a:pos x="43" y="88"/>
                  </a:cxn>
                  <a:cxn ang="0">
                    <a:pos x="51" y="86"/>
                  </a:cxn>
                  <a:cxn ang="0">
                    <a:pos x="68" y="90"/>
                  </a:cxn>
                  <a:cxn ang="0">
                    <a:pos x="78" y="91"/>
                  </a:cxn>
                  <a:cxn ang="0">
                    <a:pos x="81" y="95"/>
                  </a:cxn>
                  <a:cxn ang="0">
                    <a:pos x="88" y="98"/>
                  </a:cxn>
                  <a:cxn ang="0">
                    <a:pos x="91" y="96"/>
                  </a:cxn>
                  <a:cxn ang="0">
                    <a:pos x="93" y="93"/>
                  </a:cxn>
                  <a:cxn ang="0">
                    <a:pos x="90" y="85"/>
                  </a:cxn>
                  <a:cxn ang="0">
                    <a:pos x="93" y="76"/>
                  </a:cxn>
                  <a:cxn ang="0">
                    <a:pos x="93" y="75"/>
                  </a:cxn>
                  <a:cxn ang="0">
                    <a:pos x="90" y="78"/>
                  </a:cxn>
                  <a:cxn ang="0">
                    <a:pos x="90" y="71"/>
                  </a:cxn>
                  <a:cxn ang="0">
                    <a:pos x="91" y="63"/>
                  </a:cxn>
                  <a:cxn ang="0">
                    <a:pos x="95" y="55"/>
                  </a:cxn>
                  <a:cxn ang="0">
                    <a:pos x="96" y="56"/>
                  </a:cxn>
                  <a:cxn ang="0">
                    <a:pos x="96" y="60"/>
                  </a:cxn>
                  <a:cxn ang="0">
                    <a:pos x="96" y="65"/>
                  </a:cxn>
                  <a:cxn ang="0">
                    <a:pos x="100" y="61"/>
                  </a:cxn>
                  <a:cxn ang="0">
                    <a:pos x="100" y="43"/>
                  </a:cxn>
                  <a:cxn ang="0">
                    <a:pos x="100" y="38"/>
                  </a:cxn>
                  <a:cxn ang="0">
                    <a:pos x="98" y="35"/>
                  </a:cxn>
                  <a:cxn ang="0">
                    <a:pos x="101" y="33"/>
                  </a:cxn>
                  <a:cxn ang="0">
                    <a:pos x="103" y="30"/>
                  </a:cxn>
                  <a:cxn ang="0">
                    <a:pos x="110" y="22"/>
                  </a:cxn>
                  <a:cxn ang="0">
                    <a:pos x="108" y="18"/>
                  </a:cxn>
                  <a:cxn ang="0">
                    <a:pos x="108" y="13"/>
                  </a:cxn>
                  <a:cxn ang="0">
                    <a:pos x="108" y="5"/>
                  </a:cxn>
                  <a:cxn ang="0">
                    <a:pos x="111" y="0"/>
                  </a:cxn>
                  <a:cxn ang="0">
                    <a:pos x="105" y="2"/>
                  </a:cxn>
                  <a:cxn ang="0">
                    <a:pos x="101" y="0"/>
                  </a:cxn>
                  <a:cxn ang="0">
                    <a:pos x="98" y="3"/>
                  </a:cxn>
                  <a:cxn ang="0">
                    <a:pos x="90" y="8"/>
                  </a:cxn>
                  <a:cxn ang="0">
                    <a:pos x="85" y="12"/>
                  </a:cxn>
                  <a:cxn ang="0">
                    <a:pos x="78" y="10"/>
                  </a:cxn>
                  <a:cxn ang="0">
                    <a:pos x="73" y="7"/>
                  </a:cxn>
                  <a:cxn ang="0">
                    <a:pos x="71" y="10"/>
                  </a:cxn>
                  <a:cxn ang="0">
                    <a:pos x="63" y="17"/>
                  </a:cxn>
                  <a:cxn ang="0">
                    <a:pos x="60" y="20"/>
                  </a:cxn>
                  <a:cxn ang="0">
                    <a:pos x="50" y="25"/>
                  </a:cxn>
                  <a:cxn ang="0">
                    <a:pos x="45" y="27"/>
                  </a:cxn>
                  <a:cxn ang="0">
                    <a:pos x="40" y="25"/>
                  </a:cxn>
                  <a:cxn ang="0">
                    <a:pos x="26" y="28"/>
                  </a:cxn>
                  <a:cxn ang="0">
                    <a:pos x="18" y="33"/>
                  </a:cxn>
                  <a:cxn ang="0">
                    <a:pos x="18" y="42"/>
                  </a:cxn>
                  <a:cxn ang="0">
                    <a:pos x="10" y="45"/>
                  </a:cxn>
                  <a:cxn ang="0">
                    <a:pos x="7" y="48"/>
                  </a:cxn>
                  <a:cxn ang="0">
                    <a:pos x="0" y="47"/>
                  </a:cxn>
                  <a:cxn ang="0">
                    <a:pos x="8" y="58"/>
                  </a:cxn>
                  <a:cxn ang="0">
                    <a:pos x="12" y="63"/>
                  </a:cxn>
                  <a:cxn ang="0">
                    <a:pos x="25" y="76"/>
                  </a:cxn>
                  <a:cxn ang="0">
                    <a:pos x="40" y="88"/>
                  </a:cxn>
                </a:cxnLst>
                <a:rect l="0" t="0" r="r" b="b"/>
                <a:pathLst>
                  <a:path w="111" h="98">
                    <a:moveTo>
                      <a:pt x="41" y="90"/>
                    </a:moveTo>
                    <a:lnTo>
                      <a:pt x="43" y="88"/>
                    </a:lnTo>
                    <a:lnTo>
                      <a:pt x="43" y="88"/>
                    </a:lnTo>
                    <a:lnTo>
                      <a:pt x="51" y="86"/>
                    </a:lnTo>
                    <a:lnTo>
                      <a:pt x="65" y="90"/>
                    </a:lnTo>
                    <a:lnTo>
                      <a:pt x="68" y="90"/>
                    </a:lnTo>
                    <a:lnTo>
                      <a:pt x="75" y="88"/>
                    </a:lnTo>
                    <a:lnTo>
                      <a:pt x="78" y="91"/>
                    </a:lnTo>
                    <a:lnTo>
                      <a:pt x="81" y="93"/>
                    </a:lnTo>
                    <a:lnTo>
                      <a:pt x="81" y="95"/>
                    </a:lnTo>
                    <a:lnTo>
                      <a:pt x="86" y="98"/>
                    </a:lnTo>
                    <a:lnTo>
                      <a:pt x="88" y="98"/>
                    </a:lnTo>
                    <a:lnTo>
                      <a:pt x="91" y="98"/>
                    </a:lnTo>
                    <a:lnTo>
                      <a:pt x="91" y="96"/>
                    </a:lnTo>
                    <a:lnTo>
                      <a:pt x="93" y="96"/>
                    </a:lnTo>
                    <a:lnTo>
                      <a:pt x="93" y="93"/>
                    </a:lnTo>
                    <a:lnTo>
                      <a:pt x="90" y="90"/>
                    </a:lnTo>
                    <a:lnTo>
                      <a:pt x="90" y="85"/>
                    </a:lnTo>
                    <a:lnTo>
                      <a:pt x="91" y="80"/>
                    </a:lnTo>
                    <a:lnTo>
                      <a:pt x="93" y="76"/>
                    </a:lnTo>
                    <a:lnTo>
                      <a:pt x="93" y="71"/>
                    </a:lnTo>
                    <a:lnTo>
                      <a:pt x="93" y="75"/>
                    </a:lnTo>
                    <a:lnTo>
                      <a:pt x="91" y="76"/>
                    </a:lnTo>
                    <a:lnTo>
                      <a:pt x="90" y="78"/>
                    </a:lnTo>
                    <a:lnTo>
                      <a:pt x="90" y="75"/>
                    </a:lnTo>
                    <a:lnTo>
                      <a:pt x="90" y="71"/>
                    </a:lnTo>
                    <a:lnTo>
                      <a:pt x="93" y="66"/>
                    </a:lnTo>
                    <a:lnTo>
                      <a:pt x="91" y="63"/>
                    </a:lnTo>
                    <a:lnTo>
                      <a:pt x="91" y="60"/>
                    </a:lnTo>
                    <a:lnTo>
                      <a:pt x="95" y="55"/>
                    </a:lnTo>
                    <a:lnTo>
                      <a:pt x="96" y="55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5"/>
                    </a:lnTo>
                    <a:lnTo>
                      <a:pt x="98" y="65"/>
                    </a:lnTo>
                    <a:lnTo>
                      <a:pt x="100" y="61"/>
                    </a:lnTo>
                    <a:lnTo>
                      <a:pt x="100" y="53"/>
                    </a:lnTo>
                    <a:lnTo>
                      <a:pt x="100" y="43"/>
                    </a:lnTo>
                    <a:lnTo>
                      <a:pt x="101" y="42"/>
                    </a:lnTo>
                    <a:lnTo>
                      <a:pt x="100" y="38"/>
                    </a:lnTo>
                    <a:lnTo>
                      <a:pt x="98" y="38"/>
                    </a:lnTo>
                    <a:lnTo>
                      <a:pt x="98" y="35"/>
                    </a:lnTo>
                    <a:lnTo>
                      <a:pt x="100" y="33"/>
                    </a:lnTo>
                    <a:lnTo>
                      <a:pt x="101" y="33"/>
                    </a:lnTo>
                    <a:lnTo>
                      <a:pt x="101" y="35"/>
                    </a:lnTo>
                    <a:lnTo>
                      <a:pt x="103" y="30"/>
                    </a:lnTo>
                    <a:lnTo>
                      <a:pt x="108" y="25"/>
                    </a:lnTo>
                    <a:lnTo>
                      <a:pt x="110" y="22"/>
                    </a:lnTo>
                    <a:lnTo>
                      <a:pt x="110" y="20"/>
                    </a:lnTo>
                    <a:lnTo>
                      <a:pt x="108" y="18"/>
                    </a:lnTo>
                    <a:lnTo>
                      <a:pt x="106" y="17"/>
                    </a:lnTo>
                    <a:lnTo>
                      <a:pt x="108" y="13"/>
                    </a:lnTo>
                    <a:lnTo>
                      <a:pt x="108" y="10"/>
                    </a:lnTo>
                    <a:lnTo>
                      <a:pt x="108" y="5"/>
                    </a:lnTo>
                    <a:lnTo>
                      <a:pt x="110" y="2"/>
                    </a:lnTo>
                    <a:lnTo>
                      <a:pt x="111" y="0"/>
                    </a:lnTo>
                    <a:lnTo>
                      <a:pt x="108" y="2"/>
                    </a:lnTo>
                    <a:lnTo>
                      <a:pt x="105" y="2"/>
                    </a:lnTo>
                    <a:lnTo>
                      <a:pt x="103" y="0"/>
                    </a:lnTo>
                    <a:lnTo>
                      <a:pt x="101" y="0"/>
                    </a:lnTo>
                    <a:lnTo>
                      <a:pt x="100" y="0"/>
                    </a:lnTo>
                    <a:lnTo>
                      <a:pt x="98" y="3"/>
                    </a:lnTo>
                    <a:lnTo>
                      <a:pt x="95" y="5"/>
                    </a:lnTo>
                    <a:lnTo>
                      <a:pt x="90" y="8"/>
                    </a:lnTo>
                    <a:lnTo>
                      <a:pt x="86" y="8"/>
                    </a:lnTo>
                    <a:lnTo>
                      <a:pt x="85" y="12"/>
                    </a:lnTo>
                    <a:lnTo>
                      <a:pt x="83" y="10"/>
                    </a:lnTo>
                    <a:lnTo>
                      <a:pt x="78" y="10"/>
                    </a:lnTo>
                    <a:lnTo>
                      <a:pt x="76" y="8"/>
                    </a:lnTo>
                    <a:lnTo>
                      <a:pt x="73" y="7"/>
                    </a:lnTo>
                    <a:lnTo>
                      <a:pt x="71" y="7"/>
                    </a:lnTo>
                    <a:lnTo>
                      <a:pt x="71" y="10"/>
                    </a:lnTo>
                    <a:lnTo>
                      <a:pt x="66" y="10"/>
                    </a:lnTo>
                    <a:lnTo>
                      <a:pt x="63" y="17"/>
                    </a:lnTo>
                    <a:lnTo>
                      <a:pt x="61" y="18"/>
                    </a:lnTo>
                    <a:lnTo>
                      <a:pt x="60" y="20"/>
                    </a:lnTo>
                    <a:lnTo>
                      <a:pt x="55" y="23"/>
                    </a:lnTo>
                    <a:lnTo>
                      <a:pt x="50" y="25"/>
                    </a:lnTo>
                    <a:lnTo>
                      <a:pt x="48" y="28"/>
                    </a:lnTo>
                    <a:lnTo>
                      <a:pt x="45" y="27"/>
                    </a:lnTo>
                    <a:lnTo>
                      <a:pt x="43" y="27"/>
                    </a:lnTo>
                    <a:lnTo>
                      <a:pt x="40" y="25"/>
                    </a:lnTo>
                    <a:lnTo>
                      <a:pt x="35" y="23"/>
                    </a:lnTo>
                    <a:lnTo>
                      <a:pt x="26" y="28"/>
                    </a:lnTo>
                    <a:lnTo>
                      <a:pt x="18" y="28"/>
                    </a:lnTo>
                    <a:lnTo>
                      <a:pt x="18" y="33"/>
                    </a:lnTo>
                    <a:lnTo>
                      <a:pt x="18" y="37"/>
                    </a:lnTo>
                    <a:lnTo>
                      <a:pt x="18" y="42"/>
                    </a:lnTo>
                    <a:lnTo>
                      <a:pt x="17" y="45"/>
                    </a:lnTo>
                    <a:lnTo>
                      <a:pt x="10" y="45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5" y="48"/>
                    </a:lnTo>
                    <a:lnTo>
                      <a:pt x="0" y="47"/>
                    </a:lnTo>
                    <a:lnTo>
                      <a:pt x="0" y="48"/>
                    </a:lnTo>
                    <a:lnTo>
                      <a:pt x="8" y="58"/>
                    </a:lnTo>
                    <a:lnTo>
                      <a:pt x="12" y="61"/>
                    </a:lnTo>
                    <a:lnTo>
                      <a:pt x="12" y="63"/>
                    </a:lnTo>
                    <a:lnTo>
                      <a:pt x="20" y="70"/>
                    </a:lnTo>
                    <a:lnTo>
                      <a:pt x="25" y="76"/>
                    </a:lnTo>
                    <a:lnTo>
                      <a:pt x="36" y="88"/>
                    </a:lnTo>
                    <a:lnTo>
                      <a:pt x="40" y="88"/>
                    </a:lnTo>
                    <a:lnTo>
                      <a:pt x="41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7" name="Freeform 159"/>
              <p:cNvSpPr>
                <a:spLocks/>
              </p:cNvSpPr>
              <p:nvPr/>
            </p:nvSpPr>
            <p:spPr bwMode="auto">
              <a:xfrm>
                <a:off x="5259146" y="3102662"/>
                <a:ext cx="33177" cy="16601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6" y="2"/>
                  </a:cxn>
                  <a:cxn ang="0">
                    <a:pos x="28" y="4"/>
                  </a:cxn>
                  <a:cxn ang="0">
                    <a:pos x="30" y="4"/>
                  </a:cxn>
                  <a:cxn ang="0">
                    <a:pos x="33" y="5"/>
                  </a:cxn>
                  <a:cxn ang="0">
                    <a:pos x="38" y="5"/>
                  </a:cxn>
                  <a:cxn ang="0">
                    <a:pos x="41" y="7"/>
                  </a:cxn>
                  <a:cxn ang="0">
                    <a:pos x="45" y="10"/>
                  </a:cxn>
                  <a:cxn ang="0">
                    <a:pos x="46" y="12"/>
                  </a:cxn>
                  <a:cxn ang="0">
                    <a:pos x="50" y="14"/>
                  </a:cxn>
                  <a:cxn ang="0">
                    <a:pos x="50" y="12"/>
                  </a:cxn>
                  <a:cxn ang="0">
                    <a:pos x="51" y="10"/>
                  </a:cxn>
                  <a:cxn ang="0">
                    <a:pos x="55" y="9"/>
                  </a:cxn>
                  <a:cxn ang="0">
                    <a:pos x="58" y="10"/>
                  </a:cxn>
                  <a:cxn ang="0">
                    <a:pos x="61" y="10"/>
                  </a:cxn>
                  <a:cxn ang="0">
                    <a:pos x="61" y="15"/>
                  </a:cxn>
                  <a:cxn ang="0">
                    <a:pos x="60" y="19"/>
                  </a:cxn>
                  <a:cxn ang="0">
                    <a:pos x="60" y="20"/>
                  </a:cxn>
                  <a:cxn ang="0">
                    <a:pos x="60" y="24"/>
                  </a:cxn>
                  <a:cxn ang="0">
                    <a:pos x="60" y="25"/>
                  </a:cxn>
                  <a:cxn ang="0">
                    <a:pos x="58" y="27"/>
                  </a:cxn>
                  <a:cxn ang="0">
                    <a:pos x="60" y="29"/>
                  </a:cxn>
                  <a:cxn ang="0">
                    <a:pos x="56" y="34"/>
                  </a:cxn>
                  <a:cxn ang="0">
                    <a:pos x="45" y="34"/>
                  </a:cxn>
                  <a:cxn ang="0">
                    <a:pos x="43" y="30"/>
                  </a:cxn>
                  <a:cxn ang="0">
                    <a:pos x="40" y="27"/>
                  </a:cxn>
                  <a:cxn ang="0">
                    <a:pos x="35" y="27"/>
                  </a:cxn>
                  <a:cxn ang="0">
                    <a:pos x="33" y="27"/>
                  </a:cxn>
                  <a:cxn ang="0">
                    <a:pos x="36" y="29"/>
                  </a:cxn>
                  <a:cxn ang="0">
                    <a:pos x="35" y="30"/>
                  </a:cxn>
                  <a:cxn ang="0">
                    <a:pos x="28" y="27"/>
                  </a:cxn>
                  <a:cxn ang="0">
                    <a:pos x="20" y="24"/>
                  </a:cxn>
                  <a:cxn ang="0">
                    <a:pos x="16" y="24"/>
                  </a:cxn>
                  <a:cxn ang="0">
                    <a:pos x="11" y="24"/>
                  </a:cxn>
                  <a:cxn ang="0">
                    <a:pos x="6" y="20"/>
                  </a:cxn>
                  <a:cxn ang="0">
                    <a:pos x="3" y="20"/>
                  </a:cxn>
                  <a:cxn ang="0">
                    <a:pos x="0" y="19"/>
                  </a:cxn>
                  <a:cxn ang="0">
                    <a:pos x="1" y="17"/>
                  </a:cxn>
                  <a:cxn ang="0">
                    <a:pos x="1" y="14"/>
                  </a:cxn>
                  <a:cxn ang="0">
                    <a:pos x="6" y="10"/>
                  </a:cxn>
                  <a:cxn ang="0">
                    <a:pos x="13" y="9"/>
                  </a:cxn>
                  <a:cxn ang="0">
                    <a:pos x="16" y="7"/>
                  </a:cxn>
                  <a:cxn ang="0">
                    <a:pos x="16" y="5"/>
                  </a:cxn>
                  <a:cxn ang="0">
                    <a:pos x="23" y="0"/>
                  </a:cxn>
                </a:cxnLst>
                <a:rect l="0" t="0" r="r" b="b"/>
                <a:pathLst>
                  <a:path w="61" h="34">
                    <a:moveTo>
                      <a:pt x="23" y="0"/>
                    </a:move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3" y="5"/>
                    </a:lnTo>
                    <a:lnTo>
                      <a:pt x="38" y="5"/>
                    </a:lnTo>
                    <a:lnTo>
                      <a:pt x="41" y="7"/>
                    </a:lnTo>
                    <a:lnTo>
                      <a:pt x="45" y="10"/>
                    </a:lnTo>
                    <a:lnTo>
                      <a:pt x="46" y="12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1" y="10"/>
                    </a:lnTo>
                    <a:lnTo>
                      <a:pt x="55" y="9"/>
                    </a:lnTo>
                    <a:lnTo>
                      <a:pt x="58" y="10"/>
                    </a:lnTo>
                    <a:lnTo>
                      <a:pt x="61" y="10"/>
                    </a:lnTo>
                    <a:lnTo>
                      <a:pt x="61" y="15"/>
                    </a:lnTo>
                    <a:lnTo>
                      <a:pt x="60" y="19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8" y="27"/>
                    </a:lnTo>
                    <a:lnTo>
                      <a:pt x="60" y="29"/>
                    </a:lnTo>
                    <a:lnTo>
                      <a:pt x="56" y="34"/>
                    </a:lnTo>
                    <a:lnTo>
                      <a:pt x="45" y="34"/>
                    </a:lnTo>
                    <a:lnTo>
                      <a:pt x="43" y="30"/>
                    </a:lnTo>
                    <a:lnTo>
                      <a:pt x="40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6" y="29"/>
                    </a:lnTo>
                    <a:lnTo>
                      <a:pt x="35" y="30"/>
                    </a:lnTo>
                    <a:lnTo>
                      <a:pt x="28" y="27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1" y="24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1" y="14"/>
                    </a:lnTo>
                    <a:lnTo>
                      <a:pt x="6" y="10"/>
                    </a:lnTo>
                    <a:lnTo>
                      <a:pt x="13" y="9"/>
                    </a:lnTo>
                    <a:lnTo>
                      <a:pt x="16" y="7"/>
                    </a:lnTo>
                    <a:lnTo>
                      <a:pt x="16" y="5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8" name="Freeform 163"/>
              <p:cNvSpPr>
                <a:spLocks noEditPoints="1"/>
              </p:cNvSpPr>
              <p:nvPr/>
            </p:nvSpPr>
            <p:spPr bwMode="auto">
              <a:xfrm>
                <a:off x="5468915" y="3209534"/>
                <a:ext cx="507298" cy="467953"/>
              </a:xfrm>
              <a:custGeom>
                <a:avLst/>
                <a:gdLst/>
                <a:ahLst/>
                <a:cxnLst>
                  <a:cxn ang="0">
                    <a:pos x="565" y="121"/>
                  </a:cxn>
                  <a:cxn ang="0">
                    <a:pos x="572" y="116"/>
                  </a:cxn>
                  <a:cxn ang="0">
                    <a:pos x="575" y="116"/>
                  </a:cxn>
                  <a:cxn ang="0">
                    <a:pos x="596" y="118"/>
                  </a:cxn>
                  <a:cxn ang="0">
                    <a:pos x="572" y="75"/>
                  </a:cxn>
                  <a:cxn ang="0">
                    <a:pos x="522" y="51"/>
                  </a:cxn>
                  <a:cxn ang="0">
                    <a:pos x="484" y="75"/>
                  </a:cxn>
                  <a:cxn ang="0">
                    <a:pos x="432" y="65"/>
                  </a:cxn>
                  <a:cxn ang="0">
                    <a:pos x="404" y="73"/>
                  </a:cxn>
                  <a:cxn ang="0">
                    <a:pos x="347" y="76"/>
                  </a:cxn>
                  <a:cxn ang="0">
                    <a:pos x="342" y="23"/>
                  </a:cxn>
                  <a:cxn ang="0">
                    <a:pos x="307" y="17"/>
                  </a:cxn>
                  <a:cxn ang="0">
                    <a:pos x="226" y="30"/>
                  </a:cxn>
                  <a:cxn ang="0">
                    <a:pos x="218" y="88"/>
                  </a:cxn>
                  <a:cxn ang="0">
                    <a:pos x="143" y="80"/>
                  </a:cxn>
                  <a:cxn ang="0">
                    <a:pos x="91" y="111"/>
                  </a:cxn>
                  <a:cxn ang="0">
                    <a:pos x="80" y="213"/>
                  </a:cxn>
                  <a:cxn ang="0">
                    <a:pos x="13" y="254"/>
                  </a:cxn>
                  <a:cxn ang="0">
                    <a:pos x="18" y="321"/>
                  </a:cxn>
                  <a:cxn ang="0">
                    <a:pos x="85" y="359"/>
                  </a:cxn>
                  <a:cxn ang="0">
                    <a:pos x="146" y="359"/>
                  </a:cxn>
                  <a:cxn ang="0">
                    <a:pos x="211" y="367"/>
                  </a:cxn>
                  <a:cxn ang="0">
                    <a:pos x="289" y="414"/>
                  </a:cxn>
                  <a:cxn ang="0">
                    <a:pos x="385" y="495"/>
                  </a:cxn>
                  <a:cxn ang="0">
                    <a:pos x="407" y="610"/>
                  </a:cxn>
                  <a:cxn ang="0">
                    <a:pos x="485" y="656"/>
                  </a:cxn>
                  <a:cxn ang="0">
                    <a:pos x="513" y="709"/>
                  </a:cxn>
                  <a:cxn ang="0">
                    <a:pos x="469" y="761"/>
                  </a:cxn>
                  <a:cxn ang="0">
                    <a:pos x="430" y="811"/>
                  </a:cxn>
                  <a:cxn ang="0">
                    <a:pos x="500" y="842"/>
                  </a:cxn>
                  <a:cxn ang="0">
                    <a:pos x="540" y="900"/>
                  </a:cxn>
                  <a:cxn ang="0">
                    <a:pos x="572" y="837"/>
                  </a:cxn>
                  <a:cxn ang="0">
                    <a:pos x="588" y="814"/>
                  </a:cxn>
                  <a:cxn ang="0">
                    <a:pos x="568" y="850"/>
                  </a:cxn>
                  <a:cxn ang="0">
                    <a:pos x="633" y="761"/>
                  </a:cxn>
                  <a:cxn ang="0">
                    <a:pos x="628" y="713"/>
                  </a:cxn>
                  <a:cxn ang="0">
                    <a:pos x="661" y="676"/>
                  </a:cxn>
                  <a:cxn ang="0">
                    <a:pos x="724" y="638"/>
                  </a:cxn>
                  <a:cxn ang="0">
                    <a:pos x="743" y="634"/>
                  </a:cxn>
                  <a:cxn ang="0">
                    <a:pos x="789" y="626"/>
                  </a:cxn>
                  <a:cxn ang="0">
                    <a:pos x="824" y="576"/>
                  </a:cxn>
                  <a:cxn ang="0">
                    <a:pos x="849" y="487"/>
                  </a:cxn>
                  <a:cxn ang="0">
                    <a:pos x="852" y="410"/>
                  </a:cxn>
                  <a:cxn ang="0">
                    <a:pos x="857" y="405"/>
                  </a:cxn>
                  <a:cxn ang="0">
                    <a:pos x="914" y="342"/>
                  </a:cxn>
                  <a:cxn ang="0">
                    <a:pos x="935" y="249"/>
                  </a:cxn>
                  <a:cxn ang="0">
                    <a:pos x="846" y="189"/>
                  </a:cxn>
                  <a:cxn ang="0">
                    <a:pos x="776" y="178"/>
                  </a:cxn>
                  <a:cxn ang="0">
                    <a:pos x="733" y="174"/>
                  </a:cxn>
                  <a:cxn ang="0">
                    <a:pos x="711" y="184"/>
                  </a:cxn>
                  <a:cxn ang="0">
                    <a:pos x="684" y="151"/>
                  </a:cxn>
                  <a:cxn ang="0">
                    <a:pos x="646" y="136"/>
                  </a:cxn>
                  <a:cxn ang="0">
                    <a:pos x="595" y="168"/>
                  </a:cxn>
                  <a:cxn ang="0">
                    <a:pos x="591" y="161"/>
                  </a:cxn>
                  <a:cxn ang="0">
                    <a:pos x="595" y="154"/>
                  </a:cxn>
                  <a:cxn ang="0">
                    <a:pos x="580" y="121"/>
                  </a:cxn>
                  <a:cxn ang="0">
                    <a:pos x="545" y="144"/>
                  </a:cxn>
                  <a:cxn ang="0">
                    <a:pos x="553" y="116"/>
                  </a:cxn>
                  <a:cxn ang="0">
                    <a:pos x="568" y="75"/>
                  </a:cxn>
                </a:cxnLst>
                <a:rect l="0" t="0" r="r" b="b"/>
                <a:pathLst>
                  <a:path w="949" h="900">
                    <a:moveTo>
                      <a:pt x="555" y="133"/>
                    </a:moveTo>
                    <a:lnTo>
                      <a:pt x="557" y="129"/>
                    </a:lnTo>
                    <a:lnTo>
                      <a:pt x="560" y="128"/>
                    </a:lnTo>
                    <a:lnTo>
                      <a:pt x="562" y="129"/>
                    </a:lnTo>
                    <a:lnTo>
                      <a:pt x="560" y="131"/>
                    </a:lnTo>
                    <a:lnTo>
                      <a:pt x="557" y="133"/>
                    </a:lnTo>
                    <a:lnTo>
                      <a:pt x="555" y="133"/>
                    </a:lnTo>
                    <a:lnTo>
                      <a:pt x="555" y="133"/>
                    </a:lnTo>
                    <a:close/>
                    <a:moveTo>
                      <a:pt x="550" y="131"/>
                    </a:moveTo>
                    <a:lnTo>
                      <a:pt x="552" y="131"/>
                    </a:lnTo>
                    <a:lnTo>
                      <a:pt x="553" y="129"/>
                    </a:lnTo>
                    <a:lnTo>
                      <a:pt x="558" y="125"/>
                    </a:lnTo>
                    <a:lnTo>
                      <a:pt x="560" y="125"/>
                    </a:lnTo>
                    <a:lnTo>
                      <a:pt x="565" y="121"/>
                    </a:lnTo>
                    <a:lnTo>
                      <a:pt x="563" y="120"/>
                    </a:lnTo>
                    <a:lnTo>
                      <a:pt x="562" y="120"/>
                    </a:lnTo>
                    <a:lnTo>
                      <a:pt x="560" y="120"/>
                    </a:lnTo>
                    <a:lnTo>
                      <a:pt x="558" y="121"/>
                    </a:lnTo>
                    <a:lnTo>
                      <a:pt x="553" y="125"/>
                    </a:lnTo>
                    <a:lnTo>
                      <a:pt x="550" y="131"/>
                    </a:lnTo>
                    <a:lnTo>
                      <a:pt x="550" y="131"/>
                    </a:lnTo>
                    <a:close/>
                    <a:moveTo>
                      <a:pt x="572" y="116"/>
                    </a:moveTo>
                    <a:lnTo>
                      <a:pt x="570" y="115"/>
                    </a:lnTo>
                    <a:lnTo>
                      <a:pt x="567" y="113"/>
                    </a:lnTo>
                    <a:lnTo>
                      <a:pt x="567" y="116"/>
                    </a:lnTo>
                    <a:lnTo>
                      <a:pt x="568" y="118"/>
                    </a:lnTo>
                    <a:lnTo>
                      <a:pt x="572" y="118"/>
                    </a:lnTo>
                    <a:lnTo>
                      <a:pt x="572" y="116"/>
                    </a:lnTo>
                    <a:lnTo>
                      <a:pt x="572" y="116"/>
                    </a:lnTo>
                    <a:close/>
                    <a:moveTo>
                      <a:pt x="572" y="111"/>
                    </a:moveTo>
                    <a:lnTo>
                      <a:pt x="570" y="108"/>
                    </a:lnTo>
                    <a:lnTo>
                      <a:pt x="573" y="105"/>
                    </a:lnTo>
                    <a:lnTo>
                      <a:pt x="575" y="105"/>
                    </a:lnTo>
                    <a:lnTo>
                      <a:pt x="578" y="101"/>
                    </a:lnTo>
                    <a:lnTo>
                      <a:pt x="582" y="103"/>
                    </a:lnTo>
                    <a:lnTo>
                      <a:pt x="578" y="105"/>
                    </a:lnTo>
                    <a:lnTo>
                      <a:pt x="577" y="106"/>
                    </a:lnTo>
                    <a:lnTo>
                      <a:pt x="573" y="110"/>
                    </a:lnTo>
                    <a:lnTo>
                      <a:pt x="572" y="111"/>
                    </a:lnTo>
                    <a:lnTo>
                      <a:pt x="572" y="111"/>
                    </a:lnTo>
                    <a:close/>
                    <a:moveTo>
                      <a:pt x="573" y="115"/>
                    </a:moveTo>
                    <a:lnTo>
                      <a:pt x="575" y="116"/>
                    </a:lnTo>
                    <a:lnTo>
                      <a:pt x="582" y="116"/>
                    </a:lnTo>
                    <a:lnTo>
                      <a:pt x="583" y="118"/>
                    </a:lnTo>
                    <a:lnTo>
                      <a:pt x="586" y="116"/>
                    </a:lnTo>
                    <a:lnTo>
                      <a:pt x="586" y="113"/>
                    </a:lnTo>
                    <a:lnTo>
                      <a:pt x="585" y="111"/>
                    </a:lnTo>
                    <a:lnTo>
                      <a:pt x="577" y="113"/>
                    </a:lnTo>
                    <a:lnTo>
                      <a:pt x="573" y="113"/>
                    </a:lnTo>
                    <a:lnTo>
                      <a:pt x="573" y="115"/>
                    </a:lnTo>
                    <a:lnTo>
                      <a:pt x="573" y="115"/>
                    </a:lnTo>
                    <a:close/>
                    <a:moveTo>
                      <a:pt x="586" y="120"/>
                    </a:moveTo>
                    <a:lnTo>
                      <a:pt x="590" y="118"/>
                    </a:lnTo>
                    <a:lnTo>
                      <a:pt x="591" y="116"/>
                    </a:lnTo>
                    <a:lnTo>
                      <a:pt x="595" y="116"/>
                    </a:lnTo>
                    <a:lnTo>
                      <a:pt x="596" y="118"/>
                    </a:lnTo>
                    <a:lnTo>
                      <a:pt x="595" y="121"/>
                    </a:lnTo>
                    <a:lnTo>
                      <a:pt x="590" y="121"/>
                    </a:lnTo>
                    <a:lnTo>
                      <a:pt x="586" y="120"/>
                    </a:lnTo>
                    <a:lnTo>
                      <a:pt x="586" y="120"/>
                    </a:lnTo>
                    <a:close/>
                    <a:moveTo>
                      <a:pt x="572" y="75"/>
                    </a:moveTo>
                    <a:lnTo>
                      <a:pt x="568" y="71"/>
                    </a:lnTo>
                    <a:lnTo>
                      <a:pt x="567" y="66"/>
                    </a:lnTo>
                    <a:lnTo>
                      <a:pt x="568" y="65"/>
                    </a:lnTo>
                    <a:lnTo>
                      <a:pt x="572" y="66"/>
                    </a:lnTo>
                    <a:lnTo>
                      <a:pt x="575" y="71"/>
                    </a:lnTo>
                    <a:lnTo>
                      <a:pt x="573" y="75"/>
                    </a:lnTo>
                    <a:lnTo>
                      <a:pt x="573" y="75"/>
                    </a:lnTo>
                    <a:lnTo>
                      <a:pt x="572" y="75"/>
                    </a:lnTo>
                    <a:lnTo>
                      <a:pt x="572" y="75"/>
                    </a:lnTo>
                    <a:close/>
                    <a:moveTo>
                      <a:pt x="550" y="31"/>
                    </a:moveTo>
                    <a:lnTo>
                      <a:pt x="548" y="30"/>
                    </a:lnTo>
                    <a:lnTo>
                      <a:pt x="547" y="25"/>
                    </a:lnTo>
                    <a:lnTo>
                      <a:pt x="543" y="20"/>
                    </a:lnTo>
                    <a:lnTo>
                      <a:pt x="543" y="20"/>
                    </a:lnTo>
                    <a:lnTo>
                      <a:pt x="543" y="23"/>
                    </a:lnTo>
                    <a:lnTo>
                      <a:pt x="542" y="27"/>
                    </a:lnTo>
                    <a:lnTo>
                      <a:pt x="535" y="30"/>
                    </a:lnTo>
                    <a:lnTo>
                      <a:pt x="535" y="30"/>
                    </a:lnTo>
                    <a:lnTo>
                      <a:pt x="535" y="30"/>
                    </a:lnTo>
                    <a:lnTo>
                      <a:pt x="533" y="33"/>
                    </a:lnTo>
                    <a:lnTo>
                      <a:pt x="528" y="40"/>
                    </a:lnTo>
                    <a:lnTo>
                      <a:pt x="522" y="46"/>
                    </a:lnTo>
                    <a:lnTo>
                      <a:pt x="522" y="51"/>
                    </a:lnTo>
                    <a:lnTo>
                      <a:pt x="517" y="60"/>
                    </a:lnTo>
                    <a:lnTo>
                      <a:pt x="513" y="65"/>
                    </a:lnTo>
                    <a:lnTo>
                      <a:pt x="510" y="71"/>
                    </a:lnTo>
                    <a:lnTo>
                      <a:pt x="505" y="71"/>
                    </a:lnTo>
                    <a:lnTo>
                      <a:pt x="503" y="73"/>
                    </a:lnTo>
                    <a:lnTo>
                      <a:pt x="502" y="76"/>
                    </a:lnTo>
                    <a:lnTo>
                      <a:pt x="498" y="80"/>
                    </a:lnTo>
                    <a:lnTo>
                      <a:pt x="495" y="78"/>
                    </a:lnTo>
                    <a:lnTo>
                      <a:pt x="495" y="73"/>
                    </a:lnTo>
                    <a:lnTo>
                      <a:pt x="493" y="71"/>
                    </a:lnTo>
                    <a:lnTo>
                      <a:pt x="492" y="70"/>
                    </a:lnTo>
                    <a:lnTo>
                      <a:pt x="490" y="70"/>
                    </a:lnTo>
                    <a:lnTo>
                      <a:pt x="487" y="71"/>
                    </a:lnTo>
                    <a:lnTo>
                      <a:pt x="484" y="75"/>
                    </a:lnTo>
                    <a:lnTo>
                      <a:pt x="480" y="73"/>
                    </a:lnTo>
                    <a:lnTo>
                      <a:pt x="477" y="70"/>
                    </a:lnTo>
                    <a:lnTo>
                      <a:pt x="477" y="68"/>
                    </a:lnTo>
                    <a:lnTo>
                      <a:pt x="475" y="66"/>
                    </a:lnTo>
                    <a:lnTo>
                      <a:pt x="474" y="63"/>
                    </a:lnTo>
                    <a:lnTo>
                      <a:pt x="472" y="61"/>
                    </a:lnTo>
                    <a:lnTo>
                      <a:pt x="469" y="60"/>
                    </a:lnTo>
                    <a:lnTo>
                      <a:pt x="465" y="56"/>
                    </a:lnTo>
                    <a:lnTo>
                      <a:pt x="459" y="56"/>
                    </a:lnTo>
                    <a:lnTo>
                      <a:pt x="454" y="58"/>
                    </a:lnTo>
                    <a:lnTo>
                      <a:pt x="444" y="58"/>
                    </a:lnTo>
                    <a:lnTo>
                      <a:pt x="439" y="56"/>
                    </a:lnTo>
                    <a:lnTo>
                      <a:pt x="434" y="60"/>
                    </a:lnTo>
                    <a:lnTo>
                      <a:pt x="432" y="65"/>
                    </a:lnTo>
                    <a:lnTo>
                      <a:pt x="437" y="68"/>
                    </a:lnTo>
                    <a:lnTo>
                      <a:pt x="439" y="70"/>
                    </a:lnTo>
                    <a:lnTo>
                      <a:pt x="440" y="75"/>
                    </a:lnTo>
                    <a:lnTo>
                      <a:pt x="440" y="76"/>
                    </a:lnTo>
                    <a:lnTo>
                      <a:pt x="435" y="76"/>
                    </a:lnTo>
                    <a:lnTo>
                      <a:pt x="429" y="76"/>
                    </a:lnTo>
                    <a:lnTo>
                      <a:pt x="427" y="75"/>
                    </a:lnTo>
                    <a:lnTo>
                      <a:pt x="425" y="75"/>
                    </a:lnTo>
                    <a:lnTo>
                      <a:pt x="425" y="75"/>
                    </a:lnTo>
                    <a:lnTo>
                      <a:pt x="425" y="75"/>
                    </a:lnTo>
                    <a:lnTo>
                      <a:pt x="417" y="75"/>
                    </a:lnTo>
                    <a:lnTo>
                      <a:pt x="414" y="75"/>
                    </a:lnTo>
                    <a:lnTo>
                      <a:pt x="412" y="73"/>
                    </a:lnTo>
                    <a:lnTo>
                      <a:pt x="404" y="73"/>
                    </a:lnTo>
                    <a:lnTo>
                      <a:pt x="399" y="75"/>
                    </a:lnTo>
                    <a:lnTo>
                      <a:pt x="397" y="83"/>
                    </a:lnTo>
                    <a:lnTo>
                      <a:pt x="387" y="81"/>
                    </a:lnTo>
                    <a:lnTo>
                      <a:pt x="381" y="83"/>
                    </a:lnTo>
                    <a:lnTo>
                      <a:pt x="381" y="86"/>
                    </a:lnTo>
                    <a:lnTo>
                      <a:pt x="377" y="90"/>
                    </a:lnTo>
                    <a:lnTo>
                      <a:pt x="372" y="90"/>
                    </a:lnTo>
                    <a:lnTo>
                      <a:pt x="371" y="88"/>
                    </a:lnTo>
                    <a:lnTo>
                      <a:pt x="367" y="90"/>
                    </a:lnTo>
                    <a:lnTo>
                      <a:pt x="366" y="93"/>
                    </a:lnTo>
                    <a:lnTo>
                      <a:pt x="361" y="91"/>
                    </a:lnTo>
                    <a:lnTo>
                      <a:pt x="351" y="83"/>
                    </a:lnTo>
                    <a:lnTo>
                      <a:pt x="347" y="80"/>
                    </a:lnTo>
                    <a:lnTo>
                      <a:pt x="347" y="76"/>
                    </a:lnTo>
                    <a:lnTo>
                      <a:pt x="342" y="71"/>
                    </a:lnTo>
                    <a:lnTo>
                      <a:pt x="337" y="68"/>
                    </a:lnTo>
                    <a:lnTo>
                      <a:pt x="337" y="63"/>
                    </a:lnTo>
                    <a:lnTo>
                      <a:pt x="339" y="60"/>
                    </a:lnTo>
                    <a:lnTo>
                      <a:pt x="337" y="58"/>
                    </a:lnTo>
                    <a:lnTo>
                      <a:pt x="337" y="55"/>
                    </a:lnTo>
                    <a:lnTo>
                      <a:pt x="339" y="51"/>
                    </a:lnTo>
                    <a:lnTo>
                      <a:pt x="339" y="46"/>
                    </a:lnTo>
                    <a:lnTo>
                      <a:pt x="344" y="38"/>
                    </a:lnTo>
                    <a:lnTo>
                      <a:pt x="346" y="33"/>
                    </a:lnTo>
                    <a:lnTo>
                      <a:pt x="351" y="28"/>
                    </a:lnTo>
                    <a:lnTo>
                      <a:pt x="351" y="25"/>
                    </a:lnTo>
                    <a:lnTo>
                      <a:pt x="346" y="27"/>
                    </a:lnTo>
                    <a:lnTo>
                      <a:pt x="342" y="23"/>
                    </a:lnTo>
                    <a:lnTo>
                      <a:pt x="342" y="20"/>
                    </a:lnTo>
                    <a:lnTo>
                      <a:pt x="336" y="20"/>
                    </a:lnTo>
                    <a:lnTo>
                      <a:pt x="332" y="18"/>
                    </a:lnTo>
                    <a:lnTo>
                      <a:pt x="334" y="15"/>
                    </a:lnTo>
                    <a:lnTo>
                      <a:pt x="337" y="12"/>
                    </a:lnTo>
                    <a:lnTo>
                      <a:pt x="337" y="5"/>
                    </a:lnTo>
                    <a:lnTo>
                      <a:pt x="334" y="0"/>
                    </a:lnTo>
                    <a:lnTo>
                      <a:pt x="327" y="0"/>
                    </a:lnTo>
                    <a:lnTo>
                      <a:pt x="326" y="2"/>
                    </a:lnTo>
                    <a:lnTo>
                      <a:pt x="324" y="0"/>
                    </a:lnTo>
                    <a:lnTo>
                      <a:pt x="321" y="0"/>
                    </a:lnTo>
                    <a:lnTo>
                      <a:pt x="321" y="3"/>
                    </a:lnTo>
                    <a:lnTo>
                      <a:pt x="319" y="10"/>
                    </a:lnTo>
                    <a:lnTo>
                      <a:pt x="307" y="17"/>
                    </a:lnTo>
                    <a:lnTo>
                      <a:pt x="299" y="18"/>
                    </a:lnTo>
                    <a:lnTo>
                      <a:pt x="287" y="22"/>
                    </a:lnTo>
                    <a:lnTo>
                      <a:pt x="284" y="20"/>
                    </a:lnTo>
                    <a:lnTo>
                      <a:pt x="278" y="22"/>
                    </a:lnTo>
                    <a:lnTo>
                      <a:pt x="269" y="27"/>
                    </a:lnTo>
                    <a:lnTo>
                      <a:pt x="261" y="30"/>
                    </a:lnTo>
                    <a:lnTo>
                      <a:pt x="259" y="28"/>
                    </a:lnTo>
                    <a:lnTo>
                      <a:pt x="248" y="30"/>
                    </a:lnTo>
                    <a:lnTo>
                      <a:pt x="239" y="30"/>
                    </a:lnTo>
                    <a:lnTo>
                      <a:pt x="233" y="27"/>
                    </a:lnTo>
                    <a:lnTo>
                      <a:pt x="224" y="25"/>
                    </a:lnTo>
                    <a:lnTo>
                      <a:pt x="218" y="23"/>
                    </a:lnTo>
                    <a:lnTo>
                      <a:pt x="221" y="28"/>
                    </a:lnTo>
                    <a:lnTo>
                      <a:pt x="226" y="30"/>
                    </a:lnTo>
                    <a:lnTo>
                      <a:pt x="231" y="35"/>
                    </a:lnTo>
                    <a:lnTo>
                      <a:pt x="233" y="38"/>
                    </a:lnTo>
                    <a:lnTo>
                      <a:pt x="226" y="48"/>
                    </a:lnTo>
                    <a:lnTo>
                      <a:pt x="229" y="53"/>
                    </a:lnTo>
                    <a:lnTo>
                      <a:pt x="228" y="60"/>
                    </a:lnTo>
                    <a:lnTo>
                      <a:pt x="238" y="63"/>
                    </a:lnTo>
                    <a:lnTo>
                      <a:pt x="246" y="63"/>
                    </a:lnTo>
                    <a:lnTo>
                      <a:pt x="254" y="63"/>
                    </a:lnTo>
                    <a:lnTo>
                      <a:pt x="254" y="68"/>
                    </a:lnTo>
                    <a:lnTo>
                      <a:pt x="249" y="70"/>
                    </a:lnTo>
                    <a:lnTo>
                      <a:pt x="238" y="73"/>
                    </a:lnTo>
                    <a:lnTo>
                      <a:pt x="233" y="76"/>
                    </a:lnTo>
                    <a:lnTo>
                      <a:pt x="231" y="81"/>
                    </a:lnTo>
                    <a:lnTo>
                      <a:pt x="218" y="88"/>
                    </a:lnTo>
                    <a:lnTo>
                      <a:pt x="214" y="93"/>
                    </a:lnTo>
                    <a:lnTo>
                      <a:pt x="206" y="98"/>
                    </a:lnTo>
                    <a:lnTo>
                      <a:pt x="201" y="103"/>
                    </a:lnTo>
                    <a:lnTo>
                      <a:pt x="191" y="105"/>
                    </a:lnTo>
                    <a:lnTo>
                      <a:pt x="185" y="103"/>
                    </a:lnTo>
                    <a:lnTo>
                      <a:pt x="176" y="96"/>
                    </a:lnTo>
                    <a:lnTo>
                      <a:pt x="166" y="91"/>
                    </a:lnTo>
                    <a:lnTo>
                      <a:pt x="160" y="91"/>
                    </a:lnTo>
                    <a:lnTo>
                      <a:pt x="160" y="85"/>
                    </a:lnTo>
                    <a:lnTo>
                      <a:pt x="160" y="80"/>
                    </a:lnTo>
                    <a:lnTo>
                      <a:pt x="155" y="76"/>
                    </a:lnTo>
                    <a:lnTo>
                      <a:pt x="153" y="73"/>
                    </a:lnTo>
                    <a:lnTo>
                      <a:pt x="146" y="75"/>
                    </a:lnTo>
                    <a:lnTo>
                      <a:pt x="143" y="80"/>
                    </a:lnTo>
                    <a:lnTo>
                      <a:pt x="140" y="80"/>
                    </a:lnTo>
                    <a:lnTo>
                      <a:pt x="136" y="78"/>
                    </a:lnTo>
                    <a:lnTo>
                      <a:pt x="131" y="78"/>
                    </a:lnTo>
                    <a:lnTo>
                      <a:pt x="128" y="80"/>
                    </a:lnTo>
                    <a:lnTo>
                      <a:pt x="101" y="80"/>
                    </a:lnTo>
                    <a:lnTo>
                      <a:pt x="100" y="88"/>
                    </a:lnTo>
                    <a:lnTo>
                      <a:pt x="101" y="93"/>
                    </a:lnTo>
                    <a:lnTo>
                      <a:pt x="111" y="95"/>
                    </a:lnTo>
                    <a:lnTo>
                      <a:pt x="115" y="101"/>
                    </a:lnTo>
                    <a:lnTo>
                      <a:pt x="111" y="103"/>
                    </a:lnTo>
                    <a:lnTo>
                      <a:pt x="115" y="106"/>
                    </a:lnTo>
                    <a:lnTo>
                      <a:pt x="113" y="110"/>
                    </a:lnTo>
                    <a:lnTo>
                      <a:pt x="108" y="106"/>
                    </a:lnTo>
                    <a:lnTo>
                      <a:pt x="91" y="111"/>
                    </a:lnTo>
                    <a:lnTo>
                      <a:pt x="93" y="123"/>
                    </a:lnTo>
                    <a:lnTo>
                      <a:pt x="96" y="128"/>
                    </a:lnTo>
                    <a:lnTo>
                      <a:pt x="106" y="134"/>
                    </a:lnTo>
                    <a:lnTo>
                      <a:pt x="111" y="144"/>
                    </a:lnTo>
                    <a:lnTo>
                      <a:pt x="111" y="151"/>
                    </a:lnTo>
                    <a:lnTo>
                      <a:pt x="111" y="154"/>
                    </a:lnTo>
                    <a:lnTo>
                      <a:pt x="98" y="201"/>
                    </a:lnTo>
                    <a:lnTo>
                      <a:pt x="93" y="213"/>
                    </a:lnTo>
                    <a:lnTo>
                      <a:pt x="95" y="214"/>
                    </a:lnTo>
                    <a:lnTo>
                      <a:pt x="91" y="218"/>
                    </a:lnTo>
                    <a:lnTo>
                      <a:pt x="87" y="216"/>
                    </a:lnTo>
                    <a:lnTo>
                      <a:pt x="87" y="216"/>
                    </a:lnTo>
                    <a:lnTo>
                      <a:pt x="82" y="213"/>
                    </a:lnTo>
                    <a:lnTo>
                      <a:pt x="80" y="213"/>
                    </a:lnTo>
                    <a:lnTo>
                      <a:pt x="75" y="213"/>
                    </a:lnTo>
                    <a:lnTo>
                      <a:pt x="73" y="211"/>
                    </a:lnTo>
                    <a:lnTo>
                      <a:pt x="72" y="216"/>
                    </a:lnTo>
                    <a:lnTo>
                      <a:pt x="55" y="221"/>
                    </a:lnTo>
                    <a:lnTo>
                      <a:pt x="42" y="223"/>
                    </a:lnTo>
                    <a:lnTo>
                      <a:pt x="40" y="226"/>
                    </a:lnTo>
                    <a:lnTo>
                      <a:pt x="37" y="226"/>
                    </a:lnTo>
                    <a:lnTo>
                      <a:pt x="32" y="231"/>
                    </a:lnTo>
                    <a:lnTo>
                      <a:pt x="25" y="232"/>
                    </a:lnTo>
                    <a:lnTo>
                      <a:pt x="22" y="236"/>
                    </a:lnTo>
                    <a:lnTo>
                      <a:pt x="22" y="241"/>
                    </a:lnTo>
                    <a:lnTo>
                      <a:pt x="20" y="244"/>
                    </a:lnTo>
                    <a:lnTo>
                      <a:pt x="20" y="247"/>
                    </a:lnTo>
                    <a:lnTo>
                      <a:pt x="13" y="254"/>
                    </a:lnTo>
                    <a:lnTo>
                      <a:pt x="17" y="262"/>
                    </a:lnTo>
                    <a:lnTo>
                      <a:pt x="18" y="266"/>
                    </a:lnTo>
                    <a:lnTo>
                      <a:pt x="15" y="269"/>
                    </a:lnTo>
                    <a:lnTo>
                      <a:pt x="12" y="269"/>
                    </a:lnTo>
                    <a:lnTo>
                      <a:pt x="3" y="272"/>
                    </a:lnTo>
                    <a:lnTo>
                      <a:pt x="3" y="277"/>
                    </a:lnTo>
                    <a:lnTo>
                      <a:pt x="2" y="279"/>
                    </a:lnTo>
                    <a:lnTo>
                      <a:pt x="3" y="282"/>
                    </a:lnTo>
                    <a:lnTo>
                      <a:pt x="2" y="287"/>
                    </a:lnTo>
                    <a:lnTo>
                      <a:pt x="0" y="291"/>
                    </a:lnTo>
                    <a:lnTo>
                      <a:pt x="2" y="294"/>
                    </a:lnTo>
                    <a:lnTo>
                      <a:pt x="0" y="297"/>
                    </a:lnTo>
                    <a:lnTo>
                      <a:pt x="7" y="304"/>
                    </a:lnTo>
                    <a:lnTo>
                      <a:pt x="18" y="321"/>
                    </a:lnTo>
                    <a:lnTo>
                      <a:pt x="13" y="329"/>
                    </a:lnTo>
                    <a:lnTo>
                      <a:pt x="28" y="327"/>
                    </a:lnTo>
                    <a:lnTo>
                      <a:pt x="35" y="329"/>
                    </a:lnTo>
                    <a:lnTo>
                      <a:pt x="40" y="335"/>
                    </a:lnTo>
                    <a:lnTo>
                      <a:pt x="42" y="342"/>
                    </a:lnTo>
                    <a:lnTo>
                      <a:pt x="53" y="342"/>
                    </a:lnTo>
                    <a:lnTo>
                      <a:pt x="65" y="342"/>
                    </a:lnTo>
                    <a:lnTo>
                      <a:pt x="75" y="334"/>
                    </a:lnTo>
                    <a:lnTo>
                      <a:pt x="83" y="329"/>
                    </a:lnTo>
                    <a:lnTo>
                      <a:pt x="87" y="332"/>
                    </a:lnTo>
                    <a:lnTo>
                      <a:pt x="85" y="337"/>
                    </a:lnTo>
                    <a:lnTo>
                      <a:pt x="83" y="339"/>
                    </a:lnTo>
                    <a:lnTo>
                      <a:pt x="83" y="345"/>
                    </a:lnTo>
                    <a:lnTo>
                      <a:pt x="85" y="359"/>
                    </a:lnTo>
                    <a:lnTo>
                      <a:pt x="85" y="364"/>
                    </a:lnTo>
                    <a:lnTo>
                      <a:pt x="88" y="367"/>
                    </a:lnTo>
                    <a:lnTo>
                      <a:pt x="93" y="365"/>
                    </a:lnTo>
                    <a:lnTo>
                      <a:pt x="96" y="365"/>
                    </a:lnTo>
                    <a:lnTo>
                      <a:pt x="103" y="365"/>
                    </a:lnTo>
                    <a:lnTo>
                      <a:pt x="105" y="364"/>
                    </a:lnTo>
                    <a:lnTo>
                      <a:pt x="108" y="365"/>
                    </a:lnTo>
                    <a:lnTo>
                      <a:pt x="108" y="365"/>
                    </a:lnTo>
                    <a:lnTo>
                      <a:pt x="108" y="365"/>
                    </a:lnTo>
                    <a:lnTo>
                      <a:pt x="123" y="365"/>
                    </a:lnTo>
                    <a:lnTo>
                      <a:pt x="130" y="365"/>
                    </a:lnTo>
                    <a:lnTo>
                      <a:pt x="138" y="362"/>
                    </a:lnTo>
                    <a:lnTo>
                      <a:pt x="141" y="362"/>
                    </a:lnTo>
                    <a:lnTo>
                      <a:pt x="146" y="359"/>
                    </a:lnTo>
                    <a:lnTo>
                      <a:pt x="153" y="359"/>
                    </a:lnTo>
                    <a:lnTo>
                      <a:pt x="160" y="357"/>
                    </a:lnTo>
                    <a:lnTo>
                      <a:pt x="163" y="347"/>
                    </a:lnTo>
                    <a:lnTo>
                      <a:pt x="175" y="340"/>
                    </a:lnTo>
                    <a:lnTo>
                      <a:pt x="183" y="339"/>
                    </a:lnTo>
                    <a:lnTo>
                      <a:pt x="191" y="335"/>
                    </a:lnTo>
                    <a:lnTo>
                      <a:pt x="196" y="335"/>
                    </a:lnTo>
                    <a:lnTo>
                      <a:pt x="201" y="339"/>
                    </a:lnTo>
                    <a:lnTo>
                      <a:pt x="206" y="335"/>
                    </a:lnTo>
                    <a:lnTo>
                      <a:pt x="209" y="337"/>
                    </a:lnTo>
                    <a:lnTo>
                      <a:pt x="209" y="342"/>
                    </a:lnTo>
                    <a:lnTo>
                      <a:pt x="211" y="350"/>
                    </a:lnTo>
                    <a:lnTo>
                      <a:pt x="208" y="357"/>
                    </a:lnTo>
                    <a:lnTo>
                      <a:pt x="211" y="367"/>
                    </a:lnTo>
                    <a:lnTo>
                      <a:pt x="209" y="372"/>
                    </a:lnTo>
                    <a:lnTo>
                      <a:pt x="213" y="380"/>
                    </a:lnTo>
                    <a:lnTo>
                      <a:pt x="218" y="382"/>
                    </a:lnTo>
                    <a:lnTo>
                      <a:pt x="219" y="389"/>
                    </a:lnTo>
                    <a:lnTo>
                      <a:pt x="226" y="390"/>
                    </a:lnTo>
                    <a:lnTo>
                      <a:pt x="234" y="395"/>
                    </a:lnTo>
                    <a:lnTo>
                      <a:pt x="239" y="400"/>
                    </a:lnTo>
                    <a:lnTo>
                      <a:pt x="241" y="397"/>
                    </a:lnTo>
                    <a:lnTo>
                      <a:pt x="251" y="395"/>
                    </a:lnTo>
                    <a:lnTo>
                      <a:pt x="259" y="404"/>
                    </a:lnTo>
                    <a:lnTo>
                      <a:pt x="266" y="402"/>
                    </a:lnTo>
                    <a:lnTo>
                      <a:pt x="274" y="410"/>
                    </a:lnTo>
                    <a:lnTo>
                      <a:pt x="278" y="410"/>
                    </a:lnTo>
                    <a:lnTo>
                      <a:pt x="289" y="414"/>
                    </a:lnTo>
                    <a:lnTo>
                      <a:pt x="296" y="415"/>
                    </a:lnTo>
                    <a:lnTo>
                      <a:pt x="297" y="422"/>
                    </a:lnTo>
                    <a:lnTo>
                      <a:pt x="302" y="423"/>
                    </a:lnTo>
                    <a:lnTo>
                      <a:pt x="307" y="425"/>
                    </a:lnTo>
                    <a:lnTo>
                      <a:pt x="322" y="425"/>
                    </a:lnTo>
                    <a:lnTo>
                      <a:pt x="332" y="430"/>
                    </a:lnTo>
                    <a:lnTo>
                      <a:pt x="334" y="433"/>
                    </a:lnTo>
                    <a:lnTo>
                      <a:pt x="332" y="443"/>
                    </a:lnTo>
                    <a:lnTo>
                      <a:pt x="334" y="452"/>
                    </a:lnTo>
                    <a:lnTo>
                      <a:pt x="332" y="457"/>
                    </a:lnTo>
                    <a:lnTo>
                      <a:pt x="341" y="470"/>
                    </a:lnTo>
                    <a:lnTo>
                      <a:pt x="341" y="482"/>
                    </a:lnTo>
                    <a:lnTo>
                      <a:pt x="382" y="482"/>
                    </a:lnTo>
                    <a:lnTo>
                      <a:pt x="385" y="495"/>
                    </a:lnTo>
                    <a:lnTo>
                      <a:pt x="384" y="505"/>
                    </a:lnTo>
                    <a:lnTo>
                      <a:pt x="397" y="507"/>
                    </a:lnTo>
                    <a:lnTo>
                      <a:pt x="409" y="526"/>
                    </a:lnTo>
                    <a:lnTo>
                      <a:pt x="410" y="538"/>
                    </a:lnTo>
                    <a:lnTo>
                      <a:pt x="399" y="560"/>
                    </a:lnTo>
                    <a:lnTo>
                      <a:pt x="399" y="563"/>
                    </a:lnTo>
                    <a:lnTo>
                      <a:pt x="395" y="566"/>
                    </a:lnTo>
                    <a:lnTo>
                      <a:pt x="397" y="568"/>
                    </a:lnTo>
                    <a:lnTo>
                      <a:pt x="397" y="573"/>
                    </a:lnTo>
                    <a:lnTo>
                      <a:pt x="402" y="578"/>
                    </a:lnTo>
                    <a:lnTo>
                      <a:pt x="402" y="585"/>
                    </a:lnTo>
                    <a:lnTo>
                      <a:pt x="407" y="591"/>
                    </a:lnTo>
                    <a:lnTo>
                      <a:pt x="405" y="605"/>
                    </a:lnTo>
                    <a:lnTo>
                      <a:pt x="407" y="610"/>
                    </a:lnTo>
                    <a:lnTo>
                      <a:pt x="405" y="615"/>
                    </a:lnTo>
                    <a:lnTo>
                      <a:pt x="407" y="620"/>
                    </a:lnTo>
                    <a:lnTo>
                      <a:pt x="415" y="618"/>
                    </a:lnTo>
                    <a:lnTo>
                      <a:pt x="419" y="620"/>
                    </a:lnTo>
                    <a:lnTo>
                      <a:pt x="430" y="620"/>
                    </a:lnTo>
                    <a:lnTo>
                      <a:pt x="437" y="621"/>
                    </a:lnTo>
                    <a:lnTo>
                      <a:pt x="449" y="618"/>
                    </a:lnTo>
                    <a:lnTo>
                      <a:pt x="455" y="621"/>
                    </a:lnTo>
                    <a:lnTo>
                      <a:pt x="459" y="623"/>
                    </a:lnTo>
                    <a:lnTo>
                      <a:pt x="460" y="628"/>
                    </a:lnTo>
                    <a:lnTo>
                      <a:pt x="467" y="651"/>
                    </a:lnTo>
                    <a:lnTo>
                      <a:pt x="472" y="659"/>
                    </a:lnTo>
                    <a:lnTo>
                      <a:pt x="475" y="661"/>
                    </a:lnTo>
                    <a:lnTo>
                      <a:pt x="485" y="656"/>
                    </a:lnTo>
                    <a:lnTo>
                      <a:pt x="490" y="658"/>
                    </a:lnTo>
                    <a:lnTo>
                      <a:pt x="495" y="661"/>
                    </a:lnTo>
                    <a:lnTo>
                      <a:pt x="498" y="661"/>
                    </a:lnTo>
                    <a:lnTo>
                      <a:pt x="495" y="664"/>
                    </a:lnTo>
                    <a:lnTo>
                      <a:pt x="495" y="686"/>
                    </a:lnTo>
                    <a:lnTo>
                      <a:pt x="493" y="688"/>
                    </a:lnTo>
                    <a:lnTo>
                      <a:pt x="493" y="689"/>
                    </a:lnTo>
                    <a:lnTo>
                      <a:pt x="493" y="691"/>
                    </a:lnTo>
                    <a:lnTo>
                      <a:pt x="493" y="694"/>
                    </a:lnTo>
                    <a:lnTo>
                      <a:pt x="492" y="696"/>
                    </a:lnTo>
                    <a:lnTo>
                      <a:pt x="497" y="694"/>
                    </a:lnTo>
                    <a:lnTo>
                      <a:pt x="508" y="696"/>
                    </a:lnTo>
                    <a:lnTo>
                      <a:pt x="508" y="699"/>
                    </a:lnTo>
                    <a:lnTo>
                      <a:pt x="513" y="709"/>
                    </a:lnTo>
                    <a:lnTo>
                      <a:pt x="512" y="716"/>
                    </a:lnTo>
                    <a:lnTo>
                      <a:pt x="513" y="726"/>
                    </a:lnTo>
                    <a:lnTo>
                      <a:pt x="515" y="732"/>
                    </a:lnTo>
                    <a:lnTo>
                      <a:pt x="513" y="736"/>
                    </a:lnTo>
                    <a:lnTo>
                      <a:pt x="508" y="736"/>
                    </a:lnTo>
                    <a:lnTo>
                      <a:pt x="502" y="739"/>
                    </a:lnTo>
                    <a:lnTo>
                      <a:pt x="502" y="741"/>
                    </a:lnTo>
                    <a:lnTo>
                      <a:pt x="498" y="742"/>
                    </a:lnTo>
                    <a:lnTo>
                      <a:pt x="497" y="742"/>
                    </a:lnTo>
                    <a:lnTo>
                      <a:pt x="487" y="749"/>
                    </a:lnTo>
                    <a:lnTo>
                      <a:pt x="484" y="751"/>
                    </a:lnTo>
                    <a:lnTo>
                      <a:pt x="480" y="752"/>
                    </a:lnTo>
                    <a:lnTo>
                      <a:pt x="472" y="759"/>
                    </a:lnTo>
                    <a:lnTo>
                      <a:pt x="469" y="761"/>
                    </a:lnTo>
                    <a:lnTo>
                      <a:pt x="469" y="766"/>
                    </a:lnTo>
                    <a:lnTo>
                      <a:pt x="465" y="766"/>
                    </a:lnTo>
                    <a:lnTo>
                      <a:pt x="462" y="766"/>
                    </a:lnTo>
                    <a:lnTo>
                      <a:pt x="454" y="774"/>
                    </a:lnTo>
                    <a:lnTo>
                      <a:pt x="452" y="777"/>
                    </a:lnTo>
                    <a:lnTo>
                      <a:pt x="454" y="782"/>
                    </a:lnTo>
                    <a:lnTo>
                      <a:pt x="449" y="784"/>
                    </a:lnTo>
                    <a:lnTo>
                      <a:pt x="447" y="786"/>
                    </a:lnTo>
                    <a:lnTo>
                      <a:pt x="442" y="794"/>
                    </a:lnTo>
                    <a:lnTo>
                      <a:pt x="439" y="797"/>
                    </a:lnTo>
                    <a:lnTo>
                      <a:pt x="435" y="804"/>
                    </a:lnTo>
                    <a:lnTo>
                      <a:pt x="435" y="806"/>
                    </a:lnTo>
                    <a:lnTo>
                      <a:pt x="430" y="809"/>
                    </a:lnTo>
                    <a:lnTo>
                      <a:pt x="430" y="811"/>
                    </a:lnTo>
                    <a:lnTo>
                      <a:pt x="434" y="811"/>
                    </a:lnTo>
                    <a:lnTo>
                      <a:pt x="435" y="812"/>
                    </a:lnTo>
                    <a:lnTo>
                      <a:pt x="449" y="809"/>
                    </a:lnTo>
                    <a:lnTo>
                      <a:pt x="454" y="812"/>
                    </a:lnTo>
                    <a:lnTo>
                      <a:pt x="459" y="819"/>
                    </a:lnTo>
                    <a:lnTo>
                      <a:pt x="464" y="820"/>
                    </a:lnTo>
                    <a:lnTo>
                      <a:pt x="467" y="825"/>
                    </a:lnTo>
                    <a:lnTo>
                      <a:pt x="472" y="835"/>
                    </a:lnTo>
                    <a:lnTo>
                      <a:pt x="475" y="835"/>
                    </a:lnTo>
                    <a:lnTo>
                      <a:pt x="480" y="830"/>
                    </a:lnTo>
                    <a:lnTo>
                      <a:pt x="482" y="830"/>
                    </a:lnTo>
                    <a:lnTo>
                      <a:pt x="488" y="839"/>
                    </a:lnTo>
                    <a:lnTo>
                      <a:pt x="495" y="842"/>
                    </a:lnTo>
                    <a:lnTo>
                      <a:pt x="500" y="842"/>
                    </a:lnTo>
                    <a:lnTo>
                      <a:pt x="507" y="847"/>
                    </a:lnTo>
                    <a:lnTo>
                      <a:pt x="507" y="854"/>
                    </a:lnTo>
                    <a:lnTo>
                      <a:pt x="512" y="852"/>
                    </a:lnTo>
                    <a:lnTo>
                      <a:pt x="520" y="857"/>
                    </a:lnTo>
                    <a:lnTo>
                      <a:pt x="527" y="862"/>
                    </a:lnTo>
                    <a:lnTo>
                      <a:pt x="532" y="870"/>
                    </a:lnTo>
                    <a:lnTo>
                      <a:pt x="538" y="874"/>
                    </a:lnTo>
                    <a:lnTo>
                      <a:pt x="537" y="880"/>
                    </a:lnTo>
                    <a:lnTo>
                      <a:pt x="532" y="885"/>
                    </a:lnTo>
                    <a:lnTo>
                      <a:pt x="535" y="892"/>
                    </a:lnTo>
                    <a:lnTo>
                      <a:pt x="535" y="894"/>
                    </a:lnTo>
                    <a:lnTo>
                      <a:pt x="535" y="895"/>
                    </a:lnTo>
                    <a:lnTo>
                      <a:pt x="538" y="899"/>
                    </a:lnTo>
                    <a:lnTo>
                      <a:pt x="540" y="900"/>
                    </a:lnTo>
                    <a:lnTo>
                      <a:pt x="548" y="894"/>
                    </a:lnTo>
                    <a:lnTo>
                      <a:pt x="552" y="887"/>
                    </a:lnTo>
                    <a:lnTo>
                      <a:pt x="557" y="870"/>
                    </a:lnTo>
                    <a:lnTo>
                      <a:pt x="560" y="860"/>
                    </a:lnTo>
                    <a:lnTo>
                      <a:pt x="562" y="859"/>
                    </a:lnTo>
                    <a:lnTo>
                      <a:pt x="560" y="855"/>
                    </a:lnTo>
                    <a:lnTo>
                      <a:pt x="557" y="850"/>
                    </a:lnTo>
                    <a:lnTo>
                      <a:pt x="558" y="847"/>
                    </a:lnTo>
                    <a:lnTo>
                      <a:pt x="562" y="845"/>
                    </a:lnTo>
                    <a:lnTo>
                      <a:pt x="562" y="842"/>
                    </a:lnTo>
                    <a:lnTo>
                      <a:pt x="565" y="839"/>
                    </a:lnTo>
                    <a:lnTo>
                      <a:pt x="565" y="835"/>
                    </a:lnTo>
                    <a:lnTo>
                      <a:pt x="568" y="837"/>
                    </a:lnTo>
                    <a:lnTo>
                      <a:pt x="572" y="837"/>
                    </a:lnTo>
                    <a:lnTo>
                      <a:pt x="575" y="832"/>
                    </a:lnTo>
                    <a:lnTo>
                      <a:pt x="575" y="829"/>
                    </a:lnTo>
                    <a:lnTo>
                      <a:pt x="577" y="827"/>
                    </a:lnTo>
                    <a:lnTo>
                      <a:pt x="578" y="822"/>
                    </a:lnTo>
                    <a:lnTo>
                      <a:pt x="580" y="820"/>
                    </a:lnTo>
                    <a:lnTo>
                      <a:pt x="582" y="820"/>
                    </a:lnTo>
                    <a:lnTo>
                      <a:pt x="583" y="816"/>
                    </a:lnTo>
                    <a:lnTo>
                      <a:pt x="582" y="812"/>
                    </a:lnTo>
                    <a:lnTo>
                      <a:pt x="580" y="811"/>
                    </a:lnTo>
                    <a:lnTo>
                      <a:pt x="580" y="804"/>
                    </a:lnTo>
                    <a:lnTo>
                      <a:pt x="578" y="802"/>
                    </a:lnTo>
                    <a:lnTo>
                      <a:pt x="580" y="802"/>
                    </a:lnTo>
                    <a:lnTo>
                      <a:pt x="583" y="807"/>
                    </a:lnTo>
                    <a:lnTo>
                      <a:pt x="588" y="814"/>
                    </a:lnTo>
                    <a:lnTo>
                      <a:pt x="591" y="814"/>
                    </a:lnTo>
                    <a:lnTo>
                      <a:pt x="593" y="812"/>
                    </a:lnTo>
                    <a:lnTo>
                      <a:pt x="595" y="814"/>
                    </a:lnTo>
                    <a:lnTo>
                      <a:pt x="596" y="817"/>
                    </a:lnTo>
                    <a:lnTo>
                      <a:pt x="593" y="817"/>
                    </a:lnTo>
                    <a:lnTo>
                      <a:pt x="591" y="825"/>
                    </a:lnTo>
                    <a:lnTo>
                      <a:pt x="586" y="834"/>
                    </a:lnTo>
                    <a:lnTo>
                      <a:pt x="582" y="834"/>
                    </a:lnTo>
                    <a:lnTo>
                      <a:pt x="580" y="839"/>
                    </a:lnTo>
                    <a:lnTo>
                      <a:pt x="578" y="842"/>
                    </a:lnTo>
                    <a:lnTo>
                      <a:pt x="577" y="842"/>
                    </a:lnTo>
                    <a:lnTo>
                      <a:pt x="572" y="844"/>
                    </a:lnTo>
                    <a:lnTo>
                      <a:pt x="568" y="847"/>
                    </a:lnTo>
                    <a:lnTo>
                      <a:pt x="568" y="850"/>
                    </a:lnTo>
                    <a:lnTo>
                      <a:pt x="563" y="850"/>
                    </a:lnTo>
                    <a:lnTo>
                      <a:pt x="562" y="852"/>
                    </a:lnTo>
                    <a:lnTo>
                      <a:pt x="562" y="854"/>
                    </a:lnTo>
                    <a:lnTo>
                      <a:pt x="567" y="855"/>
                    </a:lnTo>
                    <a:lnTo>
                      <a:pt x="582" y="845"/>
                    </a:lnTo>
                    <a:lnTo>
                      <a:pt x="590" y="837"/>
                    </a:lnTo>
                    <a:lnTo>
                      <a:pt x="601" y="819"/>
                    </a:lnTo>
                    <a:lnTo>
                      <a:pt x="606" y="811"/>
                    </a:lnTo>
                    <a:lnTo>
                      <a:pt x="610" y="799"/>
                    </a:lnTo>
                    <a:lnTo>
                      <a:pt x="621" y="781"/>
                    </a:lnTo>
                    <a:lnTo>
                      <a:pt x="631" y="769"/>
                    </a:lnTo>
                    <a:lnTo>
                      <a:pt x="633" y="766"/>
                    </a:lnTo>
                    <a:lnTo>
                      <a:pt x="633" y="764"/>
                    </a:lnTo>
                    <a:lnTo>
                      <a:pt x="633" y="761"/>
                    </a:lnTo>
                    <a:lnTo>
                      <a:pt x="635" y="761"/>
                    </a:lnTo>
                    <a:lnTo>
                      <a:pt x="636" y="756"/>
                    </a:lnTo>
                    <a:lnTo>
                      <a:pt x="640" y="754"/>
                    </a:lnTo>
                    <a:lnTo>
                      <a:pt x="640" y="749"/>
                    </a:lnTo>
                    <a:lnTo>
                      <a:pt x="640" y="747"/>
                    </a:lnTo>
                    <a:lnTo>
                      <a:pt x="640" y="746"/>
                    </a:lnTo>
                    <a:lnTo>
                      <a:pt x="638" y="744"/>
                    </a:lnTo>
                    <a:lnTo>
                      <a:pt x="638" y="739"/>
                    </a:lnTo>
                    <a:lnTo>
                      <a:pt x="633" y="734"/>
                    </a:lnTo>
                    <a:lnTo>
                      <a:pt x="633" y="731"/>
                    </a:lnTo>
                    <a:lnTo>
                      <a:pt x="633" y="727"/>
                    </a:lnTo>
                    <a:lnTo>
                      <a:pt x="633" y="726"/>
                    </a:lnTo>
                    <a:lnTo>
                      <a:pt x="631" y="719"/>
                    </a:lnTo>
                    <a:lnTo>
                      <a:pt x="628" y="713"/>
                    </a:lnTo>
                    <a:lnTo>
                      <a:pt x="631" y="711"/>
                    </a:lnTo>
                    <a:lnTo>
                      <a:pt x="636" y="709"/>
                    </a:lnTo>
                    <a:lnTo>
                      <a:pt x="635" y="706"/>
                    </a:lnTo>
                    <a:lnTo>
                      <a:pt x="633" y="704"/>
                    </a:lnTo>
                    <a:lnTo>
                      <a:pt x="638" y="703"/>
                    </a:lnTo>
                    <a:lnTo>
                      <a:pt x="638" y="699"/>
                    </a:lnTo>
                    <a:lnTo>
                      <a:pt x="633" y="696"/>
                    </a:lnTo>
                    <a:lnTo>
                      <a:pt x="638" y="696"/>
                    </a:lnTo>
                    <a:lnTo>
                      <a:pt x="640" y="691"/>
                    </a:lnTo>
                    <a:lnTo>
                      <a:pt x="643" y="693"/>
                    </a:lnTo>
                    <a:lnTo>
                      <a:pt x="651" y="686"/>
                    </a:lnTo>
                    <a:lnTo>
                      <a:pt x="655" y="684"/>
                    </a:lnTo>
                    <a:lnTo>
                      <a:pt x="655" y="681"/>
                    </a:lnTo>
                    <a:lnTo>
                      <a:pt x="661" y="676"/>
                    </a:lnTo>
                    <a:lnTo>
                      <a:pt x="670" y="673"/>
                    </a:lnTo>
                    <a:lnTo>
                      <a:pt x="680" y="663"/>
                    </a:lnTo>
                    <a:lnTo>
                      <a:pt x="688" y="661"/>
                    </a:lnTo>
                    <a:lnTo>
                      <a:pt x="693" y="658"/>
                    </a:lnTo>
                    <a:lnTo>
                      <a:pt x="698" y="653"/>
                    </a:lnTo>
                    <a:lnTo>
                      <a:pt x="703" y="653"/>
                    </a:lnTo>
                    <a:lnTo>
                      <a:pt x="706" y="656"/>
                    </a:lnTo>
                    <a:lnTo>
                      <a:pt x="709" y="656"/>
                    </a:lnTo>
                    <a:lnTo>
                      <a:pt x="709" y="653"/>
                    </a:lnTo>
                    <a:lnTo>
                      <a:pt x="713" y="648"/>
                    </a:lnTo>
                    <a:lnTo>
                      <a:pt x="723" y="641"/>
                    </a:lnTo>
                    <a:lnTo>
                      <a:pt x="728" y="641"/>
                    </a:lnTo>
                    <a:lnTo>
                      <a:pt x="728" y="638"/>
                    </a:lnTo>
                    <a:lnTo>
                      <a:pt x="724" y="638"/>
                    </a:lnTo>
                    <a:lnTo>
                      <a:pt x="721" y="636"/>
                    </a:lnTo>
                    <a:lnTo>
                      <a:pt x="719" y="634"/>
                    </a:lnTo>
                    <a:lnTo>
                      <a:pt x="724" y="633"/>
                    </a:lnTo>
                    <a:lnTo>
                      <a:pt x="729" y="629"/>
                    </a:lnTo>
                    <a:lnTo>
                      <a:pt x="734" y="631"/>
                    </a:lnTo>
                    <a:lnTo>
                      <a:pt x="738" y="629"/>
                    </a:lnTo>
                    <a:lnTo>
                      <a:pt x="741" y="628"/>
                    </a:lnTo>
                    <a:lnTo>
                      <a:pt x="744" y="628"/>
                    </a:lnTo>
                    <a:lnTo>
                      <a:pt x="744" y="629"/>
                    </a:lnTo>
                    <a:lnTo>
                      <a:pt x="739" y="633"/>
                    </a:lnTo>
                    <a:lnTo>
                      <a:pt x="733" y="634"/>
                    </a:lnTo>
                    <a:lnTo>
                      <a:pt x="731" y="636"/>
                    </a:lnTo>
                    <a:lnTo>
                      <a:pt x="733" y="636"/>
                    </a:lnTo>
                    <a:lnTo>
                      <a:pt x="743" y="634"/>
                    </a:lnTo>
                    <a:lnTo>
                      <a:pt x="754" y="629"/>
                    </a:lnTo>
                    <a:lnTo>
                      <a:pt x="753" y="628"/>
                    </a:lnTo>
                    <a:lnTo>
                      <a:pt x="756" y="626"/>
                    </a:lnTo>
                    <a:lnTo>
                      <a:pt x="759" y="626"/>
                    </a:lnTo>
                    <a:lnTo>
                      <a:pt x="758" y="628"/>
                    </a:lnTo>
                    <a:lnTo>
                      <a:pt x="758" y="628"/>
                    </a:lnTo>
                    <a:lnTo>
                      <a:pt x="759" y="633"/>
                    </a:lnTo>
                    <a:lnTo>
                      <a:pt x="759" y="633"/>
                    </a:lnTo>
                    <a:lnTo>
                      <a:pt x="766" y="633"/>
                    </a:lnTo>
                    <a:lnTo>
                      <a:pt x="769" y="631"/>
                    </a:lnTo>
                    <a:lnTo>
                      <a:pt x="776" y="631"/>
                    </a:lnTo>
                    <a:lnTo>
                      <a:pt x="784" y="633"/>
                    </a:lnTo>
                    <a:lnTo>
                      <a:pt x="789" y="629"/>
                    </a:lnTo>
                    <a:lnTo>
                      <a:pt x="789" y="626"/>
                    </a:lnTo>
                    <a:lnTo>
                      <a:pt x="787" y="626"/>
                    </a:lnTo>
                    <a:lnTo>
                      <a:pt x="789" y="623"/>
                    </a:lnTo>
                    <a:lnTo>
                      <a:pt x="799" y="616"/>
                    </a:lnTo>
                    <a:lnTo>
                      <a:pt x="809" y="615"/>
                    </a:lnTo>
                    <a:lnTo>
                      <a:pt x="814" y="611"/>
                    </a:lnTo>
                    <a:lnTo>
                      <a:pt x="814" y="608"/>
                    </a:lnTo>
                    <a:lnTo>
                      <a:pt x="814" y="606"/>
                    </a:lnTo>
                    <a:lnTo>
                      <a:pt x="809" y="598"/>
                    </a:lnTo>
                    <a:lnTo>
                      <a:pt x="812" y="593"/>
                    </a:lnTo>
                    <a:lnTo>
                      <a:pt x="816" y="590"/>
                    </a:lnTo>
                    <a:lnTo>
                      <a:pt x="816" y="585"/>
                    </a:lnTo>
                    <a:lnTo>
                      <a:pt x="819" y="583"/>
                    </a:lnTo>
                    <a:lnTo>
                      <a:pt x="822" y="581"/>
                    </a:lnTo>
                    <a:lnTo>
                      <a:pt x="824" y="576"/>
                    </a:lnTo>
                    <a:lnTo>
                      <a:pt x="822" y="576"/>
                    </a:lnTo>
                    <a:lnTo>
                      <a:pt x="829" y="566"/>
                    </a:lnTo>
                    <a:lnTo>
                      <a:pt x="837" y="556"/>
                    </a:lnTo>
                    <a:lnTo>
                      <a:pt x="839" y="551"/>
                    </a:lnTo>
                    <a:lnTo>
                      <a:pt x="836" y="538"/>
                    </a:lnTo>
                    <a:lnTo>
                      <a:pt x="834" y="535"/>
                    </a:lnTo>
                    <a:lnTo>
                      <a:pt x="837" y="526"/>
                    </a:lnTo>
                    <a:lnTo>
                      <a:pt x="841" y="523"/>
                    </a:lnTo>
                    <a:lnTo>
                      <a:pt x="841" y="520"/>
                    </a:lnTo>
                    <a:lnTo>
                      <a:pt x="847" y="515"/>
                    </a:lnTo>
                    <a:lnTo>
                      <a:pt x="849" y="513"/>
                    </a:lnTo>
                    <a:lnTo>
                      <a:pt x="847" y="505"/>
                    </a:lnTo>
                    <a:lnTo>
                      <a:pt x="851" y="495"/>
                    </a:lnTo>
                    <a:lnTo>
                      <a:pt x="849" y="487"/>
                    </a:lnTo>
                    <a:lnTo>
                      <a:pt x="851" y="482"/>
                    </a:lnTo>
                    <a:lnTo>
                      <a:pt x="851" y="478"/>
                    </a:lnTo>
                    <a:lnTo>
                      <a:pt x="852" y="470"/>
                    </a:lnTo>
                    <a:lnTo>
                      <a:pt x="851" y="440"/>
                    </a:lnTo>
                    <a:lnTo>
                      <a:pt x="851" y="435"/>
                    </a:lnTo>
                    <a:lnTo>
                      <a:pt x="852" y="430"/>
                    </a:lnTo>
                    <a:lnTo>
                      <a:pt x="852" y="427"/>
                    </a:lnTo>
                    <a:lnTo>
                      <a:pt x="851" y="428"/>
                    </a:lnTo>
                    <a:lnTo>
                      <a:pt x="847" y="427"/>
                    </a:lnTo>
                    <a:lnTo>
                      <a:pt x="847" y="423"/>
                    </a:lnTo>
                    <a:lnTo>
                      <a:pt x="851" y="419"/>
                    </a:lnTo>
                    <a:lnTo>
                      <a:pt x="849" y="414"/>
                    </a:lnTo>
                    <a:lnTo>
                      <a:pt x="851" y="410"/>
                    </a:lnTo>
                    <a:lnTo>
                      <a:pt x="852" y="410"/>
                    </a:lnTo>
                    <a:lnTo>
                      <a:pt x="854" y="405"/>
                    </a:lnTo>
                    <a:lnTo>
                      <a:pt x="851" y="400"/>
                    </a:lnTo>
                    <a:lnTo>
                      <a:pt x="844" y="397"/>
                    </a:lnTo>
                    <a:lnTo>
                      <a:pt x="846" y="397"/>
                    </a:lnTo>
                    <a:lnTo>
                      <a:pt x="847" y="395"/>
                    </a:lnTo>
                    <a:lnTo>
                      <a:pt x="847" y="397"/>
                    </a:lnTo>
                    <a:lnTo>
                      <a:pt x="852" y="399"/>
                    </a:lnTo>
                    <a:lnTo>
                      <a:pt x="856" y="400"/>
                    </a:lnTo>
                    <a:lnTo>
                      <a:pt x="857" y="395"/>
                    </a:lnTo>
                    <a:lnTo>
                      <a:pt x="861" y="395"/>
                    </a:lnTo>
                    <a:lnTo>
                      <a:pt x="861" y="399"/>
                    </a:lnTo>
                    <a:lnTo>
                      <a:pt x="864" y="400"/>
                    </a:lnTo>
                    <a:lnTo>
                      <a:pt x="861" y="402"/>
                    </a:lnTo>
                    <a:lnTo>
                      <a:pt x="857" y="405"/>
                    </a:lnTo>
                    <a:lnTo>
                      <a:pt x="857" y="409"/>
                    </a:lnTo>
                    <a:lnTo>
                      <a:pt x="859" y="409"/>
                    </a:lnTo>
                    <a:lnTo>
                      <a:pt x="864" y="404"/>
                    </a:lnTo>
                    <a:lnTo>
                      <a:pt x="871" y="400"/>
                    </a:lnTo>
                    <a:lnTo>
                      <a:pt x="879" y="390"/>
                    </a:lnTo>
                    <a:lnTo>
                      <a:pt x="882" y="382"/>
                    </a:lnTo>
                    <a:lnTo>
                      <a:pt x="884" y="377"/>
                    </a:lnTo>
                    <a:lnTo>
                      <a:pt x="887" y="374"/>
                    </a:lnTo>
                    <a:lnTo>
                      <a:pt x="890" y="365"/>
                    </a:lnTo>
                    <a:lnTo>
                      <a:pt x="894" y="360"/>
                    </a:lnTo>
                    <a:lnTo>
                      <a:pt x="905" y="352"/>
                    </a:lnTo>
                    <a:lnTo>
                      <a:pt x="907" y="349"/>
                    </a:lnTo>
                    <a:lnTo>
                      <a:pt x="912" y="347"/>
                    </a:lnTo>
                    <a:lnTo>
                      <a:pt x="914" y="342"/>
                    </a:lnTo>
                    <a:lnTo>
                      <a:pt x="925" y="334"/>
                    </a:lnTo>
                    <a:lnTo>
                      <a:pt x="935" y="322"/>
                    </a:lnTo>
                    <a:lnTo>
                      <a:pt x="937" y="319"/>
                    </a:lnTo>
                    <a:lnTo>
                      <a:pt x="944" y="307"/>
                    </a:lnTo>
                    <a:lnTo>
                      <a:pt x="945" y="302"/>
                    </a:lnTo>
                    <a:lnTo>
                      <a:pt x="947" y="299"/>
                    </a:lnTo>
                    <a:lnTo>
                      <a:pt x="947" y="294"/>
                    </a:lnTo>
                    <a:lnTo>
                      <a:pt x="944" y="291"/>
                    </a:lnTo>
                    <a:lnTo>
                      <a:pt x="945" y="286"/>
                    </a:lnTo>
                    <a:lnTo>
                      <a:pt x="949" y="284"/>
                    </a:lnTo>
                    <a:lnTo>
                      <a:pt x="947" y="272"/>
                    </a:lnTo>
                    <a:lnTo>
                      <a:pt x="945" y="271"/>
                    </a:lnTo>
                    <a:lnTo>
                      <a:pt x="944" y="266"/>
                    </a:lnTo>
                    <a:lnTo>
                      <a:pt x="935" y="249"/>
                    </a:lnTo>
                    <a:lnTo>
                      <a:pt x="935" y="242"/>
                    </a:lnTo>
                    <a:lnTo>
                      <a:pt x="934" y="236"/>
                    </a:lnTo>
                    <a:lnTo>
                      <a:pt x="919" y="231"/>
                    </a:lnTo>
                    <a:lnTo>
                      <a:pt x="909" y="231"/>
                    </a:lnTo>
                    <a:lnTo>
                      <a:pt x="902" y="232"/>
                    </a:lnTo>
                    <a:lnTo>
                      <a:pt x="899" y="227"/>
                    </a:lnTo>
                    <a:lnTo>
                      <a:pt x="892" y="226"/>
                    </a:lnTo>
                    <a:lnTo>
                      <a:pt x="887" y="221"/>
                    </a:lnTo>
                    <a:lnTo>
                      <a:pt x="881" y="218"/>
                    </a:lnTo>
                    <a:lnTo>
                      <a:pt x="876" y="218"/>
                    </a:lnTo>
                    <a:lnTo>
                      <a:pt x="866" y="206"/>
                    </a:lnTo>
                    <a:lnTo>
                      <a:pt x="856" y="196"/>
                    </a:lnTo>
                    <a:lnTo>
                      <a:pt x="852" y="194"/>
                    </a:lnTo>
                    <a:lnTo>
                      <a:pt x="846" y="189"/>
                    </a:lnTo>
                    <a:lnTo>
                      <a:pt x="841" y="189"/>
                    </a:lnTo>
                    <a:lnTo>
                      <a:pt x="826" y="181"/>
                    </a:lnTo>
                    <a:lnTo>
                      <a:pt x="819" y="181"/>
                    </a:lnTo>
                    <a:lnTo>
                      <a:pt x="812" y="178"/>
                    </a:lnTo>
                    <a:lnTo>
                      <a:pt x="807" y="179"/>
                    </a:lnTo>
                    <a:lnTo>
                      <a:pt x="801" y="179"/>
                    </a:lnTo>
                    <a:lnTo>
                      <a:pt x="796" y="178"/>
                    </a:lnTo>
                    <a:lnTo>
                      <a:pt x="792" y="179"/>
                    </a:lnTo>
                    <a:lnTo>
                      <a:pt x="789" y="183"/>
                    </a:lnTo>
                    <a:lnTo>
                      <a:pt x="787" y="179"/>
                    </a:lnTo>
                    <a:lnTo>
                      <a:pt x="781" y="176"/>
                    </a:lnTo>
                    <a:lnTo>
                      <a:pt x="779" y="178"/>
                    </a:lnTo>
                    <a:lnTo>
                      <a:pt x="776" y="176"/>
                    </a:lnTo>
                    <a:lnTo>
                      <a:pt x="776" y="178"/>
                    </a:lnTo>
                    <a:lnTo>
                      <a:pt x="776" y="181"/>
                    </a:lnTo>
                    <a:lnTo>
                      <a:pt x="771" y="178"/>
                    </a:lnTo>
                    <a:lnTo>
                      <a:pt x="771" y="176"/>
                    </a:lnTo>
                    <a:lnTo>
                      <a:pt x="768" y="174"/>
                    </a:lnTo>
                    <a:lnTo>
                      <a:pt x="769" y="176"/>
                    </a:lnTo>
                    <a:lnTo>
                      <a:pt x="768" y="178"/>
                    </a:lnTo>
                    <a:lnTo>
                      <a:pt x="761" y="174"/>
                    </a:lnTo>
                    <a:lnTo>
                      <a:pt x="758" y="176"/>
                    </a:lnTo>
                    <a:lnTo>
                      <a:pt x="753" y="174"/>
                    </a:lnTo>
                    <a:lnTo>
                      <a:pt x="739" y="169"/>
                    </a:lnTo>
                    <a:lnTo>
                      <a:pt x="733" y="169"/>
                    </a:lnTo>
                    <a:lnTo>
                      <a:pt x="733" y="171"/>
                    </a:lnTo>
                    <a:lnTo>
                      <a:pt x="734" y="173"/>
                    </a:lnTo>
                    <a:lnTo>
                      <a:pt x="733" y="174"/>
                    </a:lnTo>
                    <a:lnTo>
                      <a:pt x="731" y="173"/>
                    </a:lnTo>
                    <a:lnTo>
                      <a:pt x="729" y="173"/>
                    </a:lnTo>
                    <a:lnTo>
                      <a:pt x="728" y="176"/>
                    </a:lnTo>
                    <a:lnTo>
                      <a:pt x="724" y="178"/>
                    </a:lnTo>
                    <a:lnTo>
                      <a:pt x="723" y="179"/>
                    </a:lnTo>
                    <a:lnTo>
                      <a:pt x="721" y="184"/>
                    </a:lnTo>
                    <a:lnTo>
                      <a:pt x="719" y="181"/>
                    </a:lnTo>
                    <a:lnTo>
                      <a:pt x="718" y="178"/>
                    </a:lnTo>
                    <a:lnTo>
                      <a:pt x="714" y="178"/>
                    </a:lnTo>
                    <a:lnTo>
                      <a:pt x="716" y="183"/>
                    </a:lnTo>
                    <a:lnTo>
                      <a:pt x="711" y="189"/>
                    </a:lnTo>
                    <a:lnTo>
                      <a:pt x="711" y="196"/>
                    </a:lnTo>
                    <a:lnTo>
                      <a:pt x="709" y="189"/>
                    </a:lnTo>
                    <a:lnTo>
                      <a:pt x="711" y="184"/>
                    </a:lnTo>
                    <a:lnTo>
                      <a:pt x="711" y="179"/>
                    </a:lnTo>
                    <a:lnTo>
                      <a:pt x="713" y="173"/>
                    </a:lnTo>
                    <a:lnTo>
                      <a:pt x="714" y="171"/>
                    </a:lnTo>
                    <a:lnTo>
                      <a:pt x="713" y="169"/>
                    </a:lnTo>
                    <a:lnTo>
                      <a:pt x="709" y="169"/>
                    </a:lnTo>
                    <a:lnTo>
                      <a:pt x="714" y="164"/>
                    </a:lnTo>
                    <a:lnTo>
                      <a:pt x="708" y="158"/>
                    </a:lnTo>
                    <a:lnTo>
                      <a:pt x="704" y="151"/>
                    </a:lnTo>
                    <a:lnTo>
                      <a:pt x="701" y="153"/>
                    </a:lnTo>
                    <a:lnTo>
                      <a:pt x="694" y="151"/>
                    </a:lnTo>
                    <a:lnTo>
                      <a:pt x="693" y="154"/>
                    </a:lnTo>
                    <a:lnTo>
                      <a:pt x="689" y="156"/>
                    </a:lnTo>
                    <a:lnTo>
                      <a:pt x="688" y="153"/>
                    </a:lnTo>
                    <a:lnTo>
                      <a:pt x="684" y="151"/>
                    </a:lnTo>
                    <a:lnTo>
                      <a:pt x="684" y="148"/>
                    </a:lnTo>
                    <a:lnTo>
                      <a:pt x="681" y="146"/>
                    </a:lnTo>
                    <a:lnTo>
                      <a:pt x="678" y="146"/>
                    </a:lnTo>
                    <a:lnTo>
                      <a:pt x="676" y="144"/>
                    </a:lnTo>
                    <a:lnTo>
                      <a:pt x="673" y="143"/>
                    </a:lnTo>
                    <a:lnTo>
                      <a:pt x="670" y="146"/>
                    </a:lnTo>
                    <a:lnTo>
                      <a:pt x="670" y="144"/>
                    </a:lnTo>
                    <a:lnTo>
                      <a:pt x="668" y="143"/>
                    </a:lnTo>
                    <a:lnTo>
                      <a:pt x="666" y="139"/>
                    </a:lnTo>
                    <a:lnTo>
                      <a:pt x="663" y="141"/>
                    </a:lnTo>
                    <a:lnTo>
                      <a:pt x="658" y="139"/>
                    </a:lnTo>
                    <a:lnTo>
                      <a:pt x="650" y="134"/>
                    </a:lnTo>
                    <a:lnTo>
                      <a:pt x="648" y="134"/>
                    </a:lnTo>
                    <a:lnTo>
                      <a:pt x="646" y="136"/>
                    </a:lnTo>
                    <a:lnTo>
                      <a:pt x="643" y="134"/>
                    </a:lnTo>
                    <a:lnTo>
                      <a:pt x="640" y="134"/>
                    </a:lnTo>
                    <a:lnTo>
                      <a:pt x="638" y="138"/>
                    </a:lnTo>
                    <a:lnTo>
                      <a:pt x="636" y="138"/>
                    </a:lnTo>
                    <a:lnTo>
                      <a:pt x="635" y="134"/>
                    </a:lnTo>
                    <a:lnTo>
                      <a:pt x="630" y="134"/>
                    </a:lnTo>
                    <a:lnTo>
                      <a:pt x="625" y="136"/>
                    </a:lnTo>
                    <a:lnTo>
                      <a:pt x="623" y="141"/>
                    </a:lnTo>
                    <a:lnTo>
                      <a:pt x="623" y="143"/>
                    </a:lnTo>
                    <a:lnTo>
                      <a:pt x="618" y="148"/>
                    </a:lnTo>
                    <a:lnTo>
                      <a:pt x="611" y="151"/>
                    </a:lnTo>
                    <a:lnTo>
                      <a:pt x="601" y="156"/>
                    </a:lnTo>
                    <a:lnTo>
                      <a:pt x="598" y="161"/>
                    </a:lnTo>
                    <a:lnTo>
                      <a:pt x="595" y="168"/>
                    </a:lnTo>
                    <a:lnTo>
                      <a:pt x="595" y="173"/>
                    </a:lnTo>
                    <a:lnTo>
                      <a:pt x="591" y="176"/>
                    </a:lnTo>
                    <a:lnTo>
                      <a:pt x="588" y="179"/>
                    </a:lnTo>
                    <a:lnTo>
                      <a:pt x="588" y="183"/>
                    </a:lnTo>
                    <a:lnTo>
                      <a:pt x="590" y="188"/>
                    </a:lnTo>
                    <a:lnTo>
                      <a:pt x="588" y="196"/>
                    </a:lnTo>
                    <a:lnTo>
                      <a:pt x="586" y="191"/>
                    </a:lnTo>
                    <a:lnTo>
                      <a:pt x="583" y="186"/>
                    </a:lnTo>
                    <a:lnTo>
                      <a:pt x="583" y="181"/>
                    </a:lnTo>
                    <a:lnTo>
                      <a:pt x="586" y="178"/>
                    </a:lnTo>
                    <a:lnTo>
                      <a:pt x="591" y="174"/>
                    </a:lnTo>
                    <a:lnTo>
                      <a:pt x="590" y="169"/>
                    </a:lnTo>
                    <a:lnTo>
                      <a:pt x="591" y="164"/>
                    </a:lnTo>
                    <a:lnTo>
                      <a:pt x="591" y="161"/>
                    </a:lnTo>
                    <a:lnTo>
                      <a:pt x="588" y="161"/>
                    </a:lnTo>
                    <a:lnTo>
                      <a:pt x="583" y="163"/>
                    </a:lnTo>
                    <a:lnTo>
                      <a:pt x="577" y="161"/>
                    </a:lnTo>
                    <a:lnTo>
                      <a:pt x="572" y="161"/>
                    </a:lnTo>
                    <a:lnTo>
                      <a:pt x="567" y="163"/>
                    </a:lnTo>
                    <a:lnTo>
                      <a:pt x="565" y="161"/>
                    </a:lnTo>
                    <a:lnTo>
                      <a:pt x="568" y="161"/>
                    </a:lnTo>
                    <a:lnTo>
                      <a:pt x="572" y="158"/>
                    </a:lnTo>
                    <a:lnTo>
                      <a:pt x="577" y="158"/>
                    </a:lnTo>
                    <a:lnTo>
                      <a:pt x="583" y="158"/>
                    </a:lnTo>
                    <a:lnTo>
                      <a:pt x="588" y="158"/>
                    </a:lnTo>
                    <a:lnTo>
                      <a:pt x="591" y="153"/>
                    </a:lnTo>
                    <a:lnTo>
                      <a:pt x="593" y="153"/>
                    </a:lnTo>
                    <a:lnTo>
                      <a:pt x="595" y="154"/>
                    </a:lnTo>
                    <a:lnTo>
                      <a:pt x="598" y="154"/>
                    </a:lnTo>
                    <a:lnTo>
                      <a:pt x="601" y="151"/>
                    </a:lnTo>
                    <a:lnTo>
                      <a:pt x="610" y="149"/>
                    </a:lnTo>
                    <a:lnTo>
                      <a:pt x="610" y="144"/>
                    </a:lnTo>
                    <a:lnTo>
                      <a:pt x="615" y="138"/>
                    </a:lnTo>
                    <a:lnTo>
                      <a:pt x="615" y="133"/>
                    </a:lnTo>
                    <a:lnTo>
                      <a:pt x="618" y="129"/>
                    </a:lnTo>
                    <a:lnTo>
                      <a:pt x="618" y="126"/>
                    </a:lnTo>
                    <a:lnTo>
                      <a:pt x="611" y="125"/>
                    </a:lnTo>
                    <a:lnTo>
                      <a:pt x="606" y="121"/>
                    </a:lnTo>
                    <a:lnTo>
                      <a:pt x="601" y="121"/>
                    </a:lnTo>
                    <a:lnTo>
                      <a:pt x="595" y="125"/>
                    </a:lnTo>
                    <a:lnTo>
                      <a:pt x="588" y="125"/>
                    </a:lnTo>
                    <a:lnTo>
                      <a:pt x="580" y="121"/>
                    </a:lnTo>
                    <a:lnTo>
                      <a:pt x="572" y="121"/>
                    </a:lnTo>
                    <a:lnTo>
                      <a:pt x="565" y="128"/>
                    </a:lnTo>
                    <a:lnTo>
                      <a:pt x="565" y="129"/>
                    </a:lnTo>
                    <a:lnTo>
                      <a:pt x="567" y="131"/>
                    </a:lnTo>
                    <a:lnTo>
                      <a:pt x="568" y="134"/>
                    </a:lnTo>
                    <a:lnTo>
                      <a:pt x="565" y="134"/>
                    </a:lnTo>
                    <a:lnTo>
                      <a:pt x="563" y="134"/>
                    </a:lnTo>
                    <a:lnTo>
                      <a:pt x="562" y="139"/>
                    </a:lnTo>
                    <a:lnTo>
                      <a:pt x="560" y="136"/>
                    </a:lnTo>
                    <a:lnTo>
                      <a:pt x="558" y="134"/>
                    </a:lnTo>
                    <a:lnTo>
                      <a:pt x="553" y="136"/>
                    </a:lnTo>
                    <a:lnTo>
                      <a:pt x="547" y="144"/>
                    </a:lnTo>
                    <a:lnTo>
                      <a:pt x="540" y="151"/>
                    </a:lnTo>
                    <a:lnTo>
                      <a:pt x="545" y="144"/>
                    </a:lnTo>
                    <a:lnTo>
                      <a:pt x="545" y="139"/>
                    </a:lnTo>
                    <a:lnTo>
                      <a:pt x="547" y="138"/>
                    </a:lnTo>
                    <a:lnTo>
                      <a:pt x="547" y="134"/>
                    </a:lnTo>
                    <a:lnTo>
                      <a:pt x="545" y="134"/>
                    </a:lnTo>
                    <a:lnTo>
                      <a:pt x="540" y="138"/>
                    </a:lnTo>
                    <a:lnTo>
                      <a:pt x="537" y="143"/>
                    </a:lnTo>
                    <a:lnTo>
                      <a:pt x="535" y="148"/>
                    </a:lnTo>
                    <a:lnTo>
                      <a:pt x="530" y="151"/>
                    </a:lnTo>
                    <a:lnTo>
                      <a:pt x="535" y="144"/>
                    </a:lnTo>
                    <a:lnTo>
                      <a:pt x="535" y="139"/>
                    </a:lnTo>
                    <a:lnTo>
                      <a:pt x="543" y="129"/>
                    </a:lnTo>
                    <a:lnTo>
                      <a:pt x="545" y="123"/>
                    </a:lnTo>
                    <a:lnTo>
                      <a:pt x="548" y="120"/>
                    </a:lnTo>
                    <a:lnTo>
                      <a:pt x="553" y="116"/>
                    </a:lnTo>
                    <a:lnTo>
                      <a:pt x="558" y="113"/>
                    </a:lnTo>
                    <a:lnTo>
                      <a:pt x="562" y="111"/>
                    </a:lnTo>
                    <a:lnTo>
                      <a:pt x="567" y="106"/>
                    </a:lnTo>
                    <a:lnTo>
                      <a:pt x="578" y="95"/>
                    </a:lnTo>
                    <a:lnTo>
                      <a:pt x="578" y="93"/>
                    </a:lnTo>
                    <a:lnTo>
                      <a:pt x="582" y="91"/>
                    </a:lnTo>
                    <a:lnTo>
                      <a:pt x="578" y="88"/>
                    </a:lnTo>
                    <a:lnTo>
                      <a:pt x="580" y="85"/>
                    </a:lnTo>
                    <a:lnTo>
                      <a:pt x="582" y="85"/>
                    </a:lnTo>
                    <a:lnTo>
                      <a:pt x="582" y="80"/>
                    </a:lnTo>
                    <a:lnTo>
                      <a:pt x="577" y="76"/>
                    </a:lnTo>
                    <a:lnTo>
                      <a:pt x="572" y="76"/>
                    </a:lnTo>
                    <a:lnTo>
                      <a:pt x="570" y="78"/>
                    </a:lnTo>
                    <a:lnTo>
                      <a:pt x="568" y="75"/>
                    </a:lnTo>
                    <a:lnTo>
                      <a:pt x="565" y="66"/>
                    </a:lnTo>
                    <a:lnTo>
                      <a:pt x="560" y="55"/>
                    </a:lnTo>
                    <a:lnTo>
                      <a:pt x="555" y="48"/>
                    </a:lnTo>
                    <a:lnTo>
                      <a:pt x="552" y="40"/>
                    </a:lnTo>
                    <a:lnTo>
                      <a:pt x="552" y="36"/>
                    </a:lnTo>
                    <a:lnTo>
                      <a:pt x="550" y="3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9" name="Freeform 164"/>
              <p:cNvSpPr>
                <a:spLocks/>
              </p:cNvSpPr>
              <p:nvPr/>
            </p:nvSpPr>
            <p:spPr bwMode="auto">
              <a:xfrm>
                <a:off x="5720423" y="3204346"/>
                <a:ext cx="36388" cy="46692"/>
              </a:xfrm>
              <a:custGeom>
                <a:avLst/>
                <a:gdLst/>
                <a:ahLst/>
                <a:cxnLst>
                  <a:cxn ang="0">
                    <a:pos x="0" y="71"/>
                  </a:cxn>
                  <a:cxn ang="0">
                    <a:pos x="2" y="73"/>
                  </a:cxn>
                  <a:cxn ang="0">
                    <a:pos x="3" y="76"/>
                  </a:cxn>
                  <a:cxn ang="0">
                    <a:pos x="5" y="78"/>
                  </a:cxn>
                  <a:cxn ang="0">
                    <a:pos x="5" y="80"/>
                  </a:cxn>
                  <a:cxn ang="0">
                    <a:pos x="8" y="83"/>
                  </a:cxn>
                  <a:cxn ang="0">
                    <a:pos x="12" y="85"/>
                  </a:cxn>
                  <a:cxn ang="0">
                    <a:pos x="15" y="81"/>
                  </a:cxn>
                  <a:cxn ang="0">
                    <a:pos x="18" y="80"/>
                  </a:cxn>
                  <a:cxn ang="0">
                    <a:pos x="20" y="80"/>
                  </a:cxn>
                  <a:cxn ang="0">
                    <a:pos x="21" y="81"/>
                  </a:cxn>
                  <a:cxn ang="0">
                    <a:pos x="23" y="83"/>
                  </a:cxn>
                  <a:cxn ang="0">
                    <a:pos x="23" y="88"/>
                  </a:cxn>
                  <a:cxn ang="0">
                    <a:pos x="26" y="90"/>
                  </a:cxn>
                  <a:cxn ang="0">
                    <a:pos x="30" y="86"/>
                  </a:cxn>
                  <a:cxn ang="0">
                    <a:pos x="31" y="83"/>
                  </a:cxn>
                  <a:cxn ang="0">
                    <a:pos x="33" y="81"/>
                  </a:cxn>
                  <a:cxn ang="0">
                    <a:pos x="38" y="81"/>
                  </a:cxn>
                  <a:cxn ang="0">
                    <a:pos x="41" y="75"/>
                  </a:cxn>
                  <a:cxn ang="0">
                    <a:pos x="45" y="70"/>
                  </a:cxn>
                  <a:cxn ang="0">
                    <a:pos x="50" y="61"/>
                  </a:cxn>
                  <a:cxn ang="0">
                    <a:pos x="50" y="56"/>
                  </a:cxn>
                  <a:cxn ang="0">
                    <a:pos x="56" y="50"/>
                  </a:cxn>
                  <a:cxn ang="0">
                    <a:pos x="61" y="43"/>
                  </a:cxn>
                  <a:cxn ang="0">
                    <a:pos x="63" y="40"/>
                  </a:cxn>
                  <a:cxn ang="0">
                    <a:pos x="63" y="40"/>
                  </a:cxn>
                  <a:cxn ang="0">
                    <a:pos x="68" y="35"/>
                  </a:cxn>
                  <a:cxn ang="0">
                    <a:pos x="68" y="30"/>
                  </a:cxn>
                  <a:cxn ang="0">
                    <a:pos x="63" y="25"/>
                  </a:cxn>
                  <a:cxn ang="0">
                    <a:pos x="61" y="27"/>
                  </a:cxn>
                  <a:cxn ang="0">
                    <a:pos x="58" y="25"/>
                  </a:cxn>
                  <a:cxn ang="0">
                    <a:pos x="58" y="22"/>
                  </a:cxn>
                  <a:cxn ang="0">
                    <a:pos x="50" y="13"/>
                  </a:cxn>
                  <a:cxn ang="0">
                    <a:pos x="46" y="12"/>
                  </a:cxn>
                  <a:cxn ang="0">
                    <a:pos x="41" y="8"/>
                  </a:cxn>
                  <a:cxn ang="0">
                    <a:pos x="28" y="5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7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2" y="28"/>
                  </a:cxn>
                  <a:cxn ang="0">
                    <a:pos x="2" y="32"/>
                  </a:cxn>
                  <a:cxn ang="0">
                    <a:pos x="7" y="33"/>
                  </a:cxn>
                  <a:cxn ang="0">
                    <a:pos x="8" y="37"/>
                  </a:cxn>
                  <a:cxn ang="0">
                    <a:pos x="10" y="41"/>
                  </a:cxn>
                  <a:cxn ang="0">
                    <a:pos x="12" y="45"/>
                  </a:cxn>
                  <a:cxn ang="0">
                    <a:pos x="12" y="48"/>
                  </a:cxn>
                  <a:cxn ang="0">
                    <a:pos x="12" y="51"/>
                  </a:cxn>
                  <a:cxn ang="0">
                    <a:pos x="8" y="55"/>
                  </a:cxn>
                  <a:cxn ang="0">
                    <a:pos x="8" y="60"/>
                  </a:cxn>
                  <a:cxn ang="0">
                    <a:pos x="10" y="63"/>
                  </a:cxn>
                  <a:cxn ang="0">
                    <a:pos x="8" y="68"/>
                  </a:cxn>
                  <a:cxn ang="0">
                    <a:pos x="2" y="71"/>
                  </a:cxn>
                  <a:cxn ang="0">
                    <a:pos x="0" y="71"/>
                  </a:cxn>
                </a:cxnLst>
                <a:rect l="0" t="0" r="r" b="b"/>
                <a:pathLst>
                  <a:path w="68" h="90">
                    <a:moveTo>
                      <a:pt x="0" y="71"/>
                    </a:moveTo>
                    <a:lnTo>
                      <a:pt x="2" y="73"/>
                    </a:lnTo>
                    <a:lnTo>
                      <a:pt x="3" y="76"/>
                    </a:lnTo>
                    <a:lnTo>
                      <a:pt x="5" y="78"/>
                    </a:lnTo>
                    <a:lnTo>
                      <a:pt x="5" y="80"/>
                    </a:lnTo>
                    <a:lnTo>
                      <a:pt x="8" y="83"/>
                    </a:lnTo>
                    <a:lnTo>
                      <a:pt x="12" y="85"/>
                    </a:lnTo>
                    <a:lnTo>
                      <a:pt x="15" y="81"/>
                    </a:lnTo>
                    <a:lnTo>
                      <a:pt x="18" y="80"/>
                    </a:lnTo>
                    <a:lnTo>
                      <a:pt x="20" y="80"/>
                    </a:lnTo>
                    <a:lnTo>
                      <a:pt x="21" y="81"/>
                    </a:lnTo>
                    <a:lnTo>
                      <a:pt x="23" y="83"/>
                    </a:lnTo>
                    <a:lnTo>
                      <a:pt x="23" y="88"/>
                    </a:lnTo>
                    <a:lnTo>
                      <a:pt x="26" y="90"/>
                    </a:lnTo>
                    <a:lnTo>
                      <a:pt x="30" y="86"/>
                    </a:lnTo>
                    <a:lnTo>
                      <a:pt x="31" y="83"/>
                    </a:lnTo>
                    <a:lnTo>
                      <a:pt x="33" y="81"/>
                    </a:lnTo>
                    <a:lnTo>
                      <a:pt x="38" y="81"/>
                    </a:lnTo>
                    <a:lnTo>
                      <a:pt x="41" y="75"/>
                    </a:lnTo>
                    <a:lnTo>
                      <a:pt x="45" y="70"/>
                    </a:lnTo>
                    <a:lnTo>
                      <a:pt x="50" y="61"/>
                    </a:lnTo>
                    <a:lnTo>
                      <a:pt x="50" y="56"/>
                    </a:lnTo>
                    <a:lnTo>
                      <a:pt x="56" y="50"/>
                    </a:lnTo>
                    <a:lnTo>
                      <a:pt x="61" y="43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8" y="35"/>
                    </a:lnTo>
                    <a:lnTo>
                      <a:pt x="68" y="30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58" y="25"/>
                    </a:lnTo>
                    <a:lnTo>
                      <a:pt x="58" y="22"/>
                    </a:lnTo>
                    <a:lnTo>
                      <a:pt x="50" y="13"/>
                    </a:lnTo>
                    <a:lnTo>
                      <a:pt x="46" y="12"/>
                    </a:lnTo>
                    <a:lnTo>
                      <a:pt x="41" y="8"/>
                    </a:lnTo>
                    <a:lnTo>
                      <a:pt x="28" y="5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2" y="28"/>
                    </a:lnTo>
                    <a:lnTo>
                      <a:pt x="2" y="32"/>
                    </a:lnTo>
                    <a:lnTo>
                      <a:pt x="7" y="33"/>
                    </a:lnTo>
                    <a:lnTo>
                      <a:pt x="8" y="37"/>
                    </a:lnTo>
                    <a:lnTo>
                      <a:pt x="10" y="41"/>
                    </a:lnTo>
                    <a:lnTo>
                      <a:pt x="12" y="45"/>
                    </a:lnTo>
                    <a:lnTo>
                      <a:pt x="12" y="48"/>
                    </a:lnTo>
                    <a:lnTo>
                      <a:pt x="12" y="51"/>
                    </a:lnTo>
                    <a:lnTo>
                      <a:pt x="8" y="55"/>
                    </a:lnTo>
                    <a:lnTo>
                      <a:pt x="8" y="60"/>
                    </a:lnTo>
                    <a:lnTo>
                      <a:pt x="10" y="63"/>
                    </a:lnTo>
                    <a:lnTo>
                      <a:pt x="8" y="68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0" name="Freeform 165"/>
              <p:cNvSpPr>
                <a:spLocks/>
              </p:cNvSpPr>
              <p:nvPr/>
            </p:nvSpPr>
            <p:spPr bwMode="auto">
              <a:xfrm>
                <a:off x="5675472" y="3200196"/>
                <a:ext cx="51372" cy="49804"/>
              </a:xfrm>
              <a:custGeom>
                <a:avLst/>
                <a:gdLst/>
                <a:ahLst/>
                <a:cxnLst>
                  <a:cxn ang="0">
                    <a:pos x="38" y="95"/>
                  </a:cxn>
                  <a:cxn ang="0">
                    <a:pos x="42" y="96"/>
                  </a:cxn>
                  <a:cxn ang="0">
                    <a:pos x="53" y="96"/>
                  </a:cxn>
                  <a:cxn ang="0">
                    <a:pos x="52" y="90"/>
                  </a:cxn>
                  <a:cxn ang="0">
                    <a:pos x="45" y="85"/>
                  </a:cxn>
                  <a:cxn ang="0">
                    <a:pos x="52" y="76"/>
                  </a:cxn>
                  <a:cxn ang="0">
                    <a:pos x="67" y="78"/>
                  </a:cxn>
                  <a:cxn ang="0">
                    <a:pos x="78" y="76"/>
                  </a:cxn>
                  <a:cxn ang="0">
                    <a:pos x="87" y="81"/>
                  </a:cxn>
                  <a:cxn ang="0">
                    <a:pos x="95" y="73"/>
                  </a:cxn>
                  <a:cxn ang="0">
                    <a:pos x="93" y="65"/>
                  </a:cxn>
                  <a:cxn ang="0">
                    <a:pos x="97" y="58"/>
                  </a:cxn>
                  <a:cxn ang="0">
                    <a:pos x="95" y="51"/>
                  </a:cxn>
                  <a:cxn ang="0">
                    <a:pos x="92" y="43"/>
                  </a:cxn>
                  <a:cxn ang="0">
                    <a:pos x="87" y="38"/>
                  </a:cxn>
                  <a:cxn ang="0">
                    <a:pos x="85" y="28"/>
                  </a:cxn>
                  <a:cxn ang="0">
                    <a:pos x="88" y="17"/>
                  </a:cxn>
                  <a:cxn ang="0">
                    <a:pos x="90" y="15"/>
                  </a:cxn>
                  <a:cxn ang="0">
                    <a:pos x="95" y="7"/>
                  </a:cxn>
                  <a:cxn ang="0">
                    <a:pos x="82" y="3"/>
                  </a:cxn>
                  <a:cxn ang="0">
                    <a:pos x="68" y="2"/>
                  </a:cxn>
                  <a:cxn ang="0">
                    <a:pos x="57" y="2"/>
                  </a:cxn>
                  <a:cxn ang="0">
                    <a:pos x="40" y="2"/>
                  </a:cxn>
                  <a:cxn ang="0">
                    <a:pos x="23" y="3"/>
                  </a:cxn>
                  <a:cxn ang="0">
                    <a:pos x="22" y="10"/>
                  </a:cxn>
                  <a:cxn ang="0">
                    <a:pos x="20" y="17"/>
                  </a:cxn>
                  <a:cxn ang="0">
                    <a:pos x="13" y="23"/>
                  </a:cxn>
                  <a:cxn ang="0">
                    <a:pos x="3" y="28"/>
                  </a:cxn>
                  <a:cxn ang="0">
                    <a:pos x="0" y="42"/>
                  </a:cxn>
                  <a:cxn ang="0">
                    <a:pos x="5" y="47"/>
                  </a:cxn>
                  <a:cxn ang="0">
                    <a:pos x="8" y="51"/>
                  </a:cxn>
                  <a:cxn ang="0">
                    <a:pos x="12" y="58"/>
                  </a:cxn>
                  <a:cxn ang="0">
                    <a:pos x="17" y="60"/>
                  </a:cxn>
                  <a:cxn ang="0">
                    <a:pos x="20" y="65"/>
                  </a:cxn>
                  <a:cxn ang="0">
                    <a:pos x="22" y="76"/>
                  </a:cxn>
                  <a:cxn ang="0">
                    <a:pos x="28" y="81"/>
                  </a:cxn>
                  <a:cxn ang="0">
                    <a:pos x="33" y="88"/>
                  </a:cxn>
                  <a:cxn ang="0">
                    <a:pos x="35" y="91"/>
                  </a:cxn>
                </a:cxnLst>
                <a:rect l="0" t="0" r="r" b="b"/>
                <a:pathLst>
                  <a:path w="97" h="96">
                    <a:moveTo>
                      <a:pt x="38" y="95"/>
                    </a:moveTo>
                    <a:lnTo>
                      <a:pt x="38" y="95"/>
                    </a:lnTo>
                    <a:lnTo>
                      <a:pt x="40" y="95"/>
                    </a:lnTo>
                    <a:lnTo>
                      <a:pt x="42" y="96"/>
                    </a:lnTo>
                    <a:lnTo>
                      <a:pt x="48" y="96"/>
                    </a:lnTo>
                    <a:lnTo>
                      <a:pt x="53" y="96"/>
                    </a:lnTo>
                    <a:lnTo>
                      <a:pt x="53" y="95"/>
                    </a:lnTo>
                    <a:lnTo>
                      <a:pt x="52" y="90"/>
                    </a:lnTo>
                    <a:lnTo>
                      <a:pt x="50" y="88"/>
                    </a:lnTo>
                    <a:lnTo>
                      <a:pt x="45" y="85"/>
                    </a:lnTo>
                    <a:lnTo>
                      <a:pt x="47" y="80"/>
                    </a:lnTo>
                    <a:lnTo>
                      <a:pt x="52" y="76"/>
                    </a:lnTo>
                    <a:lnTo>
                      <a:pt x="57" y="78"/>
                    </a:lnTo>
                    <a:lnTo>
                      <a:pt x="67" y="78"/>
                    </a:lnTo>
                    <a:lnTo>
                      <a:pt x="72" y="76"/>
                    </a:lnTo>
                    <a:lnTo>
                      <a:pt x="78" y="76"/>
                    </a:lnTo>
                    <a:lnTo>
                      <a:pt x="82" y="80"/>
                    </a:lnTo>
                    <a:lnTo>
                      <a:pt x="87" y="81"/>
                    </a:lnTo>
                    <a:lnTo>
                      <a:pt x="93" y="78"/>
                    </a:lnTo>
                    <a:lnTo>
                      <a:pt x="95" y="73"/>
                    </a:lnTo>
                    <a:lnTo>
                      <a:pt x="93" y="70"/>
                    </a:lnTo>
                    <a:lnTo>
                      <a:pt x="93" y="65"/>
                    </a:lnTo>
                    <a:lnTo>
                      <a:pt x="97" y="61"/>
                    </a:lnTo>
                    <a:lnTo>
                      <a:pt x="97" y="58"/>
                    </a:lnTo>
                    <a:lnTo>
                      <a:pt x="97" y="55"/>
                    </a:lnTo>
                    <a:lnTo>
                      <a:pt x="95" y="51"/>
                    </a:lnTo>
                    <a:lnTo>
                      <a:pt x="93" y="47"/>
                    </a:lnTo>
                    <a:lnTo>
                      <a:pt x="92" y="43"/>
                    </a:lnTo>
                    <a:lnTo>
                      <a:pt x="87" y="42"/>
                    </a:lnTo>
                    <a:lnTo>
                      <a:pt x="87" y="38"/>
                    </a:lnTo>
                    <a:lnTo>
                      <a:pt x="87" y="33"/>
                    </a:lnTo>
                    <a:lnTo>
                      <a:pt x="85" y="28"/>
                    </a:lnTo>
                    <a:lnTo>
                      <a:pt x="85" y="22"/>
                    </a:lnTo>
                    <a:lnTo>
                      <a:pt x="88" y="17"/>
                    </a:lnTo>
                    <a:lnTo>
                      <a:pt x="90" y="15"/>
                    </a:lnTo>
                    <a:lnTo>
                      <a:pt x="90" y="15"/>
                    </a:lnTo>
                    <a:lnTo>
                      <a:pt x="95" y="10"/>
                    </a:lnTo>
                    <a:lnTo>
                      <a:pt x="95" y="7"/>
                    </a:lnTo>
                    <a:lnTo>
                      <a:pt x="90" y="5"/>
                    </a:lnTo>
                    <a:lnTo>
                      <a:pt x="82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5" y="3"/>
                    </a:lnTo>
                    <a:lnTo>
                      <a:pt x="57" y="2"/>
                    </a:lnTo>
                    <a:lnTo>
                      <a:pt x="47" y="3"/>
                    </a:lnTo>
                    <a:lnTo>
                      <a:pt x="40" y="2"/>
                    </a:lnTo>
                    <a:lnTo>
                      <a:pt x="28" y="2"/>
                    </a:lnTo>
                    <a:lnTo>
                      <a:pt x="23" y="3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8"/>
                    </a:lnTo>
                    <a:lnTo>
                      <a:pt x="3" y="33"/>
                    </a:lnTo>
                    <a:lnTo>
                      <a:pt x="0" y="42"/>
                    </a:lnTo>
                    <a:lnTo>
                      <a:pt x="0" y="45"/>
                    </a:lnTo>
                    <a:lnTo>
                      <a:pt x="5" y="47"/>
                    </a:lnTo>
                    <a:lnTo>
                      <a:pt x="7" y="50"/>
                    </a:lnTo>
                    <a:lnTo>
                      <a:pt x="8" y="51"/>
                    </a:lnTo>
                    <a:lnTo>
                      <a:pt x="10" y="55"/>
                    </a:lnTo>
                    <a:lnTo>
                      <a:pt x="12" y="58"/>
                    </a:lnTo>
                    <a:lnTo>
                      <a:pt x="13" y="60"/>
                    </a:lnTo>
                    <a:lnTo>
                      <a:pt x="17" y="60"/>
                    </a:lnTo>
                    <a:lnTo>
                      <a:pt x="18" y="61"/>
                    </a:lnTo>
                    <a:lnTo>
                      <a:pt x="20" y="65"/>
                    </a:lnTo>
                    <a:lnTo>
                      <a:pt x="22" y="71"/>
                    </a:lnTo>
                    <a:lnTo>
                      <a:pt x="22" y="76"/>
                    </a:lnTo>
                    <a:lnTo>
                      <a:pt x="23" y="78"/>
                    </a:lnTo>
                    <a:lnTo>
                      <a:pt x="28" y="81"/>
                    </a:lnTo>
                    <a:lnTo>
                      <a:pt x="28" y="86"/>
                    </a:lnTo>
                    <a:lnTo>
                      <a:pt x="33" y="88"/>
                    </a:lnTo>
                    <a:lnTo>
                      <a:pt x="33" y="90"/>
                    </a:lnTo>
                    <a:lnTo>
                      <a:pt x="35" y="91"/>
                    </a:lnTo>
                    <a:lnTo>
                      <a:pt x="38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1" name="Freeform 166"/>
              <p:cNvSpPr>
                <a:spLocks/>
              </p:cNvSpPr>
              <p:nvPr/>
            </p:nvSpPr>
            <p:spPr bwMode="auto">
              <a:xfrm>
                <a:off x="5631592" y="3172181"/>
                <a:ext cx="64215" cy="86120"/>
              </a:xfrm>
              <a:custGeom>
                <a:avLst/>
                <a:gdLst/>
                <a:ahLst/>
                <a:cxnLst>
                  <a:cxn ang="0">
                    <a:pos x="20" y="73"/>
                  </a:cxn>
                  <a:cxn ang="0">
                    <a:pos x="23" y="73"/>
                  </a:cxn>
                  <a:cxn ang="0">
                    <a:pos x="33" y="78"/>
                  </a:cxn>
                  <a:cxn ang="0">
                    <a:pos x="30" y="88"/>
                  </a:cxn>
                  <a:cxn ang="0">
                    <a:pos x="32" y="93"/>
                  </a:cxn>
                  <a:cxn ang="0">
                    <a:pos x="38" y="96"/>
                  </a:cxn>
                  <a:cxn ang="0">
                    <a:pos x="47" y="98"/>
                  </a:cxn>
                  <a:cxn ang="0">
                    <a:pos x="42" y="106"/>
                  </a:cxn>
                  <a:cxn ang="0">
                    <a:pos x="35" y="119"/>
                  </a:cxn>
                  <a:cxn ang="0">
                    <a:pos x="33" y="128"/>
                  </a:cxn>
                  <a:cxn ang="0">
                    <a:pos x="35" y="133"/>
                  </a:cxn>
                  <a:cxn ang="0">
                    <a:pos x="33" y="141"/>
                  </a:cxn>
                  <a:cxn ang="0">
                    <a:pos x="43" y="149"/>
                  </a:cxn>
                  <a:cxn ang="0">
                    <a:pos x="47" y="156"/>
                  </a:cxn>
                  <a:cxn ang="0">
                    <a:pos x="62" y="166"/>
                  </a:cxn>
                  <a:cxn ang="0">
                    <a:pos x="67" y="161"/>
                  </a:cxn>
                  <a:cxn ang="0">
                    <a:pos x="73" y="163"/>
                  </a:cxn>
                  <a:cxn ang="0">
                    <a:pos x="77" y="156"/>
                  </a:cxn>
                  <a:cxn ang="0">
                    <a:pos x="93" y="156"/>
                  </a:cxn>
                  <a:cxn ang="0">
                    <a:pos x="100" y="146"/>
                  </a:cxn>
                  <a:cxn ang="0">
                    <a:pos x="110" y="148"/>
                  </a:cxn>
                  <a:cxn ang="0">
                    <a:pos x="121" y="148"/>
                  </a:cxn>
                  <a:cxn ang="0">
                    <a:pos x="116" y="143"/>
                  </a:cxn>
                  <a:cxn ang="0">
                    <a:pos x="111" y="139"/>
                  </a:cxn>
                  <a:cxn ang="0">
                    <a:pos x="106" y="131"/>
                  </a:cxn>
                  <a:cxn ang="0">
                    <a:pos x="105" y="124"/>
                  </a:cxn>
                  <a:cxn ang="0">
                    <a:pos x="101" y="114"/>
                  </a:cxn>
                  <a:cxn ang="0">
                    <a:pos x="96" y="113"/>
                  </a:cxn>
                  <a:cxn ang="0">
                    <a:pos x="93" y="108"/>
                  </a:cxn>
                  <a:cxn ang="0">
                    <a:pos x="90" y="103"/>
                  </a:cxn>
                  <a:cxn ang="0">
                    <a:pos x="83" y="98"/>
                  </a:cxn>
                  <a:cxn ang="0">
                    <a:pos x="86" y="86"/>
                  </a:cxn>
                  <a:cxn ang="0">
                    <a:pos x="90" y="76"/>
                  </a:cxn>
                  <a:cxn ang="0">
                    <a:pos x="100" y="73"/>
                  </a:cxn>
                  <a:cxn ang="0">
                    <a:pos x="103" y="66"/>
                  </a:cxn>
                  <a:cxn ang="0">
                    <a:pos x="105" y="61"/>
                  </a:cxn>
                  <a:cxn ang="0">
                    <a:pos x="103" y="58"/>
                  </a:cxn>
                  <a:cxn ang="0">
                    <a:pos x="101" y="48"/>
                  </a:cxn>
                  <a:cxn ang="0">
                    <a:pos x="85" y="40"/>
                  </a:cxn>
                  <a:cxn ang="0">
                    <a:pos x="78" y="38"/>
                  </a:cxn>
                  <a:cxn ang="0">
                    <a:pos x="70" y="43"/>
                  </a:cxn>
                  <a:cxn ang="0">
                    <a:pos x="67" y="41"/>
                  </a:cxn>
                  <a:cxn ang="0">
                    <a:pos x="70" y="30"/>
                  </a:cxn>
                  <a:cxn ang="0">
                    <a:pos x="63" y="21"/>
                  </a:cxn>
                  <a:cxn ang="0">
                    <a:pos x="48" y="8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28" y="10"/>
                  </a:cxn>
                  <a:cxn ang="0">
                    <a:pos x="20" y="13"/>
                  </a:cxn>
                  <a:cxn ang="0">
                    <a:pos x="15" y="23"/>
                  </a:cxn>
                  <a:cxn ang="0">
                    <a:pos x="23" y="28"/>
                  </a:cxn>
                  <a:cxn ang="0">
                    <a:pos x="28" y="36"/>
                  </a:cxn>
                  <a:cxn ang="0">
                    <a:pos x="15" y="38"/>
                  </a:cxn>
                  <a:cxn ang="0">
                    <a:pos x="8" y="38"/>
                  </a:cxn>
                  <a:cxn ang="0">
                    <a:pos x="3" y="48"/>
                  </a:cxn>
                  <a:cxn ang="0">
                    <a:pos x="2" y="58"/>
                  </a:cxn>
                  <a:cxn ang="0">
                    <a:pos x="17" y="71"/>
                  </a:cxn>
                </a:cxnLst>
                <a:rect l="0" t="0" r="r" b="b"/>
                <a:pathLst>
                  <a:path w="121" h="166">
                    <a:moveTo>
                      <a:pt x="17" y="73"/>
                    </a:moveTo>
                    <a:lnTo>
                      <a:pt x="20" y="73"/>
                    </a:lnTo>
                    <a:lnTo>
                      <a:pt x="22" y="75"/>
                    </a:lnTo>
                    <a:lnTo>
                      <a:pt x="23" y="73"/>
                    </a:lnTo>
                    <a:lnTo>
                      <a:pt x="30" y="73"/>
                    </a:lnTo>
                    <a:lnTo>
                      <a:pt x="33" y="78"/>
                    </a:lnTo>
                    <a:lnTo>
                      <a:pt x="33" y="85"/>
                    </a:lnTo>
                    <a:lnTo>
                      <a:pt x="30" y="88"/>
                    </a:lnTo>
                    <a:lnTo>
                      <a:pt x="28" y="91"/>
                    </a:lnTo>
                    <a:lnTo>
                      <a:pt x="32" y="93"/>
                    </a:lnTo>
                    <a:lnTo>
                      <a:pt x="38" y="93"/>
                    </a:lnTo>
                    <a:lnTo>
                      <a:pt x="38" y="96"/>
                    </a:lnTo>
                    <a:lnTo>
                      <a:pt x="42" y="100"/>
                    </a:lnTo>
                    <a:lnTo>
                      <a:pt x="47" y="98"/>
                    </a:lnTo>
                    <a:lnTo>
                      <a:pt x="47" y="101"/>
                    </a:lnTo>
                    <a:lnTo>
                      <a:pt x="42" y="106"/>
                    </a:lnTo>
                    <a:lnTo>
                      <a:pt x="40" y="111"/>
                    </a:lnTo>
                    <a:lnTo>
                      <a:pt x="35" y="119"/>
                    </a:lnTo>
                    <a:lnTo>
                      <a:pt x="35" y="124"/>
                    </a:lnTo>
                    <a:lnTo>
                      <a:pt x="33" y="128"/>
                    </a:lnTo>
                    <a:lnTo>
                      <a:pt x="33" y="131"/>
                    </a:lnTo>
                    <a:lnTo>
                      <a:pt x="35" y="133"/>
                    </a:lnTo>
                    <a:lnTo>
                      <a:pt x="33" y="136"/>
                    </a:lnTo>
                    <a:lnTo>
                      <a:pt x="33" y="141"/>
                    </a:lnTo>
                    <a:lnTo>
                      <a:pt x="38" y="144"/>
                    </a:lnTo>
                    <a:lnTo>
                      <a:pt x="43" y="149"/>
                    </a:lnTo>
                    <a:lnTo>
                      <a:pt x="43" y="153"/>
                    </a:lnTo>
                    <a:lnTo>
                      <a:pt x="47" y="156"/>
                    </a:lnTo>
                    <a:lnTo>
                      <a:pt x="57" y="164"/>
                    </a:lnTo>
                    <a:lnTo>
                      <a:pt x="62" y="166"/>
                    </a:lnTo>
                    <a:lnTo>
                      <a:pt x="63" y="163"/>
                    </a:lnTo>
                    <a:lnTo>
                      <a:pt x="67" y="161"/>
                    </a:lnTo>
                    <a:lnTo>
                      <a:pt x="68" y="163"/>
                    </a:lnTo>
                    <a:lnTo>
                      <a:pt x="73" y="163"/>
                    </a:lnTo>
                    <a:lnTo>
                      <a:pt x="77" y="159"/>
                    </a:lnTo>
                    <a:lnTo>
                      <a:pt x="77" y="156"/>
                    </a:lnTo>
                    <a:lnTo>
                      <a:pt x="83" y="154"/>
                    </a:lnTo>
                    <a:lnTo>
                      <a:pt x="93" y="156"/>
                    </a:lnTo>
                    <a:lnTo>
                      <a:pt x="95" y="148"/>
                    </a:lnTo>
                    <a:lnTo>
                      <a:pt x="100" y="146"/>
                    </a:lnTo>
                    <a:lnTo>
                      <a:pt x="108" y="146"/>
                    </a:lnTo>
                    <a:lnTo>
                      <a:pt x="110" y="148"/>
                    </a:lnTo>
                    <a:lnTo>
                      <a:pt x="113" y="148"/>
                    </a:lnTo>
                    <a:lnTo>
                      <a:pt x="121" y="148"/>
                    </a:lnTo>
                    <a:lnTo>
                      <a:pt x="118" y="144"/>
                    </a:lnTo>
                    <a:lnTo>
                      <a:pt x="116" y="143"/>
                    </a:lnTo>
                    <a:lnTo>
                      <a:pt x="116" y="141"/>
                    </a:lnTo>
                    <a:lnTo>
                      <a:pt x="111" y="139"/>
                    </a:lnTo>
                    <a:lnTo>
                      <a:pt x="111" y="134"/>
                    </a:lnTo>
                    <a:lnTo>
                      <a:pt x="106" y="131"/>
                    </a:lnTo>
                    <a:lnTo>
                      <a:pt x="105" y="129"/>
                    </a:lnTo>
                    <a:lnTo>
                      <a:pt x="105" y="124"/>
                    </a:lnTo>
                    <a:lnTo>
                      <a:pt x="103" y="118"/>
                    </a:lnTo>
                    <a:lnTo>
                      <a:pt x="101" y="114"/>
                    </a:lnTo>
                    <a:lnTo>
                      <a:pt x="100" y="113"/>
                    </a:lnTo>
                    <a:lnTo>
                      <a:pt x="96" y="113"/>
                    </a:lnTo>
                    <a:lnTo>
                      <a:pt x="95" y="111"/>
                    </a:lnTo>
                    <a:lnTo>
                      <a:pt x="93" y="108"/>
                    </a:lnTo>
                    <a:lnTo>
                      <a:pt x="91" y="104"/>
                    </a:lnTo>
                    <a:lnTo>
                      <a:pt x="90" y="103"/>
                    </a:lnTo>
                    <a:lnTo>
                      <a:pt x="88" y="100"/>
                    </a:lnTo>
                    <a:lnTo>
                      <a:pt x="83" y="98"/>
                    </a:lnTo>
                    <a:lnTo>
                      <a:pt x="83" y="95"/>
                    </a:lnTo>
                    <a:lnTo>
                      <a:pt x="86" y="86"/>
                    </a:lnTo>
                    <a:lnTo>
                      <a:pt x="86" y="81"/>
                    </a:lnTo>
                    <a:lnTo>
                      <a:pt x="90" y="76"/>
                    </a:lnTo>
                    <a:lnTo>
                      <a:pt x="96" y="76"/>
                    </a:lnTo>
                    <a:lnTo>
                      <a:pt x="100" y="73"/>
                    </a:lnTo>
                    <a:lnTo>
                      <a:pt x="103" y="70"/>
                    </a:lnTo>
                    <a:lnTo>
                      <a:pt x="103" y="66"/>
                    </a:lnTo>
                    <a:lnTo>
                      <a:pt x="105" y="63"/>
                    </a:lnTo>
                    <a:lnTo>
                      <a:pt x="105" y="61"/>
                    </a:lnTo>
                    <a:lnTo>
                      <a:pt x="105" y="61"/>
                    </a:lnTo>
                    <a:lnTo>
                      <a:pt x="103" y="58"/>
                    </a:lnTo>
                    <a:lnTo>
                      <a:pt x="103" y="51"/>
                    </a:lnTo>
                    <a:lnTo>
                      <a:pt x="101" y="48"/>
                    </a:lnTo>
                    <a:lnTo>
                      <a:pt x="93" y="46"/>
                    </a:lnTo>
                    <a:lnTo>
                      <a:pt x="85" y="40"/>
                    </a:lnTo>
                    <a:lnTo>
                      <a:pt x="80" y="36"/>
                    </a:lnTo>
                    <a:lnTo>
                      <a:pt x="78" y="38"/>
                    </a:lnTo>
                    <a:lnTo>
                      <a:pt x="73" y="40"/>
                    </a:lnTo>
                    <a:lnTo>
                      <a:pt x="70" y="43"/>
                    </a:lnTo>
                    <a:lnTo>
                      <a:pt x="68" y="46"/>
                    </a:lnTo>
                    <a:lnTo>
                      <a:pt x="67" y="41"/>
                    </a:lnTo>
                    <a:lnTo>
                      <a:pt x="68" y="35"/>
                    </a:lnTo>
                    <a:lnTo>
                      <a:pt x="70" y="30"/>
                    </a:lnTo>
                    <a:lnTo>
                      <a:pt x="68" y="23"/>
                    </a:lnTo>
                    <a:lnTo>
                      <a:pt x="63" y="21"/>
                    </a:lnTo>
                    <a:lnTo>
                      <a:pt x="55" y="15"/>
                    </a:lnTo>
                    <a:lnTo>
                      <a:pt x="48" y="8"/>
                    </a:lnTo>
                    <a:lnTo>
                      <a:pt x="47" y="5"/>
                    </a:lnTo>
                    <a:lnTo>
                      <a:pt x="43" y="2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7" y="2"/>
                    </a:lnTo>
                    <a:lnTo>
                      <a:pt x="28" y="10"/>
                    </a:lnTo>
                    <a:lnTo>
                      <a:pt x="23" y="13"/>
                    </a:lnTo>
                    <a:lnTo>
                      <a:pt x="20" y="13"/>
                    </a:lnTo>
                    <a:lnTo>
                      <a:pt x="13" y="20"/>
                    </a:lnTo>
                    <a:lnTo>
                      <a:pt x="15" y="23"/>
                    </a:lnTo>
                    <a:lnTo>
                      <a:pt x="17" y="28"/>
                    </a:lnTo>
                    <a:lnTo>
                      <a:pt x="23" y="28"/>
                    </a:lnTo>
                    <a:lnTo>
                      <a:pt x="28" y="31"/>
                    </a:lnTo>
                    <a:lnTo>
                      <a:pt x="28" y="36"/>
                    </a:lnTo>
                    <a:lnTo>
                      <a:pt x="20" y="40"/>
                    </a:lnTo>
                    <a:lnTo>
                      <a:pt x="15" y="38"/>
                    </a:lnTo>
                    <a:lnTo>
                      <a:pt x="12" y="40"/>
                    </a:lnTo>
                    <a:lnTo>
                      <a:pt x="8" y="38"/>
                    </a:lnTo>
                    <a:lnTo>
                      <a:pt x="5" y="41"/>
                    </a:lnTo>
                    <a:lnTo>
                      <a:pt x="3" y="48"/>
                    </a:lnTo>
                    <a:lnTo>
                      <a:pt x="0" y="51"/>
                    </a:lnTo>
                    <a:lnTo>
                      <a:pt x="2" y="58"/>
                    </a:lnTo>
                    <a:lnTo>
                      <a:pt x="8" y="65"/>
                    </a:lnTo>
                    <a:lnTo>
                      <a:pt x="17" y="71"/>
                    </a:lnTo>
                    <a:lnTo>
                      <a:pt x="17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2" name="Freeform 167"/>
              <p:cNvSpPr>
                <a:spLocks noEditPoints="1"/>
              </p:cNvSpPr>
              <p:nvPr/>
            </p:nvSpPr>
            <p:spPr bwMode="auto">
              <a:xfrm>
                <a:off x="5478547" y="3123414"/>
                <a:ext cx="172310" cy="141112"/>
              </a:xfrm>
              <a:custGeom>
                <a:avLst/>
                <a:gdLst/>
                <a:ahLst/>
                <a:cxnLst>
                  <a:cxn ang="0">
                    <a:pos x="183" y="269"/>
                  </a:cxn>
                  <a:cxn ang="0">
                    <a:pos x="215" y="242"/>
                  </a:cxn>
                  <a:cxn ang="0">
                    <a:pos x="228" y="229"/>
                  </a:cxn>
                  <a:cxn ang="0">
                    <a:pos x="215" y="204"/>
                  </a:cxn>
                  <a:cxn ang="0">
                    <a:pos x="206" y="191"/>
                  </a:cxn>
                  <a:cxn ang="0">
                    <a:pos x="243" y="196"/>
                  </a:cxn>
                  <a:cxn ang="0">
                    <a:pos x="281" y="184"/>
                  </a:cxn>
                  <a:cxn ang="0">
                    <a:pos x="294" y="158"/>
                  </a:cxn>
                  <a:cxn ang="0">
                    <a:pos x="294" y="131"/>
                  </a:cxn>
                  <a:cxn ang="0">
                    <a:pos x="314" y="124"/>
                  </a:cxn>
                  <a:cxn ang="0">
                    <a:pos x="306" y="106"/>
                  </a:cxn>
                  <a:cxn ang="0">
                    <a:pos x="321" y="93"/>
                  </a:cxn>
                  <a:cxn ang="0">
                    <a:pos x="298" y="88"/>
                  </a:cxn>
                  <a:cxn ang="0">
                    <a:pos x="283" y="90"/>
                  </a:cxn>
                  <a:cxn ang="0">
                    <a:pos x="298" y="78"/>
                  </a:cxn>
                  <a:cxn ang="0">
                    <a:pos x="278" y="66"/>
                  </a:cxn>
                  <a:cxn ang="0">
                    <a:pos x="261" y="58"/>
                  </a:cxn>
                  <a:cxn ang="0">
                    <a:pos x="250" y="51"/>
                  </a:cxn>
                  <a:cxn ang="0">
                    <a:pos x="273" y="45"/>
                  </a:cxn>
                  <a:cxn ang="0">
                    <a:pos x="243" y="41"/>
                  </a:cxn>
                  <a:cxn ang="0">
                    <a:pos x="211" y="50"/>
                  </a:cxn>
                  <a:cxn ang="0">
                    <a:pos x="190" y="56"/>
                  </a:cxn>
                  <a:cxn ang="0">
                    <a:pos x="140" y="50"/>
                  </a:cxn>
                  <a:cxn ang="0">
                    <a:pos x="125" y="40"/>
                  </a:cxn>
                  <a:cxn ang="0">
                    <a:pos x="98" y="26"/>
                  </a:cxn>
                  <a:cxn ang="0">
                    <a:pos x="85" y="8"/>
                  </a:cxn>
                  <a:cxn ang="0">
                    <a:pos x="73" y="25"/>
                  </a:cxn>
                  <a:cxn ang="0">
                    <a:pos x="82" y="30"/>
                  </a:cxn>
                  <a:cxn ang="0">
                    <a:pos x="67" y="31"/>
                  </a:cxn>
                  <a:cxn ang="0">
                    <a:pos x="45" y="50"/>
                  </a:cxn>
                  <a:cxn ang="0">
                    <a:pos x="37" y="81"/>
                  </a:cxn>
                  <a:cxn ang="0">
                    <a:pos x="30" y="61"/>
                  </a:cxn>
                  <a:cxn ang="0">
                    <a:pos x="39" y="36"/>
                  </a:cxn>
                  <a:cxn ang="0">
                    <a:pos x="39" y="23"/>
                  </a:cxn>
                  <a:cxn ang="0">
                    <a:pos x="34" y="21"/>
                  </a:cxn>
                  <a:cxn ang="0">
                    <a:pos x="12" y="43"/>
                  </a:cxn>
                  <a:cxn ang="0">
                    <a:pos x="0" y="75"/>
                  </a:cxn>
                  <a:cxn ang="0">
                    <a:pos x="20" y="99"/>
                  </a:cxn>
                  <a:cxn ang="0">
                    <a:pos x="19" y="116"/>
                  </a:cxn>
                  <a:cxn ang="0">
                    <a:pos x="44" y="124"/>
                  </a:cxn>
                  <a:cxn ang="0">
                    <a:pos x="73" y="124"/>
                  </a:cxn>
                  <a:cxn ang="0">
                    <a:pos x="105" y="143"/>
                  </a:cxn>
                  <a:cxn ang="0">
                    <a:pos x="130" y="144"/>
                  </a:cxn>
                  <a:cxn ang="0">
                    <a:pos x="138" y="156"/>
                  </a:cxn>
                  <a:cxn ang="0">
                    <a:pos x="130" y="174"/>
                  </a:cxn>
                  <a:cxn ang="0">
                    <a:pos x="132" y="196"/>
                  </a:cxn>
                  <a:cxn ang="0">
                    <a:pos x="135" y="222"/>
                  </a:cxn>
                  <a:cxn ang="0">
                    <a:pos x="140" y="236"/>
                  </a:cxn>
                  <a:cxn ang="0">
                    <a:pos x="148" y="257"/>
                  </a:cxn>
                  <a:cxn ang="0">
                    <a:pos x="122" y="11"/>
                  </a:cxn>
                  <a:cxn ang="0">
                    <a:pos x="105" y="10"/>
                  </a:cxn>
                  <a:cxn ang="0">
                    <a:pos x="100" y="5"/>
                  </a:cxn>
                  <a:cxn ang="0">
                    <a:pos x="80" y="0"/>
                  </a:cxn>
                  <a:cxn ang="0">
                    <a:pos x="221" y="36"/>
                  </a:cxn>
                  <a:cxn ang="0">
                    <a:pos x="216" y="40"/>
                  </a:cxn>
                </a:cxnLst>
                <a:rect l="0" t="0" r="r" b="b"/>
                <a:pathLst>
                  <a:path w="323" h="271">
                    <a:moveTo>
                      <a:pt x="148" y="257"/>
                    </a:moveTo>
                    <a:lnTo>
                      <a:pt x="158" y="262"/>
                    </a:lnTo>
                    <a:lnTo>
                      <a:pt x="167" y="269"/>
                    </a:lnTo>
                    <a:lnTo>
                      <a:pt x="173" y="271"/>
                    </a:lnTo>
                    <a:lnTo>
                      <a:pt x="183" y="269"/>
                    </a:lnTo>
                    <a:lnTo>
                      <a:pt x="188" y="264"/>
                    </a:lnTo>
                    <a:lnTo>
                      <a:pt x="196" y="259"/>
                    </a:lnTo>
                    <a:lnTo>
                      <a:pt x="200" y="254"/>
                    </a:lnTo>
                    <a:lnTo>
                      <a:pt x="213" y="247"/>
                    </a:lnTo>
                    <a:lnTo>
                      <a:pt x="215" y="242"/>
                    </a:lnTo>
                    <a:lnTo>
                      <a:pt x="220" y="239"/>
                    </a:lnTo>
                    <a:lnTo>
                      <a:pt x="231" y="236"/>
                    </a:lnTo>
                    <a:lnTo>
                      <a:pt x="236" y="234"/>
                    </a:lnTo>
                    <a:lnTo>
                      <a:pt x="236" y="229"/>
                    </a:lnTo>
                    <a:lnTo>
                      <a:pt x="228" y="229"/>
                    </a:lnTo>
                    <a:lnTo>
                      <a:pt x="220" y="229"/>
                    </a:lnTo>
                    <a:lnTo>
                      <a:pt x="210" y="226"/>
                    </a:lnTo>
                    <a:lnTo>
                      <a:pt x="211" y="219"/>
                    </a:lnTo>
                    <a:lnTo>
                      <a:pt x="208" y="214"/>
                    </a:lnTo>
                    <a:lnTo>
                      <a:pt x="215" y="204"/>
                    </a:lnTo>
                    <a:lnTo>
                      <a:pt x="213" y="201"/>
                    </a:lnTo>
                    <a:lnTo>
                      <a:pt x="208" y="196"/>
                    </a:lnTo>
                    <a:lnTo>
                      <a:pt x="203" y="194"/>
                    </a:lnTo>
                    <a:lnTo>
                      <a:pt x="200" y="189"/>
                    </a:lnTo>
                    <a:lnTo>
                      <a:pt x="206" y="191"/>
                    </a:lnTo>
                    <a:lnTo>
                      <a:pt x="215" y="193"/>
                    </a:lnTo>
                    <a:lnTo>
                      <a:pt x="221" y="196"/>
                    </a:lnTo>
                    <a:lnTo>
                      <a:pt x="230" y="196"/>
                    </a:lnTo>
                    <a:lnTo>
                      <a:pt x="241" y="194"/>
                    </a:lnTo>
                    <a:lnTo>
                      <a:pt x="243" y="196"/>
                    </a:lnTo>
                    <a:lnTo>
                      <a:pt x="251" y="193"/>
                    </a:lnTo>
                    <a:lnTo>
                      <a:pt x="260" y="188"/>
                    </a:lnTo>
                    <a:lnTo>
                      <a:pt x="266" y="186"/>
                    </a:lnTo>
                    <a:lnTo>
                      <a:pt x="269" y="188"/>
                    </a:lnTo>
                    <a:lnTo>
                      <a:pt x="281" y="184"/>
                    </a:lnTo>
                    <a:lnTo>
                      <a:pt x="289" y="183"/>
                    </a:lnTo>
                    <a:lnTo>
                      <a:pt x="301" y="176"/>
                    </a:lnTo>
                    <a:lnTo>
                      <a:pt x="303" y="169"/>
                    </a:lnTo>
                    <a:lnTo>
                      <a:pt x="303" y="164"/>
                    </a:lnTo>
                    <a:lnTo>
                      <a:pt x="294" y="158"/>
                    </a:lnTo>
                    <a:lnTo>
                      <a:pt x="288" y="151"/>
                    </a:lnTo>
                    <a:lnTo>
                      <a:pt x="286" y="144"/>
                    </a:lnTo>
                    <a:lnTo>
                      <a:pt x="289" y="141"/>
                    </a:lnTo>
                    <a:lnTo>
                      <a:pt x="291" y="134"/>
                    </a:lnTo>
                    <a:lnTo>
                      <a:pt x="294" y="131"/>
                    </a:lnTo>
                    <a:lnTo>
                      <a:pt x="298" y="133"/>
                    </a:lnTo>
                    <a:lnTo>
                      <a:pt x="301" y="131"/>
                    </a:lnTo>
                    <a:lnTo>
                      <a:pt x="306" y="133"/>
                    </a:lnTo>
                    <a:lnTo>
                      <a:pt x="314" y="129"/>
                    </a:lnTo>
                    <a:lnTo>
                      <a:pt x="314" y="124"/>
                    </a:lnTo>
                    <a:lnTo>
                      <a:pt x="309" y="121"/>
                    </a:lnTo>
                    <a:lnTo>
                      <a:pt x="303" y="121"/>
                    </a:lnTo>
                    <a:lnTo>
                      <a:pt x="301" y="116"/>
                    </a:lnTo>
                    <a:lnTo>
                      <a:pt x="299" y="113"/>
                    </a:lnTo>
                    <a:lnTo>
                      <a:pt x="306" y="106"/>
                    </a:lnTo>
                    <a:lnTo>
                      <a:pt x="309" y="106"/>
                    </a:lnTo>
                    <a:lnTo>
                      <a:pt x="314" y="103"/>
                    </a:lnTo>
                    <a:lnTo>
                      <a:pt x="323" y="95"/>
                    </a:lnTo>
                    <a:lnTo>
                      <a:pt x="323" y="93"/>
                    </a:lnTo>
                    <a:lnTo>
                      <a:pt x="321" y="93"/>
                    </a:lnTo>
                    <a:lnTo>
                      <a:pt x="313" y="88"/>
                    </a:lnTo>
                    <a:lnTo>
                      <a:pt x="309" y="88"/>
                    </a:lnTo>
                    <a:lnTo>
                      <a:pt x="306" y="90"/>
                    </a:lnTo>
                    <a:lnTo>
                      <a:pt x="301" y="88"/>
                    </a:lnTo>
                    <a:lnTo>
                      <a:pt x="298" y="88"/>
                    </a:lnTo>
                    <a:lnTo>
                      <a:pt x="294" y="90"/>
                    </a:lnTo>
                    <a:lnTo>
                      <a:pt x="286" y="91"/>
                    </a:lnTo>
                    <a:lnTo>
                      <a:pt x="281" y="91"/>
                    </a:lnTo>
                    <a:lnTo>
                      <a:pt x="278" y="90"/>
                    </a:lnTo>
                    <a:lnTo>
                      <a:pt x="283" y="90"/>
                    </a:lnTo>
                    <a:lnTo>
                      <a:pt x="286" y="90"/>
                    </a:lnTo>
                    <a:lnTo>
                      <a:pt x="289" y="88"/>
                    </a:lnTo>
                    <a:lnTo>
                      <a:pt x="291" y="85"/>
                    </a:lnTo>
                    <a:lnTo>
                      <a:pt x="296" y="81"/>
                    </a:lnTo>
                    <a:lnTo>
                      <a:pt x="298" y="78"/>
                    </a:lnTo>
                    <a:lnTo>
                      <a:pt x="294" y="76"/>
                    </a:lnTo>
                    <a:lnTo>
                      <a:pt x="294" y="75"/>
                    </a:lnTo>
                    <a:lnTo>
                      <a:pt x="293" y="71"/>
                    </a:lnTo>
                    <a:lnTo>
                      <a:pt x="286" y="68"/>
                    </a:lnTo>
                    <a:lnTo>
                      <a:pt x="278" y="66"/>
                    </a:lnTo>
                    <a:lnTo>
                      <a:pt x="276" y="65"/>
                    </a:lnTo>
                    <a:lnTo>
                      <a:pt x="273" y="63"/>
                    </a:lnTo>
                    <a:lnTo>
                      <a:pt x="268" y="63"/>
                    </a:lnTo>
                    <a:lnTo>
                      <a:pt x="266" y="60"/>
                    </a:lnTo>
                    <a:lnTo>
                      <a:pt x="261" y="58"/>
                    </a:lnTo>
                    <a:lnTo>
                      <a:pt x="260" y="58"/>
                    </a:lnTo>
                    <a:lnTo>
                      <a:pt x="260" y="63"/>
                    </a:lnTo>
                    <a:lnTo>
                      <a:pt x="256" y="58"/>
                    </a:lnTo>
                    <a:lnTo>
                      <a:pt x="255" y="55"/>
                    </a:lnTo>
                    <a:lnTo>
                      <a:pt x="250" y="51"/>
                    </a:lnTo>
                    <a:lnTo>
                      <a:pt x="248" y="50"/>
                    </a:lnTo>
                    <a:lnTo>
                      <a:pt x="251" y="48"/>
                    </a:lnTo>
                    <a:lnTo>
                      <a:pt x="261" y="48"/>
                    </a:lnTo>
                    <a:lnTo>
                      <a:pt x="266" y="46"/>
                    </a:lnTo>
                    <a:lnTo>
                      <a:pt x="273" y="45"/>
                    </a:lnTo>
                    <a:lnTo>
                      <a:pt x="273" y="41"/>
                    </a:lnTo>
                    <a:lnTo>
                      <a:pt x="266" y="43"/>
                    </a:lnTo>
                    <a:lnTo>
                      <a:pt x="256" y="41"/>
                    </a:lnTo>
                    <a:lnTo>
                      <a:pt x="248" y="41"/>
                    </a:lnTo>
                    <a:lnTo>
                      <a:pt x="243" y="41"/>
                    </a:lnTo>
                    <a:lnTo>
                      <a:pt x="233" y="45"/>
                    </a:lnTo>
                    <a:lnTo>
                      <a:pt x="228" y="43"/>
                    </a:lnTo>
                    <a:lnTo>
                      <a:pt x="225" y="43"/>
                    </a:lnTo>
                    <a:lnTo>
                      <a:pt x="215" y="50"/>
                    </a:lnTo>
                    <a:lnTo>
                      <a:pt x="211" y="50"/>
                    </a:lnTo>
                    <a:lnTo>
                      <a:pt x="205" y="53"/>
                    </a:lnTo>
                    <a:lnTo>
                      <a:pt x="203" y="55"/>
                    </a:lnTo>
                    <a:lnTo>
                      <a:pt x="196" y="56"/>
                    </a:lnTo>
                    <a:lnTo>
                      <a:pt x="193" y="58"/>
                    </a:lnTo>
                    <a:lnTo>
                      <a:pt x="190" y="56"/>
                    </a:lnTo>
                    <a:lnTo>
                      <a:pt x="180" y="50"/>
                    </a:lnTo>
                    <a:lnTo>
                      <a:pt x="178" y="46"/>
                    </a:lnTo>
                    <a:lnTo>
                      <a:pt x="175" y="45"/>
                    </a:lnTo>
                    <a:lnTo>
                      <a:pt x="162" y="46"/>
                    </a:lnTo>
                    <a:lnTo>
                      <a:pt x="140" y="50"/>
                    </a:lnTo>
                    <a:lnTo>
                      <a:pt x="128" y="50"/>
                    </a:lnTo>
                    <a:lnTo>
                      <a:pt x="123" y="48"/>
                    </a:lnTo>
                    <a:lnTo>
                      <a:pt x="122" y="45"/>
                    </a:lnTo>
                    <a:lnTo>
                      <a:pt x="122" y="41"/>
                    </a:lnTo>
                    <a:lnTo>
                      <a:pt x="125" y="40"/>
                    </a:lnTo>
                    <a:lnTo>
                      <a:pt x="125" y="36"/>
                    </a:lnTo>
                    <a:lnTo>
                      <a:pt x="120" y="30"/>
                    </a:lnTo>
                    <a:lnTo>
                      <a:pt x="115" y="28"/>
                    </a:lnTo>
                    <a:lnTo>
                      <a:pt x="103" y="30"/>
                    </a:lnTo>
                    <a:lnTo>
                      <a:pt x="98" y="26"/>
                    </a:lnTo>
                    <a:lnTo>
                      <a:pt x="95" y="26"/>
                    </a:lnTo>
                    <a:lnTo>
                      <a:pt x="92" y="28"/>
                    </a:lnTo>
                    <a:lnTo>
                      <a:pt x="87" y="21"/>
                    </a:lnTo>
                    <a:lnTo>
                      <a:pt x="87" y="16"/>
                    </a:lnTo>
                    <a:lnTo>
                      <a:pt x="85" y="8"/>
                    </a:lnTo>
                    <a:lnTo>
                      <a:pt x="83" y="8"/>
                    </a:lnTo>
                    <a:lnTo>
                      <a:pt x="77" y="10"/>
                    </a:lnTo>
                    <a:lnTo>
                      <a:pt x="70" y="18"/>
                    </a:lnTo>
                    <a:lnTo>
                      <a:pt x="72" y="23"/>
                    </a:lnTo>
                    <a:lnTo>
                      <a:pt x="73" y="25"/>
                    </a:lnTo>
                    <a:lnTo>
                      <a:pt x="78" y="21"/>
                    </a:lnTo>
                    <a:lnTo>
                      <a:pt x="82" y="23"/>
                    </a:lnTo>
                    <a:lnTo>
                      <a:pt x="87" y="26"/>
                    </a:lnTo>
                    <a:lnTo>
                      <a:pt x="85" y="28"/>
                    </a:lnTo>
                    <a:lnTo>
                      <a:pt x="82" y="30"/>
                    </a:lnTo>
                    <a:lnTo>
                      <a:pt x="77" y="28"/>
                    </a:lnTo>
                    <a:lnTo>
                      <a:pt x="75" y="26"/>
                    </a:lnTo>
                    <a:lnTo>
                      <a:pt x="73" y="28"/>
                    </a:lnTo>
                    <a:lnTo>
                      <a:pt x="73" y="30"/>
                    </a:lnTo>
                    <a:lnTo>
                      <a:pt x="67" y="31"/>
                    </a:lnTo>
                    <a:lnTo>
                      <a:pt x="57" y="35"/>
                    </a:lnTo>
                    <a:lnTo>
                      <a:pt x="47" y="38"/>
                    </a:lnTo>
                    <a:lnTo>
                      <a:pt x="44" y="41"/>
                    </a:lnTo>
                    <a:lnTo>
                      <a:pt x="44" y="45"/>
                    </a:lnTo>
                    <a:lnTo>
                      <a:pt x="45" y="50"/>
                    </a:lnTo>
                    <a:lnTo>
                      <a:pt x="45" y="60"/>
                    </a:lnTo>
                    <a:lnTo>
                      <a:pt x="47" y="65"/>
                    </a:lnTo>
                    <a:lnTo>
                      <a:pt x="49" y="70"/>
                    </a:lnTo>
                    <a:lnTo>
                      <a:pt x="45" y="76"/>
                    </a:lnTo>
                    <a:lnTo>
                      <a:pt x="37" y="81"/>
                    </a:lnTo>
                    <a:lnTo>
                      <a:pt x="32" y="80"/>
                    </a:lnTo>
                    <a:lnTo>
                      <a:pt x="32" y="75"/>
                    </a:lnTo>
                    <a:lnTo>
                      <a:pt x="29" y="70"/>
                    </a:lnTo>
                    <a:lnTo>
                      <a:pt x="27" y="65"/>
                    </a:lnTo>
                    <a:lnTo>
                      <a:pt x="30" y="61"/>
                    </a:lnTo>
                    <a:lnTo>
                      <a:pt x="32" y="58"/>
                    </a:lnTo>
                    <a:lnTo>
                      <a:pt x="40" y="50"/>
                    </a:lnTo>
                    <a:lnTo>
                      <a:pt x="40" y="43"/>
                    </a:lnTo>
                    <a:lnTo>
                      <a:pt x="37" y="38"/>
                    </a:lnTo>
                    <a:lnTo>
                      <a:pt x="39" y="36"/>
                    </a:lnTo>
                    <a:lnTo>
                      <a:pt x="37" y="35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4" y="25"/>
                    </a:lnTo>
                    <a:lnTo>
                      <a:pt x="39" y="23"/>
                    </a:lnTo>
                    <a:lnTo>
                      <a:pt x="45" y="21"/>
                    </a:lnTo>
                    <a:lnTo>
                      <a:pt x="50" y="16"/>
                    </a:lnTo>
                    <a:lnTo>
                      <a:pt x="47" y="16"/>
                    </a:lnTo>
                    <a:lnTo>
                      <a:pt x="45" y="16"/>
                    </a:lnTo>
                    <a:lnTo>
                      <a:pt x="34" y="21"/>
                    </a:lnTo>
                    <a:lnTo>
                      <a:pt x="25" y="31"/>
                    </a:lnTo>
                    <a:lnTo>
                      <a:pt x="24" y="33"/>
                    </a:lnTo>
                    <a:lnTo>
                      <a:pt x="20" y="35"/>
                    </a:lnTo>
                    <a:lnTo>
                      <a:pt x="15" y="40"/>
                    </a:lnTo>
                    <a:lnTo>
                      <a:pt x="12" y="43"/>
                    </a:lnTo>
                    <a:lnTo>
                      <a:pt x="4" y="53"/>
                    </a:lnTo>
                    <a:lnTo>
                      <a:pt x="4" y="58"/>
                    </a:lnTo>
                    <a:lnTo>
                      <a:pt x="4" y="61"/>
                    </a:lnTo>
                    <a:lnTo>
                      <a:pt x="4" y="68"/>
                    </a:lnTo>
                    <a:lnTo>
                      <a:pt x="0" y="75"/>
                    </a:lnTo>
                    <a:lnTo>
                      <a:pt x="0" y="78"/>
                    </a:lnTo>
                    <a:lnTo>
                      <a:pt x="2" y="78"/>
                    </a:lnTo>
                    <a:lnTo>
                      <a:pt x="7" y="78"/>
                    </a:lnTo>
                    <a:lnTo>
                      <a:pt x="17" y="93"/>
                    </a:lnTo>
                    <a:lnTo>
                      <a:pt x="20" y="99"/>
                    </a:lnTo>
                    <a:lnTo>
                      <a:pt x="22" y="103"/>
                    </a:lnTo>
                    <a:lnTo>
                      <a:pt x="20" y="108"/>
                    </a:lnTo>
                    <a:lnTo>
                      <a:pt x="20" y="111"/>
                    </a:lnTo>
                    <a:lnTo>
                      <a:pt x="19" y="113"/>
                    </a:lnTo>
                    <a:lnTo>
                      <a:pt x="19" y="116"/>
                    </a:lnTo>
                    <a:lnTo>
                      <a:pt x="24" y="121"/>
                    </a:lnTo>
                    <a:lnTo>
                      <a:pt x="30" y="123"/>
                    </a:lnTo>
                    <a:lnTo>
                      <a:pt x="35" y="124"/>
                    </a:lnTo>
                    <a:lnTo>
                      <a:pt x="40" y="126"/>
                    </a:lnTo>
                    <a:lnTo>
                      <a:pt x="44" y="124"/>
                    </a:lnTo>
                    <a:lnTo>
                      <a:pt x="50" y="124"/>
                    </a:lnTo>
                    <a:lnTo>
                      <a:pt x="57" y="126"/>
                    </a:lnTo>
                    <a:lnTo>
                      <a:pt x="59" y="124"/>
                    </a:lnTo>
                    <a:lnTo>
                      <a:pt x="65" y="124"/>
                    </a:lnTo>
                    <a:lnTo>
                      <a:pt x="73" y="124"/>
                    </a:lnTo>
                    <a:lnTo>
                      <a:pt x="77" y="126"/>
                    </a:lnTo>
                    <a:lnTo>
                      <a:pt x="95" y="143"/>
                    </a:lnTo>
                    <a:lnTo>
                      <a:pt x="102" y="141"/>
                    </a:lnTo>
                    <a:lnTo>
                      <a:pt x="103" y="143"/>
                    </a:lnTo>
                    <a:lnTo>
                      <a:pt x="105" y="143"/>
                    </a:lnTo>
                    <a:lnTo>
                      <a:pt x="110" y="144"/>
                    </a:lnTo>
                    <a:lnTo>
                      <a:pt x="113" y="146"/>
                    </a:lnTo>
                    <a:lnTo>
                      <a:pt x="118" y="143"/>
                    </a:lnTo>
                    <a:lnTo>
                      <a:pt x="123" y="143"/>
                    </a:lnTo>
                    <a:lnTo>
                      <a:pt x="130" y="144"/>
                    </a:lnTo>
                    <a:lnTo>
                      <a:pt x="132" y="143"/>
                    </a:lnTo>
                    <a:lnTo>
                      <a:pt x="135" y="143"/>
                    </a:lnTo>
                    <a:lnTo>
                      <a:pt x="138" y="144"/>
                    </a:lnTo>
                    <a:lnTo>
                      <a:pt x="140" y="153"/>
                    </a:lnTo>
                    <a:lnTo>
                      <a:pt x="138" y="156"/>
                    </a:lnTo>
                    <a:lnTo>
                      <a:pt x="138" y="159"/>
                    </a:lnTo>
                    <a:lnTo>
                      <a:pt x="137" y="163"/>
                    </a:lnTo>
                    <a:lnTo>
                      <a:pt x="132" y="164"/>
                    </a:lnTo>
                    <a:lnTo>
                      <a:pt x="128" y="168"/>
                    </a:lnTo>
                    <a:lnTo>
                      <a:pt x="130" y="174"/>
                    </a:lnTo>
                    <a:lnTo>
                      <a:pt x="130" y="178"/>
                    </a:lnTo>
                    <a:lnTo>
                      <a:pt x="128" y="183"/>
                    </a:lnTo>
                    <a:lnTo>
                      <a:pt x="128" y="191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7" y="207"/>
                    </a:lnTo>
                    <a:lnTo>
                      <a:pt x="128" y="221"/>
                    </a:lnTo>
                    <a:lnTo>
                      <a:pt x="130" y="224"/>
                    </a:lnTo>
                    <a:lnTo>
                      <a:pt x="132" y="224"/>
                    </a:lnTo>
                    <a:lnTo>
                      <a:pt x="135" y="222"/>
                    </a:lnTo>
                    <a:lnTo>
                      <a:pt x="135" y="224"/>
                    </a:lnTo>
                    <a:lnTo>
                      <a:pt x="137" y="227"/>
                    </a:lnTo>
                    <a:lnTo>
                      <a:pt x="138" y="229"/>
                    </a:lnTo>
                    <a:lnTo>
                      <a:pt x="142" y="234"/>
                    </a:lnTo>
                    <a:lnTo>
                      <a:pt x="140" y="236"/>
                    </a:lnTo>
                    <a:lnTo>
                      <a:pt x="143" y="241"/>
                    </a:lnTo>
                    <a:lnTo>
                      <a:pt x="148" y="252"/>
                    </a:lnTo>
                    <a:lnTo>
                      <a:pt x="148" y="257"/>
                    </a:lnTo>
                    <a:lnTo>
                      <a:pt x="148" y="257"/>
                    </a:lnTo>
                    <a:lnTo>
                      <a:pt x="148" y="257"/>
                    </a:lnTo>
                    <a:close/>
                    <a:moveTo>
                      <a:pt x="117" y="6"/>
                    </a:moveTo>
                    <a:lnTo>
                      <a:pt x="120" y="6"/>
                    </a:lnTo>
                    <a:lnTo>
                      <a:pt x="125" y="11"/>
                    </a:lnTo>
                    <a:lnTo>
                      <a:pt x="125" y="15"/>
                    </a:lnTo>
                    <a:lnTo>
                      <a:pt x="122" y="11"/>
                    </a:lnTo>
                    <a:lnTo>
                      <a:pt x="118" y="10"/>
                    </a:lnTo>
                    <a:lnTo>
                      <a:pt x="117" y="6"/>
                    </a:lnTo>
                    <a:lnTo>
                      <a:pt x="117" y="6"/>
                    </a:lnTo>
                    <a:close/>
                    <a:moveTo>
                      <a:pt x="100" y="5"/>
                    </a:moveTo>
                    <a:lnTo>
                      <a:pt x="105" y="10"/>
                    </a:lnTo>
                    <a:lnTo>
                      <a:pt x="108" y="10"/>
                    </a:lnTo>
                    <a:lnTo>
                      <a:pt x="107" y="13"/>
                    </a:lnTo>
                    <a:lnTo>
                      <a:pt x="100" y="11"/>
                    </a:lnTo>
                    <a:lnTo>
                      <a:pt x="98" y="6"/>
                    </a:lnTo>
                    <a:lnTo>
                      <a:pt x="100" y="5"/>
                    </a:lnTo>
                    <a:lnTo>
                      <a:pt x="100" y="5"/>
                    </a:lnTo>
                    <a:close/>
                    <a:moveTo>
                      <a:pt x="77" y="0"/>
                    </a:moveTo>
                    <a:lnTo>
                      <a:pt x="80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77" y="0"/>
                    </a:lnTo>
                    <a:lnTo>
                      <a:pt x="77" y="0"/>
                    </a:lnTo>
                    <a:close/>
                    <a:moveTo>
                      <a:pt x="213" y="38"/>
                    </a:moveTo>
                    <a:lnTo>
                      <a:pt x="218" y="35"/>
                    </a:lnTo>
                    <a:lnTo>
                      <a:pt x="221" y="36"/>
                    </a:lnTo>
                    <a:lnTo>
                      <a:pt x="228" y="31"/>
                    </a:lnTo>
                    <a:lnTo>
                      <a:pt x="230" y="35"/>
                    </a:lnTo>
                    <a:lnTo>
                      <a:pt x="226" y="40"/>
                    </a:lnTo>
                    <a:lnTo>
                      <a:pt x="221" y="38"/>
                    </a:lnTo>
                    <a:lnTo>
                      <a:pt x="216" y="40"/>
                    </a:lnTo>
                    <a:lnTo>
                      <a:pt x="216" y="40"/>
                    </a:lnTo>
                    <a:lnTo>
                      <a:pt x="213" y="38"/>
                    </a:lnTo>
                    <a:lnTo>
                      <a:pt x="213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3" name="Freeform 168"/>
              <p:cNvSpPr>
                <a:spLocks/>
              </p:cNvSpPr>
              <p:nvPr/>
            </p:nvSpPr>
            <p:spPr bwMode="auto">
              <a:xfrm>
                <a:off x="5401489" y="3125489"/>
                <a:ext cx="156256" cy="195067"/>
              </a:xfrm>
              <a:custGeom>
                <a:avLst/>
                <a:gdLst/>
                <a:ahLst/>
                <a:cxnLst>
                  <a:cxn ang="0">
                    <a:pos x="235" y="307"/>
                  </a:cxn>
                  <a:cxn ang="0">
                    <a:pos x="232" y="269"/>
                  </a:cxn>
                  <a:cxn ang="0">
                    <a:pos x="235" y="258"/>
                  </a:cxn>
                  <a:cxn ang="0">
                    <a:pos x="255" y="241"/>
                  </a:cxn>
                  <a:cxn ang="0">
                    <a:pos x="277" y="236"/>
                  </a:cxn>
                  <a:cxn ang="0">
                    <a:pos x="290" y="254"/>
                  </a:cxn>
                  <a:cxn ang="0">
                    <a:pos x="280" y="226"/>
                  </a:cxn>
                  <a:cxn ang="0">
                    <a:pos x="272" y="221"/>
                  </a:cxn>
                  <a:cxn ang="0">
                    <a:pos x="270" y="188"/>
                  </a:cxn>
                  <a:cxn ang="0">
                    <a:pos x="274" y="161"/>
                  </a:cxn>
                  <a:cxn ang="0">
                    <a:pos x="280" y="141"/>
                  </a:cxn>
                  <a:cxn ang="0">
                    <a:pos x="260" y="140"/>
                  </a:cxn>
                  <a:cxn ang="0">
                    <a:pos x="244" y="138"/>
                  </a:cxn>
                  <a:cxn ang="0">
                    <a:pos x="201" y="121"/>
                  </a:cxn>
                  <a:cxn ang="0">
                    <a:pos x="177" y="121"/>
                  </a:cxn>
                  <a:cxn ang="0">
                    <a:pos x="162" y="108"/>
                  </a:cxn>
                  <a:cxn ang="0">
                    <a:pos x="149" y="75"/>
                  </a:cxn>
                  <a:cxn ang="0">
                    <a:pos x="146" y="58"/>
                  </a:cxn>
                  <a:cxn ang="0">
                    <a:pos x="162" y="32"/>
                  </a:cxn>
                  <a:cxn ang="0">
                    <a:pos x="189" y="13"/>
                  </a:cxn>
                  <a:cxn ang="0">
                    <a:pos x="194" y="5"/>
                  </a:cxn>
                  <a:cxn ang="0">
                    <a:pos x="176" y="5"/>
                  </a:cxn>
                  <a:cxn ang="0">
                    <a:pos x="167" y="12"/>
                  </a:cxn>
                  <a:cxn ang="0">
                    <a:pos x="139" y="25"/>
                  </a:cxn>
                  <a:cxn ang="0">
                    <a:pos x="121" y="33"/>
                  </a:cxn>
                  <a:cxn ang="0">
                    <a:pos x="114" y="35"/>
                  </a:cxn>
                  <a:cxn ang="0">
                    <a:pos x="96" y="35"/>
                  </a:cxn>
                  <a:cxn ang="0">
                    <a:pos x="83" y="57"/>
                  </a:cxn>
                  <a:cxn ang="0">
                    <a:pos x="76" y="68"/>
                  </a:cxn>
                  <a:cxn ang="0">
                    <a:pos x="56" y="83"/>
                  </a:cxn>
                  <a:cxn ang="0">
                    <a:pos x="54" y="103"/>
                  </a:cxn>
                  <a:cxn ang="0">
                    <a:pos x="46" y="93"/>
                  </a:cxn>
                  <a:cxn ang="0">
                    <a:pos x="41" y="96"/>
                  </a:cxn>
                  <a:cxn ang="0">
                    <a:pos x="28" y="116"/>
                  </a:cxn>
                  <a:cxn ang="0">
                    <a:pos x="36" y="133"/>
                  </a:cxn>
                  <a:cxn ang="0">
                    <a:pos x="38" y="143"/>
                  </a:cxn>
                  <a:cxn ang="0">
                    <a:pos x="38" y="158"/>
                  </a:cxn>
                  <a:cxn ang="0">
                    <a:pos x="36" y="186"/>
                  </a:cxn>
                  <a:cxn ang="0">
                    <a:pos x="48" y="194"/>
                  </a:cxn>
                  <a:cxn ang="0">
                    <a:pos x="31" y="216"/>
                  </a:cxn>
                  <a:cxn ang="0">
                    <a:pos x="1" y="246"/>
                  </a:cxn>
                  <a:cxn ang="0">
                    <a:pos x="29" y="264"/>
                  </a:cxn>
                  <a:cxn ang="0">
                    <a:pos x="51" y="279"/>
                  </a:cxn>
                  <a:cxn ang="0">
                    <a:pos x="68" y="273"/>
                  </a:cxn>
                  <a:cxn ang="0">
                    <a:pos x="86" y="283"/>
                  </a:cxn>
                  <a:cxn ang="0">
                    <a:pos x="104" y="288"/>
                  </a:cxn>
                  <a:cxn ang="0">
                    <a:pos x="119" y="307"/>
                  </a:cxn>
                  <a:cxn ang="0">
                    <a:pos x="141" y="324"/>
                  </a:cxn>
                  <a:cxn ang="0">
                    <a:pos x="152" y="336"/>
                  </a:cxn>
                  <a:cxn ang="0">
                    <a:pos x="181" y="332"/>
                  </a:cxn>
                  <a:cxn ang="0">
                    <a:pos x="204" y="334"/>
                  </a:cxn>
                  <a:cxn ang="0">
                    <a:pos x="201" y="366"/>
                  </a:cxn>
                  <a:cxn ang="0">
                    <a:pos x="217" y="376"/>
                  </a:cxn>
                </a:cxnLst>
                <a:rect l="0" t="0" r="r" b="b"/>
                <a:pathLst>
                  <a:path w="290" h="376">
                    <a:moveTo>
                      <a:pt x="217" y="376"/>
                    </a:moveTo>
                    <a:lnTo>
                      <a:pt x="222" y="364"/>
                    </a:lnTo>
                    <a:lnTo>
                      <a:pt x="235" y="317"/>
                    </a:lnTo>
                    <a:lnTo>
                      <a:pt x="235" y="314"/>
                    </a:lnTo>
                    <a:lnTo>
                      <a:pt x="235" y="307"/>
                    </a:lnTo>
                    <a:lnTo>
                      <a:pt x="230" y="297"/>
                    </a:lnTo>
                    <a:lnTo>
                      <a:pt x="220" y="291"/>
                    </a:lnTo>
                    <a:lnTo>
                      <a:pt x="217" y="286"/>
                    </a:lnTo>
                    <a:lnTo>
                      <a:pt x="215" y="274"/>
                    </a:lnTo>
                    <a:lnTo>
                      <a:pt x="232" y="269"/>
                    </a:lnTo>
                    <a:lnTo>
                      <a:pt x="237" y="273"/>
                    </a:lnTo>
                    <a:lnTo>
                      <a:pt x="239" y="269"/>
                    </a:lnTo>
                    <a:lnTo>
                      <a:pt x="235" y="266"/>
                    </a:lnTo>
                    <a:lnTo>
                      <a:pt x="239" y="264"/>
                    </a:lnTo>
                    <a:lnTo>
                      <a:pt x="235" y="258"/>
                    </a:lnTo>
                    <a:lnTo>
                      <a:pt x="225" y="256"/>
                    </a:lnTo>
                    <a:lnTo>
                      <a:pt x="224" y="251"/>
                    </a:lnTo>
                    <a:lnTo>
                      <a:pt x="225" y="243"/>
                    </a:lnTo>
                    <a:lnTo>
                      <a:pt x="252" y="243"/>
                    </a:lnTo>
                    <a:lnTo>
                      <a:pt x="255" y="241"/>
                    </a:lnTo>
                    <a:lnTo>
                      <a:pt x="260" y="241"/>
                    </a:lnTo>
                    <a:lnTo>
                      <a:pt x="264" y="243"/>
                    </a:lnTo>
                    <a:lnTo>
                      <a:pt x="267" y="243"/>
                    </a:lnTo>
                    <a:lnTo>
                      <a:pt x="270" y="238"/>
                    </a:lnTo>
                    <a:lnTo>
                      <a:pt x="277" y="236"/>
                    </a:lnTo>
                    <a:lnTo>
                      <a:pt x="279" y="239"/>
                    </a:lnTo>
                    <a:lnTo>
                      <a:pt x="284" y="243"/>
                    </a:lnTo>
                    <a:lnTo>
                      <a:pt x="284" y="248"/>
                    </a:lnTo>
                    <a:lnTo>
                      <a:pt x="284" y="254"/>
                    </a:lnTo>
                    <a:lnTo>
                      <a:pt x="290" y="254"/>
                    </a:lnTo>
                    <a:lnTo>
                      <a:pt x="290" y="249"/>
                    </a:lnTo>
                    <a:lnTo>
                      <a:pt x="285" y="238"/>
                    </a:lnTo>
                    <a:lnTo>
                      <a:pt x="282" y="233"/>
                    </a:lnTo>
                    <a:lnTo>
                      <a:pt x="284" y="231"/>
                    </a:lnTo>
                    <a:lnTo>
                      <a:pt x="280" y="226"/>
                    </a:lnTo>
                    <a:lnTo>
                      <a:pt x="279" y="224"/>
                    </a:lnTo>
                    <a:lnTo>
                      <a:pt x="277" y="221"/>
                    </a:lnTo>
                    <a:lnTo>
                      <a:pt x="277" y="219"/>
                    </a:lnTo>
                    <a:lnTo>
                      <a:pt x="274" y="221"/>
                    </a:lnTo>
                    <a:lnTo>
                      <a:pt x="272" y="221"/>
                    </a:lnTo>
                    <a:lnTo>
                      <a:pt x="270" y="218"/>
                    </a:lnTo>
                    <a:lnTo>
                      <a:pt x="279" y="204"/>
                    </a:lnTo>
                    <a:lnTo>
                      <a:pt x="274" y="193"/>
                    </a:lnTo>
                    <a:lnTo>
                      <a:pt x="274" y="191"/>
                    </a:lnTo>
                    <a:lnTo>
                      <a:pt x="270" y="188"/>
                    </a:lnTo>
                    <a:lnTo>
                      <a:pt x="270" y="180"/>
                    </a:lnTo>
                    <a:lnTo>
                      <a:pt x="272" y="175"/>
                    </a:lnTo>
                    <a:lnTo>
                      <a:pt x="272" y="171"/>
                    </a:lnTo>
                    <a:lnTo>
                      <a:pt x="270" y="165"/>
                    </a:lnTo>
                    <a:lnTo>
                      <a:pt x="274" y="161"/>
                    </a:lnTo>
                    <a:lnTo>
                      <a:pt x="279" y="160"/>
                    </a:lnTo>
                    <a:lnTo>
                      <a:pt x="280" y="156"/>
                    </a:lnTo>
                    <a:lnTo>
                      <a:pt x="280" y="153"/>
                    </a:lnTo>
                    <a:lnTo>
                      <a:pt x="282" y="150"/>
                    </a:lnTo>
                    <a:lnTo>
                      <a:pt x="280" y="141"/>
                    </a:lnTo>
                    <a:lnTo>
                      <a:pt x="277" y="140"/>
                    </a:lnTo>
                    <a:lnTo>
                      <a:pt x="274" y="140"/>
                    </a:lnTo>
                    <a:lnTo>
                      <a:pt x="272" y="141"/>
                    </a:lnTo>
                    <a:lnTo>
                      <a:pt x="265" y="140"/>
                    </a:lnTo>
                    <a:lnTo>
                      <a:pt x="260" y="140"/>
                    </a:lnTo>
                    <a:lnTo>
                      <a:pt x="255" y="143"/>
                    </a:lnTo>
                    <a:lnTo>
                      <a:pt x="252" y="141"/>
                    </a:lnTo>
                    <a:lnTo>
                      <a:pt x="247" y="140"/>
                    </a:lnTo>
                    <a:lnTo>
                      <a:pt x="245" y="140"/>
                    </a:lnTo>
                    <a:lnTo>
                      <a:pt x="244" y="138"/>
                    </a:lnTo>
                    <a:lnTo>
                      <a:pt x="237" y="140"/>
                    </a:lnTo>
                    <a:lnTo>
                      <a:pt x="219" y="123"/>
                    </a:lnTo>
                    <a:lnTo>
                      <a:pt x="215" y="121"/>
                    </a:lnTo>
                    <a:lnTo>
                      <a:pt x="207" y="121"/>
                    </a:lnTo>
                    <a:lnTo>
                      <a:pt x="201" y="121"/>
                    </a:lnTo>
                    <a:lnTo>
                      <a:pt x="199" y="123"/>
                    </a:lnTo>
                    <a:lnTo>
                      <a:pt x="192" y="121"/>
                    </a:lnTo>
                    <a:lnTo>
                      <a:pt x="186" y="121"/>
                    </a:lnTo>
                    <a:lnTo>
                      <a:pt x="182" y="123"/>
                    </a:lnTo>
                    <a:lnTo>
                      <a:pt x="177" y="121"/>
                    </a:lnTo>
                    <a:lnTo>
                      <a:pt x="172" y="120"/>
                    </a:lnTo>
                    <a:lnTo>
                      <a:pt x="166" y="118"/>
                    </a:lnTo>
                    <a:lnTo>
                      <a:pt x="161" y="113"/>
                    </a:lnTo>
                    <a:lnTo>
                      <a:pt x="161" y="110"/>
                    </a:lnTo>
                    <a:lnTo>
                      <a:pt x="162" y="108"/>
                    </a:lnTo>
                    <a:lnTo>
                      <a:pt x="162" y="105"/>
                    </a:lnTo>
                    <a:lnTo>
                      <a:pt x="164" y="100"/>
                    </a:lnTo>
                    <a:lnTo>
                      <a:pt x="162" y="96"/>
                    </a:lnTo>
                    <a:lnTo>
                      <a:pt x="159" y="90"/>
                    </a:lnTo>
                    <a:lnTo>
                      <a:pt x="149" y="75"/>
                    </a:lnTo>
                    <a:lnTo>
                      <a:pt x="144" y="75"/>
                    </a:lnTo>
                    <a:lnTo>
                      <a:pt x="142" y="75"/>
                    </a:lnTo>
                    <a:lnTo>
                      <a:pt x="142" y="72"/>
                    </a:lnTo>
                    <a:lnTo>
                      <a:pt x="146" y="65"/>
                    </a:lnTo>
                    <a:lnTo>
                      <a:pt x="146" y="58"/>
                    </a:lnTo>
                    <a:lnTo>
                      <a:pt x="146" y="55"/>
                    </a:lnTo>
                    <a:lnTo>
                      <a:pt x="146" y="50"/>
                    </a:lnTo>
                    <a:lnTo>
                      <a:pt x="154" y="40"/>
                    </a:lnTo>
                    <a:lnTo>
                      <a:pt x="157" y="37"/>
                    </a:lnTo>
                    <a:lnTo>
                      <a:pt x="162" y="32"/>
                    </a:lnTo>
                    <a:lnTo>
                      <a:pt x="166" y="30"/>
                    </a:lnTo>
                    <a:lnTo>
                      <a:pt x="167" y="28"/>
                    </a:lnTo>
                    <a:lnTo>
                      <a:pt x="176" y="18"/>
                    </a:lnTo>
                    <a:lnTo>
                      <a:pt x="187" y="13"/>
                    </a:lnTo>
                    <a:lnTo>
                      <a:pt x="189" y="13"/>
                    </a:lnTo>
                    <a:lnTo>
                      <a:pt x="192" y="13"/>
                    </a:lnTo>
                    <a:lnTo>
                      <a:pt x="192" y="12"/>
                    </a:lnTo>
                    <a:lnTo>
                      <a:pt x="196" y="10"/>
                    </a:lnTo>
                    <a:lnTo>
                      <a:pt x="196" y="8"/>
                    </a:lnTo>
                    <a:lnTo>
                      <a:pt x="194" y="5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81" y="2"/>
                    </a:lnTo>
                    <a:lnTo>
                      <a:pt x="179" y="3"/>
                    </a:lnTo>
                    <a:lnTo>
                      <a:pt x="176" y="5"/>
                    </a:lnTo>
                    <a:lnTo>
                      <a:pt x="174" y="7"/>
                    </a:lnTo>
                    <a:lnTo>
                      <a:pt x="171" y="5"/>
                    </a:lnTo>
                    <a:lnTo>
                      <a:pt x="167" y="7"/>
                    </a:lnTo>
                    <a:lnTo>
                      <a:pt x="164" y="8"/>
                    </a:lnTo>
                    <a:lnTo>
                      <a:pt x="167" y="12"/>
                    </a:lnTo>
                    <a:lnTo>
                      <a:pt x="166" y="13"/>
                    </a:lnTo>
                    <a:lnTo>
                      <a:pt x="159" y="17"/>
                    </a:lnTo>
                    <a:lnTo>
                      <a:pt x="151" y="20"/>
                    </a:lnTo>
                    <a:lnTo>
                      <a:pt x="144" y="25"/>
                    </a:lnTo>
                    <a:lnTo>
                      <a:pt x="139" y="25"/>
                    </a:lnTo>
                    <a:lnTo>
                      <a:pt x="131" y="27"/>
                    </a:lnTo>
                    <a:lnTo>
                      <a:pt x="124" y="25"/>
                    </a:lnTo>
                    <a:lnTo>
                      <a:pt x="119" y="28"/>
                    </a:lnTo>
                    <a:lnTo>
                      <a:pt x="119" y="30"/>
                    </a:lnTo>
                    <a:lnTo>
                      <a:pt x="121" y="33"/>
                    </a:lnTo>
                    <a:lnTo>
                      <a:pt x="119" y="37"/>
                    </a:lnTo>
                    <a:lnTo>
                      <a:pt x="116" y="40"/>
                    </a:lnTo>
                    <a:lnTo>
                      <a:pt x="114" y="40"/>
                    </a:lnTo>
                    <a:lnTo>
                      <a:pt x="114" y="35"/>
                    </a:lnTo>
                    <a:lnTo>
                      <a:pt x="114" y="35"/>
                    </a:lnTo>
                    <a:lnTo>
                      <a:pt x="117" y="33"/>
                    </a:lnTo>
                    <a:lnTo>
                      <a:pt x="113" y="33"/>
                    </a:lnTo>
                    <a:lnTo>
                      <a:pt x="106" y="30"/>
                    </a:lnTo>
                    <a:lnTo>
                      <a:pt x="103" y="32"/>
                    </a:lnTo>
                    <a:lnTo>
                      <a:pt x="96" y="35"/>
                    </a:lnTo>
                    <a:lnTo>
                      <a:pt x="93" y="38"/>
                    </a:lnTo>
                    <a:lnTo>
                      <a:pt x="88" y="43"/>
                    </a:lnTo>
                    <a:lnTo>
                      <a:pt x="81" y="55"/>
                    </a:lnTo>
                    <a:lnTo>
                      <a:pt x="81" y="58"/>
                    </a:lnTo>
                    <a:lnTo>
                      <a:pt x="83" y="57"/>
                    </a:lnTo>
                    <a:lnTo>
                      <a:pt x="84" y="60"/>
                    </a:lnTo>
                    <a:lnTo>
                      <a:pt x="84" y="63"/>
                    </a:lnTo>
                    <a:lnTo>
                      <a:pt x="84" y="67"/>
                    </a:lnTo>
                    <a:lnTo>
                      <a:pt x="81" y="68"/>
                    </a:lnTo>
                    <a:lnTo>
                      <a:pt x="76" y="68"/>
                    </a:lnTo>
                    <a:lnTo>
                      <a:pt x="73" y="70"/>
                    </a:lnTo>
                    <a:lnTo>
                      <a:pt x="66" y="77"/>
                    </a:lnTo>
                    <a:lnTo>
                      <a:pt x="63" y="77"/>
                    </a:lnTo>
                    <a:lnTo>
                      <a:pt x="58" y="83"/>
                    </a:lnTo>
                    <a:lnTo>
                      <a:pt x="56" y="83"/>
                    </a:lnTo>
                    <a:lnTo>
                      <a:pt x="51" y="83"/>
                    </a:lnTo>
                    <a:lnTo>
                      <a:pt x="53" y="88"/>
                    </a:lnTo>
                    <a:lnTo>
                      <a:pt x="58" y="92"/>
                    </a:lnTo>
                    <a:lnTo>
                      <a:pt x="58" y="98"/>
                    </a:lnTo>
                    <a:lnTo>
                      <a:pt x="54" y="103"/>
                    </a:lnTo>
                    <a:lnTo>
                      <a:pt x="53" y="101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9" y="95"/>
                    </a:lnTo>
                    <a:lnTo>
                      <a:pt x="46" y="93"/>
                    </a:lnTo>
                    <a:lnTo>
                      <a:pt x="44" y="90"/>
                    </a:lnTo>
                    <a:lnTo>
                      <a:pt x="39" y="85"/>
                    </a:lnTo>
                    <a:lnTo>
                      <a:pt x="38" y="88"/>
                    </a:lnTo>
                    <a:lnTo>
                      <a:pt x="39" y="92"/>
                    </a:lnTo>
                    <a:lnTo>
                      <a:pt x="41" y="96"/>
                    </a:lnTo>
                    <a:lnTo>
                      <a:pt x="38" y="103"/>
                    </a:lnTo>
                    <a:lnTo>
                      <a:pt x="36" y="108"/>
                    </a:lnTo>
                    <a:lnTo>
                      <a:pt x="33" y="110"/>
                    </a:lnTo>
                    <a:lnTo>
                      <a:pt x="31" y="110"/>
                    </a:lnTo>
                    <a:lnTo>
                      <a:pt x="28" y="116"/>
                    </a:lnTo>
                    <a:lnTo>
                      <a:pt x="29" y="118"/>
                    </a:lnTo>
                    <a:lnTo>
                      <a:pt x="29" y="123"/>
                    </a:lnTo>
                    <a:lnTo>
                      <a:pt x="29" y="128"/>
                    </a:lnTo>
                    <a:lnTo>
                      <a:pt x="34" y="133"/>
                    </a:lnTo>
                    <a:lnTo>
                      <a:pt x="36" y="133"/>
                    </a:lnTo>
                    <a:lnTo>
                      <a:pt x="39" y="131"/>
                    </a:lnTo>
                    <a:lnTo>
                      <a:pt x="41" y="135"/>
                    </a:lnTo>
                    <a:lnTo>
                      <a:pt x="41" y="138"/>
                    </a:lnTo>
                    <a:lnTo>
                      <a:pt x="38" y="141"/>
                    </a:lnTo>
                    <a:lnTo>
                      <a:pt x="38" y="143"/>
                    </a:lnTo>
                    <a:lnTo>
                      <a:pt x="41" y="146"/>
                    </a:lnTo>
                    <a:lnTo>
                      <a:pt x="41" y="153"/>
                    </a:lnTo>
                    <a:lnTo>
                      <a:pt x="38" y="155"/>
                    </a:lnTo>
                    <a:lnTo>
                      <a:pt x="36" y="158"/>
                    </a:lnTo>
                    <a:lnTo>
                      <a:pt x="38" y="158"/>
                    </a:lnTo>
                    <a:lnTo>
                      <a:pt x="39" y="163"/>
                    </a:lnTo>
                    <a:lnTo>
                      <a:pt x="39" y="170"/>
                    </a:lnTo>
                    <a:lnTo>
                      <a:pt x="39" y="180"/>
                    </a:lnTo>
                    <a:lnTo>
                      <a:pt x="36" y="185"/>
                    </a:lnTo>
                    <a:lnTo>
                      <a:pt x="36" y="186"/>
                    </a:lnTo>
                    <a:lnTo>
                      <a:pt x="38" y="191"/>
                    </a:lnTo>
                    <a:lnTo>
                      <a:pt x="43" y="190"/>
                    </a:lnTo>
                    <a:lnTo>
                      <a:pt x="43" y="191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8" y="196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34" y="213"/>
                    </a:lnTo>
                    <a:lnTo>
                      <a:pt x="31" y="216"/>
                    </a:lnTo>
                    <a:lnTo>
                      <a:pt x="24" y="223"/>
                    </a:lnTo>
                    <a:lnTo>
                      <a:pt x="16" y="224"/>
                    </a:lnTo>
                    <a:lnTo>
                      <a:pt x="8" y="229"/>
                    </a:lnTo>
                    <a:lnTo>
                      <a:pt x="1" y="238"/>
                    </a:lnTo>
                    <a:lnTo>
                      <a:pt x="1" y="246"/>
                    </a:lnTo>
                    <a:lnTo>
                      <a:pt x="0" y="249"/>
                    </a:lnTo>
                    <a:lnTo>
                      <a:pt x="6" y="253"/>
                    </a:lnTo>
                    <a:lnTo>
                      <a:pt x="14" y="258"/>
                    </a:lnTo>
                    <a:lnTo>
                      <a:pt x="26" y="264"/>
                    </a:lnTo>
                    <a:lnTo>
                      <a:pt x="29" y="264"/>
                    </a:lnTo>
                    <a:lnTo>
                      <a:pt x="36" y="269"/>
                    </a:lnTo>
                    <a:lnTo>
                      <a:pt x="34" y="273"/>
                    </a:lnTo>
                    <a:lnTo>
                      <a:pt x="36" y="276"/>
                    </a:lnTo>
                    <a:lnTo>
                      <a:pt x="43" y="276"/>
                    </a:lnTo>
                    <a:lnTo>
                      <a:pt x="51" y="279"/>
                    </a:lnTo>
                    <a:lnTo>
                      <a:pt x="54" y="281"/>
                    </a:lnTo>
                    <a:lnTo>
                      <a:pt x="63" y="283"/>
                    </a:lnTo>
                    <a:lnTo>
                      <a:pt x="64" y="281"/>
                    </a:lnTo>
                    <a:lnTo>
                      <a:pt x="64" y="276"/>
                    </a:lnTo>
                    <a:lnTo>
                      <a:pt x="68" y="273"/>
                    </a:lnTo>
                    <a:lnTo>
                      <a:pt x="69" y="273"/>
                    </a:lnTo>
                    <a:lnTo>
                      <a:pt x="78" y="276"/>
                    </a:lnTo>
                    <a:lnTo>
                      <a:pt x="81" y="278"/>
                    </a:lnTo>
                    <a:lnTo>
                      <a:pt x="83" y="281"/>
                    </a:lnTo>
                    <a:lnTo>
                      <a:pt x="86" y="283"/>
                    </a:lnTo>
                    <a:lnTo>
                      <a:pt x="86" y="283"/>
                    </a:lnTo>
                    <a:lnTo>
                      <a:pt x="88" y="283"/>
                    </a:lnTo>
                    <a:lnTo>
                      <a:pt x="91" y="284"/>
                    </a:lnTo>
                    <a:lnTo>
                      <a:pt x="99" y="288"/>
                    </a:lnTo>
                    <a:lnTo>
                      <a:pt x="104" y="288"/>
                    </a:lnTo>
                    <a:lnTo>
                      <a:pt x="106" y="291"/>
                    </a:lnTo>
                    <a:lnTo>
                      <a:pt x="113" y="296"/>
                    </a:lnTo>
                    <a:lnTo>
                      <a:pt x="113" y="301"/>
                    </a:lnTo>
                    <a:lnTo>
                      <a:pt x="116" y="307"/>
                    </a:lnTo>
                    <a:lnTo>
                      <a:pt x="119" y="307"/>
                    </a:lnTo>
                    <a:lnTo>
                      <a:pt x="131" y="311"/>
                    </a:lnTo>
                    <a:lnTo>
                      <a:pt x="136" y="317"/>
                    </a:lnTo>
                    <a:lnTo>
                      <a:pt x="136" y="322"/>
                    </a:lnTo>
                    <a:lnTo>
                      <a:pt x="137" y="322"/>
                    </a:lnTo>
                    <a:lnTo>
                      <a:pt x="141" y="324"/>
                    </a:lnTo>
                    <a:lnTo>
                      <a:pt x="144" y="331"/>
                    </a:lnTo>
                    <a:lnTo>
                      <a:pt x="142" y="332"/>
                    </a:lnTo>
                    <a:lnTo>
                      <a:pt x="144" y="336"/>
                    </a:lnTo>
                    <a:lnTo>
                      <a:pt x="147" y="337"/>
                    </a:lnTo>
                    <a:lnTo>
                      <a:pt x="152" y="336"/>
                    </a:lnTo>
                    <a:lnTo>
                      <a:pt x="157" y="337"/>
                    </a:lnTo>
                    <a:lnTo>
                      <a:pt x="162" y="337"/>
                    </a:lnTo>
                    <a:lnTo>
                      <a:pt x="166" y="336"/>
                    </a:lnTo>
                    <a:lnTo>
                      <a:pt x="174" y="332"/>
                    </a:lnTo>
                    <a:lnTo>
                      <a:pt x="181" y="332"/>
                    </a:lnTo>
                    <a:lnTo>
                      <a:pt x="186" y="336"/>
                    </a:lnTo>
                    <a:lnTo>
                      <a:pt x="194" y="332"/>
                    </a:lnTo>
                    <a:lnTo>
                      <a:pt x="199" y="332"/>
                    </a:lnTo>
                    <a:lnTo>
                      <a:pt x="201" y="334"/>
                    </a:lnTo>
                    <a:lnTo>
                      <a:pt x="204" y="334"/>
                    </a:lnTo>
                    <a:lnTo>
                      <a:pt x="209" y="337"/>
                    </a:lnTo>
                    <a:lnTo>
                      <a:pt x="211" y="339"/>
                    </a:lnTo>
                    <a:lnTo>
                      <a:pt x="215" y="339"/>
                    </a:lnTo>
                    <a:lnTo>
                      <a:pt x="215" y="341"/>
                    </a:lnTo>
                    <a:lnTo>
                      <a:pt x="201" y="366"/>
                    </a:lnTo>
                    <a:lnTo>
                      <a:pt x="201" y="367"/>
                    </a:lnTo>
                    <a:lnTo>
                      <a:pt x="207" y="367"/>
                    </a:lnTo>
                    <a:lnTo>
                      <a:pt x="212" y="367"/>
                    </a:lnTo>
                    <a:lnTo>
                      <a:pt x="217" y="371"/>
                    </a:lnTo>
                    <a:lnTo>
                      <a:pt x="217" y="3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4" name="Freeform 169"/>
              <p:cNvSpPr>
                <a:spLocks noEditPoints="1"/>
              </p:cNvSpPr>
              <p:nvPr/>
            </p:nvSpPr>
            <p:spPr bwMode="auto">
              <a:xfrm>
                <a:off x="5374733" y="3255188"/>
                <a:ext cx="77058" cy="73669"/>
              </a:xfrm>
              <a:custGeom>
                <a:avLst/>
                <a:gdLst/>
                <a:ahLst/>
                <a:cxnLst>
                  <a:cxn ang="0">
                    <a:pos x="138" y="34"/>
                  </a:cxn>
                  <a:cxn ang="0">
                    <a:pos x="133" y="29"/>
                  </a:cxn>
                  <a:cxn ang="0">
                    <a:pos x="121" y="24"/>
                  </a:cxn>
                  <a:cxn ang="0">
                    <a:pos x="116" y="27"/>
                  </a:cxn>
                  <a:cxn ang="0">
                    <a:pos x="115" y="34"/>
                  </a:cxn>
                  <a:cxn ang="0">
                    <a:pos x="103" y="30"/>
                  </a:cxn>
                  <a:cxn ang="0">
                    <a:pos x="88" y="27"/>
                  </a:cxn>
                  <a:cxn ang="0">
                    <a:pos x="88" y="20"/>
                  </a:cxn>
                  <a:cxn ang="0">
                    <a:pos x="78" y="15"/>
                  </a:cxn>
                  <a:cxn ang="0">
                    <a:pos x="58" y="4"/>
                  </a:cxn>
                  <a:cxn ang="0">
                    <a:pos x="50" y="5"/>
                  </a:cxn>
                  <a:cxn ang="0">
                    <a:pos x="32" y="14"/>
                  </a:cxn>
                  <a:cxn ang="0">
                    <a:pos x="20" y="17"/>
                  </a:cxn>
                  <a:cxn ang="0">
                    <a:pos x="23" y="25"/>
                  </a:cxn>
                  <a:cxn ang="0">
                    <a:pos x="23" y="34"/>
                  </a:cxn>
                  <a:cxn ang="0">
                    <a:pos x="13" y="47"/>
                  </a:cxn>
                  <a:cxn ang="0">
                    <a:pos x="12" y="55"/>
                  </a:cxn>
                  <a:cxn ang="0">
                    <a:pos x="2" y="62"/>
                  </a:cxn>
                  <a:cxn ang="0">
                    <a:pos x="5" y="68"/>
                  </a:cxn>
                  <a:cxn ang="0">
                    <a:pos x="7" y="78"/>
                  </a:cxn>
                  <a:cxn ang="0">
                    <a:pos x="0" y="85"/>
                  </a:cxn>
                  <a:cxn ang="0">
                    <a:pos x="8" y="90"/>
                  </a:cxn>
                  <a:cxn ang="0">
                    <a:pos x="18" y="97"/>
                  </a:cxn>
                  <a:cxn ang="0">
                    <a:pos x="22" y="92"/>
                  </a:cxn>
                  <a:cxn ang="0">
                    <a:pos x="27" y="85"/>
                  </a:cxn>
                  <a:cxn ang="0">
                    <a:pos x="28" y="92"/>
                  </a:cxn>
                  <a:cxn ang="0">
                    <a:pos x="28" y="87"/>
                  </a:cxn>
                  <a:cxn ang="0">
                    <a:pos x="32" y="93"/>
                  </a:cxn>
                  <a:cxn ang="0">
                    <a:pos x="30" y="102"/>
                  </a:cxn>
                  <a:cxn ang="0">
                    <a:pos x="22" y="113"/>
                  </a:cxn>
                  <a:cxn ang="0">
                    <a:pos x="27" y="120"/>
                  </a:cxn>
                  <a:cxn ang="0">
                    <a:pos x="17" y="127"/>
                  </a:cxn>
                  <a:cxn ang="0">
                    <a:pos x="23" y="130"/>
                  </a:cxn>
                  <a:cxn ang="0">
                    <a:pos x="30" y="132"/>
                  </a:cxn>
                  <a:cxn ang="0">
                    <a:pos x="42" y="135"/>
                  </a:cxn>
                  <a:cxn ang="0">
                    <a:pos x="52" y="143"/>
                  </a:cxn>
                  <a:cxn ang="0">
                    <a:pos x="76" y="103"/>
                  </a:cxn>
                  <a:cxn ang="0">
                    <a:pos x="105" y="93"/>
                  </a:cxn>
                  <a:cxn ang="0">
                    <a:pos x="131" y="73"/>
                  </a:cxn>
                  <a:cxn ang="0">
                    <a:pos x="143" y="58"/>
                  </a:cxn>
                  <a:cxn ang="0">
                    <a:pos x="145" y="52"/>
                  </a:cxn>
                  <a:cxn ang="0">
                    <a:pos x="140" y="39"/>
                  </a:cxn>
                  <a:cxn ang="0">
                    <a:pos x="138" y="34"/>
                  </a:cxn>
                  <a:cxn ang="0">
                    <a:pos x="138" y="34"/>
                  </a:cxn>
                  <a:cxn ang="0">
                    <a:pos x="18" y="103"/>
                  </a:cxn>
                  <a:cxn ang="0">
                    <a:pos x="25" y="95"/>
                  </a:cxn>
                  <a:cxn ang="0">
                    <a:pos x="23" y="100"/>
                  </a:cxn>
                  <a:cxn ang="0">
                    <a:pos x="22" y="105"/>
                  </a:cxn>
                  <a:cxn ang="0">
                    <a:pos x="18" y="103"/>
                  </a:cxn>
                </a:cxnLst>
                <a:rect l="0" t="0" r="r" b="b"/>
                <a:pathLst>
                  <a:path w="145" h="143">
                    <a:moveTo>
                      <a:pt x="138" y="34"/>
                    </a:moveTo>
                    <a:lnTo>
                      <a:pt x="138" y="34"/>
                    </a:lnTo>
                    <a:lnTo>
                      <a:pt x="135" y="32"/>
                    </a:lnTo>
                    <a:lnTo>
                      <a:pt x="133" y="29"/>
                    </a:lnTo>
                    <a:lnTo>
                      <a:pt x="130" y="27"/>
                    </a:lnTo>
                    <a:lnTo>
                      <a:pt x="121" y="24"/>
                    </a:lnTo>
                    <a:lnTo>
                      <a:pt x="120" y="24"/>
                    </a:lnTo>
                    <a:lnTo>
                      <a:pt x="116" y="27"/>
                    </a:lnTo>
                    <a:lnTo>
                      <a:pt x="116" y="32"/>
                    </a:lnTo>
                    <a:lnTo>
                      <a:pt x="115" y="34"/>
                    </a:lnTo>
                    <a:lnTo>
                      <a:pt x="106" y="32"/>
                    </a:lnTo>
                    <a:lnTo>
                      <a:pt x="103" y="30"/>
                    </a:lnTo>
                    <a:lnTo>
                      <a:pt x="95" y="27"/>
                    </a:lnTo>
                    <a:lnTo>
                      <a:pt x="88" y="27"/>
                    </a:lnTo>
                    <a:lnTo>
                      <a:pt x="86" y="24"/>
                    </a:lnTo>
                    <a:lnTo>
                      <a:pt x="88" y="20"/>
                    </a:lnTo>
                    <a:lnTo>
                      <a:pt x="81" y="15"/>
                    </a:lnTo>
                    <a:lnTo>
                      <a:pt x="78" y="15"/>
                    </a:lnTo>
                    <a:lnTo>
                      <a:pt x="66" y="9"/>
                    </a:lnTo>
                    <a:lnTo>
                      <a:pt x="58" y="4"/>
                    </a:lnTo>
                    <a:lnTo>
                      <a:pt x="52" y="0"/>
                    </a:lnTo>
                    <a:lnTo>
                      <a:pt x="50" y="5"/>
                    </a:lnTo>
                    <a:lnTo>
                      <a:pt x="43" y="7"/>
                    </a:lnTo>
                    <a:lnTo>
                      <a:pt x="32" y="14"/>
                    </a:lnTo>
                    <a:lnTo>
                      <a:pt x="27" y="14"/>
                    </a:lnTo>
                    <a:lnTo>
                      <a:pt x="20" y="17"/>
                    </a:lnTo>
                    <a:lnTo>
                      <a:pt x="23" y="22"/>
                    </a:lnTo>
                    <a:lnTo>
                      <a:pt x="23" y="25"/>
                    </a:lnTo>
                    <a:lnTo>
                      <a:pt x="25" y="29"/>
                    </a:lnTo>
                    <a:lnTo>
                      <a:pt x="23" y="34"/>
                    </a:lnTo>
                    <a:lnTo>
                      <a:pt x="15" y="43"/>
                    </a:lnTo>
                    <a:lnTo>
                      <a:pt x="13" y="47"/>
                    </a:lnTo>
                    <a:lnTo>
                      <a:pt x="17" y="48"/>
                    </a:lnTo>
                    <a:lnTo>
                      <a:pt x="12" y="55"/>
                    </a:lnTo>
                    <a:lnTo>
                      <a:pt x="7" y="55"/>
                    </a:lnTo>
                    <a:lnTo>
                      <a:pt x="2" y="62"/>
                    </a:lnTo>
                    <a:lnTo>
                      <a:pt x="3" y="65"/>
                    </a:lnTo>
                    <a:lnTo>
                      <a:pt x="5" y="68"/>
                    </a:lnTo>
                    <a:lnTo>
                      <a:pt x="5" y="73"/>
                    </a:lnTo>
                    <a:lnTo>
                      <a:pt x="7" y="78"/>
                    </a:lnTo>
                    <a:lnTo>
                      <a:pt x="3" y="83"/>
                    </a:lnTo>
                    <a:lnTo>
                      <a:pt x="0" y="85"/>
                    </a:lnTo>
                    <a:lnTo>
                      <a:pt x="3" y="88"/>
                    </a:lnTo>
                    <a:lnTo>
                      <a:pt x="8" y="90"/>
                    </a:lnTo>
                    <a:lnTo>
                      <a:pt x="13" y="95"/>
                    </a:lnTo>
                    <a:lnTo>
                      <a:pt x="18" y="97"/>
                    </a:lnTo>
                    <a:lnTo>
                      <a:pt x="20" y="97"/>
                    </a:lnTo>
                    <a:lnTo>
                      <a:pt x="22" y="92"/>
                    </a:lnTo>
                    <a:lnTo>
                      <a:pt x="23" y="88"/>
                    </a:lnTo>
                    <a:lnTo>
                      <a:pt x="27" y="85"/>
                    </a:lnTo>
                    <a:lnTo>
                      <a:pt x="27" y="88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87"/>
                    </a:lnTo>
                    <a:lnTo>
                      <a:pt x="30" y="87"/>
                    </a:lnTo>
                    <a:lnTo>
                      <a:pt x="32" y="93"/>
                    </a:lnTo>
                    <a:lnTo>
                      <a:pt x="30" y="98"/>
                    </a:lnTo>
                    <a:lnTo>
                      <a:pt x="30" y="102"/>
                    </a:lnTo>
                    <a:lnTo>
                      <a:pt x="28" y="108"/>
                    </a:lnTo>
                    <a:lnTo>
                      <a:pt x="22" y="113"/>
                    </a:lnTo>
                    <a:lnTo>
                      <a:pt x="25" y="113"/>
                    </a:lnTo>
                    <a:lnTo>
                      <a:pt x="27" y="120"/>
                    </a:lnTo>
                    <a:lnTo>
                      <a:pt x="22" y="122"/>
                    </a:lnTo>
                    <a:lnTo>
                      <a:pt x="17" y="127"/>
                    </a:lnTo>
                    <a:lnTo>
                      <a:pt x="18" y="130"/>
                    </a:lnTo>
                    <a:lnTo>
                      <a:pt x="23" y="130"/>
                    </a:lnTo>
                    <a:lnTo>
                      <a:pt x="28" y="128"/>
                    </a:lnTo>
                    <a:lnTo>
                      <a:pt x="30" y="132"/>
                    </a:lnTo>
                    <a:lnTo>
                      <a:pt x="38" y="133"/>
                    </a:lnTo>
                    <a:lnTo>
                      <a:pt x="42" y="135"/>
                    </a:lnTo>
                    <a:lnTo>
                      <a:pt x="50" y="143"/>
                    </a:lnTo>
                    <a:lnTo>
                      <a:pt x="52" y="143"/>
                    </a:lnTo>
                    <a:lnTo>
                      <a:pt x="57" y="140"/>
                    </a:lnTo>
                    <a:lnTo>
                      <a:pt x="76" y="103"/>
                    </a:lnTo>
                    <a:lnTo>
                      <a:pt x="80" y="102"/>
                    </a:lnTo>
                    <a:lnTo>
                      <a:pt x="105" y="93"/>
                    </a:lnTo>
                    <a:lnTo>
                      <a:pt x="115" y="87"/>
                    </a:lnTo>
                    <a:lnTo>
                      <a:pt x="131" y="73"/>
                    </a:lnTo>
                    <a:lnTo>
                      <a:pt x="138" y="58"/>
                    </a:lnTo>
                    <a:lnTo>
                      <a:pt x="143" y="58"/>
                    </a:lnTo>
                    <a:lnTo>
                      <a:pt x="143" y="57"/>
                    </a:lnTo>
                    <a:lnTo>
                      <a:pt x="145" y="52"/>
                    </a:lnTo>
                    <a:lnTo>
                      <a:pt x="145" y="47"/>
                    </a:lnTo>
                    <a:lnTo>
                      <a:pt x="140" y="39"/>
                    </a:lnTo>
                    <a:lnTo>
                      <a:pt x="140" y="37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8" y="34"/>
                    </a:lnTo>
                    <a:close/>
                    <a:moveTo>
                      <a:pt x="18" y="103"/>
                    </a:moveTo>
                    <a:lnTo>
                      <a:pt x="18" y="103"/>
                    </a:lnTo>
                    <a:lnTo>
                      <a:pt x="20" y="98"/>
                    </a:lnTo>
                    <a:lnTo>
                      <a:pt x="25" y="95"/>
                    </a:lnTo>
                    <a:lnTo>
                      <a:pt x="25" y="97"/>
                    </a:lnTo>
                    <a:lnTo>
                      <a:pt x="23" y="100"/>
                    </a:lnTo>
                    <a:lnTo>
                      <a:pt x="23" y="102"/>
                    </a:lnTo>
                    <a:lnTo>
                      <a:pt x="22" y="105"/>
                    </a:lnTo>
                    <a:lnTo>
                      <a:pt x="20" y="107"/>
                    </a:lnTo>
                    <a:lnTo>
                      <a:pt x="18" y="10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5" name="Freeform 170"/>
              <p:cNvSpPr>
                <a:spLocks/>
              </p:cNvSpPr>
              <p:nvPr/>
            </p:nvSpPr>
            <p:spPr bwMode="auto">
              <a:xfrm>
                <a:off x="5370452" y="3271790"/>
                <a:ext cx="168029" cy="216856"/>
              </a:xfrm>
              <a:custGeom>
                <a:avLst/>
                <a:gdLst/>
                <a:ahLst/>
                <a:cxnLst>
                  <a:cxn ang="0">
                    <a:pos x="286" y="245"/>
                  </a:cxn>
                  <a:cxn ang="0">
                    <a:pos x="268" y="244"/>
                  </a:cxn>
                  <a:cxn ang="0">
                    <a:pos x="268" y="217"/>
                  </a:cxn>
                  <a:cxn ang="0">
                    <a:pos x="248" y="222"/>
                  </a:cxn>
                  <a:cxn ang="0">
                    <a:pos x="218" y="209"/>
                  </a:cxn>
                  <a:cxn ang="0">
                    <a:pos x="190" y="184"/>
                  </a:cxn>
                  <a:cxn ang="0">
                    <a:pos x="185" y="167"/>
                  </a:cxn>
                  <a:cxn ang="0">
                    <a:pos x="186" y="152"/>
                  </a:cxn>
                  <a:cxn ang="0">
                    <a:pos x="200" y="142"/>
                  </a:cxn>
                  <a:cxn ang="0">
                    <a:pos x="205" y="121"/>
                  </a:cxn>
                  <a:cxn ang="0">
                    <a:pos x="220" y="106"/>
                  </a:cxn>
                  <a:cxn ang="0">
                    <a:pos x="255" y="96"/>
                  </a:cxn>
                  <a:cxn ang="0">
                    <a:pos x="265" y="93"/>
                  </a:cxn>
                  <a:cxn ang="0">
                    <a:pos x="278" y="94"/>
                  </a:cxn>
                  <a:cxn ang="0">
                    <a:pos x="260" y="84"/>
                  </a:cxn>
                  <a:cxn ang="0">
                    <a:pos x="270" y="56"/>
                  </a:cxn>
                  <a:cxn ang="0">
                    <a:pos x="258" y="49"/>
                  </a:cxn>
                  <a:cxn ang="0">
                    <a:pos x="233" y="49"/>
                  </a:cxn>
                  <a:cxn ang="0">
                    <a:pos x="211" y="53"/>
                  </a:cxn>
                  <a:cxn ang="0">
                    <a:pos x="203" y="48"/>
                  </a:cxn>
                  <a:cxn ang="0">
                    <a:pos x="195" y="34"/>
                  </a:cxn>
                  <a:cxn ang="0">
                    <a:pos x="172" y="18"/>
                  </a:cxn>
                  <a:cxn ang="0">
                    <a:pos x="158" y="5"/>
                  </a:cxn>
                  <a:cxn ang="0">
                    <a:pos x="147" y="3"/>
                  </a:cxn>
                  <a:cxn ang="0">
                    <a:pos x="150" y="23"/>
                  </a:cxn>
                  <a:cxn ang="0">
                    <a:pos x="122" y="53"/>
                  </a:cxn>
                  <a:cxn ang="0">
                    <a:pos x="64" y="106"/>
                  </a:cxn>
                  <a:cxn ang="0">
                    <a:pos x="45" y="99"/>
                  </a:cxn>
                  <a:cxn ang="0">
                    <a:pos x="25" y="96"/>
                  </a:cxn>
                  <a:cxn ang="0">
                    <a:pos x="32" y="79"/>
                  </a:cxn>
                  <a:cxn ang="0">
                    <a:pos x="12" y="88"/>
                  </a:cxn>
                  <a:cxn ang="0">
                    <a:pos x="0" y="106"/>
                  </a:cxn>
                  <a:cxn ang="0">
                    <a:pos x="2" y="116"/>
                  </a:cxn>
                  <a:cxn ang="0">
                    <a:pos x="7" y="131"/>
                  </a:cxn>
                  <a:cxn ang="0">
                    <a:pos x="10" y="141"/>
                  </a:cxn>
                  <a:cxn ang="0">
                    <a:pos x="39" y="154"/>
                  </a:cxn>
                  <a:cxn ang="0">
                    <a:pos x="49" y="176"/>
                  </a:cxn>
                  <a:cxn ang="0">
                    <a:pos x="67" y="197"/>
                  </a:cxn>
                  <a:cxn ang="0">
                    <a:pos x="80" y="219"/>
                  </a:cxn>
                  <a:cxn ang="0">
                    <a:pos x="90" y="242"/>
                  </a:cxn>
                  <a:cxn ang="0">
                    <a:pos x="97" y="254"/>
                  </a:cxn>
                  <a:cxn ang="0">
                    <a:pos x="110" y="274"/>
                  </a:cxn>
                  <a:cxn ang="0">
                    <a:pos x="127" y="295"/>
                  </a:cxn>
                  <a:cxn ang="0">
                    <a:pos x="130" y="308"/>
                  </a:cxn>
                  <a:cxn ang="0">
                    <a:pos x="133" y="318"/>
                  </a:cxn>
                  <a:cxn ang="0">
                    <a:pos x="145" y="330"/>
                  </a:cxn>
                  <a:cxn ang="0">
                    <a:pos x="160" y="340"/>
                  </a:cxn>
                  <a:cxn ang="0">
                    <a:pos x="175" y="348"/>
                  </a:cxn>
                  <a:cxn ang="0">
                    <a:pos x="186" y="357"/>
                  </a:cxn>
                  <a:cxn ang="0">
                    <a:pos x="201" y="368"/>
                  </a:cxn>
                  <a:cxn ang="0">
                    <a:pos x="223" y="375"/>
                  </a:cxn>
                  <a:cxn ang="0">
                    <a:pos x="238" y="383"/>
                  </a:cxn>
                  <a:cxn ang="0">
                    <a:pos x="251" y="395"/>
                  </a:cxn>
                  <a:cxn ang="0">
                    <a:pos x="261" y="403"/>
                  </a:cxn>
                  <a:cxn ang="0">
                    <a:pos x="279" y="416"/>
                  </a:cxn>
                  <a:cxn ang="0">
                    <a:pos x="299" y="408"/>
                  </a:cxn>
                  <a:cxn ang="0">
                    <a:pos x="301" y="393"/>
                  </a:cxn>
                  <a:cxn ang="0">
                    <a:pos x="298" y="388"/>
                  </a:cxn>
                  <a:cxn ang="0">
                    <a:pos x="313" y="367"/>
                  </a:cxn>
                  <a:cxn ang="0">
                    <a:pos x="306" y="342"/>
                  </a:cxn>
                  <a:cxn ang="0">
                    <a:pos x="309" y="312"/>
                  </a:cxn>
                  <a:cxn ang="0">
                    <a:pos x="314" y="277"/>
                  </a:cxn>
                </a:cxnLst>
                <a:rect l="0" t="0" r="r" b="b"/>
                <a:pathLst>
                  <a:path w="314" h="416">
                    <a:moveTo>
                      <a:pt x="291" y="245"/>
                    </a:moveTo>
                    <a:lnTo>
                      <a:pt x="291" y="245"/>
                    </a:lnTo>
                    <a:lnTo>
                      <a:pt x="288" y="244"/>
                    </a:lnTo>
                    <a:lnTo>
                      <a:pt x="286" y="245"/>
                    </a:lnTo>
                    <a:lnTo>
                      <a:pt x="279" y="245"/>
                    </a:lnTo>
                    <a:lnTo>
                      <a:pt x="276" y="245"/>
                    </a:lnTo>
                    <a:lnTo>
                      <a:pt x="271" y="247"/>
                    </a:lnTo>
                    <a:lnTo>
                      <a:pt x="268" y="244"/>
                    </a:lnTo>
                    <a:lnTo>
                      <a:pt x="268" y="239"/>
                    </a:lnTo>
                    <a:lnTo>
                      <a:pt x="266" y="225"/>
                    </a:lnTo>
                    <a:lnTo>
                      <a:pt x="266" y="219"/>
                    </a:lnTo>
                    <a:lnTo>
                      <a:pt x="268" y="217"/>
                    </a:lnTo>
                    <a:lnTo>
                      <a:pt x="270" y="212"/>
                    </a:lnTo>
                    <a:lnTo>
                      <a:pt x="266" y="209"/>
                    </a:lnTo>
                    <a:lnTo>
                      <a:pt x="258" y="214"/>
                    </a:lnTo>
                    <a:lnTo>
                      <a:pt x="248" y="222"/>
                    </a:lnTo>
                    <a:lnTo>
                      <a:pt x="236" y="222"/>
                    </a:lnTo>
                    <a:lnTo>
                      <a:pt x="225" y="222"/>
                    </a:lnTo>
                    <a:lnTo>
                      <a:pt x="223" y="215"/>
                    </a:lnTo>
                    <a:lnTo>
                      <a:pt x="218" y="209"/>
                    </a:lnTo>
                    <a:lnTo>
                      <a:pt x="211" y="207"/>
                    </a:lnTo>
                    <a:lnTo>
                      <a:pt x="196" y="209"/>
                    </a:lnTo>
                    <a:lnTo>
                      <a:pt x="201" y="201"/>
                    </a:lnTo>
                    <a:lnTo>
                      <a:pt x="190" y="184"/>
                    </a:lnTo>
                    <a:lnTo>
                      <a:pt x="183" y="177"/>
                    </a:lnTo>
                    <a:lnTo>
                      <a:pt x="185" y="174"/>
                    </a:lnTo>
                    <a:lnTo>
                      <a:pt x="183" y="171"/>
                    </a:lnTo>
                    <a:lnTo>
                      <a:pt x="185" y="167"/>
                    </a:lnTo>
                    <a:lnTo>
                      <a:pt x="186" y="162"/>
                    </a:lnTo>
                    <a:lnTo>
                      <a:pt x="185" y="159"/>
                    </a:lnTo>
                    <a:lnTo>
                      <a:pt x="186" y="157"/>
                    </a:lnTo>
                    <a:lnTo>
                      <a:pt x="186" y="152"/>
                    </a:lnTo>
                    <a:lnTo>
                      <a:pt x="195" y="149"/>
                    </a:lnTo>
                    <a:lnTo>
                      <a:pt x="198" y="149"/>
                    </a:lnTo>
                    <a:lnTo>
                      <a:pt x="201" y="146"/>
                    </a:lnTo>
                    <a:lnTo>
                      <a:pt x="200" y="142"/>
                    </a:lnTo>
                    <a:lnTo>
                      <a:pt x="196" y="134"/>
                    </a:lnTo>
                    <a:lnTo>
                      <a:pt x="203" y="127"/>
                    </a:lnTo>
                    <a:lnTo>
                      <a:pt x="203" y="124"/>
                    </a:lnTo>
                    <a:lnTo>
                      <a:pt x="205" y="121"/>
                    </a:lnTo>
                    <a:lnTo>
                      <a:pt x="205" y="116"/>
                    </a:lnTo>
                    <a:lnTo>
                      <a:pt x="208" y="112"/>
                    </a:lnTo>
                    <a:lnTo>
                      <a:pt x="215" y="111"/>
                    </a:lnTo>
                    <a:lnTo>
                      <a:pt x="220" y="106"/>
                    </a:lnTo>
                    <a:lnTo>
                      <a:pt x="223" y="106"/>
                    </a:lnTo>
                    <a:lnTo>
                      <a:pt x="225" y="103"/>
                    </a:lnTo>
                    <a:lnTo>
                      <a:pt x="238" y="101"/>
                    </a:lnTo>
                    <a:lnTo>
                      <a:pt x="255" y="96"/>
                    </a:lnTo>
                    <a:lnTo>
                      <a:pt x="256" y="91"/>
                    </a:lnTo>
                    <a:lnTo>
                      <a:pt x="258" y="93"/>
                    </a:lnTo>
                    <a:lnTo>
                      <a:pt x="263" y="93"/>
                    </a:lnTo>
                    <a:lnTo>
                      <a:pt x="265" y="93"/>
                    </a:lnTo>
                    <a:lnTo>
                      <a:pt x="270" y="96"/>
                    </a:lnTo>
                    <a:lnTo>
                      <a:pt x="270" y="96"/>
                    </a:lnTo>
                    <a:lnTo>
                      <a:pt x="274" y="98"/>
                    </a:lnTo>
                    <a:lnTo>
                      <a:pt x="278" y="94"/>
                    </a:lnTo>
                    <a:lnTo>
                      <a:pt x="276" y="88"/>
                    </a:lnTo>
                    <a:lnTo>
                      <a:pt x="271" y="84"/>
                    </a:lnTo>
                    <a:lnTo>
                      <a:pt x="266" y="84"/>
                    </a:lnTo>
                    <a:lnTo>
                      <a:pt x="260" y="84"/>
                    </a:lnTo>
                    <a:lnTo>
                      <a:pt x="260" y="83"/>
                    </a:lnTo>
                    <a:lnTo>
                      <a:pt x="274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68" y="54"/>
                    </a:lnTo>
                    <a:lnTo>
                      <a:pt x="263" y="51"/>
                    </a:lnTo>
                    <a:lnTo>
                      <a:pt x="260" y="51"/>
                    </a:lnTo>
                    <a:lnTo>
                      <a:pt x="258" y="49"/>
                    </a:lnTo>
                    <a:lnTo>
                      <a:pt x="253" y="49"/>
                    </a:lnTo>
                    <a:lnTo>
                      <a:pt x="245" y="53"/>
                    </a:lnTo>
                    <a:lnTo>
                      <a:pt x="240" y="49"/>
                    </a:lnTo>
                    <a:lnTo>
                      <a:pt x="233" y="49"/>
                    </a:lnTo>
                    <a:lnTo>
                      <a:pt x="225" y="53"/>
                    </a:lnTo>
                    <a:lnTo>
                      <a:pt x="221" y="54"/>
                    </a:lnTo>
                    <a:lnTo>
                      <a:pt x="216" y="54"/>
                    </a:lnTo>
                    <a:lnTo>
                      <a:pt x="211" y="53"/>
                    </a:lnTo>
                    <a:lnTo>
                      <a:pt x="206" y="54"/>
                    </a:lnTo>
                    <a:lnTo>
                      <a:pt x="203" y="53"/>
                    </a:lnTo>
                    <a:lnTo>
                      <a:pt x="201" y="49"/>
                    </a:lnTo>
                    <a:lnTo>
                      <a:pt x="203" y="48"/>
                    </a:lnTo>
                    <a:lnTo>
                      <a:pt x="200" y="41"/>
                    </a:lnTo>
                    <a:lnTo>
                      <a:pt x="196" y="39"/>
                    </a:lnTo>
                    <a:lnTo>
                      <a:pt x="195" y="39"/>
                    </a:lnTo>
                    <a:lnTo>
                      <a:pt x="195" y="34"/>
                    </a:lnTo>
                    <a:lnTo>
                      <a:pt x="190" y="28"/>
                    </a:lnTo>
                    <a:lnTo>
                      <a:pt x="178" y="24"/>
                    </a:lnTo>
                    <a:lnTo>
                      <a:pt x="175" y="24"/>
                    </a:lnTo>
                    <a:lnTo>
                      <a:pt x="172" y="18"/>
                    </a:lnTo>
                    <a:lnTo>
                      <a:pt x="172" y="13"/>
                    </a:lnTo>
                    <a:lnTo>
                      <a:pt x="165" y="8"/>
                    </a:lnTo>
                    <a:lnTo>
                      <a:pt x="163" y="5"/>
                    </a:lnTo>
                    <a:lnTo>
                      <a:pt x="158" y="5"/>
                    </a:lnTo>
                    <a:lnTo>
                      <a:pt x="150" y="1"/>
                    </a:lnTo>
                    <a:lnTo>
                      <a:pt x="147" y="0"/>
                    </a:lnTo>
                    <a:lnTo>
                      <a:pt x="145" y="0"/>
                    </a:lnTo>
                    <a:lnTo>
                      <a:pt x="147" y="3"/>
                    </a:lnTo>
                    <a:lnTo>
                      <a:pt x="147" y="5"/>
                    </a:lnTo>
                    <a:lnTo>
                      <a:pt x="152" y="13"/>
                    </a:lnTo>
                    <a:lnTo>
                      <a:pt x="152" y="18"/>
                    </a:lnTo>
                    <a:lnTo>
                      <a:pt x="150" y="23"/>
                    </a:lnTo>
                    <a:lnTo>
                      <a:pt x="150" y="24"/>
                    </a:lnTo>
                    <a:lnTo>
                      <a:pt x="145" y="24"/>
                    </a:lnTo>
                    <a:lnTo>
                      <a:pt x="138" y="39"/>
                    </a:lnTo>
                    <a:lnTo>
                      <a:pt x="122" y="53"/>
                    </a:lnTo>
                    <a:lnTo>
                      <a:pt x="112" y="59"/>
                    </a:lnTo>
                    <a:lnTo>
                      <a:pt x="87" y="68"/>
                    </a:lnTo>
                    <a:lnTo>
                      <a:pt x="83" y="69"/>
                    </a:lnTo>
                    <a:lnTo>
                      <a:pt x="64" y="106"/>
                    </a:lnTo>
                    <a:lnTo>
                      <a:pt x="59" y="109"/>
                    </a:lnTo>
                    <a:lnTo>
                      <a:pt x="57" y="109"/>
                    </a:lnTo>
                    <a:lnTo>
                      <a:pt x="49" y="101"/>
                    </a:lnTo>
                    <a:lnTo>
                      <a:pt x="45" y="99"/>
                    </a:lnTo>
                    <a:lnTo>
                      <a:pt x="37" y="98"/>
                    </a:lnTo>
                    <a:lnTo>
                      <a:pt x="35" y="94"/>
                    </a:lnTo>
                    <a:lnTo>
                      <a:pt x="30" y="96"/>
                    </a:lnTo>
                    <a:lnTo>
                      <a:pt x="25" y="96"/>
                    </a:lnTo>
                    <a:lnTo>
                      <a:pt x="24" y="93"/>
                    </a:lnTo>
                    <a:lnTo>
                      <a:pt x="29" y="88"/>
                    </a:lnTo>
                    <a:lnTo>
                      <a:pt x="34" y="86"/>
                    </a:lnTo>
                    <a:lnTo>
                      <a:pt x="32" y="79"/>
                    </a:lnTo>
                    <a:lnTo>
                      <a:pt x="29" y="79"/>
                    </a:lnTo>
                    <a:lnTo>
                      <a:pt x="29" y="79"/>
                    </a:lnTo>
                    <a:lnTo>
                      <a:pt x="17" y="84"/>
                    </a:lnTo>
                    <a:lnTo>
                      <a:pt x="12" y="88"/>
                    </a:lnTo>
                    <a:lnTo>
                      <a:pt x="4" y="94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0" y="106"/>
                    </a:lnTo>
                    <a:lnTo>
                      <a:pt x="5" y="109"/>
                    </a:lnTo>
                    <a:lnTo>
                      <a:pt x="5" y="112"/>
                    </a:lnTo>
                    <a:lnTo>
                      <a:pt x="2" y="114"/>
                    </a:lnTo>
                    <a:lnTo>
                      <a:pt x="2" y="116"/>
                    </a:lnTo>
                    <a:lnTo>
                      <a:pt x="7" y="121"/>
                    </a:lnTo>
                    <a:lnTo>
                      <a:pt x="10" y="126"/>
                    </a:lnTo>
                    <a:lnTo>
                      <a:pt x="10" y="131"/>
                    </a:lnTo>
                    <a:lnTo>
                      <a:pt x="7" y="131"/>
                    </a:lnTo>
                    <a:lnTo>
                      <a:pt x="2" y="132"/>
                    </a:lnTo>
                    <a:lnTo>
                      <a:pt x="2" y="136"/>
                    </a:lnTo>
                    <a:lnTo>
                      <a:pt x="5" y="139"/>
                    </a:lnTo>
                    <a:lnTo>
                      <a:pt x="10" y="141"/>
                    </a:lnTo>
                    <a:lnTo>
                      <a:pt x="17" y="147"/>
                    </a:lnTo>
                    <a:lnTo>
                      <a:pt x="24" y="147"/>
                    </a:lnTo>
                    <a:lnTo>
                      <a:pt x="34" y="154"/>
                    </a:lnTo>
                    <a:lnTo>
                      <a:pt x="39" y="154"/>
                    </a:lnTo>
                    <a:lnTo>
                      <a:pt x="40" y="157"/>
                    </a:lnTo>
                    <a:lnTo>
                      <a:pt x="45" y="166"/>
                    </a:lnTo>
                    <a:lnTo>
                      <a:pt x="47" y="171"/>
                    </a:lnTo>
                    <a:lnTo>
                      <a:pt x="49" y="176"/>
                    </a:lnTo>
                    <a:lnTo>
                      <a:pt x="59" y="181"/>
                    </a:lnTo>
                    <a:lnTo>
                      <a:pt x="64" y="187"/>
                    </a:lnTo>
                    <a:lnTo>
                      <a:pt x="65" y="192"/>
                    </a:lnTo>
                    <a:lnTo>
                      <a:pt x="67" y="197"/>
                    </a:lnTo>
                    <a:lnTo>
                      <a:pt x="69" y="204"/>
                    </a:lnTo>
                    <a:lnTo>
                      <a:pt x="72" y="209"/>
                    </a:lnTo>
                    <a:lnTo>
                      <a:pt x="75" y="210"/>
                    </a:lnTo>
                    <a:lnTo>
                      <a:pt x="80" y="219"/>
                    </a:lnTo>
                    <a:lnTo>
                      <a:pt x="80" y="224"/>
                    </a:lnTo>
                    <a:lnTo>
                      <a:pt x="78" y="225"/>
                    </a:lnTo>
                    <a:lnTo>
                      <a:pt x="83" y="232"/>
                    </a:lnTo>
                    <a:lnTo>
                      <a:pt x="90" y="242"/>
                    </a:lnTo>
                    <a:lnTo>
                      <a:pt x="93" y="245"/>
                    </a:lnTo>
                    <a:lnTo>
                      <a:pt x="92" y="250"/>
                    </a:lnTo>
                    <a:lnTo>
                      <a:pt x="93" y="252"/>
                    </a:lnTo>
                    <a:lnTo>
                      <a:pt x="97" y="254"/>
                    </a:lnTo>
                    <a:lnTo>
                      <a:pt x="105" y="260"/>
                    </a:lnTo>
                    <a:lnTo>
                      <a:pt x="107" y="264"/>
                    </a:lnTo>
                    <a:lnTo>
                      <a:pt x="107" y="270"/>
                    </a:lnTo>
                    <a:lnTo>
                      <a:pt x="110" y="274"/>
                    </a:lnTo>
                    <a:lnTo>
                      <a:pt x="117" y="275"/>
                    </a:lnTo>
                    <a:lnTo>
                      <a:pt x="117" y="280"/>
                    </a:lnTo>
                    <a:lnTo>
                      <a:pt x="125" y="290"/>
                    </a:lnTo>
                    <a:lnTo>
                      <a:pt x="127" y="295"/>
                    </a:lnTo>
                    <a:lnTo>
                      <a:pt x="133" y="305"/>
                    </a:lnTo>
                    <a:lnTo>
                      <a:pt x="135" y="310"/>
                    </a:lnTo>
                    <a:lnTo>
                      <a:pt x="132" y="310"/>
                    </a:lnTo>
                    <a:lnTo>
                      <a:pt x="130" y="308"/>
                    </a:lnTo>
                    <a:lnTo>
                      <a:pt x="130" y="312"/>
                    </a:lnTo>
                    <a:lnTo>
                      <a:pt x="130" y="315"/>
                    </a:lnTo>
                    <a:lnTo>
                      <a:pt x="130" y="318"/>
                    </a:lnTo>
                    <a:lnTo>
                      <a:pt x="133" y="318"/>
                    </a:lnTo>
                    <a:lnTo>
                      <a:pt x="137" y="320"/>
                    </a:lnTo>
                    <a:lnTo>
                      <a:pt x="137" y="322"/>
                    </a:lnTo>
                    <a:lnTo>
                      <a:pt x="137" y="325"/>
                    </a:lnTo>
                    <a:lnTo>
                      <a:pt x="145" y="330"/>
                    </a:lnTo>
                    <a:lnTo>
                      <a:pt x="152" y="333"/>
                    </a:lnTo>
                    <a:lnTo>
                      <a:pt x="152" y="337"/>
                    </a:lnTo>
                    <a:lnTo>
                      <a:pt x="157" y="340"/>
                    </a:lnTo>
                    <a:lnTo>
                      <a:pt x="160" y="340"/>
                    </a:lnTo>
                    <a:lnTo>
                      <a:pt x="162" y="343"/>
                    </a:lnTo>
                    <a:lnTo>
                      <a:pt x="163" y="347"/>
                    </a:lnTo>
                    <a:lnTo>
                      <a:pt x="167" y="348"/>
                    </a:lnTo>
                    <a:lnTo>
                      <a:pt x="175" y="348"/>
                    </a:lnTo>
                    <a:lnTo>
                      <a:pt x="176" y="345"/>
                    </a:lnTo>
                    <a:lnTo>
                      <a:pt x="175" y="350"/>
                    </a:lnTo>
                    <a:lnTo>
                      <a:pt x="180" y="353"/>
                    </a:lnTo>
                    <a:lnTo>
                      <a:pt x="186" y="357"/>
                    </a:lnTo>
                    <a:lnTo>
                      <a:pt x="191" y="360"/>
                    </a:lnTo>
                    <a:lnTo>
                      <a:pt x="191" y="363"/>
                    </a:lnTo>
                    <a:lnTo>
                      <a:pt x="195" y="365"/>
                    </a:lnTo>
                    <a:lnTo>
                      <a:pt x="201" y="368"/>
                    </a:lnTo>
                    <a:lnTo>
                      <a:pt x="203" y="367"/>
                    </a:lnTo>
                    <a:lnTo>
                      <a:pt x="206" y="368"/>
                    </a:lnTo>
                    <a:lnTo>
                      <a:pt x="216" y="373"/>
                    </a:lnTo>
                    <a:lnTo>
                      <a:pt x="223" y="375"/>
                    </a:lnTo>
                    <a:lnTo>
                      <a:pt x="228" y="375"/>
                    </a:lnTo>
                    <a:lnTo>
                      <a:pt x="230" y="377"/>
                    </a:lnTo>
                    <a:lnTo>
                      <a:pt x="231" y="380"/>
                    </a:lnTo>
                    <a:lnTo>
                      <a:pt x="238" y="383"/>
                    </a:lnTo>
                    <a:lnTo>
                      <a:pt x="241" y="387"/>
                    </a:lnTo>
                    <a:lnTo>
                      <a:pt x="246" y="390"/>
                    </a:lnTo>
                    <a:lnTo>
                      <a:pt x="250" y="392"/>
                    </a:lnTo>
                    <a:lnTo>
                      <a:pt x="251" y="395"/>
                    </a:lnTo>
                    <a:lnTo>
                      <a:pt x="251" y="397"/>
                    </a:lnTo>
                    <a:lnTo>
                      <a:pt x="251" y="400"/>
                    </a:lnTo>
                    <a:lnTo>
                      <a:pt x="256" y="400"/>
                    </a:lnTo>
                    <a:lnTo>
                      <a:pt x="261" y="403"/>
                    </a:lnTo>
                    <a:lnTo>
                      <a:pt x="268" y="408"/>
                    </a:lnTo>
                    <a:lnTo>
                      <a:pt x="274" y="415"/>
                    </a:lnTo>
                    <a:lnTo>
                      <a:pt x="279" y="415"/>
                    </a:lnTo>
                    <a:lnTo>
                      <a:pt x="279" y="416"/>
                    </a:lnTo>
                    <a:lnTo>
                      <a:pt x="286" y="413"/>
                    </a:lnTo>
                    <a:lnTo>
                      <a:pt x="291" y="410"/>
                    </a:lnTo>
                    <a:lnTo>
                      <a:pt x="294" y="411"/>
                    </a:lnTo>
                    <a:lnTo>
                      <a:pt x="299" y="408"/>
                    </a:lnTo>
                    <a:lnTo>
                      <a:pt x="301" y="405"/>
                    </a:lnTo>
                    <a:lnTo>
                      <a:pt x="296" y="402"/>
                    </a:lnTo>
                    <a:lnTo>
                      <a:pt x="298" y="397"/>
                    </a:lnTo>
                    <a:lnTo>
                      <a:pt x="301" y="393"/>
                    </a:lnTo>
                    <a:lnTo>
                      <a:pt x="304" y="395"/>
                    </a:lnTo>
                    <a:lnTo>
                      <a:pt x="303" y="392"/>
                    </a:lnTo>
                    <a:lnTo>
                      <a:pt x="301" y="392"/>
                    </a:lnTo>
                    <a:lnTo>
                      <a:pt x="298" y="388"/>
                    </a:lnTo>
                    <a:lnTo>
                      <a:pt x="301" y="382"/>
                    </a:lnTo>
                    <a:lnTo>
                      <a:pt x="308" y="378"/>
                    </a:lnTo>
                    <a:lnTo>
                      <a:pt x="313" y="373"/>
                    </a:lnTo>
                    <a:lnTo>
                      <a:pt x="313" y="367"/>
                    </a:lnTo>
                    <a:lnTo>
                      <a:pt x="306" y="353"/>
                    </a:lnTo>
                    <a:lnTo>
                      <a:pt x="308" y="350"/>
                    </a:lnTo>
                    <a:lnTo>
                      <a:pt x="308" y="343"/>
                    </a:lnTo>
                    <a:lnTo>
                      <a:pt x="306" y="342"/>
                    </a:lnTo>
                    <a:lnTo>
                      <a:pt x="304" y="337"/>
                    </a:lnTo>
                    <a:lnTo>
                      <a:pt x="308" y="333"/>
                    </a:lnTo>
                    <a:lnTo>
                      <a:pt x="309" y="325"/>
                    </a:lnTo>
                    <a:lnTo>
                      <a:pt x="309" y="312"/>
                    </a:lnTo>
                    <a:lnTo>
                      <a:pt x="306" y="305"/>
                    </a:lnTo>
                    <a:lnTo>
                      <a:pt x="309" y="299"/>
                    </a:lnTo>
                    <a:lnTo>
                      <a:pt x="309" y="284"/>
                    </a:lnTo>
                    <a:lnTo>
                      <a:pt x="314" y="277"/>
                    </a:lnTo>
                    <a:lnTo>
                      <a:pt x="313" y="274"/>
                    </a:lnTo>
                    <a:lnTo>
                      <a:pt x="291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6" name="Freeform 171"/>
              <p:cNvSpPr>
                <a:spLocks/>
              </p:cNvSpPr>
              <p:nvPr/>
            </p:nvSpPr>
            <p:spPr bwMode="auto">
              <a:xfrm>
                <a:off x="5526708" y="3383849"/>
                <a:ext cx="161607" cy="158751"/>
              </a:xfrm>
              <a:custGeom>
                <a:avLst/>
                <a:gdLst/>
                <a:ahLst/>
                <a:cxnLst>
                  <a:cxn ang="0">
                    <a:pos x="291" y="225"/>
                  </a:cxn>
                  <a:cxn ang="0">
                    <a:pos x="289" y="172"/>
                  </a:cxn>
                  <a:cxn ang="0">
                    <a:pos x="274" y="147"/>
                  </a:cxn>
                  <a:cxn ang="0">
                    <a:pos x="224" y="122"/>
                  </a:cxn>
                  <a:cxn ang="0">
                    <a:pos x="226" y="98"/>
                  </a:cxn>
                  <a:cxn ang="0">
                    <a:pos x="199" y="90"/>
                  </a:cxn>
                  <a:cxn ang="0">
                    <a:pos x="188" y="80"/>
                  </a:cxn>
                  <a:cxn ang="0">
                    <a:pos x="166" y="75"/>
                  </a:cxn>
                  <a:cxn ang="0">
                    <a:pos x="143" y="60"/>
                  </a:cxn>
                  <a:cxn ang="0">
                    <a:pos x="126" y="60"/>
                  </a:cxn>
                  <a:cxn ang="0">
                    <a:pos x="110" y="47"/>
                  </a:cxn>
                  <a:cxn ang="0">
                    <a:pos x="103" y="32"/>
                  </a:cxn>
                  <a:cxn ang="0">
                    <a:pos x="101" y="7"/>
                  </a:cxn>
                  <a:cxn ang="0">
                    <a:pos x="93" y="4"/>
                  </a:cxn>
                  <a:cxn ang="0">
                    <a:pos x="75" y="4"/>
                  </a:cxn>
                  <a:cxn ang="0">
                    <a:pos x="52" y="22"/>
                  </a:cxn>
                  <a:cxn ang="0">
                    <a:pos x="33" y="27"/>
                  </a:cxn>
                  <a:cxn ang="0">
                    <a:pos x="15" y="30"/>
                  </a:cxn>
                  <a:cxn ang="0">
                    <a:pos x="23" y="62"/>
                  </a:cxn>
                  <a:cxn ang="0">
                    <a:pos x="15" y="90"/>
                  </a:cxn>
                  <a:cxn ang="0">
                    <a:pos x="17" y="118"/>
                  </a:cxn>
                  <a:cxn ang="0">
                    <a:pos x="17" y="128"/>
                  </a:cxn>
                  <a:cxn ang="0">
                    <a:pos x="22" y="152"/>
                  </a:cxn>
                  <a:cxn ang="0">
                    <a:pos x="10" y="167"/>
                  </a:cxn>
                  <a:cxn ang="0">
                    <a:pos x="12" y="177"/>
                  </a:cxn>
                  <a:cxn ang="0">
                    <a:pos x="15" y="185"/>
                  </a:cxn>
                  <a:cxn ang="0">
                    <a:pos x="23" y="195"/>
                  </a:cxn>
                  <a:cxn ang="0">
                    <a:pos x="23" y="210"/>
                  </a:cxn>
                  <a:cxn ang="0">
                    <a:pos x="40" y="225"/>
                  </a:cxn>
                  <a:cxn ang="0">
                    <a:pos x="33" y="248"/>
                  </a:cxn>
                  <a:cxn ang="0">
                    <a:pos x="67" y="306"/>
                  </a:cxn>
                  <a:cxn ang="0">
                    <a:pos x="78" y="303"/>
                  </a:cxn>
                  <a:cxn ang="0">
                    <a:pos x="85" y="291"/>
                  </a:cxn>
                  <a:cxn ang="0">
                    <a:pos x="106" y="285"/>
                  </a:cxn>
                  <a:cxn ang="0">
                    <a:pos x="123" y="285"/>
                  </a:cxn>
                  <a:cxn ang="0">
                    <a:pos x="138" y="289"/>
                  </a:cxn>
                  <a:cxn ang="0">
                    <a:pos x="145" y="298"/>
                  </a:cxn>
                  <a:cxn ang="0">
                    <a:pos x="148" y="286"/>
                  </a:cxn>
                  <a:cxn ang="0">
                    <a:pos x="178" y="281"/>
                  </a:cxn>
                  <a:cxn ang="0">
                    <a:pos x="191" y="266"/>
                  </a:cxn>
                  <a:cxn ang="0">
                    <a:pos x="188" y="251"/>
                  </a:cxn>
                  <a:cxn ang="0">
                    <a:pos x="199" y="228"/>
                  </a:cxn>
                  <a:cxn ang="0">
                    <a:pos x="264" y="218"/>
                  </a:cxn>
                  <a:cxn ang="0">
                    <a:pos x="287" y="231"/>
                  </a:cxn>
                </a:cxnLst>
                <a:rect l="0" t="0" r="r" b="b"/>
                <a:pathLst>
                  <a:path w="302" h="306">
                    <a:moveTo>
                      <a:pt x="287" y="231"/>
                    </a:moveTo>
                    <a:lnTo>
                      <a:pt x="291" y="228"/>
                    </a:lnTo>
                    <a:lnTo>
                      <a:pt x="291" y="225"/>
                    </a:lnTo>
                    <a:lnTo>
                      <a:pt x="302" y="203"/>
                    </a:lnTo>
                    <a:lnTo>
                      <a:pt x="301" y="191"/>
                    </a:lnTo>
                    <a:lnTo>
                      <a:pt x="289" y="172"/>
                    </a:lnTo>
                    <a:lnTo>
                      <a:pt x="276" y="170"/>
                    </a:lnTo>
                    <a:lnTo>
                      <a:pt x="277" y="160"/>
                    </a:lnTo>
                    <a:lnTo>
                      <a:pt x="274" y="147"/>
                    </a:lnTo>
                    <a:lnTo>
                      <a:pt x="233" y="147"/>
                    </a:lnTo>
                    <a:lnTo>
                      <a:pt x="233" y="135"/>
                    </a:lnTo>
                    <a:lnTo>
                      <a:pt x="224" y="122"/>
                    </a:lnTo>
                    <a:lnTo>
                      <a:pt x="226" y="117"/>
                    </a:lnTo>
                    <a:lnTo>
                      <a:pt x="224" y="108"/>
                    </a:lnTo>
                    <a:lnTo>
                      <a:pt x="226" y="98"/>
                    </a:lnTo>
                    <a:lnTo>
                      <a:pt x="224" y="95"/>
                    </a:lnTo>
                    <a:lnTo>
                      <a:pt x="214" y="90"/>
                    </a:lnTo>
                    <a:lnTo>
                      <a:pt x="199" y="90"/>
                    </a:lnTo>
                    <a:lnTo>
                      <a:pt x="194" y="88"/>
                    </a:lnTo>
                    <a:lnTo>
                      <a:pt x="189" y="87"/>
                    </a:lnTo>
                    <a:lnTo>
                      <a:pt x="188" y="80"/>
                    </a:lnTo>
                    <a:lnTo>
                      <a:pt x="181" y="79"/>
                    </a:lnTo>
                    <a:lnTo>
                      <a:pt x="170" y="75"/>
                    </a:lnTo>
                    <a:lnTo>
                      <a:pt x="166" y="75"/>
                    </a:lnTo>
                    <a:lnTo>
                      <a:pt x="158" y="67"/>
                    </a:lnTo>
                    <a:lnTo>
                      <a:pt x="151" y="69"/>
                    </a:lnTo>
                    <a:lnTo>
                      <a:pt x="143" y="60"/>
                    </a:lnTo>
                    <a:lnTo>
                      <a:pt x="133" y="62"/>
                    </a:lnTo>
                    <a:lnTo>
                      <a:pt x="131" y="65"/>
                    </a:lnTo>
                    <a:lnTo>
                      <a:pt x="126" y="60"/>
                    </a:lnTo>
                    <a:lnTo>
                      <a:pt x="118" y="55"/>
                    </a:lnTo>
                    <a:lnTo>
                      <a:pt x="111" y="54"/>
                    </a:lnTo>
                    <a:lnTo>
                      <a:pt x="110" y="47"/>
                    </a:lnTo>
                    <a:lnTo>
                      <a:pt x="105" y="45"/>
                    </a:lnTo>
                    <a:lnTo>
                      <a:pt x="101" y="37"/>
                    </a:lnTo>
                    <a:lnTo>
                      <a:pt x="103" y="32"/>
                    </a:lnTo>
                    <a:lnTo>
                      <a:pt x="100" y="22"/>
                    </a:lnTo>
                    <a:lnTo>
                      <a:pt x="103" y="15"/>
                    </a:lnTo>
                    <a:lnTo>
                      <a:pt x="101" y="7"/>
                    </a:lnTo>
                    <a:lnTo>
                      <a:pt x="101" y="2"/>
                    </a:lnTo>
                    <a:lnTo>
                      <a:pt x="98" y="0"/>
                    </a:lnTo>
                    <a:lnTo>
                      <a:pt x="93" y="4"/>
                    </a:lnTo>
                    <a:lnTo>
                      <a:pt x="88" y="0"/>
                    </a:lnTo>
                    <a:lnTo>
                      <a:pt x="83" y="0"/>
                    </a:lnTo>
                    <a:lnTo>
                      <a:pt x="75" y="4"/>
                    </a:lnTo>
                    <a:lnTo>
                      <a:pt x="67" y="5"/>
                    </a:lnTo>
                    <a:lnTo>
                      <a:pt x="55" y="12"/>
                    </a:lnTo>
                    <a:lnTo>
                      <a:pt x="52" y="22"/>
                    </a:lnTo>
                    <a:lnTo>
                      <a:pt x="45" y="24"/>
                    </a:lnTo>
                    <a:lnTo>
                      <a:pt x="38" y="24"/>
                    </a:lnTo>
                    <a:lnTo>
                      <a:pt x="33" y="27"/>
                    </a:lnTo>
                    <a:lnTo>
                      <a:pt x="30" y="27"/>
                    </a:lnTo>
                    <a:lnTo>
                      <a:pt x="22" y="30"/>
                    </a:lnTo>
                    <a:lnTo>
                      <a:pt x="15" y="30"/>
                    </a:lnTo>
                    <a:lnTo>
                      <a:pt x="0" y="30"/>
                    </a:lnTo>
                    <a:lnTo>
                      <a:pt x="22" y="59"/>
                    </a:lnTo>
                    <a:lnTo>
                      <a:pt x="23" y="62"/>
                    </a:lnTo>
                    <a:lnTo>
                      <a:pt x="18" y="69"/>
                    </a:lnTo>
                    <a:lnTo>
                      <a:pt x="18" y="84"/>
                    </a:lnTo>
                    <a:lnTo>
                      <a:pt x="15" y="90"/>
                    </a:lnTo>
                    <a:lnTo>
                      <a:pt x="18" y="97"/>
                    </a:lnTo>
                    <a:lnTo>
                      <a:pt x="18" y="110"/>
                    </a:lnTo>
                    <a:lnTo>
                      <a:pt x="17" y="118"/>
                    </a:lnTo>
                    <a:lnTo>
                      <a:pt x="13" y="122"/>
                    </a:lnTo>
                    <a:lnTo>
                      <a:pt x="15" y="127"/>
                    </a:lnTo>
                    <a:lnTo>
                      <a:pt x="17" y="128"/>
                    </a:lnTo>
                    <a:lnTo>
                      <a:pt x="17" y="135"/>
                    </a:lnTo>
                    <a:lnTo>
                      <a:pt x="15" y="138"/>
                    </a:lnTo>
                    <a:lnTo>
                      <a:pt x="22" y="152"/>
                    </a:lnTo>
                    <a:lnTo>
                      <a:pt x="22" y="158"/>
                    </a:lnTo>
                    <a:lnTo>
                      <a:pt x="17" y="163"/>
                    </a:lnTo>
                    <a:lnTo>
                      <a:pt x="10" y="167"/>
                    </a:lnTo>
                    <a:lnTo>
                      <a:pt x="7" y="173"/>
                    </a:lnTo>
                    <a:lnTo>
                      <a:pt x="10" y="177"/>
                    </a:lnTo>
                    <a:lnTo>
                      <a:pt x="12" y="177"/>
                    </a:lnTo>
                    <a:lnTo>
                      <a:pt x="13" y="180"/>
                    </a:lnTo>
                    <a:lnTo>
                      <a:pt x="13" y="180"/>
                    </a:lnTo>
                    <a:lnTo>
                      <a:pt x="15" y="185"/>
                    </a:lnTo>
                    <a:lnTo>
                      <a:pt x="20" y="188"/>
                    </a:lnTo>
                    <a:lnTo>
                      <a:pt x="22" y="191"/>
                    </a:lnTo>
                    <a:lnTo>
                      <a:pt x="23" y="195"/>
                    </a:lnTo>
                    <a:lnTo>
                      <a:pt x="22" y="200"/>
                    </a:lnTo>
                    <a:lnTo>
                      <a:pt x="23" y="201"/>
                    </a:lnTo>
                    <a:lnTo>
                      <a:pt x="23" y="210"/>
                    </a:lnTo>
                    <a:lnTo>
                      <a:pt x="28" y="215"/>
                    </a:lnTo>
                    <a:lnTo>
                      <a:pt x="38" y="221"/>
                    </a:lnTo>
                    <a:lnTo>
                      <a:pt x="40" y="225"/>
                    </a:lnTo>
                    <a:lnTo>
                      <a:pt x="37" y="231"/>
                    </a:lnTo>
                    <a:lnTo>
                      <a:pt x="38" y="236"/>
                    </a:lnTo>
                    <a:lnTo>
                      <a:pt x="33" y="248"/>
                    </a:lnTo>
                    <a:lnTo>
                      <a:pt x="37" y="253"/>
                    </a:lnTo>
                    <a:lnTo>
                      <a:pt x="48" y="263"/>
                    </a:lnTo>
                    <a:lnTo>
                      <a:pt x="67" y="306"/>
                    </a:lnTo>
                    <a:lnTo>
                      <a:pt x="73" y="306"/>
                    </a:lnTo>
                    <a:lnTo>
                      <a:pt x="75" y="303"/>
                    </a:lnTo>
                    <a:lnTo>
                      <a:pt x="78" y="303"/>
                    </a:lnTo>
                    <a:lnTo>
                      <a:pt x="78" y="303"/>
                    </a:lnTo>
                    <a:lnTo>
                      <a:pt x="81" y="299"/>
                    </a:lnTo>
                    <a:lnTo>
                      <a:pt x="85" y="291"/>
                    </a:lnTo>
                    <a:lnTo>
                      <a:pt x="95" y="283"/>
                    </a:lnTo>
                    <a:lnTo>
                      <a:pt x="101" y="280"/>
                    </a:lnTo>
                    <a:lnTo>
                      <a:pt x="106" y="285"/>
                    </a:lnTo>
                    <a:lnTo>
                      <a:pt x="115" y="285"/>
                    </a:lnTo>
                    <a:lnTo>
                      <a:pt x="118" y="283"/>
                    </a:lnTo>
                    <a:lnTo>
                      <a:pt x="123" y="285"/>
                    </a:lnTo>
                    <a:lnTo>
                      <a:pt x="133" y="283"/>
                    </a:lnTo>
                    <a:lnTo>
                      <a:pt x="136" y="283"/>
                    </a:lnTo>
                    <a:lnTo>
                      <a:pt x="138" y="289"/>
                    </a:lnTo>
                    <a:lnTo>
                      <a:pt x="141" y="298"/>
                    </a:lnTo>
                    <a:lnTo>
                      <a:pt x="143" y="301"/>
                    </a:lnTo>
                    <a:lnTo>
                      <a:pt x="145" y="298"/>
                    </a:lnTo>
                    <a:lnTo>
                      <a:pt x="145" y="294"/>
                    </a:lnTo>
                    <a:lnTo>
                      <a:pt x="148" y="289"/>
                    </a:lnTo>
                    <a:lnTo>
                      <a:pt x="148" y="286"/>
                    </a:lnTo>
                    <a:lnTo>
                      <a:pt x="151" y="281"/>
                    </a:lnTo>
                    <a:lnTo>
                      <a:pt x="166" y="281"/>
                    </a:lnTo>
                    <a:lnTo>
                      <a:pt x="178" y="281"/>
                    </a:lnTo>
                    <a:lnTo>
                      <a:pt x="183" y="285"/>
                    </a:lnTo>
                    <a:lnTo>
                      <a:pt x="184" y="278"/>
                    </a:lnTo>
                    <a:lnTo>
                      <a:pt x="191" y="266"/>
                    </a:lnTo>
                    <a:lnTo>
                      <a:pt x="191" y="260"/>
                    </a:lnTo>
                    <a:lnTo>
                      <a:pt x="189" y="255"/>
                    </a:lnTo>
                    <a:lnTo>
                      <a:pt x="188" y="251"/>
                    </a:lnTo>
                    <a:lnTo>
                      <a:pt x="196" y="240"/>
                    </a:lnTo>
                    <a:lnTo>
                      <a:pt x="199" y="231"/>
                    </a:lnTo>
                    <a:lnTo>
                      <a:pt x="199" y="228"/>
                    </a:lnTo>
                    <a:lnTo>
                      <a:pt x="204" y="225"/>
                    </a:lnTo>
                    <a:lnTo>
                      <a:pt x="238" y="216"/>
                    </a:lnTo>
                    <a:lnTo>
                      <a:pt x="264" y="218"/>
                    </a:lnTo>
                    <a:lnTo>
                      <a:pt x="281" y="228"/>
                    </a:lnTo>
                    <a:lnTo>
                      <a:pt x="284" y="228"/>
                    </a:lnTo>
                    <a:lnTo>
                      <a:pt x="287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7" name="Freeform 172"/>
              <p:cNvSpPr>
                <a:spLocks/>
              </p:cNvSpPr>
              <p:nvPr/>
            </p:nvSpPr>
            <p:spPr bwMode="auto">
              <a:xfrm>
                <a:off x="5624100" y="3495909"/>
                <a:ext cx="111306" cy="103759"/>
              </a:xfrm>
              <a:custGeom>
                <a:avLst/>
                <a:gdLst/>
                <a:ahLst/>
                <a:cxnLst>
                  <a:cxn ang="0">
                    <a:pos x="1" y="62"/>
                  </a:cxn>
                  <a:cxn ang="0">
                    <a:pos x="8" y="44"/>
                  </a:cxn>
                  <a:cxn ang="0">
                    <a:pos x="5" y="35"/>
                  </a:cxn>
                  <a:cxn ang="0">
                    <a:pos x="16" y="15"/>
                  </a:cxn>
                  <a:cxn ang="0">
                    <a:pos x="21" y="9"/>
                  </a:cxn>
                  <a:cxn ang="0">
                    <a:pos x="81" y="2"/>
                  </a:cxn>
                  <a:cxn ang="0">
                    <a:pos x="101" y="12"/>
                  </a:cxn>
                  <a:cxn ang="0">
                    <a:pos x="106" y="22"/>
                  </a:cxn>
                  <a:cxn ang="0">
                    <a:pos x="111" y="34"/>
                  </a:cxn>
                  <a:cxn ang="0">
                    <a:pos x="114" y="54"/>
                  </a:cxn>
                  <a:cxn ang="0">
                    <a:pos x="114" y="64"/>
                  </a:cxn>
                  <a:cxn ang="0">
                    <a:pos x="124" y="67"/>
                  </a:cxn>
                  <a:cxn ang="0">
                    <a:pos x="139" y="69"/>
                  </a:cxn>
                  <a:cxn ang="0">
                    <a:pos x="158" y="67"/>
                  </a:cxn>
                  <a:cxn ang="0">
                    <a:pos x="168" y="72"/>
                  </a:cxn>
                  <a:cxn ang="0">
                    <a:pos x="176" y="100"/>
                  </a:cxn>
                  <a:cxn ang="0">
                    <a:pos x="184" y="110"/>
                  </a:cxn>
                  <a:cxn ang="0">
                    <a:pos x="199" y="107"/>
                  </a:cxn>
                  <a:cxn ang="0">
                    <a:pos x="207" y="110"/>
                  </a:cxn>
                  <a:cxn ang="0">
                    <a:pos x="204" y="135"/>
                  </a:cxn>
                  <a:cxn ang="0">
                    <a:pos x="202" y="138"/>
                  </a:cxn>
                  <a:cxn ang="0">
                    <a:pos x="202" y="143"/>
                  </a:cxn>
                  <a:cxn ang="0">
                    <a:pos x="201" y="147"/>
                  </a:cxn>
                  <a:cxn ang="0">
                    <a:pos x="201" y="155"/>
                  </a:cxn>
                  <a:cxn ang="0">
                    <a:pos x="196" y="167"/>
                  </a:cxn>
                  <a:cxn ang="0">
                    <a:pos x="191" y="176"/>
                  </a:cxn>
                  <a:cxn ang="0">
                    <a:pos x="178" y="188"/>
                  </a:cxn>
                  <a:cxn ang="0">
                    <a:pos x="168" y="191"/>
                  </a:cxn>
                  <a:cxn ang="0">
                    <a:pos x="161" y="200"/>
                  </a:cxn>
                  <a:cxn ang="0">
                    <a:pos x="156" y="196"/>
                  </a:cxn>
                  <a:cxn ang="0">
                    <a:pos x="139" y="193"/>
                  </a:cxn>
                  <a:cxn ang="0">
                    <a:pos x="108" y="191"/>
                  </a:cxn>
                  <a:cxn ang="0">
                    <a:pos x="106" y="186"/>
                  </a:cxn>
                  <a:cxn ang="0">
                    <a:pos x="116" y="171"/>
                  </a:cxn>
                  <a:cxn ang="0">
                    <a:pos x="118" y="163"/>
                  </a:cxn>
                  <a:cxn ang="0">
                    <a:pos x="126" y="155"/>
                  </a:cxn>
                  <a:cxn ang="0">
                    <a:pos x="124" y="145"/>
                  </a:cxn>
                  <a:cxn ang="0">
                    <a:pos x="111" y="133"/>
                  </a:cxn>
                  <a:cxn ang="0">
                    <a:pos x="86" y="127"/>
                  </a:cxn>
                  <a:cxn ang="0">
                    <a:pos x="71" y="118"/>
                  </a:cxn>
                  <a:cxn ang="0">
                    <a:pos x="46" y="110"/>
                  </a:cxn>
                  <a:cxn ang="0">
                    <a:pos x="36" y="100"/>
                  </a:cxn>
                  <a:cxn ang="0">
                    <a:pos x="16" y="85"/>
                  </a:cxn>
                  <a:cxn ang="0">
                    <a:pos x="5" y="75"/>
                  </a:cxn>
                  <a:cxn ang="0">
                    <a:pos x="0" y="69"/>
                  </a:cxn>
                </a:cxnLst>
                <a:rect l="0" t="0" r="r" b="b"/>
                <a:pathLst>
                  <a:path w="207" h="200">
                    <a:moveTo>
                      <a:pt x="0" y="69"/>
                    </a:moveTo>
                    <a:lnTo>
                      <a:pt x="1" y="62"/>
                    </a:lnTo>
                    <a:lnTo>
                      <a:pt x="8" y="50"/>
                    </a:lnTo>
                    <a:lnTo>
                      <a:pt x="8" y="44"/>
                    </a:lnTo>
                    <a:lnTo>
                      <a:pt x="6" y="39"/>
                    </a:lnTo>
                    <a:lnTo>
                      <a:pt x="5" y="35"/>
                    </a:lnTo>
                    <a:lnTo>
                      <a:pt x="13" y="24"/>
                    </a:lnTo>
                    <a:lnTo>
                      <a:pt x="16" y="15"/>
                    </a:lnTo>
                    <a:lnTo>
                      <a:pt x="16" y="12"/>
                    </a:lnTo>
                    <a:lnTo>
                      <a:pt x="21" y="9"/>
                    </a:lnTo>
                    <a:lnTo>
                      <a:pt x="55" y="0"/>
                    </a:lnTo>
                    <a:lnTo>
                      <a:pt x="81" y="2"/>
                    </a:lnTo>
                    <a:lnTo>
                      <a:pt x="98" y="12"/>
                    </a:lnTo>
                    <a:lnTo>
                      <a:pt x="101" y="12"/>
                    </a:lnTo>
                    <a:lnTo>
                      <a:pt x="106" y="17"/>
                    </a:lnTo>
                    <a:lnTo>
                      <a:pt x="106" y="22"/>
                    </a:lnTo>
                    <a:lnTo>
                      <a:pt x="111" y="27"/>
                    </a:lnTo>
                    <a:lnTo>
                      <a:pt x="111" y="34"/>
                    </a:lnTo>
                    <a:lnTo>
                      <a:pt x="116" y="40"/>
                    </a:lnTo>
                    <a:lnTo>
                      <a:pt x="114" y="54"/>
                    </a:lnTo>
                    <a:lnTo>
                      <a:pt x="116" y="59"/>
                    </a:lnTo>
                    <a:lnTo>
                      <a:pt x="114" y="64"/>
                    </a:lnTo>
                    <a:lnTo>
                      <a:pt x="116" y="69"/>
                    </a:lnTo>
                    <a:lnTo>
                      <a:pt x="124" y="67"/>
                    </a:lnTo>
                    <a:lnTo>
                      <a:pt x="128" y="69"/>
                    </a:lnTo>
                    <a:lnTo>
                      <a:pt x="139" y="69"/>
                    </a:lnTo>
                    <a:lnTo>
                      <a:pt x="146" y="70"/>
                    </a:lnTo>
                    <a:lnTo>
                      <a:pt x="158" y="67"/>
                    </a:lnTo>
                    <a:lnTo>
                      <a:pt x="164" y="70"/>
                    </a:lnTo>
                    <a:lnTo>
                      <a:pt x="168" y="72"/>
                    </a:lnTo>
                    <a:lnTo>
                      <a:pt x="169" y="77"/>
                    </a:lnTo>
                    <a:lnTo>
                      <a:pt x="176" y="100"/>
                    </a:lnTo>
                    <a:lnTo>
                      <a:pt x="181" y="108"/>
                    </a:lnTo>
                    <a:lnTo>
                      <a:pt x="184" y="110"/>
                    </a:lnTo>
                    <a:lnTo>
                      <a:pt x="194" y="105"/>
                    </a:lnTo>
                    <a:lnTo>
                      <a:pt x="199" y="107"/>
                    </a:lnTo>
                    <a:lnTo>
                      <a:pt x="204" y="110"/>
                    </a:lnTo>
                    <a:lnTo>
                      <a:pt x="207" y="110"/>
                    </a:lnTo>
                    <a:lnTo>
                      <a:pt x="204" y="113"/>
                    </a:lnTo>
                    <a:lnTo>
                      <a:pt x="204" y="135"/>
                    </a:lnTo>
                    <a:lnTo>
                      <a:pt x="202" y="137"/>
                    </a:lnTo>
                    <a:lnTo>
                      <a:pt x="202" y="138"/>
                    </a:lnTo>
                    <a:lnTo>
                      <a:pt x="202" y="140"/>
                    </a:lnTo>
                    <a:lnTo>
                      <a:pt x="202" y="143"/>
                    </a:lnTo>
                    <a:lnTo>
                      <a:pt x="201" y="145"/>
                    </a:lnTo>
                    <a:lnTo>
                      <a:pt x="201" y="147"/>
                    </a:lnTo>
                    <a:lnTo>
                      <a:pt x="199" y="153"/>
                    </a:lnTo>
                    <a:lnTo>
                      <a:pt x="201" y="155"/>
                    </a:lnTo>
                    <a:lnTo>
                      <a:pt x="199" y="163"/>
                    </a:lnTo>
                    <a:lnTo>
                      <a:pt x="196" y="167"/>
                    </a:lnTo>
                    <a:lnTo>
                      <a:pt x="193" y="171"/>
                    </a:lnTo>
                    <a:lnTo>
                      <a:pt x="191" y="176"/>
                    </a:lnTo>
                    <a:lnTo>
                      <a:pt x="179" y="183"/>
                    </a:lnTo>
                    <a:lnTo>
                      <a:pt x="178" y="188"/>
                    </a:lnTo>
                    <a:lnTo>
                      <a:pt x="174" y="193"/>
                    </a:lnTo>
                    <a:lnTo>
                      <a:pt x="168" y="191"/>
                    </a:lnTo>
                    <a:lnTo>
                      <a:pt x="166" y="193"/>
                    </a:lnTo>
                    <a:lnTo>
                      <a:pt x="161" y="200"/>
                    </a:lnTo>
                    <a:lnTo>
                      <a:pt x="159" y="196"/>
                    </a:lnTo>
                    <a:lnTo>
                      <a:pt x="156" y="196"/>
                    </a:lnTo>
                    <a:lnTo>
                      <a:pt x="149" y="198"/>
                    </a:lnTo>
                    <a:lnTo>
                      <a:pt x="139" y="193"/>
                    </a:lnTo>
                    <a:lnTo>
                      <a:pt x="126" y="190"/>
                    </a:lnTo>
                    <a:lnTo>
                      <a:pt x="108" y="191"/>
                    </a:lnTo>
                    <a:lnTo>
                      <a:pt x="104" y="191"/>
                    </a:lnTo>
                    <a:lnTo>
                      <a:pt x="106" y="186"/>
                    </a:lnTo>
                    <a:lnTo>
                      <a:pt x="113" y="180"/>
                    </a:lnTo>
                    <a:lnTo>
                      <a:pt x="116" y="171"/>
                    </a:lnTo>
                    <a:lnTo>
                      <a:pt x="114" y="167"/>
                    </a:lnTo>
                    <a:lnTo>
                      <a:pt x="118" y="163"/>
                    </a:lnTo>
                    <a:lnTo>
                      <a:pt x="121" y="160"/>
                    </a:lnTo>
                    <a:lnTo>
                      <a:pt x="126" y="155"/>
                    </a:lnTo>
                    <a:lnTo>
                      <a:pt x="126" y="150"/>
                    </a:lnTo>
                    <a:lnTo>
                      <a:pt x="124" y="145"/>
                    </a:lnTo>
                    <a:lnTo>
                      <a:pt x="116" y="140"/>
                    </a:lnTo>
                    <a:lnTo>
                      <a:pt x="111" y="133"/>
                    </a:lnTo>
                    <a:lnTo>
                      <a:pt x="96" y="132"/>
                    </a:lnTo>
                    <a:lnTo>
                      <a:pt x="86" y="127"/>
                    </a:lnTo>
                    <a:lnTo>
                      <a:pt x="75" y="118"/>
                    </a:lnTo>
                    <a:lnTo>
                      <a:pt x="71" y="118"/>
                    </a:lnTo>
                    <a:lnTo>
                      <a:pt x="61" y="113"/>
                    </a:lnTo>
                    <a:lnTo>
                      <a:pt x="46" y="110"/>
                    </a:lnTo>
                    <a:lnTo>
                      <a:pt x="43" y="105"/>
                    </a:lnTo>
                    <a:lnTo>
                      <a:pt x="36" y="100"/>
                    </a:lnTo>
                    <a:lnTo>
                      <a:pt x="31" y="100"/>
                    </a:lnTo>
                    <a:lnTo>
                      <a:pt x="16" y="85"/>
                    </a:lnTo>
                    <a:lnTo>
                      <a:pt x="10" y="77"/>
                    </a:lnTo>
                    <a:lnTo>
                      <a:pt x="5" y="75"/>
                    </a:lnTo>
                    <a:lnTo>
                      <a:pt x="0" y="70"/>
                    </a:lnTo>
                    <a:lnTo>
                      <a:pt x="0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8" name="Freeform 173"/>
              <p:cNvSpPr>
                <a:spLocks/>
              </p:cNvSpPr>
              <p:nvPr/>
            </p:nvSpPr>
            <p:spPr bwMode="auto">
              <a:xfrm>
                <a:off x="5691526" y="3629757"/>
                <a:ext cx="65285" cy="65368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32" y="0"/>
                  </a:cxn>
                  <a:cxn ang="0">
                    <a:pos x="42" y="10"/>
                  </a:cxn>
                  <a:cxn ang="0">
                    <a:pos x="50" y="16"/>
                  </a:cxn>
                  <a:cxn ang="0">
                    <a:pos x="58" y="26"/>
                  </a:cxn>
                  <a:cxn ang="0">
                    <a:pos x="65" y="21"/>
                  </a:cxn>
                  <a:cxn ang="0">
                    <a:pos x="78" y="33"/>
                  </a:cxn>
                  <a:cxn ang="0">
                    <a:pos x="90" y="38"/>
                  </a:cxn>
                  <a:cxn ang="0">
                    <a:pos x="95" y="43"/>
                  </a:cxn>
                  <a:cxn ang="0">
                    <a:pos x="110" y="53"/>
                  </a:cxn>
                  <a:cxn ang="0">
                    <a:pos x="121" y="65"/>
                  </a:cxn>
                  <a:cxn ang="0">
                    <a:pos x="115" y="76"/>
                  </a:cxn>
                  <a:cxn ang="0">
                    <a:pos x="118" y="85"/>
                  </a:cxn>
                  <a:cxn ang="0">
                    <a:pos x="121" y="90"/>
                  </a:cxn>
                  <a:cxn ang="0">
                    <a:pos x="121" y="93"/>
                  </a:cxn>
                  <a:cxn ang="0">
                    <a:pos x="116" y="103"/>
                  </a:cxn>
                  <a:cxn ang="0">
                    <a:pos x="110" y="109"/>
                  </a:cxn>
                  <a:cxn ang="0">
                    <a:pos x="110" y="113"/>
                  </a:cxn>
                  <a:cxn ang="0">
                    <a:pos x="95" y="123"/>
                  </a:cxn>
                  <a:cxn ang="0">
                    <a:pos x="91" y="121"/>
                  </a:cxn>
                  <a:cxn ang="0">
                    <a:pos x="88" y="126"/>
                  </a:cxn>
                  <a:cxn ang="0">
                    <a:pos x="81" y="124"/>
                  </a:cxn>
                  <a:cxn ang="0">
                    <a:pos x="75" y="123"/>
                  </a:cxn>
                  <a:cxn ang="0">
                    <a:pos x="63" y="123"/>
                  </a:cxn>
                  <a:cxn ang="0">
                    <a:pos x="53" y="124"/>
                  </a:cxn>
                  <a:cxn ang="0">
                    <a:pos x="55" y="121"/>
                  </a:cxn>
                  <a:cxn ang="0">
                    <a:pos x="50" y="119"/>
                  </a:cxn>
                  <a:cxn ang="0">
                    <a:pos x="40" y="116"/>
                  </a:cxn>
                  <a:cxn ang="0">
                    <a:pos x="23" y="116"/>
                  </a:cxn>
                  <a:cxn ang="0">
                    <a:pos x="13" y="109"/>
                  </a:cxn>
                  <a:cxn ang="0">
                    <a:pos x="3" y="100"/>
                  </a:cxn>
                  <a:cxn ang="0">
                    <a:pos x="0" y="83"/>
                  </a:cxn>
                  <a:cxn ang="0">
                    <a:pos x="0" y="80"/>
                  </a:cxn>
                  <a:cxn ang="0">
                    <a:pos x="5" y="75"/>
                  </a:cxn>
                  <a:cxn ang="0">
                    <a:pos x="2" y="58"/>
                  </a:cxn>
                  <a:cxn ang="0">
                    <a:pos x="2" y="48"/>
                  </a:cxn>
                  <a:cxn ang="0">
                    <a:pos x="5" y="40"/>
                  </a:cxn>
                  <a:cxn ang="0">
                    <a:pos x="7" y="26"/>
                  </a:cxn>
                  <a:cxn ang="0">
                    <a:pos x="7" y="20"/>
                  </a:cxn>
                  <a:cxn ang="0">
                    <a:pos x="10" y="8"/>
                  </a:cxn>
                  <a:cxn ang="0">
                    <a:pos x="13" y="2"/>
                  </a:cxn>
                </a:cxnLst>
                <a:rect l="0" t="0" r="r" b="b"/>
                <a:pathLst>
                  <a:path w="123" h="126">
                    <a:moveTo>
                      <a:pt x="13" y="2"/>
                    </a:moveTo>
                    <a:lnTo>
                      <a:pt x="17" y="2"/>
                    </a:lnTo>
                    <a:lnTo>
                      <a:pt x="18" y="3"/>
                    </a:lnTo>
                    <a:lnTo>
                      <a:pt x="32" y="0"/>
                    </a:lnTo>
                    <a:lnTo>
                      <a:pt x="37" y="3"/>
                    </a:lnTo>
                    <a:lnTo>
                      <a:pt x="42" y="10"/>
                    </a:lnTo>
                    <a:lnTo>
                      <a:pt x="47" y="11"/>
                    </a:lnTo>
                    <a:lnTo>
                      <a:pt x="50" y="16"/>
                    </a:lnTo>
                    <a:lnTo>
                      <a:pt x="55" y="26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71" y="30"/>
                    </a:lnTo>
                    <a:lnTo>
                      <a:pt x="78" y="33"/>
                    </a:lnTo>
                    <a:lnTo>
                      <a:pt x="83" y="33"/>
                    </a:lnTo>
                    <a:lnTo>
                      <a:pt x="90" y="38"/>
                    </a:lnTo>
                    <a:lnTo>
                      <a:pt x="90" y="45"/>
                    </a:lnTo>
                    <a:lnTo>
                      <a:pt x="95" y="43"/>
                    </a:lnTo>
                    <a:lnTo>
                      <a:pt x="103" y="48"/>
                    </a:lnTo>
                    <a:lnTo>
                      <a:pt x="110" y="53"/>
                    </a:lnTo>
                    <a:lnTo>
                      <a:pt x="115" y="61"/>
                    </a:lnTo>
                    <a:lnTo>
                      <a:pt x="121" y="65"/>
                    </a:lnTo>
                    <a:lnTo>
                      <a:pt x="120" y="71"/>
                    </a:lnTo>
                    <a:lnTo>
                      <a:pt x="115" y="76"/>
                    </a:lnTo>
                    <a:lnTo>
                      <a:pt x="118" y="83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21" y="90"/>
                    </a:lnTo>
                    <a:lnTo>
                      <a:pt x="123" y="91"/>
                    </a:lnTo>
                    <a:lnTo>
                      <a:pt x="121" y="93"/>
                    </a:lnTo>
                    <a:lnTo>
                      <a:pt x="116" y="96"/>
                    </a:lnTo>
                    <a:lnTo>
                      <a:pt x="116" y="103"/>
                    </a:lnTo>
                    <a:lnTo>
                      <a:pt x="113" y="106"/>
                    </a:lnTo>
                    <a:lnTo>
                      <a:pt x="110" y="109"/>
                    </a:lnTo>
                    <a:lnTo>
                      <a:pt x="111" y="111"/>
                    </a:lnTo>
                    <a:lnTo>
                      <a:pt x="110" y="113"/>
                    </a:lnTo>
                    <a:lnTo>
                      <a:pt x="103" y="119"/>
                    </a:lnTo>
                    <a:lnTo>
                      <a:pt x="95" y="123"/>
                    </a:lnTo>
                    <a:lnTo>
                      <a:pt x="93" y="121"/>
                    </a:lnTo>
                    <a:lnTo>
                      <a:pt x="91" y="121"/>
                    </a:lnTo>
                    <a:lnTo>
                      <a:pt x="91" y="124"/>
                    </a:lnTo>
                    <a:lnTo>
                      <a:pt x="88" y="126"/>
                    </a:lnTo>
                    <a:lnTo>
                      <a:pt x="85" y="124"/>
                    </a:lnTo>
                    <a:lnTo>
                      <a:pt x="81" y="124"/>
                    </a:lnTo>
                    <a:lnTo>
                      <a:pt x="78" y="124"/>
                    </a:lnTo>
                    <a:lnTo>
                      <a:pt x="75" y="123"/>
                    </a:lnTo>
                    <a:lnTo>
                      <a:pt x="71" y="121"/>
                    </a:lnTo>
                    <a:lnTo>
                      <a:pt x="63" y="123"/>
                    </a:lnTo>
                    <a:lnTo>
                      <a:pt x="58" y="124"/>
                    </a:lnTo>
                    <a:lnTo>
                      <a:pt x="53" y="124"/>
                    </a:lnTo>
                    <a:lnTo>
                      <a:pt x="53" y="123"/>
                    </a:lnTo>
                    <a:lnTo>
                      <a:pt x="55" y="121"/>
                    </a:lnTo>
                    <a:lnTo>
                      <a:pt x="53" y="119"/>
                    </a:lnTo>
                    <a:lnTo>
                      <a:pt x="50" y="119"/>
                    </a:lnTo>
                    <a:lnTo>
                      <a:pt x="47" y="119"/>
                    </a:lnTo>
                    <a:lnTo>
                      <a:pt x="40" y="116"/>
                    </a:lnTo>
                    <a:lnTo>
                      <a:pt x="33" y="114"/>
                    </a:lnTo>
                    <a:lnTo>
                      <a:pt x="23" y="116"/>
                    </a:lnTo>
                    <a:lnTo>
                      <a:pt x="20" y="114"/>
                    </a:lnTo>
                    <a:lnTo>
                      <a:pt x="13" y="109"/>
                    </a:lnTo>
                    <a:lnTo>
                      <a:pt x="10" y="109"/>
                    </a:lnTo>
                    <a:lnTo>
                      <a:pt x="3" y="100"/>
                    </a:lnTo>
                    <a:lnTo>
                      <a:pt x="0" y="91"/>
                    </a:lnTo>
                    <a:lnTo>
                      <a:pt x="0" y="83"/>
                    </a:lnTo>
                    <a:lnTo>
                      <a:pt x="0" y="81"/>
                    </a:lnTo>
                    <a:lnTo>
                      <a:pt x="0" y="80"/>
                    </a:lnTo>
                    <a:lnTo>
                      <a:pt x="5" y="78"/>
                    </a:lnTo>
                    <a:lnTo>
                      <a:pt x="5" y="75"/>
                    </a:lnTo>
                    <a:lnTo>
                      <a:pt x="3" y="66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2" y="48"/>
                    </a:lnTo>
                    <a:lnTo>
                      <a:pt x="5" y="43"/>
                    </a:lnTo>
                    <a:lnTo>
                      <a:pt x="5" y="40"/>
                    </a:lnTo>
                    <a:lnTo>
                      <a:pt x="7" y="36"/>
                    </a:lnTo>
                    <a:lnTo>
                      <a:pt x="7" y="26"/>
                    </a:lnTo>
                    <a:lnTo>
                      <a:pt x="5" y="23"/>
                    </a:lnTo>
                    <a:lnTo>
                      <a:pt x="7" y="20"/>
                    </a:lnTo>
                    <a:lnTo>
                      <a:pt x="5" y="13"/>
                    </a:lnTo>
                    <a:lnTo>
                      <a:pt x="10" y="8"/>
                    </a:lnTo>
                    <a:lnTo>
                      <a:pt x="12" y="3"/>
                    </a:lnTo>
                    <a:lnTo>
                      <a:pt x="1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9" name="Freeform 174"/>
              <p:cNvSpPr>
                <a:spLocks noEditPoints="1"/>
              </p:cNvSpPr>
              <p:nvPr/>
            </p:nvSpPr>
            <p:spPr bwMode="auto">
              <a:xfrm>
                <a:off x="5536340" y="3529112"/>
                <a:ext cx="207628" cy="471065"/>
              </a:xfrm>
              <a:custGeom>
                <a:avLst/>
                <a:gdLst/>
                <a:ahLst/>
                <a:cxnLst>
                  <a:cxn ang="0">
                    <a:pos x="100" y="3"/>
                  </a:cxn>
                  <a:cxn ang="0">
                    <a:pos x="127" y="14"/>
                  </a:cxn>
                  <a:cxn ang="0">
                    <a:pos x="175" y="13"/>
                  </a:cxn>
                  <a:cxn ang="0">
                    <a:pos x="240" y="54"/>
                  </a:cxn>
                  <a:cxn ang="0">
                    <a:pos x="286" y="96"/>
                  </a:cxn>
                  <a:cxn ang="0">
                    <a:pos x="291" y="126"/>
                  </a:cxn>
                  <a:cxn ang="0">
                    <a:pos x="339" y="129"/>
                  </a:cxn>
                  <a:cxn ang="0">
                    <a:pos x="364" y="89"/>
                  </a:cxn>
                  <a:cxn ang="0">
                    <a:pos x="389" y="117"/>
                  </a:cxn>
                  <a:cxn ang="0">
                    <a:pos x="358" y="136"/>
                  </a:cxn>
                  <a:cxn ang="0">
                    <a:pos x="326" y="162"/>
                  </a:cxn>
                  <a:cxn ang="0">
                    <a:pos x="304" y="194"/>
                  </a:cxn>
                  <a:cxn ang="0">
                    <a:pos x="296" y="234"/>
                  </a:cxn>
                  <a:cxn ang="0">
                    <a:pos x="291" y="274"/>
                  </a:cxn>
                  <a:cxn ang="0">
                    <a:pos x="294" y="302"/>
                  </a:cxn>
                  <a:cxn ang="0">
                    <a:pos x="324" y="345"/>
                  </a:cxn>
                  <a:cxn ang="0">
                    <a:pos x="344" y="368"/>
                  </a:cxn>
                  <a:cxn ang="0">
                    <a:pos x="331" y="400"/>
                  </a:cxn>
                  <a:cxn ang="0">
                    <a:pos x="261" y="425"/>
                  </a:cxn>
                  <a:cxn ang="0">
                    <a:pos x="221" y="420"/>
                  </a:cxn>
                  <a:cxn ang="0">
                    <a:pos x="230" y="445"/>
                  </a:cxn>
                  <a:cxn ang="0">
                    <a:pos x="230" y="466"/>
                  </a:cxn>
                  <a:cxn ang="0">
                    <a:pos x="200" y="490"/>
                  </a:cxn>
                  <a:cxn ang="0">
                    <a:pos x="161" y="480"/>
                  </a:cxn>
                  <a:cxn ang="0">
                    <a:pos x="185" y="518"/>
                  </a:cxn>
                  <a:cxn ang="0">
                    <a:pos x="190" y="514"/>
                  </a:cxn>
                  <a:cxn ang="0">
                    <a:pos x="206" y="529"/>
                  </a:cxn>
                  <a:cxn ang="0">
                    <a:pos x="180" y="529"/>
                  </a:cxn>
                  <a:cxn ang="0">
                    <a:pos x="176" y="548"/>
                  </a:cxn>
                  <a:cxn ang="0">
                    <a:pos x="171" y="574"/>
                  </a:cxn>
                  <a:cxn ang="0">
                    <a:pos x="173" y="597"/>
                  </a:cxn>
                  <a:cxn ang="0">
                    <a:pos x="142" y="612"/>
                  </a:cxn>
                  <a:cxn ang="0">
                    <a:pos x="137" y="644"/>
                  </a:cxn>
                  <a:cxn ang="0">
                    <a:pos x="180" y="661"/>
                  </a:cxn>
                  <a:cxn ang="0">
                    <a:pos x="185" y="684"/>
                  </a:cxn>
                  <a:cxn ang="0">
                    <a:pos x="168" y="704"/>
                  </a:cxn>
                  <a:cxn ang="0">
                    <a:pos x="150" y="729"/>
                  </a:cxn>
                  <a:cxn ang="0">
                    <a:pos x="137" y="747"/>
                  </a:cxn>
                  <a:cxn ang="0">
                    <a:pos x="128" y="775"/>
                  </a:cxn>
                  <a:cxn ang="0">
                    <a:pos x="138" y="803"/>
                  </a:cxn>
                  <a:cxn ang="0">
                    <a:pos x="143" y="815"/>
                  </a:cxn>
                  <a:cxn ang="0">
                    <a:pos x="65" y="795"/>
                  </a:cxn>
                  <a:cxn ang="0">
                    <a:pos x="27" y="760"/>
                  </a:cxn>
                  <a:cxn ang="0">
                    <a:pos x="40" y="679"/>
                  </a:cxn>
                  <a:cxn ang="0">
                    <a:pos x="39" y="622"/>
                  </a:cxn>
                  <a:cxn ang="0">
                    <a:pos x="24" y="594"/>
                  </a:cxn>
                  <a:cxn ang="0">
                    <a:pos x="20" y="564"/>
                  </a:cxn>
                  <a:cxn ang="0">
                    <a:pos x="14" y="513"/>
                  </a:cxn>
                  <a:cxn ang="0">
                    <a:pos x="14" y="433"/>
                  </a:cxn>
                  <a:cxn ang="0">
                    <a:pos x="20" y="355"/>
                  </a:cxn>
                  <a:cxn ang="0">
                    <a:pos x="25" y="302"/>
                  </a:cxn>
                  <a:cxn ang="0">
                    <a:pos x="0" y="234"/>
                  </a:cxn>
                  <a:cxn ang="0">
                    <a:pos x="10" y="174"/>
                  </a:cxn>
                  <a:cxn ang="0">
                    <a:pos x="35" y="116"/>
                  </a:cxn>
                  <a:cxn ang="0">
                    <a:pos x="32" y="81"/>
                  </a:cxn>
                  <a:cxn ang="0">
                    <a:pos x="259" y="896"/>
                  </a:cxn>
                  <a:cxn ang="0">
                    <a:pos x="259" y="896"/>
                  </a:cxn>
                  <a:cxn ang="0">
                    <a:pos x="160" y="848"/>
                  </a:cxn>
                  <a:cxn ang="0">
                    <a:pos x="175" y="867"/>
                  </a:cxn>
                  <a:cxn ang="0">
                    <a:pos x="226" y="893"/>
                  </a:cxn>
                  <a:cxn ang="0">
                    <a:pos x="231" y="903"/>
                  </a:cxn>
                  <a:cxn ang="0">
                    <a:pos x="175" y="905"/>
                  </a:cxn>
                  <a:cxn ang="0">
                    <a:pos x="180" y="893"/>
                  </a:cxn>
                </a:cxnLst>
                <a:rect l="0" t="0" r="r" b="b"/>
                <a:pathLst>
                  <a:path w="389" h="908">
                    <a:moveTo>
                      <a:pt x="60" y="23"/>
                    </a:moveTo>
                    <a:lnTo>
                      <a:pt x="63" y="19"/>
                    </a:lnTo>
                    <a:lnTo>
                      <a:pt x="67" y="11"/>
                    </a:lnTo>
                    <a:lnTo>
                      <a:pt x="77" y="3"/>
                    </a:lnTo>
                    <a:lnTo>
                      <a:pt x="83" y="0"/>
                    </a:lnTo>
                    <a:lnTo>
                      <a:pt x="88" y="5"/>
                    </a:lnTo>
                    <a:lnTo>
                      <a:pt x="97" y="5"/>
                    </a:lnTo>
                    <a:lnTo>
                      <a:pt x="100" y="3"/>
                    </a:lnTo>
                    <a:lnTo>
                      <a:pt x="105" y="5"/>
                    </a:lnTo>
                    <a:lnTo>
                      <a:pt x="115" y="3"/>
                    </a:lnTo>
                    <a:lnTo>
                      <a:pt x="118" y="3"/>
                    </a:lnTo>
                    <a:lnTo>
                      <a:pt x="120" y="9"/>
                    </a:lnTo>
                    <a:lnTo>
                      <a:pt x="123" y="18"/>
                    </a:lnTo>
                    <a:lnTo>
                      <a:pt x="125" y="21"/>
                    </a:lnTo>
                    <a:lnTo>
                      <a:pt x="127" y="18"/>
                    </a:lnTo>
                    <a:lnTo>
                      <a:pt x="127" y="14"/>
                    </a:lnTo>
                    <a:lnTo>
                      <a:pt x="130" y="9"/>
                    </a:lnTo>
                    <a:lnTo>
                      <a:pt x="130" y="6"/>
                    </a:lnTo>
                    <a:lnTo>
                      <a:pt x="133" y="1"/>
                    </a:lnTo>
                    <a:lnTo>
                      <a:pt x="148" y="1"/>
                    </a:lnTo>
                    <a:lnTo>
                      <a:pt x="160" y="1"/>
                    </a:lnTo>
                    <a:lnTo>
                      <a:pt x="165" y="6"/>
                    </a:lnTo>
                    <a:lnTo>
                      <a:pt x="170" y="11"/>
                    </a:lnTo>
                    <a:lnTo>
                      <a:pt x="175" y="13"/>
                    </a:lnTo>
                    <a:lnTo>
                      <a:pt x="181" y="21"/>
                    </a:lnTo>
                    <a:lnTo>
                      <a:pt x="196" y="36"/>
                    </a:lnTo>
                    <a:lnTo>
                      <a:pt x="201" y="36"/>
                    </a:lnTo>
                    <a:lnTo>
                      <a:pt x="208" y="41"/>
                    </a:lnTo>
                    <a:lnTo>
                      <a:pt x="211" y="46"/>
                    </a:lnTo>
                    <a:lnTo>
                      <a:pt x="226" y="49"/>
                    </a:lnTo>
                    <a:lnTo>
                      <a:pt x="236" y="54"/>
                    </a:lnTo>
                    <a:lnTo>
                      <a:pt x="240" y="54"/>
                    </a:lnTo>
                    <a:lnTo>
                      <a:pt x="251" y="63"/>
                    </a:lnTo>
                    <a:lnTo>
                      <a:pt x="261" y="68"/>
                    </a:lnTo>
                    <a:lnTo>
                      <a:pt x="276" y="69"/>
                    </a:lnTo>
                    <a:lnTo>
                      <a:pt x="281" y="76"/>
                    </a:lnTo>
                    <a:lnTo>
                      <a:pt x="289" y="81"/>
                    </a:lnTo>
                    <a:lnTo>
                      <a:pt x="291" y="86"/>
                    </a:lnTo>
                    <a:lnTo>
                      <a:pt x="291" y="91"/>
                    </a:lnTo>
                    <a:lnTo>
                      <a:pt x="286" y="96"/>
                    </a:lnTo>
                    <a:lnTo>
                      <a:pt x="283" y="99"/>
                    </a:lnTo>
                    <a:lnTo>
                      <a:pt x="279" y="103"/>
                    </a:lnTo>
                    <a:lnTo>
                      <a:pt x="281" y="107"/>
                    </a:lnTo>
                    <a:lnTo>
                      <a:pt x="278" y="116"/>
                    </a:lnTo>
                    <a:lnTo>
                      <a:pt x="271" y="122"/>
                    </a:lnTo>
                    <a:lnTo>
                      <a:pt x="269" y="127"/>
                    </a:lnTo>
                    <a:lnTo>
                      <a:pt x="273" y="127"/>
                    </a:lnTo>
                    <a:lnTo>
                      <a:pt x="291" y="126"/>
                    </a:lnTo>
                    <a:lnTo>
                      <a:pt x="304" y="129"/>
                    </a:lnTo>
                    <a:lnTo>
                      <a:pt x="314" y="134"/>
                    </a:lnTo>
                    <a:lnTo>
                      <a:pt x="321" y="132"/>
                    </a:lnTo>
                    <a:lnTo>
                      <a:pt x="324" y="132"/>
                    </a:lnTo>
                    <a:lnTo>
                      <a:pt x="326" y="136"/>
                    </a:lnTo>
                    <a:lnTo>
                      <a:pt x="331" y="129"/>
                    </a:lnTo>
                    <a:lnTo>
                      <a:pt x="333" y="127"/>
                    </a:lnTo>
                    <a:lnTo>
                      <a:pt x="339" y="129"/>
                    </a:lnTo>
                    <a:lnTo>
                      <a:pt x="343" y="124"/>
                    </a:lnTo>
                    <a:lnTo>
                      <a:pt x="344" y="119"/>
                    </a:lnTo>
                    <a:lnTo>
                      <a:pt x="356" y="112"/>
                    </a:lnTo>
                    <a:lnTo>
                      <a:pt x="358" y="107"/>
                    </a:lnTo>
                    <a:lnTo>
                      <a:pt x="361" y="103"/>
                    </a:lnTo>
                    <a:lnTo>
                      <a:pt x="364" y="99"/>
                    </a:lnTo>
                    <a:lnTo>
                      <a:pt x="366" y="91"/>
                    </a:lnTo>
                    <a:lnTo>
                      <a:pt x="364" y="89"/>
                    </a:lnTo>
                    <a:lnTo>
                      <a:pt x="366" y="83"/>
                    </a:lnTo>
                    <a:lnTo>
                      <a:pt x="371" y="79"/>
                    </a:lnTo>
                    <a:lnTo>
                      <a:pt x="382" y="81"/>
                    </a:lnTo>
                    <a:lnTo>
                      <a:pt x="382" y="84"/>
                    </a:lnTo>
                    <a:lnTo>
                      <a:pt x="387" y="94"/>
                    </a:lnTo>
                    <a:lnTo>
                      <a:pt x="386" y="101"/>
                    </a:lnTo>
                    <a:lnTo>
                      <a:pt x="387" y="111"/>
                    </a:lnTo>
                    <a:lnTo>
                      <a:pt x="389" y="117"/>
                    </a:lnTo>
                    <a:lnTo>
                      <a:pt x="387" y="121"/>
                    </a:lnTo>
                    <a:lnTo>
                      <a:pt x="382" y="121"/>
                    </a:lnTo>
                    <a:lnTo>
                      <a:pt x="376" y="124"/>
                    </a:lnTo>
                    <a:lnTo>
                      <a:pt x="376" y="126"/>
                    </a:lnTo>
                    <a:lnTo>
                      <a:pt x="372" y="127"/>
                    </a:lnTo>
                    <a:lnTo>
                      <a:pt x="371" y="127"/>
                    </a:lnTo>
                    <a:lnTo>
                      <a:pt x="361" y="134"/>
                    </a:lnTo>
                    <a:lnTo>
                      <a:pt x="358" y="136"/>
                    </a:lnTo>
                    <a:lnTo>
                      <a:pt x="354" y="137"/>
                    </a:lnTo>
                    <a:lnTo>
                      <a:pt x="346" y="144"/>
                    </a:lnTo>
                    <a:lnTo>
                      <a:pt x="343" y="146"/>
                    </a:lnTo>
                    <a:lnTo>
                      <a:pt x="343" y="151"/>
                    </a:lnTo>
                    <a:lnTo>
                      <a:pt x="339" y="151"/>
                    </a:lnTo>
                    <a:lnTo>
                      <a:pt x="336" y="151"/>
                    </a:lnTo>
                    <a:lnTo>
                      <a:pt x="328" y="159"/>
                    </a:lnTo>
                    <a:lnTo>
                      <a:pt x="326" y="162"/>
                    </a:lnTo>
                    <a:lnTo>
                      <a:pt x="328" y="167"/>
                    </a:lnTo>
                    <a:lnTo>
                      <a:pt x="323" y="169"/>
                    </a:lnTo>
                    <a:lnTo>
                      <a:pt x="321" y="171"/>
                    </a:lnTo>
                    <a:lnTo>
                      <a:pt x="316" y="179"/>
                    </a:lnTo>
                    <a:lnTo>
                      <a:pt x="313" y="182"/>
                    </a:lnTo>
                    <a:lnTo>
                      <a:pt x="309" y="189"/>
                    </a:lnTo>
                    <a:lnTo>
                      <a:pt x="309" y="191"/>
                    </a:lnTo>
                    <a:lnTo>
                      <a:pt x="304" y="194"/>
                    </a:lnTo>
                    <a:lnTo>
                      <a:pt x="303" y="197"/>
                    </a:lnTo>
                    <a:lnTo>
                      <a:pt x="301" y="202"/>
                    </a:lnTo>
                    <a:lnTo>
                      <a:pt x="296" y="207"/>
                    </a:lnTo>
                    <a:lnTo>
                      <a:pt x="298" y="214"/>
                    </a:lnTo>
                    <a:lnTo>
                      <a:pt x="296" y="217"/>
                    </a:lnTo>
                    <a:lnTo>
                      <a:pt x="298" y="220"/>
                    </a:lnTo>
                    <a:lnTo>
                      <a:pt x="298" y="230"/>
                    </a:lnTo>
                    <a:lnTo>
                      <a:pt x="296" y="234"/>
                    </a:lnTo>
                    <a:lnTo>
                      <a:pt x="296" y="237"/>
                    </a:lnTo>
                    <a:lnTo>
                      <a:pt x="293" y="242"/>
                    </a:lnTo>
                    <a:lnTo>
                      <a:pt x="296" y="249"/>
                    </a:lnTo>
                    <a:lnTo>
                      <a:pt x="293" y="252"/>
                    </a:lnTo>
                    <a:lnTo>
                      <a:pt x="294" y="260"/>
                    </a:lnTo>
                    <a:lnTo>
                      <a:pt x="296" y="269"/>
                    </a:lnTo>
                    <a:lnTo>
                      <a:pt x="296" y="272"/>
                    </a:lnTo>
                    <a:lnTo>
                      <a:pt x="291" y="274"/>
                    </a:lnTo>
                    <a:lnTo>
                      <a:pt x="291" y="275"/>
                    </a:lnTo>
                    <a:lnTo>
                      <a:pt x="291" y="277"/>
                    </a:lnTo>
                    <a:lnTo>
                      <a:pt x="291" y="277"/>
                    </a:lnTo>
                    <a:lnTo>
                      <a:pt x="289" y="285"/>
                    </a:lnTo>
                    <a:lnTo>
                      <a:pt x="291" y="294"/>
                    </a:lnTo>
                    <a:lnTo>
                      <a:pt x="291" y="295"/>
                    </a:lnTo>
                    <a:lnTo>
                      <a:pt x="293" y="299"/>
                    </a:lnTo>
                    <a:lnTo>
                      <a:pt x="294" y="302"/>
                    </a:lnTo>
                    <a:lnTo>
                      <a:pt x="293" y="303"/>
                    </a:lnTo>
                    <a:lnTo>
                      <a:pt x="294" y="307"/>
                    </a:lnTo>
                    <a:lnTo>
                      <a:pt x="304" y="315"/>
                    </a:lnTo>
                    <a:lnTo>
                      <a:pt x="314" y="318"/>
                    </a:lnTo>
                    <a:lnTo>
                      <a:pt x="328" y="327"/>
                    </a:lnTo>
                    <a:lnTo>
                      <a:pt x="329" y="330"/>
                    </a:lnTo>
                    <a:lnTo>
                      <a:pt x="329" y="335"/>
                    </a:lnTo>
                    <a:lnTo>
                      <a:pt x="324" y="345"/>
                    </a:lnTo>
                    <a:lnTo>
                      <a:pt x="323" y="348"/>
                    </a:lnTo>
                    <a:lnTo>
                      <a:pt x="328" y="355"/>
                    </a:lnTo>
                    <a:lnTo>
                      <a:pt x="333" y="358"/>
                    </a:lnTo>
                    <a:lnTo>
                      <a:pt x="339" y="358"/>
                    </a:lnTo>
                    <a:lnTo>
                      <a:pt x="343" y="355"/>
                    </a:lnTo>
                    <a:lnTo>
                      <a:pt x="343" y="357"/>
                    </a:lnTo>
                    <a:lnTo>
                      <a:pt x="344" y="360"/>
                    </a:lnTo>
                    <a:lnTo>
                      <a:pt x="344" y="368"/>
                    </a:lnTo>
                    <a:lnTo>
                      <a:pt x="343" y="373"/>
                    </a:lnTo>
                    <a:lnTo>
                      <a:pt x="338" y="380"/>
                    </a:lnTo>
                    <a:lnTo>
                      <a:pt x="336" y="387"/>
                    </a:lnTo>
                    <a:lnTo>
                      <a:pt x="334" y="390"/>
                    </a:lnTo>
                    <a:lnTo>
                      <a:pt x="334" y="387"/>
                    </a:lnTo>
                    <a:lnTo>
                      <a:pt x="333" y="388"/>
                    </a:lnTo>
                    <a:lnTo>
                      <a:pt x="329" y="395"/>
                    </a:lnTo>
                    <a:lnTo>
                      <a:pt x="331" y="400"/>
                    </a:lnTo>
                    <a:lnTo>
                      <a:pt x="329" y="405"/>
                    </a:lnTo>
                    <a:lnTo>
                      <a:pt x="316" y="411"/>
                    </a:lnTo>
                    <a:lnTo>
                      <a:pt x="306" y="415"/>
                    </a:lnTo>
                    <a:lnTo>
                      <a:pt x="304" y="413"/>
                    </a:lnTo>
                    <a:lnTo>
                      <a:pt x="303" y="415"/>
                    </a:lnTo>
                    <a:lnTo>
                      <a:pt x="288" y="421"/>
                    </a:lnTo>
                    <a:lnTo>
                      <a:pt x="271" y="425"/>
                    </a:lnTo>
                    <a:lnTo>
                      <a:pt x="261" y="425"/>
                    </a:lnTo>
                    <a:lnTo>
                      <a:pt x="253" y="425"/>
                    </a:lnTo>
                    <a:lnTo>
                      <a:pt x="246" y="425"/>
                    </a:lnTo>
                    <a:lnTo>
                      <a:pt x="241" y="425"/>
                    </a:lnTo>
                    <a:lnTo>
                      <a:pt x="236" y="423"/>
                    </a:lnTo>
                    <a:lnTo>
                      <a:pt x="230" y="420"/>
                    </a:lnTo>
                    <a:lnTo>
                      <a:pt x="226" y="420"/>
                    </a:lnTo>
                    <a:lnTo>
                      <a:pt x="223" y="418"/>
                    </a:lnTo>
                    <a:lnTo>
                      <a:pt x="221" y="420"/>
                    </a:lnTo>
                    <a:lnTo>
                      <a:pt x="221" y="423"/>
                    </a:lnTo>
                    <a:lnTo>
                      <a:pt x="223" y="425"/>
                    </a:lnTo>
                    <a:lnTo>
                      <a:pt x="223" y="433"/>
                    </a:lnTo>
                    <a:lnTo>
                      <a:pt x="225" y="436"/>
                    </a:lnTo>
                    <a:lnTo>
                      <a:pt x="225" y="438"/>
                    </a:lnTo>
                    <a:lnTo>
                      <a:pt x="230" y="438"/>
                    </a:lnTo>
                    <a:lnTo>
                      <a:pt x="230" y="443"/>
                    </a:lnTo>
                    <a:lnTo>
                      <a:pt x="230" y="445"/>
                    </a:lnTo>
                    <a:lnTo>
                      <a:pt x="228" y="446"/>
                    </a:lnTo>
                    <a:lnTo>
                      <a:pt x="228" y="448"/>
                    </a:lnTo>
                    <a:lnTo>
                      <a:pt x="223" y="451"/>
                    </a:lnTo>
                    <a:lnTo>
                      <a:pt x="225" y="453"/>
                    </a:lnTo>
                    <a:lnTo>
                      <a:pt x="223" y="456"/>
                    </a:lnTo>
                    <a:lnTo>
                      <a:pt x="223" y="460"/>
                    </a:lnTo>
                    <a:lnTo>
                      <a:pt x="225" y="465"/>
                    </a:lnTo>
                    <a:lnTo>
                      <a:pt x="230" y="466"/>
                    </a:lnTo>
                    <a:lnTo>
                      <a:pt x="228" y="470"/>
                    </a:lnTo>
                    <a:lnTo>
                      <a:pt x="226" y="471"/>
                    </a:lnTo>
                    <a:lnTo>
                      <a:pt x="228" y="475"/>
                    </a:lnTo>
                    <a:lnTo>
                      <a:pt x="226" y="480"/>
                    </a:lnTo>
                    <a:lnTo>
                      <a:pt x="221" y="483"/>
                    </a:lnTo>
                    <a:lnTo>
                      <a:pt x="221" y="485"/>
                    </a:lnTo>
                    <a:lnTo>
                      <a:pt x="215" y="490"/>
                    </a:lnTo>
                    <a:lnTo>
                      <a:pt x="200" y="490"/>
                    </a:lnTo>
                    <a:lnTo>
                      <a:pt x="193" y="488"/>
                    </a:lnTo>
                    <a:lnTo>
                      <a:pt x="185" y="481"/>
                    </a:lnTo>
                    <a:lnTo>
                      <a:pt x="175" y="478"/>
                    </a:lnTo>
                    <a:lnTo>
                      <a:pt x="170" y="480"/>
                    </a:lnTo>
                    <a:lnTo>
                      <a:pt x="168" y="478"/>
                    </a:lnTo>
                    <a:lnTo>
                      <a:pt x="170" y="476"/>
                    </a:lnTo>
                    <a:lnTo>
                      <a:pt x="166" y="476"/>
                    </a:lnTo>
                    <a:lnTo>
                      <a:pt x="161" y="480"/>
                    </a:lnTo>
                    <a:lnTo>
                      <a:pt x="161" y="488"/>
                    </a:lnTo>
                    <a:lnTo>
                      <a:pt x="166" y="493"/>
                    </a:lnTo>
                    <a:lnTo>
                      <a:pt x="168" y="499"/>
                    </a:lnTo>
                    <a:lnTo>
                      <a:pt x="168" y="511"/>
                    </a:lnTo>
                    <a:lnTo>
                      <a:pt x="170" y="514"/>
                    </a:lnTo>
                    <a:lnTo>
                      <a:pt x="175" y="518"/>
                    </a:lnTo>
                    <a:lnTo>
                      <a:pt x="183" y="518"/>
                    </a:lnTo>
                    <a:lnTo>
                      <a:pt x="185" y="518"/>
                    </a:lnTo>
                    <a:lnTo>
                      <a:pt x="183" y="519"/>
                    </a:lnTo>
                    <a:lnTo>
                      <a:pt x="180" y="521"/>
                    </a:lnTo>
                    <a:lnTo>
                      <a:pt x="183" y="523"/>
                    </a:lnTo>
                    <a:lnTo>
                      <a:pt x="191" y="521"/>
                    </a:lnTo>
                    <a:lnTo>
                      <a:pt x="193" y="518"/>
                    </a:lnTo>
                    <a:lnTo>
                      <a:pt x="188" y="518"/>
                    </a:lnTo>
                    <a:lnTo>
                      <a:pt x="186" y="516"/>
                    </a:lnTo>
                    <a:lnTo>
                      <a:pt x="190" y="514"/>
                    </a:lnTo>
                    <a:lnTo>
                      <a:pt x="193" y="514"/>
                    </a:lnTo>
                    <a:lnTo>
                      <a:pt x="198" y="511"/>
                    </a:lnTo>
                    <a:lnTo>
                      <a:pt x="201" y="513"/>
                    </a:lnTo>
                    <a:lnTo>
                      <a:pt x="205" y="518"/>
                    </a:lnTo>
                    <a:lnTo>
                      <a:pt x="203" y="521"/>
                    </a:lnTo>
                    <a:lnTo>
                      <a:pt x="201" y="521"/>
                    </a:lnTo>
                    <a:lnTo>
                      <a:pt x="205" y="526"/>
                    </a:lnTo>
                    <a:lnTo>
                      <a:pt x="206" y="529"/>
                    </a:lnTo>
                    <a:lnTo>
                      <a:pt x="206" y="534"/>
                    </a:lnTo>
                    <a:lnTo>
                      <a:pt x="196" y="539"/>
                    </a:lnTo>
                    <a:lnTo>
                      <a:pt x="193" y="538"/>
                    </a:lnTo>
                    <a:lnTo>
                      <a:pt x="191" y="534"/>
                    </a:lnTo>
                    <a:lnTo>
                      <a:pt x="191" y="531"/>
                    </a:lnTo>
                    <a:lnTo>
                      <a:pt x="191" y="529"/>
                    </a:lnTo>
                    <a:lnTo>
                      <a:pt x="186" y="526"/>
                    </a:lnTo>
                    <a:lnTo>
                      <a:pt x="180" y="529"/>
                    </a:lnTo>
                    <a:lnTo>
                      <a:pt x="175" y="531"/>
                    </a:lnTo>
                    <a:lnTo>
                      <a:pt x="175" y="534"/>
                    </a:lnTo>
                    <a:lnTo>
                      <a:pt x="176" y="538"/>
                    </a:lnTo>
                    <a:lnTo>
                      <a:pt x="181" y="538"/>
                    </a:lnTo>
                    <a:lnTo>
                      <a:pt x="188" y="539"/>
                    </a:lnTo>
                    <a:lnTo>
                      <a:pt x="188" y="541"/>
                    </a:lnTo>
                    <a:lnTo>
                      <a:pt x="183" y="546"/>
                    </a:lnTo>
                    <a:lnTo>
                      <a:pt x="176" y="548"/>
                    </a:lnTo>
                    <a:lnTo>
                      <a:pt x="173" y="551"/>
                    </a:lnTo>
                    <a:lnTo>
                      <a:pt x="175" y="553"/>
                    </a:lnTo>
                    <a:lnTo>
                      <a:pt x="173" y="558"/>
                    </a:lnTo>
                    <a:lnTo>
                      <a:pt x="168" y="561"/>
                    </a:lnTo>
                    <a:lnTo>
                      <a:pt x="170" y="566"/>
                    </a:lnTo>
                    <a:lnTo>
                      <a:pt x="171" y="569"/>
                    </a:lnTo>
                    <a:lnTo>
                      <a:pt x="171" y="571"/>
                    </a:lnTo>
                    <a:lnTo>
                      <a:pt x="171" y="574"/>
                    </a:lnTo>
                    <a:lnTo>
                      <a:pt x="176" y="579"/>
                    </a:lnTo>
                    <a:lnTo>
                      <a:pt x="176" y="583"/>
                    </a:lnTo>
                    <a:lnTo>
                      <a:pt x="175" y="586"/>
                    </a:lnTo>
                    <a:lnTo>
                      <a:pt x="176" y="586"/>
                    </a:lnTo>
                    <a:lnTo>
                      <a:pt x="170" y="591"/>
                    </a:lnTo>
                    <a:lnTo>
                      <a:pt x="168" y="594"/>
                    </a:lnTo>
                    <a:lnTo>
                      <a:pt x="168" y="596"/>
                    </a:lnTo>
                    <a:lnTo>
                      <a:pt x="173" y="597"/>
                    </a:lnTo>
                    <a:lnTo>
                      <a:pt x="175" y="599"/>
                    </a:lnTo>
                    <a:lnTo>
                      <a:pt x="175" y="601"/>
                    </a:lnTo>
                    <a:lnTo>
                      <a:pt x="166" y="602"/>
                    </a:lnTo>
                    <a:lnTo>
                      <a:pt x="161" y="601"/>
                    </a:lnTo>
                    <a:lnTo>
                      <a:pt x="155" y="602"/>
                    </a:lnTo>
                    <a:lnTo>
                      <a:pt x="150" y="607"/>
                    </a:lnTo>
                    <a:lnTo>
                      <a:pt x="145" y="607"/>
                    </a:lnTo>
                    <a:lnTo>
                      <a:pt x="142" y="612"/>
                    </a:lnTo>
                    <a:lnTo>
                      <a:pt x="138" y="612"/>
                    </a:lnTo>
                    <a:lnTo>
                      <a:pt x="137" y="617"/>
                    </a:lnTo>
                    <a:lnTo>
                      <a:pt x="135" y="621"/>
                    </a:lnTo>
                    <a:lnTo>
                      <a:pt x="128" y="626"/>
                    </a:lnTo>
                    <a:lnTo>
                      <a:pt x="128" y="627"/>
                    </a:lnTo>
                    <a:lnTo>
                      <a:pt x="132" y="631"/>
                    </a:lnTo>
                    <a:lnTo>
                      <a:pt x="132" y="636"/>
                    </a:lnTo>
                    <a:lnTo>
                      <a:pt x="137" y="644"/>
                    </a:lnTo>
                    <a:lnTo>
                      <a:pt x="142" y="647"/>
                    </a:lnTo>
                    <a:lnTo>
                      <a:pt x="145" y="649"/>
                    </a:lnTo>
                    <a:lnTo>
                      <a:pt x="152" y="654"/>
                    </a:lnTo>
                    <a:lnTo>
                      <a:pt x="161" y="662"/>
                    </a:lnTo>
                    <a:lnTo>
                      <a:pt x="170" y="661"/>
                    </a:lnTo>
                    <a:lnTo>
                      <a:pt x="173" y="661"/>
                    </a:lnTo>
                    <a:lnTo>
                      <a:pt x="176" y="661"/>
                    </a:lnTo>
                    <a:lnTo>
                      <a:pt x="180" y="661"/>
                    </a:lnTo>
                    <a:lnTo>
                      <a:pt x="181" y="664"/>
                    </a:lnTo>
                    <a:lnTo>
                      <a:pt x="180" y="666"/>
                    </a:lnTo>
                    <a:lnTo>
                      <a:pt x="180" y="667"/>
                    </a:lnTo>
                    <a:lnTo>
                      <a:pt x="181" y="672"/>
                    </a:lnTo>
                    <a:lnTo>
                      <a:pt x="181" y="677"/>
                    </a:lnTo>
                    <a:lnTo>
                      <a:pt x="178" y="681"/>
                    </a:lnTo>
                    <a:lnTo>
                      <a:pt x="181" y="681"/>
                    </a:lnTo>
                    <a:lnTo>
                      <a:pt x="185" y="684"/>
                    </a:lnTo>
                    <a:lnTo>
                      <a:pt x="181" y="686"/>
                    </a:lnTo>
                    <a:lnTo>
                      <a:pt x="181" y="689"/>
                    </a:lnTo>
                    <a:lnTo>
                      <a:pt x="183" y="691"/>
                    </a:lnTo>
                    <a:lnTo>
                      <a:pt x="178" y="694"/>
                    </a:lnTo>
                    <a:lnTo>
                      <a:pt x="175" y="695"/>
                    </a:lnTo>
                    <a:lnTo>
                      <a:pt x="173" y="699"/>
                    </a:lnTo>
                    <a:lnTo>
                      <a:pt x="171" y="700"/>
                    </a:lnTo>
                    <a:lnTo>
                      <a:pt x="168" y="704"/>
                    </a:lnTo>
                    <a:lnTo>
                      <a:pt x="166" y="709"/>
                    </a:lnTo>
                    <a:lnTo>
                      <a:pt x="161" y="709"/>
                    </a:lnTo>
                    <a:lnTo>
                      <a:pt x="157" y="714"/>
                    </a:lnTo>
                    <a:lnTo>
                      <a:pt x="155" y="719"/>
                    </a:lnTo>
                    <a:lnTo>
                      <a:pt x="153" y="724"/>
                    </a:lnTo>
                    <a:lnTo>
                      <a:pt x="148" y="727"/>
                    </a:lnTo>
                    <a:lnTo>
                      <a:pt x="148" y="730"/>
                    </a:lnTo>
                    <a:lnTo>
                      <a:pt x="150" y="729"/>
                    </a:lnTo>
                    <a:lnTo>
                      <a:pt x="153" y="730"/>
                    </a:lnTo>
                    <a:lnTo>
                      <a:pt x="155" y="737"/>
                    </a:lnTo>
                    <a:lnTo>
                      <a:pt x="153" y="740"/>
                    </a:lnTo>
                    <a:lnTo>
                      <a:pt x="150" y="744"/>
                    </a:lnTo>
                    <a:lnTo>
                      <a:pt x="148" y="749"/>
                    </a:lnTo>
                    <a:lnTo>
                      <a:pt x="143" y="752"/>
                    </a:lnTo>
                    <a:lnTo>
                      <a:pt x="140" y="750"/>
                    </a:lnTo>
                    <a:lnTo>
                      <a:pt x="137" y="747"/>
                    </a:lnTo>
                    <a:lnTo>
                      <a:pt x="133" y="745"/>
                    </a:lnTo>
                    <a:lnTo>
                      <a:pt x="137" y="749"/>
                    </a:lnTo>
                    <a:lnTo>
                      <a:pt x="137" y="752"/>
                    </a:lnTo>
                    <a:lnTo>
                      <a:pt x="138" y="754"/>
                    </a:lnTo>
                    <a:lnTo>
                      <a:pt x="137" y="757"/>
                    </a:lnTo>
                    <a:lnTo>
                      <a:pt x="130" y="762"/>
                    </a:lnTo>
                    <a:lnTo>
                      <a:pt x="127" y="769"/>
                    </a:lnTo>
                    <a:lnTo>
                      <a:pt x="128" y="775"/>
                    </a:lnTo>
                    <a:lnTo>
                      <a:pt x="133" y="782"/>
                    </a:lnTo>
                    <a:lnTo>
                      <a:pt x="137" y="792"/>
                    </a:lnTo>
                    <a:lnTo>
                      <a:pt x="137" y="795"/>
                    </a:lnTo>
                    <a:lnTo>
                      <a:pt x="138" y="797"/>
                    </a:lnTo>
                    <a:lnTo>
                      <a:pt x="137" y="798"/>
                    </a:lnTo>
                    <a:lnTo>
                      <a:pt x="133" y="802"/>
                    </a:lnTo>
                    <a:lnTo>
                      <a:pt x="137" y="803"/>
                    </a:lnTo>
                    <a:lnTo>
                      <a:pt x="138" y="803"/>
                    </a:lnTo>
                    <a:lnTo>
                      <a:pt x="143" y="807"/>
                    </a:lnTo>
                    <a:lnTo>
                      <a:pt x="143" y="810"/>
                    </a:lnTo>
                    <a:lnTo>
                      <a:pt x="152" y="815"/>
                    </a:lnTo>
                    <a:lnTo>
                      <a:pt x="157" y="818"/>
                    </a:lnTo>
                    <a:lnTo>
                      <a:pt x="158" y="823"/>
                    </a:lnTo>
                    <a:lnTo>
                      <a:pt x="155" y="822"/>
                    </a:lnTo>
                    <a:lnTo>
                      <a:pt x="150" y="820"/>
                    </a:lnTo>
                    <a:lnTo>
                      <a:pt x="143" y="815"/>
                    </a:lnTo>
                    <a:lnTo>
                      <a:pt x="138" y="813"/>
                    </a:lnTo>
                    <a:lnTo>
                      <a:pt x="137" y="812"/>
                    </a:lnTo>
                    <a:lnTo>
                      <a:pt x="105" y="812"/>
                    </a:lnTo>
                    <a:lnTo>
                      <a:pt x="88" y="815"/>
                    </a:lnTo>
                    <a:lnTo>
                      <a:pt x="83" y="813"/>
                    </a:lnTo>
                    <a:lnTo>
                      <a:pt x="72" y="812"/>
                    </a:lnTo>
                    <a:lnTo>
                      <a:pt x="68" y="803"/>
                    </a:lnTo>
                    <a:lnTo>
                      <a:pt x="65" y="795"/>
                    </a:lnTo>
                    <a:lnTo>
                      <a:pt x="60" y="790"/>
                    </a:lnTo>
                    <a:lnTo>
                      <a:pt x="59" y="779"/>
                    </a:lnTo>
                    <a:lnTo>
                      <a:pt x="59" y="772"/>
                    </a:lnTo>
                    <a:lnTo>
                      <a:pt x="54" y="772"/>
                    </a:lnTo>
                    <a:lnTo>
                      <a:pt x="45" y="775"/>
                    </a:lnTo>
                    <a:lnTo>
                      <a:pt x="42" y="780"/>
                    </a:lnTo>
                    <a:lnTo>
                      <a:pt x="37" y="780"/>
                    </a:lnTo>
                    <a:lnTo>
                      <a:pt x="27" y="760"/>
                    </a:lnTo>
                    <a:lnTo>
                      <a:pt x="25" y="754"/>
                    </a:lnTo>
                    <a:lnTo>
                      <a:pt x="29" y="734"/>
                    </a:lnTo>
                    <a:lnTo>
                      <a:pt x="34" y="727"/>
                    </a:lnTo>
                    <a:lnTo>
                      <a:pt x="42" y="720"/>
                    </a:lnTo>
                    <a:lnTo>
                      <a:pt x="44" y="709"/>
                    </a:lnTo>
                    <a:lnTo>
                      <a:pt x="42" y="697"/>
                    </a:lnTo>
                    <a:lnTo>
                      <a:pt x="39" y="689"/>
                    </a:lnTo>
                    <a:lnTo>
                      <a:pt x="40" y="679"/>
                    </a:lnTo>
                    <a:lnTo>
                      <a:pt x="45" y="674"/>
                    </a:lnTo>
                    <a:lnTo>
                      <a:pt x="40" y="664"/>
                    </a:lnTo>
                    <a:lnTo>
                      <a:pt x="40" y="659"/>
                    </a:lnTo>
                    <a:lnTo>
                      <a:pt x="45" y="654"/>
                    </a:lnTo>
                    <a:lnTo>
                      <a:pt x="42" y="644"/>
                    </a:lnTo>
                    <a:lnTo>
                      <a:pt x="40" y="632"/>
                    </a:lnTo>
                    <a:lnTo>
                      <a:pt x="37" y="627"/>
                    </a:lnTo>
                    <a:lnTo>
                      <a:pt x="39" y="622"/>
                    </a:lnTo>
                    <a:lnTo>
                      <a:pt x="44" y="617"/>
                    </a:lnTo>
                    <a:lnTo>
                      <a:pt x="44" y="612"/>
                    </a:lnTo>
                    <a:lnTo>
                      <a:pt x="39" y="604"/>
                    </a:lnTo>
                    <a:lnTo>
                      <a:pt x="30" y="599"/>
                    </a:lnTo>
                    <a:lnTo>
                      <a:pt x="25" y="599"/>
                    </a:lnTo>
                    <a:lnTo>
                      <a:pt x="24" y="601"/>
                    </a:lnTo>
                    <a:lnTo>
                      <a:pt x="22" y="597"/>
                    </a:lnTo>
                    <a:lnTo>
                      <a:pt x="24" y="594"/>
                    </a:lnTo>
                    <a:lnTo>
                      <a:pt x="34" y="594"/>
                    </a:lnTo>
                    <a:lnTo>
                      <a:pt x="40" y="589"/>
                    </a:lnTo>
                    <a:lnTo>
                      <a:pt x="39" y="584"/>
                    </a:lnTo>
                    <a:lnTo>
                      <a:pt x="35" y="583"/>
                    </a:lnTo>
                    <a:lnTo>
                      <a:pt x="32" y="584"/>
                    </a:lnTo>
                    <a:lnTo>
                      <a:pt x="27" y="584"/>
                    </a:lnTo>
                    <a:lnTo>
                      <a:pt x="25" y="574"/>
                    </a:lnTo>
                    <a:lnTo>
                      <a:pt x="20" y="564"/>
                    </a:lnTo>
                    <a:lnTo>
                      <a:pt x="20" y="559"/>
                    </a:lnTo>
                    <a:lnTo>
                      <a:pt x="20" y="551"/>
                    </a:lnTo>
                    <a:lnTo>
                      <a:pt x="14" y="549"/>
                    </a:lnTo>
                    <a:lnTo>
                      <a:pt x="10" y="543"/>
                    </a:lnTo>
                    <a:lnTo>
                      <a:pt x="10" y="526"/>
                    </a:lnTo>
                    <a:lnTo>
                      <a:pt x="15" y="523"/>
                    </a:lnTo>
                    <a:lnTo>
                      <a:pt x="17" y="518"/>
                    </a:lnTo>
                    <a:lnTo>
                      <a:pt x="14" y="513"/>
                    </a:lnTo>
                    <a:lnTo>
                      <a:pt x="10" y="511"/>
                    </a:lnTo>
                    <a:lnTo>
                      <a:pt x="7" y="499"/>
                    </a:lnTo>
                    <a:lnTo>
                      <a:pt x="7" y="486"/>
                    </a:lnTo>
                    <a:lnTo>
                      <a:pt x="9" y="470"/>
                    </a:lnTo>
                    <a:lnTo>
                      <a:pt x="4" y="463"/>
                    </a:lnTo>
                    <a:lnTo>
                      <a:pt x="2" y="455"/>
                    </a:lnTo>
                    <a:lnTo>
                      <a:pt x="12" y="445"/>
                    </a:lnTo>
                    <a:lnTo>
                      <a:pt x="14" y="433"/>
                    </a:lnTo>
                    <a:lnTo>
                      <a:pt x="19" y="430"/>
                    </a:lnTo>
                    <a:lnTo>
                      <a:pt x="24" y="426"/>
                    </a:lnTo>
                    <a:lnTo>
                      <a:pt x="9" y="400"/>
                    </a:lnTo>
                    <a:lnTo>
                      <a:pt x="10" y="392"/>
                    </a:lnTo>
                    <a:lnTo>
                      <a:pt x="10" y="385"/>
                    </a:lnTo>
                    <a:lnTo>
                      <a:pt x="10" y="370"/>
                    </a:lnTo>
                    <a:lnTo>
                      <a:pt x="15" y="362"/>
                    </a:lnTo>
                    <a:lnTo>
                      <a:pt x="20" y="355"/>
                    </a:lnTo>
                    <a:lnTo>
                      <a:pt x="20" y="348"/>
                    </a:lnTo>
                    <a:lnTo>
                      <a:pt x="15" y="340"/>
                    </a:lnTo>
                    <a:lnTo>
                      <a:pt x="12" y="338"/>
                    </a:lnTo>
                    <a:lnTo>
                      <a:pt x="17" y="330"/>
                    </a:lnTo>
                    <a:lnTo>
                      <a:pt x="15" y="322"/>
                    </a:lnTo>
                    <a:lnTo>
                      <a:pt x="20" y="313"/>
                    </a:lnTo>
                    <a:lnTo>
                      <a:pt x="24" y="312"/>
                    </a:lnTo>
                    <a:lnTo>
                      <a:pt x="25" y="302"/>
                    </a:lnTo>
                    <a:lnTo>
                      <a:pt x="24" y="284"/>
                    </a:lnTo>
                    <a:lnTo>
                      <a:pt x="20" y="282"/>
                    </a:lnTo>
                    <a:lnTo>
                      <a:pt x="17" y="269"/>
                    </a:lnTo>
                    <a:lnTo>
                      <a:pt x="14" y="262"/>
                    </a:lnTo>
                    <a:lnTo>
                      <a:pt x="7" y="254"/>
                    </a:lnTo>
                    <a:lnTo>
                      <a:pt x="7" y="250"/>
                    </a:lnTo>
                    <a:lnTo>
                      <a:pt x="2" y="244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9" y="222"/>
                    </a:lnTo>
                    <a:lnTo>
                      <a:pt x="9" y="212"/>
                    </a:lnTo>
                    <a:lnTo>
                      <a:pt x="12" y="207"/>
                    </a:lnTo>
                    <a:lnTo>
                      <a:pt x="12" y="197"/>
                    </a:lnTo>
                    <a:lnTo>
                      <a:pt x="9" y="191"/>
                    </a:lnTo>
                    <a:lnTo>
                      <a:pt x="7" y="176"/>
                    </a:lnTo>
                    <a:lnTo>
                      <a:pt x="10" y="174"/>
                    </a:lnTo>
                    <a:lnTo>
                      <a:pt x="12" y="157"/>
                    </a:lnTo>
                    <a:lnTo>
                      <a:pt x="17" y="152"/>
                    </a:lnTo>
                    <a:lnTo>
                      <a:pt x="24" y="137"/>
                    </a:lnTo>
                    <a:lnTo>
                      <a:pt x="30" y="131"/>
                    </a:lnTo>
                    <a:lnTo>
                      <a:pt x="34" y="129"/>
                    </a:lnTo>
                    <a:lnTo>
                      <a:pt x="39" y="124"/>
                    </a:lnTo>
                    <a:lnTo>
                      <a:pt x="35" y="122"/>
                    </a:lnTo>
                    <a:lnTo>
                      <a:pt x="35" y="116"/>
                    </a:lnTo>
                    <a:lnTo>
                      <a:pt x="34" y="114"/>
                    </a:lnTo>
                    <a:lnTo>
                      <a:pt x="30" y="111"/>
                    </a:lnTo>
                    <a:lnTo>
                      <a:pt x="32" y="107"/>
                    </a:lnTo>
                    <a:lnTo>
                      <a:pt x="35" y="104"/>
                    </a:lnTo>
                    <a:lnTo>
                      <a:pt x="35" y="99"/>
                    </a:lnTo>
                    <a:lnTo>
                      <a:pt x="30" y="93"/>
                    </a:lnTo>
                    <a:lnTo>
                      <a:pt x="29" y="84"/>
                    </a:lnTo>
                    <a:lnTo>
                      <a:pt x="32" y="81"/>
                    </a:lnTo>
                    <a:lnTo>
                      <a:pt x="30" y="76"/>
                    </a:lnTo>
                    <a:lnTo>
                      <a:pt x="25" y="73"/>
                    </a:lnTo>
                    <a:lnTo>
                      <a:pt x="29" y="68"/>
                    </a:lnTo>
                    <a:lnTo>
                      <a:pt x="57" y="53"/>
                    </a:lnTo>
                    <a:lnTo>
                      <a:pt x="63" y="28"/>
                    </a:lnTo>
                    <a:lnTo>
                      <a:pt x="60" y="23"/>
                    </a:lnTo>
                    <a:lnTo>
                      <a:pt x="60" y="23"/>
                    </a:lnTo>
                    <a:close/>
                    <a:moveTo>
                      <a:pt x="259" y="896"/>
                    </a:moveTo>
                    <a:lnTo>
                      <a:pt x="263" y="900"/>
                    </a:lnTo>
                    <a:lnTo>
                      <a:pt x="268" y="896"/>
                    </a:lnTo>
                    <a:lnTo>
                      <a:pt x="273" y="896"/>
                    </a:lnTo>
                    <a:lnTo>
                      <a:pt x="278" y="891"/>
                    </a:lnTo>
                    <a:lnTo>
                      <a:pt x="271" y="891"/>
                    </a:lnTo>
                    <a:lnTo>
                      <a:pt x="268" y="895"/>
                    </a:lnTo>
                    <a:lnTo>
                      <a:pt x="261" y="895"/>
                    </a:lnTo>
                    <a:lnTo>
                      <a:pt x="259" y="896"/>
                    </a:lnTo>
                    <a:lnTo>
                      <a:pt x="259" y="896"/>
                    </a:lnTo>
                    <a:close/>
                    <a:moveTo>
                      <a:pt x="150" y="827"/>
                    </a:moveTo>
                    <a:lnTo>
                      <a:pt x="152" y="827"/>
                    </a:lnTo>
                    <a:lnTo>
                      <a:pt x="155" y="832"/>
                    </a:lnTo>
                    <a:lnTo>
                      <a:pt x="163" y="838"/>
                    </a:lnTo>
                    <a:lnTo>
                      <a:pt x="165" y="850"/>
                    </a:lnTo>
                    <a:lnTo>
                      <a:pt x="163" y="847"/>
                    </a:lnTo>
                    <a:lnTo>
                      <a:pt x="160" y="848"/>
                    </a:lnTo>
                    <a:lnTo>
                      <a:pt x="158" y="852"/>
                    </a:lnTo>
                    <a:lnTo>
                      <a:pt x="150" y="827"/>
                    </a:lnTo>
                    <a:lnTo>
                      <a:pt x="150" y="827"/>
                    </a:lnTo>
                    <a:close/>
                    <a:moveTo>
                      <a:pt x="158" y="853"/>
                    </a:moveTo>
                    <a:lnTo>
                      <a:pt x="163" y="855"/>
                    </a:lnTo>
                    <a:lnTo>
                      <a:pt x="168" y="855"/>
                    </a:lnTo>
                    <a:lnTo>
                      <a:pt x="171" y="858"/>
                    </a:lnTo>
                    <a:lnTo>
                      <a:pt x="175" y="867"/>
                    </a:lnTo>
                    <a:lnTo>
                      <a:pt x="180" y="867"/>
                    </a:lnTo>
                    <a:lnTo>
                      <a:pt x="186" y="872"/>
                    </a:lnTo>
                    <a:lnTo>
                      <a:pt x="186" y="877"/>
                    </a:lnTo>
                    <a:lnTo>
                      <a:pt x="191" y="878"/>
                    </a:lnTo>
                    <a:lnTo>
                      <a:pt x="211" y="883"/>
                    </a:lnTo>
                    <a:lnTo>
                      <a:pt x="213" y="885"/>
                    </a:lnTo>
                    <a:lnTo>
                      <a:pt x="220" y="888"/>
                    </a:lnTo>
                    <a:lnTo>
                      <a:pt x="226" y="893"/>
                    </a:lnTo>
                    <a:lnTo>
                      <a:pt x="231" y="893"/>
                    </a:lnTo>
                    <a:lnTo>
                      <a:pt x="240" y="891"/>
                    </a:lnTo>
                    <a:lnTo>
                      <a:pt x="245" y="893"/>
                    </a:lnTo>
                    <a:lnTo>
                      <a:pt x="245" y="896"/>
                    </a:lnTo>
                    <a:lnTo>
                      <a:pt x="240" y="900"/>
                    </a:lnTo>
                    <a:lnTo>
                      <a:pt x="236" y="898"/>
                    </a:lnTo>
                    <a:lnTo>
                      <a:pt x="231" y="900"/>
                    </a:lnTo>
                    <a:lnTo>
                      <a:pt x="231" y="903"/>
                    </a:lnTo>
                    <a:lnTo>
                      <a:pt x="226" y="906"/>
                    </a:lnTo>
                    <a:lnTo>
                      <a:pt x="221" y="908"/>
                    </a:lnTo>
                    <a:lnTo>
                      <a:pt x="215" y="906"/>
                    </a:lnTo>
                    <a:lnTo>
                      <a:pt x="210" y="903"/>
                    </a:lnTo>
                    <a:lnTo>
                      <a:pt x="200" y="903"/>
                    </a:lnTo>
                    <a:lnTo>
                      <a:pt x="193" y="903"/>
                    </a:lnTo>
                    <a:lnTo>
                      <a:pt x="183" y="903"/>
                    </a:lnTo>
                    <a:lnTo>
                      <a:pt x="175" y="905"/>
                    </a:lnTo>
                    <a:lnTo>
                      <a:pt x="171" y="905"/>
                    </a:lnTo>
                    <a:lnTo>
                      <a:pt x="170" y="896"/>
                    </a:lnTo>
                    <a:lnTo>
                      <a:pt x="181" y="896"/>
                    </a:lnTo>
                    <a:lnTo>
                      <a:pt x="188" y="895"/>
                    </a:lnTo>
                    <a:lnTo>
                      <a:pt x="191" y="893"/>
                    </a:lnTo>
                    <a:lnTo>
                      <a:pt x="193" y="891"/>
                    </a:lnTo>
                    <a:lnTo>
                      <a:pt x="186" y="893"/>
                    </a:lnTo>
                    <a:lnTo>
                      <a:pt x="180" y="893"/>
                    </a:lnTo>
                    <a:lnTo>
                      <a:pt x="171" y="895"/>
                    </a:lnTo>
                    <a:lnTo>
                      <a:pt x="170" y="895"/>
                    </a:lnTo>
                    <a:lnTo>
                      <a:pt x="158" y="8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0" name="Freeform 175"/>
              <p:cNvSpPr>
                <a:spLocks noEditPoints="1"/>
              </p:cNvSpPr>
              <p:nvPr/>
            </p:nvSpPr>
            <p:spPr bwMode="auto">
              <a:xfrm>
                <a:off x="5507444" y="3476194"/>
                <a:ext cx="140202" cy="539546"/>
              </a:xfrm>
              <a:custGeom>
                <a:avLst/>
                <a:gdLst/>
                <a:ahLst/>
                <a:cxnLst>
                  <a:cxn ang="0">
                    <a:pos x="178" y="997"/>
                  </a:cxn>
                  <a:cxn ang="0">
                    <a:pos x="176" y="1013"/>
                  </a:cxn>
                  <a:cxn ang="0">
                    <a:pos x="224" y="1007"/>
                  </a:cxn>
                  <a:cxn ang="0">
                    <a:pos x="171" y="954"/>
                  </a:cxn>
                  <a:cxn ang="0">
                    <a:pos x="203" y="922"/>
                  </a:cxn>
                  <a:cxn ang="0">
                    <a:pos x="97" y="811"/>
                  </a:cxn>
                  <a:cxn ang="0">
                    <a:pos x="92" y="686"/>
                  </a:cxn>
                  <a:cxn ang="0">
                    <a:pos x="72" y="532"/>
                  </a:cxn>
                  <a:cxn ang="0">
                    <a:pos x="55" y="346"/>
                  </a:cxn>
                  <a:cxn ang="0">
                    <a:pos x="88" y="201"/>
                  </a:cxn>
                  <a:cxn ang="0">
                    <a:pos x="58" y="23"/>
                  </a:cxn>
                  <a:cxn ang="0">
                    <a:pos x="30" y="68"/>
                  </a:cxn>
                  <a:cxn ang="0">
                    <a:pos x="30" y="203"/>
                  </a:cxn>
                  <a:cxn ang="0">
                    <a:pos x="20" y="311"/>
                  </a:cxn>
                  <a:cxn ang="0">
                    <a:pos x="28" y="414"/>
                  </a:cxn>
                  <a:cxn ang="0">
                    <a:pos x="7" y="492"/>
                  </a:cxn>
                  <a:cxn ang="0">
                    <a:pos x="15" y="575"/>
                  </a:cxn>
                  <a:cxn ang="0">
                    <a:pos x="48" y="623"/>
                  </a:cxn>
                  <a:cxn ang="0">
                    <a:pos x="50" y="668"/>
                  </a:cxn>
                  <a:cxn ang="0">
                    <a:pos x="43" y="739"/>
                  </a:cxn>
                  <a:cxn ang="0">
                    <a:pos x="17" y="733"/>
                  </a:cxn>
                  <a:cxn ang="0">
                    <a:pos x="23" y="763"/>
                  </a:cxn>
                  <a:cxn ang="0">
                    <a:pos x="53" y="789"/>
                  </a:cxn>
                  <a:cxn ang="0">
                    <a:pos x="48" y="819"/>
                  </a:cxn>
                  <a:cxn ang="0">
                    <a:pos x="55" y="861"/>
                  </a:cxn>
                  <a:cxn ang="0">
                    <a:pos x="85" y="905"/>
                  </a:cxn>
                  <a:cxn ang="0">
                    <a:pos x="95" y="907"/>
                  </a:cxn>
                  <a:cxn ang="0">
                    <a:pos x="107" y="922"/>
                  </a:cxn>
                  <a:cxn ang="0">
                    <a:pos x="100" y="952"/>
                  </a:cxn>
                  <a:cxn ang="0">
                    <a:pos x="145" y="937"/>
                  </a:cxn>
                  <a:cxn ang="0">
                    <a:pos x="128" y="964"/>
                  </a:cxn>
                  <a:cxn ang="0">
                    <a:pos x="143" y="965"/>
                  </a:cxn>
                  <a:cxn ang="0">
                    <a:pos x="163" y="942"/>
                  </a:cxn>
                  <a:cxn ang="0">
                    <a:pos x="25" y="640"/>
                  </a:cxn>
                  <a:cxn ang="0">
                    <a:pos x="15" y="616"/>
                  </a:cxn>
                  <a:cxn ang="0">
                    <a:pos x="10" y="675"/>
                  </a:cxn>
                  <a:cxn ang="0">
                    <a:pos x="22" y="675"/>
                  </a:cxn>
                  <a:cxn ang="0">
                    <a:pos x="37" y="695"/>
                  </a:cxn>
                  <a:cxn ang="0">
                    <a:pos x="18" y="698"/>
                  </a:cxn>
                  <a:cxn ang="0">
                    <a:pos x="42" y="690"/>
                  </a:cxn>
                  <a:cxn ang="0">
                    <a:pos x="25" y="703"/>
                  </a:cxn>
                  <a:cxn ang="0">
                    <a:pos x="25" y="724"/>
                  </a:cxn>
                  <a:cxn ang="0">
                    <a:pos x="37" y="816"/>
                  </a:cxn>
                  <a:cxn ang="0">
                    <a:pos x="23" y="819"/>
                  </a:cxn>
                  <a:cxn ang="0">
                    <a:pos x="32" y="846"/>
                  </a:cxn>
                  <a:cxn ang="0">
                    <a:pos x="50" y="831"/>
                  </a:cxn>
                  <a:cxn ang="0">
                    <a:pos x="42" y="874"/>
                  </a:cxn>
                  <a:cxn ang="0">
                    <a:pos x="60" y="882"/>
                  </a:cxn>
                  <a:cxn ang="0">
                    <a:pos x="67" y="900"/>
                  </a:cxn>
                  <a:cxn ang="0">
                    <a:pos x="67" y="912"/>
                  </a:cxn>
                  <a:cxn ang="0">
                    <a:pos x="72" y="925"/>
                  </a:cxn>
                  <a:cxn ang="0">
                    <a:pos x="80" y="930"/>
                  </a:cxn>
                  <a:cxn ang="0">
                    <a:pos x="93" y="967"/>
                  </a:cxn>
                  <a:cxn ang="0">
                    <a:pos x="90" y="969"/>
                  </a:cxn>
                  <a:cxn ang="0">
                    <a:pos x="107" y="975"/>
                  </a:cxn>
                  <a:cxn ang="0">
                    <a:pos x="141" y="990"/>
                  </a:cxn>
                  <a:cxn ang="0">
                    <a:pos x="150" y="984"/>
                  </a:cxn>
                  <a:cxn ang="0">
                    <a:pos x="178" y="985"/>
                  </a:cxn>
                  <a:cxn ang="0">
                    <a:pos x="263" y="1033"/>
                  </a:cxn>
                  <a:cxn ang="0">
                    <a:pos x="241" y="1018"/>
                  </a:cxn>
                  <a:cxn ang="0">
                    <a:pos x="216" y="1025"/>
                  </a:cxn>
                </a:cxnLst>
                <a:rect l="0" t="0" r="r" b="b"/>
                <a:pathLst>
                  <a:path w="263" h="1040">
                    <a:moveTo>
                      <a:pt x="224" y="1007"/>
                    </a:moveTo>
                    <a:lnTo>
                      <a:pt x="223" y="998"/>
                    </a:lnTo>
                    <a:lnTo>
                      <a:pt x="219" y="998"/>
                    </a:lnTo>
                    <a:lnTo>
                      <a:pt x="216" y="995"/>
                    </a:lnTo>
                    <a:lnTo>
                      <a:pt x="206" y="993"/>
                    </a:lnTo>
                    <a:lnTo>
                      <a:pt x="195" y="990"/>
                    </a:lnTo>
                    <a:lnTo>
                      <a:pt x="190" y="989"/>
                    </a:lnTo>
                    <a:lnTo>
                      <a:pt x="190" y="990"/>
                    </a:lnTo>
                    <a:lnTo>
                      <a:pt x="190" y="992"/>
                    </a:lnTo>
                    <a:lnTo>
                      <a:pt x="188" y="993"/>
                    </a:lnTo>
                    <a:lnTo>
                      <a:pt x="186" y="992"/>
                    </a:lnTo>
                    <a:lnTo>
                      <a:pt x="178" y="989"/>
                    </a:lnTo>
                    <a:lnTo>
                      <a:pt x="175" y="987"/>
                    </a:lnTo>
                    <a:lnTo>
                      <a:pt x="173" y="989"/>
                    </a:lnTo>
                    <a:lnTo>
                      <a:pt x="175" y="990"/>
                    </a:lnTo>
                    <a:lnTo>
                      <a:pt x="185" y="995"/>
                    </a:lnTo>
                    <a:lnTo>
                      <a:pt x="186" y="997"/>
                    </a:lnTo>
                    <a:lnTo>
                      <a:pt x="183" y="997"/>
                    </a:lnTo>
                    <a:lnTo>
                      <a:pt x="181" y="997"/>
                    </a:lnTo>
                    <a:lnTo>
                      <a:pt x="181" y="998"/>
                    </a:lnTo>
                    <a:lnTo>
                      <a:pt x="180" y="998"/>
                    </a:lnTo>
                    <a:lnTo>
                      <a:pt x="178" y="997"/>
                    </a:lnTo>
                    <a:lnTo>
                      <a:pt x="173" y="993"/>
                    </a:lnTo>
                    <a:lnTo>
                      <a:pt x="171" y="995"/>
                    </a:lnTo>
                    <a:lnTo>
                      <a:pt x="171" y="998"/>
                    </a:lnTo>
                    <a:lnTo>
                      <a:pt x="170" y="998"/>
                    </a:lnTo>
                    <a:lnTo>
                      <a:pt x="161" y="998"/>
                    </a:lnTo>
                    <a:lnTo>
                      <a:pt x="160" y="1000"/>
                    </a:lnTo>
                    <a:lnTo>
                      <a:pt x="161" y="1002"/>
                    </a:lnTo>
                    <a:lnTo>
                      <a:pt x="160" y="1002"/>
                    </a:lnTo>
                    <a:lnTo>
                      <a:pt x="156" y="1002"/>
                    </a:lnTo>
                    <a:lnTo>
                      <a:pt x="151" y="1003"/>
                    </a:lnTo>
                    <a:lnTo>
                      <a:pt x="153" y="1005"/>
                    </a:lnTo>
                    <a:lnTo>
                      <a:pt x="158" y="1007"/>
                    </a:lnTo>
                    <a:lnTo>
                      <a:pt x="163" y="1007"/>
                    </a:lnTo>
                    <a:lnTo>
                      <a:pt x="163" y="1003"/>
                    </a:lnTo>
                    <a:lnTo>
                      <a:pt x="165" y="1003"/>
                    </a:lnTo>
                    <a:lnTo>
                      <a:pt x="168" y="1003"/>
                    </a:lnTo>
                    <a:lnTo>
                      <a:pt x="173" y="1007"/>
                    </a:lnTo>
                    <a:lnTo>
                      <a:pt x="175" y="1007"/>
                    </a:lnTo>
                    <a:lnTo>
                      <a:pt x="176" y="1008"/>
                    </a:lnTo>
                    <a:lnTo>
                      <a:pt x="176" y="1010"/>
                    </a:lnTo>
                    <a:lnTo>
                      <a:pt x="180" y="1012"/>
                    </a:lnTo>
                    <a:lnTo>
                      <a:pt x="176" y="1013"/>
                    </a:lnTo>
                    <a:lnTo>
                      <a:pt x="173" y="1017"/>
                    </a:lnTo>
                    <a:lnTo>
                      <a:pt x="176" y="1020"/>
                    </a:lnTo>
                    <a:lnTo>
                      <a:pt x="180" y="1020"/>
                    </a:lnTo>
                    <a:lnTo>
                      <a:pt x="183" y="1022"/>
                    </a:lnTo>
                    <a:lnTo>
                      <a:pt x="186" y="1025"/>
                    </a:lnTo>
                    <a:lnTo>
                      <a:pt x="190" y="1025"/>
                    </a:lnTo>
                    <a:lnTo>
                      <a:pt x="190" y="1023"/>
                    </a:lnTo>
                    <a:lnTo>
                      <a:pt x="186" y="1022"/>
                    </a:lnTo>
                    <a:lnTo>
                      <a:pt x="181" y="1018"/>
                    </a:lnTo>
                    <a:lnTo>
                      <a:pt x="181" y="1017"/>
                    </a:lnTo>
                    <a:lnTo>
                      <a:pt x="183" y="1017"/>
                    </a:lnTo>
                    <a:lnTo>
                      <a:pt x="186" y="1018"/>
                    </a:lnTo>
                    <a:lnTo>
                      <a:pt x="190" y="1015"/>
                    </a:lnTo>
                    <a:lnTo>
                      <a:pt x="190" y="1013"/>
                    </a:lnTo>
                    <a:lnTo>
                      <a:pt x="186" y="1013"/>
                    </a:lnTo>
                    <a:lnTo>
                      <a:pt x="185" y="1012"/>
                    </a:lnTo>
                    <a:lnTo>
                      <a:pt x="195" y="1008"/>
                    </a:lnTo>
                    <a:lnTo>
                      <a:pt x="198" y="1007"/>
                    </a:lnTo>
                    <a:lnTo>
                      <a:pt x="218" y="1010"/>
                    </a:lnTo>
                    <a:lnTo>
                      <a:pt x="219" y="1008"/>
                    </a:lnTo>
                    <a:lnTo>
                      <a:pt x="219" y="1007"/>
                    </a:lnTo>
                    <a:lnTo>
                      <a:pt x="224" y="1007"/>
                    </a:lnTo>
                    <a:lnTo>
                      <a:pt x="224" y="1007"/>
                    </a:lnTo>
                    <a:close/>
                    <a:moveTo>
                      <a:pt x="223" y="997"/>
                    </a:moveTo>
                    <a:lnTo>
                      <a:pt x="216" y="995"/>
                    </a:lnTo>
                    <a:lnTo>
                      <a:pt x="205" y="989"/>
                    </a:lnTo>
                    <a:lnTo>
                      <a:pt x="196" y="985"/>
                    </a:lnTo>
                    <a:lnTo>
                      <a:pt x="193" y="985"/>
                    </a:lnTo>
                    <a:lnTo>
                      <a:pt x="188" y="984"/>
                    </a:lnTo>
                    <a:lnTo>
                      <a:pt x="183" y="979"/>
                    </a:lnTo>
                    <a:lnTo>
                      <a:pt x="183" y="977"/>
                    </a:lnTo>
                    <a:lnTo>
                      <a:pt x="183" y="975"/>
                    </a:lnTo>
                    <a:lnTo>
                      <a:pt x="190" y="972"/>
                    </a:lnTo>
                    <a:lnTo>
                      <a:pt x="191" y="970"/>
                    </a:lnTo>
                    <a:lnTo>
                      <a:pt x="196" y="969"/>
                    </a:lnTo>
                    <a:lnTo>
                      <a:pt x="200" y="964"/>
                    </a:lnTo>
                    <a:lnTo>
                      <a:pt x="198" y="960"/>
                    </a:lnTo>
                    <a:lnTo>
                      <a:pt x="193" y="959"/>
                    </a:lnTo>
                    <a:lnTo>
                      <a:pt x="185" y="964"/>
                    </a:lnTo>
                    <a:lnTo>
                      <a:pt x="181" y="967"/>
                    </a:lnTo>
                    <a:lnTo>
                      <a:pt x="178" y="967"/>
                    </a:lnTo>
                    <a:lnTo>
                      <a:pt x="173" y="962"/>
                    </a:lnTo>
                    <a:lnTo>
                      <a:pt x="173" y="957"/>
                    </a:lnTo>
                    <a:lnTo>
                      <a:pt x="171" y="954"/>
                    </a:lnTo>
                    <a:lnTo>
                      <a:pt x="176" y="950"/>
                    </a:lnTo>
                    <a:lnTo>
                      <a:pt x="176" y="947"/>
                    </a:lnTo>
                    <a:lnTo>
                      <a:pt x="173" y="947"/>
                    </a:lnTo>
                    <a:lnTo>
                      <a:pt x="170" y="945"/>
                    </a:lnTo>
                    <a:lnTo>
                      <a:pt x="173" y="942"/>
                    </a:lnTo>
                    <a:lnTo>
                      <a:pt x="176" y="942"/>
                    </a:lnTo>
                    <a:lnTo>
                      <a:pt x="181" y="945"/>
                    </a:lnTo>
                    <a:lnTo>
                      <a:pt x="181" y="942"/>
                    </a:lnTo>
                    <a:lnTo>
                      <a:pt x="186" y="939"/>
                    </a:lnTo>
                    <a:lnTo>
                      <a:pt x="186" y="937"/>
                    </a:lnTo>
                    <a:lnTo>
                      <a:pt x="186" y="934"/>
                    </a:lnTo>
                    <a:lnTo>
                      <a:pt x="188" y="930"/>
                    </a:lnTo>
                    <a:lnTo>
                      <a:pt x="191" y="930"/>
                    </a:lnTo>
                    <a:lnTo>
                      <a:pt x="195" y="934"/>
                    </a:lnTo>
                    <a:lnTo>
                      <a:pt x="196" y="932"/>
                    </a:lnTo>
                    <a:lnTo>
                      <a:pt x="203" y="929"/>
                    </a:lnTo>
                    <a:lnTo>
                      <a:pt x="211" y="954"/>
                    </a:lnTo>
                    <a:lnTo>
                      <a:pt x="210" y="955"/>
                    </a:lnTo>
                    <a:lnTo>
                      <a:pt x="211" y="955"/>
                    </a:lnTo>
                    <a:lnTo>
                      <a:pt x="223" y="997"/>
                    </a:lnTo>
                    <a:lnTo>
                      <a:pt x="223" y="997"/>
                    </a:lnTo>
                    <a:close/>
                    <a:moveTo>
                      <a:pt x="203" y="922"/>
                    </a:moveTo>
                    <a:lnTo>
                      <a:pt x="196" y="917"/>
                    </a:lnTo>
                    <a:lnTo>
                      <a:pt x="191" y="915"/>
                    </a:lnTo>
                    <a:lnTo>
                      <a:pt x="190" y="914"/>
                    </a:lnTo>
                    <a:lnTo>
                      <a:pt x="158" y="914"/>
                    </a:lnTo>
                    <a:lnTo>
                      <a:pt x="141" y="917"/>
                    </a:lnTo>
                    <a:lnTo>
                      <a:pt x="136" y="915"/>
                    </a:lnTo>
                    <a:lnTo>
                      <a:pt x="125" y="914"/>
                    </a:lnTo>
                    <a:lnTo>
                      <a:pt x="121" y="905"/>
                    </a:lnTo>
                    <a:lnTo>
                      <a:pt x="118" y="897"/>
                    </a:lnTo>
                    <a:lnTo>
                      <a:pt x="113" y="892"/>
                    </a:lnTo>
                    <a:lnTo>
                      <a:pt x="112" y="881"/>
                    </a:lnTo>
                    <a:lnTo>
                      <a:pt x="112" y="874"/>
                    </a:lnTo>
                    <a:lnTo>
                      <a:pt x="107" y="874"/>
                    </a:lnTo>
                    <a:lnTo>
                      <a:pt x="98" y="877"/>
                    </a:lnTo>
                    <a:lnTo>
                      <a:pt x="95" y="882"/>
                    </a:lnTo>
                    <a:lnTo>
                      <a:pt x="90" y="882"/>
                    </a:lnTo>
                    <a:lnTo>
                      <a:pt x="80" y="862"/>
                    </a:lnTo>
                    <a:lnTo>
                      <a:pt x="78" y="856"/>
                    </a:lnTo>
                    <a:lnTo>
                      <a:pt x="82" y="836"/>
                    </a:lnTo>
                    <a:lnTo>
                      <a:pt x="87" y="829"/>
                    </a:lnTo>
                    <a:lnTo>
                      <a:pt x="95" y="822"/>
                    </a:lnTo>
                    <a:lnTo>
                      <a:pt x="97" y="811"/>
                    </a:lnTo>
                    <a:lnTo>
                      <a:pt x="95" y="799"/>
                    </a:lnTo>
                    <a:lnTo>
                      <a:pt x="92" y="791"/>
                    </a:lnTo>
                    <a:lnTo>
                      <a:pt x="93" y="781"/>
                    </a:lnTo>
                    <a:lnTo>
                      <a:pt x="98" y="776"/>
                    </a:lnTo>
                    <a:lnTo>
                      <a:pt x="93" y="766"/>
                    </a:lnTo>
                    <a:lnTo>
                      <a:pt x="93" y="761"/>
                    </a:lnTo>
                    <a:lnTo>
                      <a:pt x="98" y="756"/>
                    </a:lnTo>
                    <a:lnTo>
                      <a:pt x="95" y="746"/>
                    </a:lnTo>
                    <a:lnTo>
                      <a:pt x="93" y="734"/>
                    </a:lnTo>
                    <a:lnTo>
                      <a:pt x="90" y="729"/>
                    </a:lnTo>
                    <a:lnTo>
                      <a:pt x="92" y="724"/>
                    </a:lnTo>
                    <a:lnTo>
                      <a:pt x="97" y="719"/>
                    </a:lnTo>
                    <a:lnTo>
                      <a:pt x="97" y="714"/>
                    </a:lnTo>
                    <a:lnTo>
                      <a:pt x="92" y="706"/>
                    </a:lnTo>
                    <a:lnTo>
                      <a:pt x="83" y="701"/>
                    </a:lnTo>
                    <a:lnTo>
                      <a:pt x="78" y="701"/>
                    </a:lnTo>
                    <a:lnTo>
                      <a:pt x="77" y="703"/>
                    </a:lnTo>
                    <a:lnTo>
                      <a:pt x="75" y="699"/>
                    </a:lnTo>
                    <a:lnTo>
                      <a:pt x="77" y="696"/>
                    </a:lnTo>
                    <a:lnTo>
                      <a:pt x="87" y="696"/>
                    </a:lnTo>
                    <a:lnTo>
                      <a:pt x="93" y="691"/>
                    </a:lnTo>
                    <a:lnTo>
                      <a:pt x="92" y="686"/>
                    </a:lnTo>
                    <a:lnTo>
                      <a:pt x="88" y="685"/>
                    </a:lnTo>
                    <a:lnTo>
                      <a:pt x="85" y="686"/>
                    </a:lnTo>
                    <a:lnTo>
                      <a:pt x="80" y="686"/>
                    </a:lnTo>
                    <a:lnTo>
                      <a:pt x="78" y="676"/>
                    </a:lnTo>
                    <a:lnTo>
                      <a:pt x="73" y="666"/>
                    </a:lnTo>
                    <a:lnTo>
                      <a:pt x="73" y="661"/>
                    </a:lnTo>
                    <a:lnTo>
                      <a:pt x="73" y="653"/>
                    </a:lnTo>
                    <a:lnTo>
                      <a:pt x="67" y="651"/>
                    </a:lnTo>
                    <a:lnTo>
                      <a:pt x="63" y="645"/>
                    </a:lnTo>
                    <a:lnTo>
                      <a:pt x="63" y="628"/>
                    </a:lnTo>
                    <a:lnTo>
                      <a:pt x="68" y="625"/>
                    </a:lnTo>
                    <a:lnTo>
                      <a:pt x="70" y="620"/>
                    </a:lnTo>
                    <a:lnTo>
                      <a:pt x="67" y="615"/>
                    </a:lnTo>
                    <a:lnTo>
                      <a:pt x="63" y="613"/>
                    </a:lnTo>
                    <a:lnTo>
                      <a:pt x="60" y="601"/>
                    </a:lnTo>
                    <a:lnTo>
                      <a:pt x="60" y="588"/>
                    </a:lnTo>
                    <a:lnTo>
                      <a:pt x="62" y="572"/>
                    </a:lnTo>
                    <a:lnTo>
                      <a:pt x="57" y="565"/>
                    </a:lnTo>
                    <a:lnTo>
                      <a:pt x="55" y="557"/>
                    </a:lnTo>
                    <a:lnTo>
                      <a:pt x="65" y="547"/>
                    </a:lnTo>
                    <a:lnTo>
                      <a:pt x="67" y="535"/>
                    </a:lnTo>
                    <a:lnTo>
                      <a:pt x="72" y="532"/>
                    </a:lnTo>
                    <a:lnTo>
                      <a:pt x="77" y="528"/>
                    </a:lnTo>
                    <a:lnTo>
                      <a:pt x="62" y="502"/>
                    </a:lnTo>
                    <a:lnTo>
                      <a:pt x="63" y="494"/>
                    </a:lnTo>
                    <a:lnTo>
                      <a:pt x="63" y="487"/>
                    </a:lnTo>
                    <a:lnTo>
                      <a:pt x="63" y="472"/>
                    </a:lnTo>
                    <a:lnTo>
                      <a:pt x="68" y="464"/>
                    </a:lnTo>
                    <a:lnTo>
                      <a:pt x="73" y="457"/>
                    </a:lnTo>
                    <a:lnTo>
                      <a:pt x="73" y="450"/>
                    </a:lnTo>
                    <a:lnTo>
                      <a:pt x="68" y="442"/>
                    </a:lnTo>
                    <a:lnTo>
                      <a:pt x="65" y="440"/>
                    </a:lnTo>
                    <a:lnTo>
                      <a:pt x="70" y="432"/>
                    </a:lnTo>
                    <a:lnTo>
                      <a:pt x="68" y="424"/>
                    </a:lnTo>
                    <a:lnTo>
                      <a:pt x="73" y="415"/>
                    </a:lnTo>
                    <a:lnTo>
                      <a:pt x="77" y="414"/>
                    </a:lnTo>
                    <a:lnTo>
                      <a:pt x="78" y="404"/>
                    </a:lnTo>
                    <a:lnTo>
                      <a:pt x="77" y="386"/>
                    </a:lnTo>
                    <a:lnTo>
                      <a:pt x="73" y="384"/>
                    </a:lnTo>
                    <a:lnTo>
                      <a:pt x="70" y="371"/>
                    </a:lnTo>
                    <a:lnTo>
                      <a:pt x="67" y="364"/>
                    </a:lnTo>
                    <a:lnTo>
                      <a:pt x="60" y="356"/>
                    </a:lnTo>
                    <a:lnTo>
                      <a:pt x="60" y="352"/>
                    </a:lnTo>
                    <a:lnTo>
                      <a:pt x="55" y="346"/>
                    </a:lnTo>
                    <a:lnTo>
                      <a:pt x="53" y="336"/>
                    </a:lnTo>
                    <a:lnTo>
                      <a:pt x="53" y="327"/>
                    </a:lnTo>
                    <a:lnTo>
                      <a:pt x="62" y="324"/>
                    </a:lnTo>
                    <a:lnTo>
                      <a:pt x="62" y="314"/>
                    </a:lnTo>
                    <a:lnTo>
                      <a:pt x="65" y="309"/>
                    </a:lnTo>
                    <a:lnTo>
                      <a:pt x="65" y="299"/>
                    </a:lnTo>
                    <a:lnTo>
                      <a:pt x="62" y="293"/>
                    </a:lnTo>
                    <a:lnTo>
                      <a:pt x="60" y="278"/>
                    </a:lnTo>
                    <a:lnTo>
                      <a:pt x="63" y="276"/>
                    </a:lnTo>
                    <a:lnTo>
                      <a:pt x="65" y="259"/>
                    </a:lnTo>
                    <a:lnTo>
                      <a:pt x="70" y="254"/>
                    </a:lnTo>
                    <a:lnTo>
                      <a:pt x="77" y="239"/>
                    </a:lnTo>
                    <a:lnTo>
                      <a:pt x="83" y="233"/>
                    </a:lnTo>
                    <a:lnTo>
                      <a:pt x="87" y="231"/>
                    </a:lnTo>
                    <a:lnTo>
                      <a:pt x="92" y="226"/>
                    </a:lnTo>
                    <a:lnTo>
                      <a:pt x="88" y="224"/>
                    </a:lnTo>
                    <a:lnTo>
                      <a:pt x="88" y="218"/>
                    </a:lnTo>
                    <a:lnTo>
                      <a:pt x="87" y="216"/>
                    </a:lnTo>
                    <a:lnTo>
                      <a:pt x="83" y="213"/>
                    </a:lnTo>
                    <a:lnTo>
                      <a:pt x="85" y="209"/>
                    </a:lnTo>
                    <a:lnTo>
                      <a:pt x="88" y="206"/>
                    </a:lnTo>
                    <a:lnTo>
                      <a:pt x="88" y="201"/>
                    </a:lnTo>
                    <a:lnTo>
                      <a:pt x="83" y="195"/>
                    </a:lnTo>
                    <a:lnTo>
                      <a:pt x="82" y="186"/>
                    </a:lnTo>
                    <a:lnTo>
                      <a:pt x="85" y="183"/>
                    </a:lnTo>
                    <a:lnTo>
                      <a:pt x="83" y="178"/>
                    </a:lnTo>
                    <a:lnTo>
                      <a:pt x="78" y="175"/>
                    </a:lnTo>
                    <a:lnTo>
                      <a:pt x="82" y="170"/>
                    </a:lnTo>
                    <a:lnTo>
                      <a:pt x="110" y="155"/>
                    </a:lnTo>
                    <a:lnTo>
                      <a:pt x="116" y="130"/>
                    </a:lnTo>
                    <a:lnTo>
                      <a:pt x="113" y="125"/>
                    </a:lnTo>
                    <a:lnTo>
                      <a:pt x="110" y="125"/>
                    </a:lnTo>
                    <a:lnTo>
                      <a:pt x="108" y="128"/>
                    </a:lnTo>
                    <a:lnTo>
                      <a:pt x="102" y="128"/>
                    </a:lnTo>
                    <a:lnTo>
                      <a:pt x="83" y="85"/>
                    </a:lnTo>
                    <a:lnTo>
                      <a:pt x="72" y="75"/>
                    </a:lnTo>
                    <a:lnTo>
                      <a:pt x="68" y="70"/>
                    </a:lnTo>
                    <a:lnTo>
                      <a:pt x="73" y="58"/>
                    </a:lnTo>
                    <a:lnTo>
                      <a:pt x="72" y="53"/>
                    </a:lnTo>
                    <a:lnTo>
                      <a:pt x="75" y="47"/>
                    </a:lnTo>
                    <a:lnTo>
                      <a:pt x="73" y="43"/>
                    </a:lnTo>
                    <a:lnTo>
                      <a:pt x="63" y="37"/>
                    </a:lnTo>
                    <a:lnTo>
                      <a:pt x="58" y="32"/>
                    </a:lnTo>
                    <a:lnTo>
                      <a:pt x="58" y="23"/>
                    </a:lnTo>
                    <a:lnTo>
                      <a:pt x="57" y="22"/>
                    </a:lnTo>
                    <a:lnTo>
                      <a:pt x="58" y="17"/>
                    </a:lnTo>
                    <a:lnTo>
                      <a:pt x="57" y="13"/>
                    </a:lnTo>
                    <a:lnTo>
                      <a:pt x="55" y="10"/>
                    </a:lnTo>
                    <a:lnTo>
                      <a:pt x="50" y="7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42" y="4"/>
                    </a:lnTo>
                    <a:lnTo>
                      <a:pt x="40" y="9"/>
                    </a:lnTo>
                    <a:lnTo>
                      <a:pt x="45" y="12"/>
                    </a:lnTo>
                    <a:lnTo>
                      <a:pt x="43" y="15"/>
                    </a:lnTo>
                    <a:lnTo>
                      <a:pt x="38" y="18"/>
                    </a:lnTo>
                    <a:lnTo>
                      <a:pt x="35" y="17"/>
                    </a:lnTo>
                    <a:lnTo>
                      <a:pt x="30" y="20"/>
                    </a:lnTo>
                    <a:lnTo>
                      <a:pt x="23" y="23"/>
                    </a:lnTo>
                    <a:lnTo>
                      <a:pt x="27" y="25"/>
                    </a:lnTo>
                    <a:lnTo>
                      <a:pt x="27" y="32"/>
                    </a:lnTo>
                    <a:lnTo>
                      <a:pt x="25" y="35"/>
                    </a:lnTo>
                    <a:lnTo>
                      <a:pt x="27" y="42"/>
                    </a:lnTo>
                    <a:lnTo>
                      <a:pt x="30" y="58"/>
                    </a:lnTo>
                    <a:lnTo>
                      <a:pt x="30" y="65"/>
                    </a:lnTo>
                    <a:lnTo>
                      <a:pt x="30" y="68"/>
                    </a:lnTo>
                    <a:lnTo>
                      <a:pt x="27" y="72"/>
                    </a:lnTo>
                    <a:lnTo>
                      <a:pt x="28" y="80"/>
                    </a:lnTo>
                    <a:lnTo>
                      <a:pt x="32" y="88"/>
                    </a:lnTo>
                    <a:lnTo>
                      <a:pt x="35" y="95"/>
                    </a:lnTo>
                    <a:lnTo>
                      <a:pt x="35" y="107"/>
                    </a:lnTo>
                    <a:lnTo>
                      <a:pt x="33" y="110"/>
                    </a:lnTo>
                    <a:lnTo>
                      <a:pt x="32" y="111"/>
                    </a:lnTo>
                    <a:lnTo>
                      <a:pt x="33" y="126"/>
                    </a:lnTo>
                    <a:lnTo>
                      <a:pt x="33" y="130"/>
                    </a:lnTo>
                    <a:lnTo>
                      <a:pt x="30" y="133"/>
                    </a:lnTo>
                    <a:lnTo>
                      <a:pt x="27" y="135"/>
                    </a:lnTo>
                    <a:lnTo>
                      <a:pt x="27" y="143"/>
                    </a:lnTo>
                    <a:lnTo>
                      <a:pt x="28" y="145"/>
                    </a:lnTo>
                    <a:lnTo>
                      <a:pt x="32" y="143"/>
                    </a:lnTo>
                    <a:lnTo>
                      <a:pt x="33" y="145"/>
                    </a:lnTo>
                    <a:lnTo>
                      <a:pt x="30" y="148"/>
                    </a:lnTo>
                    <a:lnTo>
                      <a:pt x="30" y="170"/>
                    </a:lnTo>
                    <a:lnTo>
                      <a:pt x="35" y="180"/>
                    </a:lnTo>
                    <a:lnTo>
                      <a:pt x="35" y="186"/>
                    </a:lnTo>
                    <a:lnTo>
                      <a:pt x="33" y="191"/>
                    </a:lnTo>
                    <a:lnTo>
                      <a:pt x="30" y="198"/>
                    </a:lnTo>
                    <a:lnTo>
                      <a:pt x="30" y="203"/>
                    </a:lnTo>
                    <a:lnTo>
                      <a:pt x="35" y="209"/>
                    </a:lnTo>
                    <a:lnTo>
                      <a:pt x="33" y="214"/>
                    </a:lnTo>
                    <a:lnTo>
                      <a:pt x="33" y="226"/>
                    </a:lnTo>
                    <a:lnTo>
                      <a:pt x="30" y="229"/>
                    </a:lnTo>
                    <a:lnTo>
                      <a:pt x="30" y="236"/>
                    </a:lnTo>
                    <a:lnTo>
                      <a:pt x="32" y="239"/>
                    </a:lnTo>
                    <a:lnTo>
                      <a:pt x="32" y="243"/>
                    </a:lnTo>
                    <a:lnTo>
                      <a:pt x="28" y="248"/>
                    </a:lnTo>
                    <a:lnTo>
                      <a:pt x="27" y="253"/>
                    </a:lnTo>
                    <a:lnTo>
                      <a:pt x="25" y="256"/>
                    </a:lnTo>
                    <a:lnTo>
                      <a:pt x="27" y="264"/>
                    </a:lnTo>
                    <a:lnTo>
                      <a:pt x="25" y="266"/>
                    </a:lnTo>
                    <a:lnTo>
                      <a:pt x="22" y="274"/>
                    </a:lnTo>
                    <a:lnTo>
                      <a:pt x="22" y="278"/>
                    </a:lnTo>
                    <a:lnTo>
                      <a:pt x="25" y="284"/>
                    </a:lnTo>
                    <a:lnTo>
                      <a:pt x="27" y="291"/>
                    </a:lnTo>
                    <a:lnTo>
                      <a:pt x="30" y="294"/>
                    </a:lnTo>
                    <a:lnTo>
                      <a:pt x="27" y="298"/>
                    </a:lnTo>
                    <a:lnTo>
                      <a:pt x="23" y="303"/>
                    </a:lnTo>
                    <a:lnTo>
                      <a:pt x="27" y="306"/>
                    </a:lnTo>
                    <a:lnTo>
                      <a:pt x="23" y="309"/>
                    </a:lnTo>
                    <a:lnTo>
                      <a:pt x="20" y="311"/>
                    </a:lnTo>
                    <a:lnTo>
                      <a:pt x="20" y="316"/>
                    </a:lnTo>
                    <a:lnTo>
                      <a:pt x="22" y="321"/>
                    </a:lnTo>
                    <a:lnTo>
                      <a:pt x="22" y="326"/>
                    </a:lnTo>
                    <a:lnTo>
                      <a:pt x="27" y="339"/>
                    </a:lnTo>
                    <a:lnTo>
                      <a:pt x="27" y="346"/>
                    </a:lnTo>
                    <a:lnTo>
                      <a:pt x="25" y="349"/>
                    </a:lnTo>
                    <a:lnTo>
                      <a:pt x="25" y="352"/>
                    </a:lnTo>
                    <a:lnTo>
                      <a:pt x="30" y="359"/>
                    </a:lnTo>
                    <a:lnTo>
                      <a:pt x="32" y="367"/>
                    </a:lnTo>
                    <a:lnTo>
                      <a:pt x="30" y="372"/>
                    </a:lnTo>
                    <a:lnTo>
                      <a:pt x="30" y="374"/>
                    </a:lnTo>
                    <a:lnTo>
                      <a:pt x="30" y="379"/>
                    </a:lnTo>
                    <a:lnTo>
                      <a:pt x="30" y="382"/>
                    </a:lnTo>
                    <a:lnTo>
                      <a:pt x="28" y="386"/>
                    </a:lnTo>
                    <a:lnTo>
                      <a:pt x="30" y="387"/>
                    </a:lnTo>
                    <a:lnTo>
                      <a:pt x="35" y="394"/>
                    </a:lnTo>
                    <a:lnTo>
                      <a:pt x="37" y="399"/>
                    </a:lnTo>
                    <a:lnTo>
                      <a:pt x="33" y="402"/>
                    </a:lnTo>
                    <a:lnTo>
                      <a:pt x="30" y="404"/>
                    </a:lnTo>
                    <a:lnTo>
                      <a:pt x="27" y="410"/>
                    </a:lnTo>
                    <a:lnTo>
                      <a:pt x="27" y="412"/>
                    </a:lnTo>
                    <a:lnTo>
                      <a:pt x="28" y="414"/>
                    </a:lnTo>
                    <a:lnTo>
                      <a:pt x="27" y="419"/>
                    </a:lnTo>
                    <a:lnTo>
                      <a:pt x="23" y="422"/>
                    </a:lnTo>
                    <a:lnTo>
                      <a:pt x="23" y="425"/>
                    </a:lnTo>
                    <a:lnTo>
                      <a:pt x="23" y="432"/>
                    </a:lnTo>
                    <a:lnTo>
                      <a:pt x="22" y="435"/>
                    </a:lnTo>
                    <a:lnTo>
                      <a:pt x="22" y="440"/>
                    </a:lnTo>
                    <a:lnTo>
                      <a:pt x="20" y="442"/>
                    </a:lnTo>
                    <a:lnTo>
                      <a:pt x="20" y="447"/>
                    </a:lnTo>
                    <a:lnTo>
                      <a:pt x="17" y="450"/>
                    </a:lnTo>
                    <a:lnTo>
                      <a:pt x="18" y="452"/>
                    </a:lnTo>
                    <a:lnTo>
                      <a:pt x="20" y="455"/>
                    </a:lnTo>
                    <a:lnTo>
                      <a:pt x="17" y="459"/>
                    </a:lnTo>
                    <a:lnTo>
                      <a:pt x="17" y="465"/>
                    </a:lnTo>
                    <a:lnTo>
                      <a:pt x="15" y="469"/>
                    </a:lnTo>
                    <a:lnTo>
                      <a:pt x="12" y="470"/>
                    </a:lnTo>
                    <a:lnTo>
                      <a:pt x="12" y="474"/>
                    </a:lnTo>
                    <a:lnTo>
                      <a:pt x="10" y="477"/>
                    </a:lnTo>
                    <a:lnTo>
                      <a:pt x="10" y="480"/>
                    </a:lnTo>
                    <a:lnTo>
                      <a:pt x="12" y="484"/>
                    </a:lnTo>
                    <a:lnTo>
                      <a:pt x="12" y="489"/>
                    </a:lnTo>
                    <a:lnTo>
                      <a:pt x="10" y="492"/>
                    </a:lnTo>
                    <a:lnTo>
                      <a:pt x="7" y="492"/>
                    </a:lnTo>
                    <a:lnTo>
                      <a:pt x="4" y="490"/>
                    </a:lnTo>
                    <a:lnTo>
                      <a:pt x="0" y="490"/>
                    </a:lnTo>
                    <a:lnTo>
                      <a:pt x="0" y="494"/>
                    </a:lnTo>
                    <a:lnTo>
                      <a:pt x="0" y="499"/>
                    </a:lnTo>
                    <a:lnTo>
                      <a:pt x="0" y="505"/>
                    </a:lnTo>
                    <a:lnTo>
                      <a:pt x="4" y="510"/>
                    </a:lnTo>
                    <a:lnTo>
                      <a:pt x="9" y="513"/>
                    </a:lnTo>
                    <a:lnTo>
                      <a:pt x="10" y="518"/>
                    </a:lnTo>
                    <a:lnTo>
                      <a:pt x="9" y="523"/>
                    </a:lnTo>
                    <a:lnTo>
                      <a:pt x="17" y="535"/>
                    </a:lnTo>
                    <a:lnTo>
                      <a:pt x="18" y="538"/>
                    </a:lnTo>
                    <a:lnTo>
                      <a:pt x="20" y="542"/>
                    </a:lnTo>
                    <a:lnTo>
                      <a:pt x="20" y="548"/>
                    </a:lnTo>
                    <a:lnTo>
                      <a:pt x="18" y="558"/>
                    </a:lnTo>
                    <a:lnTo>
                      <a:pt x="17" y="560"/>
                    </a:lnTo>
                    <a:lnTo>
                      <a:pt x="18" y="562"/>
                    </a:lnTo>
                    <a:lnTo>
                      <a:pt x="17" y="565"/>
                    </a:lnTo>
                    <a:lnTo>
                      <a:pt x="15" y="565"/>
                    </a:lnTo>
                    <a:lnTo>
                      <a:pt x="12" y="565"/>
                    </a:lnTo>
                    <a:lnTo>
                      <a:pt x="10" y="568"/>
                    </a:lnTo>
                    <a:lnTo>
                      <a:pt x="12" y="573"/>
                    </a:lnTo>
                    <a:lnTo>
                      <a:pt x="15" y="575"/>
                    </a:lnTo>
                    <a:lnTo>
                      <a:pt x="12" y="585"/>
                    </a:lnTo>
                    <a:lnTo>
                      <a:pt x="14" y="588"/>
                    </a:lnTo>
                    <a:lnTo>
                      <a:pt x="12" y="590"/>
                    </a:lnTo>
                    <a:lnTo>
                      <a:pt x="14" y="593"/>
                    </a:lnTo>
                    <a:lnTo>
                      <a:pt x="14" y="595"/>
                    </a:lnTo>
                    <a:lnTo>
                      <a:pt x="12" y="597"/>
                    </a:lnTo>
                    <a:lnTo>
                      <a:pt x="14" y="600"/>
                    </a:lnTo>
                    <a:lnTo>
                      <a:pt x="20" y="610"/>
                    </a:lnTo>
                    <a:lnTo>
                      <a:pt x="23" y="611"/>
                    </a:lnTo>
                    <a:lnTo>
                      <a:pt x="25" y="615"/>
                    </a:lnTo>
                    <a:lnTo>
                      <a:pt x="32" y="618"/>
                    </a:lnTo>
                    <a:lnTo>
                      <a:pt x="38" y="616"/>
                    </a:lnTo>
                    <a:lnTo>
                      <a:pt x="38" y="610"/>
                    </a:lnTo>
                    <a:lnTo>
                      <a:pt x="40" y="608"/>
                    </a:lnTo>
                    <a:lnTo>
                      <a:pt x="45" y="608"/>
                    </a:lnTo>
                    <a:lnTo>
                      <a:pt x="48" y="613"/>
                    </a:lnTo>
                    <a:lnTo>
                      <a:pt x="50" y="611"/>
                    </a:lnTo>
                    <a:lnTo>
                      <a:pt x="53" y="611"/>
                    </a:lnTo>
                    <a:lnTo>
                      <a:pt x="50" y="615"/>
                    </a:lnTo>
                    <a:lnTo>
                      <a:pt x="45" y="620"/>
                    </a:lnTo>
                    <a:lnTo>
                      <a:pt x="45" y="621"/>
                    </a:lnTo>
                    <a:lnTo>
                      <a:pt x="48" y="623"/>
                    </a:lnTo>
                    <a:lnTo>
                      <a:pt x="52" y="621"/>
                    </a:lnTo>
                    <a:lnTo>
                      <a:pt x="52" y="625"/>
                    </a:lnTo>
                    <a:lnTo>
                      <a:pt x="53" y="633"/>
                    </a:lnTo>
                    <a:lnTo>
                      <a:pt x="55" y="635"/>
                    </a:lnTo>
                    <a:lnTo>
                      <a:pt x="53" y="636"/>
                    </a:lnTo>
                    <a:lnTo>
                      <a:pt x="52" y="635"/>
                    </a:lnTo>
                    <a:lnTo>
                      <a:pt x="50" y="631"/>
                    </a:lnTo>
                    <a:lnTo>
                      <a:pt x="47" y="630"/>
                    </a:lnTo>
                    <a:lnTo>
                      <a:pt x="45" y="631"/>
                    </a:lnTo>
                    <a:lnTo>
                      <a:pt x="47" y="635"/>
                    </a:lnTo>
                    <a:lnTo>
                      <a:pt x="50" y="636"/>
                    </a:lnTo>
                    <a:lnTo>
                      <a:pt x="52" y="640"/>
                    </a:lnTo>
                    <a:lnTo>
                      <a:pt x="48" y="640"/>
                    </a:lnTo>
                    <a:lnTo>
                      <a:pt x="47" y="641"/>
                    </a:lnTo>
                    <a:lnTo>
                      <a:pt x="47" y="646"/>
                    </a:lnTo>
                    <a:lnTo>
                      <a:pt x="50" y="651"/>
                    </a:lnTo>
                    <a:lnTo>
                      <a:pt x="47" y="655"/>
                    </a:lnTo>
                    <a:lnTo>
                      <a:pt x="47" y="658"/>
                    </a:lnTo>
                    <a:lnTo>
                      <a:pt x="48" y="658"/>
                    </a:lnTo>
                    <a:lnTo>
                      <a:pt x="43" y="663"/>
                    </a:lnTo>
                    <a:lnTo>
                      <a:pt x="45" y="665"/>
                    </a:lnTo>
                    <a:lnTo>
                      <a:pt x="50" y="668"/>
                    </a:lnTo>
                    <a:lnTo>
                      <a:pt x="48" y="671"/>
                    </a:lnTo>
                    <a:lnTo>
                      <a:pt x="48" y="676"/>
                    </a:lnTo>
                    <a:lnTo>
                      <a:pt x="45" y="680"/>
                    </a:lnTo>
                    <a:lnTo>
                      <a:pt x="45" y="683"/>
                    </a:lnTo>
                    <a:lnTo>
                      <a:pt x="47" y="685"/>
                    </a:lnTo>
                    <a:lnTo>
                      <a:pt x="52" y="685"/>
                    </a:lnTo>
                    <a:lnTo>
                      <a:pt x="55" y="688"/>
                    </a:lnTo>
                    <a:lnTo>
                      <a:pt x="55" y="691"/>
                    </a:lnTo>
                    <a:lnTo>
                      <a:pt x="60" y="691"/>
                    </a:lnTo>
                    <a:lnTo>
                      <a:pt x="62" y="695"/>
                    </a:lnTo>
                    <a:lnTo>
                      <a:pt x="62" y="701"/>
                    </a:lnTo>
                    <a:lnTo>
                      <a:pt x="57" y="706"/>
                    </a:lnTo>
                    <a:lnTo>
                      <a:pt x="52" y="709"/>
                    </a:lnTo>
                    <a:lnTo>
                      <a:pt x="48" y="709"/>
                    </a:lnTo>
                    <a:lnTo>
                      <a:pt x="48" y="714"/>
                    </a:lnTo>
                    <a:lnTo>
                      <a:pt x="50" y="719"/>
                    </a:lnTo>
                    <a:lnTo>
                      <a:pt x="48" y="721"/>
                    </a:lnTo>
                    <a:lnTo>
                      <a:pt x="48" y="723"/>
                    </a:lnTo>
                    <a:lnTo>
                      <a:pt x="50" y="724"/>
                    </a:lnTo>
                    <a:lnTo>
                      <a:pt x="47" y="728"/>
                    </a:lnTo>
                    <a:lnTo>
                      <a:pt x="43" y="734"/>
                    </a:lnTo>
                    <a:lnTo>
                      <a:pt x="43" y="739"/>
                    </a:lnTo>
                    <a:lnTo>
                      <a:pt x="47" y="741"/>
                    </a:lnTo>
                    <a:lnTo>
                      <a:pt x="45" y="744"/>
                    </a:lnTo>
                    <a:lnTo>
                      <a:pt x="45" y="751"/>
                    </a:lnTo>
                    <a:lnTo>
                      <a:pt x="42" y="753"/>
                    </a:lnTo>
                    <a:lnTo>
                      <a:pt x="40" y="758"/>
                    </a:lnTo>
                    <a:lnTo>
                      <a:pt x="38" y="754"/>
                    </a:lnTo>
                    <a:lnTo>
                      <a:pt x="40" y="753"/>
                    </a:lnTo>
                    <a:lnTo>
                      <a:pt x="42" y="746"/>
                    </a:lnTo>
                    <a:lnTo>
                      <a:pt x="42" y="743"/>
                    </a:lnTo>
                    <a:lnTo>
                      <a:pt x="42" y="741"/>
                    </a:lnTo>
                    <a:lnTo>
                      <a:pt x="40" y="739"/>
                    </a:lnTo>
                    <a:lnTo>
                      <a:pt x="33" y="741"/>
                    </a:lnTo>
                    <a:lnTo>
                      <a:pt x="30" y="744"/>
                    </a:lnTo>
                    <a:lnTo>
                      <a:pt x="27" y="744"/>
                    </a:lnTo>
                    <a:lnTo>
                      <a:pt x="27" y="743"/>
                    </a:lnTo>
                    <a:lnTo>
                      <a:pt x="32" y="741"/>
                    </a:lnTo>
                    <a:lnTo>
                      <a:pt x="33" y="739"/>
                    </a:lnTo>
                    <a:lnTo>
                      <a:pt x="33" y="733"/>
                    </a:lnTo>
                    <a:lnTo>
                      <a:pt x="32" y="731"/>
                    </a:lnTo>
                    <a:lnTo>
                      <a:pt x="27" y="733"/>
                    </a:lnTo>
                    <a:lnTo>
                      <a:pt x="18" y="734"/>
                    </a:lnTo>
                    <a:lnTo>
                      <a:pt x="17" y="733"/>
                    </a:lnTo>
                    <a:lnTo>
                      <a:pt x="14" y="734"/>
                    </a:lnTo>
                    <a:lnTo>
                      <a:pt x="12" y="736"/>
                    </a:lnTo>
                    <a:lnTo>
                      <a:pt x="15" y="741"/>
                    </a:lnTo>
                    <a:lnTo>
                      <a:pt x="17" y="741"/>
                    </a:lnTo>
                    <a:lnTo>
                      <a:pt x="18" y="744"/>
                    </a:lnTo>
                    <a:lnTo>
                      <a:pt x="15" y="744"/>
                    </a:lnTo>
                    <a:lnTo>
                      <a:pt x="14" y="749"/>
                    </a:lnTo>
                    <a:lnTo>
                      <a:pt x="10" y="751"/>
                    </a:lnTo>
                    <a:lnTo>
                      <a:pt x="9" y="754"/>
                    </a:lnTo>
                    <a:lnTo>
                      <a:pt x="2" y="758"/>
                    </a:lnTo>
                    <a:lnTo>
                      <a:pt x="2" y="761"/>
                    </a:lnTo>
                    <a:lnTo>
                      <a:pt x="9" y="768"/>
                    </a:lnTo>
                    <a:lnTo>
                      <a:pt x="12" y="768"/>
                    </a:lnTo>
                    <a:lnTo>
                      <a:pt x="14" y="766"/>
                    </a:lnTo>
                    <a:lnTo>
                      <a:pt x="14" y="764"/>
                    </a:lnTo>
                    <a:lnTo>
                      <a:pt x="10" y="763"/>
                    </a:lnTo>
                    <a:lnTo>
                      <a:pt x="9" y="761"/>
                    </a:lnTo>
                    <a:lnTo>
                      <a:pt x="12" y="756"/>
                    </a:lnTo>
                    <a:lnTo>
                      <a:pt x="17" y="756"/>
                    </a:lnTo>
                    <a:lnTo>
                      <a:pt x="18" y="754"/>
                    </a:lnTo>
                    <a:lnTo>
                      <a:pt x="20" y="759"/>
                    </a:lnTo>
                    <a:lnTo>
                      <a:pt x="23" y="763"/>
                    </a:lnTo>
                    <a:lnTo>
                      <a:pt x="30" y="761"/>
                    </a:lnTo>
                    <a:lnTo>
                      <a:pt x="32" y="759"/>
                    </a:lnTo>
                    <a:lnTo>
                      <a:pt x="35" y="761"/>
                    </a:lnTo>
                    <a:lnTo>
                      <a:pt x="37" y="763"/>
                    </a:lnTo>
                    <a:lnTo>
                      <a:pt x="43" y="766"/>
                    </a:lnTo>
                    <a:lnTo>
                      <a:pt x="45" y="769"/>
                    </a:lnTo>
                    <a:lnTo>
                      <a:pt x="43" y="769"/>
                    </a:lnTo>
                    <a:lnTo>
                      <a:pt x="42" y="771"/>
                    </a:lnTo>
                    <a:lnTo>
                      <a:pt x="43" y="774"/>
                    </a:lnTo>
                    <a:lnTo>
                      <a:pt x="40" y="776"/>
                    </a:lnTo>
                    <a:lnTo>
                      <a:pt x="38" y="779"/>
                    </a:lnTo>
                    <a:lnTo>
                      <a:pt x="40" y="781"/>
                    </a:lnTo>
                    <a:lnTo>
                      <a:pt x="45" y="784"/>
                    </a:lnTo>
                    <a:lnTo>
                      <a:pt x="43" y="784"/>
                    </a:lnTo>
                    <a:lnTo>
                      <a:pt x="40" y="783"/>
                    </a:lnTo>
                    <a:lnTo>
                      <a:pt x="38" y="781"/>
                    </a:lnTo>
                    <a:lnTo>
                      <a:pt x="35" y="781"/>
                    </a:lnTo>
                    <a:lnTo>
                      <a:pt x="35" y="784"/>
                    </a:lnTo>
                    <a:lnTo>
                      <a:pt x="38" y="788"/>
                    </a:lnTo>
                    <a:lnTo>
                      <a:pt x="40" y="791"/>
                    </a:lnTo>
                    <a:lnTo>
                      <a:pt x="47" y="793"/>
                    </a:lnTo>
                    <a:lnTo>
                      <a:pt x="53" y="789"/>
                    </a:lnTo>
                    <a:lnTo>
                      <a:pt x="57" y="791"/>
                    </a:lnTo>
                    <a:lnTo>
                      <a:pt x="58" y="791"/>
                    </a:lnTo>
                    <a:lnTo>
                      <a:pt x="63" y="789"/>
                    </a:lnTo>
                    <a:lnTo>
                      <a:pt x="60" y="793"/>
                    </a:lnTo>
                    <a:lnTo>
                      <a:pt x="62" y="794"/>
                    </a:lnTo>
                    <a:lnTo>
                      <a:pt x="60" y="794"/>
                    </a:lnTo>
                    <a:lnTo>
                      <a:pt x="55" y="794"/>
                    </a:lnTo>
                    <a:lnTo>
                      <a:pt x="55" y="796"/>
                    </a:lnTo>
                    <a:lnTo>
                      <a:pt x="52" y="794"/>
                    </a:lnTo>
                    <a:lnTo>
                      <a:pt x="43" y="796"/>
                    </a:lnTo>
                    <a:lnTo>
                      <a:pt x="42" y="799"/>
                    </a:lnTo>
                    <a:lnTo>
                      <a:pt x="43" y="801"/>
                    </a:lnTo>
                    <a:lnTo>
                      <a:pt x="48" y="804"/>
                    </a:lnTo>
                    <a:lnTo>
                      <a:pt x="48" y="807"/>
                    </a:lnTo>
                    <a:lnTo>
                      <a:pt x="53" y="809"/>
                    </a:lnTo>
                    <a:lnTo>
                      <a:pt x="57" y="807"/>
                    </a:lnTo>
                    <a:lnTo>
                      <a:pt x="55" y="809"/>
                    </a:lnTo>
                    <a:lnTo>
                      <a:pt x="52" y="812"/>
                    </a:lnTo>
                    <a:lnTo>
                      <a:pt x="52" y="814"/>
                    </a:lnTo>
                    <a:lnTo>
                      <a:pt x="53" y="816"/>
                    </a:lnTo>
                    <a:lnTo>
                      <a:pt x="52" y="819"/>
                    </a:lnTo>
                    <a:lnTo>
                      <a:pt x="48" y="819"/>
                    </a:lnTo>
                    <a:lnTo>
                      <a:pt x="48" y="822"/>
                    </a:lnTo>
                    <a:lnTo>
                      <a:pt x="52" y="832"/>
                    </a:lnTo>
                    <a:lnTo>
                      <a:pt x="53" y="836"/>
                    </a:lnTo>
                    <a:lnTo>
                      <a:pt x="53" y="841"/>
                    </a:lnTo>
                    <a:lnTo>
                      <a:pt x="57" y="844"/>
                    </a:lnTo>
                    <a:lnTo>
                      <a:pt x="60" y="846"/>
                    </a:lnTo>
                    <a:lnTo>
                      <a:pt x="60" y="839"/>
                    </a:lnTo>
                    <a:lnTo>
                      <a:pt x="63" y="831"/>
                    </a:lnTo>
                    <a:lnTo>
                      <a:pt x="67" y="829"/>
                    </a:lnTo>
                    <a:lnTo>
                      <a:pt x="67" y="831"/>
                    </a:lnTo>
                    <a:lnTo>
                      <a:pt x="65" y="831"/>
                    </a:lnTo>
                    <a:lnTo>
                      <a:pt x="62" y="839"/>
                    </a:lnTo>
                    <a:lnTo>
                      <a:pt x="63" y="842"/>
                    </a:lnTo>
                    <a:lnTo>
                      <a:pt x="67" y="844"/>
                    </a:lnTo>
                    <a:lnTo>
                      <a:pt x="70" y="844"/>
                    </a:lnTo>
                    <a:lnTo>
                      <a:pt x="68" y="846"/>
                    </a:lnTo>
                    <a:lnTo>
                      <a:pt x="63" y="846"/>
                    </a:lnTo>
                    <a:lnTo>
                      <a:pt x="58" y="851"/>
                    </a:lnTo>
                    <a:lnTo>
                      <a:pt x="60" y="852"/>
                    </a:lnTo>
                    <a:lnTo>
                      <a:pt x="58" y="856"/>
                    </a:lnTo>
                    <a:lnTo>
                      <a:pt x="58" y="861"/>
                    </a:lnTo>
                    <a:lnTo>
                      <a:pt x="55" y="861"/>
                    </a:lnTo>
                    <a:lnTo>
                      <a:pt x="53" y="866"/>
                    </a:lnTo>
                    <a:lnTo>
                      <a:pt x="53" y="867"/>
                    </a:lnTo>
                    <a:lnTo>
                      <a:pt x="60" y="872"/>
                    </a:lnTo>
                    <a:lnTo>
                      <a:pt x="70" y="874"/>
                    </a:lnTo>
                    <a:lnTo>
                      <a:pt x="73" y="877"/>
                    </a:lnTo>
                    <a:lnTo>
                      <a:pt x="73" y="879"/>
                    </a:lnTo>
                    <a:lnTo>
                      <a:pt x="72" y="879"/>
                    </a:lnTo>
                    <a:lnTo>
                      <a:pt x="72" y="882"/>
                    </a:lnTo>
                    <a:lnTo>
                      <a:pt x="73" y="886"/>
                    </a:lnTo>
                    <a:lnTo>
                      <a:pt x="78" y="881"/>
                    </a:lnTo>
                    <a:lnTo>
                      <a:pt x="78" y="884"/>
                    </a:lnTo>
                    <a:lnTo>
                      <a:pt x="77" y="887"/>
                    </a:lnTo>
                    <a:lnTo>
                      <a:pt x="73" y="889"/>
                    </a:lnTo>
                    <a:lnTo>
                      <a:pt x="70" y="892"/>
                    </a:lnTo>
                    <a:lnTo>
                      <a:pt x="72" y="894"/>
                    </a:lnTo>
                    <a:lnTo>
                      <a:pt x="77" y="894"/>
                    </a:lnTo>
                    <a:lnTo>
                      <a:pt x="77" y="895"/>
                    </a:lnTo>
                    <a:lnTo>
                      <a:pt x="80" y="900"/>
                    </a:lnTo>
                    <a:lnTo>
                      <a:pt x="82" y="900"/>
                    </a:lnTo>
                    <a:lnTo>
                      <a:pt x="85" y="897"/>
                    </a:lnTo>
                    <a:lnTo>
                      <a:pt x="85" y="902"/>
                    </a:lnTo>
                    <a:lnTo>
                      <a:pt x="85" y="905"/>
                    </a:lnTo>
                    <a:lnTo>
                      <a:pt x="83" y="905"/>
                    </a:lnTo>
                    <a:lnTo>
                      <a:pt x="82" y="904"/>
                    </a:lnTo>
                    <a:lnTo>
                      <a:pt x="78" y="904"/>
                    </a:lnTo>
                    <a:lnTo>
                      <a:pt x="78" y="907"/>
                    </a:lnTo>
                    <a:lnTo>
                      <a:pt x="82" y="912"/>
                    </a:lnTo>
                    <a:lnTo>
                      <a:pt x="83" y="912"/>
                    </a:lnTo>
                    <a:lnTo>
                      <a:pt x="85" y="917"/>
                    </a:lnTo>
                    <a:lnTo>
                      <a:pt x="88" y="919"/>
                    </a:lnTo>
                    <a:lnTo>
                      <a:pt x="92" y="922"/>
                    </a:lnTo>
                    <a:lnTo>
                      <a:pt x="95" y="922"/>
                    </a:lnTo>
                    <a:lnTo>
                      <a:pt x="93" y="917"/>
                    </a:lnTo>
                    <a:lnTo>
                      <a:pt x="93" y="914"/>
                    </a:lnTo>
                    <a:lnTo>
                      <a:pt x="93" y="910"/>
                    </a:lnTo>
                    <a:lnTo>
                      <a:pt x="97" y="914"/>
                    </a:lnTo>
                    <a:lnTo>
                      <a:pt x="97" y="917"/>
                    </a:lnTo>
                    <a:lnTo>
                      <a:pt x="100" y="920"/>
                    </a:lnTo>
                    <a:lnTo>
                      <a:pt x="102" y="915"/>
                    </a:lnTo>
                    <a:lnTo>
                      <a:pt x="105" y="914"/>
                    </a:lnTo>
                    <a:lnTo>
                      <a:pt x="105" y="910"/>
                    </a:lnTo>
                    <a:lnTo>
                      <a:pt x="102" y="909"/>
                    </a:lnTo>
                    <a:lnTo>
                      <a:pt x="95" y="909"/>
                    </a:lnTo>
                    <a:lnTo>
                      <a:pt x="95" y="907"/>
                    </a:lnTo>
                    <a:lnTo>
                      <a:pt x="100" y="907"/>
                    </a:lnTo>
                    <a:lnTo>
                      <a:pt x="107" y="909"/>
                    </a:lnTo>
                    <a:lnTo>
                      <a:pt x="108" y="910"/>
                    </a:lnTo>
                    <a:lnTo>
                      <a:pt x="113" y="910"/>
                    </a:lnTo>
                    <a:lnTo>
                      <a:pt x="112" y="907"/>
                    </a:lnTo>
                    <a:lnTo>
                      <a:pt x="107" y="905"/>
                    </a:lnTo>
                    <a:lnTo>
                      <a:pt x="98" y="904"/>
                    </a:lnTo>
                    <a:lnTo>
                      <a:pt x="98" y="902"/>
                    </a:lnTo>
                    <a:lnTo>
                      <a:pt x="102" y="902"/>
                    </a:lnTo>
                    <a:lnTo>
                      <a:pt x="108" y="904"/>
                    </a:lnTo>
                    <a:lnTo>
                      <a:pt x="116" y="909"/>
                    </a:lnTo>
                    <a:lnTo>
                      <a:pt x="116" y="914"/>
                    </a:lnTo>
                    <a:lnTo>
                      <a:pt x="115" y="917"/>
                    </a:lnTo>
                    <a:lnTo>
                      <a:pt x="113" y="920"/>
                    </a:lnTo>
                    <a:lnTo>
                      <a:pt x="116" y="925"/>
                    </a:lnTo>
                    <a:lnTo>
                      <a:pt x="116" y="929"/>
                    </a:lnTo>
                    <a:lnTo>
                      <a:pt x="113" y="930"/>
                    </a:lnTo>
                    <a:lnTo>
                      <a:pt x="115" y="925"/>
                    </a:lnTo>
                    <a:lnTo>
                      <a:pt x="112" y="919"/>
                    </a:lnTo>
                    <a:lnTo>
                      <a:pt x="108" y="917"/>
                    </a:lnTo>
                    <a:lnTo>
                      <a:pt x="107" y="919"/>
                    </a:lnTo>
                    <a:lnTo>
                      <a:pt x="107" y="922"/>
                    </a:lnTo>
                    <a:lnTo>
                      <a:pt x="108" y="925"/>
                    </a:lnTo>
                    <a:lnTo>
                      <a:pt x="107" y="929"/>
                    </a:lnTo>
                    <a:lnTo>
                      <a:pt x="105" y="927"/>
                    </a:lnTo>
                    <a:lnTo>
                      <a:pt x="103" y="924"/>
                    </a:lnTo>
                    <a:lnTo>
                      <a:pt x="102" y="924"/>
                    </a:lnTo>
                    <a:lnTo>
                      <a:pt x="98" y="925"/>
                    </a:lnTo>
                    <a:lnTo>
                      <a:pt x="92" y="925"/>
                    </a:lnTo>
                    <a:lnTo>
                      <a:pt x="88" y="927"/>
                    </a:lnTo>
                    <a:lnTo>
                      <a:pt x="92" y="930"/>
                    </a:lnTo>
                    <a:lnTo>
                      <a:pt x="92" y="935"/>
                    </a:lnTo>
                    <a:lnTo>
                      <a:pt x="93" y="939"/>
                    </a:lnTo>
                    <a:lnTo>
                      <a:pt x="95" y="940"/>
                    </a:lnTo>
                    <a:lnTo>
                      <a:pt x="93" y="944"/>
                    </a:lnTo>
                    <a:lnTo>
                      <a:pt x="95" y="945"/>
                    </a:lnTo>
                    <a:lnTo>
                      <a:pt x="97" y="945"/>
                    </a:lnTo>
                    <a:lnTo>
                      <a:pt x="100" y="942"/>
                    </a:lnTo>
                    <a:lnTo>
                      <a:pt x="102" y="944"/>
                    </a:lnTo>
                    <a:lnTo>
                      <a:pt x="105" y="944"/>
                    </a:lnTo>
                    <a:lnTo>
                      <a:pt x="105" y="945"/>
                    </a:lnTo>
                    <a:lnTo>
                      <a:pt x="102" y="947"/>
                    </a:lnTo>
                    <a:lnTo>
                      <a:pt x="98" y="950"/>
                    </a:lnTo>
                    <a:lnTo>
                      <a:pt x="100" y="952"/>
                    </a:lnTo>
                    <a:lnTo>
                      <a:pt x="105" y="952"/>
                    </a:lnTo>
                    <a:lnTo>
                      <a:pt x="112" y="955"/>
                    </a:lnTo>
                    <a:lnTo>
                      <a:pt x="113" y="955"/>
                    </a:lnTo>
                    <a:lnTo>
                      <a:pt x="116" y="952"/>
                    </a:lnTo>
                    <a:lnTo>
                      <a:pt x="115" y="947"/>
                    </a:lnTo>
                    <a:lnTo>
                      <a:pt x="115" y="944"/>
                    </a:lnTo>
                    <a:lnTo>
                      <a:pt x="113" y="940"/>
                    </a:lnTo>
                    <a:lnTo>
                      <a:pt x="112" y="942"/>
                    </a:lnTo>
                    <a:lnTo>
                      <a:pt x="108" y="942"/>
                    </a:lnTo>
                    <a:lnTo>
                      <a:pt x="110" y="940"/>
                    </a:lnTo>
                    <a:lnTo>
                      <a:pt x="113" y="939"/>
                    </a:lnTo>
                    <a:lnTo>
                      <a:pt x="113" y="935"/>
                    </a:lnTo>
                    <a:lnTo>
                      <a:pt x="115" y="935"/>
                    </a:lnTo>
                    <a:lnTo>
                      <a:pt x="120" y="937"/>
                    </a:lnTo>
                    <a:lnTo>
                      <a:pt x="121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6" y="937"/>
                    </a:lnTo>
                    <a:lnTo>
                      <a:pt x="131" y="935"/>
                    </a:lnTo>
                    <a:lnTo>
                      <a:pt x="135" y="937"/>
                    </a:lnTo>
                    <a:lnTo>
                      <a:pt x="140" y="937"/>
                    </a:lnTo>
                    <a:lnTo>
                      <a:pt x="145" y="937"/>
                    </a:lnTo>
                    <a:lnTo>
                      <a:pt x="145" y="939"/>
                    </a:lnTo>
                    <a:lnTo>
                      <a:pt x="141" y="939"/>
                    </a:lnTo>
                    <a:lnTo>
                      <a:pt x="140" y="942"/>
                    </a:lnTo>
                    <a:lnTo>
                      <a:pt x="138" y="942"/>
                    </a:lnTo>
                    <a:lnTo>
                      <a:pt x="135" y="939"/>
                    </a:lnTo>
                    <a:lnTo>
                      <a:pt x="131" y="940"/>
                    </a:lnTo>
                    <a:lnTo>
                      <a:pt x="123" y="945"/>
                    </a:lnTo>
                    <a:lnTo>
                      <a:pt x="121" y="947"/>
                    </a:lnTo>
                    <a:lnTo>
                      <a:pt x="120" y="945"/>
                    </a:lnTo>
                    <a:lnTo>
                      <a:pt x="116" y="949"/>
                    </a:lnTo>
                    <a:lnTo>
                      <a:pt x="118" y="952"/>
                    </a:lnTo>
                    <a:lnTo>
                      <a:pt x="116" y="954"/>
                    </a:lnTo>
                    <a:lnTo>
                      <a:pt x="115" y="955"/>
                    </a:lnTo>
                    <a:lnTo>
                      <a:pt x="115" y="957"/>
                    </a:lnTo>
                    <a:lnTo>
                      <a:pt x="116" y="959"/>
                    </a:lnTo>
                    <a:lnTo>
                      <a:pt x="115" y="960"/>
                    </a:lnTo>
                    <a:lnTo>
                      <a:pt x="115" y="962"/>
                    </a:lnTo>
                    <a:lnTo>
                      <a:pt x="121" y="965"/>
                    </a:lnTo>
                    <a:lnTo>
                      <a:pt x="126" y="969"/>
                    </a:lnTo>
                    <a:lnTo>
                      <a:pt x="128" y="969"/>
                    </a:lnTo>
                    <a:lnTo>
                      <a:pt x="130" y="967"/>
                    </a:lnTo>
                    <a:lnTo>
                      <a:pt x="128" y="964"/>
                    </a:lnTo>
                    <a:lnTo>
                      <a:pt x="131" y="960"/>
                    </a:lnTo>
                    <a:lnTo>
                      <a:pt x="135" y="960"/>
                    </a:lnTo>
                    <a:lnTo>
                      <a:pt x="135" y="959"/>
                    </a:lnTo>
                    <a:lnTo>
                      <a:pt x="131" y="954"/>
                    </a:lnTo>
                    <a:lnTo>
                      <a:pt x="138" y="954"/>
                    </a:lnTo>
                    <a:lnTo>
                      <a:pt x="141" y="950"/>
                    </a:lnTo>
                    <a:lnTo>
                      <a:pt x="146" y="944"/>
                    </a:lnTo>
                    <a:lnTo>
                      <a:pt x="148" y="942"/>
                    </a:lnTo>
                    <a:lnTo>
                      <a:pt x="150" y="944"/>
                    </a:lnTo>
                    <a:lnTo>
                      <a:pt x="153" y="945"/>
                    </a:lnTo>
                    <a:lnTo>
                      <a:pt x="156" y="945"/>
                    </a:lnTo>
                    <a:lnTo>
                      <a:pt x="156" y="947"/>
                    </a:lnTo>
                    <a:lnTo>
                      <a:pt x="153" y="947"/>
                    </a:lnTo>
                    <a:lnTo>
                      <a:pt x="150" y="952"/>
                    </a:lnTo>
                    <a:lnTo>
                      <a:pt x="150" y="954"/>
                    </a:lnTo>
                    <a:lnTo>
                      <a:pt x="145" y="957"/>
                    </a:lnTo>
                    <a:lnTo>
                      <a:pt x="145" y="962"/>
                    </a:lnTo>
                    <a:lnTo>
                      <a:pt x="146" y="965"/>
                    </a:lnTo>
                    <a:lnTo>
                      <a:pt x="145" y="967"/>
                    </a:lnTo>
                    <a:lnTo>
                      <a:pt x="141" y="969"/>
                    </a:lnTo>
                    <a:lnTo>
                      <a:pt x="141" y="967"/>
                    </a:lnTo>
                    <a:lnTo>
                      <a:pt x="143" y="965"/>
                    </a:lnTo>
                    <a:lnTo>
                      <a:pt x="143" y="960"/>
                    </a:lnTo>
                    <a:lnTo>
                      <a:pt x="141" y="960"/>
                    </a:lnTo>
                    <a:lnTo>
                      <a:pt x="140" y="962"/>
                    </a:lnTo>
                    <a:lnTo>
                      <a:pt x="138" y="964"/>
                    </a:lnTo>
                    <a:lnTo>
                      <a:pt x="136" y="964"/>
                    </a:lnTo>
                    <a:lnTo>
                      <a:pt x="133" y="964"/>
                    </a:lnTo>
                    <a:lnTo>
                      <a:pt x="131" y="965"/>
                    </a:lnTo>
                    <a:lnTo>
                      <a:pt x="135" y="969"/>
                    </a:lnTo>
                    <a:lnTo>
                      <a:pt x="143" y="977"/>
                    </a:lnTo>
                    <a:lnTo>
                      <a:pt x="150" y="977"/>
                    </a:lnTo>
                    <a:lnTo>
                      <a:pt x="153" y="980"/>
                    </a:lnTo>
                    <a:lnTo>
                      <a:pt x="156" y="979"/>
                    </a:lnTo>
                    <a:lnTo>
                      <a:pt x="160" y="980"/>
                    </a:lnTo>
                    <a:lnTo>
                      <a:pt x="161" y="979"/>
                    </a:lnTo>
                    <a:lnTo>
                      <a:pt x="165" y="974"/>
                    </a:lnTo>
                    <a:lnTo>
                      <a:pt x="163" y="967"/>
                    </a:lnTo>
                    <a:lnTo>
                      <a:pt x="163" y="964"/>
                    </a:lnTo>
                    <a:lnTo>
                      <a:pt x="163" y="962"/>
                    </a:lnTo>
                    <a:lnTo>
                      <a:pt x="163" y="955"/>
                    </a:lnTo>
                    <a:lnTo>
                      <a:pt x="165" y="949"/>
                    </a:lnTo>
                    <a:lnTo>
                      <a:pt x="163" y="944"/>
                    </a:lnTo>
                    <a:lnTo>
                      <a:pt x="163" y="942"/>
                    </a:lnTo>
                    <a:lnTo>
                      <a:pt x="170" y="939"/>
                    </a:lnTo>
                    <a:lnTo>
                      <a:pt x="175" y="932"/>
                    </a:lnTo>
                    <a:lnTo>
                      <a:pt x="178" y="930"/>
                    </a:lnTo>
                    <a:lnTo>
                      <a:pt x="183" y="930"/>
                    </a:lnTo>
                    <a:lnTo>
                      <a:pt x="185" y="929"/>
                    </a:lnTo>
                    <a:lnTo>
                      <a:pt x="185" y="924"/>
                    </a:lnTo>
                    <a:lnTo>
                      <a:pt x="188" y="922"/>
                    </a:lnTo>
                    <a:lnTo>
                      <a:pt x="193" y="920"/>
                    </a:lnTo>
                    <a:lnTo>
                      <a:pt x="200" y="924"/>
                    </a:lnTo>
                    <a:lnTo>
                      <a:pt x="203" y="922"/>
                    </a:lnTo>
                    <a:lnTo>
                      <a:pt x="203" y="922"/>
                    </a:lnTo>
                    <a:lnTo>
                      <a:pt x="203" y="922"/>
                    </a:lnTo>
                    <a:close/>
                    <a:moveTo>
                      <a:pt x="251" y="1038"/>
                    </a:moveTo>
                    <a:lnTo>
                      <a:pt x="253" y="1040"/>
                    </a:lnTo>
                    <a:lnTo>
                      <a:pt x="256" y="1037"/>
                    </a:lnTo>
                    <a:lnTo>
                      <a:pt x="254" y="1037"/>
                    </a:lnTo>
                    <a:lnTo>
                      <a:pt x="254" y="1037"/>
                    </a:lnTo>
                    <a:lnTo>
                      <a:pt x="251" y="1038"/>
                    </a:lnTo>
                    <a:lnTo>
                      <a:pt x="251" y="1038"/>
                    </a:lnTo>
                    <a:close/>
                    <a:moveTo>
                      <a:pt x="32" y="641"/>
                    </a:moveTo>
                    <a:lnTo>
                      <a:pt x="27" y="638"/>
                    </a:lnTo>
                    <a:lnTo>
                      <a:pt x="25" y="640"/>
                    </a:lnTo>
                    <a:lnTo>
                      <a:pt x="25" y="641"/>
                    </a:lnTo>
                    <a:lnTo>
                      <a:pt x="30" y="646"/>
                    </a:lnTo>
                    <a:lnTo>
                      <a:pt x="28" y="648"/>
                    </a:lnTo>
                    <a:lnTo>
                      <a:pt x="33" y="653"/>
                    </a:lnTo>
                    <a:lnTo>
                      <a:pt x="32" y="653"/>
                    </a:lnTo>
                    <a:lnTo>
                      <a:pt x="28" y="651"/>
                    </a:lnTo>
                    <a:lnTo>
                      <a:pt x="25" y="655"/>
                    </a:lnTo>
                    <a:lnTo>
                      <a:pt x="27" y="660"/>
                    </a:lnTo>
                    <a:lnTo>
                      <a:pt x="27" y="661"/>
                    </a:lnTo>
                    <a:lnTo>
                      <a:pt x="18" y="663"/>
                    </a:lnTo>
                    <a:lnTo>
                      <a:pt x="12" y="660"/>
                    </a:lnTo>
                    <a:lnTo>
                      <a:pt x="15" y="655"/>
                    </a:lnTo>
                    <a:lnTo>
                      <a:pt x="14" y="641"/>
                    </a:lnTo>
                    <a:lnTo>
                      <a:pt x="12" y="636"/>
                    </a:lnTo>
                    <a:lnTo>
                      <a:pt x="10" y="635"/>
                    </a:lnTo>
                    <a:lnTo>
                      <a:pt x="10" y="633"/>
                    </a:lnTo>
                    <a:lnTo>
                      <a:pt x="10" y="630"/>
                    </a:lnTo>
                    <a:lnTo>
                      <a:pt x="14" y="628"/>
                    </a:lnTo>
                    <a:lnTo>
                      <a:pt x="14" y="625"/>
                    </a:lnTo>
                    <a:lnTo>
                      <a:pt x="12" y="621"/>
                    </a:lnTo>
                    <a:lnTo>
                      <a:pt x="12" y="620"/>
                    </a:lnTo>
                    <a:lnTo>
                      <a:pt x="15" y="616"/>
                    </a:lnTo>
                    <a:lnTo>
                      <a:pt x="20" y="616"/>
                    </a:lnTo>
                    <a:lnTo>
                      <a:pt x="25" y="618"/>
                    </a:lnTo>
                    <a:lnTo>
                      <a:pt x="30" y="625"/>
                    </a:lnTo>
                    <a:lnTo>
                      <a:pt x="28" y="630"/>
                    </a:lnTo>
                    <a:lnTo>
                      <a:pt x="30" y="631"/>
                    </a:lnTo>
                    <a:lnTo>
                      <a:pt x="30" y="636"/>
                    </a:lnTo>
                    <a:lnTo>
                      <a:pt x="25" y="635"/>
                    </a:lnTo>
                    <a:lnTo>
                      <a:pt x="30" y="638"/>
                    </a:lnTo>
                    <a:lnTo>
                      <a:pt x="32" y="640"/>
                    </a:lnTo>
                    <a:lnTo>
                      <a:pt x="32" y="641"/>
                    </a:lnTo>
                    <a:lnTo>
                      <a:pt x="32" y="641"/>
                    </a:lnTo>
                    <a:close/>
                    <a:moveTo>
                      <a:pt x="35" y="630"/>
                    </a:moveTo>
                    <a:lnTo>
                      <a:pt x="38" y="630"/>
                    </a:lnTo>
                    <a:lnTo>
                      <a:pt x="42" y="631"/>
                    </a:lnTo>
                    <a:lnTo>
                      <a:pt x="40" y="633"/>
                    </a:lnTo>
                    <a:lnTo>
                      <a:pt x="35" y="630"/>
                    </a:lnTo>
                    <a:lnTo>
                      <a:pt x="35" y="630"/>
                    </a:lnTo>
                    <a:close/>
                    <a:moveTo>
                      <a:pt x="7" y="671"/>
                    </a:moveTo>
                    <a:lnTo>
                      <a:pt x="9" y="670"/>
                    </a:lnTo>
                    <a:lnTo>
                      <a:pt x="12" y="670"/>
                    </a:lnTo>
                    <a:lnTo>
                      <a:pt x="15" y="671"/>
                    </a:lnTo>
                    <a:lnTo>
                      <a:pt x="10" y="675"/>
                    </a:lnTo>
                    <a:lnTo>
                      <a:pt x="7" y="671"/>
                    </a:lnTo>
                    <a:lnTo>
                      <a:pt x="7" y="671"/>
                    </a:lnTo>
                    <a:close/>
                    <a:moveTo>
                      <a:pt x="40" y="676"/>
                    </a:moveTo>
                    <a:lnTo>
                      <a:pt x="45" y="673"/>
                    </a:lnTo>
                    <a:lnTo>
                      <a:pt x="45" y="676"/>
                    </a:lnTo>
                    <a:lnTo>
                      <a:pt x="42" y="680"/>
                    </a:lnTo>
                    <a:lnTo>
                      <a:pt x="40" y="676"/>
                    </a:lnTo>
                    <a:lnTo>
                      <a:pt x="40" y="676"/>
                    </a:lnTo>
                    <a:close/>
                    <a:moveTo>
                      <a:pt x="33" y="676"/>
                    </a:moveTo>
                    <a:lnTo>
                      <a:pt x="37" y="676"/>
                    </a:lnTo>
                    <a:lnTo>
                      <a:pt x="37" y="681"/>
                    </a:lnTo>
                    <a:lnTo>
                      <a:pt x="33" y="683"/>
                    </a:lnTo>
                    <a:lnTo>
                      <a:pt x="33" y="680"/>
                    </a:lnTo>
                    <a:lnTo>
                      <a:pt x="30" y="678"/>
                    </a:lnTo>
                    <a:lnTo>
                      <a:pt x="33" y="676"/>
                    </a:lnTo>
                    <a:lnTo>
                      <a:pt x="33" y="676"/>
                    </a:lnTo>
                    <a:close/>
                    <a:moveTo>
                      <a:pt x="22" y="675"/>
                    </a:moveTo>
                    <a:lnTo>
                      <a:pt x="23" y="673"/>
                    </a:lnTo>
                    <a:lnTo>
                      <a:pt x="30" y="675"/>
                    </a:lnTo>
                    <a:lnTo>
                      <a:pt x="25" y="678"/>
                    </a:lnTo>
                    <a:lnTo>
                      <a:pt x="22" y="675"/>
                    </a:lnTo>
                    <a:lnTo>
                      <a:pt x="22" y="675"/>
                    </a:lnTo>
                    <a:close/>
                    <a:moveTo>
                      <a:pt x="23" y="683"/>
                    </a:moveTo>
                    <a:lnTo>
                      <a:pt x="25" y="681"/>
                    </a:lnTo>
                    <a:lnTo>
                      <a:pt x="27" y="683"/>
                    </a:lnTo>
                    <a:lnTo>
                      <a:pt x="27" y="685"/>
                    </a:lnTo>
                    <a:lnTo>
                      <a:pt x="23" y="683"/>
                    </a:lnTo>
                    <a:lnTo>
                      <a:pt x="23" y="683"/>
                    </a:lnTo>
                    <a:close/>
                    <a:moveTo>
                      <a:pt x="17" y="688"/>
                    </a:moveTo>
                    <a:lnTo>
                      <a:pt x="18" y="685"/>
                    </a:lnTo>
                    <a:lnTo>
                      <a:pt x="23" y="686"/>
                    </a:lnTo>
                    <a:lnTo>
                      <a:pt x="25" y="688"/>
                    </a:lnTo>
                    <a:lnTo>
                      <a:pt x="25" y="690"/>
                    </a:lnTo>
                    <a:lnTo>
                      <a:pt x="22" y="691"/>
                    </a:lnTo>
                    <a:lnTo>
                      <a:pt x="18" y="690"/>
                    </a:lnTo>
                    <a:lnTo>
                      <a:pt x="17" y="688"/>
                    </a:lnTo>
                    <a:lnTo>
                      <a:pt x="17" y="688"/>
                    </a:lnTo>
                    <a:close/>
                    <a:moveTo>
                      <a:pt x="14" y="696"/>
                    </a:moveTo>
                    <a:lnTo>
                      <a:pt x="17" y="698"/>
                    </a:lnTo>
                    <a:lnTo>
                      <a:pt x="14" y="699"/>
                    </a:lnTo>
                    <a:lnTo>
                      <a:pt x="12" y="698"/>
                    </a:lnTo>
                    <a:lnTo>
                      <a:pt x="14" y="696"/>
                    </a:lnTo>
                    <a:lnTo>
                      <a:pt x="14" y="696"/>
                    </a:lnTo>
                    <a:close/>
                    <a:moveTo>
                      <a:pt x="37" y="695"/>
                    </a:moveTo>
                    <a:lnTo>
                      <a:pt x="38" y="699"/>
                    </a:lnTo>
                    <a:lnTo>
                      <a:pt x="35" y="699"/>
                    </a:lnTo>
                    <a:lnTo>
                      <a:pt x="37" y="695"/>
                    </a:lnTo>
                    <a:lnTo>
                      <a:pt x="37" y="695"/>
                    </a:lnTo>
                    <a:close/>
                    <a:moveTo>
                      <a:pt x="28" y="693"/>
                    </a:moveTo>
                    <a:lnTo>
                      <a:pt x="33" y="691"/>
                    </a:lnTo>
                    <a:lnTo>
                      <a:pt x="33" y="696"/>
                    </a:lnTo>
                    <a:lnTo>
                      <a:pt x="28" y="693"/>
                    </a:lnTo>
                    <a:lnTo>
                      <a:pt x="28" y="693"/>
                    </a:lnTo>
                    <a:close/>
                    <a:moveTo>
                      <a:pt x="18" y="726"/>
                    </a:moveTo>
                    <a:lnTo>
                      <a:pt x="20" y="726"/>
                    </a:lnTo>
                    <a:lnTo>
                      <a:pt x="22" y="731"/>
                    </a:lnTo>
                    <a:lnTo>
                      <a:pt x="18" y="729"/>
                    </a:lnTo>
                    <a:lnTo>
                      <a:pt x="18" y="726"/>
                    </a:lnTo>
                    <a:lnTo>
                      <a:pt x="18" y="726"/>
                    </a:lnTo>
                    <a:close/>
                    <a:moveTo>
                      <a:pt x="18" y="698"/>
                    </a:moveTo>
                    <a:lnTo>
                      <a:pt x="18" y="695"/>
                    </a:lnTo>
                    <a:lnTo>
                      <a:pt x="18" y="693"/>
                    </a:lnTo>
                    <a:lnTo>
                      <a:pt x="23" y="693"/>
                    </a:lnTo>
                    <a:lnTo>
                      <a:pt x="25" y="696"/>
                    </a:lnTo>
                    <a:lnTo>
                      <a:pt x="22" y="698"/>
                    </a:lnTo>
                    <a:lnTo>
                      <a:pt x="18" y="698"/>
                    </a:lnTo>
                    <a:lnTo>
                      <a:pt x="18" y="698"/>
                    </a:lnTo>
                    <a:close/>
                    <a:moveTo>
                      <a:pt x="9" y="706"/>
                    </a:moveTo>
                    <a:lnTo>
                      <a:pt x="2" y="703"/>
                    </a:lnTo>
                    <a:lnTo>
                      <a:pt x="4" y="699"/>
                    </a:lnTo>
                    <a:lnTo>
                      <a:pt x="9" y="699"/>
                    </a:lnTo>
                    <a:lnTo>
                      <a:pt x="10" y="703"/>
                    </a:lnTo>
                    <a:lnTo>
                      <a:pt x="9" y="706"/>
                    </a:lnTo>
                    <a:lnTo>
                      <a:pt x="9" y="706"/>
                    </a:lnTo>
                    <a:close/>
                    <a:moveTo>
                      <a:pt x="27" y="719"/>
                    </a:moveTo>
                    <a:lnTo>
                      <a:pt x="30" y="719"/>
                    </a:lnTo>
                    <a:lnTo>
                      <a:pt x="30" y="724"/>
                    </a:lnTo>
                    <a:lnTo>
                      <a:pt x="27" y="719"/>
                    </a:lnTo>
                    <a:lnTo>
                      <a:pt x="27" y="719"/>
                    </a:lnTo>
                    <a:close/>
                    <a:moveTo>
                      <a:pt x="32" y="726"/>
                    </a:moveTo>
                    <a:lnTo>
                      <a:pt x="37" y="724"/>
                    </a:lnTo>
                    <a:lnTo>
                      <a:pt x="35" y="728"/>
                    </a:lnTo>
                    <a:lnTo>
                      <a:pt x="32" y="726"/>
                    </a:lnTo>
                    <a:lnTo>
                      <a:pt x="32" y="726"/>
                    </a:lnTo>
                    <a:close/>
                    <a:moveTo>
                      <a:pt x="42" y="686"/>
                    </a:moveTo>
                    <a:lnTo>
                      <a:pt x="43" y="686"/>
                    </a:lnTo>
                    <a:lnTo>
                      <a:pt x="47" y="690"/>
                    </a:lnTo>
                    <a:lnTo>
                      <a:pt x="42" y="690"/>
                    </a:lnTo>
                    <a:lnTo>
                      <a:pt x="42" y="686"/>
                    </a:lnTo>
                    <a:lnTo>
                      <a:pt x="42" y="686"/>
                    </a:lnTo>
                    <a:close/>
                    <a:moveTo>
                      <a:pt x="48" y="691"/>
                    </a:moveTo>
                    <a:lnTo>
                      <a:pt x="53" y="691"/>
                    </a:lnTo>
                    <a:lnTo>
                      <a:pt x="55" y="695"/>
                    </a:lnTo>
                    <a:lnTo>
                      <a:pt x="58" y="698"/>
                    </a:lnTo>
                    <a:lnTo>
                      <a:pt x="55" y="701"/>
                    </a:lnTo>
                    <a:lnTo>
                      <a:pt x="55" y="704"/>
                    </a:lnTo>
                    <a:lnTo>
                      <a:pt x="52" y="704"/>
                    </a:lnTo>
                    <a:lnTo>
                      <a:pt x="48" y="704"/>
                    </a:lnTo>
                    <a:lnTo>
                      <a:pt x="47" y="703"/>
                    </a:lnTo>
                    <a:lnTo>
                      <a:pt x="43" y="706"/>
                    </a:lnTo>
                    <a:lnTo>
                      <a:pt x="43" y="703"/>
                    </a:lnTo>
                    <a:lnTo>
                      <a:pt x="42" y="698"/>
                    </a:lnTo>
                    <a:lnTo>
                      <a:pt x="43" y="693"/>
                    </a:lnTo>
                    <a:lnTo>
                      <a:pt x="48" y="691"/>
                    </a:lnTo>
                    <a:lnTo>
                      <a:pt x="48" y="691"/>
                    </a:lnTo>
                    <a:close/>
                    <a:moveTo>
                      <a:pt x="22" y="703"/>
                    </a:moveTo>
                    <a:lnTo>
                      <a:pt x="23" y="699"/>
                    </a:lnTo>
                    <a:lnTo>
                      <a:pt x="33" y="699"/>
                    </a:lnTo>
                    <a:lnTo>
                      <a:pt x="30" y="703"/>
                    </a:lnTo>
                    <a:lnTo>
                      <a:pt x="25" y="703"/>
                    </a:lnTo>
                    <a:lnTo>
                      <a:pt x="23" y="704"/>
                    </a:lnTo>
                    <a:lnTo>
                      <a:pt x="23" y="704"/>
                    </a:lnTo>
                    <a:lnTo>
                      <a:pt x="22" y="703"/>
                    </a:lnTo>
                    <a:lnTo>
                      <a:pt x="22" y="703"/>
                    </a:lnTo>
                    <a:close/>
                    <a:moveTo>
                      <a:pt x="27" y="711"/>
                    </a:moveTo>
                    <a:lnTo>
                      <a:pt x="25" y="709"/>
                    </a:lnTo>
                    <a:lnTo>
                      <a:pt x="30" y="708"/>
                    </a:lnTo>
                    <a:lnTo>
                      <a:pt x="33" y="708"/>
                    </a:lnTo>
                    <a:lnTo>
                      <a:pt x="33" y="711"/>
                    </a:lnTo>
                    <a:lnTo>
                      <a:pt x="27" y="711"/>
                    </a:lnTo>
                    <a:lnTo>
                      <a:pt x="27" y="711"/>
                    </a:lnTo>
                    <a:close/>
                    <a:moveTo>
                      <a:pt x="30" y="714"/>
                    </a:moveTo>
                    <a:lnTo>
                      <a:pt x="33" y="713"/>
                    </a:lnTo>
                    <a:lnTo>
                      <a:pt x="38" y="713"/>
                    </a:lnTo>
                    <a:lnTo>
                      <a:pt x="40" y="719"/>
                    </a:lnTo>
                    <a:lnTo>
                      <a:pt x="37" y="723"/>
                    </a:lnTo>
                    <a:lnTo>
                      <a:pt x="33" y="721"/>
                    </a:lnTo>
                    <a:lnTo>
                      <a:pt x="32" y="716"/>
                    </a:lnTo>
                    <a:lnTo>
                      <a:pt x="30" y="714"/>
                    </a:lnTo>
                    <a:lnTo>
                      <a:pt x="30" y="714"/>
                    </a:lnTo>
                    <a:close/>
                    <a:moveTo>
                      <a:pt x="22" y="726"/>
                    </a:moveTo>
                    <a:lnTo>
                      <a:pt x="25" y="724"/>
                    </a:lnTo>
                    <a:lnTo>
                      <a:pt x="25" y="726"/>
                    </a:lnTo>
                    <a:lnTo>
                      <a:pt x="30" y="726"/>
                    </a:lnTo>
                    <a:lnTo>
                      <a:pt x="32" y="729"/>
                    </a:lnTo>
                    <a:lnTo>
                      <a:pt x="27" y="731"/>
                    </a:lnTo>
                    <a:lnTo>
                      <a:pt x="22" y="726"/>
                    </a:lnTo>
                    <a:lnTo>
                      <a:pt x="22" y="726"/>
                    </a:lnTo>
                    <a:close/>
                    <a:moveTo>
                      <a:pt x="35" y="811"/>
                    </a:moveTo>
                    <a:lnTo>
                      <a:pt x="38" y="809"/>
                    </a:lnTo>
                    <a:lnTo>
                      <a:pt x="37" y="807"/>
                    </a:lnTo>
                    <a:lnTo>
                      <a:pt x="35" y="809"/>
                    </a:lnTo>
                    <a:lnTo>
                      <a:pt x="28" y="801"/>
                    </a:lnTo>
                    <a:lnTo>
                      <a:pt x="25" y="797"/>
                    </a:lnTo>
                    <a:lnTo>
                      <a:pt x="27" y="794"/>
                    </a:lnTo>
                    <a:lnTo>
                      <a:pt x="30" y="794"/>
                    </a:lnTo>
                    <a:lnTo>
                      <a:pt x="35" y="793"/>
                    </a:lnTo>
                    <a:lnTo>
                      <a:pt x="35" y="799"/>
                    </a:lnTo>
                    <a:lnTo>
                      <a:pt x="40" y="801"/>
                    </a:lnTo>
                    <a:lnTo>
                      <a:pt x="40" y="806"/>
                    </a:lnTo>
                    <a:lnTo>
                      <a:pt x="43" y="809"/>
                    </a:lnTo>
                    <a:lnTo>
                      <a:pt x="47" y="816"/>
                    </a:lnTo>
                    <a:lnTo>
                      <a:pt x="42" y="816"/>
                    </a:lnTo>
                    <a:lnTo>
                      <a:pt x="37" y="816"/>
                    </a:lnTo>
                    <a:lnTo>
                      <a:pt x="35" y="811"/>
                    </a:lnTo>
                    <a:lnTo>
                      <a:pt x="35" y="811"/>
                    </a:lnTo>
                    <a:close/>
                    <a:moveTo>
                      <a:pt x="17" y="802"/>
                    </a:moveTo>
                    <a:lnTo>
                      <a:pt x="17" y="801"/>
                    </a:lnTo>
                    <a:lnTo>
                      <a:pt x="18" y="799"/>
                    </a:lnTo>
                    <a:lnTo>
                      <a:pt x="23" y="799"/>
                    </a:lnTo>
                    <a:lnTo>
                      <a:pt x="30" y="809"/>
                    </a:lnTo>
                    <a:lnTo>
                      <a:pt x="33" y="814"/>
                    </a:lnTo>
                    <a:lnTo>
                      <a:pt x="33" y="819"/>
                    </a:lnTo>
                    <a:lnTo>
                      <a:pt x="32" y="821"/>
                    </a:lnTo>
                    <a:lnTo>
                      <a:pt x="28" y="819"/>
                    </a:lnTo>
                    <a:lnTo>
                      <a:pt x="27" y="812"/>
                    </a:lnTo>
                    <a:lnTo>
                      <a:pt x="27" y="811"/>
                    </a:lnTo>
                    <a:lnTo>
                      <a:pt x="23" y="809"/>
                    </a:lnTo>
                    <a:lnTo>
                      <a:pt x="18" y="807"/>
                    </a:lnTo>
                    <a:lnTo>
                      <a:pt x="17" y="802"/>
                    </a:lnTo>
                    <a:lnTo>
                      <a:pt x="17" y="802"/>
                    </a:lnTo>
                    <a:close/>
                    <a:moveTo>
                      <a:pt x="18" y="811"/>
                    </a:moveTo>
                    <a:lnTo>
                      <a:pt x="20" y="811"/>
                    </a:lnTo>
                    <a:lnTo>
                      <a:pt x="23" y="812"/>
                    </a:lnTo>
                    <a:lnTo>
                      <a:pt x="25" y="816"/>
                    </a:lnTo>
                    <a:lnTo>
                      <a:pt x="23" y="819"/>
                    </a:lnTo>
                    <a:lnTo>
                      <a:pt x="22" y="821"/>
                    </a:lnTo>
                    <a:lnTo>
                      <a:pt x="22" y="817"/>
                    </a:lnTo>
                    <a:lnTo>
                      <a:pt x="18" y="816"/>
                    </a:lnTo>
                    <a:lnTo>
                      <a:pt x="18" y="811"/>
                    </a:lnTo>
                    <a:lnTo>
                      <a:pt x="18" y="811"/>
                    </a:lnTo>
                    <a:close/>
                    <a:moveTo>
                      <a:pt x="27" y="836"/>
                    </a:moveTo>
                    <a:lnTo>
                      <a:pt x="25" y="836"/>
                    </a:lnTo>
                    <a:lnTo>
                      <a:pt x="25" y="832"/>
                    </a:lnTo>
                    <a:lnTo>
                      <a:pt x="23" y="824"/>
                    </a:lnTo>
                    <a:lnTo>
                      <a:pt x="25" y="822"/>
                    </a:lnTo>
                    <a:lnTo>
                      <a:pt x="27" y="824"/>
                    </a:lnTo>
                    <a:lnTo>
                      <a:pt x="32" y="826"/>
                    </a:lnTo>
                    <a:lnTo>
                      <a:pt x="33" y="829"/>
                    </a:lnTo>
                    <a:lnTo>
                      <a:pt x="32" y="831"/>
                    </a:lnTo>
                    <a:lnTo>
                      <a:pt x="27" y="836"/>
                    </a:lnTo>
                    <a:lnTo>
                      <a:pt x="27" y="836"/>
                    </a:lnTo>
                    <a:close/>
                    <a:moveTo>
                      <a:pt x="33" y="852"/>
                    </a:moveTo>
                    <a:lnTo>
                      <a:pt x="30" y="856"/>
                    </a:lnTo>
                    <a:lnTo>
                      <a:pt x="28" y="852"/>
                    </a:lnTo>
                    <a:lnTo>
                      <a:pt x="28" y="851"/>
                    </a:lnTo>
                    <a:lnTo>
                      <a:pt x="27" y="847"/>
                    </a:lnTo>
                    <a:lnTo>
                      <a:pt x="32" y="846"/>
                    </a:lnTo>
                    <a:lnTo>
                      <a:pt x="35" y="849"/>
                    </a:lnTo>
                    <a:lnTo>
                      <a:pt x="33" y="852"/>
                    </a:lnTo>
                    <a:lnTo>
                      <a:pt x="33" y="852"/>
                    </a:lnTo>
                    <a:close/>
                    <a:moveTo>
                      <a:pt x="47" y="851"/>
                    </a:moveTo>
                    <a:lnTo>
                      <a:pt x="45" y="856"/>
                    </a:lnTo>
                    <a:lnTo>
                      <a:pt x="42" y="857"/>
                    </a:lnTo>
                    <a:lnTo>
                      <a:pt x="38" y="854"/>
                    </a:lnTo>
                    <a:lnTo>
                      <a:pt x="37" y="847"/>
                    </a:lnTo>
                    <a:lnTo>
                      <a:pt x="32" y="839"/>
                    </a:lnTo>
                    <a:lnTo>
                      <a:pt x="37" y="839"/>
                    </a:lnTo>
                    <a:lnTo>
                      <a:pt x="40" y="836"/>
                    </a:lnTo>
                    <a:lnTo>
                      <a:pt x="40" y="832"/>
                    </a:lnTo>
                    <a:lnTo>
                      <a:pt x="38" y="836"/>
                    </a:lnTo>
                    <a:lnTo>
                      <a:pt x="37" y="836"/>
                    </a:lnTo>
                    <a:lnTo>
                      <a:pt x="35" y="832"/>
                    </a:lnTo>
                    <a:lnTo>
                      <a:pt x="37" y="829"/>
                    </a:lnTo>
                    <a:lnTo>
                      <a:pt x="35" y="827"/>
                    </a:lnTo>
                    <a:lnTo>
                      <a:pt x="33" y="822"/>
                    </a:lnTo>
                    <a:lnTo>
                      <a:pt x="37" y="819"/>
                    </a:lnTo>
                    <a:lnTo>
                      <a:pt x="43" y="819"/>
                    </a:lnTo>
                    <a:lnTo>
                      <a:pt x="47" y="822"/>
                    </a:lnTo>
                    <a:lnTo>
                      <a:pt x="50" y="831"/>
                    </a:lnTo>
                    <a:lnTo>
                      <a:pt x="52" y="836"/>
                    </a:lnTo>
                    <a:lnTo>
                      <a:pt x="53" y="844"/>
                    </a:lnTo>
                    <a:lnTo>
                      <a:pt x="52" y="846"/>
                    </a:lnTo>
                    <a:lnTo>
                      <a:pt x="55" y="852"/>
                    </a:lnTo>
                    <a:lnTo>
                      <a:pt x="53" y="859"/>
                    </a:lnTo>
                    <a:lnTo>
                      <a:pt x="50" y="861"/>
                    </a:lnTo>
                    <a:lnTo>
                      <a:pt x="48" y="859"/>
                    </a:lnTo>
                    <a:lnTo>
                      <a:pt x="47" y="854"/>
                    </a:lnTo>
                    <a:lnTo>
                      <a:pt x="47" y="851"/>
                    </a:lnTo>
                    <a:lnTo>
                      <a:pt x="47" y="851"/>
                    </a:lnTo>
                    <a:close/>
                    <a:moveTo>
                      <a:pt x="42" y="874"/>
                    </a:moveTo>
                    <a:lnTo>
                      <a:pt x="40" y="871"/>
                    </a:lnTo>
                    <a:lnTo>
                      <a:pt x="38" y="867"/>
                    </a:lnTo>
                    <a:lnTo>
                      <a:pt x="40" y="866"/>
                    </a:lnTo>
                    <a:lnTo>
                      <a:pt x="40" y="862"/>
                    </a:lnTo>
                    <a:lnTo>
                      <a:pt x="42" y="862"/>
                    </a:lnTo>
                    <a:lnTo>
                      <a:pt x="43" y="864"/>
                    </a:lnTo>
                    <a:lnTo>
                      <a:pt x="48" y="864"/>
                    </a:lnTo>
                    <a:lnTo>
                      <a:pt x="47" y="867"/>
                    </a:lnTo>
                    <a:lnTo>
                      <a:pt x="47" y="871"/>
                    </a:lnTo>
                    <a:lnTo>
                      <a:pt x="45" y="874"/>
                    </a:lnTo>
                    <a:lnTo>
                      <a:pt x="42" y="874"/>
                    </a:lnTo>
                    <a:lnTo>
                      <a:pt x="42" y="874"/>
                    </a:lnTo>
                    <a:close/>
                    <a:moveTo>
                      <a:pt x="40" y="879"/>
                    </a:moveTo>
                    <a:lnTo>
                      <a:pt x="40" y="876"/>
                    </a:lnTo>
                    <a:lnTo>
                      <a:pt x="45" y="876"/>
                    </a:lnTo>
                    <a:lnTo>
                      <a:pt x="42" y="877"/>
                    </a:lnTo>
                    <a:lnTo>
                      <a:pt x="40" y="879"/>
                    </a:lnTo>
                    <a:lnTo>
                      <a:pt x="40" y="879"/>
                    </a:lnTo>
                    <a:close/>
                    <a:moveTo>
                      <a:pt x="48" y="877"/>
                    </a:moveTo>
                    <a:lnTo>
                      <a:pt x="50" y="879"/>
                    </a:lnTo>
                    <a:lnTo>
                      <a:pt x="50" y="884"/>
                    </a:lnTo>
                    <a:lnTo>
                      <a:pt x="48" y="886"/>
                    </a:lnTo>
                    <a:lnTo>
                      <a:pt x="47" y="881"/>
                    </a:lnTo>
                    <a:lnTo>
                      <a:pt x="48" y="877"/>
                    </a:lnTo>
                    <a:lnTo>
                      <a:pt x="48" y="877"/>
                    </a:lnTo>
                    <a:close/>
                    <a:moveTo>
                      <a:pt x="52" y="876"/>
                    </a:moveTo>
                    <a:lnTo>
                      <a:pt x="53" y="874"/>
                    </a:lnTo>
                    <a:lnTo>
                      <a:pt x="55" y="874"/>
                    </a:lnTo>
                    <a:lnTo>
                      <a:pt x="58" y="876"/>
                    </a:lnTo>
                    <a:lnTo>
                      <a:pt x="62" y="876"/>
                    </a:lnTo>
                    <a:lnTo>
                      <a:pt x="65" y="882"/>
                    </a:lnTo>
                    <a:lnTo>
                      <a:pt x="67" y="887"/>
                    </a:lnTo>
                    <a:lnTo>
                      <a:pt x="60" y="882"/>
                    </a:lnTo>
                    <a:lnTo>
                      <a:pt x="57" y="881"/>
                    </a:lnTo>
                    <a:lnTo>
                      <a:pt x="52" y="876"/>
                    </a:lnTo>
                    <a:lnTo>
                      <a:pt x="52" y="876"/>
                    </a:lnTo>
                    <a:close/>
                    <a:moveTo>
                      <a:pt x="52" y="882"/>
                    </a:moveTo>
                    <a:lnTo>
                      <a:pt x="55" y="882"/>
                    </a:lnTo>
                    <a:lnTo>
                      <a:pt x="60" y="884"/>
                    </a:lnTo>
                    <a:lnTo>
                      <a:pt x="65" y="891"/>
                    </a:lnTo>
                    <a:lnTo>
                      <a:pt x="63" y="894"/>
                    </a:lnTo>
                    <a:lnTo>
                      <a:pt x="58" y="894"/>
                    </a:lnTo>
                    <a:lnTo>
                      <a:pt x="53" y="887"/>
                    </a:lnTo>
                    <a:lnTo>
                      <a:pt x="52" y="882"/>
                    </a:lnTo>
                    <a:lnTo>
                      <a:pt x="52" y="882"/>
                    </a:lnTo>
                    <a:close/>
                    <a:moveTo>
                      <a:pt x="57" y="904"/>
                    </a:moveTo>
                    <a:lnTo>
                      <a:pt x="50" y="905"/>
                    </a:lnTo>
                    <a:lnTo>
                      <a:pt x="48" y="904"/>
                    </a:lnTo>
                    <a:lnTo>
                      <a:pt x="50" y="902"/>
                    </a:lnTo>
                    <a:lnTo>
                      <a:pt x="52" y="897"/>
                    </a:lnTo>
                    <a:lnTo>
                      <a:pt x="50" y="894"/>
                    </a:lnTo>
                    <a:lnTo>
                      <a:pt x="53" y="894"/>
                    </a:lnTo>
                    <a:lnTo>
                      <a:pt x="57" y="895"/>
                    </a:lnTo>
                    <a:lnTo>
                      <a:pt x="60" y="895"/>
                    </a:lnTo>
                    <a:lnTo>
                      <a:pt x="67" y="900"/>
                    </a:lnTo>
                    <a:lnTo>
                      <a:pt x="67" y="902"/>
                    </a:lnTo>
                    <a:lnTo>
                      <a:pt x="62" y="902"/>
                    </a:lnTo>
                    <a:lnTo>
                      <a:pt x="62" y="904"/>
                    </a:lnTo>
                    <a:lnTo>
                      <a:pt x="57" y="904"/>
                    </a:lnTo>
                    <a:lnTo>
                      <a:pt x="57" y="904"/>
                    </a:lnTo>
                    <a:close/>
                    <a:moveTo>
                      <a:pt x="63" y="922"/>
                    </a:moveTo>
                    <a:lnTo>
                      <a:pt x="60" y="922"/>
                    </a:lnTo>
                    <a:lnTo>
                      <a:pt x="58" y="920"/>
                    </a:lnTo>
                    <a:lnTo>
                      <a:pt x="57" y="917"/>
                    </a:lnTo>
                    <a:lnTo>
                      <a:pt x="57" y="915"/>
                    </a:lnTo>
                    <a:lnTo>
                      <a:pt x="60" y="914"/>
                    </a:lnTo>
                    <a:lnTo>
                      <a:pt x="58" y="912"/>
                    </a:lnTo>
                    <a:lnTo>
                      <a:pt x="57" y="910"/>
                    </a:lnTo>
                    <a:lnTo>
                      <a:pt x="62" y="910"/>
                    </a:lnTo>
                    <a:lnTo>
                      <a:pt x="63" y="914"/>
                    </a:lnTo>
                    <a:lnTo>
                      <a:pt x="63" y="917"/>
                    </a:lnTo>
                    <a:lnTo>
                      <a:pt x="60" y="919"/>
                    </a:lnTo>
                    <a:lnTo>
                      <a:pt x="63" y="922"/>
                    </a:lnTo>
                    <a:lnTo>
                      <a:pt x="63" y="922"/>
                    </a:lnTo>
                    <a:close/>
                    <a:moveTo>
                      <a:pt x="63" y="915"/>
                    </a:moveTo>
                    <a:lnTo>
                      <a:pt x="65" y="912"/>
                    </a:lnTo>
                    <a:lnTo>
                      <a:pt x="67" y="912"/>
                    </a:lnTo>
                    <a:lnTo>
                      <a:pt x="68" y="914"/>
                    </a:lnTo>
                    <a:lnTo>
                      <a:pt x="70" y="915"/>
                    </a:lnTo>
                    <a:lnTo>
                      <a:pt x="70" y="920"/>
                    </a:lnTo>
                    <a:lnTo>
                      <a:pt x="68" y="922"/>
                    </a:lnTo>
                    <a:lnTo>
                      <a:pt x="67" y="922"/>
                    </a:lnTo>
                    <a:lnTo>
                      <a:pt x="65" y="919"/>
                    </a:lnTo>
                    <a:lnTo>
                      <a:pt x="65" y="919"/>
                    </a:lnTo>
                    <a:lnTo>
                      <a:pt x="63" y="915"/>
                    </a:lnTo>
                    <a:lnTo>
                      <a:pt x="63" y="915"/>
                    </a:lnTo>
                    <a:close/>
                    <a:moveTo>
                      <a:pt x="72" y="917"/>
                    </a:moveTo>
                    <a:lnTo>
                      <a:pt x="77" y="919"/>
                    </a:lnTo>
                    <a:lnTo>
                      <a:pt x="78" y="922"/>
                    </a:lnTo>
                    <a:lnTo>
                      <a:pt x="77" y="922"/>
                    </a:lnTo>
                    <a:lnTo>
                      <a:pt x="73" y="920"/>
                    </a:lnTo>
                    <a:lnTo>
                      <a:pt x="72" y="917"/>
                    </a:lnTo>
                    <a:lnTo>
                      <a:pt x="72" y="917"/>
                    </a:lnTo>
                    <a:close/>
                    <a:moveTo>
                      <a:pt x="70" y="932"/>
                    </a:moveTo>
                    <a:lnTo>
                      <a:pt x="68" y="932"/>
                    </a:lnTo>
                    <a:lnTo>
                      <a:pt x="67" y="932"/>
                    </a:lnTo>
                    <a:lnTo>
                      <a:pt x="68" y="930"/>
                    </a:lnTo>
                    <a:lnTo>
                      <a:pt x="68" y="925"/>
                    </a:lnTo>
                    <a:lnTo>
                      <a:pt x="72" y="925"/>
                    </a:lnTo>
                    <a:lnTo>
                      <a:pt x="72" y="927"/>
                    </a:lnTo>
                    <a:lnTo>
                      <a:pt x="70" y="932"/>
                    </a:lnTo>
                    <a:lnTo>
                      <a:pt x="70" y="932"/>
                    </a:lnTo>
                    <a:close/>
                    <a:moveTo>
                      <a:pt x="83" y="920"/>
                    </a:moveTo>
                    <a:lnTo>
                      <a:pt x="78" y="919"/>
                    </a:lnTo>
                    <a:lnTo>
                      <a:pt x="75" y="915"/>
                    </a:lnTo>
                    <a:lnTo>
                      <a:pt x="75" y="909"/>
                    </a:lnTo>
                    <a:lnTo>
                      <a:pt x="77" y="909"/>
                    </a:lnTo>
                    <a:lnTo>
                      <a:pt x="80" y="914"/>
                    </a:lnTo>
                    <a:lnTo>
                      <a:pt x="83" y="917"/>
                    </a:lnTo>
                    <a:lnTo>
                      <a:pt x="85" y="920"/>
                    </a:lnTo>
                    <a:lnTo>
                      <a:pt x="83" y="920"/>
                    </a:lnTo>
                    <a:lnTo>
                      <a:pt x="83" y="920"/>
                    </a:lnTo>
                    <a:close/>
                    <a:moveTo>
                      <a:pt x="83" y="927"/>
                    </a:moveTo>
                    <a:lnTo>
                      <a:pt x="80" y="924"/>
                    </a:lnTo>
                    <a:lnTo>
                      <a:pt x="80" y="922"/>
                    </a:lnTo>
                    <a:lnTo>
                      <a:pt x="83" y="924"/>
                    </a:lnTo>
                    <a:lnTo>
                      <a:pt x="85" y="927"/>
                    </a:lnTo>
                    <a:lnTo>
                      <a:pt x="83" y="927"/>
                    </a:lnTo>
                    <a:lnTo>
                      <a:pt x="83" y="927"/>
                    </a:lnTo>
                    <a:close/>
                    <a:moveTo>
                      <a:pt x="85" y="935"/>
                    </a:moveTo>
                    <a:lnTo>
                      <a:pt x="80" y="930"/>
                    </a:lnTo>
                    <a:lnTo>
                      <a:pt x="78" y="927"/>
                    </a:lnTo>
                    <a:lnTo>
                      <a:pt x="80" y="925"/>
                    </a:lnTo>
                    <a:lnTo>
                      <a:pt x="87" y="932"/>
                    </a:lnTo>
                    <a:lnTo>
                      <a:pt x="87" y="935"/>
                    </a:lnTo>
                    <a:lnTo>
                      <a:pt x="85" y="935"/>
                    </a:lnTo>
                    <a:lnTo>
                      <a:pt x="85" y="935"/>
                    </a:lnTo>
                    <a:close/>
                    <a:moveTo>
                      <a:pt x="90" y="945"/>
                    </a:moveTo>
                    <a:lnTo>
                      <a:pt x="88" y="944"/>
                    </a:lnTo>
                    <a:lnTo>
                      <a:pt x="87" y="942"/>
                    </a:lnTo>
                    <a:lnTo>
                      <a:pt x="85" y="940"/>
                    </a:lnTo>
                    <a:lnTo>
                      <a:pt x="80" y="940"/>
                    </a:lnTo>
                    <a:lnTo>
                      <a:pt x="78" y="939"/>
                    </a:lnTo>
                    <a:lnTo>
                      <a:pt x="83" y="939"/>
                    </a:lnTo>
                    <a:lnTo>
                      <a:pt x="87" y="939"/>
                    </a:lnTo>
                    <a:lnTo>
                      <a:pt x="92" y="937"/>
                    </a:lnTo>
                    <a:lnTo>
                      <a:pt x="93" y="942"/>
                    </a:lnTo>
                    <a:lnTo>
                      <a:pt x="90" y="945"/>
                    </a:lnTo>
                    <a:lnTo>
                      <a:pt x="90" y="945"/>
                    </a:lnTo>
                    <a:close/>
                    <a:moveTo>
                      <a:pt x="105" y="967"/>
                    </a:moveTo>
                    <a:lnTo>
                      <a:pt x="98" y="965"/>
                    </a:lnTo>
                    <a:lnTo>
                      <a:pt x="97" y="967"/>
                    </a:lnTo>
                    <a:lnTo>
                      <a:pt x="93" y="967"/>
                    </a:lnTo>
                    <a:lnTo>
                      <a:pt x="90" y="964"/>
                    </a:lnTo>
                    <a:lnTo>
                      <a:pt x="83" y="960"/>
                    </a:lnTo>
                    <a:lnTo>
                      <a:pt x="78" y="960"/>
                    </a:lnTo>
                    <a:lnTo>
                      <a:pt x="77" y="955"/>
                    </a:lnTo>
                    <a:lnTo>
                      <a:pt x="75" y="950"/>
                    </a:lnTo>
                    <a:lnTo>
                      <a:pt x="77" y="949"/>
                    </a:lnTo>
                    <a:lnTo>
                      <a:pt x="78" y="950"/>
                    </a:lnTo>
                    <a:lnTo>
                      <a:pt x="83" y="955"/>
                    </a:lnTo>
                    <a:lnTo>
                      <a:pt x="87" y="957"/>
                    </a:lnTo>
                    <a:lnTo>
                      <a:pt x="92" y="957"/>
                    </a:lnTo>
                    <a:lnTo>
                      <a:pt x="95" y="959"/>
                    </a:lnTo>
                    <a:lnTo>
                      <a:pt x="100" y="960"/>
                    </a:lnTo>
                    <a:lnTo>
                      <a:pt x="105" y="960"/>
                    </a:lnTo>
                    <a:lnTo>
                      <a:pt x="107" y="962"/>
                    </a:lnTo>
                    <a:lnTo>
                      <a:pt x="112" y="965"/>
                    </a:lnTo>
                    <a:lnTo>
                      <a:pt x="113" y="967"/>
                    </a:lnTo>
                    <a:lnTo>
                      <a:pt x="115" y="969"/>
                    </a:lnTo>
                    <a:lnTo>
                      <a:pt x="115" y="969"/>
                    </a:lnTo>
                    <a:lnTo>
                      <a:pt x="110" y="969"/>
                    </a:lnTo>
                    <a:lnTo>
                      <a:pt x="105" y="967"/>
                    </a:lnTo>
                    <a:lnTo>
                      <a:pt x="105" y="967"/>
                    </a:lnTo>
                    <a:close/>
                    <a:moveTo>
                      <a:pt x="90" y="969"/>
                    </a:moveTo>
                    <a:lnTo>
                      <a:pt x="90" y="969"/>
                    </a:lnTo>
                    <a:lnTo>
                      <a:pt x="93" y="972"/>
                    </a:lnTo>
                    <a:lnTo>
                      <a:pt x="87" y="970"/>
                    </a:lnTo>
                    <a:lnTo>
                      <a:pt x="90" y="969"/>
                    </a:lnTo>
                    <a:lnTo>
                      <a:pt x="90" y="969"/>
                    </a:lnTo>
                    <a:close/>
                    <a:moveTo>
                      <a:pt x="123" y="989"/>
                    </a:moveTo>
                    <a:lnTo>
                      <a:pt x="125" y="990"/>
                    </a:lnTo>
                    <a:lnTo>
                      <a:pt x="126" y="989"/>
                    </a:lnTo>
                    <a:lnTo>
                      <a:pt x="125" y="987"/>
                    </a:lnTo>
                    <a:lnTo>
                      <a:pt x="121" y="989"/>
                    </a:lnTo>
                    <a:lnTo>
                      <a:pt x="123" y="989"/>
                    </a:lnTo>
                    <a:lnTo>
                      <a:pt x="123" y="989"/>
                    </a:lnTo>
                    <a:close/>
                    <a:moveTo>
                      <a:pt x="135" y="990"/>
                    </a:moveTo>
                    <a:lnTo>
                      <a:pt x="131" y="992"/>
                    </a:lnTo>
                    <a:lnTo>
                      <a:pt x="128" y="990"/>
                    </a:lnTo>
                    <a:lnTo>
                      <a:pt x="128" y="987"/>
                    </a:lnTo>
                    <a:lnTo>
                      <a:pt x="126" y="985"/>
                    </a:lnTo>
                    <a:lnTo>
                      <a:pt x="120" y="987"/>
                    </a:lnTo>
                    <a:lnTo>
                      <a:pt x="116" y="985"/>
                    </a:lnTo>
                    <a:lnTo>
                      <a:pt x="112" y="980"/>
                    </a:lnTo>
                    <a:lnTo>
                      <a:pt x="108" y="980"/>
                    </a:lnTo>
                    <a:lnTo>
                      <a:pt x="107" y="975"/>
                    </a:lnTo>
                    <a:lnTo>
                      <a:pt x="102" y="974"/>
                    </a:lnTo>
                    <a:lnTo>
                      <a:pt x="102" y="972"/>
                    </a:lnTo>
                    <a:lnTo>
                      <a:pt x="103" y="970"/>
                    </a:lnTo>
                    <a:lnTo>
                      <a:pt x="107" y="969"/>
                    </a:lnTo>
                    <a:lnTo>
                      <a:pt x="108" y="972"/>
                    </a:lnTo>
                    <a:lnTo>
                      <a:pt x="112" y="972"/>
                    </a:lnTo>
                    <a:lnTo>
                      <a:pt x="115" y="970"/>
                    </a:lnTo>
                    <a:lnTo>
                      <a:pt x="120" y="970"/>
                    </a:lnTo>
                    <a:lnTo>
                      <a:pt x="126" y="975"/>
                    </a:lnTo>
                    <a:lnTo>
                      <a:pt x="130" y="975"/>
                    </a:lnTo>
                    <a:lnTo>
                      <a:pt x="131" y="979"/>
                    </a:lnTo>
                    <a:lnTo>
                      <a:pt x="136" y="977"/>
                    </a:lnTo>
                    <a:lnTo>
                      <a:pt x="140" y="979"/>
                    </a:lnTo>
                    <a:lnTo>
                      <a:pt x="141" y="982"/>
                    </a:lnTo>
                    <a:lnTo>
                      <a:pt x="138" y="982"/>
                    </a:lnTo>
                    <a:lnTo>
                      <a:pt x="135" y="982"/>
                    </a:lnTo>
                    <a:lnTo>
                      <a:pt x="138" y="984"/>
                    </a:lnTo>
                    <a:lnTo>
                      <a:pt x="138" y="985"/>
                    </a:lnTo>
                    <a:lnTo>
                      <a:pt x="133" y="989"/>
                    </a:lnTo>
                    <a:lnTo>
                      <a:pt x="135" y="990"/>
                    </a:lnTo>
                    <a:lnTo>
                      <a:pt x="135" y="990"/>
                    </a:lnTo>
                    <a:close/>
                    <a:moveTo>
                      <a:pt x="141" y="990"/>
                    </a:moveTo>
                    <a:lnTo>
                      <a:pt x="138" y="993"/>
                    </a:lnTo>
                    <a:lnTo>
                      <a:pt x="138" y="995"/>
                    </a:lnTo>
                    <a:lnTo>
                      <a:pt x="141" y="995"/>
                    </a:lnTo>
                    <a:lnTo>
                      <a:pt x="143" y="992"/>
                    </a:lnTo>
                    <a:lnTo>
                      <a:pt x="145" y="990"/>
                    </a:lnTo>
                    <a:lnTo>
                      <a:pt x="143" y="989"/>
                    </a:lnTo>
                    <a:lnTo>
                      <a:pt x="141" y="990"/>
                    </a:lnTo>
                    <a:lnTo>
                      <a:pt x="141" y="990"/>
                    </a:lnTo>
                    <a:close/>
                    <a:moveTo>
                      <a:pt x="168" y="985"/>
                    </a:moveTo>
                    <a:lnTo>
                      <a:pt x="166" y="990"/>
                    </a:lnTo>
                    <a:lnTo>
                      <a:pt x="168" y="992"/>
                    </a:lnTo>
                    <a:lnTo>
                      <a:pt x="165" y="993"/>
                    </a:lnTo>
                    <a:lnTo>
                      <a:pt x="161" y="993"/>
                    </a:lnTo>
                    <a:lnTo>
                      <a:pt x="160" y="990"/>
                    </a:lnTo>
                    <a:lnTo>
                      <a:pt x="156" y="992"/>
                    </a:lnTo>
                    <a:lnTo>
                      <a:pt x="155" y="990"/>
                    </a:lnTo>
                    <a:lnTo>
                      <a:pt x="150" y="990"/>
                    </a:lnTo>
                    <a:lnTo>
                      <a:pt x="148" y="992"/>
                    </a:lnTo>
                    <a:lnTo>
                      <a:pt x="146" y="989"/>
                    </a:lnTo>
                    <a:lnTo>
                      <a:pt x="143" y="987"/>
                    </a:lnTo>
                    <a:lnTo>
                      <a:pt x="143" y="984"/>
                    </a:lnTo>
                    <a:lnTo>
                      <a:pt x="150" y="984"/>
                    </a:lnTo>
                    <a:lnTo>
                      <a:pt x="151" y="982"/>
                    </a:lnTo>
                    <a:lnTo>
                      <a:pt x="160" y="985"/>
                    </a:lnTo>
                    <a:lnTo>
                      <a:pt x="161" y="987"/>
                    </a:lnTo>
                    <a:lnTo>
                      <a:pt x="163" y="985"/>
                    </a:lnTo>
                    <a:lnTo>
                      <a:pt x="166" y="985"/>
                    </a:lnTo>
                    <a:lnTo>
                      <a:pt x="168" y="985"/>
                    </a:lnTo>
                    <a:lnTo>
                      <a:pt x="168" y="985"/>
                    </a:lnTo>
                    <a:close/>
                    <a:moveTo>
                      <a:pt x="181" y="985"/>
                    </a:moveTo>
                    <a:lnTo>
                      <a:pt x="176" y="980"/>
                    </a:lnTo>
                    <a:lnTo>
                      <a:pt x="180" y="979"/>
                    </a:lnTo>
                    <a:lnTo>
                      <a:pt x="178" y="975"/>
                    </a:lnTo>
                    <a:lnTo>
                      <a:pt x="178" y="974"/>
                    </a:lnTo>
                    <a:lnTo>
                      <a:pt x="175" y="970"/>
                    </a:lnTo>
                    <a:lnTo>
                      <a:pt x="175" y="965"/>
                    </a:lnTo>
                    <a:lnTo>
                      <a:pt x="171" y="964"/>
                    </a:lnTo>
                    <a:lnTo>
                      <a:pt x="170" y="969"/>
                    </a:lnTo>
                    <a:lnTo>
                      <a:pt x="168" y="972"/>
                    </a:lnTo>
                    <a:lnTo>
                      <a:pt x="171" y="975"/>
                    </a:lnTo>
                    <a:lnTo>
                      <a:pt x="170" y="979"/>
                    </a:lnTo>
                    <a:lnTo>
                      <a:pt x="170" y="982"/>
                    </a:lnTo>
                    <a:lnTo>
                      <a:pt x="173" y="984"/>
                    </a:lnTo>
                    <a:lnTo>
                      <a:pt x="178" y="985"/>
                    </a:lnTo>
                    <a:lnTo>
                      <a:pt x="180" y="987"/>
                    </a:lnTo>
                    <a:lnTo>
                      <a:pt x="181" y="985"/>
                    </a:lnTo>
                    <a:lnTo>
                      <a:pt x="181" y="985"/>
                    </a:lnTo>
                    <a:close/>
                    <a:moveTo>
                      <a:pt x="163" y="1017"/>
                    </a:moveTo>
                    <a:lnTo>
                      <a:pt x="168" y="1015"/>
                    </a:lnTo>
                    <a:lnTo>
                      <a:pt x="170" y="1017"/>
                    </a:lnTo>
                    <a:lnTo>
                      <a:pt x="166" y="1020"/>
                    </a:lnTo>
                    <a:lnTo>
                      <a:pt x="163" y="1017"/>
                    </a:lnTo>
                    <a:lnTo>
                      <a:pt x="163" y="1017"/>
                    </a:lnTo>
                    <a:close/>
                    <a:moveTo>
                      <a:pt x="165" y="1013"/>
                    </a:moveTo>
                    <a:lnTo>
                      <a:pt x="163" y="1012"/>
                    </a:lnTo>
                    <a:lnTo>
                      <a:pt x="165" y="1008"/>
                    </a:lnTo>
                    <a:lnTo>
                      <a:pt x="168" y="1010"/>
                    </a:lnTo>
                    <a:lnTo>
                      <a:pt x="168" y="1013"/>
                    </a:lnTo>
                    <a:lnTo>
                      <a:pt x="165" y="1013"/>
                    </a:lnTo>
                    <a:lnTo>
                      <a:pt x="165" y="1013"/>
                    </a:lnTo>
                    <a:close/>
                    <a:moveTo>
                      <a:pt x="259" y="1037"/>
                    </a:moveTo>
                    <a:lnTo>
                      <a:pt x="258" y="1033"/>
                    </a:lnTo>
                    <a:lnTo>
                      <a:pt x="261" y="1030"/>
                    </a:lnTo>
                    <a:lnTo>
                      <a:pt x="259" y="1028"/>
                    </a:lnTo>
                    <a:lnTo>
                      <a:pt x="263" y="1030"/>
                    </a:lnTo>
                    <a:lnTo>
                      <a:pt x="263" y="1033"/>
                    </a:lnTo>
                    <a:lnTo>
                      <a:pt x="263" y="1037"/>
                    </a:lnTo>
                    <a:lnTo>
                      <a:pt x="259" y="1037"/>
                    </a:lnTo>
                    <a:lnTo>
                      <a:pt x="259" y="1037"/>
                    </a:lnTo>
                    <a:close/>
                    <a:moveTo>
                      <a:pt x="200" y="1013"/>
                    </a:moveTo>
                    <a:lnTo>
                      <a:pt x="203" y="1013"/>
                    </a:lnTo>
                    <a:lnTo>
                      <a:pt x="208" y="1013"/>
                    </a:lnTo>
                    <a:lnTo>
                      <a:pt x="210" y="1012"/>
                    </a:lnTo>
                    <a:lnTo>
                      <a:pt x="214" y="1013"/>
                    </a:lnTo>
                    <a:lnTo>
                      <a:pt x="226" y="1010"/>
                    </a:lnTo>
                    <a:lnTo>
                      <a:pt x="233" y="1008"/>
                    </a:lnTo>
                    <a:lnTo>
                      <a:pt x="241" y="1008"/>
                    </a:lnTo>
                    <a:lnTo>
                      <a:pt x="246" y="1008"/>
                    </a:lnTo>
                    <a:lnTo>
                      <a:pt x="254" y="1008"/>
                    </a:lnTo>
                    <a:lnTo>
                      <a:pt x="258" y="1008"/>
                    </a:lnTo>
                    <a:lnTo>
                      <a:pt x="259" y="1013"/>
                    </a:lnTo>
                    <a:lnTo>
                      <a:pt x="261" y="1015"/>
                    </a:lnTo>
                    <a:lnTo>
                      <a:pt x="259" y="1017"/>
                    </a:lnTo>
                    <a:lnTo>
                      <a:pt x="256" y="1020"/>
                    </a:lnTo>
                    <a:lnTo>
                      <a:pt x="253" y="1017"/>
                    </a:lnTo>
                    <a:lnTo>
                      <a:pt x="251" y="1015"/>
                    </a:lnTo>
                    <a:lnTo>
                      <a:pt x="246" y="1018"/>
                    </a:lnTo>
                    <a:lnTo>
                      <a:pt x="241" y="1018"/>
                    </a:lnTo>
                    <a:lnTo>
                      <a:pt x="238" y="1017"/>
                    </a:lnTo>
                    <a:lnTo>
                      <a:pt x="236" y="1012"/>
                    </a:lnTo>
                    <a:lnTo>
                      <a:pt x="233" y="1012"/>
                    </a:lnTo>
                    <a:lnTo>
                      <a:pt x="229" y="1015"/>
                    </a:lnTo>
                    <a:lnTo>
                      <a:pt x="226" y="1015"/>
                    </a:lnTo>
                    <a:lnTo>
                      <a:pt x="219" y="1017"/>
                    </a:lnTo>
                    <a:lnTo>
                      <a:pt x="224" y="1020"/>
                    </a:lnTo>
                    <a:lnTo>
                      <a:pt x="226" y="1018"/>
                    </a:lnTo>
                    <a:lnTo>
                      <a:pt x="231" y="1020"/>
                    </a:lnTo>
                    <a:lnTo>
                      <a:pt x="234" y="1022"/>
                    </a:lnTo>
                    <a:lnTo>
                      <a:pt x="233" y="1023"/>
                    </a:lnTo>
                    <a:lnTo>
                      <a:pt x="236" y="1025"/>
                    </a:lnTo>
                    <a:lnTo>
                      <a:pt x="241" y="1028"/>
                    </a:lnTo>
                    <a:lnTo>
                      <a:pt x="241" y="1033"/>
                    </a:lnTo>
                    <a:lnTo>
                      <a:pt x="239" y="1032"/>
                    </a:lnTo>
                    <a:lnTo>
                      <a:pt x="234" y="1028"/>
                    </a:lnTo>
                    <a:lnTo>
                      <a:pt x="231" y="1027"/>
                    </a:lnTo>
                    <a:lnTo>
                      <a:pt x="226" y="1028"/>
                    </a:lnTo>
                    <a:lnTo>
                      <a:pt x="223" y="1027"/>
                    </a:lnTo>
                    <a:lnTo>
                      <a:pt x="221" y="1023"/>
                    </a:lnTo>
                    <a:lnTo>
                      <a:pt x="216" y="1023"/>
                    </a:lnTo>
                    <a:lnTo>
                      <a:pt x="216" y="1025"/>
                    </a:lnTo>
                    <a:lnTo>
                      <a:pt x="219" y="1027"/>
                    </a:lnTo>
                    <a:lnTo>
                      <a:pt x="219" y="1030"/>
                    </a:lnTo>
                    <a:lnTo>
                      <a:pt x="218" y="1030"/>
                    </a:lnTo>
                    <a:lnTo>
                      <a:pt x="211" y="1028"/>
                    </a:lnTo>
                    <a:lnTo>
                      <a:pt x="208" y="1030"/>
                    </a:lnTo>
                    <a:lnTo>
                      <a:pt x="208" y="1027"/>
                    </a:lnTo>
                    <a:lnTo>
                      <a:pt x="205" y="1027"/>
                    </a:lnTo>
                    <a:lnTo>
                      <a:pt x="206" y="1023"/>
                    </a:lnTo>
                    <a:lnTo>
                      <a:pt x="203" y="1025"/>
                    </a:lnTo>
                    <a:lnTo>
                      <a:pt x="198" y="1023"/>
                    </a:lnTo>
                    <a:lnTo>
                      <a:pt x="198" y="1022"/>
                    </a:lnTo>
                    <a:lnTo>
                      <a:pt x="203" y="1020"/>
                    </a:lnTo>
                    <a:lnTo>
                      <a:pt x="210" y="1017"/>
                    </a:lnTo>
                    <a:lnTo>
                      <a:pt x="206" y="1015"/>
                    </a:lnTo>
                    <a:lnTo>
                      <a:pt x="203" y="1017"/>
                    </a:lnTo>
                    <a:lnTo>
                      <a:pt x="200" y="10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sp>
          <p:nvSpPr>
            <p:cNvPr id="30" name="Rectangle 17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1" name="Rectangle 17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2" name="Rectangle 17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3" name="Rectangle 17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4" name="Rectangle 18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5" name="Rectangle 18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6" name="Rectangle 18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7" name="Rectangle 18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8" name="Rectangle 18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9" name="Rectangle 18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0" name="Rectangle 18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1" name="Rectangle 18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2" name="Rectangle 18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3" name="Rectangle 18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4" name="Rectangle 19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5" name="Rectangle 19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6" name="Rectangle 19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7" name="Rectangle 19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8" name="Rectangle 19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9" name="Rectangle 19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0" name="Rectangle 19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1" name="Rectangle 19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2" name="Rectangle 19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3" name="Rectangle 19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4" name="Rectangle 20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5" name="Rectangle 20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6" name="Rectangle 20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7" name="Rectangle 20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8" name="Rectangle 20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9" name="Rectangle 20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0" name="Rectangle 20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1" name="Rectangle 20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2" name="Rectangle 20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3" name="Rectangle 21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4" name="Rectangle 21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5" name="Rectangle 21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6" name="Rectangle 21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7" name="Rectangle 21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8" name="Rectangle 21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9" name="Rectangle 21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0" name="Rectangle 21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1" name="Rectangle 21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2" name="Rectangle 21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3" name="Rectangle 22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4" name="Rectangle 22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5" name="Rectangle 22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6" name="Rectangle 22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7" name="Rectangle 22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8" name="Rectangle 22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9" name="Rectangle 22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0" name="Rectangle 22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1" name="Rectangle 22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2" name="Rectangle 22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3" name="Rectangle 23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4" name="Rectangle 23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5" name="Rectangle 23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6" name="Rectangle 23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7" name="Rectangle 23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8" name="Rectangle 23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89" name="Rectangle 23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90" name="Rectangle 23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91" name="Rectangle 23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92" name="Rectangle 23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93" name="Rectangle 24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508316" y="1543050"/>
            <a:ext cx="2032702" cy="2743200"/>
            <a:chOff x="6508316" y="1543050"/>
            <a:chExt cx="2032702" cy="2743200"/>
          </a:xfrm>
        </p:grpSpPr>
        <p:sp>
          <p:nvSpPr>
            <p:cNvPr id="298" name="Oval 297"/>
            <p:cNvSpPr/>
            <p:nvPr/>
          </p:nvSpPr>
          <p:spPr>
            <a:xfrm>
              <a:off x="6508316" y="1559506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299" name="TextBox 298"/>
            <p:cNvSpPr txBox="1">
              <a:spLocks/>
            </p:cNvSpPr>
            <p:nvPr/>
          </p:nvSpPr>
          <p:spPr>
            <a:xfrm>
              <a:off x="6546375" y="1595144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1</a:t>
              </a:r>
            </a:p>
          </p:txBody>
        </p:sp>
        <p:sp>
          <p:nvSpPr>
            <p:cNvPr id="300" name="TextBox 299"/>
            <p:cNvSpPr txBox="1">
              <a:spLocks/>
            </p:cNvSpPr>
            <p:nvPr/>
          </p:nvSpPr>
          <p:spPr>
            <a:xfrm>
              <a:off x="6827346" y="1603876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United States</a:t>
              </a:r>
            </a:p>
          </p:txBody>
        </p:sp>
        <p:sp>
          <p:nvSpPr>
            <p:cNvPr id="301" name="TextBox 300"/>
            <p:cNvSpPr txBox="1">
              <a:spLocks/>
            </p:cNvSpPr>
            <p:nvPr/>
          </p:nvSpPr>
          <p:spPr>
            <a:xfrm>
              <a:off x="8053783" y="1585481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44.9%</a:t>
              </a:r>
            </a:p>
          </p:txBody>
        </p:sp>
        <p:cxnSp>
          <p:nvCxnSpPr>
            <p:cNvPr id="303" name="Straight Connector 302"/>
            <p:cNvCxnSpPr/>
            <p:nvPr/>
          </p:nvCxnSpPr>
          <p:spPr>
            <a:xfrm>
              <a:off x="7853727" y="1543050"/>
              <a:ext cx="0" cy="274320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4" name="Oval 343"/>
            <p:cNvSpPr/>
            <p:nvPr/>
          </p:nvSpPr>
          <p:spPr>
            <a:xfrm>
              <a:off x="6508316" y="1913429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45" name="TextBox 344"/>
            <p:cNvSpPr txBox="1">
              <a:spLocks/>
            </p:cNvSpPr>
            <p:nvPr/>
          </p:nvSpPr>
          <p:spPr>
            <a:xfrm>
              <a:off x="6546375" y="1949067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2</a:t>
              </a:r>
            </a:p>
          </p:txBody>
        </p:sp>
        <p:sp>
          <p:nvSpPr>
            <p:cNvPr id="346" name="TextBox 345"/>
            <p:cNvSpPr txBox="1">
              <a:spLocks/>
            </p:cNvSpPr>
            <p:nvPr/>
          </p:nvSpPr>
          <p:spPr>
            <a:xfrm>
              <a:off x="6827346" y="1957799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Brazil</a:t>
              </a:r>
            </a:p>
          </p:txBody>
        </p:sp>
        <p:sp>
          <p:nvSpPr>
            <p:cNvPr id="347" name="TextBox 346"/>
            <p:cNvSpPr txBox="1">
              <a:spLocks/>
            </p:cNvSpPr>
            <p:nvPr/>
          </p:nvSpPr>
          <p:spPr>
            <a:xfrm>
              <a:off x="8053783" y="1939404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32.1%</a:t>
              </a:r>
            </a:p>
          </p:txBody>
        </p:sp>
        <p:sp>
          <p:nvSpPr>
            <p:cNvPr id="349" name="Oval 348"/>
            <p:cNvSpPr/>
            <p:nvPr/>
          </p:nvSpPr>
          <p:spPr>
            <a:xfrm>
              <a:off x="6508316" y="2267352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50" name="TextBox 349"/>
            <p:cNvSpPr txBox="1">
              <a:spLocks/>
            </p:cNvSpPr>
            <p:nvPr/>
          </p:nvSpPr>
          <p:spPr>
            <a:xfrm>
              <a:off x="6546375" y="2302990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3</a:t>
              </a:r>
            </a:p>
          </p:txBody>
        </p:sp>
        <p:sp>
          <p:nvSpPr>
            <p:cNvPr id="351" name="TextBox 350"/>
            <p:cNvSpPr txBox="1">
              <a:spLocks/>
            </p:cNvSpPr>
            <p:nvPr/>
          </p:nvSpPr>
          <p:spPr>
            <a:xfrm>
              <a:off x="6827346" y="2311722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China</a:t>
              </a:r>
            </a:p>
          </p:txBody>
        </p:sp>
        <p:sp>
          <p:nvSpPr>
            <p:cNvPr id="352" name="TextBox 351"/>
            <p:cNvSpPr txBox="1">
              <a:spLocks/>
            </p:cNvSpPr>
            <p:nvPr/>
          </p:nvSpPr>
          <p:spPr>
            <a:xfrm>
              <a:off x="8053783" y="2293327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25.8%</a:t>
              </a:r>
            </a:p>
          </p:txBody>
        </p:sp>
        <p:sp>
          <p:nvSpPr>
            <p:cNvPr id="354" name="Oval 353"/>
            <p:cNvSpPr/>
            <p:nvPr/>
          </p:nvSpPr>
          <p:spPr>
            <a:xfrm>
              <a:off x="6508316" y="2621275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55" name="TextBox 354"/>
            <p:cNvSpPr txBox="1">
              <a:spLocks/>
            </p:cNvSpPr>
            <p:nvPr/>
          </p:nvSpPr>
          <p:spPr>
            <a:xfrm>
              <a:off x="6546375" y="2656913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4</a:t>
              </a:r>
            </a:p>
          </p:txBody>
        </p:sp>
        <p:sp>
          <p:nvSpPr>
            <p:cNvPr id="356" name="TextBox 355"/>
            <p:cNvSpPr txBox="1">
              <a:spLocks/>
            </p:cNvSpPr>
            <p:nvPr/>
          </p:nvSpPr>
          <p:spPr>
            <a:xfrm>
              <a:off x="6827346" y="2665645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UK</a:t>
              </a:r>
            </a:p>
          </p:txBody>
        </p:sp>
        <p:sp>
          <p:nvSpPr>
            <p:cNvPr id="357" name="TextBox 356"/>
            <p:cNvSpPr txBox="1">
              <a:spLocks/>
            </p:cNvSpPr>
            <p:nvPr/>
          </p:nvSpPr>
          <p:spPr>
            <a:xfrm>
              <a:off x="8053783" y="2647250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21.2%</a:t>
              </a:r>
            </a:p>
          </p:txBody>
        </p:sp>
        <p:sp>
          <p:nvSpPr>
            <p:cNvPr id="359" name="Oval 358"/>
            <p:cNvSpPr/>
            <p:nvPr/>
          </p:nvSpPr>
          <p:spPr>
            <a:xfrm>
              <a:off x="6508316" y="2975198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60" name="TextBox 359"/>
            <p:cNvSpPr txBox="1">
              <a:spLocks/>
            </p:cNvSpPr>
            <p:nvPr/>
          </p:nvSpPr>
          <p:spPr>
            <a:xfrm>
              <a:off x="6546375" y="3010836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5</a:t>
              </a:r>
            </a:p>
          </p:txBody>
        </p:sp>
        <p:sp>
          <p:nvSpPr>
            <p:cNvPr id="361" name="TextBox 360"/>
            <p:cNvSpPr txBox="1">
              <a:spLocks/>
            </p:cNvSpPr>
            <p:nvPr/>
          </p:nvSpPr>
          <p:spPr>
            <a:xfrm>
              <a:off x="6827346" y="3019568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Germany</a:t>
              </a:r>
            </a:p>
          </p:txBody>
        </p:sp>
        <p:sp>
          <p:nvSpPr>
            <p:cNvPr id="362" name="TextBox 361"/>
            <p:cNvSpPr txBox="1">
              <a:spLocks/>
            </p:cNvSpPr>
            <p:nvPr/>
          </p:nvSpPr>
          <p:spPr>
            <a:xfrm>
              <a:off x="8053783" y="3001173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17.3%</a:t>
              </a:r>
            </a:p>
          </p:txBody>
        </p:sp>
        <p:sp>
          <p:nvSpPr>
            <p:cNvPr id="364" name="Oval 363"/>
            <p:cNvSpPr/>
            <p:nvPr/>
          </p:nvSpPr>
          <p:spPr>
            <a:xfrm>
              <a:off x="6508316" y="3329121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65" name="TextBox 364"/>
            <p:cNvSpPr txBox="1">
              <a:spLocks/>
            </p:cNvSpPr>
            <p:nvPr/>
          </p:nvSpPr>
          <p:spPr>
            <a:xfrm>
              <a:off x="6546375" y="3364759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6</a:t>
              </a:r>
            </a:p>
          </p:txBody>
        </p:sp>
        <p:sp>
          <p:nvSpPr>
            <p:cNvPr id="366" name="TextBox 365"/>
            <p:cNvSpPr txBox="1">
              <a:spLocks/>
            </p:cNvSpPr>
            <p:nvPr/>
          </p:nvSpPr>
          <p:spPr>
            <a:xfrm>
              <a:off x="6827346" y="3373491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France</a:t>
              </a:r>
            </a:p>
          </p:txBody>
        </p:sp>
        <p:sp>
          <p:nvSpPr>
            <p:cNvPr id="367" name="TextBox 366"/>
            <p:cNvSpPr txBox="1">
              <a:spLocks/>
            </p:cNvSpPr>
            <p:nvPr/>
          </p:nvSpPr>
          <p:spPr>
            <a:xfrm>
              <a:off x="8053783" y="3355096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15.2%</a:t>
              </a:r>
            </a:p>
          </p:txBody>
        </p:sp>
        <p:sp>
          <p:nvSpPr>
            <p:cNvPr id="369" name="Oval 368"/>
            <p:cNvSpPr/>
            <p:nvPr/>
          </p:nvSpPr>
          <p:spPr>
            <a:xfrm>
              <a:off x="6508316" y="3683044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70" name="TextBox 369"/>
            <p:cNvSpPr txBox="1">
              <a:spLocks/>
            </p:cNvSpPr>
            <p:nvPr/>
          </p:nvSpPr>
          <p:spPr>
            <a:xfrm>
              <a:off x="6546375" y="3718682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7</a:t>
              </a:r>
            </a:p>
          </p:txBody>
        </p:sp>
        <p:sp>
          <p:nvSpPr>
            <p:cNvPr id="371" name="TextBox 370"/>
            <p:cNvSpPr txBox="1">
              <a:spLocks/>
            </p:cNvSpPr>
            <p:nvPr/>
          </p:nvSpPr>
          <p:spPr>
            <a:xfrm>
              <a:off x="6827346" y="3727414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Russia</a:t>
              </a:r>
            </a:p>
          </p:txBody>
        </p:sp>
        <p:sp>
          <p:nvSpPr>
            <p:cNvPr id="372" name="TextBox 371"/>
            <p:cNvSpPr txBox="1">
              <a:spLocks/>
            </p:cNvSpPr>
            <p:nvPr/>
          </p:nvSpPr>
          <p:spPr>
            <a:xfrm>
              <a:off x="8053783" y="3709019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12.3%</a:t>
              </a:r>
            </a:p>
          </p:txBody>
        </p:sp>
        <p:sp>
          <p:nvSpPr>
            <p:cNvPr id="374" name="Oval 373"/>
            <p:cNvSpPr/>
            <p:nvPr/>
          </p:nvSpPr>
          <p:spPr>
            <a:xfrm>
              <a:off x="6508316" y="4036969"/>
              <a:ext cx="213956" cy="2139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375" name="TextBox 374"/>
            <p:cNvSpPr txBox="1">
              <a:spLocks/>
            </p:cNvSpPr>
            <p:nvPr/>
          </p:nvSpPr>
          <p:spPr>
            <a:xfrm>
              <a:off x="6546375" y="4072607"/>
              <a:ext cx="1292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latin typeface="+mj-lt"/>
                  <a:ea typeface="Roboto" panose="02000000000000000000" pitchFamily="2" charset="0"/>
                </a:rPr>
                <a:t>8</a:t>
              </a:r>
            </a:p>
          </p:txBody>
        </p:sp>
        <p:sp>
          <p:nvSpPr>
            <p:cNvPr id="376" name="TextBox 375"/>
            <p:cNvSpPr txBox="1">
              <a:spLocks/>
            </p:cNvSpPr>
            <p:nvPr/>
          </p:nvSpPr>
          <p:spPr>
            <a:xfrm>
              <a:off x="6827346" y="4081339"/>
              <a:ext cx="94175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+mj-lt"/>
                  <a:ea typeface="Roboto" panose="02000000000000000000" pitchFamily="2" charset="0"/>
                </a:rPr>
                <a:t>India</a:t>
              </a:r>
            </a:p>
          </p:txBody>
        </p:sp>
        <p:sp>
          <p:nvSpPr>
            <p:cNvPr id="377" name="TextBox 376"/>
            <p:cNvSpPr txBox="1">
              <a:spLocks/>
            </p:cNvSpPr>
            <p:nvPr/>
          </p:nvSpPr>
          <p:spPr>
            <a:xfrm>
              <a:off x="8053783" y="4062944"/>
              <a:ext cx="4872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accent2"/>
                  </a:solidFill>
                  <a:latin typeface="+mj-lt"/>
                  <a:ea typeface="Roboto" panose="02000000000000000000" pitchFamily="2" charset="0"/>
                </a:rPr>
                <a:t>7.8%</a:t>
              </a:r>
            </a:p>
          </p:txBody>
        </p:sp>
      </p:grpSp>
      <p:sp>
        <p:nvSpPr>
          <p:cNvPr id="267" name="TextBox 266"/>
          <p:cNvSpPr txBox="1">
            <a:spLocks/>
          </p:cNvSpPr>
          <p:nvPr/>
        </p:nvSpPr>
        <p:spPr>
          <a:xfrm>
            <a:off x="973623" y="3595571"/>
            <a:ext cx="5390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68%</a:t>
            </a:r>
          </a:p>
        </p:txBody>
      </p:sp>
      <p:sp>
        <p:nvSpPr>
          <p:cNvPr id="269" name="TextBox 268"/>
          <p:cNvSpPr txBox="1">
            <a:spLocks/>
          </p:cNvSpPr>
          <p:nvPr/>
        </p:nvSpPr>
        <p:spPr>
          <a:xfrm>
            <a:off x="973623" y="3998614"/>
            <a:ext cx="5143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32%</a:t>
            </a:r>
          </a:p>
        </p:txBody>
      </p:sp>
      <p:sp>
        <p:nvSpPr>
          <p:cNvPr id="294" name="Oval 293"/>
          <p:cNvSpPr/>
          <p:nvPr/>
        </p:nvSpPr>
        <p:spPr>
          <a:xfrm>
            <a:off x="596549" y="3571651"/>
            <a:ext cx="277748" cy="2777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96" name="Oval 295"/>
          <p:cNvSpPr/>
          <p:nvPr/>
        </p:nvSpPr>
        <p:spPr>
          <a:xfrm>
            <a:off x="596549" y="3983715"/>
            <a:ext cx="277748" cy="2777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384" name="Straight Connector 383"/>
          <p:cNvCxnSpPr/>
          <p:nvPr/>
        </p:nvCxnSpPr>
        <p:spPr>
          <a:xfrm>
            <a:off x="593725" y="3911817"/>
            <a:ext cx="787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595438" y="2673834"/>
            <a:ext cx="1033317" cy="367181"/>
            <a:chOff x="595438" y="2673834"/>
            <a:chExt cx="1033317" cy="367181"/>
          </a:xfrm>
        </p:grpSpPr>
        <p:grpSp>
          <p:nvGrpSpPr>
            <p:cNvPr id="7" name="Group 6"/>
            <p:cNvGrpSpPr/>
            <p:nvPr/>
          </p:nvGrpSpPr>
          <p:grpSpPr>
            <a:xfrm>
              <a:off x="595438" y="2673834"/>
              <a:ext cx="1033317" cy="367181"/>
              <a:chOff x="586560" y="2665600"/>
              <a:chExt cx="1033317" cy="367181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586560" y="2665600"/>
                <a:ext cx="889508" cy="36718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" name="Right Triangle 5"/>
              <p:cNvSpPr/>
              <p:nvPr/>
            </p:nvSpPr>
            <p:spPr>
              <a:xfrm rot="5400000">
                <a:off x="1470323" y="2654356"/>
                <a:ext cx="138308" cy="1608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292" name="TextBox 291"/>
            <p:cNvSpPr txBox="1"/>
            <p:nvPr/>
          </p:nvSpPr>
          <p:spPr>
            <a:xfrm>
              <a:off x="623631" y="2717217"/>
              <a:ext cx="818369" cy="2926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>
                  <a:solidFill>
                    <a:schemeClr val="bg1"/>
                  </a:solidFill>
                  <a:latin typeface="+mj-lt"/>
                </a:rPr>
                <a:t>$24.3M</a:t>
              </a:r>
            </a:p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Average per KM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459507" y="3512663"/>
            <a:ext cx="1033272" cy="367181"/>
            <a:chOff x="2459507" y="3512663"/>
            <a:chExt cx="1033272" cy="367181"/>
          </a:xfrm>
        </p:grpSpPr>
        <p:grpSp>
          <p:nvGrpSpPr>
            <p:cNvPr id="304" name="Group 303"/>
            <p:cNvGrpSpPr/>
            <p:nvPr/>
          </p:nvGrpSpPr>
          <p:grpSpPr>
            <a:xfrm flipH="1">
              <a:off x="2459507" y="3512663"/>
              <a:ext cx="1033272" cy="367181"/>
              <a:chOff x="586560" y="2665600"/>
              <a:chExt cx="1033317" cy="367181"/>
            </a:xfrm>
          </p:grpSpPr>
          <p:sp>
            <p:nvSpPr>
              <p:cNvPr id="305" name="Rectangle 304"/>
              <p:cNvSpPr/>
              <p:nvPr/>
            </p:nvSpPr>
            <p:spPr>
              <a:xfrm>
                <a:off x="586560" y="2665600"/>
                <a:ext cx="889508" cy="36718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06" name="Right Triangle 305"/>
              <p:cNvSpPr/>
              <p:nvPr/>
            </p:nvSpPr>
            <p:spPr>
              <a:xfrm rot="5400000">
                <a:off x="1470323" y="2654356"/>
                <a:ext cx="138308" cy="1608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307" name="TextBox 306"/>
            <p:cNvSpPr txBox="1"/>
            <p:nvPr/>
          </p:nvSpPr>
          <p:spPr>
            <a:xfrm>
              <a:off x="2636316" y="3556046"/>
              <a:ext cx="818369" cy="2926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>
                  <a:solidFill>
                    <a:schemeClr val="bg1"/>
                  </a:solidFill>
                  <a:latin typeface="+mj-lt"/>
                </a:rPr>
                <a:t>$8.30M</a:t>
              </a:r>
            </a:p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Average per KM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943815" y="2379750"/>
            <a:ext cx="889469" cy="516292"/>
            <a:chOff x="4943846" y="2712223"/>
            <a:chExt cx="889469" cy="516292"/>
          </a:xfrm>
        </p:grpSpPr>
        <p:sp>
          <p:nvSpPr>
            <p:cNvPr id="310" name="Right Triangle 309"/>
            <p:cNvSpPr/>
            <p:nvPr/>
          </p:nvSpPr>
          <p:spPr>
            <a:xfrm rot="10800000" flipH="1">
              <a:off x="4943846" y="3067722"/>
              <a:ext cx="138308" cy="160793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09" name="Rectangle 308"/>
            <p:cNvSpPr/>
            <p:nvPr/>
          </p:nvSpPr>
          <p:spPr>
            <a:xfrm flipH="1">
              <a:off x="4943846" y="2712223"/>
              <a:ext cx="889469" cy="36718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11" name="TextBox 310"/>
            <p:cNvSpPr txBox="1"/>
            <p:nvPr/>
          </p:nvSpPr>
          <p:spPr>
            <a:xfrm>
              <a:off x="4976852" y="2748463"/>
              <a:ext cx="818369" cy="2926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>
                  <a:solidFill>
                    <a:schemeClr val="bg1"/>
                  </a:solidFill>
                  <a:latin typeface="+mj-lt"/>
                </a:rPr>
                <a:t>$9.75M</a:t>
              </a:r>
            </a:p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Average per KM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729796" y="3106736"/>
            <a:ext cx="886968" cy="518044"/>
            <a:chOff x="3729796" y="3106736"/>
            <a:chExt cx="886968" cy="518044"/>
          </a:xfrm>
        </p:grpSpPr>
        <p:grpSp>
          <p:nvGrpSpPr>
            <p:cNvPr id="11" name="Group 10"/>
            <p:cNvGrpSpPr/>
            <p:nvPr/>
          </p:nvGrpSpPr>
          <p:grpSpPr>
            <a:xfrm flipH="1" flipV="1">
              <a:off x="3729796" y="3106736"/>
              <a:ext cx="886968" cy="518044"/>
              <a:chOff x="3900930" y="2508702"/>
              <a:chExt cx="889469" cy="516292"/>
            </a:xfrm>
          </p:grpSpPr>
          <p:sp>
            <p:nvSpPr>
              <p:cNvPr id="313" name="Right Triangle 312"/>
              <p:cNvSpPr/>
              <p:nvPr/>
            </p:nvSpPr>
            <p:spPr>
              <a:xfrm rot="10800000" flipH="1">
                <a:off x="3900930" y="2864201"/>
                <a:ext cx="138308" cy="160793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14" name="Rectangle 313"/>
              <p:cNvSpPr/>
              <p:nvPr/>
            </p:nvSpPr>
            <p:spPr>
              <a:xfrm flipH="1">
                <a:off x="3900930" y="2508702"/>
                <a:ext cx="889469" cy="36718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315" name="TextBox 314"/>
            <p:cNvSpPr txBox="1"/>
            <p:nvPr/>
          </p:nvSpPr>
          <p:spPr>
            <a:xfrm>
              <a:off x="3768139" y="3286005"/>
              <a:ext cx="818369" cy="2926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>
                  <a:solidFill>
                    <a:schemeClr val="bg1"/>
                  </a:solidFill>
                  <a:latin typeface="+mj-lt"/>
                </a:rPr>
                <a:t>$6.75M</a:t>
              </a:r>
            </a:p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Average per KM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598156" y="2098469"/>
            <a:ext cx="886968" cy="516292"/>
            <a:chOff x="2598156" y="2098469"/>
            <a:chExt cx="886968" cy="516292"/>
          </a:xfrm>
        </p:grpSpPr>
        <p:grpSp>
          <p:nvGrpSpPr>
            <p:cNvPr id="316" name="Group 315"/>
            <p:cNvGrpSpPr/>
            <p:nvPr/>
          </p:nvGrpSpPr>
          <p:grpSpPr>
            <a:xfrm flipH="1">
              <a:off x="2598156" y="2098469"/>
              <a:ext cx="886968" cy="516292"/>
              <a:chOff x="3900930" y="2508702"/>
              <a:chExt cx="889469" cy="516292"/>
            </a:xfrm>
          </p:grpSpPr>
          <p:sp>
            <p:nvSpPr>
              <p:cNvPr id="317" name="Right Triangle 316"/>
              <p:cNvSpPr/>
              <p:nvPr/>
            </p:nvSpPr>
            <p:spPr>
              <a:xfrm rot="10800000" flipH="1">
                <a:off x="3900930" y="2864201"/>
                <a:ext cx="138308" cy="160793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18" name="Rectangle 317"/>
              <p:cNvSpPr/>
              <p:nvPr/>
            </p:nvSpPr>
            <p:spPr>
              <a:xfrm flipH="1">
                <a:off x="3900930" y="2508702"/>
                <a:ext cx="889469" cy="36718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319" name="TextBox 318"/>
            <p:cNvSpPr txBox="1"/>
            <p:nvPr/>
          </p:nvSpPr>
          <p:spPr>
            <a:xfrm>
              <a:off x="2632408" y="2123579"/>
              <a:ext cx="818369" cy="2926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 b="1">
                  <a:solidFill>
                    <a:schemeClr val="bg1"/>
                  </a:solidFill>
                  <a:latin typeface="+mj-lt"/>
                </a:rPr>
                <a:t>$17.65M</a:t>
              </a:r>
            </a:p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Average per KM</a:t>
              </a:r>
            </a:p>
          </p:txBody>
        </p:sp>
      </p:grpSp>
      <p:sp>
        <p:nvSpPr>
          <p:cNvPr id="320" name="Freeform 353">
            <a:extLst>
              <a:ext uri="{FF2B5EF4-FFF2-40B4-BE49-F238E27FC236}">
                <a16:creationId xmlns:a16="http://schemas.microsoft.com/office/drawing/2014/main" id="{8607C58A-5D00-453B-B1C4-7EC6204AE25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2338" y="4031805"/>
            <a:ext cx="124905" cy="173305"/>
          </a:xfrm>
          <a:custGeom>
            <a:avLst/>
            <a:gdLst>
              <a:gd name="T0" fmla="*/ 121 w 121"/>
              <a:gd name="T1" fmla="*/ 97 h 167"/>
              <a:gd name="T2" fmla="*/ 119 w 121"/>
              <a:gd name="T3" fmla="*/ 103 h 167"/>
              <a:gd name="T4" fmla="*/ 112 w 121"/>
              <a:gd name="T5" fmla="*/ 106 h 167"/>
              <a:gd name="T6" fmla="*/ 105 w 121"/>
              <a:gd name="T7" fmla="*/ 102 h 167"/>
              <a:gd name="T8" fmla="*/ 83 w 121"/>
              <a:gd name="T9" fmla="*/ 70 h 167"/>
              <a:gd name="T10" fmla="*/ 79 w 121"/>
              <a:gd name="T11" fmla="*/ 70 h 167"/>
              <a:gd name="T12" fmla="*/ 79 w 121"/>
              <a:gd name="T13" fmla="*/ 82 h 167"/>
              <a:gd name="T14" fmla="*/ 102 w 121"/>
              <a:gd name="T15" fmla="*/ 121 h 167"/>
              <a:gd name="T16" fmla="*/ 103 w 121"/>
              <a:gd name="T17" fmla="*/ 124 h 167"/>
              <a:gd name="T18" fmla="*/ 101 w 121"/>
              <a:gd name="T19" fmla="*/ 129 h 167"/>
              <a:gd name="T20" fmla="*/ 97 w 121"/>
              <a:gd name="T21" fmla="*/ 130 h 167"/>
              <a:gd name="T22" fmla="*/ 79 w 121"/>
              <a:gd name="T23" fmla="*/ 130 h 167"/>
              <a:gd name="T24" fmla="*/ 79 w 121"/>
              <a:gd name="T25" fmla="*/ 156 h 167"/>
              <a:gd name="T26" fmla="*/ 76 w 121"/>
              <a:gd name="T27" fmla="*/ 164 h 167"/>
              <a:gd name="T28" fmla="*/ 68 w 121"/>
              <a:gd name="T29" fmla="*/ 167 h 167"/>
              <a:gd name="T30" fmla="*/ 53 w 121"/>
              <a:gd name="T31" fmla="*/ 167 h 167"/>
              <a:gd name="T32" fmla="*/ 46 w 121"/>
              <a:gd name="T33" fmla="*/ 164 h 167"/>
              <a:gd name="T34" fmla="*/ 43 w 121"/>
              <a:gd name="T35" fmla="*/ 156 h 167"/>
              <a:gd name="T36" fmla="*/ 43 w 121"/>
              <a:gd name="T37" fmla="*/ 130 h 167"/>
              <a:gd name="T38" fmla="*/ 24 w 121"/>
              <a:gd name="T39" fmla="*/ 130 h 167"/>
              <a:gd name="T40" fmla="*/ 20 w 121"/>
              <a:gd name="T41" fmla="*/ 129 h 167"/>
              <a:gd name="T42" fmla="*/ 18 w 121"/>
              <a:gd name="T43" fmla="*/ 124 h 167"/>
              <a:gd name="T44" fmla="*/ 19 w 121"/>
              <a:gd name="T45" fmla="*/ 121 h 167"/>
              <a:gd name="T46" fmla="*/ 43 w 121"/>
              <a:gd name="T47" fmla="*/ 82 h 167"/>
              <a:gd name="T48" fmla="*/ 43 w 121"/>
              <a:gd name="T49" fmla="*/ 70 h 167"/>
              <a:gd name="T50" fmla="*/ 38 w 121"/>
              <a:gd name="T51" fmla="*/ 70 h 167"/>
              <a:gd name="T52" fmla="*/ 17 w 121"/>
              <a:gd name="T53" fmla="*/ 102 h 167"/>
              <a:gd name="T54" fmla="*/ 9 w 121"/>
              <a:gd name="T55" fmla="*/ 106 h 167"/>
              <a:gd name="T56" fmla="*/ 3 w 121"/>
              <a:gd name="T57" fmla="*/ 103 h 167"/>
              <a:gd name="T58" fmla="*/ 0 w 121"/>
              <a:gd name="T59" fmla="*/ 97 h 167"/>
              <a:gd name="T60" fmla="*/ 2 w 121"/>
              <a:gd name="T61" fmla="*/ 92 h 167"/>
              <a:gd name="T62" fmla="*/ 26 w 121"/>
              <a:gd name="T63" fmla="*/ 56 h 167"/>
              <a:gd name="T64" fmla="*/ 43 w 121"/>
              <a:gd name="T65" fmla="*/ 46 h 167"/>
              <a:gd name="T66" fmla="*/ 79 w 121"/>
              <a:gd name="T67" fmla="*/ 46 h 167"/>
              <a:gd name="T68" fmla="*/ 96 w 121"/>
              <a:gd name="T69" fmla="*/ 56 h 167"/>
              <a:gd name="T70" fmla="*/ 120 w 121"/>
              <a:gd name="T71" fmla="*/ 92 h 167"/>
              <a:gd name="T72" fmla="*/ 121 w 121"/>
              <a:gd name="T73" fmla="*/ 97 h 167"/>
              <a:gd name="T74" fmla="*/ 76 w 121"/>
              <a:gd name="T75" fmla="*/ 6 h 167"/>
              <a:gd name="T76" fmla="*/ 82 w 121"/>
              <a:gd name="T77" fmla="*/ 21 h 167"/>
              <a:gd name="T78" fmla="*/ 76 w 121"/>
              <a:gd name="T79" fmla="*/ 36 h 167"/>
              <a:gd name="T80" fmla="*/ 61 w 121"/>
              <a:gd name="T81" fmla="*/ 43 h 167"/>
              <a:gd name="T82" fmla="*/ 46 w 121"/>
              <a:gd name="T83" fmla="*/ 36 h 167"/>
              <a:gd name="T84" fmla="*/ 40 w 121"/>
              <a:gd name="T85" fmla="*/ 21 h 167"/>
              <a:gd name="T86" fmla="*/ 46 w 121"/>
              <a:gd name="T87" fmla="*/ 6 h 167"/>
              <a:gd name="T88" fmla="*/ 61 w 121"/>
              <a:gd name="T89" fmla="*/ 0 h 167"/>
              <a:gd name="T90" fmla="*/ 76 w 121"/>
              <a:gd name="T91" fmla="*/ 6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1" h="167">
                <a:moveTo>
                  <a:pt x="121" y="97"/>
                </a:moveTo>
                <a:cubicBezTo>
                  <a:pt x="121" y="100"/>
                  <a:pt x="120" y="102"/>
                  <a:pt x="119" y="103"/>
                </a:cubicBezTo>
                <a:cubicBezTo>
                  <a:pt x="117" y="105"/>
                  <a:pt x="115" y="106"/>
                  <a:pt x="112" y="106"/>
                </a:cubicBezTo>
                <a:cubicBezTo>
                  <a:pt x="109" y="106"/>
                  <a:pt x="106" y="105"/>
                  <a:pt x="105" y="102"/>
                </a:cubicBezTo>
                <a:cubicBezTo>
                  <a:pt x="83" y="70"/>
                  <a:pt x="83" y="70"/>
                  <a:pt x="83" y="70"/>
                </a:cubicBezTo>
                <a:cubicBezTo>
                  <a:pt x="79" y="70"/>
                  <a:pt x="79" y="70"/>
                  <a:pt x="79" y="70"/>
                </a:cubicBezTo>
                <a:cubicBezTo>
                  <a:pt x="79" y="82"/>
                  <a:pt x="79" y="82"/>
                  <a:pt x="79" y="82"/>
                </a:cubicBezTo>
                <a:cubicBezTo>
                  <a:pt x="102" y="121"/>
                  <a:pt x="102" y="121"/>
                  <a:pt x="102" y="121"/>
                </a:cubicBezTo>
                <a:cubicBezTo>
                  <a:pt x="103" y="122"/>
                  <a:pt x="103" y="123"/>
                  <a:pt x="103" y="124"/>
                </a:cubicBezTo>
                <a:cubicBezTo>
                  <a:pt x="103" y="126"/>
                  <a:pt x="103" y="127"/>
                  <a:pt x="101" y="129"/>
                </a:cubicBezTo>
                <a:cubicBezTo>
                  <a:pt x="100" y="130"/>
                  <a:pt x="99" y="130"/>
                  <a:pt x="97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56"/>
                  <a:pt x="79" y="156"/>
                  <a:pt x="79" y="156"/>
                </a:cubicBezTo>
                <a:cubicBezTo>
                  <a:pt x="79" y="159"/>
                  <a:pt x="78" y="161"/>
                  <a:pt x="76" y="164"/>
                </a:cubicBezTo>
                <a:cubicBezTo>
                  <a:pt x="74" y="166"/>
                  <a:pt x="71" y="167"/>
                  <a:pt x="68" y="167"/>
                </a:cubicBezTo>
                <a:cubicBezTo>
                  <a:pt x="53" y="167"/>
                  <a:pt x="53" y="167"/>
                  <a:pt x="53" y="167"/>
                </a:cubicBezTo>
                <a:cubicBezTo>
                  <a:pt x="50" y="167"/>
                  <a:pt x="48" y="166"/>
                  <a:pt x="46" y="164"/>
                </a:cubicBezTo>
                <a:cubicBezTo>
                  <a:pt x="44" y="161"/>
                  <a:pt x="43" y="159"/>
                  <a:pt x="43" y="156"/>
                </a:cubicBezTo>
                <a:cubicBezTo>
                  <a:pt x="43" y="130"/>
                  <a:pt x="43" y="130"/>
                  <a:pt x="43" y="130"/>
                </a:cubicBezTo>
                <a:cubicBezTo>
                  <a:pt x="24" y="130"/>
                  <a:pt x="24" y="130"/>
                  <a:pt x="24" y="130"/>
                </a:cubicBezTo>
                <a:cubicBezTo>
                  <a:pt x="23" y="130"/>
                  <a:pt x="21" y="130"/>
                  <a:pt x="20" y="129"/>
                </a:cubicBezTo>
                <a:cubicBezTo>
                  <a:pt x="19" y="127"/>
                  <a:pt x="18" y="126"/>
                  <a:pt x="18" y="124"/>
                </a:cubicBezTo>
                <a:cubicBezTo>
                  <a:pt x="18" y="123"/>
                  <a:pt x="19" y="122"/>
                  <a:pt x="19" y="121"/>
                </a:cubicBezTo>
                <a:cubicBezTo>
                  <a:pt x="43" y="82"/>
                  <a:pt x="43" y="82"/>
                  <a:pt x="43" y="82"/>
                </a:cubicBezTo>
                <a:cubicBezTo>
                  <a:pt x="43" y="70"/>
                  <a:pt x="43" y="70"/>
                  <a:pt x="43" y="70"/>
                </a:cubicBezTo>
                <a:cubicBezTo>
                  <a:pt x="38" y="70"/>
                  <a:pt x="38" y="70"/>
                  <a:pt x="38" y="70"/>
                </a:cubicBezTo>
                <a:cubicBezTo>
                  <a:pt x="17" y="102"/>
                  <a:pt x="17" y="102"/>
                  <a:pt x="17" y="102"/>
                </a:cubicBezTo>
                <a:cubicBezTo>
                  <a:pt x="15" y="105"/>
                  <a:pt x="13" y="106"/>
                  <a:pt x="9" y="106"/>
                </a:cubicBezTo>
                <a:cubicBezTo>
                  <a:pt x="7" y="106"/>
                  <a:pt x="5" y="105"/>
                  <a:pt x="3" y="103"/>
                </a:cubicBezTo>
                <a:cubicBezTo>
                  <a:pt x="1" y="102"/>
                  <a:pt x="0" y="100"/>
                  <a:pt x="0" y="97"/>
                </a:cubicBezTo>
                <a:cubicBezTo>
                  <a:pt x="0" y="95"/>
                  <a:pt x="1" y="94"/>
                  <a:pt x="2" y="92"/>
                </a:cubicBezTo>
                <a:cubicBezTo>
                  <a:pt x="26" y="56"/>
                  <a:pt x="26" y="56"/>
                  <a:pt x="26" y="56"/>
                </a:cubicBezTo>
                <a:cubicBezTo>
                  <a:pt x="31" y="49"/>
                  <a:pt x="36" y="46"/>
                  <a:pt x="43" y="46"/>
                </a:cubicBezTo>
                <a:cubicBezTo>
                  <a:pt x="79" y="46"/>
                  <a:pt x="79" y="46"/>
                  <a:pt x="79" y="46"/>
                </a:cubicBezTo>
                <a:cubicBezTo>
                  <a:pt x="85" y="46"/>
                  <a:pt x="91" y="49"/>
                  <a:pt x="96" y="56"/>
                </a:cubicBezTo>
                <a:cubicBezTo>
                  <a:pt x="120" y="92"/>
                  <a:pt x="120" y="92"/>
                  <a:pt x="120" y="92"/>
                </a:cubicBezTo>
                <a:cubicBezTo>
                  <a:pt x="121" y="94"/>
                  <a:pt x="121" y="95"/>
                  <a:pt x="121" y="97"/>
                </a:cubicBezTo>
                <a:close/>
                <a:moveTo>
                  <a:pt x="76" y="6"/>
                </a:moveTo>
                <a:cubicBezTo>
                  <a:pt x="80" y="11"/>
                  <a:pt x="82" y="16"/>
                  <a:pt x="82" y="21"/>
                </a:cubicBezTo>
                <a:cubicBezTo>
                  <a:pt x="82" y="27"/>
                  <a:pt x="80" y="32"/>
                  <a:pt x="76" y="36"/>
                </a:cubicBezTo>
                <a:cubicBezTo>
                  <a:pt x="72" y="41"/>
                  <a:pt x="67" y="43"/>
                  <a:pt x="61" y="43"/>
                </a:cubicBezTo>
                <a:cubicBezTo>
                  <a:pt x="55" y="43"/>
                  <a:pt x="50" y="41"/>
                  <a:pt x="46" y="36"/>
                </a:cubicBezTo>
                <a:cubicBezTo>
                  <a:pt x="42" y="32"/>
                  <a:pt x="40" y="27"/>
                  <a:pt x="40" y="21"/>
                </a:cubicBezTo>
                <a:cubicBezTo>
                  <a:pt x="40" y="16"/>
                  <a:pt x="42" y="11"/>
                  <a:pt x="46" y="6"/>
                </a:cubicBezTo>
                <a:cubicBezTo>
                  <a:pt x="50" y="2"/>
                  <a:pt x="55" y="0"/>
                  <a:pt x="61" y="0"/>
                </a:cubicBezTo>
                <a:cubicBezTo>
                  <a:pt x="67" y="0"/>
                  <a:pt x="72" y="2"/>
                  <a:pt x="76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1" name="Freeform 354">
            <a:extLst>
              <a:ext uri="{FF2B5EF4-FFF2-40B4-BE49-F238E27FC236}">
                <a16:creationId xmlns:a16="http://schemas.microsoft.com/office/drawing/2014/main" id="{E4E4F5FD-780E-4F77-BA7B-96DE0AEA80B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875" y="3623041"/>
            <a:ext cx="98363" cy="173305"/>
          </a:xfrm>
          <a:custGeom>
            <a:avLst/>
            <a:gdLst>
              <a:gd name="T0" fmla="*/ 96 w 96"/>
              <a:gd name="T1" fmla="*/ 64 h 167"/>
              <a:gd name="T2" fmla="*/ 96 w 96"/>
              <a:gd name="T3" fmla="*/ 103 h 167"/>
              <a:gd name="T4" fmla="*/ 94 w 96"/>
              <a:gd name="T5" fmla="*/ 110 h 167"/>
              <a:gd name="T6" fmla="*/ 87 w 96"/>
              <a:gd name="T7" fmla="*/ 112 h 167"/>
              <a:gd name="T8" fmla="*/ 81 w 96"/>
              <a:gd name="T9" fmla="*/ 110 h 167"/>
              <a:gd name="T10" fmla="*/ 78 w 96"/>
              <a:gd name="T11" fmla="*/ 103 h 167"/>
              <a:gd name="T12" fmla="*/ 78 w 96"/>
              <a:gd name="T13" fmla="*/ 70 h 167"/>
              <a:gd name="T14" fmla="*/ 72 w 96"/>
              <a:gd name="T15" fmla="*/ 70 h 167"/>
              <a:gd name="T16" fmla="*/ 72 w 96"/>
              <a:gd name="T17" fmla="*/ 156 h 167"/>
              <a:gd name="T18" fmla="*/ 69 w 96"/>
              <a:gd name="T19" fmla="*/ 164 h 167"/>
              <a:gd name="T20" fmla="*/ 62 w 96"/>
              <a:gd name="T21" fmla="*/ 167 h 167"/>
              <a:gd name="T22" fmla="*/ 54 w 96"/>
              <a:gd name="T23" fmla="*/ 164 h 167"/>
              <a:gd name="T24" fmla="*/ 51 w 96"/>
              <a:gd name="T25" fmla="*/ 156 h 167"/>
              <a:gd name="T26" fmla="*/ 51 w 96"/>
              <a:gd name="T27" fmla="*/ 112 h 167"/>
              <a:gd name="T28" fmla="*/ 45 w 96"/>
              <a:gd name="T29" fmla="*/ 112 h 167"/>
              <a:gd name="T30" fmla="*/ 45 w 96"/>
              <a:gd name="T31" fmla="*/ 156 h 167"/>
              <a:gd name="T32" fmla="*/ 42 w 96"/>
              <a:gd name="T33" fmla="*/ 164 h 167"/>
              <a:gd name="T34" fmla="*/ 34 w 96"/>
              <a:gd name="T35" fmla="*/ 167 h 167"/>
              <a:gd name="T36" fmla="*/ 27 w 96"/>
              <a:gd name="T37" fmla="*/ 164 h 167"/>
              <a:gd name="T38" fmla="*/ 24 w 96"/>
              <a:gd name="T39" fmla="*/ 156 h 167"/>
              <a:gd name="T40" fmla="*/ 24 w 96"/>
              <a:gd name="T41" fmla="*/ 70 h 167"/>
              <a:gd name="T42" fmla="*/ 18 w 96"/>
              <a:gd name="T43" fmla="*/ 70 h 167"/>
              <a:gd name="T44" fmla="*/ 18 w 96"/>
              <a:gd name="T45" fmla="*/ 103 h 167"/>
              <a:gd name="T46" fmla="*/ 15 w 96"/>
              <a:gd name="T47" fmla="*/ 110 h 167"/>
              <a:gd name="T48" fmla="*/ 9 w 96"/>
              <a:gd name="T49" fmla="*/ 112 h 167"/>
              <a:gd name="T50" fmla="*/ 2 w 96"/>
              <a:gd name="T51" fmla="*/ 110 h 167"/>
              <a:gd name="T52" fmla="*/ 0 w 96"/>
              <a:gd name="T53" fmla="*/ 103 h 167"/>
              <a:gd name="T54" fmla="*/ 0 w 96"/>
              <a:gd name="T55" fmla="*/ 64 h 167"/>
              <a:gd name="T56" fmla="*/ 5 w 96"/>
              <a:gd name="T57" fmla="*/ 51 h 167"/>
              <a:gd name="T58" fmla="*/ 18 w 96"/>
              <a:gd name="T59" fmla="*/ 46 h 167"/>
              <a:gd name="T60" fmla="*/ 78 w 96"/>
              <a:gd name="T61" fmla="*/ 46 h 167"/>
              <a:gd name="T62" fmla="*/ 91 w 96"/>
              <a:gd name="T63" fmla="*/ 51 h 167"/>
              <a:gd name="T64" fmla="*/ 96 w 96"/>
              <a:gd name="T65" fmla="*/ 64 h 167"/>
              <a:gd name="T66" fmla="*/ 63 w 96"/>
              <a:gd name="T67" fmla="*/ 6 h 167"/>
              <a:gd name="T68" fmla="*/ 69 w 96"/>
              <a:gd name="T69" fmla="*/ 21 h 167"/>
              <a:gd name="T70" fmla="*/ 63 w 96"/>
              <a:gd name="T71" fmla="*/ 36 h 167"/>
              <a:gd name="T72" fmla="*/ 48 w 96"/>
              <a:gd name="T73" fmla="*/ 43 h 167"/>
              <a:gd name="T74" fmla="*/ 33 w 96"/>
              <a:gd name="T75" fmla="*/ 36 h 167"/>
              <a:gd name="T76" fmla="*/ 27 w 96"/>
              <a:gd name="T77" fmla="*/ 21 h 167"/>
              <a:gd name="T78" fmla="*/ 33 w 96"/>
              <a:gd name="T79" fmla="*/ 6 h 167"/>
              <a:gd name="T80" fmla="*/ 48 w 96"/>
              <a:gd name="T81" fmla="*/ 0 h 167"/>
              <a:gd name="T82" fmla="*/ 63 w 96"/>
              <a:gd name="T83" fmla="*/ 6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6" h="167">
                <a:moveTo>
                  <a:pt x="96" y="64"/>
                </a:moveTo>
                <a:cubicBezTo>
                  <a:pt x="96" y="103"/>
                  <a:pt x="96" y="103"/>
                  <a:pt x="96" y="103"/>
                </a:cubicBezTo>
                <a:cubicBezTo>
                  <a:pt x="96" y="106"/>
                  <a:pt x="96" y="108"/>
                  <a:pt x="94" y="110"/>
                </a:cubicBezTo>
                <a:cubicBezTo>
                  <a:pt x="92" y="111"/>
                  <a:pt x="90" y="112"/>
                  <a:pt x="87" y="112"/>
                </a:cubicBezTo>
                <a:cubicBezTo>
                  <a:pt x="85" y="112"/>
                  <a:pt x="83" y="111"/>
                  <a:pt x="81" y="110"/>
                </a:cubicBezTo>
                <a:cubicBezTo>
                  <a:pt x="79" y="108"/>
                  <a:pt x="78" y="106"/>
                  <a:pt x="78" y="103"/>
                </a:cubicBezTo>
                <a:cubicBezTo>
                  <a:pt x="78" y="70"/>
                  <a:pt x="78" y="70"/>
                  <a:pt x="78" y="70"/>
                </a:cubicBezTo>
                <a:cubicBezTo>
                  <a:pt x="72" y="70"/>
                  <a:pt x="72" y="70"/>
                  <a:pt x="72" y="70"/>
                </a:cubicBezTo>
                <a:cubicBezTo>
                  <a:pt x="72" y="156"/>
                  <a:pt x="72" y="156"/>
                  <a:pt x="72" y="156"/>
                </a:cubicBezTo>
                <a:cubicBezTo>
                  <a:pt x="72" y="159"/>
                  <a:pt x="71" y="161"/>
                  <a:pt x="69" y="164"/>
                </a:cubicBezTo>
                <a:cubicBezTo>
                  <a:pt x="67" y="166"/>
                  <a:pt x="64" y="167"/>
                  <a:pt x="62" y="167"/>
                </a:cubicBezTo>
                <a:cubicBezTo>
                  <a:pt x="59" y="167"/>
                  <a:pt x="56" y="166"/>
                  <a:pt x="54" y="164"/>
                </a:cubicBezTo>
                <a:cubicBezTo>
                  <a:pt x="52" y="161"/>
                  <a:pt x="51" y="159"/>
                  <a:pt x="51" y="156"/>
                </a:cubicBezTo>
                <a:cubicBezTo>
                  <a:pt x="51" y="112"/>
                  <a:pt x="51" y="112"/>
                  <a:pt x="51" y="112"/>
                </a:cubicBezTo>
                <a:cubicBezTo>
                  <a:pt x="45" y="112"/>
                  <a:pt x="45" y="112"/>
                  <a:pt x="45" y="112"/>
                </a:cubicBezTo>
                <a:cubicBezTo>
                  <a:pt x="45" y="156"/>
                  <a:pt x="45" y="156"/>
                  <a:pt x="45" y="156"/>
                </a:cubicBezTo>
                <a:cubicBezTo>
                  <a:pt x="45" y="159"/>
                  <a:pt x="44" y="161"/>
                  <a:pt x="42" y="164"/>
                </a:cubicBezTo>
                <a:cubicBezTo>
                  <a:pt x="40" y="166"/>
                  <a:pt x="37" y="167"/>
                  <a:pt x="34" y="167"/>
                </a:cubicBezTo>
                <a:cubicBezTo>
                  <a:pt x="31" y="167"/>
                  <a:pt x="29" y="166"/>
                  <a:pt x="27" y="164"/>
                </a:cubicBezTo>
                <a:cubicBezTo>
                  <a:pt x="25" y="161"/>
                  <a:pt x="24" y="159"/>
                  <a:pt x="24" y="156"/>
                </a:cubicBezTo>
                <a:cubicBezTo>
                  <a:pt x="24" y="70"/>
                  <a:pt x="24" y="70"/>
                  <a:pt x="24" y="70"/>
                </a:cubicBezTo>
                <a:cubicBezTo>
                  <a:pt x="18" y="70"/>
                  <a:pt x="18" y="70"/>
                  <a:pt x="18" y="70"/>
                </a:cubicBezTo>
                <a:cubicBezTo>
                  <a:pt x="18" y="103"/>
                  <a:pt x="18" y="103"/>
                  <a:pt x="18" y="103"/>
                </a:cubicBezTo>
                <a:cubicBezTo>
                  <a:pt x="18" y="106"/>
                  <a:pt x="17" y="108"/>
                  <a:pt x="15" y="110"/>
                </a:cubicBezTo>
                <a:cubicBezTo>
                  <a:pt x="13" y="111"/>
                  <a:pt x="11" y="112"/>
                  <a:pt x="9" y="112"/>
                </a:cubicBezTo>
                <a:cubicBezTo>
                  <a:pt x="6" y="112"/>
                  <a:pt x="4" y="111"/>
                  <a:pt x="2" y="110"/>
                </a:cubicBezTo>
                <a:cubicBezTo>
                  <a:pt x="0" y="108"/>
                  <a:pt x="0" y="106"/>
                  <a:pt x="0" y="103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59"/>
                  <a:pt x="1" y="54"/>
                  <a:pt x="5" y="51"/>
                </a:cubicBezTo>
                <a:cubicBezTo>
                  <a:pt x="8" y="47"/>
                  <a:pt x="13" y="46"/>
                  <a:pt x="18" y="46"/>
                </a:cubicBezTo>
                <a:cubicBezTo>
                  <a:pt x="78" y="46"/>
                  <a:pt x="78" y="46"/>
                  <a:pt x="78" y="46"/>
                </a:cubicBezTo>
                <a:cubicBezTo>
                  <a:pt x="83" y="46"/>
                  <a:pt x="88" y="47"/>
                  <a:pt x="91" y="51"/>
                </a:cubicBezTo>
                <a:cubicBezTo>
                  <a:pt x="95" y="54"/>
                  <a:pt x="96" y="59"/>
                  <a:pt x="96" y="64"/>
                </a:cubicBezTo>
                <a:close/>
                <a:moveTo>
                  <a:pt x="63" y="6"/>
                </a:moveTo>
                <a:cubicBezTo>
                  <a:pt x="67" y="11"/>
                  <a:pt x="69" y="16"/>
                  <a:pt x="69" y="21"/>
                </a:cubicBezTo>
                <a:cubicBezTo>
                  <a:pt x="69" y="27"/>
                  <a:pt x="67" y="32"/>
                  <a:pt x="63" y="36"/>
                </a:cubicBezTo>
                <a:cubicBezTo>
                  <a:pt x="59" y="41"/>
                  <a:pt x="54" y="43"/>
                  <a:pt x="48" y="43"/>
                </a:cubicBezTo>
                <a:cubicBezTo>
                  <a:pt x="42" y="43"/>
                  <a:pt x="37" y="41"/>
                  <a:pt x="33" y="36"/>
                </a:cubicBezTo>
                <a:cubicBezTo>
                  <a:pt x="29" y="32"/>
                  <a:pt x="27" y="27"/>
                  <a:pt x="27" y="21"/>
                </a:cubicBezTo>
                <a:cubicBezTo>
                  <a:pt x="27" y="16"/>
                  <a:pt x="29" y="11"/>
                  <a:pt x="33" y="6"/>
                </a:cubicBezTo>
                <a:cubicBezTo>
                  <a:pt x="37" y="2"/>
                  <a:pt x="42" y="0"/>
                  <a:pt x="48" y="0"/>
                </a:cubicBezTo>
                <a:cubicBezTo>
                  <a:pt x="54" y="0"/>
                  <a:pt x="59" y="2"/>
                  <a:pt x="63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1081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B4057F-6432-4589-B2B8-FDADD71ED5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Germany and world map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4C5897-2386-4130-8D90-D0316FEFBB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" name="Gruppierung 207">
            <a:extLst>
              <a:ext uri="{FF2B5EF4-FFF2-40B4-BE49-F238E27FC236}">
                <a16:creationId xmlns:a16="http://schemas.microsoft.com/office/drawing/2014/main" id="{3BBBD969-C9C6-4070-AF37-A948F973B7E8}"/>
              </a:ext>
            </a:extLst>
          </p:cNvPr>
          <p:cNvGrpSpPr>
            <a:grpSpLocks noChangeAspect="1"/>
          </p:cNvGrpSpPr>
          <p:nvPr/>
        </p:nvGrpSpPr>
        <p:grpSpPr>
          <a:xfrm>
            <a:off x="831479" y="1435896"/>
            <a:ext cx="2232414" cy="3190905"/>
            <a:chOff x="3795130" y="1455342"/>
            <a:chExt cx="1556170" cy="2224315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39FFFE1-10E0-4E30-AB62-F8075242D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9692" y="1769977"/>
              <a:ext cx="807848" cy="742248"/>
            </a:xfrm>
            <a:custGeom>
              <a:avLst/>
              <a:gdLst>
                <a:gd name="T0" fmla="*/ 762 w 1331"/>
                <a:gd name="T1" fmla="*/ 988 h 1222"/>
                <a:gd name="T2" fmla="*/ 710 w 1331"/>
                <a:gd name="T3" fmla="*/ 909 h 1222"/>
                <a:gd name="T4" fmla="*/ 666 w 1331"/>
                <a:gd name="T5" fmla="*/ 819 h 1222"/>
                <a:gd name="T6" fmla="*/ 695 w 1331"/>
                <a:gd name="T7" fmla="*/ 778 h 1222"/>
                <a:gd name="T8" fmla="*/ 688 w 1331"/>
                <a:gd name="T9" fmla="*/ 716 h 1222"/>
                <a:gd name="T10" fmla="*/ 676 w 1331"/>
                <a:gd name="T11" fmla="*/ 622 h 1222"/>
                <a:gd name="T12" fmla="*/ 611 w 1331"/>
                <a:gd name="T13" fmla="*/ 678 h 1222"/>
                <a:gd name="T14" fmla="*/ 564 w 1331"/>
                <a:gd name="T15" fmla="*/ 616 h 1222"/>
                <a:gd name="T16" fmla="*/ 513 w 1331"/>
                <a:gd name="T17" fmla="*/ 630 h 1222"/>
                <a:gd name="T18" fmla="*/ 483 w 1331"/>
                <a:gd name="T19" fmla="*/ 709 h 1222"/>
                <a:gd name="T20" fmla="*/ 455 w 1331"/>
                <a:gd name="T21" fmla="*/ 817 h 1222"/>
                <a:gd name="T22" fmla="*/ 374 w 1331"/>
                <a:gd name="T23" fmla="*/ 861 h 1222"/>
                <a:gd name="T24" fmla="*/ 346 w 1331"/>
                <a:gd name="T25" fmla="*/ 774 h 1222"/>
                <a:gd name="T26" fmla="*/ 314 w 1331"/>
                <a:gd name="T27" fmla="*/ 691 h 1222"/>
                <a:gd name="T28" fmla="*/ 245 w 1331"/>
                <a:gd name="T29" fmla="*/ 643 h 1222"/>
                <a:gd name="T30" fmla="*/ 195 w 1331"/>
                <a:gd name="T31" fmla="*/ 735 h 1222"/>
                <a:gd name="T32" fmla="*/ 99 w 1331"/>
                <a:gd name="T33" fmla="*/ 760 h 1222"/>
                <a:gd name="T34" fmla="*/ 67 w 1331"/>
                <a:gd name="T35" fmla="*/ 654 h 1222"/>
                <a:gd name="T36" fmla="*/ 2 w 1331"/>
                <a:gd name="T37" fmla="*/ 597 h 1222"/>
                <a:gd name="T38" fmla="*/ 87 w 1331"/>
                <a:gd name="T39" fmla="*/ 574 h 1222"/>
                <a:gd name="T40" fmla="*/ 114 w 1331"/>
                <a:gd name="T41" fmla="*/ 463 h 1222"/>
                <a:gd name="T42" fmla="*/ 148 w 1331"/>
                <a:gd name="T43" fmla="*/ 327 h 1222"/>
                <a:gd name="T44" fmla="*/ 195 w 1331"/>
                <a:gd name="T45" fmla="*/ 272 h 1222"/>
                <a:gd name="T46" fmla="*/ 227 w 1331"/>
                <a:gd name="T47" fmla="*/ 268 h 1222"/>
                <a:gd name="T48" fmla="*/ 139 w 1331"/>
                <a:gd name="T49" fmla="*/ 240 h 1222"/>
                <a:gd name="T50" fmla="*/ 164 w 1331"/>
                <a:gd name="T51" fmla="*/ 147 h 1222"/>
                <a:gd name="T52" fmla="*/ 171 w 1331"/>
                <a:gd name="T53" fmla="*/ 106 h 1222"/>
                <a:gd name="T54" fmla="*/ 282 w 1331"/>
                <a:gd name="T55" fmla="*/ 81 h 1222"/>
                <a:gd name="T56" fmla="*/ 413 w 1331"/>
                <a:gd name="T57" fmla="*/ 64 h 1222"/>
                <a:gd name="T58" fmla="*/ 420 w 1331"/>
                <a:gd name="T59" fmla="*/ 154 h 1222"/>
                <a:gd name="T60" fmla="*/ 425 w 1331"/>
                <a:gd name="T61" fmla="*/ 202 h 1222"/>
                <a:gd name="T62" fmla="*/ 461 w 1331"/>
                <a:gd name="T63" fmla="*/ 161 h 1222"/>
                <a:gd name="T64" fmla="*/ 517 w 1331"/>
                <a:gd name="T65" fmla="*/ 151 h 1222"/>
                <a:gd name="T66" fmla="*/ 515 w 1331"/>
                <a:gd name="T67" fmla="*/ 241 h 1222"/>
                <a:gd name="T68" fmla="*/ 544 w 1331"/>
                <a:gd name="T69" fmla="*/ 149 h 1222"/>
                <a:gd name="T70" fmla="*/ 554 w 1331"/>
                <a:gd name="T71" fmla="*/ 10 h 1222"/>
                <a:gd name="T72" fmla="*/ 648 w 1331"/>
                <a:gd name="T73" fmla="*/ 26 h 1222"/>
                <a:gd name="T74" fmla="*/ 757 w 1331"/>
                <a:gd name="T75" fmla="*/ 53 h 1222"/>
                <a:gd name="T76" fmla="*/ 815 w 1331"/>
                <a:gd name="T77" fmla="*/ 121 h 1222"/>
                <a:gd name="T78" fmla="*/ 878 w 1331"/>
                <a:gd name="T79" fmla="*/ 186 h 1222"/>
                <a:gd name="T80" fmla="*/ 955 w 1331"/>
                <a:gd name="T81" fmla="*/ 211 h 1222"/>
                <a:gd name="T82" fmla="*/ 1035 w 1331"/>
                <a:gd name="T83" fmla="*/ 222 h 1222"/>
                <a:gd name="T84" fmla="*/ 1112 w 1331"/>
                <a:gd name="T85" fmla="*/ 250 h 1222"/>
                <a:gd name="T86" fmla="*/ 1183 w 1331"/>
                <a:gd name="T87" fmla="*/ 316 h 1222"/>
                <a:gd name="T88" fmla="*/ 1277 w 1331"/>
                <a:gd name="T89" fmla="*/ 371 h 1222"/>
                <a:gd name="T90" fmla="*/ 1331 w 1331"/>
                <a:gd name="T91" fmla="*/ 399 h 1222"/>
                <a:gd name="T92" fmla="*/ 1280 w 1331"/>
                <a:gd name="T93" fmla="*/ 456 h 1222"/>
                <a:gd name="T94" fmla="*/ 1200 w 1331"/>
                <a:gd name="T95" fmla="*/ 476 h 1222"/>
                <a:gd name="T96" fmla="*/ 1175 w 1331"/>
                <a:gd name="T97" fmla="*/ 554 h 1222"/>
                <a:gd name="T98" fmla="*/ 1185 w 1331"/>
                <a:gd name="T99" fmla="*/ 678 h 1222"/>
                <a:gd name="T100" fmla="*/ 1164 w 1331"/>
                <a:gd name="T101" fmla="*/ 812 h 1222"/>
                <a:gd name="T102" fmla="*/ 1121 w 1331"/>
                <a:gd name="T103" fmla="*/ 885 h 1222"/>
                <a:gd name="T104" fmla="*/ 1084 w 1331"/>
                <a:gd name="T105" fmla="*/ 945 h 1222"/>
                <a:gd name="T106" fmla="*/ 1096 w 1331"/>
                <a:gd name="T107" fmla="*/ 1060 h 1222"/>
                <a:gd name="T108" fmla="*/ 1050 w 1331"/>
                <a:gd name="T109" fmla="*/ 1087 h 1222"/>
                <a:gd name="T110" fmla="*/ 993 w 1331"/>
                <a:gd name="T111" fmla="*/ 1148 h 1222"/>
                <a:gd name="T112" fmla="*/ 889 w 1331"/>
                <a:gd name="T113" fmla="*/ 1172 h 1222"/>
                <a:gd name="T114" fmla="*/ 821 w 1331"/>
                <a:gd name="T115" fmla="*/ 1222 h 1222"/>
                <a:gd name="T116" fmla="*/ 802 w 1331"/>
                <a:gd name="T117" fmla="*/ 1156 h 1222"/>
                <a:gd name="T118" fmla="*/ 787 w 1331"/>
                <a:gd name="T119" fmla="*/ 1062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1" h="1222">
                  <a:moveTo>
                    <a:pt x="747" y="1064"/>
                  </a:moveTo>
                  <a:lnTo>
                    <a:pt x="743" y="1048"/>
                  </a:lnTo>
                  <a:lnTo>
                    <a:pt x="748" y="1025"/>
                  </a:lnTo>
                  <a:lnTo>
                    <a:pt x="762" y="1007"/>
                  </a:lnTo>
                  <a:lnTo>
                    <a:pt x="762" y="988"/>
                  </a:lnTo>
                  <a:lnTo>
                    <a:pt x="748" y="975"/>
                  </a:lnTo>
                  <a:lnTo>
                    <a:pt x="727" y="963"/>
                  </a:lnTo>
                  <a:lnTo>
                    <a:pt x="730" y="941"/>
                  </a:lnTo>
                  <a:lnTo>
                    <a:pt x="725" y="917"/>
                  </a:lnTo>
                  <a:lnTo>
                    <a:pt x="710" y="909"/>
                  </a:lnTo>
                  <a:lnTo>
                    <a:pt x="698" y="902"/>
                  </a:lnTo>
                  <a:lnTo>
                    <a:pt x="700" y="876"/>
                  </a:lnTo>
                  <a:lnTo>
                    <a:pt x="693" y="847"/>
                  </a:lnTo>
                  <a:lnTo>
                    <a:pt x="681" y="833"/>
                  </a:lnTo>
                  <a:lnTo>
                    <a:pt x="666" y="819"/>
                  </a:lnTo>
                  <a:lnTo>
                    <a:pt x="651" y="815"/>
                  </a:lnTo>
                  <a:lnTo>
                    <a:pt x="654" y="799"/>
                  </a:lnTo>
                  <a:lnTo>
                    <a:pt x="670" y="798"/>
                  </a:lnTo>
                  <a:lnTo>
                    <a:pt x="685" y="796"/>
                  </a:lnTo>
                  <a:lnTo>
                    <a:pt x="695" y="778"/>
                  </a:lnTo>
                  <a:lnTo>
                    <a:pt x="691" y="760"/>
                  </a:lnTo>
                  <a:lnTo>
                    <a:pt x="681" y="753"/>
                  </a:lnTo>
                  <a:lnTo>
                    <a:pt x="671" y="748"/>
                  </a:lnTo>
                  <a:lnTo>
                    <a:pt x="676" y="734"/>
                  </a:lnTo>
                  <a:lnTo>
                    <a:pt x="688" y="716"/>
                  </a:lnTo>
                  <a:lnTo>
                    <a:pt x="693" y="691"/>
                  </a:lnTo>
                  <a:lnTo>
                    <a:pt x="688" y="675"/>
                  </a:lnTo>
                  <a:lnTo>
                    <a:pt x="695" y="655"/>
                  </a:lnTo>
                  <a:lnTo>
                    <a:pt x="700" y="630"/>
                  </a:lnTo>
                  <a:lnTo>
                    <a:pt x="676" y="622"/>
                  </a:lnTo>
                  <a:lnTo>
                    <a:pt x="654" y="630"/>
                  </a:lnTo>
                  <a:lnTo>
                    <a:pt x="646" y="646"/>
                  </a:lnTo>
                  <a:lnTo>
                    <a:pt x="628" y="650"/>
                  </a:lnTo>
                  <a:lnTo>
                    <a:pt x="619" y="662"/>
                  </a:lnTo>
                  <a:lnTo>
                    <a:pt x="611" y="678"/>
                  </a:lnTo>
                  <a:lnTo>
                    <a:pt x="599" y="686"/>
                  </a:lnTo>
                  <a:lnTo>
                    <a:pt x="589" y="668"/>
                  </a:lnTo>
                  <a:lnTo>
                    <a:pt x="581" y="646"/>
                  </a:lnTo>
                  <a:lnTo>
                    <a:pt x="571" y="627"/>
                  </a:lnTo>
                  <a:lnTo>
                    <a:pt x="564" y="616"/>
                  </a:lnTo>
                  <a:lnTo>
                    <a:pt x="550" y="620"/>
                  </a:lnTo>
                  <a:lnTo>
                    <a:pt x="540" y="632"/>
                  </a:lnTo>
                  <a:lnTo>
                    <a:pt x="534" y="652"/>
                  </a:lnTo>
                  <a:lnTo>
                    <a:pt x="524" y="641"/>
                  </a:lnTo>
                  <a:lnTo>
                    <a:pt x="513" y="630"/>
                  </a:lnTo>
                  <a:lnTo>
                    <a:pt x="498" y="638"/>
                  </a:lnTo>
                  <a:lnTo>
                    <a:pt x="488" y="655"/>
                  </a:lnTo>
                  <a:lnTo>
                    <a:pt x="473" y="670"/>
                  </a:lnTo>
                  <a:lnTo>
                    <a:pt x="470" y="686"/>
                  </a:lnTo>
                  <a:lnTo>
                    <a:pt x="483" y="709"/>
                  </a:lnTo>
                  <a:lnTo>
                    <a:pt x="488" y="735"/>
                  </a:lnTo>
                  <a:lnTo>
                    <a:pt x="493" y="773"/>
                  </a:lnTo>
                  <a:lnTo>
                    <a:pt x="485" y="798"/>
                  </a:lnTo>
                  <a:lnTo>
                    <a:pt x="473" y="815"/>
                  </a:lnTo>
                  <a:lnTo>
                    <a:pt x="455" y="817"/>
                  </a:lnTo>
                  <a:lnTo>
                    <a:pt x="436" y="822"/>
                  </a:lnTo>
                  <a:lnTo>
                    <a:pt x="423" y="837"/>
                  </a:lnTo>
                  <a:lnTo>
                    <a:pt x="406" y="854"/>
                  </a:lnTo>
                  <a:lnTo>
                    <a:pt x="389" y="863"/>
                  </a:lnTo>
                  <a:lnTo>
                    <a:pt x="374" y="861"/>
                  </a:lnTo>
                  <a:lnTo>
                    <a:pt x="364" y="851"/>
                  </a:lnTo>
                  <a:lnTo>
                    <a:pt x="357" y="831"/>
                  </a:lnTo>
                  <a:lnTo>
                    <a:pt x="364" y="813"/>
                  </a:lnTo>
                  <a:lnTo>
                    <a:pt x="354" y="796"/>
                  </a:lnTo>
                  <a:lnTo>
                    <a:pt x="346" y="774"/>
                  </a:lnTo>
                  <a:lnTo>
                    <a:pt x="347" y="753"/>
                  </a:lnTo>
                  <a:lnTo>
                    <a:pt x="356" y="730"/>
                  </a:lnTo>
                  <a:lnTo>
                    <a:pt x="352" y="710"/>
                  </a:lnTo>
                  <a:lnTo>
                    <a:pt x="336" y="698"/>
                  </a:lnTo>
                  <a:lnTo>
                    <a:pt x="314" y="691"/>
                  </a:lnTo>
                  <a:lnTo>
                    <a:pt x="300" y="677"/>
                  </a:lnTo>
                  <a:lnTo>
                    <a:pt x="292" y="652"/>
                  </a:lnTo>
                  <a:lnTo>
                    <a:pt x="280" y="636"/>
                  </a:lnTo>
                  <a:lnTo>
                    <a:pt x="260" y="632"/>
                  </a:lnTo>
                  <a:lnTo>
                    <a:pt x="245" y="643"/>
                  </a:lnTo>
                  <a:lnTo>
                    <a:pt x="248" y="671"/>
                  </a:lnTo>
                  <a:lnTo>
                    <a:pt x="237" y="694"/>
                  </a:lnTo>
                  <a:lnTo>
                    <a:pt x="223" y="705"/>
                  </a:lnTo>
                  <a:lnTo>
                    <a:pt x="213" y="725"/>
                  </a:lnTo>
                  <a:lnTo>
                    <a:pt x="195" y="735"/>
                  </a:lnTo>
                  <a:lnTo>
                    <a:pt x="176" y="746"/>
                  </a:lnTo>
                  <a:lnTo>
                    <a:pt x="164" y="760"/>
                  </a:lnTo>
                  <a:lnTo>
                    <a:pt x="141" y="764"/>
                  </a:lnTo>
                  <a:lnTo>
                    <a:pt x="119" y="757"/>
                  </a:lnTo>
                  <a:lnTo>
                    <a:pt x="99" y="760"/>
                  </a:lnTo>
                  <a:lnTo>
                    <a:pt x="76" y="767"/>
                  </a:lnTo>
                  <a:lnTo>
                    <a:pt x="81" y="730"/>
                  </a:lnTo>
                  <a:lnTo>
                    <a:pt x="82" y="698"/>
                  </a:lnTo>
                  <a:lnTo>
                    <a:pt x="77" y="666"/>
                  </a:lnTo>
                  <a:lnTo>
                    <a:pt x="67" y="654"/>
                  </a:lnTo>
                  <a:lnTo>
                    <a:pt x="47" y="652"/>
                  </a:lnTo>
                  <a:lnTo>
                    <a:pt x="29" y="645"/>
                  </a:lnTo>
                  <a:lnTo>
                    <a:pt x="8" y="636"/>
                  </a:lnTo>
                  <a:lnTo>
                    <a:pt x="0" y="622"/>
                  </a:lnTo>
                  <a:lnTo>
                    <a:pt x="2" y="597"/>
                  </a:lnTo>
                  <a:lnTo>
                    <a:pt x="12" y="575"/>
                  </a:lnTo>
                  <a:lnTo>
                    <a:pt x="22" y="563"/>
                  </a:lnTo>
                  <a:lnTo>
                    <a:pt x="44" y="558"/>
                  </a:lnTo>
                  <a:lnTo>
                    <a:pt x="67" y="567"/>
                  </a:lnTo>
                  <a:lnTo>
                    <a:pt x="87" y="574"/>
                  </a:lnTo>
                  <a:lnTo>
                    <a:pt x="111" y="563"/>
                  </a:lnTo>
                  <a:lnTo>
                    <a:pt x="121" y="545"/>
                  </a:lnTo>
                  <a:lnTo>
                    <a:pt x="123" y="517"/>
                  </a:lnTo>
                  <a:lnTo>
                    <a:pt x="117" y="487"/>
                  </a:lnTo>
                  <a:lnTo>
                    <a:pt x="114" y="463"/>
                  </a:lnTo>
                  <a:lnTo>
                    <a:pt x="123" y="440"/>
                  </a:lnTo>
                  <a:lnTo>
                    <a:pt x="133" y="415"/>
                  </a:lnTo>
                  <a:lnTo>
                    <a:pt x="139" y="385"/>
                  </a:lnTo>
                  <a:lnTo>
                    <a:pt x="146" y="355"/>
                  </a:lnTo>
                  <a:lnTo>
                    <a:pt x="148" y="327"/>
                  </a:lnTo>
                  <a:lnTo>
                    <a:pt x="143" y="298"/>
                  </a:lnTo>
                  <a:lnTo>
                    <a:pt x="161" y="307"/>
                  </a:lnTo>
                  <a:lnTo>
                    <a:pt x="168" y="289"/>
                  </a:lnTo>
                  <a:lnTo>
                    <a:pt x="180" y="277"/>
                  </a:lnTo>
                  <a:lnTo>
                    <a:pt x="195" y="272"/>
                  </a:lnTo>
                  <a:lnTo>
                    <a:pt x="205" y="282"/>
                  </a:lnTo>
                  <a:lnTo>
                    <a:pt x="215" y="300"/>
                  </a:lnTo>
                  <a:lnTo>
                    <a:pt x="227" y="311"/>
                  </a:lnTo>
                  <a:lnTo>
                    <a:pt x="230" y="291"/>
                  </a:lnTo>
                  <a:lnTo>
                    <a:pt x="227" y="268"/>
                  </a:lnTo>
                  <a:lnTo>
                    <a:pt x="216" y="252"/>
                  </a:lnTo>
                  <a:lnTo>
                    <a:pt x="196" y="243"/>
                  </a:lnTo>
                  <a:lnTo>
                    <a:pt x="176" y="245"/>
                  </a:lnTo>
                  <a:lnTo>
                    <a:pt x="156" y="248"/>
                  </a:lnTo>
                  <a:lnTo>
                    <a:pt x="139" y="240"/>
                  </a:lnTo>
                  <a:lnTo>
                    <a:pt x="133" y="220"/>
                  </a:lnTo>
                  <a:lnTo>
                    <a:pt x="131" y="199"/>
                  </a:lnTo>
                  <a:lnTo>
                    <a:pt x="141" y="174"/>
                  </a:lnTo>
                  <a:lnTo>
                    <a:pt x="158" y="165"/>
                  </a:lnTo>
                  <a:lnTo>
                    <a:pt x="164" y="147"/>
                  </a:lnTo>
                  <a:lnTo>
                    <a:pt x="151" y="137"/>
                  </a:lnTo>
                  <a:lnTo>
                    <a:pt x="139" y="124"/>
                  </a:lnTo>
                  <a:lnTo>
                    <a:pt x="143" y="108"/>
                  </a:lnTo>
                  <a:lnTo>
                    <a:pt x="158" y="105"/>
                  </a:lnTo>
                  <a:lnTo>
                    <a:pt x="171" y="106"/>
                  </a:lnTo>
                  <a:lnTo>
                    <a:pt x="180" y="94"/>
                  </a:lnTo>
                  <a:lnTo>
                    <a:pt x="195" y="83"/>
                  </a:lnTo>
                  <a:lnTo>
                    <a:pt x="218" y="78"/>
                  </a:lnTo>
                  <a:lnTo>
                    <a:pt x="250" y="85"/>
                  </a:lnTo>
                  <a:lnTo>
                    <a:pt x="282" y="81"/>
                  </a:lnTo>
                  <a:lnTo>
                    <a:pt x="307" y="74"/>
                  </a:lnTo>
                  <a:lnTo>
                    <a:pt x="337" y="65"/>
                  </a:lnTo>
                  <a:lnTo>
                    <a:pt x="366" y="57"/>
                  </a:lnTo>
                  <a:lnTo>
                    <a:pt x="393" y="55"/>
                  </a:lnTo>
                  <a:lnTo>
                    <a:pt x="413" y="64"/>
                  </a:lnTo>
                  <a:lnTo>
                    <a:pt x="421" y="76"/>
                  </a:lnTo>
                  <a:lnTo>
                    <a:pt x="418" y="96"/>
                  </a:lnTo>
                  <a:lnTo>
                    <a:pt x="411" y="117"/>
                  </a:lnTo>
                  <a:lnTo>
                    <a:pt x="413" y="137"/>
                  </a:lnTo>
                  <a:lnTo>
                    <a:pt x="420" y="154"/>
                  </a:lnTo>
                  <a:lnTo>
                    <a:pt x="421" y="174"/>
                  </a:lnTo>
                  <a:lnTo>
                    <a:pt x="413" y="186"/>
                  </a:lnTo>
                  <a:lnTo>
                    <a:pt x="404" y="199"/>
                  </a:lnTo>
                  <a:lnTo>
                    <a:pt x="413" y="211"/>
                  </a:lnTo>
                  <a:lnTo>
                    <a:pt x="425" y="202"/>
                  </a:lnTo>
                  <a:lnTo>
                    <a:pt x="438" y="209"/>
                  </a:lnTo>
                  <a:lnTo>
                    <a:pt x="451" y="199"/>
                  </a:lnTo>
                  <a:lnTo>
                    <a:pt x="468" y="192"/>
                  </a:lnTo>
                  <a:lnTo>
                    <a:pt x="475" y="179"/>
                  </a:lnTo>
                  <a:lnTo>
                    <a:pt x="461" y="161"/>
                  </a:lnTo>
                  <a:lnTo>
                    <a:pt x="466" y="140"/>
                  </a:lnTo>
                  <a:lnTo>
                    <a:pt x="478" y="126"/>
                  </a:lnTo>
                  <a:lnTo>
                    <a:pt x="495" y="128"/>
                  </a:lnTo>
                  <a:lnTo>
                    <a:pt x="503" y="142"/>
                  </a:lnTo>
                  <a:lnTo>
                    <a:pt x="517" y="151"/>
                  </a:lnTo>
                  <a:lnTo>
                    <a:pt x="530" y="161"/>
                  </a:lnTo>
                  <a:lnTo>
                    <a:pt x="520" y="183"/>
                  </a:lnTo>
                  <a:lnTo>
                    <a:pt x="508" y="200"/>
                  </a:lnTo>
                  <a:lnTo>
                    <a:pt x="512" y="220"/>
                  </a:lnTo>
                  <a:lnTo>
                    <a:pt x="515" y="241"/>
                  </a:lnTo>
                  <a:lnTo>
                    <a:pt x="527" y="225"/>
                  </a:lnTo>
                  <a:lnTo>
                    <a:pt x="539" y="200"/>
                  </a:lnTo>
                  <a:lnTo>
                    <a:pt x="547" y="176"/>
                  </a:lnTo>
                  <a:lnTo>
                    <a:pt x="545" y="165"/>
                  </a:lnTo>
                  <a:lnTo>
                    <a:pt x="544" y="149"/>
                  </a:lnTo>
                  <a:lnTo>
                    <a:pt x="530" y="124"/>
                  </a:lnTo>
                  <a:lnTo>
                    <a:pt x="527" y="96"/>
                  </a:lnTo>
                  <a:lnTo>
                    <a:pt x="534" y="67"/>
                  </a:lnTo>
                  <a:lnTo>
                    <a:pt x="544" y="35"/>
                  </a:lnTo>
                  <a:lnTo>
                    <a:pt x="554" y="10"/>
                  </a:lnTo>
                  <a:lnTo>
                    <a:pt x="569" y="0"/>
                  </a:lnTo>
                  <a:lnTo>
                    <a:pt x="582" y="3"/>
                  </a:lnTo>
                  <a:lnTo>
                    <a:pt x="604" y="17"/>
                  </a:lnTo>
                  <a:lnTo>
                    <a:pt x="628" y="25"/>
                  </a:lnTo>
                  <a:lnTo>
                    <a:pt x="648" y="26"/>
                  </a:lnTo>
                  <a:lnTo>
                    <a:pt x="671" y="19"/>
                  </a:lnTo>
                  <a:lnTo>
                    <a:pt x="695" y="23"/>
                  </a:lnTo>
                  <a:lnTo>
                    <a:pt x="711" y="33"/>
                  </a:lnTo>
                  <a:lnTo>
                    <a:pt x="737" y="35"/>
                  </a:lnTo>
                  <a:lnTo>
                    <a:pt x="757" y="53"/>
                  </a:lnTo>
                  <a:lnTo>
                    <a:pt x="767" y="69"/>
                  </a:lnTo>
                  <a:lnTo>
                    <a:pt x="774" y="83"/>
                  </a:lnTo>
                  <a:lnTo>
                    <a:pt x="794" y="87"/>
                  </a:lnTo>
                  <a:lnTo>
                    <a:pt x="809" y="101"/>
                  </a:lnTo>
                  <a:lnTo>
                    <a:pt x="815" y="121"/>
                  </a:lnTo>
                  <a:lnTo>
                    <a:pt x="827" y="137"/>
                  </a:lnTo>
                  <a:lnTo>
                    <a:pt x="846" y="147"/>
                  </a:lnTo>
                  <a:lnTo>
                    <a:pt x="861" y="154"/>
                  </a:lnTo>
                  <a:lnTo>
                    <a:pt x="871" y="163"/>
                  </a:lnTo>
                  <a:lnTo>
                    <a:pt x="878" y="186"/>
                  </a:lnTo>
                  <a:lnTo>
                    <a:pt x="886" y="209"/>
                  </a:lnTo>
                  <a:lnTo>
                    <a:pt x="899" y="222"/>
                  </a:lnTo>
                  <a:lnTo>
                    <a:pt x="918" y="229"/>
                  </a:lnTo>
                  <a:lnTo>
                    <a:pt x="936" y="222"/>
                  </a:lnTo>
                  <a:lnTo>
                    <a:pt x="955" y="211"/>
                  </a:lnTo>
                  <a:lnTo>
                    <a:pt x="970" y="209"/>
                  </a:lnTo>
                  <a:lnTo>
                    <a:pt x="982" y="220"/>
                  </a:lnTo>
                  <a:lnTo>
                    <a:pt x="995" y="231"/>
                  </a:lnTo>
                  <a:lnTo>
                    <a:pt x="1015" y="231"/>
                  </a:lnTo>
                  <a:lnTo>
                    <a:pt x="1035" y="222"/>
                  </a:lnTo>
                  <a:lnTo>
                    <a:pt x="1047" y="238"/>
                  </a:lnTo>
                  <a:lnTo>
                    <a:pt x="1062" y="245"/>
                  </a:lnTo>
                  <a:lnTo>
                    <a:pt x="1081" y="245"/>
                  </a:lnTo>
                  <a:lnTo>
                    <a:pt x="1097" y="245"/>
                  </a:lnTo>
                  <a:lnTo>
                    <a:pt x="1112" y="250"/>
                  </a:lnTo>
                  <a:lnTo>
                    <a:pt x="1128" y="268"/>
                  </a:lnTo>
                  <a:lnTo>
                    <a:pt x="1138" y="284"/>
                  </a:lnTo>
                  <a:lnTo>
                    <a:pt x="1146" y="298"/>
                  </a:lnTo>
                  <a:lnTo>
                    <a:pt x="1166" y="305"/>
                  </a:lnTo>
                  <a:lnTo>
                    <a:pt x="1183" y="316"/>
                  </a:lnTo>
                  <a:lnTo>
                    <a:pt x="1203" y="328"/>
                  </a:lnTo>
                  <a:lnTo>
                    <a:pt x="1225" y="339"/>
                  </a:lnTo>
                  <a:lnTo>
                    <a:pt x="1245" y="343"/>
                  </a:lnTo>
                  <a:lnTo>
                    <a:pt x="1262" y="353"/>
                  </a:lnTo>
                  <a:lnTo>
                    <a:pt x="1277" y="371"/>
                  </a:lnTo>
                  <a:lnTo>
                    <a:pt x="1280" y="371"/>
                  </a:lnTo>
                  <a:lnTo>
                    <a:pt x="1299" y="375"/>
                  </a:lnTo>
                  <a:lnTo>
                    <a:pt x="1319" y="366"/>
                  </a:lnTo>
                  <a:lnTo>
                    <a:pt x="1331" y="373"/>
                  </a:lnTo>
                  <a:lnTo>
                    <a:pt x="1331" y="399"/>
                  </a:lnTo>
                  <a:lnTo>
                    <a:pt x="1326" y="423"/>
                  </a:lnTo>
                  <a:lnTo>
                    <a:pt x="1317" y="437"/>
                  </a:lnTo>
                  <a:lnTo>
                    <a:pt x="1309" y="451"/>
                  </a:lnTo>
                  <a:lnTo>
                    <a:pt x="1295" y="456"/>
                  </a:lnTo>
                  <a:lnTo>
                    <a:pt x="1280" y="456"/>
                  </a:lnTo>
                  <a:lnTo>
                    <a:pt x="1265" y="446"/>
                  </a:lnTo>
                  <a:lnTo>
                    <a:pt x="1243" y="451"/>
                  </a:lnTo>
                  <a:lnTo>
                    <a:pt x="1230" y="458"/>
                  </a:lnTo>
                  <a:lnTo>
                    <a:pt x="1213" y="467"/>
                  </a:lnTo>
                  <a:lnTo>
                    <a:pt x="1200" y="476"/>
                  </a:lnTo>
                  <a:lnTo>
                    <a:pt x="1183" y="472"/>
                  </a:lnTo>
                  <a:lnTo>
                    <a:pt x="1164" y="481"/>
                  </a:lnTo>
                  <a:lnTo>
                    <a:pt x="1151" y="501"/>
                  </a:lnTo>
                  <a:lnTo>
                    <a:pt x="1166" y="522"/>
                  </a:lnTo>
                  <a:lnTo>
                    <a:pt x="1175" y="554"/>
                  </a:lnTo>
                  <a:lnTo>
                    <a:pt x="1186" y="588"/>
                  </a:lnTo>
                  <a:lnTo>
                    <a:pt x="1195" y="613"/>
                  </a:lnTo>
                  <a:lnTo>
                    <a:pt x="1196" y="639"/>
                  </a:lnTo>
                  <a:lnTo>
                    <a:pt x="1188" y="657"/>
                  </a:lnTo>
                  <a:lnTo>
                    <a:pt x="1185" y="678"/>
                  </a:lnTo>
                  <a:lnTo>
                    <a:pt x="1188" y="710"/>
                  </a:lnTo>
                  <a:lnTo>
                    <a:pt x="1186" y="739"/>
                  </a:lnTo>
                  <a:lnTo>
                    <a:pt x="1181" y="766"/>
                  </a:lnTo>
                  <a:lnTo>
                    <a:pt x="1173" y="787"/>
                  </a:lnTo>
                  <a:lnTo>
                    <a:pt x="1164" y="812"/>
                  </a:lnTo>
                  <a:lnTo>
                    <a:pt x="1163" y="833"/>
                  </a:lnTo>
                  <a:lnTo>
                    <a:pt x="1168" y="856"/>
                  </a:lnTo>
                  <a:lnTo>
                    <a:pt x="1154" y="872"/>
                  </a:lnTo>
                  <a:lnTo>
                    <a:pt x="1138" y="881"/>
                  </a:lnTo>
                  <a:lnTo>
                    <a:pt x="1121" y="885"/>
                  </a:lnTo>
                  <a:lnTo>
                    <a:pt x="1102" y="881"/>
                  </a:lnTo>
                  <a:lnTo>
                    <a:pt x="1089" y="885"/>
                  </a:lnTo>
                  <a:lnTo>
                    <a:pt x="1084" y="897"/>
                  </a:lnTo>
                  <a:lnTo>
                    <a:pt x="1086" y="920"/>
                  </a:lnTo>
                  <a:lnTo>
                    <a:pt x="1084" y="945"/>
                  </a:lnTo>
                  <a:lnTo>
                    <a:pt x="1079" y="961"/>
                  </a:lnTo>
                  <a:lnTo>
                    <a:pt x="1074" y="979"/>
                  </a:lnTo>
                  <a:lnTo>
                    <a:pt x="1082" y="1009"/>
                  </a:lnTo>
                  <a:lnTo>
                    <a:pt x="1087" y="1030"/>
                  </a:lnTo>
                  <a:lnTo>
                    <a:pt x="1096" y="1060"/>
                  </a:lnTo>
                  <a:lnTo>
                    <a:pt x="1101" y="1084"/>
                  </a:lnTo>
                  <a:lnTo>
                    <a:pt x="1096" y="1098"/>
                  </a:lnTo>
                  <a:lnTo>
                    <a:pt x="1079" y="1108"/>
                  </a:lnTo>
                  <a:lnTo>
                    <a:pt x="1064" y="1105"/>
                  </a:lnTo>
                  <a:lnTo>
                    <a:pt x="1050" y="1087"/>
                  </a:lnTo>
                  <a:lnTo>
                    <a:pt x="1030" y="1100"/>
                  </a:lnTo>
                  <a:lnTo>
                    <a:pt x="1024" y="1117"/>
                  </a:lnTo>
                  <a:lnTo>
                    <a:pt x="1005" y="1132"/>
                  </a:lnTo>
                  <a:lnTo>
                    <a:pt x="998" y="1140"/>
                  </a:lnTo>
                  <a:lnTo>
                    <a:pt x="993" y="1148"/>
                  </a:lnTo>
                  <a:lnTo>
                    <a:pt x="973" y="1162"/>
                  </a:lnTo>
                  <a:lnTo>
                    <a:pt x="950" y="1172"/>
                  </a:lnTo>
                  <a:lnTo>
                    <a:pt x="925" y="1171"/>
                  </a:lnTo>
                  <a:lnTo>
                    <a:pt x="899" y="1176"/>
                  </a:lnTo>
                  <a:lnTo>
                    <a:pt x="889" y="1172"/>
                  </a:lnTo>
                  <a:lnTo>
                    <a:pt x="874" y="1172"/>
                  </a:lnTo>
                  <a:lnTo>
                    <a:pt x="857" y="1185"/>
                  </a:lnTo>
                  <a:lnTo>
                    <a:pt x="844" y="1204"/>
                  </a:lnTo>
                  <a:lnTo>
                    <a:pt x="839" y="1215"/>
                  </a:lnTo>
                  <a:lnTo>
                    <a:pt x="821" y="1222"/>
                  </a:lnTo>
                  <a:lnTo>
                    <a:pt x="800" y="1215"/>
                  </a:lnTo>
                  <a:lnTo>
                    <a:pt x="785" y="1212"/>
                  </a:lnTo>
                  <a:lnTo>
                    <a:pt x="780" y="1196"/>
                  </a:lnTo>
                  <a:lnTo>
                    <a:pt x="794" y="1181"/>
                  </a:lnTo>
                  <a:lnTo>
                    <a:pt x="802" y="1156"/>
                  </a:lnTo>
                  <a:lnTo>
                    <a:pt x="805" y="1130"/>
                  </a:lnTo>
                  <a:lnTo>
                    <a:pt x="802" y="1107"/>
                  </a:lnTo>
                  <a:lnTo>
                    <a:pt x="810" y="1087"/>
                  </a:lnTo>
                  <a:lnTo>
                    <a:pt x="802" y="1075"/>
                  </a:lnTo>
                  <a:lnTo>
                    <a:pt x="787" y="1062"/>
                  </a:lnTo>
                  <a:lnTo>
                    <a:pt x="767" y="1062"/>
                  </a:lnTo>
                  <a:lnTo>
                    <a:pt x="747" y="106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35A7E1F6-6461-42CF-BE25-163753FF9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192" y="1886599"/>
              <a:ext cx="544234" cy="624412"/>
            </a:xfrm>
            <a:custGeom>
              <a:avLst/>
              <a:gdLst>
                <a:gd name="T0" fmla="*/ 64 w 898"/>
                <a:gd name="T1" fmla="*/ 92 h 1028"/>
                <a:gd name="T2" fmla="*/ 9 w 898"/>
                <a:gd name="T3" fmla="*/ 126 h 1028"/>
                <a:gd name="T4" fmla="*/ 17 w 898"/>
                <a:gd name="T5" fmla="*/ 181 h 1028"/>
                <a:gd name="T6" fmla="*/ 0 w 898"/>
                <a:gd name="T7" fmla="*/ 218 h 1028"/>
                <a:gd name="T8" fmla="*/ 50 w 898"/>
                <a:gd name="T9" fmla="*/ 245 h 1028"/>
                <a:gd name="T10" fmla="*/ 91 w 898"/>
                <a:gd name="T11" fmla="*/ 287 h 1028"/>
                <a:gd name="T12" fmla="*/ 149 w 898"/>
                <a:gd name="T13" fmla="*/ 316 h 1028"/>
                <a:gd name="T14" fmla="*/ 151 w 898"/>
                <a:gd name="T15" fmla="*/ 385 h 1028"/>
                <a:gd name="T16" fmla="*/ 155 w 898"/>
                <a:gd name="T17" fmla="*/ 454 h 1028"/>
                <a:gd name="T18" fmla="*/ 201 w 898"/>
                <a:gd name="T19" fmla="*/ 463 h 1028"/>
                <a:gd name="T20" fmla="*/ 207 w 898"/>
                <a:gd name="T21" fmla="*/ 517 h 1028"/>
                <a:gd name="T22" fmla="*/ 235 w 898"/>
                <a:gd name="T23" fmla="*/ 566 h 1028"/>
                <a:gd name="T24" fmla="*/ 230 w 898"/>
                <a:gd name="T25" fmla="*/ 636 h 1028"/>
                <a:gd name="T26" fmla="*/ 277 w 898"/>
                <a:gd name="T27" fmla="*/ 684 h 1028"/>
                <a:gd name="T28" fmla="*/ 339 w 898"/>
                <a:gd name="T29" fmla="*/ 675 h 1028"/>
                <a:gd name="T30" fmla="*/ 386 w 898"/>
                <a:gd name="T31" fmla="*/ 710 h 1028"/>
                <a:gd name="T32" fmla="*/ 441 w 898"/>
                <a:gd name="T33" fmla="*/ 737 h 1028"/>
                <a:gd name="T34" fmla="*/ 478 w 898"/>
                <a:gd name="T35" fmla="*/ 790 h 1028"/>
                <a:gd name="T36" fmla="*/ 493 w 898"/>
                <a:gd name="T37" fmla="*/ 842 h 1028"/>
                <a:gd name="T38" fmla="*/ 468 w 898"/>
                <a:gd name="T39" fmla="*/ 897 h 1028"/>
                <a:gd name="T40" fmla="*/ 498 w 898"/>
                <a:gd name="T41" fmla="*/ 961 h 1028"/>
                <a:gd name="T42" fmla="*/ 488 w 898"/>
                <a:gd name="T43" fmla="*/ 1023 h 1028"/>
                <a:gd name="T44" fmla="*/ 527 w 898"/>
                <a:gd name="T45" fmla="*/ 998 h 1028"/>
                <a:gd name="T46" fmla="*/ 589 w 898"/>
                <a:gd name="T47" fmla="*/ 1009 h 1028"/>
                <a:gd name="T48" fmla="*/ 670 w 898"/>
                <a:gd name="T49" fmla="*/ 991 h 1028"/>
                <a:gd name="T50" fmla="*/ 703 w 898"/>
                <a:gd name="T51" fmla="*/ 925 h 1028"/>
                <a:gd name="T52" fmla="*/ 748 w 898"/>
                <a:gd name="T53" fmla="*/ 902 h 1028"/>
                <a:gd name="T54" fmla="*/ 787 w 898"/>
                <a:gd name="T55" fmla="*/ 874 h 1028"/>
                <a:gd name="T56" fmla="*/ 837 w 898"/>
                <a:gd name="T57" fmla="*/ 876 h 1028"/>
                <a:gd name="T58" fmla="*/ 893 w 898"/>
                <a:gd name="T59" fmla="*/ 854 h 1028"/>
                <a:gd name="T60" fmla="*/ 871 w 898"/>
                <a:gd name="T61" fmla="*/ 801 h 1028"/>
                <a:gd name="T62" fmla="*/ 853 w 898"/>
                <a:gd name="T63" fmla="*/ 737 h 1028"/>
                <a:gd name="T64" fmla="*/ 881 w 898"/>
                <a:gd name="T65" fmla="*/ 675 h 1028"/>
                <a:gd name="T66" fmla="*/ 861 w 898"/>
                <a:gd name="T67" fmla="*/ 609 h 1028"/>
                <a:gd name="T68" fmla="*/ 851 w 898"/>
                <a:gd name="T69" fmla="*/ 550 h 1028"/>
                <a:gd name="T70" fmla="*/ 804 w 898"/>
                <a:gd name="T71" fmla="*/ 511 h 1028"/>
                <a:gd name="T72" fmla="*/ 827 w 898"/>
                <a:gd name="T73" fmla="*/ 438 h 1028"/>
                <a:gd name="T74" fmla="*/ 780 w 898"/>
                <a:gd name="T75" fmla="*/ 369 h 1028"/>
                <a:gd name="T76" fmla="*/ 723 w 898"/>
                <a:gd name="T77" fmla="*/ 293 h 1028"/>
                <a:gd name="T78" fmla="*/ 676 w 898"/>
                <a:gd name="T79" fmla="*/ 248 h 1028"/>
                <a:gd name="T80" fmla="*/ 707 w 898"/>
                <a:gd name="T81" fmla="*/ 176 h 1028"/>
                <a:gd name="T82" fmla="*/ 743 w 898"/>
                <a:gd name="T83" fmla="*/ 108 h 1028"/>
                <a:gd name="T84" fmla="*/ 732 w 898"/>
                <a:gd name="T85" fmla="*/ 48 h 1028"/>
                <a:gd name="T86" fmla="*/ 681 w 898"/>
                <a:gd name="T87" fmla="*/ 96 h 1028"/>
                <a:gd name="T88" fmla="*/ 639 w 898"/>
                <a:gd name="T89" fmla="*/ 69 h 1028"/>
                <a:gd name="T90" fmla="*/ 596 w 898"/>
                <a:gd name="T91" fmla="*/ 30 h 1028"/>
                <a:gd name="T92" fmla="*/ 537 w 898"/>
                <a:gd name="T93" fmla="*/ 10 h 1028"/>
                <a:gd name="T94" fmla="*/ 492 w 898"/>
                <a:gd name="T95" fmla="*/ 67 h 1028"/>
                <a:gd name="T96" fmla="*/ 448 w 898"/>
                <a:gd name="T97" fmla="*/ 88 h 1028"/>
                <a:gd name="T98" fmla="*/ 410 w 898"/>
                <a:gd name="T99" fmla="*/ 126 h 1028"/>
                <a:gd name="T100" fmla="*/ 347 w 898"/>
                <a:gd name="T101" fmla="*/ 144 h 1028"/>
                <a:gd name="T102" fmla="*/ 295 w 898"/>
                <a:gd name="T103" fmla="*/ 124 h 1028"/>
                <a:gd name="T104" fmla="*/ 259 w 898"/>
                <a:gd name="T105" fmla="*/ 115 h 1028"/>
                <a:gd name="T106" fmla="*/ 212 w 898"/>
                <a:gd name="T107" fmla="*/ 97 h 1028"/>
                <a:gd name="T108" fmla="*/ 155 w 898"/>
                <a:gd name="T109" fmla="*/ 78 h 1028"/>
                <a:gd name="T110" fmla="*/ 103 w 898"/>
                <a:gd name="T111" fmla="*/ 58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8" h="1028">
                  <a:moveTo>
                    <a:pt x="94" y="78"/>
                  </a:moveTo>
                  <a:lnTo>
                    <a:pt x="82" y="94"/>
                  </a:lnTo>
                  <a:lnTo>
                    <a:pt x="64" y="92"/>
                  </a:lnTo>
                  <a:lnTo>
                    <a:pt x="44" y="104"/>
                  </a:lnTo>
                  <a:lnTo>
                    <a:pt x="20" y="112"/>
                  </a:lnTo>
                  <a:lnTo>
                    <a:pt x="9" y="126"/>
                  </a:lnTo>
                  <a:lnTo>
                    <a:pt x="4" y="147"/>
                  </a:lnTo>
                  <a:lnTo>
                    <a:pt x="10" y="165"/>
                  </a:lnTo>
                  <a:lnTo>
                    <a:pt x="17" y="181"/>
                  </a:lnTo>
                  <a:lnTo>
                    <a:pt x="19" y="190"/>
                  </a:lnTo>
                  <a:lnTo>
                    <a:pt x="5" y="204"/>
                  </a:lnTo>
                  <a:lnTo>
                    <a:pt x="0" y="218"/>
                  </a:lnTo>
                  <a:lnTo>
                    <a:pt x="10" y="229"/>
                  </a:lnTo>
                  <a:lnTo>
                    <a:pt x="29" y="238"/>
                  </a:lnTo>
                  <a:lnTo>
                    <a:pt x="50" y="245"/>
                  </a:lnTo>
                  <a:lnTo>
                    <a:pt x="67" y="254"/>
                  </a:lnTo>
                  <a:lnTo>
                    <a:pt x="79" y="271"/>
                  </a:lnTo>
                  <a:lnTo>
                    <a:pt x="91" y="287"/>
                  </a:lnTo>
                  <a:lnTo>
                    <a:pt x="108" y="303"/>
                  </a:lnTo>
                  <a:lnTo>
                    <a:pt x="126" y="311"/>
                  </a:lnTo>
                  <a:lnTo>
                    <a:pt x="149" y="316"/>
                  </a:lnTo>
                  <a:lnTo>
                    <a:pt x="155" y="334"/>
                  </a:lnTo>
                  <a:lnTo>
                    <a:pt x="149" y="360"/>
                  </a:lnTo>
                  <a:lnTo>
                    <a:pt x="151" y="385"/>
                  </a:lnTo>
                  <a:lnTo>
                    <a:pt x="155" y="414"/>
                  </a:lnTo>
                  <a:lnTo>
                    <a:pt x="151" y="433"/>
                  </a:lnTo>
                  <a:lnTo>
                    <a:pt x="155" y="454"/>
                  </a:lnTo>
                  <a:lnTo>
                    <a:pt x="165" y="463"/>
                  </a:lnTo>
                  <a:lnTo>
                    <a:pt x="183" y="462"/>
                  </a:lnTo>
                  <a:lnTo>
                    <a:pt x="201" y="463"/>
                  </a:lnTo>
                  <a:lnTo>
                    <a:pt x="208" y="479"/>
                  </a:lnTo>
                  <a:lnTo>
                    <a:pt x="203" y="497"/>
                  </a:lnTo>
                  <a:lnTo>
                    <a:pt x="207" y="517"/>
                  </a:lnTo>
                  <a:lnTo>
                    <a:pt x="217" y="531"/>
                  </a:lnTo>
                  <a:lnTo>
                    <a:pt x="230" y="550"/>
                  </a:lnTo>
                  <a:lnTo>
                    <a:pt x="235" y="566"/>
                  </a:lnTo>
                  <a:lnTo>
                    <a:pt x="228" y="588"/>
                  </a:lnTo>
                  <a:lnTo>
                    <a:pt x="227" y="614"/>
                  </a:lnTo>
                  <a:lnTo>
                    <a:pt x="230" y="636"/>
                  </a:lnTo>
                  <a:lnTo>
                    <a:pt x="240" y="657"/>
                  </a:lnTo>
                  <a:lnTo>
                    <a:pt x="257" y="673"/>
                  </a:lnTo>
                  <a:lnTo>
                    <a:pt x="277" y="684"/>
                  </a:lnTo>
                  <a:lnTo>
                    <a:pt x="302" y="687"/>
                  </a:lnTo>
                  <a:lnTo>
                    <a:pt x="321" y="682"/>
                  </a:lnTo>
                  <a:lnTo>
                    <a:pt x="339" y="675"/>
                  </a:lnTo>
                  <a:lnTo>
                    <a:pt x="358" y="682"/>
                  </a:lnTo>
                  <a:lnTo>
                    <a:pt x="369" y="698"/>
                  </a:lnTo>
                  <a:lnTo>
                    <a:pt x="386" y="710"/>
                  </a:lnTo>
                  <a:lnTo>
                    <a:pt x="406" y="716"/>
                  </a:lnTo>
                  <a:lnTo>
                    <a:pt x="423" y="730"/>
                  </a:lnTo>
                  <a:lnTo>
                    <a:pt x="441" y="737"/>
                  </a:lnTo>
                  <a:lnTo>
                    <a:pt x="460" y="749"/>
                  </a:lnTo>
                  <a:lnTo>
                    <a:pt x="470" y="769"/>
                  </a:lnTo>
                  <a:lnTo>
                    <a:pt x="478" y="790"/>
                  </a:lnTo>
                  <a:lnTo>
                    <a:pt x="475" y="810"/>
                  </a:lnTo>
                  <a:lnTo>
                    <a:pt x="482" y="824"/>
                  </a:lnTo>
                  <a:lnTo>
                    <a:pt x="493" y="842"/>
                  </a:lnTo>
                  <a:lnTo>
                    <a:pt x="492" y="860"/>
                  </a:lnTo>
                  <a:lnTo>
                    <a:pt x="480" y="874"/>
                  </a:lnTo>
                  <a:lnTo>
                    <a:pt x="468" y="897"/>
                  </a:lnTo>
                  <a:lnTo>
                    <a:pt x="475" y="915"/>
                  </a:lnTo>
                  <a:lnTo>
                    <a:pt x="488" y="940"/>
                  </a:lnTo>
                  <a:lnTo>
                    <a:pt x="498" y="961"/>
                  </a:lnTo>
                  <a:lnTo>
                    <a:pt x="492" y="988"/>
                  </a:lnTo>
                  <a:lnTo>
                    <a:pt x="487" y="1009"/>
                  </a:lnTo>
                  <a:lnTo>
                    <a:pt x="488" y="1023"/>
                  </a:lnTo>
                  <a:lnTo>
                    <a:pt x="502" y="1028"/>
                  </a:lnTo>
                  <a:lnTo>
                    <a:pt x="515" y="1018"/>
                  </a:lnTo>
                  <a:lnTo>
                    <a:pt x="527" y="998"/>
                  </a:lnTo>
                  <a:lnTo>
                    <a:pt x="547" y="989"/>
                  </a:lnTo>
                  <a:lnTo>
                    <a:pt x="571" y="996"/>
                  </a:lnTo>
                  <a:lnTo>
                    <a:pt x="589" y="1009"/>
                  </a:lnTo>
                  <a:lnTo>
                    <a:pt x="614" y="1007"/>
                  </a:lnTo>
                  <a:lnTo>
                    <a:pt x="648" y="1000"/>
                  </a:lnTo>
                  <a:lnTo>
                    <a:pt x="670" y="991"/>
                  </a:lnTo>
                  <a:lnTo>
                    <a:pt x="683" y="964"/>
                  </a:lnTo>
                  <a:lnTo>
                    <a:pt x="686" y="940"/>
                  </a:lnTo>
                  <a:lnTo>
                    <a:pt x="703" y="925"/>
                  </a:lnTo>
                  <a:lnTo>
                    <a:pt x="712" y="906"/>
                  </a:lnTo>
                  <a:lnTo>
                    <a:pt x="725" y="895"/>
                  </a:lnTo>
                  <a:lnTo>
                    <a:pt x="748" y="902"/>
                  </a:lnTo>
                  <a:lnTo>
                    <a:pt x="767" y="909"/>
                  </a:lnTo>
                  <a:lnTo>
                    <a:pt x="779" y="897"/>
                  </a:lnTo>
                  <a:lnTo>
                    <a:pt x="787" y="874"/>
                  </a:lnTo>
                  <a:lnTo>
                    <a:pt x="806" y="856"/>
                  </a:lnTo>
                  <a:lnTo>
                    <a:pt x="822" y="865"/>
                  </a:lnTo>
                  <a:lnTo>
                    <a:pt x="837" y="876"/>
                  </a:lnTo>
                  <a:lnTo>
                    <a:pt x="856" y="867"/>
                  </a:lnTo>
                  <a:lnTo>
                    <a:pt x="881" y="865"/>
                  </a:lnTo>
                  <a:lnTo>
                    <a:pt x="893" y="854"/>
                  </a:lnTo>
                  <a:lnTo>
                    <a:pt x="898" y="838"/>
                  </a:lnTo>
                  <a:lnTo>
                    <a:pt x="879" y="820"/>
                  </a:lnTo>
                  <a:lnTo>
                    <a:pt x="871" y="801"/>
                  </a:lnTo>
                  <a:lnTo>
                    <a:pt x="859" y="783"/>
                  </a:lnTo>
                  <a:lnTo>
                    <a:pt x="847" y="760"/>
                  </a:lnTo>
                  <a:lnTo>
                    <a:pt x="853" y="737"/>
                  </a:lnTo>
                  <a:lnTo>
                    <a:pt x="864" y="721"/>
                  </a:lnTo>
                  <a:lnTo>
                    <a:pt x="878" y="703"/>
                  </a:lnTo>
                  <a:lnTo>
                    <a:pt x="881" y="675"/>
                  </a:lnTo>
                  <a:lnTo>
                    <a:pt x="874" y="645"/>
                  </a:lnTo>
                  <a:lnTo>
                    <a:pt x="878" y="625"/>
                  </a:lnTo>
                  <a:lnTo>
                    <a:pt x="861" y="609"/>
                  </a:lnTo>
                  <a:lnTo>
                    <a:pt x="851" y="588"/>
                  </a:lnTo>
                  <a:lnTo>
                    <a:pt x="856" y="568"/>
                  </a:lnTo>
                  <a:lnTo>
                    <a:pt x="851" y="550"/>
                  </a:lnTo>
                  <a:lnTo>
                    <a:pt x="841" y="542"/>
                  </a:lnTo>
                  <a:lnTo>
                    <a:pt x="817" y="529"/>
                  </a:lnTo>
                  <a:lnTo>
                    <a:pt x="804" y="511"/>
                  </a:lnTo>
                  <a:lnTo>
                    <a:pt x="809" y="486"/>
                  </a:lnTo>
                  <a:lnTo>
                    <a:pt x="822" y="462"/>
                  </a:lnTo>
                  <a:lnTo>
                    <a:pt x="827" y="438"/>
                  </a:lnTo>
                  <a:lnTo>
                    <a:pt x="822" y="419"/>
                  </a:lnTo>
                  <a:lnTo>
                    <a:pt x="804" y="394"/>
                  </a:lnTo>
                  <a:lnTo>
                    <a:pt x="780" y="369"/>
                  </a:lnTo>
                  <a:lnTo>
                    <a:pt x="760" y="341"/>
                  </a:lnTo>
                  <a:lnTo>
                    <a:pt x="743" y="316"/>
                  </a:lnTo>
                  <a:lnTo>
                    <a:pt x="723" y="293"/>
                  </a:lnTo>
                  <a:lnTo>
                    <a:pt x="705" y="284"/>
                  </a:lnTo>
                  <a:lnTo>
                    <a:pt x="686" y="273"/>
                  </a:lnTo>
                  <a:lnTo>
                    <a:pt x="676" y="248"/>
                  </a:lnTo>
                  <a:lnTo>
                    <a:pt x="683" y="225"/>
                  </a:lnTo>
                  <a:lnTo>
                    <a:pt x="693" y="197"/>
                  </a:lnTo>
                  <a:lnTo>
                    <a:pt x="707" y="176"/>
                  </a:lnTo>
                  <a:lnTo>
                    <a:pt x="725" y="154"/>
                  </a:lnTo>
                  <a:lnTo>
                    <a:pt x="738" y="129"/>
                  </a:lnTo>
                  <a:lnTo>
                    <a:pt x="743" y="108"/>
                  </a:lnTo>
                  <a:lnTo>
                    <a:pt x="735" y="87"/>
                  </a:lnTo>
                  <a:lnTo>
                    <a:pt x="730" y="67"/>
                  </a:lnTo>
                  <a:lnTo>
                    <a:pt x="732" y="48"/>
                  </a:lnTo>
                  <a:lnTo>
                    <a:pt x="707" y="55"/>
                  </a:lnTo>
                  <a:lnTo>
                    <a:pt x="695" y="76"/>
                  </a:lnTo>
                  <a:lnTo>
                    <a:pt x="681" y="96"/>
                  </a:lnTo>
                  <a:lnTo>
                    <a:pt x="661" y="92"/>
                  </a:lnTo>
                  <a:lnTo>
                    <a:pt x="644" y="87"/>
                  </a:lnTo>
                  <a:lnTo>
                    <a:pt x="639" y="69"/>
                  </a:lnTo>
                  <a:lnTo>
                    <a:pt x="621" y="62"/>
                  </a:lnTo>
                  <a:lnTo>
                    <a:pt x="613" y="42"/>
                  </a:lnTo>
                  <a:lnTo>
                    <a:pt x="596" y="30"/>
                  </a:lnTo>
                  <a:lnTo>
                    <a:pt x="577" y="8"/>
                  </a:lnTo>
                  <a:lnTo>
                    <a:pt x="556" y="0"/>
                  </a:lnTo>
                  <a:lnTo>
                    <a:pt x="537" y="10"/>
                  </a:lnTo>
                  <a:lnTo>
                    <a:pt x="524" y="35"/>
                  </a:lnTo>
                  <a:lnTo>
                    <a:pt x="514" y="62"/>
                  </a:lnTo>
                  <a:lnTo>
                    <a:pt x="492" y="67"/>
                  </a:lnTo>
                  <a:lnTo>
                    <a:pt x="477" y="81"/>
                  </a:lnTo>
                  <a:lnTo>
                    <a:pt x="462" y="87"/>
                  </a:lnTo>
                  <a:lnTo>
                    <a:pt x="448" y="88"/>
                  </a:lnTo>
                  <a:lnTo>
                    <a:pt x="436" y="103"/>
                  </a:lnTo>
                  <a:lnTo>
                    <a:pt x="431" y="120"/>
                  </a:lnTo>
                  <a:lnTo>
                    <a:pt x="410" y="126"/>
                  </a:lnTo>
                  <a:lnTo>
                    <a:pt x="384" y="128"/>
                  </a:lnTo>
                  <a:lnTo>
                    <a:pt x="364" y="136"/>
                  </a:lnTo>
                  <a:lnTo>
                    <a:pt x="347" y="144"/>
                  </a:lnTo>
                  <a:lnTo>
                    <a:pt x="329" y="131"/>
                  </a:lnTo>
                  <a:lnTo>
                    <a:pt x="312" y="124"/>
                  </a:lnTo>
                  <a:lnTo>
                    <a:pt x="295" y="124"/>
                  </a:lnTo>
                  <a:lnTo>
                    <a:pt x="284" y="113"/>
                  </a:lnTo>
                  <a:lnTo>
                    <a:pt x="270" y="108"/>
                  </a:lnTo>
                  <a:lnTo>
                    <a:pt x="259" y="115"/>
                  </a:lnTo>
                  <a:lnTo>
                    <a:pt x="243" y="124"/>
                  </a:lnTo>
                  <a:lnTo>
                    <a:pt x="225" y="117"/>
                  </a:lnTo>
                  <a:lnTo>
                    <a:pt x="212" y="97"/>
                  </a:lnTo>
                  <a:lnTo>
                    <a:pt x="195" y="78"/>
                  </a:lnTo>
                  <a:lnTo>
                    <a:pt x="176" y="76"/>
                  </a:lnTo>
                  <a:lnTo>
                    <a:pt x="155" y="78"/>
                  </a:lnTo>
                  <a:lnTo>
                    <a:pt x="136" y="69"/>
                  </a:lnTo>
                  <a:lnTo>
                    <a:pt x="121" y="56"/>
                  </a:lnTo>
                  <a:lnTo>
                    <a:pt x="103" y="58"/>
                  </a:lnTo>
                  <a:lnTo>
                    <a:pt x="94" y="7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62039C5-4AD8-4A14-BF94-B687BC2DE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5913" y="1455342"/>
              <a:ext cx="399672" cy="462842"/>
            </a:xfrm>
            <a:custGeom>
              <a:avLst/>
              <a:gdLst>
                <a:gd name="T0" fmla="*/ 0 w 659"/>
                <a:gd name="T1" fmla="*/ 53 h 762"/>
                <a:gd name="T2" fmla="*/ 25 w 659"/>
                <a:gd name="T3" fmla="*/ 108 h 762"/>
                <a:gd name="T4" fmla="*/ 63 w 659"/>
                <a:gd name="T5" fmla="*/ 167 h 762"/>
                <a:gd name="T6" fmla="*/ 90 w 659"/>
                <a:gd name="T7" fmla="*/ 222 h 762"/>
                <a:gd name="T8" fmla="*/ 21 w 659"/>
                <a:gd name="T9" fmla="*/ 270 h 762"/>
                <a:gd name="T10" fmla="*/ 26 w 659"/>
                <a:gd name="T11" fmla="*/ 318 h 762"/>
                <a:gd name="T12" fmla="*/ 65 w 659"/>
                <a:gd name="T13" fmla="*/ 303 h 762"/>
                <a:gd name="T14" fmla="*/ 45 w 659"/>
                <a:gd name="T15" fmla="*/ 332 h 762"/>
                <a:gd name="T16" fmla="*/ 38 w 659"/>
                <a:gd name="T17" fmla="*/ 382 h 762"/>
                <a:gd name="T18" fmla="*/ 82 w 659"/>
                <a:gd name="T19" fmla="*/ 396 h 762"/>
                <a:gd name="T20" fmla="*/ 90 w 659"/>
                <a:gd name="T21" fmla="*/ 446 h 762"/>
                <a:gd name="T22" fmla="*/ 62 w 659"/>
                <a:gd name="T23" fmla="*/ 456 h 762"/>
                <a:gd name="T24" fmla="*/ 83 w 659"/>
                <a:gd name="T25" fmla="*/ 501 h 762"/>
                <a:gd name="T26" fmla="*/ 166 w 659"/>
                <a:gd name="T27" fmla="*/ 524 h 762"/>
                <a:gd name="T28" fmla="*/ 231 w 659"/>
                <a:gd name="T29" fmla="*/ 582 h 762"/>
                <a:gd name="T30" fmla="*/ 266 w 659"/>
                <a:gd name="T31" fmla="*/ 645 h 762"/>
                <a:gd name="T32" fmla="*/ 303 w 659"/>
                <a:gd name="T33" fmla="*/ 627 h 762"/>
                <a:gd name="T34" fmla="*/ 352 w 659"/>
                <a:gd name="T35" fmla="*/ 591 h 762"/>
                <a:gd name="T36" fmla="*/ 406 w 659"/>
                <a:gd name="T37" fmla="*/ 561 h 762"/>
                <a:gd name="T38" fmla="*/ 426 w 659"/>
                <a:gd name="T39" fmla="*/ 607 h 762"/>
                <a:gd name="T40" fmla="*/ 436 w 659"/>
                <a:gd name="T41" fmla="*/ 678 h 762"/>
                <a:gd name="T42" fmla="*/ 461 w 659"/>
                <a:gd name="T43" fmla="*/ 733 h 762"/>
                <a:gd name="T44" fmla="*/ 489 w 659"/>
                <a:gd name="T45" fmla="*/ 762 h 762"/>
                <a:gd name="T46" fmla="*/ 548 w 659"/>
                <a:gd name="T47" fmla="*/ 714 h 762"/>
                <a:gd name="T48" fmla="*/ 588 w 659"/>
                <a:gd name="T49" fmla="*/ 648 h 762"/>
                <a:gd name="T50" fmla="*/ 585 w 659"/>
                <a:gd name="T51" fmla="*/ 582 h 762"/>
                <a:gd name="T52" fmla="*/ 578 w 659"/>
                <a:gd name="T53" fmla="*/ 494 h 762"/>
                <a:gd name="T54" fmla="*/ 552 w 659"/>
                <a:gd name="T55" fmla="*/ 442 h 762"/>
                <a:gd name="T56" fmla="*/ 587 w 659"/>
                <a:gd name="T57" fmla="*/ 396 h 762"/>
                <a:gd name="T58" fmla="*/ 634 w 659"/>
                <a:gd name="T59" fmla="*/ 383 h 762"/>
                <a:gd name="T60" fmla="*/ 635 w 659"/>
                <a:gd name="T61" fmla="*/ 314 h 762"/>
                <a:gd name="T62" fmla="*/ 649 w 659"/>
                <a:gd name="T63" fmla="*/ 273 h 762"/>
                <a:gd name="T64" fmla="*/ 604 w 659"/>
                <a:gd name="T65" fmla="*/ 273 h 762"/>
                <a:gd name="T66" fmla="*/ 558 w 659"/>
                <a:gd name="T67" fmla="*/ 309 h 762"/>
                <a:gd name="T68" fmla="*/ 508 w 659"/>
                <a:gd name="T69" fmla="*/ 268 h 762"/>
                <a:gd name="T70" fmla="*/ 446 w 659"/>
                <a:gd name="T71" fmla="*/ 257 h 762"/>
                <a:gd name="T72" fmla="*/ 392 w 659"/>
                <a:gd name="T73" fmla="*/ 300 h 762"/>
                <a:gd name="T74" fmla="*/ 401 w 659"/>
                <a:gd name="T75" fmla="*/ 227 h 762"/>
                <a:gd name="T76" fmla="*/ 359 w 659"/>
                <a:gd name="T77" fmla="*/ 206 h 762"/>
                <a:gd name="T78" fmla="*/ 372 w 659"/>
                <a:gd name="T79" fmla="*/ 152 h 762"/>
                <a:gd name="T80" fmla="*/ 313 w 659"/>
                <a:gd name="T81" fmla="*/ 202 h 762"/>
                <a:gd name="T82" fmla="*/ 290 w 659"/>
                <a:gd name="T83" fmla="*/ 179 h 762"/>
                <a:gd name="T84" fmla="*/ 354 w 659"/>
                <a:gd name="T85" fmla="*/ 131 h 762"/>
                <a:gd name="T86" fmla="*/ 354 w 659"/>
                <a:gd name="T87" fmla="*/ 74 h 762"/>
                <a:gd name="T88" fmla="*/ 291 w 659"/>
                <a:gd name="T89" fmla="*/ 71 h 762"/>
                <a:gd name="T90" fmla="*/ 211 w 659"/>
                <a:gd name="T91" fmla="*/ 62 h 762"/>
                <a:gd name="T92" fmla="*/ 145 w 659"/>
                <a:gd name="T93" fmla="*/ 44 h 762"/>
                <a:gd name="T94" fmla="*/ 72 w 659"/>
                <a:gd name="T95" fmla="*/ 5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59" h="762">
                  <a:moveTo>
                    <a:pt x="18" y="7"/>
                  </a:moveTo>
                  <a:lnTo>
                    <a:pt x="6" y="32"/>
                  </a:lnTo>
                  <a:lnTo>
                    <a:pt x="0" y="53"/>
                  </a:lnTo>
                  <a:lnTo>
                    <a:pt x="8" y="74"/>
                  </a:lnTo>
                  <a:lnTo>
                    <a:pt x="21" y="85"/>
                  </a:lnTo>
                  <a:lnTo>
                    <a:pt x="25" y="108"/>
                  </a:lnTo>
                  <a:lnTo>
                    <a:pt x="45" y="119"/>
                  </a:lnTo>
                  <a:lnTo>
                    <a:pt x="53" y="142"/>
                  </a:lnTo>
                  <a:lnTo>
                    <a:pt x="63" y="167"/>
                  </a:lnTo>
                  <a:lnTo>
                    <a:pt x="82" y="172"/>
                  </a:lnTo>
                  <a:lnTo>
                    <a:pt x="95" y="200"/>
                  </a:lnTo>
                  <a:lnTo>
                    <a:pt x="90" y="222"/>
                  </a:lnTo>
                  <a:lnTo>
                    <a:pt x="70" y="240"/>
                  </a:lnTo>
                  <a:lnTo>
                    <a:pt x="45" y="248"/>
                  </a:lnTo>
                  <a:lnTo>
                    <a:pt x="21" y="270"/>
                  </a:lnTo>
                  <a:lnTo>
                    <a:pt x="11" y="289"/>
                  </a:lnTo>
                  <a:lnTo>
                    <a:pt x="15" y="312"/>
                  </a:lnTo>
                  <a:lnTo>
                    <a:pt x="26" y="318"/>
                  </a:lnTo>
                  <a:lnTo>
                    <a:pt x="35" y="305"/>
                  </a:lnTo>
                  <a:lnTo>
                    <a:pt x="52" y="298"/>
                  </a:lnTo>
                  <a:lnTo>
                    <a:pt x="65" y="303"/>
                  </a:lnTo>
                  <a:lnTo>
                    <a:pt x="63" y="314"/>
                  </a:lnTo>
                  <a:lnTo>
                    <a:pt x="53" y="323"/>
                  </a:lnTo>
                  <a:lnTo>
                    <a:pt x="45" y="332"/>
                  </a:lnTo>
                  <a:lnTo>
                    <a:pt x="45" y="351"/>
                  </a:lnTo>
                  <a:lnTo>
                    <a:pt x="36" y="366"/>
                  </a:lnTo>
                  <a:lnTo>
                    <a:pt x="38" y="382"/>
                  </a:lnTo>
                  <a:lnTo>
                    <a:pt x="52" y="391"/>
                  </a:lnTo>
                  <a:lnTo>
                    <a:pt x="70" y="387"/>
                  </a:lnTo>
                  <a:lnTo>
                    <a:pt x="82" y="396"/>
                  </a:lnTo>
                  <a:lnTo>
                    <a:pt x="95" y="423"/>
                  </a:lnTo>
                  <a:lnTo>
                    <a:pt x="100" y="440"/>
                  </a:lnTo>
                  <a:lnTo>
                    <a:pt x="90" y="446"/>
                  </a:lnTo>
                  <a:lnTo>
                    <a:pt x="75" y="437"/>
                  </a:lnTo>
                  <a:lnTo>
                    <a:pt x="62" y="442"/>
                  </a:lnTo>
                  <a:lnTo>
                    <a:pt x="62" y="456"/>
                  </a:lnTo>
                  <a:lnTo>
                    <a:pt x="70" y="469"/>
                  </a:lnTo>
                  <a:lnTo>
                    <a:pt x="72" y="485"/>
                  </a:lnTo>
                  <a:lnTo>
                    <a:pt x="83" y="501"/>
                  </a:lnTo>
                  <a:lnTo>
                    <a:pt x="112" y="499"/>
                  </a:lnTo>
                  <a:lnTo>
                    <a:pt x="142" y="510"/>
                  </a:lnTo>
                  <a:lnTo>
                    <a:pt x="166" y="524"/>
                  </a:lnTo>
                  <a:lnTo>
                    <a:pt x="194" y="549"/>
                  </a:lnTo>
                  <a:lnTo>
                    <a:pt x="211" y="568"/>
                  </a:lnTo>
                  <a:lnTo>
                    <a:pt x="231" y="582"/>
                  </a:lnTo>
                  <a:lnTo>
                    <a:pt x="248" y="602"/>
                  </a:lnTo>
                  <a:lnTo>
                    <a:pt x="256" y="622"/>
                  </a:lnTo>
                  <a:lnTo>
                    <a:pt x="266" y="645"/>
                  </a:lnTo>
                  <a:lnTo>
                    <a:pt x="281" y="657"/>
                  </a:lnTo>
                  <a:lnTo>
                    <a:pt x="297" y="645"/>
                  </a:lnTo>
                  <a:lnTo>
                    <a:pt x="303" y="627"/>
                  </a:lnTo>
                  <a:lnTo>
                    <a:pt x="323" y="622"/>
                  </a:lnTo>
                  <a:lnTo>
                    <a:pt x="335" y="609"/>
                  </a:lnTo>
                  <a:lnTo>
                    <a:pt x="352" y="591"/>
                  </a:lnTo>
                  <a:lnTo>
                    <a:pt x="379" y="586"/>
                  </a:lnTo>
                  <a:lnTo>
                    <a:pt x="389" y="570"/>
                  </a:lnTo>
                  <a:lnTo>
                    <a:pt x="406" y="561"/>
                  </a:lnTo>
                  <a:lnTo>
                    <a:pt x="412" y="572"/>
                  </a:lnTo>
                  <a:lnTo>
                    <a:pt x="416" y="595"/>
                  </a:lnTo>
                  <a:lnTo>
                    <a:pt x="426" y="607"/>
                  </a:lnTo>
                  <a:lnTo>
                    <a:pt x="439" y="622"/>
                  </a:lnTo>
                  <a:lnTo>
                    <a:pt x="434" y="646"/>
                  </a:lnTo>
                  <a:lnTo>
                    <a:pt x="436" y="678"/>
                  </a:lnTo>
                  <a:lnTo>
                    <a:pt x="439" y="698"/>
                  </a:lnTo>
                  <a:lnTo>
                    <a:pt x="456" y="712"/>
                  </a:lnTo>
                  <a:lnTo>
                    <a:pt x="461" y="733"/>
                  </a:lnTo>
                  <a:lnTo>
                    <a:pt x="466" y="742"/>
                  </a:lnTo>
                  <a:lnTo>
                    <a:pt x="476" y="755"/>
                  </a:lnTo>
                  <a:lnTo>
                    <a:pt x="489" y="762"/>
                  </a:lnTo>
                  <a:lnTo>
                    <a:pt x="515" y="762"/>
                  </a:lnTo>
                  <a:lnTo>
                    <a:pt x="533" y="735"/>
                  </a:lnTo>
                  <a:lnTo>
                    <a:pt x="548" y="714"/>
                  </a:lnTo>
                  <a:lnTo>
                    <a:pt x="572" y="703"/>
                  </a:lnTo>
                  <a:lnTo>
                    <a:pt x="587" y="680"/>
                  </a:lnTo>
                  <a:lnTo>
                    <a:pt x="588" y="648"/>
                  </a:lnTo>
                  <a:lnTo>
                    <a:pt x="597" y="618"/>
                  </a:lnTo>
                  <a:lnTo>
                    <a:pt x="599" y="597"/>
                  </a:lnTo>
                  <a:lnTo>
                    <a:pt x="585" y="582"/>
                  </a:lnTo>
                  <a:lnTo>
                    <a:pt x="575" y="561"/>
                  </a:lnTo>
                  <a:lnTo>
                    <a:pt x="577" y="527"/>
                  </a:lnTo>
                  <a:lnTo>
                    <a:pt x="578" y="494"/>
                  </a:lnTo>
                  <a:lnTo>
                    <a:pt x="575" y="488"/>
                  </a:lnTo>
                  <a:lnTo>
                    <a:pt x="562" y="465"/>
                  </a:lnTo>
                  <a:lnTo>
                    <a:pt x="552" y="442"/>
                  </a:lnTo>
                  <a:lnTo>
                    <a:pt x="555" y="424"/>
                  </a:lnTo>
                  <a:lnTo>
                    <a:pt x="567" y="405"/>
                  </a:lnTo>
                  <a:lnTo>
                    <a:pt x="587" y="396"/>
                  </a:lnTo>
                  <a:lnTo>
                    <a:pt x="605" y="405"/>
                  </a:lnTo>
                  <a:lnTo>
                    <a:pt x="615" y="391"/>
                  </a:lnTo>
                  <a:lnTo>
                    <a:pt x="634" y="383"/>
                  </a:lnTo>
                  <a:lnTo>
                    <a:pt x="642" y="362"/>
                  </a:lnTo>
                  <a:lnTo>
                    <a:pt x="632" y="334"/>
                  </a:lnTo>
                  <a:lnTo>
                    <a:pt x="635" y="314"/>
                  </a:lnTo>
                  <a:lnTo>
                    <a:pt x="649" y="298"/>
                  </a:lnTo>
                  <a:lnTo>
                    <a:pt x="659" y="284"/>
                  </a:lnTo>
                  <a:lnTo>
                    <a:pt x="649" y="273"/>
                  </a:lnTo>
                  <a:lnTo>
                    <a:pt x="629" y="280"/>
                  </a:lnTo>
                  <a:lnTo>
                    <a:pt x="614" y="288"/>
                  </a:lnTo>
                  <a:lnTo>
                    <a:pt x="604" y="273"/>
                  </a:lnTo>
                  <a:lnTo>
                    <a:pt x="587" y="275"/>
                  </a:lnTo>
                  <a:lnTo>
                    <a:pt x="575" y="293"/>
                  </a:lnTo>
                  <a:lnTo>
                    <a:pt x="558" y="309"/>
                  </a:lnTo>
                  <a:lnTo>
                    <a:pt x="538" y="311"/>
                  </a:lnTo>
                  <a:lnTo>
                    <a:pt x="530" y="279"/>
                  </a:lnTo>
                  <a:lnTo>
                    <a:pt x="508" y="268"/>
                  </a:lnTo>
                  <a:lnTo>
                    <a:pt x="483" y="270"/>
                  </a:lnTo>
                  <a:lnTo>
                    <a:pt x="464" y="256"/>
                  </a:lnTo>
                  <a:lnTo>
                    <a:pt x="446" y="257"/>
                  </a:lnTo>
                  <a:lnTo>
                    <a:pt x="431" y="270"/>
                  </a:lnTo>
                  <a:lnTo>
                    <a:pt x="416" y="288"/>
                  </a:lnTo>
                  <a:lnTo>
                    <a:pt x="392" y="300"/>
                  </a:lnTo>
                  <a:lnTo>
                    <a:pt x="394" y="273"/>
                  </a:lnTo>
                  <a:lnTo>
                    <a:pt x="407" y="250"/>
                  </a:lnTo>
                  <a:lnTo>
                    <a:pt x="401" y="227"/>
                  </a:lnTo>
                  <a:lnTo>
                    <a:pt x="379" y="220"/>
                  </a:lnTo>
                  <a:lnTo>
                    <a:pt x="347" y="227"/>
                  </a:lnTo>
                  <a:lnTo>
                    <a:pt x="359" y="206"/>
                  </a:lnTo>
                  <a:lnTo>
                    <a:pt x="370" y="192"/>
                  </a:lnTo>
                  <a:lnTo>
                    <a:pt x="379" y="168"/>
                  </a:lnTo>
                  <a:lnTo>
                    <a:pt x="372" y="152"/>
                  </a:lnTo>
                  <a:lnTo>
                    <a:pt x="354" y="152"/>
                  </a:lnTo>
                  <a:lnTo>
                    <a:pt x="332" y="177"/>
                  </a:lnTo>
                  <a:lnTo>
                    <a:pt x="313" y="202"/>
                  </a:lnTo>
                  <a:lnTo>
                    <a:pt x="290" y="211"/>
                  </a:lnTo>
                  <a:lnTo>
                    <a:pt x="278" y="206"/>
                  </a:lnTo>
                  <a:lnTo>
                    <a:pt x="290" y="179"/>
                  </a:lnTo>
                  <a:lnTo>
                    <a:pt x="307" y="160"/>
                  </a:lnTo>
                  <a:lnTo>
                    <a:pt x="325" y="142"/>
                  </a:lnTo>
                  <a:lnTo>
                    <a:pt x="354" y="131"/>
                  </a:lnTo>
                  <a:lnTo>
                    <a:pt x="365" y="112"/>
                  </a:lnTo>
                  <a:lnTo>
                    <a:pt x="369" y="90"/>
                  </a:lnTo>
                  <a:lnTo>
                    <a:pt x="354" y="74"/>
                  </a:lnTo>
                  <a:lnTo>
                    <a:pt x="335" y="78"/>
                  </a:lnTo>
                  <a:lnTo>
                    <a:pt x="313" y="90"/>
                  </a:lnTo>
                  <a:lnTo>
                    <a:pt x="291" y="71"/>
                  </a:lnTo>
                  <a:lnTo>
                    <a:pt x="261" y="55"/>
                  </a:lnTo>
                  <a:lnTo>
                    <a:pt x="231" y="53"/>
                  </a:lnTo>
                  <a:lnTo>
                    <a:pt x="211" y="62"/>
                  </a:lnTo>
                  <a:lnTo>
                    <a:pt x="182" y="64"/>
                  </a:lnTo>
                  <a:lnTo>
                    <a:pt x="156" y="51"/>
                  </a:lnTo>
                  <a:lnTo>
                    <a:pt x="145" y="44"/>
                  </a:lnTo>
                  <a:lnTo>
                    <a:pt x="129" y="33"/>
                  </a:lnTo>
                  <a:lnTo>
                    <a:pt x="100" y="19"/>
                  </a:lnTo>
                  <a:lnTo>
                    <a:pt x="72" y="5"/>
                  </a:lnTo>
                  <a:lnTo>
                    <a:pt x="43" y="0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946046C9-2D19-422E-A331-BEAF21B44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119" y="1581682"/>
              <a:ext cx="620767" cy="438546"/>
            </a:xfrm>
            <a:custGeom>
              <a:avLst/>
              <a:gdLst>
                <a:gd name="T0" fmla="*/ 342 w 1021"/>
                <a:gd name="T1" fmla="*/ 593 h 721"/>
                <a:gd name="T2" fmla="*/ 287 w 1021"/>
                <a:gd name="T3" fmla="*/ 627 h 721"/>
                <a:gd name="T4" fmla="*/ 297 w 1021"/>
                <a:gd name="T5" fmla="*/ 691 h 721"/>
                <a:gd name="T6" fmla="*/ 273 w 1021"/>
                <a:gd name="T7" fmla="*/ 700 h 721"/>
                <a:gd name="T8" fmla="*/ 233 w 1021"/>
                <a:gd name="T9" fmla="*/ 675 h 721"/>
                <a:gd name="T10" fmla="*/ 189 w 1021"/>
                <a:gd name="T11" fmla="*/ 678 h 721"/>
                <a:gd name="T12" fmla="*/ 139 w 1021"/>
                <a:gd name="T13" fmla="*/ 648 h 721"/>
                <a:gd name="T14" fmla="*/ 58 w 1021"/>
                <a:gd name="T15" fmla="*/ 607 h 721"/>
                <a:gd name="T16" fmla="*/ 26 w 1021"/>
                <a:gd name="T17" fmla="*/ 559 h 721"/>
                <a:gd name="T18" fmla="*/ 18 w 1021"/>
                <a:gd name="T19" fmla="*/ 529 h 721"/>
                <a:gd name="T20" fmla="*/ 72 w 1021"/>
                <a:gd name="T21" fmla="*/ 472 h 721"/>
                <a:gd name="T22" fmla="*/ 84 w 1021"/>
                <a:gd name="T23" fmla="*/ 390 h 721"/>
                <a:gd name="T24" fmla="*/ 62 w 1021"/>
                <a:gd name="T25" fmla="*/ 321 h 721"/>
                <a:gd name="T26" fmla="*/ 82 w 1021"/>
                <a:gd name="T27" fmla="*/ 316 h 721"/>
                <a:gd name="T28" fmla="*/ 92 w 1021"/>
                <a:gd name="T29" fmla="*/ 261 h 721"/>
                <a:gd name="T30" fmla="*/ 142 w 1021"/>
                <a:gd name="T31" fmla="*/ 247 h 721"/>
                <a:gd name="T32" fmla="*/ 196 w 1021"/>
                <a:gd name="T33" fmla="*/ 277 h 721"/>
                <a:gd name="T34" fmla="*/ 224 w 1021"/>
                <a:gd name="T35" fmla="*/ 243 h 721"/>
                <a:gd name="T36" fmla="*/ 231 w 1021"/>
                <a:gd name="T37" fmla="*/ 204 h 721"/>
                <a:gd name="T38" fmla="*/ 280 w 1021"/>
                <a:gd name="T39" fmla="*/ 179 h 721"/>
                <a:gd name="T40" fmla="*/ 344 w 1021"/>
                <a:gd name="T41" fmla="*/ 167 h 721"/>
                <a:gd name="T42" fmla="*/ 377 w 1021"/>
                <a:gd name="T43" fmla="*/ 197 h 721"/>
                <a:gd name="T44" fmla="*/ 389 w 1021"/>
                <a:gd name="T45" fmla="*/ 159 h 721"/>
                <a:gd name="T46" fmla="*/ 433 w 1021"/>
                <a:gd name="T47" fmla="*/ 90 h 721"/>
                <a:gd name="T48" fmla="*/ 469 w 1021"/>
                <a:gd name="T49" fmla="*/ 17 h 721"/>
                <a:gd name="T50" fmla="*/ 533 w 1021"/>
                <a:gd name="T51" fmla="*/ 1 h 721"/>
                <a:gd name="T52" fmla="*/ 584 w 1021"/>
                <a:gd name="T53" fmla="*/ 14 h 721"/>
                <a:gd name="T54" fmla="*/ 537 w 1021"/>
                <a:gd name="T55" fmla="*/ 28 h 721"/>
                <a:gd name="T56" fmla="*/ 491 w 1021"/>
                <a:gd name="T57" fmla="*/ 46 h 721"/>
                <a:gd name="T58" fmla="*/ 456 w 1021"/>
                <a:gd name="T59" fmla="*/ 87 h 721"/>
                <a:gd name="T60" fmla="*/ 468 w 1021"/>
                <a:gd name="T61" fmla="*/ 111 h 721"/>
                <a:gd name="T62" fmla="*/ 501 w 1021"/>
                <a:gd name="T63" fmla="*/ 62 h 721"/>
                <a:gd name="T64" fmla="*/ 543 w 1021"/>
                <a:gd name="T65" fmla="*/ 46 h 721"/>
                <a:gd name="T66" fmla="*/ 577 w 1021"/>
                <a:gd name="T67" fmla="*/ 60 h 721"/>
                <a:gd name="T68" fmla="*/ 614 w 1021"/>
                <a:gd name="T69" fmla="*/ 60 h 721"/>
                <a:gd name="T70" fmla="*/ 652 w 1021"/>
                <a:gd name="T71" fmla="*/ 104 h 721"/>
                <a:gd name="T72" fmla="*/ 709 w 1021"/>
                <a:gd name="T73" fmla="*/ 151 h 721"/>
                <a:gd name="T74" fmla="*/ 741 w 1021"/>
                <a:gd name="T75" fmla="*/ 165 h 721"/>
                <a:gd name="T76" fmla="*/ 765 w 1021"/>
                <a:gd name="T77" fmla="*/ 149 h 721"/>
                <a:gd name="T78" fmla="*/ 810 w 1021"/>
                <a:gd name="T79" fmla="*/ 159 h 721"/>
                <a:gd name="T80" fmla="*/ 812 w 1021"/>
                <a:gd name="T81" fmla="*/ 225 h 721"/>
                <a:gd name="T82" fmla="*/ 837 w 1021"/>
                <a:gd name="T83" fmla="*/ 280 h 721"/>
                <a:gd name="T84" fmla="*/ 872 w 1021"/>
                <a:gd name="T85" fmla="*/ 323 h 721"/>
                <a:gd name="T86" fmla="*/ 926 w 1021"/>
                <a:gd name="T87" fmla="*/ 330 h 721"/>
                <a:gd name="T88" fmla="*/ 961 w 1021"/>
                <a:gd name="T89" fmla="*/ 350 h 721"/>
                <a:gd name="T90" fmla="*/ 974 w 1021"/>
                <a:gd name="T91" fmla="*/ 438 h 721"/>
                <a:gd name="T92" fmla="*/ 1015 w 1021"/>
                <a:gd name="T93" fmla="*/ 515 h 721"/>
                <a:gd name="T94" fmla="*/ 985 w 1021"/>
                <a:gd name="T95" fmla="*/ 556 h 721"/>
                <a:gd name="T96" fmla="*/ 939 w 1021"/>
                <a:gd name="T97" fmla="*/ 593 h 721"/>
                <a:gd name="T98" fmla="*/ 899 w 1021"/>
                <a:gd name="T99" fmla="*/ 563 h 721"/>
                <a:gd name="T100" fmla="*/ 855 w 1021"/>
                <a:gd name="T101" fmla="*/ 509 h 721"/>
                <a:gd name="T102" fmla="*/ 802 w 1021"/>
                <a:gd name="T103" fmla="*/ 536 h 721"/>
                <a:gd name="T104" fmla="*/ 755 w 1021"/>
                <a:gd name="T105" fmla="*/ 582 h 721"/>
                <a:gd name="T106" fmla="*/ 714 w 1021"/>
                <a:gd name="T107" fmla="*/ 604 h 721"/>
                <a:gd name="T108" fmla="*/ 662 w 1021"/>
                <a:gd name="T109" fmla="*/ 629 h 721"/>
                <a:gd name="T110" fmla="*/ 607 w 1021"/>
                <a:gd name="T111" fmla="*/ 632 h 721"/>
                <a:gd name="T112" fmla="*/ 562 w 1021"/>
                <a:gd name="T113" fmla="*/ 614 h 721"/>
                <a:gd name="T114" fmla="*/ 521 w 1021"/>
                <a:gd name="T115" fmla="*/ 625 h 721"/>
                <a:gd name="T116" fmla="*/ 473 w 1021"/>
                <a:gd name="T117" fmla="*/ 579 h 721"/>
                <a:gd name="T118" fmla="*/ 414 w 1021"/>
                <a:gd name="T119" fmla="*/ 570 h 721"/>
                <a:gd name="T120" fmla="*/ 372 w 1021"/>
                <a:gd name="T121" fmla="*/ 579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1" h="721">
                  <a:moveTo>
                    <a:pt x="372" y="579"/>
                  </a:moveTo>
                  <a:lnTo>
                    <a:pt x="360" y="595"/>
                  </a:lnTo>
                  <a:lnTo>
                    <a:pt x="342" y="593"/>
                  </a:lnTo>
                  <a:lnTo>
                    <a:pt x="322" y="605"/>
                  </a:lnTo>
                  <a:lnTo>
                    <a:pt x="298" y="613"/>
                  </a:lnTo>
                  <a:lnTo>
                    <a:pt x="287" y="627"/>
                  </a:lnTo>
                  <a:lnTo>
                    <a:pt x="282" y="648"/>
                  </a:lnTo>
                  <a:lnTo>
                    <a:pt x="288" y="666"/>
                  </a:lnTo>
                  <a:lnTo>
                    <a:pt x="297" y="691"/>
                  </a:lnTo>
                  <a:lnTo>
                    <a:pt x="283" y="705"/>
                  </a:lnTo>
                  <a:lnTo>
                    <a:pt x="280" y="721"/>
                  </a:lnTo>
                  <a:lnTo>
                    <a:pt x="273" y="700"/>
                  </a:lnTo>
                  <a:lnTo>
                    <a:pt x="255" y="685"/>
                  </a:lnTo>
                  <a:lnTo>
                    <a:pt x="241" y="680"/>
                  </a:lnTo>
                  <a:lnTo>
                    <a:pt x="233" y="675"/>
                  </a:lnTo>
                  <a:lnTo>
                    <a:pt x="213" y="684"/>
                  </a:lnTo>
                  <a:lnTo>
                    <a:pt x="198" y="680"/>
                  </a:lnTo>
                  <a:lnTo>
                    <a:pt x="189" y="678"/>
                  </a:lnTo>
                  <a:lnTo>
                    <a:pt x="176" y="662"/>
                  </a:lnTo>
                  <a:lnTo>
                    <a:pt x="159" y="652"/>
                  </a:lnTo>
                  <a:lnTo>
                    <a:pt x="139" y="648"/>
                  </a:lnTo>
                  <a:lnTo>
                    <a:pt x="112" y="636"/>
                  </a:lnTo>
                  <a:lnTo>
                    <a:pt x="78" y="613"/>
                  </a:lnTo>
                  <a:lnTo>
                    <a:pt x="58" y="607"/>
                  </a:lnTo>
                  <a:lnTo>
                    <a:pt x="53" y="597"/>
                  </a:lnTo>
                  <a:lnTo>
                    <a:pt x="42" y="579"/>
                  </a:lnTo>
                  <a:lnTo>
                    <a:pt x="26" y="559"/>
                  </a:lnTo>
                  <a:lnTo>
                    <a:pt x="11" y="554"/>
                  </a:lnTo>
                  <a:lnTo>
                    <a:pt x="0" y="554"/>
                  </a:lnTo>
                  <a:lnTo>
                    <a:pt x="18" y="529"/>
                  </a:lnTo>
                  <a:lnTo>
                    <a:pt x="33" y="508"/>
                  </a:lnTo>
                  <a:lnTo>
                    <a:pt x="57" y="495"/>
                  </a:lnTo>
                  <a:lnTo>
                    <a:pt x="72" y="472"/>
                  </a:lnTo>
                  <a:lnTo>
                    <a:pt x="73" y="442"/>
                  </a:lnTo>
                  <a:lnTo>
                    <a:pt x="82" y="412"/>
                  </a:lnTo>
                  <a:lnTo>
                    <a:pt x="84" y="390"/>
                  </a:lnTo>
                  <a:lnTo>
                    <a:pt x="70" y="378"/>
                  </a:lnTo>
                  <a:lnTo>
                    <a:pt x="60" y="355"/>
                  </a:lnTo>
                  <a:lnTo>
                    <a:pt x="62" y="321"/>
                  </a:lnTo>
                  <a:lnTo>
                    <a:pt x="63" y="287"/>
                  </a:lnTo>
                  <a:lnTo>
                    <a:pt x="70" y="310"/>
                  </a:lnTo>
                  <a:lnTo>
                    <a:pt x="82" y="316"/>
                  </a:lnTo>
                  <a:lnTo>
                    <a:pt x="95" y="305"/>
                  </a:lnTo>
                  <a:lnTo>
                    <a:pt x="90" y="280"/>
                  </a:lnTo>
                  <a:lnTo>
                    <a:pt x="92" y="261"/>
                  </a:lnTo>
                  <a:lnTo>
                    <a:pt x="102" y="247"/>
                  </a:lnTo>
                  <a:lnTo>
                    <a:pt x="124" y="241"/>
                  </a:lnTo>
                  <a:lnTo>
                    <a:pt x="142" y="247"/>
                  </a:lnTo>
                  <a:lnTo>
                    <a:pt x="164" y="271"/>
                  </a:lnTo>
                  <a:lnTo>
                    <a:pt x="179" y="266"/>
                  </a:lnTo>
                  <a:lnTo>
                    <a:pt x="196" y="277"/>
                  </a:lnTo>
                  <a:lnTo>
                    <a:pt x="214" y="282"/>
                  </a:lnTo>
                  <a:lnTo>
                    <a:pt x="226" y="266"/>
                  </a:lnTo>
                  <a:lnTo>
                    <a:pt x="224" y="243"/>
                  </a:lnTo>
                  <a:lnTo>
                    <a:pt x="241" y="234"/>
                  </a:lnTo>
                  <a:lnTo>
                    <a:pt x="233" y="223"/>
                  </a:lnTo>
                  <a:lnTo>
                    <a:pt x="231" y="204"/>
                  </a:lnTo>
                  <a:lnTo>
                    <a:pt x="245" y="188"/>
                  </a:lnTo>
                  <a:lnTo>
                    <a:pt x="266" y="195"/>
                  </a:lnTo>
                  <a:lnTo>
                    <a:pt x="280" y="179"/>
                  </a:lnTo>
                  <a:lnTo>
                    <a:pt x="303" y="174"/>
                  </a:lnTo>
                  <a:lnTo>
                    <a:pt x="325" y="177"/>
                  </a:lnTo>
                  <a:lnTo>
                    <a:pt x="344" y="167"/>
                  </a:lnTo>
                  <a:lnTo>
                    <a:pt x="364" y="165"/>
                  </a:lnTo>
                  <a:lnTo>
                    <a:pt x="370" y="184"/>
                  </a:lnTo>
                  <a:lnTo>
                    <a:pt x="377" y="197"/>
                  </a:lnTo>
                  <a:lnTo>
                    <a:pt x="394" y="199"/>
                  </a:lnTo>
                  <a:lnTo>
                    <a:pt x="404" y="186"/>
                  </a:lnTo>
                  <a:lnTo>
                    <a:pt x="389" y="159"/>
                  </a:lnTo>
                  <a:lnTo>
                    <a:pt x="397" y="140"/>
                  </a:lnTo>
                  <a:lnTo>
                    <a:pt x="417" y="120"/>
                  </a:lnTo>
                  <a:lnTo>
                    <a:pt x="433" y="90"/>
                  </a:lnTo>
                  <a:lnTo>
                    <a:pt x="443" y="65"/>
                  </a:lnTo>
                  <a:lnTo>
                    <a:pt x="456" y="40"/>
                  </a:lnTo>
                  <a:lnTo>
                    <a:pt x="469" y="17"/>
                  </a:lnTo>
                  <a:lnTo>
                    <a:pt x="488" y="3"/>
                  </a:lnTo>
                  <a:lnTo>
                    <a:pt x="508" y="7"/>
                  </a:lnTo>
                  <a:lnTo>
                    <a:pt x="533" y="1"/>
                  </a:lnTo>
                  <a:lnTo>
                    <a:pt x="555" y="0"/>
                  </a:lnTo>
                  <a:lnTo>
                    <a:pt x="573" y="1"/>
                  </a:lnTo>
                  <a:lnTo>
                    <a:pt x="584" y="14"/>
                  </a:lnTo>
                  <a:lnTo>
                    <a:pt x="577" y="28"/>
                  </a:lnTo>
                  <a:lnTo>
                    <a:pt x="562" y="33"/>
                  </a:lnTo>
                  <a:lnTo>
                    <a:pt x="537" y="28"/>
                  </a:lnTo>
                  <a:lnTo>
                    <a:pt x="518" y="33"/>
                  </a:lnTo>
                  <a:lnTo>
                    <a:pt x="511" y="42"/>
                  </a:lnTo>
                  <a:lnTo>
                    <a:pt x="491" y="46"/>
                  </a:lnTo>
                  <a:lnTo>
                    <a:pt x="478" y="51"/>
                  </a:lnTo>
                  <a:lnTo>
                    <a:pt x="468" y="67"/>
                  </a:lnTo>
                  <a:lnTo>
                    <a:pt x="456" y="87"/>
                  </a:lnTo>
                  <a:lnTo>
                    <a:pt x="451" y="104"/>
                  </a:lnTo>
                  <a:lnTo>
                    <a:pt x="454" y="115"/>
                  </a:lnTo>
                  <a:lnTo>
                    <a:pt x="468" y="111"/>
                  </a:lnTo>
                  <a:lnTo>
                    <a:pt x="474" y="92"/>
                  </a:lnTo>
                  <a:lnTo>
                    <a:pt x="488" y="71"/>
                  </a:lnTo>
                  <a:lnTo>
                    <a:pt x="501" y="62"/>
                  </a:lnTo>
                  <a:lnTo>
                    <a:pt x="516" y="67"/>
                  </a:lnTo>
                  <a:lnTo>
                    <a:pt x="528" y="53"/>
                  </a:lnTo>
                  <a:lnTo>
                    <a:pt x="543" y="46"/>
                  </a:lnTo>
                  <a:lnTo>
                    <a:pt x="555" y="51"/>
                  </a:lnTo>
                  <a:lnTo>
                    <a:pt x="563" y="65"/>
                  </a:lnTo>
                  <a:lnTo>
                    <a:pt x="577" y="60"/>
                  </a:lnTo>
                  <a:lnTo>
                    <a:pt x="592" y="46"/>
                  </a:lnTo>
                  <a:lnTo>
                    <a:pt x="610" y="48"/>
                  </a:lnTo>
                  <a:lnTo>
                    <a:pt x="614" y="60"/>
                  </a:lnTo>
                  <a:lnTo>
                    <a:pt x="619" y="80"/>
                  </a:lnTo>
                  <a:lnTo>
                    <a:pt x="629" y="97"/>
                  </a:lnTo>
                  <a:lnTo>
                    <a:pt x="652" y="104"/>
                  </a:lnTo>
                  <a:lnTo>
                    <a:pt x="677" y="117"/>
                  </a:lnTo>
                  <a:lnTo>
                    <a:pt x="696" y="131"/>
                  </a:lnTo>
                  <a:lnTo>
                    <a:pt x="709" y="151"/>
                  </a:lnTo>
                  <a:lnTo>
                    <a:pt x="716" y="174"/>
                  </a:lnTo>
                  <a:lnTo>
                    <a:pt x="731" y="177"/>
                  </a:lnTo>
                  <a:lnTo>
                    <a:pt x="741" y="165"/>
                  </a:lnTo>
                  <a:lnTo>
                    <a:pt x="745" y="147"/>
                  </a:lnTo>
                  <a:lnTo>
                    <a:pt x="755" y="138"/>
                  </a:lnTo>
                  <a:lnTo>
                    <a:pt x="765" y="149"/>
                  </a:lnTo>
                  <a:lnTo>
                    <a:pt x="782" y="138"/>
                  </a:lnTo>
                  <a:lnTo>
                    <a:pt x="800" y="143"/>
                  </a:lnTo>
                  <a:lnTo>
                    <a:pt x="810" y="159"/>
                  </a:lnTo>
                  <a:lnTo>
                    <a:pt x="810" y="183"/>
                  </a:lnTo>
                  <a:lnTo>
                    <a:pt x="807" y="207"/>
                  </a:lnTo>
                  <a:lnTo>
                    <a:pt x="812" y="225"/>
                  </a:lnTo>
                  <a:lnTo>
                    <a:pt x="828" y="236"/>
                  </a:lnTo>
                  <a:lnTo>
                    <a:pt x="844" y="257"/>
                  </a:lnTo>
                  <a:lnTo>
                    <a:pt x="837" y="280"/>
                  </a:lnTo>
                  <a:lnTo>
                    <a:pt x="842" y="300"/>
                  </a:lnTo>
                  <a:lnTo>
                    <a:pt x="852" y="310"/>
                  </a:lnTo>
                  <a:lnTo>
                    <a:pt x="872" y="323"/>
                  </a:lnTo>
                  <a:lnTo>
                    <a:pt x="896" y="334"/>
                  </a:lnTo>
                  <a:lnTo>
                    <a:pt x="912" y="341"/>
                  </a:lnTo>
                  <a:lnTo>
                    <a:pt x="926" y="330"/>
                  </a:lnTo>
                  <a:lnTo>
                    <a:pt x="941" y="328"/>
                  </a:lnTo>
                  <a:lnTo>
                    <a:pt x="956" y="335"/>
                  </a:lnTo>
                  <a:lnTo>
                    <a:pt x="961" y="350"/>
                  </a:lnTo>
                  <a:lnTo>
                    <a:pt x="964" y="374"/>
                  </a:lnTo>
                  <a:lnTo>
                    <a:pt x="966" y="410"/>
                  </a:lnTo>
                  <a:lnTo>
                    <a:pt x="974" y="438"/>
                  </a:lnTo>
                  <a:lnTo>
                    <a:pt x="983" y="467"/>
                  </a:lnTo>
                  <a:lnTo>
                    <a:pt x="998" y="490"/>
                  </a:lnTo>
                  <a:lnTo>
                    <a:pt x="1015" y="515"/>
                  </a:lnTo>
                  <a:lnTo>
                    <a:pt x="1021" y="536"/>
                  </a:lnTo>
                  <a:lnTo>
                    <a:pt x="1010" y="549"/>
                  </a:lnTo>
                  <a:lnTo>
                    <a:pt x="985" y="556"/>
                  </a:lnTo>
                  <a:lnTo>
                    <a:pt x="973" y="577"/>
                  </a:lnTo>
                  <a:lnTo>
                    <a:pt x="959" y="597"/>
                  </a:lnTo>
                  <a:lnTo>
                    <a:pt x="939" y="593"/>
                  </a:lnTo>
                  <a:lnTo>
                    <a:pt x="922" y="588"/>
                  </a:lnTo>
                  <a:lnTo>
                    <a:pt x="917" y="570"/>
                  </a:lnTo>
                  <a:lnTo>
                    <a:pt x="899" y="563"/>
                  </a:lnTo>
                  <a:lnTo>
                    <a:pt x="891" y="543"/>
                  </a:lnTo>
                  <a:lnTo>
                    <a:pt x="874" y="531"/>
                  </a:lnTo>
                  <a:lnTo>
                    <a:pt x="855" y="509"/>
                  </a:lnTo>
                  <a:lnTo>
                    <a:pt x="834" y="501"/>
                  </a:lnTo>
                  <a:lnTo>
                    <a:pt x="815" y="511"/>
                  </a:lnTo>
                  <a:lnTo>
                    <a:pt x="802" y="536"/>
                  </a:lnTo>
                  <a:lnTo>
                    <a:pt x="792" y="563"/>
                  </a:lnTo>
                  <a:lnTo>
                    <a:pt x="770" y="568"/>
                  </a:lnTo>
                  <a:lnTo>
                    <a:pt x="755" y="582"/>
                  </a:lnTo>
                  <a:lnTo>
                    <a:pt x="740" y="588"/>
                  </a:lnTo>
                  <a:lnTo>
                    <a:pt x="726" y="589"/>
                  </a:lnTo>
                  <a:lnTo>
                    <a:pt x="714" y="604"/>
                  </a:lnTo>
                  <a:lnTo>
                    <a:pt x="709" y="621"/>
                  </a:lnTo>
                  <a:lnTo>
                    <a:pt x="688" y="627"/>
                  </a:lnTo>
                  <a:lnTo>
                    <a:pt x="662" y="629"/>
                  </a:lnTo>
                  <a:lnTo>
                    <a:pt x="642" y="637"/>
                  </a:lnTo>
                  <a:lnTo>
                    <a:pt x="625" y="645"/>
                  </a:lnTo>
                  <a:lnTo>
                    <a:pt x="607" y="632"/>
                  </a:lnTo>
                  <a:lnTo>
                    <a:pt x="590" y="625"/>
                  </a:lnTo>
                  <a:lnTo>
                    <a:pt x="573" y="625"/>
                  </a:lnTo>
                  <a:lnTo>
                    <a:pt x="562" y="614"/>
                  </a:lnTo>
                  <a:lnTo>
                    <a:pt x="548" y="609"/>
                  </a:lnTo>
                  <a:lnTo>
                    <a:pt x="537" y="616"/>
                  </a:lnTo>
                  <a:lnTo>
                    <a:pt x="521" y="625"/>
                  </a:lnTo>
                  <a:lnTo>
                    <a:pt x="503" y="618"/>
                  </a:lnTo>
                  <a:lnTo>
                    <a:pt x="490" y="598"/>
                  </a:lnTo>
                  <a:lnTo>
                    <a:pt x="473" y="579"/>
                  </a:lnTo>
                  <a:lnTo>
                    <a:pt x="454" y="577"/>
                  </a:lnTo>
                  <a:lnTo>
                    <a:pt x="433" y="579"/>
                  </a:lnTo>
                  <a:lnTo>
                    <a:pt x="414" y="570"/>
                  </a:lnTo>
                  <a:lnTo>
                    <a:pt x="399" y="557"/>
                  </a:lnTo>
                  <a:lnTo>
                    <a:pt x="381" y="559"/>
                  </a:lnTo>
                  <a:lnTo>
                    <a:pt x="372" y="57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CA1765B2-F079-402A-B433-33430FD07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717" y="1523371"/>
              <a:ext cx="108118" cy="123911"/>
            </a:xfrm>
            <a:custGeom>
              <a:avLst/>
              <a:gdLst>
                <a:gd name="T0" fmla="*/ 41 w 178"/>
                <a:gd name="T1" fmla="*/ 0 h 202"/>
                <a:gd name="T2" fmla="*/ 71 w 178"/>
                <a:gd name="T3" fmla="*/ 0 h 202"/>
                <a:gd name="T4" fmla="*/ 81 w 178"/>
                <a:gd name="T5" fmla="*/ 19 h 202"/>
                <a:gd name="T6" fmla="*/ 106 w 178"/>
                <a:gd name="T7" fmla="*/ 32 h 202"/>
                <a:gd name="T8" fmla="*/ 136 w 178"/>
                <a:gd name="T9" fmla="*/ 44 h 202"/>
                <a:gd name="T10" fmla="*/ 146 w 178"/>
                <a:gd name="T11" fmla="*/ 64 h 202"/>
                <a:gd name="T12" fmla="*/ 140 w 178"/>
                <a:gd name="T13" fmla="*/ 80 h 202"/>
                <a:gd name="T14" fmla="*/ 140 w 178"/>
                <a:gd name="T15" fmla="*/ 106 h 202"/>
                <a:gd name="T16" fmla="*/ 163 w 178"/>
                <a:gd name="T17" fmla="*/ 122 h 202"/>
                <a:gd name="T18" fmla="*/ 178 w 178"/>
                <a:gd name="T19" fmla="*/ 142 h 202"/>
                <a:gd name="T20" fmla="*/ 171 w 178"/>
                <a:gd name="T21" fmla="*/ 172 h 202"/>
                <a:gd name="T22" fmla="*/ 155 w 178"/>
                <a:gd name="T23" fmla="*/ 184 h 202"/>
                <a:gd name="T24" fmla="*/ 143 w 178"/>
                <a:gd name="T25" fmla="*/ 168 h 202"/>
                <a:gd name="T26" fmla="*/ 151 w 178"/>
                <a:gd name="T27" fmla="*/ 149 h 202"/>
                <a:gd name="T28" fmla="*/ 145 w 178"/>
                <a:gd name="T29" fmla="*/ 133 h 202"/>
                <a:gd name="T30" fmla="*/ 126 w 178"/>
                <a:gd name="T31" fmla="*/ 142 h 202"/>
                <a:gd name="T32" fmla="*/ 108 w 178"/>
                <a:gd name="T33" fmla="*/ 144 h 202"/>
                <a:gd name="T34" fmla="*/ 103 w 178"/>
                <a:gd name="T35" fmla="*/ 161 h 202"/>
                <a:gd name="T36" fmla="*/ 89 w 178"/>
                <a:gd name="T37" fmla="*/ 165 h 202"/>
                <a:gd name="T38" fmla="*/ 74 w 178"/>
                <a:gd name="T39" fmla="*/ 168 h 202"/>
                <a:gd name="T40" fmla="*/ 74 w 178"/>
                <a:gd name="T41" fmla="*/ 184 h 202"/>
                <a:gd name="T42" fmla="*/ 74 w 178"/>
                <a:gd name="T43" fmla="*/ 200 h 202"/>
                <a:gd name="T44" fmla="*/ 49 w 178"/>
                <a:gd name="T45" fmla="*/ 202 h 202"/>
                <a:gd name="T46" fmla="*/ 24 w 178"/>
                <a:gd name="T47" fmla="*/ 193 h 202"/>
                <a:gd name="T48" fmla="*/ 5 w 178"/>
                <a:gd name="T49" fmla="*/ 176 h 202"/>
                <a:gd name="T50" fmla="*/ 0 w 178"/>
                <a:gd name="T51" fmla="*/ 158 h 202"/>
                <a:gd name="T52" fmla="*/ 19 w 178"/>
                <a:gd name="T53" fmla="*/ 147 h 202"/>
                <a:gd name="T54" fmla="*/ 39 w 178"/>
                <a:gd name="T55" fmla="*/ 145 h 202"/>
                <a:gd name="T56" fmla="*/ 34 w 178"/>
                <a:gd name="T57" fmla="*/ 133 h 202"/>
                <a:gd name="T58" fmla="*/ 15 w 178"/>
                <a:gd name="T59" fmla="*/ 128 h 202"/>
                <a:gd name="T60" fmla="*/ 14 w 178"/>
                <a:gd name="T61" fmla="*/ 113 h 202"/>
                <a:gd name="T62" fmla="*/ 27 w 178"/>
                <a:gd name="T63" fmla="*/ 99 h 202"/>
                <a:gd name="T64" fmla="*/ 15 w 178"/>
                <a:gd name="T65" fmla="*/ 80 h 202"/>
                <a:gd name="T66" fmla="*/ 27 w 178"/>
                <a:gd name="T67" fmla="*/ 65 h 202"/>
                <a:gd name="T68" fmla="*/ 39 w 178"/>
                <a:gd name="T69" fmla="*/ 78 h 202"/>
                <a:gd name="T70" fmla="*/ 49 w 178"/>
                <a:gd name="T71" fmla="*/ 76 h 202"/>
                <a:gd name="T72" fmla="*/ 71 w 178"/>
                <a:gd name="T73" fmla="*/ 78 h 202"/>
                <a:gd name="T74" fmla="*/ 89 w 178"/>
                <a:gd name="T75" fmla="*/ 104 h 202"/>
                <a:gd name="T76" fmla="*/ 106 w 178"/>
                <a:gd name="T77" fmla="*/ 108 h 202"/>
                <a:gd name="T78" fmla="*/ 111 w 178"/>
                <a:gd name="T79" fmla="*/ 80 h 202"/>
                <a:gd name="T80" fmla="*/ 94 w 178"/>
                <a:gd name="T81" fmla="*/ 58 h 202"/>
                <a:gd name="T82" fmla="*/ 66 w 178"/>
                <a:gd name="T83" fmla="*/ 44 h 202"/>
                <a:gd name="T84" fmla="*/ 32 w 178"/>
                <a:gd name="T85" fmla="*/ 30 h 202"/>
                <a:gd name="T86" fmla="*/ 10 w 178"/>
                <a:gd name="T87" fmla="*/ 46 h 202"/>
                <a:gd name="T88" fmla="*/ 15 w 178"/>
                <a:gd name="T89" fmla="*/ 1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" h="202">
                  <a:moveTo>
                    <a:pt x="29" y="8"/>
                  </a:moveTo>
                  <a:lnTo>
                    <a:pt x="41" y="0"/>
                  </a:lnTo>
                  <a:lnTo>
                    <a:pt x="56" y="5"/>
                  </a:lnTo>
                  <a:lnTo>
                    <a:pt x="71" y="0"/>
                  </a:lnTo>
                  <a:lnTo>
                    <a:pt x="86" y="5"/>
                  </a:lnTo>
                  <a:lnTo>
                    <a:pt x="81" y="19"/>
                  </a:lnTo>
                  <a:lnTo>
                    <a:pt x="89" y="30"/>
                  </a:lnTo>
                  <a:lnTo>
                    <a:pt x="106" y="32"/>
                  </a:lnTo>
                  <a:lnTo>
                    <a:pt x="121" y="35"/>
                  </a:lnTo>
                  <a:lnTo>
                    <a:pt x="136" y="44"/>
                  </a:lnTo>
                  <a:lnTo>
                    <a:pt x="145" y="51"/>
                  </a:lnTo>
                  <a:lnTo>
                    <a:pt x="146" y="64"/>
                  </a:lnTo>
                  <a:lnTo>
                    <a:pt x="143" y="71"/>
                  </a:lnTo>
                  <a:lnTo>
                    <a:pt x="140" y="80"/>
                  </a:lnTo>
                  <a:lnTo>
                    <a:pt x="135" y="94"/>
                  </a:lnTo>
                  <a:lnTo>
                    <a:pt x="140" y="106"/>
                  </a:lnTo>
                  <a:lnTo>
                    <a:pt x="151" y="117"/>
                  </a:lnTo>
                  <a:lnTo>
                    <a:pt x="163" y="122"/>
                  </a:lnTo>
                  <a:lnTo>
                    <a:pt x="173" y="133"/>
                  </a:lnTo>
                  <a:lnTo>
                    <a:pt x="178" y="142"/>
                  </a:lnTo>
                  <a:lnTo>
                    <a:pt x="176" y="156"/>
                  </a:lnTo>
                  <a:lnTo>
                    <a:pt x="171" y="172"/>
                  </a:lnTo>
                  <a:lnTo>
                    <a:pt x="163" y="181"/>
                  </a:lnTo>
                  <a:lnTo>
                    <a:pt x="155" y="184"/>
                  </a:lnTo>
                  <a:lnTo>
                    <a:pt x="146" y="177"/>
                  </a:lnTo>
                  <a:lnTo>
                    <a:pt x="143" y="168"/>
                  </a:lnTo>
                  <a:lnTo>
                    <a:pt x="146" y="158"/>
                  </a:lnTo>
                  <a:lnTo>
                    <a:pt x="151" y="149"/>
                  </a:lnTo>
                  <a:lnTo>
                    <a:pt x="153" y="138"/>
                  </a:lnTo>
                  <a:lnTo>
                    <a:pt x="145" y="133"/>
                  </a:lnTo>
                  <a:lnTo>
                    <a:pt x="135" y="135"/>
                  </a:lnTo>
                  <a:lnTo>
                    <a:pt x="126" y="142"/>
                  </a:lnTo>
                  <a:lnTo>
                    <a:pt x="114" y="142"/>
                  </a:lnTo>
                  <a:lnTo>
                    <a:pt x="108" y="144"/>
                  </a:lnTo>
                  <a:lnTo>
                    <a:pt x="104" y="152"/>
                  </a:lnTo>
                  <a:lnTo>
                    <a:pt x="103" y="161"/>
                  </a:lnTo>
                  <a:lnTo>
                    <a:pt x="98" y="165"/>
                  </a:lnTo>
                  <a:lnTo>
                    <a:pt x="89" y="165"/>
                  </a:lnTo>
                  <a:lnTo>
                    <a:pt x="79" y="165"/>
                  </a:lnTo>
                  <a:lnTo>
                    <a:pt x="74" y="168"/>
                  </a:lnTo>
                  <a:lnTo>
                    <a:pt x="69" y="177"/>
                  </a:lnTo>
                  <a:lnTo>
                    <a:pt x="74" y="184"/>
                  </a:lnTo>
                  <a:lnTo>
                    <a:pt x="76" y="191"/>
                  </a:lnTo>
                  <a:lnTo>
                    <a:pt x="74" y="200"/>
                  </a:lnTo>
                  <a:lnTo>
                    <a:pt x="62" y="202"/>
                  </a:lnTo>
                  <a:lnTo>
                    <a:pt x="49" y="202"/>
                  </a:lnTo>
                  <a:lnTo>
                    <a:pt x="37" y="193"/>
                  </a:lnTo>
                  <a:lnTo>
                    <a:pt x="24" y="193"/>
                  </a:lnTo>
                  <a:lnTo>
                    <a:pt x="15" y="184"/>
                  </a:lnTo>
                  <a:lnTo>
                    <a:pt x="5" y="176"/>
                  </a:lnTo>
                  <a:lnTo>
                    <a:pt x="0" y="168"/>
                  </a:lnTo>
                  <a:lnTo>
                    <a:pt x="0" y="158"/>
                  </a:lnTo>
                  <a:lnTo>
                    <a:pt x="5" y="152"/>
                  </a:lnTo>
                  <a:lnTo>
                    <a:pt x="19" y="147"/>
                  </a:lnTo>
                  <a:lnTo>
                    <a:pt x="30" y="149"/>
                  </a:lnTo>
                  <a:lnTo>
                    <a:pt x="39" y="145"/>
                  </a:lnTo>
                  <a:lnTo>
                    <a:pt x="39" y="138"/>
                  </a:lnTo>
                  <a:lnTo>
                    <a:pt x="34" y="133"/>
                  </a:lnTo>
                  <a:lnTo>
                    <a:pt x="27" y="129"/>
                  </a:lnTo>
                  <a:lnTo>
                    <a:pt x="15" y="128"/>
                  </a:lnTo>
                  <a:lnTo>
                    <a:pt x="10" y="122"/>
                  </a:lnTo>
                  <a:lnTo>
                    <a:pt x="14" y="113"/>
                  </a:lnTo>
                  <a:lnTo>
                    <a:pt x="24" y="106"/>
                  </a:lnTo>
                  <a:lnTo>
                    <a:pt x="27" y="99"/>
                  </a:lnTo>
                  <a:lnTo>
                    <a:pt x="19" y="90"/>
                  </a:lnTo>
                  <a:lnTo>
                    <a:pt x="15" y="80"/>
                  </a:lnTo>
                  <a:lnTo>
                    <a:pt x="19" y="69"/>
                  </a:lnTo>
                  <a:lnTo>
                    <a:pt x="27" y="65"/>
                  </a:lnTo>
                  <a:lnTo>
                    <a:pt x="34" y="69"/>
                  </a:lnTo>
                  <a:lnTo>
                    <a:pt x="39" y="78"/>
                  </a:lnTo>
                  <a:lnTo>
                    <a:pt x="41" y="85"/>
                  </a:lnTo>
                  <a:lnTo>
                    <a:pt x="49" y="76"/>
                  </a:lnTo>
                  <a:lnTo>
                    <a:pt x="59" y="74"/>
                  </a:lnTo>
                  <a:lnTo>
                    <a:pt x="71" y="78"/>
                  </a:lnTo>
                  <a:lnTo>
                    <a:pt x="81" y="90"/>
                  </a:lnTo>
                  <a:lnTo>
                    <a:pt x="89" y="104"/>
                  </a:lnTo>
                  <a:lnTo>
                    <a:pt x="99" y="113"/>
                  </a:lnTo>
                  <a:lnTo>
                    <a:pt x="106" y="108"/>
                  </a:lnTo>
                  <a:lnTo>
                    <a:pt x="111" y="96"/>
                  </a:lnTo>
                  <a:lnTo>
                    <a:pt x="111" y="80"/>
                  </a:lnTo>
                  <a:lnTo>
                    <a:pt x="104" y="64"/>
                  </a:lnTo>
                  <a:lnTo>
                    <a:pt x="94" y="58"/>
                  </a:lnTo>
                  <a:lnTo>
                    <a:pt x="76" y="49"/>
                  </a:lnTo>
                  <a:lnTo>
                    <a:pt x="66" y="44"/>
                  </a:lnTo>
                  <a:lnTo>
                    <a:pt x="42" y="37"/>
                  </a:lnTo>
                  <a:lnTo>
                    <a:pt x="32" y="30"/>
                  </a:lnTo>
                  <a:lnTo>
                    <a:pt x="22" y="48"/>
                  </a:lnTo>
                  <a:lnTo>
                    <a:pt x="10" y="46"/>
                  </a:lnTo>
                  <a:lnTo>
                    <a:pt x="9" y="32"/>
                  </a:lnTo>
                  <a:lnTo>
                    <a:pt x="15" y="19"/>
                  </a:lnTo>
                  <a:lnTo>
                    <a:pt x="29" y="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9F1C1FA0-62E0-4C27-B3A9-34FDE96B9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405" y="1655785"/>
              <a:ext cx="105688" cy="116622"/>
            </a:xfrm>
            <a:custGeom>
              <a:avLst/>
              <a:gdLst>
                <a:gd name="T0" fmla="*/ 119 w 175"/>
                <a:gd name="T1" fmla="*/ 105 h 192"/>
                <a:gd name="T2" fmla="*/ 134 w 175"/>
                <a:gd name="T3" fmla="*/ 118 h 192"/>
                <a:gd name="T4" fmla="*/ 141 w 175"/>
                <a:gd name="T5" fmla="*/ 135 h 192"/>
                <a:gd name="T6" fmla="*/ 144 w 175"/>
                <a:gd name="T7" fmla="*/ 151 h 192"/>
                <a:gd name="T8" fmla="*/ 149 w 175"/>
                <a:gd name="T9" fmla="*/ 162 h 192"/>
                <a:gd name="T10" fmla="*/ 160 w 175"/>
                <a:gd name="T11" fmla="*/ 164 h 192"/>
                <a:gd name="T12" fmla="*/ 173 w 175"/>
                <a:gd name="T13" fmla="*/ 173 h 192"/>
                <a:gd name="T14" fmla="*/ 175 w 175"/>
                <a:gd name="T15" fmla="*/ 182 h 192"/>
                <a:gd name="T16" fmla="*/ 168 w 175"/>
                <a:gd name="T17" fmla="*/ 190 h 192"/>
                <a:gd name="T18" fmla="*/ 153 w 175"/>
                <a:gd name="T19" fmla="*/ 192 h 192"/>
                <a:gd name="T20" fmla="*/ 136 w 175"/>
                <a:gd name="T21" fmla="*/ 189 h 192"/>
                <a:gd name="T22" fmla="*/ 126 w 175"/>
                <a:gd name="T23" fmla="*/ 173 h 192"/>
                <a:gd name="T24" fmla="*/ 119 w 175"/>
                <a:gd name="T25" fmla="*/ 162 h 192"/>
                <a:gd name="T26" fmla="*/ 107 w 175"/>
                <a:gd name="T27" fmla="*/ 155 h 192"/>
                <a:gd name="T28" fmla="*/ 91 w 175"/>
                <a:gd name="T29" fmla="*/ 162 h 192"/>
                <a:gd name="T30" fmla="*/ 74 w 175"/>
                <a:gd name="T31" fmla="*/ 167 h 192"/>
                <a:gd name="T32" fmla="*/ 64 w 175"/>
                <a:gd name="T33" fmla="*/ 167 h 192"/>
                <a:gd name="T34" fmla="*/ 52 w 175"/>
                <a:gd name="T35" fmla="*/ 176 h 192"/>
                <a:gd name="T36" fmla="*/ 42 w 175"/>
                <a:gd name="T37" fmla="*/ 180 h 192"/>
                <a:gd name="T38" fmla="*/ 35 w 175"/>
                <a:gd name="T39" fmla="*/ 171 h 192"/>
                <a:gd name="T40" fmla="*/ 40 w 175"/>
                <a:gd name="T41" fmla="*/ 155 h 192"/>
                <a:gd name="T42" fmla="*/ 47 w 175"/>
                <a:gd name="T43" fmla="*/ 144 h 192"/>
                <a:gd name="T44" fmla="*/ 45 w 175"/>
                <a:gd name="T45" fmla="*/ 132 h 192"/>
                <a:gd name="T46" fmla="*/ 40 w 175"/>
                <a:gd name="T47" fmla="*/ 127 h 192"/>
                <a:gd name="T48" fmla="*/ 42 w 175"/>
                <a:gd name="T49" fmla="*/ 116 h 192"/>
                <a:gd name="T50" fmla="*/ 52 w 175"/>
                <a:gd name="T51" fmla="*/ 112 h 192"/>
                <a:gd name="T52" fmla="*/ 62 w 175"/>
                <a:gd name="T53" fmla="*/ 118 h 192"/>
                <a:gd name="T54" fmla="*/ 71 w 175"/>
                <a:gd name="T55" fmla="*/ 118 h 192"/>
                <a:gd name="T56" fmla="*/ 74 w 175"/>
                <a:gd name="T57" fmla="*/ 112 h 192"/>
                <a:gd name="T58" fmla="*/ 71 w 175"/>
                <a:gd name="T59" fmla="*/ 102 h 192"/>
                <a:gd name="T60" fmla="*/ 64 w 175"/>
                <a:gd name="T61" fmla="*/ 89 h 192"/>
                <a:gd name="T62" fmla="*/ 57 w 175"/>
                <a:gd name="T63" fmla="*/ 79 h 192"/>
                <a:gd name="T64" fmla="*/ 45 w 175"/>
                <a:gd name="T65" fmla="*/ 79 h 192"/>
                <a:gd name="T66" fmla="*/ 40 w 175"/>
                <a:gd name="T67" fmla="*/ 87 h 192"/>
                <a:gd name="T68" fmla="*/ 34 w 175"/>
                <a:gd name="T69" fmla="*/ 96 h 192"/>
                <a:gd name="T70" fmla="*/ 22 w 175"/>
                <a:gd name="T71" fmla="*/ 89 h 192"/>
                <a:gd name="T72" fmla="*/ 8 w 175"/>
                <a:gd name="T73" fmla="*/ 87 h 192"/>
                <a:gd name="T74" fmla="*/ 3 w 175"/>
                <a:gd name="T75" fmla="*/ 79 h 192"/>
                <a:gd name="T76" fmla="*/ 7 w 175"/>
                <a:gd name="T77" fmla="*/ 66 h 192"/>
                <a:gd name="T78" fmla="*/ 8 w 175"/>
                <a:gd name="T79" fmla="*/ 54 h 192"/>
                <a:gd name="T80" fmla="*/ 7 w 175"/>
                <a:gd name="T81" fmla="*/ 38 h 192"/>
                <a:gd name="T82" fmla="*/ 0 w 175"/>
                <a:gd name="T83" fmla="*/ 29 h 192"/>
                <a:gd name="T84" fmla="*/ 3 w 175"/>
                <a:gd name="T85" fmla="*/ 16 h 192"/>
                <a:gd name="T86" fmla="*/ 8 w 175"/>
                <a:gd name="T87" fmla="*/ 7 h 192"/>
                <a:gd name="T88" fmla="*/ 17 w 175"/>
                <a:gd name="T89" fmla="*/ 0 h 192"/>
                <a:gd name="T90" fmla="*/ 32 w 175"/>
                <a:gd name="T91" fmla="*/ 4 h 192"/>
                <a:gd name="T92" fmla="*/ 37 w 175"/>
                <a:gd name="T93" fmla="*/ 15 h 192"/>
                <a:gd name="T94" fmla="*/ 35 w 175"/>
                <a:gd name="T95" fmla="*/ 31 h 192"/>
                <a:gd name="T96" fmla="*/ 42 w 175"/>
                <a:gd name="T97" fmla="*/ 39 h 192"/>
                <a:gd name="T98" fmla="*/ 50 w 175"/>
                <a:gd name="T99" fmla="*/ 47 h 192"/>
                <a:gd name="T100" fmla="*/ 66 w 175"/>
                <a:gd name="T101" fmla="*/ 50 h 192"/>
                <a:gd name="T102" fmla="*/ 81 w 175"/>
                <a:gd name="T103" fmla="*/ 59 h 192"/>
                <a:gd name="T104" fmla="*/ 94 w 175"/>
                <a:gd name="T105" fmla="*/ 70 h 192"/>
                <a:gd name="T106" fmla="*/ 119 w 175"/>
                <a:gd name="T107" fmla="*/ 10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5" h="192">
                  <a:moveTo>
                    <a:pt x="119" y="105"/>
                  </a:moveTo>
                  <a:lnTo>
                    <a:pt x="134" y="118"/>
                  </a:lnTo>
                  <a:lnTo>
                    <a:pt x="141" y="135"/>
                  </a:lnTo>
                  <a:lnTo>
                    <a:pt x="144" y="151"/>
                  </a:lnTo>
                  <a:lnTo>
                    <a:pt x="149" y="162"/>
                  </a:lnTo>
                  <a:lnTo>
                    <a:pt x="160" y="164"/>
                  </a:lnTo>
                  <a:lnTo>
                    <a:pt x="173" y="173"/>
                  </a:lnTo>
                  <a:lnTo>
                    <a:pt x="175" y="182"/>
                  </a:lnTo>
                  <a:lnTo>
                    <a:pt x="168" y="190"/>
                  </a:lnTo>
                  <a:lnTo>
                    <a:pt x="153" y="192"/>
                  </a:lnTo>
                  <a:lnTo>
                    <a:pt x="136" y="189"/>
                  </a:lnTo>
                  <a:lnTo>
                    <a:pt x="126" y="173"/>
                  </a:lnTo>
                  <a:lnTo>
                    <a:pt x="119" y="162"/>
                  </a:lnTo>
                  <a:lnTo>
                    <a:pt x="107" y="155"/>
                  </a:lnTo>
                  <a:lnTo>
                    <a:pt x="91" y="162"/>
                  </a:lnTo>
                  <a:lnTo>
                    <a:pt x="74" y="167"/>
                  </a:lnTo>
                  <a:lnTo>
                    <a:pt x="64" y="167"/>
                  </a:lnTo>
                  <a:lnTo>
                    <a:pt x="52" y="176"/>
                  </a:lnTo>
                  <a:lnTo>
                    <a:pt x="42" y="180"/>
                  </a:lnTo>
                  <a:lnTo>
                    <a:pt x="35" y="171"/>
                  </a:lnTo>
                  <a:lnTo>
                    <a:pt x="40" y="155"/>
                  </a:lnTo>
                  <a:lnTo>
                    <a:pt x="47" y="144"/>
                  </a:lnTo>
                  <a:lnTo>
                    <a:pt x="45" y="132"/>
                  </a:lnTo>
                  <a:lnTo>
                    <a:pt x="40" y="127"/>
                  </a:lnTo>
                  <a:lnTo>
                    <a:pt x="42" y="116"/>
                  </a:lnTo>
                  <a:lnTo>
                    <a:pt x="52" y="112"/>
                  </a:lnTo>
                  <a:lnTo>
                    <a:pt x="62" y="118"/>
                  </a:lnTo>
                  <a:lnTo>
                    <a:pt x="71" y="118"/>
                  </a:lnTo>
                  <a:lnTo>
                    <a:pt x="74" y="112"/>
                  </a:lnTo>
                  <a:lnTo>
                    <a:pt x="71" y="102"/>
                  </a:lnTo>
                  <a:lnTo>
                    <a:pt x="64" y="89"/>
                  </a:lnTo>
                  <a:lnTo>
                    <a:pt x="57" y="79"/>
                  </a:lnTo>
                  <a:lnTo>
                    <a:pt x="45" y="79"/>
                  </a:lnTo>
                  <a:lnTo>
                    <a:pt x="40" y="87"/>
                  </a:lnTo>
                  <a:lnTo>
                    <a:pt x="34" y="96"/>
                  </a:lnTo>
                  <a:lnTo>
                    <a:pt x="22" y="89"/>
                  </a:lnTo>
                  <a:lnTo>
                    <a:pt x="8" y="87"/>
                  </a:lnTo>
                  <a:lnTo>
                    <a:pt x="3" y="79"/>
                  </a:lnTo>
                  <a:lnTo>
                    <a:pt x="7" y="66"/>
                  </a:lnTo>
                  <a:lnTo>
                    <a:pt x="8" y="54"/>
                  </a:lnTo>
                  <a:lnTo>
                    <a:pt x="7" y="38"/>
                  </a:lnTo>
                  <a:lnTo>
                    <a:pt x="0" y="29"/>
                  </a:lnTo>
                  <a:lnTo>
                    <a:pt x="3" y="16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4"/>
                  </a:lnTo>
                  <a:lnTo>
                    <a:pt x="37" y="15"/>
                  </a:lnTo>
                  <a:lnTo>
                    <a:pt x="35" y="31"/>
                  </a:lnTo>
                  <a:lnTo>
                    <a:pt x="42" y="39"/>
                  </a:lnTo>
                  <a:lnTo>
                    <a:pt x="50" y="47"/>
                  </a:lnTo>
                  <a:lnTo>
                    <a:pt x="66" y="50"/>
                  </a:lnTo>
                  <a:lnTo>
                    <a:pt x="81" y="59"/>
                  </a:lnTo>
                  <a:lnTo>
                    <a:pt x="94" y="70"/>
                  </a:lnTo>
                  <a:lnTo>
                    <a:pt x="119" y="10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039DC748-54FF-4939-96DD-E6DC51F7D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0830" y="1995932"/>
              <a:ext cx="476205" cy="617123"/>
            </a:xfrm>
            <a:custGeom>
              <a:avLst/>
              <a:gdLst>
                <a:gd name="T0" fmla="*/ 319 w 783"/>
                <a:gd name="T1" fmla="*/ 57 h 1014"/>
                <a:gd name="T2" fmla="*/ 369 w 783"/>
                <a:gd name="T3" fmla="*/ 90 h 1014"/>
                <a:gd name="T4" fmla="*/ 416 w 783"/>
                <a:gd name="T5" fmla="*/ 130 h 1014"/>
                <a:gd name="T6" fmla="*/ 439 w 783"/>
                <a:gd name="T7" fmla="*/ 179 h 1014"/>
                <a:gd name="T8" fmla="*/ 441 w 783"/>
                <a:gd name="T9" fmla="*/ 252 h 1014"/>
                <a:gd name="T10" fmla="*/ 473 w 783"/>
                <a:gd name="T11" fmla="*/ 281 h 1014"/>
                <a:gd name="T12" fmla="*/ 493 w 783"/>
                <a:gd name="T13" fmla="*/ 316 h 1014"/>
                <a:gd name="T14" fmla="*/ 520 w 783"/>
                <a:gd name="T15" fmla="*/ 369 h 1014"/>
                <a:gd name="T16" fmla="*/ 517 w 783"/>
                <a:gd name="T17" fmla="*/ 433 h 1014"/>
                <a:gd name="T18" fmla="*/ 547 w 783"/>
                <a:gd name="T19" fmla="*/ 492 h 1014"/>
                <a:gd name="T20" fmla="*/ 611 w 783"/>
                <a:gd name="T21" fmla="*/ 501 h 1014"/>
                <a:gd name="T22" fmla="*/ 659 w 783"/>
                <a:gd name="T23" fmla="*/ 517 h 1014"/>
                <a:gd name="T24" fmla="*/ 713 w 783"/>
                <a:gd name="T25" fmla="*/ 549 h 1014"/>
                <a:gd name="T26" fmla="*/ 760 w 783"/>
                <a:gd name="T27" fmla="*/ 588 h 1014"/>
                <a:gd name="T28" fmla="*/ 772 w 783"/>
                <a:gd name="T29" fmla="*/ 643 h 1014"/>
                <a:gd name="T30" fmla="*/ 770 w 783"/>
                <a:gd name="T31" fmla="*/ 693 h 1014"/>
                <a:gd name="T32" fmla="*/ 731 w 783"/>
                <a:gd name="T33" fmla="*/ 743 h 1014"/>
                <a:gd name="T34" fmla="*/ 674 w 783"/>
                <a:gd name="T35" fmla="*/ 723 h 1014"/>
                <a:gd name="T36" fmla="*/ 619 w 783"/>
                <a:gd name="T37" fmla="*/ 721 h 1014"/>
                <a:gd name="T38" fmla="*/ 562 w 783"/>
                <a:gd name="T39" fmla="*/ 750 h 1014"/>
                <a:gd name="T40" fmla="*/ 495 w 783"/>
                <a:gd name="T41" fmla="*/ 766 h 1014"/>
                <a:gd name="T42" fmla="*/ 450 w 783"/>
                <a:gd name="T43" fmla="*/ 821 h 1014"/>
                <a:gd name="T44" fmla="*/ 450 w 783"/>
                <a:gd name="T45" fmla="*/ 869 h 1014"/>
                <a:gd name="T46" fmla="*/ 481 w 783"/>
                <a:gd name="T47" fmla="*/ 929 h 1014"/>
                <a:gd name="T48" fmla="*/ 486 w 783"/>
                <a:gd name="T49" fmla="*/ 993 h 1014"/>
                <a:gd name="T50" fmla="*/ 436 w 783"/>
                <a:gd name="T51" fmla="*/ 1004 h 1014"/>
                <a:gd name="T52" fmla="*/ 406 w 783"/>
                <a:gd name="T53" fmla="*/ 972 h 1014"/>
                <a:gd name="T54" fmla="*/ 340 w 783"/>
                <a:gd name="T55" fmla="*/ 956 h 1014"/>
                <a:gd name="T56" fmla="*/ 275 w 783"/>
                <a:gd name="T57" fmla="*/ 938 h 1014"/>
                <a:gd name="T58" fmla="*/ 208 w 783"/>
                <a:gd name="T59" fmla="*/ 936 h 1014"/>
                <a:gd name="T60" fmla="*/ 179 w 783"/>
                <a:gd name="T61" fmla="*/ 881 h 1014"/>
                <a:gd name="T62" fmla="*/ 178 w 783"/>
                <a:gd name="T63" fmla="*/ 812 h 1014"/>
                <a:gd name="T64" fmla="*/ 122 w 783"/>
                <a:gd name="T65" fmla="*/ 805 h 1014"/>
                <a:gd name="T66" fmla="*/ 107 w 783"/>
                <a:gd name="T67" fmla="*/ 741 h 1014"/>
                <a:gd name="T68" fmla="*/ 50 w 783"/>
                <a:gd name="T69" fmla="*/ 684 h 1014"/>
                <a:gd name="T70" fmla="*/ 7 w 783"/>
                <a:gd name="T71" fmla="*/ 629 h 1014"/>
                <a:gd name="T72" fmla="*/ 10 w 783"/>
                <a:gd name="T73" fmla="*/ 572 h 1014"/>
                <a:gd name="T74" fmla="*/ 13 w 783"/>
                <a:gd name="T75" fmla="*/ 513 h 1014"/>
                <a:gd name="T76" fmla="*/ 64 w 783"/>
                <a:gd name="T77" fmla="*/ 508 h 1014"/>
                <a:gd name="T78" fmla="*/ 87 w 783"/>
                <a:gd name="T79" fmla="*/ 460 h 1014"/>
                <a:gd name="T80" fmla="*/ 106 w 783"/>
                <a:gd name="T81" fmla="*/ 393 h 1014"/>
                <a:gd name="T82" fmla="*/ 111 w 783"/>
                <a:gd name="T83" fmla="*/ 304 h 1014"/>
                <a:gd name="T84" fmla="*/ 121 w 783"/>
                <a:gd name="T85" fmla="*/ 241 h 1014"/>
                <a:gd name="T86" fmla="*/ 96 w 783"/>
                <a:gd name="T87" fmla="*/ 165 h 1014"/>
                <a:gd name="T88" fmla="*/ 90 w 783"/>
                <a:gd name="T89" fmla="*/ 108 h 1014"/>
                <a:gd name="T90" fmla="*/ 144 w 783"/>
                <a:gd name="T91" fmla="*/ 92 h 1014"/>
                <a:gd name="T92" fmla="*/ 191 w 783"/>
                <a:gd name="T93" fmla="*/ 73 h 1014"/>
                <a:gd name="T94" fmla="*/ 235 w 783"/>
                <a:gd name="T95" fmla="*/ 78 h 1014"/>
                <a:gd name="T96" fmla="*/ 255 w 783"/>
                <a:gd name="T97" fmla="*/ 32 h 1014"/>
                <a:gd name="T98" fmla="*/ 267 w 783"/>
                <a:gd name="T99" fmla="*/ 3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83" h="1014">
                  <a:moveTo>
                    <a:pt x="292" y="37"/>
                  </a:moveTo>
                  <a:lnTo>
                    <a:pt x="300" y="48"/>
                  </a:lnTo>
                  <a:lnTo>
                    <a:pt x="319" y="57"/>
                  </a:lnTo>
                  <a:lnTo>
                    <a:pt x="340" y="64"/>
                  </a:lnTo>
                  <a:lnTo>
                    <a:pt x="357" y="73"/>
                  </a:lnTo>
                  <a:lnTo>
                    <a:pt x="369" y="90"/>
                  </a:lnTo>
                  <a:lnTo>
                    <a:pt x="381" y="106"/>
                  </a:lnTo>
                  <a:lnTo>
                    <a:pt x="398" y="122"/>
                  </a:lnTo>
                  <a:lnTo>
                    <a:pt x="416" y="130"/>
                  </a:lnTo>
                  <a:lnTo>
                    <a:pt x="439" y="135"/>
                  </a:lnTo>
                  <a:lnTo>
                    <a:pt x="445" y="153"/>
                  </a:lnTo>
                  <a:lnTo>
                    <a:pt x="439" y="179"/>
                  </a:lnTo>
                  <a:lnTo>
                    <a:pt x="441" y="204"/>
                  </a:lnTo>
                  <a:lnTo>
                    <a:pt x="445" y="233"/>
                  </a:lnTo>
                  <a:lnTo>
                    <a:pt x="441" y="252"/>
                  </a:lnTo>
                  <a:lnTo>
                    <a:pt x="445" y="273"/>
                  </a:lnTo>
                  <a:lnTo>
                    <a:pt x="455" y="282"/>
                  </a:lnTo>
                  <a:lnTo>
                    <a:pt x="473" y="281"/>
                  </a:lnTo>
                  <a:lnTo>
                    <a:pt x="491" y="282"/>
                  </a:lnTo>
                  <a:lnTo>
                    <a:pt x="498" y="298"/>
                  </a:lnTo>
                  <a:lnTo>
                    <a:pt x="493" y="316"/>
                  </a:lnTo>
                  <a:lnTo>
                    <a:pt x="497" y="336"/>
                  </a:lnTo>
                  <a:lnTo>
                    <a:pt x="507" y="350"/>
                  </a:lnTo>
                  <a:lnTo>
                    <a:pt x="520" y="369"/>
                  </a:lnTo>
                  <a:lnTo>
                    <a:pt x="525" y="385"/>
                  </a:lnTo>
                  <a:lnTo>
                    <a:pt x="518" y="407"/>
                  </a:lnTo>
                  <a:lnTo>
                    <a:pt x="517" y="433"/>
                  </a:lnTo>
                  <a:lnTo>
                    <a:pt x="520" y="455"/>
                  </a:lnTo>
                  <a:lnTo>
                    <a:pt x="530" y="476"/>
                  </a:lnTo>
                  <a:lnTo>
                    <a:pt x="547" y="492"/>
                  </a:lnTo>
                  <a:lnTo>
                    <a:pt x="567" y="503"/>
                  </a:lnTo>
                  <a:lnTo>
                    <a:pt x="592" y="506"/>
                  </a:lnTo>
                  <a:lnTo>
                    <a:pt x="611" y="501"/>
                  </a:lnTo>
                  <a:lnTo>
                    <a:pt x="629" y="494"/>
                  </a:lnTo>
                  <a:lnTo>
                    <a:pt x="648" y="501"/>
                  </a:lnTo>
                  <a:lnTo>
                    <a:pt x="659" y="517"/>
                  </a:lnTo>
                  <a:lnTo>
                    <a:pt x="676" y="529"/>
                  </a:lnTo>
                  <a:lnTo>
                    <a:pt x="696" y="535"/>
                  </a:lnTo>
                  <a:lnTo>
                    <a:pt x="713" y="549"/>
                  </a:lnTo>
                  <a:lnTo>
                    <a:pt x="731" y="556"/>
                  </a:lnTo>
                  <a:lnTo>
                    <a:pt x="750" y="568"/>
                  </a:lnTo>
                  <a:lnTo>
                    <a:pt x="760" y="588"/>
                  </a:lnTo>
                  <a:lnTo>
                    <a:pt x="768" y="609"/>
                  </a:lnTo>
                  <a:lnTo>
                    <a:pt x="765" y="629"/>
                  </a:lnTo>
                  <a:lnTo>
                    <a:pt x="772" y="643"/>
                  </a:lnTo>
                  <a:lnTo>
                    <a:pt x="783" y="661"/>
                  </a:lnTo>
                  <a:lnTo>
                    <a:pt x="782" y="679"/>
                  </a:lnTo>
                  <a:lnTo>
                    <a:pt x="770" y="693"/>
                  </a:lnTo>
                  <a:lnTo>
                    <a:pt x="758" y="716"/>
                  </a:lnTo>
                  <a:lnTo>
                    <a:pt x="743" y="728"/>
                  </a:lnTo>
                  <a:lnTo>
                    <a:pt x="731" y="743"/>
                  </a:lnTo>
                  <a:lnTo>
                    <a:pt x="715" y="741"/>
                  </a:lnTo>
                  <a:lnTo>
                    <a:pt x="695" y="737"/>
                  </a:lnTo>
                  <a:lnTo>
                    <a:pt x="674" y="723"/>
                  </a:lnTo>
                  <a:lnTo>
                    <a:pt x="658" y="718"/>
                  </a:lnTo>
                  <a:lnTo>
                    <a:pt x="641" y="725"/>
                  </a:lnTo>
                  <a:lnTo>
                    <a:pt x="619" y="721"/>
                  </a:lnTo>
                  <a:lnTo>
                    <a:pt x="601" y="728"/>
                  </a:lnTo>
                  <a:lnTo>
                    <a:pt x="587" y="743"/>
                  </a:lnTo>
                  <a:lnTo>
                    <a:pt x="562" y="750"/>
                  </a:lnTo>
                  <a:lnTo>
                    <a:pt x="540" y="744"/>
                  </a:lnTo>
                  <a:lnTo>
                    <a:pt x="515" y="751"/>
                  </a:lnTo>
                  <a:lnTo>
                    <a:pt x="495" y="766"/>
                  </a:lnTo>
                  <a:lnTo>
                    <a:pt x="470" y="775"/>
                  </a:lnTo>
                  <a:lnTo>
                    <a:pt x="453" y="794"/>
                  </a:lnTo>
                  <a:lnTo>
                    <a:pt x="450" y="821"/>
                  </a:lnTo>
                  <a:lnTo>
                    <a:pt x="441" y="839"/>
                  </a:lnTo>
                  <a:lnTo>
                    <a:pt x="439" y="858"/>
                  </a:lnTo>
                  <a:lnTo>
                    <a:pt x="450" y="869"/>
                  </a:lnTo>
                  <a:lnTo>
                    <a:pt x="455" y="888"/>
                  </a:lnTo>
                  <a:lnTo>
                    <a:pt x="468" y="910"/>
                  </a:lnTo>
                  <a:lnTo>
                    <a:pt x="481" y="929"/>
                  </a:lnTo>
                  <a:lnTo>
                    <a:pt x="497" y="950"/>
                  </a:lnTo>
                  <a:lnTo>
                    <a:pt x="488" y="972"/>
                  </a:lnTo>
                  <a:lnTo>
                    <a:pt x="486" y="993"/>
                  </a:lnTo>
                  <a:lnTo>
                    <a:pt x="475" y="1011"/>
                  </a:lnTo>
                  <a:lnTo>
                    <a:pt x="451" y="1000"/>
                  </a:lnTo>
                  <a:lnTo>
                    <a:pt x="436" y="1004"/>
                  </a:lnTo>
                  <a:lnTo>
                    <a:pt x="423" y="1014"/>
                  </a:lnTo>
                  <a:lnTo>
                    <a:pt x="414" y="998"/>
                  </a:lnTo>
                  <a:lnTo>
                    <a:pt x="406" y="972"/>
                  </a:lnTo>
                  <a:lnTo>
                    <a:pt x="386" y="958"/>
                  </a:lnTo>
                  <a:lnTo>
                    <a:pt x="367" y="952"/>
                  </a:lnTo>
                  <a:lnTo>
                    <a:pt x="340" y="956"/>
                  </a:lnTo>
                  <a:lnTo>
                    <a:pt x="322" y="959"/>
                  </a:lnTo>
                  <a:lnTo>
                    <a:pt x="302" y="949"/>
                  </a:lnTo>
                  <a:lnTo>
                    <a:pt x="275" y="938"/>
                  </a:lnTo>
                  <a:lnTo>
                    <a:pt x="250" y="931"/>
                  </a:lnTo>
                  <a:lnTo>
                    <a:pt x="231" y="933"/>
                  </a:lnTo>
                  <a:lnTo>
                    <a:pt x="208" y="936"/>
                  </a:lnTo>
                  <a:lnTo>
                    <a:pt x="191" y="924"/>
                  </a:lnTo>
                  <a:lnTo>
                    <a:pt x="183" y="902"/>
                  </a:lnTo>
                  <a:lnTo>
                    <a:pt x="179" y="881"/>
                  </a:lnTo>
                  <a:lnTo>
                    <a:pt x="191" y="858"/>
                  </a:lnTo>
                  <a:lnTo>
                    <a:pt x="188" y="831"/>
                  </a:lnTo>
                  <a:lnTo>
                    <a:pt x="178" y="812"/>
                  </a:lnTo>
                  <a:lnTo>
                    <a:pt x="158" y="805"/>
                  </a:lnTo>
                  <a:lnTo>
                    <a:pt x="139" y="812"/>
                  </a:lnTo>
                  <a:lnTo>
                    <a:pt x="122" y="805"/>
                  </a:lnTo>
                  <a:lnTo>
                    <a:pt x="114" y="787"/>
                  </a:lnTo>
                  <a:lnTo>
                    <a:pt x="111" y="766"/>
                  </a:lnTo>
                  <a:lnTo>
                    <a:pt x="107" y="741"/>
                  </a:lnTo>
                  <a:lnTo>
                    <a:pt x="94" y="716"/>
                  </a:lnTo>
                  <a:lnTo>
                    <a:pt x="74" y="696"/>
                  </a:lnTo>
                  <a:lnTo>
                    <a:pt x="50" y="684"/>
                  </a:lnTo>
                  <a:lnTo>
                    <a:pt x="22" y="689"/>
                  </a:lnTo>
                  <a:lnTo>
                    <a:pt x="13" y="657"/>
                  </a:lnTo>
                  <a:lnTo>
                    <a:pt x="7" y="629"/>
                  </a:lnTo>
                  <a:lnTo>
                    <a:pt x="0" y="608"/>
                  </a:lnTo>
                  <a:lnTo>
                    <a:pt x="3" y="588"/>
                  </a:lnTo>
                  <a:lnTo>
                    <a:pt x="10" y="572"/>
                  </a:lnTo>
                  <a:lnTo>
                    <a:pt x="12" y="547"/>
                  </a:lnTo>
                  <a:lnTo>
                    <a:pt x="10" y="524"/>
                  </a:lnTo>
                  <a:lnTo>
                    <a:pt x="13" y="513"/>
                  </a:lnTo>
                  <a:lnTo>
                    <a:pt x="28" y="508"/>
                  </a:lnTo>
                  <a:lnTo>
                    <a:pt x="49" y="512"/>
                  </a:lnTo>
                  <a:lnTo>
                    <a:pt x="64" y="508"/>
                  </a:lnTo>
                  <a:lnTo>
                    <a:pt x="80" y="499"/>
                  </a:lnTo>
                  <a:lnTo>
                    <a:pt x="94" y="483"/>
                  </a:lnTo>
                  <a:lnTo>
                    <a:pt x="87" y="460"/>
                  </a:lnTo>
                  <a:lnTo>
                    <a:pt x="89" y="439"/>
                  </a:lnTo>
                  <a:lnTo>
                    <a:pt x="97" y="416"/>
                  </a:lnTo>
                  <a:lnTo>
                    <a:pt x="106" y="393"/>
                  </a:lnTo>
                  <a:lnTo>
                    <a:pt x="112" y="364"/>
                  </a:lnTo>
                  <a:lnTo>
                    <a:pt x="114" y="334"/>
                  </a:lnTo>
                  <a:lnTo>
                    <a:pt x="111" y="304"/>
                  </a:lnTo>
                  <a:lnTo>
                    <a:pt x="116" y="282"/>
                  </a:lnTo>
                  <a:lnTo>
                    <a:pt x="122" y="265"/>
                  </a:lnTo>
                  <a:lnTo>
                    <a:pt x="121" y="241"/>
                  </a:lnTo>
                  <a:lnTo>
                    <a:pt x="107" y="199"/>
                  </a:lnTo>
                  <a:lnTo>
                    <a:pt x="101" y="179"/>
                  </a:lnTo>
                  <a:lnTo>
                    <a:pt x="96" y="165"/>
                  </a:lnTo>
                  <a:lnTo>
                    <a:pt x="92" y="149"/>
                  </a:lnTo>
                  <a:lnTo>
                    <a:pt x="77" y="128"/>
                  </a:lnTo>
                  <a:lnTo>
                    <a:pt x="90" y="108"/>
                  </a:lnTo>
                  <a:lnTo>
                    <a:pt x="109" y="99"/>
                  </a:lnTo>
                  <a:lnTo>
                    <a:pt x="126" y="103"/>
                  </a:lnTo>
                  <a:lnTo>
                    <a:pt x="144" y="92"/>
                  </a:lnTo>
                  <a:lnTo>
                    <a:pt x="161" y="83"/>
                  </a:lnTo>
                  <a:lnTo>
                    <a:pt x="171" y="78"/>
                  </a:lnTo>
                  <a:lnTo>
                    <a:pt x="191" y="73"/>
                  </a:lnTo>
                  <a:lnTo>
                    <a:pt x="206" y="83"/>
                  </a:lnTo>
                  <a:lnTo>
                    <a:pt x="221" y="83"/>
                  </a:lnTo>
                  <a:lnTo>
                    <a:pt x="235" y="78"/>
                  </a:lnTo>
                  <a:lnTo>
                    <a:pt x="243" y="64"/>
                  </a:lnTo>
                  <a:lnTo>
                    <a:pt x="253" y="46"/>
                  </a:lnTo>
                  <a:lnTo>
                    <a:pt x="255" y="32"/>
                  </a:lnTo>
                  <a:lnTo>
                    <a:pt x="257" y="21"/>
                  </a:lnTo>
                  <a:lnTo>
                    <a:pt x="257" y="0"/>
                  </a:lnTo>
                  <a:lnTo>
                    <a:pt x="267" y="3"/>
                  </a:lnTo>
                  <a:lnTo>
                    <a:pt x="285" y="18"/>
                  </a:lnTo>
                  <a:lnTo>
                    <a:pt x="292" y="3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C8D0DA8A-B959-4695-A6D0-E691F62FF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7853" y="2411397"/>
              <a:ext cx="461627" cy="403317"/>
            </a:xfrm>
            <a:custGeom>
              <a:avLst/>
              <a:gdLst>
                <a:gd name="T0" fmla="*/ 661 w 760"/>
                <a:gd name="T1" fmla="*/ 327 h 663"/>
                <a:gd name="T2" fmla="*/ 609 w 760"/>
                <a:gd name="T3" fmla="*/ 330 h 663"/>
                <a:gd name="T4" fmla="*/ 572 w 760"/>
                <a:gd name="T5" fmla="*/ 274 h 663"/>
                <a:gd name="T6" fmla="*/ 508 w 760"/>
                <a:gd name="T7" fmla="*/ 275 h 663"/>
                <a:gd name="T8" fmla="*/ 436 w 760"/>
                <a:gd name="T9" fmla="*/ 247 h 663"/>
                <a:gd name="T10" fmla="*/ 377 w 760"/>
                <a:gd name="T11" fmla="*/ 240 h 663"/>
                <a:gd name="T12" fmla="*/ 377 w 760"/>
                <a:gd name="T13" fmla="*/ 174 h 663"/>
                <a:gd name="T14" fmla="*/ 344 w 760"/>
                <a:gd name="T15" fmla="*/ 121 h 663"/>
                <a:gd name="T16" fmla="*/ 300 w 760"/>
                <a:gd name="T17" fmla="*/ 103 h 663"/>
                <a:gd name="T18" fmla="*/ 280 w 760"/>
                <a:gd name="T19" fmla="*/ 32 h 663"/>
                <a:gd name="T20" fmla="*/ 208 w 760"/>
                <a:gd name="T21" fmla="*/ 5 h 663"/>
                <a:gd name="T22" fmla="*/ 191 w 760"/>
                <a:gd name="T23" fmla="*/ 51 h 663"/>
                <a:gd name="T24" fmla="*/ 142 w 760"/>
                <a:gd name="T25" fmla="*/ 43 h 663"/>
                <a:gd name="T26" fmla="*/ 105 w 760"/>
                <a:gd name="T27" fmla="*/ 91 h 663"/>
                <a:gd name="T28" fmla="*/ 37 w 760"/>
                <a:gd name="T29" fmla="*/ 114 h 663"/>
                <a:gd name="T30" fmla="*/ 26 w 760"/>
                <a:gd name="T31" fmla="*/ 163 h 663"/>
                <a:gd name="T32" fmla="*/ 62 w 760"/>
                <a:gd name="T33" fmla="*/ 210 h 663"/>
                <a:gd name="T34" fmla="*/ 77 w 760"/>
                <a:gd name="T35" fmla="*/ 250 h 663"/>
                <a:gd name="T36" fmla="*/ 53 w 760"/>
                <a:gd name="T37" fmla="*/ 298 h 663"/>
                <a:gd name="T38" fmla="*/ 28 w 760"/>
                <a:gd name="T39" fmla="*/ 343 h 663"/>
                <a:gd name="T40" fmla="*/ 15 w 760"/>
                <a:gd name="T41" fmla="*/ 400 h 663"/>
                <a:gd name="T42" fmla="*/ 3 w 760"/>
                <a:gd name="T43" fmla="*/ 462 h 663"/>
                <a:gd name="T44" fmla="*/ 48 w 760"/>
                <a:gd name="T45" fmla="*/ 480 h 663"/>
                <a:gd name="T46" fmla="*/ 48 w 760"/>
                <a:gd name="T47" fmla="*/ 538 h 663"/>
                <a:gd name="T48" fmla="*/ 92 w 760"/>
                <a:gd name="T49" fmla="*/ 529 h 663"/>
                <a:gd name="T50" fmla="*/ 137 w 760"/>
                <a:gd name="T51" fmla="*/ 577 h 663"/>
                <a:gd name="T52" fmla="*/ 189 w 760"/>
                <a:gd name="T53" fmla="*/ 622 h 663"/>
                <a:gd name="T54" fmla="*/ 235 w 760"/>
                <a:gd name="T55" fmla="*/ 663 h 663"/>
                <a:gd name="T56" fmla="*/ 253 w 760"/>
                <a:gd name="T57" fmla="*/ 616 h 663"/>
                <a:gd name="T58" fmla="*/ 315 w 760"/>
                <a:gd name="T59" fmla="*/ 629 h 663"/>
                <a:gd name="T60" fmla="*/ 350 w 760"/>
                <a:gd name="T61" fmla="*/ 650 h 663"/>
                <a:gd name="T62" fmla="*/ 370 w 760"/>
                <a:gd name="T63" fmla="*/ 615 h 663"/>
                <a:gd name="T64" fmla="*/ 377 w 760"/>
                <a:gd name="T65" fmla="*/ 544 h 663"/>
                <a:gd name="T66" fmla="*/ 433 w 760"/>
                <a:gd name="T67" fmla="*/ 553 h 663"/>
                <a:gd name="T68" fmla="*/ 443 w 760"/>
                <a:gd name="T69" fmla="*/ 604 h 663"/>
                <a:gd name="T70" fmla="*/ 491 w 760"/>
                <a:gd name="T71" fmla="*/ 597 h 663"/>
                <a:gd name="T72" fmla="*/ 553 w 760"/>
                <a:gd name="T73" fmla="*/ 600 h 663"/>
                <a:gd name="T74" fmla="*/ 567 w 760"/>
                <a:gd name="T75" fmla="*/ 544 h 663"/>
                <a:gd name="T76" fmla="*/ 610 w 760"/>
                <a:gd name="T77" fmla="*/ 505 h 663"/>
                <a:gd name="T78" fmla="*/ 666 w 760"/>
                <a:gd name="T79" fmla="*/ 464 h 663"/>
                <a:gd name="T80" fmla="*/ 669 w 760"/>
                <a:gd name="T81" fmla="*/ 389 h 663"/>
                <a:gd name="T82" fmla="*/ 719 w 760"/>
                <a:gd name="T83" fmla="*/ 357 h 663"/>
                <a:gd name="T84" fmla="*/ 760 w 760"/>
                <a:gd name="T85" fmla="*/ 332 h 663"/>
                <a:gd name="T86" fmla="*/ 718 w 760"/>
                <a:gd name="T87" fmla="*/ 290 h 663"/>
                <a:gd name="T88" fmla="*/ 691 w 760"/>
                <a:gd name="T89" fmla="*/ 274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0" h="663">
                  <a:moveTo>
                    <a:pt x="674" y="288"/>
                  </a:moveTo>
                  <a:lnTo>
                    <a:pt x="672" y="309"/>
                  </a:lnTo>
                  <a:lnTo>
                    <a:pt x="661" y="327"/>
                  </a:lnTo>
                  <a:lnTo>
                    <a:pt x="637" y="316"/>
                  </a:lnTo>
                  <a:lnTo>
                    <a:pt x="622" y="320"/>
                  </a:lnTo>
                  <a:lnTo>
                    <a:pt x="609" y="330"/>
                  </a:lnTo>
                  <a:lnTo>
                    <a:pt x="600" y="314"/>
                  </a:lnTo>
                  <a:lnTo>
                    <a:pt x="592" y="288"/>
                  </a:lnTo>
                  <a:lnTo>
                    <a:pt x="572" y="274"/>
                  </a:lnTo>
                  <a:lnTo>
                    <a:pt x="553" y="268"/>
                  </a:lnTo>
                  <a:lnTo>
                    <a:pt x="526" y="272"/>
                  </a:lnTo>
                  <a:lnTo>
                    <a:pt x="508" y="275"/>
                  </a:lnTo>
                  <a:lnTo>
                    <a:pt x="488" y="265"/>
                  </a:lnTo>
                  <a:lnTo>
                    <a:pt x="461" y="254"/>
                  </a:lnTo>
                  <a:lnTo>
                    <a:pt x="436" y="247"/>
                  </a:lnTo>
                  <a:lnTo>
                    <a:pt x="417" y="249"/>
                  </a:lnTo>
                  <a:lnTo>
                    <a:pt x="394" y="252"/>
                  </a:lnTo>
                  <a:lnTo>
                    <a:pt x="377" y="240"/>
                  </a:lnTo>
                  <a:lnTo>
                    <a:pt x="369" y="218"/>
                  </a:lnTo>
                  <a:lnTo>
                    <a:pt x="365" y="197"/>
                  </a:lnTo>
                  <a:lnTo>
                    <a:pt x="377" y="174"/>
                  </a:lnTo>
                  <a:lnTo>
                    <a:pt x="374" y="147"/>
                  </a:lnTo>
                  <a:lnTo>
                    <a:pt x="364" y="128"/>
                  </a:lnTo>
                  <a:lnTo>
                    <a:pt x="344" y="121"/>
                  </a:lnTo>
                  <a:lnTo>
                    <a:pt x="325" y="128"/>
                  </a:lnTo>
                  <a:lnTo>
                    <a:pt x="308" y="121"/>
                  </a:lnTo>
                  <a:lnTo>
                    <a:pt x="300" y="103"/>
                  </a:lnTo>
                  <a:lnTo>
                    <a:pt x="297" y="82"/>
                  </a:lnTo>
                  <a:lnTo>
                    <a:pt x="293" y="57"/>
                  </a:lnTo>
                  <a:lnTo>
                    <a:pt x="280" y="32"/>
                  </a:lnTo>
                  <a:lnTo>
                    <a:pt x="260" y="12"/>
                  </a:lnTo>
                  <a:lnTo>
                    <a:pt x="236" y="0"/>
                  </a:lnTo>
                  <a:lnTo>
                    <a:pt x="208" y="5"/>
                  </a:lnTo>
                  <a:lnTo>
                    <a:pt x="213" y="27"/>
                  </a:lnTo>
                  <a:lnTo>
                    <a:pt x="208" y="41"/>
                  </a:lnTo>
                  <a:lnTo>
                    <a:pt x="191" y="51"/>
                  </a:lnTo>
                  <a:lnTo>
                    <a:pt x="176" y="48"/>
                  </a:lnTo>
                  <a:lnTo>
                    <a:pt x="162" y="30"/>
                  </a:lnTo>
                  <a:lnTo>
                    <a:pt x="142" y="43"/>
                  </a:lnTo>
                  <a:lnTo>
                    <a:pt x="136" y="60"/>
                  </a:lnTo>
                  <a:lnTo>
                    <a:pt x="117" y="75"/>
                  </a:lnTo>
                  <a:lnTo>
                    <a:pt x="105" y="91"/>
                  </a:lnTo>
                  <a:lnTo>
                    <a:pt x="85" y="105"/>
                  </a:lnTo>
                  <a:lnTo>
                    <a:pt x="62" y="115"/>
                  </a:lnTo>
                  <a:lnTo>
                    <a:pt x="37" y="114"/>
                  </a:lnTo>
                  <a:lnTo>
                    <a:pt x="10" y="119"/>
                  </a:lnTo>
                  <a:lnTo>
                    <a:pt x="18" y="142"/>
                  </a:lnTo>
                  <a:lnTo>
                    <a:pt x="26" y="163"/>
                  </a:lnTo>
                  <a:lnTo>
                    <a:pt x="43" y="174"/>
                  </a:lnTo>
                  <a:lnTo>
                    <a:pt x="53" y="190"/>
                  </a:lnTo>
                  <a:lnTo>
                    <a:pt x="62" y="210"/>
                  </a:lnTo>
                  <a:lnTo>
                    <a:pt x="80" y="211"/>
                  </a:lnTo>
                  <a:lnTo>
                    <a:pt x="90" y="233"/>
                  </a:lnTo>
                  <a:lnTo>
                    <a:pt x="77" y="250"/>
                  </a:lnTo>
                  <a:lnTo>
                    <a:pt x="62" y="259"/>
                  </a:lnTo>
                  <a:lnTo>
                    <a:pt x="50" y="274"/>
                  </a:lnTo>
                  <a:lnTo>
                    <a:pt x="53" y="298"/>
                  </a:lnTo>
                  <a:lnTo>
                    <a:pt x="58" y="323"/>
                  </a:lnTo>
                  <a:lnTo>
                    <a:pt x="40" y="329"/>
                  </a:lnTo>
                  <a:lnTo>
                    <a:pt x="28" y="343"/>
                  </a:lnTo>
                  <a:lnTo>
                    <a:pt x="23" y="366"/>
                  </a:lnTo>
                  <a:lnTo>
                    <a:pt x="32" y="382"/>
                  </a:lnTo>
                  <a:lnTo>
                    <a:pt x="15" y="400"/>
                  </a:lnTo>
                  <a:lnTo>
                    <a:pt x="5" y="419"/>
                  </a:lnTo>
                  <a:lnTo>
                    <a:pt x="0" y="441"/>
                  </a:lnTo>
                  <a:lnTo>
                    <a:pt x="3" y="462"/>
                  </a:lnTo>
                  <a:lnTo>
                    <a:pt x="16" y="480"/>
                  </a:lnTo>
                  <a:lnTo>
                    <a:pt x="33" y="471"/>
                  </a:lnTo>
                  <a:lnTo>
                    <a:pt x="48" y="480"/>
                  </a:lnTo>
                  <a:lnTo>
                    <a:pt x="55" y="499"/>
                  </a:lnTo>
                  <a:lnTo>
                    <a:pt x="47" y="519"/>
                  </a:lnTo>
                  <a:lnTo>
                    <a:pt x="48" y="538"/>
                  </a:lnTo>
                  <a:lnTo>
                    <a:pt x="50" y="542"/>
                  </a:lnTo>
                  <a:lnTo>
                    <a:pt x="67" y="537"/>
                  </a:lnTo>
                  <a:lnTo>
                    <a:pt x="92" y="529"/>
                  </a:lnTo>
                  <a:lnTo>
                    <a:pt x="112" y="537"/>
                  </a:lnTo>
                  <a:lnTo>
                    <a:pt x="125" y="556"/>
                  </a:lnTo>
                  <a:lnTo>
                    <a:pt x="137" y="577"/>
                  </a:lnTo>
                  <a:lnTo>
                    <a:pt x="157" y="593"/>
                  </a:lnTo>
                  <a:lnTo>
                    <a:pt x="179" y="604"/>
                  </a:lnTo>
                  <a:lnTo>
                    <a:pt x="189" y="622"/>
                  </a:lnTo>
                  <a:lnTo>
                    <a:pt x="194" y="645"/>
                  </a:lnTo>
                  <a:lnTo>
                    <a:pt x="209" y="659"/>
                  </a:lnTo>
                  <a:lnTo>
                    <a:pt x="235" y="663"/>
                  </a:lnTo>
                  <a:lnTo>
                    <a:pt x="246" y="659"/>
                  </a:lnTo>
                  <a:lnTo>
                    <a:pt x="240" y="632"/>
                  </a:lnTo>
                  <a:lnTo>
                    <a:pt x="253" y="616"/>
                  </a:lnTo>
                  <a:lnTo>
                    <a:pt x="271" y="613"/>
                  </a:lnTo>
                  <a:lnTo>
                    <a:pt x="295" y="620"/>
                  </a:lnTo>
                  <a:lnTo>
                    <a:pt x="315" y="629"/>
                  </a:lnTo>
                  <a:lnTo>
                    <a:pt x="330" y="624"/>
                  </a:lnTo>
                  <a:lnTo>
                    <a:pt x="340" y="640"/>
                  </a:lnTo>
                  <a:lnTo>
                    <a:pt x="350" y="650"/>
                  </a:lnTo>
                  <a:lnTo>
                    <a:pt x="367" y="654"/>
                  </a:lnTo>
                  <a:lnTo>
                    <a:pt x="377" y="643"/>
                  </a:lnTo>
                  <a:lnTo>
                    <a:pt x="370" y="615"/>
                  </a:lnTo>
                  <a:lnTo>
                    <a:pt x="362" y="586"/>
                  </a:lnTo>
                  <a:lnTo>
                    <a:pt x="362" y="565"/>
                  </a:lnTo>
                  <a:lnTo>
                    <a:pt x="377" y="544"/>
                  </a:lnTo>
                  <a:lnTo>
                    <a:pt x="396" y="535"/>
                  </a:lnTo>
                  <a:lnTo>
                    <a:pt x="414" y="538"/>
                  </a:lnTo>
                  <a:lnTo>
                    <a:pt x="433" y="553"/>
                  </a:lnTo>
                  <a:lnTo>
                    <a:pt x="436" y="569"/>
                  </a:lnTo>
                  <a:lnTo>
                    <a:pt x="434" y="588"/>
                  </a:lnTo>
                  <a:lnTo>
                    <a:pt x="443" y="604"/>
                  </a:lnTo>
                  <a:lnTo>
                    <a:pt x="459" y="608"/>
                  </a:lnTo>
                  <a:lnTo>
                    <a:pt x="476" y="604"/>
                  </a:lnTo>
                  <a:lnTo>
                    <a:pt x="491" y="597"/>
                  </a:lnTo>
                  <a:lnTo>
                    <a:pt x="515" y="604"/>
                  </a:lnTo>
                  <a:lnTo>
                    <a:pt x="535" y="611"/>
                  </a:lnTo>
                  <a:lnTo>
                    <a:pt x="553" y="600"/>
                  </a:lnTo>
                  <a:lnTo>
                    <a:pt x="562" y="599"/>
                  </a:lnTo>
                  <a:lnTo>
                    <a:pt x="568" y="561"/>
                  </a:lnTo>
                  <a:lnTo>
                    <a:pt x="567" y="544"/>
                  </a:lnTo>
                  <a:lnTo>
                    <a:pt x="570" y="522"/>
                  </a:lnTo>
                  <a:lnTo>
                    <a:pt x="584" y="508"/>
                  </a:lnTo>
                  <a:lnTo>
                    <a:pt x="610" y="505"/>
                  </a:lnTo>
                  <a:lnTo>
                    <a:pt x="636" y="497"/>
                  </a:lnTo>
                  <a:lnTo>
                    <a:pt x="654" y="485"/>
                  </a:lnTo>
                  <a:lnTo>
                    <a:pt x="666" y="464"/>
                  </a:lnTo>
                  <a:lnTo>
                    <a:pt x="664" y="435"/>
                  </a:lnTo>
                  <a:lnTo>
                    <a:pt x="657" y="410"/>
                  </a:lnTo>
                  <a:lnTo>
                    <a:pt x="669" y="389"/>
                  </a:lnTo>
                  <a:lnTo>
                    <a:pt x="691" y="387"/>
                  </a:lnTo>
                  <a:lnTo>
                    <a:pt x="709" y="378"/>
                  </a:lnTo>
                  <a:lnTo>
                    <a:pt x="719" y="357"/>
                  </a:lnTo>
                  <a:lnTo>
                    <a:pt x="738" y="348"/>
                  </a:lnTo>
                  <a:lnTo>
                    <a:pt x="753" y="343"/>
                  </a:lnTo>
                  <a:lnTo>
                    <a:pt x="760" y="332"/>
                  </a:lnTo>
                  <a:lnTo>
                    <a:pt x="750" y="311"/>
                  </a:lnTo>
                  <a:lnTo>
                    <a:pt x="731" y="304"/>
                  </a:lnTo>
                  <a:lnTo>
                    <a:pt x="718" y="290"/>
                  </a:lnTo>
                  <a:lnTo>
                    <a:pt x="721" y="275"/>
                  </a:lnTo>
                  <a:lnTo>
                    <a:pt x="709" y="272"/>
                  </a:lnTo>
                  <a:lnTo>
                    <a:pt x="691" y="274"/>
                  </a:lnTo>
                  <a:lnTo>
                    <a:pt x="674" y="28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02280B77-257E-4FAF-81E1-4EE9CFBE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214" y="2405323"/>
              <a:ext cx="532086" cy="428828"/>
            </a:xfrm>
            <a:custGeom>
              <a:avLst/>
              <a:gdLst>
                <a:gd name="T0" fmla="*/ 412 w 876"/>
                <a:gd name="T1" fmla="*/ 107 h 706"/>
                <a:gd name="T2" fmla="*/ 402 w 876"/>
                <a:gd name="T3" fmla="*/ 169 h 706"/>
                <a:gd name="T4" fmla="*/ 441 w 876"/>
                <a:gd name="T5" fmla="*/ 144 h 706"/>
                <a:gd name="T6" fmla="*/ 503 w 876"/>
                <a:gd name="T7" fmla="*/ 155 h 706"/>
                <a:gd name="T8" fmla="*/ 584 w 876"/>
                <a:gd name="T9" fmla="*/ 137 h 706"/>
                <a:gd name="T10" fmla="*/ 617 w 876"/>
                <a:gd name="T11" fmla="*/ 71 h 706"/>
                <a:gd name="T12" fmla="*/ 662 w 876"/>
                <a:gd name="T13" fmla="*/ 48 h 706"/>
                <a:gd name="T14" fmla="*/ 701 w 876"/>
                <a:gd name="T15" fmla="*/ 20 h 706"/>
                <a:gd name="T16" fmla="*/ 751 w 876"/>
                <a:gd name="T17" fmla="*/ 22 h 706"/>
                <a:gd name="T18" fmla="*/ 807 w 876"/>
                <a:gd name="T19" fmla="*/ 0 h 706"/>
                <a:gd name="T20" fmla="*/ 840 w 876"/>
                <a:gd name="T21" fmla="*/ 54 h 706"/>
                <a:gd name="T22" fmla="*/ 859 w 876"/>
                <a:gd name="T23" fmla="*/ 118 h 706"/>
                <a:gd name="T24" fmla="*/ 869 w 876"/>
                <a:gd name="T25" fmla="*/ 196 h 706"/>
                <a:gd name="T26" fmla="*/ 847 w 876"/>
                <a:gd name="T27" fmla="*/ 304 h 706"/>
                <a:gd name="T28" fmla="*/ 805 w 876"/>
                <a:gd name="T29" fmla="*/ 347 h 706"/>
                <a:gd name="T30" fmla="*/ 770 w 876"/>
                <a:gd name="T31" fmla="*/ 315 h 706"/>
                <a:gd name="T32" fmla="*/ 736 w 876"/>
                <a:gd name="T33" fmla="*/ 265 h 706"/>
                <a:gd name="T34" fmla="*/ 671 w 876"/>
                <a:gd name="T35" fmla="*/ 267 h 706"/>
                <a:gd name="T36" fmla="*/ 699 w 876"/>
                <a:gd name="T37" fmla="*/ 309 h 706"/>
                <a:gd name="T38" fmla="*/ 664 w 876"/>
                <a:gd name="T39" fmla="*/ 334 h 706"/>
                <a:gd name="T40" fmla="*/ 612 w 876"/>
                <a:gd name="T41" fmla="*/ 384 h 706"/>
                <a:gd name="T42" fmla="*/ 553 w 876"/>
                <a:gd name="T43" fmla="*/ 386 h 706"/>
                <a:gd name="T44" fmla="*/ 486 w 876"/>
                <a:gd name="T45" fmla="*/ 420 h 706"/>
                <a:gd name="T46" fmla="*/ 426 w 876"/>
                <a:gd name="T47" fmla="*/ 469 h 706"/>
                <a:gd name="T48" fmla="*/ 372 w 876"/>
                <a:gd name="T49" fmla="*/ 503 h 706"/>
                <a:gd name="T50" fmla="*/ 315 w 876"/>
                <a:gd name="T51" fmla="*/ 546 h 706"/>
                <a:gd name="T52" fmla="*/ 278 w 876"/>
                <a:gd name="T53" fmla="*/ 597 h 706"/>
                <a:gd name="T54" fmla="*/ 228 w 876"/>
                <a:gd name="T55" fmla="*/ 588 h 706"/>
                <a:gd name="T56" fmla="*/ 188 w 876"/>
                <a:gd name="T57" fmla="*/ 611 h 706"/>
                <a:gd name="T58" fmla="*/ 146 w 876"/>
                <a:gd name="T59" fmla="*/ 643 h 706"/>
                <a:gd name="T60" fmla="*/ 146 w 876"/>
                <a:gd name="T61" fmla="*/ 706 h 706"/>
                <a:gd name="T62" fmla="*/ 85 w 876"/>
                <a:gd name="T63" fmla="*/ 679 h 706"/>
                <a:gd name="T64" fmla="*/ 33 w 876"/>
                <a:gd name="T65" fmla="*/ 645 h 706"/>
                <a:gd name="T66" fmla="*/ 0 w 876"/>
                <a:gd name="T67" fmla="*/ 610 h 706"/>
                <a:gd name="T68" fmla="*/ 8 w 876"/>
                <a:gd name="T69" fmla="*/ 533 h 706"/>
                <a:gd name="T70" fmla="*/ 74 w 876"/>
                <a:gd name="T71" fmla="*/ 508 h 706"/>
                <a:gd name="T72" fmla="*/ 102 w 876"/>
                <a:gd name="T73" fmla="*/ 452 h 706"/>
                <a:gd name="T74" fmla="*/ 107 w 876"/>
                <a:gd name="T75" fmla="*/ 400 h 706"/>
                <a:gd name="T76" fmla="*/ 157 w 876"/>
                <a:gd name="T77" fmla="*/ 368 h 706"/>
                <a:gd name="T78" fmla="*/ 198 w 876"/>
                <a:gd name="T79" fmla="*/ 341 h 706"/>
                <a:gd name="T80" fmla="*/ 156 w 876"/>
                <a:gd name="T81" fmla="*/ 301 h 706"/>
                <a:gd name="T82" fmla="*/ 129 w 876"/>
                <a:gd name="T83" fmla="*/ 285 h 706"/>
                <a:gd name="T84" fmla="*/ 107 w 876"/>
                <a:gd name="T85" fmla="*/ 260 h 706"/>
                <a:gd name="T86" fmla="*/ 74 w 876"/>
                <a:gd name="T87" fmla="*/ 196 h 706"/>
                <a:gd name="T88" fmla="*/ 74 w 876"/>
                <a:gd name="T89" fmla="*/ 148 h 706"/>
                <a:gd name="T90" fmla="*/ 117 w 876"/>
                <a:gd name="T91" fmla="*/ 93 h 706"/>
                <a:gd name="T92" fmla="*/ 186 w 876"/>
                <a:gd name="T93" fmla="*/ 77 h 706"/>
                <a:gd name="T94" fmla="*/ 243 w 876"/>
                <a:gd name="T95" fmla="*/ 48 h 706"/>
                <a:gd name="T96" fmla="*/ 297 w 876"/>
                <a:gd name="T97" fmla="*/ 48 h 706"/>
                <a:gd name="T98" fmla="*/ 355 w 876"/>
                <a:gd name="T99" fmla="*/ 70 h 706"/>
                <a:gd name="T100" fmla="*/ 389 w 876"/>
                <a:gd name="T101" fmla="*/ 61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6" h="706">
                  <a:moveTo>
                    <a:pt x="389" y="61"/>
                  </a:moveTo>
                  <a:lnTo>
                    <a:pt x="402" y="86"/>
                  </a:lnTo>
                  <a:lnTo>
                    <a:pt x="412" y="107"/>
                  </a:lnTo>
                  <a:lnTo>
                    <a:pt x="406" y="134"/>
                  </a:lnTo>
                  <a:lnTo>
                    <a:pt x="401" y="155"/>
                  </a:lnTo>
                  <a:lnTo>
                    <a:pt x="402" y="169"/>
                  </a:lnTo>
                  <a:lnTo>
                    <a:pt x="416" y="174"/>
                  </a:lnTo>
                  <a:lnTo>
                    <a:pt x="429" y="164"/>
                  </a:lnTo>
                  <a:lnTo>
                    <a:pt x="441" y="144"/>
                  </a:lnTo>
                  <a:lnTo>
                    <a:pt x="461" y="135"/>
                  </a:lnTo>
                  <a:lnTo>
                    <a:pt x="485" y="142"/>
                  </a:lnTo>
                  <a:lnTo>
                    <a:pt x="503" y="155"/>
                  </a:lnTo>
                  <a:lnTo>
                    <a:pt x="528" y="153"/>
                  </a:lnTo>
                  <a:lnTo>
                    <a:pt x="562" y="146"/>
                  </a:lnTo>
                  <a:lnTo>
                    <a:pt x="584" y="137"/>
                  </a:lnTo>
                  <a:lnTo>
                    <a:pt x="597" y="110"/>
                  </a:lnTo>
                  <a:lnTo>
                    <a:pt x="600" y="86"/>
                  </a:lnTo>
                  <a:lnTo>
                    <a:pt x="617" y="71"/>
                  </a:lnTo>
                  <a:lnTo>
                    <a:pt x="626" y="52"/>
                  </a:lnTo>
                  <a:lnTo>
                    <a:pt x="639" y="41"/>
                  </a:lnTo>
                  <a:lnTo>
                    <a:pt x="662" y="48"/>
                  </a:lnTo>
                  <a:lnTo>
                    <a:pt x="681" y="55"/>
                  </a:lnTo>
                  <a:lnTo>
                    <a:pt x="693" y="43"/>
                  </a:lnTo>
                  <a:lnTo>
                    <a:pt x="701" y="20"/>
                  </a:lnTo>
                  <a:lnTo>
                    <a:pt x="720" y="2"/>
                  </a:lnTo>
                  <a:lnTo>
                    <a:pt x="736" y="11"/>
                  </a:lnTo>
                  <a:lnTo>
                    <a:pt x="751" y="22"/>
                  </a:lnTo>
                  <a:lnTo>
                    <a:pt x="770" y="13"/>
                  </a:lnTo>
                  <a:lnTo>
                    <a:pt x="795" y="11"/>
                  </a:lnTo>
                  <a:lnTo>
                    <a:pt x="807" y="0"/>
                  </a:lnTo>
                  <a:lnTo>
                    <a:pt x="805" y="22"/>
                  </a:lnTo>
                  <a:lnTo>
                    <a:pt x="819" y="36"/>
                  </a:lnTo>
                  <a:lnTo>
                    <a:pt x="840" y="54"/>
                  </a:lnTo>
                  <a:lnTo>
                    <a:pt x="859" y="68"/>
                  </a:lnTo>
                  <a:lnTo>
                    <a:pt x="857" y="94"/>
                  </a:lnTo>
                  <a:lnTo>
                    <a:pt x="859" y="118"/>
                  </a:lnTo>
                  <a:lnTo>
                    <a:pt x="872" y="142"/>
                  </a:lnTo>
                  <a:lnTo>
                    <a:pt x="876" y="169"/>
                  </a:lnTo>
                  <a:lnTo>
                    <a:pt x="869" y="196"/>
                  </a:lnTo>
                  <a:lnTo>
                    <a:pt x="855" y="237"/>
                  </a:lnTo>
                  <a:lnTo>
                    <a:pt x="850" y="270"/>
                  </a:lnTo>
                  <a:lnTo>
                    <a:pt x="847" y="304"/>
                  </a:lnTo>
                  <a:lnTo>
                    <a:pt x="839" y="324"/>
                  </a:lnTo>
                  <a:lnTo>
                    <a:pt x="824" y="338"/>
                  </a:lnTo>
                  <a:lnTo>
                    <a:pt x="805" y="347"/>
                  </a:lnTo>
                  <a:lnTo>
                    <a:pt x="785" y="343"/>
                  </a:lnTo>
                  <a:lnTo>
                    <a:pt x="773" y="336"/>
                  </a:lnTo>
                  <a:lnTo>
                    <a:pt x="770" y="315"/>
                  </a:lnTo>
                  <a:lnTo>
                    <a:pt x="761" y="297"/>
                  </a:lnTo>
                  <a:lnTo>
                    <a:pt x="745" y="286"/>
                  </a:lnTo>
                  <a:lnTo>
                    <a:pt x="736" y="265"/>
                  </a:lnTo>
                  <a:lnTo>
                    <a:pt x="715" y="263"/>
                  </a:lnTo>
                  <a:lnTo>
                    <a:pt x="691" y="256"/>
                  </a:lnTo>
                  <a:lnTo>
                    <a:pt x="671" y="267"/>
                  </a:lnTo>
                  <a:lnTo>
                    <a:pt x="668" y="285"/>
                  </a:lnTo>
                  <a:lnTo>
                    <a:pt x="688" y="297"/>
                  </a:lnTo>
                  <a:lnTo>
                    <a:pt x="699" y="309"/>
                  </a:lnTo>
                  <a:lnTo>
                    <a:pt x="698" y="327"/>
                  </a:lnTo>
                  <a:lnTo>
                    <a:pt x="688" y="336"/>
                  </a:lnTo>
                  <a:lnTo>
                    <a:pt x="664" y="334"/>
                  </a:lnTo>
                  <a:lnTo>
                    <a:pt x="651" y="352"/>
                  </a:lnTo>
                  <a:lnTo>
                    <a:pt x="631" y="366"/>
                  </a:lnTo>
                  <a:lnTo>
                    <a:pt x="612" y="384"/>
                  </a:lnTo>
                  <a:lnTo>
                    <a:pt x="590" y="382"/>
                  </a:lnTo>
                  <a:lnTo>
                    <a:pt x="575" y="375"/>
                  </a:lnTo>
                  <a:lnTo>
                    <a:pt x="553" y="386"/>
                  </a:lnTo>
                  <a:lnTo>
                    <a:pt x="540" y="405"/>
                  </a:lnTo>
                  <a:lnTo>
                    <a:pt x="518" y="412"/>
                  </a:lnTo>
                  <a:lnTo>
                    <a:pt x="486" y="420"/>
                  </a:lnTo>
                  <a:lnTo>
                    <a:pt x="463" y="430"/>
                  </a:lnTo>
                  <a:lnTo>
                    <a:pt x="439" y="446"/>
                  </a:lnTo>
                  <a:lnTo>
                    <a:pt x="426" y="469"/>
                  </a:lnTo>
                  <a:lnTo>
                    <a:pt x="411" y="487"/>
                  </a:lnTo>
                  <a:lnTo>
                    <a:pt x="392" y="491"/>
                  </a:lnTo>
                  <a:lnTo>
                    <a:pt x="372" y="503"/>
                  </a:lnTo>
                  <a:lnTo>
                    <a:pt x="357" y="523"/>
                  </a:lnTo>
                  <a:lnTo>
                    <a:pt x="335" y="533"/>
                  </a:lnTo>
                  <a:lnTo>
                    <a:pt x="315" y="546"/>
                  </a:lnTo>
                  <a:lnTo>
                    <a:pt x="305" y="567"/>
                  </a:lnTo>
                  <a:lnTo>
                    <a:pt x="295" y="588"/>
                  </a:lnTo>
                  <a:lnTo>
                    <a:pt x="278" y="597"/>
                  </a:lnTo>
                  <a:lnTo>
                    <a:pt x="263" y="592"/>
                  </a:lnTo>
                  <a:lnTo>
                    <a:pt x="245" y="581"/>
                  </a:lnTo>
                  <a:lnTo>
                    <a:pt x="228" y="588"/>
                  </a:lnTo>
                  <a:lnTo>
                    <a:pt x="221" y="604"/>
                  </a:lnTo>
                  <a:lnTo>
                    <a:pt x="203" y="601"/>
                  </a:lnTo>
                  <a:lnTo>
                    <a:pt x="188" y="611"/>
                  </a:lnTo>
                  <a:lnTo>
                    <a:pt x="178" y="631"/>
                  </a:lnTo>
                  <a:lnTo>
                    <a:pt x="164" y="636"/>
                  </a:lnTo>
                  <a:lnTo>
                    <a:pt x="146" y="643"/>
                  </a:lnTo>
                  <a:lnTo>
                    <a:pt x="139" y="665"/>
                  </a:lnTo>
                  <a:lnTo>
                    <a:pt x="144" y="686"/>
                  </a:lnTo>
                  <a:lnTo>
                    <a:pt x="146" y="706"/>
                  </a:lnTo>
                  <a:lnTo>
                    <a:pt x="122" y="702"/>
                  </a:lnTo>
                  <a:lnTo>
                    <a:pt x="102" y="684"/>
                  </a:lnTo>
                  <a:lnTo>
                    <a:pt x="85" y="679"/>
                  </a:lnTo>
                  <a:lnTo>
                    <a:pt x="67" y="665"/>
                  </a:lnTo>
                  <a:lnTo>
                    <a:pt x="48" y="661"/>
                  </a:lnTo>
                  <a:lnTo>
                    <a:pt x="33" y="645"/>
                  </a:lnTo>
                  <a:lnTo>
                    <a:pt x="20" y="624"/>
                  </a:lnTo>
                  <a:lnTo>
                    <a:pt x="5" y="610"/>
                  </a:lnTo>
                  <a:lnTo>
                    <a:pt x="0" y="610"/>
                  </a:lnTo>
                  <a:lnTo>
                    <a:pt x="6" y="576"/>
                  </a:lnTo>
                  <a:lnTo>
                    <a:pt x="5" y="555"/>
                  </a:lnTo>
                  <a:lnTo>
                    <a:pt x="8" y="533"/>
                  </a:lnTo>
                  <a:lnTo>
                    <a:pt x="22" y="519"/>
                  </a:lnTo>
                  <a:lnTo>
                    <a:pt x="48" y="514"/>
                  </a:lnTo>
                  <a:lnTo>
                    <a:pt x="74" y="508"/>
                  </a:lnTo>
                  <a:lnTo>
                    <a:pt x="92" y="494"/>
                  </a:lnTo>
                  <a:lnTo>
                    <a:pt x="104" y="475"/>
                  </a:lnTo>
                  <a:lnTo>
                    <a:pt x="102" y="452"/>
                  </a:lnTo>
                  <a:lnTo>
                    <a:pt x="99" y="436"/>
                  </a:lnTo>
                  <a:lnTo>
                    <a:pt x="95" y="423"/>
                  </a:lnTo>
                  <a:lnTo>
                    <a:pt x="107" y="400"/>
                  </a:lnTo>
                  <a:lnTo>
                    <a:pt x="129" y="398"/>
                  </a:lnTo>
                  <a:lnTo>
                    <a:pt x="147" y="389"/>
                  </a:lnTo>
                  <a:lnTo>
                    <a:pt x="157" y="368"/>
                  </a:lnTo>
                  <a:lnTo>
                    <a:pt x="178" y="357"/>
                  </a:lnTo>
                  <a:lnTo>
                    <a:pt x="191" y="354"/>
                  </a:lnTo>
                  <a:lnTo>
                    <a:pt x="198" y="341"/>
                  </a:lnTo>
                  <a:lnTo>
                    <a:pt x="188" y="322"/>
                  </a:lnTo>
                  <a:lnTo>
                    <a:pt x="169" y="317"/>
                  </a:lnTo>
                  <a:lnTo>
                    <a:pt x="156" y="301"/>
                  </a:lnTo>
                  <a:lnTo>
                    <a:pt x="159" y="286"/>
                  </a:lnTo>
                  <a:lnTo>
                    <a:pt x="146" y="283"/>
                  </a:lnTo>
                  <a:lnTo>
                    <a:pt x="129" y="285"/>
                  </a:lnTo>
                  <a:lnTo>
                    <a:pt x="112" y="299"/>
                  </a:lnTo>
                  <a:lnTo>
                    <a:pt x="121" y="277"/>
                  </a:lnTo>
                  <a:lnTo>
                    <a:pt x="107" y="260"/>
                  </a:lnTo>
                  <a:lnTo>
                    <a:pt x="92" y="237"/>
                  </a:lnTo>
                  <a:lnTo>
                    <a:pt x="77" y="215"/>
                  </a:lnTo>
                  <a:lnTo>
                    <a:pt x="74" y="196"/>
                  </a:lnTo>
                  <a:lnTo>
                    <a:pt x="63" y="185"/>
                  </a:lnTo>
                  <a:lnTo>
                    <a:pt x="65" y="166"/>
                  </a:lnTo>
                  <a:lnTo>
                    <a:pt x="74" y="148"/>
                  </a:lnTo>
                  <a:lnTo>
                    <a:pt x="77" y="121"/>
                  </a:lnTo>
                  <a:lnTo>
                    <a:pt x="94" y="102"/>
                  </a:lnTo>
                  <a:lnTo>
                    <a:pt x="117" y="93"/>
                  </a:lnTo>
                  <a:lnTo>
                    <a:pt x="137" y="78"/>
                  </a:lnTo>
                  <a:lnTo>
                    <a:pt x="164" y="71"/>
                  </a:lnTo>
                  <a:lnTo>
                    <a:pt x="186" y="77"/>
                  </a:lnTo>
                  <a:lnTo>
                    <a:pt x="211" y="70"/>
                  </a:lnTo>
                  <a:lnTo>
                    <a:pt x="223" y="57"/>
                  </a:lnTo>
                  <a:lnTo>
                    <a:pt x="243" y="48"/>
                  </a:lnTo>
                  <a:lnTo>
                    <a:pt x="265" y="52"/>
                  </a:lnTo>
                  <a:lnTo>
                    <a:pt x="282" y="45"/>
                  </a:lnTo>
                  <a:lnTo>
                    <a:pt x="297" y="48"/>
                  </a:lnTo>
                  <a:lnTo>
                    <a:pt x="319" y="64"/>
                  </a:lnTo>
                  <a:lnTo>
                    <a:pt x="335" y="66"/>
                  </a:lnTo>
                  <a:lnTo>
                    <a:pt x="355" y="70"/>
                  </a:lnTo>
                  <a:lnTo>
                    <a:pt x="369" y="54"/>
                  </a:lnTo>
                  <a:lnTo>
                    <a:pt x="382" y="43"/>
                  </a:lnTo>
                  <a:lnTo>
                    <a:pt x="389" y="6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5499C13E-C9E7-4676-BC2A-BEC873847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564" y="2733321"/>
              <a:ext cx="880736" cy="946336"/>
            </a:xfrm>
            <a:custGeom>
              <a:avLst/>
              <a:gdLst>
                <a:gd name="T0" fmla="*/ 421 w 1451"/>
                <a:gd name="T1" fmla="*/ 48 h 1559"/>
                <a:gd name="T2" fmla="*/ 519 w 1451"/>
                <a:gd name="T3" fmla="*/ 134 h 1559"/>
                <a:gd name="T4" fmla="*/ 599 w 1451"/>
                <a:gd name="T5" fmla="*/ 100 h 1559"/>
                <a:gd name="T6" fmla="*/ 654 w 1451"/>
                <a:gd name="T7" fmla="*/ 86 h 1559"/>
                <a:gd name="T8" fmla="*/ 717 w 1451"/>
                <a:gd name="T9" fmla="*/ 24 h 1559"/>
                <a:gd name="T10" fmla="*/ 775 w 1451"/>
                <a:gd name="T11" fmla="*/ 68 h 1559"/>
                <a:gd name="T12" fmla="*/ 878 w 1451"/>
                <a:gd name="T13" fmla="*/ 103 h 1559"/>
                <a:gd name="T14" fmla="*/ 935 w 1451"/>
                <a:gd name="T15" fmla="*/ 221 h 1559"/>
                <a:gd name="T16" fmla="*/ 1020 w 1451"/>
                <a:gd name="T17" fmla="*/ 285 h 1559"/>
                <a:gd name="T18" fmla="*/ 1008 w 1451"/>
                <a:gd name="T19" fmla="*/ 388 h 1559"/>
                <a:gd name="T20" fmla="*/ 1082 w 1451"/>
                <a:gd name="T21" fmla="*/ 475 h 1559"/>
                <a:gd name="T22" fmla="*/ 1158 w 1451"/>
                <a:gd name="T23" fmla="*/ 562 h 1559"/>
                <a:gd name="T24" fmla="*/ 1247 w 1451"/>
                <a:gd name="T25" fmla="*/ 644 h 1559"/>
                <a:gd name="T26" fmla="*/ 1329 w 1451"/>
                <a:gd name="T27" fmla="*/ 720 h 1559"/>
                <a:gd name="T28" fmla="*/ 1436 w 1451"/>
                <a:gd name="T29" fmla="*/ 811 h 1559"/>
                <a:gd name="T30" fmla="*/ 1408 w 1451"/>
                <a:gd name="T31" fmla="*/ 926 h 1559"/>
                <a:gd name="T32" fmla="*/ 1326 w 1451"/>
                <a:gd name="T33" fmla="*/ 994 h 1559"/>
                <a:gd name="T34" fmla="*/ 1222 w 1451"/>
                <a:gd name="T35" fmla="*/ 1084 h 1559"/>
                <a:gd name="T36" fmla="*/ 1121 w 1451"/>
                <a:gd name="T37" fmla="*/ 1155 h 1559"/>
                <a:gd name="T38" fmla="*/ 1200 w 1451"/>
                <a:gd name="T39" fmla="*/ 1287 h 1559"/>
                <a:gd name="T40" fmla="*/ 1223 w 1451"/>
                <a:gd name="T41" fmla="*/ 1393 h 1559"/>
                <a:gd name="T42" fmla="*/ 1159 w 1451"/>
                <a:gd name="T43" fmla="*/ 1422 h 1559"/>
                <a:gd name="T44" fmla="*/ 1059 w 1451"/>
                <a:gd name="T45" fmla="*/ 1386 h 1559"/>
                <a:gd name="T46" fmla="*/ 975 w 1451"/>
                <a:gd name="T47" fmla="*/ 1328 h 1559"/>
                <a:gd name="T48" fmla="*/ 915 w 1451"/>
                <a:gd name="T49" fmla="*/ 1401 h 1559"/>
                <a:gd name="T50" fmla="*/ 805 w 1451"/>
                <a:gd name="T51" fmla="*/ 1431 h 1559"/>
                <a:gd name="T52" fmla="*/ 678 w 1451"/>
                <a:gd name="T53" fmla="*/ 1465 h 1559"/>
                <a:gd name="T54" fmla="*/ 567 w 1451"/>
                <a:gd name="T55" fmla="*/ 1450 h 1559"/>
                <a:gd name="T56" fmla="*/ 450 w 1451"/>
                <a:gd name="T57" fmla="*/ 1406 h 1559"/>
                <a:gd name="T58" fmla="*/ 425 w 1451"/>
                <a:gd name="T59" fmla="*/ 1512 h 1559"/>
                <a:gd name="T60" fmla="*/ 341 w 1451"/>
                <a:gd name="T61" fmla="*/ 1512 h 1559"/>
                <a:gd name="T62" fmla="*/ 275 w 1451"/>
                <a:gd name="T63" fmla="*/ 1411 h 1559"/>
                <a:gd name="T64" fmla="*/ 175 w 1451"/>
                <a:gd name="T65" fmla="*/ 1429 h 1559"/>
                <a:gd name="T66" fmla="*/ 277 w 1451"/>
                <a:gd name="T67" fmla="*/ 1358 h 1559"/>
                <a:gd name="T68" fmla="*/ 339 w 1451"/>
                <a:gd name="T69" fmla="*/ 1331 h 1559"/>
                <a:gd name="T70" fmla="*/ 347 w 1451"/>
                <a:gd name="T71" fmla="*/ 1189 h 1559"/>
                <a:gd name="T72" fmla="*/ 321 w 1451"/>
                <a:gd name="T73" fmla="*/ 1043 h 1559"/>
                <a:gd name="T74" fmla="*/ 409 w 1451"/>
                <a:gd name="T75" fmla="*/ 946 h 1559"/>
                <a:gd name="T76" fmla="*/ 446 w 1451"/>
                <a:gd name="T77" fmla="*/ 912 h 1559"/>
                <a:gd name="T78" fmla="*/ 445 w 1451"/>
                <a:gd name="T79" fmla="*/ 770 h 1559"/>
                <a:gd name="T80" fmla="*/ 378 w 1451"/>
                <a:gd name="T81" fmla="*/ 667 h 1559"/>
                <a:gd name="T82" fmla="*/ 354 w 1451"/>
                <a:gd name="T83" fmla="*/ 558 h 1559"/>
                <a:gd name="T84" fmla="*/ 321 w 1451"/>
                <a:gd name="T85" fmla="*/ 484 h 1559"/>
                <a:gd name="T86" fmla="*/ 258 w 1451"/>
                <a:gd name="T87" fmla="*/ 462 h 1559"/>
                <a:gd name="T88" fmla="*/ 210 w 1451"/>
                <a:gd name="T89" fmla="*/ 395 h 1559"/>
                <a:gd name="T90" fmla="*/ 144 w 1451"/>
                <a:gd name="T91" fmla="*/ 370 h 1559"/>
                <a:gd name="T92" fmla="*/ 92 w 1451"/>
                <a:gd name="T93" fmla="*/ 429 h 1559"/>
                <a:gd name="T94" fmla="*/ 13 w 1451"/>
                <a:gd name="T95" fmla="*/ 423 h 1559"/>
                <a:gd name="T96" fmla="*/ 17 w 1451"/>
                <a:gd name="T97" fmla="*/ 292 h 1559"/>
                <a:gd name="T98" fmla="*/ 69 w 1451"/>
                <a:gd name="T99" fmla="*/ 224 h 1559"/>
                <a:gd name="T100" fmla="*/ 166 w 1451"/>
                <a:gd name="T101" fmla="*/ 189 h 1559"/>
                <a:gd name="T102" fmla="*/ 223 w 1451"/>
                <a:gd name="T103" fmla="*/ 127 h 1559"/>
                <a:gd name="T104" fmla="*/ 274 w 1451"/>
                <a:gd name="T105" fmla="*/ 87 h 1559"/>
                <a:gd name="T106" fmla="*/ 334 w 1451"/>
                <a:gd name="T107" fmla="*/ 15 h 1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1" h="1559">
                  <a:moveTo>
                    <a:pt x="334" y="15"/>
                  </a:moveTo>
                  <a:lnTo>
                    <a:pt x="351" y="8"/>
                  </a:lnTo>
                  <a:lnTo>
                    <a:pt x="376" y="0"/>
                  </a:lnTo>
                  <a:lnTo>
                    <a:pt x="398" y="8"/>
                  </a:lnTo>
                  <a:lnTo>
                    <a:pt x="409" y="27"/>
                  </a:lnTo>
                  <a:lnTo>
                    <a:pt x="421" y="48"/>
                  </a:lnTo>
                  <a:lnTo>
                    <a:pt x="441" y="64"/>
                  </a:lnTo>
                  <a:lnTo>
                    <a:pt x="463" y="75"/>
                  </a:lnTo>
                  <a:lnTo>
                    <a:pt x="473" y="93"/>
                  </a:lnTo>
                  <a:lnTo>
                    <a:pt x="478" y="116"/>
                  </a:lnTo>
                  <a:lnTo>
                    <a:pt x="493" y="130"/>
                  </a:lnTo>
                  <a:lnTo>
                    <a:pt x="519" y="134"/>
                  </a:lnTo>
                  <a:lnTo>
                    <a:pt x="530" y="130"/>
                  </a:lnTo>
                  <a:lnTo>
                    <a:pt x="524" y="103"/>
                  </a:lnTo>
                  <a:lnTo>
                    <a:pt x="537" y="87"/>
                  </a:lnTo>
                  <a:lnTo>
                    <a:pt x="555" y="84"/>
                  </a:lnTo>
                  <a:lnTo>
                    <a:pt x="579" y="91"/>
                  </a:lnTo>
                  <a:lnTo>
                    <a:pt x="599" y="100"/>
                  </a:lnTo>
                  <a:lnTo>
                    <a:pt x="614" y="95"/>
                  </a:lnTo>
                  <a:lnTo>
                    <a:pt x="624" y="111"/>
                  </a:lnTo>
                  <a:lnTo>
                    <a:pt x="634" y="121"/>
                  </a:lnTo>
                  <a:lnTo>
                    <a:pt x="651" y="125"/>
                  </a:lnTo>
                  <a:lnTo>
                    <a:pt x="661" y="114"/>
                  </a:lnTo>
                  <a:lnTo>
                    <a:pt x="654" y="86"/>
                  </a:lnTo>
                  <a:lnTo>
                    <a:pt x="646" y="57"/>
                  </a:lnTo>
                  <a:lnTo>
                    <a:pt x="646" y="36"/>
                  </a:lnTo>
                  <a:lnTo>
                    <a:pt x="661" y="15"/>
                  </a:lnTo>
                  <a:lnTo>
                    <a:pt x="680" y="6"/>
                  </a:lnTo>
                  <a:lnTo>
                    <a:pt x="698" y="9"/>
                  </a:lnTo>
                  <a:lnTo>
                    <a:pt x="717" y="24"/>
                  </a:lnTo>
                  <a:lnTo>
                    <a:pt x="720" y="40"/>
                  </a:lnTo>
                  <a:lnTo>
                    <a:pt x="718" y="59"/>
                  </a:lnTo>
                  <a:lnTo>
                    <a:pt x="727" y="75"/>
                  </a:lnTo>
                  <a:lnTo>
                    <a:pt x="743" y="79"/>
                  </a:lnTo>
                  <a:lnTo>
                    <a:pt x="760" y="75"/>
                  </a:lnTo>
                  <a:lnTo>
                    <a:pt x="775" y="68"/>
                  </a:lnTo>
                  <a:lnTo>
                    <a:pt x="799" y="75"/>
                  </a:lnTo>
                  <a:lnTo>
                    <a:pt x="819" y="82"/>
                  </a:lnTo>
                  <a:lnTo>
                    <a:pt x="837" y="71"/>
                  </a:lnTo>
                  <a:lnTo>
                    <a:pt x="851" y="70"/>
                  </a:lnTo>
                  <a:lnTo>
                    <a:pt x="864" y="84"/>
                  </a:lnTo>
                  <a:lnTo>
                    <a:pt x="878" y="103"/>
                  </a:lnTo>
                  <a:lnTo>
                    <a:pt x="893" y="119"/>
                  </a:lnTo>
                  <a:lnTo>
                    <a:pt x="913" y="139"/>
                  </a:lnTo>
                  <a:lnTo>
                    <a:pt x="918" y="160"/>
                  </a:lnTo>
                  <a:lnTo>
                    <a:pt x="930" y="182"/>
                  </a:lnTo>
                  <a:lnTo>
                    <a:pt x="940" y="201"/>
                  </a:lnTo>
                  <a:lnTo>
                    <a:pt x="935" y="221"/>
                  </a:lnTo>
                  <a:lnTo>
                    <a:pt x="956" y="224"/>
                  </a:lnTo>
                  <a:lnTo>
                    <a:pt x="970" y="228"/>
                  </a:lnTo>
                  <a:lnTo>
                    <a:pt x="980" y="246"/>
                  </a:lnTo>
                  <a:lnTo>
                    <a:pt x="988" y="263"/>
                  </a:lnTo>
                  <a:lnTo>
                    <a:pt x="1007" y="272"/>
                  </a:lnTo>
                  <a:lnTo>
                    <a:pt x="1020" y="285"/>
                  </a:lnTo>
                  <a:lnTo>
                    <a:pt x="1035" y="304"/>
                  </a:lnTo>
                  <a:lnTo>
                    <a:pt x="1039" y="324"/>
                  </a:lnTo>
                  <a:lnTo>
                    <a:pt x="1030" y="342"/>
                  </a:lnTo>
                  <a:lnTo>
                    <a:pt x="1015" y="350"/>
                  </a:lnTo>
                  <a:lnTo>
                    <a:pt x="1007" y="370"/>
                  </a:lnTo>
                  <a:lnTo>
                    <a:pt x="1008" y="388"/>
                  </a:lnTo>
                  <a:lnTo>
                    <a:pt x="1022" y="400"/>
                  </a:lnTo>
                  <a:lnTo>
                    <a:pt x="1039" y="416"/>
                  </a:lnTo>
                  <a:lnTo>
                    <a:pt x="1040" y="439"/>
                  </a:lnTo>
                  <a:lnTo>
                    <a:pt x="1047" y="457"/>
                  </a:lnTo>
                  <a:lnTo>
                    <a:pt x="1066" y="466"/>
                  </a:lnTo>
                  <a:lnTo>
                    <a:pt x="1082" y="475"/>
                  </a:lnTo>
                  <a:lnTo>
                    <a:pt x="1096" y="494"/>
                  </a:lnTo>
                  <a:lnTo>
                    <a:pt x="1101" y="514"/>
                  </a:lnTo>
                  <a:lnTo>
                    <a:pt x="1107" y="530"/>
                  </a:lnTo>
                  <a:lnTo>
                    <a:pt x="1129" y="542"/>
                  </a:lnTo>
                  <a:lnTo>
                    <a:pt x="1148" y="546"/>
                  </a:lnTo>
                  <a:lnTo>
                    <a:pt x="1158" y="562"/>
                  </a:lnTo>
                  <a:lnTo>
                    <a:pt x="1178" y="555"/>
                  </a:lnTo>
                  <a:lnTo>
                    <a:pt x="1198" y="564"/>
                  </a:lnTo>
                  <a:lnTo>
                    <a:pt x="1215" y="578"/>
                  </a:lnTo>
                  <a:lnTo>
                    <a:pt x="1223" y="601"/>
                  </a:lnTo>
                  <a:lnTo>
                    <a:pt x="1237" y="622"/>
                  </a:lnTo>
                  <a:lnTo>
                    <a:pt x="1247" y="644"/>
                  </a:lnTo>
                  <a:lnTo>
                    <a:pt x="1260" y="661"/>
                  </a:lnTo>
                  <a:lnTo>
                    <a:pt x="1275" y="668"/>
                  </a:lnTo>
                  <a:lnTo>
                    <a:pt x="1294" y="668"/>
                  </a:lnTo>
                  <a:lnTo>
                    <a:pt x="1312" y="674"/>
                  </a:lnTo>
                  <a:lnTo>
                    <a:pt x="1321" y="693"/>
                  </a:lnTo>
                  <a:lnTo>
                    <a:pt x="1329" y="720"/>
                  </a:lnTo>
                  <a:lnTo>
                    <a:pt x="1347" y="738"/>
                  </a:lnTo>
                  <a:lnTo>
                    <a:pt x="1371" y="741"/>
                  </a:lnTo>
                  <a:lnTo>
                    <a:pt x="1391" y="757"/>
                  </a:lnTo>
                  <a:lnTo>
                    <a:pt x="1399" y="782"/>
                  </a:lnTo>
                  <a:lnTo>
                    <a:pt x="1415" y="802"/>
                  </a:lnTo>
                  <a:lnTo>
                    <a:pt x="1436" y="811"/>
                  </a:lnTo>
                  <a:lnTo>
                    <a:pt x="1451" y="837"/>
                  </a:lnTo>
                  <a:lnTo>
                    <a:pt x="1448" y="864"/>
                  </a:lnTo>
                  <a:lnTo>
                    <a:pt x="1443" y="894"/>
                  </a:lnTo>
                  <a:lnTo>
                    <a:pt x="1431" y="919"/>
                  </a:lnTo>
                  <a:lnTo>
                    <a:pt x="1426" y="942"/>
                  </a:lnTo>
                  <a:lnTo>
                    <a:pt x="1408" y="926"/>
                  </a:lnTo>
                  <a:lnTo>
                    <a:pt x="1389" y="919"/>
                  </a:lnTo>
                  <a:lnTo>
                    <a:pt x="1376" y="931"/>
                  </a:lnTo>
                  <a:lnTo>
                    <a:pt x="1366" y="947"/>
                  </a:lnTo>
                  <a:lnTo>
                    <a:pt x="1346" y="942"/>
                  </a:lnTo>
                  <a:lnTo>
                    <a:pt x="1334" y="963"/>
                  </a:lnTo>
                  <a:lnTo>
                    <a:pt x="1326" y="994"/>
                  </a:lnTo>
                  <a:lnTo>
                    <a:pt x="1317" y="1022"/>
                  </a:lnTo>
                  <a:lnTo>
                    <a:pt x="1305" y="1045"/>
                  </a:lnTo>
                  <a:lnTo>
                    <a:pt x="1289" y="1061"/>
                  </a:lnTo>
                  <a:lnTo>
                    <a:pt x="1264" y="1068"/>
                  </a:lnTo>
                  <a:lnTo>
                    <a:pt x="1240" y="1072"/>
                  </a:lnTo>
                  <a:lnTo>
                    <a:pt x="1222" y="1084"/>
                  </a:lnTo>
                  <a:lnTo>
                    <a:pt x="1203" y="1095"/>
                  </a:lnTo>
                  <a:lnTo>
                    <a:pt x="1180" y="1091"/>
                  </a:lnTo>
                  <a:lnTo>
                    <a:pt x="1163" y="1102"/>
                  </a:lnTo>
                  <a:lnTo>
                    <a:pt x="1149" y="1122"/>
                  </a:lnTo>
                  <a:lnTo>
                    <a:pt x="1133" y="1136"/>
                  </a:lnTo>
                  <a:lnTo>
                    <a:pt x="1121" y="1155"/>
                  </a:lnTo>
                  <a:lnTo>
                    <a:pt x="1119" y="1177"/>
                  </a:lnTo>
                  <a:lnTo>
                    <a:pt x="1131" y="1200"/>
                  </a:lnTo>
                  <a:lnTo>
                    <a:pt x="1149" y="1221"/>
                  </a:lnTo>
                  <a:lnTo>
                    <a:pt x="1166" y="1244"/>
                  </a:lnTo>
                  <a:lnTo>
                    <a:pt x="1186" y="1264"/>
                  </a:lnTo>
                  <a:lnTo>
                    <a:pt x="1200" y="1287"/>
                  </a:lnTo>
                  <a:lnTo>
                    <a:pt x="1196" y="1312"/>
                  </a:lnTo>
                  <a:lnTo>
                    <a:pt x="1188" y="1335"/>
                  </a:lnTo>
                  <a:lnTo>
                    <a:pt x="1185" y="1351"/>
                  </a:lnTo>
                  <a:lnTo>
                    <a:pt x="1196" y="1363"/>
                  </a:lnTo>
                  <a:lnTo>
                    <a:pt x="1213" y="1372"/>
                  </a:lnTo>
                  <a:lnTo>
                    <a:pt x="1223" y="1393"/>
                  </a:lnTo>
                  <a:lnTo>
                    <a:pt x="1227" y="1422"/>
                  </a:lnTo>
                  <a:lnTo>
                    <a:pt x="1218" y="1445"/>
                  </a:lnTo>
                  <a:lnTo>
                    <a:pt x="1205" y="1452"/>
                  </a:lnTo>
                  <a:lnTo>
                    <a:pt x="1186" y="1445"/>
                  </a:lnTo>
                  <a:lnTo>
                    <a:pt x="1168" y="1436"/>
                  </a:lnTo>
                  <a:lnTo>
                    <a:pt x="1159" y="1422"/>
                  </a:lnTo>
                  <a:lnTo>
                    <a:pt x="1153" y="1401"/>
                  </a:lnTo>
                  <a:lnTo>
                    <a:pt x="1134" y="1386"/>
                  </a:lnTo>
                  <a:lnTo>
                    <a:pt x="1113" y="1385"/>
                  </a:lnTo>
                  <a:lnTo>
                    <a:pt x="1094" y="1392"/>
                  </a:lnTo>
                  <a:lnTo>
                    <a:pt x="1076" y="1402"/>
                  </a:lnTo>
                  <a:lnTo>
                    <a:pt x="1059" y="1386"/>
                  </a:lnTo>
                  <a:lnTo>
                    <a:pt x="1045" y="1374"/>
                  </a:lnTo>
                  <a:lnTo>
                    <a:pt x="1027" y="1376"/>
                  </a:lnTo>
                  <a:lnTo>
                    <a:pt x="1007" y="1374"/>
                  </a:lnTo>
                  <a:lnTo>
                    <a:pt x="992" y="1363"/>
                  </a:lnTo>
                  <a:lnTo>
                    <a:pt x="982" y="1344"/>
                  </a:lnTo>
                  <a:lnTo>
                    <a:pt x="975" y="1328"/>
                  </a:lnTo>
                  <a:lnTo>
                    <a:pt x="963" y="1338"/>
                  </a:lnTo>
                  <a:lnTo>
                    <a:pt x="953" y="1351"/>
                  </a:lnTo>
                  <a:lnTo>
                    <a:pt x="948" y="1367"/>
                  </a:lnTo>
                  <a:lnTo>
                    <a:pt x="943" y="1385"/>
                  </a:lnTo>
                  <a:lnTo>
                    <a:pt x="931" y="1393"/>
                  </a:lnTo>
                  <a:lnTo>
                    <a:pt x="915" y="1401"/>
                  </a:lnTo>
                  <a:lnTo>
                    <a:pt x="899" y="1411"/>
                  </a:lnTo>
                  <a:lnTo>
                    <a:pt x="888" y="1425"/>
                  </a:lnTo>
                  <a:lnTo>
                    <a:pt x="866" y="1429"/>
                  </a:lnTo>
                  <a:lnTo>
                    <a:pt x="842" y="1422"/>
                  </a:lnTo>
                  <a:lnTo>
                    <a:pt x="819" y="1424"/>
                  </a:lnTo>
                  <a:lnTo>
                    <a:pt x="805" y="1431"/>
                  </a:lnTo>
                  <a:lnTo>
                    <a:pt x="789" y="1441"/>
                  </a:lnTo>
                  <a:lnTo>
                    <a:pt x="774" y="1459"/>
                  </a:lnTo>
                  <a:lnTo>
                    <a:pt x="758" y="1470"/>
                  </a:lnTo>
                  <a:lnTo>
                    <a:pt x="727" y="1475"/>
                  </a:lnTo>
                  <a:lnTo>
                    <a:pt x="701" y="1473"/>
                  </a:lnTo>
                  <a:lnTo>
                    <a:pt x="678" y="1465"/>
                  </a:lnTo>
                  <a:lnTo>
                    <a:pt x="651" y="1473"/>
                  </a:lnTo>
                  <a:lnTo>
                    <a:pt x="631" y="1484"/>
                  </a:lnTo>
                  <a:lnTo>
                    <a:pt x="614" y="1489"/>
                  </a:lnTo>
                  <a:lnTo>
                    <a:pt x="604" y="1472"/>
                  </a:lnTo>
                  <a:lnTo>
                    <a:pt x="592" y="1454"/>
                  </a:lnTo>
                  <a:lnTo>
                    <a:pt x="567" y="1450"/>
                  </a:lnTo>
                  <a:lnTo>
                    <a:pt x="537" y="1441"/>
                  </a:lnTo>
                  <a:lnTo>
                    <a:pt x="510" y="1434"/>
                  </a:lnTo>
                  <a:lnTo>
                    <a:pt x="490" y="1436"/>
                  </a:lnTo>
                  <a:lnTo>
                    <a:pt x="472" y="1433"/>
                  </a:lnTo>
                  <a:lnTo>
                    <a:pt x="465" y="1415"/>
                  </a:lnTo>
                  <a:lnTo>
                    <a:pt x="450" y="1406"/>
                  </a:lnTo>
                  <a:lnTo>
                    <a:pt x="436" y="1413"/>
                  </a:lnTo>
                  <a:lnTo>
                    <a:pt x="435" y="1431"/>
                  </a:lnTo>
                  <a:lnTo>
                    <a:pt x="438" y="1445"/>
                  </a:lnTo>
                  <a:lnTo>
                    <a:pt x="446" y="1468"/>
                  </a:lnTo>
                  <a:lnTo>
                    <a:pt x="441" y="1489"/>
                  </a:lnTo>
                  <a:lnTo>
                    <a:pt x="425" y="1512"/>
                  </a:lnTo>
                  <a:lnTo>
                    <a:pt x="404" y="1532"/>
                  </a:lnTo>
                  <a:lnTo>
                    <a:pt x="389" y="1553"/>
                  </a:lnTo>
                  <a:lnTo>
                    <a:pt x="376" y="1559"/>
                  </a:lnTo>
                  <a:lnTo>
                    <a:pt x="369" y="1541"/>
                  </a:lnTo>
                  <a:lnTo>
                    <a:pt x="359" y="1523"/>
                  </a:lnTo>
                  <a:lnTo>
                    <a:pt x="341" y="1512"/>
                  </a:lnTo>
                  <a:lnTo>
                    <a:pt x="339" y="1489"/>
                  </a:lnTo>
                  <a:lnTo>
                    <a:pt x="329" y="1468"/>
                  </a:lnTo>
                  <a:lnTo>
                    <a:pt x="316" y="1450"/>
                  </a:lnTo>
                  <a:lnTo>
                    <a:pt x="297" y="1440"/>
                  </a:lnTo>
                  <a:lnTo>
                    <a:pt x="287" y="1424"/>
                  </a:lnTo>
                  <a:lnTo>
                    <a:pt x="275" y="1411"/>
                  </a:lnTo>
                  <a:lnTo>
                    <a:pt x="252" y="1415"/>
                  </a:lnTo>
                  <a:lnTo>
                    <a:pt x="228" y="1425"/>
                  </a:lnTo>
                  <a:lnTo>
                    <a:pt x="205" y="1440"/>
                  </a:lnTo>
                  <a:lnTo>
                    <a:pt x="181" y="1445"/>
                  </a:lnTo>
                  <a:lnTo>
                    <a:pt x="161" y="1440"/>
                  </a:lnTo>
                  <a:lnTo>
                    <a:pt x="175" y="1429"/>
                  </a:lnTo>
                  <a:lnTo>
                    <a:pt x="191" y="1417"/>
                  </a:lnTo>
                  <a:lnTo>
                    <a:pt x="211" y="1402"/>
                  </a:lnTo>
                  <a:lnTo>
                    <a:pt x="233" y="1390"/>
                  </a:lnTo>
                  <a:lnTo>
                    <a:pt x="248" y="1377"/>
                  </a:lnTo>
                  <a:lnTo>
                    <a:pt x="260" y="1365"/>
                  </a:lnTo>
                  <a:lnTo>
                    <a:pt x="277" y="1358"/>
                  </a:lnTo>
                  <a:lnTo>
                    <a:pt x="287" y="1376"/>
                  </a:lnTo>
                  <a:lnTo>
                    <a:pt x="310" y="1370"/>
                  </a:lnTo>
                  <a:lnTo>
                    <a:pt x="329" y="1376"/>
                  </a:lnTo>
                  <a:lnTo>
                    <a:pt x="339" y="1361"/>
                  </a:lnTo>
                  <a:lnTo>
                    <a:pt x="329" y="1345"/>
                  </a:lnTo>
                  <a:lnTo>
                    <a:pt x="339" y="1331"/>
                  </a:lnTo>
                  <a:lnTo>
                    <a:pt x="332" y="1313"/>
                  </a:lnTo>
                  <a:lnTo>
                    <a:pt x="331" y="1292"/>
                  </a:lnTo>
                  <a:lnTo>
                    <a:pt x="339" y="1266"/>
                  </a:lnTo>
                  <a:lnTo>
                    <a:pt x="334" y="1241"/>
                  </a:lnTo>
                  <a:lnTo>
                    <a:pt x="341" y="1216"/>
                  </a:lnTo>
                  <a:lnTo>
                    <a:pt x="347" y="1189"/>
                  </a:lnTo>
                  <a:lnTo>
                    <a:pt x="341" y="1162"/>
                  </a:lnTo>
                  <a:lnTo>
                    <a:pt x="336" y="1138"/>
                  </a:lnTo>
                  <a:lnTo>
                    <a:pt x="332" y="1104"/>
                  </a:lnTo>
                  <a:lnTo>
                    <a:pt x="324" y="1079"/>
                  </a:lnTo>
                  <a:lnTo>
                    <a:pt x="317" y="1061"/>
                  </a:lnTo>
                  <a:lnTo>
                    <a:pt x="321" y="1043"/>
                  </a:lnTo>
                  <a:lnTo>
                    <a:pt x="334" y="1029"/>
                  </a:lnTo>
                  <a:lnTo>
                    <a:pt x="352" y="1015"/>
                  </a:lnTo>
                  <a:lnTo>
                    <a:pt x="359" y="994"/>
                  </a:lnTo>
                  <a:lnTo>
                    <a:pt x="376" y="978"/>
                  </a:lnTo>
                  <a:lnTo>
                    <a:pt x="399" y="965"/>
                  </a:lnTo>
                  <a:lnTo>
                    <a:pt x="409" y="946"/>
                  </a:lnTo>
                  <a:lnTo>
                    <a:pt x="406" y="926"/>
                  </a:lnTo>
                  <a:lnTo>
                    <a:pt x="391" y="908"/>
                  </a:lnTo>
                  <a:lnTo>
                    <a:pt x="399" y="892"/>
                  </a:lnTo>
                  <a:lnTo>
                    <a:pt x="418" y="896"/>
                  </a:lnTo>
                  <a:lnTo>
                    <a:pt x="428" y="912"/>
                  </a:lnTo>
                  <a:lnTo>
                    <a:pt x="446" y="912"/>
                  </a:lnTo>
                  <a:lnTo>
                    <a:pt x="453" y="896"/>
                  </a:lnTo>
                  <a:lnTo>
                    <a:pt x="438" y="880"/>
                  </a:lnTo>
                  <a:lnTo>
                    <a:pt x="436" y="860"/>
                  </a:lnTo>
                  <a:lnTo>
                    <a:pt x="445" y="834"/>
                  </a:lnTo>
                  <a:lnTo>
                    <a:pt x="453" y="798"/>
                  </a:lnTo>
                  <a:lnTo>
                    <a:pt x="445" y="770"/>
                  </a:lnTo>
                  <a:lnTo>
                    <a:pt x="431" y="748"/>
                  </a:lnTo>
                  <a:lnTo>
                    <a:pt x="415" y="736"/>
                  </a:lnTo>
                  <a:lnTo>
                    <a:pt x="404" y="718"/>
                  </a:lnTo>
                  <a:lnTo>
                    <a:pt x="398" y="697"/>
                  </a:lnTo>
                  <a:lnTo>
                    <a:pt x="391" y="679"/>
                  </a:lnTo>
                  <a:lnTo>
                    <a:pt x="378" y="667"/>
                  </a:lnTo>
                  <a:lnTo>
                    <a:pt x="361" y="658"/>
                  </a:lnTo>
                  <a:lnTo>
                    <a:pt x="344" y="644"/>
                  </a:lnTo>
                  <a:lnTo>
                    <a:pt x="334" y="626"/>
                  </a:lnTo>
                  <a:lnTo>
                    <a:pt x="336" y="601"/>
                  </a:lnTo>
                  <a:lnTo>
                    <a:pt x="351" y="580"/>
                  </a:lnTo>
                  <a:lnTo>
                    <a:pt x="354" y="558"/>
                  </a:lnTo>
                  <a:lnTo>
                    <a:pt x="347" y="537"/>
                  </a:lnTo>
                  <a:lnTo>
                    <a:pt x="351" y="517"/>
                  </a:lnTo>
                  <a:lnTo>
                    <a:pt x="357" y="489"/>
                  </a:lnTo>
                  <a:lnTo>
                    <a:pt x="351" y="469"/>
                  </a:lnTo>
                  <a:lnTo>
                    <a:pt x="334" y="471"/>
                  </a:lnTo>
                  <a:lnTo>
                    <a:pt x="321" y="484"/>
                  </a:lnTo>
                  <a:lnTo>
                    <a:pt x="310" y="503"/>
                  </a:lnTo>
                  <a:lnTo>
                    <a:pt x="294" y="510"/>
                  </a:lnTo>
                  <a:lnTo>
                    <a:pt x="285" y="494"/>
                  </a:lnTo>
                  <a:lnTo>
                    <a:pt x="279" y="478"/>
                  </a:lnTo>
                  <a:lnTo>
                    <a:pt x="267" y="475"/>
                  </a:lnTo>
                  <a:lnTo>
                    <a:pt x="258" y="462"/>
                  </a:lnTo>
                  <a:lnTo>
                    <a:pt x="252" y="448"/>
                  </a:lnTo>
                  <a:lnTo>
                    <a:pt x="260" y="425"/>
                  </a:lnTo>
                  <a:lnTo>
                    <a:pt x="255" y="413"/>
                  </a:lnTo>
                  <a:lnTo>
                    <a:pt x="233" y="420"/>
                  </a:lnTo>
                  <a:lnTo>
                    <a:pt x="215" y="413"/>
                  </a:lnTo>
                  <a:lnTo>
                    <a:pt x="210" y="395"/>
                  </a:lnTo>
                  <a:lnTo>
                    <a:pt x="208" y="372"/>
                  </a:lnTo>
                  <a:lnTo>
                    <a:pt x="193" y="365"/>
                  </a:lnTo>
                  <a:lnTo>
                    <a:pt x="180" y="375"/>
                  </a:lnTo>
                  <a:lnTo>
                    <a:pt x="166" y="391"/>
                  </a:lnTo>
                  <a:lnTo>
                    <a:pt x="156" y="382"/>
                  </a:lnTo>
                  <a:lnTo>
                    <a:pt x="144" y="370"/>
                  </a:lnTo>
                  <a:lnTo>
                    <a:pt x="128" y="374"/>
                  </a:lnTo>
                  <a:lnTo>
                    <a:pt x="116" y="386"/>
                  </a:lnTo>
                  <a:lnTo>
                    <a:pt x="121" y="409"/>
                  </a:lnTo>
                  <a:lnTo>
                    <a:pt x="119" y="425"/>
                  </a:lnTo>
                  <a:lnTo>
                    <a:pt x="109" y="436"/>
                  </a:lnTo>
                  <a:lnTo>
                    <a:pt x="92" y="429"/>
                  </a:lnTo>
                  <a:lnTo>
                    <a:pt x="84" y="448"/>
                  </a:lnTo>
                  <a:lnTo>
                    <a:pt x="72" y="468"/>
                  </a:lnTo>
                  <a:lnTo>
                    <a:pt x="54" y="478"/>
                  </a:lnTo>
                  <a:lnTo>
                    <a:pt x="34" y="469"/>
                  </a:lnTo>
                  <a:lnTo>
                    <a:pt x="15" y="450"/>
                  </a:lnTo>
                  <a:lnTo>
                    <a:pt x="13" y="423"/>
                  </a:lnTo>
                  <a:lnTo>
                    <a:pt x="22" y="402"/>
                  </a:lnTo>
                  <a:lnTo>
                    <a:pt x="17" y="377"/>
                  </a:lnTo>
                  <a:lnTo>
                    <a:pt x="8" y="356"/>
                  </a:lnTo>
                  <a:lnTo>
                    <a:pt x="0" y="327"/>
                  </a:lnTo>
                  <a:lnTo>
                    <a:pt x="5" y="308"/>
                  </a:lnTo>
                  <a:lnTo>
                    <a:pt x="17" y="292"/>
                  </a:lnTo>
                  <a:lnTo>
                    <a:pt x="27" y="269"/>
                  </a:lnTo>
                  <a:lnTo>
                    <a:pt x="24" y="249"/>
                  </a:lnTo>
                  <a:lnTo>
                    <a:pt x="22" y="226"/>
                  </a:lnTo>
                  <a:lnTo>
                    <a:pt x="35" y="215"/>
                  </a:lnTo>
                  <a:lnTo>
                    <a:pt x="52" y="212"/>
                  </a:lnTo>
                  <a:lnTo>
                    <a:pt x="69" y="224"/>
                  </a:lnTo>
                  <a:lnTo>
                    <a:pt x="81" y="208"/>
                  </a:lnTo>
                  <a:lnTo>
                    <a:pt x="99" y="201"/>
                  </a:lnTo>
                  <a:lnTo>
                    <a:pt x="119" y="207"/>
                  </a:lnTo>
                  <a:lnTo>
                    <a:pt x="139" y="212"/>
                  </a:lnTo>
                  <a:lnTo>
                    <a:pt x="158" y="207"/>
                  </a:lnTo>
                  <a:lnTo>
                    <a:pt x="166" y="189"/>
                  </a:lnTo>
                  <a:lnTo>
                    <a:pt x="168" y="169"/>
                  </a:lnTo>
                  <a:lnTo>
                    <a:pt x="180" y="157"/>
                  </a:lnTo>
                  <a:lnTo>
                    <a:pt x="195" y="159"/>
                  </a:lnTo>
                  <a:lnTo>
                    <a:pt x="210" y="157"/>
                  </a:lnTo>
                  <a:lnTo>
                    <a:pt x="213" y="141"/>
                  </a:lnTo>
                  <a:lnTo>
                    <a:pt x="223" y="127"/>
                  </a:lnTo>
                  <a:lnTo>
                    <a:pt x="238" y="121"/>
                  </a:lnTo>
                  <a:lnTo>
                    <a:pt x="245" y="103"/>
                  </a:lnTo>
                  <a:lnTo>
                    <a:pt x="238" y="91"/>
                  </a:lnTo>
                  <a:lnTo>
                    <a:pt x="240" y="75"/>
                  </a:lnTo>
                  <a:lnTo>
                    <a:pt x="257" y="73"/>
                  </a:lnTo>
                  <a:lnTo>
                    <a:pt x="274" y="87"/>
                  </a:lnTo>
                  <a:lnTo>
                    <a:pt x="292" y="93"/>
                  </a:lnTo>
                  <a:lnTo>
                    <a:pt x="302" y="75"/>
                  </a:lnTo>
                  <a:lnTo>
                    <a:pt x="307" y="59"/>
                  </a:lnTo>
                  <a:lnTo>
                    <a:pt x="321" y="50"/>
                  </a:lnTo>
                  <a:lnTo>
                    <a:pt x="332" y="32"/>
                  </a:lnTo>
                  <a:lnTo>
                    <a:pt x="334" y="1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0BD4D3E8-8105-4B71-97BD-80BEE7046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233" y="2954416"/>
              <a:ext cx="547879" cy="653567"/>
            </a:xfrm>
            <a:custGeom>
              <a:avLst/>
              <a:gdLst>
                <a:gd name="T0" fmla="*/ 641 w 903"/>
                <a:gd name="T1" fmla="*/ 1052 h 1075"/>
                <a:gd name="T2" fmla="*/ 698 w 903"/>
                <a:gd name="T3" fmla="*/ 1012 h 1075"/>
                <a:gd name="T4" fmla="*/ 737 w 903"/>
                <a:gd name="T5" fmla="*/ 1011 h 1075"/>
                <a:gd name="T6" fmla="*/ 789 w 903"/>
                <a:gd name="T7" fmla="*/ 996 h 1075"/>
                <a:gd name="T8" fmla="*/ 782 w 903"/>
                <a:gd name="T9" fmla="*/ 948 h 1075"/>
                <a:gd name="T10" fmla="*/ 784 w 903"/>
                <a:gd name="T11" fmla="*/ 876 h 1075"/>
                <a:gd name="T12" fmla="*/ 791 w 903"/>
                <a:gd name="T13" fmla="*/ 797 h 1075"/>
                <a:gd name="T14" fmla="*/ 774 w 903"/>
                <a:gd name="T15" fmla="*/ 714 h 1075"/>
                <a:gd name="T16" fmla="*/ 784 w 903"/>
                <a:gd name="T17" fmla="*/ 664 h 1075"/>
                <a:gd name="T18" fmla="*/ 826 w 903"/>
                <a:gd name="T19" fmla="*/ 613 h 1075"/>
                <a:gd name="T20" fmla="*/ 856 w 903"/>
                <a:gd name="T21" fmla="*/ 561 h 1075"/>
                <a:gd name="T22" fmla="*/ 868 w 903"/>
                <a:gd name="T23" fmla="*/ 531 h 1075"/>
                <a:gd name="T24" fmla="*/ 903 w 903"/>
                <a:gd name="T25" fmla="*/ 531 h 1075"/>
                <a:gd name="T26" fmla="*/ 895 w 903"/>
                <a:gd name="T27" fmla="*/ 469 h 1075"/>
                <a:gd name="T28" fmla="*/ 881 w 903"/>
                <a:gd name="T29" fmla="*/ 383 h 1075"/>
                <a:gd name="T30" fmla="*/ 848 w 903"/>
                <a:gd name="T31" fmla="*/ 332 h 1075"/>
                <a:gd name="T32" fmla="*/ 811 w 903"/>
                <a:gd name="T33" fmla="*/ 293 h 1075"/>
                <a:gd name="T34" fmla="*/ 786 w 903"/>
                <a:gd name="T35" fmla="*/ 236 h 1075"/>
                <a:gd name="T36" fmla="*/ 797 w 903"/>
                <a:gd name="T37" fmla="*/ 172 h 1075"/>
                <a:gd name="T38" fmla="*/ 801 w 903"/>
                <a:gd name="T39" fmla="*/ 104 h 1075"/>
                <a:gd name="T40" fmla="*/ 760 w 903"/>
                <a:gd name="T41" fmla="*/ 138 h 1075"/>
                <a:gd name="T42" fmla="*/ 729 w 903"/>
                <a:gd name="T43" fmla="*/ 113 h 1075"/>
                <a:gd name="T44" fmla="*/ 702 w 903"/>
                <a:gd name="T45" fmla="*/ 83 h 1075"/>
                <a:gd name="T46" fmla="*/ 683 w 903"/>
                <a:gd name="T47" fmla="*/ 55 h 1075"/>
                <a:gd name="T48" fmla="*/ 658 w 903"/>
                <a:gd name="T49" fmla="*/ 7 h 1075"/>
                <a:gd name="T50" fmla="*/ 616 w 903"/>
                <a:gd name="T51" fmla="*/ 26 h 1075"/>
                <a:gd name="T52" fmla="*/ 578 w 903"/>
                <a:gd name="T53" fmla="*/ 9 h 1075"/>
                <a:gd name="T54" fmla="*/ 569 w 903"/>
                <a:gd name="T55" fmla="*/ 60 h 1075"/>
                <a:gd name="T56" fmla="*/ 534 w 903"/>
                <a:gd name="T57" fmla="*/ 83 h 1075"/>
                <a:gd name="T58" fmla="*/ 490 w 903"/>
                <a:gd name="T59" fmla="*/ 117 h 1075"/>
                <a:gd name="T60" fmla="*/ 475 w 903"/>
                <a:gd name="T61" fmla="*/ 147 h 1075"/>
                <a:gd name="T62" fmla="*/ 435 w 903"/>
                <a:gd name="T63" fmla="*/ 165 h 1075"/>
                <a:gd name="T64" fmla="*/ 406 w 903"/>
                <a:gd name="T65" fmla="*/ 156 h 1075"/>
                <a:gd name="T66" fmla="*/ 403 w 903"/>
                <a:gd name="T67" fmla="*/ 113 h 1075"/>
                <a:gd name="T68" fmla="*/ 361 w 903"/>
                <a:gd name="T69" fmla="*/ 103 h 1075"/>
                <a:gd name="T70" fmla="*/ 309 w 903"/>
                <a:gd name="T71" fmla="*/ 101 h 1075"/>
                <a:gd name="T72" fmla="*/ 309 w 903"/>
                <a:gd name="T73" fmla="*/ 158 h 1075"/>
                <a:gd name="T74" fmla="*/ 314 w 903"/>
                <a:gd name="T75" fmla="*/ 229 h 1075"/>
                <a:gd name="T76" fmla="*/ 286 w 903"/>
                <a:gd name="T77" fmla="*/ 289 h 1075"/>
                <a:gd name="T78" fmla="*/ 267 w 903"/>
                <a:gd name="T79" fmla="*/ 346 h 1075"/>
                <a:gd name="T80" fmla="*/ 239 w 903"/>
                <a:gd name="T81" fmla="*/ 415 h 1075"/>
                <a:gd name="T82" fmla="*/ 188 w 903"/>
                <a:gd name="T83" fmla="*/ 456 h 1075"/>
                <a:gd name="T84" fmla="*/ 153 w 903"/>
                <a:gd name="T85" fmla="*/ 508 h 1075"/>
                <a:gd name="T86" fmla="*/ 113 w 903"/>
                <a:gd name="T87" fmla="*/ 566 h 1075"/>
                <a:gd name="T88" fmla="*/ 83 w 903"/>
                <a:gd name="T89" fmla="*/ 675 h 1075"/>
                <a:gd name="T90" fmla="*/ 47 w 903"/>
                <a:gd name="T91" fmla="*/ 762 h 1075"/>
                <a:gd name="T92" fmla="*/ 36 w 903"/>
                <a:gd name="T93" fmla="*/ 845 h 1075"/>
                <a:gd name="T94" fmla="*/ 5 w 903"/>
                <a:gd name="T95" fmla="*/ 940 h 1075"/>
                <a:gd name="T96" fmla="*/ 10 w 903"/>
                <a:gd name="T97" fmla="*/ 1050 h 1075"/>
                <a:gd name="T98" fmla="*/ 44 w 903"/>
                <a:gd name="T99" fmla="*/ 1032 h 1075"/>
                <a:gd name="T100" fmla="*/ 73 w 903"/>
                <a:gd name="T101" fmla="*/ 1069 h 1075"/>
                <a:gd name="T102" fmla="*/ 136 w 903"/>
                <a:gd name="T103" fmla="*/ 1066 h 1075"/>
                <a:gd name="T104" fmla="*/ 195 w 903"/>
                <a:gd name="T105" fmla="*/ 1055 h 1075"/>
                <a:gd name="T106" fmla="*/ 252 w 903"/>
                <a:gd name="T107" fmla="*/ 1052 h 1075"/>
                <a:gd name="T108" fmla="*/ 297 w 903"/>
                <a:gd name="T109" fmla="*/ 1037 h 1075"/>
                <a:gd name="T110" fmla="*/ 323 w 903"/>
                <a:gd name="T111" fmla="*/ 1002 h 1075"/>
                <a:gd name="T112" fmla="*/ 276 w 903"/>
                <a:gd name="T113" fmla="*/ 972 h 1075"/>
                <a:gd name="T114" fmla="*/ 328 w 903"/>
                <a:gd name="T115" fmla="*/ 943 h 1075"/>
                <a:gd name="T116" fmla="*/ 390 w 903"/>
                <a:gd name="T117" fmla="*/ 961 h 1075"/>
                <a:gd name="T118" fmla="*/ 401 w 903"/>
                <a:gd name="T119" fmla="*/ 1020 h 1075"/>
                <a:gd name="T120" fmla="*/ 457 w 903"/>
                <a:gd name="T121" fmla="*/ 1007 h 1075"/>
                <a:gd name="T122" fmla="*/ 505 w 903"/>
                <a:gd name="T123" fmla="*/ 1048 h 1075"/>
                <a:gd name="T124" fmla="*/ 569 w 903"/>
                <a:gd name="T125" fmla="*/ 1046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1075">
                  <a:moveTo>
                    <a:pt x="611" y="1075"/>
                  </a:moveTo>
                  <a:lnTo>
                    <a:pt x="625" y="1064"/>
                  </a:lnTo>
                  <a:lnTo>
                    <a:pt x="641" y="1052"/>
                  </a:lnTo>
                  <a:lnTo>
                    <a:pt x="661" y="1037"/>
                  </a:lnTo>
                  <a:lnTo>
                    <a:pt x="683" y="1025"/>
                  </a:lnTo>
                  <a:lnTo>
                    <a:pt x="698" y="1012"/>
                  </a:lnTo>
                  <a:lnTo>
                    <a:pt x="710" y="1000"/>
                  </a:lnTo>
                  <a:lnTo>
                    <a:pt x="727" y="993"/>
                  </a:lnTo>
                  <a:lnTo>
                    <a:pt x="737" y="1011"/>
                  </a:lnTo>
                  <a:lnTo>
                    <a:pt x="760" y="1005"/>
                  </a:lnTo>
                  <a:lnTo>
                    <a:pt x="779" y="1011"/>
                  </a:lnTo>
                  <a:lnTo>
                    <a:pt x="789" y="996"/>
                  </a:lnTo>
                  <a:lnTo>
                    <a:pt x="779" y="980"/>
                  </a:lnTo>
                  <a:lnTo>
                    <a:pt x="789" y="966"/>
                  </a:lnTo>
                  <a:lnTo>
                    <a:pt x="782" y="948"/>
                  </a:lnTo>
                  <a:lnTo>
                    <a:pt x="781" y="927"/>
                  </a:lnTo>
                  <a:lnTo>
                    <a:pt x="789" y="901"/>
                  </a:lnTo>
                  <a:lnTo>
                    <a:pt x="784" y="876"/>
                  </a:lnTo>
                  <a:lnTo>
                    <a:pt x="791" y="851"/>
                  </a:lnTo>
                  <a:lnTo>
                    <a:pt x="797" y="824"/>
                  </a:lnTo>
                  <a:lnTo>
                    <a:pt x="791" y="797"/>
                  </a:lnTo>
                  <a:lnTo>
                    <a:pt x="786" y="773"/>
                  </a:lnTo>
                  <a:lnTo>
                    <a:pt x="782" y="739"/>
                  </a:lnTo>
                  <a:lnTo>
                    <a:pt x="774" y="714"/>
                  </a:lnTo>
                  <a:lnTo>
                    <a:pt x="767" y="696"/>
                  </a:lnTo>
                  <a:lnTo>
                    <a:pt x="771" y="678"/>
                  </a:lnTo>
                  <a:lnTo>
                    <a:pt x="784" y="664"/>
                  </a:lnTo>
                  <a:lnTo>
                    <a:pt x="802" y="650"/>
                  </a:lnTo>
                  <a:lnTo>
                    <a:pt x="809" y="629"/>
                  </a:lnTo>
                  <a:lnTo>
                    <a:pt x="826" y="613"/>
                  </a:lnTo>
                  <a:lnTo>
                    <a:pt x="849" y="600"/>
                  </a:lnTo>
                  <a:lnTo>
                    <a:pt x="859" y="581"/>
                  </a:lnTo>
                  <a:lnTo>
                    <a:pt x="856" y="561"/>
                  </a:lnTo>
                  <a:lnTo>
                    <a:pt x="841" y="543"/>
                  </a:lnTo>
                  <a:lnTo>
                    <a:pt x="849" y="527"/>
                  </a:lnTo>
                  <a:lnTo>
                    <a:pt x="868" y="531"/>
                  </a:lnTo>
                  <a:lnTo>
                    <a:pt x="878" y="547"/>
                  </a:lnTo>
                  <a:lnTo>
                    <a:pt x="896" y="547"/>
                  </a:lnTo>
                  <a:lnTo>
                    <a:pt x="903" y="531"/>
                  </a:lnTo>
                  <a:lnTo>
                    <a:pt x="888" y="515"/>
                  </a:lnTo>
                  <a:lnTo>
                    <a:pt x="886" y="495"/>
                  </a:lnTo>
                  <a:lnTo>
                    <a:pt x="895" y="469"/>
                  </a:lnTo>
                  <a:lnTo>
                    <a:pt x="903" y="433"/>
                  </a:lnTo>
                  <a:lnTo>
                    <a:pt x="895" y="405"/>
                  </a:lnTo>
                  <a:lnTo>
                    <a:pt x="881" y="383"/>
                  </a:lnTo>
                  <a:lnTo>
                    <a:pt x="865" y="371"/>
                  </a:lnTo>
                  <a:lnTo>
                    <a:pt x="854" y="353"/>
                  </a:lnTo>
                  <a:lnTo>
                    <a:pt x="848" y="332"/>
                  </a:lnTo>
                  <a:lnTo>
                    <a:pt x="841" y="314"/>
                  </a:lnTo>
                  <a:lnTo>
                    <a:pt x="828" y="302"/>
                  </a:lnTo>
                  <a:lnTo>
                    <a:pt x="811" y="293"/>
                  </a:lnTo>
                  <a:lnTo>
                    <a:pt x="794" y="279"/>
                  </a:lnTo>
                  <a:lnTo>
                    <a:pt x="784" y="261"/>
                  </a:lnTo>
                  <a:lnTo>
                    <a:pt x="786" y="236"/>
                  </a:lnTo>
                  <a:lnTo>
                    <a:pt x="801" y="215"/>
                  </a:lnTo>
                  <a:lnTo>
                    <a:pt x="804" y="193"/>
                  </a:lnTo>
                  <a:lnTo>
                    <a:pt x="797" y="172"/>
                  </a:lnTo>
                  <a:lnTo>
                    <a:pt x="801" y="152"/>
                  </a:lnTo>
                  <a:lnTo>
                    <a:pt x="807" y="124"/>
                  </a:lnTo>
                  <a:lnTo>
                    <a:pt x="801" y="104"/>
                  </a:lnTo>
                  <a:lnTo>
                    <a:pt x="784" y="106"/>
                  </a:lnTo>
                  <a:lnTo>
                    <a:pt x="771" y="119"/>
                  </a:lnTo>
                  <a:lnTo>
                    <a:pt x="760" y="138"/>
                  </a:lnTo>
                  <a:lnTo>
                    <a:pt x="744" y="145"/>
                  </a:lnTo>
                  <a:lnTo>
                    <a:pt x="735" y="129"/>
                  </a:lnTo>
                  <a:lnTo>
                    <a:pt x="729" y="113"/>
                  </a:lnTo>
                  <a:lnTo>
                    <a:pt x="717" y="110"/>
                  </a:lnTo>
                  <a:lnTo>
                    <a:pt x="708" y="97"/>
                  </a:lnTo>
                  <a:lnTo>
                    <a:pt x="702" y="83"/>
                  </a:lnTo>
                  <a:lnTo>
                    <a:pt x="710" y="60"/>
                  </a:lnTo>
                  <a:lnTo>
                    <a:pt x="705" y="48"/>
                  </a:lnTo>
                  <a:lnTo>
                    <a:pt x="683" y="55"/>
                  </a:lnTo>
                  <a:lnTo>
                    <a:pt x="665" y="48"/>
                  </a:lnTo>
                  <a:lnTo>
                    <a:pt x="660" y="30"/>
                  </a:lnTo>
                  <a:lnTo>
                    <a:pt x="658" y="7"/>
                  </a:lnTo>
                  <a:lnTo>
                    <a:pt x="643" y="0"/>
                  </a:lnTo>
                  <a:lnTo>
                    <a:pt x="630" y="10"/>
                  </a:lnTo>
                  <a:lnTo>
                    <a:pt x="616" y="26"/>
                  </a:lnTo>
                  <a:lnTo>
                    <a:pt x="606" y="17"/>
                  </a:lnTo>
                  <a:lnTo>
                    <a:pt x="594" y="5"/>
                  </a:lnTo>
                  <a:lnTo>
                    <a:pt x="578" y="9"/>
                  </a:lnTo>
                  <a:lnTo>
                    <a:pt x="566" y="21"/>
                  </a:lnTo>
                  <a:lnTo>
                    <a:pt x="571" y="44"/>
                  </a:lnTo>
                  <a:lnTo>
                    <a:pt x="569" y="60"/>
                  </a:lnTo>
                  <a:lnTo>
                    <a:pt x="559" y="71"/>
                  </a:lnTo>
                  <a:lnTo>
                    <a:pt x="542" y="64"/>
                  </a:lnTo>
                  <a:lnTo>
                    <a:pt x="534" y="83"/>
                  </a:lnTo>
                  <a:lnTo>
                    <a:pt x="522" y="103"/>
                  </a:lnTo>
                  <a:lnTo>
                    <a:pt x="504" y="113"/>
                  </a:lnTo>
                  <a:lnTo>
                    <a:pt x="490" y="117"/>
                  </a:lnTo>
                  <a:lnTo>
                    <a:pt x="495" y="133"/>
                  </a:lnTo>
                  <a:lnTo>
                    <a:pt x="492" y="149"/>
                  </a:lnTo>
                  <a:lnTo>
                    <a:pt x="475" y="147"/>
                  </a:lnTo>
                  <a:lnTo>
                    <a:pt x="458" y="140"/>
                  </a:lnTo>
                  <a:lnTo>
                    <a:pt x="447" y="151"/>
                  </a:lnTo>
                  <a:lnTo>
                    <a:pt x="435" y="165"/>
                  </a:lnTo>
                  <a:lnTo>
                    <a:pt x="422" y="177"/>
                  </a:lnTo>
                  <a:lnTo>
                    <a:pt x="408" y="172"/>
                  </a:lnTo>
                  <a:lnTo>
                    <a:pt x="406" y="156"/>
                  </a:lnTo>
                  <a:lnTo>
                    <a:pt x="411" y="138"/>
                  </a:lnTo>
                  <a:lnTo>
                    <a:pt x="420" y="120"/>
                  </a:lnTo>
                  <a:lnTo>
                    <a:pt x="403" y="113"/>
                  </a:lnTo>
                  <a:lnTo>
                    <a:pt x="390" y="122"/>
                  </a:lnTo>
                  <a:lnTo>
                    <a:pt x="376" y="113"/>
                  </a:lnTo>
                  <a:lnTo>
                    <a:pt x="361" y="103"/>
                  </a:lnTo>
                  <a:lnTo>
                    <a:pt x="344" y="112"/>
                  </a:lnTo>
                  <a:lnTo>
                    <a:pt x="326" y="108"/>
                  </a:lnTo>
                  <a:lnTo>
                    <a:pt x="309" y="101"/>
                  </a:lnTo>
                  <a:lnTo>
                    <a:pt x="299" y="113"/>
                  </a:lnTo>
                  <a:lnTo>
                    <a:pt x="307" y="136"/>
                  </a:lnTo>
                  <a:lnTo>
                    <a:pt x="309" y="158"/>
                  </a:lnTo>
                  <a:lnTo>
                    <a:pt x="316" y="184"/>
                  </a:lnTo>
                  <a:lnTo>
                    <a:pt x="323" y="208"/>
                  </a:lnTo>
                  <a:lnTo>
                    <a:pt x="314" y="229"/>
                  </a:lnTo>
                  <a:lnTo>
                    <a:pt x="311" y="252"/>
                  </a:lnTo>
                  <a:lnTo>
                    <a:pt x="299" y="266"/>
                  </a:lnTo>
                  <a:lnTo>
                    <a:pt x="286" y="289"/>
                  </a:lnTo>
                  <a:lnTo>
                    <a:pt x="282" y="312"/>
                  </a:lnTo>
                  <a:lnTo>
                    <a:pt x="279" y="334"/>
                  </a:lnTo>
                  <a:lnTo>
                    <a:pt x="267" y="346"/>
                  </a:lnTo>
                  <a:lnTo>
                    <a:pt x="250" y="366"/>
                  </a:lnTo>
                  <a:lnTo>
                    <a:pt x="245" y="394"/>
                  </a:lnTo>
                  <a:lnTo>
                    <a:pt x="239" y="415"/>
                  </a:lnTo>
                  <a:lnTo>
                    <a:pt x="222" y="430"/>
                  </a:lnTo>
                  <a:lnTo>
                    <a:pt x="202" y="440"/>
                  </a:lnTo>
                  <a:lnTo>
                    <a:pt x="188" y="456"/>
                  </a:lnTo>
                  <a:lnTo>
                    <a:pt x="178" y="479"/>
                  </a:lnTo>
                  <a:lnTo>
                    <a:pt x="172" y="499"/>
                  </a:lnTo>
                  <a:lnTo>
                    <a:pt x="153" y="508"/>
                  </a:lnTo>
                  <a:lnTo>
                    <a:pt x="136" y="522"/>
                  </a:lnTo>
                  <a:lnTo>
                    <a:pt x="121" y="542"/>
                  </a:lnTo>
                  <a:lnTo>
                    <a:pt x="113" y="566"/>
                  </a:lnTo>
                  <a:lnTo>
                    <a:pt x="103" y="600"/>
                  </a:lnTo>
                  <a:lnTo>
                    <a:pt x="91" y="639"/>
                  </a:lnTo>
                  <a:lnTo>
                    <a:pt x="83" y="675"/>
                  </a:lnTo>
                  <a:lnTo>
                    <a:pt x="76" y="714"/>
                  </a:lnTo>
                  <a:lnTo>
                    <a:pt x="64" y="739"/>
                  </a:lnTo>
                  <a:lnTo>
                    <a:pt x="47" y="762"/>
                  </a:lnTo>
                  <a:lnTo>
                    <a:pt x="36" y="787"/>
                  </a:lnTo>
                  <a:lnTo>
                    <a:pt x="29" y="812"/>
                  </a:lnTo>
                  <a:lnTo>
                    <a:pt x="36" y="845"/>
                  </a:lnTo>
                  <a:lnTo>
                    <a:pt x="27" y="879"/>
                  </a:lnTo>
                  <a:lnTo>
                    <a:pt x="16" y="904"/>
                  </a:lnTo>
                  <a:lnTo>
                    <a:pt x="5" y="940"/>
                  </a:lnTo>
                  <a:lnTo>
                    <a:pt x="0" y="980"/>
                  </a:lnTo>
                  <a:lnTo>
                    <a:pt x="9" y="1021"/>
                  </a:lnTo>
                  <a:lnTo>
                    <a:pt x="10" y="1050"/>
                  </a:lnTo>
                  <a:lnTo>
                    <a:pt x="19" y="1060"/>
                  </a:lnTo>
                  <a:lnTo>
                    <a:pt x="27" y="1041"/>
                  </a:lnTo>
                  <a:lnTo>
                    <a:pt x="44" y="1032"/>
                  </a:lnTo>
                  <a:lnTo>
                    <a:pt x="57" y="1036"/>
                  </a:lnTo>
                  <a:lnTo>
                    <a:pt x="66" y="1055"/>
                  </a:lnTo>
                  <a:lnTo>
                    <a:pt x="73" y="1069"/>
                  </a:lnTo>
                  <a:lnTo>
                    <a:pt x="93" y="1060"/>
                  </a:lnTo>
                  <a:lnTo>
                    <a:pt x="118" y="1057"/>
                  </a:lnTo>
                  <a:lnTo>
                    <a:pt x="136" y="1066"/>
                  </a:lnTo>
                  <a:lnTo>
                    <a:pt x="155" y="1071"/>
                  </a:lnTo>
                  <a:lnTo>
                    <a:pt x="177" y="1069"/>
                  </a:lnTo>
                  <a:lnTo>
                    <a:pt x="195" y="1055"/>
                  </a:lnTo>
                  <a:lnTo>
                    <a:pt x="212" y="1044"/>
                  </a:lnTo>
                  <a:lnTo>
                    <a:pt x="232" y="1041"/>
                  </a:lnTo>
                  <a:lnTo>
                    <a:pt x="252" y="1052"/>
                  </a:lnTo>
                  <a:lnTo>
                    <a:pt x="269" y="1064"/>
                  </a:lnTo>
                  <a:lnTo>
                    <a:pt x="287" y="1057"/>
                  </a:lnTo>
                  <a:lnTo>
                    <a:pt x="297" y="1037"/>
                  </a:lnTo>
                  <a:lnTo>
                    <a:pt x="316" y="1032"/>
                  </a:lnTo>
                  <a:lnTo>
                    <a:pt x="333" y="1025"/>
                  </a:lnTo>
                  <a:lnTo>
                    <a:pt x="323" y="1002"/>
                  </a:lnTo>
                  <a:lnTo>
                    <a:pt x="297" y="998"/>
                  </a:lnTo>
                  <a:lnTo>
                    <a:pt x="277" y="991"/>
                  </a:lnTo>
                  <a:lnTo>
                    <a:pt x="276" y="972"/>
                  </a:lnTo>
                  <a:lnTo>
                    <a:pt x="287" y="959"/>
                  </a:lnTo>
                  <a:lnTo>
                    <a:pt x="304" y="950"/>
                  </a:lnTo>
                  <a:lnTo>
                    <a:pt x="328" y="943"/>
                  </a:lnTo>
                  <a:lnTo>
                    <a:pt x="353" y="943"/>
                  </a:lnTo>
                  <a:lnTo>
                    <a:pt x="375" y="947"/>
                  </a:lnTo>
                  <a:lnTo>
                    <a:pt x="390" y="961"/>
                  </a:lnTo>
                  <a:lnTo>
                    <a:pt x="385" y="986"/>
                  </a:lnTo>
                  <a:lnTo>
                    <a:pt x="390" y="1005"/>
                  </a:lnTo>
                  <a:lnTo>
                    <a:pt x="401" y="1020"/>
                  </a:lnTo>
                  <a:lnTo>
                    <a:pt x="413" y="1005"/>
                  </a:lnTo>
                  <a:lnTo>
                    <a:pt x="435" y="1000"/>
                  </a:lnTo>
                  <a:lnTo>
                    <a:pt x="457" y="1007"/>
                  </a:lnTo>
                  <a:lnTo>
                    <a:pt x="479" y="1016"/>
                  </a:lnTo>
                  <a:lnTo>
                    <a:pt x="492" y="1030"/>
                  </a:lnTo>
                  <a:lnTo>
                    <a:pt x="505" y="1048"/>
                  </a:lnTo>
                  <a:lnTo>
                    <a:pt x="522" y="1050"/>
                  </a:lnTo>
                  <a:lnTo>
                    <a:pt x="546" y="1037"/>
                  </a:lnTo>
                  <a:lnTo>
                    <a:pt x="569" y="1046"/>
                  </a:lnTo>
                  <a:lnTo>
                    <a:pt x="593" y="1060"/>
                  </a:lnTo>
                  <a:lnTo>
                    <a:pt x="611" y="107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7294EC47-B8FF-4B4E-82B1-4DCC5F26C8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765" y="2415041"/>
              <a:ext cx="423968" cy="647493"/>
            </a:xfrm>
            <a:custGeom>
              <a:avLst/>
              <a:gdLst>
                <a:gd name="T0" fmla="*/ 663 w 696"/>
                <a:gd name="T1" fmla="*/ 494 h 1066"/>
                <a:gd name="T2" fmla="*/ 622 w 696"/>
                <a:gd name="T3" fmla="*/ 475 h 1066"/>
                <a:gd name="T4" fmla="*/ 612 w 696"/>
                <a:gd name="T5" fmla="*/ 412 h 1066"/>
                <a:gd name="T6" fmla="*/ 631 w 696"/>
                <a:gd name="T7" fmla="*/ 361 h 1066"/>
                <a:gd name="T8" fmla="*/ 666 w 696"/>
                <a:gd name="T9" fmla="*/ 318 h 1066"/>
                <a:gd name="T10" fmla="*/ 668 w 696"/>
                <a:gd name="T11" fmla="*/ 254 h 1066"/>
                <a:gd name="T12" fmla="*/ 686 w 696"/>
                <a:gd name="T13" fmla="*/ 205 h 1066"/>
                <a:gd name="T14" fmla="*/ 649 w 696"/>
                <a:gd name="T15" fmla="*/ 169 h 1066"/>
                <a:gd name="T16" fmla="*/ 616 w 696"/>
                <a:gd name="T17" fmla="*/ 114 h 1066"/>
                <a:gd name="T18" fmla="*/ 574 w 696"/>
                <a:gd name="T19" fmla="*/ 125 h 1066"/>
                <a:gd name="T20" fmla="*/ 557 w 696"/>
                <a:gd name="T21" fmla="*/ 153 h 1066"/>
                <a:gd name="T22" fmla="*/ 503 w 696"/>
                <a:gd name="T23" fmla="*/ 150 h 1066"/>
                <a:gd name="T24" fmla="*/ 520 w 696"/>
                <a:gd name="T25" fmla="*/ 98 h 1066"/>
                <a:gd name="T26" fmla="*/ 530 w 696"/>
                <a:gd name="T27" fmla="*/ 25 h 1066"/>
                <a:gd name="T28" fmla="*/ 485 w 696"/>
                <a:gd name="T29" fmla="*/ 0 h 1066"/>
                <a:gd name="T30" fmla="*/ 428 w 696"/>
                <a:gd name="T31" fmla="*/ 34 h 1066"/>
                <a:gd name="T32" fmla="*/ 401 w 696"/>
                <a:gd name="T33" fmla="*/ 105 h 1066"/>
                <a:gd name="T34" fmla="*/ 369 w 696"/>
                <a:gd name="T35" fmla="*/ 93 h 1066"/>
                <a:gd name="T36" fmla="*/ 330 w 696"/>
                <a:gd name="T37" fmla="*/ 112 h 1066"/>
                <a:gd name="T38" fmla="*/ 299 w 696"/>
                <a:gd name="T39" fmla="*/ 160 h 1066"/>
                <a:gd name="T40" fmla="*/ 248 w 696"/>
                <a:gd name="T41" fmla="*/ 160 h 1066"/>
                <a:gd name="T42" fmla="*/ 268 w 696"/>
                <a:gd name="T43" fmla="*/ 201 h 1066"/>
                <a:gd name="T44" fmla="*/ 258 w 696"/>
                <a:gd name="T45" fmla="*/ 260 h 1066"/>
                <a:gd name="T46" fmla="*/ 215 w 696"/>
                <a:gd name="T47" fmla="*/ 274 h 1066"/>
                <a:gd name="T48" fmla="*/ 201 w 696"/>
                <a:gd name="T49" fmla="*/ 345 h 1066"/>
                <a:gd name="T50" fmla="*/ 149 w 696"/>
                <a:gd name="T51" fmla="*/ 370 h 1066"/>
                <a:gd name="T52" fmla="*/ 109 w 696"/>
                <a:gd name="T53" fmla="*/ 420 h 1066"/>
                <a:gd name="T54" fmla="*/ 101 w 696"/>
                <a:gd name="T55" fmla="*/ 478 h 1066"/>
                <a:gd name="T56" fmla="*/ 64 w 696"/>
                <a:gd name="T57" fmla="*/ 530 h 1066"/>
                <a:gd name="T58" fmla="*/ 80 w 696"/>
                <a:gd name="T59" fmla="*/ 595 h 1066"/>
                <a:gd name="T60" fmla="*/ 80 w 696"/>
                <a:gd name="T61" fmla="*/ 663 h 1066"/>
                <a:gd name="T62" fmla="*/ 23 w 696"/>
                <a:gd name="T63" fmla="*/ 716 h 1066"/>
                <a:gd name="T64" fmla="*/ 5 w 696"/>
                <a:gd name="T65" fmla="*/ 780 h 1066"/>
                <a:gd name="T66" fmla="*/ 54 w 696"/>
                <a:gd name="T67" fmla="*/ 780 h 1066"/>
                <a:gd name="T68" fmla="*/ 117 w 696"/>
                <a:gd name="T69" fmla="*/ 755 h 1066"/>
                <a:gd name="T70" fmla="*/ 164 w 696"/>
                <a:gd name="T71" fmla="*/ 805 h 1066"/>
                <a:gd name="T72" fmla="*/ 174 w 696"/>
                <a:gd name="T73" fmla="*/ 874 h 1066"/>
                <a:gd name="T74" fmla="*/ 174 w 696"/>
                <a:gd name="T75" fmla="*/ 922 h 1066"/>
                <a:gd name="T76" fmla="*/ 174 w 696"/>
                <a:gd name="T77" fmla="*/ 974 h 1066"/>
                <a:gd name="T78" fmla="*/ 218 w 696"/>
                <a:gd name="T79" fmla="*/ 1001 h 1066"/>
                <a:gd name="T80" fmla="*/ 262 w 696"/>
                <a:gd name="T81" fmla="*/ 1013 h 1066"/>
                <a:gd name="T82" fmla="*/ 283 w 696"/>
                <a:gd name="T83" fmla="*/ 1027 h 1066"/>
                <a:gd name="T84" fmla="*/ 295 w 696"/>
                <a:gd name="T85" fmla="*/ 1066 h 1066"/>
                <a:gd name="T86" fmla="*/ 330 w 696"/>
                <a:gd name="T87" fmla="*/ 1029 h 1066"/>
                <a:gd name="T88" fmla="*/ 367 w 696"/>
                <a:gd name="T89" fmla="*/ 1024 h 1066"/>
                <a:gd name="T90" fmla="*/ 356 w 696"/>
                <a:gd name="T91" fmla="*/ 993 h 1066"/>
                <a:gd name="T92" fmla="*/ 344 w 696"/>
                <a:gd name="T93" fmla="*/ 926 h 1066"/>
                <a:gd name="T94" fmla="*/ 322 w 696"/>
                <a:gd name="T95" fmla="*/ 851 h 1066"/>
                <a:gd name="T96" fmla="*/ 349 w 696"/>
                <a:gd name="T97" fmla="*/ 793 h 1066"/>
                <a:gd name="T98" fmla="*/ 357 w 696"/>
                <a:gd name="T99" fmla="*/ 739 h 1066"/>
                <a:gd name="T100" fmla="*/ 403 w 696"/>
                <a:gd name="T101" fmla="*/ 732 h 1066"/>
                <a:gd name="T102" fmla="*/ 461 w 696"/>
                <a:gd name="T103" fmla="*/ 736 h 1066"/>
                <a:gd name="T104" fmla="*/ 490 w 696"/>
                <a:gd name="T105" fmla="*/ 693 h 1066"/>
                <a:gd name="T106" fmla="*/ 532 w 696"/>
                <a:gd name="T107" fmla="*/ 681 h 1066"/>
                <a:gd name="T108" fmla="*/ 560 w 696"/>
                <a:gd name="T109" fmla="*/ 645 h 1066"/>
                <a:gd name="T110" fmla="*/ 562 w 696"/>
                <a:gd name="T111" fmla="*/ 599 h 1066"/>
                <a:gd name="T112" fmla="*/ 614 w 696"/>
                <a:gd name="T113" fmla="*/ 617 h 1066"/>
                <a:gd name="T114" fmla="*/ 643 w 696"/>
                <a:gd name="T115" fmla="*/ 574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96" h="1066">
                  <a:moveTo>
                    <a:pt x="656" y="539"/>
                  </a:moveTo>
                  <a:lnTo>
                    <a:pt x="653" y="514"/>
                  </a:lnTo>
                  <a:lnTo>
                    <a:pt x="663" y="494"/>
                  </a:lnTo>
                  <a:lnTo>
                    <a:pt x="654" y="475"/>
                  </a:lnTo>
                  <a:lnTo>
                    <a:pt x="641" y="466"/>
                  </a:lnTo>
                  <a:lnTo>
                    <a:pt x="622" y="475"/>
                  </a:lnTo>
                  <a:lnTo>
                    <a:pt x="611" y="459"/>
                  </a:lnTo>
                  <a:lnTo>
                    <a:pt x="606" y="436"/>
                  </a:lnTo>
                  <a:lnTo>
                    <a:pt x="612" y="412"/>
                  </a:lnTo>
                  <a:lnTo>
                    <a:pt x="622" y="395"/>
                  </a:lnTo>
                  <a:lnTo>
                    <a:pt x="639" y="377"/>
                  </a:lnTo>
                  <a:lnTo>
                    <a:pt x="631" y="361"/>
                  </a:lnTo>
                  <a:lnTo>
                    <a:pt x="634" y="338"/>
                  </a:lnTo>
                  <a:lnTo>
                    <a:pt x="648" y="324"/>
                  </a:lnTo>
                  <a:lnTo>
                    <a:pt x="666" y="318"/>
                  </a:lnTo>
                  <a:lnTo>
                    <a:pt x="661" y="302"/>
                  </a:lnTo>
                  <a:lnTo>
                    <a:pt x="658" y="269"/>
                  </a:lnTo>
                  <a:lnTo>
                    <a:pt x="668" y="254"/>
                  </a:lnTo>
                  <a:lnTo>
                    <a:pt x="684" y="244"/>
                  </a:lnTo>
                  <a:lnTo>
                    <a:pt x="696" y="226"/>
                  </a:lnTo>
                  <a:lnTo>
                    <a:pt x="686" y="205"/>
                  </a:lnTo>
                  <a:lnTo>
                    <a:pt x="668" y="205"/>
                  </a:lnTo>
                  <a:lnTo>
                    <a:pt x="659" y="183"/>
                  </a:lnTo>
                  <a:lnTo>
                    <a:pt x="649" y="169"/>
                  </a:lnTo>
                  <a:lnTo>
                    <a:pt x="632" y="158"/>
                  </a:lnTo>
                  <a:lnTo>
                    <a:pt x="622" y="132"/>
                  </a:lnTo>
                  <a:lnTo>
                    <a:pt x="616" y="114"/>
                  </a:lnTo>
                  <a:lnTo>
                    <a:pt x="604" y="110"/>
                  </a:lnTo>
                  <a:lnTo>
                    <a:pt x="592" y="110"/>
                  </a:lnTo>
                  <a:lnTo>
                    <a:pt x="574" y="125"/>
                  </a:lnTo>
                  <a:lnTo>
                    <a:pt x="567" y="135"/>
                  </a:lnTo>
                  <a:lnTo>
                    <a:pt x="562" y="142"/>
                  </a:lnTo>
                  <a:lnTo>
                    <a:pt x="557" y="153"/>
                  </a:lnTo>
                  <a:lnTo>
                    <a:pt x="539" y="160"/>
                  </a:lnTo>
                  <a:lnTo>
                    <a:pt x="520" y="153"/>
                  </a:lnTo>
                  <a:lnTo>
                    <a:pt x="503" y="150"/>
                  </a:lnTo>
                  <a:lnTo>
                    <a:pt x="500" y="134"/>
                  </a:lnTo>
                  <a:lnTo>
                    <a:pt x="512" y="119"/>
                  </a:lnTo>
                  <a:lnTo>
                    <a:pt x="520" y="98"/>
                  </a:lnTo>
                  <a:lnTo>
                    <a:pt x="523" y="70"/>
                  </a:lnTo>
                  <a:lnTo>
                    <a:pt x="522" y="45"/>
                  </a:lnTo>
                  <a:lnTo>
                    <a:pt x="530" y="25"/>
                  </a:lnTo>
                  <a:lnTo>
                    <a:pt x="522" y="13"/>
                  </a:lnTo>
                  <a:lnTo>
                    <a:pt x="505" y="2"/>
                  </a:lnTo>
                  <a:lnTo>
                    <a:pt x="485" y="0"/>
                  </a:lnTo>
                  <a:lnTo>
                    <a:pt x="463" y="2"/>
                  </a:lnTo>
                  <a:lnTo>
                    <a:pt x="443" y="16"/>
                  </a:lnTo>
                  <a:lnTo>
                    <a:pt x="428" y="34"/>
                  </a:lnTo>
                  <a:lnTo>
                    <a:pt x="419" y="61"/>
                  </a:lnTo>
                  <a:lnTo>
                    <a:pt x="409" y="89"/>
                  </a:lnTo>
                  <a:lnTo>
                    <a:pt x="401" y="105"/>
                  </a:lnTo>
                  <a:lnTo>
                    <a:pt x="389" y="118"/>
                  </a:lnTo>
                  <a:lnTo>
                    <a:pt x="379" y="107"/>
                  </a:lnTo>
                  <a:lnTo>
                    <a:pt x="369" y="93"/>
                  </a:lnTo>
                  <a:lnTo>
                    <a:pt x="357" y="91"/>
                  </a:lnTo>
                  <a:lnTo>
                    <a:pt x="341" y="96"/>
                  </a:lnTo>
                  <a:lnTo>
                    <a:pt x="330" y="112"/>
                  </a:lnTo>
                  <a:lnTo>
                    <a:pt x="322" y="134"/>
                  </a:lnTo>
                  <a:lnTo>
                    <a:pt x="314" y="151"/>
                  </a:lnTo>
                  <a:lnTo>
                    <a:pt x="299" y="160"/>
                  </a:lnTo>
                  <a:lnTo>
                    <a:pt x="282" y="153"/>
                  </a:lnTo>
                  <a:lnTo>
                    <a:pt x="263" y="148"/>
                  </a:lnTo>
                  <a:lnTo>
                    <a:pt x="248" y="160"/>
                  </a:lnTo>
                  <a:lnTo>
                    <a:pt x="245" y="180"/>
                  </a:lnTo>
                  <a:lnTo>
                    <a:pt x="255" y="196"/>
                  </a:lnTo>
                  <a:lnTo>
                    <a:pt x="268" y="201"/>
                  </a:lnTo>
                  <a:lnTo>
                    <a:pt x="275" y="222"/>
                  </a:lnTo>
                  <a:lnTo>
                    <a:pt x="268" y="244"/>
                  </a:lnTo>
                  <a:lnTo>
                    <a:pt x="258" y="260"/>
                  </a:lnTo>
                  <a:lnTo>
                    <a:pt x="243" y="265"/>
                  </a:lnTo>
                  <a:lnTo>
                    <a:pt x="225" y="263"/>
                  </a:lnTo>
                  <a:lnTo>
                    <a:pt x="215" y="274"/>
                  </a:lnTo>
                  <a:lnTo>
                    <a:pt x="216" y="301"/>
                  </a:lnTo>
                  <a:lnTo>
                    <a:pt x="206" y="317"/>
                  </a:lnTo>
                  <a:lnTo>
                    <a:pt x="201" y="345"/>
                  </a:lnTo>
                  <a:lnTo>
                    <a:pt x="191" y="359"/>
                  </a:lnTo>
                  <a:lnTo>
                    <a:pt x="173" y="368"/>
                  </a:lnTo>
                  <a:lnTo>
                    <a:pt x="149" y="370"/>
                  </a:lnTo>
                  <a:lnTo>
                    <a:pt x="129" y="380"/>
                  </a:lnTo>
                  <a:lnTo>
                    <a:pt x="116" y="398"/>
                  </a:lnTo>
                  <a:lnTo>
                    <a:pt x="109" y="420"/>
                  </a:lnTo>
                  <a:lnTo>
                    <a:pt x="101" y="439"/>
                  </a:lnTo>
                  <a:lnTo>
                    <a:pt x="87" y="448"/>
                  </a:lnTo>
                  <a:lnTo>
                    <a:pt x="101" y="478"/>
                  </a:lnTo>
                  <a:lnTo>
                    <a:pt x="94" y="501"/>
                  </a:lnTo>
                  <a:lnTo>
                    <a:pt x="79" y="512"/>
                  </a:lnTo>
                  <a:lnTo>
                    <a:pt x="64" y="530"/>
                  </a:lnTo>
                  <a:lnTo>
                    <a:pt x="62" y="549"/>
                  </a:lnTo>
                  <a:lnTo>
                    <a:pt x="70" y="574"/>
                  </a:lnTo>
                  <a:lnTo>
                    <a:pt x="80" y="595"/>
                  </a:lnTo>
                  <a:lnTo>
                    <a:pt x="92" y="620"/>
                  </a:lnTo>
                  <a:lnTo>
                    <a:pt x="91" y="640"/>
                  </a:lnTo>
                  <a:lnTo>
                    <a:pt x="80" y="663"/>
                  </a:lnTo>
                  <a:lnTo>
                    <a:pt x="64" y="681"/>
                  </a:lnTo>
                  <a:lnTo>
                    <a:pt x="42" y="693"/>
                  </a:lnTo>
                  <a:lnTo>
                    <a:pt x="23" y="716"/>
                  </a:lnTo>
                  <a:lnTo>
                    <a:pt x="10" y="731"/>
                  </a:lnTo>
                  <a:lnTo>
                    <a:pt x="0" y="752"/>
                  </a:lnTo>
                  <a:lnTo>
                    <a:pt x="5" y="780"/>
                  </a:lnTo>
                  <a:lnTo>
                    <a:pt x="13" y="794"/>
                  </a:lnTo>
                  <a:lnTo>
                    <a:pt x="32" y="791"/>
                  </a:lnTo>
                  <a:lnTo>
                    <a:pt x="54" y="780"/>
                  </a:lnTo>
                  <a:lnTo>
                    <a:pt x="75" y="775"/>
                  </a:lnTo>
                  <a:lnTo>
                    <a:pt x="94" y="761"/>
                  </a:lnTo>
                  <a:lnTo>
                    <a:pt x="117" y="755"/>
                  </a:lnTo>
                  <a:lnTo>
                    <a:pt x="132" y="764"/>
                  </a:lnTo>
                  <a:lnTo>
                    <a:pt x="148" y="780"/>
                  </a:lnTo>
                  <a:lnTo>
                    <a:pt x="164" y="805"/>
                  </a:lnTo>
                  <a:lnTo>
                    <a:pt x="169" y="823"/>
                  </a:lnTo>
                  <a:lnTo>
                    <a:pt x="168" y="846"/>
                  </a:lnTo>
                  <a:lnTo>
                    <a:pt x="174" y="874"/>
                  </a:lnTo>
                  <a:lnTo>
                    <a:pt x="184" y="887"/>
                  </a:lnTo>
                  <a:lnTo>
                    <a:pt x="188" y="906"/>
                  </a:lnTo>
                  <a:lnTo>
                    <a:pt x="174" y="922"/>
                  </a:lnTo>
                  <a:lnTo>
                    <a:pt x="168" y="942"/>
                  </a:lnTo>
                  <a:lnTo>
                    <a:pt x="179" y="960"/>
                  </a:lnTo>
                  <a:lnTo>
                    <a:pt x="174" y="974"/>
                  </a:lnTo>
                  <a:lnTo>
                    <a:pt x="178" y="988"/>
                  </a:lnTo>
                  <a:lnTo>
                    <a:pt x="196" y="995"/>
                  </a:lnTo>
                  <a:lnTo>
                    <a:pt x="218" y="1001"/>
                  </a:lnTo>
                  <a:lnTo>
                    <a:pt x="233" y="992"/>
                  </a:lnTo>
                  <a:lnTo>
                    <a:pt x="245" y="1001"/>
                  </a:lnTo>
                  <a:lnTo>
                    <a:pt x="262" y="1013"/>
                  </a:lnTo>
                  <a:lnTo>
                    <a:pt x="275" y="1002"/>
                  </a:lnTo>
                  <a:lnTo>
                    <a:pt x="292" y="1009"/>
                  </a:lnTo>
                  <a:lnTo>
                    <a:pt x="283" y="1027"/>
                  </a:lnTo>
                  <a:lnTo>
                    <a:pt x="278" y="1045"/>
                  </a:lnTo>
                  <a:lnTo>
                    <a:pt x="280" y="1063"/>
                  </a:lnTo>
                  <a:lnTo>
                    <a:pt x="295" y="1066"/>
                  </a:lnTo>
                  <a:lnTo>
                    <a:pt x="305" y="1056"/>
                  </a:lnTo>
                  <a:lnTo>
                    <a:pt x="319" y="1040"/>
                  </a:lnTo>
                  <a:lnTo>
                    <a:pt x="330" y="1029"/>
                  </a:lnTo>
                  <a:lnTo>
                    <a:pt x="349" y="1036"/>
                  </a:lnTo>
                  <a:lnTo>
                    <a:pt x="364" y="1038"/>
                  </a:lnTo>
                  <a:lnTo>
                    <a:pt x="367" y="1024"/>
                  </a:lnTo>
                  <a:lnTo>
                    <a:pt x="362" y="1004"/>
                  </a:lnTo>
                  <a:lnTo>
                    <a:pt x="377" y="1002"/>
                  </a:lnTo>
                  <a:lnTo>
                    <a:pt x="356" y="993"/>
                  </a:lnTo>
                  <a:lnTo>
                    <a:pt x="337" y="974"/>
                  </a:lnTo>
                  <a:lnTo>
                    <a:pt x="335" y="947"/>
                  </a:lnTo>
                  <a:lnTo>
                    <a:pt x="344" y="926"/>
                  </a:lnTo>
                  <a:lnTo>
                    <a:pt x="339" y="901"/>
                  </a:lnTo>
                  <a:lnTo>
                    <a:pt x="330" y="880"/>
                  </a:lnTo>
                  <a:lnTo>
                    <a:pt x="322" y="851"/>
                  </a:lnTo>
                  <a:lnTo>
                    <a:pt x="327" y="832"/>
                  </a:lnTo>
                  <a:lnTo>
                    <a:pt x="339" y="816"/>
                  </a:lnTo>
                  <a:lnTo>
                    <a:pt x="349" y="793"/>
                  </a:lnTo>
                  <a:lnTo>
                    <a:pt x="346" y="773"/>
                  </a:lnTo>
                  <a:lnTo>
                    <a:pt x="344" y="750"/>
                  </a:lnTo>
                  <a:lnTo>
                    <a:pt x="357" y="739"/>
                  </a:lnTo>
                  <a:lnTo>
                    <a:pt x="374" y="736"/>
                  </a:lnTo>
                  <a:lnTo>
                    <a:pt x="391" y="748"/>
                  </a:lnTo>
                  <a:lnTo>
                    <a:pt x="403" y="732"/>
                  </a:lnTo>
                  <a:lnTo>
                    <a:pt x="421" y="725"/>
                  </a:lnTo>
                  <a:lnTo>
                    <a:pt x="441" y="731"/>
                  </a:lnTo>
                  <a:lnTo>
                    <a:pt x="461" y="736"/>
                  </a:lnTo>
                  <a:lnTo>
                    <a:pt x="480" y="731"/>
                  </a:lnTo>
                  <a:lnTo>
                    <a:pt x="488" y="713"/>
                  </a:lnTo>
                  <a:lnTo>
                    <a:pt x="490" y="693"/>
                  </a:lnTo>
                  <a:lnTo>
                    <a:pt x="502" y="681"/>
                  </a:lnTo>
                  <a:lnTo>
                    <a:pt x="517" y="683"/>
                  </a:lnTo>
                  <a:lnTo>
                    <a:pt x="532" y="681"/>
                  </a:lnTo>
                  <a:lnTo>
                    <a:pt x="535" y="665"/>
                  </a:lnTo>
                  <a:lnTo>
                    <a:pt x="545" y="651"/>
                  </a:lnTo>
                  <a:lnTo>
                    <a:pt x="560" y="645"/>
                  </a:lnTo>
                  <a:lnTo>
                    <a:pt x="567" y="627"/>
                  </a:lnTo>
                  <a:lnTo>
                    <a:pt x="560" y="615"/>
                  </a:lnTo>
                  <a:lnTo>
                    <a:pt x="562" y="599"/>
                  </a:lnTo>
                  <a:lnTo>
                    <a:pt x="579" y="597"/>
                  </a:lnTo>
                  <a:lnTo>
                    <a:pt x="596" y="611"/>
                  </a:lnTo>
                  <a:lnTo>
                    <a:pt x="614" y="617"/>
                  </a:lnTo>
                  <a:lnTo>
                    <a:pt x="624" y="599"/>
                  </a:lnTo>
                  <a:lnTo>
                    <a:pt x="629" y="583"/>
                  </a:lnTo>
                  <a:lnTo>
                    <a:pt x="643" y="574"/>
                  </a:lnTo>
                  <a:lnTo>
                    <a:pt x="654" y="556"/>
                  </a:lnTo>
                  <a:lnTo>
                    <a:pt x="656" y="53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F652321F-CD88-49C1-9192-CE73F5284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923" y="2620344"/>
              <a:ext cx="417894" cy="579464"/>
            </a:xfrm>
            <a:custGeom>
              <a:avLst/>
              <a:gdLst>
                <a:gd name="T0" fmla="*/ 587 w 688"/>
                <a:gd name="T1" fmla="*/ 163 h 954"/>
                <a:gd name="T2" fmla="*/ 555 w 688"/>
                <a:gd name="T3" fmla="*/ 211 h 954"/>
                <a:gd name="T4" fmla="*/ 585 w 688"/>
                <a:gd name="T5" fmla="*/ 282 h 954"/>
                <a:gd name="T6" fmla="*/ 557 w 688"/>
                <a:gd name="T7" fmla="*/ 343 h 954"/>
                <a:gd name="T8" fmla="*/ 503 w 688"/>
                <a:gd name="T9" fmla="*/ 393 h 954"/>
                <a:gd name="T10" fmla="*/ 506 w 688"/>
                <a:gd name="T11" fmla="*/ 456 h 954"/>
                <a:gd name="T12" fmla="*/ 568 w 688"/>
                <a:gd name="T13" fmla="*/ 437 h 954"/>
                <a:gd name="T14" fmla="*/ 625 w 688"/>
                <a:gd name="T15" fmla="*/ 426 h 954"/>
                <a:gd name="T16" fmla="*/ 662 w 688"/>
                <a:gd name="T17" fmla="*/ 485 h 954"/>
                <a:gd name="T18" fmla="*/ 677 w 688"/>
                <a:gd name="T19" fmla="*/ 549 h 954"/>
                <a:gd name="T20" fmla="*/ 661 w 688"/>
                <a:gd name="T21" fmla="*/ 604 h 954"/>
                <a:gd name="T22" fmla="*/ 672 w 688"/>
                <a:gd name="T23" fmla="*/ 654 h 954"/>
                <a:gd name="T24" fmla="*/ 676 w 688"/>
                <a:gd name="T25" fmla="*/ 707 h 954"/>
                <a:gd name="T26" fmla="*/ 681 w 688"/>
                <a:gd name="T27" fmla="*/ 776 h 954"/>
                <a:gd name="T28" fmla="*/ 654 w 688"/>
                <a:gd name="T29" fmla="*/ 842 h 954"/>
                <a:gd name="T30" fmla="*/ 631 w 688"/>
                <a:gd name="T31" fmla="*/ 899 h 954"/>
                <a:gd name="T32" fmla="*/ 609 w 688"/>
                <a:gd name="T33" fmla="*/ 954 h 954"/>
                <a:gd name="T34" fmla="*/ 548 w 688"/>
                <a:gd name="T35" fmla="*/ 911 h 954"/>
                <a:gd name="T36" fmla="*/ 501 w 688"/>
                <a:gd name="T37" fmla="*/ 913 h 954"/>
                <a:gd name="T38" fmla="*/ 433 w 688"/>
                <a:gd name="T39" fmla="*/ 906 h 954"/>
                <a:gd name="T40" fmla="*/ 377 w 688"/>
                <a:gd name="T41" fmla="*/ 874 h 954"/>
                <a:gd name="T42" fmla="*/ 335 w 688"/>
                <a:gd name="T43" fmla="*/ 833 h 954"/>
                <a:gd name="T44" fmla="*/ 339 w 688"/>
                <a:gd name="T45" fmla="*/ 767 h 954"/>
                <a:gd name="T46" fmla="*/ 325 w 688"/>
                <a:gd name="T47" fmla="*/ 705 h 954"/>
                <a:gd name="T48" fmla="*/ 320 w 688"/>
                <a:gd name="T49" fmla="*/ 647 h 954"/>
                <a:gd name="T50" fmla="*/ 266 w 688"/>
                <a:gd name="T51" fmla="*/ 616 h 954"/>
                <a:gd name="T52" fmla="*/ 199 w 688"/>
                <a:gd name="T53" fmla="*/ 618 h 954"/>
                <a:gd name="T54" fmla="*/ 152 w 688"/>
                <a:gd name="T55" fmla="*/ 661 h 954"/>
                <a:gd name="T56" fmla="*/ 99 w 688"/>
                <a:gd name="T57" fmla="*/ 634 h 954"/>
                <a:gd name="T58" fmla="*/ 68 w 688"/>
                <a:gd name="T59" fmla="*/ 618 h 954"/>
                <a:gd name="T60" fmla="*/ 102 w 688"/>
                <a:gd name="T61" fmla="*/ 563 h 954"/>
                <a:gd name="T62" fmla="*/ 80 w 688"/>
                <a:gd name="T63" fmla="*/ 508 h 954"/>
                <a:gd name="T64" fmla="*/ 28 w 688"/>
                <a:gd name="T65" fmla="*/ 458 h 954"/>
                <a:gd name="T66" fmla="*/ 0 w 688"/>
                <a:gd name="T67" fmla="*/ 389 h 954"/>
                <a:gd name="T68" fmla="*/ 25 w 688"/>
                <a:gd name="T69" fmla="*/ 314 h 954"/>
                <a:gd name="T70" fmla="*/ 75 w 688"/>
                <a:gd name="T71" fmla="*/ 272 h 954"/>
                <a:gd name="T72" fmla="*/ 125 w 688"/>
                <a:gd name="T73" fmla="*/ 289 h 954"/>
                <a:gd name="T74" fmla="*/ 162 w 688"/>
                <a:gd name="T75" fmla="*/ 270 h 954"/>
                <a:gd name="T76" fmla="*/ 186 w 688"/>
                <a:gd name="T77" fmla="*/ 231 h 954"/>
                <a:gd name="T78" fmla="*/ 248 w 688"/>
                <a:gd name="T79" fmla="*/ 199 h 954"/>
                <a:gd name="T80" fmla="*/ 293 w 688"/>
                <a:gd name="T81" fmla="*/ 160 h 954"/>
                <a:gd name="T82" fmla="*/ 350 w 688"/>
                <a:gd name="T83" fmla="*/ 144 h 954"/>
                <a:gd name="T84" fmla="*/ 406 w 688"/>
                <a:gd name="T85" fmla="*/ 135 h 954"/>
                <a:gd name="T86" fmla="*/ 454 w 688"/>
                <a:gd name="T87" fmla="*/ 99 h 954"/>
                <a:gd name="T88" fmla="*/ 485 w 688"/>
                <a:gd name="T89" fmla="*/ 51 h 954"/>
                <a:gd name="T90" fmla="*/ 503 w 688"/>
                <a:gd name="T91" fmla="*/ 0 h 954"/>
                <a:gd name="T92" fmla="*/ 540 w 688"/>
                <a:gd name="T93" fmla="*/ 48 h 954"/>
                <a:gd name="T94" fmla="*/ 582 w 688"/>
                <a:gd name="T95" fmla="*/ 110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8" h="954">
                  <a:moveTo>
                    <a:pt x="582" y="110"/>
                  </a:moveTo>
                  <a:lnTo>
                    <a:pt x="594" y="140"/>
                  </a:lnTo>
                  <a:lnTo>
                    <a:pt x="587" y="163"/>
                  </a:lnTo>
                  <a:lnTo>
                    <a:pt x="572" y="174"/>
                  </a:lnTo>
                  <a:lnTo>
                    <a:pt x="557" y="192"/>
                  </a:lnTo>
                  <a:lnTo>
                    <a:pt x="555" y="211"/>
                  </a:lnTo>
                  <a:lnTo>
                    <a:pt x="563" y="236"/>
                  </a:lnTo>
                  <a:lnTo>
                    <a:pt x="573" y="257"/>
                  </a:lnTo>
                  <a:lnTo>
                    <a:pt x="585" y="282"/>
                  </a:lnTo>
                  <a:lnTo>
                    <a:pt x="584" y="302"/>
                  </a:lnTo>
                  <a:lnTo>
                    <a:pt x="573" y="325"/>
                  </a:lnTo>
                  <a:lnTo>
                    <a:pt x="557" y="343"/>
                  </a:lnTo>
                  <a:lnTo>
                    <a:pt x="535" y="355"/>
                  </a:lnTo>
                  <a:lnTo>
                    <a:pt x="516" y="378"/>
                  </a:lnTo>
                  <a:lnTo>
                    <a:pt x="503" y="393"/>
                  </a:lnTo>
                  <a:lnTo>
                    <a:pt x="493" y="414"/>
                  </a:lnTo>
                  <a:lnTo>
                    <a:pt x="498" y="442"/>
                  </a:lnTo>
                  <a:lnTo>
                    <a:pt x="506" y="456"/>
                  </a:lnTo>
                  <a:lnTo>
                    <a:pt x="525" y="453"/>
                  </a:lnTo>
                  <a:lnTo>
                    <a:pt x="547" y="442"/>
                  </a:lnTo>
                  <a:lnTo>
                    <a:pt x="568" y="437"/>
                  </a:lnTo>
                  <a:lnTo>
                    <a:pt x="587" y="423"/>
                  </a:lnTo>
                  <a:lnTo>
                    <a:pt x="610" y="417"/>
                  </a:lnTo>
                  <a:lnTo>
                    <a:pt x="625" y="426"/>
                  </a:lnTo>
                  <a:lnTo>
                    <a:pt x="641" y="442"/>
                  </a:lnTo>
                  <a:lnTo>
                    <a:pt x="657" y="467"/>
                  </a:lnTo>
                  <a:lnTo>
                    <a:pt x="662" y="485"/>
                  </a:lnTo>
                  <a:lnTo>
                    <a:pt x="661" y="508"/>
                  </a:lnTo>
                  <a:lnTo>
                    <a:pt x="667" y="536"/>
                  </a:lnTo>
                  <a:lnTo>
                    <a:pt x="677" y="549"/>
                  </a:lnTo>
                  <a:lnTo>
                    <a:pt x="681" y="568"/>
                  </a:lnTo>
                  <a:lnTo>
                    <a:pt x="667" y="584"/>
                  </a:lnTo>
                  <a:lnTo>
                    <a:pt x="661" y="604"/>
                  </a:lnTo>
                  <a:lnTo>
                    <a:pt x="672" y="622"/>
                  </a:lnTo>
                  <a:lnTo>
                    <a:pt x="667" y="636"/>
                  </a:lnTo>
                  <a:lnTo>
                    <a:pt x="672" y="654"/>
                  </a:lnTo>
                  <a:lnTo>
                    <a:pt x="669" y="668"/>
                  </a:lnTo>
                  <a:lnTo>
                    <a:pt x="672" y="684"/>
                  </a:lnTo>
                  <a:lnTo>
                    <a:pt x="676" y="707"/>
                  </a:lnTo>
                  <a:lnTo>
                    <a:pt x="681" y="734"/>
                  </a:lnTo>
                  <a:lnTo>
                    <a:pt x="688" y="757"/>
                  </a:lnTo>
                  <a:lnTo>
                    <a:pt x="681" y="776"/>
                  </a:lnTo>
                  <a:lnTo>
                    <a:pt x="681" y="798"/>
                  </a:lnTo>
                  <a:lnTo>
                    <a:pt x="666" y="817"/>
                  </a:lnTo>
                  <a:lnTo>
                    <a:pt x="654" y="842"/>
                  </a:lnTo>
                  <a:lnTo>
                    <a:pt x="649" y="862"/>
                  </a:lnTo>
                  <a:lnTo>
                    <a:pt x="644" y="885"/>
                  </a:lnTo>
                  <a:lnTo>
                    <a:pt x="631" y="899"/>
                  </a:lnTo>
                  <a:lnTo>
                    <a:pt x="615" y="917"/>
                  </a:lnTo>
                  <a:lnTo>
                    <a:pt x="612" y="936"/>
                  </a:lnTo>
                  <a:lnTo>
                    <a:pt x="609" y="954"/>
                  </a:lnTo>
                  <a:lnTo>
                    <a:pt x="590" y="943"/>
                  </a:lnTo>
                  <a:lnTo>
                    <a:pt x="568" y="931"/>
                  </a:lnTo>
                  <a:lnTo>
                    <a:pt x="548" y="911"/>
                  </a:lnTo>
                  <a:lnTo>
                    <a:pt x="530" y="901"/>
                  </a:lnTo>
                  <a:lnTo>
                    <a:pt x="516" y="910"/>
                  </a:lnTo>
                  <a:lnTo>
                    <a:pt x="501" y="913"/>
                  </a:lnTo>
                  <a:lnTo>
                    <a:pt x="481" y="906"/>
                  </a:lnTo>
                  <a:lnTo>
                    <a:pt x="461" y="910"/>
                  </a:lnTo>
                  <a:lnTo>
                    <a:pt x="433" y="906"/>
                  </a:lnTo>
                  <a:lnTo>
                    <a:pt x="406" y="897"/>
                  </a:lnTo>
                  <a:lnTo>
                    <a:pt x="387" y="890"/>
                  </a:lnTo>
                  <a:lnTo>
                    <a:pt x="377" y="874"/>
                  </a:lnTo>
                  <a:lnTo>
                    <a:pt x="362" y="856"/>
                  </a:lnTo>
                  <a:lnTo>
                    <a:pt x="345" y="853"/>
                  </a:lnTo>
                  <a:lnTo>
                    <a:pt x="335" y="833"/>
                  </a:lnTo>
                  <a:lnTo>
                    <a:pt x="330" y="807"/>
                  </a:lnTo>
                  <a:lnTo>
                    <a:pt x="328" y="785"/>
                  </a:lnTo>
                  <a:lnTo>
                    <a:pt x="339" y="767"/>
                  </a:lnTo>
                  <a:lnTo>
                    <a:pt x="339" y="744"/>
                  </a:lnTo>
                  <a:lnTo>
                    <a:pt x="330" y="728"/>
                  </a:lnTo>
                  <a:lnTo>
                    <a:pt x="325" y="705"/>
                  </a:lnTo>
                  <a:lnTo>
                    <a:pt x="334" y="684"/>
                  </a:lnTo>
                  <a:lnTo>
                    <a:pt x="332" y="663"/>
                  </a:lnTo>
                  <a:lnTo>
                    <a:pt x="320" y="647"/>
                  </a:lnTo>
                  <a:lnTo>
                    <a:pt x="302" y="638"/>
                  </a:lnTo>
                  <a:lnTo>
                    <a:pt x="280" y="631"/>
                  </a:lnTo>
                  <a:lnTo>
                    <a:pt x="266" y="616"/>
                  </a:lnTo>
                  <a:lnTo>
                    <a:pt x="246" y="606"/>
                  </a:lnTo>
                  <a:lnTo>
                    <a:pt x="219" y="613"/>
                  </a:lnTo>
                  <a:lnTo>
                    <a:pt x="199" y="618"/>
                  </a:lnTo>
                  <a:lnTo>
                    <a:pt x="184" y="636"/>
                  </a:lnTo>
                  <a:lnTo>
                    <a:pt x="172" y="652"/>
                  </a:lnTo>
                  <a:lnTo>
                    <a:pt x="152" y="661"/>
                  </a:lnTo>
                  <a:lnTo>
                    <a:pt x="134" y="655"/>
                  </a:lnTo>
                  <a:lnTo>
                    <a:pt x="117" y="645"/>
                  </a:lnTo>
                  <a:lnTo>
                    <a:pt x="99" y="634"/>
                  </a:lnTo>
                  <a:lnTo>
                    <a:pt x="78" y="636"/>
                  </a:lnTo>
                  <a:lnTo>
                    <a:pt x="60" y="641"/>
                  </a:lnTo>
                  <a:lnTo>
                    <a:pt x="68" y="618"/>
                  </a:lnTo>
                  <a:lnTo>
                    <a:pt x="80" y="597"/>
                  </a:lnTo>
                  <a:lnTo>
                    <a:pt x="89" y="579"/>
                  </a:lnTo>
                  <a:lnTo>
                    <a:pt x="102" y="563"/>
                  </a:lnTo>
                  <a:lnTo>
                    <a:pt x="107" y="535"/>
                  </a:lnTo>
                  <a:lnTo>
                    <a:pt x="97" y="517"/>
                  </a:lnTo>
                  <a:lnTo>
                    <a:pt x="80" y="508"/>
                  </a:lnTo>
                  <a:lnTo>
                    <a:pt x="65" y="490"/>
                  </a:lnTo>
                  <a:lnTo>
                    <a:pt x="47" y="471"/>
                  </a:lnTo>
                  <a:lnTo>
                    <a:pt x="28" y="458"/>
                  </a:lnTo>
                  <a:lnTo>
                    <a:pt x="15" y="440"/>
                  </a:lnTo>
                  <a:lnTo>
                    <a:pt x="8" y="417"/>
                  </a:lnTo>
                  <a:lnTo>
                    <a:pt x="0" y="389"/>
                  </a:lnTo>
                  <a:lnTo>
                    <a:pt x="3" y="361"/>
                  </a:lnTo>
                  <a:lnTo>
                    <a:pt x="10" y="332"/>
                  </a:lnTo>
                  <a:lnTo>
                    <a:pt x="25" y="314"/>
                  </a:lnTo>
                  <a:lnTo>
                    <a:pt x="47" y="304"/>
                  </a:lnTo>
                  <a:lnTo>
                    <a:pt x="68" y="291"/>
                  </a:lnTo>
                  <a:lnTo>
                    <a:pt x="75" y="272"/>
                  </a:lnTo>
                  <a:lnTo>
                    <a:pt x="99" y="289"/>
                  </a:lnTo>
                  <a:lnTo>
                    <a:pt x="112" y="297"/>
                  </a:lnTo>
                  <a:lnTo>
                    <a:pt x="125" y="289"/>
                  </a:lnTo>
                  <a:lnTo>
                    <a:pt x="130" y="272"/>
                  </a:lnTo>
                  <a:lnTo>
                    <a:pt x="146" y="265"/>
                  </a:lnTo>
                  <a:lnTo>
                    <a:pt x="162" y="270"/>
                  </a:lnTo>
                  <a:lnTo>
                    <a:pt x="164" y="252"/>
                  </a:lnTo>
                  <a:lnTo>
                    <a:pt x="171" y="236"/>
                  </a:lnTo>
                  <a:lnTo>
                    <a:pt x="186" y="231"/>
                  </a:lnTo>
                  <a:lnTo>
                    <a:pt x="209" y="224"/>
                  </a:lnTo>
                  <a:lnTo>
                    <a:pt x="228" y="213"/>
                  </a:lnTo>
                  <a:lnTo>
                    <a:pt x="248" y="199"/>
                  </a:lnTo>
                  <a:lnTo>
                    <a:pt x="265" y="192"/>
                  </a:lnTo>
                  <a:lnTo>
                    <a:pt x="276" y="176"/>
                  </a:lnTo>
                  <a:lnTo>
                    <a:pt x="293" y="160"/>
                  </a:lnTo>
                  <a:lnTo>
                    <a:pt x="312" y="153"/>
                  </a:lnTo>
                  <a:lnTo>
                    <a:pt x="332" y="149"/>
                  </a:lnTo>
                  <a:lnTo>
                    <a:pt x="350" y="144"/>
                  </a:lnTo>
                  <a:lnTo>
                    <a:pt x="370" y="149"/>
                  </a:lnTo>
                  <a:lnTo>
                    <a:pt x="389" y="146"/>
                  </a:lnTo>
                  <a:lnTo>
                    <a:pt x="406" y="135"/>
                  </a:lnTo>
                  <a:lnTo>
                    <a:pt x="419" y="119"/>
                  </a:lnTo>
                  <a:lnTo>
                    <a:pt x="436" y="106"/>
                  </a:lnTo>
                  <a:lnTo>
                    <a:pt x="454" y="99"/>
                  </a:lnTo>
                  <a:lnTo>
                    <a:pt x="464" y="85"/>
                  </a:lnTo>
                  <a:lnTo>
                    <a:pt x="471" y="66"/>
                  </a:lnTo>
                  <a:lnTo>
                    <a:pt x="485" y="51"/>
                  </a:lnTo>
                  <a:lnTo>
                    <a:pt x="491" y="30"/>
                  </a:lnTo>
                  <a:lnTo>
                    <a:pt x="493" y="9"/>
                  </a:lnTo>
                  <a:lnTo>
                    <a:pt x="503" y="0"/>
                  </a:lnTo>
                  <a:lnTo>
                    <a:pt x="518" y="12"/>
                  </a:lnTo>
                  <a:lnTo>
                    <a:pt x="530" y="30"/>
                  </a:lnTo>
                  <a:lnTo>
                    <a:pt x="540" y="48"/>
                  </a:lnTo>
                  <a:lnTo>
                    <a:pt x="548" y="78"/>
                  </a:lnTo>
                  <a:lnTo>
                    <a:pt x="565" y="98"/>
                  </a:lnTo>
                  <a:lnTo>
                    <a:pt x="582" y="11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274D1BBA-D6C6-4472-8EE4-3A4D0698E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5130" y="2144139"/>
              <a:ext cx="606190" cy="655997"/>
            </a:xfrm>
            <a:custGeom>
              <a:avLst/>
              <a:gdLst>
                <a:gd name="T0" fmla="*/ 635 w 999"/>
                <a:gd name="T1" fmla="*/ 844 h 1081"/>
                <a:gd name="T2" fmla="*/ 709 w 999"/>
                <a:gd name="T3" fmla="*/ 807 h 1081"/>
                <a:gd name="T4" fmla="*/ 734 w 999"/>
                <a:gd name="T5" fmla="*/ 720 h 1081"/>
                <a:gd name="T6" fmla="*/ 787 w 999"/>
                <a:gd name="T7" fmla="*/ 688 h 1081"/>
                <a:gd name="T8" fmla="*/ 764 w 999"/>
                <a:gd name="T9" fmla="*/ 626 h 1081"/>
                <a:gd name="T10" fmla="*/ 818 w 999"/>
                <a:gd name="T11" fmla="*/ 606 h 1081"/>
                <a:gd name="T12" fmla="*/ 860 w 999"/>
                <a:gd name="T13" fmla="*/ 544 h 1081"/>
                <a:gd name="T14" fmla="*/ 908 w 999"/>
                <a:gd name="T15" fmla="*/ 564 h 1081"/>
                <a:gd name="T16" fmla="*/ 947 w 999"/>
                <a:gd name="T17" fmla="*/ 480 h 1081"/>
                <a:gd name="T18" fmla="*/ 985 w 999"/>
                <a:gd name="T19" fmla="*/ 409 h 1081"/>
                <a:gd name="T20" fmla="*/ 964 w 999"/>
                <a:gd name="T21" fmla="*/ 347 h 1081"/>
                <a:gd name="T22" fmla="*/ 935 w 999"/>
                <a:gd name="T23" fmla="*/ 286 h 1081"/>
                <a:gd name="T24" fmla="*/ 903 w 999"/>
                <a:gd name="T25" fmla="*/ 203 h 1081"/>
                <a:gd name="T26" fmla="*/ 922 w 999"/>
                <a:gd name="T27" fmla="*/ 180 h 1081"/>
                <a:gd name="T28" fmla="*/ 908 w 999"/>
                <a:gd name="T29" fmla="*/ 132 h 1081"/>
                <a:gd name="T30" fmla="*/ 925 w 999"/>
                <a:gd name="T31" fmla="*/ 59 h 1081"/>
                <a:gd name="T32" fmla="*/ 891 w 999"/>
                <a:gd name="T33" fmla="*/ 14 h 1081"/>
                <a:gd name="T34" fmla="*/ 848 w 999"/>
                <a:gd name="T35" fmla="*/ 62 h 1081"/>
                <a:gd name="T36" fmla="*/ 808 w 999"/>
                <a:gd name="T37" fmla="*/ 11 h 1081"/>
                <a:gd name="T38" fmla="*/ 771 w 999"/>
                <a:gd name="T39" fmla="*/ 36 h 1081"/>
                <a:gd name="T40" fmla="*/ 725 w 999"/>
                <a:gd name="T41" fmla="*/ 39 h 1081"/>
                <a:gd name="T42" fmla="*/ 725 w 999"/>
                <a:gd name="T43" fmla="*/ 119 h 1081"/>
                <a:gd name="T44" fmla="*/ 692 w 999"/>
                <a:gd name="T45" fmla="*/ 201 h 1081"/>
                <a:gd name="T46" fmla="*/ 626 w 999"/>
                <a:gd name="T47" fmla="*/ 247 h 1081"/>
                <a:gd name="T48" fmla="*/ 601 w 999"/>
                <a:gd name="T49" fmla="*/ 197 h 1081"/>
                <a:gd name="T50" fmla="*/ 593 w 999"/>
                <a:gd name="T51" fmla="*/ 114 h 1081"/>
                <a:gd name="T52" fmla="*/ 537 w 999"/>
                <a:gd name="T53" fmla="*/ 61 h 1081"/>
                <a:gd name="T54" fmla="*/ 482 w 999"/>
                <a:gd name="T55" fmla="*/ 27 h 1081"/>
                <a:gd name="T56" fmla="*/ 450 w 999"/>
                <a:gd name="T57" fmla="*/ 109 h 1081"/>
                <a:gd name="T58" fmla="*/ 378 w 999"/>
                <a:gd name="T59" fmla="*/ 148 h 1081"/>
                <a:gd name="T60" fmla="*/ 296 w 999"/>
                <a:gd name="T61" fmla="*/ 164 h 1081"/>
                <a:gd name="T62" fmla="*/ 255 w 999"/>
                <a:gd name="T63" fmla="*/ 229 h 1081"/>
                <a:gd name="T64" fmla="*/ 212 w 999"/>
                <a:gd name="T65" fmla="*/ 295 h 1081"/>
                <a:gd name="T66" fmla="*/ 110 w 999"/>
                <a:gd name="T67" fmla="*/ 329 h 1081"/>
                <a:gd name="T68" fmla="*/ 41 w 999"/>
                <a:gd name="T69" fmla="*/ 334 h 1081"/>
                <a:gd name="T70" fmla="*/ 76 w 999"/>
                <a:gd name="T71" fmla="*/ 420 h 1081"/>
                <a:gd name="T72" fmla="*/ 116 w 999"/>
                <a:gd name="T73" fmla="*/ 492 h 1081"/>
                <a:gd name="T74" fmla="*/ 79 w 999"/>
                <a:gd name="T75" fmla="*/ 599 h 1081"/>
                <a:gd name="T76" fmla="*/ 17 w 999"/>
                <a:gd name="T77" fmla="*/ 690 h 1081"/>
                <a:gd name="T78" fmla="*/ 7 w 999"/>
                <a:gd name="T79" fmla="*/ 787 h 1081"/>
                <a:gd name="T80" fmla="*/ 26 w 999"/>
                <a:gd name="T81" fmla="*/ 880 h 1081"/>
                <a:gd name="T82" fmla="*/ 61 w 999"/>
                <a:gd name="T83" fmla="*/ 960 h 1081"/>
                <a:gd name="T84" fmla="*/ 96 w 999"/>
                <a:gd name="T85" fmla="*/ 1029 h 1081"/>
                <a:gd name="T86" fmla="*/ 151 w 999"/>
                <a:gd name="T87" fmla="*/ 1073 h 1081"/>
                <a:gd name="T88" fmla="*/ 190 w 999"/>
                <a:gd name="T89" fmla="*/ 1036 h 1081"/>
                <a:gd name="T90" fmla="*/ 254 w 999"/>
                <a:gd name="T91" fmla="*/ 997 h 1081"/>
                <a:gd name="T92" fmla="*/ 319 w 999"/>
                <a:gd name="T93" fmla="*/ 944 h 1081"/>
                <a:gd name="T94" fmla="*/ 396 w 999"/>
                <a:gd name="T95" fmla="*/ 933 h 1081"/>
                <a:gd name="T96" fmla="*/ 462 w 999"/>
                <a:gd name="T97" fmla="*/ 890 h 1081"/>
                <a:gd name="T98" fmla="*/ 511 w 999"/>
                <a:gd name="T99" fmla="*/ 835 h 1081"/>
                <a:gd name="T100" fmla="*/ 544 w 999"/>
                <a:gd name="T101" fmla="*/ 796 h 1081"/>
                <a:gd name="T102" fmla="*/ 591 w 999"/>
                <a:gd name="T103" fmla="*/ 882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99" h="1081">
                  <a:moveTo>
                    <a:pt x="606" y="894"/>
                  </a:moveTo>
                  <a:lnTo>
                    <a:pt x="620" y="885"/>
                  </a:lnTo>
                  <a:lnTo>
                    <a:pt x="628" y="864"/>
                  </a:lnTo>
                  <a:lnTo>
                    <a:pt x="635" y="844"/>
                  </a:lnTo>
                  <a:lnTo>
                    <a:pt x="648" y="828"/>
                  </a:lnTo>
                  <a:lnTo>
                    <a:pt x="668" y="816"/>
                  </a:lnTo>
                  <a:lnTo>
                    <a:pt x="690" y="814"/>
                  </a:lnTo>
                  <a:lnTo>
                    <a:pt x="709" y="807"/>
                  </a:lnTo>
                  <a:lnTo>
                    <a:pt x="720" y="789"/>
                  </a:lnTo>
                  <a:lnTo>
                    <a:pt x="725" y="763"/>
                  </a:lnTo>
                  <a:lnTo>
                    <a:pt x="735" y="747"/>
                  </a:lnTo>
                  <a:lnTo>
                    <a:pt x="734" y="720"/>
                  </a:lnTo>
                  <a:lnTo>
                    <a:pt x="744" y="709"/>
                  </a:lnTo>
                  <a:lnTo>
                    <a:pt x="762" y="711"/>
                  </a:lnTo>
                  <a:lnTo>
                    <a:pt x="777" y="706"/>
                  </a:lnTo>
                  <a:lnTo>
                    <a:pt x="787" y="688"/>
                  </a:lnTo>
                  <a:lnTo>
                    <a:pt x="794" y="668"/>
                  </a:lnTo>
                  <a:lnTo>
                    <a:pt x="787" y="647"/>
                  </a:lnTo>
                  <a:lnTo>
                    <a:pt x="774" y="642"/>
                  </a:lnTo>
                  <a:lnTo>
                    <a:pt x="764" y="626"/>
                  </a:lnTo>
                  <a:lnTo>
                    <a:pt x="767" y="606"/>
                  </a:lnTo>
                  <a:lnTo>
                    <a:pt x="782" y="594"/>
                  </a:lnTo>
                  <a:lnTo>
                    <a:pt x="806" y="603"/>
                  </a:lnTo>
                  <a:lnTo>
                    <a:pt x="818" y="606"/>
                  </a:lnTo>
                  <a:lnTo>
                    <a:pt x="833" y="597"/>
                  </a:lnTo>
                  <a:lnTo>
                    <a:pt x="841" y="580"/>
                  </a:lnTo>
                  <a:lnTo>
                    <a:pt x="848" y="560"/>
                  </a:lnTo>
                  <a:lnTo>
                    <a:pt x="860" y="544"/>
                  </a:lnTo>
                  <a:lnTo>
                    <a:pt x="875" y="537"/>
                  </a:lnTo>
                  <a:lnTo>
                    <a:pt x="890" y="539"/>
                  </a:lnTo>
                  <a:lnTo>
                    <a:pt x="898" y="551"/>
                  </a:lnTo>
                  <a:lnTo>
                    <a:pt x="908" y="564"/>
                  </a:lnTo>
                  <a:lnTo>
                    <a:pt x="920" y="551"/>
                  </a:lnTo>
                  <a:lnTo>
                    <a:pt x="930" y="532"/>
                  </a:lnTo>
                  <a:lnTo>
                    <a:pt x="938" y="508"/>
                  </a:lnTo>
                  <a:lnTo>
                    <a:pt x="947" y="480"/>
                  </a:lnTo>
                  <a:lnTo>
                    <a:pt x="964" y="462"/>
                  </a:lnTo>
                  <a:lnTo>
                    <a:pt x="984" y="448"/>
                  </a:lnTo>
                  <a:lnTo>
                    <a:pt x="980" y="432"/>
                  </a:lnTo>
                  <a:lnTo>
                    <a:pt x="985" y="409"/>
                  </a:lnTo>
                  <a:lnTo>
                    <a:pt x="999" y="391"/>
                  </a:lnTo>
                  <a:lnTo>
                    <a:pt x="999" y="372"/>
                  </a:lnTo>
                  <a:lnTo>
                    <a:pt x="985" y="359"/>
                  </a:lnTo>
                  <a:lnTo>
                    <a:pt x="964" y="347"/>
                  </a:lnTo>
                  <a:lnTo>
                    <a:pt x="967" y="325"/>
                  </a:lnTo>
                  <a:lnTo>
                    <a:pt x="962" y="301"/>
                  </a:lnTo>
                  <a:lnTo>
                    <a:pt x="947" y="293"/>
                  </a:lnTo>
                  <a:lnTo>
                    <a:pt x="935" y="286"/>
                  </a:lnTo>
                  <a:lnTo>
                    <a:pt x="937" y="260"/>
                  </a:lnTo>
                  <a:lnTo>
                    <a:pt x="930" y="231"/>
                  </a:lnTo>
                  <a:lnTo>
                    <a:pt x="918" y="217"/>
                  </a:lnTo>
                  <a:lnTo>
                    <a:pt x="903" y="203"/>
                  </a:lnTo>
                  <a:lnTo>
                    <a:pt x="888" y="199"/>
                  </a:lnTo>
                  <a:lnTo>
                    <a:pt x="891" y="183"/>
                  </a:lnTo>
                  <a:lnTo>
                    <a:pt x="907" y="182"/>
                  </a:lnTo>
                  <a:lnTo>
                    <a:pt x="922" y="180"/>
                  </a:lnTo>
                  <a:lnTo>
                    <a:pt x="932" y="162"/>
                  </a:lnTo>
                  <a:lnTo>
                    <a:pt x="928" y="144"/>
                  </a:lnTo>
                  <a:lnTo>
                    <a:pt x="918" y="137"/>
                  </a:lnTo>
                  <a:lnTo>
                    <a:pt x="908" y="132"/>
                  </a:lnTo>
                  <a:lnTo>
                    <a:pt x="913" y="118"/>
                  </a:lnTo>
                  <a:lnTo>
                    <a:pt x="925" y="100"/>
                  </a:lnTo>
                  <a:lnTo>
                    <a:pt x="930" y="75"/>
                  </a:lnTo>
                  <a:lnTo>
                    <a:pt x="925" y="59"/>
                  </a:lnTo>
                  <a:lnTo>
                    <a:pt x="932" y="39"/>
                  </a:lnTo>
                  <a:lnTo>
                    <a:pt x="937" y="14"/>
                  </a:lnTo>
                  <a:lnTo>
                    <a:pt x="913" y="6"/>
                  </a:lnTo>
                  <a:lnTo>
                    <a:pt x="891" y="14"/>
                  </a:lnTo>
                  <a:lnTo>
                    <a:pt x="883" y="30"/>
                  </a:lnTo>
                  <a:lnTo>
                    <a:pt x="865" y="34"/>
                  </a:lnTo>
                  <a:lnTo>
                    <a:pt x="856" y="46"/>
                  </a:lnTo>
                  <a:lnTo>
                    <a:pt x="848" y="62"/>
                  </a:lnTo>
                  <a:lnTo>
                    <a:pt x="836" y="70"/>
                  </a:lnTo>
                  <a:lnTo>
                    <a:pt x="826" y="52"/>
                  </a:lnTo>
                  <a:lnTo>
                    <a:pt x="818" y="30"/>
                  </a:lnTo>
                  <a:lnTo>
                    <a:pt x="808" y="11"/>
                  </a:lnTo>
                  <a:lnTo>
                    <a:pt x="801" y="0"/>
                  </a:lnTo>
                  <a:lnTo>
                    <a:pt x="787" y="4"/>
                  </a:lnTo>
                  <a:lnTo>
                    <a:pt x="777" y="16"/>
                  </a:lnTo>
                  <a:lnTo>
                    <a:pt x="771" y="36"/>
                  </a:lnTo>
                  <a:lnTo>
                    <a:pt x="761" y="25"/>
                  </a:lnTo>
                  <a:lnTo>
                    <a:pt x="750" y="14"/>
                  </a:lnTo>
                  <a:lnTo>
                    <a:pt x="735" y="22"/>
                  </a:lnTo>
                  <a:lnTo>
                    <a:pt x="725" y="39"/>
                  </a:lnTo>
                  <a:lnTo>
                    <a:pt x="710" y="54"/>
                  </a:lnTo>
                  <a:lnTo>
                    <a:pt x="707" y="70"/>
                  </a:lnTo>
                  <a:lnTo>
                    <a:pt x="720" y="93"/>
                  </a:lnTo>
                  <a:lnTo>
                    <a:pt x="725" y="119"/>
                  </a:lnTo>
                  <a:lnTo>
                    <a:pt x="730" y="157"/>
                  </a:lnTo>
                  <a:lnTo>
                    <a:pt x="722" y="182"/>
                  </a:lnTo>
                  <a:lnTo>
                    <a:pt x="710" y="199"/>
                  </a:lnTo>
                  <a:lnTo>
                    <a:pt x="692" y="201"/>
                  </a:lnTo>
                  <a:lnTo>
                    <a:pt x="673" y="206"/>
                  </a:lnTo>
                  <a:lnTo>
                    <a:pt x="660" y="221"/>
                  </a:lnTo>
                  <a:lnTo>
                    <a:pt x="643" y="238"/>
                  </a:lnTo>
                  <a:lnTo>
                    <a:pt x="626" y="247"/>
                  </a:lnTo>
                  <a:lnTo>
                    <a:pt x="611" y="245"/>
                  </a:lnTo>
                  <a:lnTo>
                    <a:pt x="601" y="235"/>
                  </a:lnTo>
                  <a:lnTo>
                    <a:pt x="594" y="215"/>
                  </a:lnTo>
                  <a:lnTo>
                    <a:pt x="601" y="197"/>
                  </a:lnTo>
                  <a:lnTo>
                    <a:pt x="591" y="180"/>
                  </a:lnTo>
                  <a:lnTo>
                    <a:pt x="583" y="158"/>
                  </a:lnTo>
                  <a:lnTo>
                    <a:pt x="584" y="137"/>
                  </a:lnTo>
                  <a:lnTo>
                    <a:pt x="593" y="114"/>
                  </a:lnTo>
                  <a:lnTo>
                    <a:pt x="589" y="94"/>
                  </a:lnTo>
                  <a:lnTo>
                    <a:pt x="573" y="82"/>
                  </a:lnTo>
                  <a:lnTo>
                    <a:pt x="551" y="75"/>
                  </a:lnTo>
                  <a:lnTo>
                    <a:pt x="537" y="61"/>
                  </a:lnTo>
                  <a:lnTo>
                    <a:pt x="529" y="36"/>
                  </a:lnTo>
                  <a:lnTo>
                    <a:pt x="517" y="20"/>
                  </a:lnTo>
                  <a:lnTo>
                    <a:pt x="497" y="16"/>
                  </a:lnTo>
                  <a:lnTo>
                    <a:pt x="482" y="27"/>
                  </a:lnTo>
                  <a:lnTo>
                    <a:pt x="485" y="55"/>
                  </a:lnTo>
                  <a:lnTo>
                    <a:pt x="474" y="78"/>
                  </a:lnTo>
                  <a:lnTo>
                    <a:pt x="460" y="89"/>
                  </a:lnTo>
                  <a:lnTo>
                    <a:pt x="450" y="109"/>
                  </a:lnTo>
                  <a:lnTo>
                    <a:pt x="432" y="119"/>
                  </a:lnTo>
                  <a:lnTo>
                    <a:pt x="413" y="130"/>
                  </a:lnTo>
                  <a:lnTo>
                    <a:pt x="401" y="144"/>
                  </a:lnTo>
                  <a:lnTo>
                    <a:pt x="378" y="148"/>
                  </a:lnTo>
                  <a:lnTo>
                    <a:pt x="356" y="141"/>
                  </a:lnTo>
                  <a:lnTo>
                    <a:pt x="336" y="144"/>
                  </a:lnTo>
                  <a:lnTo>
                    <a:pt x="313" y="151"/>
                  </a:lnTo>
                  <a:lnTo>
                    <a:pt x="296" y="164"/>
                  </a:lnTo>
                  <a:lnTo>
                    <a:pt x="282" y="182"/>
                  </a:lnTo>
                  <a:lnTo>
                    <a:pt x="264" y="196"/>
                  </a:lnTo>
                  <a:lnTo>
                    <a:pt x="257" y="208"/>
                  </a:lnTo>
                  <a:lnTo>
                    <a:pt x="255" y="229"/>
                  </a:lnTo>
                  <a:lnTo>
                    <a:pt x="264" y="256"/>
                  </a:lnTo>
                  <a:lnTo>
                    <a:pt x="255" y="277"/>
                  </a:lnTo>
                  <a:lnTo>
                    <a:pt x="239" y="290"/>
                  </a:lnTo>
                  <a:lnTo>
                    <a:pt x="212" y="295"/>
                  </a:lnTo>
                  <a:lnTo>
                    <a:pt x="183" y="306"/>
                  </a:lnTo>
                  <a:lnTo>
                    <a:pt x="155" y="313"/>
                  </a:lnTo>
                  <a:lnTo>
                    <a:pt x="133" y="324"/>
                  </a:lnTo>
                  <a:lnTo>
                    <a:pt x="110" y="329"/>
                  </a:lnTo>
                  <a:lnTo>
                    <a:pt x="91" y="324"/>
                  </a:lnTo>
                  <a:lnTo>
                    <a:pt x="73" y="313"/>
                  </a:lnTo>
                  <a:lnTo>
                    <a:pt x="52" y="318"/>
                  </a:lnTo>
                  <a:lnTo>
                    <a:pt x="41" y="334"/>
                  </a:lnTo>
                  <a:lnTo>
                    <a:pt x="36" y="359"/>
                  </a:lnTo>
                  <a:lnTo>
                    <a:pt x="47" y="381"/>
                  </a:lnTo>
                  <a:lnTo>
                    <a:pt x="66" y="398"/>
                  </a:lnTo>
                  <a:lnTo>
                    <a:pt x="76" y="420"/>
                  </a:lnTo>
                  <a:lnTo>
                    <a:pt x="78" y="439"/>
                  </a:lnTo>
                  <a:lnTo>
                    <a:pt x="98" y="448"/>
                  </a:lnTo>
                  <a:lnTo>
                    <a:pt x="115" y="466"/>
                  </a:lnTo>
                  <a:lnTo>
                    <a:pt x="116" y="492"/>
                  </a:lnTo>
                  <a:lnTo>
                    <a:pt x="106" y="519"/>
                  </a:lnTo>
                  <a:lnTo>
                    <a:pt x="101" y="548"/>
                  </a:lnTo>
                  <a:lnTo>
                    <a:pt x="91" y="576"/>
                  </a:lnTo>
                  <a:lnTo>
                    <a:pt x="79" y="599"/>
                  </a:lnTo>
                  <a:lnTo>
                    <a:pt x="68" y="626"/>
                  </a:lnTo>
                  <a:lnTo>
                    <a:pt x="52" y="651"/>
                  </a:lnTo>
                  <a:lnTo>
                    <a:pt x="32" y="667"/>
                  </a:lnTo>
                  <a:lnTo>
                    <a:pt x="17" y="690"/>
                  </a:lnTo>
                  <a:lnTo>
                    <a:pt x="14" y="711"/>
                  </a:lnTo>
                  <a:lnTo>
                    <a:pt x="22" y="741"/>
                  </a:lnTo>
                  <a:lnTo>
                    <a:pt x="16" y="764"/>
                  </a:lnTo>
                  <a:lnTo>
                    <a:pt x="7" y="787"/>
                  </a:lnTo>
                  <a:lnTo>
                    <a:pt x="0" y="818"/>
                  </a:lnTo>
                  <a:lnTo>
                    <a:pt x="4" y="842"/>
                  </a:lnTo>
                  <a:lnTo>
                    <a:pt x="11" y="867"/>
                  </a:lnTo>
                  <a:lnTo>
                    <a:pt x="26" y="880"/>
                  </a:lnTo>
                  <a:lnTo>
                    <a:pt x="42" y="896"/>
                  </a:lnTo>
                  <a:lnTo>
                    <a:pt x="52" y="915"/>
                  </a:lnTo>
                  <a:lnTo>
                    <a:pt x="63" y="938"/>
                  </a:lnTo>
                  <a:lnTo>
                    <a:pt x="61" y="960"/>
                  </a:lnTo>
                  <a:lnTo>
                    <a:pt x="59" y="983"/>
                  </a:lnTo>
                  <a:lnTo>
                    <a:pt x="79" y="995"/>
                  </a:lnTo>
                  <a:lnTo>
                    <a:pt x="96" y="1010"/>
                  </a:lnTo>
                  <a:lnTo>
                    <a:pt x="96" y="1029"/>
                  </a:lnTo>
                  <a:lnTo>
                    <a:pt x="101" y="1056"/>
                  </a:lnTo>
                  <a:lnTo>
                    <a:pt x="125" y="1073"/>
                  </a:lnTo>
                  <a:lnTo>
                    <a:pt x="138" y="1081"/>
                  </a:lnTo>
                  <a:lnTo>
                    <a:pt x="151" y="1073"/>
                  </a:lnTo>
                  <a:lnTo>
                    <a:pt x="156" y="1056"/>
                  </a:lnTo>
                  <a:lnTo>
                    <a:pt x="172" y="1049"/>
                  </a:lnTo>
                  <a:lnTo>
                    <a:pt x="188" y="1054"/>
                  </a:lnTo>
                  <a:lnTo>
                    <a:pt x="190" y="1036"/>
                  </a:lnTo>
                  <a:lnTo>
                    <a:pt x="197" y="1020"/>
                  </a:lnTo>
                  <a:lnTo>
                    <a:pt x="212" y="1015"/>
                  </a:lnTo>
                  <a:lnTo>
                    <a:pt x="235" y="1008"/>
                  </a:lnTo>
                  <a:lnTo>
                    <a:pt x="254" y="997"/>
                  </a:lnTo>
                  <a:lnTo>
                    <a:pt x="274" y="983"/>
                  </a:lnTo>
                  <a:lnTo>
                    <a:pt x="291" y="976"/>
                  </a:lnTo>
                  <a:lnTo>
                    <a:pt x="302" y="960"/>
                  </a:lnTo>
                  <a:lnTo>
                    <a:pt x="319" y="944"/>
                  </a:lnTo>
                  <a:lnTo>
                    <a:pt x="338" y="937"/>
                  </a:lnTo>
                  <a:lnTo>
                    <a:pt x="358" y="933"/>
                  </a:lnTo>
                  <a:lnTo>
                    <a:pt x="376" y="928"/>
                  </a:lnTo>
                  <a:lnTo>
                    <a:pt x="396" y="933"/>
                  </a:lnTo>
                  <a:lnTo>
                    <a:pt x="415" y="930"/>
                  </a:lnTo>
                  <a:lnTo>
                    <a:pt x="432" y="919"/>
                  </a:lnTo>
                  <a:lnTo>
                    <a:pt x="445" y="903"/>
                  </a:lnTo>
                  <a:lnTo>
                    <a:pt x="462" y="890"/>
                  </a:lnTo>
                  <a:lnTo>
                    <a:pt x="480" y="883"/>
                  </a:lnTo>
                  <a:lnTo>
                    <a:pt x="490" y="869"/>
                  </a:lnTo>
                  <a:lnTo>
                    <a:pt x="497" y="850"/>
                  </a:lnTo>
                  <a:lnTo>
                    <a:pt x="511" y="835"/>
                  </a:lnTo>
                  <a:lnTo>
                    <a:pt x="517" y="814"/>
                  </a:lnTo>
                  <a:lnTo>
                    <a:pt x="519" y="793"/>
                  </a:lnTo>
                  <a:lnTo>
                    <a:pt x="529" y="784"/>
                  </a:lnTo>
                  <a:lnTo>
                    <a:pt x="544" y="796"/>
                  </a:lnTo>
                  <a:lnTo>
                    <a:pt x="556" y="814"/>
                  </a:lnTo>
                  <a:lnTo>
                    <a:pt x="566" y="832"/>
                  </a:lnTo>
                  <a:lnTo>
                    <a:pt x="574" y="862"/>
                  </a:lnTo>
                  <a:lnTo>
                    <a:pt x="591" y="882"/>
                  </a:lnTo>
                  <a:lnTo>
                    <a:pt x="606" y="89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1BC00300-EA1C-4C8B-A03B-460EF3BC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201" y="1796703"/>
              <a:ext cx="109333" cy="112977"/>
            </a:xfrm>
            <a:custGeom>
              <a:avLst/>
              <a:gdLst>
                <a:gd name="T0" fmla="*/ 0 w 182"/>
                <a:gd name="T1" fmla="*/ 96 h 187"/>
                <a:gd name="T2" fmla="*/ 16 w 182"/>
                <a:gd name="T3" fmla="*/ 84 h 187"/>
                <a:gd name="T4" fmla="*/ 22 w 182"/>
                <a:gd name="T5" fmla="*/ 66 h 187"/>
                <a:gd name="T6" fmla="*/ 42 w 182"/>
                <a:gd name="T7" fmla="*/ 61 h 187"/>
                <a:gd name="T8" fmla="*/ 54 w 182"/>
                <a:gd name="T9" fmla="*/ 48 h 187"/>
                <a:gd name="T10" fmla="*/ 71 w 182"/>
                <a:gd name="T11" fmla="*/ 30 h 187"/>
                <a:gd name="T12" fmla="*/ 98 w 182"/>
                <a:gd name="T13" fmla="*/ 25 h 187"/>
                <a:gd name="T14" fmla="*/ 108 w 182"/>
                <a:gd name="T15" fmla="*/ 9 h 187"/>
                <a:gd name="T16" fmla="*/ 125 w 182"/>
                <a:gd name="T17" fmla="*/ 0 h 187"/>
                <a:gd name="T18" fmla="*/ 131 w 182"/>
                <a:gd name="T19" fmla="*/ 11 h 187"/>
                <a:gd name="T20" fmla="*/ 135 w 182"/>
                <a:gd name="T21" fmla="*/ 34 h 187"/>
                <a:gd name="T22" fmla="*/ 145 w 182"/>
                <a:gd name="T23" fmla="*/ 46 h 187"/>
                <a:gd name="T24" fmla="*/ 158 w 182"/>
                <a:gd name="T25" fmla="*/ 61 h 187"/>
                <a:gd name="T26" fmla="*/ 153 w 182"/>
                <a:gd name="T27" fmla="*/ 85 h 187"/>
                <a:gd name="T28" fmla="*/ 155 w 182"/>
                <a:gd name="T29" fmla="*/ 117 h 187"/>
                <a:gd name="T30" fmla="*/ 158 w 182"/>
                <a:gd name="T31" fmla="*/ 137 h 187"/>
                <a:gd name="T32" fmla="*/ 175 w 182"/>
                <a:gd name="T33" fmla="*/ 151 h 187"/>
                <a:gd name="T34" fmla="*/ 182 w 182"/>
                <a:gd name="T35" fmla="*/ 180 h 187"/>
                <a:gd name="T36" fmla="*/ 163 w 182"/>
                <a:gd name="T37" fmla="*/ 187 h 187"/>
                <a:gd name="T38" fmla="*/ 143 w 182"/>
                <a:gd name="T39" fmla="*/ 187 h 187"/>
                <a:gd name="T40" fmla="*/ 136 w 182"/>
                <a:gd name="T41" fmla="*/ 181 h 187"/>
                <a:gd name="T42" fmla="*/ 128 w 182"/>
                <a:gd name="T43" fmla="*/ 174 h 187"/>
                <a:gd name="T44" fmla="*/ 118 w 182"/>
                <a:gd name="T45" fmla="*/ 165 h 187"/>
                <a:gd name="T46" fmla="*/ 111 w 182"/>
                <a:gd name="T47" fmla="*/ 167 h 187"/>
                <a:gd name="T48" fmla="*/ 103 w 182"/>
                <a:gd name="T49" fmla="*/ 167 h 187"/>
                <a:gd name="T50" fmla="*/ 96 w 182"/>
                <a:gd name="T51" fmla="*/ 172 h 187"/>
                <a:gd name="T52" fmla="*/ 88 w 182"/>
                <a:gd name="T53" fmla="*/ 178 h 187"/>
                <a:gd name="T54" fmla="*/ 78 w 182"/>
                <a:gd name="T55" fmla="*/ 181 h 187"/>
                <a:gd name="T56" fmla="*/ 66 w 182"/>
                <a:gd name="T57" fmla="*/ 185 h 187"/>
                <a:gd name="T58" fmla="*/ 59 w 182"/>
                <a:gd name="T59" fmla="*/ 181 h 187"/>
                <a:gd name="T60" fmla="*/ 49 w 182"/>
                <a:gd name="T61" fmla="*/ 178 h 187"/>
                <a:gd name="T62" fmla="*/ 42 w 182"/>
                <a:gd name="T63" fmla="*/ 174 h 187"/>
                <a:gd name="T64" fmla="*/ 34 w 182"/>
                <a:gd name="T65" fmla="*/ 165 h 187"/>
                <a:gd name="T66" fmla="*/ 31 w 182"/>
                <a:gd name="T67" fmla="*/ 156 h 187"/>
                <a:gd name="T68" fmla="*/ 26 w 182"/>
                <a:gd name="T69" fmla="*/ 146 h 187"/>
                <a:gd name="T70" fmla="*/ 22 w 182"/>
                <a:gd name="T71" fmla="*/ 132 h 187"/>
                <a:gd name="T72" fmla="*/ 19 w 182"/>
                <a:gd name="T73" fmla="*/ 119 h 187"/>
                <a:gd name="T74" fmla="*/ 14 w 182"/>
                <a:gd name="T75" fmla="*/ 114 h 187"/>
                <a:gd name="T76" fmla="*/ 5 w 182"/>
                <a:gd name="T77" fmla="*/ 109 h 187"/>
                <a:gd name="T78" fmla="*/ 4 w 182"/>
                <a:gd name="T79" fmla="*/ 103 h 187"/>
                <a:gd name="T80" fmla="*/ 0 w 182"/>
                <a:gd name="T81" fmla="*/ 9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2" h="187">
                  <a:moveTo>
                    <a:pt x="0" y="96"/>
                  </a:moveTo>
                  <a:lnTo>
                    <a:pt x="16" y="84"/>
                  </a:lnTo>
                  <a:lnTo>
                    <a:pt x="22" y="66"/>
                  </a:lnTo>
                  <a:lnTo>
                    <a:pt x="42" y="61"/>
                  </a:lnTo>
                  <a:lnTo>
                    <a:pt x="54" y="48"/>
                  </a:lnTo>
                  <a:lnTo>
                    <a:pt x="71" y="30"/>
                  </a:lnTo>
                  <a:lnTo>
                    <a:pt x="98" y="25"/>
                  </a:lnTo>
                  <a:lnTo>
                    <a:pt x="108" y="9"/>
                  </a:lnTo>
                  <a:lnTo>
                    <a:pt x="125" y="0"/>
                  </a:lnTo>
                  <a:lnTo>
                    <a:pt x="131" y="11"/>
                  </a:lnTo>
                  <a:lnTo>
                    <a:pt x="135" y="34"/>
                  </a:lnTo>
                  <a:lnTo>
                    <a:pt x="145" y="46"/>
                  </a:lnTo>
                  <a:lnTo>
                    <a:pt x="158" y="61"/>
                  </a:lnTo>
                  <a:lnTo>
                    <a:pt x="153" y="85"/>
                  </a:lnTo>
                  <a:lnTo>
                    <a:pt x="155" y="117"/>
                  </a:lnTo>
                  <a:lnTo>
                    <a:pt x="158" y="137"/>
                  </a:lnTo>
                  <a:lnTo>
                    <a:pt x="175" y="151"/>
                  </a:lnTo>
                  <a:lnTo>
                    <a:pt x="182" y="180"/>
                  </a:lnTo>
                  <a:lnTo>
                    <a:pt x="163" y="187"/>
                  </a:lnTo>
                  <a:lnTo>
                    <a:pt x="143" y="187"/>
                  </a:lnTo>
                  <a:lnTo>
                    <a:pt x="136" y="181"/>
                  </a:lnTo>
                  <a:lnTo>
                    <a:pt x="128" y="174"/>
                  </a:lnTo>
                  <a:lnTo>
                    <a:pt x="118" y="165"/>
                  </a:lnTo>
                  <a:lnTo>
                    <a:pt x="111" y="167"/>
                  </a:lnTo>
                  <a:lnTo>
                    <a:pt x="103" y="167"/>
                  </a:lnTo>
                  <a:lnTo>
                    <a:pt x="96" y="172"/>
                  </a:lnTo>
                  <a:lnTo>
                    <a:pt x="88" y="178"/>
                  </a:lnTo>
                  <a:lnTo>
                    <a:pt x="78" y="181"/>
                  </a:lnTo>
                  <a:lnTo>
                    <a:pt x="66" y="185"/>
                  </a:lnTo>
                  <a:lnTo>
                    <a:pt x="59" y="181"/>
                  </a:lnTo>
                  <a:lnTo>
                    <a:pt x="49" y="178"/>
                  </a:lnTo>
                  <a:lnTo>
                    <a:pt x="42" y="174"/>
                  </a:lnTo>
                  <a:lnTo>
                    <a:pt x="34" y="165"/>
                  </a:lnTo>
                  <a:lnTo>
                    <a:pt x="31" y="156"/>
                  </a:lnTo>
                  <a:lnTo>
                    <a:pt x="26" y="146"/>
                  </a:lnTo>
                  <a:lnTo>
                    <a:pt x="22" y="132"/>
                  </a:lnTo>
                  <a:lnTo>
                    <a:pt x="19" y="119"/>
                  </a:lnTo>
                  <a:lnTo>
                    <a:pt x="14" y="114"/>
                  </a:lnTo>
                  <a:lnTo>
                    <a:pt x="5" y="109"/>
                  </a:lnTo>
                  <a:lnTo>
                    <a:pt x="4" y="103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426CC532-ECD6-440F-833F-7169DEC72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650" y="2116198"/>
              <a:ext cx="126340" cy="103259"/>
            </a:xfrm>
            <a:custGeom>
              <a:avLst/>
              <a:gdLst>
                <a:gd name="T0" fmla="*/ 141 w 210"/>
                <a:gd name="T1" fmla="*/ 5 h 171"/>
                <a:gd name="T2" fmla="*/ 158 w 210"/>
                <a:gd name="T3" fmla="*/ 18 h 171"/>
                <a:gd name="T4" fmla="*/ 168 w 210"/>
                <a:gd name="T5" fmla="*/ 36 h 171"/>
                <a:gd name="T6" fmla="*/ 163 w 210"/>
                <a:gd name="T7" fmla="*/ 53 h 171"/>
                <a:gd name="T8" fmla="*/ 161 w 210"/>
                <a:gd name="T9" fmla="*/ 64 h 171"/>
                <a:gd name="T10" fmla="*/ 166 w 210"/>
                <a:gd name="T11" fmla="*/ 73 h 171"/>
                <a:gd name="T12" fmla="*/ 181 w 210"/>
                <a:gd name="T13" fmla="*/ 76 h 171"/>
                <a:gd name="T14" fmla="*/ 196 w 210"/>
                <a:gd name="T15" fmla="*/ 89 h 171"/>
                <a:gd name="T16" fmla="*/ 206 w 210"/>
                <a:gd name="T17" fmla="*/ 107 h 171"/>
                <a:gd name="T18" fmla="*/ 210 w 210"/>
                <a:gd name="T19" fmla="*/ 128 h 171"/>
                <a:gd name="T20" fmla="*/ 206 w 210"/>
                <a:gd name="T21" fmla="*/ 144 h 171"/>
                <a:gd name="T22" fmla="*/ 196 w 210"/>
                <a:gd name="T23" fmla="*/ 153 h 171"/>
                <a:gd name="T24" fmla="*/ 181 w 210"/>
                <a:gd name="T25" fmla="*/ 160 h 171"/>
                <a:gd name="T26" fmla="*/ 168 w 210"/>
                <a:gd name="T27" fmla="*/ 155 h 171"/>
                <a:gd name="T28" fmla="*/ 149 w 210"/>
                <a:gd name="T29" fmla="*/ 144 h 171"/>
                <a:gd name="T30" fmla="*/ 138 w 210"/>
                <a:gd name="T31" fmla="*/ 140 h 171"/>
                <a:gd name="T32" fmla="*/ 126 w 210"/>
                <a:gd name="T33" fmla="*/ 144 h 171"/>
                <a:gd name="T34" fmla="*/ 121 w 210"/>
                <a:gd name="T35" fmla="*/ 155 h 171"/>
                <a:gd name="T36" fmla="*/ 112 w 210"/>
                <a:gd name="T37" fmla="*/ 165 h 171"/>
                <a:gd name="T38" fmla="*/ 101 w 210"/>
                <a:gd name="T39" fmla="*/ 171 h 171"/>
                <a:gd name="T40" fmla="*/ 87 w 210"/>
                <a:gd name="T41" fmla="*/ 165 h 171"/>
                <a:gd name="T42" fmla="*/ 77 w 210"/>
                <a:gd name="T43" fmla="*/ 155 h 171"/>
                <a:gd name="T44" fmla="*/ 67 w 210"/>
                <a:gd name="T45" fmla="*/ 146 h 171"/>
                <a:gd name="T46" fmla="*/ 55 w 210"/>
                <a:gd name="T47" fmla="*/ 146 h 171"/>
                <a:gd name="T48" fmla="*/ 45 w 210"/>
                <a:gd name="T49" fmla="*/ 155 h 171"/>
                <a:gd name="T50" fmla="*/ 30 w 210"/>
                <a:gd name="T51" fmla="*/ 162 h 171"/>
                <a:gd name="T52" fmla="*/ 19 w 210"/>
                <a:gd name="T53" fmla="*/ 164 h 171"/>
                <a:gd name="T54" fmla="*/ 5 w 210"/>
                <a:gd name="T55" fmla="*/ 156 h 171"/>
                <a:gd name="T56" fmla="*/ 0 w 210"/>
                <a:gd name="T57" fmla="*/ 140 h 171"/>
                <a:gd name="T58" fmla="*/ 3 w 210"/>
                <a:gd name="T59" fmla="*/ 116 h 171"/>
                <a:gd name="T60" fmla="*/ 13 w 210"/>
                <a:gd name="T61" fmla="*/ 89 h 171"/>
                <a:gd name="T62" fmla="*/ 19 w 210"/>
                <a:gd name="T63" fmla="*/ 68 h 171"/>
                <a:gd name="T64" fmla="*/ 13 w 210"/>
                <a:gd name="T65" fmla="*/ 48 h 171"/>
                <a:gd name="T66" fmla="*/ 19 w 210"/>
                <a:gd name="T67" fmla="*/ 34 h 171"/>
                <a:gd name="T68" fmla="*/ 32 w 210"/>
                <a:gd name="T69" fmla="*/ 25 h 171"/>
                <a:gd name="T70" fmla="*/ 47 w 210"/>
                <a:gd name="T71" fmla="*/ 29 h 171"/>
                <a:gd name="T72" fmla="*/ 54 w 210"/>
                <a:gd name="T73" fmla="*/ 34 h 171"/>
                <a:gd name="T74" fmla="*/ 57 w 210"/>
                <a:gd name="T75" fmla="*/ 18 h 171"/>
                <a:gd name="T76" fmla="*/ 67 w 210"/>
                <a:gd name="T77" fmla="*/ 7 h 171"/>
                <a:gd name="T78" fmla="*/ 84 w 210"/>
                <a:gd name="T79" fmla="*/ 2 h 171"/>
                <a:gd name="T80" fmla="*/ 104 w 210"/>
                <a:gd name="T81" fmla="*/ 9 h 171"/>
                <a:gd name="T82" fmla="*/ 111 w 210"/>
                <a:gd name="T83" fmla="*/ 9 h 171"/>
                <a:gd name="T84" fmla="*/ 116 w 210"/>
                <a:gd name="T85" fmla="*/ 0 h 171"/>
                <a:gd name="T86" fmla="*/ 141 w 210"/>
                <a:gd name="T87" fmla="*/ 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0" h="171">
                  <a:moveTo>
                    <a:pt x="141" y="5"/>
                  </a:moveTo>
                  <a:lnTo>
                    <a:pt x="158" y="18"/>
                  </a:lnTo>
                  <a:lnTo>
                    <a:pt x="168" y="36"/>
                  </a:lnTo>
                  <a:lnTo>
                    <a:pt x="163" y="53"/>
                  </a:lnTo>
                  <a:lnTo>
                    <a:pt x="161" y="64"/>
                  </a:lnTo>
                  <a:lnTo>
                    <a:pt x="166" y="73"/>
                  </a:lnTo>
                  <a:lnTo>
                    <a:pt x="181" y="76"/>
                  </a:lnTo>
                  <a:lnTo>
                    <a:pt x="196" y="89"/>
                  </a:lnTo>
                  <a:lnTo>
                    <a:pt x="206" y="107"/>
                  </a:lnTo>
                  <a:lnTo>
                    <a:pt x="210" y="128"/>
                  </a:lnTo>
                  <a:lnTo>
                    <a:pt x="206" y="144"/>
                  </a:lnTo>
                  <a:lnTo>
                    <a:pt x="196" y="153"/>
                  </a:lnTo>
                  <a:lnTo>
                    <a:pt x="181" y="160"/>
                  </a:lnTo>
                  <a:lnTo>
                    <a:pt x="168" y="155"/>
                  </a:lnTo>
                  <a:lnTo>
                    <a:pt x="149" y="144"/>
                  </a:lnTo>
                  <a:lnTo>
                    <a:pt x="138" y="140"/>
                  </a:lnTo>
                  <a:lnTo>
                    <a:pt x="126" y="144"/>
                  </a:lnTo>
                  <a:lnTo>
                    <a:pt x="121" y="155"/>
                  </a:lnTo>
                  <a:lnTo>
                    <a:pt x="112" y="165"/>
                  </a:lnTo>
                  <a:lnTo>
                    <a:pt x="101" y="171"/>
                  </a:lnTo>
                  <a:lnTo>
                    <a:pt x="87" y="165"/>
                  </a:lnTo>
                  <a:lnTo>
                    <a:pt x="77" y="155"/>
                  </a:lnTo>
                  <a:lnTo>
                    <a:pt x="67" y="146"/>
                  </a:lnTo>
                  <a:lnTo>
                    <a:pt x="55" y="146"/>
                  </a:lnTo>
                  <a:lnTo>
                    <a:pt x="45" y="155"/>
                  </a:lnTo>
                  <a:lnTo>
                    <a:pt x="30" y="162"/>
                  </a:lnTo>
                  <a:lnTo>
                    <a:pt x="19" y="164"/>
                  </a:lnTo>
                  <a:lnTo>
                    <a:pt x="5" y="156"/>
                  </a:lnTo>
                  <a:lnTo>
                    <a:pt x="0" y="140"/>
                  </a:lnTo>
                  <a:lnTo>
                    <a:pt x="3" y="116"/>
                  </a:lnTo>
                  <a:lnTo>
                    <a:pt x="13" y="89"/>
                  </a:lnTo>
                  <a:lnTo>
                    <a:pt x="19" y="68"/>
                  </a:lnTo>
                  <a:lnTo>
                    <a:pt x="13" y="48"/>
                  </a:lnTo>
                  <a:lnTo>
                    <a:pt x="19" y="34"/>
                  </a:lnTo>
                  <a:lnTo>
                    <a:pt x="32" y="25"/>
                  </a:lnTo>
                  <a:lnTo>
                    <a:pt x="47" y="29"/>
                  </a:lnTo>
                  <a:lnTo>
                    <a:pt x="54" y="34"/>
                  </a:lnTo>
                  <a:lnTo>
                    <a:pt x="57" y="18"/>
                  </a:lnTo>
                  <a:lnTo>
                    <a:pt x="67" y="7"/>
                  </a:lnTo>
                  <a:lnTo>
                    <a:pt x="84" y="2"/>
                  </a:lnTo>
                  <a:lnTo>
                    <a:pt x="104" y="9"/>
                  </a:lnTo>
                  <a:lnTo>
                    <a:pt x="111" y="9"/>
                  </a:lnTo>
                  <a:lnTo>
                    <a:pt x="116" y="0"/>
                  </a:lnTo>
                  <a:lnTo>
                    <a:pt x="141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86219073-BB13-4FD9-B95E-42F4F4E66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7367" y="2988431"/>
              <a:ext cx="173718" cy="150636"/>
            </a:xfrm>
            <a:custGeom>
              <a:avLst/>
              <a:gdLst>
                <a:gd name="T0" fmla="*/ 8 w 285"/>
                <a:gd name="T1" fmla="*/ 60 h 248"/>
                <a:gd name="T2" fmla="*/ 18 w 285"/>
                <a:gd name="T3" fmla="*/ 73 h 248"/>
                <a:gd name="T4" fmla="*/ 34 w 285"/>
                <a:gd name="T5" fmla="*/ 83 h 248"/>
                <a:gd name="T6" fmla="*/ 42 w 285"/>
                <a:gd name="T7" fmla="*/ 106 h 248"/>
                <a:gd name="T8" fmla="*/ 47 w 285"/>
                <a:gd name="T9" fmla="*/ 131 h 248"/>
                <a:gd name="T10" fmla="*/ 52 w 285"/>
                <a:gd name="T11" fmla="*/ 156 h 248"/>
                <a:gd name="T12" fmla="*/ 59 w 285"/>
                <a:gd name="T13" fmla="*/ 176 h 248"/>
                <a:gd name="T14" fmla="*/ 74 w 285"/>
                <a:gd name="T15" fmla="*/ 192 h 248"/>
                <a:gd name="T16" fmla="*/ 89 w 285"/>
                <a:gd name="T17" fmla="*/ 201 h 248"/>
                <a:gd name="T18" fmla="*/ 106 w 285"/>
                <a:gd name="T19" fmla="*/ 197 h 248"/>
                <a:gd name="T20" fmla="*/ 131 w 285"/>
                <a:gd name="T21" fmla="*/ 195 h 248"/>
                <a:gd name="T22" fmla="*/ 158 w 285"/>
                <a:gd name="T23" fmla="*/ 197 h 248"/>
                <a:gd name="T24" fmla="*/ 173 w 285"/>
                <a:gd name="T25" fmla="*/ 208 h 248"/>
                <a:gd name="T26" fmla="*/ 188 w 285"/>
                <a:gd name="T27" fmla="*/ 220 h 248"/>
                <a:gd name="T28" fmla="*/ 195 w 285"/>
                <a:gd name="T29" fmla="*/ 240 h 248"/>
                <a:gd name="T30" fmla="*/ 213 w 285"/>
                <a:gd name="T31" fmla="*/ 247 h 248"/>
                <a:gd name="T32" fmla="*/ 232 w 285"/>
                <a:gd name="T33" fmla="*/ 240 h 248"/>
                <a:gd name="T34" fmla="*/ 250 w 285"/>
                <a:gd name="T35" fmla="*/ 248 h 248"/>
                <a:gd name="T36" fmla="*/ 263 w 285"/>
                <a:gd name="T37" fmla="*/ 245 h 248"/>
                <a:gd name="T38" fmla="*/ 285 w 285"/>
                <a:gd name="T39" fmla="*/ 247 h 248"/>
                <a:gd name="T40" fmla="*/ 275 w 285"/>
                <a:gd name="T41" fmla="*/ 227 h 248"/>
                <a:gd name="T42" fmla="*/ 270 w 285"/>
                <a:gd name="T43" fmla="*/ 201 h 248"/>
                <a:gd name="T44" fmla="*/ 268 w 285"/>
                <a:gd name="T45" fmla="*/ 179 h 248"/>
                <a:gd name="T46" fmla="*/ 279 w 285"/>
                <a:gd name="T47" fmla="*/ 161 h 248"/>
                <a:gd name="T48" fmla="*/ 279 w 285"/>
                <a:gd name="T49" fmla="*/ 138 h 248"/>
                <a:gd name="T50" fmla="*/ 270 w 285"/>
                <a:gd name="T51" fmla="*/ 122 h 248"/>
                <a:gd name="T52" fmla="*/ 265 w 285"/>
                <a:gd name="T53" fmla="*/ 99 h 248"/>
                <a:gd name="T54" fmla="*/ 274 w 285"/>
                <a:gd name="T55" fmla="*/ 78 h 248"/>
                <a:gd name="T56" fmla="*/ 272 w 285"/>
                <a:gd name="T57" fmla="*/ 57 h 248"/>
                <a:gd name="T58" fmla="*/ 260 w 285"/>
                <a:gd name="T59" fmla="*/ 41 h 248"/>
                <a:gd name="T60" fmla="*/ 242 w 285"/>
                <a:gd name="T61" fmla="*/ 32 h 248"/>
                <a:gd name="T62" fmla="*/ 220 w 285"/>
                <a:gd name="T63" fmla="*/ 25 h 248"/>
                <a:gd name="T64" fmla="*/ 206 w 285"/>
                <a:gd name="T65" fmla="*/ 10 h 248"/>
                <a:gd name="T66" fmla="*/ 186 w 285"/>
                <a:gd name="T67" fmla="*/ 0 h 248"/>
                <a:gd name="T68" fmla="*/ 159 w 285"/>
                <a:gd name="T69" fmla="*/ 7 h 248"/>
                <a:gd name="T70" fmla="*/ 139 w 285"/>
                <a:gd name="T71" fmla="*/ 12 h 248"/>
                <a:gd name="T72" fmla="*/ 124 w 285"/>
                <a:gd name="T73" fmla="*/ 30 h 248"/>
                <a:gd name="T74" fmla="*/ 112 w 285"/>
                <a:gd name="T75" fmla="*/ 46 h 248"/>
                <a:gd name="T76" fmla="*/ 92 w 285"/>
                <a:gd name="T77" fmla="*/ 55 h 248"/>
                <a:gd name="T78" fmla="*/ 74 w 285"/>
                <a:gd name="T79" fmla="*/ 49 h 248"/>
                <a:gd name="T80" fmla="*/ 57 w 285"/>
                <a:gd name="T81" fmla="*/ 39 h 248"/>
                <a:gd name="T82" fmla="*/ 39 w 285"/>
                <a:gd name="T83" fmla="*/ 28 h 248"/>
                <a:gd name="T84" fmla="*/ 18 w 285"/>
                <a:gd name="T85" fmla="*/ 30 h 248"/>
                <a:gd name="T86" fmla="*/ 0 w 285"/>
                <a:gd name="T87" fmla="*/ 35 h 248"/>
                <a:gd name="T88" fmla="*/ 2 w 285"/>
                <a:gd name="T89" fmla="*/ 49 h 248"/>
                <a:gd name="T90" fmla="*/ 8 w 285"/>
                <a:gd name="T91" fmla="*/ 6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5" h="248">
                  <a:moveTo>
                    <a:pt x="8" y="60"/>
                  </a:moveTo>
                  <a:lnTo>
                    <a:pt x="18" y="73"/>
                  </a:lnTo>
                  <a:lnTo>
                    <a:pt x="34" y="83"/>
                  </a:lnTo>
                  <a:lnTo>
                    <a:pt x="42" y="106"/>
                  </a:lnTo>
                  <a:lnTo>
                    <a:pt x="47" y="131"/>
                  </a:lnTo>
                  <a:lnTo>
                    <a:pt x="52" y="156"/>
                  </a:lnTo>
                  <a:lnTo>
                    <a:pt x="59" y="176"/>
                  </a:lnTo>
                  <a:lnTo>
                    <a:pt x="74" y="192"/>
                  </a:lnTo>
                  <a:lnTo>
                    <a:pt x="89" y="201"/>
                  </a:lnTo>
                  <a:lnTo>
                    <a:pt x="106" y="197"/>
                  </a:lnTo>
                  <a:lnTo>
                    <a:pt x="131" y="195"/>
                  </a:lnTo>
                  <a:lnTo>
                    <a:pt x="158" y="197"/>
                  </a:lnTo>
                  <a:lnTo>
                    <a:pt x="173" y="208"/>
                  </a:lnTo>
                  <a:lnTo>
                    <a:pt x="188" y="220"/>
                  </a:lnTo>
                  <a:lnTo>
                    <a:pt x="195" y="240"/>
                  </a:lnTo>
                  <a:lnTo>
                    <a:pt x="213" y="247"/>
                  </a:lnTo>
                  <a:lnTo>
                    <a:pt x="232" y="240"/>
                  </a:lnTo>
                  <a:lnTo>
                    <a:pt x="250" y="248"/>
                  </a:lnTo>
                  <a:lnTo>
                    <a:pt x="263" y="245"/>
                  </a:lnTo>
                  <a:lnTo>
                    <a:pt x="285" y="247"/>
                  </a:lnTo>
                  <a:lnTo>
                    <a:pt x="275" y="227"/>
                  </a:lnTo>
                  <a:lnTo>
                    <a:pt x="270" y="201"/>
                  </a:lnTo>
                  <a:lnTo>
                    <a:pt x="268" y="179"/>
                  </a:lnTo>
                  <a:lnTo>
                    <a:pt x="279" y="161"/>
                  </a:lnTo>
                  <a:lnTo>
                    <a:pt x="279" y="138"/>
                  </a:lnTo>
                  <a:lnTo>
                    <a:pt x="270" y="122"/>
                  </a:lnTo>
                  <a:lnTo>
                    <a:pt x="265" y="99"/>
                  </a:lnTo>
                  <a:lnTo>
                    <a:pt x="274" y="78"/>
                  </a:lnTo>
                  <a:lnTo>
                    <a:pt x="272" y="57"/>
                  </a:lnTo>
                  <a:lnTo>
                    <a:pt x="260" y="41"/>
                  </a:lnTo>
                  <a:lnTo>
                    <a:pt x="242" y="32"/>
                  </a:lnTo>
                  <a:lnTo>
                    <a:pt x="220" y="25"/>
                  </a:lnTo>
                  <a:lnTo>
                    <a:pt x="206" y="10"/>
                  </a:lnTo>
                  <a:lnTo>
                    <a:pt x="186" y="0"/>
                  </a:lnTo>
                  <a:lnTo>
                    <a:pt x="159" y="7"/>
                  </a:lnTo>
                  <a:lnTo>
                    <a:pt x="139" y="12"/>
                  </a:lnTo>
                  <a:lnTo>
                    <a:pt x="124" y="30"/>
                  </a:lnTo>
                  <a:lnTo>
                    <a:pt x="112" y="46"/>
                  </a:lnTo>
                  <a:lnTo>
                    <a:pt x="92" y="55"/>
                  </a:lnTo>
                  <a:lnTo>
                    <a:pt x="74" y="49"/>
                  </a:lnTo>
                  <a:lnTo>
                    <a:pt x="57" y="39"/>
                  </a:lnTo>
                  <a:lnTo>
                    <a:pt x="39" y="28"/>
                  </a:lnTo>
                  <a:lnTo>
                    <a:pt x="18" y="30"/>
                  </a:lnTo>
                  <a:lnTo>
                    <a:pt x="0" y="35"/>
                  </a:lnTo>
                  <a:lnTo>
                    <a:pt x="2" y="49"/>
                  </a:lnTo>
                  <a:lnTo>
                    <a:pt x="8" y="6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21BB17E6-37DC-4D05-AFDB-B2C444D78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261" y="1949769"/>
              <a:ext cx="82607" cy="88681"/>
            </a:xfrm>
            <a:custGeom>
              <a:avLst/>
              <a:gdLst>
                <a:gd name="T0" fmla="*/ 10 w 136"/>
                <a:gd name="T1" fmla="*/ 40 h 146"/>
                <a:gd name="T2" fmla="*/ 17 w 136"/>
                <a:gd name="T3" fmla="*/ 48 h 146"/>
                <a:gd name="T4" fmla="*/ 22 w 136"/>
                <a:gd name="T5" fmla="*/ 59 h 146"/>
                <a:gd name="T6" fmla="*/ 27 w 136"/>
                <a:gd name="T7" fmla="*/ 72 h 146"/>
                <a:gd name="T8" fmla="*/ 27 w 136"/>
                <a:gd name="T9" fmla="*/ 86 h 146"/>
                <a:gd name="T10" fmla="*/ 23 w 136"/>
                <a:gd name="T11" fmla="*/ 102 h 146"/>
                <a:gd name="T12" fmla="*/ 27 w 136"/>
                <a:gd name="T13" fmla="*/ 111 h 146"/>
                <a:gd name="T14" fmla="*/ 34 w 136"/>
                <a:gd name="T15" fmla="*/ 123 h 146"/>
                <a:gd name="T16" fmla="*/ 42 w 136"/>
                <a:gd name="T17" fmla="*/ 130 h 146"/>
                <a:gd name="T18" fmla="*/ 52 w 136"/>
                <a:gd name="T19" fmla="*/ 134 h 146"/>
                <a:gd name="T20" fmla="*/ 64 w 136"/>
                <a:gd name="T21" fmla="*/ 132 h 146"/>
                <a:gd name="T22" fmla="*/ 67 w 136"/>
                <a:gd name="T23" fmla="*/ 137 h 146"/>
                <a:gd name="T24" fmla="*/ 74 w 136"/>
                <a:gd name="T25" fmla="*/ 143 h 146"/>
                <a:gd name="T26" fmla="*/ 80 w 136"/>
                <a:gd name="T27" fmla="*/ 146 h 146"/>
                <a:gd name="T28" fmla="*/ 87 w 136"/>
                <a:gd name="T29" fmla="*/ 146 h 146"/>
                <a:gd name="T30" fmla="*/ 94 w 136"/>
                <a:gd name="T31" fmla="*/ 143 h 146"/>
                <a:gd name="T32" fmla="*/ 96 w 136"/>
                <a:gd name="T33" fmla="*/ 134 h 146"/>
                <a:gd name="T34" fmla="*/ 99 w 136"/>
                <a:gd name="T35" fmla="*/ 127 h 146"/>
                <a:gd name="T36" fmla="*/ 107 w 136"/>
                <a:gd name="T37" fmla="*/ 128 h 146"/>
                <a:gd name="T38" fmla="*/ 117 w 136"/>
                <a:gd name="T39" fmla="*/ 128 h 146"/>
                <a:gd name="T40" fmla="*/ 124 w 136"/>
                <a:gd name="T41" fmla="*/ 123 h 146"/>
                <a:gd name="T42" fmla="*/ 127 w 136"/>
                <a:gd name="T43" fmla="*/ 116 h 146"/>
                <a:gd name="T44" fmla="*/ 126 w 136"/>
                <a:gd name="T45" fmla="*/ 107 h 146"/>
                <a:gd name="T46" fmla="*/ 122 w 136"/>
                <a:gd name="T47" fmla="*/ 100 h 146"/>
                <a:gd name="T48" fmla="*/ 122 w 136"/>
                <a:gd name="T49" fmla="*/ 93 h 146"/>
                <a:gd name="T50" fmla="*/ 124 w 136"/>
                <a:gd name="T51" fmla="*/ 86 h 146"/>
                <a:gd name="T52" fmla="*/ 129 w 136"/>
                <a:gd name="T53" fmla="*/ 80 h 146"/>
                <a:gd name="T54" fmla="*/ 133 w 136"/>
                <a:gd name="T55" fmla="*/ 75 h 146"/>
                <a:gd name="T56" fmla="*/ 136 w 136"/>
                <a:gd name="T57" fmla="*/ 64 h 146"/>
                <a:gd name="T58" fmla="*/ 136 w 136"/>
                <a:gd name="T59" fmla="*/ 54 h 146"/>
                <a:gd name="T60" fmla="*/ 133 w 136"/>
                <a:gd name="T61" fmla="*/ 43 h 146"/>
                <a:gd name="T62" fmla="*/ 126 w 136"/>
                <a:gd name="T63" fmla="*/ 36 h 146"/>
                <a:gd name="T64" fmla="*/ 114 w 136"/>
                <a:gd name="T65" fmla="*/ 32 h 146"/>
                <a:gd name="T66" fmla="*/ 107 w 136"/>
                <a:gd name="T67" fmla="*/ 32 h 146"/>
                <a:gd name="T68" fmla="*/ 101 w 136"/>
                <a:gd name="T69" fmla="*/ 29 h 146"/>
                <a:gd name="T70" fmla="*/ 94 w 136"/>
                <a:gd name="T71" fmla="*/ 27 h 146"/>
                <a:gd name="T72" fmla="*/ 86 w 136"/>
                <a:gd name="T73" fmla="*/ 29 h 146"/>
                <a:gd name="T74" fmla="*/ 80 w 136"/>
                <a:gd name="T75" fmla="*/ 31 h 146"/>
                <a:gd name="T76" fmla="*/ 70 w 136"/>
                <a:gd name="T77" fmla="*/ 29 h 146"/>
                <a:gd name="T78" fmla="*/ 65 w 136"/>
                <a:gd name="T79" fmla="*/ 22 h 146"/>
                <a:gd name="T80" fmla="*/ 60 w 136"/>
                <a:gd name="T81" fmla="*/ 13 h 146"/>
                <a:gd name="T82" fmla="*/ 54 w 136"/>
                <a:gd name="T83" fmla="*/ 8 h 146"/>
                <a:gd name="T84" fmla="*/ 45 w 136"/>
                <a:gd name="T85" fmla="*/ 2 h 146"/>
                <a:gd name="T86" fmla="*/ 30 w 136"/>
                <a:gd name="T87" fmla="*/ 0 h 146"/>
                <a:gd name="T88" fmla="*/ 18 w 136"/>
                <a:gd name="T89" fmla="*/ 0 h 146"/>
                <a:gd name="T90" fmla="*/ 7 w 136"/>
                <a:gd name="T91" fmla="*/ 4 h 146"/>
                <a:gd name="T92" fmla="*/ 2 w 136"/>
                <a:gd name="T93" fmla="*/ 9 h 146"/>
                <a:gd name="T94" fmla="*/ 0 w 136"/>
                <a:gd name="T95" fmla="*/ 15 h 146"/>
                <a:gd name="T96" fmla="*/ 2 w 136"/>
                <a:gd name="T97" fmla="*/ 20 h 146"/>
                <a:gd name="T98" fmla="*/ 10 w 136"/>
                <a:gd name="T99" fmla="*/ 4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146">
                  <a:moveTo>
                    <a:pt x="10" y="40"/>
                  </a:moveTo>
                  <a:lnTo>
                    <a:pt x="17" y="48"/>
                  </a:lnTo>
                  <a:lnTo>
                    <a:pt x="22" y="59"/>
                  </a:lnTo>
                  <a:lnTo>
                    <a:pt x="27" y="72"/>
                  </a:lnTo>
                  <a:lnTo>
                    <a:pt x="27" y="86"/>
                  </a:lnTo>
                  <a:lnTo>
                    <a:pt x="23" y="102"/>
                  </a:lnTo>
                  <a:lnTo>
                    <a:pt x="27" y="111"/>
                  </a:lnTo>
                  <a:lnTo>
                    <a:pt x="34" y="123"/>
                  </a:lnTo>
                  <a:lnTo>
                    <a:pt x="42" y="130"/>
                  </a:lnTo>
                  <a:lnTo>
                    <a:pt x="52" y="134"/>
                  </a:lnTo>
                  <a:lnTo>
                    <a:pt x="64" y="132"/>
                  </a:lnTo>
                  <a:lnTo>
                    <a:pt x="67" y="137"/>
                  </a:lnTo>
                  <a:lnTo>
                    <a:pt x="74" y="143"/>
                  </a:lnTo>
                  <a:lnTo>
                    <a:pt x="80" y="146"/>
                  </a:lnTo>
                  <a:lnTo>
                    <a:pt x="87" y="146"/>
                  </a:lnTo>
                  <a:lnTo>
                    <a:pt x="94" y="143"/>
                  </a:lnTo>
                  <a:lnTo>
                    <a:pt x="96" y="134"/>
                  </a:lnTo>
                  <a:lnTo>
                    <a:pt x="99" y="127"/>
                  </a:lnTo>
                  <a:lnTo>
                    <a:pt x="107" y="128"/>
                  </a:lnTo>
                  <a:lnTo>
                    <a:pt x="117" y="128"/>
                  </a:lnTo>
                  <a:lnTo>
                    <a:pt x="124" y="123"/>
                  </a:lnTo>
                  <a:lnTo>
                    <a:pt x="127" y="116"/>
                  </a:lnTo>
                  <a:lnTo>
                    <a:pt x="126" y="107"/>
                  </a:lnTo>
                  <a:lnTo>
                    <a:pt x="122" y="100"/>
                  </a:lnTo>
                  <a:lnTo>
                    <a:pt x="122" y="93"/>
                  </a:lnTo>
                  <a:lnTo>
                    <a:pt x="124" y="86"/>
                  </a:lnTo>
                  <a:lnTo>
                    <a:pt x="129" y="80"/>
                  </a:lnTo>
                  <a:lnTo>
                    <a:pt x="133" y="75"/>
                  </a:lnTo>
                  <a:lnTo>
                    <a:pt x="136" y="64"/>
                  </a:lnTo>
                  <a:lnTo>
                    <a:pt x="136" y="54"/>
                  </a:lnTo>
                  <a:lnTo>
                    <a:pt x="133" y="43"/>
                  </a:lnTo>
                  <a:lnTo>
                    <a:pt x="126" y="36"/>
                  </a:lnTo>
                  <a:lnTo>
                    <a:pt x="114" y="32"/>
                  </a:lnTo>
                  <a:lnTo>
                    <a:pt x="107" y="32"/>
                  </a:lnTo>
                  <a:lnTo>
                    <a:pt x="101" y="29"/>
                  </a:lnTo>
                  <a:lnTo>
                    <a:pt x="94" y="27"/>
                  </a:lnTo>
                  <a:lnTo>
                    <a:pt x="86" y="29"/>
                  </a:lnTo>
                  <a:lnTo>
                    <a:pt x="80" y="31"/>
                  </a:lnTo>
                  <a:lnTo>
                    <a:pt x="70" y="29"/>
                  </a:lnTo>
                  <a:lnTo>
                    <a:pt x="65" y="22"/>
                  </a:lnTo>
                  <a:lnTo>
                    <a:pt x="60" y="13"/>
                  </a:lnTo>
                  <a:lnTo>
                    <a:pt x="54" y="8"/>
                  </a:lnTo>
                  <a:lnTo>
                    <a:pt x="45" y="2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7" y="4"/>
                  </a:lnTo>
                  <a:lnTo>
                    <a:pt x="2" y="9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DD6A8F88-4C08-4DED-B665-20603ABA8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261" y="1831932"/>
              <a:ext cx="40089" cy="66815"/>
            </a:xfrm>
            <a:custGeom>
              <a:avLst/>
              <a:gdLst>
                <a:gd name="T0" fmla="*/ 7 w 65"/>
                <a:gd name="T1" fmla="*/ 48 h 108"/>
                <a:gd name="T2" fmla="*/ 8 w 65"/>
                <a:gd name="T3" fmla="*/ 66 h 108"/>
                <a:gd name="T4" fmla="*/ 12 w 65"/>
                <a:gd name="T5" fmla="*/ 83 h 108"/>
                <a:gd name="T6" fmla="*/ 17 w 65"/>
                <a:gd name="T7" fmla="*/ 92 h 108"/>
                <a:gd name="T8" fmla="*/ 23 w 65"/>
                <a:gd name="T9" fmla="*/ 101 h 108"/>
                <a:gd name="T10" fmla="*/ 32 w 65"/>
                <a:gd name="T11" fmla="*/ 106 h 108"/>
                <a:gd name="T12" fmla="*/ 44 w 65"/>
                <a:gd name="T13" fmla="*/ 108 h 108"/>
                <a:gd name="T14" fmla="*/ 54 w 65"/>
                <a:gd name="T15" fmla="*/ 105 h 108"/>
                <a:gd name="T16" fmla="*/ 60 w 65"/>
                <a:gd name="T17" fmla="*/ 96 h 108"/>
                <a:gd name="T18" fmla="*/ 60 w 65"/>
                <a:gd name="T19" fmla="*/ 82 h 108"/>
                <a:gd name="T20" fmla="*/ 59 w 65"/>
                <a:gd name="T21" fmla="*/ 69 h 108"/>
                <a:gd name="T22" fmla="*/ 57 w 65"/>
                <a:gd name="T23" fmla="*/ 60 h 108"/>
                <a:gd name="T24" fmla="*/ 62 w 65"/>
                <a:gd name="T25" fmla="*/ 51 h 108"/>
                <a:gd name="T26" fmla="*/ 65 w 65"/>
                <a:gd name="T27" fmla="*/ 41 h 108"/>
                <a:gd name="T28" fmla="*/ 65 w 65"/>
                <a:gd name="T29" fmla="*/ 26 h 108"/>
                <a:gd name="T30" fmla="*/ 60 w 65"/>
                <a:gd name="T31" fmla="*/ 12 h 108"/>
                <a:gd name="T32" fmla="*/ 55 w 65"/>
                <a:gd name="T33" fmla="*/ 3 h 108"/>
                <a:gd name="T34" fmla="*/ 49 w 65"/>
                <a:gd name="T35" fmla="*/ 0 h 108"/>
                <a:gd name="T36" fmla="*/ 40 w 65"/>
                <a:gd name="T37" fmla="*/ 2 h 108"/>
                <a:gd name="T38" fmla="*/ 34 w 65"/>
                <a:gd name="T39" fmla="*/ 9 h 108"/>
                <a:gd name="T40" fmla="*/ 30 w 65"/>
                <a:gd name="T41" fmla="*/ 14 h 108"/>
                <a:gd name="T42" fmla="*/ 27 w 65"/>
                <a:gd name="T43" fmla="*/ 16 h 108"/>
                <a:gd name="T44" fmla="*/ 20 w 65"/>
                <a:gd name="T45" fmla="*/ 12 h 108"/>
                <a:gd name="T46" fmla="*/ 12 w 65"/>
                <a:gd name="T47" fmla="*/ 12 h 108"/>
                <a:gd name="T48" fmla="*/ 5 w 65"/>
                <a:gd name="T49" fmla="*/ 16 h 108"/>
                <a:gd name="T50" fmla="*/ 2 w 65"/>
                <a:gd name="T51" fmla="*/ 23 h 108"/>
                <a:gd name="T52" fmla="*/ 0 w 65"/>
                <a:gd name="T53" fmla="*/ 34 h 108"/>
                <a:gd name="T54" fmla="*/ 7 w 65"/>
                <a:gd name="T55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" h="108">
                  <a:moveTo>
                    <a:pt x="7" y="48"/>
                  </a:moveTo>
                  <a:lnTo>
                    <a:pt x="8" y="66"/>
                  </a:lnTo>
                  <a:lnTo>
                    <a:pt x="12" y="83"/>
                  </a:lnTo>
                  <a:lnTo>
                    <a:pt x="17" y="92"/>
                  </a:lnTo>
                  <a:lnTo>
                    <a:pt x="23" y="101"/>
                  </a:lnTo>
                  <a:lnTo>
                    <a:pt x="32" y="106"/>
                  </a:lnTo>
                  <a:lnTo>
                    <a:pt x="44" y="108"/>
                  </a:lnTo>
                  <a:lnTo>
                    <a:pt x="54" y="105"/>
                  </a:lnTo>
                  <a:lnTo>
                    <a:pt x="60" y="96"/>
                  </a:lnTo>
                  <a:lnTo>
                    <a:pt x="60" y="82"/>
                  </a:lnTo>
                  <a:lnTo>
                    <a:pt x="59" y="69"/>
                  </a:lnTo>
                  <a:lnTo>
                    <a:pt x="57" y="60"/>
                  </a:lnTo>
                  <a:lnTo>
                    <a:pt x="62" y="51"/>
                  </a:lnTo>
                  <a:lnTo>
                    <a:pt x="65" y="41"/>
                  </a:lnTo>
                  <a:lnTo>
                    <a:pt x="65" y="26"/>
                  </a:lnTo>
                  <a:lnTo>
                    <a:pt x="60" y="12"/>
                  </a:lnTo>
                  <a:lnTo>
                    <a:pt x="55" y="3"/>
                  </a:lnTo>
                  <a:lnTo>
                    <a:pt x="49" y="0"/>
                  </a:lnTo>
                  <a:lnTo>
                    <a:pt x="40" y="2"/>
                  </a:lnTo>
                  <a:lnTo>
                    <a:pt x="34" y="9"/>
                  </a:lnTo>
                  <a:lnTo>
                    <a:pt x="30" y="14"/>
                  </a:lnTo>
                  <a:lnTo>
                    <a:pt x="27" y="16"/>
                  </a:lnTo>
                  <a:lnTo>
                    <a:pt x="20" y="12"/>
                  </a:lnTo>
                  <a:lnTo>
                    <a:pt x="12" y="12"/>
                  </a:lnTo>
                  <a:lnTo>
                    <a:pt x="5" y="16"/>
                  </a:lnTo>
                  <a:lnTo>
                    <a:pt x="2" y="23"/>
                  </a:lnTo>
                  <a:lnTo>
                    <a:pt x="0" y="34"/>
                  </a:lnTo>
                  <a:lnTo>
                    <a:pt x="7" y="4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</p:grpSp>
      <p:grpSp>
        <p:nvGrpSpPr>
          <p:cNvPr id="224" name="Gruppierung 2">
            <a:extLst>
              <a:ext uri="{FF2B5EF4-FFF2-40B4-BE49-F238E27FC236}">
                <a16:creationId xmlns:a16="http://schemas.microsoft.com/office/drawing/2014/main" id="{C4554CCD-2C8B-4DAA-923F-F094D96846F0}"/>
              </a:ext>
            </a:extLst>
          </p:cNvPr>
          <p:cNvGrpSpPr>
            <a:grpSpLocks noChangeAspect="1"/>
          </p:cNvGrpSpPr>
          <p:nvPr/>
        </p:nvGrpSpPr>
        <p:grpSpPr>
          <a:xfrm>
            <a:off x="3232936" y="1591487"/>
            <a:ext cx="5607795" cy="2903045"/>
            <a:chOff x="777056" y="1844525"/>
            <a:chExt cx="8210374" cy="4250349"/>
          </a:xfrm>
        </p:grpSpPr>
        <p:sp>
          <p:nvSpPr>
            <p:cNvPr id="225" name="Freeform 61">
              <a:extLst>
                <a:ext uri="{FF2B5EF4-FFF2-40B4-BE49-F238E27FC236}">
                  <a16:creationId xmlns:a16="http://schemas.microsoft.com/office/drawing/2014/main" id="{CD9CB4A4-B676-4D75-8F08-5223FDD8A23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75410" y="5121546"/>
              <a:ext cx="455601" cy="946662"/>
            </a:xfrm>
            <a:custGeom>
              <a:avLst/>
              <a:gdLst/>
              <a:ahLst/>
              <a:cxnLst>
                <a:cxn ang="0">
                  <a:pos x="76" y="576"/>
                </a:cxn>
                <a:cxn ang="0">
                  <a:pos x="67" y="532"/>
                </a:cxn>
                <a:cxn ang="0">
                  <a:pos x="80" y="523"/>
                </a:cxn>
                <a:cxn ang="0">
                  <a:pos x="85" y="500"/>
                </a:cxn>
                <a:cxn ang="0">
                  <a:pos x="116" y="456"/>
                </a:cxn>
                <a:cxn ang="0">
                  <a:pos x="89" y="438"/>
                </a:cxn>
                <a:cxn ang="0">
                  <a:pos x="103" y="411"/>
                </a:cxn>
                <a:cxn ang="0">
                  <a:pos x="125" y="375"/>
                </a:cxn>
                <a:cxn ang="0">
                  <a:pos x="129" y="362"/>
                </a:cxn>
                <a:cxn ang="0">
                  <a:pos x="143" y="362"/>
                </a:cxn>
                <a:cxn ang="0">
                  <a:pos x="134" y="353"/>
                </a:cxn>
                <a:cxn ang="0">
                  <a:pos x="125" y="326"/>
                </a:cxn>
                <a:cxn ang="0">
                  <a:pos x="165" y="331"/>
                </a:cxn>
                <a:cxn ang="0">
                  <a:pos x="170" y="290"/>
                </a:cxn>
                <a:cxn ang="0">
                  <a:pos x="228" y="277"/>
                </a:cxn>
                <a:cxn ang="0">
                  <a:pos x="241" y="241"/>
                </a:cxn>
                <a:cxn ang="0">
                  <a:pos x="232" y="237"/>
                </a:cxn>
                <a:cxn ang="0">
                  <a:pos x="219" y="214"/>
                </a:cxn>
                <a:cxn ang="0">
                  <a:pos x="219" y="188"/>
                </a:cxn>
                <a:cxn ang="0">
                  <a:pos x="219" y="165"/>
                </a:cxn>
                <a:cxn ang="0">
                  <a:pos x="232" y="134"/>
                </a:cxn>
                <a:cxn ang="0">
                  <a:pos x="268" y="94"/>
                </a:cxn>
                <a:cxn ang="0">
                  <a:pos x="286" y="58"/>
                </a:cxn>
                <a:cxn ang="0">
                  <a:pos x="272" y="76"/>
                </a:cxn>
                <a:cxn ang="0">
                  <a:pos x="241" y="89"/>
                </a:cxn>
                <a:cxn ang="0">
                  <a:pos x="214" y="85"/>
                </a:cxn>
                <a:cxn ang="0">
                  <a:pos x="228" y="49"/>
                </a:cxn>
                <a:cxn ang="0">
                  <a:pos x="183" y="31"/>
                </a:cxn>
                <a:cxn ang="0">
                  <a:pos x="152" y="0"/>
                </a:cxn>
                <a:cxn ang="0">
                  <a:pos x="134" y="13"/>
                </a:cxn>
                <a:cxn ang="0">
                  <a:pos x="103" y="0"/>
                </a:cxn>
                <a:cxn ang="0">
                  <a:pos x="89" y="31"/>
                </a:cxn>
                <a:cxn ang="0">
                  <a:pos x="62" y="71"/>
                </a:cxn>
                <a:cxn ang="0">
                  <a:pos x="58" y="94"/>
                </a:cxn>
                <a:cxn ang="0">
                  <a:pos x="53" y="138"/>
                </a:cxn>
                <a:cxn ang="0">
                  <a:pos x="40" y="156"/>
                </a:cxn>
                <a:cxn ang="0">
                  <a:pos x="53" y="183"/>
                </a:cxn>
                <a:cxn ang="0">
                  <a:pos x="44" y="214"/>
                </a:cxn>
                <a:cxn ang="0">
                  <a:pos x="31" y="250"/>
                </a:cxn>
                <a:cxn ang="0">
                  <a:pos x="27" y="290"/>
                </a:cxn>
                <a:cxn ang="0">
                  <a:pos x="22" y="308"/>
                </a:cxn>
                <a:cxn ang="0">
                  <a:pos x="27" y="349"/>
                </a:cxn>
                <a:cxn ang="0">
                  <a:pos x="27" y="375"/>
                </a:cxn>
                <a:cxn ang="0">
                  <a:pos x="31" y="398"/>
                </a:cxn>
                <a:cxn ang="0">
                  <a:pos x="22" y="407"/>
                </a:cxn>
                <a:cxn ang="0">
                  <a:pos x="22" y="424"/>
                </a:cxn>
                <a:cxn ang="0">
                  <a:pos x="13" y="487"/>
                </a:cxn>
                <a:cxn ang="0">
                  <a:pos x="0" y="509"/>
                </a:cxn>
                <a:cxn ang="0">
                  <a:pos x="13" y="536"/>
                </a:cxn>
                <a:cxn ang="0">
                  <a:pos x="22" y="563"/>
                </a:cxn>
                <a:cxn ang="0">
                  <a:pos x="71" y="635"/>
                </a:cxn>
                <a:cxn ang="0">
                  <a:pos x="94" y="635"/>
                </a:cxn>
                <a:cxn ang="0">
                  <a:pos x="107" y="635"/>
                </a:cxn>
                <a:cxn ang="0">
                  <a:pos x="125" y="626"/>
                </a:cxn>
                <a:cxn ang="0">
                  <a:pos x="89" y="617"/>
                </a:cxn>
                <a:cxn ang="0">
                  <a:pos x="71" y="594"/>
                </a:cxn>
                <a:cxn ang="0">
                  <a:pos x="71" y="576"/>
                </a:cxn>
              </a:cxnLst>
              <a:rect l="0" t="0" r="r" b="b"/>
              <a:pathLst>
                <a:path w="286" h="639">
                  <a:moveTo>
                    <a:pt x="62" y="567"/>
                  </a:moveTo>
                  <a:lnTo>
                    <a:pt x="76" y="576"/>
                  </a:lnTo>
                  <a:lnTo>
                    <a:pt x="67" y="541"/>
                  </a:lnTo>
                  <a:lnTo>
                    <a:pt x="67" y="532"/>
                  </a:lnTo>
                  <a:lnTo>
                    <a:pt x="76" y="523"/>
                  </a:lnTo>
                  <a:lnTo>
                    <a:pt x="80" y="523"/>
                  </a:lnTo>
                  <a:lnTo>
                    <a:pt x="89" y="505"/>
                  </a:lnTo>
                  <a:lnTo>
                    <a:pt x="85" y="500"/>
                  </a:lnTo>
                  <a:lnTo>
                    <a:pt x="111" y="478"/>
                  </a:lnTo>
                  <a:lnTo>
                    <a:pt x="116" y="456"/>
                  </a:lnTo>
                  <a:lnTo>
                    <a:pt x="103" y="451"/>
                  </a:lnTo>
                  <a:lnTo>
                    <a:pt x="89" y="438"/>
                  </a:lnTo>
                  <a:lnTo>
                    <a:pt x="94" y="424"/>
                  </a:lnTo>
                  <a:lnTo>
                    <a:pt x="103" y="411"/>
                  </a:lnTo>
                  <a:lnTo>
                    <a:pt x="120" y="411"/>
                  </a:lnTo>
                  <a:lnTo>
                    <a:pt x="125" y="375"/>
                  </a:lnTo>
                  <a:lnTo>
                    <a:pt x="134" y="366"/>
                  </a:lnTo>
                  <a:lnTo>
                    <a:pt x="129" y="362"/>
                  </a:lnTo>
                  <a:lnTo>
                    <a:pt x="138" y="366"/>
                  </a:lnTo>
                  <a:lnTo>
                    <a:pt x="143" y="362"/>
                  </a:lnTo>
                  <a:lnTo>
                    <a:pt x="143" y="353"/>
                  </a:lnTo>
                  <a:lnTo>
                    <a:pt x="134" y="353"/>
                  </a:lnTo>
                  <a:lnTo>
                    <a:pt x="125" y="349"/>
                  </a:lnTo>
                  <a:lnTo>
                    <a:pt x="125" y="326"/>
                  </a:lnTo>
                  <a:lnTo>
                    <a:pt x="147" y="335"/>
                  </a:lnTo>
                  <a:lnTo>
                    <a:pt x="165" y="331"/>
                  </a:lnTo>
                  <a:lnTo>
                    <a:pt x="161" y="313"/>
                  </a:lnTo>
                  <a:lnTo>
                    <a:pt x="170" y="290"/>
                  </a:lnTo>
                  <a:lnTo>
                    <a:pt x="210" y="286"/>
                  </a:lnTo>
                  <a:lnTo>
                    <a:pt x="228" y="277"/>
                  </a:lnTo>
                  <a:lnTo>
                    <a:pt x="241" y="255"/>
                  </a:lnTo>
                  <a:lnTo>
                    <a:pt x="241" y="241"/>
                  </a:lnTo>
                  <a:lnTo>
                    <a:pt x="237" y="246"/>
                  </a:lnTo>
                  <a:lnTo>
                    <a:pt x="232" y="237"/>
                  </a:lnTo>
                  <a:lnTo>
                    <a:pt x="237" y="228"/>
                  </a:lnTo>
                  <a:lnTo>
                    <a:pt x="219" y="214"/>
                  </a:lnTo>
                  <a:lnTo>
                    <a:pt x="214" y="206"/>
                  </a:lnTo>
                  <a:lnTo>
                    <a:pt x="219" y="188"/>
                  </a:lnTo>
                  <a:lnTo>
                    <a:pt x="223" y="183"/>
                  </a:lnTo>
                  <a:lnTo>
                    <a:pt x="219" y="165"/>
                  </a:lnTo>
                  <a:lnTo>
                    <a:pt x="228" y="138"/>
                  </a:lnTo>
                  <a:lnTo>
                    <a:pt x="232" y="134"/>
                  </a:lnTo>
                  <a:lnTo>
                    <a:pt x="232" y="130"/>
                  </a:lnTo>
                  <a:lnTo>
                    <a:pt x="268" y="94"/>
                  </a:lnTo>
                  <a:lnTo>
                    <a:pt x="286" y="80"/>
                  </a:lnTo>
                  <a:lnTo>
                    <a:pt x="286" y="58"/>
                  </a:lnTo>
                  <a:lnTo>
                    <a:pt x="277" y="58"/>
                  </a:lnTo>
                  <a:lnTo>
                    <a:pt x="272" y="76"/>
                  </a:lnTo>
                  <a:lnTo>
                    <a:pt x="259" y="89"/>
                  </a:lnTo>
                  <a:lnTo>
                    <a:pt x="241" y="89"/>
                  </a:lnTo>
                  <a:lnTo>
                    <a:pt x="228" y="85"/>
                  </a:lnTo>
                  <a:lnTo>
                    <a:pt x="214" y="85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192" y="31"/>
                  </a:lnTo>
                  <a:lnTo>
                    <a:pt x="183" y="31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8" y="0"/>
                  </a:lnTo>
                  <a:lnTo>
                    <a:pt x="134" y="13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89" y="13"/>
                  </a:lnTo>
                  <a:lnTo>
                    <a:pt x="89" y="31"/>
                  </a:lnTo>
                  <a:lnTo>
                    <a:pt x="67" y="45"/>
                  </a:lnTo>
                  <a:lnTo>
                    <a:pt x="62" y="71"/>
                  </a:lnTo>
                  <a:lnTo>
                    <a:pt x="67" y="80"/>
                  </a:lnTo>
                  <a:lnTo>
                    <a:pt x="58" y="94"/>
                  </a:lnTo>
                  <a:lnTo>
                    <a:pt x="49" y="121"/>
                  </a:lnTo>
                  <a:lnTo>
                    <a:pt x="53" y="138"/>
                  </a:lnTo>
                  <a:lnTo>
                    <a:pt x="44" y="143"/>
                  </a:lnTo>
                  <a:lnTo>
                    <a:pt x="40" y="156"/>
                  </a:lnTo>
                  <a:lnTo>
                    <a:pt x="49" y="183"/>
                  </a:lnTo>
                  <a:lnTo>
                    <a:pt x="53" y="183"/>
                  </a:lnTo>
                  <a:lnTo>
                    <a:pt x="53" y="201"/>
                  </a:lnTo>
                  <a:lnTo>
                    <a:pt x="44" y="214"/>
                  </a:lnTo>
                  <a:lnTo>
                    <a:pt x="40" y="237"/>
                  </a:lnTo>
                  <a:lnTo>
                    <a:pt x="31" y="250"/>
                  </a:lnTo>
                  <a:lnTo>
                    <a:pt x="36" y="286"/>
                  </a:lnTo>
                  <a:lnTo>
                    <a:pt x="27" y="290"/>
                  </a:lnTo>
                  <a:lnTo>
                    <a:pt x="27" y="304"/>
                  </a:lnTo>
                  <a:lnTo>
                    <a:pt x="22" y="308"/>
                  </a:lnTo>
                  <a:lnTo>
                    <a:pt x="22" y="326"/>
                  </a:lnTo>
                  <a:lnTo>
                    <a:pt x="27" y="349"/>
                  </a:lnTo>
                  <a:lnTo>
                    <a:pt x="22" y="362"/>
                  </a:lnTo>
                  <a:lnTo>
                    <a:pt x="27" y="375"/>
                  </a:lnTo>
                  <a:lnTo>
                    <a:pt x="22" y="398"/>
                  </a:lnTo>
                  <a:lnTo>
                    <a:pt x="31" y="398"/>
                  </a:lnTo>
                  <a:lnTo>
                    <a:pt x="31" y="407"/>
                  </a:lnTo>
                  <a:lnTo>
                    <a:pt x="22" y="407"/>
                  </a:lnTo>
                  <a:lnTo>
                    <a:pt x="31" y="416"/>
                  </a:lnTo>
                  <a:lnTo>
                    <a:pt x="22" y="424"/>
                  </a:lnTo>
                  <a:lnTo>
                    <a:pt x="22" y="442"/>
                  </a:lnTo>
                  <a:lnTo>
                    <a:pt x="13" y="487"/>
                  </a:lnTo>
                  <a:lnTo>
                    <a:pt x="9" y="492"/>
                  </a:lnTo>
                  <a:lnTo>
                    <a:pt x="0" y="509"/>
                  </a:lnTo>
                  <a:lnTo>
                    <a:pt x="4" y="536"/>
                  </a:lnTo>
                  <a:lnTo>
                    <a:pt x="13" y="536"/>
                  </a:lnTo>
                  <a:lnTo>
                    <a:pt x="13" y="554"/>
                  </a:lnTo>
                  <a:lnTo>
                    <a:pt x="22" y="563"/>
                  </a:lnTo>
                  <a:lnTo>
                    <a:pt x="62" y="567"/>
                  </a:lnTo>
                  <a:close/>
                  <a:moveTo>
                    <a:pt x="71" y="635"/>
                  </a:moveTo>
                  <a:lnTo>
                    <a:pt x="80" y="635"/>
                  </a:lnTo>
                  <a:lnTo>
                    <a:pt x="94" y="635"/>
                  </a:lnTo>
                  <a:lnTo>
                    <a:pt x="103" y="639"/>
                  </a:lnTo>
                  <a:lnTo>
                    <a:pt x="107" y="635"/>
                  </a:lnTo>
                  <a:lnTo>
                    <a:pt x="120" y="635"/>
                  </a:lnTo>
                  <a:lnTo>
                    <a:pt x="125" y="626"/>
                  </a:lnTo>
                  <a:lnTo>
                    <a:pt x="107" y="626"/>
                  </a:lnTo>
                  <a:lnTo>
                    <a:pt x="89" y="617"/>
                  </a:lnTo>
                  <a:lnTo>
                    <a:pt x="80" y="594"/>
                  </a:lnTo>
                  <a:lnTo>
                    <a:pt x="71" y="594"/>
                  </a:lnTo>
                  <a:lnTo>
                    <a:pt x="76" y="585"/>
                  </a:lnTo>
                  <a:lnTo>
                    <a:pt x="71" y="576"/>
                  </a:lnTo>
                  <a:lnTo>
                    <a:pt x="71" y="63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26" name="Freeform 62">
              <a:extLst>
                <a:ext uri="{FF2B5EF4-FFF2-40B4-BE49-F238E27FC236}">
                  <a16:creationId xmlns:a16="http://schemas.microsoft.com/office/drawing/2014/main" id="{27852CEC-609B-40DB-88B5-FE0173F7F1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4341" y="4029700"/>
              <a:ext cx="135406" cy="14518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0" y="9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4"/>
                </a:cxn>
                <a:cxn ang="0">
                  <a:pos x="4" y="4"/>
                </a:cxn>
                <a:cxn ang="0">
                  <a:pos x="9" y="26"/>
                </a:cxn>
                <a:cxn ang="0">
                  <a:pos x="4" y="40"/>
                </a:cxn>
                <a:cxn ang="0">
                  <a:pos x="13" y="40"/>
                </a:cxn>
                <a:cxn ang="0">
                  <a:pos x="13" y="40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8" y="26"/>
                </a:cxn>
                <a:cxn ang="0">
                  <a:pos x="18" y="35"/>
                </a:cxn>
                <a:cxn ang="0">
                  <a:pos x="22" y="31"/>
                </a:cxn>
                <a:cxn ang="0">
                  <a:pos x="22" y="31"/>
                </a:cxn>
                <a:cxn ang="0">
                  <a:pos x="22" y="26"/>
                </a:cxn>
                <a:cxn ang="0">
                  <a:pos x="18" y="26"/>
                </a:cxn>
                <a:cxn ang="0">
                  <a:pos x="18" y="0"/>
                </a:cxn>
                <a:cxn ang="0">
                  <a:pos x="22" y="9"/>
                </a:cxn>
                <a:cxn ang="0">
                  <a:pos x="22" y="13"/>
                </a:cxn>
                <a:cxn ang="0">
                  <a:pos x="22" y="17"/>
                </a:cxn>
                <a:cxn ang="0">
                  <a:pos x="27" y="9"/>
                </a:cxn>
                <a:cxn ang="0">
                  <a:pos x="22" y="4"/>
                </a:cxn>
                <a:cxn ang="0">
                  <a:pos x="18" y="0"/>
                </a:cxn>
                <a:cxn ang="0">
                  <a:pos x="18" y="53"/>
                </a:cxn>
                <a:cxn ang="0">
                  <a:pos x="18" y="44"/>
                </a:cxn>
                <a:cxn ang="0">
                  <a:pos x="13" y="44"/>
                </a:cxn>
                <a:cxn ang="0">
                  <a:pos x="13" y="53"/>
                </a:cxn>
                <a:cxn ang="0">
                  <a:pos x="18" y="53"/>
                </a:cxn>
                <a:cxn ang="0">
                  <a:pos x="31" y="22"/>
                </a:cxn>
                <a:cxn ang="0">
                  <a:pos x="27" y="22"/>
                </a:cxn>
                <a:cxn ang="0">
                  <a:pos x="31" y="26"/>
                </a:cxn>
                <a:cxn ang="0">
                  <a:pos x="36" y="31"/>
                </a:cxn>
                <a:cxn ang="0">
                  <a:pos x="36" y="35"/>
                </a:cxn>
                <a:cxn ang="0">
                  <a:pos x="40" y="26"/>
                </a:cxn>
                <a:cxn ang="0">
                  <a:pos x="31" y="22"/>
                </a:cxn>
                <a:cxn ang="0">
                  <a:pos x="45" y="35"/>
                </a:cxn>
                <a:cxn ang="0">
                  <a:pos x="49" y="44"/>
                </a:cxn>
                <a:cxn ang="0">
                  <a:pos x="45" y="49"/>
                </a:cxn>
                <a:cxn ang="0">
                  <a:pos x="53" y="49"/>
                </a:cxn>
                <a:cxn ang="0">
                  <a:pos x="49" y="44"/>
                </a:cxn>
                <a:cxn ang="0">
                  <a:pos x="45" y="35"/>
                </a:cxn>
                <a:cxn ang="0">
                  <a:pos x="49" y="53"/>
                </a:cxn>
                <a:cxn ang="0">
                  <a:pos x="49" y="53"/>
                </a:cxn>
                <a:cxn ang="0">
                  <a:pos x="49" y="62"/>
                </a:cxn>
                <a:cxn ang="0">
                  <a:pos x="58" y="67"/>
                </a:cxn>
                <a:cxn ang="0">
                  <a:pos x="53" y="58"/>
                </a:cxn>
                <a:cxn ang="0">
                  <a:pos x="49" y="53"/>
                </a:cxn>
                <a:cxn ang="0">
                  <a:pos x="62" y="62"/>
                </a:cxn>
                <a:cxn ang="0">
                  <a:pos x="62" y="67"/>
                </a:cxn>
                <a:cxn ang="0">
                  <a:pos x="67" y="67"/>
                </a:cxn>
                <a:cxn ang="0">
                  <a:pos x="67" y="71"/>
                </a:cxn>
                <a:cxn ang="0">
                  <a:pos x="67" y="80"/>
                </a:cxn>
                <a:cxn ang="0">
                  <a:pos x="71" y="71"/>
                </a:cxn>
                <a:cxn ang="0">
                  <a:pos x="71" y="67"/>
                </a:cxn>
                <a:cxn ang="0">
                  <a:pos x="67" y="67"/>
                </a:cxn>
                <a:cxn ang="0">
                  <a:pos x="62" y="62"/>
                </a:cxn>
                <a:cxn ang="0">
                  <a:pos x="71" y="93"/>
                </a:cxn>
                <a:cxn ang="0">
                  <a:pos x="80" y="98"/>
                </a:cxn>
                <a:cxn ang="0">
                  <a:pos x="85" y="89"/>
                </a:cxn>
                <a:cxn ang="0">
                  <a:pos x="76" y="89"/>
                </a:cxn>
                <a:cxn ang="0">
                  <a:pos x="71" y="93"/>
                </a:cxn>
              </a:cxnLst>
              <a:rect l="0" t="0" r="r" b="b"/>
              <a:pathLst>
                <a:path w="85" h="98">
                  <a:moveTo>
                    <a:pt x="4" y="4"/>
                  </a:moveTo>
                  <a:lnTo>
                    <a:pt x="0" y="9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4" y="4"/>
                  </a:lnTo>
                  <a:close/>
                  <a:moveTo>
                    <a:pt x="9" y="26"/>
                  </a:moveTo>
                  <a:lnTo>
                    <a:pt x="4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9" y="26"/>
                  </a:lnTo>
                  <a:lnTo>
                    <a:pt x="9" y="26"/>
                  </a:lnTo>
                  <a:close/>
                  <a:moveTo>
                    <a:pt x="18" y="26"/>
                  </a:moveTo>
                  <a:lnTo>
                    <a:pt x="18" y="35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18" y="26"/>
                  </a:lnTo>
                  <a:close/>
                  <a:moveTo>
                    <a:pt x="18" y="0"/>
                  </a:moveTo>
                  <a:lnTo>
                    <a:pt x="22" y="9"/>
                  </a:lnTo>
                  <a:lnTo>
                    <a:pt x="22" y="13"/>
                  </a:lnTo>
                  <a:lnTo>
                    <a:pt x="22" y="17"/>
                  </a:lnTo>
                  <a:lnTo>
                    <a:pt x="27" y="9"/>
                  </a:lnTo>
                  <a:lnTo>
                    <a:pt x="22" y="4"/>
                  </a:lnTo>
                  <a:lnTo>
                    <a:pt x="18" y="0"/>
                  </a:lnTo>
                  <a:close/>
                  <a:moveTo>
                    <a:pt x="18" y="53"/>
                  </a:moveTo>
                  <a:lnTo>
                    <a:pt x="18" y="44"/>
                  </a:lnTo>
                  <a:lnTo>
                    <a:pt x="13" y="44"/>
                  </a:lnTo>
                  <a:lnTo>
                    <a:pt x="13" y="53"/>
                  </a:lnTo>
                  <a:lnTo>
                    <a:pt x="18" y="53"/>
                  </a:lnTo>
                  <a:close/>
                  <a:moveTo>
                    <a:pt x="31" y="22"/>
                  </a:moveTo>
                  <a:lnTo>
                    <a:pt x="27" y="22"/>
                  </a:lnTo>
                  <a:lnTo>
                    <a:pt x="31" y="26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40" y="26"/>
                  </a:lnTo>
                  <a:lnTo>
                    <a:pt x="31" y="22"/>
                  </a:lnTo>
                  <a:close/>
                  <a:moveTo>
                    <a:pt x="45" y="35"/>
                  </a:moveTo>
                  <a:lnTo>
                    <a:pt x="49" y="44"/>
                  </a:lnTo>
                  <a:lnTo>
                    <a:pt x="45" y="49"/>
                  </a:lnTo>
                  <a:lnTo>
                    <a:pt x="53" y="49"/>
                  </a:lnTo>
                  <a:lnTo>
                    <a:pt x="49" y="44"/>
                  </a:lnTo>
                  <a:lnTo>
                    <a:pt x="45" y="35"/>
                  </a:lnTo>
                  <a:close/>
                  <a:moveTo>
                    <a:pt x="49" y="53"/>
                  </a:moveTo>
                  <a:lnTo>
                    <a:pt x="49" y="53"/>
                  </a:lnTo>
                  <a:lnTo>
                    <a:pt x="49" y="62"/>
                  </a:lnTo>
                  <a:lnTo>
                    <a:pt x="58" y="67"/>
                  </a:lnTo>
                  <a:lnTo>
                    <a:pt x="53" y="58"/>
                  </a:lnTo>
                  <a:lnTo>
                    <a:pt x="49" y="53"/>
                  </a:lnTo>
                  <a:close/>
                  <a:moveTo>
                    <a:pt x="62" y="62"/>
                  </a:moveTo>
                  <a:lnTo>
                    <a:pt x="62" y="67"/>
                  </a:lnTo>
                  <a:lnTo>
                    <a:pt x="67" y="67"/>
                  </a:lnTo>
                  <a:lnTo>
                    <a:pt x="67" y="71"/>
                  </a:lnTo>
                  <a:lnTo>
                    <a:pt x="67" y="80"/>
                  </a:lnTo>
                  <a:lnTo>
                    <a:pt x="71" y="71"/>
                  </a:lnTo>
                  <a:lnTo>
                    <a:pt x="71" y="67"/>
                  </a:lnTo>
                  <a:lnTo>
                    <a:pt x="67" y="67"/>
                  </a:lnTo>
                  <a:lnTo>
                    <a:pt x="62" y="62"/>
                  </a:lnTo>
                  <a:close/>
                  <a:moveTo>
                    <a:pt x="71" y="93"/>
                  </a:moveTo>
                  <a:lnTo>
                    <a:pt x="80" y="98"/>
                  </a:lnTo>
                  <a:lnTo>
                    <a:pt x="85" y="89"/>
                  </a:lnTo>
                  <a:lnTo>
                    <a:pt x="76" y="89"/>
                  </a:lnTo>
                  <a:lnTo>
                    <a:pt x="71" y="9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27" name="Freeform 63">
              <a:extLst>
                <a:ext uri="{FF2B5EF4-FFF2-40B4-BE49-F238E27FC236}">
                  <a16:creationId xmlns:a16="http://schemas.microsoft.com/office/drawing/2014/main" id="{7FDB6BE7-0109-483D-9C22-3AB88A7277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95605" y="4340809"/>
              <a:ext cx="6372" cy="1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4"/>
                </a:cxn>
                <a:cxn ang="0">
                  <a:pos x="0" y="0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28" name="Freeform 64">
              <a:extLst>
                <a:ext uri="{FF2B5EF4-FFF2-40B4-BE49-F238E27FC236}">
                  <a16:creationId xmlns:a16="http://schemas.microsoft.com/office/drawing/2014/main" id="{73BA416F-2A94-453E-8C7E-B2CE9A5313D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7805" y="4843029"/>
              <a:ext cx="270812" cy="297776"/>
            </a:xfrm>
            <a:custGeom>
              <a:avLst/>
              <a:gdLst/>
              <a:ahLst/>
              <a:cxnLst>
                <a:cxn ang="0">
                  <a:pos x="0" y="121"/>
                </a:cxn>
                <a:cxn ang="0">
                  <a:pos x="4" y="130"/>
                </a:cxn>
                <a:cxn ang="0">
                  <a:pos x="9" y="143"/>
                </a:cxn>
                <a:cxn ang="0">
                  <a:pos x="9" y="161"/>
                </a:cxn>
                <a:cxn ang="0">
                  <a:pos x="22" y="197"/>
                </a:cxn>
                <a:cxn ang="0">
                  <a:pos x="31" y="201"/>
                </a:cxn>
                <a:cxn ang="0">
                  <a:pos x="45" y="188"/>
                </a:cxn>
                <a:cxn ang="0">
                  <a:pos x="67" y="192"/>
                </a:cxn>
                <a:cxn ang="0">
                  <a:pos x="76" y="201"/>
                </a:cxn>
                <a:cxn ang="0">
                  <a:pos x="80" y="188"/>
                </a:cxn>
                <a:cxn ang="0">
                  <a:pos x="94" y="188"/>
                </a:cxn>
                <a:cxn ang="0">
                  <a:pos x="98" y="192"/>
                </a:cxn>
                <a:cxn ang="0">
                  <a:pos x="103" y="179"/>
                </a:cxn>
                <a:cxn ang="0">
                  <a:pos x="103" y="166"/>
                </a:cxn>
                <a:cxn ang="0">
                  <a:pos x="112" y="157"/>
                </a:cxn>
                <a:cxn ang="0">
                  <a:pos x="147" y="148"/>
                </a:cxn>
                <a:cxn ang="0">
                  <a:pos x="161" y="152"/>
                </a:cxn>
                <a:cxn ang="0">
                  <a:pos x="165" y="166"/>
                </a:cxn>
                <a:cxn ang="0">
                  <a:pos x="170" y="161"/>
                </a:cxn>
                <a:cxn ang="0">
                  <a:pos x="170" y="157"/>
                </a:cxn>
                <a:cxn ang="0">
                  <a:pos x="165" y="152"/>
                </a:cxn>
                <a:cxn ang="0">
                  <a:pos x="170" y="125"/>
                </a:cxn>
                <a:cxn ang="0">
                  <a:pos x="170" y="116"/>
                </a:cxn>
                <a:cxn ang="0">
                  <a:pos x="156" y="116"/>
                </a:cxn>
                <a:cxn ang="0">
                  <a:pos x="161" y="99"/>
                </a:cxn>
                <a:cxn ang="0">
                  <a:pos x="134" y="99"/>
                </a:cxn>
                <a:cxn ang="0">
                  <a:pos x="129" y="85"/>
                </a:cxn>
                <a:cxn ang="0">
                  <a:pos x="134" y="67"/>
                </a:cxn>
                <a:cxn ang="0">
                  <a:pos x="129" y="58"/>
                </a:cxn>
                <a:cxn ang="0">
                  <a:pos x="116" y="58"/>
                </a:cxn>
                <a:cxn ang="0">
                  <a:pos x="80" y="40"/>
                </a:cxn>
                <a:cxn ang="0">
                  <a:pos x="62" y="32"/>
                </a:cxn>
                <a:cxn ang="0">
                  <a:pos x="62" y="0"/>
                </a:cxn>
                <a:cxn ang="0">
                  <a:pos x="40" y="5"/>
                </a:cxn>
                <a:cxn ang="0">
                  <a:pos x="13" y="23"/>
                </a:cxn>
                <a:cxn ang="0">
                  <a:pos x="0" y="23"/>
                </a:cxn>
                <a:cxn ang="0">
                  <a:pos x="9" y="40"/>
                </a:cxn>
                <a:cxn ang="0">
                  <a:pos x="4" y="49"/>
                </a:cxn>
                <a:cxn ang="0">
                  <a:pos x="4" y="72"/>
                </a:cxn>
                <a:cxn ang="0">
                  <a:pos x="0" y="94"/>
                </a:cxn>
                <a:cxn ang="0">
                  <a:pos x="4" y="99"/>
                </a:cxn>
                <a:cxn ang="0">
                  <a:pos x="0" y="112"/>
                </a:cxn>
                <a:cxn ang="0">
                  <a:pos x="0" y="121"/>
                </a:cxn>
              </a:cxnLst>
              <a:rect l="0" t="0" r="r" b="b"/>
              <a:pathLst>
                <a:path w="170" h="201">
                  <a:moveTo>
                    <a:pt x="0" y="121"/>
                  </a:moveTo>
                  <a:lnTo>
                    <a:pt x="4" y="130"/>
                  </a:lnTo>
                  <a:lnTo>
                    <a:pt x="9" y="143"/>
                  </a:lnTo>
                  <a:lnTo>
                    <a:pt x="9" y="161"/>
                  </a:lnTo>
                  <a:lnTo>
                    <a:pt x="22" y="197"/>
                  </a:lnTo>
                  <a:lnTo>
                    <a:pt x="31" y="201"/>
                  </a:lnTo>
                  <a:lnTo>
                    <a:pt x="45" y="188"/>
                  </a:lnTo>
                  <a:lnTo>
                    <a:pt x="67" y="192"/>
                  </a:lnTo>
                  <a:lnTo>
                    <a:pt x="76" y="201"/>
                  </a:lnTo>
                  <a:lnTo>
                    <a:pt x="80" y="188"/>
                  </a:lnTo>
                  <a:lnTo>
                    <a:pt x="94" y="188"/>
                  </a:lnTo>
                  <a:lnTo>
                    <a:pt x="98" y="192"/>
                  </a:lnTo>
                  <a:lnTo>
                    <a:pt x="103" y="179"/>
                  </a:lnTo>
                  <a:lnTo>
                    <a:pt x="103" y="166"/>
                  </a:lnTo>
                  <a:lnTo>
                    <a:pt x="112" y="157"/>
                  </a:lnTo>
                  <a:lnTo>
                    <a:pt x="147" y="148"/>
                  </a:lnTo>
                  <a:lnTo>
                    <a:pt x="161" y="152"/>
                  </a:lnTo>
                  <a:lnTo>
                    <a:pt x="165" y="166"/>
                  </a:lnTo>
                  <a:lnTo>
                    <a:pt x="170" y="161"/>
                  </a:lnTo>
                  <a:lnTo>
                    <a:pt x="170" y="157"/>
                  </a:lnTo>
                  <a:lnTo>
                    <a:pt x="165" y="152"/>
                  </a:lnTo>
                  <a:lnTo>
                    <a:pt x="170" y="125"/>
                  </a:lnTo>
                  <a:lnTo>
                    <a:pt x="170" y="116"/>
                  </a:lnTo>
                  <a:lnTo>
                    <a:pt x="156" y="116"/>
                  </a:lnTo>
                  <a:lnTo>
                    <a:pt x="161" y="99"/>
                  </a:lnTo>
                  <a:lnTo>
                    <a:pt x="134" y="99"/>
                  </a:lnTo>
                  <a:lnTo>
                    <a:pt x="129" y="85"/>
                  </a:lnTo>
                  <a:lnTo>
                    <a:pt x="134" y="67"/>
                  </a:lnTo>
                  <a:lnTo>
                    <a:pt x="129" y="58"/>
                  </a:lnTo>
                  <a:lnTo>
                    <a:pt x="116" y="58"/>
                  </a:lnTo>
                  <a:lnTo>
                    <a:pt x="80" y="40"/>
                  </a:lnTo>
                  <a:lnTo>
                    <a:pt x="62" y="32"/>
                  </a:lnTo>
                  <a:lnTo>
                    <a:pt x="62" y="0"/>
                  </a:lnTo>
                  <a:lnTo>
                    <a:pt x="40" y="5"/>
                  </a:lnTo>
                  <a:lnTo>
                    <a:pt x="13" y="23"/>
                  </a:lnTo>
                  <a:lnTo>
                    <a:pt x="0" y="23"/>
                  </a:lnTo>
                  <a:lnTo>
                    <a:pt x="9" y="40"/>
                  </a:lnTo>
                  <a:lnTo>
                    <a:pt x="4" y="49"/>
                  </a:lnTo>
                  <a:lnTo>
                    <a:pt x="4" y="72"/>
                  </a:lnTo>
                  <a:lnTo>
                    <a:pt x="0" y="94"/>
                  </a:lnTo>
                  <a:lnTo>
                    <a:pt x="4" y="99"/>
                  </a:lnTo>
                  <a:lnTo>
                    <a:pt x="0" y="112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29" name="Freeform 65">
              <a:extLst>
                <a:ext uri="{FF2B5EF4-FFF2-40B4-BE49-F238E27FC236}">
                  <a16:creationId xmlns:a16="http://schemas.microsoft.com/office/drawing/2014/main" id="{691ACB6D-BE1D-49C5-BC51-A53287D6D0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073" y="4518586"/>
              <a:ext cx="903237" cy="900736"/>
            </a:xfrm>
            <a:custGeom>
              <a:avLst/>
              <a:gdLst/>
              <a:ahLst/>
              <a:cxnLst>
                <a:cxn ang="0">
                  <a:pos x="45" y="143"/>
                </a:cxn>
                <a:cxn ang="0">
                  <a:pos x="13" y="170"/>
                </a:cxn>
                <a:cxn ang="0">
                  <a:pos x="9" y="219"/>
                </a:cxn>
                <a:cxn ang="0">
                  <a:pos x="49" y="215"/>
                </a:cxn>
                <a:cxn ang="0">
                  <a:pos x="80" y="242"/>
                </a:cxn>
                <a:cxn ang="0">
                  <a:pos x="129" y="251"/>
                </a:cxn>
                <a:cxn ang="0">
                  <a:pos x="196" y="277"/>
                </a:cxn>
                <a:cxn ang="0">
                  <a:pos x="201" y="318"/>
                </a:cxn>
                <a:cxn ang="0">
                  <a:pos x="237" y="335"/>
                </a:cxn>
                <a:cxn ang="0">
                  <a:pos x="237" y="376"/>
                </a:cxn>
                <a:cxn ang="0">
                  <a:pos x="232" y="411"/>
                </a:cxn>
                <a:cxn ang="0">
                  <a:pos x="268" y="416"/>
                </a:cxn>
                <a:cxn ang="0">
                  <a:pos x="286" y="443"/>
                </a:cxn>
                <a:cxn ang="0">
                  <a:pos x="295" y="465"/>
                </a:cxn>
                <a:cxn ang="0">
                  <a:pos x="241" y="537"/>
                </a:cxn>
                <a:cxn ang="0">
                  <a:pos x="259" y="554"/>
                </a:cxn>
                <a:cxn ang="0">
                  <a:pos x="290" y="568"/>
                </a:cxn>
                <a:cxn ang="0">
                  <a:pos x="295" y="608"/>
                </a:cxn>
                <a:cxn ang="0">
                  <a:pos x="362" y="514"/>
                </a:cxn>
                <a:cxn ang="0">
                  <a:pos x="366" y="461"/>
                </a:cxn>
                <a:cxn ang="0">
                  <a:pos x="415" y="443"/>
                </a:cxn>
                <a:cxn ang="0">
                  <a:pos x="464" y="420"/>
                </a:cxn>
                <a:cxn ang="0">
                  <a:pos x="496" y="367"/>
                </a:cxn>
                <a:cxn ang="0">
                  <a:pos x="505" y="277"/>
                </a:cxn>
                <a:cxn ang="0">
                  <a:pos x="531" y="237"/>
                </a:cxn>
                <a:cxn ang="0">
                  <a:pos x="567" y="184"/>
                </a:cxn>
                <a:cxn ang="0">
                  <a:pos x="527" y="143"/>
                </a:cxn>
                <a:cxn ang="0">
                  <a:pos x="487" y="116"/>
                </a:cxn>
                <a:cxn ang="0">
                  <a:pos x="424" y="116"/>
                </a:cxn>
                <a:cxn ang="0">
                  <a:pos x="411" y="103"/>
                </a:cxn>
                <a:cxn ang="0">
                  <a:pos x="357" y="103"/>
                </a:cxn>
                <a:cxn ang="0">
                  <a:pos x="357" y="94"/>
                </a:cxn>
                <a:cxn ang="0">
                  <a:pos x="335" y="76"/>
                </a:cxn>
                <a:cxn ang="0">
                  <a:pos x="348" y="49"/>
                </a:cxn>
                <a:cxn ang="0">
                  <a:pos x="321" y="14"/>
                </a:cxn>
                <a:cxn ang="0">
                  <a:pos x="299" y="49"/>
                </a:cxn>
                <a:cxn ang="0">
                  <a:pos x="259" y="41"/>
                </a:cxn>
                <a:cxn ang="0">
                  <a:pos x="228" y="54"/>
                </a:cxn>
                <a:cxn ang="0">
                  <a:pos x="201" y="45"/>
                </a:cxn>
                <a:cxn ang="0">
                  <a:pos x="201" y="14"/>
                </a:cxn>
                <a:cxn ang="0">
                  <a:pos x="192" y="14"/>
                </a:cxn>
                <a:cxn ang="0">
                  <a:pos x="134" y="9"/>
                </a:cxn>
                <a:cxn ang="0">
                  <a:pos x="138" y="41"/>
                </a:cxn>
                <a:cxn ang="0">
                  <a:pos x="134" y="54"/>
                </a:cxn>
                <a:cxn ang="0">
                  <a:pos x="94" y="58"/>
                </a:cxn>
                <a:cxn ang="0">
                  <a:pos x="62" y="54"/>
                </a:cxn>
                <a:cxn ang="0">
                  <a:pos x="67" y="76"/>
                </a:cxn>
                <a:cxn ang="0">
                  <a:pos x="67" y="85"/>
                </a:cxn>
              </a:cxnLst>
              <a:rect l="0" t="0" r="r" b="b"/>
              <a:pathLst>
                <a:path w="567" h="608">
                  <a:moveTo>
                    <a:pt x="53" y="139"/>
                  </a:moveTo>
                  <a:lnTo>
                    <a:pt x="58" y="143"/>
                  </a:lnTo>
                  <a:lnTo>
                    <a:pt x="45" y="143"/>
                  </a:lnTo>
                  <a:lnTo>
                    <a:pt x="27" y="148"/>
                  </a:lnTo>
                  <a:lnTo>
                    <a:pt x="18" y="157"/>
                  </a:lnTo>
                  <a:lnTo>
                    <a:pt x="13" y="170"/>
                  </a:lnTo>
                  <a:lnTo>
                    <a:pt x="0" y="188"/>
                  </a:lnTo>
                  <a:lnTo>
                    <a:pt x="9" y="206"/>
                  </a:lnTo>
                  <a:lnTo>
                    <a:pt x="9" y="219"/>
                  </a:lnTo>
                  <a:lnTo>
                    <a:pt x="22" y="219"/>
                  </a:lnTo>
                  <a:lnTo>
                    <a:pt x="27" y="228"/>
                  </a:lnTo>
                  <a:lnTo>
                    <a:pt x="49" y="215"/>
                  </a:lnTo>
                  <a:lnTo>
                    <a:pt x="49" y="242"/>
                  </a:lnTo>
                  <a:lnTo>
                    <a:pt x="67" y="242"/>
                  </a:lnTo>
                  <a:lnTo>
                    <a:pt x="80" y="242"/>
                  </a:lnTo>
                  <a:lnTo>
                    <a:pt x="107" y="224"/>
                  </a:lnTo>
                  <a:lnTo>
                    <a:pt x="129" y="219"/>
                  </a:lnTo>
                  <a:lnTo>
                    <a:pt x="129" y="251"/>
                  </a:lnTo>
                  <a:lnTo>
                    <a:pt x="147" y="259"/>
                  </a:lnTo>
                  <a:lnTo>
                    <a:pt x="183" y="277"/>
                  </a:lnTo>
                  <a:lnTo>
                    <a:pt x="196" y="277"/>
                  </a:lnTo>
                  <a:lnTo>
                    <a:pt x="201" y="286"/>
                  </a:lnTo>
                  <a:lnTo>
                    <a:pt x="196" y="304"/>
                  </a:lnTo>
                  <a:lnTo>
                    <a:pt x="201" y="318"/>
                  </a:lnTo>
                  <a:lnTo>
                    <a:pt x="228" y="318"/>
                  </a:lnTo>
                  <a:lnTo>
                    <a:pt x="223" y="335"/>
                  </a:lnTo>
                  <a:lnTo>
                    <a:pt x="237" y="335"/>
                  </a:lnTo>
                  <a:lnTo>
                    <a:pt x="237" y="344"/>
                  </a:lnTo>
                  <a:lnTo>
                    <a:pt x="232" y="371"/>
                  </a:lnTo>
                  <a:lnTo>
                    <a:pt x="237" y="376"/>
                  </a:lnTo>
                  <a:lnTo>
                    <a:pt x="237" y="380"/>
                  </a:lnTo>
                  <a:lnTo>
                    <a:pt x="237" y="394"/>
                  </a:lnTo>
                  <a:lnTo>
                    <a:pt x="232" y="411"/>
                  </a:lnTo>
                  <a:lnTo>
                    <a:pt x="246" y="411"/>
                  </a:lnTo>
                  <a:lnTo>
                    <a:pt x="259" y="407"/>
                  </a:lnTo>
                  <a:lnTo>
                    <a:pt x="268" y="416"/>
                  </a:lnTo>
                  <a:lnTo>
                    <a:pt x="268" y="443"/>
                  </a:lnTo>
                  <a:lnTo>
                    <a:pt x="281" y="438"/>
                  </a:lnTo>
                  <a:lnTo>
                    <a:pt x="286" y="443"/>
                  </a:lnTo>
                  <a:lnTo>
                    <a:pt x="281" y="461"/>
                  </a:lnTo>
                  <a:lnTo>
                    <a:pt x="286" y="465"/>
                  </a:lnTo>
                  <a:lnTo>
                    <a:pt x="295" y="465"/>
                  </a:lnTo>
                  <a:lnTo>
                    <a:pt x="295" y="487"/>
                  </a:lnTo>
                  <a:lnTo>
                    <a:pt x="277" y="501"/>
                  </a:lnTo>
                  <a:lnTo>
                    <a:pt x="241" y="537"/>
                  </a:lnTo>
                  <a:lnTo>
                    <a:pt x="241" y="541"/>
                  </a:lnTo>
                  <a:lnTo>
                    <a:pt x="250" y="541"/>
                  </a:lnTo>
                  <a:lnTo>
                    <a:pt x="259" y="554"/>
                  </a:lnTo>
                  <a:lnTo>
                    <a:pt x="268" y="550"/>
                  </a:lnTo>
                  <a:lnTo>
                    <a:pt x="277" y="563"/>
                  </a:lnTo>
                  <a:lnTo>
                    <a:pt x="290" y="568"/>
                  </a:lnTo>
                  <a:lnTo>
                    <a:pt x="299" y="586"/>
                  </a:lnTo>
                  <a:lnTo>
                    <a:pt x="295" y="595"/>
                  </a:lnTo>
                  <a:lnTo>
                    <a:pt x="295" y="608"/>
                  </a:lnTo>
                  <a:lnTo>
                    <a:pt x="308" y="599"/>
                  </a:lnTo>
                  <a:lnTo>
                    <a:pt x="317" y="577"/>
                  </a:lnTo>
                  <a:lnTo>
                    <a:pt x="362" y="514"/>
                  </a:lnTo>
                  <a:lnTo>
                    <a:pt x="366" y="501"/>
                  </a:lnTo>
                  <a:lnTo>
                    <a:pt x="371" y="465"/>
                  </a:lnTo>
                  <a:lnTo>
                    <a:pt x="366" y="461"/>
                  </a:lnTo>
                  <a:lnTo>
                    <a:pt x="375" y="461"/>
                  </a:lnTo>
                  <a:lnTo>
                    <a:pt x="397" y="443"/>
                  </a:lnTo>
                  <a:lnTo>
                    <a:pt x="415" y="443"/>
                  </a:lnTo>
                  <a:lnTo>
                    <a:pt x="415" y="434"/>
                  </a:lnTo>
                  <a:lnTo>
                    <a:pt x="447" y="425"/>
                  </a:lnTo>
                  <a:lnTo>
                    <a:pt x="464" y="420"/>
                  </a:lnTo>
                  <a:lnTo>
                    <a:pt x="464" y="416"/>
                  </a:lnTo>
                  <a:lnTo>
                    <a:pt x="473" y="411"/>
                  </a:lnTo>
                  <a:lnTo>
                    <a:pt x="496" y="367"/>
                  </a:lnTo>
                  <a:lnTo>
                    <a:pt x="496" y="349"/>
                  </a:lnTo>
                  <a:lnTo>
                    <a:pt x="505" y="340"/>
                  </a:lnTo>
                  <a:lnTo>
                    <a:pt x="505" y="277"/>
                  </a:lnTo>
                  <a:lnTo>
                    <a:pt x="509" y="264"/>
                  </a:lnTo>
                  <a:lnTo>
                    <a:pt x="514" y="268"/>
                  </a:lnTo>
                  <a:lnTo>
                    <a:pt x="531" y="237"/>
                  </a:lnTo>
                  <a:lnTo>
                    <a:pt x="540" y="237"/>
                  </a:lnTo>
                  <a:lnTo>
                    <a:pt x="567" y="197"/>
                  </a:lnTo>
                  <a:lnTo>
                    <a:pt x="567" y="184"/>
                  </a:lnTo>
                  <a:lnTo>
                    <a:pt x="558" y="152"/>
                  </a:lnTo>
                  <a:lnTo>
                    <a:pt x="536" y="152"/>
                  </a:lnTo>
                  <a:lnTo>
                    <a:pt x="527" y="143"/>
                  </a:lnTo>
                  <a:lnTo>
                    <a:pt x="523" y="143"/>
                  </a:lnTo>
                  <a:lnTo>
                    <a:pt x="500" y="121"/>
                  </a:lnTo>
                  <a:lnTo>
                    <a:pt x="487" y="116"/>
                  </a:lnTo>
                  <a:lnTo>
                    <a:pt x="460" y="116"/>
                  </a:lnTo>
                  <a:lnTo>
                    <a:pt x="438" y="112"/>
                  </a:lnTo>
                  <a:lnTo>
                    <a:pt x="424" y="116"/>
                  </a:lnTo>
                  <a:lnTo>
                    <a:pt x="424" y="103"/>
                  </a:lnTo>
                  <a:lnTo>
                    <a:pt x="420" y="94"/>
                  </a:lnTo>
                  <a:lnTo>
                    <a:pt x="411" y="103"/>
                  </a:lnTo>
                  <a:lnTo>
                    <a:pt x="406" y="94"/>
                  </a:lnTo>
                  <a:lnTo>
                    <a:pt x="375" y="90"/>
                  </a:lnTo>
                  <a:lnTo>
                    <a:pt x="357" y="103"/>
                  </a:lnTo>
                  <a:lnTo>
                    <a:pt x="348" y="116"/>
                  </a:lnTo>
                  <a:lnTo>
                    <a:pt x="353" y="99"/>
                  </a:lnTo>
                  <a:lnTo>
                    <a:pt x="357" y="94"/>
                  </a:lnTo>
                  <a:lnTo>
                    <a:pt x="366" y="85"/>
                  </a:lnTo>
                  <a:lnTo>
                    <a:pt x="339" y="81"/>
                  </a:lnTo>
                  <a:lnTo>
                    <a:pt x="335" y="76"/>
                  </a:lnTo>
                  <a:lnTo>
                    <a:pt x="353" y="76"/>
                  </a:lnTo>
                  <a:lnTo>
                    <a:pt x="344" y="72"/>
                  </a:lnTo>
                  <a:lnTo>
                    <a:pt x="348" y="49"/>
                  </a:lnTo>
                  <a:lnTo>
                    <a:pt x="335" y="45"/>
                  </a:lnTo>
                  <a:lnTo>
                    <a:pt x="330" y="18"/>
                  </a:lnTo>
                  <a:lnTo>
                    <a:pt x="321" y="14"/>
                  </a:lnTo>
                  <a:lnTo>
                    <a:pt x="321" y="23"/>
                  </a:lnTo>
                  <a:lnTo>
                    <a:pt x="313" y="41"/>
                  </a:lnTo>
                  <a:lnTo>
                    <a:pt x="299" y="49"/>
                  </a:lnTo>
                  <a:lnTo>
                    <a:pt x="286" y="49"/>
                  </a:lnTo>
                  <a:lnTo>
                    <a:pt x="277" y="41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4" y="49"/>
                  </a:lnTo>
                  <a:lnTo>
                    <a:pt x="228" y="54"/>
                  </a:lnTo>
                  <a:lnTo>
                    <a:pt x="219" y="63"/>
                  </a:lnTo>
                  <a:lnTo>
                    <a:pt x="210" y="58"/>
                  </a:lnTo>
                  <a:lnTo>
                    <a:pt x="201" y="45"/>
                  </a:lnTo>
                  <a:lnTo>
                    <a:pt x="201" y="23"/>
                  </a:lnTo>
                  <a:lnTo>
                    <a:pt x="210" y="14"/>
                  </a:lnTo>
                  <a:lnTo>
                    <a:pt x="201" y="14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92" y="14"/>
                  </a:lnTo>
                  <a:lnTo>
                    <a:pt x="161" y="18"/>
                  </a:lnTo>
                  <a:lnTo>
                    <a:pt x="147" y="18"/>
                  </a:lnTo>
                  <a:lnTo>
                    <a:pt x="134" y="9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8" y="41"/>
                  </a:lnTo>
                  <a:lnTo>
                    <a:pt x="152" y="45"/>
                  </a:lnTo>
                  <a:lnTo>
                    <a:pt x="143" y="45"/>
                  </a:lnTo>
                  <a:lnTo>
                    <a:pt x="134" y="54"/>
                  </a:lnTo>
                  <a:lnTo>
                    <a:pt x="112" y="63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94" y="45"/>
                  </a:lnTo>
                  <a:lnTo>
                    <a:pt x="80" y="54"/>
                  </a:lnTo>
                  <a:lnTo>
                    <a:pt x="62" y="54"/>
                  </a:lnTo>
                  <a:lnTo>
                    <a:pt x="58" y="67"/>
                  </a:lnTo>
                  <a:lnTo>
                    <a:pt x="71" y="67"/>
                  </a:lnTo>
                  <a:lnTo>
                    <a:pt x="67" y="76"/>
                  </a:lnTo>
                  <a:lnTo>
                    <a:pt x="53" y="76"/>
                  </a:lnTo>
                  <a:lnTo>
                    <a:pt x="58" y="85"/>
                  </a:lnTo>
                  <a:lnTo>
                    <a:pt x="67" y="85"/>
                  </a:lnTo>
                  <a:lnTo>
                    <a:pt x="71" y="94"/>
                  </a:lnTo>
                  <a:lnTo>
                    <a:pt x="53" y="13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0" name="Freeform 66">
              <a:extLst>
                <a:ext uri="{FF2B5EF4-FFF2-40B4-BE49-F238E27FC236}">
                  <a16:creationId xmlns:a16="http://schemas.microsoft.com/office/drawing/2014/main" id="{4768EEE9-8E54-4437-B3E0-934A7C0D884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5832" y="4228217"/>
              <a:ext cx="35046" cy="59259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0" y="2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3" y="35"/>
                </a:cxn>
                <a:cxn ang="0">
                  <a:pos x="17" y="31"/>
                </a:cxn>
                <a:cxn ang="0">
                  <a:pos x="22" y="26"/>
                </a:cxn>
                <a:cxn ang="0">
                  <a:pos x="17" y="4"/>
                </a:cxn>
                <a:cxn ang="0">
                  <a:pos x="13" y="0"/>
                </a:cxn>
                <a:cxn ang="0">
                  <a:pos x="4" y="9"/>
                </a:cxn>
              </a:cxnLst>
              <a:rect l="0" t="0" r="r" b="b"/>
              <a:pathLst>
                <a:path w="22" h="40">
                  <a:moveTo>
                    <a:pt x="4" y="9"/>
                  </a:moveTo>
                  <a:lnTo>
                    <a:pt x="0" y="26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13" y="35"/>
                  </a:lnTo>
                  <a:lnTo>
                    <a:pt x="17" y="31"/>
                  </a:lnTo>
                  <a:lnTo>
                    <a:pt x="22" y="26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1" name="Freeform 67">
              <a:extLst>
                <a:ext uri="{FF2B5EF4-FFF2-40B4-BE49-F238E27FC236}">
                  <a16:creationId xmlns:a16="http://schemas.microsoft.com/office/drawing/2014/main" id="{A0A3FF83-1C91-482E-BF56-895EBE7260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23818" y="1844526"/>
              <a:ext cx="2027902" cy="1780731"/>
            </a:xfrm>
            <a:custGeom>
              <a:avLst/>
              <a:gdLst/>
              <a:ahLst/>
              <a:cxnLst>
                <a:cxn ang="0">
                  <a:pos x="161" y="894"/>
                </a:cxn>
                <a:cxn ang="0">
                  <a:pos x="188" y="1001"/>
                </a:cxn>
                <a:cxn ang="0">
                  <a:pos x="733" y="1081"/>
                </a:cxn>
                <a:cxn ang="0">
                  <a:pos x="858" y="1162"/>
                </a:cxn>
                <a:cxn ang="0">
                  <a:pos x="1014" y="1099"/>
                </a:cxn>
                <a:cxn ang="0">
                  <a:pos x="1197" y="934"/>
                </a:cxn>
                <a:cxn ang="0">
                  <a:pos x="1121" y="818"/>
                </a:cxn>
                <a:cxn ang="0">
                  <a:pos x="956" y="710"/>
                </a:cxn>
                <a:cxn ang="0">
                  <a:pos x="902" y="979"/>
                </a:cxn>
                <a:cxn ang="0">
                  <a:pos x="692" y="813"/>
                </a:cxn>
                <a:cxn ang="0">
                  <a:pos x="755" y="612"/>
                </a:cxn>
                <a:cxn ang="0">
                  <a:pos x="817" y="581"/>
                </a:cxn>
                <a:cxn ang="0">
                  <a:pos x="817" y="438"/>
                </a:cxn>
                <a:cxn ang="0">
                  <a:pos x="728" y="456"/>
                </a:cxn>
                <a:cxn ang="0">
                  <a:pos x="643" y="407"/>
                </a:cxn>
                <a:cxn ang="0">
                  <a:pos x="616" y="500"/>
                </a:cxn>
                <a:cxn ang="0">
                  <a:pos x="478" y="541"/>
                </a:cxn>
                <a:cxn ang="0">
                  <a:pos x="237" y="424"/>
                </a:cxn>
                <a:cxn ang="0">
                  <a:pos x="121" y="938"/>
                </a:cxn>
                <a:cxn ang="0">
                  <a:pos x="232" y="1041"/>
                </a:cxn>
                <a:cxn ang="0">
                  <a:pos x="304" y="348"/>
                </a:cxn>
                <a:cxn ang="0">
                  <a:pos x="295" y="112"/>
                </a:cxn>
                <a:cxn ang="0">
                  <a:pos x="317" y="18"/>
                </a:cxn>
                <a:cxn ang="0">
                  <a:pos x="420" y="411"/>
                </a:cxn>
                <a:cxn ang="0">
                  <a:pos x="554" y="478"/>
                </a:cxn>
                <a:cxn ang="0">
                  <a:pos x="487" y="344"/>
                </a:cxn>
                <a:cxn ang="0">
                  <a:pos x="380" y="259"/>
                </a:cxn>
                <a:cxn ang="0">
                  <a:pos x="344" y="594"/>
                </a:cxn>
                <a:cxn ang="0">
                  <a:pos x="241" y="585"/>
                </a:cxn>
                <a:cxn ang="0">
                  <a:pos x="451" y="702"/>
                </a:cxn>
                <a:cxn ang="0">
                  <a:pos x="362" y="89"/>
                </a:cxn>
                <a:cxn ang="0">
                  <a:pos x="407" y="156"/>
                </a:cxn>
                <a:cxn ang="0">
                  <a:pos x="509" y="165"/>
                </a:cxn>
                <a:cxn ang="0">
                  <a:pos x="456" y="152"/>
                </a:cxn>
                <a:cxn ang="0">
                  <a:pos x="616" y="179"/>
                </a:cxn>
                <a:cxn ang="0">
                  <a:pos x="563" y="89"/>
                </a:cxn>
                <a:cxn ang="0">
                  <a:pos x="572" y="259"/>
                </a:cxn>
                <a:cxn ang="0">
                  <a:pos x="634" y="264"/>
                </a:cxn>
                <a:cxn ang="0">
                  <a:pos x="688" y="295"/>
                </a:cxn>
                <a:cxn ang="0">
                  <a:pos x="679" y="62"/>
                </a:cxn>
                <a:cxn ang="0">
                  <a:pos x="809" y="205"/>
                </a:cxn>
                <a:cxn ang="0">
                  <a:pos x="773" y="143"/>
                </a:cxn>
                <a:cxn ang="0">
                  <a:pos x="804" y="688"/>
                </a:cxn>
                <a:cxn ang="0">
                  <a:pos x="791" y="657"/>
                </a:cxn>
                <a:cxn ang="0">
                  <a:pos x="759" y="89"/>
                </a:cxn>
                <a:cxn ang="0">
                  <a:pos x="849" y="40"/>
                </a:cxn>
                <a:cxn ang="0">
                  <a:pos x="844" y="688"/>
                </a:cxn>
                <a:cxn ang="0">
                  <a:pos x="929" y="438"/>
                </a:cxn>
                <a:cxn ang="0">
                  <a:pos x="978" y="563"/>
                </a:cxn>
                <a:cxn ang="0">
                  <a:pos x="1005" y="693"/>
                </a:cxn>
                <a:cxn ang="0">
                  <a:pos x="1117" y="626"/>
                </a:cxn>
                <a:cxn ang="0">
                  <a:pos x="1041" y="420"/>
                </a:cxn>
                <a:cxn ang="0">
                  <a:pos x="951" y="308"/>
                </a:cxn>
                <a:cxn ang="0">
                  <a:pos x="804" y="273"/>
                </a:cxn>
                <a:cxn ang="0">
                  <a:pos x="737" y="366"/>
                </a:cxn>
                <a:cxn ang="0">
                  <a:pos x="889" y="706"/>
                </a:cxn>
                <a:cxn ang="0">
                  <a:pos x="1054" y="1135"/>
                </a:cxn>
                <a:cxn ang="0">
                  <a:pos x="1161" y="1122"/>
                </a:cxn>
                <a:cxn ang="0">
                  <a:pos x="1085" y="1050"/>
                </a:cxn>
                <a:cxn ang="0">
                  <a:pos x="1108" y="1041"/>
                </a:cxn>
                <a:cxn ang="0">
                  <a:pos x="1224" y="1086"/>
                </a:cxn>
                <a:cxn ang="0">
                  <a:pos x="1260" y="1077"/>
                </a:cxn>
              </a:cxnLst>
              <a:rect l="0" t="0" r="r" b="b"/>
              <a:pathLst>
                <a:path w="1273" h="1202">
                  <a:moveTo>
                    <a:pt x="0" y="442"/>
                  </a:moveTo>
                  <a:lnTo>
                    <a:pt x="0" y="777"/>
                  </a:lnTo>
                  <a:lnTo>
                    <a:pt x="4" y="782"/>
                  </a:lnTo>
                  <a:lnTo>
                    <a:pt x="13" y="782"/>
                  </a:lnTo>
                  <a:lnTo>
                    <a:pt x="22" y="773"/>
                  </a:lnTo>
                  <a:lnTo>
                    <a:pt x="27" y="777"/>
                  </a:lnTo>
                  <a:lnTo>
                    <a:pt x="31" y="782"/>
                  </a:lnTo>
                  <a:lnTo>
                    <a:pt x="45" y="800"/>
                  </a:lnTo>
                  <a:lnTo>
                    <a:pt x="49" y="809"/>
                  </a:lnTo>
                  <a:lnTo>
                    <a:pt x="63" y="804"/>
                  </a:lnTo>
                  <a:lnTo>
                    <a:pt x="71" y="791"/>
                  </a:lnTo>
                  <a:lnTo>
                    <a:pt x="85" y="791"/>
                  </a:lnTo>
                  <a:lnTo>
                    <a:pt x="103" y="804"/>
                  </a:lnTo>
                  <a:lnTo>
                    <a:pt x="121" y="840"/>
                  </a:lnTo>
                  <a:lnTo>
                    <a:pt x="134" y="867"/>
                  </a:lnTo>
                  <a:lnTo>
                    <a:pt x="152" y="885"/>
                  </a:lnTo>
                  <a:lnTo>
                    <a:pt x="161" y="885"/>
                  </a:lnTo>
                  <a:lnTo>
                    <a:pt x="161" y="894"/>
                  </a:lnTo>
                  <a:lnTo>
                    <a:pt x="165" y="903"/>
                  </a:lnTo>
                  <a:lnTo>
                    <a:pt x="161" y="920"/>
                  </a:lnTo>
                  <a:lnTo>
                    <a:pt x="156" y="929"/>
                  </a:lnTo>
                  <a:lnTo>
                    <a:pt x="156" y="938"/>
                  </a:lnTo>
                  <a:lnTo>
                    <a:pt x="152" y="938"/>
                  </a:lnTo>
                  <a:lnTo>
                    <a:pt x="152" y="943"/>
                  </a:lnTo>
                  <a:lnTo>
                    <a:pt x="161" y="943"/>
                  </a:lnTo>
                  <a:lnTo>
                    <a:pt x="156" y="956"/>
                  </a:lnTo>
                  <a:lnTo>
                    <a:pt x="165" y="965"/>
                  </a:lnTo>
                  <a:lnTo>
                    <a:pt x="174" y="956"/>
                  </a:lnTo>
                  <a:lnTo>
                    <a:pt x="179" y="956"/>
                  </a:lnTo>
                  <a:lnTo>
                    <a:pt x="170" y="965"/>
                  </a:lnTo>
                  <a:lnTo>
                    <a:pt x="179" y="979"/>
                  </a:lnTo>
                  <a:lnTo>
                    <a:pt x="183" y="979"/>
                  </a:lnTo>
                  <a:lnTo>
                    <a:pt x="183" y="970"/>
                  </a:lnTo>
                  <a:lnTo>
                    <a:pt x="188" y="970"/>
                  </a:lnTo>
                  <a:lnTo>
                    <a:pt x="188" y="983"/>
                  </a:lnTo>
                  <a:lnTo>
                    <a:pt x="188" y="1001"/>
                  </a:lnTo>
                  <a:lnTo>
                    <a:pt x="197" y="1001"/>
                  </a:lnTo>
                  <a:lnTo>
                    <a:pt x="197" y="1005"/>
                  </a:lnTo>
                  <a:lnTo>
                    <a:pt x="206" y="1014"/>
                  </a:lnTo>
                  <a:lnTo>
                    <a:pt x="219" y="1023"/>
                  </a:lnTo>
                  <a:lnTo>
                    <a:pt x="237" y="1028"/>
                  </a:lnTo>
                  <a:lnTo>
                    <a:pt x="237" y="1037"/>
                  </a:lnTo>
                  <a:lnTo>
                    <a:pt x="246" y="1046"/>
                  </a:lnTo>
                  <a:lnTo>
                    <a:pt x="264" y="1055"/>
                  </a:lnTo>
                  <a:lnTo>
                    <a:pt x="268" y="1059"/>
                  </a:lnTo>
                  <a:lnTo>
                    <a:pt x="268" y="1063"/>
                  </a:lnTo>
                  <a:lnTo>
                    <a:pt x="657" y="1063"/>
                  </a:lnTo>
                  <a:lnTo>
                    <a:pt x="666" y="1059"/>
                  </a:lnTo>
                  <a:lnTo>
                    <a:pt x="670" y="1068"/>
                  </a:lnTo>
                  <a:lnTo>
                    <a:pt x="692" y="1068"/>
                  </a:lnTo>
                  <a:lnTo>
                    <a:pt x="701" y="1072"/>
                  </a:lnTo>
                  <a:lnTo>
                    <a:pt x="710" y="1081"/>
                  </a:lnTo>
                  <a:lnTo>
                    <a:pt x="724" y="1077"/>
                  </a:lnTo>
                  <a:lnTo>
                    <a:pt x="733" y="1081"/>
                  </a:lnTo>
                  <a:lnTo>
                    <a:pt x="750" y="1072"/>
                  </a:lnTo>
                  <a:lnTo>
                    <a:pt x="759" y="1068"/>
                  </a:lnTo>
                  <a:lnTo>
                    <a:pt x="764" y="1059"/>
                  </a:lnTo>
                  <a:lnTo>
                    <a:pt x="786" y="1063"/>
                  </a:lnTo>
                  <a:lnTo>
                    <a:pt x="795" y="1081"/>
                  </a:lnTo>
                  <a:lnTo>
                    <a:pt x="809" y="1081"/>
                  </a:lnTo>
                  <a:lnTo>
                    <a:pt x="809" y="1099"/>
                  </a:lnTo>
                  <a:lnTo>
                    <a:pt x="817" y="1113"/>
                  </a:lnTo>
                  <a:lnTo>
                    <a:pt x="826" y="1117"/>
                  </a:lnTo>
                  <a:lnTo>
                    <a:pt x="867" y="1122"/>
                  </a:lnTo>
                  <a:lnTo>
                    <a:pt x="889" y="1148"/>
                  </a:lnTo>
                  <a:lnTo>
                    <a:pt x="876" y="1144"/>
                  </a:lnTo>
                  <a:lnTo>
                    <a:pt x="880" y="1153"/>
                  </a:lnTo>
                  <a:lnTo>
                    <a:pt x="867" y="1148"/>
                  </a:lnTo>
                  <a:lnTo>
                    <a:pt x="858" y="1135"/>
                  </a:lnTo>
                  <a:lnTo>
                    <a:pt x="853" y="1135"/>
                  </a:lnTo>
                  <a:lnTo>
                    <a:pt x="862" y="1148"/>
                  </a:lnTo>
                  <a:lnTo>
                    <a:pt x="858" y="1162"/>
                  </a:lnTo>
                  <a:lnTo>
                    <a:pt x="858" y="1171"/>
                  </a:lnTo>
                  <a:lnTo>
                    <a:pt x="844" y="1189"/>
                  </a:lnTo>
                  <a:lnTo>
                    <a:pt x="844" y="1193"/>
                  </a:lnTo>
                  <a:lnTo>
                    <a:pt x="840" y="1198"/>
                  </a:lnTo>
                  <a:lnTo>
                    <a:pt x="844" y="1202"/>
                  </a:lnTo>
                  <a:lnTo>
                    <a:pt x="862" y="1189"/>
                  </a:lnTo>
                  <a:lnTo>
                    <a:pt x="876" y="1193"/>
                  </a:lnTo>
                  <a:lnTo>
                    <a:pt x="876" y="1189"/>
                  </a:lnTo>
                  <a:lnTo>
                    <a:pt x="893" y="1184"/>
                  </a:lnTo>
                  <a:lnTo>
                    <a:pt x="893" y="1180"/>
                  </a:lnTo>
                  <a:lnTo>
                    <a:pt x="880" y="1175"/>
                  </a:lnTo>
                  <a:lnTo>
                    <a:pt x="889" y="1171"/>
                  </a:lnTo>
                  <a:lnTo>
                    <a:pt x="911" y="1162"/>
                  </a:lnTo>
                  <a:lnTo>
                    <a:pt x="925" y="1166"/>
                  </a:lnTo>
                  <a:lnTo>
                    <a:pt x="929" y="1157"/>
                  </a:lnTo>
                  <a:lnTo>
                    <a:pt x="934" y="1157"/>
                  </a:lnTo>
                  <a:lnTo>
                    <a:pt x="992" y="1108"/>
                  </a:lnTo>
                  <a:lnTo>
                    <a:pt x="1014" y="1099"/>
                  </a:lnTo>
                  <a:lnTo>
                    <a:pt x="1032" y="1072"/>
                  </a:lnTo>
                  <a:lnTo>
                    <a:pt x="1041" y="1059"/>
                  </a:lnTo>
                  <a:lnTo>
                    <a:pt x="1063" y="1050"/>
                  </a:lnTo>
                  <a:lnTo>
                    <a:pt x="1072" y="1032"/>
                  </a:lnTo>
                  <a:lnTo>
                    <a:pt x="1170" y="1032"/>
                  </a:lnTo>
                  <a:lnTo>
                    <a:pt x="1193" y="1001"/>
                  </a:lnTo>
                  <a:lnTo>
                    <a:pt x="1215" y="996"/>
                  </a:lnTo>
                  <a:lnTo>
                    <a:pt x="1228" y="983"/>
                  </a:lnTo>
                  <a:lnTo>
                    <a:pt x="1228" y="974"/>
                  </a:lnTo>
                  <a:lnTo>
                    <a:pt x="1224" y="974"/>
                  </a:lnTo>
                  <a:lnTo>
                    <a:pt x="1228" y="965"/>
                  </a:lnTo>
                  <a:lnTo>
                    <a:pt x="1228" y="956"/>
                  </a:lnTo>
                  <a:lnTo>
                    <a:pt x="1219" y="943"/>
                  </a:lnTo>
                  <a:lnTo>
                    <a:pt x="1211" y="947"/>
                  </a:lnTo>
                  <a:lnTo>
                    <a:pt x="1202" y="952"/>
                  </a:lnTo>
                  <a:lnTo>
                    <a:pt x="1206" y="938"/>
                  </a:lnTo>
                  <a:lnTo>
                    <a:pt x="1206" y="934"/>
                  </a:lnTo>
                  <a:lnTo>
                    <a:pt x="1197" y="934"/>
                  </a:lnTo>
                  <a:lnTo>
                    <a:pt x="1170" y="956"/>
                  </a:lnTo>
                  <a:lnTo>
                    <a:pt x="1170" y="943"/>
                  </a:lnTo>
                  <a:lnTo>
                    <a:pt x="1184" y="938"/>
                  </a:lnTo>
                  <a:lnTo>
                    <a:pt x="1193" y="929"/>
                  </a:lnTo>
                  <a:lnTo>
                    <a:pt x="1197" y="925"/>
                  </a:lnTo>
                  <a:lnTo>
                    <a:pt x="1197" y="916"/>
                  </a:lnTo>
                  <a:lnTo>
                    <a:pt x="1184" y="925"/>
                  </a:lnTo>
                  <a:lnTo>
                    <a:pt x="1184" y="912"/>
                  </a:lnTo>
                  <a:lnTo>
                    <a:pt x="1161" y="912"/>
                  </a:lnTo>
                  <a:lnTo>
                    <a:pt x="1161" y="894"/>
                  </a:lnTo>
                  <a:lnTo>
                    <a:pt x="1139" y="885"/>
                  </a:lnTo>
                  <a:lnTo>
                    <a:pt x="1135" y="871"/>
                  </a:lnTo>
                  <a:lnTo>
                    <a:pt x="1148" y="871"/>
                  </a:lnTo>
                  <a:lnTo>
                    <a:pt x="1135" y="840"/>
                  </a:lnTo>
                  <a:lnTo>
                    <a:pt x="1126" y="836"/>
                  </a:lnTo>
                  <a:lnTo>
                    <a:pt x="1130" y="827"/>
                  </a:lnTo>
                  <a:lnTo>
                    <a:pt x="1117" y="822"/>
                  </a:lnTo>
                  <a:lnTo>
                    <a:pt x="1121" y="818"/>
                  </a:lnTo>
                  <a:lnTo>
                    <a:pt x="1094" y="769"/>
                  </a:lnTo>
                  <a:lnTo>
                    <a:pt x="1090" y="791"/>
                  </a:lnTo>
                  <a:lnTo>
                    <a:pt x="1081" y="809"/>
                  </a:lnTo>
                  <a:lnTo>
                    <a:pt x="1077" y="809"/>
                  </a:lnTo>
                  <a:lnTo>
                    <a:pt x="1059" y="831"/>
                  </a:lnTo>
                  <a:lnTo>
                    <a:pt x="1045" y="809"/>
                  </a:lnTo>
                  <a:lnTo>
                    <a:pt x="1027" y="813"/>
                  </a:lnTo>
                  <a:lnTo>
                    <a:pt x="1032" y="804"/>
                  </a:lnTo>
                  <a:lnTo>
                    <a:pt x="1027" y="800"/>
                  </a:lnTo>
                  <a:lnTo>
                    <a:pt x="1027" y="777"/>
                  </a:lnTo>
                  <a:lnTo>
                    <a:pt x="1023" y="764"/>
                  </a:lnTo>
                  <a:lnTo>
                    <a:pt x="1032" y="760"/>
                  </a:lnTo>
                  <a:lnTo>
                    <a:pt x="1027" y="751"/>
                  </a:lnTo>
                  <a:lnTo>
                    <a:pt x="1018" y="755"/>
                  </a:lnTo>
                  <a:lnTo>
                    <a:pt x="1001" y="746"/>
                  </a:lnTo>
                  <a:lnTo>
                    <a:pt x="987" y="715"/>
                  </a:lnTo>
                  <a:lnTo>
                    <a:pt x="969" y="702"/>
                  </a:lnTo>
                  <a:lnTo>
                    <a:pt x="956" y="710"/>
                  </a:lnTo>
                  <a:lnTo>
                    <a:pt x="911" y="697"/>
                  </a:lnTo>
                  <a:lnTo>
                    <a:pt x="902" y="706"/>
                  </a:lnTo>
                  <a:lnTo>
                    <a:pt x="902" y="719"/>
                  </a:lnTo>
                  <a:lnTo>
                    <a:pt x="907" y="733"/>
                  </a:lnTo>
                  <a:lnTo>
                    <a:pt x="902" y="760"/>
                  </a:lnTo>
                  <a:lnTo>
                    <a:pt x="907" y="760"/>
                  </a:lnTo>
                  <a:lnTo>
                    <a:pt x="911" y="782"/>
                  </a:lnTo>
                  <a:lnTo>
                    <a:pt x="920" y="782"/>
                  </a:lnTo>
                  <a:lnTo>
                    <a:pt x="898" y="809"/>
                  </a:lnTo>
                  <a:lnTo>
                    <a:pt x="898" y="818"/>
                  </a:lnTo>
                  <a:lnTo>
                    <a:pt x="902" y="822"/>
                  </a:lnTo>
                  <a:lnTo>
                    <a:pt x="925" y="849"/>
                  </a:lnTo>
                  <a:lnTo>
                    <a:pt x="929" y="880"/>
                  </a:lnTo>
                  <a:lnTo>
                    <a:pt x="902" y="912"/>
                  </a:lnTo>
                  <a:lnTo>
                    <a:pt x="880" y="920"/>
                  </a:lnTo>
                  <a:lnTo>
                    <a:pt x="898" y="938"/>
                  </a:lnTo>
                  <a:lnTo>
                    <a:pt x="893" y="961"/>
                  </a:lnTo>
                  <a:lnTo>
                    <a:pt x="902" y="979"/>
                  </a:lnTo>
                  <a:lnTo>
                    <a:pt x="898" y="988"/>
                  </a:lnTo>
                  <a:lnTo>
                    <a:pt x="902" y="1001"/>
                  </a:lnTo>
                  <a:lnTo>
                    <a:pt x="898" y="1005"/>
                  </a:lnTo>
                  <a:lnTo>
                    <a:pt x="889" y="996"/>
                  </a:lnTo>
                  <a:lnTo>
                    <a:pt x="880" y="1010"/>
                  </a:lnTo>
                  <a:lnTo>
                    <a:pt x="862" y="988"/>
                  </a:lnTo>
                  <a:lnTo>
                    <a:pt x="853" y="983"/>
                  </a:lnTo>
                  <a:lnTo>
                    <a:pt x="858" y="979"/>
                  </a:lnTo>
                  <a:lnTo>
                    <a:pt x="844" y="961"/>
                  </a:lnTo>
                  <a:lnTo>
                    <a:pt x="849" y="947"/>
                  </a:lnTo>
                  <a:lnTo>
                    <a:pt x="844" y="934"/>
                  </a:lnTo>
                  <a:lnTo>
                    <a:pt x="849" y="912"/>
                  </a:lnTo>
                  <a:lnTo>
                    <a:pt x="809" y="907"/>
                  </a:lnTo>
                  <a:lnTo>
                    <a:pt x="773" y="885"/>
                  </a:lnTo>
                  <a:lnTo>
                    <a:pt x="755" y="867"/>
                  </a:lnTo>
                  <a:lnTo>
                    <a:pt x="728" y="853"/>
                  </a:lnTo>
                  <a:lnTo>
                    <a:pt x="706" y="867"/>
                  </a:lnTo>
                  <a:lnTo>
                    <a:pt x="692" y="813"/>
                  </a:lnTo>
                  <a:lnTo>
                    <a:pt x="675" y="818"/>
                  </a:lnTo>
                  <a:lnTo>
                    <a:pt x="666" y="809"/>
                  </a:lnTo>
                  <a:lnTo>
                    <a:pt x="670" y="773"/>
                  </a:lnTo>
                  <a:lnTo>
                    <a:pt x="688" y="724"/>
                  </a:lnTo>
                  <a:lnTo>
                    <a:pt x="706" y="706"/>
                  </a:lnTo>
                  <a:lnTo>
                    <a:pt x="706" y="697"/>
                  </a:lnTo>
                  <a:lnTo>
                    <a:pt x="724" y="693"/>
                  </a:lnTo>
                  <a:lnTo>
                    <a:pt x="724" y="675"/>
                  </a:lnTo>
                  <a:lnTo>
                    <a:pt x="652" y="657"/>
                  </a:lnTo>
                  <a:lnTo>
                    <a:pt x="652" y="643"/>
                  </a:lnTo>
                  <a:lnTo>
                    <a:pt x="688" y="657"/>
                  </a:lnTo>
                  <a:lnTo>
                    <a:pt x="724" y="670"/>
                  </a:lnTo>
                  <a:lnTo>
                    <a:pt x="733" y="666"/>
                  </a:lnTo>
                  <a:lnTo>
                    <a:pt x="737" y="652"/>
                  </a:lnTo>
                  <a:lnTo>
                    <a:pt x="755" y="657"/>
                  </a:lnTo>
                  <a:lnTo>
                    <a:pt x="768" y="648"/>
                  </a:lnTo>
                  <a:lnTo>
                    <a:pt x="777" y="612"/>
                  </a:lnTo>
                  <a:lnTo>
                    <a:pt x="755" y="612"/>
                  </a:lnTo>
                  <a:lnTo>
                    <a:pt x="742" y="590"/>
                  </a:lnTo>
                  <a:lnTo>
                    <a:pt x="768" y="608"/>
                  </a:lnTo>
                  <a:lnTo>
                    <a:pt x="782" y="608"/>
                  </a:lnTo>
                  <a:lnTo>
                    <a:pt x="795" y="585"/>
                  </a:lnTo>
                  <a:lnTo>
                    <a:pt x="782" y="581"/>
                  </a:lnTo>
                  <a:lnTo>
                    <a:pt x="782" y="572"/>
                  </a:lnTo>
                  <a:lnTo>
                    <a:pt x="804" y="567"/>
                  </a:lnTo>
                  <a:lnTo>
                    <a:pt x="804" y="581"/>
                  </a:lnTo>
                  <a:lnTo>
                    <a:pt x="813" y="585"/>
                  </a:lnTo>
                  <a:lnTo>
                    <a:pt x="809" y="590"/>
                  </a:lnTo>
                  <a:lnTo>
                    <a:pt x="813" y="603"/>
                  </a:lnTo>
                  <a:lnTo>
                    <a:pt x="813" y="603"/>
                  </a:lnTo>
                  <a:lnTo>
                    <a:pt x="813" y="590"/>
                  </a:lnTo>
                  <a:lnTo>
                    <a:pt x="817" y="585"/>
                  </a:lnTo>
                  <a:lnTo>
                    <a:pt x="826" y="603"/>
                  </a:lnTo>
                  <a:lnTo>
                    <a:pt x="831" y="603"/>
                  </a:lnTo>
                  <a:lnTo>
                    <a:pt x="826" y="590"/>
                  </a:lnTo>
                  <a:lnTo>
                    <a:pt x="817" y="581"/>
                  </a:lnTo>
                  <a:lnTo>
                    <a:pt x="822" y="581"/>
                  </a:lnTo>
                  <a:lnTo>
                    <a:pt x="822" y="567"/>
                  </a:lnTo>
                  <a:lnTo>
                    <a:pt x="822" y="563"/>
                  </a:lnTo>
                  <a:lnTo>
                    <a:pt x="831" y="581"/>
                  </a:lnTo>
                  <a:lnTo>
                    <a:pt x="853" y="563"/>
                  </a:lnTo>
                  <a:lnTo>
                    <a:pt x="853" y="554"/>
                  </a:lnTo>
                  <a:lnTo>
                    <a:pt x="867" y="545"/>
                  </a:lnTo>
                  <a:lnTo>
                    <a:pt x="867" y="527"/>
                  </a:lnTo>
                  <a:lnTo>
                    <a:pt x="858" y="514"/>
                  </a:lnTo>
                  <a:lnTo>
                    <a:pt x="849" y="491"/>
                  </a:lnTo>
                  <a:lnTo>
                    <a:pt x="858" y="491"/>
                  </a:lnTo>
                  <a:lnTo>
                    <a:pt x="867" y="478"/>
                  </a:lnTo>
                  <a:lnTo>
                    <a:pt x="858" y="474"/>
                  </a:lnTo>
                  <a:lnTo>
                    <a:pt x="867" y="469"/>
                  </a:lnTo>
                  <a:lnTo>
                    <a:pt x="867" y="460"/>
                  </a:lnTo>
                  <a:lnTo>
                    <a:pt x="849" y="442"/>
                  </a:lnTo>
                  <a:lnTo>
                    <a:pt x="826" y="442"/>
                  </a:lnTo>
                  <a:lnTo>
                    <a:pt x="817" y="438"/>
                  </a:lnTo>
                  <a:lnTo>
                    <a:pt x="804" y="438"/>
                  </a:lnTo>
                  <a:lnTo>
                    <a:pt x="804" y="460"/>
                  </a:lnTo>
                  <a:lnTo>
                    <a:pt x="809" y="465"/>
                  </a:lnTo>
                  <a:lnTo>
                    <a:pt x="804" y="474"/>
                  </a:lnTo>
                  <a:lnTo>
                    <a:pt x="795" y="478"/>
                  </a:lnTo>
                  <a:lnTo>
                    <a:pt x="795" y="505"/>
                  </a:lnTo>
                  <a:lnTo>
                    <a:pt x="786" y="518"/>
                  </a:lnTo>
                  <a:lnTo>
                    <a:pt x="773" y="536"/>
                  </a:lnTo>
                  <a:lnTo>
                    <a:pt x="759" y="496"/>
                  </a:lnTo>
                  <a:lnTo>
                    <a:pt x="764" y="478"/>
                  </a:lnTo>
                  <a:lnTo>
                    <a:pt x="764" y="460"/>
                  </a:lnTo>
                  <a:lnTo>
                    <a:pt x="750" y="447"/>
                  </a:lnTo>
                  <a:lnTo>
                    <a:pt x="746" y="447"/>
                  </a:lnTo>
                  <a:lnTo>
                    <a:pt x="737" y="496"/>
                  </a:lnTo>
                  <a:lnTo>
                    <a:pt x="728" y="496"/>
                  </a:lnTo>
                  <a:lnTo>
                    <a:pt x="728" y="469"/>
                  </a:lnTo>
                  <a:lnTo>
                    <a:pt x="719" y="456"/>
                  </a:lnTo>
                  <a:lnTo>
                    <a:pt x="728" y="456"/>
                  </a:lnTo>
                  <a:lnTo>
                    <a:pt x="733" y="451"/>
                  </a:lnTo>
                  <a:lnTo>
                    <a:pt x="719" y="442"/>
                  </a:lnTo>
                  <a:lnTo>
                    <a:pt x="710" y="451"/>
                  </a:lnTo>
                  <a:lnTo>
                    <a:pt x="701" y="442"/>
                  </a:lnTo>
                  <a:lnTo>
                    <a:pt x="706" y="429"/>
                  </a:lnTo>
                  <a:lnTo>
                    <a:pt x="701" y="420"/>
                  </a:lnTo>
                  <a:lnTo>
                    <a:pt x="715" y="420"/>
                  </a:lnTo>
                  <a:lnTo>
                    <a:pt x="706" y="393"/>
                  </a:lnTo>
                  <a:lnTo>
                    <a:pt x="692" y="389"/>
                  </a:lnTo>
                  <a:lnTo>
                    <a:pt x="692" y="366"/>
                  </a:lnTo>
                  <a:lnTo>
                    <a:pt x="679" y="348"/>
                  </a:lnTo>
                  <a:lnTo>
                    <a:pt x="661" y="344"/>
                  </a:lnTo>
                  <a:lnTo>
                    <a:pt x="652" y="348"/>
                  </a:lnTo>
                  <a:lnTo>
                    <a:pt x="661" y="357"/>
                  </a:lnTo>
                  <a:lnTo>
                    <a:pt x="652" y="362"/>
                  </a:lnTo>
                  <a:lnTo>
                    <a:pt x="643" y="389"/>
                  </a:lnTo>
                  <a:lnTo>
                    <a:pt x="657" y="393"/>
                  </a:lnTo>
                  <a:lnTo>
                    <a:pt x="643" y="407"/>
                  </a:lnTo>
                  <a:lnTo>
                    <a:pt x="643" y="424"/>
                  </a:lnTo>
                  <a:lnTo>
                    <a:pt x="652" y="442"/>
                  </a:lnTo>
                  <a:lnTo>
                    <a:pt x="688" y="451"/>
                  </a:lnTo>
                  <a:lnTo>
                    <a:pt x="675" y="460"/>
                  </a:lnTo>
                  <a:lnTo>
                    <a:pt x="670" y="478"/>
                  </a:lnTo>
                  <a:lnTo>
                    <a:pt x="683" y="469"/>
                  </a:lnTo>
                  <a:lnTo>
                    <a:pt x="683" y="487"/>
                  </a:lnTo>
                  <a:lnTo>
                    <a:pt x="670" y="505"/>
                  </a:lnTo>
                  <a:lnTo>
                    <a:pt x="661" y="505"/>
                  </a:lnTo>
                  <a:lnTo>
                    <a:pt x="657" y="518"/>
                  </a:lnTo>
                  <a:lnTo>
                    <a:pt x="666" y="527"/>
                  </a:lnTo>
                  <a:lnTo>
                    <a:pt x="657" y="536"/>
                  </a:lnTo>
                  <a:lnTo>
                    <a:pt x="648" y="527"/>
                  </a:lnTo>
                  <a:lnTo>
                    <a:pt x="652" y="496"/>
                  </a:lnTo>
                  <a:lnTo>
                    <a:pt x="643" y="509"/>
                  </a:lnTo>
                  <a:lnTo>
                    <a:pt x="639" y="491"/>
                  </a:lnTo>
                  <a:lnTo>
                    <a:pt x="625" y="487"/>
                  </a:lnTo>
                  <a:lnTo>
                    <a:pt x="616" y="500"/>
                  </a:lnTo>
                  <a:lnTo>
                    <a:pt x="616" y="509"/>
                  </a:lnTo>
                  <a:lnTo>
                    <a:pt x="603" y="514"/>
                  </a:lnTo>
                  <a:lnTo>
                    <a:pt x="567" y="514"/>
                  </a:lnTo>
                  <a:lnTo>
                    <a:pt x="549" y="505"/>
                  </a:lnTo>
                  <a:lnTo>
                    <a:pt x="536" y="509"/>
                  </a:lnTo>
                  <a:lnTo>
                    <a:pt x="518" y="496"/>
                  </a:lnTo>
                  <a:lnTo>
                    <a:pt x="518" y="478"/>
                  </a:lnTo>
                  <a:lnTo>
                    <a:pt x="509" y="469"/>
                  </a:lnTo>
                  <a:lnTo>
                    <a:pt x="491" y="483"/>
                  </a:lnTo>
                  <a:lnTo>
                    <a:pt x="474" y="483"/>
                  </a:lnTo>
                  <a:lnTo>
                    <a:pt x="469" y="500"/>
                  </a:lnTo>
                  <a:lnTo>
                    <a:pt x="478" y="500"/>
                  </a:lnTo>
                  <a:lnTo>
                    <a:pt x="509" y="487"/>
                  </a:lnTo>
                  <a:lnTo>
                    <a:pt x="514" y="496"/>
                  </a:lnTo>
                  <a:lnTo>
                    <a:pt x="482" y="523"/>
                  </a:lnTo>
                  <a:lnTo>
                    <a:pt x="482" y="554"/>
                  </a:lnTo>
                  <a:lnTo>
                    <a:pt x="474" y="559"/>
                  </a:lnTo>
                  <a:lnTo>
                    <a:pt x="478" y="541"/>
                  </a:lnTo>
                  <a:lnTo>
                    <a:pt x="465" y="532"/>
                  </a:lnTo>
                  <a:lnTo>
                    <a:pt x="465" y="523"/>
                  </a:lnTo>
                  <a:lnTo>
                    <a:pt x="447" y="514"/>
                  </a:lnTo>
                  <a:lnTo>
                    <a:pt x="407" y="532"/>
                  </a:lnTo>
                  <a:lnTo>
                    <a:pt x="371" y="527"/>
                  </a:lnTo>
                  <a:lnTo>
                    <a:pt x="375" y="505"/>
                  </a:lnTo>
                  <a:lnTo>
                    <a:pt x="389" y="505"/>
                  </a:lnTo>
                  <a:lnTo>
                    <a:pt x="393" y="496"/>
                  </a:lnTo>
                  <a:lnTo>
                    <a:pt x="380" y="469"/>
                  </a:lnTo>
                  <a:lnTo>
                    <a:pt x="353" y="460"/>
                  </a:lnTo>
                  <a:lnTo>
                    <a:pt x="357" y="474"/>
                  </a:lnTo>
                  <a:lnTo>
                    <a:pt x="340" y="460"/>
                  </a:lnTo>
                  <a:lnTo>
                    <a:pt x="304" y="451"/>
                  </a:lnTo>
                  <a:lnTo>
                    <a:pt x="259" y="433"/>
                  </a:lnTo>
                  <a:lnTo>
                    <a:pt x="255" y="447"/>
                  </a:lnTo>
                  <a:lnTo>
                    <a:pt x="241" y="451"/>
                  </a:lnTo>
                  <a:lnTo>
                    <a:pt x="241" y="424"/>
                  </a:lnTo>
                  <a:lnTo>
                    <a:pt x="237" y="424"/>
                  </a:lnTo>
                  <a:lnTo>
                    <a:pt x="237" y="447"/>
                  </a:lnTo>
                  <a:lnTo>
                    <a:pt x="228" y="442"/>
                  </a:lnTo>
                  <a:lnTo>
                    <a:pt x="197" y="393"/>
                  </a:lnTo>
                  <a:lnTo>
                    <a:pt x="188" y="402"/>
                  </a:lnTo>
                  <a:lnTo>
                    <a:pt x="192" y="429"/>
                  </a:lnTo>
                  <a:lnTo>
                    <a:pt x="130" y="460"/>
                  </a:lnTo>
                  <a:lnTo>
                    <a:pt x="130" y="451"/>
                  </a:lnTo>
                  <a:lnTo>
                    <a:pt x="165" y="433"/>
                  </a:lnTo>
                  <a:lnTo>
                    <a:pt x="170" y="420"/>
                  </a:lnTo>
                  <a:lnTo>
                    <a:pt x="147" y="424"/>
                  </a:lnTo>
                  <a:lnTo>
                    <a:pt x="139" y="438"/>
                  </a:lnTo>
                  <a:lnTo>
                    <a:pt x="134" y="429"/>
                  </a:lnTo>
                  <a:lnTo>
                    <a:pt x="103" y="451"/>
                  </a:lnTo>
                  <a:lnTo>
                    <a:pt x="98" y="433"/>
                  </a:lnTo>
                  <a:lnTo>
                    <a:pt x="71" y="460"/>
                  </a:lnTo>
                  <a:lnTo>
                    <a:pt x="31" y="447"/>
                  </a:lnTo>
                  <a:lnTo>
                    <a:pt x="0" y="442"/>
                  </a:lnTo>
                  <a:close/>
                  <a:moveTo>
                    <a:pt x="121" y="938"/>
                  </a:moveTo>
                  <a:lnTo>
                    <a:pt x="121" y="956"/>
                  </a:lnTo>
                  <a:lnTo>
                    <a:pt x="130" y="974"/>
                  </a:lnTo>
                  <a:lnTo>
                    <a:pt x="143" y="988"/>
                  </a:lnTo>
                  <a:lnTo>
                    <a:pt x="134" y="970"/>
                  </a:lnTo>
                  <a:lnTo>
                    <a:pt x="139" y="965"/>
                  </a:lnTo>
                  <a:lnTo>
                    <a:pt x="134" y="952"/>
                  </a:lnTo>
                  <a:lnTo>
                    <a:pt x="139" y="943"/>
                  </a:lnTo>
                  <a:lnTo>
                    <a:pt x="121" y="938"/>
                  </a:lnTo>
                  <a:close/>
                  <a:moveTo>
                    <a:pt x="183" y="1019"/>
                  </a:moveTo>
                  <a:lnTo>
                    <a:pt x="192" y="1028"/>
                  </a:lnTo>
                  <a:lnTo>
                    <a:pt x="197" y="1041"/>
                  </a:lnTo>
                  <a:lnTo>
                    <a:pt x="201" y="1037"/>
                  </a:lnTo>
                  <a:lnTo>
                    <a:pt x="210" y="1046"/>
                  </a:lnTo>
                  <a:lnTo>
                    <a:pt x="232" y="1063"/>
                  </a:lnTo>
                  <a:lnTo>
                    <a:pt x="259" y="1072"/>
                  </a:lnTo>
                  <a:lnTo>
                    <a:pt x="259" y="1068"/>
                  </a:lnTo>
                  <a:lnTo>
                    <a:pt x="246" y="1055"/>
                  </a:lnTo>
                  <a:lnTo>
                    <a:pt x="232" y="1041"/>
                  </a:lnTo>
                  <a:lnTo>
                    <a:pt x="228" y="1032"/>
                  </a:lnTo>
                  <a:lnTo>
                    <a:pt x="197" y="1019"/>
                  </a:lnTo>
                  <a:lnTo>
                    <a:pt x="183" y="1019"/>
                  </a:lnTo>
                  <a:close/>
                  <a:moveTo>
                    <a:pt x="241" y="223"/>
                  </a:moveTo>
                  <a:lnTo>
                    <a:pt x="250" y="228"/>
                  </a:lnTo>
                  <a:lnTo>
                    <a:pt x="259" y="246"/>
                  </a:lnTo>
                  <a:lnTo>
                    <a:pt x="241" y="281"/>
                  </a:lnTo>
                  <a:lnTo>
                    <a:pt x="250" y="290"/>
                  </a:lnTo>
                  <a:lnTo>
                    <a:pt x="237" y="290"/>
                  </a:lnTo>
                  <a:lnTo>
                    <a:pt x="228" y="331"/>
                  </a:lnTo>
                  <a:lnTo>
                    <a:pt x="237" y="331"/>
                  </a:lnTo>
                  <a:lnTo>
                    <a:pt x="255" y="344"/>
                  </a:lnTo>
                  <a:lnTo>
                    <a:pt x="255" y="366"/>
                  </a:lnTo>
                  <a:lnTo>
                    <a:pt x="264" y="375"/>
                  </a:lnTo>
                  <a:lnTo>
                    <a:pt x="273" y="371"/>
                  </a:lnTo>
                  <a:lnTo>
                    <a:pt x="281" y="353"/>
                  </a:lnTo>
                  <a:lnTo>
                    <a:pt x="290" y="362"/>
                  </a:lnTo>
                  <a:lnTo>
                    <a:pt x="304" y="348"/>
                  </a:lnTo>
                  <a:lnTo>
                    <a:pt x="304" y="322"/>
                  </a:lnTo>
                  <a:lnTo>
                    <a:pt x="313" y="313"/>
                  </a:lnTo>
                  <a:lnTo>
                    <a:pt x="308" y="304"/>
                  </a:lnTo>
                  <a:lnTo>
                    <a:pt x="313" y="290"/>
                  </a:lnTo>
                  <a:lnTo>
                    <a:pt x="335" y="277"/>
                  </a:lnTo>
                  <a:lnTo>
                    <a:pt x="353" y="268"/>
                  </a:lnTo>
                  <a:lnTo>
                    <a:pt x="371" y="255"/>
                  </a:lnTo>
                  <a:lnTo>
                    <a:pt x="348" y="232"/>
                  </a:lnTo>
                  <a:lnTo>
                    <a:pt x="340" y="210"/>
                  </a:lnTo>
                  <a:lnTo>
                    <a:pt x="322" y="214"/>
                  </a:lnTo>
                  <a:lnTo>
                    <a:pt x="317" y="219"/>
                  </a:lnTo>
                  <a:lnTo>
                    <a:pt x="290" y="205"/>
                  </a:lnTo>
                  <a:lnTo>
                    <a:pt x="241" y="223"/>
                  </a:lnTo>
                  <a:close/>
                  <a:moveTo>
                    <a:pt x="259" y="89"/>
                  </a:moveTo>
                  <a:lnTo>
                    <a:pt x="264" y="98"/>
                  </a:lnTo>
                  <a:lnTo>
                    <a:pt x="281" y="98"/>
                  </a:lnTo>
                  <a:lnTo>
                    <a:pt x="286" y="89"/>
                  </a:lnTo>
                  <a:lnTo>
                    <a:pt x="295" y="112"/>
                  </a:lnTo>
                  <a:lnTo>
                    <a:pt x="308" y="98"/>
                  </a:lnTo>
                  <a:lnTo>
                    <a:pt x="308" y="80"/>
                  </a:lnTo>
                  <a:lnTo>
                    <a:pt x="313" y="94"/>
                  </a:lnTo>
                  <a:lnTo>
                    <a:pt x="322" y="76"/>
                  </a:lnTo>
                  <a:lnTo>
                    <a:pt x="322" y="49"/>
                  </a:lnTo>
                  <a:lnTo>
                    <a:pt x="335" y="45"/>
                  </a:lnTo>
                  <a:lnTo>
                    <a:pt x="335" y="71"/>
                  </a:lnTo>
                  <a:lnTo>
                    <a:pt x="344" y="89"/>
                  </a:lnTo>
                  <a:lnTo>
                    <a:pt x="348" y="80"/>
                  </a:lnTo>
                  <a:lnTo>
                    <a:pt x="348" y="67"/>
                  </a:lnTo>
                  <a:lnTo>
                    <a:pt x="362" y="71"/>
                  </a:lnTo>
                  <a:lnTo>
                    <a:pt x="366" y="49"/>
                  </a:lnTo>
                  <a:lnTo>
                    <a:pt x="362" y="36"/>
                  </a:lnTo>
                  <a:lnTo>
                    <a:pt x="371" y="27"/>
                  </a:lnTo>
                  <a:lnTo>
                    <a:pt x="357" y="9"/>
                  </a:lnTo>
                  <a:lnTo>
                    <a:pt x="353" y="9"/>
                  </a:lnTo>
                  <a:lnTo>
                    <a:pt x="348" y="22"/>
                  </a:lnTo>
                  <a:lnTo>
                    <a:pt x="317" y="18"/>
                  </a:lnTo>
                  <a:lnTo>
                    <a:pt x="299" y="49"/>
                  </a:lnTo>
                  <a:lnTo>
                    <a:pt x="286" y="54"/>
                  </a:lnTo>
                  <a:lnTo>
                    <a:pt x="286" y="67"/>
                  </a:lnTo>
                  <a:lnTo>
                    <a:pt x="264" y="76"/>
                  </a:lnTo>
                  <a:lnTo>
                    <a:pt x="259" y="89"/>
                  </a:lnTo>
                  <a:close/>
                  <a:moveTo>
                    <a:pt x="322" y="362"/>
                  </a:moveTo>
                  <a:lnTo>
                    <a:pt x="335" y="353"/>
                  </a:lnTo>
                  <a:lnTo>
                    <a:pt x="362" y="348"/>
                  </a:lnTo>
                  <a:lnTo>
                    <a:pt x="375" y="353"/>
                  </a:lnTo>
                  <a:lnTo>
                    <a:pt x="348" y="362"/>
                  </a:lnTo>
                  <a:lnTo>
                    <a:pt x="326" y="375"/>
                  </a:lnTo>
                  <a:lnTo>
                    <a:pt x="326" y="384"/>
                  </a:lnTo>
                  <a:lnTo>
                    <a:pt x="340" y="393"/>
                  </a:lnTo>
                  <a:lnTo>
                    <a:pt x="375" y="398"/>
                  </a:lnTo>
                  <a:lnTo>
                    <a:pt x="398" y="389"/>
                  </a:lnTo>
                  <a:lnTo>
                    <a:pt x="433" y="398"/>
                  </a:lnTo>
                  <a:lnTo>
                    <a:pt x="438" y="402"/>
                  </a:lnTo>
                  <a:lnTo>
                    <a:pt x="420" y="411"/>
                  </a:lnTo>
                  <a:lnTo>
                    <a:pt x="398" y="407"/>
                  </a:lnTo>
                  <a:lnTo>
                    <a:pt x="353" y="416"/>
                  </a:lnTo>
                  <a:lnTo>
                    <a:pt x="344" y="429"/>
                  </a:lnTo>
                  <a:lnTo>
                    <a:pt x="357" y="451"/>
                  </a:lnTo>
                  <a:lnTo>
                    <a:pt x="402" y="451"/>
                  </a:lnTo>
                  <a:lnTo>
                    <a:pt x="402" y="460"/>
                  </a:lnTo>
                  <a:lnTo>
                    <a:pt x="393" y="469"/>
                  </a:lnTo>
                  <a:lnTo>
                    <a:pt x="393" y="483"/>
                  </a:lnTo>
                  <a:lnTo>
                    <a:pt x="407" y="496"/>
                  </a:lnTo>
                  <a:lnTo>
                    <a:pt x="451" y="491"/>
                  </a:lnTo>
                  <a:lnTo>
                    <a:pt x="474" y="474"/>
                  </a:lnTo>
                  <a:lnTo>
                    <a:pt x="482" y="474"/>
                  </a:lnTo>
                  <a:lnTo>
                    <a:pt x="491" y="465"/>
                  </a:lnTo>
                  <a:lnTo>
                    <a:pt x="496" y="447"/>
                  </a:lnTo>
                  <a:lnTo>
                    <a:pt x="500" y="465"/>
                  </a:lnTo>
                  <a:lnTo>
                    <a:pt x="527" y="460"/>
                  </a:lnTo>
                  <a:lnTo>
                    <a:pt x="518" y="474"/>
                  </a:lnTo>
                  <a:lnTo>
                    <a:pt x="554" y="478"/>
                  </a:lnTo>
                  <a:lnTo>
                    <a:pt x="572" y="465"/>
                  </a:lnTo>
                  <a:lnTo>
                    <a:pt x="563" y="447"/>
                  </a:lnTo>
                  <a:lnTo>
                    <a:pt x="554" y="451"/>
                  </a:lnTo>
                  <a:lnTo>
                    <a:pt x="549" y="442"/>
                  </a:lnTo>
                  <a:lnTo>
                    <a:pt x="567" y="438"/>
                  </a:lnTo>
                  <a:lnTo>
                    <a:pt x="581" y="442"/>
                  </a:lnTo>
                  <a:lnTo>
                    <a:pt x="581" y="420"/>
                  </a:lnTo>
                  <a:lnTo>
                    <a:pt x="558" y="411"/>
                  </a:lnTo>
                  <a:lnTo>
                    <a:pt x="554" y="398"/>
                  </a:lnTo>
                  <a:lnTo>
                    <a:pt x="545" y="407"/>
                  </a:lnTo>
                  <a:lnTo>
                    <a:pt x="527" y="380"/>
                  </a:lnTo>
                  <a:lnTo>
                    <a:pt x="527" y="348"/>
                  </a:lnTo>
                  <a:lnTo>
                    <a:pt x="509" y="281"/>
                  </a:lnTo>
                  <a:lnTo>
                    <a:pt x="491" y="264"/>
                  </a:lnTo>
                  <a:lnTo>
                    <a:pt x="491" y="273"/>
                  </a:lnTo>
                  <a:lnTo>
                    <a:pt x="478" y="268"/>
                  </a:lnTo>
                  <a:lnTo>
                    <a:pt x="478" y="281"/>
                  </a:lnTo>
                  <a:lnTo>
                    <a:pt x="487" y="344"/>
                  </a:lnTo>
                  <a:lnTo>
                    <a:pt x="478" y="353"/>
                  </a:lnTo>
                  <a:lnTo>
                    <a:pt x="474" y="344"/>
                  </a:lnTo>
                  <a:lnTo>
                    <a:pt x="469" y="304"/>
                  </a:lnTo>
                  <a:lnTo>
                    <a:pt x="456" y="286"/>
                  </a:lnTo>
                  <a:lnTo>
                    <a:pt x="442" y="286"/>
                  </a:lnTo>
                  <a:lnTo>
                    <a:pt x="447" y="299"/>
                  </a:lnTo>
                  <a:lnTo>
                    <a:pt x="451" y="299"/>
                  </a:lnTo>
                  <a:lnTo>
                    <a:pt x="451" y="322"/>
                  </a:lnTo>
                  <a:lnTo>
                    <a:pt x="433" y="322"/>
                  </a:lnTo>
                  <a:lnTo>
                    <a:pt x="424" y="326"/>
                  </a:lnTo>
                  <a:lnTo>
                    <a:pt x="438" y="299"/>
                  </a:lnTo>
                  <a:lnTo>
                    <a:pt x="424" y="286"/>
                  </a:lnTo>
                  <a:lnTo>
                    <a:pt x="402" y="277"/>
                  </a:lnTo>
                  <a:lnTo>
                    <a:pt x="398" y="304"/>
                  </a:lnTo>
                  <a:lnTo>
                    <a:pt x="384" y="313"/>
                  </a:lnTo>
                  <a:lnTo>
                    <a:pt x="389" y="295"/>
                  </a:lnTo>
                  <a:lnTo>
                    <a:pt x="389" y="259"/>
                  </a:lnTo>
                  <a:lnTo>
                    <a:pt x="380" y="259"/>
                  </a:lnTo>
                  <a:lnTo>
                    <a:pt x="322" y="295"/>
                  </a:lnTo>
                  <a:lnTo>
                    <a:pt x="322" y="304"/>
                  </a:lnTo>
                  <a:lnTo>
                    <a:pt x="322" y="313"/>
                  </a:lnTo>
                  <a:lnTo>
                    <a:pt x="335" y="308"/>
                  </a:lnTo>
                  <a:lnTo>
                    <a:pt x="331" y="317"/>
                  </a:lnTo>
                  <a:lnTo>
                    <a:pt x="317" y="322"/>
                  </a:lnTo>
                  <a:lnTo>
                    <a:pt x="308" y="340"/>
                  </a:lnTo>
                  <a:lnTo>
                    <a:pt x="308" y="348"/>
                  </a:lnTo>
                  <a:lnTo>
                    <a:pt x="317" y="340"/>
                  </a:lnTo>
                  <a:lnTo>
                    <a:pt x="326" y="344"/>
                  </a:lnTo>
                  <a:lnTo>
                    <a:pt x="322" y="353"/>
                  </a:lnTo>
                  <a:lnTo>
                    <a:pt x="322" y="362"/>
                  </a:lnTo>
                  <a:close/>
                  <a:moveTo>
                    <a:pt x="322" y="550"/>
                  </a:moveTo>
                  <a:lnTo>
                    <a:pt x="299" y="572"/>
                  </a:lnTo>
                  <a:lnTo>
                    <a:pt x="322" y="581"/>
                  </a:lnTo>
                  <a:lnTo>
                    <a:pt x="344" y="572"/>
                  </a:lnTo>
                  <a:lnTo>
                    <a:pt x="348" y="576"/>
                  </a:lnTo>
                  <a:lnTo>
                    <a:pt x="344" y="594"/>
                  </a:lnTo>
                  <a:lnTo>
                    <a:pt x="322" y="599"/>
                  </a:lnTo>
                  <a:lnTo>
                    <a:pt x="322" y="590"/>
                  </a:lnTo>
                  <a:lnTo>
                    <a:pt x="313" y="590"/>
                  </a:lnTo>
                  <a:lnTo>
                    <a:pt x="308" y="599"/>
                  </a:lnTo>
                  <a:lnTo>
                    <a:pt x="313" y="608"/>
                  </a:lnTo>
                  <a:lnTo>
                    <a:pt x="308" y="612"/>
                  </a:lnTo>
                  <a:lnTo>
                    <a:pt x="295" y="630"/>
                  </a:lnTo>
                  <a:lnTo>
                    <a:pt x="290" y="626"/>
                  </a:lnTo>
                  <a:lnTo>
                    <a:pt x="299" y="603"/>
                  </a:lnTo>
                  <a:lnTo>
                    <a:pt x="295" y="599"/>
                  </a:lnTo>
                  <a:lnTo>
                    <a:pt x="281" y="626"/>
                  </a:lnTo>
                  <a:lnTo>
                    <a:pt x="255" y="617"/>
                  </a:lnTo>
                  <a:lnTo>
                    <a:pt x="268" y="612"/>
                  </a:lnTo>
                  <a:lnTo>
                    <a:pt x="273" y="599"/>
                  </a:lnTo>
                  <a:lnTo>
                    <a:pt x="268" y="590"/>
                  </a:lnTo>
                  <a:lnTo>
                    <a:pt x="286" y="590"/>
                  </a:lnTo>
                  <a:lnTo>
                    <a:pt x="281" y="581"/>
                  </a:lnTo>
                  <a:lnTo>
                    <a:pt x="241" y="585"/>
                  </a:lnTo>
                  <a:lnTo>
                    <a:pt x="232" y="590"/>
                  </a:lnTo>
                  <a:lnTo>
                    <a:pt x="237" y="576"/>
                  </a:lnTo>
                  <a:lnTo>
                    <a:pt x="246" y="581"/>
                  </a:lnTo>
                  <a:lnTo>
                    <a:pt x="268" y="572"/>
                  </a:lnTo>
                  <a:lnTo>
                    <a:pt x="308" y="545"/>
                  </a:lnTo>
                  <a:lnTo>
                    <a:pt x="322" y="550"/>
                  </a:lnTo>
                  <a:close/>
                  <a:moveTo>
                    <a:pt x="335" y="107"/>
                  </a:moveTo>
                  <a:lnTo>
                    <a:pt x="313" y="143"/>
                  </a:lnTo>
                  <a:lnTo>
                    <a:pt x="313" y="152"/>
                  </a:lnTo>
                  <a:lnTo>
                    <a:pt x="326" y="156"/>
                  </a:lnTo>
                  <a:lnTo>
                    <a:pt x="340" y="107"/>
                  </a:lnTo>
                  <a:lnTo>
                    <a:pt x="335" y="107"/>
                  </a:lnTo>
                  <a:close/>
                  <a:moveTo>
                    <a:pt x="357" y="684"/>
                  </a:moveTo>
                  <a:lnTo>
                    <a:pt x="402" y="715"/>
                  </a:lnTo>
                  <a:lnTo>
                    <a:pt x="415" y="715"/>
                  </a:lnTo>
                  <a:lnTo>
                    <a:pt x="433" y="697"/>
                  </a:lnTo>
                  <a:lnTo>
                    <a:pt x="451" y="693"/>
                  </a:lnTo>
                  <a:lnTo>
                    <a:pt x="451" y="702"/>
                  </a:lnTo>
                  <a:lnTo>
                    <a:pt x="433" y="710"/>
                  </a:lnTo>
                  <a:lnTo>
                    <a:pt x="411" y="737"/>
                  </a:lnTo>
                  <a:lnTo>
                    <a:pt x="402" y="737"/>
                  </a:lnTo>
                  <a:lnTo>
                    <a:pt x="402" y="746"/>
                  </a:lnTo>
                  <a:lnTo>
                    <a:pt x="371" y="755"/>
                  </a:lnTo>
                  <a:lnTo>
                    <a:pt x="348" y="751"/>
                  </a:lnTo>
                  <a:lnTo>
                    <a:pt x="322" y="737"/>
                  </a:lnTo>
                  <a:lnTo>
                    <a:pt x="326" y="733"/>
                  </a:lnTo>
                  <a:lnTo>
                    <a:pt x="348" y="742"/>
                  </a:lnTo>
                  <a:lnTo>
                    <a:pt x="366" y="742"/>
                  </a:lnTo>
                  <a:lnTo>
                    <a:pt x="371" y="724"/>
                  </a:lnTo>
                  <a:lnTo>
                    <a:pt x="384" y="719"/>
                  </a:lnTo>
                  <a:lnTo>
                    <a:pt x="375" y="702"/>
                  </a:lnTo>
                  <a:lnTo>
                    <a:pt x="366" y="706"/>
                  </a:lnTo>
                  <a:lnTo>
                    <a:pt x="357" y="684"/>
                  </a:lnTo>
                  <a:close/>
                  <a:moveTo>
                    <a:pt x="384" y="71"/>
                  </a:moveTo>
                  <a:lnTo>
                    <a:pt x="375" y="76"/>
                  </a:lnTo>
                  <a:lnTo>
                    <a:pt x="362" y="89"/>
                  </a:lnTo>
                  <a:lnTo>
                    <a:pt x="375" y="98"/>
                  </a:lnTo>
                  <a:lnTo>
                    <a:pt x="357" y="98"/>
                  </a:lnTo>
                  <a:lnTo>
                    <a:pt x="353" y="107"/>
                  </a:lnTo>
                  <a:lnTo>
                    <a:pt x="348" y="121"/>
                  </a:lnTo>
                  <a:lnTo>
                    <a:pt x="371" y="121"/>
                  </a:lnTo>
                  <a:lnTo>
                    <a:pt x="348" y="134"/>
                  </a:lnTo>
                  <a:lnTo>
                    <a:pt x="344" y="152"/>
                  </a:lnTo>
                  <a:lnTo>
                    <a:pt x="375" y="147"/>
                  </a:lnTo>
                  <a:lnTo>
                    <a:pt x="357" y="161"/>
                  </a:lnTo>
                  <a:lnTo>
                    <a:pt x="344" y="161"/>
                  </a:lnTo>
                  <a:lnTo>
                    <a:pt x="340" y="174"/>
                  </a:lnTo>
                  <a:lnTo>
                    <a:pt x="357" y="174"/>
                  </a:lnTo>
                  <a:lnTo>
                    <a:pt x="366" y="174"/>
                  </a:lnTo>
                  <a:lnTo>
                    <a:pt x="371" y="183"/>
                  </a:lnTo>
                  <a:lnTo>
                    <a:pt x="380" y="183"/>
                  </a:lnTo>
                  <a:lnTo>
                    <a:pt x="389" y="179"/>
                  </a:lnTo>
                  <a:lnTo>
                    <a:pt x="398" y="156"/>
                  </a:lnTo>
                  <a:lnTo>
                    <a:pt x="407" y="156"/>
                  </a:lnTo>
                  <a:lnTo>
                    <a:pt x="398" y="174"/>
                  </a:lnTo>
                  <a:lnTo>
                    <a:pt x="398" y="179"/>
                  </a:lnTo>
                  <a:lnTo>
                    <a:pt x="411" y="170"/>
                  </a:lnTo>
                  <a:lnTo>
                    <a:pt x="433" y="170"/>
                  </a:lnTo>
                  <a:lnTo>
                    <a:pt x="429" y="179"/>
                  </a:lnTo>
                  <a:lnTo>
                    <a:pt x="407" y="183"/>
                  </a:lnTo>
                  <a:lnTo>
                    <a:pt x="384" y="188"/>
                  </a:lnTo>
                  <a:lnTo>
                    <a:pt x="384" y="197"/>
                  </a:lnTo>
                  <a:lnTo>
                    <a:pt x="389" y="210"/>
                  </a:lnTo>
                  <a:lnTo>
                    <a:pt x="402" y="214"/>
                  </a:lnTo>
                  <a:lnTo>
                    <a:pt x="420" y="210"/>
                  </a:lnTo>
                  <a:lnTo>
                    <a:pt x="433" y="201"/>
                  </a:lnTo>
                  <a:lnTo>
                    <a:pt x="438" y="192"/>
                  </a:lnTo>
                  <a:lnTo>
                    <a:pt x="456" y="192"/>
                  </a:lnTo>
                  <a:lnTo>
                    <a:pt x="460" y="183"/>
                  </a:lnTo>
                  <a:lnTo>
                    <a:pt x="496" y="188"/>
                  </a:lnTo>
                  <a:lnTo>
                    <a:pt x="509" y="174"/>
                  </a:lnTo>
                  <a:lnTo>
                    <a:pt x="509" y="165"/>
                  </a:lnTo>
                  <a:lnTo>
                    <a:pt x="523" y="134"/>
                  </a:lnTo>
                  <a:lnTo>
                    <a:pt x="514" y="116"/>
                  </a:lnTo>
                  <a:lnTo>
                    <a:pt x="505" y="107"/>
                  </a:lnTo>
                  <a:lnTo>
                    <a:pt x="496" y="116"/>
                  </a:lnTo>
                  <a:lnTo>
                    <a:pt x="482" y="121"/>
                  </a:lnTo>
                  <a:lnTo>
                    <a:pt x="482" y="112"/>
                  </a:lnTo>
                  <a:lnTo>
                    <a:pt x="469" y="107"/>
                  </a:lnTo>
                  <a:lnTo>
                    <a:pt x="469" y="89"/>
                  </a:lnTo>
                  <a:lnTo>
                    <a:pt x="465" y="71"/>
                  </a:lnTo>
                  <a:lnTo>
                    <a:pt x="456" y="67"/>
                  </a:lnTo>
                  <a:lnTo>
                    <a:pt x="460" y="58"/>
                  </a:lnTo>
                  <a:lnTo>
                    <a:pt x="456" y="54"/>
                  </a:lnTo>
                  <a:lnTo>
                    <a:pt x="451" y="58"/>
                  </a:lnTo>
                  <a:lnTo>
                    <a:pt x="438" y="76"/>
                  </a:lnTo>
                  <a:lnTo>
                    <a:pt x="456" y="107"/>
                  </a:lnTo>
                  <a:lnTo>
                    <a:pt x="442" y="121"/>
                  </a:lnTo>
                  <a:lnTo>
                    <a:pt x="460" y="143"/>
                  </a:lnTo>
                  <a:lnTo>
                    <a:pt x="456" y="152"/>
                  </a:lnTo>
                  <a:lnTo>
                    <a:pt x="433" y="152"/>
                  </a:lnTo>
                  <a:lnTo>
                    <a:pt x="424" y="134"/>
                  </a:lnTo>
                  <a:lnTo>
                    <a:pt x="407" y="130"/>
                  </a:lnTo>
                  <a:lnTo>
                    <a:pt x="420" y="125"/>
                  </a:lnTo>
                  <a:lnTo>
                    <a:pt x="407" y="89"/>
                  </a:lnTo>
                  <a:lnTo>
                    <a:pt x="393" y="94"/>
                  </a:lnTo>
                  <a:lnTo>
                    <a:pt x="389" y="71"/>
                  </a:lnTo>
                  <a:lnTo>
                    <a:pt x="384" y="71"/>
                  </a:lnTo>
                  <a:close/>
                  <a:moveTo>
                    <a:pt x="500" y="246"/>
                  </a:moveTo>
                  <a:lnTo>
                    <a:pt x="496" y="255"/>
                  </a:lnTo>
                  <a:lnTo>
                    <a:pt x="505" y="264"/>
                  </a:lnTo>
                  <a:lnTo>
                    <a:pt x="518" y="286"/>
                  </a:lnTo>
                  <a:lnTo>
                    <a:pt x="527" y="273"/>
                  </a:lnTo>
                  <a:lnTo>
                    <a:pt x="532" y="259"/>
                  </a:lnTo>
                  <a:lnTo>
                    <a:pt x="523" y="241"/>
                  </a:lnTo>
                  <a:lnTo>
                    <a:pt x="500" y="246"/>
                  </a:lnTo>
                  <a:close/>
                  <a:moveTo>
                    <a:pt x="585" y="183"/>
                  </a:moveTo>
                  <a:lnTo>
                    <a:pt x="616" y="179"/>
                  </a:lnTo>
                  <a:lnTo>
                    <a:pt x="621" y="156"/>
                  </a:lnTo>
                  <a:lnTo>
                    <a:pt x="630" y="161"/>
                  </a:lnTo>
                  <a:lnTo>
                    <a:pt x="625" y="143"/>
                  </a:lnTo>
                  <a:lnTo>
                    <a:pt x="621" y="143"/>
                  </a:lnTo>
                  <a:lnTo>
                    <a:pt x="634" y="112"/>
                  </a:lnTo>
                  <a:lnTo>
                    <a:pt x="630" y="76"/>
                  </a:lnTo>
                  <a:lnTo>
                    <a:pt x="612" y="71"/>
                  </a:lnTo>
                  <a:lnTo>
                    <a:pt x="608" y="85"/>
                  </a:lnTo>
                  <a:lnTo>
                    <a:pt x="599" y="76"/>
                  </a:lnTo>
                  <a:lnTo>
                    <a:pt x="590" y="71"/>
                  </a:lnTo>
                  <a:lnTo>
                    <a:pt x="581" y="80"/>
                  </a:lnTo>
                  <a:lnTo>
                    <a:pt x="590" y="98"/>
                  </a:lnTo>
                  <a:lnTo>
                    <a:pt x="599" y="103"/>
                  </a:lnTo>
                  <a:lnTo>
                    <a:pt x="594" y="107"/>
                  </a:lnTo>
                  <a:lnTo>
                    <a:pt x="594" y="125"/>
                  </a:lnTo>
                  <a:lnTo>
                    <a:pt x="581" y="103"/>
                  </a:lnTo>
                  <a:lnTo>
                    <a:pt x="576" y="89"/>
                  </a:lnTo>
                  <a:lnTo>
                    <a:pt x="563" y="89"/>
                  </a:lnTo>
                  <a:lnTo>
                    <a:pt x="563" y="103"/>
                  </a:lnTo>
                  <a:lnTo>
                    <a:pt x="572" y="103"/>
                  </a:lnTo>
                  <a:lnTo>
                    <a:pt x="567" y="112"/>
                  </a:lnTo>
                  <a:lnTo>
                    <a:pt x="576" y="138"/>
                  </a:lnTo>
                  <a:lnTo>
                    <a:pt x="572" y="143"/>
                  </a:lnTo>
                  <a:lnTo>
                    <a:pt x="563" y="138"/>
                  </a:lnTo>
                  <a:lnTo>
                    <a:pt x="549" y="152"/>
                  </a:lnTo>
                  <a:lnTo>
                    <a:pt x="549" y="161"/>
                  </a:lnTo>
                  <a:lnTo>
                    <a:pt x="576" y="152"/>
                  </a:lnTo>
                  <a:lnTo>
                    <a:pt x="594" y="152"/>
                  </a:lnTo>
                  <a:lnTo>
                    <a:pt x="585" y="161"/>
                  </a:lnTo>
                  <a:lnTo>
                    <a:pt x="585" y="174"/>
                  </a:lnTo>
                  <a:lnTo>
                    <a:pt x="585" y="183"/>
                  </a:lnTo>
                  <a:close/>
                  <a:moveTo>
                    <a:pt x="603" y="246"/>
                  </a:moveTo>
                  <a:lnTo>
                    <a:pt x="594" y="237"/>
                  </a:lnTo>
                  <a:lnTo>
                    <a:pt x="581" y="246"/>
                  </a:lnTo>
                  <a:lnTo>
                    <a:pt x="581" y="255"/>
                  </a:lnTo>
                  <a:lnTo>
                    <a:pt x="572" y="259"/>
                  </a:lnTo>
                  <a:lnTo>
                    <a:pt x="594" y="290"/>
                  </a:lnTo>
                  <a:lnTo>
                    <a:pt x="590" y="295"/>
                  </a:lnTo>
                  <a:lnTo>
                    <a:pt x="567" y="273"/>
                  </a:lnTo>
                  <a:lnTo>
                    <a:pt x="558" y="277"/>
                  </a:lnTo>
                  <a:lnTo>
                    <a:pt x="554" y="290"/>
                  </a:lnTo>
                  <a:lnTo>
                    <a:pt x="567" y="308"/>
                  </a:lnTo>
                  <a:lnTo>
                    <a:pt x="563" y="317"/>
                  </a:lnTo>
                  <a:lnTo>
                    <a:pt x="585" y="317"/>
                  </a:lnTo>
                  <a:lnTo>
                    <a:pt x="603" y="348"/>
                  </a:lnTo>
                  <a:lnTo>
                    <a:pt x="603" y="371"/>
                  </a:lnTo>
                  <a:lnTo>
                    <a:pt x="621" y="371"/>
                  </a:lnTo>
                  <a:lnTo>
                    <a:pt x="625" y="357"/>
                  </a:lnTo>
                  <a:lnTo>
                    <a:pt x="621" y="344"/>
                  </a:lnTo>
                  <a:lnTo>
                    <a:pt x="639" y="340"/>
                  </a:lnTo>
                  <a:lnTo>
                    <a:pt x="639" y="286"/>
                  </a:lnTo>
                  <a:lnTo>
                    <a:pt x="630" y="295"/>
                  </a:lnTo>
                  <a:lnTo>
                    <a:pt x="621" y="277"/>
                  </a:lnTo>
                  <a:lnTo>
                    <a:pt x="634" y="264"/>
                  </a:lnTo>
                  <a:lnTo>
                    <a:pt x="634" y="255"/>
                  </a:lnTo>
                  <a:lnTo>
                    <a:pt x="639" y="246"/>
                  </a:lnTo>
                  <a:lnTo>
                    <a:pt x="639" y="237"/>
                  </a:lnTo>
                  <a:lnTo>
                    <a:pt x="603" y="246"/>
                  </a:lnTo>
                  <a:close/>
                  <a:moveTo>
                    <a:pt x="657" y="241"/>
                  </a:moveTo>
                  <a:lnTo>
                    <a:pt x="666" y="250"/>
                  </a:lnTo>
                  <a:lnTo>
                    <a:pt x="652" y="246"/>
                  </a:lnTo>
                  <a:lnTo>
                    <a:pt x="652" y="273"/>
                  </a:lnTo>
                  <a:lnTo>
                    <a:pt x="652" y="308"/>
                  </a:lnTo>
                  <a:lnTo>
                    <a:pt x="661" y="313"/>
                  </a:lnTo>
                  <a:lnTo>
                    <a:pt x="661" y="340"/>
                  </a:lnTo>
                  <a:lnTo>
                    <a:pt x="675" y="344"/>
                  </a:lnTo>
                  <a:lnTo>
                    <a:pt x="675" y="335"/>
                  </a:lnTo>
                  <a:lnTo>
                    <a:pt x="688" y="322"/>
                  </a:lnTo>
                  <a:lnTo>
                    <a:pt x="683" y="304"/>
                  </a:lnTo>
                  <a:lnTo>
                    <a:pt x="666" y="304"/>
                  </a:lnTo>
                  <a:lnTo>
                    <a:pt x="666" y="295"/>
                  </a:lnTo>
                  <a:lnTo>
                    <a:pt x="688" y="295"/>
                  </a:lnTo>
                  <a:lnTo>
                    <a:pt x="715" y="304"/>
                  </a:lnTo>
                  <a:lnTo>
                    <a:pt x="733" y="250"/>
                  </a:lnTo>
                  <a:lnTo>
                    <a:pt x="719" y="241"/>
                  </a:lnTo>
                  <a:lnTo>
                    <a:pt x="679" y="228"/>
                  </a:lnTo>
                  <a:lnTo>
                    <a:pt x="657" y="241"/>
                  </a:lnTo>
                  <a:close/>
                  <a:moveTo>
                    <a:pt x="666" y="143"/>
                  </a:moveTo>
                  <a:lnTo>
                    <a:pt x="652" y="152"/>
                  </a:lnTo>
                  <a:lnTo>
                    <a:pt x="643" y="170"/>
                  </a:lnTo>
                  <a:lnTo>
                    <a:pt x="643" y="179"/>
                  </a:lnTo>
                  <a:lnTo>
                    <a:pt x="657" y="179"/>
                  </a:lnTo>
                  <a:lnTo>
                    <a:pt x="683" y="197"/>
                  </a:lnTo>
                  <a:lnTo>
                    <a:pt x="688" y="192"/>
                  </a:lnTo>
                  <a:lnTo>
                    <a:pt x="683" y="161"/>
                  </a:lnTo>
                  <a:lnTo>
                    <a:pt x="666" y="143"/>
                  </a:lnTo>
                  <a:close/>
                  <a:moveTo>
                    <a:pt x="697" y="76"/>
                  </a:moveTo>
                  <a:lnTo>
                    <a:pt x="688" y="89"/>
                  </a:lnTo>
                  <a:lnTo>
                    <a:pt x="692" y="71"/>
                  </a:lnTo>
                  <a:lnTo>
                    <a:pt x="679" y="62"/>
                  </a:lnTo>
                  <a:lnTo>
                    <a:pt x="657" y="54"/>
                  </a:lnTo>
                  <a:lnTo>
                    <a:pt x="634" y="58"/>
                  </a:lnTo>
                  <a:lnTo>
                    <a:pt x="639" y="76"/>
                  </a:lnTo>
                  <a:lnTo>
                    <a:pt x="661" y="103"/>
                  </a:lnTo>
                  <a:lnTo>
                    <a:pt x="683" y="107"/>
                  </a:lnTo>
                  <a:lnTo>
                    <a:pt x="697" y="98"/>
                  </a:lnTo>
                  <a:lnTo>
                    <a:pt x="710" y="138"/>
                  </a:lnTo>
                  <a:lnTo>
                    <a:pt x="701" y="152"/>
                  </a:lnTo>
                  <a:lnTo>
                    <a:pt x="710" y="197"/>
                  </a:lnTo>
                  <a:lnTo>
                    <a:pt x="719" y="205"/>
                  </a:lnTo>
                  <a:lnTo>
                    <a:pt x="724" y="197"/>
                  </a:lnTo>
                  <a:lnTo>
                    <a:pt x="737" y="210"/>
                  </a:lnTo>
                  <a:lnTo>
                    <a:pt x="746" y="205"/>
                  </a:lnTo>
                  <a:lnTo>
                    <a:pt x="750" y="197"/>
                  </a:lnTo>
                  <a:lnTo>
                    <a:pt x="759" y="192"/>
                  </a:lnTo>
                  <a:lnTo>
                    <a:pt x="759" y="205"/>
                  </a:lnTo>
                  <a:lnTo>
                    <a:pt x="782" y="205"/>
                  </a:lnTo>
                  <a:lnTo>
                    <a:pt x="809" y="205"/>
                  </a:lnTo>
                  <a:lnTo>
                    <a:pt x="826" y="205"/>
                  </a:lnTo>
                  <a:lnTo>
                    <a:pt x="835" y="192"/>
                  </a:lnTo>
                  <a:lnTo>
                    <a:pt x="840" y="201"/>
                  </a:lnTo>
                  <a:lnTo>
                    <a:pt x="853" y="210"/>
                  </a:lnTo>
                  <a:lnTo>
                    <a:pt x="871" y="201"/>
                  </a:lnTo>
                  <a:lnTo>
                    <a:pt x="871" y="192"/>
                  </a:lnTo>
                  <a:lnTo>
                    <a:pt x="884" y="188"/>
                  </a:lnTo>
                  <a:lnTo>
                    <a:pt x="880" y="179"/>
                  </a:lnTo>
                  <a:lnTo>
                    <a:pt x="871" y="179"/>
                  </a:lnTo>
                  <a:lnTo>
                    <a:pt x="884" y="165"/>
                  </a:lnTo>
                  <a:lnTo>
                    <a:pt x="884" y="143"/>
                  </a:lnTo>
                  <a:lnTo>
                    <a:pt x="867" y="134"/>
                  </a:lnTo>
                  <a:lnTo>
                    <a:pt x="849" y="130"/>
                  </a:lnTo>
                  <a:lnTo>
                    <a:pt x="835" y="134"/>
                  </a:lnTo>
                  <a:lnTo>
                    <a:pt x="826" y="130"/>
                  </a:lnTo>
                  <a:lnTo>
                    <a:pt x="800" y="138"/>
                  </a:lnTo>
                  <a:lnTo>
                    <a:pt x="791" y="152"/>
                  </a:lnTo>
                  <a:lnTo>
                    <a:pt x="773" y="143"/>
                  </a:lnTo>
                  <a:lnTo>
                    <a:pt x="759" y="138"/>
                  </a:lnTo>
                  <a:lnTo>
                    <a:pt x="750" y="143"/>
                  </a:lnTo>
                  <a:lnTo>
                    <a:pt x="737" y="134"/>
                  </a:lnTo>
                  <a:lnTo>
                    <a:pt x="737" y="125"/>
                  </a:lnTo>
                  <a:lnTo>
                    <a:pt x="724" y="121"/>
                  </a:lnTo>
                  <a:lnTo>
                    <a:pt x="733" y="116"/>
                  </a:lnTo>
                  <a:lnTo>
                    <a:pt x="724" y="112"/>
                  </a:lnTo>
                  <a:lnTo>
                    <a:pt x="724" y="107"/>
                  </a:lnTo>
                  <a:lnTo>
                    <a:pt x="746" y="107"/>
                  </a:lnTo>
                  <a:lnTo>
                    <a:pt x="750" y="103"/>
                  </a:lnTo>
                  <a:lnTo>
                    <a:pt x="719" y="89"/>
                  </a:lnTo>
                  <a:lnTo>
                    <a:pt x="728" y="85"/>
                  </a:lnTo>
                  <a:lnTo>
                    <a:pt x="710" y="67"/>
                  </a:lnTo>
                  <a:lnTo>
                    <a:pt x="701" y="76"/>
                  </a:lnTo>
                  <a:lnTo>
                    <a:pt x="697" y="76"/>
                  </a:lnTo>
                  <a:close/>
                  <a:moveTo>
                    <a:pt x="777" y="670"/>
                  </a:moveTo>
                  <a:lnTo>
                    <a:pt x="800" y="666"/>
                  </a:lnTo>
                  <a:lnTo>
                    <a:pt x="804" y="688"/>
                  </a:lnTo>
                  <a:lnTo>
                    <a:pt x="817" y="675"/>
                  </a:lnTo>
                  <a:lnTo>
                    <a:pt x="822" y="666"/>
                  </a:lnTo>
                  <a:lnTo>
                    <a:pt x="831" y="652"/>
                  </a:lnTo>
                  <a:lnTo>
                    <a:pt x="849" y="657"/>
                  </a:lnTo>
                  <a:lnTo>
                    <a:pt x="844" y="666"/>
                  </a:lnTo>
                  <a:lnTo>
                    <a:pt x="867" y="670"/>
                  </a:lnTo>
                  <a:lnTo>
                    <a:pt x="876" y="661"/>
                  </a:lnTo>
                  <a:lnTo>
                    <a:pt x="867" y="652"/>
                  </a:lnTo>
                  <a:lnTo>
                    <a:pt x="853" y="652"/>
                  </a:lnTo>
                  <a:lnTo>
                    <a:pt x="853" y="639"/>
                  </a:lnTo>
                  <a:lnTo>
                    <a:pt x="822" y="612"/>
                  </a:lnTo>
                  <a:lnTo>
                    <a:pt x="817" y="608"/>
                  </a:lnTo>
                  <a:lnTo>
                    <a:pt x="813" y="617"/>
                  </a:lnTo>
                  <a:lnTo>
                    <a:pt x="804" y="599"/>
                  </a:lnTo>
                  <a:lnTo>
                    <a:pt x="800" y="594"/>
                  </a:lnTo>
                  <a:lnTo>
                    <a:pt x="791" y="612"/>
                  </a:lnTo>
                  <a:lnTo>
                    <a:pt x="786" y="634"/>
                  </a:lnTo>
                  <a:lnTo>
                    <a:pt x="791" y="657"/>
                  </a:lnTo>
                  <a:lnTo>
                    <a:pt x="777" y="657"/>
                  </a:lnTo>
                  <a:lnTo>
                    <a:pt x="777" y="670"/>
                  </a:lnTo>
                  <a:close/>
                  <a:moveTo>
                    <a:pt x="791" y="0"/>
                  </a:moveTo>
                  <a:lnTo>
                    <a:pt x="800" y="13"/>
                  </a:lnTo>
                  <a:lnTo>
                    <a:pt x="809" y="18"/>
                  </a:lnTo>
                  <a:lnTo>
                    <a:pt x="826" y="18"/>
                  </a:lnTo>
                  <a:lnTo>
                    <a:pt x="831" y="31"/>
                  </a:lnTo>
                  <a:lnTo>
                    <a:pt x="791" y="22"/>
                  </a:lnTo>
                  <a:lnTo>
                    <a:pt x="782" y="4"/>
                  </a:lnTo>
                  <a:lnTo>
                    <a:pt x="768" y="0"/>
                  </a:lnTo>
                  <a:lnTo>
                    <a:pt x="755" y="9"/>
                  </a:lnTo>
                  <a:lnTo>
                    <a:pt x="768" y="31"/>
                  </a:lnTo>
                  <a:lnTo>
                    <a:pt x="777" y="31"/>
                  </a:lnTo>
                  <a:lnTo>
                    <a:pt x="777" y="40"/>
                  </a:lnTo>
                  <a:lnTo>
                    <a:pt x="759" y="45"/>
                  </a:lnTo>
                  <a:lnTo>
                    <a:pt x="746" y="62"/>
                  </a:lnTo>
                  <a:lnTo>
                    <a:pt x="742" y="80"/>
                  </a:lnTo>
                  <a:lnTo>
                    <a:pt x="759" y="89"/>
                  </a:lnTo>
                  <a:lnTo>
                    <a:pt x="782" y="98"/>
                  </a:lnTo>
                  <a:lnTo>
                    <a:pt x="809" y="98"/>
                  </a:lnTo>
                  <a:lnTo>
                    <a:pt x="809" y="89"/>
                  </a:lnTo>
                  <a:lnTo>
                    <a:pt x="817" y="85"/>
                  </a:lnTo>
                  <a:lnTo>
                    <a:pt x="822" y="76"/>
                  </a:lnTo>
                  <a:lnTo>
                    <a:pt x="831" y="94"/>
                  </a:lnTo>
                  <a:lnTo>
                    <a:pt x="858" y="85"/>
                  </a:lnTo>
                  <a:lnTo>
                    <a:pt x="867" y="94"/>
                  </a:lnTo>
                  <a:lnTo>
                    <a:pt x="862" y="107"/>
                  </a:lnTo>
                  <a:lnTo>
                    <a:pt x="867" y="112"/>
                  </a:lnTo>
                  <a:lnTo>
                    <a:pt x="893" y="89"/>
                  </a:lnTo>
                  <a:lnTo>
                    <a:pt x="907" y="71"/>
                  </a:lnTo>
                  <a:lnTo>
                    <a:pt x="907" y="58"/>
                  </a:lnTo>
                  <a:lnTo>
                    <a:pt x="889" y="58"/>
                  </a:lnTo>
                  <a:lnTo>
                    <a:pt x="889" y="40"/>
                  </a:lnTo>
                  <a:lnTo>
                    <a:pt x="867" y="36"/>
                  </a:lnTo>
                  <a:lnTo>
                    <a:pt x="853" y="45"/>
                  </a:lnTo>
                  <a:lnTo>
                    <a:pt x="849" y="40"/>
                  </a:lnTo>
                  <a:lnTo>
                    <a:pt x="858" y="36"/>
                  </a:lnTo>
                  <a:lnTo>
                    <a:pt x="849" y="22"/>
                  </a:lnTo>
                  <a:lnTo>
                    <a:pt x="858" y="18"/>
                  </a:lnTo>
                  <a:lnTo>
                    <a:pt x="871" y="31"/>
                  </a:lnTo>
                  <a:lnTo>
                    <a:pt x="902" y="31"/>
                  </a:lnTo>
                  <a:lnTo>
                    <a:pt x="911" y="18"/>
                  </a:lnTo>
                  <a:lnTo>
                    <a:pt x="907" y="18"/>
                  </a:lnTo>
                  <a:lnTo>
                    <a:pt x="911" y="4"/>
                  </a:lnTo>
                  <a:lnTo>
                    <a:pt x="925" y="0"/>
                  </a:lnTo>
                  <a:lnTo>
                    <a:pt x="925" y="0"/>
                  </a:lnTo>
                  <a:lnTo>
                    <a:pt x="791" y="0"/>
                  </a:lnTo>
                  <a:close/>
                  <a:moveTo>
                    <a:pt x="831" y="693"/>
                  </a:moveTo>
                  <a:lnTo>
                    <a:pt x="822" y="706"/>
                  </a:lnTo>
                  <a:lnTo>
                    <a:pt x="826" y="715"/>
                  </a:lnTo>
                  <a:lnTo>
                    <a:pt x="835" y="715"/>
                  </a:lnTo>
                  <a:lnTo>
                    <a:pt x="849" y="697"/>
                  </a:lnTo>
                  <a:lnTo>
                    <a:pt x="849" y="688"/>
                  </a:lnTo>
                  <a:lnTo>
                    <a:pt x="844" y="688"/>
                  </a:lnTo>
                  <a:lnTo>
                    <a:pt x="840" y="693"/>
                  </a:lnTo>
                  <a:lnTo>
                    <a:pt x="831" y="693"/>
                  </a:lnTo>
                  <a:close/>
                  <a:moveTo>
                    <a:pt x="831" y="1122"/>
                  </a:moveTo>
                  <a:lnTo>
                    <a:pt x="849" y="1131"/>
                  </a:lnTo>
                  <a:lnTo>
                    <a:pt x="853" y="1122"/>
                  </a:lnTo>
                  <a:lnTo>
                    <a:pt x="831" y="1122"/>
                  </a:lnTo>
                  <a:close/>
                  <a:moveTo>
                    <a:pt x="871" y="438"/>
                  </a:moveTo>
                  <a:lnTo>
                    <a:pt x="880" y="451"/>
                  </a:lnTo>
                  <a:lnTo>
                    <a:pt x="889" y="442"/>
                  </a:lnTo>
                  <a:lnTo>
                    <a:pt x="889" y="433"/>
                  </a:lnTo>
                  <a:lnTo>
                    <a:pt x="902" y="429"/>
                  </a:lnTo>
                  <a:lnTo>
                    <a:pt x="898" y="411"/>
                  </a:lnTo>
                  <a:lnTo>
                    <a:pt x="889" y="402"/>
                  </a:lnTo>
                  <a:lnTo>
                    <a:pt x="893" y="398"/>
                  </a:lnTo>
                  <a:lnTo>
                    <a:pt x="907" y="416"/>
                  </a:lnTo>
                  <a:lnTo>
                    <a:pt x="916" y="416"/>
                  </a:lnTo>
                  <a:lnTo>
                    <a:pt x="916" y="438"/>
                  </a:lnTo>
                  <a:lnTo>
                    <a:pt x="929" y="438"/>
                  </a:lnTo>
                  <a:lnTo>
                    <a:pt x="920" y="447"/>
                  </a:lnTo>
                  <a:lnTo>
                    <a:pt x="943" y="460"/>
                  </a:lnTo>
                  <a:lnTo>
                    <a:pt x="929" y="469"/>
                  </a:lnTo>
                  <a:lnTo>
                    <a:pt x="929" y="483"/>
                  </a:lnTo>
                  <a:lnTo>
                    <a:pt x="947" y="465"/>
                  </a:lnTo>
                  <a:lnTo>
                    <a:pt x="965" y="487"/>
                  </a:lnTo>
                  <a:lnTo>
                    <a:pt x="969" y="500"/>
                  </a:lnTo>
                  <a:lnTo>
                    <a:pt x="983" y="500"/>
                  </a:lnTo>
                  <a:lnTo>
                    <a:pt x="992" y="527"/>
                  </a:lnTo>
                  <a:lnTo>
                    <a:pt x="1005" y="527"/>
                  </a:lnTo>
                  <a:lnTo>
                    <a:pt x="992" y="532"/>
                  </a:lnTo>
                  <a:lnTo>
                    <a:pt x="983" y="559"/>
                  </a:lnTo>
                  <a:lnTo>
                    <a:pt x="1005" y="559"/>
                  </a:lnTo>
                  <a:lnTo>
                    <a:pt x="1010" y="541"/>
                  </a:lnTo>
                  <a:lnTo>
                    <a:pt x="1036" y="572"/>
                  </a:lnTo>
                  <a:lnTo>
                    <a:pt x="1010" y="585"/>
                  </a:lnTo>
                  <a:lnTo>
                    <a:pt x="1001" y="567"/>
                  </a:lnTo>
                  <a:lnTo>
                    <a:pt x="978" y="563"/>
                  </a:lnTo>
                  <a:lnTo>
                    <a:pt x="960" y="585"/>
                  </a:lnTo>
                  <a:lnTo>
                    <a:pt x="974" y="594"/>
                  </a:lnTo>
                  <a:lnTo>
                    <a:pt x="974" y="612"/>
                  </a:lnTo>
                  <a:lnTo>
                    <a:pt x="965" y="608"/>
                  </a:lnTo>
                  <a:lnTo>
                    <a:pt x="934" y="612"/>
                  </a:lnTo>
                  <a:lnTo>
                    <a:pt x="916" y="603"/>
                  </a:lnTo>
                  <a:lnTo>
                    <a:pt x="902" y="626"/>
                  </a:lnTo>
                  <a:lnTo>
                    <a:pt x="902" y="639"/>
                  </a:lnTo>
                  <a:lnTo>
                    <a:pt x="911" y="648"/>
                  </a:lnTo>
                  <a:lnTo>
                    <a:pt x="925" y="648"/>
                  </a:lnTo>
                  <a:lnTo>
                    <a:pt x="929" y="643"/>
                  </a:lnTo>
                  <a:lnTo>
                    <a:pt x="965" y="643"/>
                  </a:lnTo>
                  <a:lnTo>
                    <a:pt x="1001" y="666"/>
                  </a:lnTo>
                  <a:lnTo>
                    <a:pt x="992" y="675"/>
                  </a:lnTo>
                  <a:lnTo>
                    <a:pt x="996" y="688"/>
                  </a:lnTo>
                  <a:lnTo>
                    <a:pt x="1010" y="688"/>
                  </a:lnTo>
                  <a:lnTo>
                    <a:pt x="1014" y="697"/>
                  </a:lnTo>
                  <a:lnTo>
                    <a:pt x="1005" y="693"/>
                  </a:lnTo>
                  <a:lnTo>
                    <a:pt x="1010" y="706"/>
                  </a:lnTo>
                  <a:lnTo>
                    <a:pt x="1018" y="706"/>
                  </a:lnTo>
                  <a:lnTo>
                    <a:pt x="1023" y="697"/>
                  </a:lnTo>
                  <a:lnTo>
                    <a:pt x="1081" y="724"/>
                  </a:lnTo>
                  <a:lnTo>
                    <a:pt x="1081" y="710"/>
                  </a:lnTo>
                  <a:lnTo>
                    <a:pt x="1041" y="666"/>
                  </a:lnTo>
                  <a:lnTo>
                    <a:pt x="1041" y="657"/>
                  </a:lnTo>
                  <a:lnTo>
                    <a:pt x="1094" y="693"/>
                  </a:lnTo>
                  <a:lnTo>
                    <a:pt x="1103" y="661"/>
                  </a:lnTo>
                  <a:lnTo>
                    <a:pt x="1094" y="634"/>
                  </a:lnTo>
                  <a:lnTo>
                    <a:pt x="1072" y="626"/>
                  </a:lnTo>
                  <a:lnTo>
                    <a:pt x="1050" y="590"/>
                  </a:lnTo>
                  <a:lnTo>
                    <a:pt x="1063" y="590"/>
                  </a:lnTo>
                  <a:lnTo>
                    <a:pt x="1063" y="585"/>
                  </a:lnTo>
                  <a:lnTo>
                    <a:pt x="1063" y="581"/>
                  </a:lnTo>
                  <a:lnTo>
                    <a:pt x="1072" y="576"/>
                  </a:lnTo>
                  <a:lnTo>
                    <a:pt x="1103" y="621"/>
                  </a:lnTo>
                  <a:lnTo>
                    <a:pt x="1117" y="626"/>
                  </a:lnTo>
                  <a:lnTo>
                    <a:pt x="1117" y="599"/>
                  </a:lnTo>
                  <a:lnTo>
                    <a:pt x="1135" y="603"/>
                  </a:lnTo>
                  <a:lnTo>
                    <a:pt x="1139" y="585"/>
                  </a:lnTo>
                  <a:lnTo>
                    <a:pt x="1152" y="567"/>
                  </a:lnTo>
                  <a:lnTo>
                    <a:pt x="1139" y="545"/>
                  </a:lnTo>
                  <a:lnTo>
                    <a:pt x="1121" y="541"/>
                  </a:lnTo>
                  <a:lnTo>
                    <a:pt x="1121" y="532"/>
                  </a:lnTo>
                  <a:lnTo>
                    <a:pt x="1094" y="505"/>
                  </a:lnTo>
                  <a:lnTo>
                    <a:pt x="1068" y="500"/>
                  </a:lnTo>
                  <a:lnTo>
                    <a:pt x="1068" y="487"/>
                  </a:lnTo>
                  <a:lnTo>
                    <a:pt x="1054" y="487"/>
                  </a:lnTo>
                  <a:lnTo>
                    <a:pt x="1054" y="456"/>
                  </a:lnTo>
                  <a:lnTo>
                    <a:pt x="1068" y="460"/>
                  </a:lnTo>
                  <a:lnTo>
                    <a:pt x="1077" y="451"/>
                  </a:lnTo>
                  <a:lnTo>
                    <a:pt x="1054" y="438"/>
                  </a:lnTo>
                  <a:lnTo>
                    <a:pt x="1068" y="433"/>
                  </a:lnTo>
                  <a:lnTo>
                    <a:pt x="1054" y="411"/>
                  </a:lnTo>
                  <a:lnTo>
                    <a:pt x="1041" y="420"/>
                  </a:lnTo>
                  <a:lnTo>
                    <a:pt x="1050" y="407"/>
                  </a:lnTo>
                  <a:lnTo>
                    <a:pt x="1023" y="398"/>
                  </a:lnTo>
                  <a:lnTo>
                    <a:pt x="1005" y="407"/>
                  </a:lnTo>
                  <a:lnTo>
                    <a:pt x="1014" y="389"/>
                  </a:lnTo>
                  <a:lnTo>
                    <a:pt x="1014" y="375"/>
                  </a:lnTo>
                  <a:lnTo>
                    <a:pt x="1005" y="375"/>
                  </a:lnTo>
                  <a:lnTo>
                    <a:pt x="1010" y="362"/>
                  </a:lnTo>
                  <a:lnTo>
                    <a:pt x="1005" y="353"/>
                  </a:lnTo>
                  <a:lnTo>
                    <a:pt x="983" y="344"/>
                  </a:lnTo>
                  <a:lnTo>
                    <a:pt x="978" y="357"/>
                  </a:lnTo>
                  <a:lnTo>
                    <a:pt x="969" y="335"/>
                  </a:lnTo>
                  <a:lnTo>
                    <a:pt x="956" y="344"/>
                  </a:lnTo>
                  <a:lnTo>
                    <a:pt x="956" y="335"/>
                  </a:lnTo>
                  <a:lnTo>
                    <a:pt x="965" y="326"/>
                  </a:lnTo>
                  <a:lnTo>
                    <a:pt x="960" y="317"/>
                  </a:lnTo>
                  <a:lnTo>
                    <a:pt x="951" y="317"/>
                  </a:lnTo>
                  <a:lnTo>
                    <a:pt x="947" y="313"/>
                  </a:lnTo>
                  <a:lnTo>
                    <a:pt x="951" y="308"/>
                  </a:lnTo>
                  <a:lnTo>
                    <a:pt x="951" y="295"/>
                  </a:lnTo>
                  <a:lnTo>
                    <a:pt x="920" y="281"/>
                  </a:lnTo>
                  <a:lnTo>
                    <a:pt x="907" y="295"/>
                  </a:lnTo>
                  <a:lnTo>
                    <a:pt x="911" y="304"/>
                  </a:lnTo>
                  <a:lnTo>
                    <a:pt x="902" y="304"/>
                  </a:lnTo>
                  <a:lnTo>
                    <a:pt x="902" y="313"/>
                  </a:lnTo>
                  <a:lnTo>
                    <a:pt x="889" y="304"/>
                  </a:lnTo>
                  <a:lnTo>
                    <a:pt x="884" y="308"/>
                  </a:lnTo>
                  <a:lnTo>
                    <a:pt x="880" y="299"/>
                  </a:lnTo>
                  <a:lnTo>
                    <a:pt x="871" y="326"/>
                  </a:lnTo>
                  <a:lnTo>
                    <a:pt x="871" y="290"/>
                  </a:lnTo>
                  <a:lnTo>
                    <a:pt x="867" y="268"/>
                  </a:lnTo>
                  <a:lnTo>
                    <a:pt x="862" y="264"/>
                  </a:lnTo>
                  <a:lnTo>
                    <a:pt x="858" y="241"/>
                  </a:lnTo>
                  <a:lnTo>
                    <a:pt x="840" y="241"/>
                  </a:lnTo>
                  <a:lnTo>
                    <a:pt x="809" y="259"/>
                  </a:lnTo>
                  <a:lnTo>
                    <a:pt x="813" y="268"/>
                  </a:lnTo>
                  <a:lnTo>
                    <a:pt x="804" y="273"/>
                  </a:lnTo>
                  <a:lnTo>
                    <a:pt x="804" y="304"/>
                  </a:lnTo>
                  <a:lnTo>
                    <a:pt x="809" y="308"/>
                  </a:lnTo>
                  <a:lnTo>
                    <a:pt x="804" y="331"/>
                  </a:lnTo>
                  <a:lnTo>
                    <a:pt x="804" y="344"/>
                  </a:lnTo>
                  <a:lnTo>
                    <a:pt x="817" y="344"/>
                  </a:lnTo>
                  <a:lnTo>
                    <a:pt x="813" y="371"/>
                  </a:lnTo>
                  <a:lnTo>
                    <a:pt x="795" y="375"/>
                  </a:lnTo>
                  <a:lnTo>
                    <a:pt x="795" y="371"/>
                  </a:lnTo>
                  <a:lnTo>
                    <a:pt x="809" y="362"/>
                  </a:lnTo>
                  <a:lnTo>
                    <a:pt x="804" y="357"/>
                  </a:lnTo>
                  <a:lnTo>
                    <a:pt x="791" y="322"/>
                  </a:lnTo>
                  <a:lnTo>
                    <a:pt x="795" y="304"/>
                  </a:lnTo>
                  <a:lnTo>
                    <a:pt x="791" y="290"/>
                  </a:lnTo>
                  <a:lnTo>
                    <a:pt x="809" y="241"/>
                  </a:lnTo>
                  <a:lnTo>
                    <a:pt x="791" y="237"/>
                  </a:lnTo>
                  <a:lnTo>
                    <a:pt x="755" y="264"/>
                  </a:lnTo>
                  <a:lnTo>
                    <a:pt x="737" y="322"/>
                  </a:lnTo>
                  <a:lnTo>
                    <a:pt x="737" y="366"/>
                  </a:lnTo>
                  <a:lnTo>
                    <a:pt x="768" y="371"/>
                  </a:lnTo>
                  <a:lnTo>
                    <a:pt x="777" y="384"/>
                  </a:lnTo>
                  <a:lnTo>
                    <a:pt x="759" y="380"/>
                  </a:lnTo>
                  <a:lnTo>
                    <a:pt x="742" y="380"/>
                  </a:lnTo>
                  <a:lnTo>
                    <a:pt x="759" y="416"/>
                  </a:lnTo>
                  <a:lnTo>
                    <a:pt x="773" y="420"/>
                  </a:lnTo>
                  <a:lnTo>
                    <a:pt x="786" y="411"/>
                  </a:lnTo>
                  <a:lnTo>
                    <a:pt x="800" y="429"/>
                  </a:lnTo>
                  <a:lnTo>
                    <a:pt x="831" y="429"/>
                  </a:lnTo>
                  <a:lnTo>
                    <a:pt x="853" y="438"/>
                  </a:lnTo>
                  <a:lnTo>
                    <a:pt x="858" y="429"/>
                  </a:lnTo>
                  <a:lnTo>
                    <a:pt x="871" y="438"/>
                  </a:lnTo>
                  <a:close/>
                  <a:moveTo>
                    <a:pt x="880" y="702"/>
                  </a:moveTo>
                  <a:lnTo>
                    <a:pt x="871" y="715"/>
                  </a:lnTo>
                  <a:lnTo>
                    <a:pt x="871" y="724"/>
                  </a:lnTo>
                  <a:lnTo>
                    <a:pt x="880" y="728"/>
                  </a:lnTo>
                  <a:lnTo>
                    <a:pt x="884" y="733"/>
                  </a:lnTo>
                  <a:lnTo>
                    <a:pt x="889" y="706"/>
                  </a:lnTo>
                  <a:lnTo>
                    <a:pt x="884" y="702"/>
                  </a:lnTo>
                  <a:lnTo>
                    <a:pt x="880" y="702"/>
                  </a:lnTo>
                  <a:close/>
                  <a:moveTo>
                    <a:pt x="934" y="496"/>
                  </a:moveTo>
                  <a:lnTo>
                    <a:pt x="920" y="514"/>
                  </a:lnTo>
                  <a:lnTo>
                    <a:pt x="920" y="536"/>
                  </a:lnTo>
                  <a:lnTo>
                    <a:pt x="929" y="536"/>
                  </a:lnTo>
                  <a:lnTo>
                    <a:pt x="943" y="536"/>
                  </a:lnTo>
                  <a:lnTo>
                    <a:pt x="951" y="523"/>
                  </a:lnTo>
                  <a:lnTo>
                    <a:pt x="947" y="505"/>
                  </a:lnTo>
                  <a:lnTo>
                    <a:pt x="951" y="496"/>
                  </a:lnTo>
                  <a:lnTo>
                    <a:pt x="934" y="496"/>
                  </a:lnTo>
                  <a:close/>
                  <a:moveTo>
                    <a:pt x="956" y="1148"/>
                  </a:moveTo>
                  <a:lnTo>
                    <a:pt x="1001" y="1144"/>
                  </a:lnTo>
                  <a:lnTo>
                    <a:pt x="1014" y="1122"/>
                  </a:lnTo>
                  <a:lnTo>
                    <a:pt x="1032" y="1095"/>
                  </a:lnTo>
                  <a:lnTo>
                    <a:pt x="1036" y="1099"/>
                  </a:lnTo>
                  <a:lnTo>
                    <a:pt x="1045" y="1095"/>
                  </a:lnTo>
                  <a:lnTo>
                    <a:pt x="1054" y="1135"/>
                  </a:lnTo>
                  <a:lnTo>
                    <a:pt x="1063" y="1139"/>
                  </a:lnTo>
                  <a:lnTo>
                    <a:pt x="1077" y="1139"/>
                  </a:lnTo>
                  <a:lnTo>
                    <a:pt x="1094" y="1135"/>
                  </a:lnTo>
                  <a:lnTo>
                    <a:pt x="1108" y="1139"/>
                  </a:lnTo>
                  <a:lnTo>
                    <a:pt x="1099" y="1139"/>
                  </a:lnTo>
                  <a:lnTo>
                    <a:pt x="1081" y="1153"/>
                  </a:lnTo>
                  <a:lnTo>
                    <a:pt x="1077" y="1166"/>
                  </a:lnTo>
                  <a:lnTo>
                    <a:pt x="1090" y="1175"/>
                  </a:lnTo>
                  <a:lnTo>
                    <a:pt x="1103" y="1153"/>
                  </a:lnTo>
                  <a:lnTo>
                    <a:pt x="1117" y="1157"/>
                  </a:lnTo>
                  <a:lnTo>
                    <a:pt x="1152" y="1139"/>
                  </a:lnTo>
                  <a:lnTo>
                    <a:pt x="1152" y="1131"/>
                  </a:lnTo>
                  <a:lnTo>
                    <a:pt x="1157" y="1135"/>
                  </a:lnTo>
                  <a:lnTo>
                    <a:pt x="1166" y="1131"/>
                  </a:lnTo>
                  <a:lnTo>
                    <a:pt x="1175" y="1122"/>
                  </a:lnTo>
                  <a:lnTo>
                    <a:pt x="1170" y="1117"/>
                  </a:lnTo>
                  <a:lnTo>
                    <a:pt x="1166" y="1117"/>
                  </a:lnTo>
                  <a:lnTo>
                    <a:pt x="1161" y="1122"/>
                  </a:lnTo>
                  <a:lnTo>
                    <a:pt x="1166" y="1099"/>
                  </a:lnTo>
                  <a:lnTo>
                    <a:pt x="1157" y="1099"/>
                  </a:lnTo>
                  <a:lnTo>
                    <a:pt x="1148" y="1122"/>
                  </a:lnTo>
                  <a:lnTo>
                    <a:pt x="1152" y="1131"/>
                  </a:lnTo>
                  <a:lnTo>
                    <a:pt x="1139" y="1126"/>
                  </a:lnTo>
                  <a:lnTo>
                    <a:pt x="1126" y="1131"/>
                  </a:lnTo>
                  <a:lnTo>
                    <a:pt x="1108" y="1122"/>
                  </a:lnTo>
                  <a:lnTo>
                    <a:pt x="1094" y="1104"/>
                  </a:lnTo>
                  <a:lnTo>
                    <a:pt x="1099" y="1090"/>
                  </a:lnTo>
                  <a:lnTo>
                    <a:pt x="1094" y="1086"/>
                  </a:lnTo>
                  <a:lnTo>
                    <a:pt x="1085" y="1095"/>
                  </a:lnTo>
                  <a:lnTo>
                    <a:pt x="1077" y="1081"/>
                  </a:lnTo>
                  <a:lnTo>
                    <a:pt x="1077" y="1077"/>
                  </a:lnTo>
                  <a:lnTo>
                    <a:pt x="1090" y="1081"/>
                  </a:lnTo>
                  <a:lnTo>
                    <a:pt x="1108" y="1072"/>
                  </a:lnTo>
                  <a:lnTo>
                    <a:pt x="1103" y="1059"/>
                  </a:lnTo>
                  <a:lnTo>
                    <a:pt x="1094" y="1055"/>
                  </a:lnTo>
                  <a:lnTo>
                    <a:pt x="1085" y="1050"/>
                  </a:lnTo>
                  <a:lnTo>
                    <a:pt x="1077" y="1055"/>
                  </a:lnTo>
                  <a:lnTo>
                    <a:pt x="1045" y="1068"/>
                  </a:lnTo>
                  <a:lnTo>
                    <a:pt x="1023" y="1095"/>
                  </a:lnTo>
                  <a:lnTo>
                    <a:pt x="1014" y="1108"/>
                  </a:lnTo>
                  <a:lnTo>
                    <a:pt x="996" y="1113"/>
                  </a:lnTo>
                  <a:lnTo>
                    <a:pt x="956" y="1148"/>
                  </a:lnTo>
                  <a:close/>
                  <a:moveTo>
                    <a:pt x="1085" y="733"/>
                  </a:moveTo>
                  <a:lnTo>
                    <a:pt x="1099" y="746"/>
                  </a:lnTo>
                  <a:lnTo>
                    <a:pt x="1103" y="733"/>
                  </a:lnTo>
                  <a:lnTo>
                    <a:pt x="1099" y="728"/>
                  </a:lnTo>
                  <a:lnTo>
                    <a:pt x="1085" y="733"/>
                  </a:lnTo>
                  <a:close/>
                  <a:moveTo>
                    <a:pt x="1103" y="1041"/>
                  </a:moveTo>
                  <a:lnTo>
                    <a:pt x="1117" y="1050"/>
                  </a:lnTo>
                  <a:lnTo>
                    <a:pt x="1117" y="1055"/>
                  </a:lnTo>
                  <a:lnTo>
                    <a:pt x="1144" y="1059"/>
                  </a:lnTo>
                  <a:lnTo>
                    <a:pt x="1144" y="1050"/>
                  </a:lnTo>
                  <a:lnTo>
                    <a:pt x="1130" y="1046"/>
                  </a:lnTo>
                  <a:lnTo>
                    <a:pt x="1108" y="1041"/>
                  </a:lnTo>
                  <a:lnTo>
                    <a:pt x="1103" y="1041"/>
                  </a:lnTo>
                  <a:close/>
                  <a:moveTo>
                    <a:pt x="1112" y="1099"/>
                  </a:moveTo>
                  <a:lnTo>
                    <a:pt x="1103" y="1108"/>
                  </a:lnTo>
                  <a:lnTo>
                    <a:pt x="1117" y="1122"/>
                  </a:lnTo>
                  <a:lnTo>
                    <a:pt x="1130" y="1122"/>
                  </a:lnTo>
                  <a:lnTo>
                    <a:pt x="1139" y="1113"/>
                  </a:lnTo>
                  <a:lnTo>
                    <a:pt x="1117" y="1113"/>
                  </a:lnTo>
                  <a:lnTo>
                    <a:pt x="1112" y="1099"/>
                  </a:lnTo>
                  <a:close/>
                  <a:moveTo>
                    <a:pt x="1237" y="996"/>
                  </a:moveTo>
                  <a:lnTo>
                    <a:pt x="1228" y="996"/>
                  </a:lnTo>
                  <a:lnTo>
                    <a:pt x="1215" y="1005"/>
                  </a:lnTo>
                  <a:lnTo>
                    <a:pt x="1211" y="1010"/>
                  </a:lnTo>
                  <a:lnTo>
                    <a:pt x="1184" y="1068"/>
                  </a:lnTo>
                  <a:lnTo>
                    <a:pt x="1188" y="1072"/>
                  </a:lnTo>
                  <a:lnTo>
                    <a:pt x="1175" y="1081"/>
                  </a:lnTo>
                  <a:lnTo>
                    <a:pt x="1179" y="1090"/>
                  </a:lnTo>
                  <a:lnTo>
                    <a:pt x="1215" y="1090"/>
                  </a:lnTo>
                  <a:lnTo>
                    <a:pt x="1224" y="1086"/>
                  </a:lnTo>
                  <a:lnTo>
                    <a:pt x="1228" y="1090"/>
                  </a:lnTo>
                  <a:lnTo>
                    <a:pt x="1233" y="1086"/>
                  </a:lnTo>
                  <a:lnTo>
                    <a:pt x="1237" y="1086"/>
                  </a:lnTo>
                  <a:lnTo>
                    <a:pt x="1224" y="1104"/>
                  </a:lnTo>
                  <a:lnTo>
                    <a:pt x="1233" y="1104"/>
                  </a:lnTo>
                  <a:lnTo>
                    <a:pt x="1237" y="1095"/>
                  </a:lnTo>
                  <a:lnTo>
                    <a:pt x="1251" y="1081"/>
                  </a:lnTo>
                  <a:lnTo>
                    <a:pt x="1246" y="1099"/>
                  </a:lnTo>
                  <a:lnTo>
                    <a:pt x="1246" y="1108"/>
                  </a:lnTo>
                  <a:lnTo>
                    <a:pt x="1255" y="1095"/>
                  </a:lnTo>
                  <a:lnTo>
                    <a:pt x="1260" y="1108"/>
                  </a:lnTo>
                  <a:lnTo>
                    <a:pt x="1269" y="1104"/>
                  </a:lnTo>
                  <a:lnTo>
                    <a:pt x="1273" y="1095"/>
                  </a:lnTo>
                  <a:lnTo>
                    <a:pt x="1273" y="1086"/>
                  </a:lnTo>
                  <a:lnTo>
                    <a:pt x="1264" y="1095"/>
                  </a:lnTo>
                  <a:lnTo>
                    <a:pt x="1269" y="1077"/>
                  </a:lnTo>
                  <a:lnTo>
                    <a:pt x="1255" y="1086"/>
                  </a:lnTo>
                  <a:lnTo>
                    <a:pt x="1260" y="1077"/>
                  </a:lnTo>
                  <a:lnTo>
                    <a:pt x="1269" y="1072"/>
                  </a:lnTo>
                  <a:lnTo>
                    <a:pt x="1269" y="1063"/>
                  </a:lnTo>
                  <a:lnTo>
                    <a:pt x="1255" y="1072"/>
                  </a:lnTo>
                  <a:lnTo>
                    <a:pt x="1255" y="1063"/>
                  </a:lnTo>
                  <a:lnTo>
                    <a:pt x="1260" y="1055"/>
                  </a:lnTo>
                  <a:lnTo>
                    <a:pt x="1251" y="1046"/>
                  </a:lnTo>
                  <a:lnTo>
                    <a:pt x="1237" y="1055"/>
                  </a:lnTo>
                  <a:lnTo>
                    <a:pt x="1228" y="1055"/>
                  </a:lnTo>
                  <a:lnTo>
                    <a:pt x="1233" y="1037"/>
                  </a:lnTo>
                  <a:lnTo>
                    <a:pt x="1224" y="1032"/>
                  </a:lnTo>
                  <a:lnTo>
                    <a:pt x="1215" y="1050"/>
                  </a:lnTo>
                  <a:lnTo>
                    <a:pt x="1211" y="1046"/>
                  </a:lnTo>
                  <a:lnTo>
                    <a:pt x="1228" y="1019"/>
                  </a:lnTo>
                  <a:lnTo>
                    <a:pt x="1237" y="99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2" name="Freeform 68">
              <a:extLst>
                <a:ext uri="{FF2B5EF4-FFF2-40B4-BE49-F238E27FC236}">
                  <a16:creationId xmlns:a16="http://schemas.microsoft.com/office/drawing/2014/main" id="{75FDC2CD-C646-44E9-A68F-A00731AAB4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399" y="5022287"/>
              <a:ext cx="199126" cy="1072587"/>
            </a:xfrm>
            <a:custGeom>
              <a:avLst/>
              <a:gdLst/>
              <a:ahLst/>
              <a:cxnLst>
                <a:cxn ang="0">
                  <a:pos x="71" y="80"/>
                </a:cxn>
                <a:cxn ang="0">
                  <a:pos x="67" y="125"/>
                </a:cxn>
                <a:cxn ang="0">
                  <a:pos x="58" y="197"/>
                </a:cxn>
                <a:cxn ang="0">
                  <a:pos x="49" y="250"/>
                </a:cxn>
                <a:cxn ang="0">
                  <a:pos x="31" y="375"/>
                </a:cxn>
                <a:cxn ang="0">
                  <a:pos x="27" y="407"/>
                </a:cxn>
                <a:cxn ang="0">
                  <a:pos x="27" y="438"/>
                </a:cxn>
                <a:cxn ang="0">
                  <a:pos x="27" y="465"/>
                </a:cxn>
                <a:cxn ang="0">
                  <a:pos x="9" y="500"/>
                </a:cxn>
                <a:cxn ang="0">
                  <a:pos x="4" y="518"/>
                </a:cxn>
                <a:cxn ang="0">
                  <a:pos x="18" y="527"/>
                </a:cxn>
                <a:cxn ang="0">
                  <a:pos x="13" y="599"/>
                </a:cxn>
                <a:cxn ang="0">
                  <a:pos x="18" y="626"/>
                </a:cxn>
                <a:cxn ang="0">
                  <a:pos x="27" y="652"/>
                </a:cxn>
                <a:cxn ang="0">
                  <a:pos x="49" y="666"/>
                </a:cxn>
                <a:cxn ang="0">
                  <a:pos x="85" y="643"/>
                </a:cxn>
                <a:cxn ang="0">
                  <a:pos x="40" y="621"/>
                </a:cxn>
                <a:cxn ang="0">
                  <a:pos x="27" y="576"/>
                </a:cxn>
                <a:cxn ang="0">
                  <a:pos x="49" y="509"/>
                </a:cxn>
                <a:cxn ang="0">
                  <a:pos x="49" y="474"/>
                </a:cxn>
                <a:cxn ang="0">
                  <a:pos x="49" y="465"/>
                </a:cxn>
                <a:cxn ang="0">
                  <a:pos x="54" y="416"/>
                </a:cxn>
                <a:cxn ang="0">
                  <a:pos x="54" y="371"/>
                </a:cxn>
                <a:cxn ang="0">
                  <a:pos x="58" y="317"/>
                </a:cxn>
                <a:cxn ang="0">
                  <a:pos x="80" y="268"/>
                </a:cxn>
                <a:cxn ang="0">
                  <a:pos x="67" y="223"/>
                </a:cxn>
                <a:cxn ang="0">
                  <a:pos x="76" y="188"/>
                </a:cxn>
                <a:cxn ang="0">
                  <a:pos x="89" y="138"/>
                </a:cxn>
                <a:cxn ang="0">
                  <a:pos x="116" y="80"/>
                </a:cxn>
                <a:cxn ang="0">
                  <a:pos x="94" y="22"/>
                </a:cxn>
                <a:cxn ang="0">
                  <a:pos x="71" y="9"/>
                </a:cxn>
                <a:cxn ang="0">
                  <a:pos x="67" y="675"/>
                </a:cxn>
                <a:cxn ang="0">
                  <a:pos x="71" y="675"/>
                </a:cxn>
                <a:cxn ang="0">
                  <a:pos x="98" y="643"/>
                </a:cxn>
                <a:cxn ang="0">
                  <a:pos x="76" y="666"/>
                </a:cxn>
                <a:cxn ang="0">
                  <a:pos x="80" y="679"/>
                </a:cxn>
                <a:cxn ang="0">
                  <a:pos x="13" y="648"/>
                </a:cxn>
                <a:cxn ang="0">
                  <a:pos x="27" y="670"/>
                </a:cxn>
                <a:cxn ang="0">
                  <a:pos x="49" y="679"/>
                </a:cxn>
                <a:cxn ang="0">
                  <a:pos x="54" y="697"/>
                </a:cxn>
                <a:cxn ang="0">
                  <a:pos x="71" y="702"/>
                </a:cxn>
                <a:cxn ang="0">
                  <a:pos x="76" y="702"/>
                </a:cxn>
                <a:cxn ang="0">
                  <a:pos x="89" y="724"/>
                </a:cxn>
                <a:cxn ang="0">
                  <a:pos x="94" y="724"/>
                </a:cxn>
                <a:cxn ang="0">
                  <a:pos x="107" y="715"/>
                </a:cxn>
                <a:cxn ang="0">
                  <a:pos x="107" y="710"/>
                </a:cxn>
                <a:cxn ang="0">
                  <a:pos x="121" y="706"/>
                </a:cxn>
                <a:cxn ang="0">
                  <a:pos x="98" y="702"/>
                </a:cxn>
              </a:cxnLst>
              <a:rect l="0" t="0" r="r" b="b"/>
              <a:pathLst>
                <a:path w="125" h="724">
                  <a:moveTo>
                    <a:pt x="71" y="9"/>
                  </a:moveTo>
                  <a:lnTo>
                    <a:pt x="71" y="31"/>
                  </a:lnTo>
                  <a:lnTo>
                    <a:pt x="71" y="80"/>
                  </a:lnTo>
                  <a:lnTo>
                    <a:pt x="67" y="85"/>
                  </a:lnTo>
                  <a:lnTo>
                    <a:pt x="67" y="121"/>
                  </a:lnTo>
                  <a:lnTo>
                    <a:pt x="67" y="125"/>
                  </a:lnTo>
                  <a:lnTo>
                    <a:pt x="67" y="138"/>
                  </a:lnTo>
                  <a:lnTo>
                    <a:pt x="54" y="183"/>
                  </a:lnTo>
                  <a:lnTo>
                    <a:pt x="58" y="197"/>
                  </a:lnTo>
                  <a:lnTo>
                    <a:pt x="49" y="205"/>
                  </a:lnTo>
                  <a:lnTo>
                    <a:pt x="54" y="241"/>
                  </a:lnTo>
                  <a:lnTo>
                    <a:pt x="49" y="250"/>
                  </a:lnTo>
                  <a:lnTo>
                    <a:pt x="54" y="259"/>
                  </a:lnTo>
                  <a:lnTo>
                    <a:pt x="27" y="326"/>
                  </a:lnTo>
                  <a:lnTo>
                    <a:pt x="31" y="375"/>
                  </a:lnTo>
                  <a:lnTo>
                    <a:pt x="22" y="380"/>
                  </a:lnTo>
                  <a:lnTo>
                    <a:pt x="27" y="398"/>
                  </a:lnTo>
                  <a:lnTo>
                    <a:pt x="27" y="407"/>
                  </a:lnTo>
                  <a:lnTo>
                    <a:pt x="22" y="411"/>
                  </a:lnTo>
                  <a:lnTo>
                    <a:pt x="22" y="442"/>
                  </a:lnTo>
                  <a:lnTo>
                    <a:pt x="27" y="438"/>
                  </a:lnTo>
                  <a:lnTo>
                    <a:pt x="31" y="416"/>
                  </a:lnTo>
                  <a:lnTo>
                    <a:pt x="40" y="416"/>
                  </a:lnTo>
                  <a:lnTo>
                    <a:pt x="27" y="465"/>
                  </a:lnTo>
                  <a:lnTo>
                    <a:pt x="27" y="451"/>
                  </a:lnTo>
                  <a:lnTo>
                    <a:pt x="22" y="456"/>
                  </a:lnTo>
                  <a:lnTo>
                    <a:pt x="9" y="500"/>
                  </a:lnTo>
                  <a:lnTo>
                    <a:pt x="0" y="509"/>
                  </a:lnTo>
                  <a:lnTo>
                    <a:pt x="0" y="523"/>
                  </a:lnTo>
                  <a:lnTo>
                    <a:pt x="4" y="518"/>
                  </a:lnTo>
                  <a:lnTo>
                    <a:pt x="9" y="509"/>
                  </a:lnTo>
                  <a:lnTo>
                    <a:pt x="22" y="518"/>
                  </a:lnTo>
                  <a:lnTo>
                    <a:pt x="18" y="527"/>
                  </a:lnTo>
                  <a:lnTo>
                    <a:pt x="4" y="541"/>
                  </a:lnTo>
                  <a:lnTo>
                    <a:pt x="4" y="603"/>
                  </a:lnTo>
                  <a:lnTo>
                    <a:pt x="13" y="599"/>
                  </a:lnTo>
                  <a:lnTo>
                    <a:pt x="4" y="617"/>
                  </a:lnTo>
                  <a:lnTo>
                    <a:pt x="9" y="643"/>
                  </a:lnTo>
                  <a:lnTo>
                    <a:pt x="18" y="626"/>
                  </a:lnTo>
                  <a:lnTo>
                    <a:pt x="18" y="648"/>
                  </a:lnTo>
                  <a:lnTo>
                    <a:pt x="27" y="643"/>
                  </a:lnTo>
                  <a:lnTo>
                    <a:pt x="27" y="652"/>
                  </a:lnTo>
                  <a:lnTo>
                    <a:pt x="40" y="657"/>
                  </a:lnTo>
                  <a:lnTo>
                    <a:pt x="36" y="661"/>
                  </a:lnTo>
                  <a:lnTo>
                    <a:pt x="49" y="666"/>
                  </a:lnTo>
                  <a:lnTo>
                    <a:pt x="63" y="675"/>
                  </a:lnTo>
                  <a:lnTo>
                    <a:pt x="67" y="648"/>
                  </a:lnTo>
                  <a:lnTo>
                    <a:pt x="85" y="643"/>
                  </a:lnTo>
                  <a:lnTo>
                    <a:pt x="89" y="634"/>
                  </a:lnTo>
                  <a:lnTo>
                    <a:pt x="49" y="630"/>
                  </a:lnTo>
                  <a:lnTo>
                    <a:pt x="40" y="621"/>
                  </a:lnTo>
                  <a:lnTo>
                    <a:pt x="40" y="603"/>
                  </a:lnTo>
                  <a:lnTo>
                    <a:pt x="31" y="603"/>
                  </a:lnTo>
                  <a:lnTo>
                    <a:pt x="27" y="576"/>
                  </a:lnTo>
                  <a:lnTo>
                    <a:pt x="36" y="559"/>
                  </a:lnTo>
                  <a:lnTo>
                    <a:pt x="40" y="554"/>
                  </a:lnTo>
                  <a:lnTo>
                    <a:pt x="49" y="509"/>
                  </a:lnTo>
                  <a:lnTo>
                    <a:pt x="49" y="491"/>
                  </a:lnTo>
                  <a:lnTo>
                    <a:pt x="58" y="483"/>
                  </a:lnTo>
                  <a:lnTo>
                    <a:pt x="49" y="474"/>
                  </a:lnTo>
                  <a:lnTo>
                    <a:pt x="58" y="474"/>
                  </a:lnTo>
                  <a:lnTo>
                    <a:pt x="58" y="465"/>
                  </a:lnTo>
                  <a:lnTo>
                    <a:pt x="49" y="465"/>
                  </a:lnTo>
                  <a:lnTo>
                    <a:pt x="54" y="442"/>
                  </a:lnTo>
                  <a:lnTo>
                    <a:pt x="49" y="429"/>
                  </a:lnTo>
                  <a:lnTo>
                    <a:pt x="54" y="416"/>
                  </a:lnTo>
                  <a:lnTo>
                    <a:pt x="49" y="393"/>
                  </a:lnTo>
                  <a:lnTo>
                    <a:pt x="49" y="375"/>
                  </a:lnTo>
                  <a:lnTo>
                    <a:pt x="54" y="371"/>
                  </a:lnTo>
                  <a:lnTo>
                    <a:pt x="54" y="357"/>
                  </a:lnTo>
                  <a:lnTo>
                    <a:pt x="63" y="353"/>
                  </a:lnTo>
                  <a:lnTo>
                    <a:pt x="58" y="317"/>
                  </a:lnTo>
                  <a:lnTo>
                    <a:pt x="67" y="304"/>
                  </a:lnTo>
                  <a:lnTo>
                    <a:pt x="71" y="281"/>
                  </a:lnTo>
                  <a:lnTo>
                    <a:pt x="80" y="268"/>
                  </a:lnTo>
                  <a:lnTo>
                    <a:pt x="80" y="250"/>
                  </a:lnTo>
                  <a:lnTo>
                    <a:pt x="76" y="250"/>
                  </a:lnTo>
                  <a:lnTo>
                    <a:pt x="67" y="223"/>
                  </a:lnTo>
                  <a:lnTo>
                    <a:pt x="71" y="210"/>
                  </a:lnTo>
                  <a:lnTo>
                    <a:pt x="80" y="205"/>
                  </a:lnTo>
                  <a:lnTo>
                    <a:pt x="76" y="188"/>
                  </a:lnTo>
                  <a:lnTo>
                    <a:pt x="85" y="161"/>
                  </a:lnTo>
                  <a:lnTo>
                    <a:pt x="94" y="147"/>
                  </a:lnTo>
                  <a:lnTo>
                    <a:pt x="89" y="138"/>
                  </a:lnTo>
                  <a:lnTo>
                    <a:pt x="94" y="112"/>
                  </a:lnTo>
                  <a:lnTo>
                    <a:pt x="116" y="98"/>
                  </a:lnTo>
                  <a:lnTo>
                    <a:pt x="116" y="80"/>
                  </a:lnTo>
                  <a:lnTo>
                    <a:pt x="107" y="76"/>
                  </a:lnTo>
                  <a:lnTo>
                    <a:pt x="94" y="40"/>
                  </a:lnTo>
                  <a:lnTo>
                    <a:pt x="94" y="22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9"/>
                  </a:lnTo>
                  <a:close/>
                  <a:moveTo>
                    <a:pt x="71" y="666"/>
                  </a:moveTo>
                  <a:lnTo>
                    <a:pt x="71" y="670"/>
                  </a:lnTo>
                  <a:lnTo>
                    <a:pt x="67" y="675"/>
                  </a:lnTo>
                  <a:lnTo>
                    <a:pt x="67" y="679"/>
                  </a:lnTo>
                  <a:lnTo>
                    <a:pt x="71" y="679"/>
                  </a:lnTo>
                  <a:lnTo>
                    <a:pt x="71" y="675"/>
                  </a:lnTo>
                  <a:lnTo>
                    <a:pt x="76" y="675"/>
                  </a:lnTo>
                  <a:lnTo>
                    <a:pt x="71" y="666"/>
                  </a:lnTo>
                  <a:close/>
                  <a:moveTo>
                    <a:pt x="98" y="643"/>
                  </a:moveTo>
                  <a:lnTo>
                    <a:pt x="89" y="643"/>
                  </a:lnTo>
                  <a:lnTo>
                    <a:pt x="76" y="648"/>
                  </a:lnTo>
                  <a:lnTo>
                    <a:pt x="76" y="666"/>
                  </a:lnTo>
                  <a:lnTo>
                    <a:pt x="89" y="661"/>
                  </a:lnTo>
                  <a:lnTo>
                    <a:pt x="80" y="670"/>
                  </a:lnTo>
                  <a:lnTo>
                    <a:pt x="80" y="679"/>
                  </a:lnTo>
                  <a:lnTo>
                    <a:pt x="94" y="693"/>
                  </a:lnTo>
                  <a:lnTo>
                    <a:pt x="67" y="684"/>
                  </a:lnTo>
                  <a:lnTo>
                    <a:pt x="13" y="648"/>
                  </a:lnTo>
                  <a:lnTo>
                    <a:pt x="13" y="657"/>
                  </a:lnTo>
                  <a:lnTo>
                    <a:pt x="31" y="666"/>
                  </a:lnTo>
                  <a:lnTo>
                    <a:pt x="27" y="670"/>
                  </a:lnTo>
                  <a:lnTo>
                    <a:pt x="31" y="679"/>
                  </a:lnTo>
                  <a:lnTo>
                    <a:pt x="40" y="684"/>
                  </a:lnTo>
                  <a:lnTo>
                    <a:pt x="49" y="679"/>
                  </a:lnTo>
                  <a:lnTo>
                    <a:pt x="63" y="688"/>
                  </a:lnTo>
                  <a:lnTo>
                    <a:pt x="49" y="688"/>
                  </a:lnTo>
                  <a:lnTo>
                    <a:pt x="54" y="697"/>
                  </a:lnTo>
                  <a:lnTo>
                    <a:pt x="63" y="693"/>
                  </a:lnTo>
                  <a:lnTo>
                    <a:pt x="71" y="697"/>
                  </a:lnTo>
                  <a:lnTo>
                    <a:pt x="71" y="702"/>
                  </a:lnTo>
                  <a:lnTo>
                    <a:pt x="63" y="702"/>
                  </a:lnTo>
                  <a:lnTo>
                    <a:pt x="76" y="706"/>
                  </a:lnTo>
                  <a:lnTo>
                    <a:pt x="76" y="702"/>
                  </a:lnTo>
                  <a:lnTo>
                    <a:pt x="80" y="706"/>
                  </a:lnTo>
                  <a:lnTo>
                    <a:pt x="76" y="715"/>
                  </a:lnTo>
                  <a:lnTo>
                    <a:pt x="89" y="724"/>
                  </a:lnTo>
                  <a:lnTo>
                    <a:pt x="89" y="715"/>
                  </a:lnTo>
                  <a:lnTo>
                    <a:pt x="94" y="715"/>
                  </a:lnTo>
                  <a:lnTo>
                    <a:pt x="94" y="724"/>
                  </a:lnTo>
                  <a:lnTo>
                    <a:pt x="103" y="719"/>
                  </a:lnTo>
                  <a:lnTo>
                    <a:pt x="107" y="724"/>
                  </a:lnTo>
                  <a:lnTo>
                    <a:pt x="107" y="715"/>
                  </a:lnTo>
                  <a:lnTo>
                    <a:pt x="103" y="715"/>
                  </a:lnTo>
                  <a:lnTo>
                    <a:pt x="103" y="706"/>
                  </a:lnTo>
                  <a:lnTo>
                    <a:pt x="107" y="710"/>
                  </a:lnTo>
                  <a:lnTo>
                    <a:pt x="121" y="715"/>
                  </a:lnTo>
                  <a:lnTo>
                    <a:pt x="125" y="710"/>
                  </a:lnTo>
                  <a:lnTo>
                    <a:pt x="121" y="706"/>
                  </a:lnTo>
                  <a:lnTo>
                    <a:pt x="103" y="702"/>
                  </a:lnTo>
                  <a:lnTo>
                    <a:pt x="94" y="702"/>
                  </a:lnTo>
                  <a:lnTo>
                    <a:pt x="98" y="702"/>
                  </a:lnTo>
                  <a:lnTo>
                    <a:pt x="98" y="64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3" name="Freeform 69">
              <a:extLst>
                <a:ext uri="{FF2B5EF4-FFF2-40B4-BE49-F238E27FC236}">
                  <a16:creationId xmlns:a16="http://schemas.microsoft.com/office/drawing/2014/main" id="{9D4685BC-AB7B-4BFA-9442-66560EE3AF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0004" y="4360068"/>
              <a:ext cx="285149" cy="364443"/>
            </a:xfrm>
            <a:custGeom>
              <a:avLst/>
              <a:gdLst/>
              <a:ahLst/>
              <a:cxnLst>
                <a:cxn ang="0">
                  <a:pos x="22" y="174"/>
                </a:cxn>
                <a:cxn ang="0">
                  <a:pos x="36" y="174"/>
                </a:cxn>
                <a:cxn ang="0">
                  <a:pos x="71" y="192"/>
                </a:cxn>
                <a:cxn ang="0">
                  <a:pos x="107" y="210"/>
                </a:cxn>
                <a:cxn ang="0">
                  <a:pos x="121" y="241"/>
                </a:cxn>
                <a:cxn ang="0">
                  <a:pos x="147" y="201"/>
                </a:cxn>
                <a:cxn ang="0">
                  <a:pos x="134" y="192"/>
                </a:cxn>
                <a:cxn ang="0">
                  <a:pos x="143" y="183"/>
                </a:cxn>
                <a:cxn ang="0">
                  <a:pos x="134" y="174"/>
                </a:cxn>
                <a:cxn ang="0">
                  <a:pos x="156" y="161"/>
                </a:cxn>
                <a:cxn ang="0">
                  <a:pos x="170" y="165"/>
                </a:cxn>
                <a:cxn ang="0">
                  <a:pos x="174" y="143"/>
                </a:cxn>
                <a:cxn ang="0">
                  <a:pos x="170" y="134"/>
                </a:cxn>
                <a:cxn ang="0">
                  <a:pos x="165" y="112"/>
                </a:cxn>
                <a:cxn ang="0">
                  <a:pos x="143" y="94"/>
                </a:cxn>
                <a:cxn ang="0">
                  <a:pos x="107" y="85"/>
                </a:cxn>
                <a:cxn ang="0">
                  <a:pos x="98" y="63"/>
                </a:cxn>
                <a:cxn ang="0">
                  <a:pos x="85" y="54"/>
                </a:cxn>
                <a:cxn ang="0">
                  <a:pos x="89" y="31"/>
                </a:cxn>
                <a:cxn ang="0">
                  <a:pos x="107" y="9"/>
                </a:cxn>
                <a:cxn ang="0">
                  <a:pos x="116" y="0"/>
                </a:cxn>
                <a:cxn ang="0">
                  <a:pos x="85" y="18"/>
                </a:cxn>
                <a:cxn ang="0">
                  <a:pos x="71" y="22"/>
                </a:cxn>
                <a:cxn ang="0">
                  <a:pos x="49" y="31"/>
                </a:cxn>
                <a:cxn ang="0">
                  <a:pos x="49" y="40"/>
                </a:cxn>
                <a:cxn ang="0">
                  <a:pos x="31" y="58"/>
                </a:cxn>
                <a:cxn ang="0">
                  <a:pos x="27" y="58"/>
                </a:cxn>
                <a:cxn ang="0">
                  <a:pos x="18" y="76"/>
                </a:cxn>
                <a:cxn ang="0">
                  <a:pos x="27" y="89"/>
                </a:cxn>
                <a:cxn ang="0">
                  <a:pos x="27" y="121"/>
                </a:cxn>
                <a:cxn ang="0">
                  <a:pos x="22" y="143"/>
                </a:cxn>
                <a:cxn ang="0">
                  <a:pos x="9" y="152"/>
                </a:cxn>
                <a:cxn ang="0">
                  <a:pos x="0" y="161"/>
                </a:cxn>
              </a:cxnLst>
              <a:rect l="0" t="0" r="r" b="b"/>
              <a:pathLst>
                <a:path w="179" h="246">
                  <a:moveTo>
                    <a:pt x="9" y="161"/>
                  </a:moveTo>
                  <a:lnTo>
                    <a:pt x="22" y="174"/>
                  </a:lnTo>
                  <a:lnTo>
                    <a:pt x="27" y="179"/>
                  </a:lnTo>
                  <a:lnTo>
                    <a:pt x="36" y="174"/>
                  </a:lnTo>
                  <a:lnTo>
                    <a:pt x="58" y="188"/>
                  </a:lnTo>
                  <a:lnTo>
                    <a:pt x="71" y="192"/>
                  </a:lnTo>
                  <a:lnTo>
                    <a:pt x="94" y="215"/>
                  </a:lnTo>
                  <a:lnTo>
                    <a:pt x="107" y="210"/>
                  </a:lnTo>
                  <a:lnTo>
                    <a:pt x="134" y="219"/>
                  </a:lnTo>
                  <a:lnTo>
                    <a:pt x="121" y="241"/>
                  </a:lnTo>
                  <a:lnTo>
                    <a:pt x="129" y="246"/>
                  </a:lnTo>
                  <a:lnTo>
                    <a:pt x="147" y="201"/>
                  </a:lnTo>
                  <a:lnTo>
                    <a:pt x="143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43" y="183"/>
                  </a:lnTo>
                  <a:lnTo>
                    <a:pt x="147" y="174"/>
                  </a:lnTo>
                  <a:lnTo>
                    <a:pt x="134" y="174"/>
                  </a:lnTo>
                  <a:lnTo>
                    <a:pt x="138" y="161"/>
                  </a:lnTo>
                  <a:lnTo>
                    <a:pt x="156" y="161"/>
                  </a:lnTo>
                  <a:lnTo>
                    <a:pt x="170" y="152"/>
                  </a:lnTo>
                  <a:lnTo>
                    <a:pt x="170" y="165"/>
                  </a:lnTo>
                  <a:lnTo>
                    <a:pt x="179" y="165"/>
                  </a:lnTo>
                  <a:lnTo>
                    <a:pt x="174" y="143"/>
                  </a:lnTo>
                  <a:lnTo>
                    <a:pt x="161" y="148"/>
                  </a:lnTo>
                  <a:lnTo>
                    <a:pt x="170" y="134"/>
                  </a:lnTo>
                  <a:lnTo>
                    <a:pt x="165" y="130"/>
                  </a:lnTo>
                  <a:lnTo>
                    <a:pt x="165" y="112"/>
                  </a:lnTo>
                  <a:lnTo>
                    <a:pt x="170" y="89"/>
                  </a:lnTo>
                  <a:lnTo>
                    <a:pt x="143" y="94"/>
                  </a:lnTo>
                  <a:lnTo>
                    <a:pt x="134" y="80"/>
                  </a:lnTo>
                  <a:lnTo>
                    <a:pt x="107" y="85"/>
                  </a:lnTo>
                  <a:lnTo>
                    <a:pt x="94" y="72"/>
                  </a:lnTo>
                  <a:lnTo>
                    <a:pt x="98" y="6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9" y="49"/>
                  </a:lnTo>
                  <a:lnTo>
                    <a:pt x="89" y="31"/>
                  </a:lnTo>
                  <a:lnTo>
                    <a:pt x="98" y="18"/>
                  </a:lnTo>
                  <a:lnTo>
                    <a:pt x="107" y="9"/>
                  </a:lnTo>
                  <a:lnTo>
                    <a:pt x="116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85" y="18"/>
                  </a:lnTo>
                  <a:lnTo>
                    <a:pt x="76" y="18"/>
                  </a:lnTo>
                  <a:lnTo>
                    <a:pt x="71" y="22"/>
                  </a:lnTo>
                  <a:lnTo>
                    <a:pt x="62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31" y="58"/>
                  </a:lnTo>
                  <a:lnTo>
                    <a:pt x="31" y="72"/>
                  </a:lnTo>
                  <a:lnTo>
                    <a:pt x="27" y="58"/>
                  </a:lnTo>
                  <a:lnTo>
                    <a:pt x="27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7" y="89"/>
                  </a:lnTo>
                  <a:lnTo>
                    <a:pt x="22" y="98"/>
                  </a:lnTo>
                  <a:lnTo>
                    <a:pt x="27" y="121"/>
                  </a:lnTo>
                  <a:lnTo>
                    <a:pt x="27" y="125"/>
                  </a:lnTo>
                  <a:lnTo>
                    <a:pt x="22" y="143"/>
                  </a:lnTo>
                  <a:lnTo>
                    <a:pt x="13" y="143"/>
                  </a:lnTo>
                  <a:lnTo>
                    <a:pt x="9" y="152"/>
                  </a:lnTo>
                  <a:lnTo>
                    <a:pt x="9" y="156"/>
                  </a:lnTo>
                  <a:lnTo>
                    <a:pt x="0" y="161"/>
                  </a:lnTo>
                  <a:lnTo>
                    <a:pt x="9" y="16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4" name="Freeform 70">
              <a:extLst>
                <a:ext uri="{FF2B5EF4-FFF2-40B4-BE49-F238E27FC236}">
                  <a16:creationId xmlns:a16="http://schemas.microsoft.com/office/drawing/2014/main" id="{6CC48F3C-504F-4B35-BDEF-DCC144C77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0261" y="4392661"/>
              <a:ext cx="78057" cy="607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0" y="23"/>
                </a:cxn>
                <a:cxn ang="0">
                  <a:pos x="14" y="27"/>
                </a:cxn>
                <a:cxn ang="0">
                  <a:pos x="18" y="23"/>
                </a:cxn>
                <a:cxn ang="0">
                  <a:pos x="18" y="18"/>
                </a:cxn>
                <a:cxn ang="0">
                  <a:pos x="22" y="27"/>
                </a:cxn>
                <a:cxn ang="0">
                  <a:pos x="31" y="36"/>
                </a:cxn>
                <a:cxn ang="0">
                  <a:pos x="31" y="41"/>
                </a:cxn>
                <a:cxn ang="0">
                  <a:pos x="40" y="41"/>
                </a:cxn>
                <a:cxn ang="0">
                  <a:pos x="40" y="36"/>
                </a:cxn>
                <a:cxn ang="0">
                  <a:pos x="40" y="41"/>
                </a:cxn>
                <a:cxn ang="0">
                  <a:pos x="40" y="27"/>
                </a:cxn>
                <a:cxn ang="0">
                  <a:pos x="49" y="23"/>
                </a:cxn>
                <a:cxn ang="0">
                  <a:pos x="40" y="18"/>
                </a:cxn>
                <a:cxn ang="0">
                  <a:pos x="36" y="5"/>
                </a:cxn>
                <a:cxn ang="0">
                  <a:pos x="31" y="5"/>
                </a:cxn>
                <a:cxn ang="0">
                  <a:pos x="31" y="5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49" h="41">
                  <a:moveTo>
                    <a:pt x="0" y="0"/>
                  </a:moveTo>
                  <a:lnTo>
                    <a:pt x="0" y="9"/>
                  </a:lnTo>
                  <a:lnTo>
                    <a:pt x="5" y="9"/>
                  </a:lnTo>
                  <a:lnTo>
                    <a:pt x="0" y="14"/>
                  </a:lnTo>
                  <a:lnTo>
                    <a:pt x="0" y="23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18" y="18"/>
                  </a:lnTo>
                  <a:lnTo>
                    <a:pt x="22" y="27"/>
                  </a:lnTo>
                  <a:lnTo>
                    <a:pt x="31" y="36"/>
                  </a:lnTo>
                  <a:lnTo>
                    <a:pt x="31" y="41"/>
                  </a:lnTo>
                  <a:lnTo>
                    <a:pt x="40" y="41"/>
                  </a:lnTo>
                  <a:lnTo>
                    <a:pt x="40" y="36"/>
                  </a:lnTo>
                  <a:lnTo>
                    <a:pt x="40" y="41"/>
                  </a:lnTo>
                  <a:lnTo>
                    <a:pt x="40" y="27"/>
                  </a:lnTo>
                  <a:lnTo>
                    <a:pt x="49" y="23"/>
                  </a:lnTo>
                  <a:lnTo>
                    <a:pt x="40" y="18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5" name="Freeform 71">
              <a:extLst>
                <a:ext uri="{FF2B5EF4-FFF2-40B4-BE49-F238E27FC236}">
                  <a16:creationId xmlns:a16="http://schemas.microsoft.com/office/drawing/2014/main" id="{57AEC376-AB71-4D16-A648-A094684887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12563" y="4115625"/>
              <a:ext cx="254882" cy="85925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0" y="22"/>
                </a:cxn>
                <a:cxn ang="0">
                  <a:pos x="4" y="27"/>
                </a:cxn>
                <a:cxn ang="0">
                  <a:pos x="17" y="22"/>
                </a:cxn>
                <a:cxn ang="0">
                  <a:pos x="17" y="18"/>
                </a:cxn>
                <a:cxn ang="0">
                  <a:pos x="31" y="18"/>
                </a:cxn>
                <a:cxn ang="0">
                  <a:pos x="35" y="13"/>
                </a:cxn>
                <a:cxn ang="0">
                  <a:pos x="44" y="13"/>
                </a:cxn>
                <a:cxn ang="0">
                  <a:pos x="40" y="18"/>
                </a:cxn>
                <a:cxn ang="0">
                  <a:pos x="53" y="18"/>
                </a:cxn>
                <a:cxn ang="0">
                  <a:pos x="80" y="27"/>
                </a:cxn>
                <a:cxn ang="0">
                  <a:pos x="89" y="27"/>
                </a:cxn>
                <a:cxn ang="0">
                  <a:pos x="93" y="40"/>
                </a:cxn>
                <a:cxn ang="0">
                  <a:pos x="102" y="44"/>
                </a:cxn>
                <a:cxn ang="0">
                  <a:pos x="107" y="40"/>
                </a:cxn>
                <a:cxn ang="0">
                  <a:pos x="111" y="49"/>
                </a:cxn>
                <a:cxn ang="0">
                  <a:pos x="98" y="58"/>
                </a:cxn>
                <a:cxn ang="0">
                  <a:pos x="147" y="58"/>
                </a:cxn>
                <a:cxn ang="0">
                  <a:pos x="160" y="53"/>
                </a:cxn>
                <a:cxn ang="0">
                  <a:pos x="156" y="44"/>
                </a:cxn>
                <a:cxn ang="0">
                  <a:pos x="134" y="44"/>
                </a:cxn>
                <a:cxn ang="0">
                  <a:pos x="134" y="31"/>
                </a:cxn>
                <a:cxn ang="0">
                  <a:pos x="125" y="35"/>
                </a:cxn>
                <a:cxn ang="0">
                  <a:pos x="107" y="18"/>
                </a:cxn>
                <a:cxn ang="0">
                  <a:pos x="102" y="9"/>
                </a:cxn>
                <a:cxn ang="0">
                  <a:pos x="98" y="9"/>
                </a:cxn>
                <a:cxn ang="0">
                  <a:pos x="98" y="13"/>
                </a:cxn>
                <a:cxn ang="0">
                  <a:pos x="84" y="9"/>
                </a:cxn>
                <a:cxn ang="0">
                  <a:pos x="80" y="13"/>
                </a:cxn>
                <a:cxn ang="0">
                  <a:pos x="67" y="0"/>
                </a:cxn>
                <a:cxn ang="0">
                  <a:pos x="40" y="0"/>
                </a:cxn>
                <a:cxn ang="0">
                  <a:pos x="8" y="9"/>
                </a:cxn>
                <a:cxn ang="0">
                  <a:pos x="8" y="18"/>
                </a:cxn>
                <a:cxn ang="0">
                  <a:pos x="31" y="22"/>
                </a:cxn>
                <a:cxn ang="0">
                  <a:pos x="31" y="27"/>
                </a:cxn>
                <a:cxn ang="0">
                  <a:pos x="22" y="27"/>
                </a:cxn>
                <a:cxn ang="0">
                  <a:pos x="31" y="31"/>
                </a:cxn>
                <a:cxn ang="0">
                  <a:pos x="35" y="27"/>
                </a:cxn>
                <a:cxn ang="0">
                  <a:pos x="35" y="22"/>
                </a:cxn>
                <a:cxn ang="0">
                  <a:pos x="31" y="22"/>
                </a:cxn>
              </a:cxnLst>
              <a:rect l="0" t="0" r="r" b="b"/>
              <a:pathLst>
                <a:path w="160" h="58">
                  <a:moveTo>
                    <a:pt x="8" y="18"/>
                  </a:moveTo>
                  <a:lnTo>
                    <a:pt x="0" y="22"/>
                  </a:lnTo>
                  <a:lnTo>
                    <a:pt x="4" y="27"/>
                  </a:lnTo>
                  <a:lnTo>
                    <a:pt x="17" y="22"/>
                  </a:lnTo>
                  <a:lnTo>
                    <a:pt x="17" y="18"/>
                  </a:lnTo>
                  <a:lnTo>
                    <a:pt x="31" y="18"/>
                  </a:lnTo>
                  <a:lnTo>
                    <a:pt x="35" y="13"/>
                  </a:lnTo>
                  <a:lnTo>
                    <a:pt x="44" y="13"/>
                  </a:lnTo>
                  <a:lnTo>
                    <a:pt x="40" y="18"/>
                  </a:lnTo>
                  <a:lnTo>
                    <a:pt x="53" y="18"/>
                  </a:lnTo>
                  <a:lnTo>
                    <a:pt x="80" y="27"/>
                  </a:lnTo>
                  <a:lnTo>
                    <a:pt x="89" y="27"/>
                  </a:lnTo>
                  <a:lnTo>
                    <a:pt x="93" y="40"/>
                  </a:lnTo>
                  <a:lnTo>
                    <a:pt x="102" y="44"/>
                  </a:lnTo>
                  <a:lnTo>
                    <a:pt x="107" y="40"/>
                  </a:lnTo>
                  <a:lnTo>
                    <a:pt x="111" y="49"/>
                  </a:lnTo>
                  <a:lnTo>
                    <a:pt x="98" y="58"/>
                  </a:lnTo>
                  <a:lnTo>
                    <a:pt x="147" y="58"/>
                  </a:lnTo>
                  <a:lnTo>
                    <a:pt x="160" y="53"/>
                  </a:lnTo>
                  <a:lnTo>
                    <a:pt x="156" y="44"/>
                  </a:lnTo>
                  <a:lnTo>
                    <a:pt x="134" y="44"/>
                  </a:lnTo>
                  <a:lnTo>
                    <a:pt x="134" y="31"/>
                  </a:lnTo>
                  <a:lnTo>
                    <a:pt x="125" y="35"/>
                  </a:lnTo>
                  <a:lnTo>
                    <a:pt x="107" y="18"/>
                  </a:lnTo>
                  <a:lnTo>
                    <a:pt x="102" y="9"/>
                  </a:lnTo>
                  <a:lnTo>
                    <a:pt x="98" y="9"/>
                  </a:lnTo>
                  <a:lnTo>
                    <a:pt x="98" y="13"/>
                  </a:lnTo>
                  <a:lnTo>
                    <a:pt x="84" y="9"/>
                  </a:lnTo>
                  <a:lnTo>
                    <a:pt x="80" y="13"/>
                  </a:lnTo>
                  <a:lnTo>
                    <a:pt x="67" y="0"/>
                  </a:lnTo>
                  <a:lnTo>
                    <a:pt x="40" y="0"/>
                  </a:lnTo>
                  <a:lnTo>
                    <a:pt x="8" y="9"/>
                  </a:lnTo>
                  <a:lnTo>
                    <a:pt x="8" y="18"/>
                  </a:lnTo>
                  <a:close/>
                  <a:moveTo>
                    <a:pt x="31" y="22"/>
                  </a:moveTo>
                  <a:lnTo>
                    <a:pt x="31" y="27"/>
                  </a:lnTo>
                  <a:lnTo>
                    <a:pt x="22" y="27"/>
                  </a:lnTo>
                  <a:lnTo>
                    <a:pt x="31" y="31"/>
                  </a:lnTo>
                  <a:lnTo>
                    <a:pt x="35" y="27"/>
                  </a:lnTo>
                  <a:lnTo>
                    <a:pt x="35" y="22"/>
                  </a:lnTo>
                  <a:lnTo>
                    <a:pt x="31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6" name="Freeform 72">
              <a:extLst>
                <a:ext uri="{FF2B5EF4-FFF2-40B4-BE49-F238E27FC236}">
                  <a16:creationId xmlns:a16="http://schemas.microsoft.com/office/drawing/2014/main" id="{DFFEA9BB-B68E-4907-92C8-6BCCB30E88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4084" y="4201551"/>
              <a:ext cx="84430" cy="53333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3" y="36"/>
                </a:cxn>
                <a:cxn ang="0">
                  <a:pos x="18" y="22"/>
                </a:cxn>
                <a:cxn ang="0">
                  <a:pos x="22" y="18"/>
                </a:cxn>
                <a:cxn ang="0">
                  <a:pos x="22" y="22"/>
                </a:cxn>
                <a:cxn ang="0">
                  <a:pos x="35" y="18"/>
                </a:cxn>
                <a:cxn ang="0">
                  <a:pos x="44" y="18"/>
                </a:cxn>
                <a:cxn ang="0">
                  <a:pos x="49" y="22"/>
                </a:cxn>
                <a:cxn ang="0">
                  <a:pos x="53" y="18"/>
                </a:cxn>
                <a:cxn ang="0">
                  <a:pos x="53" y="13"/>
                </a:cxn>
                <a:cxn ang="0">
                  <a:pos x="44" y="9"/>
                </a:cxn>
                <a:cxn ang="0">
                  <a:pos x="40" y="4"/>
                </a:cxn>
                <a:cxn ang="0">
                  <a:pos x="35" y="4"/>
                </a:cxn>
                <a:cxn ang="0">
                  <a:pos x="31" y="0"/>
                </a:cxn>
                <a:cxn ang="0">
                  <a:pos x="26" y="0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4" y="9"/>
                </a:cxn>
                <a:cxn ang="0">
                  <a:pos x="0" y="22"/>
                </a:cxn>
              </a:cxnLst>
              <a:rect l="0" t="0" r="r" b="b"/>
              <a:pathLst>
                <a:path w="53" h="36">
                  <a:moveTo>
                    <a:pt x="0" y="22"/>
                  </a:moveTo>
                  <a:lnTo>
                    <a:pt x="13" y="36"/>
                  </a:lnTo>
                  <a:lnTo>
                    <a:pt x="18" y="22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35" y="18"/>
                  </a:lnTo>
                  <a:lnTo>
                    <a:pt x="44" y="18"/>
                  </a:lnTo>
                  <a:lnTo>
                    <a:pt x="49" y="22"/>
                  </a:lnTo>
                  <a:lnTo>
                    <a:pt x="53" y="18"/>
                  </a:lnTo>
                  <a:lnTo>
                    <a:pt x="53" y="13"/>
                  </a:lnTo>
                  <a:lnTo>
                    <a:pt x="44" y="9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7" name="Freeform 73">
              <a:extLst>
                <a:ext uri="{FF2B5EF4-FFF2-40B4-BE49-F238E27FC236}">
                  <a16:creationId xmlns:a16="http://schemas.microsoft.com/office/drawing/2014/main" id="{D15DF8BE-A958-4958-99C9-758334775A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62820" y="4598586"/>
              <a:ext cx="369578" cy="139259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0" y="27"/>
                </a:cxn>
                <a:cxn ang="0">
                  <a:pos x="4" y="36"/>
                </a:cxn>
                <a:cxn ang="0">
                  <a:pos x="0" y="40"/>
                </a:cxn>
                <a:cxn ang="0">
                  <a:pos x="4" y="45"/>
                </a:cxn>
                <a:cxn ang="0">
                  <a:pos x="9" y="40"/>
                </a:cxn>
                <a:cxn ang="0">
                  <a:pos x="4" y="22"/>
                </a:cxn>
                <a:cxn ang="0">
                  <a:pos x="13" y="31"/>
                </a:cxn>
                <a:cxn ang="0">
                  <a:pos x="13" y="31"/>
                </a:cxn>
                <a:cxn ang="0">
                  <a:pos x="18" y="40"/>
                </a:cxn>
                <a:cxn ang="0">
                  <a:pos x="18" y="36"/>
                </a:cxn>
                <a:cxn ang="0">
                  <a:pos x="13" y="31"/>
                </a:cxn>
                <a:cxn ang="0">
                  <a:pos x="161" y="76"/>
                </a:cxn>
                <a:cxn ang="0">
                  <a:pos x="161" y="80"/>
                </a:cxn>
                <a:cxn ang="0">
                  <a:pos x="156" y="85"/>
                </a:cxn>
                <a:cxn ang="0">
                  <a:pos x="161" y="94"/>
                </a:cxn>
                <a:cxn ang="0">
                  <a:pos x="183" y="94"/>
                </a:cxn>
                <a:cxn ang="0">
                  <a:pos x="187" y="71"/>
                </a:cxn>
                <a:cxn ang="0">
                  <a:pos x="210" y="62"/>
                </a:cxn>
                <a:cxn ang="0">
                  <a:pos x="232" y="36"/>
                </a:cxn>
                <a:cxn ang="0">
                  <a:pos x="232" y="27"/>
                </a:cxn>
                <a:cxn ang="0">
                  <a:pos x="210" y="13"/>
                </a:cxn>
                <a:cxn ang="0">
                  <a:pos x="201" y="18"/>
                </a:cxn>
                <a:cxn ang="0">
                  <a:pos x="196" y="13"/>
                </a:cxn>
                <a:cxn ang="0">
                  <a:pos x="183" y="0"/>
                </a:cxn>
                <a:cxn ang="0">
                  <a:pos x="161" y="9"/>
                </a:cxn>
                <a:cxn ang="0">
                  <a:pos x="165" y="18"/>
                </a:cxn>
                <a:cxn ang="0">
                  <a:pos x="156" y="36"/>
                </a:cxn>
                <a:cxn ang="0">
                  <a:pos x="152" y="36"/>
                </a:cxn>
                <a:cxn ang="0">
                  <a:pos x="152" y="45"/>
                </a:cxn>
                <a:cxn ang="0">
                  <a:pos x="147" y="58"/>
                </a:cxn>
                <a:cxn ang="0">
                  <a:pos x="156" y="62"/>
                </a:cxn>
                <a:cxn ang="0">
                  <a:pos x="169" y="58"/>
                </a:cxn>
                <a:cxn ang="0">
                  <a:pos x="169" y="62"/>
                </a:cxn>
                <a:cxn ang="0">
                  <a:pos x="161" y="76"/>
                </a:cxn>
              </a:cxnLst>
              <a:rect l="0" t="0" r="r" b="b"/>
              <a:pathLst>
                <a:path w="232" h="94">
                  <a:moveTo>
                    <a:pt x="4" y="22"/>
                  </a:moveTo>
                  <a:lnTo>
                    <a:pt x="0" y="27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4" y="45"/>
                  </a:lnTo>
                  <a:lnTo>
                    <a:pt x="9" y="40"/>
                  </a:lnTo>
                  <a:lnTo>
                    <a:pt x="4" y="22"/>
                  </a:lnTo>
                  <a:close/>
                  <a:moveTo>
                    <a:pt x="13" y="31"/>
                  </a:moveTo>
                  <a:lnTo>
                    <a:pt x="13" y="31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3" y="31"/>
                  </a:lnTo>
                  <a:close/>
                  <a:moveTo>
                    <a:pt x="161" y="76"/>
                  </a:moveTo>
                  <a:lnTo>
                    <a:pt x="161" y="80"/>
                  </a:lnTo>
                  <a:lnTo>
                    <a:pt x="156" y="85"/>
                  </a:lnTo>
                  <a:lnTo>
                    <a:pt x="161" y="94"/>
                  </a:lnTo>
                  <a:lnTo>
                    <a:pt x="183" y="94"/>
                  </a:lnTo>
                  <a:lnTo>
                    <a:pt x="187" y="71"/>
                  </a:lnTo>
                  <a:lnTo>
                    <a:pt x="210" y="62"/>
                  </a:lnTo>
                  <a:lnTo>
                    <a:pt x="232" y="36"/>
                  </a:lnTo>
                  <a:lnTo>
                    <a:pt x="232" y="27"/>
                  </a:lnTo>
                  <a:lnTo>
                    <a:pt x="210" y="13"/>
                  </a:lnTo>
                  <a:lnTo>
                    <a:pt x="201" y="18"/>
                  </a:lnTo>
                  <a:lnTo>
                    <a:pt x="196" y="13"/>
                  </a:lnTo>
                  <a:lnTo>
                    <a:pt x="183" y="0"/>
                  </a:lnTo>
                  <a:lnTo>
                    <a:pt x="161" y="9"/>
                  </a:lnTo>
                  <a:lnTo>
                    <a:pt x="165" y="18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52" y="45"/>
                  </a:lnTo>
                  <a:lnTo>
                    <a:pt x="147" y="58"/>
                  </a:lnTo>
                  <a:lnTo>
                    <a:pt x="156" y="62"/>
                  </a:lnTo>
                  <a:lnTo>
                    <a:pt x="169" y="58"/>
                  </a:lnTo>
                  <a:lnTo>
                    <a:pt x="169" y="62"/>
                  </a:lnTo>
                  <a:lnTo>
                    <a:pt x="161" y="7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8" name="Freeform 74">
              <a:extLst>
                <a:ext uri="{FF2B5EF4-FFF2-40B4-BE49-F238E27FC236}">
                  <a16:creationId xmlns:a16="http://schemas.microsoft.com/office/drawing/2014/main" id="{680193EA-269A-4D2F-B00B-82E9297DD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3529" y="4320069"/>
              <a:ext cx="57348" cy="3407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7" y="23"/>
                </a:cxn>
                <a:cxn ang="0">
                  <a:pos x="36" y="18"/>
                </a:cxn>
                <a:cxn ang="0">
                  <a:pos x="36" y="18"/>
                </a:cxn>
                <a:cxn ang="0">
                  <a:pos x="36" y="5"/>
                </a:cxn>
                <a:cxn ang="0">
                  <a:pos x="27" y="5"/>
                </a:cxn>
                <a:cxn ang="0">
                  <a:pos x="22" y="0"/>
                </a:cxn>
                <a:cxn ang="0">
                  <a:pos x="14" y="0"/>
                </a:cxn>
                <a:cxn ang="0">
                  <a:pos x="14" y="5"/>
                </a:cxn>
                <a:cxn ang="0">
                  <a:pos x="0" y="9"/>
                </a:cxn>
              </a:cxnLst>
              <a:rect l="0" t="0" r="r" b="b"/>
              <a:pathLst>
                <a:path w="36" h="23">
                  <a:moveTo>
                    <a:pt x="0" y="9"/>
                  </a:moveTo>
                  <a:lnTo>
                    <a:pt x="27" y="23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5"/>
                  </a:lnTo>
                  <a:lnTo>
                    <a:pt x="27" y="5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14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9" name="Freeform 75">
              <a:extLst>
                <a:ext uri="{FF2B5EF4-FFF2-40B4-BE49-F238E27FC236}">
                  <a16:creationId xmlns:a16="http://schemas.microsoft.com/office/drawing/2014/main" id="{B20003F8-D02C-40B5-B3D3-B63A5AE835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73303" y="5928949"/>
              <a:ext cx="71685" cy="40000"/>
            </a:xfrm>
            <a:custGeom>
              <a:avLst/>
              <a:gdLst/>
              <a:ahLst/>
              <a:cxnLst>
                <a:cxn ang="0">
                  <a:pos x="18" y="5"/>
                </a:cxn>
                <a:cxn ang="0">
                  <a:pos x="0" y="0"/>
                </a:cxn>
                <a:cxn ang="0">
                  <a:pos x="9" y="9"/>
                </a:cxn>
                <a:cxn ang="0">
                  <a:pos x="0" y="22"/>
                </a:cxn>
                <a:cxn ang="0">
                  <a:pos x="5" y="27"/>
                </a:cxn>
                <a:cxn ang="0">
                  <a:pos x="14" y="18"/>
                </a:cxn>
                <a:cxn ang="0">
                  <a:pos x="18" y="5"/>
                </a:cxn>
                <a:cxn ang="0">
                  <a:pos x="23" y="0"/>
                </a:cxn>
                <a:cxn ang="0">
                  <a:pos x="23" y="9"/>
                </a:cxn>
                <a:cxn ang="0">
                  <a:pos x="18" y="9"/>
                </a:cxn>
                <a:cxn ang="0">
                  <a:pos x="14" y="22"/>
                </a:cxn>
                <a:cxn ang="0">
                  <a:pos x="23" y="27"/>
                </a:cxn>
                <a:cxn ang="0">
                  <a:pos x="27" y="27"/>
                </a:cxn>
                <a:cxn ang="0">
                  <a:pos x="36" y="18"/>
                </a:cxn>
                <a:cxn ang="0">
                  <a:pos x="45" y="9"/>
                </a:cxn>
                <a:cxn ang="0">
                  <a:pos x="41" y="5"/>
                </a:cxn>
                <a:cxn ang="0">
                  <a:pos x="23" y="0"/>
                </a:cxn>
              </a:cxnLst>
              <a:rect l="0" t="0" r="r" b="b"/>
              <a:pathLst>
                <a:path w="45" h="27">
                  <a:moveTo>
                    <a:pt x="18" y="5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0" y="22"/>
                  </a:lnTo>
                  <a:lnTo>
                    <a:pt x="5" y="27"/>
                  </a:lnTo>
                  <a:lnTo>
                    <a:pt x="14" y="18"/>
                  </a:lnTo>
                  <a:lnTo>
                    <a:pt x="18" y="5"/>
                  </a:lnTo>
                  <a:close/>
                  <a:moveTo>
                    <a:pt x="23" y="0"/>
                  </a:moveTo>
                  <a:lnTo>
                    <a:pt x="23" y="9"/>
                  </a:lnTo>
                  <a:lnTo>
                    <a:pt x="18" y="9"/>
                  </a:lnTo>
                  <a:lnTo>
                    <a:pt x="14" y="22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36" y="18"/>
                  </a:lnTo>
                  <a:lnTo>
                    <a:pt x="45" y="9"/>
                  </a:lnTo>
                  <a:lnTo>
                    <a:pt x="41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0" name="Freeform 76">
              <a:extLst>
                <a:ext uri="{FF2B5EF4-FFF2-40B4-BE49-F238E27FC236}">
                  <a16:creationId xmlns:a16="http://schemas.microsoft.com/office/drawing/2014/main" id="{913C1D45-EB20-4849-B923-36FBBE88386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2337" y="4512660"/>
              <a:ext cx="70092" cy="78518"/>
            </a:xfrm>
            <a:custGeom>
              <a:avLst/>
              <a:gdLst/>
              <a:ahLst/>
              <a:cxnLst>
                <a:cxn ang="0">
                  <a:pos x="9" y="4"/>
                </a:cxn>
                <a:cxn ang="0">
                  <a:pos x="4" y="13"/>
                </a:cxn>
                <a:cxn ang="0">
                  <a:pos x="13" y="31"/>
                </a:cxn>
                <a:cxn ang="0">
                  <a:pos x="0" y="45"/>
                </a:cxn>
                <a:cxn ang="0">
                  <a:pos x="9" y="53"/>
                </a:cxn>
                <a:cxn ang="0">
                  <a:pos x="22" y="53"/>
                </a:cxn>
                <a:cxn ang="0">
                  <a:pos x="36" y="45"/>
                </a:cxn>
                <a:cxn ang="0">
                  <a:pos x="44" y="27"/>
                </a:cxn>
                <a:cxn ang="0">
                  <a:pos x="40" y="18"/>
                </a:cxn>
                <a:cxn ang="0">
                  <a:pos x="27" y="4"/>
                </a:cxn>
                <a:cxn ang="0">
                  <a:pos x="13" y="0"/>
                </a:cxn>
                <a:cxn ang="0">
                  <a:pos x="9" y="4"/>
                </a:cxn>
              </a:cxnLst>
              <a:rect l="0" t="0" r="r" b="b"/>
              <a:pathLst>
                <a:path w="44" h="53">
                  <a:moveTo>
                    <a:pt x="9" y="4"/>
                  </a:moveTo>
                  <a:lnTo>
                    <a:pt x="4" y="13"/>
                  </a:lnTo>
                  <a:lnTo>
                    <a:pt x="13" y="31"/>
                  </a:lnTo>
                  <a:lnTo>
                    <a:pt x="0" y="45"/>
                  </a:lnTo>
                  <a:lnTo>
                    <a:pt x="9" y="53"/>
                  </a:lnTo>
                  <a:lnTo>
                    <a:pt x="22" y="53"/>
                  </a:lnTo>
                  <a:lnTo>
                    <a:pt x="36" y="45"/>
                  </a:lnTo>
                  <a:lnTo>
                    <a:pt x="44" y="27"/>
                  </a:lnTo>
                  <a:lnTo>
                    <a:pt x="40" y="18"/>
                  </a:lnTo>
                  <a:lnTo>
                    <a:pt x="27" y="4"/>
                  </a:lnTo>
                  <a:lnTo>
                    <a:pt x="13" y="0"/>
                  </a:lnTo>
                  <a:lnTo>
                    <a:pt x="9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1" name="Freeform 78">
              <a:extLst>
                <a:ext uri="{FF2B5EF4-FFF2-40B4-BE49-F238E27FC236}">
                  <a16:creationId xmlns:a16="http://schemas.microsoft.com/office/drawing/2014/main" id="{36D5FA69-1D66-46ED-B99A-1D61DF0DA2E3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8257" y="4367476"/>
              <a:ext cx="14337" cy="5926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4"/>
                </a:cxn>
                <a:cxn ang="0">
                  <a:pos x="5" y="4"/>
                </a:cxn>
                <a:cxn ang="0">
                  <a:pos x="9" y="4"/>
                </a:cxn>
                <a:cxn ang="0">
                  <a:pos x="5" y="0"/>
                </a:cxn>
              </a:cxnLst>
              <a:rect l="0" t="0" r="r" b="b"/>
              <a:pathLst>
                <a:path w="9" h="4">
                  <a:moveTo>
                    <a:pt x="5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9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2" name="Freeform 79">
              <a:extLst>
                <a:ext uri="{FF2B5EF4-FFF2-40B4-BE49-F238E27FC236}">
                  <a16:creationId xmlns:a16="http://schemas.microsoft.com/office/drawing/2014/main" id="{2A1E2CFA-8B27-4DAD-8C29-C6E681A63C8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6222" y="4274143"/>
              <a:ext cx="12744" cy="1333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4" y="0"/>
                </a:cxn>
              </a:cxnLst>
              <a:rect l="0" t="0" r="r" b="b"/>
              <a:pathLst>
                <a:path w="8" h="9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3" name="Freeform 80">
              <a:extLst>
                <a:ext uri="{FF2B5EF4-FFF2-40B4-BE49-F238E27FC236}">
                  <a16:creationId xmlns:a16="http://schemas.microsoft.com/office/drawing/2014/main" id="{87BF8F9D-035B-4FFB-B388-536A236C8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0518" y="4241550"/>
              <a:ext cx="92395" cy="91851"/>
            </a:xfrm>
            <a:custGeom>
              <a:avLst/>
              <a:gdLst/>
              <a:ahLst/>
              <a:cxnLst>
                <a:cxn ang="0">
                  <a:pos x="0" y="53"/>
                </a:cxn>
                <a:cxn ang="0">
                  <a:pos x="9" y="62"/>
                </a:cxn>
                <a:cxn ang="0">
                  <a:pos x="18" y="58"/>
                </a:cxn>
                <a:cxn ang="0">
                  <a:pos x="27" y="62"/>
                </a:cxn>
                <a:cxn ang="0">
                  <a:pos x="41" y="58"/>
                </a:cxn>
                <a:cxn ang="0">
                  <a:pos x="41" y="53"/>
                </a:cxn>
                <a:cxn ang="0">
                  <a:pos x="41" y="49"/>
                </a:cxn>
                <a:cxn ang="0">
                  <a:pos x="49" y="44"/>
                </a:cxn>
                <a:cxn ang="0">
                  <a:pos x="58" y="35"/>
                </a:cxn>
                <a:cxn ang="0">
                  <a:pos x="58" y="31"/>
                </a:cxn>
                <a:cxn ang="0">
                  <a:pos x="49" y="35"/>
                </a:cxn>
                <a:cxn ang="0">
                  <a:pos x="45" y="35"/>
                </a:cxn>
                <a:cxn ang="0">
                  <a:pos x="49" y="31"/>
                </a:cxn>
                <a:cxn ang="0">
                  <a:pos x="45" y="31"/>
                </a:cxn>
                <a:cxn ang="0">
                  <a:pos x="41" y="17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36" y="0"/>
                </a:cxn>
                <a:cxn ang="0">
                  <a:pos x="18" y="0"/>
                </a:cxn>
                <a:cxn ang="0">
                  <a:pos x="14" y="9"/>
                </a:cxn>
                <a:cxn ang="0">
                  <a:pos x="27" y="26"/>
                </a:cxn>
                <a:cxn ang="0">
                  <a:pos x="27" y="31"/>
                </a:cxn>
                <a:cxn ang="0">
                  <a:pos x="5" y="31"/>
                </a:cxn>
                <a:cxn ang="0">
                  <a:pos x="0" y="53"/>
                </a:cxn>
              </a:cxnLst>
              <a:rect l="0" t="0" r="r" b="b"/>
              <a:pathLst>
                <a:path w="58" h="62">
                  <a:moveTo>
                    <a:pt x="0" y="53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27" y="62"/>
                  </a:lnTo>
                  <a:lnTo>
                    <a:pt x="41" y="58"/>
                  </a:lnTo>
                  <a:lnTo>
                    <a:pt x="41" y="53"/>
                  </a:lnTo>
                  <a:lnTo>
                    <a:pt x="41" y="49"/>
                  </a:lnTo>
                  <a:lnTo>
                    <a:pt x="49" y="44"/>
                  </a:lnTo>
                  <a:lnTo>
                    <a:pt x="58" y="35"/>
                  </a:lnTo>
                  <a:lnTo>
                    <a:pt x="58" y="31"/>
                  </a:lnTo>
                  <a:lnTo>
                    <a:pt x="49" y="35"/>
                  </a:lnTo>
                  <a:lnTo>
                    <a:pt x="45" y="35"/>
                  </a:lnTo>
                  <a:lnTo>
                    <a:pt x="49" y="31"/>
                  </a:lnTo>
                  <a:lnTo>
                    <a:pt x="45" y="31"/>
                  </a:lnTo>
                  <a:lnTo>
                    <a:pt x="41" y="17"/>
                  </a:lnTo>
                  <a:lnTo>
                    <a:pt x="45" y="0"/>
                  </a:lnTo>
                  <a:lnTo>
                    <a:pt x="41" y="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14" y="9"/>
                  </a:lnTo>
                  <a:lnTo>
                    <a:pt x="27" y="26"/>
                  </a:lnTo>
                  <a:lnTo>
                    <a:pt x="27" y="31"/>
                  </a:lnTo>
                  <a:lnTo>
                    <a:pt x="5" y="31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4" name="Freeform 81">
              <a:extLst>
                <a:ext uri="{FF2B5EF4-FFF2-40B4-BE49-F238E27FC236}">
                  <a16:creationId xmlns:a16="http://schemas.microsoft.com/office/drawing/2014/main" id="{BC1FC52B-EC4F-4F3B-83BE-60EE7FD134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2594" y="4445994"/>
              <a:ext cx="113104" cy="165925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2" y="14"/>
                </a:cxn>
                <a:cxn ang="0">
                  <a:pos x="9" y="18"/>
                </a:cxn>
                <a:cxn ang="0">
                  <a:pos x="13" y="27"/>
                </a:cxn>
                <a:cxn ang="0">
                  <a:pos x="4" y="31"/>
                </a:cxn>
                <a:cxn ang="0">
                  <a:pos x="0" y="40"/>
                </a:cxn>
                <a:cxn ang="0">
                  <a:pos x="9" y="49"/>
                </a:cxn>
                <a:cxn ang="0">
                  <a:pos x="18" y="49"/>
                </a:cxn>
                <a:cxn ang="0">
                  <a:pos x="18" y="63"/>
                </a:cxn>
                <a:cxn ang="0">
                  <a:pos x="27" y="63"/>
                </a:cxn>
                <a:cxn ang="0">
                  <a:pos x="18" y="72"/>
                </a:cxn>
                <a:cxn ang="0">
                  <a:pos x="18" y="94"/>
                </a:cxn>
                <a:cxn ang="0">
                  <a:pos x="27" y="107"/>
                </a:cxn>
                <a:cxn ang="0">
                  <a:pos x="36" y="112"/>
                </a:cxn>
                <a:cxn ang="0">
                  <a:pos x="45" y="103"/>
                </a:cxn>
                <a:cxn ang="0">
                  <a:pos x="71" y="98"/>
                </a:cxn>
                <a:cxn ang="0">
                  <a:pos x="67" y="90"/>
                </a:cxn>
                <a:cxn ang="0">
                  <a:pos x="63" y="76"/>
                </a:cxn>
                <a:cxn ang="0">
                  <a:pos x="54" y="76"/>
                </a:cxn>
                <a:cxn ang="0">
                  <a:pos x="45" y="67"/>
                </a:cxn>
                <a:cxn ang="0">
                  <a:pos x="49" y="58"/>
                </a:cxn>
                <a:cxn ang="0">
                  <a:pos x="58" y="54"/>
                </a:cxn>
                <a:cxn ang="0">
                  <a:pos x="63" y="40"/>
                </a:cxn>
                <a:cxn ang="0">
                  <a:pos x="58" y="36"/>
                </a:cxn>
                <a:cxn ang="0">
                  <a:pos x="40" y="22"/>
                </a:cxn>
                <a:cxn ang="0">
                  <a:pos x="36" y="14"/>
                </a:cxn>
                <a:cxn ang="0">
                  <a:pos x="27" y="5"/>
                </a:cxn>
                <a:cxn ang="0">
                  <a:pos x="18" y="0"/>
                </a:cxn>
              </a:cxnLst>
              <a:rect l="0" t="0" r="r" b="b"/>
              <a:pathLst>
                <a:path w="71" h="112">
                  <a:moveTo>
                    <a:pt x="18" y="0"/>
                  </a:moveTo>
                  <a:lnTo>
                    <a:pt x="22" y="14"/>
                  </a:lnTo>
                  <a:lnTo>
                    <a:pt x="9" y="18"/>
                  </a:lnTo>
                  <a:lnTo>
                    <a:pt x="13" y="27"/>
                  </a:lnTo>
                  <a:lnTo>
                    <a:pt x="4" y="31"/>
                  </a:lnTo>
                  <a:lnTo>
                    <a:pt x="0" y="40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18" y="63"/>
                  </a:lnTo>
                  <a:lnTo>
                    <a:pt x="27" y="63"/>
                  </a:lnTo>
                  <a:lnTo>
                    <a:pt x="18" y="72"/>
                  </a:lnTo>
                  <a:lnTo>
                    <a:pt x="18" y="94"/>
                  </a:lnTo>
                  <a:lnTo>
                    <a:pt x="27" y="107"/>
                  </a:lnTo>
                  <a:lnTo>
                    <a:pt x="36" y="112"/>
                  </a:lnTo>
                  <a:lnTo>
                    <a:pt x="45" y="103"/>
                  </a:lnTo>
                  <a:lnTo>
                    <a:pt x="71" y="98"/>
                  </a:lnTo>
                  <a:lnTo>
                    <a:pt x="67" y="90"/>
                  </a:lnTo>
                  <a:lnTo>
                    <a:pt x="63" y="76"/>
                  </a:lnTo>
                  <a:lnTo>
                    <a:pt x="54" y="76"/>
                  </a:lnTo>
                  <a:lnTo>
                    <a:pt x="45" y="67"/>
                  </a:lnTo>
                  <a:lnTo>
                    <a:pt x="49" y="58"/>
                  </a:lnTo>
                  <a:lnTo>
                    <a:pt x="58" y="54"/>
                  </a:lnTo>
                  <a:lnTo>
                    <a:pt x="63" y="40"/>
                  </a:lnTo>
                  <a:lnTo>
                    <a:pt x="58" y="36"/>
                  </a:lnTo>
                  <a:lnTo>
                    <a:pt x="40" y="22"/>
                  </a:lnTo>
                  <a:lnTo>
                    <a:pt x="36" y="14"/>
                  </a:lnTo>
                  <a:lnTo>
                    <a:pt x="27" y="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5" name="Freeform 82">
              <a:extLst>
                <a:ext uri="{FF2B5EF4-FFF2-40B4-BE49-F238E27FC236}">
                  <a16:creationId xmlns:a16="http://schemas.microsoft.com/office/drawing/2014/main" id="{E9AD2956-42BF-4480-A5D1-4EF988B5D57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53108" y="4194143"/>
              <a:ext cx="57348" cy="47407"/>
            </a:xfrm>
            <a:custGeom>
              <a:avLst/>
              <a:gdLst/>
              <a:ahLst/>
              <a:cxnLst>
                <a:cxn ang="0">
                  <a:pos x="36" y="5"/>
                </a:cxn>
                <a:cxn ang="0">
                  <a:pos x="36" y="14"/>
                </a:cxn>
                <a:cxn ang="0">
                  <a:pos x="32" y="27"/>
                </a:cxn>
                <a:cxn ang="0">
                  <a:pos x="14" y="27"/>
                </a:cxn>
                <a:cxn ang="0">
                  <a:pos x="9" y="32"/>
                </a:cxn>
                <a:cxn ang="0">
                  <a:pos x="5" y="27"/>
                </a:cxn>
                <a:cxn ang="0">
                  <a:pos x="0" y="27"/>
                </a:cxn>
                <a:cxn ang="0">
                  <a:pos x="0" y="18"/>
                </a:cxn>
                <a:cxn ang="0">
                  <a:pos x="14" y="23"/>
                </a:cxn>
                <a:cxn ang="0">
                  <a:pos x="23" y="23"/>
                </a:cxn>
                <a:cxn ang="0">
                  <a:pos x="23" y="18"/>
                </a:cxn>
                <a:cxn ang="0">
                  <a:pos x="23" y="9"/>
                </a:cxn>
                <a:cxn ang="0">
                  <a:pos x="14" y="9"/>
                </a:cxn>
                <a:cxn ang="0">
                  <a:pos x="14" y="5"/>
                </a:cxn>
                <a:cxn ang="0">
                  <a:pos x="23" y="0"/>
                </a:cxn>
                <a:cxn ang="0">
                  <a:pos x="36" y="5"/>
                </a:cxn>
              </a:cxnLst>
              <a:rect l="0" t="0" r="r" b="b"/>
              <a:pathLst>
                <a:path w="36" h="32">
                  <a:moveTo>
                    <a:pt x="36" y="5"/>
                  </a:moveTo>
                  <a:lnTo>
                    <a:pt x="36" y="14"/>
                  </a:lnTo>
                  <a:lnTo>
                    <a:pt x="32" y="27"/>
                  </a:lnTo>
                  <a:lnTo>
                    <a:pt x="14" y="27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18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23" y="18"/>
                  </a:lnTo>
                  <a:lnTo>
                    <a:pt x="23" y="9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23" y="0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6" name="Freeform 83">
              <a:extLst>
                <a:ext uri="{FF2B5EF4-FFF2-40B4-BE49-F238E27FC236}">
                  <a16:creationId xmlns:a16="http://schemas.microsoft.com/office/drawing/2014/main" id="{5F98E2E6-35E6-4DE5-AA45-03A320B8F3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5832" y="4280069"/>
              <a:ext cx="141778" cy="74074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3"/>
                </a:cxn>
                <a:cxn ang="0">
                  <a:pos x="8" y="18"/>
                </a:cxn>
                <a:cxn ang="0">
                  <a:pos x="17" y="9"/>
                </a:cxn>
                <a:cxn ang="0">
                  <a:pos x="26" y="9"/>
                </a:cxn>
                <a:cxn ang="0">
                  <a:pos x="49" y="5"/>
                </a:cxn>
                <a:cxn ang="0">
                  <a:pos x="49" y="0"/>
                </a:cxn>
                <a:cxn ang="0">
                  <a:pos x="67" y="5"/>
                </a:cxn>
                <a:cxn ang="0">
                  <a:pos x="75" y="9"/>
                </a:cxn>
                <a:cxn ang="0">
                  <a:pos x="80" y="14"/>
                </a:cxn>
                <a:cxn ang="0">
                  <a:pos x="84" y="14"/>
                </a:cxn>
                <a:cxn ang="0">
                  <a:pos x="89" y="18"/>
                </a:cxn>
                <a:cxn ang="0">
                  <a:pos x="75" y="27"/>
                </a:cxn>
                <a:cxn ang="0">
                  <a:pos x="71" y="27"/>
                </a:cxn>
                <a:cxn ang="0">
                  <a:pos x="58" y="36"/>
                </a:cxn>
                <a:cxn ang="0">
                  <a:pos x="49" y="36"/>
                </a:cxn>
                <a:cxn ang="0">
                  <a:pos x="40" y="41"/>
                </a:cxn>
                <a:cxn ang="0">
                  <a:pos x="40" y="45"/>
                </a:cxn>
                <a:cxn ang="0">
                  <a:pos x="31" y="50"/>
                </a:cxn>
                <a:cxn ang="0">
                  <a:pos x="31" y="41"/>
                </a:cxn>
                <a:cxn ang="0">
                  <a:pos x="22" y="45"/>
                </a:cxn>
                <a:cxn ang="0">
                  <a:pos x="22" y="32"/>
                </a:cxn>
                <a:cxn ang="0">
                  <a:pos x="13" y="32"/>
                </a:cxn>
                <a:cxn ang="0">
                  <a:pos x="8" y="27"/>
                </a:cxn>
                <a:cxn ang="0">
                  <a:pos x="0" y="27"/>
                </a:cxn>
              </a:cxnLst>
              <a:rect l="0" t="0" r="r" b="b"/>
              <a:pathLst>
                <a:path w="89" h="50">
                  <a:moveTo>
                    <a:pt x="0" y="27"/>
                  </a:moveTo>
                  <a:lnTo>
                    <a:pt x="0" y="23"/>
                  </a:lnTo>
                  <a:lnTo>
                    <a:pt x="8" y="18"/>
                  </a:lnTo>
                  <a:lnTo>
                    <a:pt x="17" y="9"/>
                  </a:lnTo>
                  <a:lnTo>
                    <a:pt x="26" y="9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67" y="5"/>
                  </a:lnTo>
                  <a:lnTo>
                    <a:pt x="75" y="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9" y="18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58" y="36"/>
                  </a:lnTo>
                  <a:lnTo>
                    <a:pt x="49" y="36"/>
                  </a:lnTo>
                  <a:lnTo>
                    <a:pt x="40" y="41"/>
                  </a:lnTo>
                  <a:lnTo>
                    <a:pt x="40" y="45"/>
                  </a:lnTo>
                  <a:lnTo>
                    <a:pt x="31" y="50"/>
                  </a:lnTo>
                  <a:lnTo>
                    <a:pt x="31" y="41"/>
                  </a:lnTo>
                  <a:lnTo>
                    <a:pt x="22" y="45"/>
                  </a:lnTo>
                  <a:lnTo>
                    <a:pt x="22" y="32"/>
                  </a:lnTo>
                  <a:lnTo>
                    <a:pt x="13" y="32"/>
                  </a:lnTo>
                  <a:lnTo>
                    <a:pt x="8" y="2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7" name="Freeform 84">
              <a:extLst>
                <a:ext uri="{FF2B5EF4-FFF2-40B4-BE49-F238E27FC236}">
                  <a16:creationId xmlns:a16="http://schemas.microsoft.com/office/drawing/2014/main" id="{78D8D643-C95E-497D-9EEF-421490D6C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0713" y="4220810"/>
              <a:ext cx="50976" cy="2666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14"/>
                </a:cxn>
                <a:cxn ang="0">
                  <a:pos x="9" y="14"/>
                </a:cxn>
                <a:cxn ang="0">
                  <a:pos x="18" y="18"/>
                </a:cxn>
                <a:cxn ang="0">
                  <a:pos x="32" y="14"/>
                </a:cxn>
                <a:cxn ang="0">
                  <a:pos x="32" y="9"/>
                </a:cxn>
                <a:cxn ang="0">
                  <a:pos x="23" y="0"/>
                </a:cxn>
                <a:cxn ang="0">
                  <a:pos x="5" y="0"/>
                </a:cxn>
                <a:cxn ang="0">
                  <a:pos x="0" y="5"/>
                </a:cxn>
              </a:cxnLst>
              <a:rect l="0" t="0" r="r" b="b"/>
              <a:pathLst>
                <a:path w="32" h="18">
                  <a:moveTo>
                    <a:pt x="0" y="5"/>
                  </a:moveTo>
                  <a:lnTo>
                    <a:pt x="9" y="14"/>
                  </a:lnTo>
                  <a:lnTo>
                    <a:pt x="9" y="14"/>
                  </a:lnTo>
                  <a:lnTo>
                    <a:pt x="18" y="18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8" name="Freeform 85">
              <a:extLst>
                <a:ext uri="{FF2B5EF4-FFF2-40B4-BE49-F238E27FC236}">
                  <a16:creationId xmlns:a16="http://schemas.microsoft.com/office/drawing/2014/main" id="{B6E406EB-95D3-47CD-B0B7-9C9D2822E9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8966" y="4306735"/>
              <a:ext cx="7965" cy="13333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5" y="9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9" name="Freeform 86">
              <a:extLst>
                <a:ext uri="{FF2B5EF4-FFF2-40B4-BE49-F238E27FC236}">
                  <a16:creationId xmlns:a16="http://schemas.microsoft.com/office/drawing/2014/main" id="{53698033-D266-49EA-AB5C-DE436F167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1814" y="3890441"/>
              <a:ext cx="704110" cy="429627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36" y="53"/>
                </a:cxn>
                <a:cxn ang="0">
                  <a:pos x="49" y="80"/>
                </a:cxn>
                <a:cxn ang="0">
                  <a:pos x="40" y="94"/>
                </a:cxn>
                <a:cxn ang="0">
                  <a:pos x="71" y="107"/>
                </a:cxn>
                <a:cxn ang="0">
                  <a:pos x="80" y="134"/>
                </a:cxn>
                <a:cxn ang="0">
                  <a:pos x="80" y="129"/>
                </a:cxn>
                <a:cxn ang="0">
                  <a:pos x="116" y="147"/>
                </a:cxn>
                <a:cxn ang="0">
                  <a:pos x="107" y="134"/>
                </a:cxn>
                <a:cxn ang="0">
                  <a:pos x="98" y="138"/>
                </a:cxn>
                <a:cxn ang="0">
                  <a:pos x="94" y="111"/>
                </a:cxn>
                <a:cxn ang="0">
                  <a:pos x="80" y="94"/>
                </a:cxn>
                <a:cxn ang="0">
                  <a:pos x="63" y="58"/>
                </a:cxn>
                <a:cxn ang="0">
                  <a:pos x="49" y="49"/>
                </a:cxn>
                <a:cxn ang="0">
                  <a:pos x="58" y="22"/>
                </a:cxn>
                <a:cxn ang="0">
                  <a:pos x="67" y="58"/>
                </a:cxn>
                <a:cxn ang="0">
                  <a:pos x="76" y="62"/>
                </a:cxn>
                <a:cxn ang="0">
                  <a:pos x="89" y="80"/>
                </a:cxn>
                <a:cxn ang="0">
                  <a:pos x="103" y="89"/>
                </a:cxn>
                <a:cxn ang="0">
                  <a:pos x="121" y="103"/>
                </a:cxn>
                <a:cxn ang="0">
                  <a:pos x="130" y="120"/>
                </a:cxn>
                <a:cxn ang="0">
                  <a:pos x="170" y="165"/>
                </a:cxn>
                <a:cxn ang="0">
                  <a:pos x="174" y="196"/>
                </a:cxn>
                <a:cxn ang="0">
                  <a:pos x="201" y="232"/>
                </a:cxn>
                <a:cxn ang="0">
                  <a:pos x="259" y="259"/>
                </a:cxn>
                <a:cxn ang="0">
                  <a:pos x="317" y="268"/>
                </a:cxn>
                <a:cxn ang="0">
                  <a:pos x="357" y="290"/>
                </a:cxn>
                <a:cxn ang="0">
                  <a:pos x="384" y="263"/>
                </a:cxn>
                <a:cxn ang="0">
                  <a:pos x="393" y="237"/>
                </a:cxn>
                <a:cxn ang="0">
                  <a:pos x="411" y="228"/>
                </a:cxn>
                <a:cxn ang="0">
                  <a:pos x="429" y="214"/>
                </a:cxn>
                <a:cxn ang="0">
                  <a:pos x="433" y="205"/>
                </a:cxn>
                <a:cxn ang="0">
                  <a:pos x="438" y="183"/>
                </a:cxn>
                <a:cxn ang="0">
                  <a:pos x="398" y="183"/>
                </a:cxn>
                <a:cxn ang="0">
                  <a:pos x="384" y="210"/>
                </a:cxn>
                <a:cxn ang="0">
                  <a:pos x="366" y="223"/>
                </a:cxn>
                <a:cxn ang="0">
                  <a:pos x="326" y="232"/>
                </a:cxn>
                <a:cxn ang="0">
                  <a:pos x="299" y="205"/>
                </a:cxn>
                <a:cxn ang="0">
                  <a:pos x="286" y="179"/>
                </a:cxn>
                <a:cxn ang="0">
                  <a:pos x="286" y="143"/>
                </a:cxn>
                <a:cxn ang="0">
                  <a:pos x="281" y="134"/>
                </a:cxn>
                <a:cxn ang="0">
                  <a:pos x="290" y="111"/>
                </a:cxn>
                <a:cxn ang="0">
                  <a:pos x="255" y="85"/>
                </a:cxn>
                <a:cxn ang="0">
                  <a:pos x="201" y="67"/>
                </a:cxn>
                <a:cxn ang="0">
                  <a:pos x="156" y="18"/>
                </a:cxn>
                <a:cxn ang="0">
                  <a:pos x="89" y="27"/>
                </a:cxn>
              </a:cxnLst>
              <a:rect l="0" t="0" r="r" b="b"/>
              <a:pathLst>
                <a:path w="442" h="290">
                  <a:moveTo>
                    <a:pt x="0" y="4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18" y="36"/>
                  </a:lnTo>
                  <a:lnTo>
                    <a:pt x="22" y="49"/>
                  </a:lnTo>
                  <a:lnTo>
                    <a:pt x="36" y="53"/>
                  </a:lnTo>
                  <a:lnTo>
                    <a:pt x="45" y="67"/>
                  </a:lnTo>
                  <a:lnTo>
                    <a:pt x="45" y="76"/>
                  </a:lnTo>
                  <a:lnTo>
                    <a:pt x="49" y="80"/>
                  </a:lnTo>
                  <a:lnTo>
                    <a:pt x="40" y="76"/>
                  </a:lnTo>
                  <a:lnTo>
                    <a:pt x="31" y="80"/>
                  </a:lnTo>
                  <a:lnTo>
                    <a:pt x="40" y="94"/>
                  </a:lnTo>
                  <a:lnTo>
                    <a:pt x="54" y="98"/>
                  </a:lnTo>
                  <a:lnTo>
                    <a:pt x="58" y="94"/>
                  </a:lnTo>
                  <a:lnTo>
                    <a:pt x="71" y="107"/>
                  </a:lnTo>
                  <a:lnTo>
                    <a:pt x="71" y="134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34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5" y="138"/>
                  </a:lnTo>
                  <a:lnTo>
                    <a:pt x="107" y="161"/>
                  </a:lnTo>
                  <a:lnTo>
                    <a:pt x="116" y="147"/>
                  </a:lnTo>
                  <a:lnTo>
                    <a:pt x="112" y="138"/>
                  </a:lnTo>
                  <a:lnTo>
                    <a:pt x="112" y="134"/>
                  </a:lnTo>
                  <a:lnTo>
                    <a:pt x="107" y="134"/>
                  </a:lnTo>
                  <a:lnTo>
                    <a:pt x="107" y="138"/>
                  </a:lnTo>
                  <a:lnTo>
                    <a:pt x="103" y="134"/>
                  </a:lnTo>
                  <a:lnTo>
                    <a:pt x="98" y="138"/>
                  </a:lnTo>
                  <a:lnTo>
                    <a:pt x="94" y="120"/>
                  </a:lnTo>
                  <a:lnTo>
                    <a:pt x="89" y="111"/>
                  </a:lnTo>
                  <a:lnTo>
                    <a:pt x="94" y="111"/>
                  </a:lnTo>
                  <a:lnTo>
                    <a:pt x="94" y="107"/>
                  </a:lnTo>
                  <a:lnTo>
                    <a:pt x="89" y="107"/>
                  </a:lnTo>
                  <a:lnTo>
                    <a:pt x="80" y="94"/>
                  </a:lnTo>
                  <a:lnTo>
                    <a:pt x="80" y="98"/>
                  </a:lnTo>
                  <a:lnTo>
                    <a:pt x="58" y="62"/>
                  </a:lnTo>
                  <a:lnTo>
                    <a:pt x="63" y="58"/>
                  </a:lnTo>
                  <a:lnTo>
                    <a:pt x="54" y="53"/>
                  </a:lnTo>
                  <a:lnTo>
                    <a:pt x="54" y="58"/>
                  </a:lnTo>
                  <a:lnTo>
                    <a:pt x="49" y="49"/>
                  </a:lnTo>
                  <a:lnTo>
                    <a:pt x="40" y="44"/>
                  </a:lnTo>
                  <a:lnTo>
                    <a:pt x="36" y="18"/>
                  </a:lnTo>
                  <a:lnTo>
                    <a:pt x="58" y="22"/>
                  </a:lnTo>
                  <a:lnTo>
                    <a:pt x="58" y="31"/>
                  </a:lnTo>
                  <a:lnTo>
                    <a:pt x="71" y="58"/>
                  </a:lnTo>
                  <a:lnTo>
                    <a:pt x="67" y="58"/>
                  </a:lnTo>
                  <a:lnTo>
                    <a:pt x="67" y="67"/>
                  </a:lnTo>
                  <a:lnTo>
                    <a:pt x="71" y="67"/>
                  </a:lnTo>
                  <a:lnTo>
                    <a:pt x="76" y="62"/>
                  </a:lnTo>
                  <a:lnTo>
                    <a:pt x="71" y="58"/>
                  </a:lnTo>
                  <a:lnTo>
                    <a:pt x="80" y="67"/>
                  </a:lnTo>
                  <a:lnTo>
                    <a:pt x="89" y="80"/>
                  </a:lnTo>
                  <a:lnTo>
                    <a:pt x="94" y="80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12" y="98"/>
                  </a:lnTo>
                  <a:lnTo>
                    <a:pt x="116" y="98"/>
                  </a:lnTo>
                  <a:lnTo>
                    <a:pt x="121" y="103"/>
                  </a:lnTo>
                  <a:lnTo>
                    <a:pt x="116" y="116"/>
                  </a:lnTo>
                  <a:lnTo>
                    <a:pt x="121" y="120"/>
                  </a:lnTo>
                  <a:lnTo>
                    <a:pt x="130" y="120"/>
                  </a:lnTo>
                  <a:lnTo>
                    <a:pt x="152" y="147"/>
                  </a:lnTo>
                  <a:lnTo>
                    <a:pt x="152" y="152"/>
                  </a:lnTo>
                  <a:lnTo>
                    <a:pt x="170" y="165"/>
                  </a:lnTo>
                  <a:lnTo>
                    <a:pt x="174" y="187"/>
                  </a:lnTo>
                  <a:lnTo>
                    <a:pt x="174" y="192"/>
                  </a:lnTo>
                  <a:lnTo>
                    <a:pt x="174" y="196"/>
                  </a:lnTo>
                  <a:lnTo>
                    <a:pt x="170" y="201"/>
                  </a:lnTo>
                  <a:lnTo>
                    <a:pt x="174" y="210"/>
                  </a:lnTo>
                  <a:lnTo>
                    <a:pt x="201" y="232"/>
                  </a:lnTo>
                  <a:lnTo>
                    <a:pt x="228" y="237"/>
                  </a:lnTo>
                  <a:lnTo>
                    <a:pt x="237" y="254"/>
                  </a:lnTo>
                  <a:lnTo>
                    <a:pt x="259" y="259"/>
                  </a:lnTo>
                  <a:lnTo>
                    <a:pt x="295" y="277"/>
                  </a:lnTo>
                  <a:lnTo>
                    <a:pt x="308" y="272"/>
                  </a:lnTo>
                  <a:lnTo>
                    <a:pt x="317" y="268"/>
                  </a:lnTo>
                  <a:lnTo>
                    <a:pt x="331" y="268"/>
                  </a:lnTo>
                  <a:lnTo>
                    <a:pt x="339" y="272"/>
                  </a:lnTo>
                  <a:lnTo>
                    <a:pt x="357" y="290"/>
                  </a:lnTo>
                  <a:lnTo>
                    <a:pt x="362" y="268"/>
                  </a:lnTo>
                  <a:lnTo>
                    <a:pt x="384" y="268"/>
                  </a:lnTo>
                  <a:lnTo>
                    <a:pt x="384" y="263"/>
                  </a:lnTo>
                  <a:lnTo>
                    <a:pt x="371" y="246"/>
                  </a:lnTo>
                  <a:lnTo>
                    <a:pt x="375" y="237"/>
                  </a:lnTo>
                  <a:lnTo>
                    <a:pt x="393" y="237"/>
                  </a:lnTo>
                  <a:lnTo>
                    <a:pt x="398" y="241"/>
                  </a:lnTo>
                  <a:lnTo>
                    <a:pt x="402" y="237"/>
                  </a:lnTo>
                  <a:lnTo>
                    <a:pt x="411" y="228"/>
                  </a:lnTo>
                  <a:lnTo>
                    <a:pt x="415" y="223"/>
                  </a:lnTo>
                  <a:lnTo>
                    <a:pt x="420" y="232"/>
                  </a:lnTo>
                  <a:lnTo>
                    <a:pt x="429" y="214"/>
                  </a:lnTo>
                  <a:lnTo>
                    <a:pt x="424" y="210"/>
                  </a:lnTo>
                  <a:lnTo>
                    <a:pt x="433" y="201"/>
                  </a:lnTo>
                  <a:lnTo>
                    <a:pt x="433" y="205"/>
                  </a:lnTo>
                  <a:lnTo>
                    <a:pt x="442" y="196"/>
                  </a:lnTo>
                  <a:lnTo>
                    <a:pt x="438" y="196"/>
                  </a:lnTo>
                  <a:lnTo>
                    <a:pt x="438" y="183"/>
                  </a:lnTo>
                  <a:lnTo>
                    <a:pt x="433" y="179"/>
                  </a:lnTo>
                  <a:lnTo>
                    <a:pt x="415" y="179"/>
                  </a:lnTo>
                  <a:lnTo>
                    <a:pt x="398" y="183"/>
                  </a:lnTo>
                  <a:lnTo>
                    <a:pt x="384" y="192"/>
                  </a:lnTo>
                  <a:lnTo>
                    <a:pt x="389" y="192"/>
                  </a:lnTo>
                  <a:lnTo>
                    <a:pt x="384" y="210"/>
                  </a:lnTo>
                  <a:lnTo>
                    <a:pt x="375" y="219"/>
                  </a:lnTo>
                  <a:lnTo>
                    <a:pt x="380" y="223"/>
                  </a:lnTo>
                  <a:lnTo>
                    <a:pt x="366" y="223"/>
                  </a:lnTo>
                  <a:lnTo>
                    <a:pt x="366" y="219"/>
                  </a:lnTo>
                  <a:lnTo>
                    <a:pt x="339" y="228"/>
                  </a:lnTo>
                  <a:lnTo>
                    <a:pt x="326" y="232"/>
                  </a:lnTo>
                  <a:lnTo>
                    <a:pt x="322" y="228"/>
                  </a:lnTo>
                  <a:lnTo>
                    <a:pt x="308" y="219"/>
                  </a:lnTo>
                  <a:lnTo>
                    <a:pt x="299" y="205"/>
                  </a:lnTo>
                  <a:lnTo>
                    <a:pt x="290" y="196"/>
                  </a:lnTo>
                  <a:lnTo>
                    <a:pt x="286" y="187"/>
                  </a:lnTo>
                  <a:lnTo>
                    <a:pt x="286" y="179"/>
                  </a:lnTo>
                  <a:lnTo>
                    <a:pt x="281" y="174"/>
                  </a:lnTo>
                  <a:lnTo>
                    <a:pt x="281" y="156"/>
                  </a:lnTo>
                  <a:lnTo>
                    <a:pt x="286" y="143"/>
                  </a:lnTo>
                  <a:lnTo>
                    <a:pt x="281" y="138"/>
                  </a:lnTo>
                  <a:lnTo>
                    <a:pt x="281" y="138"/>
                  </a:lnTo>
                  <a:lnTo>
                    <a:pt x="281" y="134"/>
                  </a:lnTo>
                  <a:lnTo>
                    <a:pt x="281" y="134"/>
                  </a:lnTo>
                  <a:lnTo>
                    <a:pt x="286" y="125"/>
                  </a:lnTo>
                  <a:lnTo>
                    <a:pt x="290" y="111"/>
                  </a:lnTo>
                  <a:lnTo>
                    <a:pt x="286" y="111"/>
                  </a:lnTo>
                  <a:lnTo>
                    <a:pt x="264" y="103"/>
                  </a:lnTo>
                  <a:lnTo>
                    <a:pt x="255" y="85"/>
                  </a:lnTo>
                  <a:lnTo>
                    <a:pt x="228" y="53"/>
                  </a:lnTo>
                  <a:lnTo>
                    <a:pt x="214" y="49"/>
                  </a:lnTo>
                  <a:lnTo>
                    <a:pt x="201" y="67"/>
                  </a:lnTo>
                  <a:lnTo>
                    <a:pt x="183" y="53"/>
                  </a:lnTo>
                  <a:lnTo>
                    <a:pt x="179" y="31"/>
                  </a:lnTo>
                  <a:lnTo>
                    <a:pt x="156" y="18"/>
                  </a:lnTo>
                  <a:lnTo>
                    <a:pt x="130" y="18"/>
                  </a:lnTo>
                  <a:lnTo>
                    <a:pt x="134" y="27"/>
                  </a:lnTo>
                  <a:lnTo>
                    <a:pt x="89" y="27"/>
                  </a:lnTo>
                  <a:lnTo>
                    <a:pt x="3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0" name="Freeform 87">
              <a:extLst>
                <a:ext uri="{FF2B5EF4-FFF2-40B4-BE49-F238E27FC236}">
                  <a16:creationId xmlns:a16="http://schemas.microsoft.com/office/drawing/2014/main" id="{D2E0FA77-421B-4999-81CC-8F041CE05B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67805" y="4360068"/>
              <a:ext cx="28674" cy="13333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9" y="9"/>
                </a:cxn>
                <a:cxn ang="0">
                  <a:pos x="13" y="5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9" y="9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3" y="5"/>
                </a:cxn>
                <a:cxn ang="0">
                  <a:pos x="13" y="5"/>
                </a:cxn>
                <a:cxn ang="0">
                  <a:pos x="18" y="5"/>
                </a:cxn>
                <a:cxn ang="0">
                  <a:pos x="18" y="9"/>
                </a:cxn>
                <a:cxn ang="0">
                  <a:pos x="18" y="9"/>
                </a:cxn>
              </a:cxnLst>
              <a:rect l="0" t="0" r="r" b="b"/>
              <a:pathLst>
                <a:path w="18" h="9">
                  <a:moveTo>
                    <a:pt x="9" y="9"/>
                  </a:moveTo>
                  <a:lnTo>
                    <a:pt x="9" y="9"/>
                  </a:lnTo>
                  <a:lnTo>
                    <a:pt x="13" y="5"/>
                  </a:lnTo>
                  <a:lnTo>
                    <a:pt x="4" y="0"/>
                  </a:lnTo>
                  <a:lnTo>
                    <a:pt x="0" y="5"/>
                  </a:lnTo>
                  <a:lnTo>
                    <a:pt x="9" y="9"/>
                  </a:lnTo>
                  <a:close/>
                  <a:moveTo>
                    <a:pt x="18" y="9"/>
                  </a:moveTo>
                  <a:lnTo>
                    <a:pt x="18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1" name="Freeform 88">
              <a:extLst>
                <a:ext uri="{FF2B5EF4-FFF2-40B4-BE49-F238E27FC236}">
                  <a16:creationId xmlns:a16="http://schemas.microsoft.com/office/drawing/2014/main" id="{8C82F092-3A54-454E-A340-EC2D5036D98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7250" y="4306735"/>
              <a:ext cx="106732" cy="93333"/>
            </a:xfrm>
            <a:custGeom>
              <a:avLst/>
              <a:gdLst/>
              <a:ahLst/>
              <a:cxnLst>
                <a:cxn ang="0">
                  <a:pos x="5" y="32"/>
                </a:cxn>
                <a:cxn ang="0">
                  <a:pos x="0" y="36"/>
                </a:cxn>
                <a:cxn ang="0">
                  <a:pos x="27" y="58"/>
                </a:cxn>
                <a:cxn ang="0">
                  <a:pos x="45" y="58"/>
                </a:cxn>
                <a:cxn ang="0">
                  <a:pos x="58" y="63"/>
                </a:cxn>
                <a:cxn ang="0">
                  <a:pos x="58" y="63"/>
                </a:cxn>
                <a:cxn ang="0">
                  <a:pos x="58" y="54"/>
                </a:cxn>
                <a:cxn ang="0">
                  <a:pos x="63" y="54"/>
                </a:cxn>
                <a:cxn ang="0">
                  <a:pos x="58" y="41"/>
                </a:cxn>
                <a:cxn ang="0">
                  <a:pos x="63" y="36"/>
                </a:cxn>
                <a:cxn ang="0">
                  <a:pos x="63" y="27"/>
                </a:cxn>
                <a:cxn ang="0">
                  <a:pos x="67" y="9"/>
                </a:cxn>
                <a:cxn ang="0">
                  <a:pos x="63" y="5"/>
                </a:cxn>
                <a:cxn ang="0">
                  <a:pos x="63" y="0"/>
                </a:cxn>
                <a:cxn ang="0">
                  <a:pos x="49" y="9"/>
                </a:cxn>
                <a:cxn ang="0">
                  <a:pos x="45" y="9"/>
                </a:cxn>
                <a:cxn ang="0">
                  <a:pos x="32" y="18"/>
                </a:cxn>
                <a:cxn ang="0">
                  <a:pos x="23" y="18"/>
                </a:cxn>
                <a:cxn ang="0">
                  <a:pos x="14" y="23"/>
                </a:cxn>
                <a:cxn ang="0">
                  <a:pos x="14" y="27"/>
                </a:cxn>
                <a:cxn ang="0">
                  <a:pos x="5" y="32"/>
                </a:cxn>
              </a:cxnLst>
              <a:rect l="0" t="0" r="r" b="b"/>
              <a:pathLst>
                <a:path w="67" h="63">
                  <a:moveTo>
                    <a:pt x="5" y="32"/>
                  </a:moveTo>
                  <a:lnTo>
                    <a:pt x="0" y="36"/>
                  </a:lnTo>
                  <a:lnTo>
                    <a:pt x="27" y="58"/>
                  </a:lnTo>
                  <a:lnTo>
                    <a:pt x="45" y="58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54"/>
                  </a:lnTo>
                  <a:lnTo>
                    <a:pt x="63" y="54"/>
                  </a:lnTo>
                  <a:lnTo>
                    <a:pt x="58" y="41"/>
                  </a:lnTo>
                  <a:lnTo>
                    <a:pt x="63" y="36"/>
                  </a:lnTo>
                  <a:lnTo>
                    <a:pt x="63" y="27"/>
                  </a:lnTo>
                  <a:lnTo>
                    <a:pt x="67" y="9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32" y="18"/>
                  </a:lnTo>
                  <a:lnTo>
                    <a:pt x="23" y="18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5" y="3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2" name="Freeform 89">
              <a:extLst>
                <a:ext uri="{FF2B5EF4-FFF2-40B4-BE49-F238E27FC236}">
                  <a16:creationId xmlns:a16="http://schemas.microsoft.com/office/drawing/2014/main" id="{6FC8539C-ACD1-4885-B35A-DEF5F0B2627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3982" y="4426735"/>
              <a:ext cx="129034" cy="59259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4"/>
                </a:cxn>
                <a:cxn ang="0">
                  <a:pos x="9" y="0"/>
                </a:cxn>
                <a:cxn ang="0">
                  <a:pos x="14" y="9"/>
                </a:cxn>
                <a:cxn ang="0">
                  <a:pos x="18" y="4"/>
                </a:cxn>
                <a:cxn ang="0">
                  <a:pos x="27" y="13"/>
                </a:cxn>
                <a:cxn ang="0">
                  <a:pos x="49" y="0"/>
                </a:cxn>
                <a:cxn ang="0">
                  <a:pos x="58" y="0"/>
                </a:cxn>
                <a:cxn ang="0">
                  <a:pos x="72" y="4"/>
                </a:cxn>
                <a:cxn ang="0">
                  <a:pos x="81" y="13"/>
                </a:cxn>
                <a:cxn ang="0">
                  <a:pos x="81" y="27"/>
                </a:cxn>
                <a:cxn ang="0">
                  <a:pos x="72" y="31"/>
                </a:cxn>
                <a:cxn ang="0">
                  <a:pos x="72" y="31"/>
                </a:cxn>
                <a:cxn ang="0">
                  <a:pos x="67" y="27"/>
                </a:cxn>
                <a:cxn ang="0">
                  <a:pos x="72" y="18"/>
                </a:cxn>
                <a:cxn ang="0">
                  <a:pos x="58" y="13"/>
                </a:cxn>
                <a:cxn ang="0">
                  <a:pos x="49" y="9"/>
                </a:cxn>
                <a:cxn ang="0">
                  <a:pos x="45" y="18"/>
                </a:cxn>
                <a:cxn ang="0">
                  <a:pos x="41" y="22"/>
                </a:cxn>
                <a:cxn ang="0">
                  <a:pos x="45" y="31"/>
                </a:cxn>
                <a:cxn ang="0">
                  <a:pos x="32" y="40"/>
                </a:cxn>
                <a:cxn ang="0">
                  <a:pos x="27" y="31"/>
                </a:cxn>
                <a:cxn ang="0">
                  <a:pos x="18" y="27"/>
                </a:cxn>
                <a:cxn ang="0">
                  <a:pos x="9" y="18"/>
                </a:cxn>
                <a:cxn ang="0">
                  <a:pos x="5" y="27"/>
                </a:cxn>
                <a:cxn ang="0">
                  <a:pos x="0" y="18"/>
                </a:cxn>
              </a:cxnLst>
              <a:rect l="0" t="0" r="r" b="b"/>
              <a:pathLst>
                <a:path w="81" h="40">
                  <a:moveTo>
                    <a:pt x="0" y="18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1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4"/>
                  </a:lnTo>
                  <a:lnTo>
                    <a:pt x="81" y="13"/>
                  </a:lnTo>
                  <a:lnTo>
                    <a:pt x="81" y="27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7" y="27"/>
                  </a:lnTo>
                  <a:lnTo>
                    <a:pt x="72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5" y="18"/>
                  </a:lnTo>
                  <a:lnTo>
                    <a:pt x="41" y="22"/>
                  </a:lnTo>
                  <a:lnTo>
                    <a:pt x="45" y="31"/>
                  </a:lnTo>
                  <a:lnTo>
                    <a:pt x="32" y="40"/>
                  </a:lnTo>
                  <a:lnTo>
                    <a:pt x="27" y="31"/>
                  </a:lnTo>
                  <a:lnTo>
                    <a:pt x="18" y="27"/>
                  </a:lnTo>
                  <a:lnTo>
                    <a:pt x="9" y="18"/>
                  </a:lnTo>
                  <a:lnTo>
                    <a:pt x="5" y="27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3" name="Freeform 90">
              <a:extLst>
                <a:ext uri="{FF2B5EF4-FFF2-40B4-BE49-F238E27FC236}">
                  <a16:creationId xmlns:a16="http://schemas.microsoft.com/office/drawing/2014/main" id="{C1657B25-C121-4020-B065-50E629716A1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23919" y="5062287"/>
              <a:ext cx="192754" cy="191110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5" y="31"/>
                </a:cxn>
                <a:cxn ang="0">
                  <a:pos x="5" y="18"/>
                </a:cxn>
                <a:cxn ang="0">
                  <a:pos x="14" y="9"/>
                </a:cxn>
                <a:cxn ang="0">
                  <a:pos x="49" y="0"/>
                </a:cxn>
                <a:cxn ang="0">
                  <a:pos x="63" y="4"/>
                </a:cxn>
                <a:cxn ang="0">
                  <a:pos x="67" y="18"/>
                </a:cxn>
                <a:cxn ang="0">
                  <a:pos x="72" y="13"/>
                </a:cxn>
                <a:cxn ang="0">
                  <a:pos x="72" y="27"/>
                </a:cxn>
                <a:cxn ang="0">
                  <a:pos x="67" y="44"/>
                </a:cxn>
                <a:cxn ang="0">
                  <a:pos x="81" y="44"/>
                </a:cxn>
                <a:cxn ang="0">
                  <a:pos x="94" y="40"/>
                </a:cxn>
                <a:cxn ang="0">
                  <a:pos x="103" y="49"/>
                </a:cxn>
                <a:cxn ang="0">
                  <a:pos x="103" y="76"/>
                </a:cxn>
                <a:cxn ang="0">
                  <a:pos x="116" y="71"/>
                </a:cxn>
                <a:cxn ang="0">
                  <a:pos x="121" y="76"/>
                </a:cxn>
                <a:cxn ang="0">
                  <a:pos x="116" y="94"/>
                </a:cxn>
                <a:cxn ang="0">
                  <a:pos x="121" y="98"/>
                </a:cxn>
                <a:cxn ang="0">
                  <a:pos x="116" y="116"/>
                </a:cxn>
                <a:cxn ang="0">
                  <a:pos x="103" y="129"/>
                </a:cxn>
                <a:cxn ang="0">
                  <a:pos x="85" y="129"/>
                </a:cxn>
                <a:cxn ang="0">
                  <a:pos x="72" y="125"/>
                </a:cxn>
                <a:cxn ang="0">
                  <a:pos x="58" y="125"/>
                </a:cxn>
                <a:cxn ang="0">
                  <a:pos x="72" y="98"/>
                </a:cxn>
                <a:cxn ang="0">
                  <a:pos x="72" y="89"/>
                </a:cxn>
                <a:cxn ang="0">
                  <a:pos x="36" y="71"/>
                </a:cxn>
                <a:cxn ang="0">
                  <a:pos x="27" y="71"/>
                </a:cxn>
                <a:cxn ang="0">
                  <a:pos x="0" y="44"/>
                </a:cxn>
              </a:cxnLst>
              <a:rect l="0" t="0" r="r" b="b"/>
              <a:pathLst>
                <a:path w="121" h="129">
                  <a:moveTo>
                    <a:pt x="0" y="44"/>
                  </a:moveTo>
                  <a:lnTo>
                    <a:pt x="5" y="31"/>
                  </a:lnTo>
                  <a:lnTo>
                    <a:pt x="5" y="18"/>
                  </a:lnTo>
                  <a:lnTo>
                    <a:pt x="14" y="9"/>
                  </a:lnTo>
                  <a:lnTo>
                    <a:pt x="49" y="0"/>
                  </a:lnTo>
                  <a:lnTo>
                    <a:pt x="63" y="4"/>
                  </a:lnTo>
                  <a:lnTo>
                    <a:pt x="67" y="18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7" y="44"/>
                  </a:lnTo>
                  <a:lnTo>
                    <a:pt x="81" y="44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76"/>
                  </a:lnTo>
                  <a:lnTo>
                    <a:pt x="116" y="71"/>
                  </a:lnTo>
                  <a:lnTo>
                    <a:pt x="121" y="76"/>
                  </a:lnTo>
                  <a:lnTo>
                    <a:pt x="116" y="94"/>
                  </a:lnTo>
                  <a:lnTo>
                    <a:pt x="121" y="98"/>
                  </a:lnTo>
                  <a:lnTo>
                    <a:pt x="116" y="116"/>
                  </a:lnTo>
                  <a:lnTo>
                    <a:pt x="103" y="129"/>
                  </a:lnTo>
                  <a:lnTo>
                    <a:pt x="85" y="129"/>
                  </a:lnTo>
                  <a:lnTo>
                    <a:pt x="72" y="125"/>
                  </a:lnTo>
                  <a:lnTo>
                    <a:pt x="58" y="125"/>
                  </a:lnTo>
                  <a:lnTo>
                    <a:pt x="72" y="98"/>
                  </a:lnTo>
                  <a:lnTo>
                    <a:pt x="72" y="89"/>
                  </a:lnTo>
                  <a:lnTo>
                    <a:pt x="36" y="71"/>
                  </a:lnTo>
                  <a:lnTo>
                    <a:pt x="27" y="7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4" name="Freeform 91">
              <a:extLst>
                <a:ext uri="{FF2B5EF4-FFF2-40B4-BE49-F238E27FC236}">
                  <a16:creationId xmlns:a16="http://schemas.microsoft.com/office/drawing/2014/main" id="{48D539A0-A027-4699-A422-018268F4D86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6993" y="4638585"/>
              <a:ext cx="285149" cy="397035"/>
            </a:xfrm>
            <a:custGeom>
              <a:avLst/>
              <a:gdLst/>
              <a:ahLst/>
              <a:cxnLst>
                <a:cxn ang="0">
                  <a:pos x="14" y="49"/>
                </a:cxn>
                <a:cxn ang="0">
                  <a:pos x="9" y="49"/>
                </a:cxn>
                <a:cxn ang="0">
                  <a:pos x="0" y="58"/>
                </a:cxn>
                <a:cxn ang="0">
                  <a:pos x="0" y="71"/>
                </a:cxn>
                <a:cxn ang="0">
                  <a:pos x="5" y="80"/>
                </a:cxn>
                <a:cxn ang="0">
                  <a:pos x="0" y="85"/>
                </a:cxn>
                <a:cxn ang="0">
                  <a:pos x="18" y="98"/>
                </a:cxn>
                <a:cxn ang="0">
                  <a:pos x="31" y="116"/>
                </a:cxn>
                <a:cxn ang="0">
                  <a:pos x="49" y="156"/>
                </a:cxn>
                <a:cxn ang="0">
                  <a:pos x="58" y="174"/>
                </a:cxn>
                <a:cxn ang="0">
                  <a:pos x="72" y="196"/>
                </a:cxn>
                <a:cxn ang="0">
                  <a:pos x="72" y="201"/>
                </a:cxn>
                <a:cxn ang="0">
                  <a:pos x="94" y="228"/>
                </a:cxn>
                <a:cxn ang="0">
                  <a:pos x="98" y="223"/>
                </a:cxn>
                <a:cxn ang="0">
                  <a:pos x="139" y="250"/>
                </a:cxn>
                <a:cxn ang="0">
                  <a:pos x="156" y="268"/>
                </a:cxn>
                <a:cxn ang="0">
                  <a:pos x="170" y="259"/>
                </a:cxn>
                <a:cxn ang="0">
                  <a:pos x="170" y="250"/>
                </a:cxn>
                <a:cxn ang="0">
                  <a:pos x="174" y="237"/>
                </a:cxn>
                <a:cxn ang="0">
                  <a:pos x="170" y="232"/>
                </a:cxn>
                <a:cxn ang="0">
                  <a:pos x="174" y="210"/>
                </a:cxn>
                <a:cxn ang="0">
                  <a:pos x="174" y="187"/>
                </a:cxn>
                <a:cxn ang="0">
                  <a:pos x="179" y="178"/>
                </a:cxn>
                <a:cxn ang="0">
                  <a:pos x="170" y="161"/>
                </a:cxn>
                <a:cxn ang="0">
                  <a:pos x="152" y="161"/>
                </a:cxn>
                <a:cxn ang="0">
                  <a:pos x="152" y="134"/>
                </a:cxn>
                <a:cxn ang="0">
                  <a:pos x="130" y="147"/>
                </a:cxn>
                <a:cxn ang="0">
                  <a:pos x="125" y="138"/>
                </a:cxn>
                <a:cxn ang="0">
                  <a:pos x="112" y="138"/>
                </a:cxn>
                <a:cxn ang="0">
                  <a:pos x="112" y="125"/>
                </a:cxn>
                <a:cxn ang="0">
                  <a:pos x="103" y="107"/>
                </a:cxn>
                <a:cxn ang="0">
                  <a:pos x="116" y="89"/>
                </a:cxn>
                <a:cxn ang="0">
                  <a:pos x="121" y="76"/>
                </a:cxn>
                <a:cxn ang="0">
                  <a:pos x="130" y="67"/>
                </a:cxn>
                <a:cxn ang="0">
                  <a:pos x="148" y="62"/>
                </a:cxn>
                <a:cxn ang="0">
                  <a:pos x="161" y="62"/>
                </a:cxn>
                <a:cxn ang="0">
                  <a:pos x="156" y="58"/>
                </a:cxn>
                <a:cxn ang="0">
                  <a:pos x="148" y="53"/>
                </a:cxn>
                <a:cxn ang="0">
                  <a:pos x="161" y="31"/>
                </a:cxn>
                <a:cxn ang="0">
                  <a:pos x="134" y="22"/>
                </a:cxn>
                <a:cxn ang="0">
                  <a:pos x="121" y="27"/>
                </a:cxn>
                <a:cxn ang="0">
                  <a:pos x="98" y="4"/>
                </a:cxn>
                <a:cxn ang="0">
                  <a:pos x="85" y="0"/>
                </a:cxn>
                <a:cxn ang="0">
                  <a:pos x="85" y="9"/>
                </a:cxn>
                <a:cxn ang="0">
                  <a:pos x="63" y="35"/>
                </a:cxn>
                <a:cxn ang="0">
                  <a:pos x="40" y="44"/>
                </a:cxn>
                <a:cxn ang="0">
                  <a:pos x="36" y="67"/>
                </a:cxn>
                <a:cxn ang="0">
                  <a:pos x="14" y="67"/>
                </a:cxn>
                <a:cxn ang="0">
                  <a:pos x="9" y="58"/>
                </a:cxn>
                <a:cxn ang="0">
                  <a:pos x="14" y="53"/>
                </a:cxn>
                <a:cxn ang="0">
                  <a:pos x="14" y="49"/>
                </a:cxn>
              </a:cxnLst>
              <a:rect l="0" t="0" r="r" b="b"/>
              <a:pathLst>
                <a:path w="179" h="268">
                  <a:moveTo>
                    <a:pt x="14" y="49"/>
                  </a:moveTo>
                  <a:lnTo>
                    <a:pt x="9" y="49"/>
                  </a:lnTo>
                  <a:lnTo>
                    <a:pt x="0" y="58"/>
                  </a:lnTo>
                  <a:lnTo>
                    <a:pt x="0" y="71"/>
                  </a:lnTo>
                  <a:lnTo>
                    <a:pt x="5" y="80"/>
                  </a:lnTo>
                  <a:lnTo>
                    <a:pt x="0" y="85"/>
                  </a:lnTo>
                  <a:lnTo>
                    <a:pt x="18" y="98"/>
                  </a:lnTo>
                  <a:lnTo>
                    <a:pt x="31" y="116"/>
                  </a:lnTo>
                  <a:lnTo>
                    <a:pt x="49" y="156"/>
                  </a:lnTo>
                  <a:lnTo>
                    <a:pt x="58" y="174"/>
                  </a:lnTo>
                  <a:lnTo>
                    <a:pt x="72" y="196"/>
                  </a:lnTo>
                  <a:lnTo>
                    <a:pt x="72" y="201"/>
                  </a:lnTo>
                  <a:lnTo>
                    <a:pt x="94" y="228"/>
                  </a:lnTo>
                  <a:lnTo>
                    <a:pt x="98" y="223"/>
                  </a:lnTo>
                  <a:lnTo>
                    <a:pt x="139" y="250"/>
                  </a:lnTo>
                  <a:lnTo>
                    <a:pt x="156" y="268"/>
                  </a:lnTo>
                  <a:lnTo>
                    <a:pt x="170" y="259"/>
                  </a:lnTo>
                  <a:lnTo>
                    <a:pt x="170" y="250"/>
                  </a:lnTo>
                  <a:lnTo>
                    <a:pt x="174" y="237"/>
                  </a:lnTo>
                  <a:lnTo>
                    <a:pt x="170" y="232"/>
                  </a:lnTo>
                  <a:lnTo>
                    <a:pt x="174" y="210"/>
                  </a:lnTo>
                  <a:lnTo>
                    <a:pt x="174" y="187"/>
                  </a:lnTo>
                  <a:lnTo>
                    <a:pt x="179" y="178"/>
                  </a:lnTo>
                  <a:lnTo>
                    <a:pt x="170" y="161"/>
                  </a:lnTo>
                  <a:lnTo>
                    <a:pt x="152" y="161"/>
                  </a:lnTo>
                  <a:lnTo>
                    <a:pt x="152" y="134"/>
                  </a:lnTo>
                  <a:lnTo>
                    <a:pt x="130" y="147"/>
                  </a:lnTo>
                  <a:lnTo>
                    <a:pt x="125" y="138"/>
                  </a:lnTo>
                  <a:lnTo>
                    <a:pt x="112" y="138"/>
                  </a:lnTo>
                  <a:lnTo>
                    <a:pt x="112" y="125"/>
                  </a:lnTo>
                  <a:lnTo>
                    <a:pt x="103" y="107"/>
                  </a:lnTo>
                  <a:lnTo>
                    <a:pt x="116" y="89"/>
                  </a:lnTo>
                  <a:lnTo>
                    <a:pt x="121" y="76"/>
                  </a:lnTo>
                  <a:lnTo>
                    <a:pt x="130" y="67"/>
                  </a:lnTo>
                  <a:lnTo>
                    <a:pt x="148" y="62"/>
                  </a:lnTo>
                  <a:lnTo>
                    <a:pt x="161" y="62"/>
                  </a:lnTo>
                  <a:lnTo>
                    <a:pt x="156" y="58"/>
                  </a:lnTo>
                  <a:lnTo>
                    <a:pt x="148" y="53"/>
                  </a:lnTo>
                  <a:lnTo>
                    <a:pt x="161" y="31"/>
                  </a:lnTo>
                  <a:lnTo>
                    <a:pt x="134" y="22"/>
                  </a:lnTo>
                  <a:lnTo>
                    <a:pt x="121" y="27"/>
                  </a:lnTo>
                  <a:lnTo>
                    <a:pt x="98" y="4"/>
                  </a:lnTo>
                  <a:lnTo>
                    <a:pt x="85" y="0"/>
                  </a:lnTo>
                  <a:lnTo>
                    <a:pt x="85" y="9"/>
                  </a:lnTo>
                  <a:lnTo>
                    <a:pt x="63" y="35"/>
                  </a:lnTo>
                  <a:lnTo>
                    <a:pt x="40" y="44"/>
                  </a:lnTo>
                  <a:lnTo>
                    <a:pt x="36" y="67"/>
                  </a:lnTo>
                  <a:lnTo>
                    <a:pt x="14" y="67"/>
                  </a:lnTo>
                  <a:lnTo>
                    <a:pt x="9" y="58"/>
                  </a:lnTo>
                  <a:lnTo>
                    <a:pt x="14" y="53"/>
                  </a:lnTo>
                  <a:lnTo>
                    <a:pt x="14" y="4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5" name="Freeform 92">
              <a:extLst>
                <a:ext uri="{FF2B5EF4-FFF2-40B4-BE49-F238E27FC236}">
                  <a16:creationId xmlns:a16="http://schemas.microsoft.com/office/drawing/2014/main" id="{679B82CB-34E0-4258-ACC2-C2541C2142B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5153" y="4220810"/>
              <a:ext cx="35046" cy="20741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3" y="9"/>
                </a:cxn>
                <a:cxn ang="0">
                  <a:pos x="17" y="14"/>
                </a:cxn>
                <a:cxn ang="0">
                  <a:pos x="22" y="9"/>
                </a:cxn>
                <a:cxn ang="0">
                  <a:pos x="22" y="0"/>
                </a:cxn>
                <a:cxn ang="0">
                  <a:pos x="13" y="5"/>
                </a:cxn>
                <a:cxn ang="0">
                  <a:pos x="0" y="0"/>
                </a:cxn>
                <a:cxn ang="0">
                  <a:pos x="0" y="14"/>
                </a:cxn>
              </a:cxnLst>
              <a:rect l="0" t="0" r="r" b="b"/>
              <a:pathLst>
                <a:path w="22" h="14">
                  <a:moveTo>
                    <a:pt x="0" y="14"/>
                  </a:moveTo>
                  <a:lnTo>
                    <a:pt x="13" y="9"/>
                  </a:lnTo>
                  <a:lnTo>
                    <a:pt x="17" y="14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6" name="Freeform 93">
              <a:extLst>
                <a:ext uri="{FF2B5EF4-FFF2-40B4-BE49-F238E27FC236}">
                  <a16:creationId xmlns:a16="http://schemas.microsoft.com/office/drawing/2014/main" id="{9839588A-BF77-469B-BEE0-A6AD65072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931" y="4327476"/>
              <a:ext cx="1593" cy="1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9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7" name="Freeform 94">
              <a:extLst>
                <a:ext uri="{FF2B5EF4-FFF2-40B4-BE49-F238E27FC236}">
                  <a16:creationId xmlns:a16="http://schemas.microsoft.com/office/drawing/2014/main" id="{42349579-CEAF-46EC-914F-4641D26932B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8966" y="4340809"/>
              <a:ext cx="7965" cy="1333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4"/>
                </a:cxn>
                <a:cxn ang="0">
                  <a:pos x="5" y="9"/>
                </a:cxn>
                <a:cxn ang="0">
                  <a:pos x="5" y="4"/>
                </a:cxn>
                <a:cxn ang="0">
                  <a:pos x="5" y="0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lnTo>
                    <a:pt x="0" y="4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8" name="Freeform 95">
              <a:extLst>
                <a:ext uri="{FF2B5EF4-FFF2-40B4-BE49-F238E27FC236}">
                  <a16:creationId xmlns:a16="http://schemas.microsoft.com/office/drawing/2014/main" id="{0C859E7F-A747-4B79-AD30-432A5B14D69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4279" y="4499327"/>
              <a:ext cx="98767" cy="99259"/>
            </a:xfrm>
            <a:custGeom>
              <a:avLst/>
              <a:gdLst/>
              <a:ahLst/>
              <a:cxnLst>
                <a:cxn ang="0">
                  <a:pos x="26" y="62"/>
                </a:cxn>
                <a:cxn ang="0">
                  <a:pos x="22" y="54"/>
                </a:cxn>
                <a:cxn ang="0">
                  <a:pos x="18" y="40"/>
                </a:cxn>
                <a:cxn ang="0">
                  <a:pos x="9" y="40"/>
                </a:cxn>
                <a:cxn ang="0">
                  <a:pos x="0" y="31"/>
                </a:cxn>
                <a:cxn ang="0">
                  <a:pos x="4" y="22"/>
                </a:cxn>
                <a:cxn ang="0">
                  <a:pos x="13" y="18"/>
                </a:cxn>
                <a:cxn ang="0">
                  <a:pos x="18" y="4"/>
                </a:cxn>
                <a:cxn ang="0">
                  <a:pos x="22" y="0"/>
                </a:cxn>
                <a:cxn ang="0">
                  <a:pos x="35" y="4"/>
                </a:cxn>
                <a:cxn ang="0">
                  <a:pos x="58" y="4"/>
                </a:cxn>
                <a:cxn ang="0">
                  <a:pos x="58" y="13"/>
                </a:cxn>
                <a:cxn ang="0">
                  <a:pos x="53" y="22"/>
                </a:cxn>
                <a:cxn ang="0">
                  <a:pos x="62" y="40"/>
                </a:cxn>
                <a:cxn ang="0">
                  <a:pos x="49" y="54"/>
                </a:cxn>
                <a:cxn ang="0">
                  <a:pos x="31" y="54"/>
                </a:cxn>
                <a:cxn ang="0">
                  <a:pos x="31" y="67"/>
                </a:cxn>
                <a:cxn ang="0">
                  <a:pos x="26" y="62"/>
                </a:cxn>
              </a:cxnLst>
              <a:rect l="0" t="0" r="r" b="b"/>
              <a:pathLst>
                <a:path w="62" h="67">
                  <a:moveTo>
                    <a:pt x="26" y="62"/>
                  </a:moveTo>
                  <a:lnTo>
                    <a:pt x="22" y="54"/>
                  </a:lnTo>
                  <a:lnTo>
                    <a:pt x="18" y="40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4" y="22"/>
                  </a:lnTo>
                  <a:lnTo>
                    <a:pt x="13" y="18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35" y="4"/>
                  </a:lnTo>
                  <a:lnTo>
                    <a:pt x="58" y="4"/>
                  </a:lnTo>
                  <a:lnTo>
                    <a:pt x="58" y="13"/>
                  </a:lnTo>
                  <a:lnTo>
                    <a:pt x="53" y="22"/>
                  </a:lnTo>
                  <a:lnTo>
                    <a:pt x="62" y="40"/>
                  </a:lnTo>
                  <a:lnTo>
                    <a:pt x="49" y="54"/>
                  </a:lnTo>
                  <a:lnTo>
                    <a:pt x="31" y="54"/>
                  </a:lnTo>
                  <a:lnTo>
                    <a:pt x="31" y="67"/>
                  </a:lnTo>
                  <a:lnTo>
                    <a:pt x="26" y="6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9" name="Freeform 96">
              <a:extLst>
                <a:ext uri="{FF2B5EF4-FFF2-40B4-BE49-F238E27FC236}">
                  <a16:creationId xmlns:a16="http://schemas.microsoft.com/office/drawing/2014/main" id="{0EBB0710-B910-4145-AE8D-221FF0622D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6222" y="4386735"/>
              <a:ext cx="35046" cy="32592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4"/>
                </a:cxn>
                <a:cxn ang="0">
                  <a:pos x="22" y="0"/>
                </a:cxn>
                <a:cxn ang="0">
                  <a:pos x="17" y="0"/>
                </a:cxn>
                <a:cxn ang="0">
                  <a:pos x="13" y="0"/>
                </a:cxn>
                <a:cxn ang="0">
                  <a:pos x="13" y="9"/>
                </a:cxn>
                <a:cxn ang="0">
                  <a:pos x="4" y="9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4" y="22"/>
                </a:cxn>
                <a:cxn ang="0">
                  <a:pos x="13" y="22"/>
                </a:cxn>
                <a:cxn ang="0">
                  <a:pos x="13" y="9"/>
                </a:cxn>
              </a:cxnLst>
              <a:rect l="0" t="0" r="r" b="b"/>
              <a:pathLst>
                <a:path w="22" h="22">
                  <a:moveTo>
                    <a:pt x="13" y="0"/>
                  </a:moveTo>
                  <a:lnTo>
                    <a:pt x="13" y="4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3" y="0"/>
                  </a:lnTo>
                  <a:close/>
                  <a:moveTo>
                    <a:pt x="13" y="9"/>
                  </a:moveTo>
                  <a:lnTo>
                    <a:pt x="4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13" y="22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0" name="Freeform 97">
              <a:extLst>
                <a:ext uri="{FF2B5EF4-FFF2-40B4-BE49-F238E27FC236}">
                  <a16:creationId xmlns:a16="http://schemas.microsoft.com/office/drawing/2014/main" id="{15D143AF-DBD7-42A1-823D-EF478AC521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7056" y="2354153"/>
              <a:ext cx="2348097" cy="1860731"/>
            </a:xfrm>
            <a:custGeom>
              <a:avLst/>
              <a:gdLst/>
              <a:ahLst/>
              <a:cxnLst>
                <a:cxn ang="0">
                  <a:pos x="26" y="425"/>
                </a:cxn>
                <a:cxn ang="0">
                  <a:pos x="35" y="594"/>
                </a:cxn>
                <a:cxn ang="0">
                  <a:pos x="58" y="590"/>
                </a:cxn>
                <a:cxn ang="0">
                  <a:pos x="107" y="232"/>
                </a:cxn>
                <a:cxn ang="0">
                  <a:pos x="44" y="232"/>
                </a:cxn>
                <a:cxn ang="0">
                  <a:pos x="120" y="282"/>
                </a:cxn>
                <a:cxn ang="0">
                  <a:pos x="67" y="353"/>
                </a:cxn>
                <a:cxn ang="0">
                  <a:pos x="75" y="442"/>
                </a:cxn>
                <a:cxn ang="0">
                  <a:pos x="134" y="465"/>
                </a:cxn>
                <a:cxn ang="0">
                  <a:pos x="174" y="509"/>
                </a:cxn>
                <a:cxn ang="0">
                  <a:pos x="98" y="554"/>
                </a:cxn>
                <a:cxn ang="0">
                  <a:pos x="138" y="550"/>
                </a:cxn>
                <a:cxn ang="0">
                  <a:pos x="227" y="447"/>
                </a:cxn>
                <a:cxn ang="0">
                  <a:pos x="250" y="438"/>
                </a:cxn>
                <a:cxn ang="0">
                  <a:pos x="321" y="429"/>
                </a:cxn>
                <a:cxn ang="0">
                  <a:pos x="352" y="429"/>
                </a:cxn>
                <a:cxn ang="0">
                  <a:pos x="455" y="469"/>
                </a:cxn>
                <a:cxn ang="0">
                  <a:pos x="495" y="460"/>
                </a:cxn>
                <a:cxn ang="0">
                  <a:pos x="518" y="496"/>
                </a:cxn>
                <a:cxn ang="0">
                  <a:pos x="567" y="572"/>
                </a:cxn>
                <a:cxn ang="0">
                  <a:pos x="477" y="447"/>
                </a:cxn>
                <a:cxn ang="0">
                  <a:pos x="406" y="433"/>
                </a:cxn>
                <a:cxn ang="0">
                  <a:pos x="268" y="67"/>
                </a:cxn>
                <a:cxn ang="0">
                  <a:pos x="209" y="9"/>
                </a:cxn>
                <a:cxn ang="0">
                  <a:pos x="116" y="58"/>
                </a:cxn>
                <a:cxn ang="0">
                  <a:pos x="40" y="152"/>
                </a:cxn>
                <a:cxn ang="0">
                  <a:pos x="134" y="228"/>
                </a:cxn>
                <a:cxn ang="0">
                  <a:pos x="160" y="1229"/>
                </a:cxn>
                <a:cxn ang="0">
                  <a:pos x="201" y="1251"/>
                </a:cxn>
                <a:cxn ang="0">
                  <a:pos x="491" y="527"/>
                </a:cxn>
                <a:cxn ang="0">
                  <a:pos x="513" y="523"/>
                </a:cxn>
                <a:cxn ang="0">
                  <a:pos x="536" y="563"/>
                </a:cxn>
                <a:cxn ang="0">
                  <a:pos x="531" y="572"/>
                </a:cxn>
                <a:cxn ang="0">
                  <a:pos x="652" y="742"/>
                </a:cxn>
                <a:cxn ang="0">
                  <a:pos x="647" y="885"/>
                </a:cxn>
                <a:cxn ang="0">
                  <a:pos x="679" y="947"/>
                </a:cxn>
                <a:cxn ang="0">
                  <a:pos x="746" y="1023"/>
                </a:cxn>
                <a:cxn ang="0">
                  <a:pos x="951" y="1104"/>
                </a:cxn>
                <a:cxn ang="0">
                  <a:pos x="1094" y="1086"/>
                </a:cxn>
                <a:cxn ang="0">
                  <a:pos x="1139" y="1081"/>
                </a:cxn>
                <a:cxn ang="0">
                  <a:pos x="1246" y="1104"/>
                </a:cxn>
                <a:cxn ang="0">
                  <a:pos x="1286" y="1135"/>
                </a:cxn>
                <a:cxn ang="0">
                  <a:pos x="1304" y="1014"/>
                </a:cxn>
                <a:cxn ang="0">
                  <a:pos x="1344" y="983"/>
                </a:cxn>
                <a:cxn ang="0">
                  <a:pos x="1335" y="912"/>
                </a:cxn>
                <a:cxn ang="0">
                  <a:pos x="1353" y="930"/>
                </a:cxn>
                <a:cxn ang="0">
                  <a:pos x="1371" y="885"/>
                </a:cxn>
                <a:cxn ang="0">
                  <a:pos x="1420" y="858"/>
                </a:cxn>
                <a:cxn ang="0">
                  <a:pos x="1469" y="800"/>
                </a:cxn>
                <a:cxn ang="0">
                  <a:pos x="1357" y="804"/>
                </a:cxn>
                <a:cxn ang="0">
                  <a:pos x="1299" y="849"/>
                </a:cxn>
                <a:cxn ang="0">
                  <a:pos x="1246" y="818"/>
                </a:cxn>
                <a:cxn ang="0">
                  <a:pos x="1206" y="800"/>
                </a:cxn>
                <a:cxn ang="0">
                  <a:pos x="1188" y="795"/>
                </a:cxn>
                <a:cxn ang="0">
                  <a:pos x="1170" y="755"/>
                </a:cxn>
                <a:cxn ang="0">
                  <a:pos x="1116" y="737"/>
                </a:cxn>
                <a:cxn ang="0">
                  <a:pos x="1389" y="885"/>
                </a:cxn>
              </a:cxnLst>
              <a:rect l="0" t="0" r="r" b="b"/>
              <a:pathLst>
                <a:path w="1474" h="1256">
                  <a:moveTo>
                    <a:pt x="13" y="603"/>
                  </a:moveTo>
                  <a:lnTo>
                    <a:pt x="8" y="608"/>
                  </a:lnTo>
                  <a:lnTo>
                    <a:pt x="8" y="612"/>
                  </a:lnTo>
                  <a:lnTo>
                    <a:pt x="4" y="617"/>
                  </a:lnTo>
                  <a:lnTo>
                    <a:pt x="0" y="626"/>
                  </a:lnTo>
                  <a:lnTo>
                    <a:pt x="8" y="621"/>
                  </a:lnTo>
                  <a:lnTo>
                    <a:pt x="22" y="608"/>
                  </a:lnTo>
                  <a:lnTo>
                    <a:pt x="13" y="603"/>
                  </a:lnTo>
                  <a:close/>
                  <a:moveTo>
                    <a:pt x="26" y="425"/>
                  </a:moveTo>
                  <a:lnTo>
                    <a:pt x="26" y="429"/>
                  </a:lnTo>
                  <a:lnTo>
                    <a:pt x="40" y="442"/>
                  </a:lnTo>
                  <a:lnTo>
                    <a:pt x="49" y="438"/>
                  </a:lnTo>
                  <a:lnTo>
                    <a:pt x="49" y="429"/>
                  </a:lnTo>
                  <a:lnTo>
                    <a:pt x="44" y="420"/>
                  </a:lnTo>
                  <a:lnTo>
                    <a:pt x="40" y="420"/>
                  </a:lnTo>
                  <a:lnTo>
                    <a:pt x="35" y="425"/>
                  </a:lnTo>
                  <a:lnTo>
                    <a:pt x="26" y="425"/>
                  </a:lnTo>
                  <a:close/>
                  <a:moveTo>
                    <a:pt x="35" y="594"/>
                  </a:moveTo>
                  <a:lnTo>
                    <a:pt x="31" y="599"/>
                  </a:lnTo>
                  <a:lnTo>
                    <a:pt x="35" y="603"/>
                  </a:lnTo>
                  <a:lnTo>
                    <a:pt x="17" y="612"/>
                  </a:lnTo>
                  <a:lnTo>
                    <a:pt x="22" y="617"/>
                  </a:lnTo>
                  <a:lnTo>
                    <a:pt x="40" y="608"/>
                  </a:lnTo>
                  <a:lnTo>
                    <a:pt x="49" y="603"/>
                  </a:lnTo>
                  <a:lnTo>
                    <a:pt x="49" y="599"/>
                  </a:lnTo>
                  <a:lnTo>
                    <a:pt x="58" y="590"/>
                  </a:lnTo>
                  <a:lnTo>
                    <a:pt x="58" y="590"/>
                  </a:lnTo>
                  <a:lnTo>
                    <a:pt x="49" y="590"/>
                  </a:lnTo>
                  <a:lnTo>
                    <a:pt x="44" y="594"/>
                  </a:lnTo>
                  <a:lnTo>
                    <a:pt x="35" y="594"/>
                  </a:lnTo>
                  <a:close/>
                  <a:moveTo>
                    <a:pt x="129" y="232"/>
                  </a:moveTo>
                  <a:lnTo>
                    <a:pt x="116" y="223"/>
                  </a:lnTo>
                  <a:lnTo>
                    <a:pt x="111" y="223"/>
                  </a:lnTo>
                  <a:lnTo>
                    <a:pt x="98" y="201"/>
                  </a:lnTo>
                  <a:lnTo>
                    <a:pt x="93" y="206"/>
                  </a:lnTo>
                  <a:lnTo>
                    <a:pt x="107" y="232"/>
                  </a:lnTo>
                  <a:lnTo>
                    <a:pt x="111" y="228"/>
                  </a:lnTo>
                  <a:lnTo>
                    <a:pt x="120" y="241"/>
                  </a:lnTo>
                  <a:lnTo>
                    <a:pt x="84" y="241"/>
                  </a:lnTo>
                  <a:lnTo>
                    <a:pt x="80" y="223"/>
                  </a:lnTo>
                  <a:lnTo>
                    <a:pt x="62" y="223"/>
                  </a:lnTo>
                  <a:lnTo>
                    <a:pt x="49" y="232"/>
                  </a:lnTo>
                  <a:lnTo>
                    <a:pt x="53" y="237"/>
                  </a:lnTo>
                  <a:lnTo>
                    <a:pt x="40" y="241"/>
                  </a:lnTo>
                  <a:lnTo>
                    <a:pt x="44" y="232"/>
                  </a:lnTo>
                  <a:lnTo>
                    <a:pt x="40" y="232"/>
                  </a:lnTo>
                  <a:lnTo>
                    <a:pt x="13" y="255"/>
                  </a:lnTo>
                  <a:lnTo>
                    <a:pt x="22" y="264"/>
                  </a:lnTo>
                  <a:lnTo>
                    <a:pt x="49" y="268"/>
                  </a:lnTo>
                  <a:lnTo>
                    <a:pt x="35" y="277"/>
                  </a:lnTo>
                  <a:lnTo>
                    <a:pt x="49" y="299"/>
                  </a:lnTo>
                  <a:lnTo>
                    <a:pt x="93" y="304"/>
                  </a:lnTo>
                  <a:lnTo>
                    <a:pt x="98" y="295"/>
                  </a:lnTo>
                  <a:lnTo>
                    <a:pt x="120" y="282"/>
                  </a:lnTo>
                  <a:lnTo>
                    <a:pt x="125" y="290"/>
                  </a:lnTo>
                  <a:lnTo>
                    <a:pt x="116" y="295"/>
                  </a:lnTo>
                  <a:lnTo>
                    <a:pt x="125" y="322"/>
                  </a:lnTo>
                  <a:lnTo>
                    <a:pt x="111" y="331"/>
                  </a:lnTo>
                  <a:lnTo>
                    <a:pt x="107" y="331"/>
                  </a:lnTo>
                  <a:lnTo>
                    <a:pt x="93" y="340"/>
                  </a:lnTo>
                  <a:lnTo>
                    <a:pt x="84" y="331"/>
                  </a:lnTo>
                  <a:lnTo>
                    <a:pt x="75" y="335"/>
                  </a:lnTo>
                  <a:lnTo>
                    <a:pt x="67" y="353"/>
                  </a:lnTo>
                  <a:lnTo>
                    <a:pt x="49" y="375"/>
                  </a:lnTo>
                  <a:lnTo>
                    <a:pt x="58" y="393"/>
                  </a:lnTo>
                  <a:lnTo>
                    <a:pt x="62" y="389"/>
                  </a:lnTo>
                  <a:lnTo>
                    <a:pt x="62" y="402"/>
                  </a:lnTo>
                  <a:lnTo>
                    <a:pt x="67" y="402"/>
                  </a:lnTo>
                  <a:lnTo>
                    <a:pt x="58" y="416"/>
                  </a:lnTo>
                  <a:lnTo>
                    <a:pt x="62" y="425"/>
                  </a:lnTo>
                  <a:lnTo>
                    <a:pt x="67" y="420"/>
                  </a:lnTo>
                  <a:lnTo>
                    <a:pt x="75" y="442"/>
                  </a:lnTo>
                  <a:lnTo>
                    <a:pt x="98" y="438"/>
                  </a:lnTo>
                  <a:lnTo>
                    <a:pt x="102" y="429"/>
                  </a:lnTo>
                  <a:lnTo>
                    <a:pt x="111" y="442"/>
                  </a:lnTo>
                  <a:lnTo>
                    <a:pt x="107" y="451"/>
                  </a:lnTo>
                  <a:lnTo>
                    <a:pt x="107" y="469"/>
                  </a:lnTo>
                  <a:lnTo>
                    <a:pt x="98" y="478"/>
                  </a:lnTo>
                  <a:lnTo>
                    <a:pt x="111" y="478"/>
                  </a:lnTo>
                  <a:lnTo>
                    <a:pt x="120" y="469"/>
                  </a:lnTo>
                  <a:lnTo>
                    <a:pt x="134" y="465"/>
                  </a:lnTo>
                  <a:lnTo>
                    <a:pt x="142" y="469"/>
                  </a:lnTo>
                  <a:lnTo>
                    <a:pt x="156" y="492"/>
                  </a:lnTo>
                  <a:lnTo>
                    <a:pt x="160" y="492"/>
                  </a:lnTo>
                  <a:lnTo>
                    <a:pt x="160" y="478"/>
                  </a:lnTo>
                  <a:lnTo>
                    <a:pt x="169" y="483"/>
                  </a:lnTo>
                  <a:lnTo>
                    <a:pt x="187" y="460"/>
                  </a:lnTo>
                  <a:lnTo>
                    <a:pt x="183" y="474"/>
                  </a:lnTo>
                  <a:lnTo>
                    <a:pt x="183" y="496"/>
                  </a:lnTo>
                  <a:lnTo>
                    <a:pt x="174" y="509"/>
                  </a:lnTo>
                  <a:lnTo>
                    <a:pt x="156" y="518"/>
                  </a:lnTo>
                  <a:lnTo>
                    <a:pt x="156" y="527"/>
                  </a:lnTo>
                  <a:lnTo>
                    <a:pt x="142" y="527"/>
                  </a:lnTo>
                  <a:lnTo>
                    <a:pt x="125" y="536"/>
                  </a:lnTo>
                  <a:lnTo>
                    <a:pt x="129" y="550"/>
                  </a:lnTo>
                  <a:lnTo>
                    <a:pt x="120" y="554"/>
                  </a:lnTo>
                  <a:lnTo>
                    <a:pt x="116" y="541"/>
                  </a:lnTo>
                  <a:lnTo>
                    <a:pt x="107" y="541"/>
                  </a:lnTo>
                  <a:lnTo>
                    <a:pt x="98" y="554"/>
                  </a:lnTo>
                  <a:lnTo>
                    <a:pt x="84" y="572"/>
                  </a:lnTo>
                  <a:lnTo>
                    <a:pt x="75" y="572"/>
                  </a:lnTo>
                  <a:lnTo>
                    <a:pt x="67" y="585"/>
                  </a:lnTo>
                  <a:lnTo>
                    <a:pt x="67" y="594"/>
                  </a:lnTo>
                  <a:lnTo>
                    <a:pt x="93" y="581"/>
                  </a:lnTo>
                  <a:lnTo>
                    <a:pt x="89" y="572"/>
                  </a:lnTo>
                  <a:lnTo>
                    <a:pt x="98" y="572"/>
                  </a:lnTo>
                  <a:lnTo>
                    <a:pt x="107" y="576"/>
                  </a:lnTo>
                  <a:lnTo>
                    <a:pt x="138" y="550"/>
                  </a:lnTo>
                  <a:lnTo>
                    <a:pt x="138" y="559"/>
                  </a:lnTo>
                  <a:lnTo>
                    <a:pt x="142" y="545"/>
                  </a:lnTo>
                  <a:lnTo>
                    <a:pt x="147" y="550"/>
                  </a:lnTo>
                  <a:lnTo>
                    <a:pt x="174" y="527"/>
                  </a:lnTo>
                  <a:lnTo>
                    <a:pt x="192" y="527"/>
                  </a:lnTo>
                  <a:lnTo>
                    <a:pt x="205" y="505"/>
                  </a:lnTo>
                  <a:lnTo>
                    <a:pt x="236" y="465"/>
                  </a:lnTo>
                  <a:lnTo>
                    <a:pt x="223" y="460"/>
                  </a:lnTo>
                  <a:lnTo>
                    <a:pt x="227" y="447"/>
                  </a:lnTo>
                  <a:lnTo>
                    <a:pt x="236" y="442"/>
                  </a:lnTo>
                  <a:lnTo>
                    <a:pt x="259" y="402"/>
                  </a:lnTo>
                  <a:lnTo>
                    <a:pt x="268" y="393"/>
                  </a:lnTo>
                  <a:lnTo>
                    <a:pt x="285" y="398"/>
                  </a:lnTo>
                  <a:lnTo>
                    <a:pt x="290" y="407"/>
                  </a:lnTo>
                  <a:lnTo>
                    <a:pt x="272" y="402"/>
                  </a:lnTo>
                  <a:lnTo>
                    <a:pt x="259" y="416"/>
                  </a:lnTo>
                  <a:lnTo>
                    <a:pt x="259" y="420"/>
                  </a:lnTo>
                  <a:lnTo>
                    <a:pt x="250" y="438"/>
                  </a:lnTo>
                  <a:lnTo>
                    <a:pt x="250" y="447"/>
                  </a:lnTo>
                  <a:lnTo>
                    <a:pt x="259" y="451"/>
                  </a:lnTo>
                  <a:lnTo>
                    <a:pt x="250" y="460"/>
                  </a:lnTo>
                  <a:lnTo>
                    <a:pt x="259" y="465"/>
                  </a:lnTo>
                  <a:lnTo>
                    <a:pt x="272" y="451"/>
                  </a:lnTo>
                  <a:lnTo>
                    <a:pt x="276" y="456"/>
                  </a:lnTo>
                  <a:lnTo>
                    <a:pt x="290" y="442"/>
                  </a:lnTo>
                  <a:lnTo>
                    <a:pt x="321" y="442"/>
                  </a:lnTo>
                  <a:lnTo>
                    <a:pt x="321" y="429"/>
                  </a:lnTo>
                  <a:lnTo>
                    <a:pt x="317" y="425"/>
                  </a:lnTo>
                  <a:lnTo>
                    <a:pt x="312" y="420"/>
                  </a:lnTo>
                  <a:lnTo>
                    <a:pt x="308" y="425"/>
                  </a:lnTo>
                  <a:lnTo>
                    <a:pt x="303" y="411"/>
                  </a:lnTo>
                  <a:lnTo>
                    <a:pt x="308" y="407"/>
                  </a:lnTo>
                  <a:lnTo>
                    <a:pt x="312" y="416"/>
                  </a:lnTo>
                  <a:lnTo>
                    <a:pt x="326" y="411"/>
                  </a:lnTo>
                  <a:lnTo>
                    <a:pt x="339" y="429"/>
                  </a:lnTo>
                  <a:lnTo>
                    <a:pt x="352" y="429"/>
                  </a:lnTo>
                  <a:lnTo>
                    <a:pt x="357" y="420"/>
                  </a:lnTo>
                  <a:lnTo>
                    <a:pt x="357" y="429"/>
                  </a:lnTo>
                  <a:lnTo>
                    <a:pt x="366" y="438"/>
                  </a:lnTo>
                  <a:lnTo>
                    <a:pt x="384" y="433"/>
                  </a:lnTo>
                  <a:lnTo>
                    <a:pt x="402" y="442"/>
                  </a:lnTo>
                  <a:lnTo>
                    <a:pt x="419" y="447"/>
                  </a:lnTo>
                  <a:lnTo>
                    <a:pt x="433" y="438"/>
                  </a:lnTo>
                  <a:lnTo>
                    <a:pt x="428" y="456"/>
                  </a:lnTo>
                  <a:lnTo>
                    <a:pt x="455" y="469"/>
                  </a:lnTo>
                  <a:lnTo>
                    <a:pt x="473" y="483"/>
                  </a:lnTo>
                  <a:lnTo>
                    <a:pt x="477" y="478"/>
                  </a:lnTo>
                  <a:lnTo>
                    <a:pt x="469" y="465"/>
                  </a:lnTo>
                  <a:lnTo>
                    <a:pt x="473" y="465"/>
                  </a:lnTo>
                  <a:lnTo>
                    <a:pt x="486" y="474"/>
                  </a:lnTo>
                  <a:lnTo>
                    <a:pt x="482" y="483"/>
                  </a:lnTo>
                  <a:lnTo>
                    <a:pt x="491" y="487"/>
                  </a:lnTo>
                  <a:lnTo>
                    <a:pt x="495" y="474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500" y="478"/>
                  </a:lnTo>
                  <a:lnTo>
                    <a:pt x="495" y="487"/>
                  </a:lnTo>
                  <a:lnTo>
                    <a:pt x="504" y="496"/>
                  </a:lnTo>
                  <a:lnTo>
                    <a:pt x="504" y="518"/>
                  </a:lnTo>
                  <a:lnTo>
                    <a:pt x="513" y="505"/>
                  </a:lnTo>
                  <a:lnTo>
                    <a:pt x="509" y="487"/>
                  </a:lnTo>
                  <a:lnTo>
                    <a:pt x="513" y="487"/>
                  </a:lnTo>
                  <a:lnTo>
                    <a:pt x="518" y="496"/>
                  </a:lnTo>
                  <a:lnTo>
                    <a:pt x="522" y="518"/>
                  </a:lnTo>
                  <a:lnTo>
                    <a:pt x="536" y="527"/>
                  </a:lnTo>
                  <a:lnTo>
                    <a:pt x="531" y="541"/>
                  </a:lnTo>
                  <a:lnTo>
                    <a:pt x="540" y="550"/>
                  </a:lnTo>
                  <a:lnTo>
                    <a:pt x="540" y="559"/>
                  </a:lnTo>
                  <a:lnTo>
                    <a:pt x="549" y="572"/>
                  </a:lnTo>
                  <a:lnTo>
                    <a:pt x="558" y="568"/>
                  </a:lnTo>
                  <a:lnTo>
                    <a:pt x="562" y="581"/>
                  </a:lnTo>
                  <a:lnTo>
                    <a:pt x="567" y="572"/>
                  </a:lnTo>
                  <a:lnTo>
                    <a:pt x="567" y="554"/>
                  </a:lnTo>
                  <a:lnTo>
                    <a:pt x="567" y="550"/>
                  </a:lnTo>
                  <a:lnTo>
                    <a:pt x="567" y="541"/>
                  </a:lnTo>
                  <a:lnTo>
                    <a:pt x="558" y="541"/>
                  </a:lnTo>
                  <a:lnTo>
                    <a:pt x="540" y="523"/>
                  </a:lnTo>
                  <a:lnTo>
                    <a:pt x="527" y="496"/>
                  </a:lnTo>
                  <a:lnTo>
                    <a:pt x="509" y="460"/>
                  </a:lnTo>
                  <a:lnTo>
                    <a:pt x="491" y="447"/>
                  </a:lnTo>
                  <a:lnTo>
                    <a:pt x="477" y="447"/>
                  </a:lnTo>
                  <a:lnTo>
                    <a:pt x="469" y="460"/>
                  </a:lnTo>
                  <a:lnTo>
                    <a:pt x="455" y="465"/>
                  </a:lnTo>
                  <a:lnTo>
                    <a:pt x="451" y="456"/>
                  </a:lnTo>
                  <a:lnTo>
                    <a:pt x="437" y="438"/>
                  </a:lnTo>
                  <a:lnTo>
                    <a:pt x="433" y="433"/>
                  </a:lnTo>
                  <a:lnTo>
                    <a:pt x="428" y="429"/>
                  </a:lnTo>
                  <a:lnTo>
                    <a:pt x="419" y="438"/>
                  </a:lnTo>
                  <a:lnTo>
                    <a:pt x="410" y="438"/>
                  </a:lnTo>
                  <a:lnTo>
                    <a:pt x="406" y="433"/>
                  </a:lnTo>
                  <a:lnTo>
                    <a:pt x="406" y="98"/>
                  </a:lnTo>
                  <a:lnTo>
                    <a:pt x="388" y="89"/>
                  </a:lnTo>
                  <a:lnTo>
                    <a:pt x="361" y="76"/>
                  </a:lnTo>
                  <a:lnTo>
                    <a:pt x="348" y="85"/>
                  </a:lnTo>
                  <a:lnTo>
                    <a:pt x="330" y="76"/>
                  </a:lnTo>
                  <a:lnTo>
                    <a:pt x="317" y="76"/>
                  </a:lnTo>
                  <a:lnTo>
                    <a:pt x="299" y="67"/>
                  </a:lnTo>
                  <a:lnTo>
                    <a:pt x="281" y="63"/>
                  </a:lnTo>
                  <a:lnTo>
                    <a:pt x="268" y="67"/>
                  </a:lnTo>
                  <a:lnTo>
                    <a:pt x="259" y="72"/>
                  </a:lnTo>
                  <a:lnTo>
                    <a:pt x="259" y="63"/>
                  </a:lnTo>
                  <a:lnTo>
                    <a:pt x="245" y="58"/>
                  </a:lnTo>
                  <a:lnTo>
                    <a:pt x="250" y="45"/>
                  </a:lnTo>
                  <a:lnTo>
                    <a:pt x="236" y="49"/>
                  </a:lnTo>
                  <a:lnTo>
                    <a:pt x="236" y="36"/>
                  </a:lnTo>
                  <a:lnTo>
                    <a:pt x="214" y="31"/>
                  </a:lnTo>
                  <a:lnTo>
                    <a:pt x="214" y="9"/>
                  </a:lnTo>
                  <a:lnTo>
                    <a:pt x="209" y="9"/>
                  </a:lnTo>
                  <a:lnTo>
                    <a:pt x="205" y="27"/>
                  </a:lnTo>
                  <a:lnTo>
                    <a:pt x="205" y="31"/>
                  </a:lnTo>
                  <a:lnTo>
                    <a:pt x="192" y="36"/>
                  </a:lnTo>
                  <a:lnTo>
                    <a:pt x="201" y="9"/>
                  </a:lnTo>
                  <a:lnTo>
                    <a:pt x="187" y="0"/>
                  </a:lnTo>
                  <a:lnTo>
                    <a:pt x="169" y="31"/>
                  </a:lnTo>
                  <a:lnTo>
                    <a:pt x="151" y="36"/>
                  </a:lnTo>
                  <a:lnTo>
                    <a:pt x="142" y="36"/>
                  </a:lnTo>
                  <a:lnTo>
                    <a:pt x="116" y="58"/>
                  </a:lnTo>
                  <a:lnTo>
                    <a:pt x="111" y="67"/>
                  </a:lnTo>
                  <a:lnTo>
                    <a:pt x="107" y="58"/>
                  </a:lnTo>
                  <a:lnTo>
                    <a:pt x="98" y="76"/>
                  </a:lnTo>
                  <a:lnTo>
                    <a:pt x="93" y="80"/>
                  </a:lnTo>
                  <a:lnTo>
                    <a:pt x="84" y="94"/>
                  </a:lnTo>
                  <a:lnTo>
                    <a:pt x="84" y="112"/>
                  </a:lnTo>
                  <a:lnTo>
                    <a:pt x="53" y="130"/>
                  </a:lnTo>
                  <a:lnTo>
                    <a:pt x="44" y="130"/>
                  </a:lnTo>
                  <a:lnTo>
                    <a:pt x="40" y="152"/>
                  </a:lnTo>
                  <a:lnTo>
                    <a:pt x="53" y="156"/>
                  </a:lnTo>
                  <a:lnTo>
                    <a:pt x="75" y="170"/>
                  </a:lnTo>
                  <a:lnTo>
                    <a:pt x="80" y="183"/>
                  </a:lnTo>
                  <a:lnTo>
                    <a:pt x="80" y="197"/>
                  </a:lnTo>
                  <a:lnTo>
                    <a:pt x="111" y="201"/>
                  </a:lnTo>
                  <a:lnTo>
                    <a:pt x="111" y="210"/>
                  </a:lnTo>
                  <a:lnTo>
                    <a:pt x="116" y="219"/>
                  </a:lnTo>
                  <a:lnTo>
                    <a:pt x="129" y="219"/>
                  </a:lnTo>
                  <a:lnTo>
                    <a:pt x="134" y="228"/>
                  </a:lnTo>
                  <a:lnTo>
                    <a:pt x="129" y="232"/>
                  </a:lnTo>
                  <a:close/>
                  <a:moveTo>
                    <a:pt x="138" y="1211"/>
                  </a:moveTo>
                  <a:lnTo>
                    <a:pt x="142" y="1216"/>
                  </a:lnTo>
                  <a:lnTo>
                    <a:pt x="147" y="1216"/>
                  </a:lnTo>
                  <a:lnTo>
                    <a:pt x="147" y="1207"/>
                  </a:lnTo>
                  <a:lnTo>
                    <a:pt x="138" y="1211"/>
                  </a:lnTo>
                  <a:close/>
                  <a:moveTo>
                    <a:pt x="165" y="1216"/>
                  </a:moveTo>
                  <a:lnTo>
                    <a:pt x="156" y="1220"/>
                  </a:lnTo>
                  <a:lnTo>
                    <a:pt x="160" y="1229"/>
                  </a:lnTo>
                  <a:lnTo>
                    <a:pt x="169" y="1229"/>
                  </a:lnTo>
                  <a:lnTo>
                    <a:pt x="169" y="1220"/>
                  </a:lnTo>
                  <a:lnTo>
                    <a:pt x="165" y="1216"/>
                  </a:lnTo>
                  <a:close/>
                  <a:moveTo>
                    <a:pt x="205" y="1256"/>
                  </a:moveTo>
                  <a:lnTo>
                    <a:pt x="209" y="1247"/>
                  </a:lnTo>
                  <a:lnTo>
                    <a:pt x="205" y="1242"/>
                  </a:lnTo>
                  <a:lnTo>
                    <a:pt x="196" y="1238"/>
                  </a:lnTo>
                  <a:lnTo>
                    <a:pt x="192" y="1242"/>
                  </a:lnTo>
                  <a:lnTo>
                    <a:pt x="201" y="1251"/>
                  </a:lnTo>
                  <a:lnTo>
                    <a:pt x="205" y="1256"/>
                  </a:lnTo>
                  <a:close/>
                  <a:moveTo>
                    <a:pt x="477" y="487"/>
                  </a:moveTo>
                  <a:lnTo>
                    <a:pt x="477" y="492"/>
                  </a:lnTo>
                  <a:lnTo>
                    <a:pt x="486" y="509"/>
                  </a:lnTo>
                  <a:lnTo>
                    <a:pt x="482" y="518"/>
                  </a:lnTo>
                  <a:lnTo>
                    <a:pt x="486" y="518"/>
                  </a:lnTo>
                  <a:lnTo>
                    <a:pt x="491" y="514"/>
                  </a:lnTo>
                  <a:lnTo>
                    <a:pt x="495" y="523"/>
                  </a:lnTo>
                  <a:lnTo>
                    <a:pt x="491" y="527"/>
                  </a:lnTo>
                  <a:lnTo>
                    <a:pt x="500" y="541"/>
                  </a:lnTo>
                  <a:lnTo>
                    <a:pt x="504" y="527"/>
                  </a:lnTo>
                  <a:lnTo>
                    <a:pt x="500" y="518"/>
                  </a:lnTo>
                  <a:lnTo>
                    <a:pt x="500" y="492"/>
                  </a:lnTo>
                  <a:lnTo>
                    <a:pt x="486" y="487"/>
                  </a:lnTo>
                  <a:lnTo>
                    <a:pt x="477" y="487"/>
                  </a:lnTo>
                  <a:close/>
                  <a:moveTo>
                    <a:pt x="504" y="545"/>
                  </a:moveTo>
                  <a:lnTo>
                    <a:pt x="509" y="541"/>
                  </a:lnTo>
                  <a:lnTo>
                    <a:pt x="513" y="523"/>
                  </a:lnTo>
                  <a:lnTo>
                    <a:pt x="518" y="532"/>
                  </a:lnTo>
                  <a:lnTo>
                    <a:pt x="527" y="532"/>
                  </a:lnTo>
                  <a:lnTo>
                    <a:pt x="531" y="527"/>
                  </a:lnTo>
                  <a:lnTo>
                    <a:pt x="513" y="514"/>
                  </a:lnTo>
                  <a:lnTo>
                    <a:pt x="509" y="523"/>
                  </a:lnTo>
                  <a:lnTo>
                    <a:pt x="509" y="532"/>
                  </a:lnTo>
                  <a:lnTo>
                    <a:pt x="504" y="545"/>
                  </a:lnTo>
                  <a:close/>
                  <a:moveTo>
                    <a:pt x="540" y="572"/>
                  </a:moveTo>
                  <a:lnTo>
                    <a:pt x="536" y="563"/>
                  </a:lnTo>
                  <a:lnTo>
                    <a:pt x="536" y="559"/>
                  </a:lnTo>
                  <a:lnTo>
                    <a:pt x="522" y="541"/>
                  </a:lnTo>
                  <a:lnTo>
                    <a:pt x="518" y="536"/>
                  </a:lnTo>
                  <a:lnTo>
                    <a:pt x="513" y="550"/>
                  </a:lnTo>
                  <a:lnTo>
                    <a:pt x="518" y="550"/>
                  </a:lnTo>
                  <a:lnTo>
                    <a:pt x="527" y="568"/>
                  </a:lnTo>
                  <a:lnTo>
                    <a:pt x="522" y="568"/>
                  </a:lnTo>
                  <a:lnTo>
                    <a:pt x="527" y="581"/>
                  </a:lnTo>
                  <a:lnTo>
                    <a:pt x="531" y="572"/>
                  </a:lnTo>
                  <a:lnTo>
                    <a:pt x="540" y="581"/>
                  </a:lnTo>
                  <a:lnTo>
                    <a:pt x="540" y="572"/>
                  </a:lnTo>
                  <a:close/>
                  <a:moveTo>
                    <a:pt x="674" y="719"/>
                  </a:moveTo>
                  <a:lnTo>
                    <a:pt x="670" y="724"/>
                  </a:lnTo>
                  <a:lnTo>
                    <a:pt x="674" y="733"/>
                  </a:lnTo>
                  <a:lnTo>
                    <a:pt x="656" y="728"/>
                  </a:lnTo>
                  <a:lnTo>
                    <a:pt x="647" y="728"/>
                  </a:lnTo>
                  <a:lnTo>
                    <a:pt x="647" y="737"/>
                  </a:lnTo>
                  <a:lnTo>
                    <a:pt x="652" y="742"/>
                  </a:lnTo>
                  <a:lnTo>
                    <a:pt x="652" y="773"/>
                  </a:lnTo>
                  <a:lnTo>
                    <a:pt x="665" y="778"/>
                  </a:lnTo>
                  <a:lnTo>
                    <a:pt x="656" y="782"/>
                  </a:lnTo>
                  <a:lnTo>
                    <a:pt x="656" y="791"/>
                  </a:lnTo>
                  <a:lnTo>
                    <a:pt x="656" y="818"/>
                  </a:lnTo>
                  <a:lnTo>
                    <a:pt x="652" y="831"/>
                  </a:lnTo>
                  <a:lnTo>
                    <a:pt x="647" y="836"/>
                  </a:lnTo>
                  <a:lnTo>
                    <a:pt x="652" y="885"/>
                  </a:lnTo>
                  <a:lnTo>
                    <a:pt x="647" y="885"/>
                  </a:lnTo>
                  <a:lnTo>
                    <a:pt x="652" y="894"/>
                  </a:lnTo>
                  <a:lnTo>
                    <a:pt x="656" y="903"/>
                  </a:lnTo>
                  <a:lnTo>
                    <a:pt x="656" y="921"/>
                  </a:lnTo>
                  <a:lnTo>
                    <a:pt x="670" y="934"/>
                  </a:lnTo>
                  <a:lnTo>
                    <a:pt x="670" y="938"/>
                  </a:lnTo>
                  <a:lnTo>
                    <a:pt x="674" y="943"/>
                  </a:lnTo>
                  <a:lnTo>
                    <a:pt x="683" y="934"/>
                  </a:lnTo>
                  <a:lnTo>
                    <a:pt x="683" y="938"/>
                  </a:lnTo>
                  <a:lnTo>
                    <a:pt x="679" y="947"/>
                  </a:lnTo>
                  <a:lnTo>
                    <a:pt x="679" y="965"/>
                  </a:lnTo>
                  <a:lnTo>
                    <a:pt x="687" y="974"/>
                  </a:lnTo>
                  <a:lnTo>
                    <a:pt x="701" y="988"/>
                  </a:lnTo>
                  <a:lnTo>
                    <a:pt x="701" y="992"/>
                  </a:lnTo>
                  <a:lnTo>
                    <a:pt x="705" y="992"/>
                  </a:lnTo>
                  <a:lnTo>
                    <a:pt x="705" y="1005"/>
                  </a:lnTo>
                  <a:lnTo>
                    <a:pt x="719" y="1005"/>
                  </a:lnTo>
                  <a:lnTo>
                    <a:pt x="732" y="1014"/>
                  </a:lnTo>
                  <a:lnTo>
                    <a:pt x="746" y="1023"/>
                  </a:lnTo>
                  <a:lnTo>
                    <a:pt x="750" y="1041"/>
                  </a:lnTo>
                  <a:lnTo>
                    <a:pt x="786" y="1037"/>
                  </a:lnTo>
                  <a:lnTo>
                    <a:pt x="839" y="1064"/>
                  </a:lnTo>
                  <a:lnTo>
                    <a:pt x="884" y="1064"/>
                  </a:lnTo>
                  <a:lnTo>
                    <a:pt x="880" y="1055"/>
                  </a:lnTo>
                  <a:lnTo>
                    <a:pt x="906" y="1055"/>
                  </a:lnTo>
                  <a:lnTo>
                    <a:pt x="929" y="1068"/>
                  </a:lnTo>
                  <a:lnTo>
                    <a:pt x="933" y="1090"/>
                  </a:lnTo>
                  <a:lnTo>
                    <a:pt x="951" y="1104"/>
                  </a:lnTo>
                  <a:lnTo>
                    <a:pt x="964" y="1086"/>
                  </a:lnTo>
                  <a:lnTo>
                    <a:pt x="978" y="1090"/>
                  </a:lnTo>
                  <a:lnTo>
                    <a:pt x="1005" y="1122"/>
                  </a:lnTo>
                  <a:lnTo>
                    <a:pt x="1014" y="1140"/>
                  </a:lnTo>
                  <a:lnTo>
                    <a:pt x="1036" y="1148"/>
                  </a:lnTo>
                  <a:lnTo>
                    <a:pt x="1045" y="1144"/>
                  </a:lnTo>
                  <a:lnTo>
                    <a:pt x="1040" y="1126"/>
                  </a:lnTo>
                  <a:lnTo>
                    <a:pt x="1049" y="1113"/>
                  </a:lnTo>
                  <a:lnTo>
                    <a:pt x="1094" y="1086"/>
                  </a:lnTo>
                  <a:lnTo>
                    <a:pt x="1125" y="1095"/>
                  </a:lnTo>
                  <a:lnTo>
                    <a:pt x="1139" y="1099"/>
                  </a:lnTo>
                  <a:lnTo>
                    <a:pt x="1143" y="1095"/>
                  </a:lnTo>
                  <a:lnTo>
                    <a:pt x="1152" y="1099"/>
                  </a:lnTo>
                  <a:lnTo>
                    <a:pt x="1156" y="1095"/>
                  </a:lnTo>
                  <a:lnTo>
                    <a:pt x="1148" y="1090"/>
                  </a:lnTo>
                  <a:lnTo>
                    <a:pt x="1152" y="1086"/>
                  </a:lnTo>
                  <a:lnTo>
                    <a:pt x="1148" y="1077"/>
                  </a:lnTo>
                  <a:lnTo>
                    <a:pt x="1139" y="1081"/>
                  </a:lnTo>
                  <a:lnTo>
                    <a:pt x="1139" y="1073"/>
                  </a:lnTo>
                  <a:lnTo>
                    <a:pt x="1170" y="1077"/>
                  </a:lnTo>
                  <a:lnTo>
                    <a:pt x="1179" y="1077"/>
                  </a:lnTo>
                  <a:lnTo>
                    <a:pt x="1183" y="1077"/>
                  </a:lnTo>
                  <a:lnTo>
                    <a:pt x="1192" y="1073"/>
                  </a:lnTo>
                  <a:lnTo>
                    <a:pt x="1201" y="1077"/>
                  </a:lnTo>
                  <a:lnTo>
                    <a:pt x="1210" y="1090"/>
                  </a:lnTo>
                  <a:lnTo>
                    <a:pt x="1228" y="1077"/>
                  </a:lnTo>
                  <a:lnTo>
                    <a:pt x="1246" y="1104"/>
                  </a:lnTo>
                  <a:lnTo>
                    <a:pt x="1237" y="1117"/>
                  </a:lnTo>
                  <a:lnTo>
                    <a:pt x="1246" y="1117"/>
                  </a:lnTo>
                  <a:lnTo>
                    <a:pt x="1246" y="1122"/>
                  </a:lnTo>
                  <a:lnTo>
                    <a:pt x="1259" y="1148"/>
                  </a:lnTo>
                  <a:lnTo>
                    <a:pt x="1264" y="1148"/>
                  </a:lnTo>
                  <a:lnTo>
                    <a:pt x="1268" y="1157"/>
                  </a:lnTo>
                  <a:lnTo>
                    <a:pt x="1268" y="1162"/>
                  </a:lnTo>
                  <a:lnTo>
                    <a:pt x="1282" y="1157"/>
                  </a:lnTo>
                  <a:lnTo>
                    <a:pt x="1286" y="1135"/>
                  </a:lnTo>
                  <a:lnTo>
                    <a:pt x="1277" y="1122"/>
                  </a:lnTo>
                  <a:lnTo>
                    <a:pt x="1277" y="1108"/>
                  </a:lnTo>
                  <a:lnTo>
                    <a:pt x="1268" y="1095"/>
                  </a:lnTo>
                  <a:lnTo>
                    <a:pt x="1268" y="1081"/>
                  </a:lnTo>
                  <a:lnTo>
                    <a:pt x="1264" y="1068"/>
                  </a:lnTo>
                  <a:lnTo>
                    <a:pt x="1273" y="1046"/>
                  </a:lnTo>
                  <a:lnTo>
                    <a:pt x="1277" y="1046"/>
                  </a:lnTo>
                  <a:lnTo>
                    <a:pt x="1295" y="1028"/>
                  </a:lnTo>
                  <a:lnTo>
                    <a:pt x="1304" y="1014"/>
                  </a:lnTo>
                  <a:lnTo>
                    <a:pt x="1317" y="1010"/>
                  </a:lnTo>
                  <a:lnTo>
                    <a:pt x="1322" y="1001"/>
                  </a:lnTo>
                  <a:lnTo>
                    <a:pt x="1326" y="1005"/>
                  </a:lnTo>
                  <a:lnTo>
                    <a:pt x="1331" y="997"/>
                  </a:lnTo>
                  <a:lnTo>
                    <a:pt x="1335" y="997"/>
                  </a:lnTo>
                  <a:lnTo>
                    <a:pt x="1344" y="992"/>
                  </a:lnTo>
                  <a:lnTo>
                    <a:pt x="1331" y="992"/>
                  </a:lnTo>
                  <a:lnTo>
                    <a:pt x="1335" y="983"/>
                  </a:lnTo>
                  <a:lnTo>
                    <a:pt x="1344" y="983"/>
                  </a:lnTo>
                  <a:lnTo>
                    <a:pt x="1344" y="974"/>
                  </a:lnTo>
                  <a:lnTo>
                    <a:pt x="1335" y="970"/>
                  </a:lnTo>
                  <a:lnTo>
                    <a:pt x="1335" y="970"/>
                  </a:lnTo>
                  <a:lnTo>
                    <a:pt x="1349" y="970"/>
                  </a:lnTo>
                  <a:lnTo>
                    <a:pt x="1340" y="956"/>
                  </a:lnTo>
                  <a:lnTo>
                    <a:pt x="1335" y="956"/>
                  </a:lnTo>
                  <a:lnTo>
                    <a:pt x="1335" y="947"/>
                  </a:lnTo>
                  <a:lnTo>
                    <a:pt x="1335" y="938"/>
                  </a:lnTo>
                  <a:lnTo>
                    <a:pt x="1335" y="912"/>
                  </a:lnTo>
                  <a:lnTo>
                    <a:pt x="1340" y="907"/>
                  </a:lnTo>
                  <a:lnTo>
                    <a:pt x="1340" y="934"/>
                  </a:lnTo>
                  <a:lnTo>
                    <a:pt x="1344" y="938"/>
                  </a:lnTo>
                  <a:lnTo>
                    <a:pt x="1344" y="952"/>
                  </a:lnTo>
                  <a:lnTo>
                    <a:pt x="1344" y="956"/>
                  </a:lnTo>
                  <a:lnTo>
                    <a:pt x="1349" y="943"/>
                  </a:lnTo>
                  <a:lnTo>
                    <a:pt x="1353" y="943"/>
                  </a:lnTo>
                  <a:lnTo>
                    <a:pt x="1357" y="934"/>
                  </a:lnTo>
                  <a:lnTo>
                    <a:pt x="1353" y="930"/>
                  </a:lnTo>
                  <a:lnTo>
                    <a:pt x="1353" y="921"/>
                  </a:lnTo>
                  <a:lnTo>
                    <a:pt x="1353" y="916"/>
                  </a:lnTo>
                  <a:lnTo>
                    <a:pt x="1357" y="916"/>
                  </a:lnTo>
                  <a:lnTo>
                    <a:pt x="1357" y="925"/>
                  </a:lnTo>
                  <a:lnTo>
                    <a:pt x="1366" y="912"/>
                  </a:lnTo>
                  <a:lnTo>
                    <a:pt x="1375" y="912"/>
                  </a:lnTo>
                  <a:lnTo>
                    <a:pt x="1375" y="889"/>
                  </a:lnTo>
                  <a:lnTo>
                    <a:pt x="1371" y="889"/>
                  </a:lnTo>
                  <a:lnTo>
                    <a:pt x="1371" y="885"/>
                  </a:lnTo>
                  <a:lnTo>
                    <a:pt x="1402" y="871"/>
                  </a:lnTo>
                  <a:lnTo>
                    <a:pt x="1411" y="871"/>
                  </a:lnTo>
                  <a:lnTo>
                    <a:pt x="1420" y="867"/>
                  </a:lnTo>
                  <a:lnTo>
                    <a:pt x="1429" y="867"/>
                  </a:lnTo>
                  <a:lnTo>
                    <a:pt x="1433" y="862"/>
                  </a:lnTo>
                  <a:lnTo>
                    <a:pt x="1429" y="854"/>
                  </a:lnTo>
                  <a:lnTo>
                    <a:pt x="1424" y="854"/>
                  </a:lnTo>
                  <a:lnTo>
                    <a:pt x="1424" y="858"/>
                  </a:lnTo>
                  <a:lnTo>
                    <a:pt x="1420" y="858"/>
                  </a:lnTo>
                  <a:lnTo>
                    <a:pt x="1420" y="849"/>
                  </a:lnTo>
                  <a:lnTo>
                    <a:pt x="1424" y="831"/>
                  </a:lnTo>
                  <a:lnTo>
                    <a:pt x="1429" y="822"/>
                  </a:lnTo>
                  <a:lnTo>
                    <a:pt x="1442" y="822"/>
                  </a:lnTo>
                  <a:lnTo>
                    <a:pt x="1447" y="813"/>
                  </a:lnTo>
                  <a:lnTo>
                    <a:pt x="1456" y="822"/>
                  </a:lnTo>
                  <a:lnTo>
                    <a:pt x="1474" y="809"/>
                  </a:lnTo>
                  <a:lnTo>
                    <a:pt x="1474" y="800"/>
                  </a:lnTo>
                  <a:lnTo>
                    <a:pt x="1469" y="800"/>
                  </a:lnTo>
                  <a:lnTo>
                    <a:pt x="1469" y="795"/>
                  </a:lnTo>
                  <a:lnTo>
                    <a:pt x="1460" y="791"/>
                  </a:lnTo>
                  <a:lnTo>
                    <a:pt x="1451" y="751"/>
                  </a:lnTo>
                  <a:lnTo>
                    <a:pt x="1442" y="755"/>
                  </a:lnTo>
                  <a:lnTo>
                    <a:pt x="1438" y="751"/>
                  </a:lnTo>
                  <a:lnTo>
                    <a:pt x="1420" y="778"/>
                  </a:lnTo>
                  <a:lnTo>
                    <a:pt x="1407" y="800"/>
                  </a:lnTo>
                  <a:lnTo>
                    <a:pt x="1362" y="804"/>
                  </a:lnTo>
                  <a:lnTo>
                    <a:pt x="1357" y="804"/>
                  </a:lnTo>
                  <a:lnTo>
                    <a:pt x="1340" y="818"/>
                  </a:lnTo>
                  <a:lnTo>
                    <a:pt x="1344" y="822"/>
                  </a:lnTo>
                  <a:lnTo>
                    <a:pt x="1340" y="831"/>
                  </a:lnTo>
                  <a:lnTo>
                    <a:pt x="1326" y="836"/>
                  </a:lnTo>
                  <a:lnTo>
                    <a:pt x="1304" y="831"/>
                  </a:lnTo>
                  <a:lnTo>
                    <a:pt x="1304" y="836"/>
                  </a:lnTo>
                  <a:lnTo>
                    <a:pt x="1299" y="845"/>
                  </a:lnTo>
                  <a:lnTo>
                    <a:pt x="1304" y="845"/>
                  </a:lnTo>
                  <a:lnTo>
                    <a:pt x="1299" y="849"/>
                  </a:lnTo>
                  <a:lnTo>
                    <a:pt x="1282" y="858"/>
                  </a:lnTo>
                  <a:lnTo>
                    <a:pt x="1268" y="867"/>
                  </a:lnTo>
                  <a:lnTo>
                    <a:pt x="1250" y="871"/>
                  </a:lnTo>
                  <a:lnTo>
                    <a:pt x="1237" y="862"/>
                  </a:lnTo>
                  <a:lnTo>
                    <a:pt x="1241" y="854"/>
                  </a:lnTo>
                  <a:lnTo>
                    <a:pt x="1241" y="845"/>
                  </a:lnTo>
                  <a:lnTo>
                    <a:pt x="1246" y="845"/>
                  </a:lnTo>
                  <a:lnTo>
                    <a:pt x="1246" y="831"/>
                  </a:lnTo>
                  <a:lnTo>
                    <a:pt x="1246" y="818"/>
                  </a:lnTo>
                  <a:lnTo>
                    <a:pt x="1237" y="818"/>
                  </a:lnTo>
                  <a:lnTo>
                    <a:pt x="1232" y="822"/>
                  </a:lnTo>
                  <a:lnTo>
                    <a:pt x="1232" y="818"/>
                  </a:lnTo>
                  <a:lnTo>
                    <a:pt x="1237" y="809"/>
                  </a:lnTo>
                  <a:lnTo>
                    <a:pt x="1241" y="795"/>
                  </a:lnTo>
                  <a:lnTo>
                    <a:pt x="1232" y="791"/>
                  </a:lnTo>
                  <a:lnTo>
                    <a:pt x="1219" y="787"/>
                  </a:lnTo>
                  <a:lnTo>
                    <a:pt x="1215" y="787"/>
                  </a:lnTo>
                  <a:lnTo>
                    <a:pt x="1206" y="800"/>
                  </a:lnTo>
                  <a:lnTo>
                    <a:pt x="1201" y="800"/>
                  </a:lnTo>
                  <a:lnTo>
                    <a:pt x="1197" y="804"/>
                  </a:lnTo>
                  <a:lnTo>
                    <a:pt x="1192" y="827"/>
                  </a:lnTo>
                  <a:lnTo>
                    <a:pt x="1192" y="849"/>
                  </a:lnTo>
                  <a:lnTo>
                    <a:pt x="1183" y="862"/>
                  </a:lnTo>
                  <a:lnTo>
                    <a:pt x="1174" y="854"/>
                  </a:lnTo>
                  <a:lnTo>
                    <a:pt x="1174" y="840"/>
                  </a:lnTo>
                  <a:lnTo>
                    <a:pt x="1179" y="809"/>
                  </a:lnTo>
                  <a:lnTo>
                    <a:pt x="1188" y="795"/>
                  </a:lnTo>
                  <a:lnTo>
                    <a:pt x="1170" y="804"/>
                  </a:lnTo>
                  <a:lnTo>
                    <a:pt x="1188" y="787"/>
                  </a:lnTo>
                  <a:lnTo>
                    <a:pt x="1223" y="778"/>
                  </a:lnTo>
                  <a:lnTo>
                    <a:pt x="1219" y="769"/>
                  </a:lnTo>
                  <a:lnTo>
                    <a:pt x="1215" y="764"/>
                  </a:lnTo>
                  <a:lnTo>
                    <a:pt x="1215" y="760"/>
                  </a:lnTo>
                  <a:lnTo>
                    <a:pt x="1197" y="764"/>
                  </a:lnTo>
                  <a:lnTo>
                    <a:pt x="1188" y="769"/>
                  </a:lnTo>
                  <a:lnTo>
                    <a:pt x="1170" y="755"/>
                  </a:lnTo>
                  <a:lnTo>
                    <a:pt x="1161" y="755"/>
                  </a:lnTo>
                  <a:lnTo>
                    <a:pt x="1170" y="746"/>
                  </a:lnTo>
                  <a:lnTo>
                    <a:pt x="1134" y="760"/>
                  </a:lnTo>
                  <a:lnTo>
                    <a:pt x="1125" y="760"/>
                  </a:lnTo>
                  <a:lnTo>
                    <a:pt x="1112" y="760"/>
                  </a:lnTo>
                  <a:lnTo>
                    <a:pt x="1125" y="751"/>
                  </a:lnTo>
                  <a:lnTo>
                    <a:pt x="1139" y="737"/>
                  </a:lnTo>
                  <a:lnTo>
                    <a:pt x="1130" y="733"/>
                  </a:lnTo>
                  <a:lnTo>
                    <a:pt x="1116" y="737"/>
                  </a:lnTo>
                  <a:lnTo>
                    <a:pt x="1107" y="728"/>
                  </a:lnTo>
                  <a:lnTo>
                    <a:pt x="1098" y="724"/>
                  </a:lnTo>
                  <a:lnTo>
                    <a:pt x="1076" y="724"/>
                  </a:lnTo>
                  <a:lnTo>
                    <a:pt x="1072" y="715"/>
                  </a:lnTo>
                  <a:lnTo>
                    <a:pt x="1063" y="719"/>
                  </a:lnTo>
                  <a:lnTo>
                    <a:pt x="674" y="719"/>
                  </a:lnTo>
                  <a:close/>
                  <a:moveTo>
                    <a:pt x="1375" y="885"/>
                  </a:moveTo>
                  <a:lnTo>
                    <a:pt x="1380" y="889"/>
                  </a:lnTo>
                  <a:lnTo>
                    <a:pt x="1389" y="885"/>
                  </a:lnTo>
                  <a:lnTo>
                    <a:pt x="1402" y="876"/>
                  </a:lnTo>
                  <a:lnTo>
                    <a:pt x="1402" y="876"/>
                  </a:lnTo>
                  <a:lnTo>
                    <a:pt x="1384" y="880"/>
                  </a:lnTo>
                  <a:lnTo>
                    <a:pt x="1375" y="88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1" name="Freeform 98">
              <a:extLst>
                <a:ext uri="{FF2B5EF4-FFF2-40B4-BE49-F238E27FC236}">
                  <a16:creationId xmlns:a16="http://schemas.microsoft.com/office/drawing/2014/main" id="{4A95695C-1D39-458F-A4A2-E08BCBEA41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66571" y="4228217"/>
              <a:ext cx="22302" cy="1925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9" y="4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5" y="13"/>
                </a:cxn>
                <a:cxn ang="0">
                  <a:pos x="9" y="9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5" y="13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4" h="13">
                  <a:moveTo>
                    <a:pt x="5" y="4"/>
                  </a:move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4"/>
                  </a:lnTo>
                  <a:close/>
                  <a:moveTo>
                    <a:pt x="5" y="13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5" y="13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2" name="Freeform 99">
              <a:extLst>
                <a:ext uri="{FF2B5EF4-FFF2-40B4-BE49-F238E27FC236}">
                  <a16:creationId xmlns:a16="http://schemas.microsoft.com/office/drawing/2014/main" id="{95CA555B-16C3-4DC4-867F-CAFCA03860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4279" y="5320063"/>
              <a:ext cx="113104" cy="125925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4" y="49"/>
                </a:cxn>
                <a:cxn ang="0">
                  <a:pos x="0" y="31"/>
                </a:cxn>
                <a:cxn ang="0">
                  <a:pos x="9" y="4"/>
                </a:cxn>
                <a:cxn ang="0">
                  <a:pos x="13" y="0"/>
                </a:cxn>
                <a:cxn ang="0">
                  <a:pos x="22" y="0"/>
                </a:cxn>
                <a:cxn ang="0">
                  <a:pos x="31" y="13"/>
                </a:cxn>
                <a:cxn ang="0">
                  <a:pos x="40" y="9"/>
                </a:cxn>
                <a:cxn ang="0">
                  <a:pos x="49" y="22"/>
                </a:cxn>
                <a:cxn ang="0">
                  <a:pos x="62" y="27"/>
                </a:cxn>
                <a:cxn ang="0">
                  <a:pos x="71" y="45"/>
                </a:cxn>
                <a:cxn ang="0">
                  <a:pos x="67" y="54"/>
                </a:cxn>
                <a:cxn ang="0">
                  <a:pos x="67" y="67"/>
                </a:cxn>
                <a:cxn ang="0">
                  <a:pos x="49" y="85"/>
                </a:cxn>
                <a:cxn ang="0">
                  <a:pos x="31" y="85"/>
                </a:cxn>
                <a:cxn ang="0">
                  <a:pos x="13" y="80"/>
                </a:cxn>
                <a:cxn ang="0">
                  <a:pos x="4" y="80"/>
                </a:cxn>
                <a:cxn ang="0">
                  <a:pos x="0" y="67"/>
                </a:cxn>
                <a:cxn ang="0">
                  <a:pos x="0" y="54"/>
                </a:cxn>
              </a:cxnLst>
              <a:rect l="0" t="0" r="r" b="b"/>
              <a:pathLst>
                <a:path w="71" h="85">
                  <a:moveTo>
                    <a:pt x="0" y="54"/>
                  </a:moveTo>
                  <a:lnTo>
                    <a:pt x="4" y="49"/>
                  </a:lnTo>
                  <a:lnTo>
                    <a:pt x="0" y="31"/>
                  </a:lnTo>
                  <a:lnTo>
                    <a:pt x="9" y="4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31" y="13"/>
                  </a:lnTo>
                  <a:lnTo>
                    <a:pt x="40" y="9"/>
                  </a:lnTo>
                  <a:lnTo>
                    <a:pt x="49" y="22"/>
                  </a:lnTo>
                  <a:lnTo>
                    <a:pt x="62" y="27"/>
                  </a:lnTo>
                  <a:lnTo>
                    <a:pt x="71" y="45"/>
                  </a:lnTo>
                  <a:lnTo>
                    <a:pt x="67" y="54"/>
                  </a:lnTo>
                  <a:lnTo>
                    <a:pt x="67" y="67"/>
                  </a:lnTo>
                  <a:lnTo>
                    <a:pt x="49" y="85"/>
                  </a:lnTo>
                  <a:lnTo>
                    <a:pt x="31" y="85"/>
                  </a:lnTo>
                  <a:lnTo>
                    <a:pt x="13" y="80"/>
                  </a:lnTo>
                  <a:lnTo>
                    <a:pt x="4" y="80"/>
                  </a:lnTo>
                  <a:lnTo>
                    <a:pt x="0" y="67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3" name="Freeform 100">
              <a:extLst>
                <a:ext uri="{FF2B5EF4-FFF2-40B4-BE49-F238E27FC236}">
                  <a16:creationId xmlns:a16="http://schemas.microsoft.com/office/drawing/2014/main" id="{8BE919EF-2A11-4E2F-A5A0-CA71E7A47B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5410" y="4367476"/>
              <a:ext cx="312230" cy="244443"/>
            </a:xfrm>
            <a:custGeom>
              <a:avLst/>
              <a:gdLst/>
              <a:ahLst/>
              <a:cxnLst>
                <a:cxn ang="0">
                  <a:pos x="89" y="138"/>
                </a:cxn>
                <a:cxn ang="0">
                  <a:pos x="85" y="129"/>
                </a:cxn>
                <a:cxn ang="0">
                  <a:pos x="80" y="107"/>
                </a:cxn>
                <a:cxn ang="0">
                  <a:pos x="58" y="89"/>
                </a:cxn>
                <a:cxn ang="0">
                  <a:pos x="22" y="80"/>
                </a:cxn>
                <a:cxn ang="0">
                  <a:pos x="13" y="58"/>
                </a:cxn>
                <a:cxn ang="0">
                  <a:pos x="0" y="49"/>
                </a:cxn>
                <a:cxn ang="0">
                  <a:pos x="4" y="26"/>
                </a:cxn>
                <a:cxn ang="0">
                  <a:pos x="22" y="4"/>
                </a:cxn>
                <a:cxn ang="0">
                  <a:pos x="18" y="13"/>
                </a:cxn>
                <a:cxn ang="0">
                  <a:pos x="13" y="35"/>
                </a:cxn>
                <a:cxn ang="0">
                  <a:pos x="31" y="44"/>
                </a:cxn>
                <a:cxn ang="0">
                  <a:pos x="22" y="26"/>
                </a:cxn>
                <a:cxn ang="0">
                  <a:pos x="49" y="17"/>
                </a:cxn>
                <a:cxn ang="0">
                  <a:pos x="44" y="13"/>
                </a:cxn>
                <a:cxn ang="0">
                  <a:pos x="49" y="0"/>
                </a:cxn>
                <a:cxn ang="0">
                  <a:pos x="62" y="13"/>
                </a:cxn>
                <a:cxn ang="0">
                  <a:pos x="71" y="26"/>
                </a:cxn>
                <a:cxn ang="0">
                  <a:pos x="120" y="35"/>
                </a:cxn>
                <a:cxn ang="0">
                  <a:pos x="129" y="17"/>
                </a:cxn>
                <a:cxn ang="0">
                  <a:pos x="143" y="17"/>
                </a:cxn>
                <a:cxn ang="0">
                  <a:pos x="170" y="26"/>
                </a:cxn>
                <a:cxn ang="0">
                  <a:pos x="161" y="40"/>
                </a:cxn>
                <a:cxn ang="0">
                  <a:pos x="183" y="44"/>
                </a:cxn>
                <a:cxn ang="0">
                  <a:pos x="192" y="53"/>
                </a:cxn>
                <a:cxn ang="0">
                  <a:pos x="183" y="71"/>
                </a:cxn>
                <a:cxn ang="0">
                  <a:pos x="178" y="84"/>
                </a:cxn>
                <a:cxn ang="0">
                  <a:pos x="183" y="102"/>
                </a:cxn>
                <a:cxn ang="0">
                  <a:pos x="152" y="120"/>
                </a:cxn>
                <a:cxn ang="0">
                  <a:pos x="125" y="111"/>
                </a:cxn>
                <a:cxn ang="0">
                  <a:pos x="125" y="125"/>
                </a:cxn>
                <a:cxn ang="0">
                  <a:pos x="143" y="147"/>
                </a:cxn>
                <a:cxn ang="0">
                  <a:pos x="125" y="156"/>
                </a:cxn>
                <a:cxn ang="0">
                  <a:pos x="94" y="160"/>
                </a:cxn>
              </a:cxnLst>
              <a:rect l="0" t="0" r="r" b="b"/>
              <a:pathLst>
                <a:path w="196" h="165">
                  <a:moveTo>
                    <a:pt x="94" y="160"/>
                  </a:moveTo>
                  <a:lnTo>
                    <a:pt x="89" y="138"/>
                  </a:lnTo>
                  <a:lnTo>
                    <a:pt x="76" y="143"/>
                  </a:lnTo>
                  <a:lnTo>
                    <a:pt x="85" y="129"/>
                  </a:lnTo>
                  <a:lnTo>
                    <a:pt x="80" y="125"/>
                  </a:lnTo>
                  <a:lnTo>
                    <a:pt x="80" y="107"/>
                  </a:lnTo>
                  <a:lnTo>
                    <a:pt x="85" y="84"/>
                  </a:lnTo>
                  <a:lnTo>
                    <a:pt x="58" y="89"/>
                  </a:lnTo>
                  <a:lnTo>
                    <a:pt x="49" y="75"/>
                  </a:lnTo>
                  <a:lnTo>
                    <a:pt x="22" y="80"/>
                  </a:lnTo>
                  <a:lnTo>
                    <a:pt x="9" y="67"/>
                  </a:lnTo>
                  <a:lnTo>
                    <a:pt x="13" y="58"/>
                  </a:lnTo>
                  <a:lnTo>
                    <a:pt x="4" y="49"/>
                  </a:lnTo>
                  <a:lnTo>
                    <a:pt x="0" y="49"/>
                  </a:lnTo>
                  <a:lnTo>
                    <a:pt x="4" y="44"/>
                  </a:lnTo>
                  <a:lnTo>
                    <a:pt x="4" y="26"/>
                  </a:lnTo>
                  <a:lnTo>
                    <a:pt x="13" y="13"/>
                  </a:lnTo>
                  <a:lnTo>
                    <a:pt x="22" y="4"/>
                  </a:lnTo>
                  <a:lnTo>
                    <a:pt x="31" y="4"/>
                  </a:lnTo>
                  <a:lnTo>
                    <a:pt x="18" y="13"/>
                  </a:lnTo>
                  <a:lnTo>
                    <a:pt x="22" y="22"/>
                  </a:lnTo>
                  <a:lnTo>
                    <a:pt x="13" y="35"/>
                  </a:lnTo>
                  <a:lnTo>
                    <a:pt x="22" y="49"/>
                  </a:lnTo>
                  <a:lnTo>
                    <a:pt x="31" y="44"/>
                  </a:lnTo>
                  <a:lnTo>
                    <a:pt x="31" y="35"/>
                  </a:lnTo>
                  <a:lnTo>
                    <a:pt x="22" y="26"/>
                  </a:lnTo>
                  <a:lnTo>
                    <a:pt x="27" y="22"/>
                  </a:lnTo>
                  <a:lnTo>
                    <a:pt x="49" y="17"/>
                  </a:lnTo>
                  <a:lnTo>
                    <a:pt x="49" y="8"/>
                  </a:lnTo>
                  <a:lnTo>
                    <a:pt x="44" y="13"/>
                  </a:lnTo>
                  <a:lnTo>
                    <a:pt x="44" y="4"/>
                  </a:lnTo>
                  <a:lnTo>
                    <a:pt x="49" y="0"/>
                  </a:lnTo>
                  <a:lnTo>
                    <a:pt x="53" y="13"/>
                  </a:lnTo>
                  <a:lnTo>
                    <a:pt x="62" y="13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103" y="26"/>
                  </a:lnTo>
                  <a:lnTo>
                    <a:pt x="120" y="35"/>
                  </a:lnTo>
                  <a:lnTo>
                    <a:pt x="134" y="26"/>
                  </a:lnTo>
                  <a:lnTo>
                    <a:pt x="129" y="17"/>
                  </a:lnTo>
                  <a:lnTo>
                    <a:pt x="143" y="13"/>
                  </a:lnTo>
                  <a:lnTo>
                    <a:pt x="143" y="17"/>
                  </a:lnTo>
                  <a:lnTo>
                    <a:pt x="138" y="22"/>
                  </a:lnTo>
                  <a:lnTo>
                    <a:pt x="170" y="26"/>
                  </a:lnTo>
                  <a:lnTo>
                    <a:pt x="152" y="31"/>
                  </a:lnTo>
                  <a:lnTo>
                    <a:pt x="161" y="40"/>
                  </a:lnTo>
                  <a:lnTo>
                    <a:pt x="178" y="40"/>
                  </a:lnTo>
                  <a:lnTo>
                    <a:pt x="183" y="44"/>
                  </a:lnTo>
                  <a:lnTo>
                    <a:pt x="183" y="53"/>
                  </a:lnTo>
                  <a:lnTo>
                    <a:pt x="192" y="53"/>
                  </a:lnTo>
                  <a:lnTo>
                    <a:pt x="196" y="67"/>
                  </a:lnTo>
                  <a:lnTo>
                    <a:pt x="183" y="71"/>
                  </a:lnTo>
                  <a:lnTo>
                    <a:pt x="187" y="80"/>
                  </a:lnTo>
                  <a:lnTo>
                    <a:pt x="178" y="84"/>
                  </a:lnTo>
                  <a:lnTo>
                    <a:pt x="174" y="93"/>
                  </a:lnTo>
                  <a:lnTo>
                    <a:pt x="183" y="102"/>
                  </a:lnTo>
                  <a:lnTo>
                    <a:pt x="183" y="116"/>
                  </a:lnTo>
                  <a:lnTo>
                    <a:pt x="152" y="120"/>
                  </a:lnTo>
                  <a:lnTo>
                    <a:pt x="138" y="120"/>
                  </a:lnTo>
                  <a:lnTo>
                    <a:pt x="125" y="111"/>
                  </a:lnTo>
                  <a:lnTo>
                    <a:pt x="120" y="120"/>
                  </a:lnTo>
                  <a:lnTo>
                    <a:pt x="125" y="125"/>
                  </a:lnTo>
                  <a:lnTo>
                    <a:pt x="129" y="143"/>
                  </a:lnTo>
                  <a:lnTo>
                    <a:pt x="143" y="147"/>
                  </a:lnTo>
                  <a:lnTo>
                    <a:pt x="134" y="147"/>
                  </a:lnTo>
                  <a:lnTo>
                    <a:pt x="125" y="156"/>
                  </a:lnTo>
                  <a:lnTo>
                    <a:pt x="103" y="165"/>
                  </a:lnTo>
                  <a:lnTo>
                    <a:pt x="94" y="16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4" name="Freeform 133">
              <a:extLst>
                <a:ext uri="{FF2B5EF4-FFF2-40B4-BE49-F238E27FC236}">
                  <a16:creationId xmlns:a16="http://schemas.microsoft.com/office/drawing/2014/main" id="{63068D93-CB9E-46FF-AB19-E321BE80AA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33475" y="4499327"/>
              <a:ext cx="14337" cy="592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5" y="27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5" y="27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</a:cxnLst>
              <a:rect l="0" t="0" r="r" b="b"/>
              <a:pathLst>
                <a:path w="9" h="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0" y="36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close/>
                  <a:moveTo>
                    <a:pt x="5" y="27"/>
                  </a:moveTo>
                  <a:lnTo>
                    <a:pt x="0" y="27"/>
                  </a:lnTo>
                  <a:lnTo>
                    <a:pt x="0" y="27"/>
                  </a:lnTo>
                  <a:lnTo>
                    <a:pt x="5" y="27"/>
                  </a:lnTo>
                  <a:close/>
                  <a:moveTo>
                    <a:pt x="9" y="40"/>
                  </a:move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5" name="Freeform 118">
              <a:extLst>
                <a:ext uri="{FF2B5EF4-FFF2-40B4-BE49-F238E27FC236}">
                  <a16:creationId xmlns:a16="http://schemas.microsoft.com/office/drawing/2014/main" id="{171FD655-FD88-4C17-BDA8-D8214A25F7B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6034" y="3791182"/>
              <a:ext cx="646762" cy="675552"/>
            </a:xfrm>
            <a:custGeom>
              <a:avLst/>
              <a:gdLst/>
              <a:ahLst/>
              <a:cxnLst>
                <a:cxn ang="0">
                  <a:pos x="22" y="223"/>
                </a:cxn>
                <a:cxn ang="0">
                  <a:pos x="9" y="237"/>
                </a:cxn>
                <a:cxn ang="0">
                  <a:pos x="53" y="259"/>
                </a:cxn>
                <a:cxn ang="0">
                  <a:pos x="67" y="237"/>
                </a:cxn>
                <a:cxn ang="0">
                  <a:pos x="67" y="272"/>
                </a:cxn>
                <a:cxn ang="0">
                  <a:pos x="89" y="357"/>
                </a:cxn>
                <a:cxn ang="0">
                  <a:pos x="111" y="429"/>
                </a:cxn>
                <a:cxn ang="0">
                  <a:pos x="147" y="451"/>
                </a:cxn>
                <a:cxn ang="0">
                  <a:pos x="161" y="438"/>
                </a:cxn>
                <a:cxn ang="0">
                  <a:pos x="170" y="420"/>
                </a:cxn>
                <a:cxn ang="0">
                  <a:pos x="174" y="344"/>
                </a:cxn>
                <a:cxn ang="0">
                  <a:pos x="201" y="326"/>
                </a:cxn>
                <a:cxn ang="0">
                  <a:pos x="237" y="281"/>
                </a:cxn>
                <a:cxn ang="0">
                  <a:pos x="254" y="277"/>
                </a:cxn>
                <a:cxn ang="0">
                  <a:pos x="277" y="250"/>
                </a:cxn>
                <a:cxn ang="0">
                  <a:pos x="304" y="246"/>
                </a:cxn>
                <a:cxn ang="0">
                  <a:pos x="286" y="201"/>
                </a:cxn>
                <a:cxn ang="0">
                  <a:pos x="281" y="187"/>
                </a:cxn>
                <a:cxn ang="0">
                  <a:pos x="308" y="183"/>
                </a:cxn>
                <a:cxn ang="0">
                  <a:pos x="348" y="205"/>
                </a:cxn>
                <a:cxn ang="0">
                  <a:pos x="339" y="223"/>
                </a:cxn>
                <a:cxn ang="0">
                  <a:pos x="348" y="241"/>
                </a:cxn>
                <a:cxn ang="0">
                  <a:pos x="353" y="232"/>
                </a:cxn>
                <a:cxn ang="0">
                  <a:pos x="366" y="205"/>
                </a:cxn>
                <a:cxn ang="0">
                  <a:pos x="388" y="161"/>
                </a:cxn>
                <a:cxn ang="0">
                  <a:pos x="406" y="147"/>
                </a:cxn>
                <a:cxn ang="0">
                  <a:pos x="379" y="138"/>
                </a:cxn>
                <a:cxn ang="0">
                  <a:pos x="348" y="143"/>
                </a:cxn>
                <a:cxn ang="0">
                  <a:pos x="317" y="165"/>
                </a:cxn>
                <a:cxn ang="0">
                  <a:pos x="295" y="170"/>
                </a:cxn>
                <a:cxn ang="0">
                  <a:pos x="295" y="147"/>
                </a:cxn>
                <a:cxn ang="0">
                  <a:pos x="286" y="170"/>
                </a:cxn>
                <a:cxn ang="0">
                  <a:pos x="245" y="165"/>
                </a:cxn>
                <a:cxn ang="0">
                  <a:pos x="219" y="161"/>
                </a:cxn>
                <a:cxn ang="0">
                  <a:pos x="178" y="134"/>
                </a:cxn>
                <a:cxn ang="0">
                  <a:pos x="178" y="107"/>
                </a:cxn>
                <a:cxn ang="0">
                  <a:pos x="147" y="71"/>
                </a:cxn>
                <a:cxn ang="0">
                  <a:pos x="147" y="22"/>
                </a:cxn>
                <a:cxn ang="0">
                  <a:pos x="125" y="31"/>
                </a:cxn>
                <a:cxn ang="0">
                  <a:pos x="76" y="44"/>
                </a:cxn>
                <a:cxn ang="0">
                  <a:pos x="94" y="85"/>
                </a:cxn>
                <a:cxn ang="0">
                  <a:pos x="58" y="134"/>
                </a:cxn>
                <a:cxn ang="0">
                  <a:pos x="27" y="147"/>
                </a:cxn>
                <a:cxn ang="0">
                  <a:pos x="27" y="170"/>
                </a:cxn>
                <a:cxn ang="0">
                  <a:pos x="44" y="205"/>
                </a:cxn>
                <a:cxn ang="0">
                  <a:pos x="0" y="219"/>
                </a:cxn>
              </a:cxnLst>
              <a:rect l="0" t="0" r="r" b="b"/>
              <a:pathLst>
                <a:path w="406" h="456">
                  <a:moveTo>
                    <a:pt x="0" y="219"/>
                  </a:moveTo>
                  <a:lnTo>
                    <a:pt x="13" y="232"/>
                  </a:lnTo>
                  <a:lnTo>
                    <a:pt x="22" y="223"/>
                  </a:lnTo>
                  <a:lnTo>
                    <a:pt x="36" y="223"/>
                  </a:lnTo>
                  <a:lnTo>
                    <a:pt x="27" y="237"/>
                  </a:lnTo>
                  <a:lnTo>
                    <a:pt x="9" y="237"/>
                  </a:lnTo>
                  <a:lnTo>
                    <a:pt x="22" y="259"/>
                  </a:lnTo>
                  <a:lnTo>
                    <a:pt x="40" y="268"/>
                  </a:lnTo>
                  <a:lnTo>
                    <a:pt x="53" y="259"/>
                  </a:lnTo>
                  <a:lnTo>
                    <a:pt x="58" y="241"/>
                  </a:lnTo>
                  <a:lnTo>
                    <a:pt x="58" y="237"/>
                  </a:lnTo>
                  <a:lnTo>
                    <a:pt x="67" y="237"/>
                  </a:lnTo>
                  <a:lnTo>
                    <a:pt x="62" y="254"/>
                  </a:lnTo>
                  <a:lnTo>
                    <a:pt x="67" y="259"/>
                  </a:lnTo>
                  <a:lnTo>
                    <a:pt x="67" y="272"/>
                  </a:lnTo>
                  <a:lnTo>
                    <a:pt x="67" y="304"/>
                  </a:lnTo>
                  <a:lnTo>
                    <a:pt x="71" y="317"/>
                  </a:lnTo>
                  <a:lnTo>
                    <a:pt x="89" y="357"/>
                  </a:lnTo>
                  <a:lnTo>
                    <a:pt x="94" y="380"/>
                  </a:lnTo>
                  <a:lnTo>
                    <a:pt x="111" y="406"/>
                  </a:lnTo>
                  <a:lnTo>
                    <a:pt x="111" y="429"/>
                  </a:lnTo>
                  <a:lnTo>
                    <a:pt x="116" y="438"/>
                  </a:lnTo>
                  <a:lnTo>
                    <a:pt x="134" y="456"/>
                  </a:lnTo>
                  <a:lnTo>
                    <a:pt x="147" y="451"/>
                  </a:lnTo>
                  <a:lnTo>
                    <a:pt x="147" y="438"/>
                  </a:lnTo>
                  <a:lnTo>
                    <a:pt x="161" y="442"/>
                  </a:lnTo>
                  <a:lnTo>
                    <a:pt x="161" y="438"/>
                  </a:lnTo>
                  <a:lnTo>
                    <a:pt x="156" y="438"/>
                  </a:lnTo>
                  <a:lnTo>
                    <a:pt x="161" y="420"/>
                  </a:lnTo>
                  <a:lnTo>
                    <a:pt x="170" y="420"/>
                  </a:lnTo>
                  <a:lnTo>
                    <a:pt x="170" y="397"/>
                  </a:lnTo>
                  <a:lnTo>
                    <a:pt x="174" y="380"/>
                  </a:lnTo>
                  <a:lnTo>
                    <a:pt x="174" y="344"/>
                  </a:lnTo>
                  <a:lnTo>
                    <a:pt x="174" y="339"/>
                  </a:lnTo>
                  <a:lnTo>
                    <a:pt x="187" y="335"/>
                  </a:lnTo>
                  <a:lnTo>
                    <a:pt x="201" y="326"/>
                  </a:lnTo>
                  <a:lnTo>
                    <a:pt x="201" y="317"/>
                  </a:lnTo>
                  <a:lnTo>
                    <a:pt x="237" y="290"/>
                  </a:lnTo>
                  <a:lnTo>
                    <a:pt x="237" y="281"/>
                  </a:lnTo>
                  <a:lnTo>
                    <a:pt x="241" y="277"/>
                  </a:lnTo>
                  <a:lnTo>
                    <a:pt x="245" y="281"/>
                  </a:lnTo>
                  <a:lnTo>
                    <a:pt x="254" y="277"/>
                  </a:lnTo>
                  <a:lnTo>
                    <a:pt x="268" y="263"/>
                  </a:lnTo>
                  <a:lnTo>
                    <a:pt x="263" y="259"/>
                  </a:lnTo>
                  <a:lnTo>
                    <a:pt x="277" y="250"/>
                  </a:lnTo>
                  <a:lnTo>
                    <a:pt x="281" y="237"/>
                  </a:lnTo>
                  <a:lnTo>
                    <a:pt x="286" y="250"/>
                  </a:lnTo>
                  <a:lnTo>
                    <a:pt x="304" y="246"/>
                  </a:lnTo>
                  <a:lnTo>
                    <a:pt x="290" y="214"/>
                  </a:lnTo>
                  <a:lnTo>
                    <a:pt x="290" y="205"/>
                  </a:lnTo>
                  <a:lnTo>
                    <a:pt x="286" y="201"/>
                  </a:lnTo>
                  <a:lnTo>
                    <a:pt x="290" y="196"/>
                  </a:lnTo>
                  <a:lnTo>
                    <a:pt x="295" y="192"/>
                  </a:lnTo>
                  <a:lnTo>
                    <a:pt x="281" y="187"/>
                  </a:lnTo>
                  <a:lnTo>
                    <a:pt x="286" y="174"/>
                  </a:lnTo>
                  <a:lnTo>
                    <a:pt x="290" y="170"/>
                  </a:lnTo>
                  <a:lnTo>
                    <a:pt x="308" y="183"/>
                  </a:lnTo>
                  <a:lnTo>
                    <a:pt x="312" y="187"/>
                  </a:lnTo>
                  <a:lnTo>
                    <a:pt x="348" y="192"/>
                  </a:lnTo>
                  <a:lnTo>
                    <a:pt x="348" y="205"/>
                  </a:lnTo>
                  <a:lnTo>
                    <a:pt x="335" y="214"/>
                  </a:lnTo>
                  <a:lnTo>
                    <a:pt x="330" y="223"/>
                  </a:lnTo>
                  <a:lnTo>
                    <a:pt x="339" y="223"/>
                  </a:lnTo>
                  <a:lnTo>
                    <a:pt x="339" y="214"/>
                  </a:lnTo>
                  <a:lnTo>
                    <a:pt x="344" y="214"/>
                  </a:lnTo>
                  <a:lnTo>
                    <a:pt x="348" y="241"/>
                  </a:lnTo>
                  <a:lnTo>
                    <a:pt x="348" y="250"/>
                  </a:lnTo>
                  <a:lnTo>
                    <a:pt x="353" y="246"/>
                  </a:lnTo>
                  <a:lnTo>
                    <a:pt x="353" y="232"/>
                  </a:lnTo>
                  <a:lnTo>
                    <a:pt x="357" y="232"/>
                  </a:lnTo>
                  <a:lnTo>
                    <a:pt x="357" y="210"/>
                  </a:lnTo>
                  <a:lnTo>
                    <a:pt x="366" y="205"/>
                  </a:lnTo>
                  <a:lnTo>
                    <a:pt x="375" y="192"/>
                  </a:lnTo>
                  <a:lnTo>
                    <a:pt x="375" y="183"/>
                  </a:lnTo>
                  <a:lnTo>
                    <a:pt x="388" y="161"/>
                  </a:lnTo>
                  <a:lnTo>
                    <a:pt x="402" y="156"/>
                  </a:lnTo>
                  <a:lnTo>
                    <a:pt x="406" y="156"/>
                  </a:lnTo>
                  <a:lnTo>
                    <a:pt x="406" y="147"/>
                  </a:lnTo>
                  <a:lnTo>
                    <a:pt x="406" y="138"/>
                  </a:lnTo>
                  <a:lnTo>
                    <a:pt x="393" y="134"/>
                  </a:lnTo>
                  <a:lnTo>
                    <a:pt x="379" y="138"/>
                  </a:lnTo>
                  <a:lnTo>
                    <a:pt x="379" y="129"/>
                  </a:lnTo>
                  <a:lnTo>
                    <a:pt x="366" y="129"/>
                  </a:lnTo>
                  <a:lnTo>
                    <a:pt x="348" y="143"/>
                  </a:lnTo>
                  <a:lnTo>
                    <a:pt x="335" y="147"/>
                  </a:lnTo>
                  <a:lnTo>
                    <a:pt x="335" y="165"/>
                  </a:lnTo>
                  <a:lnTo>
                    <a:pt x="317" y="165"/>
                  </a:lnTo>
                  <a:lnTo>
                    <a:pt x="312" y="170"/>
                  </a:lnTo>
                  <a:lnTo>
                    <a:pt x="299" y="170"/>
                  </a:lnTo>
                  <a:lnTo>
                    <a:pt x="295" y="170"/>
                  </a:lnTo>
                  <a:lnTo>
                    <a:pt x="295" y="165"/>
                  </a:lnTo>
                  <a:lnTo>
                    <a:pt x="290" y="156"/>
                  </a:lnTo>
                  <a:lnTo>
                    <a:pt x="295" y="147"/>
                  </a:lnTo>
                  <a:lnTo>
                    <a:pt x="295" y="143"/>
                  </a:lnTo>
                  <a:lnTo>
                    <a:pt x="286" y="152"/>
                  </a:lnTo>
                  <a:lnTo>
                    <a:pt x="286" y="170"/>
                  </a:lnTo>
                  <a:lnTo>
                    <a:pt x="277" y="174"/>
                  </a:lnTo>
                  <a:lnTo>
                    <a:pt x="245" y="170"/>
                  </a:lnTo>
                  <a:lnTo>
                    <a:pt x="245" y="165"/>
                  </a:lnTo>
                  <a:lnTo>
                    <a:pt x="237" y="165"/>
                  </a:lnTo>
                  <a:lnTo>
                    <a:pt x="228" y="156"/>
                  </a:lnTo>
                  <a:lnTo>
                    <a:pt x="219" y="161"/>
                  </a:lnTo>
                  <a:lnTo>
                    <a:pt x="205" y="156"/>
                  </a:lnTo>
                  <a:lnTo>
                    <a:pt x="178" y="143"/>
                  </a:lnTo>
                  <a:lnTo>
                    <a:pt x="178" y="134"/>
                  </a:lnTo>
                  <a:lnTo>
                    <a:pt x="170" y="134"/>
                  </a:lnTo>
                  <a:lnTo>
                    <a:pt x="170" y="116"/>
                  </a:lnTo>
                  <a:lnTo>
                    <a:pt x="178" y="107"/>
                  </a:lnTo>
                  <a:lnTo>
                    <a:pt x="165" y="94"/>
                  </a:lnTo>
                  <a:lnTo>
                    <a:pt x="156" y="98"/>
                  </a:lnTo>
                  <a:lnTo>
                    <a:pt x="147" y="71"/>
                  </a:lnTo>
                  <a:lnTo>
                    <a:pt x="156" y="49"/>
                  </a:lnTo>
                  <a:lnTo>
                    <a:pt x="156" y="35"/>
                  </a:lnTo>
                  <a:lnTo>
                    <a:pt x="147" y="22"/>
                  </a:lnTo>
                  <a:lnTo>
                    <a:pt x="147" y="4"/>
                  </a:lnTo>
                  <a:lnTo>
                    <a:pt x="129" y="0"/>
                  </a:lnTo>
                  <a:lnTo>
                    <a:pt x="125" y="31"/>
                  </a:lnTo>
                  <a:lnTo>
                    <a:pt x="111" y="27"/>
                  </a:lnTo>
                  <a:lnTo>
                    <a:pt x="80" y="27"/>
                  </a:lnTo>
                  <a:lnTo>
                    <a:pt x="76" y="44"/>
                  </a:lnTo>
                  <a:lnTo>
                    <a:pt x="80" y="58"/>
                  </a:lnTo>
                  <a:lnTo>
                    <a:pt x="103" y="71"/>
                  </a:lnTo>
                  <a:lnTo>
                    <a:pt x="94" y="85"/>
                  </a:lnTo>
                  <a:lnTo>
                    <a:pt x="85" y="103"/>
                  </a:lnTo>
                  <a:lnTo>
                    <a:pt x="76" y="125"/>
                  </a:lnTo>
                  <a:lnTo>
                    <a:pt x="58" y="134"/>
                  </a:lnTo>
                  <a:lnTo>
                    <a:pt x="53" y="143"/>
                  </a:lnTo>
                  <a:lnTo>
                    <a:pt x="36" y="152"/>
                  </a:lnTo>
                  <a:lnTo>
                    <a:pt x="27" y="147"/>
                  </a:lnTo>
                  <a:lnTo>
                    <a:pt x="18" y="161"/>
                  </a:lnTo>
                  <a:lnTo>
                    <a:pt x="13" y="170"/>
                  </a:lnTo>
                  <a:lnTo>
                    <a:pt x="27" y="170"/>
                  </a:lnTo>
                  <a:lnTo>
                    <a:pt x="22" y="178"/>
                  </a:lnTo>
                  <a:lnTo>
                    <a:pt x="36" y="183"/>
                  </a:lnTo>
                  <a:lnTo>
                    <a:pt x="44" y="205"/>
                  </a:lnTo>
                  <a:lnTo>
                    <a:pt x="31" y="205"/>
                  </a:lnTo>
                  <a:lnTo>
                    <a:pt x="4" y="210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6" name="Freeform 101">
              <a:extLst>
                <a:ext uri="{FF2B5EF4-FFF2-40B4-BE49-F238E27FC236}">
                  <a16:creationId xmlns:a16="http://schemas.microsoft.com/office/drawing/2014/main" id="{97C218AE-CB51-4FB1-B307-B75F6F3F62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64358" y="4678585"/>
              <a:ext cx="340904" cy="198517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26" y="26"/>
                </a:cxn>
                <a:cxn ang="0">
                  <a:pos x="67" y="40"/>
                </a:cxn>
                <a:cxn ang="0">
                  <a:pos x="93" y="58"/>
                </a:cxn>
                <a:cxn ang="0">
                  <a:pos x="93" y="71"/>
                </a:cxn>
                <a:cxn ang="0">
                  <a:pos x="102" y="98"/>
                </a:cxn>
                <a:cxn ang="0">
                  <a:pos x="120" y="107"/>
                </a:cxn>
                <a:cxn ang="0">
                  <a:pos x="129" y="116"/>
                </a:cxn>
                <a:cxn ang="0">
                  <a:pos x="143" y="125"/>
                </a:cxn>
                <a:cxn ang="0">
                  <a:pos x="129" y="134"/>
                </a:cxn>
                <a:cxn ang="0">
                  <a:pos x="102" y="125"/>
                </a:cxn>
                <a:cxn ang="0">
                  <a:pos x="76" y="102"/>
                </a:cxn>
                <a:cxn ang="0">
                  <a:pos x="58" y="84"/>
                </a:cxn>
                <a:cxn ang="0">
                  <a:pos x="26" y="93"/>
                </a:cxn>
                <a:cxn ang="0">
                  <a:pos x="22" y="107"/>
                </a:cxn>
                <a:cxn ang="0">
                  <a:pos x="4" y="107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89" y="0"/>
                </a:cxn>
                <a:cxn ang="0">
                  <a:pos x="76" y="0"/>
                </a:cxn>
                <a:cxn ang="0">
                  <a:pos x="102" y="58"/>
                </a:cxn>
                <a:cxn ang="0">
                  <a:pos x="116" y="67"/>
                </a:cxn>
                <a:cxn ang="0">
                  <a:pos x="129" y="71"/>
                </a:cxn>
                <a:cxn ang="0">
                  <a:pos x="151" y="58"/>
                </a:cxn>
                <a:cxn ang="0">
                  <a:pos x="165" y="40"/>
                </a:cxn>
                <a:cxn ang="0">
                  <a:pos x="151" y="35"/>
                </a:cxn>
                <a:cxn ang="0">
                  <a:pos x="143" y="53"/>
                </a:cxn>
                <a:cxn ang="0">
                  <a:pos x="129" y="49"/>
                </a:cxn>
                <a:cxn ang="0">
                  <a:pos x="102" y="53"/>
                </a:cxn>
                <a:cxn ang="0">
                  <a:pos x="165" y="26"/>
                </a:cxn>
                <a:cxn ang="0">
                  <a:pos x="134" y="4"/>
                </a:cxn>
                <a:cxn ang="0">
                  <a:pos x="143" y="13"/>
                </a:cxn>
                <a:cxn ang="0">
                  <a:pos x="165" y="35"/>
                </a:cxn>
                <a:cxn ang="0">
                  <a:pos x="174" y="35"/>
                </a:cxn>
                <a:cxn ang="0">
                  <a:pos x="196" y="62"/>
                </a:cxn>
                <a:cxn ang="0">
                  <a:pos x="210" y="71"/>
                </a:cxn>
                <a:cxn ang="0">
                  <a:pos x="201" y="53"/>
                </a:cxn>
              </a:cxnLst>
              <a:rect l="0" t="0" r="r" b="b"/>
              <a:pathLst>
                <a:path w="214" h="134">
                  <a:moveTo>
                    <a:pt x="0" y="102"/>
                  </a:moveTo>
                  <a:lnTo>
                    <a:pt x="0" y="13"/>
                  </a:lnTo>
                  <a:lnTo>
                    <a:pt x="13" y="13"/>
                  </a:lnTo>
                  <a:lnTo>
                    <a:pt x="26" y="26"/>
                  </a:lnTo>
                  <a:lnTo>
                    <a:pt x="49" y="26"/>
                  </a:lnTo>
                  <a:lnTo>
                    <a:pt x="67" y="40"/>
                  </a:lnTo>
                  <a:lnTo>
                    <a:pt x="67" y="53"/>
                  </a:lnTo>
                  <a:lnTo>
                    <a:pt x="93" y="58"/>
                  </a:lnTo>
                  <a:lnTo>
                    <a:pt x="98" y="71"/>
                  </a:lnTo>
                  <a:lnTo>
                    <a:pt x="93" y="71"/>
                  </a:lnTo>
                  <a:lnTo>
                    <a:pt x="84" y="71"/>
                  </a:lnTo>
                  <a:lnTo>
                    <a:pt x="102" y="98"/>
                  </a:lnTo>
                  <a:lnTo>
                    <a:pt x="111" y="107"/>
                  </a:lnTo>
                  <a:lnTo>
                    <a:pt x="120" y="107"/>
                  </a:lnTo>
                  <a:lnTo>
                    <a:pt x="120" y="111"/>
                  </a:lnTo>
                  <a:lnTo>
                    <a:pt x="129" y="116"/>
                  </a:lnTo>
                  <a:lnTo>
                    <a:pt x="129" y="120"/>
                  </a:lnTo>
                  <a:lnTo>
                    <a:pt x="143" y="125"/>
                  </a:lnTo>
                  <a:lnTo>
                    <a:pt x="134" y="134"/>
                  </a:lnTo>
                  <a:lnTo>
                    <a:pt x="129" y="134"/>
                  </a:lnTo>
                  <a:lnTo>
                    <a:pt x="129" y="125"/>
                  </a:lnTo>
                  <a:lnTo>
                    <a:pt x="102" y="125"/>
                  </a:lnTo>
                  <a:lnTo>
                    <a:pt x="89" y="120"/>
                  </a:lnTo>
                  <a:lnTo>
                    <a:pt x="76" y="102"/>
                  </a:lnTo>
                  <a:lnTo>
                    <a:pt x="67" y="89"/>
                  </a:lnTo>
                  <a:lnTo>
                    <a:pt x="58" y="84"/>
                  </a:lnTo>
                  <a:lnTo>
                    <a:pt x="40" y="80"/>
                  </a:lnTo>
                  <a:lnTo>
                    <a:pt x="26" y="93"/>
                  </a:lnTo>
                  <a:lnTo>
                    <a:pt x="31" y="102"/>
                  </a:lnTo>
                  <a:lnTo>
                    <a:pt x="22" y="107"/>
                  </a:lnTo>
                  <a:lnTo>
                    <a:pt x="4" y="102"/>
                  </a:lnTo>
                  <a:lnTo>
                    <a:pt x="4" y="107"/>
                  </a:lnTo>
                  <a:lnTo>
                    <a:pt x="0" y="102"/>
                  </a:lnTo>
                  <a:close/>
                  <a:moveTo>
                    <a:pt x="76" y="0"/>
                  </a:moveTo>
                  <a:lnTo>
                    <a:pt x="76" y="8"/>
                  </a:lnTo>
                  <a:lnTo>
                    <a:pt x="80" y="8"/>
                  </a:lnTo>
                  <a:lnTo>
                    <a:pt x="89" y="4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76" y="0"/>
                  </a:lnTo>
                  <a:close/>
                  <a:moveTo>
                    <a:pt x="102" y="53"/>
                  </a:moveTo>
                  <a:lnTo>
                    <a:pt x="102" y="58"/>
                  </a:lnTo>
                  <a:lnTo>
                    <a:pt x="111" y="62"/>
                  </a:lnTo>
                  <a:lnTo>
                    <a:pt x="116" y="67"/>
                  </a:lnTo>
                  <a:lnTo>
                    <a:pt x="125" y="62"/>
                  </a:lnTo>
                  <a:lnTo>
                    <a:pt x="129" y="71"/>
                  </a:lnTo>
                  <a:lnTo>
                    <a:pt x="147" y="67"/>
                  </a:lnTo>
                  <a:lnTo>
                    <a:pt x="151" y="58"/>
                  </a:lnTo>
                  <a:lnTo>
                    <a:pt x="160" y="58"/>
                  </a:lnTo>
                  <a:lnTo>
                    <a:pt x="165" y="40"/>
                  </a:lnTo>
                  <a:lnTo>
                    <a:pt x="160" y="35"/>
                  </a:lnTo>
                  <a:lnTo>
                    <a:pt x="151" y="35"/>
                  </a:lnTo>
                  <a:lnTo>
                    <a:pt x="151" y="49"/>
                  </a:lnTo>
                  <a:lnTo>
                    <a:pt x="143" y="53"/>
                  </a:lnTo>
                  <a:lnTo>
                    <a:pt x="134" y="53"/>
                  </a:lnTo>
                  <a:lnTo>
                    <a:pt x="129" y="49"/>
                  </a:lnTo>
                  <a:lnTo>
                    <a:pt x="125" y="53"/>
                  </a:lnTo>
                  <a:lnTo>
                    <a:pt x="102" y="53"/>
                  </a:lnTo>
                  <a:close/>
                  <a:moveTo>
                    <a:pt x="174" y="35"/>
                  </a:moveTo>
                  <a:lnTo>
                    <a:pt x="165" y="26"/>
                  </a:lnTo>
                  <a:lnTo>
                    <a:pt x="143" y="8"/>
                  </a:lnTo>
                  <a:lnTo>
                    <a:pt x="134" y="4"/>
                  </a:lnTo>
                  <a:lnTo>
                    <a:pt x="129" y="8"/>
                  </a:lnTo>
                  <a:lnTo>
                    <a:pt x="143" y="13"/>
                  </a:lnTo>
                  <a:lnTo>
                    <a:pt x="160" y="31"/>
                  </a:lnTo>
                  <a:lnTo>
                    <a:pt x="165" y="35"/>
                  </a:lnTo>
                  <a:lnTo>
                    <a:pt x="169" y="44"/>
                  </a:lnTo>
                  <a:lnTo>
                    <a:pt x="174" y="35"/>
                  </a:lnTo>
                  <a:close/>
                  <a:moveTo>
                    <a:pt x="196" y="53"/>
                  </a:moveTo>
                  <a:lnTo>
                    <a:pt x="196" y="62"/>
                  </a:lnTo>
                  <a:lnTo>
                    <a:pt x="201" y="76"/>
                  </a:lnTo>
                  <a:lnTo>
                    <a:pt x="210" y="71"/>
                  </a:lnTo>
                  <a:lnTo>
                    <a:pt x="214" y="67"/>
                  </a:lnTo>
                  <a:lnTo>
                    <a:pt x="201" y="53"/>
                  </a:lnTo>
                  <a:lnTo>
                    <a:pt x="196" y="5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7" name="Freeform 105">
              <a:extLst>
                <a:ext uri="{FF2B5EF4-FFF2-40B4-BE49-F238E27FC236}">
                  <a16:creationId xmlns:a16="http://schemas.microsoft.com/office/drawing/2014/main" id="{4CE11754-2C89-4814-9FDA-33DEA54525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3670" y="4043033"/>
              <a:ext cx="114697" cy="137777"/>
            </a:xfrm>
            <a:custGeom>
              <a:avLst/>
              <a:gdLst/>
              <a:ahLst/>
              <a:cxnLst>
                <a:cxn ang="0">
                  <a:pos x="23" y="76"/>
                </a:cxn>
                <a:cxn ang="0">
                  <a:pos x="27" y="71"/>
                </a:cxn>
                <a:cxn ang="0">
                  <a:pos x="31" y="76"/>
                </a:cxn>
                <a:cxn ang="0">
                  <a:pos x="36" y="71"/>
                </a:cxn>
                <a:cxn ang="0">
                  <a:pos x="40" y="67"/>
                </a:cxn>
                <a:cxn ang="0">
                  <a:pos x="45" y="71"/>
                </a:cxn>
                <a:cxn ang="0">
                  <a:pos x="45" y="67"/>
                </a:cxn>
                <a:cxn ang="0">
                  <a:pos x="49" y="67"/>
                </a:cxn>
                <a:cxn ang="0">
                  <a:pos x="54" y="80"/>
                </a:cxn>
                <a:cxn ang="0">
                  <a:pos x="58" y="89"/>
                </a:cxn>
                <a:cxn ang="0">
                  <a:pos x="63" y="93"/>
                </a:cxn>
                <a:cxn ang="0">
                  <a:pos x="72" y="89"/>
                </a:cxn>
                <a:cxn ang="0">
                  <a:pos x="67" y="80"/>
                </a:cxn>
                <a:cxn ang="0">
                  <a:pos x="67" y="71"/>
                </a:cxn>
                <a:cxn ang="0">
                  <a:pos x="63" y="44"/>
                </a:cxn>
                <a:cxn ang="0">
                  <a:pos x="58" y="44"/>
                </a:cxn>
                <a:cxn ang="0">
                  <a:pos x="58" y="53"/>
                </a:cxn>
                <a:cxn ang="0">
                  <a:pos x="49" y="53"/>
                </a:cxn>
                <a:cxn ang="0">
                  <a:pos x="54" y="44"/>
                </a:cxn>
                <a:cxn ang="0">
                  <a:pos x="67" y="35"/>
                </a:cxn>
                <a:cxn ang="0">
                  <a:pos x="67" y="22"/>
                </a:cxn>
                <a:cxn ang="0">
                  <a:pos x="31" y="17"/>
                </a:cxn>
                <a:cxn ang="0">
                  <a:pos x="27" y="13"/>
                </a:cxn>
                <a:cxn ang="0">
                  <a:pos x="9" y="0"/>
                </a:cxn>
                <a:cxn ang="0">
                  <a:pos x="5" y="4"/>
                </a:cxn>
                <a:cxn ang="0">
                  <a:pos x="0" y="17"/>
                </a:cxn>
                <a:cxn ang="0">
                  <a:pos x="14" y="22"/>
                </a:cxn>
                <a:cxn ang="0">
                  <a:pos x="9" y="26"/>
                </a:cxn>
                <a:cxn ang="0">
                  <a:pos x="5" y="31"/>
                </a:cxn>
                <a:cxn ang="0">
                  <a:pos x="9" y="35"/>
                </a:cxn>
                <a:cxn ang="0">
                  <a:pos x="9" y="44"/>
                </a:cxn>
                <a:cxn ang="0">
                  <a:pos x="23" y="76"/>
                </a:cxn>
              </a:cxnLst>
              <a:rect l="0" t="0" r="r" b="b"/>
              <a:pathLst>
                <a:path w="72" h="93">
                  <a:moveTo>
                    <a:pt x="23" y="76"/>
                  </a:moveTo>
                  <a:lnTo>
                    <a:pt x="27" y="71"/>
                  </a:lnTo>
                  <a:lnTo>
                    <a:pt x="31" y="76"/>
                  </a:lnTo>
                  <a:lnTo>
                    <a:pt x="36" y="71"/>
                  </a:lnTo>
                  <a:lnTo>
                    <a:pt x="40" y="67"/>
                  </a:lnTo>
                  <a:lnTo>
                    <a:pt x="45" y="71"/>
                  </a:lnTo>
                  <a:lnTo>
                    <a:pt x="45" y="67"/>
                  </a:lnTo>
                  <a:lnTo>
                    <a:pt x="49" y="67"/>
                  </a:lnTo>
                  <a:lnTo>
                    <a:pt x="54" y="80"/>
                  </a:lnTo>
                  <a:lnTo>
                    <a:pt x="58" y="89"/>
                  </a:lnTo>
                  <a:lnTo>
                    <a:pt x="63" y="93"/>
                  </a:lnTo>
                  <a:lnTo>
                    <a:pt x="72" y="89"/>
                  </a:lnTo>
                  <a:lnTo>
                    <a:pt x="67" y="80"/>
                  </a:lnTo>
                  <a:lnTo>
                    <a:pt x="67" y="71"/>
                  </a:lnTo>
                  <a:lnTo>
                    <a:pt x="63" y="44"/>
                  </a:lnTo>
                  <a:lnTo>
                    <a:pt x="58" y="44"/>
                  </a:lnTo>
                  <a:lnTo>
                    <a:pt x="58" y="53"/>
                  </a:lnTo>
                  <a:lnTo>
                    <a:pt x="49" y="53"/>
                  </a:lnTo>
                  <a:lnTo>
                    <a:pt x="54" y="44"/>
                  </a:lnTo>
                  <a:lnTo>
                    <a:pt x="67" y="35"/>
                  </a:lnTo>
                  <a:lnTo>
                    <a:pt x="67" y="22"/>
                  </a:lnTo>
                  <a:lnTo>
                    <a:pt x="31" y="17"/>
                  </a:lnTo>
                  <a:lnTo>
                    <a:pt x="27" y="13"/>
                  </a:lnTo>
                  <a:lnTo>
                    <a:pt x="9" y="0"/>
                  </a:lnTo>
                  <a:lnTo>
                    <a:pt x="5" y="4"/>
                  </a:lnTo>
                  <a:lnTo>
                    <a:pt x="0" y="17"/>
                  </a:lnTo>
                  <a:lnTo>
                    <a:pt x="14" y="22"/>
                  </a:lnTo>
                  <a:lnTo>
                    <a:pt x="9" y="26"/>
                  </a:lnTo>
                  <a:lnTo>
                    <a:pt x="5" y="31"/>
                  </a:lnTo>
                  <a:lnTo>
                    <a:pt x="9" y="35"/>
                  </a:lnTo>
                  <a:lnTo>
                    <a:pt x="9" y="44"/>
                  </a:lnTo>
                  <a:lnTo>
                    <a:pt x="23" y="7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8" name="Freeform 107">
              <a:extLst>
                <a:ext uri="{FF2B5EF4-FFF2-40B4-BE49-F238E27FC236}">
                  <a16:creationId xmlns:a16="http://schemas.microsoft.com/office/drawing/2014/main" id="{5F421278-2E15-492E-B191-B64854840C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5972" y="4003033"/>
              <a:ext cx="63720" cy="40000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7"/>
                </a:cxn>
                <a:cxn ang="0">
                  <a:pos x="4" y="27"/>
                </a:cxn>
                <a:cxn ang="0">
                  <a:pos x="17" y="27"/>
                </a:cxn>
                <a:cxn ang="0">
                  <a:pos x="22" y="22"/>
                </a:cxn>
                <a:cxn ang="0">
                  <a:pos x="40" y="22"/>
                </a:cxn>
                <a:cxn ang="0">
                  <a:pos x="40" y="4"/>
                </a:cxn>
                <a:cxn ang="0">
                  <a:pos x="35" y="4"/>
                </a:cxn>
                <a:cxn ang="0">
                  <a:pos x="26" y="0"/>
                </a:cxn>
                <a:cxn ang="0">
                  <a:pos x="13" y="9"/>
                </a:cxn>
                <a:cxn ang="0">
                  <a:pos x="0" y="22"/>
                </a:cxn>
              </a:cxnLst>
              <a:rect l="0" t="0" r="r" b="b"/>
              <a:pathLst>
                <a:path w="40" h="27">
                  <a:moveTo>
                    <a:pt x="0" y="22"/>
                  </a:moveTo>
                  <a:lnTo>
                    <a:pt x="0" y="27"/>
                  </a:lnTo>
                  <a:lnTo>
                    <a:pt x="4" y="27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40" y="22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26" y="0"/>
                  </a:lnTo>
                  <a:lnTo>
                    <a:pt x="13" y="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9" name="Freeform 108">
              <a:extLst>
                <a:ext uri="{FF2B5EF4-FFF2-40B4-BE49-F238E27FC236}">
                  <a16:creationId xmlns:a16="http://schemas.microsoft.com/office/drawing/2014/main" id="{C071BB4F-3ACB-4087-AD19-074727C04E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33936" y="4803029"/>
              <a:ext cx="113104" cy="74074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0" y="9"/>
                </a:cxn>
                <a:cxn ang="0">
                  <a:pos x="4" y="14"/>
                </a:cxn>
                <a:cxn ang="0">
                  <a:pos x="9" y="18"/>
                </a:cxn>
                <a:cxn ang="0">
                  <a:pos x="13" y="14"/>
                </a:cxn>
                <a:cxn ang="0">
                  <a:pos x="9" y="14"/>
                </a:cxn>
                <a:cxn ang="0">
                  <a:pos x="4" y="5"/>
                </a:cxn>
                <a:cxn ang="0">
                  <a:pos x="18" y="0"/>
                </a:cxn>
                <a:cxn ang="0">
                  <a:pos x="13" y="0"/>
                </a:cxn>
                <a:cxn ang="0">
                  <a:pos x="18" y="9"/>
                </a:cxn>
                <a:cxn ang="0">
                  <a:pos x="31" y="14"/>
                </a:cxn>
                <a:cxn ang="0">
                  <a:pos x="36" y="18"/>
                </a:cxn>
                <a:cxn ang="0">
                  <a:pos x="31" y="9"/>
                </a:cxn>
                <a:cxn ang="0">
                  <a:pos x="18" y="0"/>
                </a:cxn>
                <a:cxn ang="0">
                  <a:pos x="31" y="23"/>
                </a:cxn>
                <a:cxn ang="0">
                  <a:pos x="27" y="27"/>
                </a:cxn>
                <a:cxn ang="0">
                  <a:pos x="40" y="36"/>
                </a:cxn>
                <a:cxn ang="0">
                  <a:pos x="45" y="36"/>
                </a:cxn>
                <a:cxn ang="0">
                  <a:pos x="49" y="32"/>
                </a:cxn>
                <a:cxn ang="0">
                  <a:pos x="40" y="27"/>
                </a:cxn>
                <a:cxn ang="0">
                  <a:pos x="31" y="23"/>
                </a:cxn>
                <a:cxn ang="0">
                  <a:pos x="49" y="14"/>
                </a:cxn>
                <a:cxn ang="0">
                  <a:pos x="53" y="32"/>
                </a:cxn>
                <a:cxn ang="0">
                  <a:pos x="58" y="32"/>
                </a:cxn>
                <a:cxn ang="0">
                  <a:pos x="58" y="27"/>
                </a:cxn>
                <a:cxn ang="0">
                  <a:pos x="58" y="27"/>
                </a:cxn>
                <a:cxn ang="0">
                  <a:pos x="49" y="14"/>
                </a:cxn>
                <a:cxn ang="0">
                  <a:pos x="53" y="36"/>
                </a:cxn>
                <a:cxn ang="0">
                  <a:pos x="53" y="41"/>
                </a:cxn>
                <a:cxn ang="0">
                  <a:pos x="67" y="50"/>
                </a:cxn>
                <a:cxn ang="0">
                  <a:pos x="71" y="50"/>
                </a:cxn>
                <a:cxn ang="0">
                  <a:pos x="67" y="41"/>
                </a:cxn>
                <a:cxn ang="0">
                  <a:pos x="53" y="36"/>
                </a:cxn>
              </a:cxnLst>
              <a:rect l="0" t="0" r="r" b="b"/>
              <a:pathLst>
                <a:path w="71" h="50">
                  <a:moveTo>
                    <a:pt x="4" y="5"/>
                  </a:moveTo>
                  <a:lnTo>
                    <a:pt x="0" y="9"/>
                  </a:lnTo>
                  <a:lnTo>
                    <a:pt x="4" y="14"/>
                  </a:lnTo>
                  <a:lnTo>
                    <a:pt x="9" y="18"/>
                  </a:lnTo>
                  <a:lnTo>
                    <a:pt x="13" y="14"/>
                  </a:lnTo>
                  <a:lnTo>
                    <a:pt x="9" y="14"/>
                  </a:lnTo>
                  <a:lnTo>
                    <a:pt x="4" y="5"/>
                  </a:lnTo>
                  <a:close/>
                  <a:moveTo>
                    <a:pt x="18" y="0"/>
                  </a:moveTo>
                  <a:lnTo>
                    <a:pt x="13" y="0"/>
                  </a:lnTo>
                  <a:lnTo>
                    <a:pt x="18" y="9"/>
                  </a:lnTo>
                  <a:lnTo>
                    <a:pt x="31" y="14"/>
                  </a:lnTo>
                  <a:lnTo>
                    <a:pt x="36" y="18"/>
                  </a:lnTo>
                  <a:lnTo>
                    <a:pt x="31" y="9"/>
                  </a:lnTo>
                  <a:lnTo>
                    <a:pt x="18" y="0"/>
                  </a:lnTo>
                  <a:close/>
                  <a:moveTo>
                    <a:pt x="31" y="23"/>
                  </a:moveTo>
                  <a:lnTo>
                    <a:pt x="27" y="27"/>
                  </a:lnTo>
                  <a:lnTo>
                    <a:pt x="40" y="36"/>
                  </a:lnTo>
                  <a:lnTo>
                    <a:pt x="45" y="36"/>
                  </a:lnTo>
                  <a:lnTo>
                    <a:pt x="49" y="32"/>
                  </a:lnTo>
                  <a:lnTo>
                    <a:pt x="40" y="27"/>
                  </a:lnTo>
                  <a:lnTo>
                    <a:pt x="31" y="23"/>
                  </a:lnTo>
                  <a:close/>
                  <a:moveTo>
                    <a:pt x="49" y="14"/>
                  </a:moveTo>
                  <a:lnTo>
                    <a:pt x="53" y="32"/>
                  </a:lnTo>
                  <a:lnTo>
                    <a:pt x="58" y="32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49" y="14"/>
                  </a:lnTo>
                  <a:close/>
                  <a:moveTo>
                    <a:pt x="53" y="36"/>
                  </a:moveTo>
                  <a:lnTo>
                    <a:pt x="53" y="41"/>
                  </a:lnTo>
                  <a:lnTo>
                    <a:pt x="67" y="50"/>
                  </a:lnTo>
                  <a:lnTo>
                    <a:pt x="71" y="50"/>
                  </a:lnTo>
                  <a:lnTo>
                    <a:pt x="67" y="41"/>
                  </a:lnTo>
                  <a:lnTo>
                    <a:pt x="53" y="3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0" name="Freeform 109">
              <a:extLst>
                <a:ext uri="{FF2B5EF4-FFF2-40B4-BE49-F238E27FC236}">
                  <a16:creationId xmlns:a16="http://schemas.microsoft.com/office/drawing/2014/main" id="{880224AF-B77F-4B8C-9243-0235C84B1DC1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4677" y="4518586"/>
              <a:ext cx="35046" cy="2666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" y="14"/>
                </a:cxn>
                <a:cxn ang="0">
                  <a:pos x="13" y="18"/>
                </a:cxn>
                <a:cxn ang="0">
                  <a:pos x="13" y="9"/>
                </a:cxn>
                <a:cxn ang="0">
                  <a:pos x="18" y="14"/>
                </a:cxn>
                <a:cxn ang="0">
                  <a:pos x="22" y="0"/>
                </a:cxn>
                <a:cxn ang="0">
                  <a:pos x="18" y="5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22" h="18">
                  <a:moveTo>
                    <a:pt x="0" y="9"/>
                  </a:moveTo>
                  <a:lnTo>
                    <a:pt x="4" y="14"/>
                  </a:lnTo>
                  <a:lnTo>
                    <a:pt x="13" y="18"/>
                  </a:lnTo>
                  <a:lnTo>
                    <a:pt x="13" y="9"/>
                  </a:lnTo>
                  <a:lnTo>
                    <a:pt x="18" y="14"/>
                  </a:lnTo>
                  <a:lnTo>
                    <a:pt x="22" y="0"/>
                  </a:lnTo>
                  <a:lnTo>
                    <a:pt x="18" y="5"/>
                  </a:lnTo>
                  <a:lnTo>
                    <a:pt x="18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1" name="Freeform 110">
              <a:extLst>
                <a:ext uri="{FF2B5EF4-FFF2-40B4-BE49-F238E27FC236}">
                  <a16:creationId xmlns:a16="http://schemas.microsoft.com/office/drawing/2014/main" id="{6C82A6F9-0FCF-4913-8599-FA20C9BF2E1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4030" y="3995626"/>
              <a:ext cx="199126" cy="423701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9" y="121"/>
                </a:cxn>
                <a:cxn ang="0">
                  <a:pos x="4" y="112"/>
                </a:cxn>
                <a:cxn ang="0">
                  <a:pos x="9" y="108"/>
                </a:cxn>
                <a:cxn ang="0">
                  <a:pos x="9" y="94"/>
                </a:cxn>
                <a:cxn ang="0">
                  <a:pos x="13" y="94"/>
                </a:cxn>
                <a:cxn ang="0">
                  <a:pos x="13" y="72"/>
                </a:cxn>
                <a:cxn ang="0">
                  <a:pos x="22" y="67"/>
                </a:cxn>
                <a:cxn ang="0">
                  <a:pos x="31" y="54"/>
                </a:cxn>
                <a:cxn ang="0">
                  <a:pos x="31" y="45"/>
                </a:cxn>
                <a:cxn ang="0">
                  <a:pos x="44" y="23"/>
                </a:cxn>
                <a:cxn ang="0">
                  <a:pos x="58" y="18"/>
                </a:cxn>
                <a:cxn ang="0">
                  <a:pos x="62" y="18"/>
                </a:cxn>
                <a:cxn ang="0">
                  <a:pos x="62" y="9"/>
                </a:cxn>
                <a:cxn ang="0">
                  <a:pos x="76" y="0"/>
                </a:cxn>
                <a:cxn ang="0">
                  <a:pos x="85" y="9"/>
                </a:cxn>
                <a:cxn ang="0">
                  <a:pos x="85" y="40"/>
                </a:cxn>
                <a:cxn ang="0">
                  <a:pos x="71" y="54"/>
                </a:cxn>
                <a:cxn ang="0">
                  <a:pos x="76" y="76"/>
                </a:cxn>
                <a:cxn ang="0">
                  <a:pos x="89" y="67"/>
                </a:cxn>
                <a:cxn ang="0">
                  <a:pos x="89" y="81"/>
                </a:cxn>
                <a:cxn ang="0">
                  <a:pos x="102" y="90"/>
                </a:cxn>
                <a:cxn ang="0">
                  <a:pos x="89" y="103"/>
                </a:cxn>
                <a:cxn ang="0">
                  <a:pos x="111" y="112"/>
                </a:cxn>
                <a:cxn ang="0">
                  <a:pos x="120" y="108"/>
                </a:cxn>
                <a:cxn ang="0">
                  <a:pos x="125" y="108"/>
                </a:cxn>
                <a:cxn ang="0">
                  <a:pos x="125" y="112"/>
                </a:cxn>
                <a:cxn ang="0">
                  <a:pos x="120" y="116"/>
                </a:cxn>
                <a:cxn ang="0">
                  <a:pos x="111" y="130"/>
                </a:cxn>
                <a:cxn ang="0">
                  <a:pos x="102" y="130"/>
                </a:cxn>
                <a:cxn ang="0">
                  <a:pos x="89" y="139"/>
                </a:cxn>
                <a:cxn ang="0">
                  <a:pos x="80" y="143"/>
                </a:cxn>
                <a:cxn ang="0">
                  <a:pos x="71" y="161"/>
                </a:cxn>
                <a:cxn ang="0">
                  <a:pos x="76" y="166"/>
                </a:cxn>
                <a:cxn ang="0">
                  <a:pos x="76" y="179"/>
                </a:cxn>
                <a:cxn ang="0">
                  <a:pos x="85" y="188"/>
                </a:cxn>
                <a:cxn ang="0">
                  <a:pos x="89" y="201"/>
                </a:cxn>
                <a:cxn ang="0">
                  <a:pos x="80" y="210"/>
                </a:cxn>
                <a:cxn ang="0">
                  <a:pos x="85" y="215"/>
                </a:cxn>
                <a:cxn ang="0">
                  <a:pos x="102" y="233"/>
                </a:cxn>
                <a:cxn ang="0">
                  <a:pos x="98" y="251"/>
                </a:cxn>
                <a:cxn ang="0">
                  <a:pos x="102" y="264"/>
                </a:cxn>
                <a:cxn ang="0">
                  <a:pos x="98" y="273"/>
                </a:cxn>
                <a:cxn ang="0">
                  <a:pos x="94" y="277"/>
                </a:cxn>
                <a:cxn ang="0">
                  <a:pos x="89" y="286"/>
                </a:cxn>
                <a:cxn ang="0">
                  <a:pos x="85" y="282"/>
                </a:cxn>
                <a:cxn ang="0">
                  <a:pos x="94" y="264"/>
                </a:cxn>
                <a:cxn ang="0">
                  <a:pos x="89" y="255"/>
                </a:cxn>
                <a:cxn ang="0">
                  <a:pos x="89" y="242"/>
                </a:cxn>
                <a:cxn ang="0">
                  <a:pos x="80" y="228"/>
                </a:cxn>
                <a:cxn ang="0">
                  <a:pos x="76" y="215"/>
                </a:cxn>
                <a:cxn ang="0">
                  <a:pos x="76" y="197"/>
                </a:cxn>
                <a:cxn ang="0">
                  <a:pos x="62" y="183"/>
                </a:cxn>
                <a:cxn ang="0">
                  <a:pos x="53" y="188"/>
                </a:cxn>
                <a:cxn ang="0">
                  <a:pos x="44" y="201"/>
                </a:cxn>
                <a:cxn ang="0">
                  <a:pos x="22" y="197"/>
                </a:cxn>
                <a:cxn ang="0">
                  <a:pos x="27" y="183"/>
                </a:cxn>
                <a:cxn ang="0">
                  <a:pos x="31" y="175"/>
                </a:cxn>
                <a:cxn ang="0">
                  <a:pos x="22" y="139"/>
                </a:cxn>
                <a:cxn ang="0">
                  <a:pos x="13" y="134"/>
                </a:cxn>
                <a:cxn ang="0">
                  <a:pos x="9" y="139"/>
                </a:cxn>
                <a:cxn ang="0">
                  <a:pos x="0" y="125"/>
                </a:cxn>
              </a:cxnLst>
              <a:rect l="0" t="0" r="r" b="b"/>
              <a:pathLst>
                <a:path w="125" h="286">
                  <a:moveTo>
                    <a:pt x="0" y="125"/>
                  </a:moveTo>
                  <a:lnTo>
                    <a:pt x="9" y="121"/>
                  </a:lnTo>
                  <a:lnTo>
                    <a:pt x="4" y="112"/>
                  </a:lnTo>
                  <a:lnTo>
                    <a:pt x="9" y="108"/>
                  </a:lnTo>
                  <a:lnTo>
                    <a:pt x="9" y="94"/>
                  </a:lnTo>
                  <a:lnTo>
                    <a:pt x="13" y="94"/>
                  </a:lnTo>
                  <a:lnTo>
                    <a:pt x="13" y="72"/>
                  </a:lnTo>
                  <a:lnTo>
                    <a:pt x="22" y="67"/>
                  </a:lnTo>
                  <a:lnTo>
                    <a:pt x="31" y="54"/>
                  </a:lnTo>
                  <a:lnTo>
                    <a:pt x="31" y="45"/>
                  </a:lnTo>
                  <a:lnTo>
                    <a:pt x="44" y="23"/>
                  </a:lnTo>
                  <a:lnTo>
                    <a:pt x="58" y="18"/>
                  </a:lnTo>
                  <a:lnTo>
                    <a:pt x="62" y="18"/>
                  </a:lnTo>
                  <a:lnTo>
                    <a:pt x="62" y="9"/>
                  </a:lnTo>
                  <a:lnTo>
                    <a:pt x="76" y="0"/>
                  </a:lnTo>
                  <a:lnTo>
                    <a:pt x="85" y="9"/>
                  </a:lnTo>
                  <a:lnTo>
                    <a:pt x="85" y="40"/>
                  </a:lnTo>
                  <a:lnTo>
                    <a:pt x="71" y="54"/>
                  </a:lnTo>
                  <a:lnTo>
                    <a:pt x="76" y="76"/>
                  </a:lnTo>
                  <a:lnTo>
                    <a:pt x="89" y="67"/>
                  </a:lnTo>
                  <a:lnTo>
                    <a:pt x="89" y="81"/>
                  </a:lnTo>
                  <a:lnTo>
                    <a:pt x="102" y="90"/>
                  </a:lnTo>
                  <a:lnTo>
                    <a:pt x="89" y="103"/>
                  </a:lnTo>
                  <a:lnTo>
                    <a:pt x="111" y="112"/>
                  </a:lnTo>
                  <a:lnTo>
                    <a:pt x="120" y="108"/>
                  </a:lnTo>
                  <a:lnTo>
                    <a:pt x="125" y="108"/>
                  </a:lnTo>
                  <a:lnTo>
                    <a:pt x="125" y="112"/>
                  </a:lnTo>
                  <a:lnTo>
                    <a:pt x="120" y="116"/>
                  </a:lnTo>
                  <a:lnTo>
                    <a:pt x="111" y="130"/>
                  </a:lnTo>
                  <a:lnTo>
                    <a:pt x="102" y="130"/>
                  </a:lnTo>
                  <a:lnTo>
                    <a:pt x="89" y="139"/>
                  </a:lnTo>
                  <a:lnTo>
                    <a:pt x="80" y="143"/>
                  </a:lnTo>
                  <a:lnTo>
                    <a:pt x="71" y="161"/>
                  </a:lnTo>
                  <a:lnTo>
                    <a:pt x="76" y="166"/>
                  </a:lnTo>
                  <a:lnTo>
                    <a:pt x="76" y="179"/>
                  </a:lnTo>
                  <a:lnTo>
                    <a:pt x="85" y="188"/>
                  </a:lnTo>
                  <a:lnTo>
                    <a:pt x="89" y="201"/>
                  </a:lnTo>
                  <a:lnTo>
                    <a:pt x="80" y="210"/>
                  </a:lnTo>
                  <a:lnTo>
                    <a:pt x="85" y="215"/>
                  </a:lnTo>
                  <a:lnTo>
                    <a:pt x="102" y="233"/>
                  </a:lnTo>
                  <a:lnTo>
                    <a:pt x="98" y="251"/>
                  </a:lnTo>
                  <a:lnTo>
                    <a:pt x="102" y="264"/>
                  </a:lnTo>
                  <a:lnTo>
                    <a:pt x="98" y="273"/>
                  </a:lnTo>
                  <a:lnTo>
                    <a:pt x="94" y="277"/>
                  </a:lnTo>
                  <a:lnTo>
                    <a:pt x="89" y="286"/>
                  </a:lnTo>
                  <a:lnTo>
                    <a:pt x="85" y="282"/>
                  </a:lnTo>
                  <a:lnTo>
                    <a:pt x="94" y="264"/>
                  </a:lnTo>
                  <a:lnTo>
                    <a:pt x="89" y="255"/>
                  </a:lnTo>
                  <a:lnTo>
                    <a:pt x="89" y="242"/>
                  </a:lnTo>
                  <a:lnTo>
                    <a:pt x="80" y="228"/>
                  </a:lnTo>
                  <a:lnTo>
                    <a:pt x="76" y="215"/>
                  </a:lnTo>
                  <a:lnTo>
                    <a:pt x="76" y="197"/>
                  </a:lnTo>
                  <a:lnTo>
                    <a:pt x="62" y="183"/>
                  </a:lnTo>
                  <a:lnTo>
                    <a:pt x="53" y="188"/>
                  </a:lnTo>
                  <a:lnTo>
                    <a:pt x="44" y="201"/>
                  </a:lnTo>
                  <a:lnTo>
                    <a:pt x="22" y="197"/>
                  </a:lnTo>
                  <a:lnTo>
                    <a:pt x="27" y="183"/>
                  </a:lnTo>
                  <a:lnTo>
                    <a:pt x="31" y="175"/>
                  </a:lnTo>
                  <a:lnTo>
                    <a:pt x="22" y="139"/>
                  </a:lnTo>
                  <a:lnTo>
                    <a:pt x="13" y="134"/>
                  </a:lnTo>
                  <a:lnTo>
                    <a:pt x="9" y="139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2" name="Freeform 111">
              <a:extLst>
                <a:ext uri="{FF2B5EF4-FFF2-40B4-BE49-F238E27FC236}">
                  <a16:creationId xmlns:a16="http://schemas.microsoft.com/office/drawing/2014/main" id="{D09306AA-B63D-4B03-828D-843CF5FF96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981830" y="4314143"/>
              <a:ext cx="113104" cy="105185"/>
            </a:xfrm>
            <a:custGeom>
              <a:avLst/>
              <a:gdLst/>
              <a:ahLst/>
              <a:cxnLst>
                <a:cxn ang="0">
                  <a:pos x="9" y="49"/>
                </a:cxn>
                <a:cxn ang="0">
                  <a:pos x="9" y="62"/>
                </a:cxn>
                <a:cxn ang="0">
                  <a:pos x="18" y="58"/>
                </a:cxn>
                <a:cxn ang="0">
                  <a:pos x="18" y="62"/>
                </a:cxn>
                <a:cxn ang="0">
                  <a:pos x="13" y="67"/>
                </a:cxn>
                <a:cxn ang="0">
                  <a:pos x="18" y="71"/>
                </a:cxn>
                <a:cxn ang="0">
                  <a:pos x="22" y="67"/>
                </a:cxn>
                <a:cxn ang="0">
                  <a:pos x="31" y="67"/>
                </a:cxn>
                <a:cxn ang="0">
                  <a:pos x="40" y="53"/>
                </a:cxn>
                <a:cxn ang="0">
                  <a:pos x="53" y="53"/>
                </a:cxn>
                <a:cxn ang="0">
                  <a:pos x="53" y="44"/>
                </a:cxn>
                <a:cxn ang="0">
                  <a:pos x="62" y="44"/>
                </a:cxn>
                <a:cxn ang="0">
                  <a:pos x="71" y="36"/>
                </a:cxn>
                <a:cxn ang="0">
                  <a:pos x="71" y="9"/>
                </a:cxn>
                <a:cxn ang="0">
                  <a:pos x="67" y="4"/>
                </a:cxn>
                <a:cxn ang="0">
                  <a:pos x="58" y="0"/>
                </a:cxn>
                <a:cxn ang="0">
                  <a:pos x="53" y="0"/>
                </a:cxn>
                <a:cxn ang="0">
                  <a:pos x="49" y="9"/>
                </a:cxn>
                <a:cxn ang="0">
                  <a:pos x="40" y="9"/>
                </a:cxn>
                <a:cxn ang="0">
                  <a:pos x="35" y="4"/>
                </a:cxn>
                <a:cxn ang="0">
                  <a:pos x="9" y="9"/>
                </a:cxn>
                <a:cxn ang="0">
                  <a:pos x="0" y="22"/>
                </a:cxn>
                <a:cxn ang="0">
                  <a:pos x="9" y="40"/>
                </a:cxn>
                <a:cxn ang="0">
                  <a:pos x="9" y="49"/>
                </a:cxn>
              </a:cxnLst>
              <a:rect l="0" t="0" r="r" b="b"/>
              <a:pathLst>
                <a:path w="71" h="71">
                  <a:moveTo>
                    <a:pt x="9" y="49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13" y="67"/>
                  </a:lnTo>
                  <a:lnTo>
                    <a:pt x="18" y="71"/>
                  </a:lnTo>
                  <a:lnTo>
                    <a:pt x="22" y="67"/>
                  </a:lnTo>
                  <a:lnTo>
                    <a:pt x="31" y="67"/>
                  </a:lnTo>
                  <a:lnTo>
                    <a:pt x="40" y="53"/>
                  </a:lnTo>
                  <a:lnTo>
                    <a:pt x="53" y="53"/>
                  </a:lnTo>
                  <a:lnTo>
                    <a:pt x="53" y="44"/>
                  </a:lnTo>
                  <a:lnTo>
                    <a:pt x="62" y="44"/>
                  </a:lnTo>
                  <a:lnTo>
                    <a:pt x="71" y="36"/>
                  </a:lnTo>
                  <a:lnTo>
                    <a:pt x="71" y="9"/>
                  </a:lnTo>
                  <a:lnTo>
                    <a:pt x="67" y="4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49" y="9"/>
                  </a:lnTo>
                  <a:lnTo>
                    <a:pt x="40" y="9"/>
                  </a:lnTo>
                  <a:lnTo>
                    <a:pt x="35" y="4"/>
                  </a:lnTo>
                  <a:lnTo>
                    <a:pt x="9" y="9"/>
                  </a:lnTo>
                  <a:lnTo>
                    <a:pt x="0" y="22"/>
                  </a:lnTo>
                  <a:lnTo>
                    <a:pt x="9" y="40"/>
                  </a:lnTo>
                  <a:lnTo>
                    <a:pt x="9" y="4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3" name="Freeform 112">
              <a:extLst>
                <a:ext uri="{FF2B5EF4-FFF2-40B4-BE49-F238E27FC236}">
                  <a16:creationId xmlns:a16="http://schemas.microsoft.com/office/drawing/2014/main" id="{3493791D-C07E-44A5-A7FE-8897FB3D9BD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2509" y="4426735"/>
              <a:ext cx="55755" cy="78518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9" y="53"/>
                </a:cxn>
                <a:cxn ang="0">
                  <a:pos x="22" y="53"/>
                </a:cxn>
                <a:cxn ang="0">
                  <a:pos x="35" y="44"/>
                </a:cxn>
                <a:cxn ang="0">
                  <a:pos x="35" y="31"/>
                </a:cxn>
                <a:cxn ang="0">
                  <a:pos x="22" y="4"/>
                </a:cxn>
                <a:cxn ang="0">
                  <a:pos x="9" y="0"/>
                </a:cxn>
                <a:cxn ang="0">
                  <a:pos x="4" y="4"/>
                </a:cxn>
                <a:cxn ang="0">
                  <a:pos x="9" y="9"/>
                </a:cxn>
                <a:cxn ang="0">
                  <a:pos x="4" y="13"/>
                </a:cxn>
                <a:cxn ang="0">
                  <a:pos x="4" y="22"/>
                </a:cxn>
                <a:cxn ang="0">
                  <a:pos x="0" y="22"/>
                </a:cxn>
                <a:cxn ang="0">
                  <a:pos x="4" y="35"/>
                </a:cxn>
                <a:cxn ang="0">
                  <a:pos x="0" y="40"/>
                </a:cxn>
              </a:cxnLst>
              <a:rect l="0" t="0" r="r" b="b"/>
              <a:pathLst>
                <a:path w="35" h="53">
                  <a:moveTo>
                    <a:pt x="0" y="40"/>
                  </a:moveTo>
                  <a:lnTo>
                    <a:pt x="9" y="53"/>
                  </a:lnTo>
                  <a:lnTo>
                    <a:pt x="22" y="53"/>
                  </a:lnTo>
                  <a:lnTo>
                    <a:pt x="35" y="44"/>
                  </a:lnTo>
                  <a:lnTo>
                    <a:pt x="35" y="31"/>
                  </a:lnTo>
                  <a:lnTo>
                    <a:pt x="22" y="4"/>
                  </a:lnTo>
                  <a:lnTo>
                    <a:pt x="9" y="0"/>
                  </a:lnTo>
                  <a:lnTo>
                    <a:pt x="4" y="4"/>
                  </a:lnTo>
                  <a:lnTo>
                    <a:pt x="9" y="9"/>
                  </a:lnTo>
                  <a:lnTo>
                    <a:pt x="4" y="13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4" y="35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4" name="Freeform 113">
              <a:extLst>
                <a:ext uri="{FF2B5EF4-FFF2-40B4-BE49-F238E27FC236}">
                  <a16:creationId xmlns:a16="http://schemas.microsoft.com/office/drawing/2014/main" id="{FAEC17B4-DE15-4E07-A86E-602F14E968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27103" y="3254889"/>
              <a:ext cx="1393884" cy="979254"/>
            </a:xfrm>
            <a:custGeom>
              <a:avLst/>
              <a:gdLst/>
              <a:ahLst/>
              <a:cxnLst>
                <a:cxn ang="0">
                  <a:pos x="18" y="339"/>
                </a:cxn>
                <a:cxn ang="0">
                  <a:pos x="13" y="353"/>
                </a:cxn>
                <a:cxn ang="0">
                  <a:pos x="71" y="366"/>
                </a:cxn>
                <a:cxn ang="0">
                  <a:pos x="71" y="433"/>
                </a:cxn>
                <a:cxn ang="0">
                  <a:pos x="120" y="473"/>
                </a:cxn>
                <a:cxn ang="0">
                  <a:pos x="210" y="514"/>
                </a:cxn>
                <a:cxn ang="0">
                  <a:pos x="219" y="527"/>
                </a:cxn>
                <a:cxn ang="0">
                  <a:pos x="259" y="509"/>
                </a:cxn>
                <a:cxn ang="0">
                  <a:pos x="303" y="500"/>
                </a:cxn>
                <a:cxn ang="0">
                  <a:pos x="344" y="500"/>
                </a:cxn>
                <a:cxn ang="0">
                  <a:pos x="344" y="576"/>
                </a:cxn>
                <a:cxn ang="0">
                  <a:pos x="357" y="603"/>
                </a:cxn>
                <a:cxn ang="0">
                  <a:pos x="393" y="612"/>
                </a:cxn>
                <a:cxn ang="0">
                  <a:pos x="406" y="599"/>
                </a:cxn>
                <a:cxn ang="0">
                  <a:pos x="455" y="585"/>
                </a:cxn>
                <a:cxn ang="0">
                  <a:pos x="487" y="608"/>
                </a:cxn>
                <a:cxn ang="0">
                  <a:pos x="513" y="621"/>
                </a:cxn>
                <a:cxn ang="0">
                  <a:pos x="522" y="612"/>
                </a:cxn>
                <a:cxn ang="0">
                  <a:pos x="567" y="594"/>
                </a:cxn>
                <a:cxn ang="0">
                  <a:pos x="589" y="585"/>
                </a:cxn>
                <a:cxn ang="0">
                  <a:pos x="612" y="585"/>
                </a:cxn>
                <a:cxn ang="0">
                  <a:pos x="638" y="567"/>
                </a:cxn>
                <a:cxn ang="0">
                  <a:pos x="665" y="532"/>
                </a:cxn>
                <a:cxn ang="0">
                  <a:pos x="683" y="482"/>
                </a:cxn>
                <a:cxn ang="0">
                  <a:pos x="688" y="451"/>
                </a:cxn>
                <a:cxn ang="0">
                  <a:pos x="674" y="424"/>
                </a:cxn>
                <a:cxn ang="0">
                  <a:pos x="656" y="375"/>
                </a:cxn>
                <a:cxn ang="0">
                  <a:pos x="701" y="344"/>
                </a:cxn>
                <a:cxn ang="0">
                  <a:pos x="643" y="339"/>
                </a:cxn>
                <a:cxn ang="0">
                  <a:pos x="656" y="299"/>
                </a:cxn>
                <a:cxn ang="0">
                  <a:pos x="692" y="286"/>
                </a:cxn>
                <a:cxn ang="0">
                  <a:pos x="674" y="317"/>
                </a:cxn>
                <a:cxn ang="0">
                  <a:pos x="719" y="295"/>
                </a:cxn>
                <a:cxn ang="0">
                  <a:pos x="764" y="259"/>
                </a:cxn>
                <a:cxn ang="0">
                  <a:pos x="804" y="232"/>
                </a:cxn>
                <a:cxn ang="0">
                  <a:pos x="822" y="223"/>
                </a:cxn>
                <a:cxn ang="0">
                  <a:pos x="875" y="143"/>
                </a:cxn>
                <a:cxn ang="0">
                  <a:pos x="817" y="134"/>
                </a:cxn>
                <a:cxn ang="0">
                  <a:pos x="781" y="98"/>
                </a:cxn>
                <a:cxn ang="0">
                  <a:pos x="714" y="4"/>
                </a:cxn>
                <a:cxn ang="0">
                  <a:pos x="661" y="27"/>
                </a:cxn>
                <a:cxn ang="0">
                  <a:pos x="652" y="85"/>
                </a:cxn>
                <a:cxn ang="0">
                  <a:pos x="607" y="111"/>
                </a:cxn>
                <a:cxn ang="0">
                  <a:pos x="621" y="138"/>
                </a:cxn>
                <a:cxn ang="0">
                  <a:pos x="656" y="156"/>
                </a:cxn>
                <a:cxn ang="0">
                  <a:pos x="585" y="179"/>
                </a:cxn>
                <a:cxn ang="0">
                  <a:pos x="545" y="187"/>
                </a:cxn>
                <a:cxn ang="0">
                  <a:pos x="522" y="241"/>
                </a:cxn>
                <a:cxn ang="0">
                  <a:pos x="415" y="250"/>
                </a:cxn>
                <a:cxn ang="0">
                  <a:pos x="286" y="192"/>
                </a:cxn>
                <a:cxn ang="0">
                  <a:pos x="210" y="120"/>
                </a:cxn>
                <a:cxn ang="0">
                  <a:pos x="183" y="120"/>
                </a:cxn>
                <a:cxn ang="0">
                  <a:pos x="134" y="152"/>
                </a:cxn>
                <a:cxn ang="0">
                  <a:pos x="89" y="201"/>
                </a:cxn>
                <a:cxn ang="0">
                  <a:pos x="94" y="259"/>
                </a:cxn>
                <a:cxn ang="0">
                  <a:pos x="35" y="290"/>
                </a:cxn>
                <a:cxn ang="0">
                  <a:pos x="0" y="295"/>
                </a:cxn>
                <a:cxn ang="0">
                  <a:pos x="504" y="648"/>
                </a:cxn>
                <a:cxn ang="0">
                  <a:pos x="531" y="652"/>
                </a:cxn>
                <a:cxn ang="0">
                  <a:pos x="527" y="634"/>
                </a:cxn>
              </a:cxnLst>
              <a:rect l="0" t="0" r="r" b="b"/>
              <a:pathLst>
                <a:path w="875" h="661">
                  <a:moveTo>
                    <a:pt x="0" y="304"/>
                  </a:moveTo>
                  <a:lnTo>
                    <a:pt x="0" y="322"/>
                  </a:lnTo>
                  <a:lnTo>
                    <a:pt x="18" y="326"/>
                  </a:lnTo>
                  <a:lnTo>
                    <a:pt x="18" y="339"/>
                  </a:lnTo>
                  <a:lnTo>
                    <a:pt x="22" y="339"/>
                  </a:lnTo>
                  <a:lnTo>
                    <a:pt x="22" y="344"/>
                  </a:lnTo>
                  <a:lnTo>
                    <a:pt x="18" y="348"/>
                  </a:lnTo>
                  <a:lnTo>
                    <a:pt x="13" y="353"/>
                  </a:lnTo>
                  <a:lnTo>
                    <a:pt x="31" y="353"/>
                  </a:lnTo>
                  <a:lnTo>
                    <a:pt x="40" y="366"/>
                  </a:lnTo>
                  <a:lnTo>
                    <a:pt x="53" y="362"/>
                  </a:lnTo>
                  <a:lnTo>
                    <a:pt x="71" y="366"/>
                  </a:lnTo>
                  <a:lnTo>
                    <a:pt x="71" y="384"/>
                  </a:lnTo>
                  <a:lnTo>
                    <a:pt x="80" y="397"/>
                  </a:lnTo>
                  <a:lnTo>
                    <a:pt x="80" y="411"/>
                  </a:lnTo>
                  <a:lnTo>
                    <a:pt x="71" y="433"/>
                  </a:lnTo>
                  <a:lnTo>
                    <a:pt x="80" y="460"/>
                  </a:lnTo>
                  <a:lnTo>
                    <a:pt x="89" y="456"/>
                  </a:lnTo>
                  <a:lnTo>
                    <a:pt x="102" y="469"/>
                  </a:lnTo>
                  <a:lnTo>
                    <a:pt x="120" y="473"/>
                  </a:lnTo>
                  <a:lnTo>
                    <a:pt x="138" y="491"/>
                  </a:lnTo>
                  <a:lnTo>
                    <a:pt x="147" y="491"/>
                  </a:lnTo>
                  <a:lnTo>
                    <a:pt x="169" y="509"/>
                  </a:lnTo>
                  <a:lnTo>
                    <a:pt x="210" y="514"/>
                  </a:lnTo>
                  <a:lnTo>
                    <a:pt x="219" y="505"/>
                  </a:lnTo>
                  <a:lnTo>
                    <a:pt x="219" y="509"/>
                  </a:lnTo>
                  <a:lnTo>
                    <a:pt x="214" y="518"/>
                  </a:lnTo>
                  <a:lnTo>
                    <a:pt x="219" y="527"/>
                  </a:lnTo>
                  <a:lnTo>
                    <a:pt x="232" y="514"/>
                  </a:lnTo>
                  <a:lnTo>
                    <a:pt x="245" y="505"/>
                  </a:lnTo>
                  <a:lnTo>
                    <a:pt x="254" y="509"/>
                  </a:lnTo>
                  <a:lnTo>
                    <a:pt x="259" y="509"/>
                  </a:lnTo>
                  <a:lnTo>
                    <a:pt x="272" y="505"/>
                  </a:lnTo>
                  <a:lnTo>
                    <a:pt x="290" y="491"/>
                  </a:lnTo>
                  <a:lnTo>
                    <a:pt x="303" y="491"/>
                  </a:lnTo>
                  <a:lnTo>
                    <a:pt x="303" y="500"/>
                  </a:lnTo>
                  <a:lnTo>
                    <a:pt x="317" y="496"/>
                  </a:lnTo>
                  <a:lnTo>
                    <a:pt x="330" y="500"/>
                  </a:lnTo>
                  <a:lnTo>
                    <a:pt x="330" y="509"/>
                  </a:lnTo>
                  <a:lnTo>
                    <a:pt x="344" y="500"/>
                  </a:lnTo>
                  <a:lnTo>
                    <a:pt x="353" y="509"/>
                  </a:lnTo>
                  <a:lnTo>
                    <a:pt x="353" y="540"/>
                  </a:lnTo>
                  <a:lnTo>
                    <a:pt x="339" y="554"/>
                  </a:lnTo>
                  <a:lnTo>
                    <a:pt x="344" y="576"/>
                  </a:lnTo>
                  <a:lnTo>
                    <a:pt x="357" y="567"/>
                  </a:lnTo>
                  <a:lnTo>
                    <a:pt x="357" y="581"/>
                  </a:lnTo>
                  <a:lnTo>
                    <a:pt x="370" y="590"/>
                  </a:lnTo>
                  <a:lnTo>
                    <a:pt x="357" y="603"/>
                  </a:lnTo>
                  <a:lnTo>
                    <a:pt x="379" y="612"/>
                  </a:lnTo>
                  <a:lnTo>
                    <a:pt x="388" y="608"/>
                  </a:lnTo>
                  <a:lnTo>
                    <a:pt x="393" y="608"/>
                  </a:lnTo>
                  <a:lnTo>
                    <a:pt x="393" y="612"/>
                  </a:lnTo>
                  <a:lnTo>
                    <a:pt x="393" y="621"/>
                  </a:lnTo>
                  <a:lnTo>
                    <a:pt x="402" y="621"/>
                  </a:lnTo>
                  <a:lnTo>
                    <a:pt x="402" y="599"/>
                  </a:lnTo>
                  <a:lnTo>
                    <a:pt x="406" y="599"/>
                  </a:lnTo>
                  <a:lnTo>
                    <a:pt x="411" y="594"/>
                  </a:lnTo>
                  <a:lnTo>
                    <a:pt x="433" y="594"/>
                  </a:lnTo>
                  <a:lnTo>
                    <a:pt x="442" y="590"/>
                  </a:lnTo>
                  <a:lnTo>
                    <a:pt x="455" y="585"/>
                  </a:lnTo>
                  <a:lnTo>
                    <a:pt x="473" y="594"/>
                  </a:lnTo>
                  <a:lnTo>
                    <a:pt x="469" y="603"/>
                  </a:lnTo>
                  <a:lnTo>
                    <a:pt x="487" y="603"/>
                  </a:lnTo>
                  <a:lnTo>
                    <a:pt x="487" y="608"/>
                  </a:lnTo>
                  <a:lnTo>
                    <a:pt x="496" y="608"/>
                  </a:lnTo>
                  <a:lnTo>
                    <a:pt x="500" y="612"/>
                  </a:lnTo>
                  <a:lnTo>
                    <a:pt x="518" y="608"/>
                  </a:lnTo>
                  <a:lnTo>
                    <a:pt x="513" y="621"/>
                  </a:lnTo>
                  <a:lnTo>
                    <a:pt x="518" y="630"/>
                  </a:lnTo>
                  <a:lnTo>
                    <a:pt x="531" y="625"/>
                  </a:lnTo>
                  <a:lnTo>
                    <a:pt x="522" y="621"/>
                  </a:lnTo>
                  <a:lnTo>
                    <a:pt x="522" y="612"/>
                  </a:lnTo>
                  <a:lnTo>
                    <a:pt x="531" y="616"/>
                  </a:lnTo>
                  <a:lnTo>
                    <a:pt x="545" y="603"/>
                  </a:lnTo>
                  <a:lnTo>
                    <a:pt x="554" y="608"/>
                  </a:lnTo>
                  <a:lnTo>
                    <a:pt x="567" y="594"/>
                  </a:lnTo>
                  <a:lnTo>
                    <a:pt x="571" y="585"/>
                  </a:lnTo>
                  <a:lnTo>
                    <a:pt x="571" y="599"/>
                  </a:lnTo>
                  <a:lnTo>
                    <a:pt x="580" y="594"/>
                  </a:lnTo>
                  <a:lnTo>
                    <a:pt x="589" y="585"/>
                  </a:lnTo>
                  <a:lnTo>
                    <a:pt x="589" y="590"/>
                  </a:lnTo>
                  <a:lnTo>
                    <a:pt x="594" y="585"/>
                  </a:lnTo>
                  <a:lnTo>
                    <a:pt x="603" y="590"/>
                  </a:lnTo>
                  <a:lnTo>
                    <a:pt x="612" y="585"/>
                  </a:lnTo>
                  <a:lnTo>
                    <a:pt x="616" y="576"/>
                  </a:lnTo>
                  <a:lnTo>
                    <a:pt x="625" y="576"/>
                  </a:lnTo>
                  <a:lnTo>
                    <a:pt x="634" y="563"/>
                  </a:lnTo>
                  <a:lnTo>
                    <a:pt x="638" y="567"/>
                  </a:lnTo>
                  <a:lnTo>
                    <a:pt x="643" y="558"/>
                  </a:lnTo>
                  <a:lnTo>
                    <a:pt x="661" y="545"/>
                  </a:lnTo>
                  <a:lnTo>
                    <a:pt x="656" y="523"/>
                  </a:lnTo>
                  <a:lnTo>
                    <a:pt x="665" y="532"/>
                  </a:lnTo>
                  <a:lnTo>
                    <a:pt x="674" y="518"/>
                  </a:lnTo>
                  <a:lnTo>
                    <a:pt x="674" y="509"/>
                  </a:lnTo>
                  <a:lnTo>
                    <a:pt x="683" y="505"/>
                  </a:lnTo>
                  <a:lnTo>
                    <a:pt x="683" y="482"/>
                  </a:lnTo>
                  <a:lnTo>
                    <a:pt x="692" y="473"/>
                  </a:lnTo>
                  <a:lnTo>
                    <a:pt x="665" y="469"/>
                  </a:lnTo>
                  <a:lnTo>
                    <a:pt x="674" y="465"/>
                  </a:lnTo>
                  <a:lnTo>
                    <a:pt x="688" y="451"/>
                  </a:lnTo>
                  <a:lnTo>
                    <a:pt x="670" y="438"/>
                  </a:lnTo>
                  <a:lnTo>
                    <a:pt x="683" y="442"/>
                  </a:lnTo>
                  <a:lnTo>
                    <a:pt x="688" y="433"/>
                  </a:lnTo>
                  <a:lnTo>
                    <a:pt x="674" y="424"/>
                  </a:lnTo>
                  <a:lnTo>
                    <a:pt x="674" y="406"/>
                  </a:lnTo>
                  <a:lnTo>
                    <a:pt x="670" y="389"/>
                  </a:lnTo>
                  <a:lnTo>
                    <a:pt x="652" y="389"/>
                  </a:lnTo>
                  <a:lnTo>
                    <a:pt x="656" y="375"/>
                  </a:lnTo>
                  <a:lnTo>
                    <a:pt x="670" y="371"/>
                  </a:lnTo>
                  <a:lnTo>
                    <a:pt x="674" y="362"/>
                  </a:lnTo>
                  <a:lnTo>
                    <a:pt x="692" y="357"/>
                  </a:lnTo>
                  <a:lnTo>
                    <a:pt x="701" y="344"/>
                  </a:lnTo>
                  <a:lnTo>
                    <a:pt x="670" y="335"/>
                  </a:lnTo>
                  <a:lnTo>
                    <a:pt x="652" y="348"/>
                  </a:lnTo>
                  <a:lnTo>
                    <a:pt x="638" y="339"/>
                  </a:lnTo>
                  <a:lnTo>
                    <a:pt x="643" y="339"/>
                  </a:lnTo>
                  <a:lnTo>
                    <a:pt x="625" y="322"/>
                  </a:lnTo>
                  <a:lnTo>
                    <a:pt x="634" y="317"/>
                  </a:lnTo>
                  <a:lnTo>
                    <a:pt x="652" y="313"/>
                  </a:lnTo>
                  <a:lnTo>
                    <a:pt x="656" y="299"/>
                  </a:lnTo>
                  <a:lnTo>
                    <a:pt x="674" y="281"/>
                  </a:lnTo>
                  <a:lnTo>
                    <a:pt x="674" y="277"/>
                  </a:lnTo>
                  <a:lnTo>
                    <a:pt x="683" y="277"/>
                  </a:lnTo>
                  <a:lnTo>
                    <a:pt x="692" y="286"/>
                  </a:lnTo>
                  <a:lnTo>
                    <a:pt x="683" y="295"/>
                  </a:lnTo>
                  <a:lnTo>
                    <a:pt x="674" y="304"/>
                  </a:lnTo>
                  <a:lnTo>
                    <a:pt x="688" y="304"/>
                  </a:lnTo>
                  <a:lnTo>
                    <a:pt x="674" y="317"/>
                  </a:lnTo>
                  <a:lnTo>
                    <a:pt x="688" y="317"/>
                  </a:lnTo>
                  <a:lnTo>
                    <a:pt x="701" y="304"/>
                  </a:lnTo>
                  <a:lnTo>
                    <a:pt x="719" y="299"/>
                  </a:lnTo>
                  <a:lnTo>
                    <a:pt x="719" y="295"/>
                  </a:lnTo>
                  <a:lnTo>
                    <a:pt x="741" y="281"/>
                  </a:lnTo>
                  <a:lnTo>
                    <a:pt x="746" y="281"/>
                  </a:lnTo>
                  <a:lnTo>
                    <a:pt x="759" y="263"/>
                  </a:lnTo>
                  <a:lnTo>
                    <a:pt x="764" y="259"/>
                  </a:lnTo>
                  <a:lnTo>
                    <a:pt x="781" y="268"/>
                  </a:lnTo>
                  <a:lnTo>
                    <a:pt x="781" y="254"/>
                  </a:lnTo>
                  <a:lnTo>
                    <a:pt x="795" y="241"/>
                  </a:lnTo>
                  <a:lnTo>
                    <a:pt x="804" y="232"/>
                  </a:lnTo>
                  <a:lnTo>
                    <a:pt x="813" y="246"/>
                  </a:lnTo>
                  <a:lnTo>
                    <a:pt x="808" y="237"/>
                  </a:lnTo>
                  <a:lnTo>
                    <a:pt x="817" y="228"/>
                  </a:lnTo>
                  <a:lnTo>
                    <a:pt x="822" y="223"/>
                  </a:lnTo>
                  <a:lnTo>
                    <a:pt x="817" y="201"/>
                  </a:lnTo>
                  <a:lnTo>
                    <a:pt x="826" y="192"/>
                  </a:lnTo>
                  <a:lnTo>
                    <a:pt x="844" y="192"/>
                  </a:lnTo>
                  <a:lnTo>
                    <a:pt x="875" y="143"/>
                  </a:lnTo>
                  <a:lnTo>
                    <a:pt x="871" y="129"/>
                  </a:lnTo>
                  <a:lnTo>
                    <a:pt x="862" y="125"/>
                  </a:lnTo>
                  <a:lnTo>
                    <a:pt x="839" y="143"/>
                  </a:lnTo>
                  <a:lnTo>
                    <a:pt x="817" y="134"/>
                  </a:lnTo>
                  <a:lnTo>
                    <a:pt x="813" y="116"/>
                  </a:lnTo>
                  <a:lnTo>
                    <a:pt x="795" y="103"/>
                  </a:lnTo>
                  <a:lnTo>
                    <a:pt x="786" y="103"/>
                  </a:lnTo>
                  <a:lnTo>
                    <a:pt x="781" y="98"/>
                  </a:lnTo>
                  <a:lnTo>
                    <a:pt x="768" y="98"/>
                  </a:lnTo>
                  <a:lnTo>
                    <a:pt x="764" y="76"/>
                  </a:lnTo>
                  <a:lnTo>
                    <a:pt x="741" y="18"/>
                  </a:lnTo>
                  <a:lnTo>
                    <a:pt x="714" y="4"/>
                  </a:lnTo>
                  <a:lnTo>
                    <a:pt x="701" y="0"/>
                  </a:lnTo>
                  <a:lnTo>
                    <a:pt x="674" y="4"/>
                  </a:lnTo>
                  <a:lnTo>
                    <a:pt x="661" y="22"/>
                  </a:lnTo>
                  <a:lnTo>
                    <a:pt x="661" y="27"/>
                  </a:lnTo>
                  <a:lnTo>
                    <a:pt x="670" y="27"/>
                  </a:lnTo>
                  <a:lnTo>
                    <a:pt x="670" y="40"/>
                  </a:lnTo>
                  <a:lnTo>
                    <a:pt x="643" y="76"/>
                  </a:lnTo>
                  <a:lnTo>
                    <a:pt x="652" y="85"/>
                  </a:lnTo>
                  <a:lnTo>
                    <a:pt x="638" y="89"/>
                  </a:lnTo>
                  <a:lnTo>
                    <a:pt x="625" y="103"/>
                  </a:lnTo>
                  <a:lnTo>
                    <a:pt x="612" y="94"/>
                  </a:lnTo>
                  <a:lnTo>
                    <a:pt x="607" y="111"/>
                  </a:lnTo>
                  <a:lnTo>
                    <a:pt x="594" y="129"/>
                  </a:lnTo>
                  <a:lnTo>
                    <a:pt x="598" y="138"/>
                  </a:lnTo>
                  <a:lnTo>
                    <a:pt x="612" y="134"/>
                  </a:lnTo>
                  <a:lnTo>
                    <a:pt x="621" y="138"/>
                  </a:lnTo>
                  <a:lnTo>
                    <a:pt x="638" y="129"/>
                  </a:lnTo>
                  <a:lnTo>
                    <a:pt x="647" y="147"/>
                  </a:lnTo>
                  <a:lnTo>
                    <a:pt x="661" y="147"/>
                  </a:lnTo>
                  <a:lnTo>
                    <a:pt x="656" y="156"/>
                  </a:lnTo>
                  <a:lnTo>
                    <a:pt x="643" y="165"/>
                  </a:lnTo>
                  <a:lnTo>
                    <a:pt x="621" y="161"/>
                  </a:lnTo>
                  <a:lnTo>
                    <a:pt x="598" y="183"/>
                  </a:lnTo>
                  <a:lnTo>
                    <a:pt x="585" y="179"/>
                  </a:lnTo>
                  <a:lnTo>
                    <a:pt x="571" y="196"/>
                  </a:lnTo>
                  <a:lnTo>
                    <a:pt x="563" y="196"/>
                  </a:lnTo>
                  <a:lnTo>
                    <a:pt x="554" y="187"/>
                  </a:lnTo>
                  <a:lnTo>
                    <a:pt x="545" y="187"/>
                  </a:lnTo>
                  <a:lnTo>
                    <a:pt x="536" y="201"/>
                  </a:lnTo>
                  <a:lnTo>
                    <a:pt x="549" y="219"/>
                  </a:lnTo>
                  <a:lnTo>
                    <a:pt x="531" y="228"/>
                  </a:lnTo>
                  <a:lnTo>
                    <a:pt x="522" y="241"/>
                  </a:lnTo>
                  <a:lnTo>
                    <a:pt x="496" y="241"/>
                  </a:lnTo>
                  <a:lnTo>
                    <a:pt x="464" y="250"/>
                  </a:lnTo>
                  <a:lnTo>
                    <a:pt x="455" y="263"/>
                  </a:lnTo>
                  <a:lnTo>
                    <a:pt x="415" y="250"/>
                  </a:lnTo>
                  <a:lnTo>
                    <a:pt x="406" y="241"/>
                  </a:lnTo>
                  <a:lnTo>
                    <a:pt x="326" y="237"/>
                  </a:lnTo>
                  <a:lnTo>
                    <a:pt x="308" y="205"/>
                  </a:lnTo>
                  <a:lnTo>
                    <a:pt x="286" y="192"/>
                  </a:lnTo>
                  <a:lnTo>
                    <a:pt x="250" y="187"/>
                  </a:lnTo>
                  <a:lnTo>
                    <a:pt x="250" y="147"/>
                  </a:lnTo>
                  <a:lnTo>
                    <a:pt x="228" y="129"/>
                  </a:lnTo>
                  <a:lnTo>
                    <a:pt x="210" y="120"/>
                  </a:lnTo>
                  <a:lnTo>
                    <a:pt x="205" y="107"/>
                  </a:lnTo>
                  <a:lnTo>
                    <a:pt x="196" y="107"/>
                  </a:lnTo>
                  <a:lnTo>
                    <a:pt x="192" y="107"/>
                  </a:lnTo>
                  <a:lnTo>
                    <a:pt x="183" y="120"/>
                  </a:lnTo>
                  <a:lnTo>
                    <a:pt x="174" y="129"/>
                  </a:lnTo>
                  <a:lnTo>
                    <a:pt x="174" y="147"/>
                  </a:lnTo>
                  <a:lnTo>
                    <a:pt x="161" y="156"/>
                  </a:lnTo>
                  <a:lnTo>
                    <a:pt x="134" y="152"/>
                  </a:lnTo>
                  <a:lnTo>
                    <a:pt x="120" y="183"/>
                  </a:lnTo>
                  <a:lnTo>
                    <a:pt x="125" y="192"/>
                  </a:lnTo>
                  <a:lnTo>
                    <a:pt x="89" y="192"/>
                  </a:lnTo>
                  <a:lnTo>
                    <a:pt x="89" y="201"/>
                  </a:lnTo>
                  <a:lnTo>
                    <a:pt x="98" y="205"/>
                  </a:lnTo>
                  <a:lnTo>
                    <a:pt x="102" y="228"/>
                  </a:lnTo>
                  <a:lnTo>
                    <a:pt x="94" y="254"/>
                  </a:lnTo>
                  <a:lnTo>
                    <a:pt x="94" y="259"/>
                  </a:lnTo>
                  <a:lnTo>
                    <a:pt x="80" y="263"/>
                  </a:lnTo>
                  <a:lnTo>
                    <a:pt x="62" y="277"/>
                  </a:lnTo>
                  <a:lnTo>
                    <a:pt x="44" y="277"/>
                  </a:lnTo>
                  <a:lnTo>
                    <a:pt x="35" y="290"/>
                  </a:lnTo>
                  <a:lnTo>
                    <a:pt x="27" y="281"/>
                  </a:lnTo>
                  <a:lnTo>
                    <a:pt x="18" y="281"/>
                  </a:lnTo>
                  <a:lnTo>
                    <a:pt x="13" y="290"/>
                  </a:lnTo>
                  <a:lnTo>
                    <a:pt x="0" y="295"/>
                  </a:lnTo>
                  <a:lnTo>
                    <a:pt x="0" y="304"/>
                  </a:lnTo>
                  <a:close/>
                  <a:moveTo>
                    <a:pt x="504" y="639"/>
                  </a:moveTo>
                  <a:lnTo>
                    <a:pt x="509" y="643"/>
                  </a:lnTo>
                  <a:lnTo>
                    <a:pt x="504" y="648"/>
                  </a:lnTo>
                  <a:lnTo>
                    <a:pt x="504" y="657"/>
                  </a:lnTo>
                  <a:lnTo>
                    <a:pt x="513" y="661"/>
                  </a:lnTo>
                  <a:lnTo>
                    <a:pt x="518" y="657"/>
                  </a:lnTo>
                  <a:lnTo>
                    <a:pt x="531" y="652"/>
                  </a:lnTo>
                  <a:lnTo>
                    <a:pt x="531" y="652"/>
                  </a:lnTo>
                  <a:lnTo>
                    <a:pt x="536" y="639"/>
                  </a:lnTo>
                  <a:lnTo>
                    <a:pt x="531" y="634"/>
                  </a:lnTo>
                  <a:lnTo>
                    <a:pt x="527" y="634"/>
                  </a:lnTo>
                  <a:lnTo>
                    <a:pt x="518" y="639"/>
                  </a:lnTo>
                  <a:lnTo>
                    <a:pt x="513" y="634"/>
                  </a:lnTo>
                  <a:lnTo>
                    <a:pt x="504" y="63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5" name="Freeform 114">
              <a:extLst>
                <a:ext uri="{FF2B5EF4-FFF2-40B4-BE49-F238E27FC236}">
                  <a16:creationId xmlns:a16="http://schemas.microsoft.com/office/drawing/2014/main" id="{0C3E1181-FFED-4928-B1BC-E03717B8B62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0083" y="4068218"/>
              <a:ext cx="43011" cy="87407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3" y="5"/>
                </a:cxn>
                <a:cxn ang="0">
                  <a:pos x="13" y="14"/>
                </a:cxn>
                <a:cxn ang="0">
                  <a:pos x="9" y="14"/>
                </a:cxn>
                <a:cxn ang="0">
                  <a:pos x="0" y="32"/>
                </a:cxn>
                <a:cxn ang="0">
                  <a:pos x="4" y="45"/>
                </a:cxn>
                <a:cxn ang="0">
                  <a:pos x="9" y="45"/>
                </a:cxn>
                <a:cxn ang="0">
                  <a:pos x="13" y="59"/>
                </a:cxn>
                <a:cxn ang="0">
                  <a:pos x="18" y="59"/>
                </a:cxn>
                <a:cxn ang="0">
                  <a:pos x="18" y="45"/>
                </a:cxn>
                <a:cxn ang="0">
                  <a:pos x="22" y="36"/>
                </a:cxn>
                <a:cxn ang="0">
                  <a:pos x="22" y="18"/>
                </a:cxn>
                <a:cxn ang="0">
                  <a:pos x="27" y="14"/>
                </a:cxn>
                <a:cxn ang="0">
                  <a:pos x="27" y="5"/>
                </a:cxn>
                <a:cxn ang="0">
                  <a:pos x="22" y="0"/>
                </a:cxn>
              </a:cxnLst>
              <a:rect l="0" t="0" r="r" b="b"/>
              <a:pathLst>
                <a:path w="27" h="59">
                  <a:moveTo>
                    <a:pt x="22" y="0"/>
                  </a:moveTo>
                  <a:lnTo>
                    <a:pt x="13" y="5"/>
                  </a:lnTo>
                  <a:lnTo>
                    <a:pt x="13" y="14"/>
                  </a:lnTo>
                  <a:lnTo>
                    <a:pt x="9" y="14"/>
                  </a:lnTo>
                  <a:lnTo>
                    <a:pt x="0" y="32"/>
                  </a:lnTo>
                  <a:lnTo>
                    <a:pt x="4" y="45"/>
                  </a:lnTo>
                  <a:lnTo>
                    <a:pt x="9" y="45"/>
                  </a:lnTo>
                  <a:lnTo>
                    <a:pt x="13" y="59"/>
                  </a:lnTo>
                  <a:lnTo>
                    <a:pt x="18" y="59"/>
                  </a:lnTo>
                  <a:lnTo>
                    <a:pt x="18" y="45"/>
                  </a:lnTo>
                  <a:lnTo>
                    <a:pt x="22" y="36"/>
                  </a:lnTo>
                  <a:lnTo>
                    <a:pt x="22" y="18"/>
                  </a:lnTo>
                  <a:lnTo>
                    <a:pt x="27" y="14"/>
                  </a:lnTo>
                  <a:lnTo>
                    <a:pt x="27" y="5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6" name="Freeform 116">
              <a:extLst>
                <a:ext uri="{FF2B5EF4-FFF2-40B4-BE49-F238E27FC236}">
                  <a16:creationId xmlns:a16="http://schemas.microsoft.com/office/drawing/2014/main" id="{33628F66-2527-44B1-829D-C7E3992992BE}"/>
                </a:ext>
              </a:extLst>
            </p:cNvPr>
            <p:cNvSpPr>
              <a:spLocks/>
            </p:cNvSpPr>
            <p:nvPr/>
          </p:nvSpPr>
          <p:spPr bwMode="gray">
            <a:xfrm>
              <a:off x="7948787" y="4340809"/>
              <a:ext cx="1593" cy="1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7" name="Freeform 117">
              <a:extLst>
                <a:ext uri="{FF2B5EF4-FFF2-40B4-BE49-F238E27FC236}">
                  <a16:creationId xmlns:a16="http://schemas.microsoft.com/office/drawing/2014/main" id="{208C9FF2-D0EB-4F39-B4F5-75D0D72213D2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6712" y="4134884"/>
              <a:ext cx="14337" cy="133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0"/>
                </a:cxn>
                <a:cxn ang="0">
                  <a:pos x="5" y="9"/>
                </a:cxn>
                <a:cxn ang="0">
                  <a:pos x="0" y="5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9" y="0"/>
                  </a:lnTo>
                  <a:lnTo>
                    <a:pt x="5" y="9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8" name="Freeform 119">
              <a:extLst>
                <a:ext uri="{FF2B5EF4-FFF2-40B4-BE49-F238E27FC236}">
                  <a16:creationId xmlns:a16="http://schemas.microsoft.com/office/drawing/2014/main" id="{D8F54724-4D14-4DE3-B8A8-B460F70CAF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7750" y="4512660"/>
              <a:ext cx="1046608" cy="364443"/>
            </a:xfrm>
            <a:custGeom>
              <a:avLst/>
              <a:gdLst/>
              <a:ahLst/>
              <a:cxnLst>
                <a:cxn ang="0">
                  <a:pos x="45" y="53"/>
                </a:cxn>
                <a:cxn ang="0">
                  <a:pos x="85" y="125"/>
                </a:cxn>
                <a:cxn ang="0">
                  <a:pos x="147" y="161"/>
                </a:cxn>
                <a:cxn ang="0">
                  <a:pos x="134" y="103"/>
                </a:cxn>
                <a:cxn ang="0">
                  <a:pos x="116" y="76"/>
                </a:cxn>
                <a:cxn ang="0">
                  <a:pos x="80" y="53"/>
                </a:cxn>
                <a:cxn ang="0">
                  <a:pos x="18" y="9"/>
                </a:cxn>
                <a:cxn ang="0">
                  <a:pos x="40" y="80"/>
                </a:cxn>
                <a:cxn ang="0">
                  <a:pos x="54" y="116"/>
                </a:cxn>
                <a:cxn ang="0">
                  <a:pos x="71" y="125"/>
                </a:cxn>
                <a:cxn ang="0">
                  <a:pos x="76" y="125"/>
                </a:cxn>
                <a:cxn ang="0">
                  <a:pos x="165" y="129"/>
                </a:cxn>
                <a:cxn ang="0">
                  <a:pos x="152" y="179"/>
                </a:cxn>
                <a:cxn ang="0">
                  <a:pos x="192" y="196"/>
                </a:cxn>
                <a:cxn ang="0">
                  <a:pos x="277" y="192"/>
                </a:cxn>
                <a:cxn ang="0">
                  <a:pos x="255" y="188"/>
                </a:cxn>
                <a:cxn ang="0">
                  <a:pos x="196" y="174"/>
                </a:cxn>
                <a:cxn ang="0">
                  <a:pos x="174" y="129"/>
                </a:cxn>
                <a:cxn ang="0">
                  <a:pos x="183" y="22"/>
                </a:cxn>
                <a:cxn ang="0">
                  <a:pos x="201" y="53"/>
                </a:cxn>
                <a:cxn ang="0">
                  <a:pos x="214" y="98"/>
                </a:cxn>
                <a:cxn ang="0">
                  <a:pos x="259" y="129"/>
                </a:cxn>
                <a:cxn ang="0">
                  <a:pos x="304" y="129"/>
                </a:cxn>
                <a:cxn ang="0">
                  <a:pos x="344" y="67"/>
                </a:cxn>
                <a:cxn ang="0">
                  <a:pos x="304" y="18"/>
                </a:cxn>
                <a:cxn ang="0">
                  <a:pos x="228" y="71"/>
                </a:cxn>
                <a:cxn ang="0">
                  <a:pos x="290" y="201"/>
                </a:cxn>
                <a:cxn ang="0">
                  <a:pos x="304" y="210"/>
                </a:cxn>
                <a:cxn ang="0">
                  <a:pos x="344" y="210"/>
                </a:cxn>
                <a:cxn ang="0">
                  <a:pos x="411" y="205"/>
                </a:cxn>
                <a:cxn ang="0">
                  <a:pos x="353" y="210"/>
                </a:cxn>
                <a:cxn ang="0">
                  <a:pos x="339" y="219"/>
                </a:cxn>
                <a:cxn ang="0">
                  <a:pos x="366" y="67"/>
                </a:cxn>
                <a:cxn ang="0">
                  <a:pos x="339" y="120"/>
                </a:cxn>
                <a:cxn ang="0">
                  <a:pos x="362" y="165"/>
                </a:cxn>
                <a:cxn ang="0">
                  <a:pos x="380" y="156"/>
                </a:cxn>
                <a:cxn ang="0">
                  <a:pos x="397" y="165"/>
                </a:cxn>
                <a:cxn ang="0">
                  <a:pos x="371" y="112"/>
                </a:cxn>
                <a:cxn ang="0">
                  <a:pos x="380" y="98"/>
                </a:cxn>
                <a:cxn ang="0">
                  <a:pos x="433" y="62"/>
                </a:cxn>
                <a:cxn ang="0">
                  <a:pos x="433" y="210"/>
                </a:cxn>
                <a:cxn ang="0">
                  <a:pos x="420" y="201"/>
                </a:cxn>
                <a:cxn ang="0">
                  <a:pos x="402" y="246"/>
                </a:cxn>
                <a:cxn ang="0">
                  <a:pos x="447" y="143"/>
                </a:cxn>
                <a:cxn ang="0">
                  <a:pos x="482" y="76"/>
                </a:cxn>
                <a:cxn ang="0">
                  <a:pos x="469" y="53"/>
                </a:cxn>
                <a:cxn ang="0">
                  <a:pos x="464" y="76"/>
                </a:cxn>
                <a:cxn ang="0">
                  <a:pos x="469" y="98"/>
                </a:cxn>
                <a:cxn ang="0">
                  <a:pos x="505" y="125"/>
                </a:cxn>
                <a:cxn ang="0">
                  <a:pos x="500" y="134"/>
                </a:cxn>
                <a:cxn ang="0">
                  <a:pos x="509" y="205"/>
                </a:cxn>
                <a:cxn ang="0">
                  <a:pos x="563" y="170"/>
                </a:cxn>
                <a:cxn ang="0">
                  <a:pos x="563" y="161"/>
                </a:cxn>
                <a:cxn ang="0">
                  <a:pos x="590" y="120"/>
                </a:cxn>
                <a:cxn ang="0">
                  <a:pos x="554" y="94"/>
                </a:cxn>
                <a:cxn ang="0">
                  <a:pos x="509" y="107"/>
                </a:cxn>
                <a:cxn ang="0">
                  <a:pos x="536" y="125"/>
                </a:cxn>
                <a:cxn ang="0">
                  <a:pos x="545" y="147"/>
                </a:cxn>
                <a:cxn ang="0">
                  <a:pos x="625" y="196"/>
                </a:cxn>
                <a:cxn ang="0">
                  <a:pos x="652" y="214"/>
                </a:cxn>
              </a:cxnLst>
              <a:rect l="0" t="0" r="r" b="b"/>
              <a:pathLst>
                <a:path w="657" h="246">
                  <a:moveTo>
                    <a:pt x="0" y="4"/>
                  </a:moveTo>
                  <a:lnTo>
                    <a:pt x="0" y="9"/>
                  </a:lnTo>
                  <a:lnTo>
                    <a:pt x="4" y="18"/>
                  </a:lnTo>
                  <a:lnTo>
                    <a:pt x="22" y="31"/>
                  </a:lnTo>
                  <a:lnTo>
                    <a:pt x="36" y="53"/>
                  </a:lnTo>
                  <a:lnTo>
                    <a:pt x="45" y="53"/>
                  </a:lnTo>
                  <a:lnTo>
                    <a:pt x="54" y="58"/>
                  </a:lnTo>
                  <a:lnTo>
                    <a:pt x="49" y="62"/>
                  </a:lnTo>
                  <a:lnTo>
                    <a:pt x="58" y="85"/>
                  </a:lnTo>
                  <a:lnTo>
                    <a:pt x="62" y="85"/>
                  </a:lnTo>
                  <a:lnTo>
                    <a:pt x="85" y="112"/>
                  </a:lnTo>
                  <a:lnTo>
                    <a:pt x="85" y="125"/>
                  </a:lnTo>
                  <a:lnTo>
                    <a:pt x="107" y="156"/>
                  </a:lnTo>
                  <a:lnTo>
                    <a:pt x="121" y="161"/>
                  </a:lnTo>
                  <a:lnTo>
                    <a:pt x="134" y="179"/>
                  </a:lnTo>
                  <a:lnTo>
                    <a:pt x="129" y="165"/>
                  </a:lnTo>
                  <a:lnTo>
                    <a:pt x="147" y="174"/>
                  </a:lnTo>
                  <a:lnTo>
                    <a:pt x="147" y="161"/>
                  </a:lnTo>
                  <a:lnTo>
                    <a:pt x="152" y="174"/>
                  </a:lnTo>
                  <a:lnTo>
                    <a:pt x="156" y="134"/>
                  </a:lnTo>
                  <a:lnTo>
                    <a:pt x="147" y="120"/>
                  </a:lnTo>
                  <a:lnTo>
                    <a:pt x="138" y="116"/>
                  </a:lnTo>
                  <a:lnTo>
                    <a:pt x="138" y="120"/>
                  </a:lnTo>
                  <a:lnTo>
                    <a:pt x="134" y="103"/>
                  </a:lnTo>
                  <a:lnTo>
                    <a:pt x="116" y="98"/>
                  </a:lnTo>
                  <a:lnTo>
                    <a:pt x="121" y="94"/>
                  </a:lnTo>
                  <a:lnTo>
                    <a:pt x="121" y="89"/>
                  </a:lnTo>
                  <a:lnTo>
                    <a:pt x="125" y="85"/>
                  </a:lnTo>
                  <a:lnTo>
                    <a:pt x="125" y="80"/>
                  </a:lnTo>
                  <a:lnTo>
                    <a:pt x="116" y="76"/>
                  </a:lnTo>
                  <a:lnTo>
                    <a:pt x="112" y="80"/>
                  </a:lnTo>
                  <a:lnTo>
                    <a:pt x="116" y="71"/>
                  </a:lnTo>
                  <a:lnTo>
                    <a:pt x="103" y="62"/>
                  </a:lnTo>
                  <a:lnTo>
                    <a:pt x="98" y="62"/>
                  </a:lnTo>
                  <a:lnTo>
                    <a:pt x="98" y="53"/>
                  </a:lnTo>
                  <a:lnTo>
                    <a:pt x="80" y="53"/>
                  </a:lnTo>
                  <a:lnTo>
                    <a:pt x="71" y="45"/>
                  </a:lnTo>
                  <a:lnTo>
                    <a:pt x="67" y="49"/>
                  </a:lnTo>
                  <a:lnTo>
                    <a:pt x="67" y="40"/>
                  </a:lnTo>
                  <a:lnTo>
                    <a:pt x="36" y="4"/>
                  </a:lnTo>
                  <a:lnTo>
                    <a:pt x="27" y="4"/>
                  </a:lnTo>
                  <a:lnTo>
                    <a:pt x="18" y="9"/>
                  </a:lnTo>
                  <a:lnTo>
                    <a:pt x="4" y="0"/>
                  </a:lnTo>
                  <a:lnTo>
                    <a:pt x="0" y="4"/>
                  </a:lnTo>
                  <a:close/>
                  <a:moveTo>
                    <a:pt x="31" y="62"/>
                  </a:moveTo>
                  <a:lnTo>
                    <a:pt x="22" y="67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0" y="71"/>
                  </a:lnTo>
                  <a:lnTo>
                    <a:pt x="31" y="62"/>
                  </a:lnTo>
                  <a:close/>
                  <a:moveTo>
                    <a:pt x="54" y="98"/>
                  </a:moveTo>
                  <a:lnTo>
                    <a:pt x="49" y="103"/>
                  </a:lnTo>
                  <a:lnTo>
                    <a:pt x="49" y="107"/>
                  </a:lnTo>
                  <a:lnTo>
                    <a:pt x="54" y="116"/>
                  </a:lnTo>
                  <a:lnTo>
                    <a:pt x="62" y="112"/>
                  </a:lnTo>
                  <a:lnTo>
                    <a:pt x="54" y="98"/>
                  </a:lnTo>
                  <a:close/>
                  <a:moveTo>
                    <a:pt x="67" y="116"/>
                  </a:moveTo>
                  <a:lnTo>
                    <a:pt x="62" y="116"/>
                  </a:lnTo>
                  <a:lnTo>
                    <a:pt x="67" y="125"/>
                  </a:lnTo>
                  <a:lnTo>
                    <a:pt x="71" y="125"/>
                  </a:lnTo>
                  <a:lnTo>
                    <a:pt x="71" y="129"/>
                  </a:lnTo>
                  <a:lnTo>
                    <a:pt x="76" y="129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29"/>
                  </a:lnTo>
                  <a:lnTo>
                    <a:pt x="76" y="125"/>
                  </a:lnTo>
                  <a:lnTo>
                    <a:pt x="67" y="116"/>
                  </a:lnTo>
                  <a:close/>
                  <a:moveTo>
                    <a:pt x="147" y="107"/>
                  </a:moveTo>
                  <a:lnTo>
                    <a:pt x="147" y="116"/>
                  </a:lnTo>
                  <a:lnTo>
                    <a:pt x="152" y="116"/>
                  </a:lnTo>
                  <a:lnTo>
                    <a:pt x="156" y="129"/>
                  </a:lnTo>
                  <a:lnTo>
                    <a:pt x="165" y="129"/>
                  </a:lnTo>
                  <a:lnTo>
                    <a:pt x="165" y="129"/>
                  </a:lnTo>
                  <a:lnTo>
                    <a:pt x="165" y="120"/>
                  </a:lnTo>
                  <a:lnTo>
                    <a:pt x="161" y="120"/>
                  </a:lnTo>
                  <a:lnTo>
                    <a:pt x="152" y="107"/>
                  </a:lnTo>
                  <a:lnTo>
                    <a:pt x="147" y="107"/>
                  </a:lnTo>
                  <a:close/>
                  <a:moveTo>
                    <a:pt x="152" y="179"/>
                  </a:moveTo>
                  <a:lnTo>
                    <a:pt x="143" y="179"/>
                  </a:lnTo>
                  <a:lnTo>
                    <a:pt x="143" y="188"/>
                  </a:lnTo>
                  <a:lnTo>
                    <a:pt x="165" y="188"/>
                  </a:lnTo>
                  <a:lnTo>
                    <a:pt x="161" y="192"/>
                  </a:lnTo>
                  <a:lnTo>
                    <a:pt x="188" y="201"/>
                  </a:lnTo>
                  <a:lnTo>
                    <a:pt x="192" y="196"/>
                  </a:lnTo>
                  <a:lnTo>
                    <a:pt x="250" y="210"/>
                  </a:lnTo>
                  <a:lnTo>
                    <a:pt x="259" y="205"/>
                  </a:lnTo>
                  <a:lnTo>
                    <a:pt x="272" y="210"/>
                  </a:lnTo>
                  <a:lnTo>
                    <a:pt x="281" y="210"/>
                  </a:lnTo>
                  <a:lnTo>
                    <a:pt x="277" y="205"/>
                  </a:lnTo>
                  <a:lnTo>
                    <a:pt x="277" y="192"/>
                  </a:lnTo>
                  <a:lnTo>
                    <a:pt x="259" y="192"/>
                  </a:lnTo>
                  <a:lnTo>
                    <a:pt x="255" y="188"/>
                  </a:lnTo>
                  <a:lnTo>
                    <a:pt x="263" y="192"/>
                  </a:lnTo>
                  <a:lnTo>
                    <a:pt x="277" y="188"/>
                  </a:lnTo>
                  <a:lnTo>
                    <a:pt x="277" y="183"/>
                  </a:lnTo>
                  <a:lnTo>
                    <a:pt x="255" y="188"/>
                  </a:lnTo>
                  <a:lnTo>
                    <a:pt x="237" y="174"/>
                  </a:lnTo>
                  <a:lnTo>
                    <a:pt x="228" y="174"/>
                  </a:lnTo>
                  <a:lnTo>
                    <a:pt x="219" y="188"/>
                  </a:lnTo>
                  <a:lnTo>
                    <a:pt x="205" y="183"/>
                  </a:lnTo>
                  <a:lnTo>
                    <a:pt x="196" y="183"/>
                  </a:lnTo>
                  <a:lnTo>
                    <a:pt x="196" y="174"/>
                  </a:lnTo>
                  <a:lnTo>
                    <a:pt x="179" y="170"/>
                  </a:lnTo>
                  <a:lnTo>
                    <a:pt x="156" y="170"/>
                  </a:lnTo>
                  <a:lnTo>
                    <a:pt x="156" y="179"/>
                  </a:lnTo>
                  <a:lnTo>
                    <a:pt x="152" y="179"/>
                  </a:lnTo>
                  <a:close/>
                  <a:moveTo>
                    <a:pt x="170" y="125"/>
                  </a:moveTo>
                  <a:lnTo>
                    <a:pt x="174" y="129"/>
                  </a:lnTo>
                  <a:lnTo>
                    <a:pt x="179" y="138"/>
                  </a:lnTo>
                  <a:lnTo>
                    <a:pt x="188" y="134"/>
                  </a:lnTo>
                  <a:lnTo>
                    <a:pt x="188" y="125"/>
                  </a:lnTo>
                  <a:lnTo>
                    <a:pt x="183" y="120"/>
                  </a:lnTo>
                  <a:lnTo>
                    <a:pt x="170" y="125"/>
                  </a:lnTo>
                  <a:close/>
                  <a:moveTo>
                    <a:pt x="183" y="22"/>
                  </a:moveTo>
                  <a:lnTo>
                    <a:pt x="183" y="31"/>
                  </a:lnTo>
                  <a:lnTo>
                    <a:pt x="192" y="27"/>
                  </a:lnTo>
                  <a:lnTo>
                    <a:pt x="188" y="18"/>
                  </a:lnTo>
                  <a:lnTo>
                    <a:pt x="183" y="22"/>
                  </a:lnTo>
                  <a:close/>
                  <a:moveTo>
                    <a:pt x="205" y="53"/>
                  </a:moveTo>
                  <a:lnTo>
                    <a:pt x="201" y="53"/>
                  </a:lnTo>
                  <a:lnTo>
                    <a:pt x="196" y="71"/>
                  </a:lnTo>
                  <a:lnTo>
                    <a:pt x="196" y="80"/>
                  </a:lnTo>
                  <a:lnTo>
                    <a:pt x="201" y="85"/>
                  </a:lnTo>
                  <a:lnTo>
                    <a:pt x="201" y="94"/>
                  </a:lnTo>
                  <a:lnTo>
                    <a:pt x="205" y="107"/>
                  </a:lnTo>
                  <a:lnTo>
                    <a:pt x="214" y="98"/>
                  </a:lnTo>
                  <a:lnTo>
                    <a:pt x="214" y="103"/>
                  </a:lnTo>
                  <a:lnTo>
                    <a:pt x="214" y="112"/>
                  </a:lnTo>
                  <a:lnTo>
                    <a:pt x="214" y="134"/>
                  </a:lnTo>
                  <a:lnTo>
                    <a:pt x="241" y="129"/>
                  </a:lnTo>
                  <a:lnTo>
                    <a:pt x="241" y="138"/>
                  </a:lnTo>
                  <a:lnTo>
                    <a:pt x="259" y="129"/>
                  </a:lnTo>
                  <a:lnTo>
                    <a:pt x="277" y="138"/>
                  </a:lnTo>
                  <a:lnTo>
                    <a:pt x="281" y="147"/>
                  </a:lnTo>
                  <a:lnTo>
                    <a:pt x="295" y="134"/>
                  </a:lnTo>
                  <a:lnTo>
                    <a:pt x="299" y="143"/>
                  </a:lnTo>
                  <a:lnTo>
                    <a:pt x="304" y="138"/>
                  </a:lnTo>
                  <a:lnTo>
                    <a:pt x="304" y="129"/>
                  </a:lnTo>
                  <a:lnTo>
                    <a:pt x="304" y="116"/>
                  </a:lnTo>
                  <a:lnTo>
                    <a:pt x="304" y="112"/>
                  </a:lnTo>
                  <a:lnTo>
                    <a:pt x="322" y="94"/>
                  </a:lnTo>
                  <a:lnTo>
                    <a:pt x="322" y="85"/>
                  </a:lnTo>
                  <a:lnTo>
                    <a:pt x="326" y="71"/>
                  </a:lnTo>
                  <a:lnTo>
                    <a:pt x="344" y="67"/>
                  </a:lnTo>
                  <a:lnTo>
                    <a:pt x="322" y="53"/>
                  </a:lnTo>
                  <a:lnTo>
                    <a:pt x="326" y="49"/>
                  </a:lnTo>
                  <a:lnTo>
                    <a:pt x="322" y="36"/>
                  </a:lnTo>
                  <a:lnTo>
                    <a:pt x="326" y="27"/>
                  </a:lnTo>
                  <a:lnTo>
                    <a:pt x="322" y="18"/>
                  </a:lnTo>
                  <a:lnTo>
                    <a:pt x="304" y="18"/>
                  </a:lnTo>
                  <a:lnTo>
                    <a:pt x="295" y="22"/>
                  </a:lnTo>
                  <a:lnTo>
                    <a:pt x="281" y="49"/>
                  </a:lnTo>
                  <a:lnTo>
                    <a:pt x="277" y="62"/>
                  </a:lnTo>
                  <a:lnTo>
                    <a:pt x="255" y="62"/>
                  </a:lnTo>
                  <a:lnTo>
                    <a:pt x="246" y="71"/>
                  </a:lnTo>
                  <a:lnTo>
                    <a:pt x="228" y="71"/>
                  </a:lnTo>
                  <a:lnTo>
                    <a:pt x="210" y="58"/>
                  </a:lnTo>
                  <a:lnTo>
                    <a:pt x="205" y="53"/>
                  </a:lnTo>
                  <a:close/>
                  <a:moveTo>
                    <a:pt x="281" y="205"/>
                  </a:moveTo>
                  <a:lnTo>
                    <a:pt x="290" y="214"/>
                  </a:lnTo>
                  <a:lnTo>
                    <a:pt x="295" y="210"/>
                  </a:lnTo>
                  <a:lnTo>
                    <a:pt x="290" y="201"/>
                  </a:lnTo>
                  <a:lnTo>
                    <a:pt x="281" y="205"/>
                  </a:lnTo>
                  <a:close/>
                  <a:moveTo>
                    <a:pt x="304" y="201"/>
                  </a:moveTo>
                  <a:lnTo>
                    <a:pt x="299" y="205"/>
                  </a:lnTo>
                  <a:lnTo>
                    <a:pt x="299" y="210"/>
                  </a:lnTo>
                  <a:lnTo>
                    <a:pt x="299" y="214"/>
                  </a:lnTo>
                  <a:lnTo>
                    <a:pt x="304" y="210"/>
                  </a:lnTo>
                  <a:lnTo>
                    <a:pt x="313" y="205"/>
                  </a:lnTo>
                  <a:lnTo>
                    <a:pt x="304" y="201"/>
                  </a:lnTo>
                  <a:close/>
                  <a:moveTo>
                    <a:pt x="313" y="205"/>
                  </a:moveTo>
                  <a:lnTo>
                    <a:pt x="308" y="214"/>
                  </a:lnTo>
                  <a:lnTo>
                    <a:pt x="339" y="214"/>
                  </a:lnTo>
                  <a:lnTo>
                    <a:pt x="344" y="210"/>
                  </a:lnTo>
                  <a:lnTo>
                    <a:pt x="353" y="210"/>
                  </a:lnTo>
                  <a:lnTo>
                    <a:pt x="362" y="214"/>
                  </a:lnTo>
                  <a:lnTo>
                    <a:pt x="397" y="210"/>
                  </a:lnTo>
                  <a:lnTo>
                    <a:pt x="397" y="210"/>
                  </a:lnTo>
                  <a:lnTo>
                    <a:pt x="402" y="210"/>
                  </a:lnTo>
                  <a:lnTo>
                    <a:pt x="411" y="205"/>
                  </a:lnTo>
                  <a:lnTo>
                    <a:pt x="402" y="205"/>
                  </a:lnTo>
                  <a:lnTo>
                    <a:pt x="393" y="201"/>
                  </a:lnTo>
                  <a:lnTo>
                    <a:pt x="384" y="205"/>
                  </a:lnTo>
                  <a:lnTo>
                    <a:pt x="371" y="205"/>
                  </a:lnTo>
                  <a:lnTo>
                    <a:pt x="362" y="205"/>
                  </a:lnTo>
                  <a:lnTo>
                    <a:pt x="353" y="210"/>
                  </a:lnTo>
                  <a:lnTo>
                    <a:pt x="344" y="205"/>
                  </a:lnTo>
                  <a:lnTo>
                    <a:pt x="339" y="201"/>
                  </a:lnTo>
                  <a:lnTo>
                    <a:pt x="326" y="201"/>
                  </a:lnTo>
                  <a:lnTo>
                    <a:pt x="326" y="210"/>
                  </a:lnTo>
                  <a:lnTo>
                    <a:pt x="313" y="205"/>
                  </a:lnTo>
                  <a:close/>
                  <a:moveTo>
                    <a:pt x="339" y="219"/>
                  </a:moveTo>
                  <a:lnTo>
                    <a:pt x="362" y="237"/>
                  </a:lnTo>
                  <a:lnTo>
                    <a:pt x="371" y="232"/>
                  </a:lnTo>
                  <a:lnTo>
                    <a:pt x="357" y="219"/>
                  </a:lnTo>
                  <a:lnTo>
                    <a:pt x="348" y="219"/>
                  </a:lnTo>
                  <a:lnTo>
                    <a:pt x="339" y="219"/>
                  </a:lnTo>
                  <a:close/>
                  <a:moveTo>
                    <a:pt x="366" y="67"/>
                  </a:moveTo>
                  <a:lnTo>
                    <a:pt x="366" y="71"/>
                  </a:lnTo>
                  <a:lnTo>
                    <a:pt x="357" y="76"/>
                  </a:lnTo>
                  <a:lnTo>
                    <a:pt x="353" y="85"/>
                  </a:lnTo>
                  <a:lnTo>
                    <a:pt x="344" y="89"/>
                  </a:lnTo>
                  <a:lnTo>
                    <a:pt x="348" y="94"/>
                  </a:lnTo>
                  <a:lnTo>
                    <a:pt x="339" y="120"/>
                  </a:lnTo>
                  <a:lnTo>
                    <a:pt x="339" y="138"/>
                  </a:lnTo>
                  <a:lnTo>
                    <a:pt x="348" y="134"/>
                  </a:lnTo>
                  <a:lnTo>
                    <a:pt x="353" y="143"/>
                  </a:lnTo>
                  <a:lnTo>
                    <a:pt x="348" y="165"/>
                  </a:lnTo>
                  <a:lnTo>
                    <a:pt x="353" y="170"/>
                  </a:lnTo>
                  <a:lnTo>
                    <a:pt x="362" y="165"/>
                  </a:lnTo>
                  <a:lnTo>
                    <a:pt x="362" y="125"/>
                  </a:lnTo>
                  <a:lnTo>
                    <a:pt x="371" y="125"/>
                  </a:lnTo>
                  <a:lnTo>
                    <a:pt x="366" y="138"/>
                  </a:lnTo>
                  <a:lnTo>
                    <a:pt x="375" y="143"/>
                  </a:lnTo>
                  <a:lnTo>
                    <a:pt x="375" y="152"/>
                  </a:lnTo>
                  <a:lnTo>
                    <a:pt x="380" y="156"/>
                  </a:lnTo>
                  <a:lnTo>
                    <a:pt x="384" y="152"/>
                  </a:lnTo>
                  <a:lnTo>
                    <a:pt x="393" y="152"/>
                  </a:lnTo>
                  <a:lnTo>
                    <a:pt x="384" y="156"/>
                  </a:lnTo>
                  <a:lnTo>
                    <a:pt x="389" y="165"/>
                  </a:lnTo>
                  <a:lnTo>
                    <a:pt x="393" y="170"/>
                  </a:lnTo>
                  <a:lnTo>
                    <a:pt x="397" y="165"/>
                  </a:lnTo>
                  <a:lnTo>
                    <a:pt x="397" y="156"/>
                  </a:lnTo>
                  <a:lnTo>
                    <a:pt x="397" y="147"/>
                  </a:lnTo>
                  <a:lnTo>
                    <a:pt x="389" y="138"/>
                  </a:lnTo>
                  <a:lnTo>
                    <a:pt x="389" y="129"/>
                  </a:lnTo>
                  <a:lnTo>
                    <a:pt x="380" y="120"/>
                  </a:lnTo>
                  <a:lnTo>
                    <a:pt x="371" y="112"/>
                  </a:lnTo>
                  <a:lnTo>
                    <a:pt x="380" y="112"/>
                  </a:lnTo>
                  <a:lnTo>
                    <a:pt x="397" y="98"/>
                  </a:lnTo>
                  <a:lnTo>
                    <a:pt x="402" y="103"/>
                  </a:lnTo>
                  <a:lnTo>
                    <a:pt x="406" y="94"/>
                  </a:lnTo>
                  <a:lnTo>
                    <a:pt x="393" y="94"/>
                  </a:lnTo>
                  <a:lnTo>
                    <a:pt x="380" y="98"/>
                  </a:lnTo>
                  <a:lnTo>
                    <a:pt x="366" y="103"/>
                  </a:lnTo>
                  <a:lnTo>
                    <a:pt x="357" y="94"/>
                  </a:lnTo>
                  <a:lnTo>
                    <a:pt x="362" y="80"/>
                  </a:lnTo>
                  <a:lnTo>
                    <a:pt x="402" y="85"/>
                  </a:lnTo>
                  <a:lnTo>
                    <a:pt x="420" y="76"/>
                  </a:lnTo>
                  <a:lnTo>
                    <a:pt x="433" y="62"/>
                  </a:lnTo>
                  <a:lnTo>
                    <a:pt x="429" y="53"/>
                  </a:lnTo>
                  <a:lnTo>
                    <a:pt x="411" y="71"/>
                  </a:lnTo>
                  <a:lnTo>
                    <a:pt x="366" y="67"/>
                  </a:lnTo>
                  <a:close/>
                  <a:moveTo>
                    <a:pt x="420" y="201"/>
                  </a:moveTo>
                  <a:lnTo>
                    <a:pt x="415" y="210"/>
                  </a:lnTo>
                  <a:lnTo>
                    <a:pt x="433" y="210"/>
                  </a:lnTo>
                  <a:lnTo>
                    <a:pt x="442" y="201"/>
                  </a:lnTo>
                  <a:lnTo>
                    <a:pt x="451" y="201"/>
                  </a:lnTo>
                  <a:lnTo>
                    <a:pt x="456" y="196"/>
                  </a:lnTo>
                  <a:lnTo>
                    <a:pt x="442" y="196"/>
                  </a:lnTo>
                  <a:lnTo>
                    <a:pt x="433" y="205"/>
                  </a:lnTo>
                  <a:lnTo>
                    <a:pt x="420" y="201"/>
                  </a:lnTo>
                  <a:close/>
                  <a:moveTo>
                    <a:pt x="424" y="219"/>
                  </a:moveTo>
                  <a:lnTo>
                    <a:pt x="411" y="219"/>
                  </a:lnTo>
                  <a:lnTo>
                    <a:pt x="402" y="232"/>
                  </a:lnTo>
                  <a:lnTo>
                    <a:pt x="402" y="237"/>
                  </a:lnTo>
                  <a:lnTo>
                    <a:pt x="393" y="246"/>
                  </a:lnTo>
                  <a:lnTo>
                    <a:pt x="402" y="246"/>
                  </a:lnTo>
                  <a:lnTo>
                    <a:pt x="406" y="237"/>
                  </a:lnTo>
                  <a:lnTo>
                    <a:pt x="420" y="232"/>
                  </a:lnTo>
                  <a:lnTo>
                    <a:pt x="424" y="228"/>
                  </a:lnTo>
                  <a:lnTo>
                    <a:pt x="424" y="219"/>
                  </a:lnTo>
                  <a:close/>
                  <a:moveTo>
                    <a:pt x="438" y="129"/>
                  </a:moveTo>
                  <a:lnTo>
                    <a:pt x="447" y="143"/>
                  </a:lnTo>
                  <a:lnTo>
                    <a:pt x="456" y="134"/>
                  </a:lnTo>
                  <a:lnTo>
                    <a:pt x="451" y="129"/>
                  </a:lnTo>
                  <a:lnTo>
                    <a:pt x="438" y="129"/>
                  </a:lnTo>
                  <a:close/>
                  <a:moveTo>
                    <a:pt x="469" y="80"/>
                  </a:moveTo>
                  <a:lnTo>
                    <a:pt x="487" y="80"/>
                  </a:lnTo>
                  <a:lnTo>
                    <a:pt x="482" y="76"/>
                  </a:lnTo>
                  <a:lnTo>
                    <a:pt x="469" y="71"/>
                  </a:lnTo>
                  <a:lnTo>
                    <a:pt x="482" y="62"/>
                  </a:lnTo>
                  <a:lnTo>
                    <a:pt x="478" y="58"/>
                  </a:lnTo>
                  <a:lnTo>
                    <a:pt x="464" y="71"/>
                  </a:lnTo>
                  <a:lnTo>
                    <a:pt x="469" y="62"/>
                  </a:lnTo>
                  <a:lnTo>
                    <a:pt x="469" y="53"/>
                  </a:lnTo>
                  <a:lnTo>
                    <a:pt x="478" y="49"/>
                  </a:lnTo>
                  <a:lnTo>
                    <a:pt x="478" y="45"/>
                  </a:lnTo>
                  <a:lnTo>
                    <a:pt x="464" y="49"/>
                  </a:lnTo>
                  <a:lnTo>
                    <a:pt x="460" y="67"/>
                  </a:lnTo>
                  <a:lnTo>
                    <a:pt x="460" y="76"/>
                  </a:lnTo>
                  <a:lnTo>
                    <a:pt x="464" y="76"/>
                  </a:lnTo>
                  <a:lnTo>
                    <a:pt x="464" y="89"/>
                  </a:lnTo>
                  <a:lnTo>
                    <a:pt x="469" y="98"/>
                  </a:lnTo>
                  <a:lnTo>
                    <a:pt x="460" y="94"/>
                  </a:lnTo>
                  <a:lnTo>
                    <a:pt x="456" y="98"/>
                  </a:lnTo>
                  <a:lnTo>
                    <a:pt x="460" y="103"/>
                  </a:lnTo>
                  <a:lnTo>
                    <a:pt x="469" y="98"/>
                  </a:lnTo>
                  <a:lnTo>
                    <a:pt x="473" y="107"/>
                  </a:lnTo>
                  <a:lnTo>
                    <a:pt x="478" y="107"/>
                  </a:lnTo>
                  <a:lnTo>
                    <a:pt x="473" y="98"/>
                  </a:lnTo>
                  <a:lnTo>
                    <a:pt x="469" y="89"/>
                  </a:lnTo>
                  <a:lnTo>
                    <a:pt x="469" y="80"/>
                  </a:lnTo>
                  <a:close/>
                  <a:moveTo>
                    <a:pt x="505" y="125"/>
                  </a:moveTo>
                  <a:lnTo>
                    <a:pt x="491" y="125"/>
                  </a:lnTo>
                  <a:lnTo>
                    <a:pt x="469" y="125"/>
                  </a:lnTo>
                  <a:lnTo>
                    <a:pt x="464" y="134"/>
                  </a:lnTo>
                  <a:lnTo>
                    <a:pt x="478" y="138"/>
                  </a:lnTo>
                  <a:lnTo>
                    <a:pt x="482" y="134"/>
                  </a:lnTo>
                  <a:lnTo>
                    <a:pt x="500" y="134"/>
                  </a:lnTo>
                  <a:lnTo>
                    <a:pt x="514" y="138"/>
                  </a:lnTo>
                  <a:lnTo>
                    <a:pt x="505" y="125"/>
                  </a:lnTo>
                  <a:close/>
                  <a:moveTo>
                    <a:pt x="523" y="188"/>
                  </a:moveTo>
                  <a:lnTo>
                    <a:pt x="518" y="188"/>
                  </a:lnTo>
                  <a:lnTo>
                    <a:pt x="514" y="201"/>
                  </a:lnTo>
                  <a:lnTo>
                    <a:pt x="509" y="205"/>
                  </a:lnTo>
                  <a:lnTo>
                    <a:pt x="509" y="210"/>
                  </a:lnTo>
                  <a:lnTo>
                    <a:pt x="518" y="205"/>
                  </a:lnTo>
                  <a:lnTo>
                    <a:pt x="514" y="201"/>
                  </a:lnTo>
                  <a:lnTo>
                    <a:pt x="523" y="188"/>
                  </a:lnTo>
                  <a:close/>
                  <a:moveTo>
                    <a:pt x="563" y="161"/>
                  </a:moveTo>
                  <a:lnTo>
                    <a:pt x="563" y="170"/>
                  </a:lnTo>
                  <a:lnTo>
                    <a:pt x="558" y="174"/>
                  </a:lnTo>
                  <a:lnTo>
                    <a:pt x="554" y="188"/>
                  </a:lnTo>
                  <a:lnTo>
                    <a:pt x="563" y="188"/>
                  </a:lnTo>
                  <a:lnTo>
                    <a:pt x="567" y="179"/>
                  </a:lnTo>
                  <a:lnTo>
                    <a:pt x="567" y="165"/>
                  </a:lnTo>
                  <a:lnTo>
                    <a:pt x="563" y="161"/>
                  </a:lnTo>
                  <a:close/>
                  <a:moveTo>
                    <a:pt x="657" y="125"/>
                  </a:moveTo>
                  <a:lnTo>
                    <a:pt x="630" y="116"/>
                  </a:lnTo>
                  <a:lnTo>
                    <a:pt x="612" y="107"/>
                  </a:lnTo>
                  <a:lnTo>
                    <a:pt x="603" y="112"/>
                  </a:lnTo>
                  <a:lnTo>
                    <a:pt x="603" y="116"/>
                  </a:lnTo>
                  <a:lnTo>
                    <a:pt x="590" y="120"/>
                  </a:lnTo>
                  <a:lnTo>
                    <a:pt x="581" y="134"/>
                  </a:lnTo>
                  <a:lnTo>
                    <a:pt x="572" y="134"/>
                  </a:lnTo>
                  <a:lnTo>
                    <a:pt x="563" y="116"/>
                  </a:lnTo>
                  <a:lnTo>
                    <a:pt x="558" y="120"/>
                  </a:lnTo>
                  <a:lnTo>
                    <a:pt x="558" y="103"/>
                  </a:lnTo>
                  <a:lnTo>
                    <a:pt x="554" y="94"/>
                  </a:lnTo>
                  <a:lnTo>
                    <a:pt x="531" y="89"/>
                  </a:lnTo>
                  <a:lnTo>
                    <a:pt x="527" y="89"/>
                  </a:lnTo>
                  <a:lnTo>
                    <a:pt x="509" y="103"/>
                  </a:lnTo>
                  <a:lnTo>
                    <a:pt x="509" y="98"/>
                  </a:lnTo>
                  <a:lnTo>
                    <a:pt x="500" y="98"/>
                  </a:lnTo>
                  <a:lnTo>
                    <a:pt x="509" y="107"/>
                  </a:lnTo>
                  <a:lnTo>
                    <a:pt x="518" y="107"/>
                  </a:lnTo>
                  <a:lnTo>
                    <a:pt x="523" y="116"/>
                  </a:lnTo>
                  <a:lnTo>
                    <a:pt x="549" y="112"/>
                  </a:lnTo>
                  <a:lnTo>
                    <a:pt x="554" y="120"/>
                  </a:lnTo>
                  <a:lnTo>
                    <a:pt x="540" y="120"/>
                  </a:lnTo>
                  <a:lnTo>
                    <a:pt x="536" y="125"/>
                  </a:lnTo>
                  <a:lnTo>
                    <a:pt x="527" y="120"/>
                  </a:lnTo>
                  <a:lnTo>
                    <a:pt x="523" y="129"/>
                  </a:lnTo>
                  <a:lnTo>
                    <a:pt x="536" y="129"/>
                  </a:lnTo>
                  <a:lnTo>
                    <a:pt x="536" y="138"/>
                  </a:lnTo>
                  <a:lnTo>
                    <a:pt x="540" y="147"/>
                  </a:lnTo>
                  <a:lnTo>
                    <a:pt x="545" y="147"/>
                  </a:lnTo>
                  <a:lnTo>
                    <a:pt x="549" y="129"/>
                  </a:lnTo>
                  <a:lnTo>
                    <a:pt x="554" y="138"/>
                  </a:lnTo>
                  <a:lnTo>
                    <a:pt x="612" y="165"/>
                  </a:lnTo>
                  <a:lnTo>
                    <a:pt x="621" y="188"/>
                  </a:lnTo>
                  <a:lnTo>
                    <a:pt x="625" y="192"/>
                  </a:lnTo>
                  <a:lnTo>
                    <a:pt x="625" y="196"/>
                  </a:lnTo>
                  <a:lnTo>
                    <a:pt x="621" y="192"/>
                  </a:lnTo>
                  <a:lnTo>
                    <a:pt x="607" y="210"/>
                  </a:lnTo>
                  <a:lnTo>
                    <a:pt x="625" y="210"/>
                  </a:lnTo>
                  <a:lnTo>
                    <a:pt x="630" y="201"/>
                  </a:lnTo>
                  <a:lnTo>
                    <a:pt x="643" y="201"/>
                  </a:lnTo>
                  <a:lnTo>
                    <a:pt x="652" y="214"/>
                  </a:lnTo>
                  <a:lnTo>
                    <a:pt x="657" y="214"/>
                  </a:lnTo>
                  <a:lnTo>
                    <a:pt x="657" y="12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9" name="Freeform 123">
              <a:extLst>
                <a:ext uri="{FF2B5EF4-FFF2-40B4-BE49-F238E27FC236}">
                  <a16:creationId xmlns:a16="http://schemas.microsoft.com/office/drawing/2014/main" id="{B2046719-1CBD-4B9C-9D2B-BBDD0E8392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58140" y="3531925"/>
              <a:ext cx="504984" cy="562960"/>
            </a:xfrm>
            <a:custGeom>
              <a:avLst/>
              <a:gdLst/>
              <a:ahLst/>
              <a:cxnLst>
                <a:cxn ang="0">
                  <a:pos x="0" y="380"/>
                </a:cxn>
                <a:cxn ang="0">
                  <a:pos x="13" y="380"/>
                </a:cxn>
                <a:cxn ang="0">
                  <a:pos x="9" y="380"/>
                </a:cxn>
                <a:cxn ang="0">
                  <a:pos x="27" y="376"/>
                </a:cxn>
                <a:cxn ang="0">
                  <a:pos x="27" y="367"/>
                </a:cxn>
                <a:cxn ang="0">
                  <a:pos x="58" y="349"/>
                </a:cxn>
                <a:cxn ang="0">
                  <a:pos x="71" y="340"/>
                </a:cxn>
                <a:cxn ang="0">
                  <a:pos x="80" y="331"/>
                </a:cxn>
                <a:cxn ang="0">
                  <a:pos x="76" y="322"/>
                </a:cxn>
                <a:cxn ang="0">
                  <a:pos x="116" y="228"/>
                </a:cxn>
                <a:cxn ang="0">
                  <a:pos x="107" y="219"/>
                </a:cxn>
                <a:cxn ang="0">
                  <a:pos x="85" y="233"/>
                </a:cxn>
                <a:cxn ang="0">
                  <a:pos x="98" y="251"/>
                </a:cxn>
                <a:cxn ang="0">
                  <a:pos x="116" y="264"/>
                </a:cxn>
                <a:cxn ang="0">
                  <a:pos x="174" y="193"/>
                </a:cxn>
                <a:cxn ang="0">
                  <a:pos x="161" y="188"/>
                </a:cxn>
                <a:cxn ang="0">
                  <a:pos x="116" y="202"/>
                </a:cxn>
                <a:cxn ang="0">
                  <a:pos x="112" y="219"/>
                </a:cxn>
                <a:cxn ang="0">
                  <a:pos x="129" y="215"/>
                </a:cxn>
                <a:cxn ang="0">
                  <a:pos x="125" y="233"/>
                </a:cxn>
                <a:cxn ang="0">
                  <a:pos x="143" y="224"/>
                </a:cxn>
                <a:cxn ang="0">
                  <a:pos x="152" y="215"/>
                </a:cxn>
                <a:cxn ang="0">
                  <a:pos x="134" y="219"/>
                </a:cxn>
                <a:cxn ang="0">
                  <a:pos x="161" y="210"/>
                </a:cxn>
                <a:cxn ang="0">
                  <a:pos x="170" y="215"/>
                </a:cxn>
                <a:cxn ang="0">
                  <a:pos x="183" y="215"/>
                </a:cxn>
                <a:cxn ang="0">
                  <a:pos x="214" y="197"/>
                </a:cxn>
                <a:cxn ang="0">
                  <a:pos x="223" y="210"/>
                </a:cxn>
                <a:cxn ang="0">
                  <a:pos x="232" y="197"/>
                </a:cxn>
                <a:cxn ang="0">
                  <a:pos x="246" y="188"/>
                </a:cxn>
                <a:cxn ang="0">
                  <a:pos x="250" y="170"/>
                </a:cxn>
                <a:cxn ang="0">
                  <a:pos x="255" y="139"/>
                </a:cxn>
                <a:cxn ang="0">
                  <a:pos x="259" y="135"/>
                </a:cxn>
                <a:cxn ang="0">
                  <a:pos x="255" y="94"/>
                </a:cxn>
                <a:cxn ang="0">
                  <a:pos x="250" y="85"/>
                </a:cxn>
                <a:cxn ang="0">
                  <a:pos x="241" y="85"/>
                </a:cxn>
                <a:cxn ang="0">
                  <a:pos x="228" y="112"/>
                </a:cxn>
                <a:cxn ang="0">
                  <a:pos x="232" y="130"/>
                </a:cxn>
                <a:cxn ang="0">
                  <a:pos x="192" y="161"/>
                </a:cxn>
                <a:cxn ang="0">
                  <a:pos x="188" y="161"/>
                </a:cxn>
                <a:cxn ang="0">
                  <a:pos x="179" y="184"/>
                </a:cxn>
                <a:cxn ang="0">
                  <a:pos x="255" y="41"/>
                </a:cxn>
                <a:cxn ang="0">
                  <a:pos x="241" y="45"/>
                </a:cxn>
                <a:cxn ang="0">
                  <a:pos x="232" y="63"/>
                </a:cxn>
                <a:cxn ang="0">
                  <a:pos x="241" y="81"/>
                </a:cxn>
                <a:cxn ang="0">
                  <a:pos x="255" y="72"/>
                </a:cxn>
                <a:cxn ang="0">
                  <a:pos x="250" y="59"/>
                </a:cxn>
                <a:cxn ang="0">
                  <a:pos x="255" y="59"/>
                </a:cxn>
                <a:cxn ang="0">
                  <a:pos x="286" y="72"/>
                </a:cxn>
                <a:cxn ang="0">
                  <a:pos x="308" y="50"/>
                </a:cxn>
                <a:cxn ang="0">
                  <a:pos x="308" y="32"/>
                </a:cxn>
                <a:cxn ang="0">
                  <a:pos x="299" y="32"/>
                </a:cxn>
                <a:cxn ang="0">
                  <a:pos x="255" y="5"/>
                </a:cxn>
                <a:cxn ang="0">
                  <a:pos x="259" y="32"/>
                </a:cxn>
              </a:cxnLst>
              <a:rect l="0" t="0" r="r" b="b"/>
              <a:pathLst>
                <a:path w="317" h="380">
                  <a:moveTo>
                    <a:pt x="9" y="380"/>
                  </a:moveTo>
                  <a:lnTo>
                    <a:pt x="4" y="376"/>
                  </a:lnTo>
                  <a:lnTo>
                    <a:pt x="0" y="380"/>
                  </a:lnTo>
                  <a:lnTo>
                    <a:pt x="4" y="380"/>
                  </a:lnTo>
                  <a:lnTo>
                    <a:pt x="9" y="380"/>
                  </a:lnTo>
                  <a:lnTo>
                    <a:pt x="13" y="380"/>
                  </a:lnTo>
                  <a:lnTo>
                    <a:pt x="18" y="376"/>
                  </a:lnTo>
                  <a:lnTo>
                    <a:pt x="9" y="376"/>
                  </a:lnTo>
                  <a:lnTo>
                    <a:pt x="9" y="380"/>
                  </a:lnTo>
                  <a:close/>
                  <a:moveTo>
                    <a:pt x="27" y="367"/>
                  </a:moveTo>
                  <a:lnTo>
                    <a:pt x="22" y="371"/>
                  </a:lnTo>
                  <a:lnTo>
                    <a:pt x="27" y="376"/>
                  </a:lnTo>
                  <a:lnTo>
                    <a:pt x="31" y="380"/>
                  </a:lnTo>
                  <a:lnTo>
                    <a:pt x="31" y="376"/>
                  </a:lnTo>
                  <a:lnTo>
                    <a:pt x="27" y="367"/>
                  </a:lnTo>
                  <a:close/>
                  <a:moveTo>
                    <a:pt x="67" y="336"/>
                  </a:moveTo>
                  <a:lnTo>
                    <a:pt x="67" y="340"/>
                  </a:lnTo>
                  <a:lnTo>
                    <a:pt x="58" y="349"/>
                  </a:lnTo>
                  <a:lnTo>
                    <a:pt x="62" y="353"/>
                  </a:lnTo>
                  <a:lnTo>
                    <a:pt x="71" y="349"/>
                  </a:lnTo>
                  <a:lnTo>
                    <a:pt x="71" y="340"/>
                  </a:lnTo>
                  <a:lnTo>
                    <a:pt x="67" y="336"/>
                  </a:lnTo>
                  <a:close/>
                  <a:moveTo>
                    <a:pt x="76" y="322"/>
                  </a:moveTo>
                  <a:lnTo>
                    <a:pt x="80" y="331"/>
                  </a:lnTo>
                  <a:lnTo>
                    <a:pt x="85" y="322"/>
                  </a:lnTo>
                  <a:lnTo>
                    <a:pt x="89" y="313"/>
                  </a:lnTo>
                  <a:lnTo>
                    <a:pt x="76" y="322"/>
                  </a:lnTo>
                  <a:close/>
                  <a:moveTo>
                    <a:pt x="116" y="242"/>
                  </a:moveTo>
                  <a:lnTo>
                    <a:pt x="121" y="237"/>
                  </a:lnTo>
                  <a:lnTo>
                    <a:pt x="116" y="228"/>
                  </a:lnTo>
                  <a:lnTo>
                    <a:pt x="112" y="233"/>
                  </a:lnTo>
                  <a:lnTo>
                    <a:pt x="116" y="224"/>
                  </a:lnTo>
                  <a:lnTo>
                    <a:pt x="107" y="219"/>
                  </a:lnTo>
                  <a:lnTo>
                    <a:pt x="103" y="219"/>
                  </a:lnTo>
                  <a:lnTo>
                    <a:pt x="89" y="224"/>
                  </a:lnTo>
                  <a:lnTo>
                    <a:pt x="85" y="233"/>
                  </a:lnTo>
                  <a:lnTo>
                    <a:pt x="94" y="242"/>
                  </a:lnTo>
                  <a:lnTo>
                    <a:pt x="89" y="251"/>
                  </a:lnTo>
                  <a:lnTo>
                    <a:pt x="98" y="251"/>
                  </a:lnTo>
                  <a:lnTo>
                    <a:pt x="94" y="264"/>
                  </a:lnTo>
                  <a:lnTo>
                    <a:pt x="107" y="273"/>
                  </a:lnTo>
                  <a:lnTo>
                    <a:pt x="116" y="264"/>
                  </a:lnTo>
                  <a:lnTo>
                    <a:pt x="112" y="255"/>
                  </a:lnTo>
                  <a:lnTo>
                    <a:pt x="116" y="242"/>
                  </a:lnTo>
                  <a:close/>
                  <a:moveTo>
                    <a:pt x="174" y="193"/>
                  </a:moveTo>
                  <a:lnTo>
                    <a:pt x="170" y="188"/>
                  </a:lnTo>
                  <a:lnTo>
                    <a:pt x="170" y="184"/>
                  </a:lnTo>
                  <a:lnTo>
                    <a:pt x="161" y="188"/>
                  </a:lnTo>
                  <a:lnTo>
                    <a:pt x="143" y="193"/>
                  </a:lnTo>
                  <a:lnTo>
                    <a:pt x="134" y="188"/>
                  </a:lnTo>
                  <a:lnTo>
                    <a:pt x="116" y="202"/>
                  </a:lnTo>
                  <a:lnTo>
                    <a:pt x="107" y="206"/>
                  </a:lnTo>
                  <a:lnTo>
                    <a:pt x="107" y="215"/>
                  </a:lnTo>
                  <a:lnTo>
                    <a:pt x="112" y="219"/>
                  </a:lnTo>
                  <a:lnTo>
                    <a:pt x="116" y="215"/>
                  </a:lnTo>
                  <a:lnTo>
                    <a:pt x="121" y="219"/>
                  </a:lnTo>
                  <a:lnTo>
                    <a:pt x="129" y="215"/>
                  </a:lnTo>
                  <a:lnTo>
                    <a:pt x="129" y="224"/>
                  </a:lnTo>
                  <a:lnTo>
                    <a:pt x="125" y="228"/>
                  </a:lnTo>
                  <a:lnTo>
                    <a:pt x="125" y="233"/>
                  </a:lnTo>
                  <a:lnTo>
                    <a:pt x="138" y="237"/>
                  </a:lnTo>
                  <a:lnTo>
                    <a:pt x="138" y="228"/>
                  </a:lnTo>
                  <a:lnTo>
                    <a:pt x="143" y="224"/>
                  </a:lnTo>
                  <a:lnTo>
                    <a:pt x="152" y="228"/>
                  </a:lnTo>
                  <a:lnTo>
                    <a:pt x="161" y="219"/>
                  </a:lnTo>
                  <a:lnTo>
                    <a:pt x="152" y="215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34" y="219"/>
                  </a:lnTo>
                  <a:lnTo>
                    <a:pt x="134" y="210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61" y="215"/>
                  </a:lnTo>
                  <a:lnTo>
                    <a:pt x="165" y="210"/>
                  </a:lnTo>
                  <a:lnTo>
                    <a:pt x="170" y="215"/>
                  </a:lnTo>
                  <a:lnTo>
                    <a:pt x="170" y="219"/>
                  </a:lnTo>
                  <a:lnTo>
                    <a:pt x="179" y="228"/>
                  </a:lnTo>
                  <a:lnTo>
                    <a:pt x="183" y="215"/>
                  </a:lnTo>
                  <a:lnTo>
                    <a:pt x="192" y="210"/>
                  </a:lnTo>
                  <a:lnTo>
                    <a:pt x="210" y="206"/>
                  </a:lnTo>
                  <a:lnTo>
                    <a:pt x="214" y="197"/>
                  </a:lnTo>
                  <a:lnTo>
                    <a:pt x="223" y="197"/>
                  </a:lnTo>
                  <a:lnTo>
                    <a:pt x="219" y="206"/>
                  </a:lnTo>
                  <a:lnTo>
                    <a:pt x="223" y="210"/>
                  </a:lnTo>
                  <a:lnTo>
                    <a:pt x="228" y="202"/>
                  </a:lnTo>
                  <a:lnTo>
                    <a:pt x="228" y="193"/>
                  </a:lnTo>
                  <a:lnTo>
                    <a:pt x="232" y="197"/>
                  </a:lnTo>
                  <a:lnTo>
                    <a:pt x="237" y="202"/>
                  </a:lnTo>
                  <a:lnTo>
                    <a:pt x="246" y="197"/>
                  </a:lnTo>
                  <a:lnTo>
                    <a:pt x="246" y="188"/>
                  </a:lnTo>
                  <a:lnTo>
                    <a:pt x="250" y="184"/>
                  </a:lnTo>
                  <a:lnTo>
                    <a:pt x="246" y="179"/>
                  </a:lnTo>
                  <a:lnTo>
                    <a:pt x="250" y="170"/>
                  </a:lnTo>
                  <a:lnTo>
                    <a:pt x="255" y="161"/>
                  </a:lnTo>
                  <a:lnTo>
                    <a:pt x="250" y="148"/>
                  </a:lnTo>
                  <a:lnTo>
                    <a:pt x="255" y="139"/>
                  </a:lnTo>
                  <a:lnTo>
                    <a:pt x="259" y="148"/>
                  </a:lnTo>
                  <a:lnTo>
                    <a:pt x="259" y="143"/>
                  </a:lnTo>
                  <a:lnTo>
                    <a:pt x="259" y="135"/>
                  </a:lnTo>
                  <a:lnTo>
                    <a:pt x="263" y="130"/>
                  </a:lnTo>
                  <a:lnTo>
                    <a:pt x="263" y="99"/>
                  </a:lnTo>
                  <a:lnTo>
                    <a:pt x="255" y="94"/>
                  </a:lnTo>
                  <a:lnTo>
                    <a:pt x="255" y="81"/>
                  </a:lnTo>
                  <a:lnTo>
                    <a:pt x="250" y="76"/>
                  </a:lnTo>
                  <a:lnTo>
                    <a:pt x="250" y="85"/>
                  </a:lnTo>
                  <a:lnTo>
                    <a:pt x="250" y="90"/>
                  </a:lnTo>
                  <a:lnTo>
                    <a:pt x="246" y="90"/>
                  </a:lnTo>
                  <a:lnTo>
                    <a:pt x="241" y="85"/>
                  </a:lnTo>
                  <a:lnTo>
                    <a:pt x="232" y="94"/>
                  </a:lnTo>
                  <a:lnTo>
                    <a:pt x="237" y="99"/>
                  </a:lnTo>
                  <a:lnTo>
                    <a:pt x="228" y="112"/>
                  </a:lnTo>
                  <a:lnTo>
                    <a:pt x="241" y="117"/>
                  </a:lnTo>
                  <a:lnTo>
                    <a:pt x="237" y="126"/>
                  </a:lnTo>
                  <a:lnTo>
                    <a:pt x="232" y="130"/>
                  </a:lnTo>
                  <a:lnTo>
                    <a:pt x="210" y="161"/>
                  </a:lnTo>
                  <a:lnTo>
                    <a:pt x="192" y="170"/>
                  </a:lnTo>
                  <a:lnTo>
                    <a:pt x="192" y="161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88" y="161"/>
                  </a:lnTo>
                  <a:lnTo>
                    <a:pt x="188" y="170"/>
                  </a:lnTo>
                  <a:lnTo>
                    <a:pt x="179" y="179"/>
                  </a:lnTo>
                  <a:lnTo>
                    <a:pt x="179" y="184"/>
                  </a:lnTo>
                  <a:lnTo>
                    <a:pt x="174" y="188"/>
                  </a:lnTo>
                  <a:lnTo>
                    <a:pt x="174" y="193"/>
                  </a:lnTo>
                  <a:close/>
                  <a:moveTo>
                    <a:pt x="255" y="41"/>
                  </a:moveTo>
                  <a:lnTo>
                    <a:pt x="250" y="41"/>
                  </a:lnTo>
                  <a:lnTo>
                    <a:pt x="241" y="41"/>
                  </a:lnTo>
                  <a:lnTo>
                    <a:pt x="241" y="45"/>
                  </a:lnTo>
                  <a:lnTo>
                    <a:pt x="241" y="50"/>
                  </a:lnTo>
                  <a:lnTo>
                    <a:pt x="232" y="54"/>
                  </a:lnTo>
                  <a:lnTo>
                    <a:pt x="232" y="63"/>
                  </a:lnTo>
                  <a:lnTo>
                    <a:pt x="237" y="67"/>
                  </a:lnTo>
                  <a:lnTo>
                    <a:pt x="232" y="76"/>
                  </a:lnTo>
                  <a:lnTo>
                    <a:pt x="241" y="81"/>
                  </a:lnTo>
                  <a:lnTo>
                    <a:pt x="246" y="72"/>
                  </a:lnTo>
                  <a:lnTo>
                    <a:pt x="250" y="76"/>
                  </a:lnTo>
                  <a:lnTo>
                    <a:pt x="255" y="72"/>
                  </a:lnTo>
                  <a:lnTo>
                    <a:pt x="250" y="67"/>
                  </a:lnTo>
                  <a:lnTo>
                    <a:pt x="241" y="63"/>
                  </a:lnTo>
                  <a:lnTo>
                    <a:pt x="250" y="59"/>
                  </a:lnTo>
                  <a:lnTo>
                    <a:pt x="250" y="63"/>
                  </a:lnTo>
                  <a:lnTo>
                    <a:pt x="259" y="63"/>
                  </a:lnTo>
                  <a:lnTo>
                    <a:pt x="255" y="59"/>
                  </a:lnTo>
                  <a:lnTo>
                    <a:pt x="259" y="54"/>
                  </a:lnTo>
                  <a:lnTo>
                    <a:pt x="277" y="67"/>
                  </a:lnTo>
                  <a:lnTo>
                    <a:pt x="286" y="72"/>
                  </a:lnTo>
                  <a:lnTo>
                    <a:pt x="286" y="59"/>
                  </a:lnTo>
                  <a:lnTo>
                    <a:pt x="295" y="45"/>
                  </a:lnTo>
                  <a:lnTo>
                    <a:pt x="308" y="50"/>
                  </a:lnTo>
                  <a:lnTo>
                    <a:pt x="317" y="45"/>
                  </a:lnTo>
                  <a:lnTo>
                    <a:pt x="317" y="41"/>
                  </a:lnTo>
                  <a:lnTo>
                    <a:pt x="308" y="32"/>
                  </a:lnTo>
                  <a:lnTo>
                    <a:pt x="317" y="23"/>
                  </a:lnTo>
                  <a:lnTo>
                    <a:pt x="313" y="18"/>
                  </a:lnTo>
                  <a:lnTo>
                    <a:pt x="299" y="32"/>
                  </a:lnTo>
                  <a:lnTo>
                    <a:pt x="286" y="23"/>
                  </a:lnTo>
                  <a:lnTo>
                    <a:pt x="263" y="0"/>
                  </a:lnTo>
                  <a:lnTo>
                    <a:pt x="255" y="5"/>
                  </a:lnTo>
                  <a:lnTo>
                    <a:pt x="259" y="9"/>
                  </a:lnTo>
                  <a:lnTo>
                    <a:pt x="259" y="14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5" y="4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0" name="Freeform 126">
              <a:extLst>
                <a:ext uri="{FF2B5EF4-FFF2-40B4-BE49-F238E27FC236}">
                  <a16:creationId xmlns:a16="http://schemas.microsoft.com/office/drawing/2014/main" id="{D330E596-221D-47F7-A9AC-66062284BCD2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2477" y="3598591"/>
              <a:ext cx="149743" cy="158518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4" y="67"/>
                </a:cxn>
                <a:cxn ang="0">
                  <a:pos x="4" y="72"/>
                </a:cxn>
                <a:cxn ang="0">
                  <a:pos x="13" y="72"/>
                </a:cxn>
                <a:cxn ang="0">
                  <a:pos x="22" y="72"/>
                </a:cxn>
                <a:cxn ang="0">
                  <a:pos x="18" y="85"/>
                </a:cxn>
                <a:cxn ang="0">
                  <a:pos x="22" y="85"/>
                </a:cxn>
                <a:cxn ang="0">
                  <a:pos x="13" y="90"/>
                </a:cxn>
                <a:cxn ang="0">
                  <a:pos x="9" y="98"/>
                </a:cxn>
                <a:cxn ang="0">
                  <a:pos x="13" y="103"/>
                </a:cxn>
                <a:cxn ang="0">
                  <a:pos x="22" y="107"/>
                </a:cxn>
                <a:cxn ang="0">
                  <a:pos x="27" y="103"/>
                </a:cxn>
                <a:cxn ang="0">
                  <a:pos x="36" y="98"/>
                </a:cxn>
                <a:cxn ang="0">
                  <a:pos x="45" y="98"/>
                </a:cxn>
                <a:cxn ang="0">
                  <a:pos x="62" y="90"/>
                </a:cxn>
                <a:cxn ang="0">
                  <a:pos x="62" y="85"/>
                </a:cxn>
                <a:cxn ang="0">
                  <a:pos x="49" y="81"/>
                </a:cxn>
                <a:cxn ang="0">
                  <a:pos x="49" y="76"/>
                </a:cxn>
                <a:cxn ang="0">
                  <a:pos x="58" y="63"/>
                </a:cxn>
                <a:cxn ang="0">
                  <a:pos x="71" y="58"/>
                </a:cxn>
                <a:cxn ang="0">
                  <a:pos x="80" y="49"/>
                </a:cxn>
                <a:cxn ang="0">
                  <a:pos x="85" y="40"/>
                </a:cxn>
                <a:cxn ang="0">
                  <a:pos x="85" y="22"/>
                </a:cxn>
                <a:cxn ang="0">
                  <a:pos x="94" y="14"/>
                </a:cxn>
                <a:cxn ang="0">
                  <a:pos x="85" y="0"/>
                </a:cxn>
                <a:cxn ang="0">
                  <a:pos x="76" y="9"/>
                </a:cxn>
                <a:cxn ang="0">
                  <a:pos x="62" y="22"/>
                </a:cxn>
                <a:cxn ang="0">
                  <a:pos x="62" y="36"/>
                </a:cxn>
                <a:cxn ang="0">
                  <a:pos x="45" y="27"/>
                </a:cxn>
                <a:cxn ang="0">
                  <a:pos x="40" y="31"/>
                </a:cxn>
                <a:cxn ang="0">
                  <a:pos x="27" y="49"/>
                </a:cxn>
                <a:cxn ang="0">
                  <a:pos x="22" y="49"/>
                </a:cxn>
                <a:cxn ang="0">
                  <a:pos x="0" y="63"/>
                </a:cxn>
                <a:cxn ang="0">
                  <a:pos x="0" y="67"/>
                </a:cxn>
              </a:cxnLst>
              <a:rect l="0" t="0" r="r" b="b"/>
              <a:pathLst>
                <a:path w="94" h="107">
                  <a:moveTo>
                    <a:pt x="0" y="67"/>
                  </a:moveTo>
                  <a:lnTo>
                    <a:pt x="4" y="67"/>
                  </a:lnTo>
                  <a:lnTo>
                    <a:pt x="4" y="72"/>
                  </a:lnTo>
                  <a:lnTo>
                    <a:pt x="13" y="72"/>
                  </a:lnTo>
                  <a:lnTo>
                    <a:pt x="22" y="72"/>
                  </a:lnTo>
                  <a:lnTo>
                    <a:pt x="18" y="85"/>
                  </a:lnTo>
                  <a:lnTo>
                    <a:pt x="22" y="85"/>
                  </a:lnTo>
                  <a:lnTo>
                    <a:pt x="13" y="90"/>
                  </a:lnTo>
                  <a:lnTo>
                    <a:pt x="9" y="98"/>
                  </a:lnTo>
                  <a:lnTo>
                    <a:pt x="13" y="103"/>
                  </a:lnTo>
                  <a:lnTo>
                    <a:pt x="22" y="107"/>
                  </a:lnTo>
                  <a:lnTo>
                    <a:pt x="27" y="103"/>
                  </a:lnTo>
                  <a:lnTo>
                    <a:pt x="36" y="98"/>
                  </a:lnTo>
                  <a:lnTo>
                    <a:pt x="45" y="98"/>
                  </a:lnTo>
                  <a:lnTo>
                    <a:pt x="62" y="90"/>
                  </a:lnTo>
                  <a:lnTo>
                    <a:pt x="62" y="85"/>
                  </a:lnTo>
                  <a:lnTo>
                    <a:pt x="49" y="81"/>
                  </a:lnTo>
                  <a:lnTo>
                    <a:pt x="49" y="76"/>
                  </a:lnTo>
                  <a:lnTo>
                    <a:pt x="58" y="63"/>
                  </a:lnTo>
                  <a:lnTo>
                    <a:pt x="71" y="58"/>
                  </a:lnTo>
                  <a:lnTo>
                    <a:pt x="80" y="49"/>
                  </a:lnTo>
                  <a:lnTo>
                    <a:pt x="85" y="40"/>
                  </a:lnTo>
                  <a:lnTo>
                    <a:pt x="85" y="22"/>
                  </a:lnTo>
                  <a:lnTo>
                    <a:pt x="94" y="14"/>
                  </a:lnTo>
                  <a:lnTo>
                    <a:pt x="85" y="0"/>
                  </a:lnTo>
                  <a:lnTo>
                    <a:pt x="76" y="9"/>
                  </a:lnTo>
                  <a:lnTo>
                    <a:pt x="62" y="22"/>
                  </a:lnTo>
                  <a:lnTo>
                    <a:pt x="62" y="36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27" y="49"/>
                  </a:lnTo>
                  <a:lnTo>
                    <a:pt x="22" y="49"/>
                  </a:lnTo>
                  <a:lnTo>
                    <a:pt x="0" y="6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1" name="Freeform 127">
              <a:extLst>
                <a:ext uri="{FF2B5EF4-FFF2-40B4-BE49-F238E27FC236}">
                  <a16:creationId xmlns:a16="http://schemas.microsoft.com/office/drawing/2014/main" id="{6CF68E70-B56C-4AF8-BA35-20E823D77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5489" y="3731923"/>
              <a:ext cx="78057" cy="111111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4" y="17"/>
                </a:cxn>
                <a:cxn ang="0">
                  <a:pos x="9" y="31"/>
                </a:cxn>
                <a:cxn ang="0">
                  <a:pos x="0" y="31"/>
                </a:cxn>
                <a:cxn ang="0">
                  <a:pos x="0" y="35"/>
                </a:cxn>
                <a:cxn ang="0">
                  <a:pos x="4" y="44"/>
                </a:cxn>
                <a:cxn ang="0">
                  <a:pos x="4" y="35"/>
                </a:cxn>
                <a:cxn ang="0">
                  <a:pos x="4" y="53"/>
                </a:cxn>
                <a:cxn ang="0">
                  <a:pos x="9" y="53"/>
                </a:cxn>
                <a:cxn ang="0">
                  <a:pos x="4" y="62"/>
                </a:cxn>
                <a:cxn ang="0">
                  <a:pos x="4" y="75"/>
                </a:cxn>
                <a:cxn ang="0">
                  <a:pos x="13" y="75"/>
                </a:cxn>
                <a:cxn ang="0">
                  <a:pos x="18" y="71"/>
                </a:cxn>
                <a:cxn ang="0">
                  <a:pos x="22" y="75"/>
                </a:cxn>
                <a:cxn ang="0">
                  <a:pos x="26" y="71"/>
                </a:cxn>
                <a:cxn ang="0">
                  <a:pos x="26" y="67"/>
                </a:cxn>
                <a:cxn ang="0">
                  <a:pos x="35" y="71"/>
                </a:cxn>
                <a:cxn ang="0">
                  <a:pos x="35" y="58"/>
                </a:cxn>
                <a:cxn ang="0">
                  <a:pos x="40" y="62"/>
                </a:cxn>
                <a:cxn ang="0">
                  <a:pos x="49" y="53"/>
                </a:cxn>
                <a:cxn ang="0">
                  <a:pos x="49" y="26"/>
                </a:cxn>
                <a:cxn ang="0">
                  <a:pos x="35" y="0"/>
                </a:cxn>
                <a:cxn ang="0">
                  <a:pos x="18" y="8"/>
                </a:cxn>
                <a:cxn ang="0">
                  <a:pos x="9" y="8"/>
                </a:cxn>
              </a:cxnLst>
              <a:rect l="0" t="0" r="r" b="b"/>
              <a:pathLst>
                <a:path w="49" h="75">
                  <a:moveTo>
                    <a:pt x="9" y="8"/>
                  </a:moveTo>
                  <a:lnTo>
                    <a:pt x="4" y="17"/>
                  </a:lnTo>
                  <a:lnTo>
                    <a:pt x="9" y="3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4" y="44"/>
                  </a:lnTo>
                  <a:lnTo>
                    <a:pt x="4" y="35"/>
                  </a:lnTo>
                  <a:lnTo>
                    <a:pt x="4" y="53"/>
                  </a:lnTo>
                  <a:lnTo>
                    <a:pt x="9" y="53"/>
                  </a:lnTo>
                  <a:lnTo>
                    <a:pt x="4" y="62"/>
                  </a:lnTo>
                  <a:lnTo>
                    <a:pt x="4" y="75"/>
                  </a:lnTo>
                  <a:lnTo>
                    <a:pt x="13" y="75"/>
                  </a:lnTo>
                  <a:lnTo>
                    <a:pt x="18" y="71"/>
                  </a:lnTo>
                  <a:lnTo>
                    <a:pt x="22" y="75"/>
                  </a:lnTo>
                  <a:lnTo>
                    <a:pt x="26" y="71"/>
                  </a:lnTo>
                  <a:lnTo>
                    <a:pt x="26" y="67"/>
                  </a:lnTo>
                  <a:lnTo>
                    <a:pt x="35" y="71"/>
                  </a:lnTo>
                  <a:lnTo>
                    <a:pt x="35" y="58"/>
                  </a:lnTo>
                  <a:lnTo>
                    <a:pt x="40" y="62"/>
                  </a:lnTo>
                  <a:lnTo>
                    <a:pt x="49" y="53"/>
                  </a:lnTo>
                  <a:lnTo>
                    <a:pt x="49" y="26"/>
                  </a:lnTo>
                  <a:lnTo>
                    <a:pt x="35" y="0"/>
                  </a:lnTo>
                  <a:lnTo>
                    <a:pt x="18" y="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2" name="Freeform 130">
              <a:extLst>
                <a:ext uri="{FF2B5EF4-FFF2-40B4-BE49-F238E27FC236}">
                  <a16:creationId xmlns:a16="http://schemas.microsoft.com/office/drawing/2014/main" id="{14EE26C4-7C2D-4BDD-BFF8-B5228954E6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0854" y="4142292"/>
              <a:ext cx="157708" cy="185184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9" y="17"/>
                </a:cxn>
                <a:cxn ang="0">
                  <a:pos x="14" y="13"/>
                </a:cxn>
                <a:cxn ang="0">
                  <a:pos x="14" y="22"/>
                </a:cxn>
                <a:cxn ang="0">
                  <a:pos x="23" y="22"/>
                </a:cxn>
                <a:cxn ang="0">
                  <a:pos x="23" y="0"/>
                </a:cxn>
                <a:cxn ang="0">
                  <a:pos x="27" y="0"/>
                </a:cxn>
                <a:cxn ang="0">
                  <a:pos x="36" y="9"/>
                </a:cxn>
                <a:cxn ang="0">
                  <a:pos x="41" y="22"/>
                </a:cxn>
                <a:cxn ang="0">
                  <a:pos x="54" y="22"/>
                </a:cxn>
                <a:cxn ang="0">
                  <a:pos x="63" y="31"/>
                </a:cxn>
                <a:cxn ang="0">
                  <a:pos x="58" y="40"/>
                </a:cxn>
                <a:cxn ang="0">
                  <a:pos x="54" y="35"/>
                </a:cxn>
                <a:cxn ang="0">
                  <a:pos x="54" y="49"/>
                </a:cxn>
                <a:cxn ang="0">
                  <a:pos x="67" y="58"/>
                </a:cxn>
                <a:cxn ang="0">
                  <a:pos x="85" y="89"/>
                </a:cxn>
                <a:cxn ang="0">
                  <a:pos x="94" y="93"/>
                </a:cxn>
                <a:cxn ang="0">
                  <a:pos x="99" y="120"/>
                </a:cxn>
                <a:cxn ang="0">
                  <a:pos x="90" y="116"/>
                </a:cxn>
                <a:cxn ang="0">
                  <a:pos x="85" y="116"/>
                </a:cxn>
                <a:cxn ang="0">
                  <a:pos x="81" y="125"/>
                </a:cxn>
                <a:cxn ang="0">
                  <a:pos x="72" y="125"/>
                </a:cxn>
                <a:cxn ang="0">
                  <a:pos x="67" y="120"/>
                </a:cxn>
                <a:cxn ang="0">
                  <a:pos x="76" y="102"/>
                </a:cxn>
                <a:cxn ang="0">
                  <a:pos x="63" y="89"/>
                </a:cxn>
                <a:cxn ang="0">
                  <a:pos x="54" y="62"/>
                </a:cxn>
                <a:cxn ang="0">
                  <a:pos x="45" y="62"/>
                </a:cxn>
                <a:cxn ang="0">
                  <a:pos x="36" y="71"/>
                </a:cxn>
                <a:cxn ang="0">
                  <a:pos x="27" y="67"/>
                </a:cxn>
                <a:cxn ang="0">
                  <a:pos x="14" y="80"/>
                </a:cxn>
                <a:cxn ang="0">
                  <a:pos x="14" y="44"/>
                </a:cxn>
                <a:cxn ang="0">
                  <a:pos x="5" y="40"/>
                </a:cxn>
                <a:cxn ang="0">
                  <a:pos x="9" y="35"/>
                </a:cxn>
                <a:cxn ang="0">
                  <a:pos x="0" y="31"/>
                </a:cxn>
              </a:cxnLst>
              <a:rect l="0" t="0" r="r" b="b"/>
              <a:pathLst>
                <a:path w="99" h="125">
                  <a:moveTo>
                    <a:pt x="0" y="31"/>
                  </a:moveTo>
                  <a:lnTo>
                    <a:pt x="9" y="17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23" y="22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6" y="9"/>
                  </a:lnTo>
                  <a:lnTo>
                    <a:pt x="41" y="22"/>
                  </a:lnTo>
                  <a:lnTo>
                    <a:pt x="54" y="22"/>
                  </a:lnTo>
                  <a:lnTo>
                    <a:pt x="63" y="31"/>
                  </a:lnTo>
                  <a:lnTo>
                    <a:pt x="58" y="40"/>
                  </a:lnTo>
                  <a:lnTo>
                    <a:pt x="54" y="35"/>
                  </a:lnTo>
                  <a:lnTo>
                    <a:pt x="54" y="49"/>
                  </a:lnTo>
                  <a:lnTo>
                    <a:pt x="67" y="58"/>
                  </a:lnTo>
                  <a:lnTo>
                    <a:pt x="85" y="89"/>
                  </a:lnTo>
                  <a:lnTo>
                    <a:pt x="94" y="93"/>
                  </a:lnTo>
                  <a:lnTo>
                    <a:pt x="99" y="120"/>
                  </a:lnTo>
                  <a:lnTo>
                    <a:pt x="90" y="116"/>
                  </a:lnTo>
                  <a:lnTo>
                    <a:pt x="85" y="116"/>
                  </a:lnTo>
                  <a:lnTo>
                    <a:pt x="81" y="125"/>
                  </a:lnTo>
                  <a:lnTo>
                    <a:pt x="72" y="125"/>
                  </a:lnTo>
                  <a:lnTo>
                    <a:pt x="67" y="120"/>
                  </a:lnTo>
                  <a:lnTo>
                    <a:pt x="76" y="102"/>
                  </a:lnTo>
                  <a:lnTo>
                    <a:pt x="63" y="89"/>
                  </a:lnTo>
                  <a:lnTo>
                    <a:pt x="54" y="62"/>
                  </a:lnTo>
                  <a:lnTo>
                    <a:pt x="45" y="62"/>
                  </a:lnTo>
                  <a:lnTo>
                    <a:pt x="36" y="71"/>
                  </a:lnTo>
                  <a:lnTo>
                    <a:pt x="27" y="67"/>
                  </a:lnTo>
                  <a:lnTo>
                    <a:pt x="14" y="80"/>
                  </a:lnTo>
                  <a:lnTo>
                    <a:pt x="14" y="44"/>
                  </a:lnTo>
                  <a:lnTo>
                    <a:pt x="5" y="40"/>
                  </a:lnTo>
                  <a:lnTo>
                    <a:pt x="9" y="35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3" name="Freeform 132">
              <a:extLst>
                <a:ext uri="{FF2B5EF4-FFF2-40B4-BE49-F238E27FC236}">
                  <a16:creationId xmlns:a16="http://schemas.microsoft.com/office/drawing/2014/main" id="{B1BEED0D-CB37-4704-BC41-396C46E780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0854" y="4472660"/>
              <a:ext cx="441264" cy="14518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5" y="36"/>
                </a:cxn>
                <a:cxn ang="0">
                  <a:pos x="5" y="49"/>
                </a:cxn>
                <a:cxn ang="0">
                  <a:pos x="14" y="54"/>
                </a:cxn>
                <a:cxn ang="0">
                  <a:pos x="50" y="89"/>
                </a:cxn>
                <a:cxn ang="0">
                  <a:pos x="58" y="89"/>
                </a:cxn>
                <a:cxn ang="0">
                  <a:pos x="54" y="72"/>
                </a:cxn>
                <a:cxn ang="0">
                  <a:pos x="45" y="40"/>
                </a:cxn>
                <a:cxn ang="0">
                  <a:pos x="27" y="18"/>
                </a:cxn>
                <a:cxn ang="0">
                  <a:pos x="14" y="27"/>
                </a:cxn>
                <a:cxn ang="0">
                  <a:pos x="0" y="18"/>
                </a:cxn>
                <a:cxn ang="0">
                  <a:pos x="201" y="45"/>
                </a:cxn>
                <a:cxn ang="0">
                  <a:pos x="210" y="40"/>
                </a:cxn>
                <a:cxn ang="0">
                  <a:pos x="219" y="31"/>
                </a:cxn>
                <a:cxn ang="0">
                  <a:pos x="224" y="22"/>
                </a:cxn>
                <a:cxn ang="0">
                  <a:pos x="246" y="0"/>
                </a:cxn>
                <a:cxn ang="0">
                  <a:pos x="237" y="13"/>
                </a:cxn>
                <a:cxn ang="0">
                  <a:pos x="251" y="18"/>
                </a:cxn>
                <a:cxn ang="0">
                  <a:pos x="255" y="22"/>
                </a:cxn>
                <a:cxn ang="0">
                  <a:pos x="259" y="22"/>
                </a:cxn>
                <a:cxn ang="0">
                  <a:pos x="273" y="36"/>
                </a:cxn>
                <a:cxn ang="0">
                  <a:pos x="255" y="36"/>
                </a:cxn>
                <a:cxn ang="0">
                  <a:pos x="268" y="45"/>
                </a:cxn>
                <a:cxn ang="0">
                  <a:pos x="233" y="45"/>
                </a:cxn>
                <a:cxn ang="0">
                  <a:pos x="210" y="76"/>
                </a:cxn>
                <a:cxn ang="0">
                  <a:pos x="184" y="89"/>
                </a:cxn>
                <a:cxn ang="0">
                  <a:pos x="157" y="98"/>
                </a:cxn>
                <a:cxn ang="0">
                  <a:pos x="134" y="80"/>
                </a:cxn>
                <a:cxn ang="0">
                  <a:pos x="143" y="85"/>
                </a:cxn>
                <a:cxn ang="0">
                  <a:pos x="157" y="89"/>
                </a:cxn>
                <a:cxn ang="0">
                  <a:pos x="161" y="67"/>
                </a:cxn>
                <a:cxn ang="0">
                  <a:pos x="197" y="49"/>
                </a:cxn>
              </a:cxnLst>
              <a:rect l="0" t="0" r="r" b="b"/>
              <a:pathLst>
                <a:path w="277" h="98">
                  <a:moveTo>
                    <a:pt x="0" y="18"/>
                  </a:moveTo>
                  <a:lnTo>
                    <a:pt x="0" y="18"/>
                  </a:lnTo>
                  <a:lnTo>
                    <a:pt x="0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4" y="54"/>
                  </a:lnTo>
                  <a:lnTo>
                    <a:pt x="18" y="72"/>
                  </a:lnTo>
                  <a:lnTo>
                    <a:pt x="50" y="89"/>
                  </a:lnTo>
                  <a:lnTo>
                    <a:pt x="54" y="85"/>
                  </a:lnTo>
                  <a:lnTo>
                    <a:pt x="58" y="89"/>
                  </a:lnTo>
                  <a:lnTo>
                    <a:pt x="63" y="89"/>
                  </a:lnTo>
                  <a:lnTo>
                    <a:pt x="54" y="72"/>
                  </a:lnTo>
                  <a:lnTo>
                    <a:pt x="45" y="67"/>
                  </a:lnTo>
                  <a:lnTo>
                    <a:pt x="45" y="40"/>
                  </a:lnTo>
                  <a:lnTo>
                    <a:pt x="32" y="18"/>
                  </a:lnTo>
                  <a:lnTo>
                    <a:pt x="27" y="18"/>
                  </a:lnTo>
                  <a:lnTo>
                    <a:pt x="23" y="27"/>
                  </a:lnTo>
                  <a:lnTo>
                    <a:pt x="14" y="27"/>
                  </a:lnTo>
                  <a:lnTo>
                    <a:pt x="5" y="13"/>
                  </a:lnTo>
                  <a:lnTo>
                    <a:pt x="0" y="18"/>
                  </a:lnTo>
                  <a:close/>
                  <a:moveTo>
                    <a:pt x="197" y="40"/>
                  </a:moveTo>
                  <a:lnTo>
                    <a:pt x="201" y="45"/>
                  </a:lnTo>
                  <a:lnTo>
                    <a:pt x="210" y="49"/>
                  </a:lnTo>
                  <a:lnTo>
                    <a:pt x="210" y="40"/>
                  </a:lnTo>
                  <a:lnTo>
                    <a:pt x="215" y="45"/>
                  </a:lnTo>
                  <a:lnTo>
                    <a:pt x="219" y="31"/>
                  </a:lnTo>
                  <a:lnTo>
                    <a:pt x="215" y="27"/>
                  </a:lnTo>
                  <a:lnTo>
                    <a:pt x="224" y="22"/>
                  </a:lnTo>
                  <a:lnTo>
                    <a:pt x="242" y="0"/>
                  </a:lnTo>
                  <a:lnTo>
                    <a:pt x="246" y="0"/>
                  </a:lnTo>
                  <a:lnTo>
                    <a:pt x="242" y="4"/>
                  </a:lnTo>
                  <a:lnTo>
                    <a:pt x="237" y="13"/>
                  </a:lnTo>
                  <a:lnTo>
                    <a:pt x="242" y="9"/>
                  </a:lnTo>
                  <a:lnTo>
                    <a:pt x="251" y="18"/>
                  </a:lnTo>
                  <a:lnTo>
                    <a:pt x="246" y="22"/>
                  </a:lnTo>
                  <a:lnTo>
                    <a:pt x="255" y="22"/>
                  </a:lnTo>
                  <a:lnTo>
                    <a:pt x="255" y="27"/>
                  </a:lnTo>
                  <a:lnTo>
                    <a:pt x="259" y="22"/>
                  </a:lnTo>
                  <a:lnTo>
                    <a:pt x="277" y="31"/>
                  </a:lnTo>
                  <a:lnTo>
                    <a:pt x="273" y="36"/>
                  </a:lnTo>
                  <a:lnTo>
                    <a:pt x="259" y="31"/>
                  </a:lnTo>
                  <a:lnTo>
                    <a:pt x="255" y="36"/>
                  </a:lnTo>
                  <a:lnTo>
                    <a:pt x="268" y="40"/>
                  </a:lnTo>
                  <a:lnTo>
                    <a:pt x="268" y="45"/>
                  </a:lnTo>
                  <a:lnTo>
                    <a:pt x="251" y="45"/>
                  </a:lnTo>
                  <a:lnTo>
                    <a:pt x="233" y="45"/>
                  </a:lnTo>
                  <a:lnTo>
                    <a:pt x="224" y="49"/>
                  </a:lnTo>
                  <a:lnTo>
                    <a:pt x="210" y="76"/>
                  </a:lnTo>
                  <a:lnTo>
                    <a:pt x="206" y="89"/>
                  </a:lnTo>
                  <a:lnTo>
                    <a:pt x="184" y="89"/>
                  </a:lnTo>
                  <a:lnTo>
                    <a:pt x="175" y="98"/>
                  </a:lnTo>
                  <a:lnTo>
                    <a:pt x="157" y="98"/>
                  </a:lnTo>
                  <a:lnTo>
                    <a:pt x="139" y="85"/>
                  </a:lnTo>
                  <a:lnTo>
                    <a:pt x="134" y="80"/>
                  </a:lnTo>
                  <a:lnTo>
                    <a:pt x="139" y="80"/>
                  </a:lnTo>
                  <a:lnTo>
                    <a:pt x="143" y="85"/>
                  </a:lnTo>
                  <a:lnTo>
                    <a:pt x="148" y="85"/>
                  </a:lnTo>
                  <a:lnTo>
                    <a:pt x="157" y="89"/>
                  </a:lnTo>
                  <a:lnTo>
                    <a:pt x="161" y="76"/>
                  </a:lnTo>
                  <a:lnTo>
                    <a:pt x="161" y="67"/>
                  </a:lnTo>
                  <a:lnTo>
                    <a:pt x="188" y="63"/>
                  </a:lnTo>
                  <a:lnTo>
                    <a:pt x="197" y="49"/>
                  </a:lnTo>
                  <a:lnTo>
                    <a:pt x="197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4" name="Freeform 136">
              <a:extLst>
                <a:ext uri="{FF2B5EF4-FFF2-40B4-BE49-F238E27FC236}">
                  <a16:creationId xmlns:a16="http://schemas.microsoft.com/office/drawing/2014/main" id="{83272138-B9F1-445C-80AA-C5941DD99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6846" y="3949700"/>
              <a:ext cx="184789" cy="99259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6" y="4"/>
                </a:cxn>
                <a:cxn ang="0">
                  <a:pos x="44" y="22"/>
                </a:cxn>
                <a:cxn ang="0">
                  <a:pos x="53" y="22"/>
                </a:cxn>
                <a:cxn ang="0">
                  <a:pos x="75" y="40"/>
                </a:cxn>
                <a:cxn ang="0">
                  <a:pos x="116" y="45"/>
                </a:cxn>
                <a:cxn ang="0">
                  <a:pos x="116" y="63"/>
                </a:cxn>
                <a:cxn ang="0">
                  <a:pos x="107" y="67"/>
                </a:cxn>
                <a:cxn ang="0">
                  <a:pos x="75" y="63"/>
                </a:cxn>
                <a:cxn ang="0">
                  <a:pos x="75" y="58"/>
                </a:cxn>
                <a:cxn ang="0">
                  <a:pos x="67" y="58"/>
                </a:cxn>
                <a:cxn ang="0">
                  <a:pos x="58" y="49"/>
                </a:cxn>
                <a:cxn ang="0">
                  <a:pos x="49" y="54"/>
                </a:cxn>
                <a:cxn ang="0">
                  <a:pos x="35" y="49"/>
                </a:cxn>
                <a:cxn ang="0">
                  <a:pos x="8" y="36"/>
                </a:cxn>
                <a:cxn ang="0">
                  <a:pos x="8" y="27"/>
                </a:cxn>
                <a:cxn ang="0">
                  <a:pos x="0" y="27"/>
                </a:cxn>
                <a:cxn ang="0">
                  <a:pos x="0" y="9"/>
                </a:cxn>
                <a:cxn ang="0">
                  <a:pos x="8" y="0"/>
                </a:cxn>
              </a:cxnLst>
              <a:rect l="0" t="0" r="r" b="b"/>
              <a:pathLst>
                <a:path w="116" h="67">
                  <a:moveTo>
                    <a:pt x="8" y="0"/>
                  </a:moveTo>
                  <a:lnTo>
                    <a:pt x="26" y="4"/>
                  </a:lnTo>
                  <a:lnTo>
                    <a:pt x="44" y="22"/>
                  </a:lnTo>
                  <a:lnTo>
                    <a:pt x="53" y="22"/>
                  </a:lnTo>
                  <a:lnTo>
                    <a:pt x="75" y="40"/>
                  </a:lnTo>
                  <a:lnTo>
                    <a:pt x="116" y="45"/>
                  </a:lnTo>
                  <a:lnTo>
                    <a:pt x="116" y="63"/>
                  </a:lnTo>
                  <a:lnTo>
                    <a:pt x="107" y="67"/>
                  </a:lnTo>
                  <a:lnTo>
                    <a:pt x="75" y="63"/>
                  </a:lnTo>
                  <a:lnTo>
                    <a:pt x="75" y="58"/>
                  </a:lnTo>
                  <a:lnTo>
                    <a:pt x="67" y="58"/>
                  </a:lnTo>
                  <a:lnTo>
                    <a:pt x="58" y="49"/>
                  </a:lnTo>
                  <a:lnTo>
                    <a:pt x="49" y="54"/>
                  </a:lnTo>
                  <a:lnTo>
                    <a:pt x="35" y="49"/>
                  </a:lnTo>
                  <a:lnTo>
                    <a:pt x="8" y="36"/>
                  </a:lnTo>
                  <a:lnTo>
                    <a:pt x="8" y="27"/>
                  </a:lnTo>
                  <a:lnTo>
                    <a:pt x="0" y="27"/>
                  </a:lnTo>
                  <a:lnTo>
                    <a:pt x="0" y="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5" name="Freeform 137">
              <a:extLst>
                <a:ext uri="{FF2B5EF4-FFF2-40B4-BE49-F238E27FC236}">
                  <a16:creationId xmlns:a16="http://schemas.microsoft.com/office/drawing/2014/main" id="{95A3CBB8-08AB-4ACC-ACE9-F5ED586AC2D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90051" y="5081546"/>
              <a:ext cx="92395" cy="5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9" y="14"/>
                </a:cxn>
                <a:cxn ang="0">
                  <a:pos x="22" y="27"/>
                </a:cxn>
                <a:cxn ang="0">
                  <a:pos x="40" y="36"/>
                </a:cxn>
                <a:cxn ang="0">
                  <a:pos x="45" y="31"/>
                </a:cxn>
                <a:cxn ang="0">
                  <a:pos x="36" y="27"/>
                </a:cxn>
                <a:cxn ang="0">
                  <a:pos x="31" y="22"/>
                </a:cxn>
                <a:cxn ang="0">
                  <a:pos x="18" y="9"/>
                </a:cxn>
                <a:cxn ang="0">
                  <a:pos x="14" y="9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54" y="14"/>
                </a:cxn>
                <a:cxn ang="0">
                  <a:pos x="49" y="14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5" y="14"/>
                </a:cxn>
                <a:cxn ang="0">
                  <a:pos x="49" y="18"/>
                </a:cxn>
                <a:cxn ang="0">
                  <a:pos x="54" y="14"/>
                </a:cxn>
                <a:cxn ang="0">
                  <a:pos x="58" y="22"/>
                </a:cxn>
                <a:cxn ang="0">
                  <a:pos x="58" y="18"/>
                </a:cxn>
                <a:cxn ang="0">
                  <a:pos x="54" y="18"/>
                </a:cxn>
                <a:cxn ang="0">
                  <a:pos x="54" y="18"/>
                </a:cxn>
                <a:cxn ang="0">
                  <a:pos x="54" y="22"/>
                </a:cxn>
                <a:cxn ang="0">
                  <a:pos x="58" y="22"/>
                </a:cxn>
              </a:cxnLst>
              <a:rect l="0" t="0" r="r" b="b"/>
              <a:pathLst>
                <a:path w="58" h="36">
                  <a:moveTo>
                    <a:pt x="0" y="0"/>
                  </a:moveTo>
                  <a:lnTo>
                    <a:pt x="0" y="0"/>
                  </a:lnTo>
                  <a:lnTo>
                    <a:pt x="9" y="14"/>
                  </a:lnTo>
                  <a:lnTo>
                    <a:pt x="22" y="27"/>
                  </a:lnTo>
                  <a:lnTo>
                    <a:pt x="40" y="36"/>
                  </a:lnTo>
                  <a:lnTo>
                    <a:pt x="45" y="31"/>
                  </a:lnTo>
                  <a:lnTo>
                    <a:pt x="36" y="27"/>
                  </a:lnTo>
                  <a:lnTo>
                    <a:pt x="31" y="22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9" y="5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54" y="14"/>
                  </a:moveTo>
                  <a:lnTo>
                    <a:pt x="49" y="14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4"/>
                  </a:lnTo>
                  <a:lnTo>
                    <a:pt x="49" y="18"/>
                  </a:lnTo>
                  <a:lnTo>
                    <a:pt x="54" y="14"/>
                  </a:lnTo>
                  <a:close/>
                  <a:moveTo>
                    <a:pt x="58" y="22"/>
                  </a:moveTo>
                  <a:lnTo>
                    <a:pt x="58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22"/>
                  </a:lnTo>
                  <a:lnTo>
                    <a:pt x="58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6" name="Freeform 138">
              <a:extLst>
                <a:ext uri="{FF2B5EF4-FFF2-40B4-BE49-F238E27FC236}">
                  <a16:creationId xmlns:a16="http://schemas.microsoft.com/office/drawing/2014/main" id="{7745B70E-AE4A-4B7A-9956-7D221D4D130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39435" y="4955621"/>
              <a:ext cx="50976" cy="7259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5" y="14"/>
                </a:cxn>
                <a:cxn ang="0">
                  <a:pos x="14" y="14"/>
                </a:cxn>
                <a:cxn ang="0">
                  <a:pos x="14" y="5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18" y="18"/>
                </a:cxn>
                <a:cxn ang="0">
                  <a:pos x="14" y="23"/>
                </a:cxn>
                <a:cxn ang="0">
                  <a:pos x="23" y="27"/>
                </a:cxn>
                <a:cxn ang="0">
                  <a:pos x="23" y="27"/>
                </a:cxn>
                <a:cxn ang="0">
                  <a:pos x="18" y="18"/>
                </a:cxn>
                <a:cxn ang="0">
                  <a:pos x="27" y="40"/>
                </a:cxn>
                <a:cxn ang="0">
                  <a:pos x="27" y="45"/>
                </a:cxn>
                <a:cxn ang="0">
                  <a:pos x="32" y="49"/>
                </a:cxn>
                <a:cxn ang="0">
                  <a:pos x="32" y="40"/>
                </a:cxn>
                <a:cxn ang="0">
                  <a:pos x="27" y="40"/>
                </a:cxn>
              </a:cxnLst>
              <a:rect l="0" t="0" r="r" b="b"/>
              <a:pathLst>
                <a:path w="32" h="49">
                  <a:moveTo>
                    <a:pt x="5" y="0"/>
                  </a:moveTo>
                  <a:lnTo>
                    <a:pt x="0" y="5"/>
                  </a:lnTo>
                  <a:lnTo>
                    <a:pt x="5" y="14"/>
                  </a:lnTo>
                  <a:lnTo>
                    <a:pt x="14" y="14"/>
                  </a:lnTo>
                  <a:lnTo>
                    <a:pt x="14" y="5"/>
                  </a:lnTo>
                  <a:lnTo>
                    <a:pt x="9" y="5"/>
                  </a:lnTo>
                  <a:lnTo>
                    <a:pt x="5" y="0"/>
                  </a:lnTo>
                  <a:close/>
                  <a:moveTo>
                    <a:pt x="18" y="18"/>
                  </a:moveTo>
                  <a:lnTo>
                    <a:pt x="14" y="23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18" y="18"/>
                  </a:lnTo>
                  <a:close/>
                  <a:moveTo>
                    <a:pt x="27" y="40"/>
                  </a:moveTo>
                  <a:lnTo>
                    <a:pt x="27" y="45"/>
                  </a:lnTo>
                  <a:lnTo>
                    <a:pt x="32" y="49"/>
                  </a:lnTo>
                  <a:lnTo>
                    <a:pt x="32" y="40"/>
                  </a:lnTo>
                  <a:lnTo>
                    <a:pt x="27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7" name="Freeform 139">
              <a:extLst>
                <a:ext uri="{FF2B5EF4-FFF2-40B4-BE49-F238E27FC236}">
                  <a16:creationId xmlns:a16="http://schemas.microsoft.com/office/drawing/2014/main" id="{7ADF9B25-2D00-4039-A2A8-E790A725BB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92672" y="4432661"/>
              <a:ext cx="583042" cy="19259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32" y="130"/>
                </a:cxn>
                <a:cxn ang="0">
                  <a:pos x="237" y="130"/>
                </a:cxn>
                <a:cxn ang="0">
                  <a:pos x="241" y="130"/>
                </a:cxn>
                <a:cxn ang="0">
                  <a:pos x="237" y="130"/>
                </a:cxn>
                <a:cxn ang="0">
                  <a:pos x="237" y="125"/>
                </a:cxn>
                <a:cxn ang="0">
                  <a:pos x="237" y="130"/>
                </a:cxn>
                <a:cxn ang="0">
                  <a:pos x="232" y="130"/>
                </a:cxn>
                <a:cxn ang="0">
                  <a:pos x="281" y="116"/>
                </a:cxn>
                <a:cxn ang="0">
                  <a:pos x="281" y="121"/>
                </a:cxn>
                <a:cxn ang="0">
                  <a:pos x="286" y="116"/>
                </a:cxn>
                <a:cxn ang="0">
                  <a:pos x="281" y="116"/>
                </a:cxn>
                <a:cxn ang="0">
                  <a:pos x="286" y="36"/>
                </a:cxn>
                <a:cxn ang="0">
                  <a:pos x="286" y="36"/>
                </a:cxn>
                <a:cxn ang="0">
                  <a:pos x="290" y="31"/>
                </a:cxn>
                <a:cxn ang="0">
                  <a:pos x="286" y="36"/>
                </a:cxn>
                <a:cxn ang="0">
                  <a:pos x="362" y="58"/>
                </a:cxn>
                <a:cxn ang="0">
                  <a:pos x="366" y="58"/>
                </a:cxn>
                <a:cxn ang="0">
                  <a:pos x="366" y="54"/>
                </a:cxn>
                <a:cxn ang="0">
                  <a:pos x="362" y="58"/>
                </a:cxn>
              </a:cxnLst>
              <a:rect l="0" t="0" r="r" b="b"/>
              <a:pathLst>
                <a:path w="366" h="13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232" y="130"/>
                  </a:moveTo>
                  <a:lnTo>
                    <a:pt x="237" y="130"/>
                  </a:lnTo>
                  <a:lnTo>
                    <a:pt x="241" y="130"/>
                  </a:lnTo>
                  <a:lnTo>
                    <a:pt x="237" y="130"/>
                  </a:lnTo>
                  <a:lnTo>
                    <a:pt x="237" y="125"/>
                  </a:lnTo>
                  <a:lnTo>
                    <a:pt x="237" y="130"/>
                  </a:lnTo>
                  <a:lnTo>
                    <a:pt x="232" y="130"/>
                  </a:lnTo>
                  <a:close/>
                  <a:moveTo>
                    <a:pt x="281" y="116"/>
                  </a:moveTo>
                  <a:lnTo>
                    <a:pt x="281" y="121"/>
                  </a:lnTo>
                  <a:lnTo>
                    <a:pt x="286" y="116"/>
                  </a:lnTo>
                  <a:lnTo>
                    <a:pt x="281" y="116"/>
                  </a:lnTo>
                  <a:close/>
                  <a:moveTo>
                    <a:pt x="286" y="36"/>
                  </a:moveTo>
                  <a:lnTo>
                    <a:pt x="286" y="36"/>
                  </a:lnTo>
                  <a:lnTo>
                    <a:pt x="290" y="31"/>
                  </a:lnTo>
                  <a:lnTo>
                    <a:pt x="286" y="36"/>
                  </a:lnTo>
                  <a:close/>
                  <a:moveTo>
                    <a:pt x="362" y="58"/>
                  </a:moveTo>
                  <a:lnTo>
                    <a:pt x="366" y="58"/>
                  </a:lnTo>
                  <a:lnTo>
                    <a:pt x="366" y="54"/>
                  </a:lnTo>
                  <a:lnTo>
                    <a:pt x="362" y="5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8" name="Freeform 141">
              <a:extLst>
                <a:ext uri="{FF2B5EF4-FFF2-40B4-BE49-F238E27FC236}">
                  <a16:creationId xmlns:a16="http://schemas.microsoft.com/office/drawing/2014/main" id="{178EDE76-28FE-494E-BC7C-423DE69BD8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16362" y="4220810"/>
              <a:ext cx="213463" cy="305184"/>
            </a:xfrm>
            <a:custGeom>
              <a:avLst/>
              <a:gdLst/>
              <a:ahLst/>
              <a:cxnLst>
                <a:cxn ang="0">
                  <a:pos x="31" y="125"/>
                </a:cxn>
                <a:cxn ang="0">
                  <a:pos x="9" y="152"/>
                </a:cxn>
                <a:cxn ang="0">
                  <a:pos x="17" y="148"/>
                </a:cxn>
                <a:cxn ang="0">
                  <a:pos x="40" y="116"/>
                </a:cxn>
                <a:cxn ang="0">
                  <a:pos x="44" y="206"/>
                </a:cxn>
                <a:cxn ang="0">
                  <a:pos x="40" y="201"/>
                </a:cxn>
                <a:cxn ang="0">
                  <a:pos x="58" y="107"/>
                </a:cxn>
                <a:cxn ang="0">
                  <a:pos x="58" y="85"/>
                </a:cxn>
                <a:cxn ang="0">
                  <a:pos x="40" y="40"/>
                </a:cxn>
                <a:cxn ang="0">
                  <a:pos x="49" y="63"/>
                </a:cxn>
                <a:cxn ang="0">
                  <a:pos x="58" y="81"/>
                </a:cxn>
                <a:cxn ang="0">
                  <a:pos x="76" y="76"/>
                </a:cxn>
                <a:cxn ang="0">
                  <a:pos x="102" y="90"/>
                </a:cxn>
                <a:cxn ang="0">
                  <a:pos x="102" y="81"/>
                </a:cxn>
                <a:cxn ang="0">
                  <a:pos x="102" y="76"/>
                </a:cxn>
                <a:cxn ang="0">
                  <a:pos x="89" y="76"/>
                </a:cxn>
                <a:cxn ang="0">
                  <a:pos x="67" y="67"/>
                </a:cxn>
                <a:cxn ang="0">
                  <a:pos x="71" y="76"/>
                </a:cxn>
                <a:cxn ang="0">
                  <a:pos x="62" y="54"/>
                </a:cxn>
                <a:cxn ang="0">
                  <a:pos x="67" y="36"/>
                </a:cxn>
                <a:cxn ang="0">
                  <a:pos x="76" y="9"/>
                </a:cxn>
                <a:cxn ang="0">
                  <a:pos x="58" y="5"/>
                </a:cxn>
                <a:cxn ang="0">
                  <a:pos x="49" y="49"/>
                </a:cxn>
                <a:cxn ang="0">
                  <a:pos x="67" y="134"/>
                </a:cxn>
                <a:cxn ang="0">
                  <a:pos x="84" y="112"/>
                </a:cxn>
                <a:cxn ang="0">
                  <a:pos x="71" y="107"/>
                </a:cxn>
                <a:cxn ang="0">
                  <a:pos x="89" y="112"/>
                </a:cxn>
                <a:cxn ang="0">
                  <a:pos x="98" y="107"/>
                </a:cxn>
                <a:cxn ang="0">
                  <a:pos x="84" y="103"/>
                </a:cxn>
                <a:cxn ang="0">
                  <a:pos x="89" y="157"/>
                </a:cxn>
                <a:cxn ang="0">
                  <a:pos x="71" y="161"/>
                </a:cxn>
                <a:cxn ang="0">
                  <a:pos x="67" y="188"/>
                </a:cxn>
                <a:cxn ang="0">
                  <a:pos x="76" y="170"/>
                </a:cxn>
                <a:cxn ang="0">
                  <a:pos x="89" y="174"/>
                </a:cxn>
                <a:cxn ang="0">
                  <a:pos x="102" y="174"/>
                </a:cxn>
                <a:cxn ang="0">
                  <a:pos x="116" y="192"/>
                </a:cxn>
                <a:cxn ang="0">
                  <a:pos x="125" y="183"/>
                </a:cxn>
                <a:cxn ang="0">
                  <a:pos x="120" y="170"/>
                </a:cxn>
                <a:cxn ang="0">
                  <a:pos x="134" y="170"/>
                </a:cxn>
                <a:cxn ang="0">
                  <a:pos x="129" y="139"/>
                </a:cxn>
                <a:cxn ang="0">
                  <a:pos x="125" y="134"/>
                </a:cxn>
                <a:cxn ang="0">
                  <a:pos x="116" y="152"/>
                </a:cxn>
                <a:cxn ang="0">
                  <a:pos x="102" y="152"/>
                </a:cxn>
                <a:cxn ang="0">
                  <a:pos x="84" y="121"/>
                </a:cxn>
                <a:cxn ang="0">
                  <a:pos x="71" y="139"/>
                </a:cxn>
                <a:cxn ang="0">
                  <a:pos x="84" y="152"/>
                </a:cxn>
                <a:cxn ang="0">
                  <a:pos x="93" y="125"/>
                </a:cxn>
                <a:cxn ang="0">
                  <a:pos x="89" y="139"/>
                </a:cxn>
                <a:cxn ang="0">
                  <a:pos x="98" y="116"/>
                </a:cxn>
                <a:cxn ang="0">
                  <a:pos x="102" y="125"/>
                </a:cxn>
                <a:cxn ang="0">
                  <a:pos x="120" y="139"/>
                </a:cxn>
                <a:cxn ang="0">
                  <a:pos x="116" y="121"/>
                </a:cxn>
                <a:cxn ang="0">
                  <a:pos x="102" y="112"/>
                </a:cxn>
                <a:cxn ang="0">
                  <a:pos x="111" y="112"/>
                </a:cxn>
                <a:cxn ang="0">
                  <a:pos x="125" y="121"/>
                </a:cxn>
                <a:cxn ang="0">
                  <a:pos x="102" y="103"/>
                </a:cxn>
                <a:cxn ang="0">
                  <a:pos x="93" y="143"/>
                </a:cxn>
              </a:cxnLst>
              <a:rect l="0" t="0" r="r" b="b"/>
              <a:pathLst>
                <a:path w="134" h="206">
                  <a:moveTo>
                    <a:pt x="40" y="116"/>
                  </a:moveTo>
                  <a:lnTo>
                    <a:pt x="35" y="125"/>
                  </a:lnTo>
                  <a:lnTo>
                    <a:pt x="31" y="125"/>
                  </a:lnTo>
                  <a:lnTo>
                    <a:pt x="26" y="134"/>
                  </a:lnTo>
                  <a:lnTo>
                    <a:pt x="22" y="134"/>
                  </a:lnTo>
                  <a:lnTo>
                    <a:pt x="9" y="152"/>
                  </a:lnTo>
                  <a:lnTo>
                    <a:pt x="0" y="161"/>
                  </a:lnTo>
                  <a:lnTo>
                    <a:pt x="9" y="157"/>
                  </a:lnTo>
                  <a:lnTo>
                    <a:pt x="17" y="148"/>
                  </a:lnTo>
                  <a:lnTo>
                    <a:pt x="26" y="152"/>
                  </a:lnTo>
                  <a:lnTo>
                    <a:pt x="40" y="130"/>
                  </a:lnTo>
                  <a:lnTo>
                    <a:pt x="40" y="116"/>
                  </a:lnTo>
                  <a:close/>
                  <a:moveTo>
                    <a:pt x="40" y="201"/>
                  </a:moveTo>
                  <a:lnTo>
                    <a:pt x="40" y="206"/>
                  </a:lnTo>
                  <a:lnTo>
                    <a:pt x="44" y="206"/>
                  </a:lnTo>
                  <a:lnTo>
                    <a:pt x="49" y="201"/>
                  </a:lnTo>
                  <a:lnTo>
                    <a:pt x="49" y="201"/>
                  </a:lnTo>
                  <a:lnTo>
                    <a:pt x="40" y="201"/>
                  </a:lnTo>
                  <a:close/>
                  <a:moveTo>
                    <a:pt x="44" y="85"/>
                  </a:moveTo>
                  <a:lnTo>
                    <a:pt x="53" y="90"/>
                  </a:lnTo>
                  <a:lnTo>
                    <a:pt x="58" y="107"/>
                  </a:lnTo>
                  <a:lnTo>
                    <a:pt x="62" y="103"/>
                  </a:lnTo>
                  <a:lnTo>
                    <a:pt x="62" y="90"/>
                  </a:lnTo>
                  <a:lnTo>
                    <a:pt x="58" y="85"/>
                  </a:lnTo>
                  <a:lnTo>
                    <a:pt x="44" y="85"/>
                  </a:lnTo>
                  <a:close/>
                  <a:moveTo>
                    <a:pt x="49" y="49"/>
                  </a:moveTo>
                  <a:lnTo>
                    <a:pt x="40" y="40"/>
                  </a:lnTo>
                  <a:lnTo>
                    <a:pt x="35" y="49"/>
                  </a:lnTo>
                  <a:lnTo>
                    <a:pt x="40" y="67"/>
                  </a:lnTo>
                  <a:lnTo>
                    <a:pt x="49" y="63"/>
                  </a:lnTo>
                  <a:lnTo>
                    <a:pt x="53" y="72"/>
                  </a:lnTo>
                  <a:lnTo>
                    <a:pt x="49" y="76"/>
                  </a:lnTo>
                  <a:lnTo>
                    <a:pt x="58" y="81"/>
                  </a:lnTo>
                  <a:lnTo>
                    <a:pt x="67" y="76"/>
                  </a:lnTo>
                  <a:lnTo>
                    <a:pt x="80" y="90"/>
                  </a:lnTo>
                  <a:lnTo>
                    <a:pt x="76" y="76"/>
                  </a:lnTo>
                  <a:lnTo>
                    <a:pt x="89" y="90"/>
                  </a:lnTo>
                  <a:lnTo>
                    <a:pt x="102" y="103"/>
                  </a:lnTo>
                  <a:lnTo>
                    <a:pt x="102" y="90"/>
                  </a:lnTo>
                  <a:lnTo>
                    <a:pt x="98" y="90"/>
                  </a:lnTo>
                  <a:lnTo>
                    <a:pt x="93" y="81"/>
                  </a:lnTo>
                  <a:lnTo>
                    <a:pt x="102" y="81"/>
                  </a:lnTo>
                  <a:lnTo>
                    <a:pt x="102" y="8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81"/>
                  </a:lnTo>
                  <a:lnTo>
                    <a:pt x="93" y="81"/>
                  </a:lnTo>
                  <a:lnTo>
                    <a:pt x="89" y="76"/>
                  </a:lnTo>
                  <a:lnTo>
                    <a:pt x="76" y="72"/>
                  </a:lnTo>
                  <a:lnTo>
                    <a:pt x="71" y="72"/>
                  </a:lnTo>
                  <a:lnTo>
                    <a:pt x="67" y="67"/>
                  </a:lnTo>
                  <a:lnTo>
                    <a:pt x="71" y="58"/>
                  </a:lnTo>
                  <a:lnTo>
                    <a:pt x="67" y="63"/>
                  </a:lnTo>
                  <a:lnTo>
                    <a:pt x="71" y="76"/>
                  </a:lnTo>
                  <a:lnTo>
                    <a:pt x="62" y="72"/>
                  </a:lnTo>
                  <a:lnTo>
                    <a:pt x="58" y="58"/>
                  </a:lnTo>
                  <a:lnTo>
                    <a:pt x="62" y="54"/>
                  </a:lnTo>
                  <a:lnTo>
                    <a:pt x="62" y="49"/>
                  </a:lnTo>
                  <a:lnTo>
                    <a:pt x="67" y="45"/>
                  </a:lnTo>
                  <a:lnTo>
                    <a:pt x="67" y="36"/>
                  </a:lnTo>
                  <a:lnTo>
                    <a:pt x="76" y="23"/>
                  </a:lnTo>
                  <a:lnTo>
                    <a:pt x="71" y="14"/>
                  </a:lnTo>
                  <a:lnTo>
                    <a:pt x="76" y="9"/>
                  </a:lnTo>
                  <a:lnTo>
                    <a:pt x="71" y="0"/>
                  </a:lnTo>
                  <a:lnTo>
                    <a:pt x="67" y="9"/>
                  </a:lnTo>
                  <a:lnTo>
                    <a:pt x="58" y="5"/>
                  </a:lnTo>
                  <a:lnTo>
                    <a:pt x="49" y="0"/>
                  </a:lnTo>
                  <a:lnTo>
                    <a:pt x="44" y="36"/>
                  </a:lnTo>
                  <a:lnTo>
                    <a:pt x="49" y="49"/>
                  </a:lnTo>
                  <a:close/>
                  <a:moveTo>
                    <a:pt x="67" y="112"/>
                  </a:moveTo>
                  <a:lnTo>
                    <a:pt x="71" y="112"/>
                  </a:lnTo>
                  <a:lnTo>
                    <a:pt x="67" y="134"/>
                  </a:lnTo>
                  <a:lnTo>
                    <a:pt x="76" y="125"/>
                  </a:lnTo>
                  <a:lnTo>
                    <a:pt x="84" y="121"/>
                  </a:lnTo>
                  <a:lnTo>
                    <a:pt x="84" y="112"/>
                  </a:lnTo>
                  <a:lnTo>
                    <a:pt x="80" y="116"/>
                  </a:lnTo>
                  <a:lnTo>
                    <a:pt x="76" y="112"/>
                  </a:lnTo>
                  <a:lnTo>
                    <a:pt x="71" y="107"/>
                  </a:lnTo>
                  <a:lnTo>
                    <a:pt x="67" y="112"/>
                  </a:lnTo>
                  <a:close/>
                  <a:moveTo>
                    <a:pt x="84" y="103"/>
                  </a:moveTo>
                  <a:lnTo>
                    <a:pt x="89" y="112"/>
                  </a:lnTo>
                  <a:lnTo>
                    <a:pt x="93" y="107"/>
                  </a:lnTo>
                  <a:lnTo>
                    <a:pt x="98" y="112"/>
                  </a:lnTo>
                  <a:lnTo>
                    <a:pt x="98" y="107"/>
                  </a:lnTo>
                  <a:lnTo>
                    <a:pt x="93" y="99"/>
                  </a:lnTo>
                  <a:lnTo>
                    <a:pt x="93" y="103"/>
                  </a:lnTo>
                  <a:lnTo>
                    <a:pt x="84" y="103"/>
                  </a:lnTo>
                  <a:close/>
                  <a:moveTo>
                    <a:pt x="93" y="166"/>
                  </a:moveTo>
                  <a:lnTo>
                    <a:pt x="93" y="157"/>
                  </a:lnTo>
                  <a:lnTo>
                    <a:pt x="89" y="157"/>
                  </a:lnTo>
                  <a:lnTo>
                    <a:pt x="80" y="157"/>
                  </a:lnTo>
                  <a:lnTo>
                    <a:pt x="80" y="161"/>
                  </a:lnTo>
                  <a:lnTo>
                    <a:pt x="71" y="161"/>
                  </a:lnTo>
                  <a:lnTo>
                    <a:pt x="67" y="174"/>
                  </a:lnTo>
                  <a:lnTo>
                    <a:pt x="62" y="183"/>
                  </a:lnTo>
                  <a:lnTo>
                    <a:pt x="67" y="188"/>
                  </a:lnTo>
                  <a:lnTo>
                    <a:pt x="71" y="183"/>
                  </a:lnTo>
                  <a:lnTo>
                    <a:pt x="67" y="179"/>
                  </a:lnTo>
                  <a:lnTo>
                    <a:pt x="76" y="170"/>
                  </a:lnTo>
                  <a:lnTo>
                    <a:pt x="76" y="174"/>
                  </a:lnTo>
                  <a:lnTo>
                    <a:pt x="80" y="170"/>
                  </a:lnTo>
                  <a:lnTo>
                    <a:pt x="89" y="174"/>
                  </a:lnTo>
                  <a:lnTo>
                    <a:pt x="89" y="166"/>
                  </a:lnTo>
                  <a:lnTo>
                    <a:pt x="98" y="166"/>
                  </a:lnTo>
                  <a:lnTo>
                    <a:pt x="102" y="174"/>
                  </a:lnTo>
                  <a:lnTo>
                    <a:pt x="98" y="183"/>
                  </a:lnTo>
                  <a:lnTo>
                    <a:pt x="111" y="197"/>
                  </a:lnTo>
                  <a:lnTo>
                    <a:pt x="116" y="192"/>
                  </a:lnTo>
                  <a:lnTo>
                    <a:pt x="120" y="201"/>
                  </a:lnTo>
                  <a:lnTo>
                    <a:pt x="125" y="197"/>
                  </a:lnTo>
                  <a:lnTo>
                    <a:pt x="125" y="183"/>
                  </a:lnTo>
                  <a:lnTo>
                    <a:pt x="116" y="179"/>
                  </a:lnTo>
                  <a:lnTo>
                    <a:pt x="125" y="179"/>
                  </a:lnTo>
                  <a:lnTo>
                    <a:pt x="120" y="170"/>
                  </a:lnTo>
                  <a:lnTo>
                    <a:pt x="125" y="170"/>
                  </a:lnTo>
                  <a:lnTo>
                    <a:pt x="129" y="192"/>
                  </a:lnTo>
                  <a:lnTo>
                    <a:pt x="134" y="170"/>
                  </a:lnTo>
                  <a:lnTo>
                    <a:pt x="134" y="152"/>
                  </a:lnTo>
                  <a:lnTo>
                    <a:pt x="129" y="148"/>
                  </a:lnTo>
                  <a:lnTo>
                    <a:pt x="129" y="139"/>
                  </a:lnTo>
                  <a:lnTo>
                    <a:pt x="129" y="139"/>
                  </a:lnTo>
                  <a:lnTo>
                    <a:pt x="125" y="143"/>
                  </a:lnTo>
                  <a:lnTo>
                    <a:pt x="125" y="134"/>
                  </a:lnTo>
                  <a:lnTo>
                    <a:pt x="125" y="134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11" y="148"/>
                  </a:lnTo>
                  <a:lnTo>
                    <a:pt x="111" y="157"/>
                  </a:lnTo>
                  <a:lnTo>
                    <a:pt x="102" y="152"/>
                  </a:lnTo>
                  <a:lnTo>
                    <a:pt x="93" y="166"/>
                  </a:lnTo>
                  <a:close/>
                  <a:moveTo>
                    <a:pt x="93" y="125"/>
                  </a:moveTo>
                  <a:lnTo>
                    <a:pt x="84" y="121"/>
                  </a:lnTo>
                  <a:lnTo>
                    <a:pt x="80" y="125"/>
                  </a:lnTo>
                  <a:lnTo>
                    <a:pt x="80" y="130"/>
                  </a:lnTo>
                  <a:lnTo>
                    <a:pt x="71" y="139"/>
                  </a:lnTo>
                  <a:lnTo>
                    <a:pt x="76" y="148"/>
                  </a:lnTo>
                  <a:lnTo>
                    <a:pt x="80" y="148"/>
                  </a:lnTo>
                  <a:lnTo>
                    <a:pt x="84" y="152"/>
                  </a:lnTo>
                  <a:lnTo>
                    <a:pt x="89" y="148"/>
                  </a:lnTo>
                  <a:lnTo>
                    <a:pt x="84" y="139"/>
                  </a:lnTo>
                  <a:lnTo>
                    <a:pt x="93" y="125"/>
                  </a:lnTo>
                  <a:close/>
                  <a:moveTo>
                    <a:pt x="98" y="116"/>
                  </a:moveTo>
                  <a:lnTo>
                    <a:pt x="93" y="130"/>
                  </a:lnTo>
                  <a:lnTo>
                    <a:pt x="89" y="139"/>
                  </a:lnTo>
                  <a:lnTo>
                    <a:pt x="89" y="148"/>
                  </a:lnTo>
                  <a:lnTo>
                    <a:pt x="98" y="125"/>
                  </a:lnTo>
                  <a:lnTo>
                    <a:pt x="98" y="116"/>
                  </a:lnTo>
                  <a:close/>
                  <a:moveTo>
                    <a:pt x="102" y="112"/>
                  </a:moveTo>
                  <a:lnTo>
                    <a:pt x="102" y="116"/>
                  </a:lnTo>
                  <a:lnTo>
                    <a:pt x="102" y="125"/>
                  </a:lnTo>
                  <a:lnTo>
                    <a:pt x="107" y="125"/>
                  </a:lnTo>
                  <a:lnTo>
                    <a:pt x="111" y="139"/>
                  </a:lnTo>
                  <a:lnTo>
                    <a:pt x="120" y="139"/>
                  </a:lnTo>
                  <a:lnTo>
                    <a:pt x="116" y="130"/>
                  </a:lnTo>
                  <a:lnTo>
                    <a:pt x="111" y="121"/>
                  </a:lnTo>
                  <a:lnTo>
                    <a:pt x="116" y="121"/>
                  </a:lnTo>
                  <a:lnTo>
                    <a:pt x="111" y="116"/>
                  </a:lnTo>
                  <a:lnTo>
                    <a:pt x="107" y="116"/>
                  </a:lnTo>
                  <a:lnTo>
                    <a:pt x="102" y="112"/>
                  </a:lnTo>
                  <a:close/>
                  <a:moveTo>
                    <a:pt x="102" y="103"/>
                  </a:moveTo>
                  <a:lnTo>
                    <a:pt x="107" y="107"/>
                  </a:lnTo>
                  <a:lnTo>
                    <a:pt x="111" y="112"/>
                  </a:lnTo>
                  <a:lnTo>
                    <a:pt x="120" y="125"/>
                  </a:lnTo>
                  <a:lnTo>
                    <a:pt x="129" y="125"/>
                  </a:lnTo>
                  <a:lnTo>
                    <a:pt x="125" y="121"/>
                  </a:lnTo>
                  <a:lnTo>
                    <a:pt x="120" y="107"/>
                  </a:lnTo>
                  <a:lnTo>
                    <a:pt x="116" y="99"/>
                  </a:lnTo>
                  <a:lnTo>
                    <a:pt x="102" y="103"/>
                  </a:lnTo>
                  <a:close/>
                  <a:moveTo>
                    <a:pt x="102" y="134"/>
                  </a:moveTo>
                  <a:lnTo>
                    <a:pt x="98" y="139"/>
                  </a:lnTo>
                  <a:lnTo>
                    <a:pt x="93" y="143"/>
                  </a:lnTo>
                  <a:lnTo>
                    <a:pt x="107" y="143"/>
                  </a:lnTo>
                  <a:lnTo>
                    <a:pt x="102" y="13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9" name="Freeform 142">
              <a:extLst>
                <a:ext uri="{FF2B5EF4-FFF2-40B4-BE49-F238E27FC236}">
                  <a16:creationId xmlns:a16="http://schemas.microsoft.com/office/drawing/2014/main" id="{EDE733E2-46FD-4B2F-8D40-C9B523F41489}"/>
                </a:ext>
              </a:extLst>
            </p:cNvPr>
            <p:cNvSpPr>
              <a:spLocks/>
            </p:cNvSpPr>
            <p:nvPr/>
          </p:nvSpPr>
          <p:spPr bwMode="gray">
            <a:xfrm>
              <a:off x="7493187" y="4816362"/>
              <a:ext cx="57348" cy="34074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36" y="0"/>
                </a:cxn>
                <a:cxn ang="0">
                  <a:pos x="32" y="0"/>
                </a:cxn>
                <a:cxn ang="0">
                  <a:pos x="5" y="5"/>
                </a:cxn>
                <a:cxn ang="0">
                  <a:pos x="0" y="14"/>
                </a:cxn>
                <a:cxn ang="0">
                  <a:pos x="0" y="23"/>
                </a:cxn>
              </a:cxnLst>
              <a:rect l="0" t="0" r="r" b="b"/>
              <a:pathLst>
                <a:path w="36" h="23">
                  <a:moveTo>
                    <a:pt x="0" y="23"/>
                  </a:moveTo>
                  <a:lnTo>
                    <a:pt x="36" y="0"/>
                  </a:lnTo>
                  <a:lnTo>
                    <a:pt x="32" y="0"/>
                  </a:lnTo>
                  <a:lnTo>
                    <a:pt x="5" y="5"/>
                  </a:lnTo>
                  <a:lnTo>
                    <a:pt x="0" y="1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0" name="Freeform 146">
              <a:extLst>
                <a:ext uri="{FF2B5EF4-FFF2-40B4-BE49-F238E27FC236}">
                  <a16:creationId xmlns:a16="http://schemas.microsoft.com/office/drawing/2014/main" id="{F984C571-39EB-4B78-B82E-44A2FE92D7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0504" y="4598586"/>
              <a:ext cx="12744" cy="1333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4" y="9"/>
                </a:cxn>
                <a:cxn ang="0">
                  <a:pos x="0" y="4"/>
                </a:cxn>
              </a:cxnLst>
              <a:rect l="0" t="0" r="r" b="b"/>
              <a:pathLst>
                <a:path w="8" h="9">
                  <a:moveTo>
                    <a:pt x="0" y="4"/>
                  </a:moveTo>
                  <a:lnTo>
                    <a:pt x="4" y="0"/>
                  </a:lnTo>
                  <a:lnTo>
                    <a:pt x="8" y="4"/>
                  </a:lnTo>
                  <a:lnTo>
                    <a:pt x="4" y="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1" name="Freeform 147">
              <a:extLst>
                <a:ext uri="{FF2B5EF4-FFF2-40B4-BE49-F238E27FC236}">
                  <a16:creationId xmlns:a16="http://schemas.microsoft.com/office/drawing/2014/main" id="{AF2E7472-6A06-4B36-B341-93C6A1BBF9A8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3865" y="4121551"/>
              <a:ext cx="170452" cy="331850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5" y="9"/>
                </a:cxn>
                <a:cxn ang="0">
                  <a:pos x="27" y="9"/>
                </a:cxn>
                <a:cxn ang="0">
                  <a:pos x="36" y="5"/>
                </a:cxn>
                <a:cxn ang="0">
                  <a:pos x="49" y="0"/>
                </a:cxn>
                <a:cxn ang="0">
                  <a:pos x="67" y="9"/>
                </a:cxn>
                <a:cxn ang="0">
                  <a:pos x="63" y="18"/>
                </a:cxn>
                <a:cxn ang="0">
                  <a:pos x="81" y="18"/>
                </a:cxn>
                <a:cxn ang="0">
                  <a:pos x="81" y="23"/>
                </a:cxn>
                <a:cxn ang="0">
                  <a:pos x="76" y="31"/>
                </a:cxn>
                <a:cxn ang="0">
                  <a:pos x="76" y="36"/>
                </a:cxn>
                <a:cxn ang="0">
                  <a:pos x="67" y="36"/>
                </a:cxn>
                <a:cxn ang="0">
                  <a:pos x="67" y="40"/>
                </a:cxn>
                <a:cxn ang="0">
                  <a:pos x="54" y="49"/>
                </a:cxn>
                <a:cxn ang="0">
                  <a:pos x="49" y="67"/>
                </a:cxn>
                <a:cxn ang="0">
                  <a:pos x="63" y="76"/>
                </a:cxn>
                <a:cxn ang="0">
                  <a:pos x="67" y="94"/>
                </a:cxn>
                <a:cxn ang="0">
                  <a:pos x="98" y="125"/>
                </a:cxn>
                <a:cxn ang="0">
                  <a:pos x="107" y="161"/>
                </a:cxn>
                <a:cxn ang="0">
                  <a:pos x="107" y="166"/>
                </a:cxn>
                <a:cxn ang="0">
                  <a:pos x="107" y="170"/>
                </a:cxn>
                <a:cxn ang="0">
                  <a:pos x="103" y="188"/>
                </a:cxn>
                <a:cxn ang="0">
                  <a:pos x="90" y="188"/>
                </a:cxn>
                <a:cxn ang="0">
                  <a:pos x="81" y="197"/>
                </a:cxn>
                <a:cxn ang="0">
                  <a:pos x="72" y="197"/>
                </a:cxn>
                <a:cxn ang="0">
                  <a:pos x="67" y="197"/>
                </a:cxn>
                <a:cxn ang="0">
                  <a:pos x="67" y="210"/>
                </a:cxn>
                <a:cxn ang="0">
                  <a:pos x="58" y="206"/>
                </a:cxn>
                <a:cxn ang="0">
                  <a:pos x="58" y="210"/>
                </a:cxn>
                <a:cxn ang="0">
                  <a:pos x="49" y="215"/>
                </a:cxn>
                <a:cxn ang="0">
                  <a:pos x="45" y="224"/>
                </a:cxn>
                <a:cxn ang="0">
                  <a:pos x="36" y="224"/>
                </a:cxn>
                <a:cxn ang="0">
                  <a:pos x="40" y="224"/>
                </a:cxn>
                <a:cxn ang="0">
                  <a:pos x="40" y="210"/>
                </a:cxn>
                <a:cxn ang="0">
                  <a:pos x="45" y="206"/>
                </a:cxn>
                <a:cxn ang="0">
                  <a:pos x="36" y="197"/>
                </a:cxn>
                <a:cxn ang="0">
                  <a:pos x="45" y="183"/>
                </a:cxn>
                <a:cxn ang="0">
                  <a:pos x="58" y="183"/>
                </a:cxn>
                <a:cxn ang="0">
                  <a:pos x="58" y="174"/>
                </a:cxn>
                <a:cxn ang="0">
                  <a:pos x="67" y="174"/>
                </a:cxn>
                <a:cxn ang="0">
                  <a:pos x="76" y="166"/>
                </a:cxn>
                <a:cxn ang="0">
                  <a:pos x="76" y="139"/>
                </a:cxn>
                <a:cxn ang="0">
                  <a:pos x="72" y="134"/>
                </a:cxn>
                <a:cxn ang="0">
                  <a:pos x="67" y="107"/>
                </a:cxn>
                <a:cxn ang="0">
                  <a:pos x="58" y="103"/>
                </a:cxn>
                <a:cxn ang="0">
                  <a:pos x="40" y="72"/>
                </a:cxn>
                <a:cxn ang="0">
                  <a:pos x="27" y="63"/>
                </a:cxn>
                <a:cxn ang="0">
                  <a:pos x="27" y="49"/>
                </a:cxn>
                <a:cxn ang="0">
                  <a:pos x="31" y="54"/>
                </a:cxn>
                <a:cxn ang="0">
                  <a:pos x="36" y="45"/>
                </a:cxn>
                <a:cxn ang="0">
                  <a:pos x="27" y="36"/>
                </a:cxn>
                <a:cxn ang="0">
                  <a:pos x="14" y="36"/>
                </a:cxn>
                <a:cxn ang="0">
                  <a:pos x="9" y="23"/>
                </a:cxn>
                <a:cxn ang="0">
                  <a:pos x="0" y="14"/>
                </a:cxn>
              </a:cxnLst>
              <a:rect l="0" t="0" r="r" b="b"/>
              <a:pathLst>
                <a:path w="107" h="224">
                  <a:moveTo>
                    <a:pt x="0" y="14"/>
                  </a:moveTo>
                  <a:lnTo>
                    <a:pt x="5" y="9"/>
                  </a:lnTo>
                  <a:lnTo>
                    <a:pt x="27" y="9"/>
                  </a:lnTo>
                  <a:lnTo>
                    <a:pt x="36" y="5"/>
                  </a:lnTo>
                  <a:lnTo>
                    <a:pt x="49" y="0"/>
                  </a:lnTo>
                  <a:lnTo>
                    <a:pt x="67" y="9"/>
                  </a:lnTo>
                  <a:lnTo>
                    <a:pt x="63" y="18"/>
                  </a:lnTo>
                  <a:lnTo>
                    <a:pt x="81" y="18"/>
                  </a:lnTo>
                  <a:lnTo>
                    <a:pt x="81" y="23"/>
                  </a:lnTo>
                  <a:lnTo>
                    <a:pt x="76" y="31"/>
                  </a:lnTo>
                  <a:lnTo>
                    <a:pt x="76" y="36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54" y="49"/>
                  </a:lnTo>
                  <a:lnTo>
                    <a:pt x="49" y="67"/>
                  </a:lnTo>
                  <a:lnTo>
                    <a:pt x="63" y="76"/>
                  </a:lnTo>
                  <a:lnTo>
                    <a:pt x="67" y="94"/>
                  </a:lnTo>
                  <a:lnTo>
                    <a:pt x="98" y="125"/>
                  </a:lnTo>
                  <a:lnTo>
                    <a:pt x="107" y="161"/>
                  </a:lnTo>
                  <a:lnTo>
                    <a:pt x="107" y="166"/>
                  </a:lnTo>
                  <a:lnTo>
                    <a:pt x="107" y="170"/>
                  </a:lnTo>
                  <a:lnTo>
                    <a:pt x="103" y="188"/>
                  </a:lnTo>
                  <a:lnTo>
                    <a:pt x="90" y="188"/>
                  </a:lnTo>
                  <a:lnTo>
                    <a:pt x="81" y="197"/>
                  </a:lnTo>
                  <a:lnTo>
                    <a:pt x="72" y="197"/>
                  </a:lnTo>
                  <a:lnTo>
                    <a:pt x="67" y="197"/>
                  </a:lnTo>
                  <a:lnTo>
                    <a:pt x="67" y="210"/>
                  </a:lnTo>
                  <a:lnTo>
                    <a:pt x="58" y="206"/>
                  </a:lnTo>
                  <a:lnTo>
                    <a:pt x="58" y="210"/>
                  </a:lnTo>
                  <a:lnTo>
                    <a:pt x="49" y="215"/>
                  </a:lnTo>
                  <a:lnTo>
                    <a:pt x="45" y="224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10"/>
                  </a:lnTo>
                  <a:lnTo>
                    <a:pt x="45" y="206"/>
                  </a:lnTo>
                  <a:lnTo>
                    <a:pt x="36" y="197"/>
                  </a:lnTo>
                  <a:lnTo>
                    <a:pt x="45" y="183"/>
                  </a:lnTo>
                  <a:lnTo>
                    <a:pt x="58" y="183"/>
                  </a:lnTo>
                  <a:lnTo>
                    <a:pt x="58" y="174"/>
                  </a:lnTo>
                  <a:lnTo>
                    <a:pt x="67" y="174"/>
                  </a:lnTo>
                  <a:lnTo>
                    <a:pt x="76" y="166"/>
                  </a:lnTo>
                  <a:lnTo>
                    <a:pt x="76" y="139"/>
                  </a:lnTo>
                  <a:lnTo>
                    <a:pt x="72" y="134"/>
                  </a:lnTo>
                  <a:lnTo>
                    <a:pt x="67" y="107"/>
                  </a:lnTo>
                  <a:lnTo>
                    <a:pt x="58" y="103"/>
                  </a:lnTo>
                  <a:lnTo>
                    <a:pt x="40" y="72"/>
                  </a:lnTo>
                  <a:lnTo>
                    <a:pt x="27" y="63"/>
                  </a:lnTo>
                  <a:lnTo>
                    <a:pt x="27" y="49"/>
                  </a:lnTo>
                  <a:lnTo>
                    <a:pt x="31" y="54"/>
                  </a:lnTo>
                  <a:lnTo>
                    <a:pt x="36" y="45"/>
                  </a:lnTo>
                  <a:lnTo>
                    <a:pt x="27" y="36"/>
                  </a:lnTo>
                  <a:lnTo>
                    <a:pt x="14" y="36"/>
                  </a:lnTo>
                  <a:lnTo>
                    <a:pt x="9" y="23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2" name="Freeform 150">
              <a:extLst>
                <a:ext uri="{FF2B5EF4-FFF2-40B4-BE49-F238E27FC236}">
                  <a16:creationId xmlns:a16="http://schemas.microsoft.com/office/drawing/2014/main" id="{CB7A4A22-01FF-4C4F-AC8B-1F2774028D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67134" y="4188217"/>
              <a:ext cx="184789" cy="324443"/>
            </a:xfrm>
            <a:custGeom>
              <a:avLst/>
              <a:gdLst/>
              <a:ahLst/>
              <a:cxnLst>
                <a:cxn ang="0">
                  <a:pos x="18" y="156"/>
                </a:cxn>
                <a:cxn ang="0">
                  <a:pos x="23" y="147"/>
                </a:cxn>
                <a:cxn ang="0">
                  <a:pos x="27" y="143"/>
                </a:cxn>
                <a:cxn ang="0">
                  <a:pos x="31" y="134"/>
                </a:cxn>
                <a:cxn ang="0">
                  <a:pos x="27" y="121"/>
                </a:cxn>
                <a:cxn ang="0">
                  <a:pos x="31" y="103"/>
                </a:cxn>
                <a:cxn ang="0">
                  <a:pos x="14" y="85"/>
                </a:cxn>
                <a:cxn ang="0">
                  <a:pos x="9" y="80"/>
                </a:cxn>
                <a:cxn ang="0">
                  <a:pos x="18" y="71"/>
                </a:cxn>
                <a:cxn ang="0">
                  <a:pos x="14" y="58"/>
                </a:cxn>
                <a:cxn ang="0">
                  <a:pos x="5" y="49"/>
                </a:cxn>
                <a:cxn ang="0">
                  <a:pos x="5" y="36"/>
                </a:cxn>
                <a:cxn ang="0">
                  <a:pos x="0" y="31"/>
                </a:cxn>
                <a:cxn ang="0">
                  <a:pos x="9" y="13"/>
                </a:cxn>
                <a:cxn ang="0">
                  <a:pos x="18" y="9"/>
                </a:cxn>
                <a:cxn ang="0">
                  <a:pos x="31" y="0"/>
                </a:cxn>
                <a:cxn ang="0">
                  <a:pos x="40" y="0"/>
                </a:cxn>
                <a:cxn ang="0">
                  <a:pos x="49" y="4"/>
                </a:cxn>
                <a:cxn ang="0">
                  <a:pos x="45" y="9"/>
                </a:cxn>
                <a:cxn ang="0">
                  <a:pos x="54" y="13"/>
                </a:cxn>
                <a:cxn ang="0">
                  <a:pos x="54" y="49"/>
                </a:cxn>
                <a:cxn ang="0">
                  <a:pos x="67" y="36"/>
                </a:cxn>
                <a:cxn ang="0">
                  <a:pos x="76" y="40"/>
                </a:cxn>
                <a:cxn ang="0">
                  <a:pos x="85" y="31"/>
                </a:cxn>
                <a:cxn ang="0">
                  <a:pos x="94" y="31"/>
                </a:cxn>
                <a:cxn ang="0">
                  <a:pos x="103" y="58"/>
                </a:cxn>
                <a:cxn ang="0">
                  <a:pos x="116" y="71"/>
                </a:cxn>
                <a:cxn ang="0">
                  <a:pos x="107" y="89"/>
                </a:cxn>
                <a:cxn ang="0">
                  <a:pos x="81" y="94"/>
                </a:cxn>
                <a:cxn ang="0">
                  <a:pos x="72" y="107"/>
                </a:cxn>
                <a:cxn ang="0">
                  <a:pos x="81" y="125"/>
                </a:cxn>
                <a:cxn ang="0">
                  <a:pos x="81" y="134"/>
                </a:cxn>
                <a:cxn ang="0">
                  <a:pos x="72" y="129"/>
                </a:cxn>
                <a:cxn ang="0">
                  <a:pos x="63" y="121"/>
                </a:cxn>
                <a:cxn ang="0">
                  <a:pos x="49" y="121"/>
                </a:cxn>
                <a:cxn ang="0">
                  <a:pos x="49" y="107"/>
                </a:cxn>
                <a:cxn ang="0">
                  <a:pos x="40" y="107"/>
                </a:cxn>
                <a:cxn ang="0">
                  <a:pos x="40" y="125"/>
                </a:cxn>
                <a:cxn ang="0">
                  <a:pos x="31" y="138"/>
                </a:cxn>
                <a:cxn ang="0">
                  <a:pos x="27" y="170"/>
                </a:cxn>
                <a:cxn ang="0">
                  <a:pos x="36" y="170"/>
                </a:cxn>
                <a:cxn ang="0">
                  <a:pos x="45" y="183"/>
                </a:cxn>
                <a:cxn ang="0">
                  <a:pos x="49" y="196"/>
                </a:cxn>
                <a:cxn ang="0">
                  <a:pos x="58" y="201"/>
                </a:cxn>
                <a:cxn ang="0">
                  <a:pos x="67" y="210"/>
                </a:cxn>
                <a:cxn ang="0">
                  <a:pos x="63" y="219"/>
                </a:cxn>
                <a:cxn ang="0">
                  <a:pos x="54" y="219"/>
                </a:cxn>
                <a:cxn ang="0">
                  <a:pos x="45" y="205"/>
                </a:cxn>
                <a:cxn ang="0">
                  <a:pos x="40" y="210"/>
                </a:cxn>
                <a:cxn ang="0">
                  <a:pos x="31" y="205"/>
                </a:cxn>
                <a:cxn ang="0">
                  <a:pos x="27" y="196"/>
                </a:cxn>
                <a:cxn ang="0">
                  <a:pos x="23" y="201"/>
                </a:cxn>
                <a:cxn ang="0">
                  <a:pos x="18" y="196"/>
                </a:cxn>
                <a:cxn ang="0">
                  <a:pos x="23" y="192"/>
                </a:cxn>
                <a:cxn ang="0">
                  <a:pos x="18" y="188"/>
                </a:cxn>
                <a:cxn ang="0">
                  <a:pos x="14" y="192"/>
                </a:cxn>
                <a:cxn ang="0">
                  <a:pos x="9" y="183"/>
                </a:cxn>
                <a:cxn ang="0">
                  <a:pos x="14" y="170"/>
                </a:cxn>
                <a:cxn ang="0">
                  <a:pos x="18" y="156"/>
                </a:cxn>
              </a:cxnLst>
              <a:rect l="0" t="0" r="r" b="b"/>
              <a:pathLst>
                <a:path w="116" h="219">
                  <a:moveTo>
                    <a:pt x="18" y="156"/>
                  </a:moveTo>
                  <a:lnTo>
                    <a:pt x="23" y="147"/>
                  </a:lnTo>
                  <a:lnTo>
                    <a:pt x="27" y="143"/>
                  </a:lnTo>
                  <a:lnTo>
                    <a:pt x="31" y="134"/>
                  </a:lnTo>
                  <a:lnTo>
                    <a:pt x="27" y="121"/>
                  </a:lnTo>
                  <a:lnTo>
                    <a:pt x="31" y="103"/>
                  </a:lnTo>
                  <a:lnTo>
                    <a:pt x="14" y="85"/>
                  </a:lnTo>
                  <a:lnTo>
                    <a:pt x="9" y="80"/>
                  </a:lnTo>
                  <a:lnTo>
                    <a:pt x="18" y="71"/>
                  </a:lnTo>
                  <a:lnTo>
                    <a:pt x="14" y="58"/>
                  </a:lnTo>
                  <a:lnTo>
                    <a:pt x="5" y="49"/>
                  </a:lnTo>
                  <a:lnTo>
                    <a:pt x="5" y="36"/>
                  </a:lnTo>
                  <a:lnTo>
                    <a:pt x="0" y="31"/>
                  </a:lnTo>
                  <a:lnTo>
                    <a:pt x="9" y="13"/>
                  </a:lnTo>
                  <a:lnTo>
                    <a:pt x="18" y="9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4"/>
                  </a:lnTo>
                  <a:lnTo>
                    <a:pt x="45" y="9"/>
                  </a:lnTo>
                  <a:lnTo>
                    <a:pt x="54" y="13"/>
                  </a:lnTo>
                  <a:lnTo>
                    <a:pt x="54" y="49"/>
                  </a:lnTo>
                  <a:lnTo>
                    <a:pt x="67" y="36"/>
                  </a:lnTo>
                  <a:lnTo>
                    <a:pt x="76" y="40"/>
                  </a:lnTo>
                  <a:lnTo>
                    <a:pt x="85" y="31"/>
                  </a:lnTo>
                  <a:lnTo>
                    <a:pt x="94" y="31"/>
                  </a:lnTo>
                  <a:lnTo>
                    <a:pt x="103" y="58"/>
                  </a:lnTo>
                  <a:lnTo>
                    <a:pt x="116" y="71"/>
                  </a:lnTo>
                  <a:lnTo>
                    <a:pt x="107" y="89"/>
                  </a:lnTo>
                  <a:lnTo>
                    <a:pt x="81" y="94"/>
                  </a:lnTo>
                  <a:lnTo>
                    <a:pt x="72" y="107"/>
                  </a:lnTo>
                  <a:lnTo>
                    <a:pt x="81" y="125"/>
                  </a:lnTo>
                  <a:lnTo>
                    <a:pt x="81" y="134"/>
                  </a:lnTo>
                  <a:lnTo>
                    <a:pt x="72" y="129"/>
                  </a:lnTo>
                  <a:lnTo>
                    <a:pt x="63" y="121"/>
                  </a:lnTo>
                  <a:lnTo>
                    <a:pt x="49" y="121"/>
                  </a:lnTo>
                  <a:lnTo>
                    <a:pt x="49" y="107"/>
                  </a:lnTo>
                  <a:lnTo>
                    <a:pt x="40" y="107"/>
                  </a:lnTo>
                  <a:lnTo>
                    <a:pt x="40" y="125"/>
                  </a:lnTo>
                  <a:lnTo>
                    <a:pt x="31" y="138"/>
                  </a:lnTo>
                  <a:lnTo>
                    <a:pt x="27" y="170"/>
                  </a:lnTo>
                  <a:lnTo>
                    <a:pt x="36" y="170"/>
                  </a:lnTo>
                  <a:lnTo>
                    <a:pt x="45" y="183"/>
                  </a:lnTo>
                  <a:lnTo>
                    <a:pt x="49" y="196"/>
                  </a:lnTo>
                  <a:lnTo>
                    <a:pt x="58" y="201"/>
                  </a:lnTo>
                  <a:lnTo>
                    <a:pt x="67" y="210"/>
                  </a:lnTo>
                  <a:lnTo>
                    <a:pt x="63" y="219"/>
                  </a:lnTo>
                  <a:lnTo>
                    <a:pt x="54" y="219"/>
                  </a:lnTo>
                  <a:lnTo>
                    <a:pt x="45" y="205"/>
                  </a:lnTo>
                  <a:lnTo>
                    <a:pt x="40" y="210"/>
                  </a:lnTo>
                  <a:lnTo>
                    <a:pt x="31" y="205"/>
                  </a:lnTo>
                  <a:lnTo>
                    <a:pt x="27" y="196"/>
                  </a:lnTo>
                  <a:lnTo>
                    <a:pt x="23" y="201"/>
                  </a:lnTo>
                  <a:lnTo>
                    <a:pt x="18" y="196"/>
                  </a:lnTo>
                  <a:lnTo>
                    <a:pt x="23" y="192"/>
                  </a:lnTo>
                  <a:lnTo>
                    <a:pt x="18" y="188"/>
                  </a:lnTo>
                  <a:lnTo>
                    <a:pt x="14" y="192"/>
                  </a:lnTo>
                  <a:lnTo>
                    <a:pt x="9" y="183"/>
                  </a:lnTo>
                  <a:lnTo>
                    <a:pt x="14" y="170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3" name="Freeform 154">
              <a:extLst>
                <a:ext uri="{FF2B5EF4-FFF2-40B4-BE49-F238E27FC236}">
                  <a16:creationId xmlns:a16="http://schemas.microsoft.com/office/drawing/2014/main" id="{88621336-D875-4C7E-B0C6-932E0D8DD5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23710" y="4923028"/>
              <a:ext cx="35046" cy="1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14" y="4"/>
                </a:cxn>
                <a:cxn ang="0">
                  <a:pos x="18" y="9"/>
                </a:cxn>
                <a:cxn ang="0">
                  <a:pos x="22" y="9"/>
                </a:cxn>
                <a:cxn ang="0">
                  <a:pos x="18" y="4"/>
                </a:cxn>
                <a:cxn ang="0">
                  <a:pos x="14" y="4"/>
                </a:cxn>
              </a:cxnLst>
              <a:rect l="0" t="0" r="r" b="b"/>
              <a:pathLst>
                <a:path w="22" h="9">
                  <a:moveTo>
                    <a:pt x="0" y="0"/>
                  </a:moveTo>
                  <a:lnTo>
                    <a:pt x="5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14" y="4"/>
                  </a:moveTo>
                  <a:lnTo>
                    <a:pt x="18" y="9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4" name="Freeform 156">
              <a:extLst>
                <a:ext uri="{FF2B5EF4-FFF2-40B4-BE49-F238E27FC236}">
                  <a16:creationId xmlns:a16="http://schemas.microsoft.com/office/drawing/2014/main" id="{2079D21A-0A77-4434-A28C-5BB2E540FB09}"/>
                </a:ext>
              </a:extLst>
            </p:cNvPr>
            <p:cNvSpPr>
              <a:spLocks/>
            </p:cNvSpPr>
            <p:nvPr/>
          </p:nvSpPr>
          <p:spPr bwMode="gray">
            <a:xfrm>
              <a:off x="8923710" y="4923028"/>
              <a:ext cx="14337" cy="592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0" y="0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5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5" name="Freeform 157">
              <a:extLst>
                <a:ext uri="{FF2B5EF4-FFF2-40B4-BE49-F238E27FC236}">
                  <a16:creationId xmlns:a16="http://schemas.microsoft.com/office/drawing/2014/main" id="{5D36F881-F660-4AB7-9B0D-7C1B6959DCB3}"/>
                </a:ext>
              </a:extLst>
            </p:cNvPr>
            <p:cNvSpPr>
              <a:spLocks/>
            </p:cNvSpPr>
            <p:nvPr/>
          </p:nvSpPr>
          <p:spPr bwMode="gray">
            <a:xfrm>
              <a:off x="8946012" y="4928954"/>
              <a:ext cx="12744" cy="74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8" y="5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8" h="5">
                  <a:moveTo>
                    <a:pt x="0" y="0"/>
                  </a:moveTo>
                  <a:lnTo>
                    <a:pt x="4" y="5"/>
                  </a:lnTo>
                  <a:lnTo>
                    <a:pt x="8" y="5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6" name="Freeform 158">
              <a:extLst>
                <a:ext uri="{FF2B5EF4-FFF2-40B4-BE49-F238E27FC236}">
                  <a16:creationId xmlns:a16="http://schemas.microsoft.com/office/drawing/2014/main" id="{75DE851C-AA3A-4BD8-B2C8-378EAE61FC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30340" y="4869695"/>
              <a:ext cx="925539" cy="814811"/>
            </a:xfrm>
            <a:custGeom>
              <a:avLst/>
              <a:gdLst/>
              <a:ahLst/>
              <a:cxnLst>
                <a:cxn ang="0">
                  <a:pos x="116" y="134"/>
                </a:cxn>
                <a:cxn ang="0">
                  <a:pos x="54" y="152"/>
                </a:cxn>
                <a:cxn ang="0">
                  <a:pos x="13" y="165"/>
                </a:cxn>
                <a:cxn ang="0">
                  <a:pos x="4" y="210"/>
                </a:cxn>
                <a:cxn ang="0">
                  <a:pos x="9" y="228"/>
                </a:cxn>
                <a:cxn ang="0">
                  <a:pos x="13" y="268"/>
                </a:cxn>
                <a:cxn ang="0">
                  <a:pos x="40" y="331"/>
                </a:cxn>
                <a:cxn ang="0">
                  <a:pos x="31" y="376"/>
                </a:cxn>
                <a:cxn ang="0">
                  <a:pos x="80" y="380"/>
                </a:cxn>
                <a:cxn ang="0">
                  <a:pos x="147" y="367"/>
                </a:cxn>
                <a:cxn ang="0">
                  <a:pos x="259" y="326"/>
                </a:cxn>
                <a:cxn ang="0">
                  <a:pos x="304" y="353"/>
                </a:cxn>
                <a:cxn ang="0">
                  <a:pos x="322" y="380"/>
                </a:cxn>
                <a:cxn ang="0">
                  <a:pos x="331" y="380"/>
                </a:cxn>
                <a:cxn ang="0">
                  <a:pos x="357" y="340"/>
                </a:cxn>
                <a:cxn ang="0">
                  <a:pos x="344" y="384"/>
                </a:cxn>
                <a:cxn ang="0">
                  <a:pos x="353" y="389"/>
                </a:cxn>
                <a:cxn ang="0">
                  <a:pos x="357" y="398"/>
                </a:cxn>
                <a:cxn ang="0">
                  <a:pos x="353" y="411"/>
                </a:cxn>
                <a:cxn ang="0">
                  <a:pos x="375" y="402"/>
                </a:cxn>
                <a:cxn ang="0">
                  <a:pos x="380" y="434"/>
                </a:cxn>
                <a:cxn ang="0">
                  <a:pos x="447" y="451"/>
                </a:cxn>
                <a:cxn ang="0">
                  <a:pos x="469" y="465"/>
                </a:cxn>
                <a:cxn ang="0">
                  <a:pos x="478" y="460"/>
                </a:cxn>
                <a:cxn ang="0">
                  <a:pos x="532" y="434"/>
                </a:cxn>
                <a:cxn ang="0">
                  <a:pos x="554" y="353"/>
                </a:cxn>
                <a:cxn ang="0">
                  <a:pos x="572" y="233"/>
                </a:cxn>
                <a:cxn ang="0">
                  <a:pos x="536" y="192"/>
                </a:cxn>
                <a:cxn ang="0">
                  <a:pos x="532" y="170"/>
                </a:cxn>
                <a:cxn ang="0">
                  <a:pos x="518" y="165"/>
                </a:cxn>
                <a:cxn ang="0">
                  <a:pos x="482" y="130"/>
                </a:cxn>
                <a:cxn ang="0">
                  <a:pos x="465" y="85"/>
                </a:cxn>
                <a:cxn ang="0">
                  <a:pos x="442" y="54"/>
                </a:cxn>
                <a:cxn ang="0">
                  <a:pos x="424" y="14"/>
                </a:cxn>
                <a:cxn ang="0">
                  <a:pos x="411" y="5"/>
                </a:cxn>
                <a:cxn ang="0">
                  <a:pos x="398" y="98"/>
                </a:cxn>
                <a:cxn ang="0">
                  <a:pos x="322" y="58"/>
                </a:cxn>
                <a:cxn ang="0">
                  <a:pos x="331" y="14"/>
                </a:cxn>
                <a:cxn ang="0">
                  <a:pos x="277" y="9"/>
                </a:cxn>
                <a:cxn ang="0">
                  <a:pos x="272" y="14"/>
                </a:cxn>
                <a:cxn ang="0">
                  <a:pos x="255" y="22"/>
                </a:cxn>
                <a:cxn ang="0">
                  <a:pos x="228" y="63"/>
                </a:cxn>
                <a:cxn ang="0">
                  <a:pos x="214" y="58"/>
                </a:cxn>
                <a:cxn ang="0">
                  <a:pos x="183" y="58"/>
                </a:cxn>
                <a:cxn ang="0">
                  <a:pos x="161" y="85"/>
                </a:cxn>
                <a:cxn ang="0">
                  <a:pos x="147" y="98"/>
                </a:cxn>
                <a:cxn ang="0">
                  <a:pos x="130" y="107"/>
                </a:cxn>
                <a:cxn ang="0">
                  <a:pos x="465" y="527"/>
                </a:cxn>
                <a:cxn ang="0">
                  <a:pos x="487" y="550"/>
                </a:cxn>
                <a:cxn ang="0">
                  <a:pos x="496" y="532"/>
                </a:cxn>
                <a:cxn ang="0">
                  <a:pos x="505" y="496"/>
                </a:cxn>
                <a:cxn ang="0">
                  <a:pos x="474" y="501"/>
                </a:cxn>
              </a:cxnLst>
              <a:rect l="0" t="0" r="r" b="b"/>
              <a:pathLst>
                <a:path w="581" h="550">
                  <a:moveTo>
                    <a:pt x="130" y="107"/>
                  </a:moveTo>
                  <a:lnTo>
                    <a:pt x="134" y="107"/>
                  </a:lnTo>
                  <a:lnTo>
                    <a:pt x="116" y="134"/>
                  </a:lnTo>
                  <a:lnTo>
                    <a:pt x="80" y="143"/>
                  </a:lnTo>
                  <a:lnTo>
                    <a:pt x="63" y="152"/>
                  </a:lnTo>
                  <a:lnTo>
                    <a:pt x="54" y="152"/>
                  </a:lnTo>
                  <a:lnTo>
                    <a:pt x="27" y="165"/>
                  </a:lnTo>
                  <a:lnTo>
                    <a:pt x="13" y="183"/>
                  </a:lnTo>
                  <a:lnTo>
                    <a:pt x="13" y="165"/>
                  </a:lnTo>
                  <a:lnTo>
                    <a:pt x="9" y="179"/>
                  </a:lnTo>
                  <a:lnTo>
                    <a:pt x="9" y="197"/>
                  </a:lnTo>
                  <a:lnTo>
                    <a:pt x="4" y="210"/>
                  </a:lnTo>
                  <a:lnTo>
                    <a:pt x="18" y="233"/>
                  </a:lnTo>
                  <a:lnTo>
                    <a:pt x="18" y="241"/>
                  </a:lnTo>
                  <a:lnTo>
                    <a:pt x="9" y="228"/>
                  </a:lnTo>
                  <a:lnTo>
                    <a:pt x="0" y="228"/>
                  </a:lnTo>
                  <a:lnTo>
                    <a:pt x="4" y="241"/>
                  </a:lnTo>
                  <a:lnTo>
                    <a:pt x="13" y="268"/>
                  </a:lnTo>
                  <a:lnTo>
                    <a:pt x="31" y="291"/>
                  </a:lnTo>
                  <a:lnTo>
                    <a:pt x="31" y="308"/>
                  </a:lnTo>
                  <a:lnTo>
                    <a:pt x="40" y="331"/>
                  </a:lnTo>
                  <a:lnTo>
                    <a:pt x="36" y="358"/>
                  </a:lnTo>
                  <a:lnTo>
                    <a:pt x="27" y="362"/>
                  </a:lnTo>
                  <a:lnTo>
                    <a:pt x="31" y="376"/>
                  </a:lnTo>
                  <a:lnTo>
                    <a:pt x="54" y="389"/>
                  </a:lnTo>
                  <a:lnTo>
                    <a:pt x="76" y="389"/>
                  </a:lnTo>
                  <a:lnTo>
                    <a:pt x="80" y="380"/>
                  </a:lnTo>
                  <a:lnTo>
                    <a:pt x="94" y="380"/>
                  </a:lnTo>
                  <a:lnTo>
                    <a:pt x="98" y="367"/>
                  </a:lnTo>
                  <a:lnTo>
                    <a:pt x="147" y="367"/>
                  </a:lnTo>
                  <a:lnTo>
                    <a:pt x="156" y="353"/>
                  </a:lnTo>
                  <a:lnTo>
                    <a:pt x="228" y="331"/>
                  </a:lnTo>
                  <a:lnTo>
                    <a:pt x="259" y="326"/>
                  </a:lnTo>
                  <a:lnTo>
                    <a:pt x="272" y="335"/>
                  </a:lnTo>
                  <a:lnTo>
                    <a:pt x="290" y="340"/>
                  </a:lnTo>
                  <a:lnTo>
                    <a:pt x="304" y="353"/>
                  </a:lnTo>
                  <a:lnTo>
                    <a:pt x="308" y="344"/>
                  </a:lnTo>
                  <a:lnTo>
                    <a:pt x="322" y="376"/>
                  </a:lnTo>
                  <a:lnTo>
                    <a:pt x="322" y="380"/>
                  </a:lnTo>
                  <a:lnTo>
                    <a:pt x="326" y="389"/>
                  </a:lnTo>
                  <a:lnTo>
                    <a:pt x="335" y="389"/>
                  </a:lnTo>
                  <a:lnTo>
                    <a:pt x="331" y="380"/>
                  </a:lnTo>
                  <a:lnTo>
                    <a:pt x="339" y="367"/>
                  </a:lnTo>
                  <a:lnTo>
                    <a:pt x="353" y="358"/>
                  </a:lnTo>
                  <a:lnTo>
                    <a:pt x="357" y="340"/>
                  </a:lnTo>
                  <a:lnTo>
                    <a:pt x="357" y="358"/>
                  </a:lnTo>
                  <a:lnTo>
                    <a:pt x="348" y="371"/>
                  </a:lnTo>
                  <a:lnTo>
                    <a:pt x="344" y="384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53" y="389"/>
                  </a:lnTo>
                  <a:lnTo>
                    <a:pt x="357" y="376"/>
                  </a:lnTo>
                  <a:lnTo>
                    <a:pt x="362" y="393"/>
                  </a:lnTo>
                  <a:lnTo>
                    <a:pt x="357" y="398"/>
                  </a:lnTo>
                  <a:lnTo>
                    <a:pt x="344" y="398"/>
                  </a:lnTo>
                  <a:lnTo>
                    <a:pt x="339" y="407"/>
                  </a:lnTo>
                  <a:lnTo>
                    <a:pt x="353" y="411"/>
                  </a:lnTo>
                  <a:lnTo>
                    <a:pt x="357" y="407"/>
                  </a:lnTo>
                  <a:lnTo>
                    <a:pt x="371" y="398"/>
                  </a:lnTo>
                  <a:lnTo>
                    <a:pt x="375" y="402"/>
                  </a:lnTo>
                  <a:lnTo>
                    <a:pt x="371" y="402"/>
                  </a:lnTo>
                  <a:lnTo>
                    <a:pt x="380" y="425"/>
                  </a:lnTo>
                  <a:lnTo>
                    <a:pt x="380" y="434"/>
                  </a:lnTo>
                  <a:lnTo>
                    <a:pt x="406" y="451"/>
                  </a:lnTo>
                  <a:lnTo>
                    <a:pt x="438" y="460"/>
                  </a:lnTo>
                  <a:lnTo>
                    <a:pt x="447" y="451"/>
                  </a:lnTo>
                  <a:lnTo>
                    <a:pt x="460" y="451"/>
                  </a:lnTo>
                  <a:lnTo>
                    <a:pt x="460" y="456"/>
                  </a:lnTo>
                  <a:lnTo>
                    <a:pt x="469" y="465"/>
                  </a:lnTo>
                  <a:lnTo>
                    <a:pt x="474" y="474"/>
                  </a:lnTo>
                  <a:lnTo>
                    <a:pt x="478" y="469"/>
                  </a:lnTo>
                  <a:lnTo>
                    <a:pt x="478" y="460"/>
                  </a:lnTo>
                  <a:lnTo>
                    <a:pt x="505" y="443"/>
                  </a:lnTo>
                  <a:lnTo>
                    <a:pt x="518" y="443"/>
                  </a:lnTo>
                  <a:lnTo>
                    <a:pt x="532" y="434"/>
                  </a:lnTo>
                  <a:lnTo>
                    <a:pt x="532" y="420"/>
                  </a:lnTo>
                  <a:lnTo>
                    <a:pt x="545" y="393"/>
                  </a:lnTo>
                  <a:lnTo>
                    <a:pt x="554" y="353"/>
                  </a:lnTo>
                  <a:lnTo>
                    <a:pt x="572" y="340"/>
                  </a:lnTo>
                  <a:lnTo>
                    <a:pt x="581" y="273"/>
                  </a:lnTo>
                  <a:lnTo>
                    <a:pt x="572" y="233"/>
                  </a:lnTo>
                  <a:lnTo>
                    <a:pt x="558" y="201"/>
                  </a:lnTo>
                  <a:lnTo>
                    <a:pt x="545" y="201"/>
                  </a:lnTo>
                  <a:lnTo>
                    <a:pt x="536" y="192"/>
                  </a:lnTo>
                  <a:lnTo>
                    <a:pt x="541" y="192"/>
                  </a:lnTo>
                  <a:lnTo>
                    <a:pt x="541" y="179"/>
                  </a:lnTo>
                  <a:lnTo>
                    <a:pt x="532" y="170"/>
                  </a:lnTo>
                  <a:lnTo>
                    <a:pt x="532" y="183"/>
                  </a:lnTo>
                  <a:lnTo>
                    <a:pt x="523" y="183"/>
                  </a:lnTo>
                  <a:lnTo>
                    <a:pt x="518" y="165"/>
                  </a:lnTo>
                  <a:lnTo>
                    <a:pt x="509" y="152"/>
                  </a:lnTo>
                  <a:lnTo>
                    <a:pt x="509" y="148"/>
                  </a:lnTo>
                  <a:lnTo>
                    <a:pt x="482" y="130"/>
                  </a:lnTo>
                  <a:lnTo>
                    <a:pt x="474" y="112"/>
                  </a:lnTo>
                  <a:lnTo>
                    <a:pt x="474" y="90"/>
                  </a:lnTo>
                  <a:lnTo>
                    <a:pt x="465" y="85"/>
                  </a:lnTo>
                  <a:lnTo>
                    <a:pt x="465" y="63"/>
                  </a:lnTo>
                  <a:lnTo>
                    <a:pt x="451" y="49"/>
                  </a:lnTo>
                  <a:lnTo>
                    <a:pt x="442" y="54"/>
                  </a:lnTo>
                  <a:lnTo>
                    <a:pt x="433" y="40"/>
                  </a:lnTo>
                  <a:lnTo>
                    <a:pt x="438" y="27"/>
                  </a:lnTo>
                  <a:lnTo>
                    <a:pt x="424" y="14"/>
                  </a:lnTo>
                  <a:lnTo>
                    <a:pt x="424" y="0"/>
                  </a:lnTo>
                  <a:lnTo>
                    <a:pt x="415" y="0"/>
                  </a:lnTo>
                  <a:lnTo>
                    <a:pt x="411" y="5"/>
                  </a:lnTo>
                  <a:lnTo>
                    <a:pt x="406" y="40"/>
                  </a:lnTo>
                  <a:lnTo>
                    <a:pt x="406" y="72"/>
                  </a:lnTo>
                  <a:lnTo>
                    <a:pt x="398" y="98"/>
                  </a:lnTo>
                  <a:lnTo>
                    <a:pt x="384" y="103"/>
                  </a:lnTo>
                  <a:lnTo>
                    <a:pt x="339" y="76"/>
                  </a:lnTo>
                  <a:lnTo>
                    <a:pt x="322" y="58"/>
                  </a:lnTo>
                  <a:lnTo>
                    <a:pt x="326" y="45"/>
                  </a:lnTo>
                  <a:lnTo>
                    <a:pt x="339" y="22"/>
                  </a:lnTo>
                  <a:lnTo>
                    <a:pt x="331" y="14"/>
                  </a:lnTo>
                  <a:lnTo>
                    <a:pt x="317" y="18"/>
                  </a:lnTo>
                  <a:lnTo>
                    <a:pt x="295" y="18"/>
                  </a:lnTo>
                  <a:lnTo>
                    <a:pt x="277" y="9"/>
                  </a:lnTo>
                  <a:lnTo>
                    <a:pt x="241" y="9"/>
                  </a:lnTo>
                  <a:lnTo>
                    <a:pt x="241" y="18"/>
                  </a:lnTo>
                  <a:lnTo>
                    <a:pt x="272" y="14"/>
                  </a:lnTo>
                  <a:lnTo>
                    <a:pt x="281" y="22"/>
                  </a:lnTo>
                  <a:lnTo>
                    <a:pt x="277" y="27"/>
                  </a:lnTo>
                  <a:lnTo>
                    <a:pt x="255" y="22"/>
                  </a:lnTo>
                  <a:lnTo>
                    <a:pt x="232" y="49"/>
                  </a:lnTo>
                  <a:lnTo>
                    <a:pt x="241" y="72"/>
                  </a:lnTo>
                  <a:lnTo>
                    <a:pt x="228" y="63"/>
                  </a:lnTo>
                  <a:lnTo>
                    <a:pt x="219" y="63"/>
                  </a:lnTo>
                  <a:lnTo>
                    <a:pt x="214" y="72"/>
                  </a:lnTo>
                  <a:lnTo>
                    <a:pt x="214" y="58"/>
                  </a:lnTo>
                  <a:lnTo>
                    <a:pt x="205" y="45"/>
                  </a:lnTo>
                  <a:lnTo>
                    <a:pt x="188" y="45"/>
                  </a:lnTo>
                  <a:lnTo>
                    <a:pt x="183" y="58"/>
                  </a:lnTo>
                  <a:lnTo>
                    <a:pt x="179" y="54"/>
                  </a:lnTo>
                  <a:lnTo>
                    <a:pt x="165" y="67"/>
                  </a:lnTo>
                  <a:lnTo>
                    <a:pt x="161" y="85"/>
                  </a:lnTo>
                  <a:lnTo>
                    <a:pt x="152" y="81"/>
                  </a:lnTo>
                  <a:lnTo>
                    <a:pt x="147" y="81"/>
                  </a:lnTo>
                  <a:lnTo>
                    <a:pt x="147" y="98"/>
                  </a:lnTo>
                  <a:lnTo>
                    <a:pt x="138" y="81"/>
                  </a:lnTo>
                  <a:lnTo>
                    <a:pt x="130" y="94"/>
                  </a:lnTo>
                  <a:lnTo>
                    <a:pt x="130" y="107"/>
                  </a:lnTo>
                  <a:close/>
                  <a:moveTo>
                    <a:pt x="451" y="492"/>
                  </a:moveTo>
                  <a:lnTo>
                    <a:pt x="451" y="501"/>
                  </a:lnTo>
                  <a:lnTo>
                    <a:pt x="465" y="527"/>
                  </a:lnTo>
                  <a:lnTo>
                    <a:pt x="460" y="527"/>
                  </a:lnTo>
                  <a:lnTo>
                    <a:pt x="474" y="550"/>
                  </a:lnTo>
                  <a:lnTo>
                    <a:pt x="487" y="550"/>
                  </a:lnTo>
                  <a:lnTo>
                    <a:pt x="491" y="536"/>
                  </a:lnTo>
                  <a:lnTo>
                    <a:pt x="505" y="545"/>
                  </a:lnTo>
                  <a:lnTo>
                    <a:pt x="496" y="532"/>
                  </a:lnTo>
                  <a:lnTo>
                    <a:pt x="505" y="523"/>
                  </a:lnTo>
                  <a:lnTo>
                    <a:pt x="509" y="523"/>
                  </a:lnTo>
                  <a:lnTo>
                    <a:pt x="505" y="496"/>
                  </a:lnTo>
                  <a:lnTo>
                    <a:pt x="500" y="492"/>
                  </a:lnTo>
                  <a:lnTo>
                    <a:pt x="487" y="496"/>
                  </a:lnTo>
                  <a:lnTo>
                    <a:pt x="474" y="501"/>
                  </a:lnTo>
                  <a:lnTo>
                    <a:pt x="451" y="49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7" name="Freeform 159">
              <a:extLst>
                <a:ext uri="{FF2B5EF4-FFF2-40B4-BE49-F238E27FC236}">
                  <a16:creationId xmlns:a16="http://schemas.microsoft.com/office/drawing/2014/main" id="{7AFD275D-51B6-44DA-8810-5B0E3B340C2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89537" y="4982287"/>
              <a:ext cx="63720" cy="59259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36"/>
                </a:cxn>
                <a:cxn ang="0">
                  <a:pos x="9" y="36"/>
                </a:cxn>
                <a:cxn ang="0">
                  <a:pos x="18" y="40"/>
                </a:cxn>
                <a:cxn ang="0">
                  <a:pos x="22" y="31"/>
                </a:cxn>
                <a:cxn ang="0">
                  <a:pos x="22" y="22"/>
                </a:cxn>
                <a:cxn ang="0">
                  <a:pos x="13" y="22"/>
                </a:cxn>
                <a:cxn ang="0">
                  <a:pos x="4" y="22"/>
                </a:cxn>
                <a:cxn ang="0">
                  <a:pos x="0" y="31"/>
                </a:cxn>
                <a:cxn ang="0">
                  <a:pos x="40" y="0"/>
                </a:cxn>
                <a:cxn ang="0">
                  <a:pos x="22" y="9"/>
                </a:cxn>
                <a:cxn ang="0">
                  <a:pos x="22" y="9"/>
                </a:cxn>
                <a:cxn ang="0">
                  <a:pos x="22" y="14"/>
                </a:cxn>
                <a:cxn ang="0">
                  <a:pos x="40" y="14"/>
                </a:cxn>
                <a:cxn ang="0">
                  <a:pos x="40" y="9"/>
                </a:cxn>
                <a:cxn ang="0">
                  <a:pos x="35" y="9"/>
                </a:cxn>
                <a:cxn ang="0">
                  <a:pos x="40" y="0"/>
                </a:cxn>
              </a:cxnLst>
              <a:rect l="0" t="0" r="r" b="b"/>
              <a:pathLst>
                <a:path w="40" h="40">
                  <a:moveTo>
                    <a:pt x="0" y="31"/>
                  </a:moveTo>
                  <a:lnTo>
                    <a:pt x="4" y="36"/>
                  </a:lnTo>
                  <a:lnTo>
                    <a:pt x="9" y="36"/>
                  </a:lnTo>
                  <a:lnTo>
                    <a:pt x="18" y="40"/>
                  </a:lnTo>
                  <a:lnTo>
                    <a:pt x="22" y="31"/>
                  </a:lnTo>
                  <a:lnTo>
                    <a:pt x="22" y="22"/>
                  </a:lnTo>
                  <a:lnTo>
                    <a:pt x="13" y="22"/>
                  </a:lnTo>
                  <a:lnTo>
                    <a:pt x="4" y="22"/>
                  </a:lnTo>
                  <a:lnTo>
                    <a:pt x="0" y="31"/>
                  </a:lnTo>
                  <a:close/>
                  <a:moveTo>
                    <a:pt x="40" y="0"/>
                  </a:moveTo>
                  <a:lnTo>
                    <a:pt x="22" y="9"/>
                  </a:lnTo>
                  <a:lnTo>
                    <a:pt x="22" y="9"/>
                  </a:lnTo>
                  <a:lnTo>
                    <a:pt x="22" y="14"/>
                  </a:lnTo>
                  <a:lnTo>
                    <a:pt x="40" y="14"/>
                  </a:lnTo>
                  <a:lnTo>
                    <a:pt x="40" y="9"/>
                  </a:lnTo>
                  <a:lnTo>
                    <a:pt x="35" y="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8" name="Freeform 160">
              <a:extLst>
                <a:ext uri="{FF2B5EF4-FFF2-40B4-BE49-F238E27FC236}">
                  <a16:creationId xmlns:a16="http://schemas.microsoft.com/office/drawing/2014/main" id="{AE229DC0-863E-4BB5-A5FC-7673717506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47400" y="5432655"/>
              <a:ext cx="277184" cy="343702"/>
            </a:xfrm>
            <a:custGeom>
              <a:avLst/>
              <a:gdLst/>
              <a:ahLst/>
              <a:cxnLst>
                <a:cxn ang="0">
                  <a:pos x="85" y="107"/>
                </a:cxn>
                <a:cxn ang="0">
                  <a:pos x="76" y="116"/>
                </a:cxn>
                <a:cxn ang="0">
                  <a:pos x="76" y="130"/>
                </a:cxn>
                <a:cxn ang="0">
                  <a:pos x="71" y="130"/>
                </a:cxn>
                <a:cxn ang="0">
                  <a:pos x="62" y="156"/>
                </a:cxn>
                <a:cxn ang="0">
                  <a:pos x="27" y="179"/>
                </a:cxn>
                <a:cxn ang="0">
                  <a:pos x="0" y="206"/>
                </a:cxn>
                <a:cxn ang="0">
                  <a:pos x="0" y="219"/>
                </a:cxn>
                <a:cxn ang="0">
                  <a:pos x="4" y="223"/>
                </a:cxn>
                <a:cxn ang="0">
                  <a:pos x="18" y="223"/>
                </a:cxn>
                <a:cxn ang="0">
                  <a:pos x="40" y="232"/>
                </a:cxn>
                <a:cxn ang="0">
                  <a:pos x="49" y="228"/>
                </a:cxn>
                <a:cxn ang="0">
                  <a:pos x="62" y="219"/>
                </a:cxn>
                <a:cxn ang="0">
                  <a:pos x="71" y="179"/>
                </a:cxn>
                <a:cxn ang="0">
                  <a:pos x="94" y="170"/>
                </a:cxn>
                <a:cxn ang="0">
                  <a:pos x="89" y="156"/>
                </a:cxn>
                <a:cxn ang="0">
                  <a:pos x="98" y="152"/>
                </a:cxn>
                <a:cxn ang="0">
                  <a:pos x="107" y="130"/>
                </a:cxn>
                <a:cxn ang="0">
                  <a:pos x="103" y="121"/>
                </a:cxn>
                <a:cxn ang="0">
                  <a:pos x="98" y="125"/>
                </a:cxn>
                <a:cxn ang="0">
                  <a:pos x="85" y="112"/>
                </a:cxn>
                <a:cxn ang="0">
                  <a:pos x="94" y="107"/>
                </a:cxn>
                <a:cxn ang="0">
                  <a:pos x="85" y="107"/>
                </a:cxn>
                <a:cxn ang="0">
                  <a:pos x="174" y="54"/>
                </a:cxn>
                <a:cxn ang="0">
                  <a:pos x="165" y="54"/>
                </a:cxn>
                <a:cxn ang="0">
                  <a:pos x="156" y="63"/>
                </a:cxn>
                <a:cxn ang="0">
                  <a:pos x="134" y="54"/>
                </a:cxn>
                <a:cxn ang="0">
                  <a:pos x="134" y="45"/>
                </a:cxn>
                <a:cxn ang="0">
                  <a:pos x="129" y="36"/>
                </a:cxn>
                <a:cxn ang="0">
                  <a:pos x="125" y="36"/>
                </a:cxn>
                <a:cxn ang="0">
                  <a:pos x="125" y="49"/>
                </a:cxn>
                <a:cxn ang="0">
                  <a:pos x="120" y="36"/>
                </a:cxn>
                <a:cxn ang="0">
                  <a:pos x="112" y="13"/>
                </a:cxn>
                <a:cxn ang="0">
                  <a:pos x="98" y="4"/>
                </a:cxn>
                <a:cxn ang="0">
                  <a:pos x="89" y="0"/>
                </a:cxn>
                <a:cxn ang="0">
                  <a:pos x="89" y="9"/>
                </a:cxn>
                <a:cxn ang="0">
                  <a:pos x="107" y="36"/>
                </a:cxn>
                <a:cxn ang="0">
                  <a:pos x="116" y="54"/>
                </a:cxn>
                <a:cxn ang="0">
                  <a:pos x="112" y="80"/>
                </a:cxn>
                <a:cxn ang="0">
                  <a:pos x="103" y="80"/>
                </a:cxn>
                <a:cxn ang="0">
                  <a:pos x="103" y="85"/>
                </a:cxn>
                <a:cxn ang="0">
                  <a:pos x="120" y="103"/>
                </a:cxn>
                <a:cxn ang="0">
                  <a:pos x="116" y="121"/>
                </a:cxn>
                <a:cxn ang="0">
                  <a:pos x="112" y="130"/>
                </a:cxn>
                <a:cxn ang="0">
                  <a:pos x="125" y="134"/>
                </a:cxn>
                <a:cxn ang="0">
                  <a:pos x="152" y="94"/>
                </a:cxn>
                <a:cxn ang="0">
                  <a:pos x="147" y="89"/>
                </a:cxn>
                <a:cxn ang="0">
                  <a:pos x="161" y="85"/>
                </a:cxn>
                <a:cxn ang="0">
                  <a:pos x="165" y="89"/>
                </a:cxn>
                <a:cxn ang="0">
                  <a:pos x="165" y="80"/>
                </a:cxn>
                <a:cxn ang="0">
                  <a:pos x="170" y="76"/>
                </a:cxn>
                <a:cxn ang="0">
                  <a:pos x="174" y="54"/>
                </a:cxn>
              </a:cxnLst>
              <a:rect l="0" t="0" r="r" b="b"/>
              <a:pathLst>
                <a:path w="174" h="232">
                  <a:moveTo>
                    <a:pt x="85" y="107"/>
                  </a:moveTo>
                  <a:lnTo>
                    <a:pt x="76" y="116"/>
                  </a:lnTo>
                  <a:lnTo>
                    <a:pt x="76" y="130"/>
                  </a:lnTo>
                  <a:lnTo>
                    <a:pt x="71" y="130"/>
                  </a:lnTo>
                  <a:lnTo>
                    <a:pt x="62" y="156"/>
                  </a:lnTo>
                  <a:lnTo>
                    <a:pt x="27" y="179"/>
                  </a:lnTo>
                  <a:lnTo>
                    <a:pt x="0" y="206"/>
                  </a:lnTo>
                  <a:lnTo>
                    <a:pt x="0" y="219"/>
                  </a:lnTo>
                  <a:lnTo>
                    <a:pt x="4" y="223"/>
                  </a:lnTo>
                  <a:lnTo>
                    <a:pt x="18" y="223"/>
                  </a:lnTo>
                  <a:lnTo>
                    <a:pt x="40" y="232"/>
                  </a:lnTo>
                  <a:lnTo>
                    <a:pt x="49" y="228"/>
                  </a:lnTo>
                  <a:lnTo>
                    <a:pt x="62" y="219"/>
                  </a:lnTo>
                  <a:lnTo>
                    <a:pt x="71" y="179"/>
                  </a:lnTo>
                  <a:lnTo>
                    <a:pt x="94" y="170"/>
                  </a:lnTo>
                  <a:lnTo>
                    <a:pt x="89" y="156"/>
                  </a:lnTo>
                  <a:lnTo>
                    <a:pt x="98" y="152"/>
                  </a:lnTo>
                  <a:lnTo>
                    <a:pt x="107" y="130"/>
                  </a:lnTo>
                  <a:lnTo>
                    <a:pt x="103" y="121"/>
                  </a:lnTo>
                  <a:lnTo>
                    <a:pt x="98" y="125"/>
                  </a:lnTo>
                  <a:lnTo>
                    <a:pt x="85" y="112"/>
                  </a:lnTo>
                  <a:lnTo>
                    <a:pt x="94" y="107"/>
                  </a:lnTo>
                  <a:lnTo>
                    <a:pt x="85" y="107"/>
                  </a:lnTo>
                  <a:close/>
                  <a:moveTo>
                    <a:pt x="174" y="54"/>
                  </a:moveTo>
                  <a:lnTo>
                    <a:pt x="165" y="54"/>
                  </a:lnTo>
                  <a:lnTo>
                    <a:pt x="156" y="63"/>
                  </a:lnTo>
                  <a:lnTo>
                    <a:pt x="134" y="54"/>
                  </a:lnTo>
                  <a:lnTo>
                    <a:pt x="134" y="45"/>
                  </a:lnTo>
                  <a:lnTo>
                    <a:pt x="129" y="36"/>
                  </a:lnTo>
                  <a:lnTo>
                    <a:pt x="125" y="36"/>
                  </a:lnTo>
                  <a:lnTo>
                    <a:pt x="125" y="49"/>
                  </a:lnTo>
                  <a:lnTo>
                    <a:pt x="120" y="36"/>
                  </a:lnTo>
                  <a:lnTo>
                    <a:pt x="112" y="13"/>
                  </a:lnTo>
                  <a:lnTo>
                    <a:pt x="98" y="4"/>
                  </a:lnTo>
                  <a:lnTo>
                    <a:pt x="89" y="0"/>
                  </a:lnTo>
                  <a:lnTo>
                    <a:pt x="89" y="9"/>
                  </a:lnTo>
                  <a:lnTo>
                    <a:pt x="107" y="36"/>
                  </a:lnTo>
                  <a:lnTo>
                    <a:pt x="116" y="54"/>
                  </a:lnTo>
                  <a:lnTo>
                    <a:pt x="112" y="80"/>
                  </a:lnTo>
                  <a:lnTo>
                    <a:pt x="103" y="80"/>
                  </a:lnTo>
                  <a:lnTo>
                    <a:pt x="103" y="85"/>
                  </a:lnTo>
                  <a:lnTo>
                    <a:pt x="120" y="103"/>
                  </a:lnTo>
                  <a:lnTo>
                    <a:pt x="116" y="121"/>
                  </a:lnTo>
                  <a:lnTo>
                    <a:pt x="112" y="130"/>
                  </a:lnTo>
                  <a:lnTo>
                    <a:pt x="125" y="134"/>
                  </a:lnTo>
                  <a:lnTo>
                    <a:pt x="152" y="94"/>
                  </a:lnTo>
                  <a:lnTo>
                    <a:pt x="147" y="89"/>
                  </a:lnTo>
                  <a:lnTo>
                    <a:pt x="161" y="85"/>
                  </a:lnTo>
                  <a:lnTo>
                    <a:pt x="165" y="89"/>
                  </a:lnTo>
                  <a:lnTo>
                    <a:pt x="165" y="80"/>
                  </a:lnTo>
                  <a:lnTo>
                    <a:pt x="170" y="76"/>
                  </a:lnTo>
                  <a:lnTo>
                    <a:pt x="174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9" name="Freeform 161">
              <a:extLst>
                <a:ext uri="{FF2B5EF4-FFF2-40B4-BE49-F238E27FC236}">
                  <a16:creationId xmlns:a16="http://schemas.microsoft.com/office/drawing/2014/main" id="{B7E597B9-DC52-4B75-8BE1-2B74257F1D4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74326" y="5062287"/>
              <a:ext cx="57348" cy="5925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4" y="40"/>
                </a:cxn>
                <a:cxn ang="0">
                  <a:pos x="4" y="40"/>
                </a:cxn>
                <a:cxn ang="0">
                  <a:pos x="0" y="40"/>
                </a:cxn>
                <a:cxn ang="0">
                  <a:pos x="18" y="27"/>
                </a:cxn>
                <a:cxn ang="0">
                  <a:pos x="18" y="31"/>
                </a:cxn>
                <a:cxn ang="0">
                  <a:pos x="22" y="27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8" y="18"/>
                </a:cxn>
                <a:cxn ang="0">
                  <a:pos x="22" y="13"/>
                </a:cxn>
                <a:cxn ang="0">
                  <a:pos x="18" y="13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6" y="0"/>
                </a:cxn>
              </a:cxnLst>
              <a:rect l="0" t="0" r="r" b="b"/>
              <a:pathLst>
                <a:path w="36" h="40">
                  <a:moveTo>
                    <a:pt x="0" y="40"/>
                  </a:move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close/>
                  <a:moveTo>
                    <a:pt x="18" y="27"/>
                  </a:moveTo>
                  <a:lnTo>
                    <a:pt x="18" y="31"/>
                  </a:lnTo>
                  <a:lnTo>
                    <a:pt x="22" y="27"/>
                  </a:lnTo>
                  <a:lnTo>
                    <a:pt x="18" y="27"/>
                  </a:lnTo>
                  <a:close/>
                  <a:moveTo>
                    <a:pt x="18" y="13"/>
                  </a:moveTo>
                  <a:lnTo>
                    <a:pt x="18" y="18"/>
                  </a:lnTo>
                  <a:lnTo>
                    <a:pt x="22" y="13"/>
                  </a:lnTo>
                  <a:lnTo>
                    <a:pt x="18" y="13"/>
                  </a:lnTo>
                  <a:close/>
                  <a:moveTo>
                    <a:pt x="31" y="13"/>
                  </a:move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0" name="Freeform 44">
              <a:extLst>
                <a:ext uri="{FF2B5EF4-FFF2-40B4-BE49-F238E27FC236}">
                  <a16:creationId xmlns:a16="http://schemas.microsoft.com/office/drawing/2014/main" id="{4CAFE991-A833-4F17-AEF9-23393F0F9F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90" y="4266735"/>
              <a:ext cx="141778" cy="112592"/>
            </a:xfrm>
            <a:custGeom>
              <a:avLst/>
              <a:gdLst/>
              <a:ahLst/>
              <a:cxnLst>
                <a:cxn ang="0">
                  <a:pos x="9" y="54"/>
                </a:cxn>
                <a:cxn ang="0">
                  <a:pos x="4" y="63"/>
                </a:cxn>
                <a:cxn ang="0">
                  <a:pos x="9" y="72"/>
                </a:cxn>
                <a:cxn ang="0">
                  <a:pos x="13" y="72"/>
                </a:cxn>
                <a:cxn ang="0">
                  <a:pos x="40" y="63"/>
                </a:cxn>
                <a:cxn ang="0">
                  <a:pos x="53" y="68"/>
                </a:cxn>
                <a:cxn ang="0">
                  <a:pos x="80" y="68"/>
                </a:cxn>
                <a:cxn ang="0">
                  <a:pos x="85" y="76"/>
                </a:cxn>
                <a:cxn ang="0">
                  <a:pos x="89" y="72"/>
                </a:cxn>
                <a:cxn ang="0">
                  <a:pos x="85" y="59"/>
                </a:cxn>
                <a:cxn ang="0">
                  <a:pos x="76" y="50"/>
                </a:cxn>
                <a:cxn ang="0">
                  <a:pos x="71" y="36"/>
                </a:cxn>
                <a:cxn ang="0">
                  <a:pos x="76" y="27"/>
                </a:cxn>
                <a:cxn ang="0">
                  <a:pos x="58" y="9"/>
                </a:cxn>
                <a:cxn ang="0">
                  <a:pos x="49" y="9"/>
                </a:cxn>
                <a:cxn ang="0">
                  <a:pos x="45" y="0"/>
                </a:cxn>
                <a:cxn ang="0">
                  <a:pos x="18" y="5"/>
                </a:cxn>
                <a:cxn ang="0">
                  <a:pos x="13" y="9"/>
                </a:cxn>
                <a:cxn ang="0">
                  <a:pos x="9" y="14"/>
                </a:cxn>
                <a:cxn ang="0">
                  <a:pos x="0" y="27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36" y="45"/>
                </a:cxn>
                <a:cxn ang="0">
                  <a:pos x="45" y="45"/>
                </a:cxn>
                <a:cxn ang="0">
                  <a:pos x="49" y="50"/>
                </a:cxn>
                <a:cxn ang="0">
                  <a:pos x="45" y="54"/>
                </a:cxn>
                <a:cxn ang="0">
                  <a:pos x="36" y="50"/>
                </a:cxn>
                <a:cxn ang="0">
                  <a:pos x="27" y="59"/>
                </a:cxn>
                <a:cxn ang="0">
                  <a:pos x="9" y="54"/>
                </a:cxn>
              </a:cxnLst>
              <a:rect l="0" t="0" r="r" b="b"/>
              <a:pathLst>
                <a:path w="89" h="76">
                  <a:moveTo>
                    <a:pt x="9" y="54"/>
                  </a:moveTo>
                  <a:lnTo>
                    <a:pt x="4" y="63"/>
                  </a:lnTo>
                  <a:lnTo>
                    <a:pt x="9" y="72"/>
                  </a:lnTo>
                  <a:lnTo>
                    <a:pt x="13" y="72"/>
                  </a:lnTo>
                  <a:lnTo>
                    <a:pt x="40" y="63"/>
                  </a:lnTo>
                  <a:lnTo>
                    <a:pt x="53" y="68"/>
                  </a:lnTo>
                  <a:lnTo>
                    <a:pt x="80" y="68"/>
                  </a:lnTo>
                  <a:lnTo>
                    <a:pt x="85" y="76"/>
                  </a:lnTo>
                  <a:lnTo>
                    <a:pt x="89" y="72"/>
                  </a:lnTo>
                  <a:lnTo>
                    <a:pt x="85" y="59"/>
                  </a:lnTo>
                  <a:lnTo>
                    <a:pt x="76" y="50"/>
                  </a:lnTo>
                  <a:lnTo>
                    <a:pt x="71" y="36"/>
                  </a:lnTo>
                  <a:lnTo>
                    <a:pt x="76" y="27"/>
                  </a:lnTo>
                  <a:lnTo>
                    <a:pt x="58" y="9"/>
                  </a:lnTo>
                  <a:lnTo>
                    <a:pt x="49" y="9"/>
                  </a:lnTo>
                  <a:lnTo>
                    <a:pt x="45" y="0"/>
                  </a:lnTo>
                  <a:lnTo>
                    <a:pt x="18" y="5"/>
                  </a:lnTo>
                  <a:lnTo>
                    <a:pt x="13" y="9"/>
                  </a:lnTo>
                  <a:lnTo>
                    <a:pt x="9" y="14"/>
                  </a:lnTo>
                  <a:lnTo>
                    <a:pt x="0" y="27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36" y="45"/>
                  </a:lnTo>
                  <a:lnTo>
                    <a:pt x="45" y="45"/>
                  </a:lnTo>
                  <a:lnTo>
                    <a:pt x="49" y="50"/>
                  </a:lnTo>
                  <a:lnTo>
                    <a:pt x="45" y="54"/>
                  </a:lnTo>
                  <a:lnTo>
                    <a:pt x="36" y="50"/>
                  </a:lnTo>
                  <a:lnTo>
                    <a:pt x="27" y="59"/>
                  </a:lnTo>
                  <a:lnTo>
                    <a:pt x="9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1" name="Freeform 56">
              <a:extLst>
                <a:ext uri="{FF2B5EF4-FFF2-40B4-BE49-F238E27FC236}">
                  <a16:creationId xmlns:a16="http://schemas.microsoft.com/office/drawing/2014/main" id="{4A2D0A3E-5A94-44A4-9C10-F9319C22C7F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23507" y="4651919"/>
              <a:ext cx="256475" cy="238517"/>
            </a:xfrm>
            <a:custGeom>
              <a:avLst/>
              <a:gdLst/>
              <a:ahLst/>
              <a:cxnLst>
                <a:cxn ang="0">
                  <a:pos x="0" y="53"/>
                </a:cxn>
                <a:cxn ang="0">
                  <a:pos x="4" y="53"/>
                </a:cxn>
                <a:cxn ang="0">
                  <a:pos x="22" y="40"/>
                </a:cxn>
                <a:cxn ang="0">
                  <a:pos x="22" y="31"/>
                </a:cxn>
                <a:cxn ang="0">
                  <a:pos x="18" y="31"/>
                </a:cxn>
                <a:cxn ang="0">
                  <a:pos x="18" y="22"/>
                </a:cxn>
                <a:cxn ang="0">
                  <a:pos x="18" y="9"/>
                </a:cxn>
                <a:cxn ang="0">
                  <a:pos x="13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31" y="18"/>
                </a:cxn>
                <a:cxn ang="0">
                  <a:pos x="36" y="26"/>
                </a:cxn>
                <a:cxn ang="0">
                  <a:pos x="40" y="22"/>
                </a:cxn>
                <a:cxn ang="0">
                  <a:pos x="58" y="22"/>
                </a:cxn>
                <a:cxn ang="0">
                  <a:pos x="62" y="18"/>
                </a:cxn>
                <a:cxn ang="0">
                  <a:pos x="53" y="18"/>
                </a:cxn>
                <a:cxn ang="0">
                  <a:pos x="53" y="9"/>
                </a:cxn>
                <a:cxn ang="0">
                  <a:pos x="58" y="13"/>
                </a:cxn>
                <a:cxn ang="0">
                  <a:pos x="62" y="0"/>
                </a:cxn>
                <a:cxn ang="0">
                  <a:pos x="103" y="26"/>
                </a:cxn>
                <a:cxn ang="0">
                  <a:pos x="138" y="53"/>
                </a:cxn>
                <a:cxn ang="0">
                  <a:pos x="134" y="80"/>
                </a:cxn>
                <a:cxn ang="0">
                  <a:pos x="147" y="89"/>
                </a:cxn>
                <a:cxn ang="0">
                  <a:pos x="143" y="102"/>
                </a:cxn>
                <a:cxn ang="0">
                  <a:pos x="147" y="102"/>
                </a:cxn>
                <a:cxn ang="0">
                  <a:pos x="143" y="111"/>
                </a:cxn>
                <a:cxn ang="0">
                  <a:pos x="147" y="134"/>
                </a:cxn>
                <a:cxn ang="0">
                  <a:pos x="161" y="138"/>
                </a:cxn>
                <a:cxn ang="0">
                  <a:pos x="156" y="138"/>
                </a:cxn>
                <a:cxn ang="0">
                  <a:pos x="143" y="147"/>
                </a:cxn>
                <a:cxn ang="0">
                  <a:pos x="120" y="147"/>
                </a:cxn>
                <a:cxn ang="0">
                  <a:pos x="116" y="156"/>
                </a:cxn>
                <a:cxn ang="0">
                  <a:pos x="107" y="152"/>
                </a:cxn>
                <a:cxn ang="0">
                  <a:pos x="98" y="161"/>
                </a:cxn>
                <a:cxn ang="0">
                  <a:pos x="89" y="152"/>
                </a:cxn>
                <a:cxn ang="0">
                  <a:pos x="76" y="156"/>
                </a:cxn>
                <a:cxn ang="0">
                  <a:pos x="71" y="152"/>
                </a:cxn>
                <a:cxn ang="0">
                  <a:pos x="71" y="134"/>
                </a:cxn>
                <a:cxn ang="0">
                  <a:pos x="62" y="125"/>
                </a:cxn>
                <a:cxn ang="0">
                  <a:pos x="62" y="129"/>
                </a:cxn>
                <a:cxn ang="0">
                  <a:pos x="53" y="120"/>
                </a:cxn>
                <a:cxn ang="0">
                  <a:pos x="49" y="125"/>
                </a:cxn>
                <a:cxn ang="0">
                  <a:pos x="36" y="120"/>
                </a:cxn>
                <a:cxn ang="0">
                  <a:pos x="27" y="111"/>
                </a:cxn>
                <a:cxn ang="0">
                  <a:pos x="18" y="107"/>
                </a:cxn>
                <a:cxn ang="0">
                  <a:pos x="9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53"/>
                </a:cxn>
                <a:cxn ang="0">
                  <a:pos x="143" y="71"/>
                </a:cxn>
                <a:cxn ang="0">
                  <a:pos x="138" y="76"/>
                </a:cxn>
                <a:cxn ang="0">
                  <a:pos x="143" y="80"/>
                </a:cxn>
                <a:cxn ang="0">
                  <a:pos x="147" y="85"/>
                </a:cxn>
                <a:cxn ang="0">
                  <a:pos x="147" y="76"/>
                </a:cxn>
                <a:cxn ang="0">
                  <a:pos x="143" y="71"/>
                </a:cxn>
              </a:cxnLst>
              <a:rect l="0" t="0" r="r" b="b"/>
              <a:pathLst>
                <a:path w="161" h="161">
                  <a:moveTo>
                    <a:pt x="0" y="53"/>
                  </a:moveTo>
                  <a:lnTo>
                    <a:pt x="4" y="53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31"/>
                  </a:lnTo>
                  <a:lnTo>
                    <a:pt x="18" y="22"/>
                  </a:lnTo>
                  <a:lnTo>
                    <a:pt x="18" y="9"/>
                  </a:lnTo>
                  <a:lnTo>
                    <a:pt x="13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1" y="18"/>
                  </a:lnTo>
                  <a:lnTo>
                    <a:pt x="36" y="26"/>
                  </a:lnTo>
                  <a:lnTo>
                    <a:pt x="40" y="22"/>
                  </a:lnTo>
                  <a:lnTo>
                    <a:pt x="58" y="22"/>
                  </a:lnTo>
                  <a:lnTo>
                    <a:pt x="62" y="18"/>
                  </a:lnTo>
                  <a:lnTo>
                    <a:pt x="53" y="18"/>
                  </a:lnTo>
                  <a:lnTo>
                    <a:pt x="53" y="9"/>
                  </a:lnTo>
                  <a:lnTo>
                    <a:pt x="58" y="13"/>
                  </a:lnTo>
                  <a:lnTo>
                    <a:pt x="62" y="0"/>
                  </a:lnTo>
                  <a:lnTo>
                    <a:pt x="103" y="26"/>
                  </a:lnTo>
                  <a:lnTo>
                    <a:pt x="138" y="53"/>
                  </a:lnTo>
                  <a:lnTo>
                    <a:pt x="134" y="80"/>
                  </a:lnTo>
                  <a:lnTo>
                    <a:pt x="147" y="89"/>
                  </a:lnTo>
                  <a:lnTo>
                    <a:pt x="143" y="102"/>
                  </a:lnTo>
                  <a:lnTo>
                    <a:pt x="147" y="102"/>
                  </a:lnTo>
                  <a:lnTo>
                    <a:pt x="143" y="111"/>
                  </a:lnTo>
                  <a:lnTo>
                    <a:pt x="147" y="134"/>
                  </a:lnTo>
                  <a:lnTo>
                    <a:pt x="161" y="138"/>
                  </a:lnTo>
                  <a:lnTo>
                    <a:pt x="156" y="138"/>
                  </a:lnTo>
                  <a:lnTo>
                    <a:pt x="143" y="147"/>
                  </a:lnTo>
                  <a:lnTo>
                    <a:pt x="120" y="147"/>
                  </a:lnTo>
                  <a:lnTo>
                    <a:pt x="116" y="156"/>
                  </a:lnTo>
                  <a:lnTo>
                    <a:pt x="107" y="152"/>
                  </a:lnTo>
                  <a:lnTo>
                    <a:pt x="98" y="161"/>
                  </a:lnTo>
                  <a:lnTo>
                    <a:pt x="89" y="152"/>
                  </a:lnTo>
                  <a:lnTo>
                    <a:pt x="76" y="156"/>
                  </a:lnTo>
                  <a:lnTo>
                    <a:pt x="71" y="152"/>
                  </a:lnTo>
                  <a:lnTo>
                    <a:pt x="71" y="134"/>
                  </a:lnTo>
                  <a:lnTo>
                    <a:pt x="62" y="125"/>
                  </a:lnTo>
                  <a:lnTo>
                    <a:pt x="62" y="129"/>
                  </a:lnTo>
                  <a:lnTo>
                    <a:pt x="53" y="120"/>
                  </a:lnTo>
                  <a:lnTo>
                    <a:pt x="49" y="125"/>
                  </a:lnTo>
                  <a:lnTo>
                    <a:pt x="36" y="120"/>
                  </a:lnTo>
                  <a:lnTo>
                    <a:pt x="27" y="111"/>
                  </a:lnTo>
                  <a:lnTo>
                    <a:pt x="18" y="107"/>
                  </a:lnTo>
                  <a:lnTo>
                    <a:pt x="9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53"/>
                  </a:lnTo>
                  <a:close/>
                  <a:moveTo>
                    <a:pt x="143" y="71"/>
                  </a:moveTo>
                  <a:lnTo>
                    <a:pt x="138" y="76"/>
                  </a:lnTo>
                  <a:lnTo>
                    <a:pt x="143" y="80"/>
                  </a:lnTo>
                  <a:lnTo>
                    <a:pt x="147" y="85"/>
                  </a:lnTo>
                  <a:lnTo>
                    <a:pt x="147" y="76"/>
                  </a:lnTo>
                  <a:lnTo>
                    <a:pt x="143" y="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2" name="Freeform 3">
              <a:extLst>
                <a:ext uri="{FF2B5EF4-FFF2-40B4-BE49-F238E27FC236}">
                  <a16:creationId xmlns:a16="http://schemas.microsoft.com/office/drawing/2014/main" id="{21DA300B-2F6A-48EC-B88A-BAE60499B33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7351" y="3764516"/>
              <a:ext cx="477903" cy="456294"/>
            </a:xfrm>
            <a:custGeom>
              <a:avLst/>
              <a:gdLst/>
              <a:ahLst/>
              <a:cxnLst>
                <a:cxn ang="0">
                  <a:pos x="0" y="170"/>
                </a:cxn>
                <a:cxn ang="0">
                  <a:pos x="0" y="179"/>
                </a:cxn>
                <a:cxn ang="0">
                  <a:pos x="54" y="214"/>
                </a:cxn>
                <a:cxn ang="0">
                  <a:pos x="139" y="272"/>
                </a:cxn>
                <a:cxn ang="0">
                  <a:pos x="139" y="281"/>
                </a:cxn>
                <a:cxn ang="0">
                  <a:pos x="152" y="281"/>
                </a:cxn>
                <a:cxn ang="0">
                  <a:pos x="157" y="290"/>
                </a:cxn>
                <a:cxn ang="0">
                  <a:pos x="161" y="286"/>
                </a:cxn>
                <a:cxn ang="0">
                  <a:pos x="175" y="290"/>
                </a:cxn>
                <a:cxn ang="0">
                  <a:pos x="170" y="304"/>
                </a:cxn>
                <a:cxn ang="0">
                  <a:pos x="175" y="308"/>
                </a:cxn>
                <a:cxn ang="0">
                  <a:pos x="188" y="299"/>
                </a:cxn>
                <a:cxn ang="0">
                  <a:pos x="224" y="290"/>
                </a:cxn>
                <a:cxn ang="0">
                  <a:pos x="300" y="237"/>
                </a:cxn>
                <a:cxn ang="0">
                  <a:pos x="300" y="232"/>
                </a:cxn>
                <a:cxn ang="0">
                  <a:pos x="282" y="219"/>
                </a:cxn>
                <a:cxn ang="0">
                  <a:pos x="273" y="219"/>
                </a:cxn>
                <a:cxn ang="0">
                  <a:pos x="264" y="214"/>
                </a:cxn>
                <a:cxn ang="0">
                  <a:pos x="268" y="210"/>
                </a:cxn>
                <a:cxn ang="0">
                  <a:pos x="255" y="192"/>
                </a:cxn>
                <a:cxn ang="0">
                  <a:pos x="260" y="183"/>
                </a:cxn>
                <a:cxn ang="0">
                  <a:pos x="264" y="170"/>
                </a:cxn>
                <a:cxn ang="0">
                  <a:pos x="260" y="156"/>
                </a:cxn>
                <a:cxn ang="0">
                  <a:pos x="260" y="138"/>
                </a:cxn>
                <a:cxn ang="0">
                  <a:pos x="255" y="129"/>
                </a:cxn>
                <a:cxn ang="0">
                  <a:pos x="255" y="94"/>
                </a:cxn>
                <a:cxn ang="0">
                  <a:pos x="246" y="89"/>
                </a:cxn>
                <a:cxn ang="0">
                  <a:pos x="237" y="76"/>
                </a:cxn>
                <a:cxn ang="0">
                  <a:pos x="233" y="58"/>
                </a:cxn>
                <a:cxn ang="0">
                  <a:pos x="246" y="40"/>
                </a:cxn>
                <a:cxn ang="0">
                  <a:pos x="242" y="13"/>
                </a:cxn>
                <a:cxn ang="0">
                  <a:pos x="251" y="4"/>
                </a:cxn>
                <a:cxn ang="0">
                  <a:pos x="228" y="0"/>
                </a:cxn>
                <a:cxn ang="0">
                  <a:pos x="228" y="4"/>
                </a:cxn>
                <a:cxn ang="0">
                  <a:pos x="219" y="4"/>
                </a:cxn>
                <a:cxn ang="0">
                  <a:pos x="201" y="9"/>
                </a:cxn>
                <a:cxn ang="0">
                  <a:pos x="184" y="4"/>
                </a:cxn>
                <a:cxn ang="0">
                  <a:pos x="170" y="9"/>
                </a:cxn>
                <a:cxn ang="0">
                  <a:pos x="170" y="13"/>
                </a:cxn>
                <a:cxn ang="0">
                  <a:pos x="166" y="9"/>
                </a:cxn>
                <a:cxn ang="0">
                  <a:pos x="139" y="13"/>
                </a:cxn>
                <a:cxn ang="0">
                  <a:pos x="126" y="27"/>
                </a:cxn>
                <a:cxn ang="0">
                  <a:pos x="121" y="27"/>
                </a:cxn>
                <a:cxn ang="0">
                  <a:pos x="99" y="36"/>
                </a:cxn>
                <a:cxn ang="0">
                  <a:pos x="94" y="40"/>
                </a:cxn>
                <a:cxn ang="0">
                  <a:pos x="99" y="53"/>
                </a:cxn>
                <a:cxn ang="0">
                  <a:pos x="99" y="67"/>
                </a:cxn>
                <a:cxn ang="0">
                  <a:pos x="103" y="85"/>
                </a:cxn>
                <a:cxn ang="0">
                  <a:pos x="112" y="89"/>
                </a:cxn>
                <a:cxn ang="0">
                  <a:pos x="108" y="98"/>
                </a:cxn>
                <a:cxn ang="0">
                  <a:pos x="90" y="94"/>
                </a:cxn>
                <a:cxn ang="0">
                  <a:pos x="81" y="107"/>
                </a:cxn>
                <a:cxn ang="0">
                  <a:pos x="41" y="138"/>
                </a:cxn>
                <a:cxn ang="0">
                  <a:pos x="32" y="138"/>
                </a:cxn>
                <a:cxn ang="0">
                  <a:pos x="14" y="143"/>
                </a:cxn>
                <a:cxn ang="0">
                  <a:pos x="5" y="156"/>
                </a:cxn>
                <a:cxn ang="0">
                  <a:pos x="0" y="170"/>
                </a:cxn>
              </a:cxnLst>
              <a:rect l="0" t="0" r="r" b="b"/>
              <a:pathLst>
                <a:path w="300" h="308">
                  <a:moveTo>
                    <a:pt x="0" y="170"/>
                  </a:moveTo>
                  <a:lnTo>
                    <a:pt x="0" y="179"/>
                  </a:lnTo>
                  <a:lnTo>
                    <a:pt x="54" y="214"/>
                  </a:lnTo>
                  <a:lnTo>
                    <a:pt x="139" y="272"/>
                  </a:lnTo>
                  <a:lnTo>
                    <a:pt x="139" y="281"/>
                  </a:lnTo>
                  <a:lnTo>
                    <a:pt x="152" y="281"/>
                  </a:lnTo>
                  <a:lnTo>
                    <a:pt x="157" y="290"/>
                  </a:lnTo>
                  <a:lnTo>
                    <a:pt x="161" y="286"/>
                  </a:lnTo>
                  <a:lnTo>
                    <a:pt x="175" y="290"/>
                  </a:lnTo>
                  <a:lnTo>
                    <a:pt x="170" y="304"/>
                  </a:lnTo>
                  <a:lnTo>
                    <a:pt x="175" y="308"/>
                  </a:lnTo>
                  <a:lnTo>
                    <a:pt x="188" y="299"/>
                  </a:lnTo>
                  <a:lnTo>
                    <a:pt x="224" y="290"/>
                  </a:lnTo>
                  <a:lnTo>
                    <a:pt x="300" y="237"/>
                  </a:lnTo>
                  <a:lnTo>
                    <a:pt x="300" y="232"/>
                  </a:lnTo>
                  <a:lnTo>
                    <a:pt x="282" y="219"/>
                  </a:lnTo>
                  <a:lnTo>
                    <a:pt x="273" y="219"/>
                  </a:lnTo>
                  <a:lnTo>
                    <a:pt x="264" y="214"/>
                  </a:lnTo>
                  <a:lnTo>
                    <a:pt x="268" y="210"/>
                  </a:lnTo>
                  <a:lnTo>
                    <a:pt x="255" y="192"/>
                  </a:lnTo>
                  <a:lnTo>
                    <a:pt x="260" y="183"/>
                  </a:lnTo>
                  <a:lnTo>
                    <a:pt x="264" y="170"/>
                  </a:lnTo>
                  <a:lnTo>
                    <a:pt x="260" y="156"/>
                  </a:lnTo>
                  <a:lnTo>
                    <a:pt x="260" y="138"/>
                  </a:lnTo>
                  <a:lnTo>
                    <a:pt x="255" y="129"/>
                  </a:lnTo>
                  <a:lnTo>
                    <a:pt x="255" y="94"/>
                  </a:lnTo>
                  <a:lnTo>
                    <a:pt x="246" y="89"/>
                  </a:lnTo>
                  <a:lnTo>
                    <a:pt x="237" y="76"/>
                  </a:lnTo>
                  <a:lnTo>
                    <a:pt x="233" y="58"/>
                  </a:lnTo>
                  <a:lnTo>
                    <a:pt x="246" y="40"/>
                  </a:lnTo>
                  <a:lnTo>
                    <a:pt x="242" y="13"/>
                  </a:lnTo>
                  <a:lnTo>
                    <a:pt x="251" y="4"/>
                  </a:lnTo>
                  <a:lnTo>
                    <a:pt x="228" y="0"/>
                  </a:lnTo>
                  <a:lnTo>
                    <a:pt x="228" y="4"/>
                  </a:lnTo>
                  <a:lnTo>
                    <a:pt x="219" y="4"/>
                  </a:lnTo>
                  <a:lnTo>
                    <a:pt x="201" y="9"/>
                  </a:lnTo>
                  <a:lnTo>
                    <a:pt x="184" y="4"/>
                  </a:lnTo>
                  <a:lnTo>
                    <a:pt x="170" y="9"/>
                  </a:lnTo>
                  <a:lnTo>
                    <a:pt x="170" y="13"/>
                  </a:lnTo>
                  <a:lnTo>
                    <a:pt x="166" y="9"/>
                  </a:lnTo>
                  <a:lnTo>
                    <a:pt x="139" y="13"/>
                  </a:lnTo>
                  <a:lnTo>
                    <a:pt x="126" y="27"/>
                  </a:lnTo>
                  <a:lnTo>
                    <a:pt x="121" y="27"/>
                  </a:lnTo>
                  <a:lnTo>
                    <a:pt x="99" y="36"/>
                  </a:lnTo>
                  <a:lnTo>
                    <a:pt x="94" y="40"/>
                  </a:lnTo>
                  <a:lnTo>
                    <a:pt x="99" y="53"/>
                  </a:lnTo>
                  <a:lnTo>
                    <a:pt x="99" y="67"/>
                  </a:lnTo>
                  <a:lnTo>
                    <a:pt x="103" y="85"/>
                  </a:lnTo>
                  <a:lnTo>
                    <a:pt x="112" y="89"/>
                  </a:lnTo>
                  <a:lnTo>
                    <a:pt x="108" y="98"/>
                  </a:lnTo>
                  <a:lnTo>
                    <a:pt x="90" y="94"/>
                  </a:lnTo>
                  <a:lnTo>
                    <a:pt x="81" y="107"/>
                  </a:lnTo>
                  <a:lnTo>
                    <a:pt x="41" y="138"/>
                  </a:lnTo>
                  <a:lnTo>
                    <a:pt x="32" y="138"/>
                  </a:lnTo>
                  <a:lnTo>
                    <a:pt x="14" y="143"/>
                  </a:lnTo>
                  <a:lnTo>
                    <a:pt x="5" y="156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3" name="Freeform 4">
              <a:extLst>
                <a:ext uri="{FF2B5EF4-FFF2-40B4-BE49-F238E27FC236}">
                  <a16:creationId xmlns:a16="http://schemas.microsoft.com/office/drawing/2014/main" id="{AF34CDD6-DBA4-44E5-A302-8FFEDD56C1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0917" y="4730437"/>
              <a:ext cx="283556" cy="297776"/>
            </a:xfrm>
            <a:custGeom>
              <a:avLst/>
              <a:gdLst/>
              <a:ahLst/>
              <a:cxnLst>
                <a:cxn ang="0">
                  <a:pos x="4" y="188"/>
                </a:cxn>
                <a:cxn ang="0">
                  <a:pos x="9" y="184"/>
                </a:cxn>
                <a:cxn ang="0">
                  <a:pos x="27" y="184"/>
                </a:cxn>
                <a:cxn ang="0">
                  <a:pos x="40" y="192"/>
                </a:cxn>
                <a:cxn ang="0">
                  <a:pos x="49" y="188"/>
                </a:cxn>
                <a:cxn ang="0">
                  <a:pos x="103" y="188"/>
                </a:cxn>
                <a:cxn ang="0">
                  <a:pos x="116" y="201"/>
                </a:cxn>
                <a:cxn ang="0">
                  <a:pos x="134" y="201"/>
                </a:cxn>
                <a:cxn ang="0">
                  <a:pos x="170" y="192"/>
                </a:cxn>
                <a:cxn ang="0">
                  <a:pos x="147" y="170"/>
                </a:cxn>
                <a:cxn ang="0">
                  <a:pos x="152" y="125"/>
                </a:cxn>
                <a:cxn ang="0">
                  <a:pos x="174" y="121"/>
                </a:cxn>
                <a:cxn ang="0">
                  <a:pos x="178" y="112"/>
                </a:cxn>
                <a:cxn ang="0">
                  <a:pos x="178" y="90"/>
                </a:cxn>
                <a:cxn ang="0">
                  <a:pos x="152" y="94"/>
                </a:cxn>
                <a:cxn ang="0">
                  <a:pos x="143" y="41"/>
                </a:cxn>
                <a:cxn ang="0">
                  <a:pos x="134" y="41"/>
                </a:cxn>
                <a:cxn ang="0">
                  <a:pos x="129" y="36"/>
                </a:cxn>
                <a:cxn ang="0">
                  <a:pos x="116" y="36"/>
                </a:cxn>
                <a:cxn ang="0">
                  <a:pos x="111" y="54"/>
                </a:cxn>
                <a:cxn ang="0">
                  <a:pos x="89" y="54"/>
                </a:cxn>
                <a:cxn ang="0">
                  <a:pos x="80" y="41"/>
                </a:cxn>
                <a:cxn ang="0">
                  <a:pos x="80" y="36"/>
                </a:cxn>
                <a:cxn ang="0">
                  <a:pos x="76" y="23"/>
                </a:cxn>
                <a:cxn ang="0">
                  <a:pos x="22" y="23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8" y="0"/>
                </a:cxn>
                <a:cxn ang="0">
                  <a:pos x="13" y="0"/>
                </a:cxn>
                <a:cxn ang="0">
                  <a:pos x="4" y="9"/>
                </a:cxn>
                <a:cxn ang="0">
                  <a:pos x="4" y="14"/>
                </a:cxn>
                <a:cxn ang="0">
                  <a:pos x="27" y="54"/>
                </a:cxn>
                <a:cxn ang="0">
                  <a:pos x="27" y="63"/>
                </a:cxn>
                <a:cxn ang="0">
                  <a:pos x="22" y="63"/>
                </a:cxn>
                <a:cxn ang="0">
                  <a:pos x="18" y="67"/>
                </a:cxn>
                <a:cxn ang="0">
                  <a:pos x="31" y="90"/>
                </a:cxn>
                <a:cxn ang="0">
                  <a:pos x="36" y="103"/>
                </a:cxn>
                <a:cxn ang="0">
                  <a:pos x="27" y="112"/>
                </a:cxn>
                <a:cxn ang="0">
                  <a:pos x="22" y="116"/>
                </a:cxn>
                <a:cxn ang="0">
                  <a:pos x="13" y="130"/>
                </a:cxn>
                <a:cxn ang="0">
                  <a:pos x="4" y="148"/>
                </a:cxn>
                <a:cxn ang="0">
                  <a:pos x="0" y="161"/>
                </a:cxn>
                <a:cxn ang="0">
                  <a:pos x="4" y="179"/>
                </a:cxn>
                <a:cxn ang="0">
                  <a:pos x="0" y="179"/>
                </a:cxn>
                <a:cxn ang="0">
                  <a:pos x="4" y="188"/>
                </a:cxn>
              </a:cxnLst>
              <a:rect l="0" t="0" r="r" b="b"/>
              <a:pathLst>
                <a:path w="178" h="201">
                  <a:moveTo>
                    <a:pt x="4" y="188"/>
                  </a:moveTo>
                  <a:lnTo>
                    <a:pt x="9" y="184"/>
                  </a:lnTo>
                  <a:lnTo>
                    <a:pt x="27" y="184"/>
                  </a:lnTo>
                  <a:lnTo>
                    <a:pt x="40" y="192"/>
                  </a:lnTo>
                  <a:lnTo>
                    <a:pt x="49" y="188"/>
                  </a:lnTo>
                  <a:lnTo>
                    <a:pt x="103" y="188"/>
                  </a:lnTo>
                  <a:lnTo>
                    <a:pt x="116" y="201"/>
                  </a:lnTo>
                  <a:lnTo>
                    <a:pt x="134" y="201"/>
                  </a:lnTo>
                  <a:lnTo>
                    <a:pt x="170" y="192"/>
                  </a:lnTo>
                  <a:lnTo>
                    <a:pt x="147" y="170"/>
                  </a:lnTo>
                  <a:lnTo>
                    <a:pt x="152" y="125"/>
                  </a:lnTo>
                  <a:lnTo>
                    <a:pt x="174" y="121"/>
                  </a:lnTo>
                  <a:lnTo>
                    <a:pt x="178" y="112"/>
                  </a:lnTo>
                  <a:lnTo>
                    <a:pt x="178" y="90"/>
                  </a:lnTo>
                  <a:lnTo>
                    <a:pt x="152" y="94"/>
                  </a:lnTo>
                  <a:lnTo>
                    <a:pt x="143" y="41"/>
                  </a:lnTo>
                  <a:lnTo>
                    <a:pt x="134" y="41"/>
                  </a:lnTo>
                  <a:lnTo>
                    <a:pt x="129" y="36"/>
                  </a:lnTo>
                  <a:lnTo>
                    <a:pt x="116" y="36"/>
                  </a:lnTo>
                  <a:lnTo>
                    <a:pt x="111" y="54"/>
                  </a:lnTo>
                  <a:lnTo>
                    <a:pt x="89" y="54"/>
                  </a:lnTo>
                  <a:lnTo>
                    <a:pt x="80" y="41"/>
                  </a:lnTo>
                  <a:lnTo>
                    <a:pt x="80" y="36"/>
                  </a:lnTo>
                  <a:lnTo>
                    <a:pt x="76" y="23"/>
                  </a:lnTo>
                  <a:lnTo>
                    <a:pt x="22" y="23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4" y="9"/>
                  </a:lnTo>
                  <a:lnTo>
                    <a:pt x="4" y="14"/>
                  </a:lnTo>
                  <a:lnTo>
                    <a:pt x="27" y="54"/>
                  </a:lnTo>
                  <a:lnTo>
                    <a:pt x="27" y="63"/>
                  </a:lnTo>
                  <a:lnTo>
                    <a:pt x="22" y="63"/>
                  </a:lnTo>
                  <a:lnTo>
                    <a:pt x="18" y="67"/>
                  </a:lnTo>
                  <a:lnTo>
                    <a:pt x="31" y="90"/>
                  </a:lnTo>
                  <a:lnTo>
                    <a:pt x="36" y="103"/>
                  </a:lnTo>
                  <a:lnTo>
                    <a:pt x="27" y="112"/>
                  </a:lnTo>
                  <a:lnTo>
                    <a:pt x="22" y="116"/>
                  </a:lnTo>
                  <a:lnTo>
                    <a:pt x="13" y="130"/>
                  </a:lnTo>
                  <a:lnTo>
                    <a:pt x="4" y="148"/>
                  </a:lnTo>
                  <a:lnTo>
                    <a:pt x="0" y="161"/>
                  </a:lnTo>
                  <a:lnTo>
                    <a:pt x="4" y="179"/>
                  </a:lnTo>
                  <a:lnTo>
                    <a:pt x="0" y="179"/>
                  </a:lnTo>
                  <a:lnTo>
                    <a:pt x="4" y="18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4" name="Freeform 5">
              <a:extLst>
                <a:ext uri="{FF2B5EF4-FFF2-40B4-BE49-F238E27FC236}">
                  <a16:creationId xmlns:a16="http://schemas.microsoft.com/office/drawing/2014/main" id="{04A29377-6132-48E5-8758-CCE277FBE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2078" y="5022287"/>
              <a:ext cx="221428" cy="217777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9" y="130"/>
                </a:cxn>
                <a:cxn ang="0">
                  <a:pos x="9" y="138"/>
                </a:cxn>
                <a:cxn ang="0">
                  <a:pos x="9" y="147"/>
                </a:cxn>
                <a:cxn ang="0">
                  <a:pos x="32" y="143"/>
                </a:cxn>
                <a:cxn ang="0">
                  <a:pos x="45" y="121"/>
                </a:cxn>
                <a:cxn ang="0">
                  <a:pos x="50" y="121"/>
                </a:cxn>
                <a:cxn ang="0">
                  <a:pos x="54" y="125"/>
                </a:cxn>
                <a:cxn ang="0">
                  <a:pos x="58" y="130"/>
                </a:cxn>
                <a:cxn ang="0">
                  <a:pos x="81" y="125"/>
                </a:cxn>
                <a:cxn ang="0">
                  <a:pos x="85" y="112"/>
                </a:cxn>
                <a:cxn ang="0">
                  <a:pos x="99" y="103"/>
                </a:cxn>
                <a:cxn ang="0">
                  <a:pos x="99" y="98"/>
                </a:cxn>
                <a:cxn ang="0">
                  <a:pos x="121" y="76"/>
                </a:cxn>
                <a:cxn ang="0">
                  <a:pos x="134" y="71"/>
                </a:cxn>
                <a:cxn ang="0">
                  <a:pos x="139" y="67"/>
                </a:cxn>
                <a:cxn ang="0">
                  <a:pos x="139" y="62"/>
                </a:cxn>
                <a:cxn ang="0">
                  <a:pos x="125" y="62"/>
                </a:cxn>
                <a:cxn ang="0">
                  <a:pos x="112" y="45"/>
                </a:cxn>
                <a:cxn ang="0">
                  <a:pos x="85" y="22"/>
                </a:cxn>
                <a:cxn ang="0">
                  <a:pos x="72" y="0"/>
                </a:cxn>
                <a:cxn ang="0">
                  <a:pos x="58" y="4"/>
                </a:cxn>
                <a:cxn ang="0">
                  <a:pos x="54" y="13"/>
                </a:cxn>
                <a:cxn ang="0">
                  <a:pos x="45" y="4"/>
                </a:cxn>
                <a:cxn ang="0">
                  <a:pos x="27" y="9"/>
                </a:cxn>
                <a:cxn ang="0">
                  <a:pos x="18" y="9"/>
                </a:cxn>
                <a:cxn ang="0">
                  <a:pos x="18" y="67"/>
                </a:cxn>
                <a:cxn ang="0">
                  <a:pos x="5" y="67"/>
                </a:cxn>
                <a:cxn ang="0">
                  <a:pos x="0" y="112"/>
                </a:cxn>
              </a:cxnLst>
              <a:rect l="0" t="0" r="r" b="b"/>
              <a:pathLst>
                <a:path w="139" h="147">
                  <a:moveTo>
                    <a:pt x="0" y="112"/>
                  </a:moveTo>
                  <a:lnTo>
                    <a:pt x="9" y="130"/>
                  </a:lnTo>
                  <a:lnTo>
                    <a:pt x="9" y="138"/>
                  </a:lnTo>
                  <a:lnTo>
                    <a:pt x="9" y="147"/>
                  </a:lnTo>
                  <a:lnTo>
                    <a:pt x="32" y="143"/>
                  </a:lnTo>
                  <a:lnTo>
                    <a:pt x="45" y="121"/>
                  </a:lnTo>
                  <a:lnTo>
                    <a:pt x="50" y="121"/>
                  </a:lnTo>
                  <a:lnTo>
                    <a:pt x="54" y="125"/>
                  </a:lnTo>
                  <a:lnTo>
                    <a:pt x="58" y="130"/>
                  </a:lnTo>
                  <a:lnTo>
                    <a:pt x="81" y="125"/>
                  </a:lnTo>
                  <a:lnTo>
                    <a:pt x="85" y="112"/>
                  </a:lnTo>
                  <a:lnTo>
                    <a:pt x="99" y="103"/>
                  </a:lnTo>
                  <a:lnTo>
                    <a:pt x="99" y="98"/>
                  </a:lnTo>
                  <a:lnTo>
                    <a:pt x="121" y="76"/>
                  </a:lnTo>
                  <a:lnTo>
                    <a:pt x="134" y="71"/>
                  </a:lnTo>
                  <a:lnTo>
                    <a:pt x="139" y="67"/>
                  </a:lnTo>
                  <a:lnTo>
                    <a:pt x="139" y="62"/>
                  </a:lnTo>
                  <a:lnTo>
                    <a:pt x="125" y="62"/>
                  </a:lnTo>
                  <a:lnTo>
                    <a:pt x="112" y="45"/>
                  </a:lnTo>
                  <a:lnTo>
                    <a:pt x="85" y="22"/>
                  </a:lnTo>
                  <a:lnTo>
                    <a:pt x="72" y="0"/>
                  </a:lnTo>
                  <a:lnTo>
                    <a:pt x="58" y="4"/>
                  </a:lnTo>
                  <a:lnTo>
                    <a:pt x="54" y="13"/>
                  </a:lnTo>
                  <a:lnTo>
                    <a:pt x="45" y="4"/>
                  </a:lnTo>
                  <a:lnTo>
                    <a:pt x="27" y="9"/>
                  </a:lnTo>
                  <a:lnTo>
                    <a:pt x="18" y="9"/>
                  </a:lnTo>
                  <a:lnTo>
                    <a:pt x="18" y="67"/>
                  </a:lnTo>
                  <a:lnTo>
                    <a:pt x="5" y="67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5" name="Freeform 6">
              <a:extLst>
                <a:ext uri="{FF2B5EF4-FFF2-40B4-BE49-F238E27FC236}">
                  <a16:creationId xmlns:a16="http://schemas.microsoft.com/office/drawing/2014/main" id="{2651B5F6-2697-4532-9A4D-C1CCBD95AB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5542" y="4684511"/>
              <a:ext cx="43011" cy="4592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5" y="18"/>
                </a:cxn>
                <a:cxn ang="0">
                  <a:pos x="5" y="31"/>
                </a:cxn>
                <a:cxn ang="0">
                  <a:pos x="9" y="31"/>
                </a:cxn>
                <a:cxn ang="0">
                  <a:pos x="27" y="18"/>
                </a:cxn>
                <a:cxn ang="0">
                  <a:pos x="27" y="9"/>
                </a:cxn>
                <a:cxn ang="0">
                  <a:pos x="23" y="9"/>
                </a:cxn>
                <a:cxn ang="0">
                  <a:pos x="23" y="0"/>
                </a:cxn>
                <a:cxn ang="0">
                  <a:pos x="14" y="0"/>
                </a:cxn>
                <a:cxn ang="0">
                  <a:pos x="9" y="4"/>
                </a:cxn>
                <a:cxn ang="0">
                  <a:pos x="0" y="4"/>
                </a:cxn>
              </a:cxnLst>
              <a:rect l="0" t="0" r="r" b="b"/>
              <a:pathLst>
                <a:path w="27" h="31">
                  <a:moveTo>
                    <a:pt x="0" y="4"/>
                  </a:moveTo>
                  <a:lnTo>
                    <a:pt x="5" y="18"/>
                  </a:lnTo>
                  <a:lnTo>
                    <a:pt x="5" y="31"/>
                  </a:lnTo>
                  <a:lnTo>
                    <a:pt x="9" y="31"/>
                  </a:lnTo>
                  <a:lnTo>
                    <a:pt x="27" y="1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9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6" name="Freeform 7">
              <a:extLst>
                <a:ext uri="{FF2B5EF4-FFF2-40B4-BE49-F238E27FC236}">
                  <a16:creationId xmlns:a16="http://schemas.microsoft.com/office/drawing/2014/main" id="{824DE667-5E75-4B02-AD81-55D7758A1B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3569" y="4354142"/>
              <a:ext cx="164080" cy="237036"/>
            </a:xfrm>
            <a:custGeom>
              <a:avLst/>
              <a:gdLst/>
              <a:ahLst/>
              <a:cxnLst>
                <a:cxn ang="0">
                  <a:pos x="0" y="116"/>
                </a:cxn>
                <a:cxn ang="0">
                  <a:pos x="0" y="125"/>
                </a:cxn>
                <a:cxn ang="0">
                  <a:pos x="5" y="129"/>
                </a:cxn>
                <a:cxn ang="0">
                  <a:pos x="13" y="129"/>
                </a:cxn>
                <a:cxn ang="0">
                  <a:pos x="9" y="138"/>
                </a:cxn>
                <a:cxn ang="0">
                  <a:pos x="9" y="143"/>
                </a:cxn>
                <a:cxn ang="0">
                  <a:pos x="9" y="156"/>
                </a:cxn>
                <a:cxn ang="0">
                  <a:pos x="31" y="160"/>
                </a:cxn>
                <a:cxn ang="0">
                  <a:pos x="49" y="156"/>
                </a:cxn>
                <a:cxn ang="0">
                  <a:pos x="63" y="156"/>
                </a:cxn>
                <a:cxn ang="0">
                  <a:pos x="85" y="156"/>
                </a:cxn>
                <a:cxn ang="0">
                  <a:pos x="98" y="160"/>
                </a:cxn>
                <a:cxn ang="0">
                  <a:pos x="103" y="143"/>
                </a:cxn>
                <a:cxn ang="0">
                  <a:pos x="94" y="138"/>
                </a:cxn>
                <a:cxn ang="0">
                  <a:pos x="80" y="125"/>
                </a:cxn>
                <a:cxn ang="0">
                  <a:pos x="76" y="98"/>
                </a:cxn>
                <a:cxn ang="0">
                  <a:pos x="94" y="80"/>
                </a:cxn>
                <a:cxn ang="0">
                  <a:pos x="89" y="71"/>
                </a:cxn>
                <a:cxn ang="0">
                  <a:pos x="72" y="49"/>
                </a:cxn>
                <a:cxn ang="0">
                  <a:pos x="72" y="40"/>
                </a:cxn>
                <a:cxn ang="0">
                  <a:pos x="89" y="44"/>
                </a:cxn>
                <a:cxn ang="0">
                  <a:pos x="85" y="31"/>
                </a:cxn>
                <a:cxn ang="0">
                  <a:pos x="85" y="17"/>
                </a:cxn>
                <a:cxn ang="0">
                  <a:pos x="80" y="0"/>
                </a:cxn>
                <a:cxn ang="0">
                  <a:pos x="76" y="4"/>
                </a:cxn>
                <a:cxn ang="0">
                  <a:pos x="76" y="17"/>
                </a:cxn>
                <a:cxn ang="0">
                  <a:pos x="67" y="22"/>
                </a:cxn>
                <a:cxn ang="0">
                  <a:pos x="63" y="49"/>
                </a:cxn>
                <a:cxn ang="0">
                  <a:pos x="58" y="49"/>
                </a:cxn>
                <a:cxn ang="0">
                  <a:pos x="54" y="62"/>
                </a:cxn>
                <a:cxn ang="0">
                  <a:pos x="45" y="67"/>
                </a:cxn>
                <a:cxn ang="0">
                  <a:pos x="31" y="89"/>
                </a:cxn>
                <a:cxn ang="0">
                  <a:pos x="22" y="84"/>
                </a:cxn>
                <a:cxn ang="0">
                  <a:pos x="13" y="84"/>
                </a:cxn>
                <a:cxn ang="0">
                  <a:pos x="5" y="111"/>
                </a:cxn>
                <a:cxn ang="0">
                  <a:pos x="0" y="116"/>
                </a:cxn>
              </a:cxnLst>
              <a:rect l="0" t="0" r="r" b="b"/>
              <a:pathLst>
                <a:path w="103" h="160">
                  <a:moveTo>
                    <a:pt x="0" y="116"/>
                  </a:moveTo>
                  <a:lnTo>
                    <a:pt x="0" y="125"/>
                  </a:lnTo>
                  <a:lnTo>
                    <a:pt x="5" y="129"/>
                  </a:lnTo>
                  <a:lnTo>
                    <a:pt x="13" y="129"/>
                  </a:lnTo>
                  <a:lnTo>
                    <a:pt x="9" y="138"/>
                  </a:lnTo>
                  <a:lnTo>
                    <a:pt x="9" y="143"/>
                  </a:lnTo>
                  <a:lnTo>
                    <a:pt x="9" y="156"/>
                  </a:lnTo>
                  <a:lnTo>
                    <a:pt x="31" y="160"/>
                  </a:lnTo>
                  <a:lnTo>
                    <a:pt x="49" y="156"/>
                  </a:lnTo>
                  <a:lnTo>
                    <a:pt x="63" y="156"/>
                  </a:lnTo>
                  <a:lnTo>
                    <a:pt x="85" y="156"/>
                  </a:lnTo>
                  <a:lnTo>
                    <a:pt x="98" y="160"/>
                  </a:lnTo>
                  <a:lnTo>
                    <a:pt x="103" y="143"/>
                  </a:lnTo>
                  <a:lnTo>
                    <a:pt x="94" y="138"/>
                  </a:lnTo>
                  <a:lnTo>
                    <a:pt x="80" y="125"/>
                  </a:lnTo>
                  <a:lnTo>
                    <a:pt x="76" y="98"/>
                  </a:lnTo>
                  <a:lnTo>
                    <a:pt x="94" y="80"/>
                  </a:lnTo>
                  <a:lnTo>
                    <a:pt x="89" y="71"/>
                  </a:lnTo>
                  <a:lnTo>
                    <a:pt x="72" y="49"/>
                  </a:lnTo>
                  <a:lnTo>
                    <a:pt x="72" y="40"/>
                  </a:lnTo>
                  <a:lnTo>
                    <a:pt x="89" y="44"/>
                  </a:lnTo>
                  <a:lnTo>
                    <a:pt x="85" y="31"/>
                  </a:lnTo>
                  <a:lnTo>
                    <a:pt x="85" y="17"/>
                  </a:lnTo>
                  <a:lnTo>
                    <a:pt x="80" y="0"/>
                  </a:lnTo>
                  <a:lnTo>
                    <a:pt x="76" y="4"/>
                  </a:lnTo>
                  <a:lnTo>
                    <a:pt x="76" y="17"/>
                  </a:lnTo>
                  <a:lnTo>
                    <a:pt x="67" y="22"/>
                  </a:lnTo>
                  <a:lnTo>
                    <a:pt x="63" y="49"/>
                  </a:lnTo>
                  <a:lnTo>
                    <a:pt x="58" y="49"/>
                  </a:lnTo>
                  <a:lnTo>
                    <a:pt x="54" y="62"/>
                  </a:lnTo>
                  <a:lnTo>
                    <a:pt x="45" y="67"/>
                  </a:lnTo>
                  <a:lnTo>
                    <a:pt x="31" y="89"/>
                  </a:lnTo>
                  <a:lnTo>
                    <a:pt x="22" y="84"/>
                  </a:lnTo>
                  <a:lnTo>
                    <a:pt x="13" y="84"/>
                  </a:lnTo>
                  <a:lnTo>
                    <a:pt x="5" y="111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7" name="Freeform 8">
              <a:extLst>
                <a:ext uri="{FF2B5EF4-FFF2-40B4-BE49-F238E27FC236}">
                  <a16:creationId xmlns:a16="http://schemas.microsoft.com/office/drawing/2014/main" id="{53983C96-D81B-4522-93D5-4464D6DD933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2110" y="4260810"/>
              <a:ext cx="43011" cy="5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4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14" y="31"/>
                </a:cxn>
                <a:cxn ang="0">
                  <a:pos x="9" y="22"/>
                </a:cxn>
                <a:cxn ang="0">
                  <a:pos x="22" y="9"/>
                </a:cxn>
                <a:cxn ang="0">
                  <a:pos x="22" y="13"/>
                </a:cxn>
                <a:cxn ang="0">
                  <a:pos x="22" y="18"/>
                </a:cxn>
                <a:cxn ang="0">
                  <a:pos x="27" y="13"/>
                </a:cxn>
                <a:cxn ang="0">
                  <a:pos x="22" y="9"/>
                </a:cxn>
              </a:cxnLst>
              <a:rect l="0" t="0" r="r" b="b"/>
              <a:pathLst>
                <a:path w="27" h="36">
                  <a:moveTo>
                    <a:pt x="0" y="0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9" y="22"/>
                  </a:moveTo>
                  <a:lnTo>
                    <a:pt x="5" y="31"/>
                  </a:lnTo>
                  <a:lnTo>
                    <a:pt x="9" y="36"/>
                  </a:lnTo>
                  <a:lnTo>
                    <a:pt x="14" y="31"/>
                  </a:lnTo>
                  <a:lnTo>
                    <a:pt x="9" y="22"/>
                  </a:lnTo>
                  <a:close/>
                  <a:moveTo>
                    <a:pt x="22" y="9"/>
                  </a:moveTo>
                  <a:lnTo>
                    <a:pt x="22" y="13"/>
                  </a:lnTo>
                  <a:lnTo>
                    <a:pt x="22" y="18"/>
                  </a:lnTo>
                  <a:lnTo>
                    <a:pt x="27" y="13"/>
                  </a:lnTo>
                  <a:lnTo>
                    <a:pt x="22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8" name="Freeform 9">
              <a:extLst>
                <a:ext uri="{FF2B5EF4-FFF2-40B4-BE49-F238E27FC236}">
                  <a16:creationId xmlns:a16="http://schemas.microsoft.com/office/drawing/2014/main" id="{400E52CB-7CAD-4AD6-AFC3-B8693AF6C0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4638" y="4392661"/>
              <a:ext cx="299486" cy="173332"/>
            </a:xfrm>
            <a:custGeom>
              <a:avLst/>
              <a:gdLst/>
              <a:ahLst/>
              <a:cxnLst>
                <a:cxn ang="0">
                  <a:pos x="27" y="117"/>
                </a:cxn>
                <a:cxn ang="0">
                  <a:pos x="45" y="103"/>
                </a:cxn>
                <a:cxn ang="0">
                  <a:pos x="63" y="103"/>
                </a:cxn>
                <a:cxn ang="0">
                  <a:pos x="63" y="99"/>
                </a:cxn>
                <a:cxn ang="0">
                  <a:pos x="76" y="85"/>
                </a:cxn>
                <a:cxn ang="0">
                  <a:pos x="85" y="94"/>
                </a:cxn>
                <a:cxn ang="0">
                  <a:pos x="116" y="99"/>
                </a:cxn>
                <a:cxn ang="0">
                  <a:pos x="121" y="90"/>
                </a:cxn>
                <a:cxn ang="0">
                  <a:pos x="130" y="94"/>
                </a:cxn>
                <a:cxn ang="0">
                  <a:pos x="147" y="85"/>
                </a:cxn>
                <a:cxn ang="0">
                  <a:pos x="152" y="90"/>
                </a:cxn>
                <a:cxn ang="0">
                  <a:pos x="161" y="85"/>
                </a:cxn>
                <a:cxn ang="0">
                  <a:pos x="188" y="90"/>
                </a:cxn>
                <a:cxn ang="0">
                  <a:pos x="188" y="76"/>
                </a:cxn>
                <a:cxn ang="0">
                  <a:pos x="174" y="72"/>
                </a:cxn>
                <a:cxn ang="0">
                  <a:pos x="161" y="45"/>
                </a:cxn>
                <a:cxn ang="0">
                  <a:pos x="147" y="41"/>
                </a:cxn>
                <a:cxn ang="0">
                  <a:pos x="143" y="36"/>
                </a:cxn>
                <a:cxn ang="0">
                  <a:pos x="130" y="32"/>
                </a:cxn>
                <a:cxn ang="0">
                  <a:pos x="125" y="18"/>
                </a:cxn>
                <a:cxn ang="0">
                  <a:pos x="121" y="0"/>
                </a:cxn>
                <a:cxn ang="0">
                  <a:pos x="112" y="0"/>
                </a:cxn>
                <a:cxn ang="0">
                  <a:pos x="103" y="5"/>
                </a:cxn>
                <a:cxn ang="0">
                  <a:pos x="89" y="27"/>
                </a:cxn>
                <a:cxn ang="0">
                  <a:pos x="71" y="32"/>
                </a:cxn>
                <a:cxn ang="0">
                  <a:pos x="67" y="41"/>
                </a:cxn>
                <a:cxn ang="0">
                  <a:pos x="49" y="45"/>
                </a:cxn>
                <a:cxn ang="0">
                  <a:pos x="36" y="54"/>
                </a:cxn>
                <a:cxn ang="0">
                  <a:pos x="27" y="50"/>
                </a:cxn>
                <a:cxn ang="0">
                  <a:pos x="18" y="54"/>
                </a:cxn>
                <a:cxn ang="0">
                  <a:pos x="0" y="72"/>
                </a:cxn>
                <a:cxn ang="0">
                  <a:pos x="4" y="99"/>
                </a:cxn>
                <a:cxn ang="0">
                  <a:pos x="18" y="112"/>
                </a:cxn>
                <a:cxn ang="0">
                  <a:pos x="27" y="117"/>
                </a:cxn>
              </a:cxnLst>
              <a:rect l="0" t="0" r="r" b="b"/>
              <a:pathLst>
                <a:path w="188" h="117">
                  <a:moveTo>
                    <a:pt x="27" y="117"/>
                  </a:moveTo>
                  <a:lnTo>
                    <a:pt x="45" y="103"/>
                  </a:lnTo>
                  <a:lnTo>
                    <a:pt x="63" y="103"/>
                  </a:lnTo>
                  <a:lnTo>
                    <a:pt x="63" y="99"/>
                  </a:lnTo>
                  <a:lnTo>
                    <a:pt x="76" y="85"/>
                  </a:lnTo>
                  <a:lnTo>
                    <a:pt x="85" y="94"/>
                  </a:lnTo>
                  <a:lnTo>
                    <a:pt x="116" y="99"/>
                  </a:lnTo>
                  <a:lnTo>
                    <a:pt x="121" y="90"/>
                  </a:lnTo>
                  <a:lnTo>
                    <a:pt x="130" y="94"/>
                  </a:lnTo>
                  <a:lnTo>
                    <a:pt x="147" y="85"/>
                  </a:lnTo>
                  <a:lnTo>
                    <a:pt x="152" y="90"/>
                  </a:lnTo>
                  <a:lnTo>
                    <a:pt x="161" y="85"/>
                  </a:lnTo>
                  <a:lnTo>
                    <a:pt x="188" y="90"/>
                  </a:lnTo>
                  <a:lnTo>
                    <a:pt x="188" y="76"/>
                  </a:lnTo>
                  <a:lnTo>
                    <a:pt x="174" y="72"/>
                  </a:lnTo>
                  <a:lnTo>
                    <a:pt x="161" y="45"/>
                  </a:lnTo>
                  <a:lnTo>
                    <a:pt x="147" y="41"/>
                  </a:lnTo>
                  <a:lnTo>
                    <a:pt x="143" y="36"/>
                  </a:lnTo>
                  <a:lnTo>
                    <a:pt x="130" y="32"/>
                  </a:lnTo>
                  <a:lnTo>
                    <a:pt x="125" y="18"/>
                  </a:lnTo>
                  <a:lnTo>
                    <a:pt x="121" y="0"/>
                  </a:lnTo>
                  <a:lnTo>
                    <a:pt x="112" y="0"/>
                  </a:lnTo>
                  <a:lnTo>
                    <a:pt x="103" y="5"/>
                  </a:lnTo>
                  <a:lnTo>
                    <a:pt x="89" y="27"/>
                  </a:lnTo>
                  <a:lnTo>
                    <a:pt x="71" y="32"/>
                  </a:lnTo>
                  <a:lnTo>
                    <a:pt x="67" y="41"/>
                  </a:lnTo>
                  <a:lnTo>
                    <a:pt x="49" y="45"/>
                  </a:lnTo>
                  <a:lnTo>
                    <a:pt x="36" y="54"/>
                  </a:lnTo>
                  <a:lnTo>
                    <a:pt x="27" y="50"/>
                  </a:lnTo>
                  <a:lnTo>
                    <a:pt x="18" y="54"/>
                  </a:lnTo>
                  <a:lnTo>
                    <a:pt x="0" y="72"/>
                  </a:lnTo>
                  <a:lnTo>
                    <a:pt x="4" y="99"/>
                  </a:lnTo>
                  <a:lnTo>
                    <a:pt x="18" y="112"/>
                  </a:lnTo>
                  <a:lnTo>
                    <a:pt x="27" y="11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9" name="Freeform 10">
              <a:extLst>
                <a:ext uri="{FF2B5EF4-FFF2-40B4-BE49-F238E27FC236}">
                  <a16:creationId xmlns:a16="http://schemas.microsoft.com/office/drawing/2014/main" id="{3264CD26-86DF-47F6-8369-3A4DC792B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3928" y="4108218"/>
              <a:ext cx="234172" cy="364443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4" y="157"/>
                </a:cxn>
                <a:cxn ang="0">
                  <a:pos x="13" y="170"/>
                </a:cxn>
                <a:cxn ang="0">
                  <a:pos x="17" y="166"/>
                </a:cxn>
                <a:cxn ang="0">
                  <a:pos x="22" y="183"/>
                </a:cxn>
                <a:cxn ang="0">
                  <a:pos x="22" y="197"/>
                </a:cxn>
                <a:cxn ang="0">
                  <a:pos x="26" y="210"/>
                </a:cxn>
                <a:cxn ang="0">
                  <a:pos x="9" y="206"/>
                </a:cxn>
                <a:cxn ang="0">
                  <a:pos x="9" y="215"/>
                </a:cxn>
                <a:cxn ang="0">
                  <a:pos x="26" y="237"/>
                </a:cxn>
                <a:cxn ang="0">
                  <a:pos x="31" y="246"/>
                </a:cxn>
                <a:cxn ang="0">
                  <a:pos x="40" y="242"/>
                </a:cxn>
                <a:cxn ang="0">
                  <a:pos x="49" y="246"/>
                </a:cxn>
                <a:cxn ang="0">
                  <a:pos x="62" y="237"/>
                </a:cxn>
                <a:cxn ang="0">
                  <a:pos x="80" y="233"/>
                </a:cxn>
                <a:cxn ang="0">
                  <a:pos x="84" y="224"/>
                </a:cxn>
                <a:cxn ang="0">
                  <a:pos x="102" y="219"/>
                </a:cxn>
                <a:cxn ang="0">
                  <a:pos x="116" y="197"/>
                </a:cxn>
                <a:cxn ang="0">
                  <a:pos x="125" y="192"/>
                </a:cxn>
                <a:cxn ang="0">
                  <a:pos x="134" y="192"/>
                </a:cxn>
                <a:cxn ang="0">
                  <a:pos x="129" y="183"/>
                </a:cxn>
                <a:cxn ang="0">
                  <a:pos x="129" y="179"/>
                </a:cxn>
                <a:cxn ang="0">
                  <a:pos x="120" y="166"/>
                </a:cxn>
                <a:cxn ang="0">
                  <a:pos x="125" y="152"/>
                </a:cxn>
                <a:cxn ang="0">
                  <a:pos x="134" y="148"/>
                </a:cxn>
                <a:cxn ang="0">
                  <a:pos x="129" y="143"/>
                </a:cxn>
                <a:cxn ang="0">
                  <a:pos x="134" y="139"/>
                </a:cxn>
                <a:cxn ang="0">
                  <a:pos x="134" y="130"/>
                </a:cxn>
                <a:cxn ang="0">
                  <a:pos x="147" y="125"/>
                </a:cxn>
                <a:cxn ang="0">
                  <a:pos x="147" y="67"/>
                </a:cxn>
                <a:cxn ang="0">
                  <a:pos x="35" y="0"/>
                </a:cxn>
                <a:cxn ang="0">
                  <a:pos x="22" y="9"/>
                </a:cxn>
                <a:cxn ang="0">
                  <a:pos x="31" y="27"/>
                </a:cxn>
                <a:cxn ang="0">
                  <a:pos x="31" y="40"/>
                </a:cxn>
                <a:cxn ang="0">
                  <a:pos x="40" y="49"/>
                </a:cxn>
                <a:cxn ang="0">
                  <a:pos x="31" y="67"/>
                </a:cxn>
                <a:cxn ang="0">
                  <a:pos x="26" y="112"/>
                </a:cxn>
                <a:cxn ang="0">
                  <a:pos x="4" y="130"/>
                </a:cxn>
                <a:cxn ang="0">
                  <a:pos x="0" y="139"/>
                </a:cxn>
                <a:cxn ang="0">
                  <a:pos x="0" y="152"/>
                </a:cxn>
              </a:cxnLst>
              <a:rect l="0" t="0" r="r" b="b"/>
              <a:pathLst>
                <a:path w="147" h="246">
                  <a:moveTo>
                    <a:pt x="0" y="152"/>
                  </a:moveTo>
                  <a:lnTo>
                    <a:pt x="4" y="157"/>
                  </a:lnTo>
                  <a:lnTo>
                    <a:pt x="13" y="170"/>
                  </a:lnTo>
                  <a:lnTo>
                    <a:pt x="17" y="166"/>
                  </a:lnTo>
                  <a:lnTo>
                    <a:pt x="22" y="183"/>
                  </a:lnTo>
                  <a:lnTo>
                    <a:pt x="22" y="197"/>
                  </a:lnTo>
                  <a:lnTo>
                    <a:pt x="26" y="210"/>
                  </a:lnTo>
                  <a:lnTo>
                    <a:pt x="9" y="206"/>
                  </a:lnTo>
                  <a:lnTo>
                    <a:pt x="9" y="215"/>
                  </a:lnTo>
                  <a:lnTo>
                    <a:pt x="26" y="237"/>
                  </a:lnTo>
                  <a:lnTo>
                    <a:pt x="31" y="246"/>
                  </a:lnTo>
                  <a:lnTo>
                    <a:pt x="40" y="242"/>
                  </a:lnTo>
                  <a:lnTo>
                    <a:pt x="49" y="246"/>
                  </a:lnTo>
                  <a:lnTo>
                    <a:pt x="62" y="237"/>
                  </a:lnTo>
                  <a:lnTo>
                    <a:pt x="80" y="233"/>
                  </a:lnTo>
                  <a:lnTo>
                    <a:pt x="84" y="224"/>
                  </a:lnTo>
                  <a:lnTo>
                    <a:pt x="102" y="219"/>
                  </a:lnTo>
                  <a:lnTo>
                    <a:pt x="116" y="197"/>
                  </a:lnTo>
                  <a:lnTo>
                    <a:pt x="125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29" y="179"/>
                  </a:lnTo>
                  <a:lnTo>
                    <a:pt x="120" y="166"/>
                  </a:lnTo>
                  <a:lnTo>
                    <a:pt x="125" y="152"/>
                  </a:lnTo>
                  <a:lnTo>
                    <a:pt x="134" y="148"/>
                  </a:lnTo>
                  <a:lnTo>
                    <a:pt x="129" y="143"/>
                  </a:lnTo>
                  <a:lnTo>
                    <a:pt x="134" y="139"/>
                  </a:lnTo>
                  <a:lnTo>
                    <a:pt x="134" y="130"/>
                  </a:lnTo>
                  <a:lnTo>
                    <a:pt x="147" y="125"/>
                  </a:lnTo>
                  <a:lnTo>
                    <a:pt x="147" y="67"/>
                  </a:lnTo>
                  <a:lnTo>
                    <a:pt x="35" y="0"/>
                  </a:lnTo>
                  <a:lnTo>
                    <a:pt x="22" y="9"/>
                  </a:lnTo>
                  <a:lnTo>
                    <a:pt x="31" y="27"/>
                  </a:lnTo>
                  <a:lnTo>
                    <a:pt x="31" y="40"/>
                  </a:lnTo>
                  <a:lnTo>
                    <a:pt x="40" y="49"/>
                  </a:lnTo>
                  <a:lnTo>
                    <a:pt x="31" y="67"/>
                  </a:lnTo>
                  <a:lnTo>
                    <a:pt x="26" y="112"/>
                  </a:lnTo>
                  <a:lnTo>
                    <a:pt x="4" y="130"/>
                  </a:lnTo>
                  <a:lnTo>
                    <a:pt x="0" y="139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0" name="Freeform 11">
              <a:extLst>
                <a:ext uri="{FF2B5EF4-FFF2-40B4-BE49-F238E27FC236}">
                  <a16:creationId xmlns:a16="http://schemas.microsoft.com/office/drawing/2014/main" id="{0094A85B-4777-4636-AD22-A077649BB1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5737" y="4877103"/>
              <a:ext cx="28674" cy="25185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4"/>
                </a:cxn>
                <a:cxn ang="0">
                  <a:pos x="5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18" y="13"/>
                </a:cxn>
                <a:cxn ang="0">
                  <a:pos x="18" y="17"/>
                </a:cxn>
                <a:cxn ang="0">
                  <a:pos x="18" y="13"/>
                </a:cxn>
                <a:cxn ang="0">
                  <a:pos x="18" y="13"/>
                </a:cxn>
              </a:cxnLst>
              <a:rect l="0" t="0" r="r" b="b"/>
              <a:pathLst>
                <a:path w="18" h="17">
                  <a:moveTo>
                    <a:pt x="5" y="9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5" y="9"/>
                  </a:lnTo>
                  <a:close/>
                  <a:moveTo>
                    <a:pt x="18" y="13"/>
                  </a:moveTo>
                  <a:lnTo>
                    <a:pt x="18" y="17"/>
                  </a:lnTo>
                  <a:lnTo>
                    <a:pt x="18" y="13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1" name="Freeform 12">
              <a:extLst>
                <a:ext uri="{FF2B5EF4-FFF2-40B4-BE49-F238E27FC236}">
                  <a16:creationId xmlns:a16="http://schemas.microsoft.com/office/drawing/2014/main" id="{B31CD411-ED1F-49DD-AE82-112254FB3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2376" y="4902288"/>
              <a:ext cx="14337" cy="13333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9" y="9"/>
                </a:cxn>
                <a:cxn ang="0">
                  <a:pos x="9" y="5"/>
                </a:cxn>
                <a:cxn ang="0">
                  <a:pos x="4" y="5"/>
                </a:cxn>
                <a:cxn ang="0">
                  <a:pos x="0" y="0"/>
                </a:cxn>
                <a:cxn ang="0">
                  <a:pos x="4" y="9"/>
                </a:cxn>
                <a:cxn ang="0">
                  <a:pos x="9" y="9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lnTo>
                    <a:pt x="9" y="9"/>
                  </a:lnTo>
                  <a:lnTo>
                    <a:pt x="9" y="5"/>
                  </a:lnTo>
                  <a:lnTo>
                    <a:pt x="4" y="5"/>
                  </a:lnTo>
                  <a:lnTo>
                    <a:pt x="0" y="0"/>
                  </a:lnTo>
                  <a:lnTo>
                    <a:pt x="4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2" name="Freeform 13">
              <a:extLst>
                <a:ext uri="{FF2B5EF4-FFF2-40B4-BE49-F238E27FC236}">
                  <a16:creationId xmlns:a16="http://schemas.microsoft.com/office/drawing/2014/main" id="{FBA8FFBD-D365-4644-86FA-9C9FDDC22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896580" y="4545253"/>
              <a:ext cx="178417" cy="198517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9" y="125"/>
                </a:cxn>
                <a:cxn ang="0">
                  <a:pos x="13" y="134"/>
                </a:cxn>
                <a:cxn ang="0">
                  <a:pos x="22" y="125"/>
                </a:cxn>
                <a:cxn ang="0">
                  <a:pos x="27" y="125"/>
                </a:cxn>
                <a:cxn ang="0">
                  <a:pos x="36" y="130"/>
                </a:cxn>
                <a:cxn ang="0">
                  <a:pos x="40" y="125"/>
                </a:cxn>
                <a:cxn ang="0">
                  <a:pos x="49" y="125"/>
                </a:cxn>
                <a:cxn ang="0">
                  <a:pos x="58" y="130"/>
                </a:cxn>
                <a:cxn ang="0">
                  <a:pos x="71" y="121"/>
                </a:cxn>
                <a:cxn ang="0">
                  <a:pos x="76" y="107"/>
                </a:cxn>
                <a:cxn ang="0">
                  <a:pos x="76" y="90"/>
                </a:cxn>
                <a:cxn ang="0">
                  <a:pos x="98" y="72"/>
                </a:cxn>
                <a:cxn ang="0">
                  <a:pos x="103" y="40"/>
                </a:cxn>
                <a:cxn ang="0">
                  <a:pos x="112" y="9"/>
                </a:cxn>
                <a:cxn ang="0">
                  <a:pos x="112" y="0"/>
                </a:cxn>
                <a:cxn ang="0">
                  <a:pos x="94" y="0"/>
                </a:cxn>
                <a:cxn ang="0">
                  <a:pos x="76" y="14"/>
                </a:cxn>
                <a:cxn ang="0">
                  <a:pos x="71" y="31"/>
                </a:cxn>
                <a:cxn ang="0">
                  <a:pos x="58" y="27"/>
                </a:cxn>
                <a:cxn ang="0">
                  <a:pos x="36" y="27"/>
                </a:cxn>
                <a:cxn ang="0">
                  <a:pos x="31" y="40"/>
                </a:cxn>
                <a:cxn ang="0">
                  <a:pos x="49" y="40"/>
                </a:cxn>
                <a:cxn ang="0">
                  <a:pos x="49" y="49"/>
                </a:cxn>
                <a:cxn ang="0">
                  <a:pos x="45" y="54"/>
                </a:cxn>
                <a:cxn ang="0">
                  <a:pos x="49" y="76"/>
                </a:cxn>
                <a:cxn ang="0">
                  <a:pos x="49" y="90"/>
                </a:cxn>
                <a:cxn ang="0">
                  <a:pos x="31" y="94"/>
                </a:cxn>
                <a:cxn ang="0">
                  <a:pos x="22" y="85"/>
                </a:cxn>
                <a:cxn ang="0">
                  <a:pos x="13" y="94"/>
                </a:cxn>
                <a:cxn ang="0">
                  <a:pos x="4" y="94"/>
                </a:cxn>
                <a:cxn ang="0">
                  <a:pos x="9" y="98"/>
                </a:cxn>
                <a:cxn ang="0">
                  <a:pos x="9" y="107"/>
                </a:cxn>
                <a:cxn ang="0">
                  <a:pos x="4" y="107"/>
                </a:cxn>
                <a:cxn ang="0">
                  <a:pos x="0" y="112"/>
                </a:cxn>
              </a:cxnLst>
              <a:rect l="0" t="0" r="r" b="b"/>
              <a:pathLst>
                <a:path w="112" h="134">
                  <a:moveTo>
                    <a:pt x="0" y="112"/>
                  </a:moveTo>
                  <a:lnTo>
                    <a:pt x="9" y="125"/>
                  </a:lnTo>
                  <a:lnTo>
                    <a:pt x="13" y="134"/>
                  </a:lnTo>
                  <a:lnTo>
                    <a:pt x="22" y="125"/>
                  </a:lnTo>
                  <a:lnTo>
                    <a:pt x="27" y="125"/>
                  </a:lnTo>
                  <a:lnTo>
                    <a:pt x="36" y="130"/>
                  </a:lnTo>
                  <a:lnTo>
                    <a:pt x="40" y="125"/>
                  </a:lnTo>
                  <a:lnTo>
                    <a:pt x="49" y="125"/>
                  </a:lnTo>
                  <a:lnTo>
                    <a:pt x="58" y="130"/>
                  </a:lnTo>
                  <a:lnTo>
                    <a:pt x="71" y="121"/>
                  </a:lnTo>
                  <a:lnTo>
                    <a:pt x="76" y="107"/>
                  </a:lnTo>
                  <a:lnTo>
                    <a:pt x="76" y="90"/>
                  </a:lnTo>
                  <a:lnTo>
                    <a:pt x="98" y="72"/>
                  </a:lnTo>
                  <a:lnTo>
                    <a:pt x="103" y="40"/>
                  </a:lnTo>
                  <a:lnTo>
                    <a:pt x="112" y="9"/>
                  </a:lnTo>
                  <a:lnTo>
                    <a:pt x="112" y="0"/>
                  </a:lnTo>
                  <a:lnTo>
                    <a:pt x="94" y="0"/>
                  </a:lnTo>
                  <a:lnTo>
                    <a:pt x="76" y="14"/>
                  </a:lnTo>
                  <a:lnTo>
                    <a:pt x="71" y="31"/>
                  </a:lnTo>
                  <a:lnTo>
                    <a:pt x="58" y="27"/>
                  </a:lnTo>
                  <a:lnTo>
                    <a:pt x="36" y="27"/>
                  </a:lnTo>
                  <a:lnTo>
                    <a:pt x="31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45" y="54"/>
                  </a:lnTo>
                  <a:lnTo>
                    <a:pt x="49" y="76"/>
                  </a:lnTo>
                  <a:lnTo>
                    <a:pt x="49" y="90"/>
                  </a:lnTo>
                  <a:lnTo>
                    <a:pt x="31" y="94"/>
                  </a:lnTo>
                  <a:lnTo>
                    <a:pt x="22" y="85"/>
                  </a:lnTo>
                  <a:lnTo>
                    <a:pt x="13" y="94"/>
                  </a:lnTo>
                  <a:lnTo>
                    <a:pt x="4" y="94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4" y="107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3" name="Freeform 14">
              <a:extLst>
                <a:ext uri="{FF2B5EF4-FFF2-40B4-BE49-F238E27FC236}">
                  <a16:creationId xmlns:a16="http://schemas.microsoft.com/office/drawing/2014/main" id="{6A2CC396-F273-418C-846B-C1F7D51C9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5254" y="4518586"/>
              <a:ext cx="433299" cy="397035"/>
            </a:xfrm>
            <a:custGeom>
              <a:avLst/>
              <a:gdLst/>
              <a:ahLst/>
              <a:cxnLst>
                <a:cxn ang="0">
                  <a:pos x="18" y="148"/>
                </a:cxn>
                <a:cxn ang="0">
                  <a:pos x="31" y="143"/>
                </a:cxn>
                <a:cxn ang="0">
                  <a:pos x="53" y="139"/>
                </a:cxn>
                <a:cxn ang="0">
                  <a:pos x="58" y="108"/>
                </a:cxn>
                <a:cxn ang="0">
                  <a:pos x="85" y="58"/>
                </a:cxn>
                <a:cxn ang="0">
                  <a:pos x="94" y="18"/>
                </a:cxn>
                <a:cxn ang="0">
                  <a:pos x="107" y="0"/>
                </a:cxn>
                <a:cxn ang="0">
                  <a:pos x="147" y="14"/>
                </a:cxn>
                <a:cxn ang="0">
                  <a:pos x="161" y="9"/>
                </a:cxn>
                <a:cxn ang="0">
                  <a:pos x="183" y="5"/>
                </a:cxn>
                <a:cxn ang="0">
                  <a:pos x="219" y="5"/>
                </a:cxn>
                <a:cxn ang="0">
                  <a:pos x="254" y="9"/>
                </a:cxn>
                <a:cxn ang="0">
                  <a:pos x="268" y="41"/>
                </a:cxn>
                <a:cxn ang="0">
                  <a:pos x="254" y="67"/>
                </a:cxn>
                <a:cxn ang="0">
                  <a:pos x="245" y="103"/>
                </a:cxn>
                <a:cxn ang="0">
                  <a:pos x="245" y="116"/>
                </a:cxn>
                <a:cxn ang="0">
                  <a:pos x="245" y="130"/>
                </a:cxn>
                <a:cxn ang="0">
                  <a:pos x="245" y="139"/>
                </a:cxn>
                <a:cxn ang="0">
                  <a:pos x="245" y="166"/>
                </a:cxn>
                <a:cxn ang="0">
                  <a:pos x="263" y="201"/>
                </a:cxn>
                <a:cxn ang="0">
                  <a:pos x="236" y="219"/>
                </a:cxn>
                <a:cxn ang="0">
                  <a:pos x="245" y="259"/>
                </a:cxn>
                <a:cxn ang="0">
                  <a:pos x="259" y="268"/>
                </a:cxn>
                <a:cxn ang="0">
                  <a:pos x="232" y="259"/>
                </a:cxn>
                <a:cxn ang="0">
                  <a:pos x="219" y="246"/>
                </a:cxn>
                <a:cxn ang="0">
                  <a:pos x="187" y="237"/>
                </a:cxn>
                <a:cxn ang="0">
                  <a:pos x="169" y="233"/>
                </a:cxn>
                <a:cxn ang="0">
                  <a:pos x="134" y="184"/>
                </a:cxn>
                <a:cxn ang="0">
                  <a:pos x="120" y="179"/>
                </a:cxn>
                <a:cxn ang="0">
                  <a:pos x="102" y="197"/>
                </a:cxn>
                <a:cxn ang="0">
                  <a:pos x="71" y="184"/>
                </a:cxn>
                <a:cxn ang="0">
                  <a:pos x="67" y="166"/>
                </a:cxn>
                <a:cxn ang="0">
                  <a:pos x="0" y="161"/>
                </a:cxn>
                <a:cxn ang="0">
                  <a:pos x="9" y="143"/>
                </a:cxn>
              </a:cxnLst>
              <a:rect l="0" t="0" r="r" b="b"/>
              <a:pathLst>
                <a:path w="272" h="268">
                  <a:moveTo>
                    <a:pt x="9" y="143"/>
                  </a:moveTo>
                  <a:lnTo>
                    <a:pt x="18" y="148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40" y="148"/>
                  </a:lnTo>
                  <a:lnTo>
                    <a:pt x="53" y="139"/>
                  </a:lnTo>
                  <a:lnTo>
                    <a:pt x="58" y="125"/>
                  </a:lnTo>
                  <a:lnTo>
                    <a:pt x="58" y="108"/>
                  </a:lnTo>
                  <a:lnTo>
                    <a:pt x="80" y="90"/>
                  </a:lnTo>
                  <a:lnTo>
                    <a:pt x="85" y="58"/>
                  </a:lnTo>
                  <a:lnTo>
                    <a:pt x="94" y="27"/>
                  </a:lnTo>
                  <a:lnTo>
                    <a:pt x="94" y="18"/>
                  </a:lnTo>
                  <a:lnTo>
                    <a:pt x="94" y="14"/>
                  </a:lnTo>
                  <a:lnTo>
                    <a:pt x="107" y="0"/>
                  </a:lnTo>
                  <a:lnTo>
                    <a:pt x="116" y="9"/>
                  </a:lnTo>
                  <a:lnTo>
                    <a:pt x="147" y="14"/>
                  </a:lnTo>
                  <a:lnTo>
                    <a:pt x="152" y="5"/>
                  </a:lnTo>
                  <a:lnTo>
                    <a:pt x="161" y="9"/>
                  </a:lnTo>
                  <a:lnTo>
                    <a:pt x="178" y="0"/>
                  </a:lnTo>
                  <a:lnTo>
                    <a:pt x="183" y="5"/>
                  </a:lnTo>
                  <a:lnTo>
                    <a:pt x="192" y="0"/>
                  </a:lnTo>
                  <a:lnTo>
                    <a:pt x="219" y="5"/>
                  </a:lnTo>
                  <a:lnTo>
                    <a:pt x="232" y="14"/>
                  </a:lnTo>
                  <a:lnTo>
                    <a:pt x="254" y="9"/>
                  </a:lnTo>
                  <a:lnTo>
                    <a:pt x="268" y="23"/>
                  </a:lnTo>
                  <a:lnTo>
                    <a:pt x="268" y="41"/>
                  </a:lnTo>
                  <a:lnTo>
                    <a:pt x="272" y="45"/>
                  </a:lnTo>
                  <a:lnTo>
                    <a:pt x="254" y="67"/>
                  </a:lnTo>
                  <a:lnTo>
                    <a:pt x="254" y="99"/>
                  </a:lnTo>
                  <a:lnTo>
                    <a:pt x="245" y="103"/>
                  </a:lnTo>
                  <a:lnTo>
                    <a:pt x="245" y="108"/>
                  </a:lnTo>
                  <a:lnTo>
                    <a:pt x="245" y="116"/>
                  </a:lnTo>
                  <a:lnTo>
                    <a:pt x="250" y="130"/>
                  </a:lnTo>
                  <a:lnTo>
                    <a:pt x="245" y="130"/>
                  </a:lnTo>
                  <a:lnTo>
                    <a:pt x="241" y="143"/>
                  </a:lnTo>
                  <a:lnTo>
                    <a:pt x="245" y="139"/>
                  </a:lnTo>
                  <a:lnTo>
                    <a:pt x="241" y="148"/>
                  </a:lnTo>
                  <a:lnTo>
                    <a:pt x="245" y="166"/>
                  </a:lnTo>
                  <a:lnTo>
                    <a:pt x="259" y="184"/>
                  </a:lnTo>
                  <a:lnTo>
                    <a:pt x="263" y="201"/>
                  </a:lnTo>
                  <a:lnTo>
                    <a:pt x="241" y="206"/>
                  </a:lnTo>
                  <a:lnTo>
                    <a:pt x="236" y="219"/>
                  </a:lnTo>
                  <a:lnTo>
                    <a:pt x="232" y="246"/>
                  </a:lnTo>
                  <a:lnTo>
                    <a:pt x="245" y="259"/>
                  </a:lnTo>
                  <a:lnTo>
                    <a:pt x="259" y="251"/>
                  </a:lnTo>
                  <a:lnTo>
                    <a:pt x="259" y="268"/>
                  </a:lnTo>
                  <a:lnTo>
                    <a:pt x="241" y="268"/>
                  </a:lnTo>
                  <a:lnTo>
                    <a:pt x="232" y="259"/>
                  </a:lnTo>
                  <a:lnTo>
                    <a:pt x="223" y="255"/>
                  </a:lnTo>
                  <a:lnTo>
                    <a:pt x="219" y="246"/>
                  </a:lnTo>
                  <a:lnTo>
                    <a:pt x="196" y="251"/>
                  </a:lnTo>
                  <a:lnTo>
                    <a:pt x="187" y="237"/>
                  </a:lnTo>
                  <a:lnTo>
                    <a:pt x="178" y="242"/>
                  </a:lnTo>
                  <a:lnTo>
                    <a:pt x="169" y="233"/>
                  </a:lnTo>
                  <a:lnTo>
                    <a:pt x="143" y="237"/>
                  </a:lnTo>
                  <a:lnTo>
                    <a:pt x="134" y="184"/>
                  </a:lnTo>
                  <a:lnTo>
                    <a:pt x="125" y="184"/>
                  </a:lnTo>
                  <a:lnTo>
                    <a:pt x="120" y="179"/>
                  </a:lnTo>
                  <a:lnTo>
                    <a:pt x="107" y="179"/>
                  </a:lnTo>
                  <a:lnTo>
                    <a:pt x="102" y="197"/>
                  </a:lnTo>
                  <a:lnTo>
                    <a:pt x="80" y="197"/>
                  </a:lnTo>
                  <a:lnTo>
                    <a:pt x="71" y="184"/>
                  </a:lnTo>
                  <a:lnTo>
                    <a:pt x="71" y="179"/>
                  </a:lnTo>
                  <a:lnTo>
                    <a:pt x="67" y="166"/>
                  </a:lnTo>
                  <a:lnTo>
                    <a:pt x="13" y="166"/>
                  </a:lnTo>
                  <a:lnTo>
                    <a:pt x="0" y="161"/>
                  </a:lnTo>
                  <a:lnTo>
                    <a:pt x="0" y="161"/>
                  </a:lnTo>
                  <a:lnTo>
                    <a:pt x="9" y="14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4" name="Freeform 15">
              <a:extLst>
                <a:ext uri="{FF2B5EF4-FFF2-40B4-BE49-F238E27FC236}">
                  <a16:creationId xmlns:a16="http://schemas.microsoft.com/office/drawing/2014/main" id="{6D20C54A-EA3D-4CD2-90C1-CE96B72C60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8780" y="4360068"/>
              <a:ext cx="71685" cy="139259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31"/>
                </a:cxn>
                <a:cxn ang="0">
                  <a:pos x="9" y="40"/>
                </a:cxn>
                <a:cxn ang="0">
                  <a:pos x="9" y="54"/>
                </a:cxn>
                <a:cxn ang="0">
                  <a:pos x="13" y="54"/>
                </a:cxn>
                <a:cxn ang="0">
                  <a:pos x="13" y="80"/>
                </a:cxn>
                <a:cxn ang="0">
                  <a:pos x="18" y="94"/>
                </a:cxn>
                <a:cxn ang="0">
                  <a:pos x="36" y="89"/>
                </a:cxn>
                <a:cxn ang="0">
                  <a:pos x="31" y="76"/>
                </a:cxn>
                <a:cxn ang="0">
                  <a:pos x="31" y="58"/>
                </a:cxn>
                <a:cxn ang="0">
                  <a:pos x="40" y="54"/>
                </a:cxn>
                <a:cxn ang="0">
                  <a:pos x="45" y="45"/>
                </a:cxn>
                <a:cxn ang="0">
                  <a:pos x="45" y="27"/>
                </a:cxn>
                <a:cxn ang="0">
                  <a:pos x="40" y="18"/>
                </a:cxn>
                <a:cxn ang="0">
                  <a:pos x="45" y="9"/>
                </a:cxn>
                <a:cxn ang="0">
                  <a:pos x="31" y="0"/>
                </a:cxn>
                <a:cxn ang="0">
                  <a:pos x="22" y="9"/>
                </a:cxn>
                <a:cxn ang="0">
                  <a:pos x="18" y="9"/>
                </a:cxn>
                <a:cxn ang="0">
                  <a:pos x="9" y="18"/>
                </a:cxn>
                <a:cxn ang="0">
                  <a:pos x="0" y="18"/>
                </a:cxn>
              </a:cxnLst>
              <a:rect l="0" t="0" r="r" b="b"/>
              <a:pathLst>
                <a:path w="45" h="94">
                  <a:moveTo>
                    <a:pt x="0" y="18"/>
                  </a:moveTo>
                  <a:lnTo>
                    <a:pt x="0" y="31"/>
                  </a:lnTo>
                  <a:lnTo>
                    <a:pt x="9" y="40"/>
                  </a:lnTo>
                  <a:lnTo>
                    <a:pt x="9" y="54"/>
                  </a:lnTo>
                  <a:lnTo>
                    <a:pt x="13" y="54"/>
                  </a:lnTo>
                  <a:lnTo>
                    <a:pt x="13" y="80"/>
                  </a:lnTo>
                  <a:lnTo>
                    <a:pt x="18" y="94"/>
                  </a:lnTo>
                  <a:lnTo>
                    <a:pt x="36" y="89"/>
                  </a:lnTo>
                  <a:lnTo>
                    <a:pt x="31" y="76"/>
                  </a:lnTo>
                  <a:lnTo>
                    <a:pt x="31" y="58"/>
                  </a:lnTo>
                  <a:lnTo>
                    <a:pt x="40" y="54"/>
                  </a:lnTo>
                  <a:lnTo>
                    <a:pt x="45" y="45"/>
                  </a:lnTo>
                  <a:lnTo>
                    <a:pt x="45" y="27"/>
                  </a:lnTo>
                  <a:lnTo>
                    <a:pt x="40" y="18"/>
                  </a:lnTo>
                  <a:lnTo>
                    <a:pt x="45" y="9"/>
                  </a:lnTo>
                  <a:lnTo>
                    <a:pt x="31" y="0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5" name="Freeform 16">
              <a:extLst>
                <a:ext uri="{FF2B5EF4-FFF2-40B4-BE49-F238E27FC236}">
                  <a16:creationId xmlns:a16="http://schemas.microsoft.com/office/drawing/2014/main" id="{592A6242-A1FD-45DE-A80C-89B6FC2D69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9232" y="4545253"/>
              <a:ext cx="63720" cy="66666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18" y="27"/>
                </a:cxn>
                <a:cxn ang="0">
                  <a:pos x="40" y="31"/>
                </a:cxn>
                <a:cxn ang="0">
                  <a:pos x="40" y="45"/>
                </a:cxn>
                <a:cxn ang="0">
                  <a:pos x="18" y="45"/>
                </a:cxn>
                <a:cxn ang="0">
                  <a:pos x="14" y="40"/>
                </a:cxn>
                <a:cxn ang="0">
                  <a:pos x="18" y="27"/>
                </a:cxn>
              </a:cxnLst>
              <a:rect l="0" t="0" r="r" b="b"/>
              <a:pathLst>
                <a:path w="40" h="45">
                  <a:moveTo>
                    <a:pt x="5" y="0"/>
                  </a:moveTo>
                  <a:lnTo>
                    <a:pt x="0" y="5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5"/>
                  </a:lnTo>
                  <a:lnTo>
                    <a:pt x="5" y="0"/>
                  </a:lnTo>
                  <a:close/>
                  <a:moveTo>
                    <a:pt x="18" y="27"/>
                  </a:moveTo>
                  <a:lnTo>
                    <a:pt x="40" y="31"/>
                  </a:lnTo>
                  <a:lnTo>
                    <a:pt x="40" y="45"/>
                  </a:lnTo>
                  <a:lnTo>
                    <a:pt x="18" y="45"/>
                  </a:lnTo>
                  <a:lnTo>
                    <a:pt x="14" y="40"/>
                  </a:lnTo>
                  <a:lnTo>
                    <a:pt x="18" y="2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6" name="Freeform 17">
              <a:extLst>
                <a:ext uri="{FF2B5EF4-FFF2-40B4-BE49-F238E27FC236}">
                  <a16:creationId xmlns:a16="http://schemas.microsoft.com/office/drawing/2014/main" id="{D835860B-CC26-4405-B860-ABE1E787A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7936" y="4320069"/>
              <a:ext cx="342497" cy="238517"/>
            </a:xfrm>
            <a:custGeom>
              <a:avLst/>
              <a:gdLst/>
              <a:ahLst/>
              <a:cxnLst>
                <a:cxn ang="0">
                  <a:pos x="36" y="143"/>
                </a:cxn>
                <a:cxn ang="0">
                  <a:pos x="41" y="148"/>
                </a:cxn>
                <a:cxn ang="0">
                  <a:pos x="54" y="143"/>
                </a:cxn>
                <a:cxn ang="0">
                  <a:pos x="72" y="157"/>
                </a:cxn>
                <a:cxn ang="0">
                  <a:pos x="94" y="161"/>
                </a:cxn>
                <a:cxn ang="0">
                  <a:pos x="99" y="152"/>
                </a:cxn>
                <a:cxn ang="0">
                  <a:pos x="108" y="148"/>
                </a:cxn>
                <a:cxn ang="0">
                  <a:pos x="117" y="152"/>
                </a:cxn>
                <a:cxn ang="0">
                  <a:pos x="130" y="152"/>
                </a:cxn>
                <a:cxn ang="0">
                  <a:pos x="139" y="143"/>
                </a:cxn>
                <a:cxn ang="0">
                  <a:pos x="166" y="139"/>
                </a:cxn>
                <a:cxn ang="0">
                  <a:pos x="215" y="99"/>
                </a:cxn>
                <a:cxn ang="0">
                  <a:pos x="193" y="99"/>
                </a:cxn>
                <a:cxn ang="0">
                  <a:pos x="157" y="81"/>
                </a:cxn>
                <a:cxn ang="0">
                  <a:pos x="148" y="72"/>
                </a:cxn>
                <a:cxn ang="0">
                  <a:pos x="139" y="58"/>
                </a:cxn>
                <a:cxn ang="0">
                  <a:pos x="143" y="49"/>
                </a:cxn>
                <a:cxn ang="0">
                  <a:pos x="139" y="49"/>
                </a:cxn>
                <a:cxn ang="0">
                  <a:pos x="126" y="49"/>
                </a:cxn>
                <a:cxn ang="0">
                  <a:pos x="126" y="36"/>
                </a:cxn>
                <a:cxn ang="0">
                  <a:pos x="108" y="14"/>
                </a:cxn>
                <a:cxn ang="0">
                  <a:pos x="94" y="9"/>
                </a:cxn>
                <a:cxn ang="0">
                  <a:pos x="76" y="9"/>
                </a:cxn>
                <a:cxn ang="0">
                  <a:pos x="72" y="0"/>
                </a:cxn>
                <a:cxn ang="0">
                  <a:pos x="63" y="9"/>
                </a:cxn>
                <a:cxn ang="0">
                  <a:pos x="50" y="5"/>
                </a:cxn>
                <a:cxn ang="0">
                  <a:pos x="45" y="23"/>
                </a:cxn>
                <a:cxn ang="0">
                  <a:pos x="32" y="23"/>
                </a:cxn>
                <a:cxn ang="0">
                  <a:pos x="23" y="45"/>
                </a:cxn>
                <a:cxn ang="0">
                  <a:pos x="23" y="54"/>
                </a:cxn>
                <a:cxn ang="0">
                  <a:pos x="14" y="54"/>
                </a:cxn>
                <a:cxn ang="0">
                  <a:pos x="14" y="90"/>
                </a:cxn>
                <a:cxn ang="0">
                  <a:pos x="0" y="90"/>
                </a:cxn>
                <a:cxn ang="0">
                  <a:pos x="0" y="103"/>
                </a:cxn>
                <a:cxn ang="0">
                  <a:pos x="14" y="107"/>
                </a:cxn>
                <a:cxn ang="0">
                  <a:pos x="27" y="121"/>
                </a:cxn>
                <a:cxn ang="0">
                  <a:pos x="23" y="130"/>
                </a:cxn>
                <a:cxn ang="0">
                  <a:pos x="36" y="134"/>
                </a:cxn>
                <a:cxn ang="0">
                  <a:pos x="36" y="143"/>
                </a:cxn>
              </a:cxnLst>
              <a:rect l="0" t="0" r="r" b="b"/>
              <a:pathLst>
                <a:path w="215" h="161">
                  <a:moveTo>
                    <a:pt x="36" y="143"/>
                  </a:moveTo>
                  <a:lnTo>
                    <a:pt x="41" y="148"/>
                  </a:lnTo>
                  <a:lnTo>
                    <a:pt x="54" y="143"/>
                  </a:lnTo>
                  <a:lnTo>
                    <a:pt x="72" y="157"/>
                  </a:lnTo>
                  <a:lnTo>
                    <a:pt x="94" y="161"/>
                  </a:lnTo>
                  <a:lnTo>
                    <a:pt x="99" y="152"/>
                  </a:lnTo>
                  <a:lnTo>
                    <a:pt x="108" y="148"/>
                  </a:lnTo>
                  <a:lnTo>
                    <a:pt x="117" y="152"/>
                  </a:lnTo>
                  <a:lnTo>
                    <a:pt x="130" y="152"/>
                  </a:lnTo>
                  <a:lnTo>
                    <a:pt x="139" y="143"/>
                  </a:lnTo>
                  <a:lnTo>
                    <a:pt x="166" y="139"/>
                  </a:lnTo>
                  <a:lnTo>
                    <a:pt x="215" y="99"/>
                  </a:lnTo>
                  <a:lnTo>
                    <a:pt x="193" y="99"/>
                  </a:lnTo>
                  <a:lnTo>
                    <a:pt x="157" y="81"/>
                  </a:lnTo>
                  <a:lnTo>
                    <a:pt x="148" y="72"/>
                  </a:lnTo>
                  <a:lnTo>
                    <a:pt x="139" y="58"/>
                  </a:lnTo>
                  <a:lnTo>
                    <a:pt x="143" y="49"/>
                  </a:lnTo>
                  <a:lnTo>
                    <a:pt x="139" y="49"/>
                  </a:lnTo>
                  <a:lnTo>
                    <a:pt x="126" y="49"/>
                  </a:lnTo>
                  <a:lnTo>
                    <a:pt x="126" y="36"/>
                  </a:lnTo>
                  <a:lnTo>
                    <a:pt x="108" y="14"/>
                  </a:lnTo>
                  <a:lnTo>
                    <a:pt x="94" y="9"/>
                  </a:lnTo>
                  <a:lnTo>
                    <a:pt x="76" y="9"/>
                  </a:lnTo>
                  <a:lnTo>
                    <a:pt x="72" y="0"/>
                  </a:lnTo>
                  <a:lnTo>
                    <a:pt x="63" y="9"/>
                  </a:lnTo>
                  <a:lnTo>
                    <a:pt x="50" y="5"/>
                  </a:lnTo>
                  <a:lnTo>
                    <a:pt x="45" y="23"/>
                  </a:lnTo>
                  <a:lnTo>
                    <a:pt x="32" y="23"/>
                  </a:lnTo>
                  <a:lnTo>
                    <a:pt x="23" y="45"/>
                  </a:lnTo>
                  <a:lnTo>
                    <a:pt x="23" y="54"/>
                  </a:lnTo>
                  <a:lnTo>
                    <a:pt x="14" y="54"/>
                  </a:lnTo>
                  <a:lnTo>
                    <a:pt x="14" y="90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14" y="107"/>
                  </a:lnTo>
                  <a:lnTo>
                    <a:pt x="27" y="121"/>
                  </a:lnTo>
                  <a:lnTo>
                    <a:pt x="23" y="130"/>
                  </a:lnTo>
                  <a:lnTo>
                    <a:pt x="36" y="134"/>
                  </a:lnTo>
                  <a:lnTo>
                    <a:pt x="36" y="14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7" name="Freeform 18">
              <a:extLst>
                <a:ext uri="{FF2B5EF4-FFF2-40B4-BE49-F238E27FC236}">
                  <a16:creationId xmlns:a16="http://schemas.microsoft.com/office/drawing/2014/main" id="{268D51F3-D55B-4711-8E5A-53E767C722D3}"/>
                </a:ext>
              </a:extLst>
            </p:cNvPr>
            <p:cNvSpPr>
              <a:spLocks/>
            </p:cNvSpPr>
            <p:nvPr/>
          </p:nvSpPr>
          <p:spPr bwMode="gray">
            <a:xfrm>
              <a:off x="5479622" y="4241550"/>
              <a:ext cx="156115" cy="131851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18" y="4"/>
                </a:cxn>
                <a:cxn ang="0">
                  <a:pos x="9" y="13"/>
                </a:cxn>
                <a:cxn ang="0">
                  <a:pos x="9" y="31"/>
                </a:cxn>
                <a:cxn ang="0">
                  <a:pos x="0" y="40"/>
                </a:cxn>
                <a:cxn ang="0">
                  <a:pos x="5" y="58"/>
                </a:cxn>
                <a:cxn ang="0">
                  <a:pos x="18" y="62"/>
                </a:cxn>
                <a:cxn ang="0">
                  <a:pos x="27" y="53"/>
                </a:cxn>
                <a:cxn ang="0">
                  <a:pos x="31" y="62"/>
                </a:cxn>
                <a:cxn ang="0">
                  <a:pos x="49" y="62"/>
                </a:cxn>
                <a:cxn ang="0">
                  <a:pos x="63" y="67"/>
                </a:cxn>
                <a:cxn ang="0">
                  <a:pos x="81" y="89"/>
                </a:cxn>
                <a:cxn ang="0">
                  <a:pos x="98" y="80"/>
                </a:cxn>
                <a:cxn ang="0">
                  <a:pos x="76" y="58"/>
                </a:cxn>
                <a:cxn ang="0">
                  <a:pos x="58" y="44"/>
                </a:cxn>
                <a:cxn ang="0">
                  <a:pos x="54" y="49"/>
                </a:cxn>
                <a:cxn ang="0">
                  <a:pos x="54" y="35"/>
                </a:cxn>
                <a:cxn ang="0">
                  <a:pos x="58" y="35"/>
                </a:cxn>
                <a:cxn ang="0">
                  <a:pos x="54" y="31"/>
                </a:cxn>
                <a:cxn ang="0">
                  <a:pos x="54" y="22"/>
                </a:cxn>
                <a:cxn ang="0">
                  <a:pos x="49" y="31"/>
                </a:cxn>
                <a:cxn ang="0">
                  <a:pos x="45" y="40"/>
                </a:cxn>
                <a:cxn ang="0">
                  <a:pos x="36" y="13"/>
                </a:cxn>
                <a:cxn ang="0">
                  <a:pos x="31" y="0"/>
                </a:cxn>
              </a:cxnLst>
              <a:rect l="0" t="0" r="r" b="b"/>
              <a:pathLst>
                <a:path w="98" h="89">
                  <a:moveTo>
                    <a:pt x="31" y="0"/>
                  </a:moveTo>
                  <a:lnTo>
                    <a:pt x="18" y="4"/>
                  </a:lnTo>
                  <a:lnTo>
                    <a:pt x="9" y="13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5" y="58"/>
                  </a:lnTo>
                  <a:lnTo>
                    <a:pt x="18" y="62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49" y="62"/>
                  </a:lnTo>
                  <a:lnTo>
                    <a:pt x="63" y="67"/>
                  </a:lnTo>
                  <a:lnTo>
                    <a:pt x="81" y="89"/>
                  </a:lnTo>
                  <a:lnTo>
                    <a:pt x="98" y="80"/>
                  </a:lnTo>
                  <a:lnTo>
                    <a:pt x="76" y="58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31"/>
                  </a:lnTo>
                  <a:lnTo>
                    <a:pt x="54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36" y="13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8" name="Freeform 19">
              <a:extLst>
                <a:ext uri="{FF2B5EF4-FFF2-40B4-BE49-F238E27FC236}">
                  <a16:creationId xmlns:a16="http://schemas.microsoft.com/office/drawing/2014/main" id="{B246BC36-9EE7-4145-9216-F7B12AF4AB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8656" y="4360068"/>
              <a:ext cx="35046" cy="3259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" y="0"/>
                </a:cxn>
                <a:cxn ang="0">
                  <a:pos x="22" y="5"/>
                </a:cxn>
                <a:cxn ang="0">
                  <a:pos x="8" y="13"/>
                </a:cxn>
                <a:cxn ang="0">
                  <a:pos x="17" y="13"/>
                </a:cxn>
                <a:cxn ang="0">
                  <a:pos x="22" y="18"/>
                </a:cxn>
                <a:cxn ang="0">
                  <a:pos x="17" y="22"/>
                </a:cxn>
                <a:cxn ang="0">
                  <a:pos x="13" y="22"/>
                </a:cxn>
                <a:cxn ang="0">
                  <a:pos x="0" y="22"/>
                </a:cxn>
                <a:cxn ang="0">
                  <a:pos x="0" y="9"/>
                </a:cxn>
              </a:cxnLst>
              <a:rect l="0" t="0" r="r" b="b"/>
              <a:pathLst>
                <a:path w="22" h="22">
                  <a:moveTo>
                    <a:pt x="0" y="9"/>
                  </a:moveTo>
                  <a:lnTo>
                    <a:pt x="17" y="0"/>
                  </a:lnTo>
                  <a:lnTo>
                    <a:pt x="22" y="5"/>
                  </a:lnTo>
                  <a:lnTo>
                    <a:pt x="8" y="13"/>
                  </a:lnTo>
                  <a:lnTo>
                    <a:pt x="17" y="13"/>
                  </a:lnTo>
                  <a:lnTo>
                    <a:pt x="22" y="18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0" y="2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9" name="Freeform 20">
              <a:extLst>
                <a:ext uri="{FF2B5EF4-FFF2-40B4-BE49-F238E27FC236}">
                  <a16:creationId xmlns:a16="http://schemas.microsoft.com/office/drawing/2014/main" id="{54B69363-856F-4ECD-B261-47A0932083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7197" y="4585252"/>
              <a:ext cx="127441" cy="125925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9" y="22"/>
                </a:cxn>
                <a:cxn ang="0">
                  <a:pos x="4" y="36"/>
                </a:cxn>
                <a:cxn ang="0">
                  <a:pos x="0" y="40"/>
                </a:cxn>
                <a:cxn ang="0">
                  <a:pos x="0" y="45"/>
                </a:cxn>
                <a:cxn ang="0">
                  <a:pos x="13" y="49"/>
                </a:cxn>
                <a:cxn ang="0">
                  <a:pos x="9" y="54"/>
                </a:cxn>
                <a:cxn ang="0">
                  <a:pos x="17" y="71"/>
                </a:cxn>
                <a:cxn ang="0">
                  <a:pos x="31" y="85"/>
                </a:cxn>
                <a:cxn ang="0">
                  <a:pos x="35" y="80"/>
                </a:cxn>
                <a:cxn ang="0">
                  <a:pos x="40" y="80"/>
                </a:cxn>
                <a:cxn ang="0">
                  <a:pos x="40" y="71"/>
                </a:cxn>
                <a:cxn ang="0">
                  <a:pos x="35" y="67"/>
                </a:cxn>
                <a:cxn ang="0">
                  <a:pos x="44" y="67"/>
                </a:cxn>
                <a:cxn ang="0">
                  <a:pos x="53" y="58"/>
                </a:cxn>
                <a:cxn ang="0">
                  <a:pos x="62" y="67"/>
                </a:cxn>
                <a:cxn ang="0">
                  <a:pos x="80" y="63"/>
                </a:cxn>
                <a:cxn ang="0">
                  <a:pos x="80" y="49"/>
                </a:cxn>
                <a:cxn ang="0">
                  <a:pos x="76" y="27"/>
                </a:cxn>
                <a:cxn ang="0">
                  <a:pos x="80" y="22"/>
                </a:cxn>
                <a:cxn ang="0">
                  <a:pos x="80" y="13"/>
                </a:cxn>
                <a:cxn ang="0">
                  <a:pos x="62" y="13"/>
                </a:cxn>
                <a:cxn ang="0">
                  <a:pos x="67" y="0"/>
                </a:cxn>
                <a:cxn ang="0">
                  <a:pos x="53" y="0"/>
                </a:cxn>
                <a:cxn ang="0">
                  <a:pos x="35" y="4"/>
                </a:cxn>
                <a:cxn ang="0">
                  <a:pos x="35" y="18"/>
                </a:cxn>
                <a:cxn ang="0">
                  <a:pos x="13" y="18"/>
                </a:cxn>
              </a:cxnLst>
              <a:rect l="0" t="0" r="r" b="b"/>
              <a:pathLst>
                <a:path w="80" h="85">
                  <a:moveTo>
                    <a:pt x="13" y="18"/>
                  </a:moveTo>
                  <a:lnTo>
                    <a:pt x="9" y="22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13" y="49"/>
                  </a:lnTo>
                  <a:lnTo>
                    <a:pt x="9" y="54"/>
                  </a:lnTo>
                  <a:lnTo>
                    <a:pt x="17" y="71"/>
                  </a:lnTo>
                  <a:lnTo>
                    <a:pt x="31" y="85"/>
                  </a:lnTo>
                  <a:lnTo>
                    <a:pt x="35" y="80"/>
                  </a:lnTo>
                  <a:lnTo>
                    <a:pt x="40" y="80"/>
                  </a:lnTo>
                  <a:lnTo>
                    <a:pt x="40" y="71"/>
                  </a:lnTo>
                  <a:lnTo>
                    <a:pt x="35" y="67"/>
                  </a:lnTo>
                  <a:lnTo>
                    <a:pt x="44" y="67"/>
                  </a:lnTo>
                  <a:lnTo>
                    <a:pt x="53" y="58"/>
                  </a:lnTo>
                  <a:lnTo>
                    <a:pt x="62" y="67"/>
                  </a:lnTo>
                  <a:lnTo>
                    <a:pt x="80" y="63"/>
                  </a:lnTo>
                  <a:lnTo>
                    <a:pt x="80" y="49"/>
                  </a:lnTo>
                  <a:lnTo>
                    <a:pt x="76" y="27"/>
                  </a:lnTo>
                  <a:lnTo>
                    <a:pt x="80" y="22"/>
                  </a:lnTo>
                  <a:lnTo>
                    <a:pt x="80" y="13"/>
                  </a:lnTo>
                  <a:lnTo>
                    <a:pt x="62" y="13"/>
                  </a:lnTo>
                  <a:lnTo>
                    <a:pt x="67" y="0"/>
                  </a:lnTo>
                  <a:lnTo>
                    <a:pt x="53" y="0"/>
                  </a:lnTo>
                  <a:lnTo>
                    <a:pt x="35" y="4"/>
                  </a:lnTo>
                  <a:lnTo>
                    <a:pt x="35" y="18"/>
                  </a:lnTo>
                  <a:lnTo>
                    <a:pt x="13" y="1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0" name="Freeform 21">
              <a:extLst>
                <a:ext uri="{FF2B5EF4-FFF2-40B4-BE49-F238E27FC236}">
                  <a16:creationId xmlns:a16="http://schemas.microsoft.com/office/drawing/2014/main" id="{052C7BC4-7DAA-4D10-AAE8-FF6531ABDA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0527" y="4333402"/>
              <a:ext cx="63720" cy="20741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8" y="14"/>
                </a:cxn>
                <a:cxn ang="0">
                  <a:pos x="27" y="5"/>
                </a:cxn>
                <a:cxn ang="0">
                  <a:pos x="36" y="9"/>
                </a:cxn>
                <a:cxn ang="0">
                  <a:pos x="40" y="5"/>
                </a:cxn>
                <a:cxn ang="0">
                  <a:pos x="36" y="0"/>
                </a:cxn>
                <a:cxn ang="0">
                  <a:pos x="27" y="0"/>
                </a:cxn>
                <a:cxn ang="0">
                  <a:pos x="4" y="0"/>
                </a:cxn>
                <a:cxn ang="0">
                  <a:pos x="4" y="5"/>
                </a:cxn>
                <a:cxn ang="0">
                  <a:pos x="0" y="5"/>
                </a:cxn>
                <a:cxn ang="0">
                  <a:pos x="0" y="9"/>
                </a:cxn>
              </a:cxnLst>
              <a:rect l="0" t="0" r="r" b="b"/>
              <a:pathLst>
                <a:path w="40" h="14">
                  <a:moveTo>
                    <a:pt x="0" y="9"/>
                  </a:moveTo>
                  <a:lnTo>
                    <a:pt x="18" y="14"/>
                  </a:lnTo>
                  <a:lnTo>
                    <a:pt x="27" y="5"/>
                  </a:lnTo>
                  <a:lnTo>
                    <a:pt x="36" y="9"/>
                  </a:lnTo>
                  <a:lnTo>
                    <a:pt x="40" y="5"/>
                  </a:lnTo>
                  <a:lnTo>
                    <a:pt x="36" y="0"/>
                  </a:lnTo>
                  <a:lnTo>
                    <a:pt x="27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1" name="Freeform 22">
              <a:extLst>
                <a:ext uri="{FF2B5EF4-FFF2-40B4-BE49-F238E27FC236}">
                  <a16:creationId xmlns:a16="http://schemas.microsoft.com/office/drawing/2014/main" id="{2D9AAF5B-60B9-4F8E-807E-1736526AB2F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6385" y="4386735"/>
              <a:ext cx="98767" cy="145184"/>
            </a:xfrm>
            <a:custGeom>
              <a:avLst/>
              <a:gdLst/>
              <a:ahLst/>
              <a:cxnLst>
                <a:cxn ang="0">
                  <a:pos x="4" y="89"/>
                </a:cxn>
                <a:cxn ang="0">
                  <a:pos x="13" y="98"/>
                </a:cxn>
                <a:cxn ang="0">
                  <a:pos x="18" y="89"/>
                </a:cxn>
                <a:cxn ang="0">
                  <a:pos x="31" y="89"/>
                </a:cxn>
                <a:cxn ang="0">
                  <a:pos x="45" y="80"/>
                </a:cxn>
                <a:cxn ang="0">
                  <a:pos x="58" y="80"/>
                </a:cxn>
                <a:cxn ang="0">
                  <a:pos x="62" y="76"/>
                </a:cxn>
                <a:cxn ang="0">
                  <a:pos x="58" y="71"/>
                </a:cxn>
                <a:cxn ang="0">
                  <a:pos x="53" y="62"/>
                </a:cxn>
                <a:cxn ang="0">
                  <a:pos x="53" y="54"/>
                </a:cxn>
                <a:cxn ang="0">
                  <a:pos x="49" y="40"/>
                </a:cxn>
                <a:cxn ang="0">
                  <a:pos x="53" y="36"/>
                </a:cxn>
                <a:cxn ang="0">
                  <a:pos x="53" y="13"/>
                </a:cxn>
                <a:cxn ang="0">
                  <a:pos x="45" y="9"/>
                </a:cxn>
                <a:cxn ang="0">
                  <a:pos x="49" y="0"/>
                </a:cxn>
                <a:cxn ang="0">
                  <a:pos x="45" y="0"/>
                </a:cxn>
                <a:cxn ang="0">
                  <a:pos x="36" y="4"/>
                </a:cxn>
                <a:cxn ang="0">
                  <a:pos x="4" y="4"/>
                </a:cxn>
                <a:cxn ang="0">
                  <a:pos x="4" y="18"/>
                </a:cxn>
                <a:cxn ang="0">
                  <a:pos x="4" y="31"/>
                </a:cxn>
                <a:cxn ang="0">
                  <a:pos x="9" y="45"/>
                </a:cxn>
                <a:cxn ang="0">
                  <a:pos x="4" y="54"/>
                </a:cxn>
                <a:cxn ang="0">
                  <a:pos x="0" y="67"/>
                </a:cxn>
                <a:cxn ang="0">
                  <a:pos x="4" y="85"/>
                </a:cxn>
                <a:cxn ang="0">
                  <a:pos x="4" y="89"/>
                </a:cxn>
              </a:cxnLst>
              <a:rect l="0" t="0" r="r" b="b"/>
              <a:pathLst>
                <a:path w="62" h="98">
                  <a:moveTo>
                    <a:pt x="4" y="89"/>
                  </a:moveTo>
                  <a:lnTo>
                    <a:pt x="13" y="98"/>
                  </a:lnTo>
                  <a:lnTo>
                    <a:pt x="18" y="89"/>
                  </a:lnTo>
                  <a:lnTo>
                    <a:pt x="31" y="89"/>
                  </a:lnTo>
                  <a:lnTo>
                    <a:pt x="45" y="80"/>
                  </a:lnTo>
                  <a:lnTo>
                    <a:pt x="58" y="80"/>
                  </a:lnTo>
                  <a:lnTo>
                    <a:pt x="62" y="76"/>
                  </a:lnTo>
                  <a:lnTo>
                    <a:pt x="58" y="71"/>
                  </a:lnTo>
                  <a:lnTo>
                    <a:pt x="53" y="62"/>
                  </a:lnTo>
                  <a:lnTo>
                    <a:pt x="53" y="54"/>
                  </a:lnTo>
                  <a:lnTo>
                    <a:pt x="49" y="40"/>
                  </a:lnTo>
                  <a:lnTo>
                    <a:pt x="53" y="36"/>
                  </a:lnTo>
                  <a:lnTo>
                    <a:pt x="53" y="13"/>
                  </a:lnTo>
                  <a:lnTo>
                    <a:pt x="45" y="9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36" y="4"/>
                  </a:lnTo>
                  <a:lnTo>
                    <a:pt x="4" y="4"/>
                  </a:lnTo>
                  <a:lnTo>
                    <a:pt x="4" y="18"/>
                  </a:lnTo>
                  <a:lnTo>
                    <a:pt x="4" y="31"/>
                  </a:lnTo>
                  <a:lnTo>
                    <a:pt x="9" y="45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85"/>
                  </a:lnTo>
                  <a:lnTo>
                    <a:pt x="4" y="8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2" name="Freeform 23">
              <a:extLst>
                <a:ext uri="{FF2B5EF4-FFF2-40B4-BE49-F238E27FC236}">
                  <a16:creationId xmlns:a16="http://schemas.microsoft.com/office/drawing/2014/main" id="{8061B12F-BC43-4A58-BD80-995939AF0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3538" y="4360068"/>
              <a:ext cx="156115" cy="11259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40"/>
                </a:cxn>
                <a:cxn ang="0">
                  <a:pos x="17" y="45"/>
                </a:cxn>
                <a:cxn ang="0">
                  <a:pos x="17" y="54"/>
                </a:cxn>
                <a:cxn ang="0">
                  <a:pos x="26" y="49"/>
                </a:cxn>
                <a:cxn ang="0">
                  <a:pos x="31" y="45"/>
                </a:cxn>
                <a:cxn ang="0">
                  <a:pos x="49" y="40"/>
                </a:cxn>
                <a:cxn ang="0">
                  <a:pos x="53" y="45"/>
                </a:cxn>
                <a:cxn ang="0">
                  <a:pos x="58" y="54"/>
                </a:cxn>
                <a:cxn ang="0">
                  <a:pos x="58" y="63"/>
                </a:cxn>
                <a:cxn ang="0">
                  <a:pos x="62" y="63"/>
                </a:cxn>
                <a:cxn ang="0">
                  <a:pos x="76" y="63"/>
                </a:cxn>
                <a:cxn ang="0">
                  <a:pos x="76" y="76"/>
                </a:cxn>
                <a:cxn ang="0">
                  <a:pos x="84" y="76"/>
                </a:cxn>
                <a:cxn ang="0">
                  <a:pos x="89" y="72"/>
                </a:cxn>
                <a:cxn ang="0">
                  <a:pos x="89" y="58"/>
                </a:cxn>
                <a:cxn ang="0">
                  <a:pos x="98" y="58"/>
                </a:cxn>
                <a:cxn ang="0">
                  <a:pos x="93" y="45"/>
                </a:cxn>
                <a:cxn ang="0">
                  <a:pos x="98" y="31"/>
                </a:cxn>
                <a:cxn ang="0">
                  <a:pos x="89" y="27"/>
                </a:cxn>
                <a:cxn ang="0">
                  <a:pos x="89" y="18"/>
                </a:cxn>
                <a:cxn ang="0">
                  <a:pos x="84" y="13"/>
                </a:cxn>
                <a:cxn ang="0">
                  <a:pos x="80" y="0"/>
                </a:cxn>
                <a:cxn ang="0">
                  <a:pos x="62" y="9"/>
                </a:cxn>
                <a:cxn ang="0">
                  <a:pos x="53" y="9"/>
                </a:cxn>
                <a:cxn ang="0">
                  <a:pos x="49" y="13"/>
                </a:cxn>
                <a:cxn ang="0">
                  <a:pos x="44" y="5"/>
                </a:cxn>
                <a:cxn ang="0">
                  <a:pos x="17" y="5"/>
                </a:cxn>
                <a:cxn ang="0">
                  <a:pos x="17" y="13"/>
                </a:cxn>
                <a:cxn ang="0">
                  <a:pos x="4" y="22"/>
                </a:cxn>
                <a:cxn ang="0">
                  <a:pos x="0" y="31"/>
                </a:cxn>
              </a:cxnLst>
              <a:rect l="0" t="0" r="r" b="b"/>
              <a:pathLst>
                <a:path w="98" h="76">
                  <a:moveTo>
                    <a:pt x="0" y="31"/>
                  </a:moveTo>
                  <a:lnTo>
                    <a:pt x="4" y="40"/>
                  </a:lnTo>
                  <a:lnTo>
                    <a:pt x="17" y="45"/>
                  </a:lnTo>
                  <a:lnTo>
                    <a:pt x="17" y="54"/>
                  </a:lnTo>
                  <a:lnTo>
                    <a:pt x="26" y="49"/>
                  </a:lnTo>
                  <a:lnTo>
                    <a:pt x="31" y="45"/>
                  </a:lnTo>
                  <a:lnTo>
                    <a:pt x="49" y="40"/>
                  </a:lnTo>
                  <a:lnTo>
                    <a:pt x="53" y="45"/>
                  </a:lnTo>
                  <a:lnTo>
                    <a:pt x="58" y="54"/>
                  </a:lnTo>
                  <a:lnTo>
                    <a:pt x="58" y="63"/>
                  </a:lnTo>
                  <a:lnTo>
                    <a:pt x="62" y="63"/>
                  </a:lnTo>
                  <a:lnTo>
                    <a:pt x="76" y="63"/>
                  </a:lnTo>
                  <a:lnTo>
                    <a:pt x="76" y="76"/>
                  </a:lnTo>
                  <a:lnTo>
                    <a:pt x="84" y="76"/>
                  </a:lnTo>
                  <a:lnTo>
                    <a:pt x="89" y="72"/>
                  </a:lnTo>
                  <a:lnTo>
                    <a:pt x="89" y="58"/>
                  </a:lnTo>
                  <a:lnTo>
                    <a:pt x="98" y="58"/>
                  </a:lnTo>
                  <a:lnTo>
                    <a:pt x="93" y="45"/>
                  </a:lnTo>
                  <a:lnTo>
                    <a:pt x="98" y="31"/>
                  </a:lnTo>
                  <a:lnTo>
                    <a:pt x="89" y="27"/>
                  </a:lnTo>
                  <a:lnTo>
                    <a:pt x="89" y="18"/>
                  </a:lnTo>
                  <a:lnTo>
                    <a:pt x="84" y="13"/>
                  </a:lnTo>
                  <a:lnTo>
                    <a:pt x="80" y="0"/>
                  </a:lnTo>
                  <a:lnTo>
                    <a:pt x="62" y="9"/>
                  </a:lnTo>
                  <a:lnTo>
                    <a:pt x="53" y="9"/>
                  </a:lnTo>
                  <a:lnTo>
                    <a:pt x="49" y="13"/>
                  </a:lnTo>
                  <a:lnTo>
                    <a:pt x="44" y="5"/>
                  </a:lnTo>
                  <a:lnTo>
                    <a:pt x="17" y="5"/>
                  </a:lnTo>
                  <a:lnTo>
                    <a:pt x="17" y="13"/>
                  </a:lnTo>
                  <a:lnTo>
                    <a:pt x="4" y="22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3" name="Freeform 24">
              <a:extLst>
                <a:ext uri="{FF2B5EF4-FFF2-40B4-BE49-F238E27FC236}">
                  <a16:creationId xmlns:a16="http://schemas.microsoft.com/office/drawing/2014/main" id="{CEBE119A-2C47-4C2D-BA31-5FF0C3E0C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5316" y="4405994"/>
              <a:ext cx="135406" cy="133333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0" y="54"/>
                </a:cxn>
                <a:cxn ang="0">
                  <a:pos x="18" y="67"/>
                </a:cxn>
                <a:cxn ang="0">
                  <a:pos x="13" y="90"/>
                </a:cxn>
                <a:cxn ang="0">
                  <a:pos x="18" y="90"/>
                </a:cxn>
                <a:cxn ang="0">
                  <a:pos x="36" y="76"/>
                </a:cxn>
                <a:cxn ang="0">
                  <a:pos x="58" y="72"/>
                </a:cxn>
                <a:cxn ang="0">
                  <a:pos x="80" y="76"/>
                </a:cxn>
                <a:cxn ang="0">
                  <a:pos x="80" y="72"/>
                </a:cxn>
                <a:cxn ang="0">
                  <a:pos x="76" y="54"/>
                </a:cxn>
                <a:cxn ang="0">
                  <a:pos x="80" y="41"/>
                </a:cxn>
                <a:cxn ang="0">
                  <a:pos x="85" y="32"/>
                </a:cxn>
                <a:cxn ang="0">
                  <a:pos x="80" y="18"/>
                </a:cxn>
                <a:cxn ang="0">
                  <a:pos x="76" y="14"/>
                </a:cxn>
                <a:cxn ang="0">
                  <a:pos x="71" y="9"/>
                </a:cxn>
                <a:cxn ang="0">
                  <a:pos x="58" y="14"/>
                </a:cxn>
                <a:cxn ang="0">
                  <a:pos x="40" y="0"/>
                </a:cxn>
                <a:cxn ang="0">
                  <a:pos x="36" y="5"/>
                </a:cxn>
                <a:cxn ang="0">
                  <a:pos x="31" y="0"/>
                </a:cxn>
                <a:cxn ang="0">
                  <a:pos x="13" y="5"/>
                </a:cxn>
                <a:cxn ang="0">
                  <a:pos x="9" y="0"/>
                </a:cxn>
                <a:cxn ang="0">
                  <a:pos x="4" y="14"/>
                </a:cxn>
                <a:cxn ang="0">
                  <a:pos x="9" y="27"/>
                </a:cxn>
                <a:cxn ang="0">
                  <a:pos x="0" y="27"/>
                </a:cxn>
                <a:cxn ang="0">
                  <a:pos x="0" y="41"/>
                </a:cxn>
              </a:cxnLst>
              <a:rect l="0" t="0" r="r" b="b"/>
              <a:pathLst>
                <a:path w="85" h="90">
                  <a:moveTo>
                    <a:pt x="0" y="41"/>
                  </a:moveTo>
                  <a:lnTo>
                    <a:pt x="0" y="54"/>
                  </a:lnTo>
                  <a:lnTo>
                    <a:pt x="18" y="67"/>
                  </a:lnTo>
                  <a:lnTo>
                    <a:pt x="13" y="90"/>
                  </a:lnTo>
                  <a:lnTo>
                    <a:pt x="18" y="90"/>
                  </a:lnTo>
                  <a:lnTo>
                    <a:pt x="36" y="76"/>
                  </a:lnTo>
                  <a:lnTo>
                    <a:pt x="58" y="72"/>
                  </a:lnTo>
                  <a:lnTo>
                    <a:pt x="80" y="76"/>
                  </a:lnTo>
                  <a:lnTo>
                    <a:pt x="80" y="72"/>
                  </a:lnTo>
                  <a:lnTo>
                    <a:pt x="76" y="54"/>
                  </a:lnTo>
                  <a:lnTo>
                    <a:pt x="80" y="41"/>
                  </a:lnTo>
                  <a:lnTo>
                    <a:pt x="85" y="32"/>
                  </a:lnTo>
                  <a:lnTo>
                    <a:pt x="80" y="18"/>
                  </a:lnTo>
                  <a:lnTo>
                    <a:pt x="76" y="14"/>
                  </a:lnTo>
                  <a:lnTo>
                    <a:pt x="71" y="9"/>
                  </a:lnTo>
                  <a:lnTo>
                    <a:pt x="58" y="14"/>
                  </a:lnTo>
                  <a:lnTo>
                    <a:pt x="40" y="0"/>
                  </a:lnTo>
                  <a:lnTo>
                    <a:pt x="36" y="5"/>
                  </a:lnTo>
                  <a:lnTo>
                    <a:pt x="31" y="0"/>
                  </a:lnTo>
                  <a:lnTo>
                    <a:pt x="13" y="5"/>
                  </a:lnTo>
                  <a:lnTo>
                    <a:pt x="9" y="0"/>
                  </a:lnTo>
                  <a:lnTo>
                    <a:pt x="4" y="14"/>
                  </a:lnTo>
                  <a:lnTo>
                    <a:pt x="9" y="27"/>
                  </a:lnTo>
                  <a:lnTo>
                    <a:pt x="0" y="27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4" name="Freeform 25">
              <a:extLst>
                <a:ext uri="{FF2B5EF4-FFF2-40B4-BE49-F238E27FC236}">
                  <a16:creationId xmlns:a16="http://schemas.microsoft.com/office/drawing/2014/main" id="{548AA7B8-4461-4817-A4D8-153CF0EB2AC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2273" y="4531919"/>
              <a:ext cx="192754" cy="19851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14"/>
                </a:cxn>
                <a:cxn ang="0">
                  <a:pos x="14" y="27"/>
                </a:cxn>
                <a:cxn ang="0">
                  <a:pos x="9" y="49"/>
                </a:cxn>
                <a:cxn ang="0">
                  <a:pos x="5" y="63"/>
                </a:cxn>
                <a:cxn ang="0">
                  <a:pos x="5" y="72"/>
                </a:cxn>
                <a:cxn ang="0">
                  <a:pos x="9" y="72"/>
                </a:cxn>
                <a:cxn ang="0">
                  <a:pos x="5" y="76"/>
                </a:cxn>
                <a:cxn ang="0">
                  <a:pos x="0" y="81"/>
                </a:cxn>
                <a:cxn ang="0">
                  <a:pos x="41" y="107"/>
                </a:cxn>
                <a:cxn ang="0">
                  <a:pos x="76" y="134"/>
                </a:cxn>
                <a:cxn ang="0">
                  <a:pos x="85" y="134"/>
                </a:cxn>
                <a:cxn ang="0">
                  <a:pos x="90" y="121"/>
                </a:cxn>
                <a:cxn ang="0">
                  <a:pos x="94" y="121"/>
                </a:cxn>
                <a:cxn ang="0">
                  <a:pos x="94" y="107"/>
                </a:cxn>
                <a:cxn ang="0">
                  <a:pos x="103" y="103"/>
                </a:cxn>
                <a:cxn ang="0">
                  <a:pos x="103" y="99"/>
                </a:cxn>
                <a:cxn ang="0">
                  <a:pos x="112" y="94"/>
                </a:cxn>
                <a:cxn ang="0">
                  <a:pos x="108" y="76"/>
                </a:cxn>
                <a:cxn ang="0">
                  <a:pos x="103" y="23"/>
                </a:cxn>
                <a:cxn ang="0">
                  <a:pos x="121" y="9"/>
                </a:cxn>
                <a:cxn ang="0">
                  <a:pos x="108" y="9"/>
                </a:cxn>
                <a:cxn ang="0">
                  <a:pos x="99" y="5"/>
                </a:cxn>
                <a:cxn ang="0">
                  <a:pos x="90" y="9"/>
                </a:cxn>
                <a:cxn ang="0">
                  <a:pos x="85" y="18"/>
                </a:cxn>
                <a:cxn ang="0">
                  <a:pos x="63" y="14"/>
                </a:cxn>
                <a:cxn ang="0">
                  <a:pos x="45" y="0"/>
                </a:cxn>
                <a:cxn ang="0">
                  <a:pos x="32" y="5"/>
                </a:cxn>
                <a:cxn ang="0">
                  <a:pos x="27" y="0"/>
                </a:cxn>
                <a:cxn ang="0">
                  <a:pos x="5" y="0"/>
                </a:cxn>
                <a:cxn ang="0">
                  <a:pos x="0" y="5"/>
                </a:cxn>
              </a:cxnLst>
              <a:rect l="0" t="0" r="r" b="b"/>
              <a:pathLst>
                <a:path w="121" h="134">
                  <a:moveTo>
                    <a:pt x="0" y="5"/>
                  </a:moveTo>
                  <a:lnTo>
                    <a:pt x="9" y="14"/>
                  </a:lnTo>
                  <a:lnTo>
                    <a:pt x="14" y="27"/>
                  </a:lnTo>
                  <a:lnTo>
                    <a:pt x="9" y="49"/>
                  </a:lnTo>
                  <a:lnTo>
                    <a:pt x="5" y="63"/>
                  </a:lnTo>
                  <a:lnTo>
                    <a:pt x="5" y="72"/>
                  </a:lnTo>
                  <a:lnTo>
                    <a:pt x="9" y="72"/>
                  </a:lnTo>
                  <a:lnTo>
                    <a:pt x="5" y="76"/>
                  </a:lnTo>
                  <a:lnTo>
                    <a:pt x="0" y="81"/>
                  </a:lnTo>
                  <a:lnTo>
                    <a:pt x="41" y="107"/>
                  </a:lnTo>
                  <a:lnTo>
                    <a:pt x="76" y="134"/>
                  </a:lnTo>
                  <a:lnTo>
                    <a:pt x="85" y="134"/>
                  </a:lnTo>
                  <a:lnTo>
                    <a:pt x="90" y="121"/>
                  </a:lnTo>
                  <a:lnTo>
                    <a:pt x="94" y="121"/>
                  </a:lnTo>
                  <a:lnTo>
                    <a:pt x="94" y="107"/>
                  </a:lnTo>
                  <a:lnTo>
                    <a:pt x="103" y="103"/>
                  </a:lnTo>
                  <a:lnTo>
                    <a:pt x="103" y="99"/>
                  </a:lnTo>
                  <a:lnTo>
                    <a:pt x="112" y="94"/>
                  </a:lnTo>
                  <a:lnTo>
                    <a:pt x="108" y="76"/>
                  </a:lnTo>
                  <a:lnTo>
                    <a:pt x="103" y="23"/>
                  </a:lnTo>
                  <a:lnTo>
                    <a:pt x="121" y="9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90" y="9"/>
                  </a:lnTo>
                  <a:lnTo>
                    <a:pt x="85" y="18"/>
                  </a:lnTo>
                  <a:lnTo>
                    <a:pt x="63" y="1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5" name="Freeform 26">
              <a:extLst>
                <a:ext uri="{FF2B5EF4-FFF2-40B4-BE49-F238E27FC236}">
                  <a16:creationId xmlns:a16="http://schemas.microsoft.com/office/drawing/2014/main" id="{5CDC1836-D591-4F51-A9CF-C69FA62484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6158" y="5280063"/>
              <a:ext cx="63720" cy="45926"/>
            </a:xfrm>
            <a:custGeom>
              <a:avLst/>
              <a:gdLst/>
              <a:ahLst/>
              <a:cxnLst>
                <a:cxn ang="0">
                  <a:pos x="9" y="27"/>
                </a:cxn>
                <a:cxn ang="0">
                  <a:pos x="14" y="31"/>
                </a:cxn>
                <a:cxn ang="0">
                  <a:pos x="18" y="27"/>
                </a:cxn>
                <a:cxn ang="0">
                  <a:pos x="31" y="23"/>
                </a:cxn>
                <a:cxn ang="0">
                  <a:pos x="40" y="14"/>
                </a:cxn>
                <a:cxn ang="0">
                  <a:pos x="27" y="0"/>
                </a:cxn>
                <a:cxn ang="0">
                  <a:pos x="9" y="5"/>
                </a:cxn>
                <a:cxn ang="0">
                  <a:pos x="0" y="14"/>
                </a:cxn>
                <a:cxn ang="0">
                  <a:pos x="9" y="27"/>
                </a:cxn>
              </a:cxnLst>
              <a:rect l="0" t="0" r="r" b="b"/>
              <a:pathLst>
                <a:path w="40" h="31">
                  <a:moveTo>
                    <a:pt x="9" y="27"/>
                  </a:moveTo>
                  <a:lnTo>
                    <a:pt x="14" y="31"/>
                  </a:lnTo>
                  <a:lnTo>
                    <a:pt x="18" y="27"/>
                  </a:lnTo>
                  <a:lnTo>
                    <a:pt x="31" y="23"/>
                  </a:lnTo>
                  <a:lnTo>
                    <a:pt x="40" y="14"/>
                  </a:lnTo>
                  <a:lnTo>
                    <a:pt x="27" y="0"/>
                  </a:lnTo>
                  <a:lnTo>
                    <a:pt x="9" y="5"/>
                  </a:lnTo>
                  <a:lnTo>
                    <a:pt x="0" y="14"/>
                  </a:lnTo>
                  <a:lnTo>
                    <a:pt x="9" y="2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6" name="Freeform 27">
              <a:extLst>
                <a:ext uri="{FF2B5EF4-FFF2-40B4-BE49-F238E27FC236}">
                  <a16:creationId xmlns:a16="http://schemas.microsoft.com/office/drawing/2014/main" id="{5601F70C-BC34-4D57-B46E-F9F794B1CC2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3631" y="4453401"/>
              <a:ext cx="100360" cy="85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9" y="26"/>
                </a:cxn>
                <a:cxn ang="0">
                  <a:pos x="49" y="58"/>
                </a:cxn>
                <a:cxn ang="0">
                  <a:pos x="58" y="58"/>
                </a:cxn>
                <a:cxn ang="0">
                  <a:pos x="63" y="35"/>
                </a:cxn>
                <a:cxn ang="0">
                  <a:pos x="45" y="22"/>
                </a:cxn>
                <a:cxn ang="0">
                  <a:pos x="45" y="9"/>
                </a:cxn>
                <a:cxn ang="0">
                  <a:pos x="40" y="13"/>
                </a:cxn>
                <a:cxn ang="0">
                  <a:pos x="32" y="13"/>
                </a:cxn>
                <a:cxn ang="0">
                  <a:pos x="32" y="0"/>
                </a:cxn>
                <a:cxn ang="0">
                  <a:pos x="18" y="0"/>
                </a:cxn>
                <a:cxn ang="0">
                  <a:pos x="18" y="9"/>
                </a:cxn>
                <a:cxn ang="0">
                  <a:pos x="14" y="9"/>
                </a:cxn>
                <a:cxn ang="0">
                  <a:pos x="14" y="13"/>
                </a:cxn>
                <a:cxn ang="0">
                  <a:pos x="5" y="17"/>
                </a:cxn>
                <a:cxn ang="0">
                  <a:pos x="0" y="22"/>
                </a:cxn>
              </a:cxnLst>
              <a:rect l="0" t="0" r="r" b="b"/>
              <a:pathLst>
                <a:path w="63" h="58">
                  <a:moveTo>
                    <a:pt x="0" y="22"/>
                  </a:moveTo>
                  <a:lnTo>
                    <a:pt x="9" y="26"/>
                  </a:lnTo>
                  <a:lnTo>
                    <a:pt x="49" y="58"/>
                  </a:lnTo>
                  <a:lnTo>
                    <a:pt x="58" y="58"/>
                  </a:lnTo>
                  <a:lnTo>
                    <a:pt x="63" y="35"/>
                  </a:lnTo>
                  <a:lnTo>
                    <a:pt x="45" y="22"/>
                  </a:lnTo>
                  <a:lnTo>
                    <a:pt x="45" y="9"/>
                  </a:lnTo>
                  <a:lnTo>
                    <a:pt x="40" y="13"/>
                  </a:lnTo>
                  <a:lnTo>
                    <a:pt x="32" y="13"/>
                  </a:lnTo>
                  <a:lnTo>
                    <a:pt x="32" y="0"/>
                  </a:lnTo>
                  <a:lnTo>
                    <a:pt x="18" y="0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13"/>
                  </a:lnTo>
                  <a:lnTo>
                    <a:pt x="5" y="17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7" name="Freeform 28">
              <a:extLst>
                <a:ext uri="{FF2B5EF4-FFF2-40B4-BE49-F238E27FC236}">
                  <a16:creationId xmlns:a16="http://schemas.microsoft.com/office/drawing/2014/main" id="{A2F606EF-C0AE-4E8F-9F92-9263631EEB07}"/>
                </a:ext>
              </a:extLst>
            </p:cNvPr>
            <p:cNvSpPr>
              <a:spLocks/>
            </p:cNvSpPr>
            <p:nvPr/>
          </p:nvSpPr>
          <p:spPr bwMode="gray">
            <a:xfrm>
              <a:off x="4853569" y="3869701"/>
              <a:ext cx="369578" cy="33777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6" y="5"/>
                </a:cxn>
                <a:cxn ang="0">
                  <a:pos x="36" y="14"/>
                </a:cxn>
                <a:cxn ang="0">
                  <a:pos x="27" y="23"/>
                </a:cxn>
                <a:cxn ang="0">
                  <a:pos x="18" y="27"/>
                </a:cxn>
                <a:cxn ang="0">
                  <a:pos x="18" y="50"/>
                </a:cxn>
                <a:cxn ang="0">
                  <a:pos x="5" y="54"/>
                </a:cxn>
                <a:cxn ang="0">
                  <a:pos x="0" y="58"/>
                </a:cxn>
                <a:cxn ang="0">
                  <a:pos x="5" y="67"/>
                </a:cxn>
                <a:cxn ang="0">
                  <a:pos x="5" y="85"/>
                </a:cxn>
                <a:cxn ang="0">
                  <a:pos x="9" y="99"/>
                </a:cxn>
                <a:cxn ang="0">
                  <a:pos x="5" y="112"/>
                </a:cxn>
                <a:cxn ang="0">
                  <a:pos x="0" y="121"/>
                </a:cxn>
                <a:cxn ang="0">
                  <a:pos x="13" y="139"/>
                </a:cxn>
                <a:cxn ang="0">
                  <a:pos x="9" y="143"/>
                </a:cxn>
                <a:cxn ang="0">
                  <a:pos x="18" y="148"/>
                </a:cxn>
                <a:cxn ang="0">
                  <a:pos x="27" y="148"/>
                </a:cxn>
                <a:cxn ang="0">
                  <a:pos x="45" y="161"/>
                </a:cxn>
                <a:cxn ang="0">
                  <a:pos x="45" y="166"/>
                </a:cxn>
                <a:cxn ang="0">
                  <a:pos x="67" y="166"/>
                </a:cxn>
                <a:cxn ang="0">
                  <a:pos x="72" y="179"/>
                </a:cxn>
                <a:cxn ang="0">
                  <a:pos x="85" y="170"/>
                </a:cxn>
                <a:cxn ang="0">
                  <a:pos x="98" y="161"/>
                </a:cxn>
                <a:cxn ang="0">
                  <a:pos x="210" y="228"/>
                </a:cxn>
                <a:cxn ang="0">
                  <a:pos x="210" y="219"/>
                </a:cxn>
                <a:cxn ang="0">
                  <a:pos x="232" y="219"/>
                </a:cxn>
                <a:cxn ang="0">
                  <a:pos x="228" y="193"/>
                </a:cxn>
                <a:cxn ang="0">
                  <a:pos x="228" y="67"/>
                </a:cxn>
                <a:cxn ang="0">
                  <a:pos x="223" y="58"/>
                </a:cxn>
                <a:cxn ang="0">
                  <a:pos x="228" y="50"/>
                </a:cxn>
                <a:cxn ang="0">
                  <a:pos x="223" y="41"/>
                </a:cxn>
                <a:cxn ang="0">
                  <a:pos x="232" y="27"/>
                </a:cxn>
                <a:cxn ang="0">
                  <a:pos x="228" y="23"/>
                </a:cxn>
                <a:cxn ang="0">
                  <a:pos x="197" y="18"/>
                </a:cxn>
                <a:cxn ang="0">
                  <a:pos x="197" y="9"/>
                </a:cxn>
                <a:cxn ang="0">
                  <a:pos x="183" y="5"/>
                </a:cxn>
                <a:cxn ang="0">
                  <a:pos x="174" y="5"/>
                </a:cxn>
                <a:cxn ang="0">
                  <a:pos x="152" y="18"/>
                </a:cxn>
                <a:cxn ang="0">
                  <a:pos x="156" y="41"/>
                </a:cxn>
                <a:cxn ang="0">
                  <a:pos x="147" y="50"/>
                </a:cxn>
                <a:cxn ang="0">
                  <a:pos x="125" y="41"/>
                </a:cxn>
                <a:cxn ang="0">
                  <a:pos x="98" y="36"/>
                </a:cxn>
                <a:cxn ang="0">
                  <a:pos x="94" y="32"/>
                </a:cxn>
                <a:cxn ang="0">
                  <a:pos x="85" y="14"/>
                </a:cxn>
                <a:cxn ang="0">
                  <a:pos x="72" y="5"/>
                </a:cxn>
                <a:cxn ang="0">
                  <a:pos x="49" y="5"/>
                </a:cxn>
                <a:cxn ang="0">
                  <a:pos x="40" y="0"/>
                </a:cxn>
              </a:cxnLst>
              <a:rect l="0" t="0" r="r" b="b"/>
              <a:pathLst>
                <a:path w="232" h="228">
                  <a:moveTo>
                    <a:pt x="40" y="0"/>
                  </a:moveTo>
                  <a:lnTo>
                    <a:pt x="36" y="5"/>
                  </a:lnTo>
                  <a:lnTo>
                    <a:pt x="36" y="14"/>
                  </a:lnTo>
                  <a:lnTo>
                    <a:pt x="27" y="23"/>
                  </a:lnTo>
                  <a:lnTo>
                    <a:pt x="18" y="27"/>
                  </a:lnTo>
                  <a:lnTo>
                    <a:pt x="18" y="50"/>
                  </a:lnTo>
                  <a:lnTo>
                    <a:pt x="5" y="54"/>
                  </a:lnTo>
                  <a:lnTo>
                    <a:pt x="0" y="58"/>
                  </a:lnTo>
                  <a:lnTo>
                    <a:pt x="5" y="67"/>
                  </a:lnTo>
                  <a:lnTo>
                    <a:pt x="5" y="85"/>
                  </a:lnTo>
                  <a:lnTo>
                    <a:pt x="9" y="99"/>
                  </a:lnTo>
                  <a:lnTo>
                    <a:pt x="5" y="112"/>
                  </a:lnTo>
                  <a:lnTo>
                    <a:pt x="0" y="121"/>
                  </a:lnTo>
                  <a:lnTo>
                    <a:pt x="13" y="139"/>
                  </a:lnTo>
                  <a:lnTo>
                    <a:pt x="9" y="143"/>
                  </a:lnTo>
                  <a:lnTo>
                    <a:pt x="18" y="148"/>
                  </a:lnTo>
                  <a:lnTo>
                    <a:pt x="27" y="148"/>
                  </a:lnTo>
                  <a:lnTo>
                    <a:pt x="45" y="161"/>
                  </a:lnTo>
                  <a:lnTo>
                    <a:pt x="45" y="166"/>
                  </a:lnTo>
                  <a:lnTo>
                    <a:pt x="67" y="166"/>
                  </a:lnTo>
                  <a:lnTo>
                    <a:pt x="72" y="179"/>
                  </a:lnTo>
                  <a:lnTo>
                    <a:pt x="85" y="170"/>
                  </a:lnTo>
                  <a:lnTo>
                    <a:pt x="98" y="161"/>
                  </a:lnTo>
                  <a:lnTo>
                    <a:pt x="210" y="228"/>
                  </a:lnTo>
                  <a:lnTo>
                    <a:pt x="210" y="219"/>
                  </a:lnTo>
                  <a:lnTo>
                    <a:pt x="232" y="219"/>
                  </a:lnTo>
                  <a:lnTo>
                    <a:pt x="228" y="193"/>
                  </a:lnTo>
                  <a:lnTo>
                    <a:pt x="228" y="67"/>
                  </a:lnTo>
                  <a:lnTo>
                    <a:pt x="223" y="58"/>
                  </a:lnTo>
                  <a:lnTo>
                    <a:pt x="228" y="50"/>
                  </a:lnTo>
                  <a:lnTo>
                    <a:pt x="223" y="41"/>
                  </a:lnTo>
                  <a:lnTo>
                    <a:pt x="232" y="27"/>
                  </a:lnTo>
                  <a:lnTo>
                    <a:pt x="228" y="23"/>
                  </a:lnTo>
                  <a:lnTo>
                    <a:pt x="197" y="18"/>
                  </a:lnTo>
                  <a:lnTo>
                    <a:pt x="197" y="9"/>
                  </a:lnTo>
                  <a:lnTo>
                    <a:pt x="183" y="5"/>
                  </a:lnTo>
                  <a:lnTo>
                    <a:pt x="174" y="5"/>
                  </a:lnTo>
                  <a:lnTo>
                    <a:pt x="152" y="18"/>
                  </a:lnTo>
                  <a:lnTo>
                    <a:pt x="156" y="41"/>
                  </a:lnTo>
                  <a:lnTo>
                    <a:pt x="147" y="50"/>
                  </a:lnTo>
                  <a:lnTo>
                    <a:pt x="125" y="41"/>
                  </a:lnTo>
                  <a:lnTo>
                    <a:pt x="98" y="36"/>
                  </a:lnTo>
                  <a:lnTo>
                    <a:pt x="94" y="32"/>
                  </a:lnTo>
                  <a:lnTo>
                    <a:pt x="85" y="14"/>
                  </a:lnTo>
                  <a:lnTo>
                    <a:pt x="72" y="5"/>
                  </a:lnTo>
                  <a:lnTo>
                    <a:pt x="49" y="5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8" name="Freeform 29">
              <a:extLst>
                <a:ext uri="{FF2B5EF4-FFF2-40B4-BE49-F238E27FC236}">
                  <a16:creationId xmlns:a16="http://schemas.microsoft.com/office/drawing/2014/main" id="{8A6918F8-F17F-4BB4-833E-9EF4CEED2E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5737" y="4890436"/>
              <a:ext cx="172045" cy="324443"/>
            </a:xfrm>
            <a:custGeom>
              <a:avLst/>
              <a:gdLst/>
              <a:ahLst/>
              <a:cxnLst>
                <a:cxn ang="0">
                  <a:pos x="27" y="219"/>
                </a:cxn>
                <a:cxn ang="0">
                  <a:pos x="41" y="210"/>
                </a:cxn>
                <a:cxn ang="0">
                  <a:pos x="58" y="205"/>
                </a:cxn>
                <a:cxn ang="0">
                  <a:pos x="72" y="174"/>
                </a:cxn>
                <a:cxn ang="0">
                  <a:pos x="76" y="151"/>
                </a:cxn>
                <a:cxn ang="0">
                  <a:pos x="94" y="93"/>
                </a:cxn>
                <a:cxn ang="0">
                  <a:pos x="94" y="80"/>
                </a:cxn>
                <a:cxn ang="0">
                  <a:pos x="99" y="71"/>
                </a:cxn>
                <a:cxn ang="0">
                  <a:pos x="94" y="58"/>
                </a:cxn>
                <a:cxn ang="0">
                  <a:pos x="103" y="67"/>
                </a:cxn>
                <a:cxn ang="0">
                  <a:pos x="108" y="53"/>
                </a:cxn>
                <a:cxn ang="0">
                  <a:pos x="103" y="35"/>
                </a:cxn>
                <a:cxn ang="0">
                  <a:pos x="103" y="26"/>
                </a:cxn>
                <a:cxn ang="0">
                  <a:pos x="90" y="0"/>
                </a:cxn>
                <a:cxn ang="0">
                  <a:pos x="81" y="8"/>
                </a:cxn>
                <a:cxn ang="0">
                  <a:pos x="85" y="17"/>
                </a:cxn>
                <a:cxn ang="0">
                  <a:pos x="76" y="22"/>
                </a:cxn>
                <a:cxn ang="0">
                  <a:pos x="67" y="22"/>
                </a:cxn>
                <a:cxn ang="0">
                  <a:pos x="72" y="35"/>
                </a:cxn>
                <a:cxn ang="0">
                  <a:pos x="54" y="53"/>
                </a:cxn>
                <a:cxn ang="0">
                  <a:pos x="27" y="67"/>
                </a:cxn>
                <a:cxn ang="0">
                  <a:pos x="18" y="67"/>
                </a:cxn>
                <a:cxn ang="0">
                  <a:pos x="18" y="76"/>
                </a:cxn>
                <a:cxn ang="0">
                  <a:pos x="9" y="84"/>
                </a:cxn>
                <a:cxn ang="0">
                  <a:pos x="18" y="120"/>
                </a:cxn>
                <a:cxn ang="0">
                  <a:pos x="9" y="143"/>
                </a:cxn>
                <a:cxn ang="0">
                  <a:pos x="5" y="147"/>
                </a:cxn>
                <a:cxn ang="0">
                  <a:pos x="5" y="156"/>
                </a:cxn>
                <a:cxn ang="0">
                  <a:pos x="0" y="165"/>
                </a:cxn>
                <a:cxn ang="0">
                  <a:pos x="9" y="183"/>
                </a:cxn>
                <a:cxn ang="0">
                  <a:pos x="5" y="187"/>
                </a:cxn>
                <a:cxn ang="0">
                  <a:pos x="9" y="201"/>
                </a:cxn>
                <a:cxn ang="0">
                  <a:pos x="27" y="219"/>
                </a:cxn>
              </a:cxnLst>
              <a:rect l="0" t="0" r="r" b="b"/>
              <a:pathLst>
                <a:path w="108" h="219">
                  <a:moveTo>
                    <a:pt x="27" y="219"/>
                  </a:moveTo>
                  <a:lnTo>
                    <a:pt x="41" y="210"/>
                  </a:lnTo>
                  <a:lnTo>
                    <a:pt x="58" y="205"/>
                  </a:lnTo>
                  <a:lnTo>
                    <a:pt x="72" y="174"/>
                  </a:lnTo>
                  <a:lnTo>
                    <a:pt x="76" y="151"/>
                  </a:lnTo>
                  <a:lnTo>
                    <a:pt x="94" y="93"/>
                  </a:lnTo>
                  <a:lnTo>
                    <a:pt x="94" y="80"/>
                  </a:lnTo>
                  <a:lnTo>
                    <a:pt x="99" y="71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08" y="53"/>
                  </a:lnTo>
                  <a:lnTo>
                    <a:pt x="103" y="35"/>
                  </a:lnTo>
                  <a:lnTo>
                    <a:pt x="103" y="26"/>
                  </a:lnTo>
                  <a:lnTo>
                    <a:pt x="90" y="0"/>
                  </a:lnTo>
                  <a:lnTo>
                    <a:pt x="81" y="8"/>
                  </a:lnTo>
                  <a:lnTo>
                    <a:pt x="85" y="17"/>
                  </a:lnTo>
                  <a:lnTo>
                    <a:pt x="76" y="22"/>
                  </a:lnTo>
                  <a:lnTo>
                    <a:pt x="67" y="22"/>
                  </a:lnTo>
                  <a:lnTo>
                    <a:pt x="72" y="35"/>
                  </a:lnTo>
                  <a:lnTo>
                    <a:pt x="54" y="53"/>
                  </a:lnTo>
                  <a:lnTo>
                    <a:pt x="27" y="67"/>
                  </a:lnTo>
                  <a:lnTo>
                    <a:pt x="18" y="67"/>
                  </a:lnTo>
                  <a:lnTo>
                    <a:pt x="18" y="76"/>
                  </a:lnTo>
                  <a:lnTo>
                    <a:pt x="9" y="84"/>
                  </a:lnTo>
                  <a:lnTo>
                    <a:pt x="18" y="120"/>
                  </a:lnTo>
                  <a:lnTo>
                    <a:pt x="9" y="143"/>
                  </a:lnTo>
                  <a:lnTo>
                    <a:pt x="5" y="147"/>
                  </a:lnTo>
                  <a:lnTo>
                    <a:pt x="5" y="156"/>
                  </a:lnTo>
                  <a:lnTo>
                    <a:pt x="0" y="165"/>
                  </a:lnTo>
                  <a:lnTo>
                    <a:pt x="9" y="183"/>
                  </a:lnTo>
                  <a:lnTo>
                    <a:pt x="5" y="187"/>
                  </a:lnTo>
                  <a:lnTo>
                    <a:pt x="9" y="201"/>
                  </a:lnTo>
                  <a:lnTo>
                    <a:pt x="27" y="21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9" name="Freeform 30">
              <a:extLst>
                <a:ext uri="{FF2B5EF4-FFF2-40B4-BE49-F238E27FC236}">
                  <a16:creationId xmlns:a16="http://schemas.microsoft.com/office/drawing/2014/main" id="{C8EDECA2-F472-4C8A-92F1-05C3ECCBA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5192" y="4829695"/>
              <a:ext cx="70092" cy="179258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3" y="18"/>
                </a:cxn>
                <a:cxn ang="0">
                  <a:pos x="13" y="27"/>
                </a:cxn>
                <a:cxn ang="0">
                  <a:pos x="8" y="27"/>
                </a:cxn>
                <a:cxn ang="0">
                  <a:pos x="8" y="49"/>
                </a:cxn>
                <a:cxn ang="0">
                  <a:pos x="4" y="54"/>
                </a:cxn>
                <a:cxn ang="0">
                  <a:pos x="0" y="67"/>
                </a:cxn>
                <a:cxn ang="0">
                  <a:pos x="4" y="72"/>
                </a:cxn>
                <a:cxn ang="0">
                  <a:pos x="13" y="81"/>
                </a:cxn>
                <a:cxn ang="0">
                  <a:pos x="22" y="81"/>
                </a:cxn>
                <a:cxn ang="0">
                  <a:pos x="26" y="90"/>
                </a:cxn>
                <a:cxn ang="0">
                  <a:pos x="22" y="103"/>
                </a:cxn>
                <a:cxn ang="0">
                  <a:pos x="31" y="121"/>
                </a:cxn>
                <a:cxn ang="0">
                  <a:pos x="40" y="117"/>
                </a:cxn>
                <a:cxn ang="0">
                  <a:pos x="35" y="108"/>
                </a:cxn>
                <a:cxn ang="0">
                  <a:pos x="44" y="103"/>
                </a:cxn>
                <a:cxn ang="0">
                  <a:pos x="44" y="76"/>
                </a:cxn>
                <a:cxn ang="0">
                  <a:pos x="35" y="63"/>
                </a:cxn>
                <a:cxn ang="0">
                  <a:pos x="26" y="58"/>
                </a:cxn>
                <a:cxn ang="0">
                  <a:pos x="31" y="67"/>
                </a:cxn>
                <a:cxn ang="0">
                  <a:pos x="31" y="67"/>
                </a:cxn>
                <a:cxn ang="0">
                  <a:pos x="35" y="81"/>
                </a:cxn>
                <a:cxn ang="0">
                  <a:pos x="31" y="85"/>
                </a:cxn>
                <a:cxn ang="0">
                  <a:pos x="31" y="76"/>
                </a:cxn>
                <a:cxn ang="0">
                  <a:pos x="22" y="72"/>
                </a:cxn>
                <a:cxn ang="0">
                  <a:pos x="22" y="54"/>
                </a:cxn>
                <a:cxn ang="0">
                  <a:pos x="13" y="45"/>
                </a:cxn>
                <a:cxn ang="0">
                  <a:pos x="17" y="41"/>
                </a:cxn>
                <a:cxn ang="0">
                  <a:pos x="17" y="18"/>
                </a:cxn>
                <a:cxn ang="0">
                  <a:pos x="17" y="18"/>
                </a:cxn>
                <a:cxn ang="0">
                  <a:pos x="17" y="9"/>
                </a:cxn>
                <a:cxn ang="0">
                  <a:pos x="8" y="0"/>
                </a:cxn>
                <a:cxn ang="0">
                  <a:pos x="4" y="5"/>
                </a:cxn>
              </a:cxnLst>
              <a:rect l="0" t="0" r="r" b="b"/>
              <a:pathLst>
                <a:path w="44" h="121">
                  <a:moveTo>
                    <a:pt x="4" y="5"/>
                  </a:moveTo>
                  <a:lnTo>
                    <a:pt x="13" y="18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8" y="49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72"/>
                  </a:lnTo>
                  <a:lnTo>
                    <a:pt x="13" y="81"/>
                  </a:lnTo>
                  <a:lnTo>
                    <a:pt x="22" y="81"/>
                  </a:lnTo>
                  <a:lnTo>
                    <a:pt x="26" y="90"/>
                  </a:lnTo>
                  <a:lnTo>
                    <a:pt x="22" y="103"/>
                  </a:lnTo>
                  <a:lnTo>
                    <a:pt x="31" y="121"/>
                  </a:lnTo>
                  <a:lnTo>
                    <a:pt x="40" y="117"/>
                  </a:lnTo>
                  <a:lnTo>
                    <a:pt x="35" y="108"/>
                  </a:lnTo>
                  <a:lnTo>
                    <a:pt x="44" y="103"/>
                  </a:lnTo>
                  <a:lnTo>
                    <a:pt x="44" y="76"/>
                  </a:lnTo>
                  <a:lnTo>
                    <a:pt x="35" y="63"/>
                  </a:lnTo>
                  <a:lnTo>
                    <a:pt x="26" y="58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5" y="81"/>
                  </a:lnTo>
                  <a:lnTo>
                    <a:pt x="31" y="85"/>
                  </a:lnTo>
                  <a:lnTo>
                    <a:pt x="31" y="76"/>
                  </a:lnTo>
                  <a:lnTo>
                    <a:pt x="22" y="72"/>
                  </a:lnTo>
                  <a:lnTo>
                    <a:pt x="22" y="54"/>
                  </a:lnTo>
                  <a:lnTo>
                    <a:pt x="13" y="45"/>
                  </a:lnTo>
                  <a:lnTo>
                    <a:pt x="17" y="41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8" y="0"/>
                  </a:lnTo>
                  <a:lnTo>
                    <a:pt x="4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0" name="Freeform 31">
              <a:extLst>
                <a:ext uri="{FF2B5EF4-FFF2-40B4-BE49-F238E27FC236}">
                  <a16:creationId xmlns:a16="http://schemas.microsoft.com/office/drawing/2014/main" id="{A26C8E9A-2E78-4281-885B-4EEB2ECA7A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9294" y="4081551"/>
              <a:ext cx="377543" cy="331850"/>
            </a:xfrm>
            <a:custGeom>
              <a:avLst/>
              <a:gdLst/>
              <a:ahLst/>
              <a:cxnLst>
                <a:cxn ang="0">
                  <a:pos x="5" y="152"/>
                </a:cxn>
                <a:cxn ang="0">
                  <a:pos x="0" y="161"/>
                </a:cxn>
                <a:cxn ang="0">
                  <a:pos x="5" y="175"/>
                </a:cxn>
                <a:cxn ang="0">
                  <a:pos x="14" y="184"/>
                </a:cxn>
                <a:cxn ang="0">
                  <a:pos x="18" y="197"/>
                </a:cxn>
                <a:cxn ang="0">
                  <a:pos x="27" y="197"/>
                </a:cxn>
                <a:cxn ang="0">
                  <a:pos x="45" y="188"/>
                </a:cxn>
                <a:cxn ang="0">
                  <a:pos x="49" y="201"/>
                </a:cxn>
                <a:cxn ang="0">
                  <a:pos x="54" y="206"/>
                </a:cxn>
                <a:cxn ang="0">
                  <a:pos x="54" y="215"/>
                </a:cxn>
                <a:cxn ang="0">
                  <a:pos x="63" y="219"/>
                </a:cxn>
                <a:cxn ang="0">
                  <a:pos x="67" y="224"/>
                </a:cxn>
                <a:cxn ang="0">
                  <a:pos x="85" y="219"/>
                </a:cxn>
                <a:cxn ang="0">
                  <a:pos x="90" y="224"/>
                </a:cxn>
                <a:cxn ang="0">
                  <a:pos x="94" y="219"/>
                </a:cxn>
                <a:cxn ang="0">
                  <a:pos x="103" y="193"/>
                </a:cxn>
                <a:cxn ang="0">
                  <a:pos x="112" y="188"/>
                </a:cxn>
                <a:cxn ang="0">
                  <a:pos x="116" y="170"/>
                </a:cxn>
                <a:cxn ang="0">
                  <a:pos x="125" y="175"/>
                </a:cxn>
                <a:cxn ang="0">
                  <a:pos x="161" y="148"/>
                </a:cxn>
                <a:cxn ang="0">
                  <a:pos x="179" y="152"/>
                </a:cxn>
                <a:cxn ang="0">
                  <a:pos x="188" y="152"/>
                </a:cxn>
                <a:cxn ang="0">
                  <a:pos x="192" y="143"/>
                </a:cxn>
                <a:cxn ang="0">
                  <a:pos x="201" y="143"/>
                </a:cxn>
                <a:cxn ang="0">
                  <a:pos x="228" y="143"/>
                </a:cxn>
                <a:cxn ang="0">
                  <a:pos x="237" y="134"/>
                </a:cxn>
                <a:cxn ang="0">
                  <a:pos x="237" y="121"/>
                </a:cxn>
                <a:cxn ang="0">
                  <a:pos x="237" y="85"/>
                </a:cxn>
                <a:cxn ang="0">
                  <a:pos x="224" y="94"/>
                </a:cxn>
                <a:cxn ang="0">
                  <a:pos x="219" y="90"/>
                </a:cxn>
                <a:cxn ang="0">
                  <a:pos x="224" y="76"/>
                </a:cxn>
                <a:cxn ang="0">
                  <a:pos x="210" y="72"/>
                </a:cxn>
                <a:cxn ang="0">
                  <a:pos x="206" y="76"/>
                </a:cxn>
                <a:cxn ang="0">
                  <a:pos x="201" y="67"/>
                </a:cxn>
                <a:cxn ang="0">
                  <a:pos x="188" y="67"/>
                </a:cxn>
                <a:cxn ang="0">
                  <a:pos x="188" y="58"/>
                </a:cxn>
                <a:cxn ang="0">
                  <a:pos x="103" y="0"/>
                </a:cxn>
                <a:cxn ang="0">
                  <a:pos x="85" y="0"/>
                </a:cxn>
                <a:cxn ang="0">
                  <a:pos x="94" y="130"/>
                </a:cxn>
                <a:cxn ang="0">
                  <a:pos x="99" y="134"/>
                </a:cxn>
                <a:cxn ang="0">
                  <a:pos x="99" y="139"/>
                </a:cxn>
                <a:cxn ang="0">
                  <a:pos x="45" y="143"/>
                </a:cxn>
                <a:cxn ang="0">
                  <a:pos x="41" y="134"/>
                </a:cxn>
                <a:cxn ang="0">
                  <a:pos x="32" y="143"/>
                </a:cxn>
                <a:cxn ang="0">
                  <a:pos x="23" y="139"/>
                </a:cxn>
                <a:cxn ang="0">
                  <a:pos x="18" y="148"/>
                </a:cxn>
                <a:cxn ang="0">
                  <a:pos x="14" y="134"/>
                </a:cxn>
                <a:cxn ang="0">
                  <a:pos x="9" y="139"/>
                </a:cxn>
                <a:cxn ang="0">
                  <a:pos x="14" y="152"/>
                </a:cxn>
                <a:cxn ang="0">
                  <a:pos x="5" y="152"/>
                </a:cxn>
              </a:cxnLst>
              <a:rect l="0" t="0" r="r" b="b"/>
              <a:pathLst>
                <a:path w="237" h="224">
                  <a:moveTo>
                    <a:pt x="5" y="152"/>
                  </a:moveTo>
                  <a:lnTo>
                    <a:pt x="0" y="161"/>
                  </a:lnTo>
                  <a:lnTo>
                    <a:pt x="5" y="175"/>
                  </a:lnTo>
                  <a:lnTo>
                    <a:pt x="14" y="184"/>
                  </a:lnTo>
                  <a:lnTo>
                    <a:pt x="18" y="197"/>
                  </a:lnTo>
                  <a:lnTo>
                    <a:pt x="27" y="197"/>
                  </a:lnTo>
                  <a:lnTo>
                    <a:pt x="45" y="188"/>
                  </a:lnTo>
                  <a:lnTo>
                    <a:pt x="49" y="201"/>
                  </a:lnTo>
                  <a:lnTo>
                    <a:pt x="54" y="206"/>
                  </a:lnTo>
                  <a:lnTo>
                    <a:pt x="54" y="215"/>
                  </a:lnTo>
                  <a:lnTo>
                    <a:pt x="63" y="219"/>
                  </a:lnTo>
                  <a:lnTo>
                    <a:pt x="67" y="224"/>
                  </a:lnTo>
                  <a:lnTo>
                    <a:pt x="85" y="219"/>
                  </a:lnTo>
                  <a:lnTo>
                    <a:pt x="90" y="224"/>
                  </a:lnTo>
                  <a:lnTo>
                    <a:pt x="94" y="219"/>
                  </a:lnTo>
                  <a:lnTo>
                    <a:pt x="103" y="193"/>
                  </a:lnTo>
                  <a:lnTo>
                    <a:pt x="112" y="188"/>
                  </a:lnTo>
                  <a:lnTo>
                    <a:pt x="116" y="170"/>
                  </a:lnTo>
                  <a:lnTo>
                    <a:pt x="125" y="175"/>
                  </a:lnTo>
                  <a:lnTo>
                    <a:pt x="161" y="148"/>
                  </a:lnTo>
                  <a:lnTo>
                    <a:pt x="179" y="152"/>
                  </a:lnTo>
                  <a:lnTo>
                    <a:pt x="188" y="152"/>
                  </a:lnTo>
                  <a:lnTo>
                    <a:pt x="192" y="143"/>
                  </a:lnTo>
                  <a:lnTo>
                    <a:pt x="201" y="143"/>
                  </a:lnTo>
                  <a:lnTo>
                    <a:pt x="228" y="143"/>
                  </a:lnTo>
                  <a:lnTo>
                    <a:pt x="237" y="134"/>
                  </a:lnTo>
                  <a:lnTo>
                    <a:pt x="237" y="121"/>
                  </a:lnTo>
                  <a:lnTo>
                    <a:pt x="237" y="85"/>
                  </a:lnTo>
                  <a:lnTo>
                    <a:pt x="224" y="94"/>
                  </a:lnTo>
                  <a:lnTo>
                    <a:pt x="219" y="90"/>
                  </a:lnTo>
                  <a:lnTo>
                    <a:pt x="224" y="76"/>
                  </a:lnTo>
                  <a:lnTo>
                    <a:pt x="210" y="72"/>
                  </a:lnTo>
                  <a:lnTo>
                    <a:pt x="206" y="76"/>
                  </a:lnTo>
                  <a:lnTo>
                    <a:pt x="201" y="67"/>
                  </a:lnTo>
                  <a:lnTo>
                    <a:pt x="188" y="67"/>
                  </a:lnTo>
                  <a:lnTo>
                    <a:pt x="188" y="58"/>
                  </a:lnTo>
                  <a:lnTo>
                    <a:pt x="103" y="0"/>
                  </a:lnTo>
                  <a:lnTo>
                    <a:pt x="85" y="0"/>
                  </a:lnTo>
                  <a:lnTo>
                    <a:pt x="94" y="130"/>
                  </a:lnTo>
                  <a:lnTo>
                    <a:pt x="99" y="134"/>
                  </a:lnTo>
                  <a:lnTo>
                    <a:pt x="99" y="139"/>
                  </a:lnTo>
                  <a:lnTo>
                    <a:pt x="45" y="143"/>
                  </a:lnTo>
                  <a:lnTo>
                    <a:pt x="41" y="134"/>
                  </a:lnTo>
                  <a:lnTo>
                    <a:pt x="32" y="143"/>
                  </a:lnTo>
                  <a:lnTo>
                    <a:pt x="23" y="139"/>
                  </a:lnTo>
                  <a:lnTo>
                    <a:pt x="18" y="148"/>
                  </a:lnTo>
                  <a:lnTo>
                    <a:pt x="14" y="134"/>
                  </a:lnTo>
                  <a:lnTo>
                    <a:pt x="9" y="139"/>
                  </a:lnTo>
                  <a:lnTo>
                    <a:pt x="14" y="152"/>
                  </a:lnTo>
                  <a:lnTo>
                    <a:pt x="5" y="15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1" name="Freeform 32">
              <a:extLst>
                <a:ext uri="{FF2B5EF4-FFF2-40B4-BE49-F238E27FC236}">
                  <a16:creationId xmlns:a16="http://schemas.microsoft.com/office/drawing/2014/main" id="{CE21E63F-A63F-43E8-955B-11E47BD19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60300" y="3797108"/>
              <a:ext cx="14337" cy="133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5" y="9"/>
                </a:cxn>
                <a:cxn ang="0">
                  <a:pos x="9" y="9"/>
                </a:cxn>
                <a:cxn ang="0">
                  <a:pos x="5" y="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5" y="5"/>
                  </a:move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5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2" name="Freeform 33">
              <a:extLst>
                <a:ext uri="{FF2B5EF4-FFF2-40B4-BE49-F238E27FC236}">
                  <a16:creationId xmlns:a16="http://schemas.microsoft.com/office/drawing/2014/main" id="{C3995561-05EA-453B-B037-6880CB7689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2562" y="4029700"/>
              <a:ext cx="270812" cy="277036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5" y="98"/>
                </a:cxn>
                <a:cxn ang="0">
                  <a:pos x="9" y="98"/>
                </a:cxn>
                <a:cxn ang="0">
                  <a:pos x="9" y="107"/>
                </a:cxn>
                <a:cxn ang="0">
                  <a:pos x="5" y="120"/>
                </a:cxn>
                <a:cxn ang="0">
                  <a:pos x="14" y="125"/>
                </a:cxn>
                <a:cxn ang="0">
                  <a:pos x="9" y="147"/>
                </a:cxn>
                <a:cxn ang="0">
                  <a:pos x="14" y="152"/>
                </a:cxn>
                <a:cxn ang="0">
                  <a:pos x="9" y="160"/>
                </a:cxn>
                <a:cxn ang="0">
                  <a:pos x="9" y="169"/>
                </a:cxn>
                <a:cxn ang="0">
                  <a:pos x="14" y="165"/>
                </a:cxn>
                <a:cxn ang="0">
                  <a:pos x="41" y="160"/>
                </a:cxn>
                <a:cxn ang="0">
                  <a:pos x="45" y="169"/>
                </a:cxn>
                <a:cxn ang="0">
                  <a:pos x="54" y="169"/>
                </a:cxn>
                <a:cxn ang="0">
                  <a:pos x="72" y="187"/>
                </a:cxn>
                <a:cxn ang="0">
                  <a:pos x="81" y="187"/>
                </a:cxn>
                <a:cxn ang="0">
                  <a:pos x="76" y="174"/>
                </a:cxn>
                <a:cxn ang="0">
                  <a:pos x="81" y="169"/>
                </a:cxn>
                <a:cxn ang="0">
                  <a:pos x="85" y="183"/>
                </a:cxn>
                <a:cxn ang="0">
                  <a:pos x="90" y="174"/>
                </a:cxn>
                <a:cxn ang="0">
                  <a:pos x="99" y="178"/>
                </a:cxn>
                <a:cxn ang="0">
                  <a:pos x="108" y="169"/>
                </a:cxn>
                <a:cxn ang="0">
                  <a:pos x="112" y="178"/>
                </a:cxn>
                <a:cxn ang="0">
                  <a:pos x="166" y="174"/>
                </a:cxn>
                <a:cxn ang="0">
                  <a:pos x="166" y="169"/>
                </a:cxn>
                <a:cxn ang="0">
                  <a:pos x="161" y="165"/>
                </a:cxn>
                <a:cxn ang="0">
                  <a:pos x="152" y="35"/>
                </a:cxn>
                <a:cxn ang="0">
                  <a:pos x="170" y="35"/>
                </a:cxn>
                <a:cxn ang="0">
                  <a:pos x="116" y="0"/>
                </a:cxn>
                <a:cxn ang="0">
                  <a:pos x="116" y="17"/>
                </a:cxn>
                <a:cxn ang="0">
                  <a:pos x="72" y="17"/>
                </a:cxn>
                <a:cxn ang="0">
                  <a:pos x="67" y="58"/>
                </a:cxn>
                <a:cxn ang="0">
                  <a:pos x="58" y="58"/>
                </a:cxn>
                <a:cxn ang="0">
                  <a:pos x="54" y="62"/>
                </a:cxn>
                <a:cxn ang="0">
                  <a:pos x="54" y="89"/>
                </a:cxn>
                <a:cxn ang="0">
                  <a:pos x="5" y="93"/>
                </a:cxn>
                <a:cxn ang="0">
                  <a:pos x="0" y="89"/>
                </a:cxn>
              </a:cxnLst>
              <a:rect l="0" t="0" r="r" b="b"/>
              <a:pathLst>
                <a:path w="170" h="187">
                  <a:moveTo>
                    <a:pt x="0" y="89"/>
                  </a:moveTo>
                  <a:lnTo>
                    <a:pt x="5" y="98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5" y="120"/>
                  </a:lnTo>
                  <a:lnTo>
                    <a:pt x="14" y="125"/>
                  </a:lnTo>
                  <a:lnTo>
                    <a:pt x="9" y="147"/>
                  </a:lnTo>
                  <a:lnTo>
                    <a:pt x="14" y="152"/>
                  </a:lnTo>
                  <a:lnTo>
                    <a:pt x="9" y="160"/>
                  </a:lnTo>
                  <a:lnTo>
                    <a:pt x="9" y="169"/>
                  </a:lnTo>
                  <a:lnTo>
                    <a:pt x="14" y="165"/>
                  </a:lnTo>
                  <a:lnTo>
                    <a:pt x="41" y="160"/>
                  </a:lnTo>
                  <a:lnTo>
                    <a:pt x="45" y="169"/>
                  </a:lnTo>
                  <a:lnTo>
                    <a:pt x="54" y="169"/>
                  </a:lnTo>
                  <a:lnTo>
                    <a:pt x="72" y="187"/>
                  </a:lnTo>
                  <a:lnTo>
                    <a:pt x="81" y="187"/>
                  </a:lnTo>
                  <a:lnTo>
                    <a:pt x="76" y="174"/>
                  </a:lnTo>
                  <a:lnTo>
                    <a:pt x="81" y="169"/>
                  </a:lnTo>
                  <a:lnTo>
                    <a:pt x="85" y="183"/>
                  </a:lnTo>
                  <a:lnTo>
                    <a:pt x="90" y="174"/>
                  </a:lnTo>
                  <a:lnTo>
                    <a:pt x="99" y="178"/>
                  </a:lnTo>
                  <a:lnTo>
                    <a:pt x="108" y="169"/>
                  </a:lnTo>
                  <a:lnTo>
                    <a:pt x="112" y="178"/>
                  </a:lnTo>
                  <a:lnTo>
                    <a:pt x="166" y="174"/>
                  </a:lnTo>
                  <a:lnTo>
                    <a:pt x="166" y="169"/>
                  </a:lnTo>
                  <a:lnTo>
                    <a:pt x="161" y="165"/>
                  </a:lnTo>
                  <a:lnTo>
                    <a:pt x="152" y="35"/>
                  </a:lnTo>
                  <a:lnTo>
                    <a:pt x="170" y="35"/>
                  </a:lnTo>
                  <a:lnTo>
                    <a:pt x="116" y="0"/>
                  </a:lnTo>
                  <a:lnTo>
                    <a:pt x="116" y="17"/>
                  </a:lnTo>
                  <a:lnTo>
                    <a:pt x="72" y="17"/>
                  </a:lnTo>
                  <a:lnTo>
                    <a:pt x="67" y="58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54" y="89"/>
                  </a:lnTo>
                  <a:lnTo>
                    <a:pt x="5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3" name="Freeform 34">
              <a:extLst>
                <a:ext uri="{FF2B5EF4-FFF2-40B4-BE49-F238E27FC236}">
                  <a16:creationId xmlns:a16="http://schemas.microsoft.com/office/drawing/2014/main" id="{91C0D183-ABE9-43E6-AC20-1ECBE9447B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3897" y="5075620"/>
              <a:ext cx="14337" cy="19259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9" y="4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13"/>
                </a:cxn>
                <a:cxn ang="0">
                  <a:pos x="0" y="13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9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4" name="Freeform 35">
              <a:extLst>
                <a:ext uri="{FF2B5EF4-FFF2-40B4-BE49-F238E27FC236}">
                  <a16:creationId xmlns:a16="http://schemas.microsoft.com/office/drawing/2014/main" id="{C1C97083-41F0-4C1E-B5E1-38E244CA8CBD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8585" y="3804516"/>
              <a:ext cx="277184" cy="211851"/>
            </a:xfrm>
            <a:custGeom>
              <a:avLst/>
              <a:gdLst/>
              <a:ahLst/>
              <a:cxnLst>
                <a:cxn ang="0">
                  <a:pos x="0" y="138"/>
                </a:cxn>
                <a:cxn ang="0">
                  <a:pos x="62" y="143"/>
                </a:cxn>
                <a:cxn ang="0">
                  <a:pos x="67" y="129"/>
                </a:cxn>
                <a:cxn ang="0">
                  <a:pos x="76" y="116"/>
                </a:cxn>
                <a:cxn ang="0">
                  <a:pos x="94" y="111"/>
                </a:cxn>
                <a:cxn ang="0">
                  <a:pos x="103" y="111"/>
                </a:cxn>
                <a:cxn ang="0">
                  <a:pos x="143" y="80"/>
                </a:cxn>
                <a:cxn ang="0">
                  <a:pos x="152" y="67"/>
                </a:cxn>
                <a:cxn ang="0">
                  <a:pos x="170" y="71"/>
                </a:cxn>
                <a:cxn ang="0">
                  <a:pos x="174" y="62"/>
                </a:cxn>
                <a:cxn ang="0">
                  <a:pos x="165" y="58"/>
                </a:cxn>
                <a:cxn ang="0">
                  <a:pos x="161" y="40"/>
                </a:cxn>
                <a:cxn ang="0">
                  <a:pos x="161" y="26"/>
                </a:cxn>
                <a:cxn ang="0">
                  <a:pos x="156" y="13"/>
                </a:cxn>
                <a:cxn ang="0">
                  <a:pos x="147" y="9"/>
                </a:cxn>
                <a:cxn ang="0">
                  <a:pos x="147" y="4"/>
                </a:cxn>
                <a:cxn ang="0">
                  <a:pos x="138" y="9"/>
                </a:cxn>
                <a:cxn ang="0">
                  <a:pos x="129" y="9"/>
                </a:cxn>
                <a:cxn ang="0">
                  <a:pos x="116" y="4"/>
                </a:cxn>
                <a:cxn ang="0">
                  <a:pos x="107" y="0"/>
                </a:cxn>
                <a:cxn ang="0">
                  <a:pos x="103" y="4"/>
                </a:cxn>
                <a:cxn ang="0">
                  <a:pos x="94" y="22"/>
                </a:cxn>
                <a:cxn ang="0">
                  <a:pos x="67" y="40"/>
                </a:cxn>
                <a:cxn ang="0">
                  <a:pos x="58" y="53"/>
                </a:cxn>
                <a:cxn ang="0">
                  <a:pos x="58" y="62"/>
                </a:cxn>
                <a:cxn ang="0">
                  <a:pos x="49" y="71"/>
                </a:cxn>
                <a:cxn ang="0">
                  <a:pos x="49" y="89"/>
                </a:cxn>
                <a:cxn ang="0">
                  <a:pos x="54" y="94"/>
                </a:cxn>
                <a:cxn ang="0">
                  <a:pos x="54" y="98"/>
                </a:cxn>
                <a:cxn ang="0">
                  <a:pos x="4" y="134"/>
                </a:cxn>
                <a:cxn ang="0">
                  <a:pos x="0" y="138"/>
                </a:cxn>
              </a:cxnLst>
              <a:rect l="0" t="0" r="r" b="b"/>
              <a:pathLst>
                <a:path w="174" h="143">
                  <a:moveTo>
                    <a:pt x="0" y="138"/>
                  </a:moveTo>
                  <a:lnTo>
                    <a:pt x="62" y="143"/>
                  </a:lnTo>
                  <a:lnTo>
                    <a:pt x="67" y="129"/>
                  </a:lnTo>
                  <a:lnTo>
                    <a:pt x="76" y="116"/>
                  </a:lnTo>
                  <a:lnTo>
                    <a:pt x="94" y="111"/>
                  </a:lnTo>
                  <a:lnTo>
                    <a:pt x="103" y="111"/>
                  </a:lnTo>
                  <a:lnTo>
                    <a:pt x="143" y="80"/>
                  </a:lnTo>
                  <a:lnTo>
                    <a:pt x="152" y="67"/>
                  </a:lnTo>
                  <a:lnTo>
                    <a:pt x="170" y="71"/>
                  </a:lnTo>
                  <a:lnTo>
                    <a:pt x="174" y="62"/>
                  </a:lnTo>
                  <a:lnTo>
                    <a:pt x="165" y="58"/>
                  </a:lnTo>
                  <a:lnTo>
                    <a:pt x="161" y="40"/>
                  </a:lnTo>
                  <a:lnTo>
                    <a:pt x="161" y="26"/>
                  </a:lnTo>
                  <a:lnTo>
                    <a:pt x="156" y="13"/>
                  </a:lnTo>
                  <a:lnTo>
                    <a:pt x="147" y="9"/>
                  </a:lnTo>
                  <a:lnTo>
                    <a:pt x="147" y="4"/>
                  </a:lnTo>
                  <a:lnTo>
                    <a:pt x="138" y="9"/>
                  </a:lnTo>
                  <a:lnTo>
                    <a:pt x="129" y="9"/>
                  </a:lnTo>
                  <a:lnTo>
                    <a:pt x="116" y="4"/>
                  </a:lnTo>
                  <a:lnTo>
                    <a:pt x="107" y="0"/>
                  </a:lnTo>
                  <a:lnTo>
                    <a:pt x="103" y="4"/>
                  </a:lnTo>
                  <a:lnTo>
                    <a:pt x="94" y="22"/>
                  </a:lnTo>
                  <a:lnTo>
                    <a:pt x="67" y="40"/>
                  </a:lnTo>
                  <a:lnTo>
                    <a:pt x="58" y="53"/>
                  </a:lnTo>
                  <a:lnTo>
                    <a:pt x="58" y="62"/>
                  </a:lnTo>
                  <a:lnTo>
                    <a:pt x="49" y="71"/>
                  </a:lnTo>
                  <a:lnTo>
                    <a:pt x="49" y="89"/>
                  </a:lnTo>
                  <a:lnTo>
                    <a:pt x="54" y="94"/>
                  </a:lnTo>
                  <a:lnTo>
                    <a:pt x="54" y="98"/>
                  </a:lnTo>
                  <a:lnTo>
                    <a:pt x="4" y="134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5" name="Freeform 36">
              <a:extLst>
                <a:ext uri="{FF2B5EF4-FFF2-40B4-BE49-F238E27FC236}">
                  <a16:creationId xmlns:a16="http://schemas.microsoft.com/office/drawing/2014/main" id="{C0B65117-DF4D-4941-A7E6-D8D8B3DB9F0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4216" y="4856362"/>
              <a:ext cx="235765" cy="383702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5" y="85"/>
                </a:cxn>
                <a:cxn ang="0">
                  <a:pos x="18" y="85"/>
                </a:cxn>
                <a:cxn ang="0">
                  <a:pos x="36" y="94"/>
                </a:cxn>
                <a:cxn ang="0">
                  <a:pos x="40" y="130"/>
                </a:cxn>
                <a:cxn ang="0">
                  <a:pos x="36" y="139"/>
                </a:cxn>
                <a:cxn ang="0">
                  <a:pos x="40" y="148"/>
                </a:cxn>
                <a:cxn ang="0">
                  <a:pos x="32" y="170"/>
                </a:cxn>
                <a:cxn ang="0">
                  <a:pos x="18" y="188"/>
                </a:cxn>
                <a:cxn ang="0">
                  <a:pos x="18" y="192"/>
                </a:cxn>
                <a:cxn ang="0">
                  <a:pos x="23" y="228"/>
                </a:cxn>
                <a:cxn ang="0">
                  <a:pos x="23" y="237"/>
                </a:cxn>
                <a:cxn ang="0">
                  <a:pos x="23" y="242"/>
                </a:cxn>
                <a:cxn ang="0">
                  <a:pos x="23" y="246"/>
                </a:cxn>
                <a:cxn ang="0">
                  <a:pos x="23" y="259"/>
                </a:cxn>
                <a:cxn ang="0">
                  <a:pos x="36" y="255"/>
                </a:cxn>
                <a:cxn ang="0">
                  <a:pos x="36" y="242"/>
                </a:cxn>
                <a:cxn ang="0">
                  <a:pos x="27" y="242"/>
                </a:cxn>
                <a:cxn ang="0">
                  <a:pos x="36" y="233"/>
                </a:cxn>
                <a:cxn ang="0">
                  <a:pos x="67" y="219"/>
                </a:cxn>
                <a:cxn ang="0">
                  <a:pos x="72" y="210"/>
                </a:cxn>
                <a:cxn ang="0">
                  <a:pos x="67" y="210"/>
                </a:cxn>
                <a:cxn ang="0">
                  <a:pos x="72" y="201"/>
                </a:cxn>
                <a:cxn ang="0">
                  <a:pos x="72" y="183"/>
                </a:cxn>
                <a:cxn ang="0">
                  <a:pos x="67" y="179"/>
                </a:cxn>
                <a:cxn ang="0">
                  <a:pos x="67" y="183"/>
                </a:cxn>
                <a:cxn ang="0">
                  <a:pos x="63" y="157"/>
                </a:cxn>
                <a:cxn ang="0">
                  <a:pos x="58" y="152"/>
                </a:cxn>
                <a:cxn ang="0">
                  <a:pos x="72" y="134"/>
                </a:cxn>
                <a:cxn ang="0">
                  <a:pos x="85" y="130"/>
                </a:cxn>
                <a:cxn ang="0">
                  <a:pos x="99" y="112"/>
                </a:cxn>
                <a:cxn ang="0">
                  <a:pos x="134" y="94"/>
                </a:cxn>
                <a:cxn ang="0">
                  <a:pos x="148" y="76"/>
                </a:cxn>
                <a:cxn ang="0">
                  <a:pos x="148" y="54"/>
                </a:cxn>
                <a:cxn ang="0">
                  <a:pos x="143" y="54"/>
                </a:cxn>
                <a:cxn ang="0">
                  <a:pos x="148" y="5"/>
                </a:cxn>
                <a:cxn ang="0">
                  <a:pos x="143" y="0"/>
                </a:cxn>
                <a:cxn ang="0">
                  <a:pos x="130" y="9"/>
                </a:cxn>
                <a:cxn ang="0">
                  <a:pos x="107" y="9"/>
                </a:cxn>
                <a:cxn ang="0">
                  <a:pos x="103" y="18"/>
                </a:cxn>
                <a:cxn ang="0">
                  <a:pos x="94" y="14"/>
                </a:cxn>
                <a:cxn ang="0">
                  <a:pos x="85" y="23"/>
                </a:cxn>
                <a:cxn ang="0">
                  <a:pos x="76" y="14"/>
                </a:cxn>
                <a:cxn ang="0">
                  <a:pos x="63" y="18"/>
                </a:cxn>
                <a:cxn ang="0">
                  <a:pos x="63" y="23"/>
                </a:cxn>
                <a:cxn ang="0">
                  <a:pos x="58" y="31"/>
                </a:cxn>
                <a:cxn ang="0">
                  <a:pos x="58" y="40"/>
                </a:cxn>
                <a:cxn ang="0">
                  <a:pos x="67" y="45"/>
                </a:cxn>
                <a:cxn ang="0">
                  <a:pos x="76" y="58"/>
                </a:cxn>
                <a:cxn ang="0">
                  <a:pos x="76" y="85"/>
                </a:cxn>
                <a:cxn ang="0">
                  <a:pos x="67" y="90"/>
                </a:cxn>
                <a:cxn ang="0">
                  <a:pos x="72" y="99"/>
                </a:cxn>
                <a:cxn ang="0">
                  <a:pos x="63" y="103"/>
                </a:cxn>
                <a:cxn ang="0">
                  <a:pos x="54" y="85"/>
                </a:cxn>
                <a:cxn ang="0">
                  <a:pos x="58" y="72"/>
                </a:cxn>
                <a:cxn ang="0">
                  <a:pos x="54" y="63"/>
                </a:cxn>
                <a:cxn ang="0">
                  <a:pos x="45" y="63"/>
                </a:cxn>
                <a:cxn ang="0">
                  <a:pos x="36" y="54"/>
                </a:cxn>
                <a:cxn ang="0">
                  <a:pos x="0" y="72"/>
                </a:cxn>
                <a:cxn ang="0">
                  <a:pos x="0" y="81"/>
                </a:cxn>
              </a:cxnLst>
              <a:rect l="0" t="0" r="r" b="b"/>
              <a:pathLst>
                <a:path w="148" h="259">
                  <a:moveTo>
                    <a:pt x="0" y="81"/>
                  </a:moveTo>
                  <a:lnTo>
                    <a:pt x="5" y="85"/>
                  </a:lnTo>
                  <a:lnTo>
                    <a:pt x="18" y="85"/>
                  </a:lnTo>
                  <a:lnTo>
                    <a:pt x="36" y="94"/>
                  </a:lnTo>
                  <a:lnTo>
                    <a:pt x="40" y="130"/>
                  </a:lnTo>
                  <a:lnTo>
                    <a:pt x="36" y="139"/>
                  </a:lnTo>
                  <a:lnTo>
                    <a:pt x="40" y="148"/>
                  </a:lnTo>
                  <a:lnTo>
                    <a:pt x="32" y="170"/>
                  </a:lnTo>
                  <a:lnTo>
                    <a:pt x="18" y="188"/>
                  </a:lnTo>
                  <a:lnTo>
                    <a:pt x="18" y="192"/>
                  </a:lnTo>
                  <a:lnTo>
                    <a:pt x="23" y="228"/>
                  </a:lnTo>
                  <a:lnTo>
                    <a:pt x="23" y="237"/>
                  </a:lnTo>
                  <a:lnTo>
                    <a:pt x="23" y="242"/>
                  </a:lnTo>
                  <a:lnTo>
                    <a:pt x="23" y="246"/>
                  </a:lnTo>
                  <a:lnTo>
                    <a:pt x="23" y="259"/>
                  </a:lnTo>
                  <a:lnTo>
                    <a:pt x="36" y="255"/>
                  </a:lnTo>
                  <a:lnTo>
                    <a:pt x="36" y="242"/>
                  </a:lnTo>
                  <a:lnTo>
                    <a:pt x="27" y="242"/>
                  </a:lnTo>
                  <a:lnTo>
                    <a:pt x="36" y="233"/>
                  </a:lnTo>
                  <a:lnTo>
                    <a:pt x="67" y="219"/>
                  </a:lnTo>
                  <a:lnTo>
                    <a:pt x="72" y="210"/>
                  </a:lnTo>
                  <a:lnTo>
                    <a:pt x="67" y="210"/>
                  </a:lnTo>
                  <a:lnTo>
                    <a:pt x="72" y="201"/>
                  </a:lnTo>
                  <a:lnTo>
                    <a:pt x="72" y="183"/>
                  </a:lnTo>
                  <a:lnTo>
                    <a:pt x="67" y="179"/>
                  </a:lnTo>
                  <a:lnTo>
                    <a:pt x="67" y="183"/>
                  </a:lnTo>
                  <a:lnTo>
                    <a:pt x="63" y="157"/>
                  </a:lnTo>
                  <a:lnTo>
                    <a:pt x="58" y="152"/>
                  </a:lnTo>
                  <a:lnTo>
                    <a:pt x="72" y="134"/>
                  </a:lnTo>
                  <a:lnTo>
                    <a:pt x="85" y="130"/>
                  </a:lnTo>
                  <a:lnTo>
                    <a:pt x="99" y="112"/>
                  </a:lnTo>
                  <a:lnTo>
                    <a:pt x="134" y="94"/>
                  </a:lnTo>
                  <a:lnTo>
                    <a:pt x="148" y="76"/>
                  </a:lnTo>
                  <a:lnTo>
                    <a:pt x="148" y="54"/>
                  </a:lnTo>
                  <a:lnTo>
                    <a:pt x="143" y="54"/>
                  </a:lnTo>
                  <a:lnTo>
                    <a:pt x="148" y="5"/>
                  </a:lnTo>
                  <a:lnTo>
                    <a:pt x="143" y="0"/>
                  </a:lnTo>
                  <a:lnTo>
                    <a:pt x="130" y="9"/>
                  </a:lnTo>
                  <a:lnTo>
                    <a:pt x="107" y="9"/>
                  </a:lnTo>
                  <a:lnTo>
                    <a:pt x="103" y="18"/>
                  </a:lnTo>
                  <a:lnTo>
                    <a:pt x="94" y="14"/>
                  </a:lnTo>
                  <a:lnTo>
                    <a:pt x="85" y="23"/>
                  </a:lnTo>
                  <a:lnTo>
                    <a:pt x="76" y="14"/>
                  </a:lnTo>
                  <a:lnTo>
                    <a:pt x="63" y="18"/>
                  </a:lnTo>
                  <a:lnTo>
                    <a:pt x="63" y="23"/>
                  </a:lnTo>
                  <a:lnTo>
                    <a:pt x="58" y="31"/>
                  </a:lnTo>
                  <a:lnTo>
                    <a:pt x="58" y="40"/>
                  </a:lnTo>
                  <a:lnTo>
                    <a:pt x="67" y="45"/>
                  </a:lnTo>
                  <a:lnTo>
                    <a:pt x="76" y="58"/>
                  </a:lnTo>
                  <a:lnTo>
                    <a:pt x="76" y="85"/>
                  </a:lnTo>
                  <a:lnTo>
                    <a:pt x="67" y="90"/>
                  </a:lnTo>
                  <a:lnTo>
                    <a:pt x="72" y="99"/>
                  </a:lnTo>
                  <a:lnTo>
                    <a:pt x="63" y="103"/>
                  </a:lnTo>
                  <a:lnTo>
                    <a:pt x="54" y="85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63"/>
                  </a:lnTo>
                  <a:lnTo>
                    <a:pt x="36" y="54"/>
                  </a:lnTo>
                  <a:lnTo>
                    <a:pt x="0" y="72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6" name="Freeform 37">
              <a:extLst>
                <a:ext uri="{FF2B5EF4-FFF2-40B4-BE49-F238E27FC236}">
                  <a16:creationId xmlns:a16="http://schemas.microsoft.com/office/drawing/2014/main" id="{656F6287-C04A-4FD2-8E8D-C24ABFD8398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0917" y="5003028"/>
              <a:ext cx="305858" cy="290369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9" y="0"/>
                </a:cxn>
                <a:cxn ang="0">
                  <a:pos x="27" y="0"/>
                </a:cxn>
                <a:cxn ang="0">
                  <a:pos x="40" y="8"/>
                </a:cxn>
                <a:cxn ang="0">
                  <a:pos x="49" y="4"/>
                </a:cxn>
                <a:cxn ang="0">
                  <a:pos x="103" y="4"/>
                </a:cxn>
                <a:cxn ang="0">
                  <a:pos x="116" y="17"/>
                </a:cxn>
                <a:cxn ang="0">
                  <a:pos x="134" y="17"/>
                </a:cxn>
                <a:cxn ang="0">
                  <a:pos x="170" y="8"/>
                </a:cxn>
                <a:cxn ang="0">
                  <a:pos x="178" y="4"/>
                </a:cxn>
                <a:cxn ang="0">
                  <a:pos x="192" y="13"/>
                </a:cxn>
                <a:cxn ang="0">
                  <a:pos x="178" y="17"/>
                </a:cxn>
                <a:cxn ang="0">
                  <a:pos x="174" y="26"/>
                </a:cxn>
                <a:cxn ang="0">
                  <a:pos x="165" y="17"/>
                </a:cxn>
                <a:cxn ang="0">
                  <a:pos x="147" y="22"/>
                </a:cxn>
                <a:cxn ang="0">
                  <a:pos x="138" y="22"/>
                </a:cxn>
                <a:cxn ang="0">
                  <a:pos x="138" y="80"/>
                </a:cxn>
                <a:cxn ang="0">
                  <a:pos x="125" y="80"/>
                </a:cxn>
                <a:cxn ang="0">
                  <a:pos x="120" y="125"/>
                </a:cxn>
                <a:cxn ang="0">
                  <a:pos x="120" y="187"/>
                </a:cxn>
                <a:cxn ang="0">
                  <a:pos x="111" y="187"/>
                </a:cxn>
                <a:cxn ang="0">
                  <a:pos x="111" y="196"/>
                </a:cxn>
                <a:cxn ang="0">
                  <a:pos x="94" y="192"/>
                </a:cxn>
                <a:cxn ang="0">
                  <a:pos x="80" y="192"/>
                </a:cxn>
                <a:cxn ang="0">
                  <a:pos x="80" y="183"/>
                </a:cxn>
                <a:cxn ang="0">
                  <a:pos x="76" y="183"/>
                </a:cxn>
                <a:cxn ang="0">
                  <a:pos x="67" y="187"/>
                </a:cxn>
                <a:cxn ang="0">
                  <a:pos x="53" y="169"/>
                </a:cxn>
                <a:cxn ang="0">
                  <a:pos x="49" y="160"/>
                </a:cxn>
                <a:cxn ang="0">
                  <a:pos x="40" y="111"/>
                </a:cxn>
                <a:cxn ang="0">
                  <a:pos x="40" y="93"/>
                </a:cxn>
                <a:cxn ang="0">
                  <a:pos x="22" y="44"/>
                </a:cxn>
                <a:cxn ang="0">
                  <a:pos x="0" y="22"/>
                </a:cxn>
                <a:cxn ang="0">
                  <a:pos x="4" y="4"/>
                </a:cxn>
              </a:cxnLst>
              <a:rect l="0" t="0" r="r" b="b"/>
              <a:pathLst>
                <a:path w="192" h="196">
                  <a:moveTo>
                    <a:pt x="4" y="4"/>
                  </a:moveTo>
                  <a:lnTo>
                    <a:pt x="9" y="0"/>
                  </a:lnTo>
                  <a:lnTo>
                    <a:pt x="27" y="0"/>
                  </a:lnTo>
                  <a:lnTo>
                    <a:pt x="40" y="8"/>
                  </a:lnTo>
                  <a:lnTo>
                    <a:pt x="49" y="4"/>
                  </a:lnTo>
                  <a:lnTo>
                    <a:pt x="103" y="4"/>
                  </a:lnTo>
                  <a:lnTo>
                    <a:pt x="116" y="17"/>
                  </a:lnTo>
                  <a:lnTo>
                    <a:pt x="134" y="17"/>
                  </a:lnTo>
                  <a:lnTo>
                    <a:pt x="170" y="8"/>
                  </a:lnTo>
                  <a:lnTo>
                    <a:pt x="178" y="4"/>
                  </a:lnTo>
                  <a:lnTo>
                    <a:pt x="192" y="13"/>
                  </a:lnTo>
                  <a:lnTo>
                    <a:pt x="178" y="17"/>
                  </a:lnTo>
                  <a:lnTo>
                    <a:pt x="174" y="26"/>
                  </a:lnTo>
                  <a:lnTo>
                    <a:pt x="165" y="17"/>
                  </a:lnTo>
                  <a:lnTo>
                    <a:pt x="147" y="22"/>
                  </a:lnTo>
                  <a:lnTo>
                    <a:pt x="138" y="22"/>
                  </a:lnTo>
                  <a:lnTo>
                    <a:pt x="138" y="80"/>
                  </a:lnTo>
                  <a:lnTo>
                    <a:pt x="125" y="80"/>
                  </a:lnTo>
                  <a:lnTo>
                    <a:pt x="120" y="125"/>
                  </a:lnTo>
                  <a:lnTo>
                    <a:pt x="120" y="187"/>
                  </a:lnTo>
                  <a:lnTo>
                    <a:pt x="111" y="187"/>
                  </a:lnTo>
                  <a:lnTo>
                    <a:pt x="111" y="196"/>
                  </a:lnTo>
                  <a:lnTo>
                    <a:pt x="94" y="192"/>
                  </a:lnTo>
                  <a:lnTo>
                    <a:pt x="80" y="192"/>
                  </a:lnTo>
                  <a:lnTo>
                    <a:pt x="80" y="183"/>
                  </a:lnTo>
                  <a:lnTo>
                    <a:pt x="76" y="183"/>
                  </a:lnTo>
                  <a:lnTo>
                    <a:pt x="67" y="187"/>
                  </a:lnTo>
                  <a:lnTo>
                    <a:pt x="53" y="169"/>
                  </a:lnTo>
                  <a:lnTo>
                    <a:pt x="49" y="160"/>
                  </a:lnTo>
                  <a:lnTo>
                    <a:pt x="40" y="111"/>
                  </a:lnTo>
                  <a:lnTo>
                    <a:pt x="40" y="93"/>
                  </a:lnTo>
                  <a:lnTo>
                    <a:pt x="22" y="44"/>
                  </a:lnTo>
                  <a:lnTo>
                    <a:pt x="0" y="22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7" name="Freeform 38">
              <a:extLst>
                <a:ext uri="{FF2B5EF4-FFF2-40B4-BE49-F238E27FC236}">
                  <a16:creationId xmlns:a16="http://schemas.microsoft.com/office/drawing/2014/main" id="{DDEB5B7C-0EB2-4A50-8646-606144792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4443" y="4115625"/>
              <a:ext cx="363206" cy="257776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0" y="138"/>
                </a:cxn>
                <a:cxn ang="0">
                  <a:pos x="9" y="152"/>
                </a:cxn>
                <a:cxn ang="0">
                  <a:pos x="9" y="161"/>
                </a:cxn>
                <a:cxn ang="0">
                  <a:pos x="18" y="165"/>
                </a:cxn>
                <a:cxn ang="0">
                  <a:pos x="27" y="161"/>
                </a:cxn>
                <a:cxn ang="0">
                  <a:pos x="27" y="174"/>
                </a:cxn>
                <a:cxn ang="0">
                  <a:pos x="31" y="174"/>
                </a:cxn>
                <a:cxn ang="0">
                  <a:pos x="40" y="165"/>
                </a:cxn>
                <a:cxn ang="0">
                  <a:pos x="54" y="174"/>
                </a:cxn>
                <a:cxn ang="0">
                  <a:pos x="54" y="165"/>
                </a:cxn>
                <a:cxn ang="0">
                  <a:pos x="58" y="156"/>
                </a:cxn>
                <a:cxn ang="0">
                  <a:pos x="58" y="147"/>
                </a:cxn>
                <a:cxn ang="0">
                  <a:pos x="71" y="143"/>
                </a:cxn>
                <a:cxn ang="0">
                  <a:pos x="94" y="147"/>
                </a:cxn>
                <a:cxn ang="0">
                  <a:pos x="107" y="161"/>
                </a:cxn>
                <a:cxn ang="0">
                  <a:pos x="121" y="156"/>
                </a:cxn>
                <a:cxn ang="0">
                  <a:pos x="138" y="156"/>
                </a:cxn>
                <a:cxn ang="0">
                  <a:pos x="156" y="152"/>
                </a:cxn>
                <a:cxn ang="0">
                  <a:pos x="170" y="156"/>
                </a:cxn>
                <a:cxn ang="0">
                  <a:pos x="188" y="147"/>
                </a:cxn>
                <a:cxn ang="0">
                  <a:pos x="188" y="134"/>
                </a:cxn>
                <a:cxn ang="0">
                  <a:pos x="192" y="125"/>
                </a:cxn>
                <a:cxn ang="0">
                  <a:pos x="214" y="107"/>
                </a:cxn>
                <a:cxn ang="0">
                  <a:pos x="219" y="62"/>
                </a:cxn>
                <a:cxn ang="0">
                  <a:pos x="228" y="44"/>
                </a:cxn>
                <a:cxn ang="0">
                  <a:pos x="219" y="35"/>
                </a:cxn>
                <a:cxn ang="0">
                  <a:pos x="219" y="22"/>
                </a:cxn>
                <a:cxn ang="0">
                  <a:pos x="210" y="4"/>
                </a:cxn>
                <a:cxn ang="0">
                  <a:pos x="197" y="13"/>
                </a:cxn>
                <a:cxn ang="0">
                  <a:pos x="192" y="0"/>
                </a:cxn>
                <a:cxn ang="0">
                  <a:pos x="170" y="0"/>
                </a:cxn>
                <a:cxn ang="0">
                  <a:pos x="94" y="53"/>
                </a:cxn>
                <a:cxn ang="0">
                  <a:pos x="58" y="62"/>
                </a:cxn>
                <a:cxn ang="0">
                  <a:pos x="58" y="98"/>
                </a:cxn>
                <a:cxn ang="0">
                  <a:pos x="58" y="111"/>
                </a:cxn>
                <a:cxn ang="0">
                  <a:pos x="49" y="120"/>
                </a:cxn>
                <a:cxn ang="0">
                  <a:pos x="22" y="120"/>
                </a:cxn>
                <a:cxn ang="0">
                  <a:pos x="13" y="120"/>
                </a:cxn>
                <a:cxn ang="0">
                  <a:pos x="9" y="129"/>
                </a:cxn>
                <a:cxn ang="0">
                  <a:pos x="0" y="129"/>
                </a:cxn>
              </a:cxnLst>
              <a:rect l="0" t="0" r="r" b="b"/>
              <a:pathLst>
                <a:path w="228" h="174">
                  <a:moveTo>
                    <a:pt x="0" y="129"/>
                  </a:moveTo>
                  <a:lnTo>
                    <a:pt x="0" y="138"/>
                  </a:lnTo>
                  <a:lnTo>
                    <a:pt x="9" y="152"/>
                  </a:lnTo>
                  <a:lnTo>
                    <a:pt x="9" y="161"/>
                  </a:lnTo>
                  <a:lnTo>
                    <a:pt x="18" y="165"/>
                  </a:lnTo>
                  <a:lnTo>
                    <a:pt x="27" y="161"/>
                  </a:lnTo>
                  <a:lnTo>
                    <a:pt x="27" y="174"/>
                  </a:lnTo>
                  <a:lnTo>
                    <a:pt x="31" y="174"/>
                  </a:lnTo>
                  <a:lnTo>
                    <a:pt x="40" y="165"/>
                  </a:lnTo>
                  <a:lnTo>
                    <a:pt x="54" y="174"/>
                  </a:lnTo>
                  <a:lnTo>
                    <a:pt x="54" y="165"/>
                  </a:lnTo>
                  <a:lnTo>
                    <a:pt x="58" y="156"/>
                  </a:lnTo>
                  <a:lnTo>
                    <a:pt x="58" y="147"/>
                  </a:lnTo>
                  <a:lnTo>
                    <a:pt x="71" y="143"/>
                  </a:lnTo>
                  <a:lnTo>
                    <a:pt x="94" y="147"/>
                  </a:lnTo>
                  <a:lnTo>
                    <a:pt x="107" y="161"/>
                  </a:lnTo>
                  <a:lnTo>
                    <a:pt x="121" y="156"/>
                  </a:lnTo>
                  <a:lnTo>
                    <a:pt x="138" y="156"/>
                  </a:lnTo>
                  <a:lnTo>
                    <a:pt x="156" y="152"/>
                  </a:lnTo>
                  <a:lnTo>
                    <a:pt x="170" y="156"/>
                  </a:lnTo>
                  <a:lnTo>
                    <a:pt x="188" y="147"/>
                  </a:lnTo>
                  <a:lnTo>
                    <a:pt x="188" y="134"/>
                  </a:lnTo>
                  <a:lnTo>
                    <a:pt x="192" y="125"/>
                  </a:lnTo>
                  <a:lnTo>
                    <a:pt x="214" y="107"/>
                  </a:lnTo>
                  <a:lnTo>
                    <a:pt x="219" y="62"/>
                  </a:lnTo>
                  <a:lnTo>
                    <a:pt x="228" y="44"/>
                  </a:lnTo>
                  <a:lnTo>
                    <a:pt x="219" y="35"/>
                  </a:lnTo>
                  <a:lnTo>
                    <a:pt x="219" y="22"/>
                  </a:lnTo>
                  <a:lnTo>
                    <a:pt x="210" y="4"/>
                  </a:lnTo>
                  <a:lnTo>
                    <a:pt x="197" y="13"/>
                  </a:lnTo>
                  <a:lnTo>
                    <a:pt x="192" y="0"/>
                  </a:lnTo>
                  <a:lnTo>
                    <a:pt x="170" y="0"/>
                  </a:lnTo>
                  <a:lnTo>
                    <a:pt x="94" y="53"/>
                  </a:lnTo>
                  <a:lnTo>
                    <a:pt x="58" y="62"/>
                  </a:lnTo>
                  <a:lnTo>
                    <a:pt x="58" y="98"/>
                  </a:lnTo>
                  <a:lnTo>
                    <a:pt x="58" y="111"/>
                  </a:lnTo>
                  <a:lnTo>
                    <a:pt x="49" y="120"/>
                  </a:lnTo>
                  <a:lnTo>
                    <a:pt x="22" y="120"/>
                  </a:lnTo>
                  <a:lnTo>
                    <a:pt x="13" y="120"/>
                  </a:lnTo>
                  <a:lnTo>
                    <a:pt x="9" y="129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8" name="Freeform 39">
              <a:extLst>
                <a:ext uri="{FF2B5EF4-FFF2-40B4-BE49-F238E27FC236}">
                  <a16:creationId xmlns:a16="http://schemas.microsoft.com/office/drawing/2014/main" id="{F14CB806-453B-4160-B1FB-340310811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8163" y="4327476"/>
              <a:ext cx="256475" cy="217777"/>
            </a:xfrm>
            <a:custGeom>
              <a:avLst/>
              <a:gdLst/>
              <a:ahLst/>
              <a:cxnLst>
                <a:cxn ang="0">
                  <a:pos x="5" y="111"/>
                </a:cxn>
                <a:cxn ang="0">
                  <a:pos x="0" y="98"/>
                </a:cxn>
                <a:cxn ang="0">
                  <a:pos x="0" y="80"/>
                </a:cxn>
                <a:cxn ang="0">
                  <a:pos x="9" y="76"/>
                </a:cxn>
                <a:cxn ang="0">
                  <a:pos x="14" y="67"/>
                </a:cxn>
                <a:cxn ang="0">
                  <a:pos x="14" y="49"/>
                </a:cxn>
                <a:cxn ang="0">
                  <a:pos x="9" y="40"/>
                </a:cxn>
                <a:cxn ang="0">
                  <a:pos x="14" y="31"/>
                </a:cxn>
                <a:cxn ang="0">
                  <a:pos x="14" y="22"/>
                </a:cxn>
                <a:cxn ang="0">
                  <a:pos x="18" y="13"/>
                </a:cxn>
                <a:cxn ang="0">
                  <a:pos x="18" y="4"/>
                </a:cxn>
                <a:cxn ang="0">
                  <a:pos x="31" y="0"/>
                </a:cxn>
                <a:cxn ang="0">
                  <a:pos x="54" y="4"/>
                </a:cxn>
                <a:cxn ang="0">
                  <a:pos x="67" y="18"/>
                </a:cxn>
                <a:cxn ang="0">
                  <a:pos x="81" y="13"/>
                </a:cxn>
                <a:cxn ang="0">
                  <a:pos x="98" y="13"/>
                </a:cxn>
                <a:cxn ang="0">
                  <a:pos x="116" y="9"/>
                </a:cxn>
                <a:cxn ang="0">
                  <a:pos x="130" y="13"/>
                </a:cxn>
                <a:cxn ang="0">
                  <a:pos x="148" y="4"/>
                </a:cxn>
                <a:cxn ang="0">
                  <a:pos x="152" y="9"/>
                </a:cxn>
                <a:cxn ang="0">
                  <a:pos x="161" y="22"/>
                </a:cxn>
                <a:cxn ang="0">
                  <a:pos x="161" y="35"/>
                </a:cxn>
                <a:cxn ang="0">
                  <a:pos x="152" y="40"/>
                </a:cxn>
                <a:cxn ang="0">
                  <a:pos x="148" y="67"/>
                </a:cxn>
                <a:cxn ang="0">
                  <a:pos x="143" y="67"/>
                </a:cxn>
                <a:cxn ang="0">
                  <a:pos x="139" y="80"/>
                </a:cxn>
                <a:cxn ang="0">
                  <a:pos x="130" y="85"/>
                </a:cxn>
                <a:cxn ang="0">
                  <a:pos x="116" y="107"/>
                </a:cxn>
                <a:cxn ang="0">
                  <a:pos x="107" y="102"/>
                </a:cxn>
                <a:cxn ang="0">
                  <a:pos x="98" y="102"/>
                </a:cxn>
                <a:cxn ang="0">
                  <a:pos x="90" y="129"/>
                </a:cxn>
                <a:cxn ang="0">
                  <a:pos x="85" y="134"/>
                </a:cxn>
                <a:cxn ang="0">
                  <a:pos x="81" y="134"/>
                </a:cxn>
                <a:cxn ang="0">
                  <a:pos x="81" y="138"/>
                </a:cxn>
                <a:cxn ang="0">
                  <a:pos x="67" y="138"/>
                </a:cxn>
                <a:cxn ang="0">
                  <a:pos x="63" y="134"/>
                </a:cxn>
                <a:cxn ang="0">
                  <a:pos x="58" y="143"/>
                </a:cxn>
                <a:cxn ang="0">
                  <a:pos x="49" y="147"/>
                </a:cxn>
                <a:cxn ang="0">
                  <a:pos x="40" y="138"/>
                </a:cxn>
                <a:cxn ang="0">
                  <a:pos x="36" y="129"/>
                </a:cxn>
                <a:cxn ang="0">
                  <a:pos x="23" y="116"/>
                </a:cxn>
                <a:cxn ang="0">
                  <a:pos x="5" y="111"/>
                </a:cxn>
              </a:cxnLst>
              <a:rect l="0" t="0" r="r" b="b"/>
              <a:pathLst>
                <a:path w="161" h="147">
                  <a:moveTo>
                    <a:pt x="5" y="111"/>
                  </a:moveTo>
                  <a:lnTo>
                    <a:pt x="0" y="98"/>
                  </a:lnTo>
                  <a:lnTo>
                    <a:pt x="0" y="80"/>
                  </a:lnTo>
                  <a:lnTo>
                    <a:pt x="9" y="76"/>
                  </a:lnTo>
                  <a:lnTo>
                    <a:pt x="14" y="67"/>
                  </a:lnTo>
                  <a:lnTo>
                    <a:pt x="14" y="49"/>
                  </a:lnTo>
                  <a:lnTo>
                    <a:pt x="9" y="40"/>
                  </a:lnTo>
                  <a:lnTo>
                    <a:pt x="14" y="31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4"/>
                  </a:lnTo>
                  <a:lnTo>
                    <a:pt x="31" y="0"/>
                  </a:lnTo>
                  <a:lnTo>
                    <a:pt x="54" y="4"/>
                  </a:lnTo>
                  <a:lnTo>
                    <a:pt x="67" y="18"/>
                  </a:lnTo>
                  <a:lnTo>
                    <a:pt x="81" y="13"/>
                  </a:lnTo>
                  <a:lnTo>
                    <a:pt x="98" y="13"/>
                  </a:lnTo>
                  <a:lnTo>
                    <a:pt x="116" y="9"/>
                  </a:lnTo>
                  <a:lnTo>
                    <a:pt x="130" y="13"/>
                  </a:lnTo>
                  <a:lnTo>
                    <a:pt x="148" y="4"/>
                  </a:lnTo>
                  <a:lnTo>
                    <a:pt x="152" y="9"/>
                  </a:lnTo>
                  <a:lnTo>
                    <a:pt x="161" y="22"/>
                  </a:lnTo>
                  <a:lnTo>
                    <a:pt x="161" y="35"/>
                  </a:lnTo>
                  <a:lnTo>
                    <a:pt x="152" y="40"/>
                  </a:lnTo>
                  <a:lnTo>
                    <a:pt x="148" y="67"/>
                  </a:lnTo>
                  <a:lnTo>
                    <a:pt x="143" y="67"/>
                  </a:lnTo>
                  <a:lnTo>
                    <a:pt x="139" y="80"/>
                  </a:lnTo>
                  <a:lnTo>
                    <a:pt x="130" y="85"/>
                  </a:lnTo>
                  <a:lnTo>
                    <a:pt x="116" y="107"/>
                  </a:lnTo>
                  <a:lnTo>
                    <a:pt x="107" y="102"/>
                  </a:lnTo>
                  <a:lnTo>
                    <a:pt x="98" y="102"/>
                  </a:lnTo>
                  <a:lnTo>
                    <a:pt x="90" y="129"/>
                  </a:lnTo>
                  <a:lnTo>
                    <a:pt x="85" y="134"/>
                  </a:lnTo>
                  <a:lnTo>
                    <a:pt x="81" y="134"/>
                  </a:lnTo>
                  <a:lnTo>
                    <a:pt x="81" y="138"/>
                  </a:lnTo>
                  <a:lnTo>
                    <a:pt x="67" y="138"/>
                  </a:lnTo>
                  <a:lnTo>
                    <a:pt x="63" y="134"/>
                  </a:lnTo>
                  <a:lnTo>
                    <a:pt x="58" y="143"/>
                  </a:lnTo>
                  <a:lnTo>
                    <a:pt x="49" y="147"/>
                  </a:lnTo>
                  <a:lnTo>
                    <a:pt x="40" y="138"/>
                  </a:lnTo>
                  <a:lnTo>
                    <a:pt x="36" y="129"/>
                  </a:lnTo>
                  <a:lnTo>
                    <a:pt x="23" y="116"/>
                  </a:lnTo>
                  <a:lnTo>
                    <a:pt x="5" y="11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9" name="Freeform 40">
              <a:extLst>
                <a:ext uri="{FF2B5EF4-FFF2-40B4-BE49-F238E27FC236}">
                  <a16:creationId xmlns:a16="http://schemas.microsoft.com/office/drawing/2014/main" id="{2F34C61B-A1D2-473F-A9C4-65A0CC8BE0F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76899" y="4360068"/>
              <a:ext cx="63720" cy="45926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5" y="13"/>
                </a:cxn>
                <a:cxn ang="0">
                  <a:pos x="14" y="13"/>
                </a:cxn>
                <a:cxn ang="0">
                  <a:pos x="14" y="18"/>
                </a:cxn>
                <a:cxn ang="0">
                  <a:pos x="23" y="13"/>
                </a:cxn>
                <a:cxn ang="0">
                  <a:pos x="14" y="22"/>
                </a:cxn>
                <a:cxn ang="0">
                  <a:pos x="14" y="27"/>
                </a:cxn>
                <a:cxn ang="0">
                  <a:pos x="23" y="31"/>
                </a:cxn>
                <a:cxn ang="0">
                  <a:pos x="27" y="22"/>
                </a:cxn>
                <a:cxn ang="0">
                  <a:pos x="40" y="13"/>
                </a:cxn>
                <a:cxn ang="0">
                  <a:pos x="40" y="5"/>
                </a:cxn>
                <a:cxn ang="0">
                  <a:pos x="27" y="0"/>
                </a:cxn>
                <a:cxn ang="0">
                  <a:pos x="0" y="9"/>
                </a:cxn>
                <a:cxn ang="0">
                  <a:pos x="14" y="22"/>
                </a:cxn>
                <a:cxn ang="0">
                  <a:pos x="9" y="22"/>
                </a:cxn>
                <a:cxn ang="0">
                  <a:pos x="9" y="18"/>
                </a:cxn>
                <a:cxn ang="0">
                  <a:pos x="5" y="18"/>
                </a:cxn>
                <a:cxn ang="0">
                  <a:pos x="5" y="22"/>
                </a:cxn>
                <a:cxn ang="0">
                  <a:pos x="5" y="31"/>
                </a:cxn>
                <a:cxn ang="0">
                  <a:pos x="14" y="22"/>
                </a:cxn>
              </a:cxnLst>
              <a:rect l="0" t="0" r="r" b="b"/>
              <a:pathLst>
                <a:path w="40" h="31">
                  <a:moveTo>
                    <a:pt x="0" y="9"/>
                  </a:moveTo>
                  <a:lnTo>
                    <a:pt x="5" y="13"/>
                  </a:lnTo>
                  <a:lnTo>
                    <a:pt x="14" y="13"/>
                  </a:lnTo>
                  <a:lnTo>
                    <a:pt x="14" y="18"/>
                  </a:lnTo>
                  <a:lnTo>
                    <a:pt x="23" y="13"/>
                  </a:lnTo>
                  <a:lnTo>
                    <a:pt x="14" y="22"/>
                  </a:lnTo>
                  <a:lnTo>
                    <a:pt x="14" y="27"/>
                  </a:lnTo>
                  <a:lnTo>
                    <a:pt x="23" y="31"/>
                  </a:lnTo>
                  <a:lnTo>
                    <a:pt x="27" y="22"/>
                  </a:lnTo>
                  <a:lnTo>
                    <a:pt x="40" y="13"/>
                  </a:lnTo>
                  <a:lnTo>
                    <a:pt x="40" y="5"/>
                  </a:lnTo>
                  <a:lnTo>
                    <a:pt x="27" y="0"/>
                  </a:lnTo>
                  <a:lnTo>
                    <a:pt x="0" y="9"/>
                  </a:lnTo>
                  <a:close/>
                  <a:moveTo>
                    <a:pt x="14" y="22"/>
                  </a:moveTo>
                  <a:lnTo>
                    <a:pt x="9" y="22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5" y="31"/>
                  </a:lnTo>
                  <a:lnTo>
                    <a:pt x="14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0" name="Freeform 41">
              <a:extLst>
                <a:ext uri="{FF2B5EF4-FFF2-40B4-BE49-F238E27FC236}">
                  <a16:creationId xmlns:a16="http://schemas.microsoft.com/office/drawing/2014/main" id="{8471C68E-CCEF-4FC6-A4AA-532060FA8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6548" y="5094879"/>
              <a:ext cx="22302" cy="1333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5" y="9"/>
                </a:cxn>
                <a:cxn ang="0">
                  <a:pos x="9" y="9"/>
                </a:cxn>
                <a:cxn ang="0">
                  <a:pos x="14" y="5"/>
                </a:cxn>
                <a:cxn ang="0">
                  <a:pos x="9" y="5"/>
                </a:cxn>
                <a:cxn ang="0">
                  <a:pos x="9" y="0"/>
                </a:cxn>
              </a:cxnLst>
              <a:rect l="0" t="0" r="r" b="b"/>
              <a:pathLst>
                <a:path w="14" h="9">
                  <a:moveTo>
                    <a:pt x="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14" y="5"/>
                  </a:lnTo>
                  <a:lnTo>
                    <a:pt x="9" y="5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1" name="Freeform 42">
              <a:extLst>
                <a:ext uri="{FF2B5EF4-FFF2-40B4-BE49-F238E27FC236}">
                  <a16:creationId xmlns:a16="http://schemas.microsoft.com/office/drawing/2014/main" id="{B4A92DF0-FF52-4617-900B-B147FEBCFB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5542" y="4657845"/>
              <a:ext cx="36639" cy="3259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4"/>
                </a:cxn>
                <a:cxn ang="0">
                  <a:pos x="0" y="9"/>
                </a:cxn>
                <a:cxn ang="0">
                  <a:pos x="9" y="5"/>
                </a:cxn>
                <a:cxn ang="0">
                  <a:pos x="18" y="0"/>
                </a:cxn>
                <a:cxn ang="0">
                  <a:pos x="23" y="5"/>
                </a:cxn>
                <a:cxn ang="0">
                  <a:pos x="23" y="18"/>
                </a:cxn>
                <a:cxn ang="0">
                  <a:pos x="14" y="18"/>
                </a:cxn>
                <a:cxn ang="0">
                  <a:pos x="9" y="22"/>
                </a:cxn>
                <a:cxn ang="0">
                  <a:pos x="0" y="22"/>
                </a:cxn>
              </a:cxnLst>
              <a:rect l="0" t="0" r="r" b="b"/>
              <a:pathLst>
                <a:path w="23" h="22">
                  <a:moveTo>
                    <a:pt x="0" y="22"/>
                  </a:moveTo>
                  <a:lnTo>
                    <a:pt x="0" y="14"/>
                  </a:lnTo>
                  <a:lnTo>
                    <a:pt x="0" y="9"/>
                  </a:lnTo>
                  <a:lnTo>
                    <a:pt x="9" y="5"/>
                  </a:lnTo>
                  <a:lnTo>
                    <a:pt x="18" y="0"/>
                  </a:lnTo>
                  <a:lnTo>
                    <a:pt x="23" y="5"/>
                  </a:lnTo>
                  <a:lnTo>
                    <a:pt x="23" y="18"/>
                  </a:lnTo>
                  <a:lnTo>
                    <a:pt x="14" y="18"/>
                  </a:lnTo>
                  <a:lnTo>
                    <a:pt x="9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2" name="Freeform 43">
              <a:extLst>
                <a:ext uri="{FF2B5EF4-FFF2-40B4-BE49-F238E27FC236}">
                  <a16:creationId xmlns:a16="http://schemas.microsoft.com/office/drawing/2014/main" id="{43F55C2E-F2C7-48C5-BD91-43F3F23941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04186" y="4598586"/>
              <a:ext cx="20709" cy="40000"/>
            </a:xfrm>
            <a:custGeom>
              <a:avLst/>
              <a:gdLst/>
              <a:ahLst/>
              <a:cxnLst>
                <a:cxn ang="0">
                  <a:pos x="4" y="27"/>
                </a:cxn>
                <a:cxn ang="0">
                  <a:pos x="4" y="22"/>
                </a:cxn>
                <a:cxn ang="0">
                  <a:pos x="9" y="18"/>
                </a:cxn>
                <a:cxn ang="0">
                  <a:pos x="4" y="18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4" y="27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13" y="4"/>
                </a:cxn>
                <a:cxn ang="0">
                  <a:pos x="13" y="0"/>
                </a:cxn>
                <a:cxn ang="0">
                  <a:pos x="13" y="0"/>
                </a:cxn>
              </a:cxnLst>
              <a:rect l="0" t="0" r="r" b="b"/>
              <a:pathLst>
                <a:path w="13" h="27">
                  <a:moveTo>
                    <a:pt x="4" y="27"/>
                  </a:moveTo>
                  <a:lnTo>
                    <a:pt x="4" y="22"/>
                  </a:lnTo>
                  <a:lnTo>
                    <a:pt x="9" y="18"/>
                  </a:lnTo>
                  <a:lnTo>
                    <a:pt x="4" y="1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7"/>
                  </a:lnTo>
                  <a:close/>
                  <a:moveTo>
                    <a:pt x="13" y="0"/>
                  </a:moveTo>
                  <a:lnTo>
                    <a:pt x="9" y="0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3" name="Freeform 45">
              <a:extLst>
                <a:ext uri="{FF2B5EF4-FFF2-40B4-BE49-F238E27FC236}">
                  <a16:creationId xmlns:a16="http://schemas.microsoft.com/office/drawing/2014/main" id="{DC097799-6E74-40BD-A1FC-4097E1BC22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20" y="4419327"/>
              <a:ext cx="71685" cy="66666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5" y="27"/>
                </a:cxn>
                <a:cxn ang="0">
                  <a:pos x="9" y="27"/>
                </a:cxn>
                <a:cxn ang="0">
                  <a:pos x="9" y="36"/>
                </a:cxn>
                <a:cxn ang="0">
                  <a:pos x="27" y="45"/>
                </a:cxn>
                <a:cxn ang="0">
                  <a:pos x="32" y="40"/>
                </a:cxn>
                <a:cxn ang="0">
                  <a:pos x="41" y="36"/>
                </a:cxn>
                <a:cxn ang="0">
                  <a:pos x="41" y="32"/>
                </a:cxn>
                <a:cxn ang="0">
                  <a:pos x="45" y="32"/>
                </a:cxn>
                <a:cxn ang="0">
                  <a:pos x="45" y="23"/>
                </a:cxn>
                <a:cxn ang="0">
                  <a:pos x="41" y="23"/>
                </a:cxn>
                <a:cxn ang="0">
                  <a:pos x="41" y="14"/>
                </a:cxn>
                <a:cxn ang="0">
                  <a:pos x="36" y="5"/>
                </a:cxn>
                <a:cxn ang="0">
                  <a:pos x="32" y="0"/>
                </a:cxn>
                <a:cxn ang="0">
                  <a:pos x="14" y="5"/>
                </a:cxn>
                <a:cxn ang="0">
                  <a:pos x="9" y="9"/>
                </a:cxn>
                <a:cxn ang="0">
                  <a:pos x="0" y="14"/>
                </a:cxn>
              </a:cxnLst>
              <a:rect l="0" t="0" r="r" b="b"/>
              <a:pathLst>
                <a:path w="45" h="45">
                  <a:moveTo>
                    <a:pt x="0" y="14"/>
                  </a:moveTo>
                  <a:lnTo>
                    <a:pt x="5" y="27"/>
                  </a:lnTo>
                  <a:lnTo>
                    <a:pt x="9" y="27"/>
                  </a:lnTo>
                  <a:lnTo>
                    <a:pt x="9" y="36"/>
                  </a:lnTo>
                  <a:lnTo>
                    <a:pt x="27" y="45"/>
                  </a:lnTo>
                  <a:lnTo>
                    <a:pt x="32" y="40"/>
                  </a:lnTo>
                  <a:lnTo>
                    <a:pt x="41" y="36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5" y="23"/>
                  </a:lnTo>
                  <a:lnTo>
                    <a:pt x="41" y="23"/>
                  </a:lnTo>
                  <a:lnTo>
                    <a:pt x="41" y="14"/>
                  </a:lnTo>
                  <a:lnTo>
                    <a:pt x="36" y="5"/>
                  </a:lnTo>
                  <a:lnTo>
                    <a:pt x="32" y="0"/>
                  </a:lnTo>
                  <a:lnTo>
                    <a:pt x="14" y="5"/>
                  </a:lnTo>
                  <a:lnTo>
                    <a:pt x="9" y="9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4" name="Freeform 46">
              <a:extLst>
                <a:ext uri="{FF2B5EF4-FFF2-40B4-BE49-F238E27FC236}">
                  <a16:creationId xmlns:a16="http://schemas.microsoft.com/office/drawing/2014/main" id="{9AD7CAD9-FEF6-4E68-A5FD-1A2A259358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6353" y="4373402"/>
              <a:ext cx="242138" cy="297776"/>
            </a:xfrm>
            <a:custGeom>
              <a:avLst/>
              <a:gdLst/>
              <a:ahLst/>
              <a:cxnLst>
                <a:cxn ang="0">
                  <a:pos x="9" y="201"/>
                </a:cxn>
                <a:cxn ang="0">
                  <a:pos x="31" y="179"/>
                </a:cxn>
                <a:cxn ang="0">
                  <a:pos x="58" y="147"/>
                </a:cxn>
                <a:cxn ang="0">
                  <a:pos x="63" y="147"/>
                </a:cxn>
                <a:cxn ang="0">
                  <a:pos x="72" y="139"/>
                </a:cxn>
                <a:cxn ang="0">
                  <a:pos x="85" y="134"/>
                </a:cxn>
                <a:cxn ang="0">
                  <a:pos x="116" y="94"/>
                </a:cxn>
                <a:cxn ang="0">
                  <a:pos x="130" y="63"/>
                </a:cxn>
                <a:cxn ang="0">
                  <a:pos x="143" y="45"/>
                </a:cxn>
                <a:cxn ang="0">
                  <a:pos x="139" y="40"/>
                </a:cxn>
                <a:cxn ang="0">
                  <a:pos x="148" y="27"/>
                </a:cxn>
                <a:cxn ang="0">
                  <a:pos x="152" y="22"/>
                </a:cxn>
                <a:cxn ang="0">
                  <a:pos x="148" y="22"/>
                </a:cxn>
                <a:cxn ang="0">
                  <a:pos x="148" y="0"/>
                </a:cxn>
                <a:cxn ang="0">
                  <a:pos x="139" y="0"/>
                </a:cxn>
                <a:cxn ang="0">
                  <a:pos x="134" y="4"/>
                </a:cxn>
                <a:cxn ang="0">
                  <a:pos x="130" y="4"/>
                </a:cxn>
                <a:cxn ang="0">
                  <a:pos x="103" y="13"/>
                </a:cxn>
                <a:cxn ang="0">
                  <a:pos x="89" y="13"/>
                </a:cxn>
                <a:cxn ang="0">
                  <a:pos x="81" y="22"/>
                </a:cxn>
                <a:cxn ang="0">
                  <a:pos x="67" y="18"/>
                </a:cxn>
                <a:cxn ang="0">
                  <a:pos x="54" y="22"/>
                </a:cxn>
                <a:cxn ang="0">
                  <a:pos x="36" y="9"/>
                </a:cxn>
                <a:cxn ang="0">
                  <a:pos x="31" y="13"/>
                </a:cxn>
                <a:cxn ang="0">
                  <a:pos x="27" y="22"/>
                </a:cxn>
                <a:cxn ang="0">
                  <a:pos x="36" y="36"/>
                </a:cxn>
                <a:cxn ang="0">
                  <a:pos x="45" y="45"/>
                </a:cxn>
                <a:cxn ang="0">
                  <a:pos x="81" y="63"/>
                </a:cxn>
                <a:cxn ang="0">
                  <a:pos x="103" y="63"/>
                </a:cxn>
                <a:cxn ang="0">
                  <a:pos x="54" y="103"/>
                </a:cxn>
                <a:cxn ang="0">
                  <a:pos x="27" y="107"/>
                </a:cxn>
                <a:cxn ang="0">
                  <a:pos x="18" y="116"/>
                </a:cxn>
                <a:cxn ang="0">
                  <a:pos x="0" y="130"/>
                </a:cxn>
                <a:cxn ang="0">
                  <a:pos x="5" y="183"/>
                </a:cxn>
                <a:cxn ang="0">
                  <a:pos x="9" y="201"/>
                </a:cxn>
              </a:cxnLst>
              <a:rect l="0" t="0" r="r" b="b"/>
              <a:pathLst>
                <a:path w="152" h="201">
                  <a:moveTo>
                    <a:pt x="9" y="201"/>
                  </a:moveTo>
                  <a:lnTo>
                    <a:pt x="31" y="179"/>
                  </a:lnTo>
                  <a:lnTo>
                    <a:pt x="58" y="147"/>
                  </a:lnTo>
                  <a:lnTo>
                    <a:pt x="63" y="147"/>
                  </a:lnTo>
                  <a:lnTo>
                    <a:pt x="72" y="139"/>
                  </a:lnTo>
                  <a:lnTo>
                    <a:pt x="85" y="134"/>
                  </a:lnTo>
                  <a:lnTo>
                    <a:pt x="116" y="94"/>
                  </a:lnTo>
                  <a:lnTo>
                    <a:pt x="130" y="63"/>
                  </a:lnTo>
                  <a:lnTo>
                    <a:pt x="143" y="45"/>
                  </a:lnTo>
                  <a:lnTo>
                    <a:pt x="139" y="40"/>
                  </a:lnTo>
                  <a:lnTo>
                    <a:pt x="148" y="27"/>
                  </a:lnTo>
                  <a:lnTo>
                    <a:pt x="152" y="22"/>
                  </a:lnTo>
                  <a:lnTo>
                    <a:pt x="148" y="22"/>
                  </a:lnTo>
                  <a:lnTo>
                    <a:pt x="148" y="0"/>
                  </a:lnTo>
                  <a:lnTo>
                    <a:pt x="139" y="0"/>
                  </a:lnTo>
                  <a:lnTo>
                    <a:pt x="134" y="4"/>
                  </a:lnTo>
                  <a:lnTo>
                    <a:pt x="130" y="4"/>
                  </a:lnTo>
                  <a:lnTo>
                    <a:pt x="103" y="13"/>
                  </a:lnTo>
                  <a:lnTo>
                    <a:pt x="89" y="13"/>
                  </a:lnTo>
                  <a:lnTo>
                    <a:pt x="81" y="22"/>
                  </a:lnTo>
                  <a:lnTo>
                    <a:pt x="67" y="18"/>
                  </a:lnTo>
                  <a:lnTo>
                    <a:pt x="54" y="22"/>
                  </a:lnTo>
                  <a:lnTo>
                    <a:pt x="36" y="9"/>
                  </a:lnTo>
                  <a:lnTo>
                    <a:pt x="31" y="13"/>
                  </a:lnTo>
                  <a:lnTo>
                    <a:pt x="27" y="22"/>
                  </a:lnTo>
                  <a:lnTo>
                    <a:pt x="36" y="36"/>
                  </a:lnTo>
                  <a:lnTo>
                    <a:pt x="45" y="45"/>
                  </a:lnTo>
                  <a:lnTo>
                    <a:pt x="81" y="63"/>
                  </a:lnTo>
                  <a:lnTo>
                    <a:pt x="103" y="63"/>
                  </a:lnTo>
                  <a:lnTo>
                    <a:pt x="54" y="103"/>
                  </a:lnTo>
                  <a:lnTo>
                    <a:pt x="27" y="107"/>
                  </a:lnTo>
                  <a:lnTo>
                    <a:pt x="18" y="116"/>
                  </a:lnTo>
                  <a:lnTo>
                    <a:pt x="0" y="130"/>
                  </a:lnTo>
                  <a:lnTo>
                    <a:pt x="5" y="183"/>
                  </a:lnTo>
                  <a:lnTo>
                    <a:pt x="9" y="20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5" name="Freeform 47">
              <a:extLst>
                <a:ext uri="{FF2B5EF4-FFF2-40B4-BE49-F238E27FC236}">
                  <a16:creationId xmlns:a16="http://schemas.microsoft.com/office/drawing/2014/main" id="{01A28B2B-91D3-4982-A249-FC27E97AE0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17649" y="5121546"/>
              <a:ext cx="383915" cy="317035"/>
            </a:xfrm>
            <a:custGeom>
              <a:avLst/>
              <a:gdLst/>
              <a:ahLst/>
              <a:cxnLst>
                <a:cxn ang="0">
                  <a:pos x="9" y="112"/>
                </a:cxn>
                <a:cxn ang="0">
                  <a:pos x="27" y="174"/>
                </a:cxn>
                <a:cxn ang="0">
                  <a:pos x="31" y="192"/>
                </a:cxn>
                <a:cxn ang="0">
                  <a:pos x="31" y="210"/>
                </a:cxn>
                <a:cxn ang="0">
                  <a:pos x="53" y="214"/>
                </a:cxn>
                <a:cxn ang="0">
                  <a:pos x="80" y="206"/>
                </a:cxn>
                <a:cxn ang="0">
                  <a:pos x="98" y="201"/>
                </a:cxn>
                <a:cxn ang="0">
                  <a:pos x="125" y="201"/>
                </a:cxn>
                <a:cxn ang="0">
                  <a:pos x="134" y="192"/>
                </a:cxn>
                <a:cxn ang="0">
                  <a:pos x="156" y="192"/>
                </a:cxn>
                <a:cxn ang="0">
                  <a:pos x="174" y="174"/>
                </a:cxn>
                <a:cxn ang="0">
                  <a:pos x="205" y="147"/>
                </a:cxn>
                <a:cxn ang="0">
                  <a:pos x="232" y="112"/>
                </a:cxn>
                <a:cxn ang="0">
                  <a:pos x="237" y="94"/>
                </a:cxn>
                <a:cxn ang="0">
                  <a:pos x="241" y="89"/>
                </a:cxn>
                <a:cxn ang="0">
                  <a:pos x="228" y="80"/>
                </a:cxn>
                <a:cxn ang="0">
                  <a:pos x="210" y="85"/>
                </a:cxn>
                <a:cxn ang="0">
                  <a:pos x="210" y="63"/>
                </a:cxn>
                <a:cxn ang="0">
                  <a:pos x="223" y="63"/>
                </a:cxn>
                <a:cxn ang="0">
                  <a:pos x="228" y="58"/>
                </a:cxn>
                <a:cxn ang="0">
                  <a:pos x="223" y="13"/>
                </a:cxn>
                <a:cxn ang="0">
                  <a:pos x="201" y="0"/>
                </a:cxn>
                <a:cxn ang="0">
                  <a:pos x="187" y="4"/>
                </a:cxn>
                <a:cxn ang="0">
                  <a:pos x="152" y="31"/>
                </a:cxn>
                <a:cxn ang="0">
                  <a:pos x="138" y="45"/>
                </a:cxn>
                <a:cxn ang="0">
                  <a:pos x="111" y="63"/>
                </a:cxn>
                <a:cxn ang="0">
                  <a:pos x="103" y="54"/>
                </a:cxn>
                <a:cxn ang="0">
                  <a:pos x="85" y="76"/>
                </a:cxn>
                <a:cxn ang="0">
                  <a:pos x="62" y="71"/>
                </a:cxn>
                <a:cxn ang="0">
                  <a:pos x="53" y="45"/>
                </a:cxn>
                <a:cxn ang="0">
                  <a:pos x="44" y="107"/>
                </a:cxn>
                <a:cxn ang="0">
                  <a:pos x="27" y="112"/>
                </a:cxn>
                <a:cxn ang="0">
                  <a:pos x="13" y="103"/>
                </a:cxn>
                <a:cxn ang="0">
                  <a:pos x="0" y="107"/>
                </a:cxn>
                <a:cxn ang="0">
                  <a:pos x="170" y="138"/>
                </a:cxn>
                <a:cxn ang="0">
                  <a:pos x="187" y="130"/>
                </a:cxn>
                <a:cxn ang="0">
                  <a:pos x="183" y="107"/>
                </a:cxn>
                <a:cxn ang="0">
                  <a:pos x="156" y="121"/>
                </a:cxn>
              </a:cxnLst>
              <a:rect l="0" t="0" r="r" b="b"/>
              <a:pathLst>
                <a:path w="241" h="214">
                  <a:moveTo>
                    <a:pt x="0" y="107"/>
                  </a:moveTo>
                  <a:lnTo>
                    <a:pt x="9" y="112"/>
                  </a:lnTo>
                  <a:lnTo>
                    <a:pt x="27" y="156"/>
                  </a:lnTo>
                  <a:lnTo>
                    <a:pt x="27" y="174"/>
                  </a:lnTo>
                  <a:lnTo>
                    <a:pt x="22" y="174"/>
                  </a:lnTo>
                  <a:lnTo>
                    <a:pt x="31" y="192"/>
                  </a:lnTo>
                  <a:lnTo>
                    <a:pt x="27" y="197"/>
                  </a:lnTo>
                  <a:lnTo>
                    <a:pt x="31" y="210"/>
                  </a:lnTo>
                  <a:lnTo>
                    <a:pt x="36" y="206"/>
                  </a:lnTo>
                  <a:lnTo>
                    <a:pt x="53" y="214"/>
                  </a:lnTo>
                  <a:lnTo>
                    <a:pt x="58" y="206"/>
                  </a:lnTo>
                  <a:lnTo>
                    <a:pt x="80" y="206"/>
                  </a:lnTo>
                  <a:lnTo>
                    <a:pt x="80" y="201"/>
                  </a:lnTo>
                  <a:lnTo>
                    <a:pt x="98" y="201"/>
                  </a:lnTo>
                  <a:lnTo>
                    <a:pt x="120" y="206"/>
                  </a:lnTo>
                  <a:lnTo>
                    <a:pt x="125" y="201"/>
                  </a:lnTo>
                  <a:lnTo>
                    <a:pt x="138" y="201"/>
                  </a:lnTo>
                  <a:lnTo>
                    <a:pt x="134" y="192"/>
                  </a:lnTo>
                  <a:lnTo>
                    <a:pt x="152" y="197"/>
                  </a:lnTo>
                  <a:lnTo>
                    <a:pt x="156" y="192"/>
                  </a:lnTo>
                  <a:lnTo>
                    <a:pt x="161" y="183"/>
                  </a:lnTo>
                  <a:lnTo>
                    <a:pt x="174" y="174"/>
                  </a:lnTo>
                  <a:lnTo>
                    <a:pt x="192" y="156"/>
                  </a:lnTo>
                  <a:lnTo>
                    <a:pt x="205" y="147"/>
                  </a:lnTo>
                  <a:lnTo>
                    <a:pt x="223" y="116"/>
                  </a:lnTo>
                  <a:lnTo>
                    <a:pt x="232" y="112"/>
                  </a:lnTo>
                  <a:lnTo>
                    <a:pt x="237" y="103"/>
                  </a:lnTo>
                  <a:lnTo>
                    <a:pt x="237" y="94"/>
                  </a:lnTo>
                  <a:lnTo>
                    <a:pt x="237" y="85"/>
                  </a:lnTo>
                  <a:lnTo>
                    <a:pt x="241" y="89"/>
                  </a:lnTo>
                  <a:lnTo>
                    <a:pt x="241" y="76"/>
                  </a:lnTo>
                  <a:lnTo>
                    <a:pt x="228" y="80"/>
                  </a:lnTo>
                  <a:lnTo>
                    <a:pt x="223" y="85"/>
                  </a:lnTo>
                  <a:lnTo>
                    <a:pt x="210" y="85"/>
                  </a:lnTo>
                  <a:lnTo>
                    <a:pt x="205" y="80"/>
                  </a:lnTo>
                  <a:lnTo>
                    <a:pt x="210" y="63"/>
                  </a:lnTo>
                  <a:lnTo>
                    <a:pt x="219" y="58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223" y="13"/>
                  </a:lnTo>
                  <a:lnTo>
                    <a:pt x="223" y="9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87" y="4"/>
                  </a:lnTo>
                  <a:lnTo>
                    <a:pt x="174" y="9"/>
                  </a:lnTo>
                  <a:lnTo>
                    <a:pt x="152" y="31"/>
                  </a:lnTo>
                  <a:lnTo>
                    <a:pt x="152" y="36"/>
                  </a:lnTo>
                  <a:lnTo>
                    <a:pt x="138" y="45"/>
                  </a:lnTo>
                  <a:lnTo>
                    <a:pt x="134" y="58"/>
                  </a:lnTo>
                  <a:lnTo>
                    <a:pt x="111" y="63"/>
                  </a:lnTo>
                  <a:lnTo>
                    <a:pt x="107" y="58"/>
                  </a:lnTo>
                  <a:lnTo>
                    <a:pt x="103" y="54"/>
                  </a:lnTo>
                  <a:lnTo>
                    <a:pt x="98" y="54"/>
                  </a:lnTo>
                  <a:lnTo>
                    <a:pt x="85" y="76"/>
                  </a:lnTo>
                  <a:lnTo>
                    <a:pt x="62" y="80"/>
                  </a:lnTo>
                  <a:lnTo>
                    <a:pt x="62" y="71"/>
                  </a:lnTo>
                  <a:lnTo>
                    <a:pt x="62" y="63"/>
                  </a:lnTo>
                  <a:lnTo>
                    <a:pt x="53" y="45"/>
                  </a:lnTo>
                  <a:lnTo>
                    <a:pt x="53" y="107"/>
                  </a:lnTo>
                  <a:lnTo>
                    <a:pt x="44" y="107"/>
                  </a:lnTo>
                  <a:lnTo>
                    <a:pt x="44" y="116"/>
                  </a:lnTo>
                  <a:lnTo>
                    <a:pt x="27" y="112"/>
                  </a:lnTo>
                  <a:lnTo>
                    <a:pt x="13" y="112"/>
                  </a:lnTo>
                  <a:lnTo>
                    <a:pt x="13" y="103"/>
                  </a:lnTo>
                  <a:lnTo>
                    <a:pt x="9" y="103"/>
                  </a:lnTo>
                  <a:lnTo>
                    <a:pt x="0" y="107"/>
                  </a:lnTo>
                  <a:close/>
                  <a:moveTo>
                    <a:pt x="165" y="134"/>
                  </a:moveTo>
                  <a:lnTo>
                    <a:pt x="170" y="138"/>
                  </a:lnTo>
                  <a:lnTo>
                    <a:pt x="174" y="134"/>
                  </a:lnTo>
                  <a:lnTo>
                    <a:pt x="187" y="130"/>
                  </a:lnTo>
                  <a:lnTo>
                    <a:pt x="196" y="121"/>
                  </a:lnTo>
                  <a:lnTo>
                    <a:pt x="183" y="107"/>
                  </a:lnTo>
                  <a:lnTo>
                    <a:pt x="165" y="112"/>
                  </a:lnTo>
                  <a:lnTo>
                    <a:pt x="156" y="121"/>
                  </a:lnTo>
                  <a:lnTo>
                    <a:pt x="165" y="13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6" name="Freeform 48">
              <a:extLst>
                <a:ext uri="{FF2B5EF4-FFF2-40B4-BE49-F238E27FC236}">
                  <a16:creationId xmlns:a16="http://schemas.microsoft.com/office/drawing/2014/main" id="{988C6724-340D-4BB4-86AD-9A72F164BB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775" y="4976361"/>
              <a:ext cx="191161" cy="158518"/>
            </a:xfrm>
            <a:custGeom>
              <a:avLst/>
              <a:gdLst/>
              <a:ahLst/>
              <a:cxnLst>
                <a:cxn ang="0">
                  <a:pos x="67" y="98"/>
                </a:cxn>
                <a:cxn ang="0">
                  <a:pos x="67" y="93"/>
                </a:cxn>
                <a:cxn ang="0">
                  <a:pos x="53" y="93"/>
                </a:cxn>
                <a:cxn ang="0">
                  <a:pos x="40" y="76"/>
                </a:cxn>
                <a:cxn ang="0">
                  <a:pos x="13" y="53"/>
                </a:cxn>
                <a:cxn ang="0">
                  <a:pos x="0" y="31"/>
                </a:cxn>
                <a:cxn ang="0">
                  <a:pos x="27" y="35"/>
                </a:cxn>
                <a:cxn ang="0">
                  <a:pos x="45" y="18"/>
                </a:cxn>
                <a:cxn ang="0">
                  <a:pos x="58" y="9"/>
                </a:cxn>
                <a:cxn ang="0">
                  <a:pos x="62" y="4"/>
                </a:cxn>
                <a:cxn ang="0">
                  <a:pos x="80" y="0"/>
                </a:cxn>
                <a:cxn ang="0">
                  <a:pos x="85" y="4"/>
                </a:cxn>
                <a:cxn ang="0">
                  <a:pos x="98" y="4"/>
                </a:cxn>
                <a:cxn ang="0">
                  <a:pos x="116" y="13"/>
                </a:cxn>
                <a:cxn ang="0">
                  <a:pos x="120" y="49"/>
                </a:cxn>
                <a:cxn ang="0">
                  <a:pos x="116" y="58"/>
                </a:cxn>
                <a:cxn ang="0">
                  <a:pos x="120" y="67"/>
                </a:cxn>
                <a:cxn ang="0">
                  <a:pos x="112" y="89"/>
                </a:cxn>
                <a:cxn ang="0">
                  <a:pos x="98" y="107"/>
                </a:cxn>
                <a:cxn ang="0">
                  <a:pos x="76" y="98"/>
                </a:cxn>
                <a:cxn ang="0">
                  <a:pos x="67" y="98"/>
                </a:cxn>
              </a:cxnLst>
              <a:rect l="0" t="0" r="r" b="b"/>
              <a:pathLst>
                <a:path w="120" h="107">
                  <a:moveTo>
                    <a:pt x="67" y="98"/>
                  </a:moveTo>
                  <a:lnTo>
                    <a:pt x="67" y="93"/>
                  </a:lnTo>
                  <a:lnTo>
                    <a:pt x="53" y="93"/>
                  </a:lnTo>
                  <a:lnTo>
                    <a:pt x="40" y="76"/>
                  </a:lnTo>
                  <a:lnTo>
                    <a:pt x="13" y="53"/>
                  </a:lnTo>
                  <a:lnTo>
                    <a:pt x="0" y="31"/>
                  </a:lnTo>
                  <a:lnTo>
                    <a:pt x="27" y="35"/>
                  </a:lnTo>
                  <a:lnTo>
                    <a:pt x="45" y="18"/>
                  </a:lnTo>
                  <a:lnTo>
                    <a:pt x="58" y="9"/>
                  </a:lnTo>
                  <a:lnTo>
                    <a:pt x="62" y="4"/>
                  </a:lnTo>
                  <a:lnTo>
                    <a:pt x="80" y="0"/>
                  </a:lnTo>
                  <a:lnTo>
                    <a:pt x="85" y="4"/>
                  </a:lnTo>
                  <a:lnTo>
                    <a:pt x="98" y="4"/>
                  </a:lnTo>
                  <a:lnTo>
                    <a:pt x="116" y="13"/>
                  </a:lnTo>
                  <a:lnTo>
                    <a:pt x="120" y="49"/>
                  </a:lnTo>
                  <a:lnTo>
                    <a:pt x="116" y="58"/>
                  </a:lnTo>
                  <a:lnTo>
                    <a:pt x="120" y="67"/>
                  </a:lnTo>
                  <a:lnTo>
                    <a:pt x="112" y="89"/>
                  </a:lnTo>
                  <a:lnTo>
                    <a:pt x="98" y="107"/>
                  </a:lnTo>
                  <a:lnTo>
                    <a:pt x="76" y="98"/>
                  </a:lnTo>
                  <a:lnTo>
                    <a:pt x="67" y="9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7" name="Freeform 49">
              <a:extLst>
                <a:ext uri="{FF2B5EF4-FFF2-40B4-BE49-F238E27FC236}">
                  <a16:creationId xmlns:a16="http://schemas.microsoft.com/office/drawing/2014/main" id="{7D50AD22-E6A4-4D54-B67A-1FC1C67F9CB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2562" y="4008959"/>
              <a:ext cx="184789" cy="158518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45" y="23"/>
                </a:cxn>
                <a:cxn ang="0">
                  <a:pos x="36" y="27"/>
                </a:cxn>
                <a:cxn ang="0">
                  <a:pos x="36" y="36"/>
                </a:cxn>
                <a:cxn ang="0">
                  <a:pos x="27" y="49"/>
                </a:cxn>
                <a:cxn ang="0">
                  <a:pos x="14" y="58"/>
                </a:cxn>
                <a:cxn ang="0">
                  <a:pos x="9" y="72"/>
                </a:cxn>
                <a:cxn ang="0">
                  <a:pos x="9" y="76"/>
                </a:cxn>
                <a:cxn ang="0">
                  <a:pos x="0" y="90"/>
                </a:cxn>
                <a:cxn ang="0">
                  <a:pos x="0" y="94"/>
                </a:cxn>
                <a:cxn ang="0">
                  <a:pos x="0" y="103"/>
                </a:cxn>
                <a:cxn ang="0">
                  <a:pos x="5" y="107"/>
                </a:cxn>
                <a:cxn ang="0">
                  <a:pos x="54" y="103"/>
                </a:cxn>
                <a:cxn ang="0">
                  <a:pos x="54" y="76"/>
                </a:cxn>
                <a:cxn ang="0">
                  <a:pos x="58" y="72"/>
                </a:cxn>
                <a:cxn ang="0">
                  <a:pos x="67" y="72"/>
                </a:cxn>
                <a:cxn ang="0">
                  <a:pos x="72" y="31"/>
                </a:cxn>
                <a:cxn ang="0">
                  <a:pos x="116" y="31"/>
                </a:cxn>
                <a:cxn ang="0">
                  <a:pos x="116" y="14"/>
                </a:cxn>
                <a:cxn ang="0">
                  <a:pos x="116" y="5"/>
                </a:cxn>
                <a:cxn ang="0">
                  <a:pos x="54" y="0"/>
                </a:cxn>
              </a:cxnLst>
              <a:rect l="0" t="0" r="r" b="b"/>
              <a:pathLst>
                <a:path w="116" h="107">
                  <a:moveTo>
                    <a:pt x="54" y="0"/>
                  </a:moveTo>
                  <a:lnTo>
                    <a:pt x="45" y="23"/>
                  </a:lnTo>
                  <a:lnTo>
                    <a:pt x="36" y="27"/>
                  </a:lnTo>
                  <a:lnTo>
                    <a:pt x="36" y="36"/>
                  </a:lnTo>
                  <a:lnTo>
                    <a:pt x="27" y="49"/>
                  </a:lnTo>
                  <a:lnTo>
                    <a:pt x="14" y="58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0" y="103"/>
                  </a:lnTo>
                  <a:lnTo>
                    <a:pt x="5" y="107"/>
                  </a:lnTo>
                  <a:lnTo>
                    <a:pt x="54" y="103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67" y="72"/>
                  </a:lnTo>
                  <a:lnTo>
                    <a:pt x="72" y="31"/>
                  </a:lnTo>
                  <a:lnTo>
                    <a:pt x="116" y="31"/>
                  </a:lnTo>
                  <a:lnTo>
                    <a:pt x="116" y="14"/>
                  </a:lnTo>
                  <a:lnTo>
                    <a:pt x="116" y="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8" name="Freeform 50">
              <a:extLst>
                <a:ext uri="{FF2B5EF4-FFF2-40B4-BE49-F238E27FC236}">
                  <a16:creationId xmlns:a16="http://schemas.microsoft.com/office/drawing/2014/main" id="{AD0A0854-7A9C-4410-9E38-1284AC57DAE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5090" y="4121551"/>
              <a:ext cx="383915" cy="431109"/>
            </a:xfrm>
            <a:custGeom>
              <a:avLst/>
              <a:gdLst/>
              <a:ahLst/>
              <a:cxnLst>
                <a:cxn ang="0">
                  <a:pos x="9" y="174"/>
                </a:cxn>
                <a:cxn ang="0">
                  <a:pos x="0" y="157"/>
                </a:cxn>
                <a:cxn ang="0">
                  <a:pos x="14" y="139"/>
                </a:cxn>
                <a:cxn ang="0">
                  <a:pos x="14" y="130"/>
                </a:cxn>
                <a:cxn ang="0">
                  <a:pos x="27" y="116"/>
                </a:cxn>
                <a:cxn ang="0">
                  <a:pos x="27" y="49"/>
                </a:cxn>
                <a:cxn ang="0">
                  <a:pos x="45" y="23"/>
                </a:cxn>
                <a:cxn ang="0">
                  <a:pos x="170" y="27"/>
                </a:cxn>
                <a:cxn ang="0">
                  <a:pos x="188" y="14"/>
                </a:cxn>
                <a:cxn ang="0">
                  <a:pos x="192" y="0"/>
                </a:cxn>
                <a:cxn ang="0">
                  <a:pos x="215" y="27"/>
                </a:cxn>
                <a:cxn ang="0">
                  <a:pos x="219" y="36"/>
                </a:cxn>
                <a:cxn ang="0">
                  <a:pos x="237" y="72"/>
                </a:cxn>
                <a:cxn ang="0">
                  <a:pos x="228" y="85"/>
                </a:cxn>
                <a:cxn ang="0">
                  <a:pos x="219" y="112"/>
                </a:cxn>
                <a:cxn ang="0">
                  <a:pos x="215" y="139"/>
                </a:cxn>
                <a:cxn ang="0">
                  <a:pos x="197" y="157"/>
                </a:cxn>
                <a:cxn ang="0">
                  <a:pos x="188" y="188"/>
                </a:cxn>
                <a:cxn ang="0">
                  <a:pos x="179" y="224"/>
                </a:cxn>
                <a:cxn ang="0">
                  <a:pos x="165" y="237"/>
                </a:cxn>
                <a:cxn ang="0">
                  <a:pos x="192" y="255"/>
                </a:cxn>
                <a:cxn ang="0">
                  <a:pos x="201" y="268"/>
                </a:cxn>
                <a:cxn ang="0">
                  <a:pos x="179" y="277"/>
                </a:cxn>
                <a:cxn ang="0">
                  <a:pos x="170" y="286"/>
                </a:cxn>
                <a:cxn ang="0">
                  <a:pos x="152" y="291"/>
                </a:cxn>
                <a:cxn ang="0">
                  <a:pos x="134" y="286"/>
                </a:cxn>
                <a:cxn ang="0">
                  <a:pos x="116" y="277"/>
                </a:cxn>
                <a:cxn ang="0">
                  <a:pos x="81" y="273"/>
                </a:cxn>
                <a:cxn ang="0">
                  <a:pos x="67" y="255"/>
                </a:cxn>
                <a:cxn ang="0">
                  <a:pos x="40" y="224"/>
                </a:cxn>
                <a:cxn ang="0">
                  <a:pos x="23" y="215"/>
                </a:cxn>
                <a:cxn ang="0">
                  <a:pos x="14" y="183"/>
                </a:cxn>
              </a:cxnLst>
              <a:rect l="0" t="0" r="r" b="b"/>
              <a:pathLst>
                <a:path w="241" h="291">
                  <a:moveTo>
                    <a:pt x="14" y="183"/>
                  </a:moveTo>
                  <a:lnTo>
                    <a:pt x="9" y="174"/>
                  </a:lnTo>
                  <a:lnTo>
                    <a:pt x="9" y="170"/>
                  </a:lnTo>
                  <a:lnTo>
                    <a:pt x="0" y="157"/>
                  </a:lnTo>
                  <a:lnTo>
                    <a:pt x="5" y="143"/>
                  </a:lnTo>
                  <a:lnTo>
                    <a:pt x="14" y="139"/>
                  </a:lnTo>
                  <a:lnTo>
                    <a:pt x="9" y="134"/>
                  </a:lnTo>
                  <a:lnTo>
                    <a:pt x="14" y="130"/>
                  </a:lnTo>
                  <a:lnTo>
                    <a:pt x="14" y="121"/>
                  </a:lnTo>
                  <a:lnTo>
                    <a:pt x="27" y="116"/>
                  </a:lnTo>
                  <a:lnTo>
                    <a:pt x="27" y="58"/>
                  </a:lnTo>
                  <a:lnTo>
                    <a:pt x="27" y="49"/>
                  </a:lnTo>
                  <a:lnTo>
                    <a:pt x="49" y="49"/>
                  </a:lnTo>
                  <a:lnTo>
                    <a:pt x="45" y="23"/>
                  </a:lnTo>
                  <a:lnTo>
                    <a:pt x="165" y="18"/>
                  </a:lnTo>
                  <a:lnTo>
                    <a:pt x="170" y="27"/>
                  </a:lnTo>
                  <a:lnTo>
                    <a:pt x="183" y="14"/>
                  </a:lnTo>
                  <a:lnTo>
                    <a:pt x="188" y="14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215" y="14"/>
                  </a:lnTo>
                  <a:lnTo>
                    <a:pt x="215" y="27"/>
                  </a:lnTo>
                  <a:lnTo>
                    <a:pt x="224" y="31"/>
                  </a:lnTo>
                  <a:lnTo>
                    <a:pt x="219" y="36"/>
                  </a:lnTo>
                  <a:lnTo>
                    <a:pt x="224" y="67"/>
                  </a:lnTo>
                  <a:lnTo>
                    <a:pt x="237" y="72"/>
                  </a:lnTo>
                  <a:lnTo>
                    <a:pt x="241" y="81"/>
                  </a:lnTo>
                  <a:lnTo>
                    <a:pt x="228" y="85"/>
                  </a:lnTo>
                  <a:lnTo>
                    <a:pt x="219" y="94"/>
                  </a:lnTo>
                  <a:lnTo>
                    <a:pt x="219" y="112"/>
                  </a:lnTo>
                  <a:lnTo>
                    <a:pt x="210" y="121"/>
                  </a:lnTo>
                  <a:lnTo>
                    <a:pt x="215" y="139"/>
                  </a:lnTo>
                  <a:lnTo>
                    <a:pt x="210" y="157"/>
                  </a:lnTo>
                  <a:lnTo>
                    <a:pt x="197" y="157"/>
                  </a:lnTo>
                  <a:lnTo>
                    <a:pt x="188" y="179"/>
                  </a:lnTo>
                  <a:lnTo>
                    <a:pt x="188" y="188"/>
                  </a:lnTo>
                  <a:lnTo>
                    <a:pt x="179" y="188"/>
                  </a:lnTo>
                  <a:lnTo>
                    <a:pt x="179" y="224"/>
                  </a:lnTo>
                  <a:lnTo>
                    <a:pt x="165" y="224"/>
                  </a:lnTo>
                  <a:lnTo>
                    <a:pt x="165" y="237"/>
                  </a:lnTo>
                  <a:lnTo>
                    <a:pt x="179" y="241"/>
                  </a:lnTo>
                  <a:lnTo>
                    <a:pt x="192" y="255"/>
                  </a:lnTo>
                  <a:lnTo>
                    <a:pt x="188" y="264"/>
                  </a:lnTo>
                  <a:lnTo>
                    <a:pt x="201" y="268"/>
                  </a:lnTo>
                  <a:lnTo>
                    <a:pt x="201" y="277"/>
                  </a:lnTo>
                  <a:lnTo>
                    <a:pt x="179" y="277"/>
                  </a:lnTo>
                  <a:lnTo>
                    <a:pt x="174" y="282"/>
                  </a:lnTo>
                  <a:lnTo>
                    <a:pt x="170" y="286"/>
                  </a:lnTo>
                  <a:lnTo>
                    <a:pt x="161" y="286"/>
                  </a:lnTo>
                  <a:lnTo>
                    <a:pt x="152" y="291"/>
                  </a:lnTo>
                  <a:lnTo>
                    <a:pt x="143" y="286"/>
                  </a:lnTo>
                  <a:lnTo>
                    <a:pt x="134" y="286"/>
                  </a:lnTo>
                  <a:lnTo>
                    <a:pt x="130" y="291"/>
                  </a:lnTo>
                  <a:lnTo>
                    <a:pt x="116" y="277"/>
                  </a:lnTo>
                  <a:lnTo>
                    <a:pt x="94" y="282"/>
                  </a:lnTo>
                  <a:lnTo>
                    <a:pt x="81" y="273"/>
                  </a:lnTo>
                  <a:lnTo>
                    <a:pt x="81" y="259"/>
                  </a:lnTo>
                  <a:lnTo>
                    <a:pt x="67" y="255"/>
                  </a:lnTo>
                  <a:lnTo>
                    <a:pt x="54" y="228"/>
                  </a:lnTo>
                  <a:lnTo>
                    <a:pt x="40" y="224"/>
                  </a:lnTo>
                  <a:lnTo>
                    <a:pt x="36" y="219"/>
                  </a:lnTo>
                  <a:lnTo>
                    <a:pt x="23" y="215"/>
                  </a:lnTo>
                  <a:lnTo>
                    <a:pt x="18" y="201"/>
                  </a:lnTo>
                  <a:lnTo>
                    <a:pt x="14" y="18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9" name="Freeform 51">
              <a:extLst>
                <a:ext uri="{FF2B5EF4-FFF2-40B4-BE49-F238E27FC236}">
                  <a16:creationId xmlns:a16="http://schemas.microsoft.com/office/drawing/2014/main" id="{5CAAA7E8-2650-43A3-9B88-B2F7539FB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4216" y="5207471"/>
              <a:ext cx="36639" cy="40000"/>
            </a:xfrm>
            <a:custGeom>
              <a:avLst/>
              <a:gdLst/>
              <a:ahLst/>
              <a:cxnLst>
                <a:cxn ang="0">
                  <a:pos x="23" y="22"/>
                </a:cxn>
                <a:cxn ang="0">
                  <a:pos x="18" y="27"/>
                </a:cxn>
                <a:cxn ang="0">
                  <a:pos x="5" y="27"/>
                </a:cxn>
                <a:cxn ang="0">
                  <a:pos x="0" y="22"/>
                </a:cxn>
                <a:cxn ang="0">
                  <a:pos x="5" y="5"/>
                </a:cxn>
                <a:cxn ang="0">
                  <a:pos x="14" y="0"/>
                </a:cxn>
                <a:cxn ang="0">
                  <a:pos x="18" y="5"/>
                </a:cxn>
                <a:cxn ang="0">
                  <a:pos x="23" y="5"/>
                </a:cxn>
                <a:cxn ang="0">
                  <a:pos x="23" y="9"/>
                </a:cxn>
                <a:cxn ang="0">
                  <a:pos x="23" y="22"/>
                </a:cxn>
              </a:cxnLst>
              <a:rect l="0" t="0" r="r" b="b"/>
              <a:pathLst>
                <a:path w="23" h="27">
                  <a:moveTo>
                    <a:pt x="23" y="22"/>
                  </a:moveTo>
                  <a:lnTo>
                    <a:pt x="18" y="27"/>
                  </a:lnTo>
                  <a:lnTo>
                    <a:pt x="5" y="27"/>
                  </a:lnTo>
                  <a:lnTo>
                    <a:pt x="0" y="22"/>
                  </a:lnTo>
                  <a:lnTo>
                    <a:pt x="5" y="5"/>
                  </a:lnTo>
                  <a:lnTo>
                    <a:pt x="14" y="0"/>
                  </a:lnTo>
                  <a:lnTo>
                    <a:pt x="18" y="5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0" name="Freeform 52">
              <a:extLst>
                <a:ext uri="{FF2B5EF4-FFF2-40B4-BE49-F238E27FC236}">
                  <a16:creationId xmlns:a16="http://schemas.microsoft.com/office/drawing/2014/main" id="{72CF4970-A6BF-4DEE-AE64-C2338858DAD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48071" y="4386735"/>
              <a:ext cx="49383" cy="112592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4" y="0"/>
                </a:cxn>
                <a:cxn ang="0">
                  <a:pos x="0" y="9"/>
                </a:cxn>
                <a:cxn ang="0">
                  <a:pos x="8" y="13"/>
                </a:cxn>
                <a:cxn ang="0">
                  <a:pos x="8" y="36"/>
                </a:cxn>
                <a:cxn ang="0">
                  <a:pos x="4" y="40"/>
                </a:cxn>
                <a:cxn ang="0">
                  <a:pos x="8" y="54"/>
                </a:cxn>
                <a:cxn ang="0">
                  <a:pos x="8" y="62"/>
                </a:cxn>
                <a:cxn ang="0">
                  <a:pos x="13" y="71"/>
                </a:cxn>
                <a:cxn ang="0">
                  <a:pos x="17" y="76"/>
                </a:cxn>
                <a:cxn ang="0">
                  <a:pos x="31" y="76"/>
                </a:cxn>
                <a:cxn ang="0">
                  <a:pos x="26" y="62"/>
                </a:cxn>
                <a:cxn ang="0">
                  <a:pos x="26" y="36"/>
                </a:cxn>
                <a:cxn ang="0">
                  <a:pos x="22" y="36"/>
                </a:cxn>
                <a:cxn ang="0">
                  <a:pos x="22" y="22"/>
                </a:cxn>
                <a:cxn ang="0">
                  <a:pos x="13" y="13"/>
                </a:cxn>
                <a:cxn ang="0">
                  <a:pos x="13" y="0"/>
                </a:cxn>
              </a:cxnLst>
              <a:rect l="0" t="0" r="r" b="b"/>
              <a:pathLst>
                <a:path w="31" h="76">
                  <a:moveTo>
                    <a:pt x="13" y="0"/>
                  </a:moveTo>
                  <a:lnTo>
                    <a:pt x="4" y="0"/>
                  </a:lnTo>
                  <a:lnTo>
                    <a:pt x="0" y="9"/>
                  </a:lnTo>
                  <a:lnTo>
                    <a:pt x="8" y="13"/>
                  </a:lnTo>
                  <a:lnTo>
                    <a:pt x="8" y="36"/>
                  </a:lnTo>
                  <a:lnTo>
                    <a:pt x="4" y="40"/>
                  </a:lnTo>
                  <a:lnTo>
                    <a:pt x="8" y="54"/>
                  </a:lnTo>
                  <a:lnTo>
                    <a:pt x="8" y="62"/>
                  </a:lnTo>
                  <a:lnTo>
                    <a:pt x="13" y="71"/>
                  </a:lnTo>
                  <a:lnTo>
                    <a:pt x="17" y="76"/>
                  </a:lnTo>
                  <a:lnTo>
                    <a:pt x="31" y="76"/>
                  </a:lnTo>
                  <a:lnTo>
                    <a:pt x="26" y="62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22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1" name="Freeform 53">
              <a:extLst>
                <a:ext uri="{FF2B5EF4-FFF2-40B4-BE49-F238E27FC236}">
                  <a16:creationId xmlns:a16="http://schemas.microsoft.com/office/drawing/2014/main" id="{00C2AD05-298D-4DDC-9569-0D68ED5DB81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18523" y="3757109"/>
              <a:ext cx="98767" cy="198517"/>
            </a:xfrm>
            <a:custGeom>
              <a:avLst/>
              <a:gdLst/>
              <a:ahLst/>
              <a:cxnLst>
                <a:cxn ang="0">
                  <a:pos x="22" y="134"/>
                </a:cxn>
                <a:cxn ang="0">
                  <a:pos x="22" y="99"/>
                </a:cxn>
                <a:cxn ang="0">
                  <a:pos x="13" y="94"/>
                </a:cxn>
                <a:cxn ang="0">
                  <a:pos x="4" y="81"/>
                </a:cxn>
                <a:cxn ang="0">
                  <a:pos x="0" y="63"/>
                </a:cxn>
                <a:cxn ang="0">
                  <a:pos x="13" y="45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22" y="5"/>
                </a:cxn>
                <a:cxn ang="0">
                  <a:pos x="35" y="0"/>
                </a:cxn>
                <a:cxn ang="0">
                  <a:pos x="35" y="9"/>
                </a:cxn>
                <a:cxn ang="0">
                  <a:pos x="35" y="9"/>
                </a:cxn>
                <a:cxn ang="0">
                  <a:pos x="44" y="5"/>
                </a:cxn>
                <a:cxn ang="0">
                  <a:pos x="44" y="9"/>
                </a:cxn>
                <a:cxn ang="0">
                  <a:pos x="40" y="18"/>
                </a:cxn>
                <a:cxn ang="0">
                  <a:pos x="40" y="27"/>
                </a:cxn>
                <a:cxn ang="0">
                  <a:pos x="49" y="36"/>
                </a:cxn>
                <a:cxn ang="0">
                  <a:pos x="49" y="45"/>
                </a:cxn>
                <a:cxn ang="0">
                  <a:pos x="35" y="54"/>
                </a:cxn>
                <a:cxn ang="0">
                  <a:pos x="40" y="63"/>
                </a:cxn>
                <a:cxn ang="0">
                  <a:pos x="44" y="67"/>
                </a:cxn>
                <a:cxn ang="0">
                  <a:pos x="44" y="58"/>
                </a:cxn>
                <a:cxn ang="0">
                  <a:pos x="49" y="63"/>
                </a:cxn>
                <a:cxn ang="0">
                  <a:pos x="49" y="72"/>
                </a:cxn>
                <a:cxn ang="0">
                  <a:pos x="53" y="72"/>
                </a:cxn>
                <a:cxn ang="0">
                  <a:pos x="62" y="76"/>
                </a:cxn>
                <a:cxn ang="0">
                  <a:pos x="58" y="81"/>
                </a:cxn>
                <a:cxn ang="0">
                  <a:pos x="58" y="90"/>
                </a:cxn>
                <a:cxn ang="0">
                  <a:pos x="49" y="99"/>
                </a:cxn>
                <a:cxn ang="0">
                  <a:pos x="40" y="103"/>
                </a:cxn>
                <a:cxn ang="0">
                  <a:pos x="40" y="126"/>
                </a:cxn>
                <a:cxn ang="0">
                  <a:pos x="27" y="130"/>
                </a:cxn>
                <a:cxn ang="0">
                  <a:pos x="22" y="134"/>
                </a:cxn>
              </a:cxnLst>
              <a:rect l="0" t="0" r="r" b="b"/>
              <a:pathLst>
                <a:path w="62" h="134">
                  <a:moveTo>
                    <a:pt x="22" y="134"/>
                  </a:moveTo>
                  <a:lnTo>
                    <a:pt x="22" y="99"/>
                  </a:lnTo>
                  <a:lnTo>
                    <a:pt x="13" y="94"/>
                  </a:lnTo>
                  <a:lnTo>
                    <a:pt x="4" y="81"/>
                  </a:lnTo>
                  <a:lnTo>
                    <a:pt x="0" y="63"/>
                  </a:lnTo>
                  <a:lnTo>
                    <a:pt x="13" y="45"/>
                  </a:lnTo>
                  <a:lnTo>
                    <a:pt x="9" y="18"/>
                  </a:lnTo>
                  <a:lnTo>
                    <a:pt x="18" y="9"/>
                  </a:lnTo>
                  <a:lnTo>
                    <a:pt x="22" y="5"/>
                  </a:lnTo>
                  <a:lnTo>
                    <a:pt x="35" y="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44" y="5"/>
                  </a:lnTo>
                  <a:lnTo>
                    <a:pt x="44" y="9"/>
                  </a:lnTo>
                  <a:lnTo>
                    <a:pt x="40" y="18"/>
                  </a:lnTo>
                  <a:lnTo>
                    <a:pt x="40" y="27"/>
                  </a:lnTo>
                  <a:lnTo>
                    <a:pt x="49" y="36"/>
                  </a:lnTo>
                  <a:lnTo>
                    <a:pt x="49" y="45"/>
                  </a:lnTo>
                  <a:lnTo>
                    <a:pt x="35" y="54"/>
                  </a:lnTo>
                  <a:lnTo>
                    <a:pt x="40" y="63"/>
                  </a:lnTo>
                  <a:lnTo>
                    <a:pt x="44" y="67"/>
                  </a:lnTo>
                  <a:lnTo>
                    <a:pt x="44" y="58"/>
                  </a:lnTo>
                  <a:lnTo>
                    <a:pt x="49" y="63"/>
                  </a:lnTo>
                  <a:lnTo>
                    <a:pt x="49" y="72"/>
                  </a:lnTo>
                  <a:lnTo>
                    <a:pt x="53" y="72"/>
                  </a:lnTo>
                  <a:lnTo>
                    <a:pt x="62" y="76"/>
                  </a:lnTo>
                  <a:lnTo>
                    <a:pt x="58" y="81"/>
                  </a:lnTo>
                  <a:lnTo>
                    <a:pt x="58" y="90"/>
                  </a:lnTo>
                  <a:lnTo>
                    <a:pt x="49" y="99"/>
                  </a:lnTo>
                  <a:lnTo>
                    <a:pt x="40" y="103"/>
                  </a:lnTo>
                  <a:lnTo>
                    <a:pt x="40" y="126"/>
                  </a:lnTo>
                  <a:lnTo>
                    <a:pt x="27" y="130"/>
                  </a:lnTo>
                  <a:lnTo>
                    <a:pt x="22" y="13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2" name="Freeform 54">
              <a:extLst>
                <a:ext uri="{FF2B5EF4-FFF2-40B4-BE49-F238E27FC236}">
                  <a16:creationId xmlns:a16="http://schemas.microsoft.com/office/drawing/2014/main" id="{4FFB0AAA-F4B7-48F2-9BCC-9BF7C559BA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9879" y="4539327"/>
              <a:ext cx="114697" cy="125925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53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14" y="9"/>
                </a:cxn>
                <a:cxn ang="0">
                  <a:pos x="18" y="4"/>
                </a:cxn>
                <a:cxn ang="0">
                  <a:pos x="27" y="4"/>
                </a:cxn>
                <a:cxn ang="0">
                  <a:pos x="36" y="9"/>
                </a:cxn>
                <a:cxn ang="0">
                  <a:pos x="45" y="4"/>
                </a:cxn>
                <a:cxn ang="0">
                  <a:pos x="54" y="4"/>
                </a:cxn>
                <a:cxn ang="0">
                  <a:pos x="58" y="0"/>
                </a:cxn>
                <a:cxn ang="0">
                  <a:pos x="67" y="9"/>
                </a:cxn>
                <a:cxn ang="0">
                  <a:pos x="72" y="22"/>
                </a:cxn>
                <a:cxn ang="0">
                  <a:pos x="67" y="44"/>
                </a:cxn>
                <a:cxn ang="0">
                  <a:pos x="63" y="58"/>
                </a:cxn>
                <a:cxn ang="0">
                  <a:pos x="49" y="58"/>
                </a:cxn>
                <a:cxn ang="0">
                  <a:pos x="32" y="62"/>
                </a:cxn>
                <a:cxn ang="0">
                  <a:pos x="32" y="76"/>
                </a:cxn>
                <a:cxn ang="0">
                  <a:pos x="9" y="80"/>
                </a:cxn>
                <a:cxn ang="0">
                  <a:pos x="0" y="85"/>
                </a:cxn>
              </a:cxnLst>
              <a:rect l="0" t="0" r="r" b="b"/>
              <a:pathLst>
                <a:path w="72" h="85">
                  <a:moveTo>
                    <a:pt x="0" y="85"/>
                  </a:moveTo>
                  <a:lnTo>
                    <a:pt x="0" y="53"/>
                  </a:lnTo>
                  <a:lnTo>
                    <a:pt x="18" y="31"/>
                  </a:lnTo>
                  <a:lnTo>
                    <a:pt x="14" y="27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4"/>
                  </a:lnTo>
                  <a:lnTo>
                    <a:pt x="36" y="9"/>
                  </a:lnTo>
                  <a:lnTo>
                    <a:pt x="45" y="4"/>
                  </a:lnTo>
                  <a:lnTo>
                    <a:pt x="54" y="4"/>
                  </a:lnTo>
                  <a:lnTo>
                    <a:pt x="58" y="0"/>
                  </a:lnTo>
                  <a:lnTo>
                    <a:pt x="67" y="9"/>
                  </a:lnTo>
                  <a:lnTo>
                    <a:pt x="72" y="22"/>
                  </a:lnTo>
                  <a:lnTo>
                    <a:pt x="67" y="44"/>
                  </a:lnTo>
                  <a:lnTo>
                    <a:pt x="63" y="58"/>
                  </a:lnTo>
                  <a:lnTo>
                    <a:pt x="49" y="58"/>
                  </a:lnTo>
                  <a:lnTo>
                    <a:pt x="32" y="62"/>
                  </a:lnTo>
                  <a:lnTo>
                    <a:pt x="32" y="76"/>
                  </a:lnTo>
                  <a:lnTo>
                    <a:pt x="9" y="8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3" name="Freeform 55">
              <a:extLst>
                <a:ext uri="{FF2B5EF4-FFF2-40B4-BE49-F238E27FC236}">
                  <a16:creationId xmlns:a16="http://schemas.microsoft.com/office/drawing/2014/main" id="{000902EF-487A-4DF5-BCDA-F91FA9EC4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8810" y="3909700"/>
              <a:ext cx="250103" cy="251851"/>
            </a:xfrm>
            <a:custGeom>
              <a:avLst/>
              <a:gdLst/>
              <a:ahLst/>
              <a:cxnLst>
                <a:cxn ang="0">
                  <a:pos x="5" y="166"/>
                </a:cxn>
                <a:cxn ang="0">
                  <a:pos x="5" y="40"/>
                </a:cxn>
                <a:cxn ang="0">
                  <a:pos x="0" y="31"/>
                </a:cxn>
                <a:cxn ang="0">
                  <a:pos x="5" y="23"/>
                </a:cxn>
                <a:cxn ang="0">
                  <a:pos x="0" y="14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36" y="5"/>
                </a:cxn>
                <a:cxn ang="0">
                  <a:pos x="45" y="5"/>
                </a:cxn>
                <a:cxn ang="0">
                  <a:pos x="63" y="14"/>
                </a:cxn>
                <a:cxn ang="0">
                  <a:pos x="72" y="9"/>
                </a:cxn>
                <a:cxn ang="0">
                  <a:pos x="81" y="9"/>
                </a:cxn>
                <a:cxn ang="0">
                  <a:pos x="81" y="5"/>
                </a:cxn>
                <a:cxn ang="0">
                  <a:pos x="94" y="0"/>
                </a:cxn>
                <a:cxn ang="0">
                  <a:pos x="103" y="5"/>
                </a:cxn>
                <a:cxn ang="0">
                  <a:pos x="108" y="14"/>
                </a:cxn>
                <a:cxn ang="0">
                  <a:pos x="125" y="14"/>
                </a:cxn>
                <a:cxn ang="0">
                  <a:pos x="139" y="5"/>
                </a:cxn>
                <a:cxn ang="0">
                  <a:pos x="143" y="9"/>
                </a:cxn>
                <a:cxn ang="0">
                  <a:pos x="139" y="18"/>
                </a:cxn>
                <a:cxn ang="0">
                  <a:pos x="148" y="40"/>
                </a:cxn>
                <a:cxn ang="0">
                  <a:pos x="143" y="40"/>
                </a:cxn>
                <a:cxn ang="0">
                  <a:pos x="134" y="58"/>
                </a:cxn>
                <a:cxn ang="0">
                  <a:pos x="134" y="67"/>
                </a:cxn>
                <a:cxn ang="0">
                  <a:pos x="130" y="63"/>
                </a:cxn>
                <a:cxn ang="0">
                  <a:pos x="117" y="40"/>
                </a:cxn>
                <a:cxn ang="0">
                  <a:pos x="112" y="36"/>
                </a:cxn>
                <a:cxn ang="0">
                  <a:pos x="108" y="36"/>
                </a:cxn>
                <a:cxn ang="0">
                  <a:pos x="112" y="45"/>
                </a:cxn>
                <a:cxn ang="0">
                  <a:pos x="125" y="63"/>
                </a:cxn>
                <a:cxn ang="0">
                  <a:pos x="130" y="76"/>
                </a:cxn>
                <a:cxn ang="0">
                  <a:pos x="130" y="81"/>
                </a:cxn>
                <a:cxn ang="0">
                  <a:pos x="148" y="121"/>
                </a:cxn>
                <a:cxn ang="0">
                  <a:pos x="157" y="130"/>
                </a:cxn>
                <a:cxn ang="0">
                  <a:pos x="152" y="130"/>
                </a:cxn>
                <a:cxn ang="0">
                  <a:pos x="152" y="143"/>
                </a:cxn>
                <a:cxn ang="0">
                  <a:pos x="152" y="143"/>
                </a:cxn>
                <a:cxn ang="0">
                  <a:pos x="148" y="157"/>
                </a:cxn>
                <a:cxn ang="0">
                  <a:pos x="143" y="157"/>
                </a:cxn>
                <a:cxn ang="0">
                  <a:pos x="130" y="170"/>
                </a:cxn>
                <a:cxn ang="0">
                  <a:pos x="125" y="161"/>
                </a:cxn>
                <a:cxn ang="0">
                  <a:pos x="5" y="166"/>
                </a:cxn>
              </a:cxnLst>
              <a:rect l="0" t="0" r="r" b="b"/>
              <a:pathLst>
                <a:path w="157" h="170">
                  <a:moveTo>
                    <a:pt x="5" y="166"/>
                  </a:moveTo>
                  <a:lnTo>
                    <a:pt x="5" y="40"/>
                  </a:lnTo>
                  <a:lnTo>
                    <a:pt x="0" y="31"/>
                  </a:lnTo>
                  <a:lnTo>
                    <a:pt x="5" y="23"/>
                  </a:lnTo>
                  <a:lnTo>
                    <a:pt x="0" y="14"/>
                  </a:lnTo>
                  <a:lnTo>
                    <a:pt x="9" y="0"/>
                  </a:lnTo>
                  <a:lnTo>
                    <a:pt x="18" y="0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63" y="14"/>
                  </a:lnTo>
                  <a:lnTo>
                    <a:pt x="72" y="9"/>
                  </a:lnTo>
                  <a:lnTo>
                    <a:pt x="81" y="9"/>
                  </a:lnTo>
                  <a:lnTo>
                    <a:pt x="81" y="5"/>
                  </a:lnTo>
                  <a:lnTo>
                    <a:pt x="94" y="0"/>
                  </a:lnTo>
                  <a:lnTo>
                    <a:pt x="103" y="5"/>
                  </a:lnTo>
                  <a:lnTo>
                    <a:pt x="108" y="14"/>
                  </a:lnTo>
                  <a:lnTo>
                    <a:pt x="125" y="14"/>
                  </a:lnTo>
                  <a:lnTo>
                    <a:pt x="139" y="5"/>
                  </a:lnTo>
                  <a:lnTo>
                    <a:pt x="143" y="9"/>
                  </a:lnTo>
                  <a:lnTo>
                    <a:pt x="139" y="18"/>
                  </a:lnTo>
                  <a:lnTo>
                    <a:pt x="148" y="40"/>
                  </a:lnTo>
                  <a:lnTo>
                    <a:pt x="143" y="40"/>
                  </a:lnTo>
                  <a:lnTo>
                    <a:pt x="134" y="58"/>
                  </a:lnTo>
                  <a:lnTo>
                    <a:pt x="134" y="67"/>
                  </a:lnTo>
                  <a:lnTo>
                    <a:pt x="130" y="63"/>
                  </a:lnTo>
                  <a:lnTo>
                    <a:pt x="117" y="40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5"/>
                  </a:lnTo>
                  <a:lnTo>
                    <a:pt x="125" y="63"/>
                  </a:lnTo>
                  <a:lnTo>
                    <a:pt x="130" y="76"/>
                  </a:lnTo>
                  <a:lnTo>
                    <a:pt x="130" y="81"/>
                  </a:lnTo>
                  <a:lnTo>
                    <a:pt x="148" y="121"/>
                  </a:lnTo>
                  <a:lnTo>
                    <a:pt x="157" y="130"/>
                  </a:lnTo>
                  <a:lnTo>
                    <a:pt x="152" y="130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57"/>
                  </a:lnTo>
                  <a:lnTo>
                    <a:pt x="143" y="157"/>
                  </a:lnTo>
                  <a:lnTo>
                    <a:pt x="130" y="170"/>
                  </a:lnTo>
                  <a:lnTo>
                    <a:pt x="125" y="161"/>
                  </a:lnTo>
                  <a:lnTo>
                    <a:pt x="5" y="16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4" name="Freeform 57">
              <a:extLst>
                <a:ext uri="{FF2B5EF4-FFF2-40B4-BE49-F238E27FC236}">
                  <a16:creationId xmlns:a16="http://schemas.microsoft.com/office/drawing/2014/main" id="{1B828CE7-519D-4F41-BD12-585EBFA40C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9037" y="4300809"/>
              <a:ext cx="178417" cy="131851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9" y="45"/>
                </a:cxn>
                <a:cxn ang="0">
                  <a:pos x="18" y="40"/>
                </a:cxn>
                <a:cxn ang="0">
                  <a:pos x="22" y="22"/>
                </a:cxn>
                <a:cxn ang="0">
                  <a:pos x="31" y="27"/>
                </a:cxn>
                <a:cxn ang="0">
                  <a:pos x="67" y="0"/>
                </a:cxn>
                <a:cxn ang="0">
                  <a:pos x="85" y="4"/>
                </a:cxn>
                <a:cxn ang="0">
                  <a:pos x="85" y="13"/>
                </a:cxn>
                <a:cxn ang="0">
                  <a:pos x="94" y="27"/>
                </a:cxn>
                <a:cxn ang="0">
                  <a:pos x="94" y="36"/>
                </a:cxn>
                <a:cxn ang="0">
                  <a:pos x="103" y="40"/>
                </a:cxn>
                <a:cxn ang="0">
                  <a:pos x="112" y="36"/>
                </a:cxn>
                <a:cxn ang="0">
                  <a:pos x="112" y="49"/>
                </a:cxn>
                <a:cxn ang="0">
                  <a:pos x="103" y="58"/>
                </a:cxn>
                <a:cxn ang="0">
                  <a:pos x="94" y="58"/>
                </a:cxn>
                <a:cxn ang="0">
                  <a:pos x="85" y="58"/>
                </a:cxn>
                <a:cxn ang="0">
                  <a:pos x="81" y="58"/>
                </a:cxn>
                <a:cxn ang="0">
                  <a:pos x="72" y="62"/>
                </a:cxn>
                <a:cxn ang="0">
                  <a:pos x="40" y="62"/>
                </a:cxn>
                <a:cxn ang="0">
                  <a:pos x="40" y="76"/>
                </a:cxn>
                <a:cxn ang="0">
                  <a:pos x="40" y="89"/>
                </a:cxn>
                <a:cxn ang="0">
                  <a:pos x="36" y="85"/>
                </a:cxn>
                <a:cxn ang="0">
                  <a:pos x="31" y="80"/>
                </a:cxn>
                <a:cxn ang="0">
                  <a:pos x="18" y="85"/>
                </a:cxn>
                <a:cxn ang="0">
                  <a:pos x="0" y="71"/>
                </a:cxn>
              </a:cxnLst>
              <a:rect l="0" t="0" r="r" b="b"/>
              <a:pathLst>
                <a:path w="112" h="89">
                  <a:moveTo>
                    <a:pt x="0" y="71"/>
                  </a:moveTo>
                  <a:lnTo>
                    <a:pt x="9" y="45"/>
                  </a:lnTo>
                  <a:lnTo>
                    <a:pt x="18" y="40"/>
                  </a:lnTo>
                  <a:lnTo>
                    <a:pt x="22" y="22"/>
                  </a:lnTo>
                  <a:lnTo>
                    <a:pt x="31" y="27"/>
                  </a:lnTo>
                  <a:lnTo>
                    <a:pt x="67" y="0"/>
                  </a:lnTo>
                  <a:lnTo>
                    <a:pt x="85" y="4"/>
                  </a:lnTo>
                  <a:lnTo>
                    <a:pt x="85" y="13"/>
                  </a:lnTo>
                  <a:lnTo>
                    <a:pt x="94" y="27"/>
                  </a:lnTo>
                  <a:lnTo>
                    <a:pt x="94" y="36"/>
                  </a:lnTo>
                  <a:lnTo>
                    <a:pt x="103" y="40"/>
                  </a:lnTo>
                  <a:lnTo>
                    <a:pt x="112" y="36"/>
                  </a:lnTo>
                  <a:lnTo>
                    <a:pt x="112" y="49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85" y="58"/>
                  </a:lnTo>
                  <a:lnTo>
                    <a:pt x="81" y="58"/>
                  </a:lnTo>
                  <a:lnTo>
                    <a:pt x="72" y="62"/>
                  </a:lnTo>
                  <a:lnTo>
                    <a:pt x="40" y="62"/>
                  </a:lnTo>
                  <a:lnTo>
                    <a:pt x="40" y="76"/>
                  </a:lnTo>
                  <a:lnTo>
                    <a:pt x="40" y="89"/>
                  </a:lnTo>
                  <a:lnTo>
                    <a:pt x="36" y="85"/>
                  </a:lnTo>
                  <a:lnTo>
                    <a:pt x="31" y="80"/>
                  </a:lnTo>
                  <a:lnTo>
                    <a:pt x="18" y="85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5" name="Freeform 58">
              <a:extLst>
                <a:ext uri="{FF2B5EF4-FFF2-40B4-BE49-F238E27FC236}">
                  <a16:creationId xmlns:a16="http://schemas.microsoft.com/office/drawing/2014/main" id="{4291D7A6-D027-447F-887A-25B53560C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5090" y="4816362"/>
              <a:ext cx="270812" cy="211851"/>
            </a:xfrm>
            <a:custGeom>
              <a:avLst/>
              <a:gdLst/>
              <a:ahLst/>
              <a:cxnLst>
                <a:cxn ang="0">
                  <a:pos x="23" y="134"/>
                </a:cxn>
                <a:cxn ang="0">
                  <a:pos x="0" y="112"/>
                </a:cxn>
                <a:cxn ang="0">
                  <a:pos x="5" y="67"/>
                </a:cxn>
                <a:cxn ang="0">
                  <a:pos x="27" y="63"/>
                </a:cxn>
                <a:cxn ang="0">
                  <a:pos x="31" y="54"/>
                </a:cxn>
                <a:cxn ang="0">
                  <a:pos x="31" y="32"/>
                </a:cxn>
                <a:cxn ang="0">
                  <a:pos x="40" y="41"/>
                </a:cxn>
                <a:cxn ang="0">
                  <a:pos x="49" y="36"/>
                </a:cxn>
                <a:cxn ang="0">
                  <a:pos x="58" y="50"/>
                </a:cxn>
                <a:cxn ang="0">
                  <a:pos x="81" y="45"/>
                </a:cxn>
                <a:cxn ang="0">
                  <a:pos x="85" y="54"/>
                </a:cxn>
                <a:cxn ang="0">
                  <a:pos x="94" y="58"/>
                </a:cxn>
                <a:cxn ang="0">
                  <a:pos x="103" y="67"/>
                </a:cxn>
                <a:cxn ang="0">
                  <a:pos x="121" y="67"/>
                </a:cxn>
                <a:cxn ang="0">
                  <a:pos x="121" y="50"/>
                </a:cxn>
                <a:cxn ang="0">
                  <a:pos x="107" y="58"/>
                </a:cxn>
                <a:cxn ang="0">
                  <a:pos x="94" y="45"/>
                </a:cxn>
                <a:cxn ang="0">
                  <a:pos x="98" y="18"/>
                </a:cxn>
                <a:cxn ang="0">
                  <a:pos x="103" y="5"/>
                </a:cxn>
                <a:cxn ang="0">
                  <a:pos x="125" y="0"/>
                </a:cxn>
                <a:cxn ang="0">
                  <a:pos x="125" y="5"/>
                </a:cxn>
                <a:cxn ang="0">
                  <a:pos x="134" y="5"/>
                </a:cxn>
                <a:cxn ang="0">
                  <a:pos x="139" y="0"/>
                </a:cxn>
                <a:cxn ang="0">
                  <a:pos x="148" y="9"/>
                </a:cxn>
                <a:cxn ang="0">
                  <a:pos x="161" y="14"/>
                </a:cxn>
                <a:cxn ang="0">
                  <a:pos x="170" y="27"/>
                </a:cxn>
                <a:cxn ang="0">
                  <a:pos x="170" y="36"/>
                </a:cxn>
                <a:cxn ang="0">
                  <a:pos x="165" y="36"/>
                </a:cxn>
                <a:cxn ang="0">
                  <a:pos x="165" y="58"/>
                </a:cxn>
                <a:cxn ang="0">
                  <a:pos x="161" y="63"/>
                </a:cxn>
                <a:cxn ang="0">
                  <a:pos x="157" y="76"/>
                </a:cxn>
                <a:cxn ang="0">
                  <a:pos x="161" y="81"/>
                </a:cxn>
                <a:cxn ang="0">
                  <a:pos x="125" y="99"/>
                </a:cxn>
                <a:cxn ang="0">
                  <a:pos x="125" y="108"/>
                </a:cxn>
                <a:cxn ang="0">
                  <a:pos x="107" y="112"/>
                </a:cxn>
                <a:cxn ang="0">
                  <a:pos x="103" y="117"/>
                </a:cxn>
                <a:cxn ang="0">
                  <a:pos x="90" y="126"/>
                </a:cxn>
                <a:cxn ang="0">
                  <a:pos x="72" y="143"/>
                </a:cxn>
                <a:cxn ang="0">
                  <a:pos x="45" y="139"/>
                </a:cxn>
                <a:cxn ang="0">
                  <a:pos x="31" y="130"/>
                </a:cxn>
                <a:cxn ang="0">
                  <a:pos x="23" y="134"/>
                </a:cxn>
              </a:cxnLst>
              <a:rect l="0" t="0" r="r" b="b"/>
              <a:pathLst>
                <a:path w="170" h="143">
                  <a:moveTo>
                    <a:pt x="23" y="134"/>
                  </a:moveTo>
                  <a:lnTo>
                    <a:pt x="0" y="112"/>
                  </a:lnTo>
                  <a:lnTo>
                    <a:pt x="5" y="67"/>
                  </a:lnTo>
                  <a:lnTo>
                    <a:pt x="27" y="63"/>
                  </a:lnTo>
                  <a:lnTo>
                    <a:pt x="31" y="54"/>
                  </a:lnTo>
                  <a:lnTo>
                    <a:pt x="31" y="32"/>
                  </a:lnTo>
                  <a:lnTo>
                    <a:pt x="40" y="41"/>
                  </a:lnTo>
                  <a:lnTo>
                    <a:pt x="49" y="36"/>
                  </a:lnTo>
                  <a:lnTo>
                    <a:pt x="58" y="50"/>
                  </a:lnTo>
                  <a:lnTo>
                    <a:pt x="81" y="45"/>
                  </a:lnTo>
                  <a:lnTo>
                    <a:pt x="85" y="54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21" y="67"/>
                  </a:lnTo>
                  <a:lnTo>
                    <a:pt x="121" y="50"/>
                  </a:lnTo>
                  <a:lnTo>
                    <a:pt x="107" y="58"/>
                  </a:lnTo>
                  <a:lnTo>
                    <a:pt x="94" y="45"/>
                  </a:lnTo>
                  <a:lnTo>
                    <a:pt x="98" y="18"/>
                  </a:lnTo>
                  <a:lnTo>
                    <a:pt x="103" y="5"/>
                  </a:lnTo>
                  <a:lnTo>
                    <a:pt x="125" y="0"/>
                  </a:lnTo>
                  <a:lnTo>
                    <a:pt x="125" y="5"/>
                  </a:lnTo>
                  <a:lnTo>
                    <a:pt x="134" y="5"/>
                  </a:lnTo>
                  <a:lnTo>
                    <a:pt x="139" y="0"/>
                  </a:lnTo>
                  <a:lnTo>
                    <a:pt x="148" y="9"/>
                  </a:lnTo>
                  <a:lnTo>
                    <a:pt x="161" y="14"/>
                  </a:lnTo>
                  <a:lnTo>
                    <a:pt x="170" y="27"/>
                  </a:lnTo>
                  <a:lnTo>
                    <a:pt x="170" y="36"/>
                  </a:lnTo>
                  <a:lnTo>
                    <a:pt x="165" y="36"/>
                  </a:lnTo>
                  <a:lnTo>
                    <a:pt x="165" y="58"/>
                  </a:lnTo>
                  <a:lnTo>
                    <a:pt x="161" y="63"/>
                  </a:lnTo>
                  <a:lnTo>
                    <a:pt x="157" y="76"/>
                  </a:lnTo>
                  <a:lnTo>
                    <a:pt x="161" y="81"/>
                  </a:lnTo>
                  <a:lnTo>
                    <a:pt x="125" y="99"/>
                  </a:lnTo>
                  <a:lnTo>
                    <a:pt x="125" y="108"/>
                  </a:lnTo>
                  <a:lnTo>
                    <a:pt x="107" y="112"/>
                  </a:lnTo>
                  <a:lnTo>
                    <a:pt x="103" y="117"/>
                  </a:lnTo>
                  <a:lnTo>
                    <a:pt x="90" y="126"/>
                  </a:lnTo>
                  <a:lnTo>
                    <a:pt x="72" y="143"/>
                  </a:lnTo>
                  <a:lnTo>
                    <a:pt x="45" y="139"/>
                  </a:lnTo>
                  <a:lnTo>
                    <a:pt x="31" y="130"/>
                  </a:lnTo>
                  <a:lnTo>
                    <a:pt x="23" y="13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6" name="Freeform 59">
              <a:extLst>
                <a:ext uri="{FF2B5EF4-FFF2-40B4-BE49-F238E27FC236}">
                  <a16:creationId xmlns:a16="http://schemas.microsoft.com/office/drawing/2014/main" id="{A103E3A0-FB95-424E-B042-8781A891C6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1502" y="4354142"/>
              <a:ext cx="28674" cy="1333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9" y="9"/>
                </a:cxn>
                <a:cxn ang="0">
                  <a:pos x="18" y="4"/>
                </a:cxn>
                <a:cxn ang="0">
                  <a:pos x="4" y="0"/>
                </a:cxn>
                <a:cxn ang="0">
                  <a:pos x="0" y="4"/>
                </a:cxn>
              </a:cxnLst>
              <a:rect l="0" t="0" r="r" b="b"/>
              <a:pathLst>
                <a:path w="18" h="9">
                  <a:moveTo>
                    <a:pt x="0" y="4"/>
                  </a:moveTo>
                  <a:lnTo>
                    <a:pt x="9" y="9"/>
                  </a:lnTo>
                  <a:lnTo>
                    <a:pt x="18" y="4"/>
                  </a:lnTo>
                  <a:lnTo>
                    <a:pt x="4" y="0"/>
                  </a:lnTo>
                  <a:lnTo>
                    <a:pt x="0" y="4"/>
                  </a:lnTo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7" name="Freeform 60">
              <a:extLst>
                <a:ext uri="{FF2B5EF4-FFF2-40B4-BE49-F238E27FC236}">
                  <a16:creationId xmlns:a16="http://schemas.microsoft.com/office/drawing/2014/main" id="{61EF2125-1C88-4883-AD91-6F835FFD6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4216" y="4816362"/>
              <a:ext cx="22302" cy="7407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9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9" y="5"/>
                  </a:lnTo>
                  <a:lnTo>
                    <a:pt x="0" y="5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8" name="Freeform 102">
              <a:extLst>
                <a:ext uri="{FF2B5EF4-FFF2-40B4-BE49-F238E27FC236}">
                  <a16:creationId xmlns:a16="http://schemas.microsoft.com/office/drawing/2014/main" id="{00761C4E-117B-4F34-B4BE-F1BE1015B7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7617" y="3731923"/>
              <a:ext cx="328160" cy="244443"/>
            </a:xfrm>
            <a:custGeom>
              <a:avLst/>
              <a:gdLst/>
              <a:ahLst/>
              <a:cxnLst>
                <a:cxn ang="0">
                  <a:pos x="5" y="156"/>
                </a:cxn>
                <a:cxn ang="0">
                  <a:pos x="14" y="160"/>
                </a:cxn>
                <a:cxn ang="0">
                  <a:pos x="27" y="165"/>
                </a:cxn>
                <a:cxn ang="0">
                  <a:pos x="81" y="160"/>
                </a:cxn>
                <a:cxn ang="0">
                  <a:pos x="85" y="138"/>
                </a:cxn>
                <a:cxn ang="0">
                  <a:pos x="89" y="129"/>
                </a:cxn>
                <a:cxn ang="0">
                  <a:pos x="103" y="129"/>
                </a:cxn>
                <a:cxn ang="0">
                  <a:pos x="112" y="120"/>
                </a:cxn>
                <a:cxn ang="0">
                  <a:pos x="121" y="125"/>
                </a:cxn>
                <a:cxn ang="0">
                  <a:pos x="125" y="120"/>
                </a:cxn>
                <a:cxn ang="0">
                  <a:pos x="125" y="107"/>
                </a:cxn>
                <a:cxn ang="0">
                  <a:pos x="125" y="102"/>
                </a:cxn>
                <a:cxn ang="0">
                  <a:pos x="139" y="93"/>
                </a:cxn>
                <a:cxn ang="0">
                  <a:pos x="134" y="84"/>
                </a:cxn>
                <a:cxn ang="0">
                  <a:pos x="148" y="80"/>
                </a:cxn>
                <a:cxn ang="0">
                  <a:pos x="156" y="62"/>
                </a:cxn>
                <a:cxn ang="0">
                  <a:pos x="152" y="53"/>
                </a:cxn>
                <a:cxn ang="0">
                  <a:pos x="156" y="44"/>
                </a:cxn>
                <a:cxn ang="0">
                  <a:pos x="174" y="35"/>
                </a:cxn>
                <a:cxn ang="0">
                  <a:pos x="197" y="31"/>
                </a:cxn>
                <a:cxn ang="0">
                  <a:pos x="201" y="31"/>
                </a:cxn>
                <a:cxn ang="0">
                  <a:pos x="206" y="26"/>
                </a:cxn>
                <a:cxn ang="0">
                  <a:pos x="179" y="22"/>
                </a:cxn>
                <a:cxn ang="0">
                  <a:pos x="156" y="35"/>
                </a:cxn>
                <a:cxn ang="0">
                  <a:pos x="161" y="17"/>
                </a:cxn>
                <a:cxn ang="0">
                  <a:pos x="156" y="4"/>
                </a:cxn>
                <a:cxn ang="0">
                  <a:pos x="152" y="0"/>
                </a:cxn>
                <a:cxn ang="0">
                  <a:pos x="139" y="17"/>
                </a:cxn>
                <a:cxn ang="0">
                  <a:pos x="134" y="17"/>
                </a:cxn>
                <a:cxn ang="0">
                  <a:pos x="121" y="22"/>
                </a:cxn>
                <a:cxn ang="0">
                  <a:pos x="107" y="26"/>
                </a:cxn>
                <a:cxn ang="0">
                  <a:pos x="103" y="26"/>
                </a:cxn>
                <a:cxn ang="0">
                  <a:pos x="85" y="26"/>
                </a:cxn>
                <a:cxn ang="0">
                  <a:pos x="76" y="22"/>
                </a:cxn>
                <a:cxn ang="0">
                  <a:pos x="67" y="26"/>
                </a:cxn>
                <a:cxn ang="0">
                  <a:pos x="58" y="44"/>
                </a:cxn>
                <a:cxn ang="0">
                  <a:pos x="40" y="49"/>
                </a:cxn>
                <a:cxn ang="0">
                  <a:pos x="27" y="62"/>
                </a:cxn>
                <a:cxn ang="0">
                  <a:pos x="22" y="53"/>
                </a:cxn>
                <a:cxn ang="0">
                  <a:pos x="9" y="53"/>
                </a:cxn>
                <a:cxn ang="0">
                  <a:pos x="0" y="80"/>
                </a:cxn>
                <a:cxn ang="0">
                  <a:pos x="5" y="89"/>
                </a:cxn>
                <a:cxn ang="0">
                  <a:pos x="5" y="125"/>
                </a:cxn>
                <a:cxn ang="0">
                  <a:pos x="14" y="125"/>
                </a:cxn>
                <a:cxn ang="0">
                  <a:pos x="18" y="138"/>
                </a:cxn>
                <a:cxn ang="0">
                  <a:pos x="9" y="143"/>
                </a:cxn>
                <a:cxn ang="0">
                  <a:pos x="5" y="156"/>
                </a:cxn>
              </a:cxnLst>
              <a:rect l="0" t="0" r="r" b="b"/>
              <a:pathLst>
                <a:path w="206" h="165">
                  <a:moveTo>
                    <a:pt x="5" y="156"/>
                  </a:moveTo>
                  <a:lnTo>
                    <a:pt x="14" y="160"/>
                  </a:lnTo>
                  <a:lnTo>
                    <a:pt x="27" y="165"/>
                  </a:lnTo>
                  <a:lnTo>
                    <a:pt x="81" y="160"/>
                  </a:lnTo>
                  <a:lnTo>
                    <a:pt x="85" y="138"/>
                  </a:lnTo>
                  <a:lnTo>
                    <a:pt x="89" y="129"/>
                  </a:lnTo>
                  <a:lnTo>
                    <a:pt x="103" y="129"/>
                  </a:lnTo>
                  <a:lnTo>
                    <a:pt x="112" y="120"/>
                  </a:lnTo>
                  <a:lnTo>
                    <a:pt x="121" y="125"/>
                  </a:lnTo>
                  <a:lnTo>
                    <a:pt x="125" y="120"/>
                  </a:lnTo>
                  <a:lnTo>
                    <a:pt x="125" y="107"/>
                  </a:lnTo>
                  <a:lnTo>
                    <a:pt x="125" y="102"/>
                  </a:lnTo>
                  <a:lnTo>
                    <a:pt x="139" y="93"/>
                  </a:lnTo>
                  <a:lnTo>
                    <a:pt x="134" y="84"/>
                  </a:lnTo>
                  <a:lnTo>
                    <a:pt x="148" y="80"/>
                  </a:lnTo>
                  <a:lnTo>
                    <a:pt x="156" y="62"/>
                  </a:lnTo>
                  <a:lnTo>
                    <a:pt x="152" y="53"/>
                  </a:lnTo>
                  <a:lnTo>
                    <a:pt x="156" y="44"/>
                  </a:lnTo>
                  <a:lnTo>
                    <a:pt x="174" y="35"/>
                  </a:lnTo>
                  <a:lnTo>
                    <a:pt x="197" y="31"/>
                  </a:lnTo>
                  <a:lnTo>
                    <a:pt x="201" y="31"/>
                  </a:lnTo>
                  <a:lnTo>
                    <a:pt x="206" y="26"/>
                  </a:lnTo>
                  <a:lnTo>
                    <a:pt x="179" y="22"/>
                  </a:lnTo>
                  <a:lnTo>
                    <a:pt x="156" y="35"/>
                  </a:lnTo>
                  <a:lnTo>
                    <a:pt x="161" y="17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9" y="17"/>
                  </a:lnTo>
                  <a:lnTo>
                    <a:pt x="134" y="17"/>
                  </a:lnTo>
                  <a:lnTo>
                    <a:pt x="121" y="22"/>
                  </a:lnTo>
                  <a:lnTo>
                    <a:pt x="107" y="26"/>
                  </a:lnTo>
                  <a:lnTo>
                    <a:pt x="103" y="26"/>
                  </a:lnTo>
                  <a:lnTo>
                    <a:pt x="85" y="26"/>
                  </a:lnTo>
                  <a:lnTo>
                    <a:pt x="76" y="22"/>
                  </a:lnTo>
                  <a:lnTo>
                    <a:pt x="67" y="26"/>
                  </a:lnTo>
                  <a:lnTo>
                    <a:pt x="58" y="44"/>
                  </a:lnTo>
                  <a:lnTo>
                    <a:pt x="40" y="49"/>
                  </a:lnTo>
                  <a:lnTo>
                    <a:pt x="27" y="62"/>
                  </a:lnTo>
                  <a:lnTo>
                    <a:pt x="22" y="53"/>
                  </a:lnTo>
                  <a:lnTo>
                    <a:pt x="9" y="53"/>
                  </a:lnTo>
                  <a:lnTo>
                    <a:pt x="0" y="80"/>
                  </a:lnTo>
                  <a:lnTo>
                    <a:pt x="5" y="89"/>
                  </a:lnTo>
                  <a:lnTo>
                    <a:pt x="5" y="125"/>
                  </a:lnTo>
                  <a:lnTo>
                    <a:pt x="14" y="125"/>
                  </a:lnTo>
                  <a:lnTo>
                    <a:pt x="18" y="138"/>
                  </a:lnTo>
                  <a:lnTo>
                    <a:pt x="9" y="143"/>
                  </a:lnTo>
                  <a:lnTo>
                    <a:pt x="5" y="15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9" name="Freeform 103">
              <a:extLst>
                <a:ext uri="{FF2B5EF4-FFF2-40B4-BE49-F238E27FC236}">
                  <a16:creationId xmlns:a16="http://schemas.microsoft.com/office/drawing/2014/main" id="{84B7BF6E-D862-4D64-AEDC-DCA7D8147E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64411" y="3631183"/>
              <a:ext cx="135406" cy="112592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8" y="63"/>
                </a:cxn>
                <a:cxn ang="0">
                  <a:pos x="23" y="68"/>
                </a:cxn>
                <a:cxn ang="0">
                  <a:pos x="23" y="54"/>
                </a:cxn>
                <a:cxn ang="0">
                  <a:pos x="18" y="54"/>
                </a:cxn>
                <a:cxn ang="0">
                  <a:pos x="14" y="54"/>
                </a:cxn>
                <a:cxn ang="0">
                  <a:pos x="5" y="50"/>
                </a:cxn>
                <a:cxn ang="0">
                  <a:pos x="0" y="50"/>
                </a:cxn>
                <a:cxn ang="0">
                  <a:pos x="5" y="23"/>
                </a:cxn>
                <a:cxn ang="0">
                  <a:pos x="9" y="23"/>
                </a:cxn>
                <a:cxn ang="0">
                  <a:pos x="5" y="23"/>
                </a:cxn>
                <a:cxn ang="0">
                  <a:pos x="9" y="27"/>
                </a:cxn>
                <a:cxn ang="0">
                  <a:pos x="14" y="23"/>
                </a:cxn>
                <a:cxn ang="0">
                  <a:pos x="14" y="27"/>
                </a:cxn>
                <a:cxn ang="0">
                  <a:pos x="14" y="32"/>
                </a:cxn>
                <a:cxn ang="0">
                  <a:pos x="9" y="32"/>
                </a:cxn>
                <a:cxn ang="0">
                  <a:pos x="23" y="41"/>
                </a:cxn>
                <a:cxn ang="0">
                  <a:pos x="18" y="45"/>
                </a:cxn>
                <a:cxn ang="0">
                  <a:pos x="27" y="50"/>
                </a:cxn>
                <a:cxn ang="0">
                  <a:pos x="27" y="54"/>
                </a:cxn>
                <a:cxn ang="0">
                  <a:pos x="32" y="54"/>
                </a:cxn>
                <a:cxn ang="0">
                  <a:pos x="32" y="59"/>
                </a:cxn>
                <a:cxn ang="0">
                  <a:pos x="27" y="59"/>
                </a:cxn>
                <a:cxn ang="0">
                  <a:pos x="27" y="63"/>
                </a:cxn>
                <a:cxn ang="0">
                  <a:pos x="49" y="50"/>
                </a:cxn>
                <a:cxn ang="0">
                  <a:pos x="54" y="54"/>
                </a:cxn>
                <a:cxn ang="0">
                  <a:pos x="54" y="68"/>
                </a:cxn>
                <a:cxn ang="0">
                  <a:pos x="67" y="76"/>
                </a:cxn>
                <a:cxn ang="0">
                  <a:pos x="67" y="63"/>
                </a:cxn>
                <a:cxn ang="0">
                  <a:pos x="63" y="54"/>
                </a:cxn>
                <a:cxn ang="0">
                  <a:pos x="67" y="54"/>
                </a:cxn>
                <a:cxn ang="0">
                  <a:pos x="72" y="59"/>
                </a:cxn>
                <a:cxn ang="0">
                  <a:pos x="76" y="41"/>
                </a:cxn>
                <a:cxn ang="0">
                  <a:pos x="85" y="36"/>
                </a:cxn>
                <a:cxn ang="0">
                  <a:pos x="81" y="27"/>
                </a:cxn>
                <a:cxn ang="0">
                  <a:pos x="76" y="32"/>
                </a:cxn>
                <a:cxn ang="0">
                  <a:pos x="67" y="23"/>
                </a:cxn>
                <a:cxn ang="0">
                  <a:pos x="63" y="9"/>
                </a:cxn>
                <a:cxn ang="0">
                  <a:pos x="54" y="14"/>
                </a:cxn>
                <a:cxn ang="0">
                  <a:pos x="54" y="14"/>
                </a:cxn>
                <a:cxn ang="0">
                  <a:pos x="49" y="18"/>
                </a:cxn>
                <a:cxn ang="0">
                  <a:pos x="45" y="18"/>
                </a:cxn>
                <a:cxn ang="0">
                  <a:pos x="36" y="5"/>
                </a:cxn>
                <a:cxn ang="0">
                  <a:pos x="32" y="5"/>
                </a:cxn>
                <a:cxn ang="0">
                  <a:pos x="27" y="0"/>
                </a:cxn>
                <a:cxn ang="0">
                  <a:pos x="23" y="9"/>
                </a:cxn>
                <a:cxn ang="0">
                  <a:pos x="27" y="14"/>
                </a:cxn>
                <a:cxn ang="0">
                  <a:pos x="36" y="18"/>
                </a:cxn>
                <a:cxn ang="0">
                  <a:pos x="32" y="23"/>
                </a:cxn>
                <a:cxn ang="0">
                  <a:pos x="27" y="18"/>
                </a:cxn>
                <a:cxn ang="0">
                  <a:pos x="18" y="23"/>
                </a:cxn>
                <a:cxn ang="0">
                  <a:pos x="9" y="18"/>
                </a:cxn>
                <a:cxn ang="0">
                  <a:pos x="5" y="23"/>
                </a:cxn>
              </a:cxnLst>
              <a:rect l="0" t="0" r="r" b="b"/>
              <a:pathLst>
                <a:path w="85" h="76">
                  <a:moveTo>
                    <a:pt x="0" y="50"/>
                  </a:moveTo>
                  <a:lnTo>
                    <a:pt x="18" y="63"/>
                  </a:lnTo>
                  <a:lnTo>
                    <a:pt x="23" y="68"/>
                  </a:lnTo>
                  <a:lnTo>
                    <a:pt x="23" y="54"/>
                  </a:lnTo>
                  <a:lnTo>
                    <a:pt x="18" y="54"/>
                  </a:lnTo>
                  <a:lnTo>
                    <a:pt x="14" y="54"/>
                  </a:lnTo>
                  <a:lnTo>
                    <a:pt x="5" y="50"/>
                  </a:lnTo>
                  <a:lnTo>
                    <a:pt x="0" y="50"/>
                  </a:lnTo>
                  <a:close/>
                  <a:moveTo>
                    <a:pt x="5" y="23"/>
                  </a:moveTo>
                  <a:lnTo>
                    <a:pt x="9" y="23"/>
                  </a:lnTo>
                  <a:lnTo>
                    <a:pt x="5" y="23"/>
                  </a:lnTo>
                  <a:lnTo>
                    <a:pt x="9" y="27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14" y="32"/>
                  </a:lnTo>
                  <a:lnTo>
                    <a:pt x="9" y="32"/>
                  </a:lnTo>
                  <a:lnTo>
                    <a:pt x="23" y="41"/>
                  </a:lnTo>
                  <a:lnTo>
                    <a:pt x="18" y="45"/>
                  </a:lnTo>
                  <a:lnTo>
                    <a:pt x="27" y="50"/>
                  </a:lnTo>
                  <a:lnTo>
                    <a:pt x="27" y="54"/>
                  </a:lnTo>
                  <a:lnTo>
                    <a:pt x="32" y="54"/>
                  </a:lnTo>
                  <a:lnTo>
                    <a:pt x="32" y="59"/>
                  </a:lnTo>
                  <a:lnTo>
                    <a:pt x="27" y="59"/>
                  </a:lnTo>
                  <a:lnTo>
                    <a:pt x="27" y="63"/>
                  </a:lnTo>
                  <a:lnTo>
                    <a:pt x="49" y="50"/>
                  </a:lnTo>
                  <a:lnTo>
                    <a:pt x="54" y="54"/>
                  </a:lnTo>
                  <a:lnTo>
                    <a:pt x="54" y="68"/>
                  </a:lnTo>
                  <a:lnTo>
                    <a:pt x="67" y="76"/>
                  </a:lnTo>
                  <a:lnTo>
                    <a:pt x="67" y="63"/>
                  </a:lnTo>
                  <a:lnTo>
                    <a:pt x="63" y="54"/>
                  </a:lnTo>
                  <a:lnTo>
                    <a:pt x="67" y="54"/>
                  </a:lnTo>
                  <a:lnTo>
                    <a:pt x="72" y="59"/>
                  </a:lnTo>
                  <a:lnTo>
                    <a:pt x="76" y="41"/>
                  </a:lnTo>
                  <a:lnTo>
                    <a:pt x="85" y="36"/>
                  </a:lnTo>
                  <a:lnTo>
                    <a:pt x="81" y="27"/>
                  </a:lnTo>
                  <a:lnTo>
                    <a:pt x="76" y="32"/>
                  </a:lnTo>
                  <a:lnTo>
                    <a:pt x="67" y="23"/>
                  </a:lnTo>
                  <a:lnTo>
                    <a:pt x="63" y="9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49" y="18"/>
                  </a:lnTo>
                  <a:lnTo>
                    <a:pt x="45" y="18"/>
                  </a:lnTo>
                  <a:lnTo>
                    <a:pt x="36" y="5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27" y="14"/>
                  </a:lnTo>
                  <a:lnTo>
                    <a:pt x="36" y="18"/>
                  </a:lnTo>
                  <a:lnTo>
                    <a:pt x="32" y="23"/>
                  </a:lnTo>
                  <a:lnTo>
                    <a:pt x="27" y="18"/>
                  </a:lnTo>
                  <a:lnTo>
                    <a:pt x="18" y="23"/>
                  </a:lnTo>
                  <a:lnTo>
                    <a:pt x="9" y="18"/>
                  </a:lnTo>
                  <a:lnTo>
                    <a:pt x="5" y="2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0" name="Freeform 104">
              <a:extLst>
                <a:ext uri="{FF2B5EF4-FFF2-40B4-BE49-F238E27FC236}">
                  <a16:creationId xmlns:a16="http://schemas.microsoft.com/office/drawing/2014/main" id="{509DA62B-EB3D-41F5-8975-DE8D20A13D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3445" y="4043033"/>
              <a:ext cx="14337" cy="1185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9" y="0"/>
                </a:cxn>
                <a:cxn ang="0">
                  <a:pos x="4" y="0"/>
                </a:cxn>
              </a:cxnLst>
              <a:rect l="0" t="0" r="r" b="b"/>
              <a:pathLst>
                <a:path w="9" h="8">
                  <a:moveTo>
                    <a:pt x="4" y="0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1" name="Freeform 106">
              <a:extLst>
                <a:ext uri="{FF2B5EF4-FFF2-40B4-BE49-F238E27FC236}">
                  <a16:creationId xmlns:a16="http://schemas.microsoft.com/office/drawing/2014/main" id="{BA9925C3-CAE9-44F3-8227-2F3013AB293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5737" y="3657850"/>
              <a:ext cx="79651" cy="74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8"/>
                </a:cxn>
                <a:cxn ang="0">
                  <a:pos x="14" y="23"/>
                </a:cxn>
                <a:cxn ang="0">
                  <a:pos x="18" y="32"/>
                </a:cxn>
                <a:cxn ang="0">
                  <a:pos x="23" y="32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41" y="36"/>
                </a:cxn>
                <a:cxn ang="0">
                  <a:pos x="41" y="50"/>
                </a:cxn>
                <a:cxn ang="0">
                  <a:pos x="45" y="50"/>
                </a:cxn>
                <a:cxn ang="0">
                  <a:pos x="45" y="45"/>
                </a:cxn>
                <a:cxn ang="0">
                  <a:pos x="45" y="41"/>
                </a:cxn>
                <a:cxn ang="0">
                  <a:pos x="50" y="41"/>
                </a:cxn>
                <a:cxn ang="0">
                  <a:pos x="50" y="36"/>
                </a:cxn>
                <a:cxn ang="0">
                  <a:pos x="45" y="36"/>
                </a:cxn>
                <a:cxn ang="0">
                  <a:pos x="45" y="32"/>
                </a:cxn>
                <a:cxn ang="0">
                  <a:pos x="36" y="27"/>
                </a:cxn>
                <a:cxn ang="0">
                  <a:pos x="41" y="23"/>
                </a:cxn>
                <a:cxn ang="0">
                  <a:pos x="27" y="14"/>
                </a:cxn>
                <a:cxn ang="0">
                  <a:pos x="32" y="14"/>
                </a:cxn>
                <a:cxn ang="0">
                  <a:pos x="32" y="9"/>
                </a:cxn>
                <a:cxn ang="0">
                  <a:pos x="32" y="5"/>
                </a:cxn>
                <a:cxn ang="0">
                  <a:pos x="27" y="9"/>
                </a:cxn>
                <a:cxn ang="0">
                  <a:pos x="23" y="5"/>
                </a:cxn>
                <a:cxn ang="0">
                  <a:pos x="27" y="5"/>
                </a:cxn>
                <a:cxn ang="0">
                  <a:pos x="23" y="5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0" y="0"/>
                </a:cxn>
              </a:cxnLst>
              <a:rect l="0" t="0" r="r" b="b"/>
              <a:pathLst>
                <a:path w="50" h="50">
                  <a:moveTo>
                    <a:pt x="0" y="0"/>
                  </a:moveTo>
                  <a:lnTo>
                    <a:pt x="5" y="18"/>
                  </a:lnTo>
                  <a:lnTo>
                    <a:pt x="14" y="23"/>
                  </a:lnTo>
                  <a:lnTo>
                    <a:pt x="18" y="32"/>
                  </a:lnTo>
                  <a:lnTo>
                    <a:pt x="23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41" y="36"/>
                  </a:lnTo>
                  <a:lnTo>
                    <a:pt x="41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41"/>
                  </a:lnTo>
                  <a:lnTo>
                    <a:pt x="50" y="36"/>
                  </a:lnTo>
                  <a:lnTo>
                    <a:pt x="45" y="36"/>
                  </a:lnTo>
                  <a:lnTo>
                    <a:pt x="45" y="32"/>
                  </a:lnTo>
                  <a:lnTo>
                    <a:pt x="36" y="27"/>
                  </a:lnTo>
                  <a:lnTo>
                    <a:pt x="41" y="23"/>
                  </a:lnTo>
                  <a:lnTo>
                    <a:pt x="27" y="14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32" y="5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14" y="0"/>
                  </a:lnTo>
                  <a:lnTo>
                    <a:pt x="9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2" name="Freeform 115">
              <a:extLst>
                <a:ext uri="{FF2B5EF4-FFF2-40B4-BE49-F238E27FC236}">
                  <a16:creationId xmlns:a16="http://schemas.microsoft.com/office/drawing/2014/main" id="{596FEEDF-9FBA-40CA-96BC-3929179E8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7679" y="3592665"/>
              <a:ext cx="164080" cy="7259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9"/>
                </a:cxn>
                <a:cxn ang="0">
                  <a:pos x="23" y="18"/>
                </a:cxn>
                <a:cxn ang="0">
                  <a:pos x="23" y="31"/>
                </a:cxn>
                <a:cxn ang="0">
                  <a:pos x="18" y="35"/>
                </a:cxn>
                <a:cxn ang="0">
                  <a:pos x="40" y="40"/>
                </a:cxn>
                <a:cxn ang="0">
                  <a:pos x="49" y="44"/>
                </a:cxn>
                <a:cxn ang="0">
                  <a:pos x="58" y="49"/>
                </a:cxn>
                <a:cxn ang="0">
                  <a:pos x="63" y="44"/>
                </a:cxn>
                <a:cxn ang="0">
                  <a:pos x="72" y="49"/>
                </a:cxn>
                <a:cxn ang="0">
                  <a:pos x="76" y="44"/>
                </a:cxn>
                <a:cxn ang="0">
                  <a:pos x="85" y="49"/>
                </a:cxn>
                <a:cxn ang="0">
                  <a:pos x="94" y="44"/>
                </a:cxn>
                <a:cxn ang="0">
                  <a:pos x="99" y="49"/>
                </a:cxn>
                <a:cxn ang="0">
                  <a:pos x="103" y="44"/>
                </a:cxn>
                <a:cxn ang="0">
                  <a:pos x="94" y="40"/>
                </a:cxn>
                <a:cxn ang="0">
                  <a:pos x="90" y="35"/>
                </a:cxn>
                <a:cxn ang="0">
                  <a:pos x="94" y="26"/>
                </a:cxn>
                <a:cxn ang="0">
                  <a:pos x="94" y="26"/>
                </a:cxn>
                <a:cxn ang="0">
                  <a:pos x="85" y="22"/>
                </a:cxn>
                <a:cxn ang="0">
                  <a:pos x="90" y="18"/>
                </a:cxn>
                <a:cxn ang="0">
                  <a:pos x="76" y="18"/>
                </a:cxn>
                <a:cxn ang="0">
                  <a:pos x="76" y="13"/>
                </a:cxn>
                <a:cxn ang="0">
                  <a:pos x="67" y="13"/>
                </a:cxn>
                <a:cxn ang="0">
                  <a:pos x="67" y="18"/>
                </a:cxn>
                <a:cxn ang="0">
                  <a:pos x="63" y="13"/>
                </a:cxn>
                <a:cxn ang="0">
                  <a:pos x="58" y="18"/>
                </a:cxn>
                <a:cxn ang="0">
                  <a:pos x="54" y="9"/>
                </a:cxn>
                <a:cxn ang="0">
                  <a:pos x="49" y="13"/>
                </a:cxn>
                <a:cxn ang="0">
                  <a:pos x="45" y="4"/>
                </a:cxn>
                <a:cxn ang="0">
                  <a:pos x="27" y="4"/>
                </a:cxn>
                <a:cxn ang="0">
                  <a:pos x="18" y="0"/>
                </a:cxn>
                <a:cxn ang="0">
                  <a:pos x="5" y="0"/>
                </a:cxn>
                <a:cxn ang="0">
                  <a:pos x="0" y="0"/>
                </a:cxn>
              </a:cxnLst>
              <a:rect l="0" t="0" r="r" b="b"/>
              <a:pathLst>
                <a:path w="103" h="49">
                  <a:moveTo>
                    <a:pt x="0" y="0"/>
                  </a:moveTo>
                  <a:lnTo>
                    <a:pt x="18" y="9"/>
                  </a:lnTo>
                  <a:lnTo>
                    <a:pt x="23" y="18"/>
                  </a:lnTo>
                  <a:lnTo>
                    <a:pt x="23" y="31"/>
                  </a:lnTo>
                  <a:lnTo>
                    <a:pt x="18" y="35"/>
                  </a:lnTo>
                  <a:lnTo>
                    <a:pt x="40" y="40"/>
                  </a:lnTo>
                  <a:lnTo>
                    <a:pt x="49" y="44"/>
                  </a:lnTo>
                  <a:lnTo>
                    <a:pt x="58" y="49"/>
                  </a:lnTo>
                  <a:lnTo>
                    <a:pt x="63" y="44"/>
                  </a:lnTo>
                  <a:lnTo>
                    <a:pt x="72" y="49"/>
                  </a:lnTo>
                  <a:lnTo>
                    <a:pt x="76" y="44"/>
                  </a:lnTo>
                  <a:lnTo>
                    <a:pt x="85" y="49"/>
                  </a:lnTo>
                  <a:lnTo>
                    <a:pt x="94" y="44"/>
                  </a:lnTo>
                  <a:lnTo>
                    <a:pt x="99" y="49"/>
                  </a:lnTo>
                  <a:lnTo>
                    <a:pt x="103" y="44"/>
                  </a:lnTo>
                  <a:lnTo>
                    <a:pt x="94" y="40"/>
                  </a:lnTo>
                  <a:lnTo>
                    <a:pt x="90" y="3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85" y="22"/>
                  </a:lnTo>
                  <a:lnTo>
                    <a:pt x="90" y="18"/>
                  </a:lnTo>
                  <a:lnTo>
                    <a:pt x="76" y="18"/>
                  </a:lnTo>
                  <a:lnTo>
                    <a:pt x="76" y="13"/>
                  </a:lnTo>
                  <a:lnTo>
                    <a:pt x="67" y="13"/>
                  </a:lnTo>
                  <a:lnTo>
                    <a:pt x="67" y="18"/>
                  </a:lnTo>
                  <a:lnTo>
                    <a:pt x="63" y="13"/>
                  </a:lnTo>
                  <a:lnTo>
                    <a:pt x="58" y="18"/>
                  </a:lnTo>
                  <a:lnTo>
                    <a:pt x="54" y="9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27" y="4"/>
                  </a:lnTo>
                  <a:lnTo>
                    <a:pt x="18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3" name="Freeform 120">
              <a:extLst>
                <a:ext uri="{FF2B5EF4-FFF2-40B4-BE49-F238E27FC236}">
                  <a16:creationId xmlns:a16="http://schemas.microsoft.com/office/drawing/2014/main" id="{917C613E-FF9B-4EC0-9D7E-2E8857FF43A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0074" y="3705257"/>
              <a:ext cx="441264" cy="37036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4" y="40"/>
                </a:cxn>
                <a:cxn ang="0">
                  <a:pos x="23" y="71"/>
                </a:cxn>
                <a:cxn ang="0">
                  <a:pos x="32" y="80"/>
                </a:cxn>
                <a:cxn ang="0">
                  <a:pos x="32" y="120"/>
                </a:cxn>
                <a:cxn ang="0">
                  <a:pos x="54" y="152"/>
                </a:cxn>
                <a:cxn ang="0">
                  <a:pos x="63" y="165"/>
                </a:cxn>
                <a:cxn ang="0">
                  <a:pos x="72" y="165"/>
                </a:cxn>
                <a:cxn ang="0">
                  <a:pos x="90" y="165"/>
                </a:cxn>
                <a:cxn ang="0">
                  <a:pos x="99" y="187"/>
                </a:cxn>
                <a:cxn ang="0">
                  <a:pos x="108" y="201"/>
                </a:cxn>
                <a:cxn ang="0">
                  <a:pos x="121" y="214"/>
                </a:cxn>
                <a:cxn ang="0">
                  <a:pos x="157" y="228"/>
                </a:cxn>
                <a:cxn ang="0">
                  <a:pos x="161" y="228"/>
                </a:cxn>
                <a:cxn ang="0">
                  <a:pos x="170" y="219"/>
                </a:cxn>
                <a:cxn ang="0">
                  <a:pos x="188" y="219"/>
                </a:cxn>
                <a:cxn ang="0">
                  <a:pos x="192" y="241"/>
                </a:cxn>
                <a:cxn ang="0">
                  <a:pos x="224" y="250"/>
                </a:cxn>
                <a:cxn ang="0">
                  <a:pos x="255" y="245"/>
                </a:cxn>
                <a:cxn ang="0">
                  <a:pos x="264" y="228"/>
                </a:cxn>
                <a:cxn ang="0">
                  <a:pos x="277" y="214"/>
                </a:cxn>
                <a:cxn ang="0">
                  <a:pos x="268" y="201"/>
                </a:cxn>
                <a:cxn ang="0">
                  <a:pos x="242" y="178"/>
                </a:cxn>
                <a:cxn ang="0">
                  <a:pos x="246" y="161"/>
                </a:cxn>
                <a:cxn ang="0">
                  <a:pos x="251" y="143"/>
                </a:cxn>
                <a:cxn ang="0">
                  <a:pos x="242" y="107"/>
                </a:cxn>
                <a:cxn ang="0">
                  <a:pos x="246" y="71"/>
                </a:cxn>
                <a:cxn ang="0">
                  <a:pos x="233" y="53"/>
                </a:cxn>
                <a:cxn ang="0">
                  <a:pos x="197" y="31"/>
                </a:cxn>
                <a:cxn ang="0">
                  <a:pos x="179" y="31"/>
                </a:cxn>
                <a:cxn ang="0">
                  <a:pos x="157" y="40"/>
                </a:cxn>
                <a:cxn ang="0">
                  <a:pos x="148" y="53"/>
                </a:cxn>
                <a:cxn ang="0">
                  <a:pos x="139" y="49"/>
                </a:cxn>
                <a:cxn ang="0">
                  <a:pos x="94" y="53"/>
                </a:cxn>
                <a:cxn ang="0">
                  <a:pos x="76" y="40"/>
                </a:cxn>
                <a:cxn ang="0">
                  <a:pos x="63" y="18"/>
                </a:cxn>
                <a:cxn ang="0">
                  <a:pos x="58" y="0"/>
                </a:cxn>
                <a:cxn ang="0">
                  <a:pos x="36" y="18"/>
                </a:cxn>
                <a:cxn ang="0">
                  <a:pos x="27" y="13"/>
                </a:cxn>
              </a:cxnLst>
              <a:rect l="0" t="0" r="r" b="b"/>
              <a:pathLst>
                <a:path w="277" h="250">
                  <a:moveTo>
                    <a:pt x="9" y="0"/>
                  </a:moveTo>
                  <a:lnTo>
                    <a:pt x="0" y="9"/>
                  </a:lnTo>
                  <a:lnTo>
                    <a:pt x="5" y="35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23" y="71"/>
                  </a:lnTo>
                  <a:lnTo>
                    <a:pt x="32" y="71"/>
                  </a:lnTo>
                  <a:lnTo>
                    <a:pt x="32" y="80"/>
                  </a:lnTo>
                  <a:lnTo>
                    <a:pt x="23" y="98"/>
                  </a:lnTo>
                  <a:lnTo>
                    <a:pt x="32" y="120"/>
                  </a:lnTo>
                  <a:lnTo>
                    <a:pt x="54" y="138"/>
                  </a:lnTo>
                  <a:lnTo>
                    <a:pt x="54" y="152"/>
                  </a:lnTo>
                  <a:lnTo>
                    <a:pt x="58" y="156"/>
                  </a:lnTo>
                  <a:lnTo>
                    <a:pt x="63" y="165"/>
                  </a:lnTo>
                  <a:lnTo>
                    <a:pt x="67" y="169"/>
                  </a:lnTo>
                  <a:lnTo>
                    <a:pt x="72" y="165"/>
                  </a:lnTo>
                  <a:lnTo>
                    <a:pt x="81" y="169"/>
                  </a:lnTo>
                  <a:lnTo>
                    <a:pt x="90" y="165"/>
                  </a:lnTo>
                  <a:lnTo>
                    <a:pt x="103" y="187"/>
                  </a:lnTo>
                  <a:lnTo>
                    <a:pt x="99" y="187"/>
                  </a:lnTo>
                  <a:lnTo>
                    <a:pt x="103" y="192"/>
                  </a:lnTo>
                  <a:lnTo>
                    <a:pt x="108" y="201"/>
                  </a:lnTo>
                  <a:lnTo>
                    <a:pt x="121" y="210"/>
                  </a:lnTo>
                  <a:lnTo>
                    <a:pt x="121" y="214"/>
                  </a:lnTo>
                  <a:lnTo>
                    <a:pt x="139" y="223"/>
                  </a:lnTo>
                  <a:lnTo>
                    <a:pt x="157" y="228"/>
                  </a:lnTo>
                  <a:lnTo>
                    <a:pt x="161" y="223"/>
                  </a:lnTo>
                  <a:lnTo>
                    <a:pt x="161" y="228"/>
                  </a:lnTo>
                  <a:lnTo>
                    <a:pt x="179" y="219"/>
                  </a:lnTo>
                  <a:lnTo>
                    <a:pt x="170" y="219"/>
                  </a:lnTo>
                  <a:lnTo>
                    <a:pt x="175" y="214"/>
                  </a:lnTo>
                  <a:lnTo>
                    <a:pt x="188" y="219"/>
                  </a:lnTo>
                  <a:lnTo>
                    <a:pt x="188" y="223"/>
                  </a:lnTo>
                  <a:lnTo>
                    <a:pt x="192" y="241"/>
                  </a:lnTo>
                  <a:lnTo>
                    <a:pt x="206" y="245"/>
                  </a:lnTo>
                  <a:lnTo>
                    <a:pt x="224" y="250"/>
                  </a:lnTo>
                  <a:lnTo>
                    <a:pt x="251" y="250"/>
                  </a:lnTo>
                  <a:lnTo>
                    <a:pt x="255" y="245"/>
                  </a:lnTo>
                  <a:lnTo>
                    <a:pt x="255" y="236"/>
                  </a:lnTo>
                  <a:lnTo>
                    <a:pt x="264" y="228"/>
                  </a:lnTo>
                  <a:lnTo>
                    <a:pt x="277" y="223"/>
                  </a:lnTo>
                  <a:lnTo>
                    <a:pt x="277" y="214"/>
                  </a:lnTo>
                  <a:lnTo>
                    <a:pt x="268" y="214"/>
                  </a:lnTo>
                  <a:lnTo>
                    <a:pt x="268" y="201"/>
                  </a:lnTo>
                  <a:lnTo>
                    <a:pt x="255" y="196"/>
                  </a:lnTo>
                  <a:lnTo>
                    <a:pt x="242" y="178"/>
                  </a:lnTo>
                  <a:lnTo>
                    <a:pt x="242" y="174"/>
                  </a:lnTo>
                  <a:lnTo>
                    <a:pt x="246" y="161"/>
                  </a:lnTo>
                  <a:lnTo>
                    <a:pt x="255" y="156"/>
                  </a:lnTo>
                  <a:lnTo>
                    <a:pt x="251" y="143"/>
                  </a:lnTo>
                  <a:lnTo>
                    <a:pt x="242" y="143"/>
                  </a:lnTo>
                  <a:lnTo>
                    <a:pt x="242" y="107"/>
                  </a:lnTo>
                  <a:lnTo>
                    <a:pt x="237" y="98"/>
                  </a:lnTo>
                  <a:lnTo>
                    <a:pt x="246" y="71"/>
                  </a:lnTo>
                  <a:lnTo>
                    <a:pt x="246" y="53"/>
                  </a:lnTo>
                  <a:lnTo>
                    <a:pt x="233" y="53"/>
                  </a:lnTo>
                  <a:lnTo>
                    <a:pt x="219" y="35"/>
                  </a:lnTo>
                  <a:lnTo>
                    <a:pt x="197" y="31"/>
                  </a:lnTo>
                  <a:lnTo>
                    <a:pt x="188" y="22"/>
                  </a:lnTo>
                  <a:lnTo>
                    <a:pt x="179" y="31"/>
                  </a:lnTo>
                  <a:lnTo>
                    <a:pt x="166" y="31"/>
                  </a:lnTo>
                  <a:lnTo>
                    <a:pt x="157" y="40"/>
                  </a:lnTo>
                  <a:lnTo>
                    <a:pt x="148" y="44"/>
                  </a:lnTo>
                  <a:lnTo>
                    <a:pt x="148" y="53"/>
                  </a:lnTo>
                  <a:lnTo>
                    <a:pt x="139" y="53"/>
                  </a:lnTo>
                  <a:lnTo>
                    <a:pt x="139" y="49"/>
                  </a:lnTo>
                  <a:lnTo>
                    <a:pt x="108" y="58"/>
                  </a:lnTo>
                  <a:lnTo>
                    <a:pt x="94" y="53"/>
                  </a:lnTo>
                  <a:lnTo>
                    <a:pt x="90" y="44"/>
                  </a:lnTo>
                  <a:lnTo>
                    <a:pt x="76" y="40"/>
                  </a:lnTo>
                  <a:lnTo>
                    <a:pt x="76" y="26"/>
                  </a:lnTo>
                  <a:lnTo>
                    <a:pt x="63" y="18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36" y="13"/>
                  </a:lnTo>
                  <a:lnTo>
                    <a:pt x="36" y="18"/>
                  </a:lnTo>
                  <a:lnTo>
                    <a:pt x="32" y="18"/>
                  </a:lnTo>
                  <a:lnTo>
                    <a:pt x="27" y="13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4" name="Freeform 121">
              <a:extLst>
                <a:ext uri="{FF2B5EF4-FFF2-40B4-BE49-F238E27FC236}">
                  <a16:creationId xmlns:a16="http://schemas.microsoft.com/office/drawing/2014/main" id="{B96CAFF9-F412-4B60-B063-B67F11103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9005" y="3770442"/>
              <a:ext cx="221428" cy="21185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9" y="90"/>
                </a:cxn>
                <a:cxn ang="0">
                  <a:pos x="32" y="94"/>
                </a:cxn>
                <a:cxn ang="0">
                  <a:pos x="63" y="117"/>
                </a:cxn>
                <a:cxn ang="0">
                  <a:pos x="63" y="125"/>
                </a:cxn>
                <a:cxn ang="0">
                  <a:pos x="72" y="125"/>
                </a:cxn>
                <a:cxn ang="0">
                  <a:pos x="72" y="139"/>
                </a:cxn>
                <a:cxn ang="0">
                  <a:pos x="85" y="143"/>
                </a:cxn>
                <a:cxn ang="0">
                  <a:pos x="112" y="143"/>
                </a:cxn>
                <a:cxn ang="0">
                  <a:pos x="121" y="139"/>
                </a:cxn>
                <a:cxn ang="0">
                  <a:pos x="121" y="130"/>
                </a:cxn>
                <a:cxn ang="0">
                  <a:pos x="134" y="125"/>
                </a:cxn>
                <a:cxn ang="0">
                  <a:pos x="134" y="125"/>
                </a:cxn>
                <a:cxn ang="0">
                  <a:pos x="139" y="125"/>
                </a:cxn>
                <a:cxn ang="0">
                  <a:pos x="139" y="121"/>
                </a:cxn>
                <a:cxn ang="0">
                  <a:pos x="134" y="112"/>
                </a:cxn>
                <a:cxn ang="0">
                  <a:pos x="130" y="108"/>
                </a:cxn>
                <a:cxn ang="0">
                  <a:pos x="130" y="94"/>
                </a:cxn>
                <a:cxn ang="0">
                  <a:pos x="108" y="76"/>
                </a:cxn>
                <a:cxn ang="0">
                  <a:pos x="99" y="54"/>
                </a:cxn>
                <a:cxn ang="0">
                  <a:pos x="108" y="36"/>
                </a:cxn>
                <a:cxn ang="0">
                  <a:pos x="108" y="27"/>
                </a:cxn>
                <a:cxn ang="0">
                  <a:pos x="99" y="27"/>
                </a:cxn>
                <a:cxn ang="0">
                  <a:pos x="90" y="0"/>
                </a:cxn>
                <a:cxn ang="0">
                  <a:pos x="81" y="5"/>
                </a:cxn>
                <a:cxn ang="0">
                  <a:pos x="63" y="0"/>
                </a:cxn>
                <a:cxn ang="0">
                  <a:pos x="58" y="5"/>
                </a:cxn>
                <a:cxn ang="0">
                  <a:pos x="54" y="9"/>
                </a:cxn>
                <a:cxn ang="0">
                  <a:pos x="41" y="18"/>
                </a:cxn>
                <a:cxn ang="0">
                  <a:pos x="36" y="45"/>
                </a:cxn>
                <a:cxn ang="0">
                  <a:pos x="0" y="72"/>
                </a:cxn>
              </a:cxnLst>
              <a:rect l="0" t="0" r="r" b="b"/>
              <a:pathLst>
                <a:path w="139" h="143">
                  <a:moveTo>
                    <a:pt x="0" y="72"/>
                  </a:moveTo>
                  <a:lnTo>
                    <a:pt x="9" y="90"/>
                  </a:lnTo>
                  <a:lnTo>
                    <a:pt x="32" y="94"/>
                  </a:lnTo>
                  <a:lnTo>
                    <a:pt x="63" y="117"/>
                  </a:lnTo>
                  <a:lnTo>
                    <a:pt x="63" y="125"/>
                  </a:lnTo>
                  <a:lnTo>
                    <a:pt x="72" y="125"/>
                  </a:lnTo>
                  <a:lnTo>
                    <a:pt x="72" y="139"/>
                  </a:lnTo>
                  <a:lnTo>
                    <a:pt x="85" y="143"/>
                  </a:lnTo>
                  <a:lnTo>
                    <a:pt x="112" y="143"/>
                  </a:lnTo>
                  <a:lnTo>
                    <a:pt x="121" y="139"/>
                  </a:lnTo>
                  <a:lnTo>
                    <a:pt x="121" y="130"/>
                  </a:lnTo>
                  <a:lnTo>
                    <a:pt x="134" y="125"/>
                  </a:lnTo>
                  <a:lnTo>
                    <a:pt x="134" y="125"/>
                  </a:lnTo>
                  <a:lnTo>
                    <a:pt x="139" y="125"/>
                  </a:lnTo>
                  <a:lnTo>
                    <a:pt x="139" y="121"/>
                  </a:lnTo>
                  <a:lnTo>
                    <a:pt x="134" y="112"/>
                  </a:lnTo>
                  <a:lnTo>
                    <a:pt x="130" y="108"/>
                  </a:lnTo>
                  <a:lnTo>
                    <a:pt x="130" y="94"/>
                  </a:lnTo>
                  <a:lnTo>
                    <a:pt x="108" y="76"/>
                  </a:lnTo>
                  <a:lnTo>
                    <a:pt x="99" y="54"/>
                  </a:lnTo>
                  <a:lnTo>
                    <a:pt x="108" y="36"/>
                  </a:lnTo>
                  <a:lnTo>
                    <a:pt x="108" y="27"/>
                  </a:lnTo>
                  <a:lnTo>
                    <a:pt x="99" y="27"/>
                  </a:lnTo>
                  <a:lnTo>
                    <a:pt x="90" y="0"/>
                  </a:lnTo>
                  <a:lnTo>
                    <a:pt x="81" y="5"/>
                  </a:lnTo>
                  <a:lnTo>
                    <a:pt x="63" y="0"/>
                  </a:lnTo>
                  <a:lnTo>
                    <a:pt x="58" y="5"/>
                  </a:lnTo>
                  <a:lnTo>
                    <a:pt x="54" y="9"/>
                  </a:lnTo>
                  <a:lnTo>
                    <a:pt x="41" y="18"/>
                  </a:lnTo>
                  <a:lnTo>
                    <a:pt x="36" y="45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5" name="Freeform 122">
              <a:extLst>
                <a:ext uri="{FF2B5EF4-FFF2-40B4-BE49-F238E27FC236}">
                  <a16:creationId xmlns:a16="http://schemas.microsoft.com/office/drawing/2014/main" id="{EE8BB898-F892-44EB-B066-657B6A76CE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0238" y="3869701"/>
              <a:ext cx="35046" cy="9925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4" y="36"/>
                </a:cxn>
                <a:cxn ang="0">
                  <a:pos x="0" y="45"/>
                </a:cxn>
                <a:cxn ang="0">
                  <a:pos x="9" y="67"/>
                </a:cxn>
                <a:cxn ang="0">
                  <a:pos x="13" y="63"/>
                </a:cxn>
                <a:cxn ang="0">
                  <a:pos x="18" y="41"/>
                </a:cxn>
                <a:cxn ang="0">
                  <a:pos x="18" y="27"/>
                </a:cxn>
                <a:cxn ang="0">
                  <a:pos x="13" y="23"/>
                </a:cxn>
                <a:cxn ang="0">
                  <a:pos x="13" y="23"/>
                </a:cxn>
                <a:cxn ang="0">
                  <a:pos x="22" y="14"/>
                </a:cxn>
                <a:cxn ang="0">
                  <a:pos x="22" y="0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0" y="32"/>
                </a:cxn>
              </a:cxnLst>
              <a:rect l="0" t="0" r="r" b="b"/>
              <a:pathLst>
                <a:path w="22" h="67">
                  <a:moveTo>
                    <a:pt x="0" y="32"/>
                  </a:moveTo>
                  <a:lnTo>
                    <a:pt x="4" y="36"/>
                  </a:lnTo>
                  <a:lnTo>
                    <a:pt x="0" y="45"/>
                  </a:lnTo>
                  <a:lnTo>
                    <a:pt x="9" y="67"/>
                  </a:lnTo>
                  <a:lnTo>
                    <a:pt x="13" y="63"/>
                  </a:lnTo>
                  <a:lnTo>
                    <a:pt x="18" y="41"/>
                  </a:lnTo>
                  <a:lnTo>
                    <a:pt x="18" y="27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9" y="5"/>
                  </a:lnTo>
                  <a:lnTo>
                    <a:pt x="4" y="5"/>
                  </a:lnTo>
                  <a:lnTo>
                    <a:pt x="4" y="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6" name="Freeform 124">
              <a:extLst>
                <a:ext uri="{FF2B5EF4-FFF2-40B4-BE49-F238E27FC236}">
                  <a16:creationId xmlns:a16="http://schemas.microsoft.com/office/drawing/2014/main" id="{EBB789E0-CAC2-4A45-BBCC-B67BAD53E7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7422" y="3188223"/>
              <a:ext cx="931911" cy="469627"/>
            </a:xfrm>
            <a:custGeom>
              <a:avLst/>
              <a:gdLst/>
              <a:ahLst/>
              <a:cxnLst>
                <a:cxn ang="0">
                  <a:pos x="9" y="179"/>
                </a:cxn>
                <a:cxn ang="0">
                  <a:pos x="31" y="197"/>
                </a:cxn>
                <a:cxn ang="0">
                  <a:pos x="36" y="206"/>
                </a:cxn>
                <a:cxn ang="0">
                  <a:pos x="81" y="192"/>
                </a:cxn>
                <a:cxn ang="0">
                  <a:pos x="76" y="232"/>
                </a:cxn>
                <a:cxn ang="0">
                  <a:pos x="72" y="250"/>
                </a:cxn>
                <a:cxn ang="0">
                  <a:pos x="67" y="277"/>
                </a:cxn>
                <a:cxn ang="0">
                  <a:pos x="85" y="295"/>
                </a:cxn>
                <a:cxn ang="0">
                  <a:pos x="112" y="291"/>
                </a:cxn>
                <a:cxn ang="0">
                  <a:pos x="134" y="313"/>
                </a:cxn>
                <a:cxn ang="0">
                  <a:pos x="183" y="224"/>
                </a:cxn>
                <a:cxn ang="0">
                  <a:pos x="210" y="206"/>
                </a:cxn>
                <a:cxn ang="0">
                  <a:pos x="223" y="241"/>
                </a:cxn>
                <a:cxn ang="0">
                  <a:pos x="223" y="268"/>
                </a:cxn>
                <a:cxn ang="0">
                  <a:pos x="273" y="282"/>
                </a:cxn>
                <a:cxn ang="0">
                  <a:pos x="273" y="304"/>
                </a:cxn>
                <a:cxn ang="0">
                  <a:pos x="322" y="313"/>
                </a:cxn>
                <a:cxn ang="0">
                  <a:pos x="371" y="286"/>
                </a:cxn>
                <a:cxn ang="0">
                  <a:pos x="393" y="282"/>
                </a:cxn>
                <a:cxn ang="0">
                  <a:pos x="460" y="291"/>
                </a:cxn>
                <a:cxn ang="0">
                  <a:pos x="474" y="291"/>
                </a:cxn>
                <a:cxn ang="0">
                  <a:pos x="483" y="299"/>
                </a:cxn>
                <a:cxn ang="0">
                  <a:pos x="478" y="237"/>
                </a:cxn>
                <a:cxn ang="0">
                  <a:pos x="550" y="201"/>
                </a:cxn>
                <a:cxn ang="0">
                  <a:pos x="581" y="152"/>
                </a:cxn>
                <a:cxn ang="0">
                  <a:pos x="554" y="143"/>
                </a:cxn>
                <a:cxn ang="0">
                  <a:pos x="523" y="112"/>
                </a:cxn>
                <a:cxn ang="0">
                  <a:pos x="500" y="116"/>
                </a:cxn>
                <a:cxn ang="0">
                  <a:pos x="483" y="116"/>
                </a:cxn>
                <a:cxn ang="0">
                  <a:pos x="433" y="27"/>
                </a:cxn>
                <a:cxn ang="0">
                  <a:pos x="402" y="49"/>
                </a:cxn>
                <a:cxn ang="0">
                  <a:pos x="389" y="40"/>
                </a:cxn>
                <a:cxn ang="0">
                  <a:pos x="357" y="36"/>
                </a:cxn>
                <a:cxn ang="0">
                  <a:pos x="340" y="9"/>
                </a:cxn>
                <a:cxn ang="0">
                  <a:pos x="308" y="18"/>
                </a:cxn>
                <a:cxn ang="0">
                  <a:pos x="268" y="22"/>
                </a:cxn>
                <a:cxn ang="0">
                  <a:pos x="237" y="36"/>
                </a:cxn>
                <a:cxn ang="0">
                  <a:pos x="219" y="49"/>
                </a:cxn>
                <a:cxn ang="0">
                  <a:pos x="210" y="63"/>
                </a:cxn>
                <a:cxn ang="0">
                  <a:pos x="201" y="94"/>
                </a:cxn>
                <a:cxn ang="0">
                  <a:pos x="215" y="116"/>
                </a:cxn>
                <a:cxn ang="0">
                  <a:pos x="183" y="116"/>
                </a:cxn>
                <a:cxn ang="0">
                  <a:pos x="156" y="112"/>
                </a:cxn>
                <a:cxn ang="0">
                  <a:pos x="134" y="121"/>
                </a:cxn>
                <a:cxn ang="0">
                  <a:pos x="116" y="121"/>
                </a:cxn>
                <a:cxn ang="0">
                  <a:pos x="89" y="103"/>
                </a:cxn>
                <a:cxn ang="0">
                  <a:pos x="72" y="98"/>
                </a:cxn>
                <a:cxn ang="0">
                  <a:pos x="36" y="121"/>
                </a:cxn>
                <a:cxn ang="0">
                  <a:pos x="18" y="125"/>
                </a:cxn>
                <a:cxn ang="0">
                  <a:pos x="5" y="152"/>
                </a:cxn>
              </a:cxnLst>
              <a:rect l="0" t="0" r="r" b="b"/>
              <a:pathLst>
                <a:path w="585" h="317">
                  <a:moveTo>
                    <a:pt x="5" y="156"/>
                  </a:moveTo>
                  <a:lnTo>
                    <a:pt x="0" y="170"/>
                  </a:lnTo>
                  <a:lnTo>
                    <a:pt x="9" y="174"/>
                  </a:lnTo>
                  <a:lnTo>
                    <a:pt x="9" y="179"/>
                  </a:lnTo>
                  <a:lnTo>
                    <a:pt x="13" y="188"/>
                  </a:lnTo>
                  <a:lnTo>
                    <a:pt x="13" y="179"/>
                  </a:lnTo>
                  <a:lnTo>
                    <a:pt x="22" y="183"/>
                  </a:lnTo>
                  <a:lnTo>
                    <a:pt x="31" y="197"/>
                  </a:lnTo>
                  <a:lnTo>
                    <a:pt x="36" y="201"/>
                  </a:lnTo>
                  <a:lnTo>
                    <a:pt x="31" y="201"/>
                  </a:lnTo>
                  <a:lnTo>
                    <a:pt x="27" y="206"/>
                  </a:lnTo>
                  <a:lnTo>
                    <a:pt x="36" y="206"/>
                  </a:lnTo>
                  <a:lnTo>
                    <a:pt x="36" y="206"/>
                  </a:lnTo>
                  <a:lnTo>
                    <a:pt x="49" y="201"/>
                  </a:lnTo>
                  <a:lnTo>
                    <a:pt x="67" y="192"/>
                  </a:lnTo>
                  <a:lnTo>
                    <a:pt x="81" y="192"/>
                  </a:lnTo>
                  <a:lnTo>
                    <a:pt x="103" y="201"/>
                  </a:lnTo>
                  <a:lnTo>
                    <a:pt x="98" y="224"/>
                  </a:lnTo>
                  <a:lnTo>
                    <a:pt x="98" y="232"/>
                  </a:lnTo>
                  <a:lnTo>
                    <a:pt x="76" y="232"/>
                  </a:lnTo>
                  <a:lnTo>
                    <a:pt x="67" y="232"/>
                  </a:lnTo>
                  <a:lnTo>
                    <a:pt x="67" y="241"/>
                  </a:lnTo>
                  <a:lnTo>
                    <a:pt x="72" y="241"/>
                  </a:lnTo>
                  <a:lnTo>
                    <a:pt x="72" y="250"/>
                  </a:lnTo>
                  <a:lnTo>
                    <a:pt x="54" y="250"/>
                  </a:lnTo>
                  <a:lnTo>
                    <a:pt x="54" y="255"/>
                  </a:lnTo>
                  <a:lnTo>
                    <a:pt x="63" y="255"/>
                  </a:lnTo>
                  <a:lnTo>
                    <a:pt x="67" y="277"/>
                  </a:lnTo>
                  <a:lnTo>
                    <a:pt x="76" y="277"/>
                  </a:lnTo>
                  <a:lnTo>
                    <a:pt x="81" y="286"/>
                  </a:lnTo>
                  <a:lnTo>
                    <a:pt x="89" y="286"/>
                  </a:lnTo>
                  <a:lnTo>
                    <a:pt x="85" y="295"/>
                  </a:lnTo>
                  <a:lnTo>
                    <a:pt x="89" y="304"/>
                  </a:lnTo>
                  <a:lnTo>
                    <a:pt x="89" y="299"/>
                  </a:lnTo>
                  <a:lnTo>
                    <a:pt x="98" y="295"/>
                  </a:lnTo>
                  <a:lnTo>
                    <a:pt x="112" y="291"/>
                  </a:lnTo>
                  <a:lnTo>
                    <a:pt x="121" y="299"/>
                  </a:lnTo>
                  <a:lnTo>
                    <a:pt x="125" y="308"/>
                  </a:lnTo>
                  <a:lnTo>
                    <a:pt x="130" y="313"/>
                  </a:lnTo>
                  <a:lnTo>
                    <a:pt x="134" y="313"/>
                  </a:lnTo>
                  <a:lnTo>
                    <a:pt x="134" y="241"/>
                  </a:lnTo>
                  <a:lnTo>
                    <a:pt x="174" y="228"/>
                  </a:lnTo>
                  <a:lnTo>
                    <a:pt x="174" y="219"/>
                  </a:lnTo>
                  <a:lnTo>
                    <a:pt x="183" y="224"/>
                  </a:lnTo>
                  <a:lnTo>
                    <a:pt x="183" y="210"/>
                  </a:lnTo>
                  <a:lnTo>
                    <a:pt x="192" y="215"/>
                  </a:lnTo>
                  <a:lnTo>
                    <a:pt x="197" y="206"/>
                  </a:lnTo>
                  <a:lnTo>
                    <a:pt x="210" y="206"/>
                  </a:lnTo>
                  <a:lnTo>
                    <a:pt x="219" y="206"/>
                  </a:lnTo>
                  <a:lnTo>
                    <a:pt x="210" y="224"/>
                  </a:lnTo>
                  <a:lnTo>
                    <a:pt x="215" y="237"/>
                  </a:lnTo>
                  <a:lnTo>
                    <a:pt x="223" y="241"/>
                  </a:lnTo>
                  <a:lnTo>
                    <a:pt x="215" y="246"/>
                  </a:lnTo>
                  <a:lnTo>
                    <a:pt x="215" y="255"/>
                  </a:lnTo>
                  <a:lnTo>
                    <a:pt x="215" y="255"/>
                  </a:lnTo>
                  <a:lnTo>
                    <a:pt x="223" y="268"/>
                  </a:lnTo>
                  <a:lnTo>
                    <a:pt x="255" y="268"/>
                  </a:lnTo>
                  <a:lnTo>
                    <a:pt x="259" y="264"/>
                  </a:lnTo>
                  <a:lnTo>
                    <a:pt x="268" y="273"/>
                  </a:lnTo>
                  <a:lnTo>
                    <a:pt x="273" y="282"/>
                  </a:lnTo>
                  <a:lnTo>
                    <a:pt x="277" y="282"/>
                  </a:lnTo>
                  <a:lnTo>
                    <a:pt x="277" y="295"/>
                  </a:lnTo>
                  <a:lnTo>
                    <a:pt x="273" y="295"/>
                  </a:lnTo>
                  <a:lnTo>
                    <a:pt x="273" y="304"/>
                  </a:lnTo>
                  <a:lnTo>
                    <a:pt x="286" y="304"/>
                  </a:lnTo>
                  <a:lnTo>
                    <a:pt x="286" y="313"/>
                  </a:lnTo>
                  <a:lnTo>
                    <a:pt x="317" y="317"/>
                  </a:lnTo>
                  <a:lnTo>
                    <a:pt x="322" y="313"/>
                  </a:lnTo>
                  <a:lnTo>
                    <a:pt x="340" y="295"/>
                  </a:lnTo>
                  <a:lnTo>
                    <a:pt x="353" y="291"/>
                  </a:lnTo>
                  <a:lnTo>
                    <a:pt x="357" y="286"/>
                  </a:lnTo>
                  <a:lnTo>
                    <a:pt x="371" y="286"/>
                  </a:lnTo>
                  <a:lnTo>
                    <a:pt x="384" y="295"/>
                  </a:lnTo>
                  <a:lnTo>
                    <a:pt x="389" y="295"/>
                  </a:lnTo>
                  <a:lnTo>
                    <a:pt x="389" y="282"/>
                  </a:lnTo>
                  <a:lnTo>
                    <a:pt x="393" y="282"/>
                  </a:lnTo>
                  <a:lnTo>
                    <a:pt x="407" y="286"/>
                  </a:lnTo>
                  <a:lnTo>
                    <a:pt x="411" y="291"/>
                  </a:lnTo>
                  <a:lnTo>
                    <a:pt x="429" y="286"/>
                  </a:lnTo>
                  <a:lnTo>
                    <a:pt x="460" y="291"/>
                  </a:lnTo>
                  <a:lnTo>
                    <a:pt x="469" y="286"/>
                  </a:lnTo>
                  <a:lnTo>
                    <a:pt x="474" y="286"/>
                  </a:lnTo>
                  <a:lnTo>
                    <a:pt x="469" y="291"/>
                  </a:lnTo>
                  <a:lnTo>
                    <a:pt x="474" y="291"/>
                  </a:lnTo>
                  <a:lnTo>
                    <a:pt x="474" y="295"/>
                  </a:lnTo>
                  <a:lnTo>
                    <a:pt x="483" y="295"/>
                  </a:lnTo>
                  <a:lnTo>
                    <a:pt x="483" y="299"/>
                  </a:lnTo>
                  <a:lnTo>
                    <a:pt x="483" y="299"/>
                  </a:lnTo>
                  <a:lnTo>
                    <a:pt x="491" y="273"/>
                  </a:lnTo>
                  <a:lnTo>
                    <a:pt x="487" y="250"/>
                  </a:lnTo>
                  <a:lnTo>
                    <a:pt x="478" y="246"/>
                  </a:lnTo>
                  <a:lnTo>
                    <a:pt x="478" y="237"/>
                  </a:lnTo>
                  <a:lnTo>
                    <a:pt x="514" y="237"/>
                  </a:lnTo>
                  <a:lnTo>
                    <a:pt x="509" y="228"/>
                  </a:lnTo>
                  <a:lnTo>
                    <a:pt x="523" y="197"/>
                  </a:lnTo>
                  <a:lnTo>
                    <a:pt x="550" y="201"/>
                  </a:lnTo>
                  <a:lnTo>
                    <a:pt x="563" y="192"/>
                  </a:lnTo>
                  <a:lnTo>
                    <a:pt x="563" y="174"/>
                  </a:lnTo>
                  <a:lnTo>
                    <a:pt x="572" y="165"/>
                  </a:lnTo>
                  <a:lnTo>
                    <a:pt x="581" y="152"/>
                  </a:lnTo>
                  <a:lnTo>
                    <a:pt x="585" y="152"/>
                  </a:lnTo>
                  <a:lnTo>
                    <a:pt x="585" y="148"/>
                  </a:lnTo>
                  <a:lnTo>
                    <a:pt x="563" y="143"/>
                  </a:lnTo>
                  <a:lnTo>
                    <a:pt x="554" y="143"/>
                  </a:lnTo>
                  <a:lnTo>
                    <a:pt x="550" y="130"/>
                  </a:lnTo>
                  <a:lnTo>
                    <a:pt x="545" y="134"/>
                  </a:lnTo>
                  <a:lnTo>
                    <a:pt x="532" y="116"/>
                  </a:lnTo>
                  <a:lnTo>
                    <a:pt x="523" y="112"/>
                  </a:lnTo>
                  <a:lnTo>
                    <a:pt x="518" y="112"/>
                  </a:lnTo>
                  <a:lnTo>
                    <a:pt x="514" y="116"/>
                  </a:lnTo>
                  <a:lnTo>
                    <a:pt x="509" y="121"/>
                  </a:lnTo>
                  <a:lnTo>
                    <a:pt x="500" y="116"/>
                  </a:lnTo>
                  <a:lnTo>
                    <a:pt x="500" y="107"/>
                  </a:lnTo>
                  <a:lnTo>
                    <a:pt x="491" y="107"/>
                  </a:lnTo>
                  <a:lnTo>
                    <a:pt x="487" y="112"/>
                  </a:lnTo>
                  <a:lnTo>
                    <a:pt x="483" y="116"/>
                  </a:lnTo>
                  <a:lnTo>
                    <a:pt x="451" y="63"/>
                  </a:lnTo>
                  <a:lnTo>
                    <a:pt x="433" y="40"/>
                  </a:lnTo>
                  <a:lnTo>
                    <a:pt x="438" y="31"/>
                  </a:lnTo>
                  <a:lnTo>
                    <a:pt x="433" y="27"/>
                  </a:lnTo>
                  <a:lnTo>
                    <a:pt x="424" y="31"/>
                  </a:lnTo>
                  <a:lnTo>
                    <a:pt x="416" y="36"/>
                  </a:lnTo>
                  <a:lnTo>
                    <a:pt x="411" y="40"/>
                  </a:lnTo>
                  <a:lnTo>
                    <a:pt x="402" y="49"/>
                  </a:lnTo>
                  <a:lnTo>
                    <a:pt x="393" y="45"/>
                  </a:lnTo>
                  <a:lnTo>
                    <a:pt x="384" y="49"/>
                  </a:lnTo>
                  <a:lnTo>
                    <a:pt x="384" y="45"/>
                  </a:lnTo>
                  <a:lnTo>
                    <a:pt x="389" y="40"/>
                  </a:lnTo>
                  <a:lnTo>
                    <a:pt x="375" y="36"/>
                  </a:lnTo>
                  <a:lnTo>
                    <a:pt x="371" y="40"/>
                  </a:lnTo>
                  <a:lnTo>
                    <a:pt x="371" y="31"/>
                  </a:lnTo>
                  <a:lnTo>
                    <a:pt x="357" y="36"/>
                  </a:lnTo>
                  <a:lnTo>
                    <a:pt x="353" y="31"/>
                  </a:lnTo>
                  <a:lnTo>
                    <a:pt x="353" y="22"/>
                  </a:lnTo>
                  <a:lnTo>
                    <a:pt x="349" y="9"/>
                  </a:lnTo>
                  <a:lnTo>
                    <a:pt x="340" y="9"/>
                  </a:lnTo>
                  <a:lnTo>
                    <a:pt x="322" y="5"/>
                  </a:lnTo>
                  <a:lnTo>
                    <a:pt x="317" y="9"/>
                  </a:lnTo>
                  <a:lnTo>
                    <a:pt x="313" y="0"/>
                  </a:lnTo>
                  <a:lnTo>
                    <a:pt x="308" y="18"/>
                  </a:lnTo>
                  <a:lnTo>
                    <a:pt x="304" y="13"/>
                  </a:lnTo>
                  <a:lnTo>
                    <a:pt x="299" y="18"/>
                  </a:lnTo>
                  <a:lnTo>
                    <a:pt x="277" y="22"/>
                  </a:lnTo>
                  <a:lnTo>
                    <a:pt x="268" y="22"/>
                  </a:lnTo>
                  <a:lnTo>
                    <a:pt x="264" y="27"/>
                  </a:lnTo>
                  <a:lnTo>
                    <a:pt x="264" y="22"/>
                  </a:lnTo>
                  <a:lnTo>
                    <a:pt x="246" y="31"/>
                  </a:lnTo>
                  <a:lnTo>
                    <a:pt x="237" y="36"/>
                  </a:lnTo>
                  <a:lnTo>
                    <a:pt x="215" y="36"/>
                  </a:lnTo>
                  <a:lnTo>
                    <a:pt x="210" y="40"/>
                  </a:lnTo>
                  <a:lnTo>
                    <a:pt x="206" y="49"/>
                  </a:lnTo>
                  <a:lnTo>
                    <a:pt x="219" y="49"/>
                  </a:lnTo>
                  <a:lnTo>
                    <a:pt x="210" y="54"/>
                  </a:lnTo>
                  <a:lnTo>
                    <a:pt x="219" y="54"/>
                  </a:lnTo>
                  <a:lnTo>
                    <a:pt x="223" y="63"/>
                  </a:lnTo>
                  <a:lnTo>
                    <a:pt x="210" y="63"/>
                  </a:lnTo>
                  <a:lnTo>
                    <a:pt x="201" y="67"/>
                  </a:lnTo>
                  <a:lnTo>
                    <a:pt x="206" y="76"/>
                  </a:lnTo>
                  <a:lnTo>
                    <a:pt x="192" y="85"/>
                  </a:lnTo>
                  <a:lnTo>
                    <a:pt x="201" y="94"/>
                  </a:lnTo>
                  <a:lnTo>
                    <a:pt x="206" y="103"/>
                  </a:lnTo>
                  <a:lnTo>
                    <a:pt x="215" y="103"/>
                  </a:lnTo>
                  <a:lnTo>
                    <a:pt x="215" y="112"/>
                  </a:lnTo>
                  <a:lnTo>
                    <a:pt x="215" y="116"/>
                  </a:lnTo>
                  <a:lnTo>
                    <a:pt x="201" y="121"/>
                  </a:lnTo>
                  <a:lnTo>
                    <a:pt x="192" y="112"/>
                  </a:lnTo>
                  <a:lnTo>
                    <a:pt x="183" y="125"/>
                  </a:lnTo>
                  <a:lnTo>
                    <a:pt x="183" y="116"/>
                  </a:lnTo>
                  <a:lnTo>
                    <a:pt x="179" y="112"/>
                  </a:lnTo>
                  <a:lnTo>
                    <a:pt x="174" y="107"/>
                  </a:lnTo>
                  <a:lnTo>
                    <a:pt x="165" y="107"/>
                  </a:lnTo>
                  <a:lnTo>
                    <a:pt x="156" y="112"/>
                  </a:lnTo>
                  <a:lnTo>
                    <a:pt x="152" y="107"/>
                  </a:lnTo>
                  <a:lnTo>
                    <a:pt x="143" y="107"/>
                  </a:lnTo>
                  <a:lnTo>
                    <a:pt x="139" y="116"/>
                  </a:lnTo>
                  <a:lnTo>
                    <a:pt x="134" y="121"/>
                  </a:lnTo>
                  <a:lnTo>
                    <a:pt x="125" y="116"/>
                  </a:lnTo>
                  <a:lnTo>
                    <a:pt x="121" y="116"/>
                  </a:lnTo>
                  <a:lnTo>
                    <a:pt x="121" y="121"/>
                  </a:lnTo>
                  <a:lnTo>
                    <a:pt x="116" y="121"/>
                  </a:lnTo>
                  <a:lnTo>
                    <a:pt x="112" y="116"/>
                  </a:lnTo>
                  <a:lnTo>
                    <a:pt x="107" y="103"/>
                  </a:lnTo>
                  <a:lnTo>
                    <a:pt x="94" y="98"/>
                  </a:lnTo>
                  <a:lnTo>
                    <a:pt x="89" y="103"/>
                  </a:lnTo>
                  <a:lnTo>
                    <a:pt x="85" y="94"/>
                  </a:lnTo>
                  <a:lnTo>
                    <a:pt x="76" y="98"/>
                  </a:lnTo>
                  <a:lnTo>
                    <a:pt x="72" y="103"/>
                  </a:lnTo>
                  <a:lnTo>
                    <a:pt x="72" y="98"/>
                  </a:lnTo>
                  <a:lnTo>
                    <a:pt x="67" y="94"/>
                  </a:lnTo>
                  <a:lnTo>
                    <a:pt x="63" y="103"/>
                  </a:lnTo>
                  <a:lnTo>
                    <a:pt x="45" y="116"/>
                  </a:lnTo>
                  <a:lnTo>
                    <a:pt x="36" y="121"/>
                  </a:lnTo>
                  <a:lnTo>
                    <a:pt x="31" y="116"/>
                  </a:lnTo>
                  <a:lnTo>
                    <a:pt x="36" y="134"/>
                  </a:lnTo>
                  <a:lnTo>
                    <a:pt x="31" y="139"/>
                  </a:lnTo>
                  <a:lnTo>
                    <a:pt x="18" y="125"/>
                  </a:lnTo>
                  <a:lnTo>
                    <a:pt x="13" y="125"/>
                  </a:lnTo>
                  <a:lnTo>
                    <a:pt x="13" y="139"/>
                  </a:lnTo>
                  <a:lnTo>
                    <a:pt x="9" y="139"/>
                  </a:lnTo>
                  <a:lnTo>
                    <a:pt x="5" y="152"/>
                  </a:lnTo>
                  <a:lnTo>
                    <a:pt x="5" y="15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7" name="Freeform 125">
              <a:extLst>
                <a:ext uri="{FF2B5EF4-FFF2-40B4-BE49-F238E27FC236}">
                  <a16:creationId xmlns:a16="http://schemas.microsoft.com/office/drawing/2014/main" id="{8F4EB107-096D-4B21-A2B1-A0837CF14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4576" y="3877108"/>
              <a:ext cx="98767" cy="99259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0" y="67"/>
                </a:cxn>
                <a:cxn ang="0">
                  <a:pos x="22" y="67"/>
                </a:cxn>
                <a:cxn ang="0">
                  <a:pos x="27" y="58"/>
                </a:cxn>
                <a:cxn ang="0">
                  <a:pos x="40" y="49"/>
                </a:cxn>
                <a:cxn ang="0">
                  <a:pos x="36" y="31"/>
                </a:cxn>
                <a:cxn ang="0">
                  <a:pos x="62" y="18"/>
                </a:cxn>
                <a:cxn ang="0">
                  <a:pos x="53" y="0"/>
                </a:cxn>
                <a:cxn ang="0">
                  <a:pos x="49" y="0"/>
                </a:cxn>
                <a:cxn ang="0">
                  <a:pos x="44" y="4"/>
                </a:cxn>
                <a:cxn ang="0">
                  <a:pos x="27" y="18"/>
                </a:cxn>
                <a:cxn ang="0">
                  <a:pos x="13" y="9"/>
                </a:cxn>
                <a:cxn ang="0">
                  <a:pos x="4" y="18"/>
                </a:cxn>
                <a:cxn ang="0">
                  <a:pos x="4" y="18"/>
                </a:cxn>
                <a:cxn ang="0">
                  <a:pos x="9" y="22"/>
                </a:cxn>
                <a:cxn ang="0">
                  <a:pos x="9" y="36"/>
                </a:cxn>
                <a:cxn ang="0">
                  <a:pos x="4" y="58"/>
                </a:cxn>
                <a:cxn ang="0">
                  <a:pos x="0" y="62"/>
                </a:cxn>
              </a:cxnLst>
              <a:rect l="0" t="0" r="r" b="b"/>
              <a:pathLst>
                <a:path w="62" h="67">
                  <a:moveTo>
                    <a:pt x="0" y="62"/>
                  </a:moveTo>
                  <a:lnTo>
                    <a:pt x="0" y="67"/>
                  </a:lnTo>
                  <a:lnTo>
                    <a:pt x="22" y="67"/>
                  </a:lnTo>
                  <a:lnTo>
                    <a:pt x="27" y="58"/>
                  </a:lnTo>
                  <a:lnTo>
                    <a:pt x="40" y="49"/>
                  </a:lnTo>
                  <a:lnTo>
                    <a:pt x="36" y="31"/>
                  </a:lnTo>
                  <a:lnTo>
                    <a:pt x="62" y="18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4" y="4"/>
                  </a:lnTo>
                  <a:lnTo>
                    <a:pt x="27" y="18"/>
                  </a:lnTo>
                  <a:lnTo>
                    <a:pt x="13" y="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9" y="22"/>
                  </a:lnTo>
                  <a:lnTo>
                    <a:pt x="9" y="36"/>
                  </a:lnTo>
                  <a:lnTo>
                    <a:pt x="4" y="58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8" name="Freeform 128">
              <a:extLst>
                <a:ext uri="{FF2B5EF4-FFF2-40B4-BE49-F238E27FC236}">
                  <a16:creationId xmlns:a16="http://schemas.microsoft.com/office/drawing/2014/main" id="{B15AA3BB-E942-43B2-9AFB-FDC92BF38D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7422" y="3955626"/>
              <a:ext cx="49383" cy="4000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23"/>
                </a:cxn>
                <a:cxn ang="0">
                  <a:pos x="18" y="27"/>
                </a:cxn>
                <a:cxn ang="0">
                  <a:pos x="31" y="23"/>
                </a:cxn>
                <a:cxn ang="0">
                  <a:pos x="27" y="14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22" y="5"/>
                </a:cxn>
                <a:cxn ang="0">
                  <a:pos x="22" y="0"/>
                </a:cxn>
                <a:cxn ang="0">
                  <a:pos x="9" y="5"/>
                </a:cxn>
                <a:cxn ang="0">
                  <a:pos x="9" y="14"/>
                </a:cxn>
                <a:cxn ang="0">
                  <a:pos x="0" y="18"/>
                </a:cxn>
              </a:cxnLst>
              <a:rect l="0" t="0" r="r" b="b"/>
              <a:pathLst>
                <a:path w="31" h="27">
                  <a:moveTo>
                    <a:pt x="0" y="18"/>
                  </a:moveTo>
                  <a:lnTo>
                    <a:pt x="13" y="23"/>
                  </a:lnTo>
                  <a:lnTo>
                    <a:pt x="18" y="27"/>
                  </a:lnTo>
                  <a:lnTo>
                    <a:pt x="31" y="23"/>
                  </a:lnTo>
                  <a:lnTo>
                    <a:pt x="27" y="14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9" y="5"/>
                  </a:lnTo>
                  <a:lnTo>
                    <a:pt x="9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9" name="Freeform 129">
              <a:extLst>
                <a:ext uri="{FF2B5EF4-FFF2-40B4-BE49-F238E27FC236}">
                  <a16:creationId xmlns:a16="http://schemas.microsoft.com/office/drawing/2014/main" id="{8D28ECA9-29FC-436B-B4EE-20FDDE0F0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6744" y="3605998"/>
              <a:ext cx="250103" cy="105185"/>
            </a:xfrm>
            <a:custGeom>
              <a:avLst/>
              <a:gdLst/>
              <a:ahLst/>
              <a:cxnLst>
                <a:cxn ang="0">
                  <a:pos x="23" y="58"/>
                </a:cxn>
                <a:cxn ang="0">
                  <a:pos x="18" y="62"/>
                </a:cxn>
                <a:cxn ang="0">
                  <a:pos x="14" y="53"/>
                </a:cxn>
                <a:cxn ang="0">
                  <a:pos x="5" y="58"/>
                </a:cxn>
                <a:cxn ang="0">
                  <a:pos x="0" y="67"/>
                </a:cxn>
                <a:cxn ang="0">
                  <a:pos x="18" y="67"/>
                </a:cxn>
                <a:cxn ang="0">
                  <a:pos x="27" y="71"/>
                </a:cxn>
                <a:cxn ang="0">
                  <a:pos x="36" y="67"/>
                </a:cxn>
                <a:cxn ang="0">
                  <a:pos x="49" y="71"/>
                </a:cxn>
                <a:cxn ang="0">
                  <a:pos x="63" y="67"/>
                </a:cxn>
                <a:cxn ang="0">
                  <a:pos x="76" y="53"/>
                </a:cxn>
                <a:cxn ang="0">
                  <a:pos x="90" y="44"/>
                </a:cxn>
                <a:cxn ang="0">
                  <a:pos x="107" y="40"/>
                </a:cxn>
                <a:cxn ang="0">
                  <a:pos x="143" y="26"/>
                </a:cxn>
                <a:cxn ang="0">
                  <a:pos x="157" y="17"/>
                </a:cxn>
                <a:cxn ang="0">
                  <a:pos x="157" y="13"/>
                </a:cxn>
                <a:cxn ang="0">
                  <a:pos x="148" y="9"/>
                </a:cxn>
                <a:cxn ang="0">
                  <a:pos x="148" y="4"/>
                </a:cxn>
                <a:cxn ang="0">
                  <a:pos x="134" y="9"/>
                </a:cxn>
                <a:cxn ang="0">
                  <a:pos x="85" y="9"/>
                </a:cxn>
                <a:cxn ang="0">
                  <a:pos x="67" y="0"/>
                </a:cxn>
                <a:cxn ang="0">
                  <a:pos x="63" y="13"/>
                </a:cxn>
                <a:cxn ang="0">
                  <a:pos x="45" y="4"/>
                </a:cxn>
                <a:cxn ang="0">
                  <a:pos x="27" y="9"/>
                </a:cxn>
                <a:cxn ang="0">
                  <a:pos x="31" y="17"/>
                </a:cxn>
                <a:cxn ang="0">
                  <a:pos x="18" y="31"/>
                </a:cxn>
                <a:cxn ang="0">
                  <a:pos x="23" y="35"/>
                </a:cxn>
                <a:cxn ang="0">
                  <a:pos x="40" y="35"/>
                </a:cxn>
                <a:cxn ang="0">
                  <a:pos x="58" y="40"/>
                </a:cxn>
                <a:cxn ang="0">
                  <a:pos x="54" y="49"/>
                </a:cxn>
                <a:cxn ang="0">
                  <a:pos x="45" y="49"/>
                </a:cxn>
                <a:cxn ang="0">
                  <a:pos x="31" y="49"/>
                </a:cxn>
                <a:cxn ang="0">
                  <a:pos x="31" y="62"/>
                </a:cxn>
                <a:cxn ang="0">
                  <a:pos x="27" y="53"/>
                </a:cxn>
              </a:cxnLst>
              <a:rect l="0" t="0" r="r" b="b"/>
              <a:pathLst>
                <a:path w="157" h="71">
                  <a:moveTo>
                    <a:pt x="27" y="53"/>
                  </a:moveTo>
                  <a:lnTo>
                    <a:pt x="23" y="58"/>
                  </a:lnTo>
                  <a:lnTo>
                    <a:pt x="23" y="62"/>
                  </a:lnTo>
                  <a:lnTo>
                    <a:pt x="18" y="62"/>
                  </a:lnTo>
                  <a:lnTo>
                    <a:pt x="18" y="58"/>
                  </a:lnTo>
                  <a:lnTo>
                    <a:pt x="14" y="53"/>
                  </a:lnTo>
                  <a:lnTo>
                    <a:pt x="5" y="53"/>
                  </a:lnTo>
                  <a:lnTo>
                    <a:pt x="5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14" y="67"/>
                  </a:lnTo>
                  <a:lnTo>
                    <a:pt x="18" y="67"/>
                  </a:lnTo>
                  <a:lnTo>
                    <a:pt x="23" y="67"/>
                  </a:lnTo>
                  <a:lnTo>
                    <a:pt x="27" y="71"/>
                  </a:lnTo>
                  <a:lnTo>
                    <a:pt x="31" y="67"/>
                  </a:lnTo>
                  <a:lnTo>
                    <a:pt x="36" y="67"/>
                  </a:lnTo>
                  <a:lnTo>
                    <a:pt x="36" y="71"/>
                  </a:lnTo>
                  <a:lnTo>
                    <a:pt x="49" y="71"/>
                  </a:lnTo>
                  <a:lnTo>
                    <a:pt x="54" y="67"/>
                  </a:lnTo>
                  <a:lnTo>
                    <a:pt x="63" y="67"/>
                  </a:lnTo>
                  <a:lnTo>
                    <a:pt x="63" y="58"/>
                  </a:lnTo>
                  <a:lnTo>
                    <a:pt x="76" y="53"/>
                  </a:lnTo>
                  <a:lnTo>
                    <a:pt x="81" y="44"/>
                  </a:lnTo>
                  <a:lnTo>
                    <a:pt x="90" y="44"/>
                  </a:lnTo>
                  <a:lnTo>
                    <a:pt x="98" y="53"/>
                  </a:lnTo>
                  <a:lnTo>
                    <a:pt x="107" y="40"/>
                  </a:lnTo>
                  <a:lnTo>
                    <a:pt x="125" y="40"/>
                  </a:lnTo>
                  <a:lnTo>
                    <a:pt x="143" y="26"/>
                  </a:lnTo>
                  <a:lnTo>
                    <a:pt x="157" y="22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3"/>
                  </a:lnTo>
                  <a:lnTo>
                    <a:pt x="148" y="13"/>
                  </a:lnTo>
                  <a:lnTo>
                    <a:pt x="148" y="9"/>
                  </a:lnTo>
                  <a:lnTo>
                    <a:pt x="143" y="9"/>
                  </a:lnTo>
                  <a:lnTo>
                    <a:pt x="148" y="4"/>
                  </a:lnTo>
                  <a:lnTo>
                    <a:pt x="143" y="4"/>
                  </a:lnTo>
                  <a:lnTo>
                    <a:pt x="134" y="9"/>
                  </a:lnTo>
                  <a:lnTo>
                    <a:pt x="103" y="4"/>
                  </a:lnTo>
                  <a:lnTo>
                    <a:pt x="85" y="9"/>
                  </a:lnTo>
                  <a:lnTo>
                    <a:pt x="81" y="4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45" y="4"/>
                  </a:lnTo>
                  <a:lnTo>
                    <a:pt x="31" y="4"/>
                  </a:lnTo>
                  <a:lnTo>
                    <a:pt x="27" y="9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18" y="26"/>
                  </a:lnTo>
                  <a:lnTo>
                    <a:pt x="18" y="31"/>
                  </a:lnTo>
                  <a:lnTo>
                    <a:pt x="23" y="31"/>
                  </a:lnTo>
                  <a:lnTo>
                    <a:pt x="23" y="35"/>
                  </a:lnTo>
                  <a:lnTo>
                    <a:pt x="36" y="31"/>
                  </a:lnTo>
                  <a:lnTo>
                    <a:pt x="40" y="35"/>
                  </a:lnTo>
                  <a:lnTo>
                    <a:pt x="49" y="40"/>
                  </a:lnTo>
                  <a:lnTo>
                    <a:pt x="58" y="40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49" y="44"/>
                  </a:lnTo>
                  <a:lnTo>
                    <a:pt x="45" y="49"/>
                  </a:lnTo>
                  <a:lnTo>
                    <a:pt x="40" y="53"/>
                  </a:lnTo>
                  <a:lnTo>
                    <a:pt x="31" y="49"/>
                  </a:lnTo>
                  <a:lnTo>
                    <a:pt x="31" y="53"/>
                  </a:lnTo>
                  <a:lnTo>
                    <a:pt x="31" y="62"/>
                  </a:lnTo>
                  <a:lnTo>
                    <a:pt x="27" y="62"/>
                  </a:lnTo>
                  <a:lnTo>
                    <a:pt x="27" y="5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0" name="Freeform 131">
              <a:extLst>
                <a:ext uri="{FF2B5EF4-FFF2-40B4-BE49-F238E27FC236}">
                  <a16:creationId xmlns:a16="http://schemas.microsoft.com/office/drawing/2014/main" id="{8B286FBA-422C-4BE9-A5D4-3C9B22017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4576" y="3837108"/>
              <a:ext cx="35046" cy="400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0" y="27"/>
                </a:cxn>
                <a:cxn ang="0">
                  <a:pos x="4" y="27"/>
                </a:cxn>
                <a:cxn ang="0">
                  <a:pos x="13" y="22"/>
                </a:cxn>
                <a:cxn ang="0">
                  <a:pos x="22" y="9"/>
                </a:cxn>
                <a:cxn ang="0">
                  <a:pos x="18" y="0"/>
                </a:cxn>
                <a:cxn ang="0">
                  <a:pos x="9" y="0"/>
                </a:cxn>
              </a:cxnLst>
              <a:rect l="0" t="0" r="r" b="b"/>
              <a:pathLst>
                <a:path w="22" h="27">
                  <a:moveTo>
                    <a:pt x="9" y="0"/>
                  </a:moveTo>
                  <a:lnTo>
                    <a:pt x="4" y="13"/>
                  </a:lnTo>
                  <a:lnTo>
                    <a:pt x="4" y="18"/>
                  </a:lnTo>
                  <a:lnTo>
                    <a:pt x="0" y="27"/>
                  </a:lnTo>
                  <a:lnTo>
                    <a:pt x="4" y="27"/>
                  </a:lnTo>
                  <a:lnTo>
                    <a:pt x="13" y="22"/>
                  </a:lnTo>
                  <a:lnTo>
                    <a:pt x="22" y="9"/>
                  </a:lnTo>
                  <a:lnTo>
                    <a:pt x="18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1" name="Freeform 134">
              <a:extLst>
                <a:ext uri="{FF2B5EF4-FFF2-40B4-BE49-F238E27FC236}">
                  <a16:creationId xmlns:a16="http://schemas.microsoft.com/office/drawing/2014/main" id="{7A28B634-BE6E-4AD8-9A19-B019B9A60C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3670" y="3314148"/>
              <a:ext cx="726413" cy="330369"/>
            </a:xfrm>
            <a:custGeom>
              <a:avLst/>
              <a:gdLst/>
              <a:ahLst/>
              <a:cxnLst>
                <a:cxn ang="0">
                  <a:pos x="407" y="54"/>
                </a:cxn>
                <a:cxn ang="0">
                  <a:pos x="402" y="49"/>
                </a:cxn>
                <a:cxn ang="0">
                  <a:pos x="393" y="49"/>
                </a:cxn>
                <a:cxn ang="0">
                  <a:pos x="375" y="40"/>
                </a:cxn>
                <a:cxn ang="0">
                  <a:pos x="366" y="45"/>
                </a:cxn>
                <a:cxn ang="0">
                  <a:pos x="353" y="58"/>
                </a:cxn>
                <a:cxn ang="0">
                  <a:pos x="322" y="67"/>
                </a:cxn>
                <a:cxn ang="0">
                  <a:pos x="291" y="63"/>
                </a:cxn>
                <a:cxn ang="0">
                  <a:pos x="250" y="40"/>
                </a:cxn>
                <a:cxn ang="0">
                  <a:pos x="228" y="45"/>
                </a:cxn>
                <a:cxn ang="0">
                  <a:pos x="206" y="40"/>
                </a:cxn>
                <a:cxn ang="0">
                  <a:pos x="201" y="13"/>
                </a:cxn>
                <a:cxn ang="0">
                  <a:pos x="157" y="0"/>
                </a:cxn>
                <a:cxn ang="0">
                  <a:pos x="143" y="22"/>
                </a:cxn>
                <a:cxn ang="0">
                  <a:pos x="148" y="31"/>
                </a:cxn>
                <a:cxn ang="0">
                  <a:pos x="143" y="54"/>
                </a:cxn>
                <a:cxn ang="0">
                  <a:pos x="103" y="54"/>
                </a:cxn>
                <a:cxn ang="0">
                  <a:pos x="85" y="36"/>
                </a:cxn>
                <a:cxn ang="0">
                  <a:pos x="72" y="36"/>
                </a:cxn>
                <a:cxn ang="0">
                  <a:pos x="67" y="31"/>
                </a:cxn>
                <a:cxn ang="0">
                  <a:pos x="40" y="40"/>
                </a:cxn>
                <a:cxn ang="0">
                  <a:pos x="14" y="58"/>
                </a:cxn>
                <a:cxn ang="0">
                  <a:pos x="5" y="58"/>
                </a:cxn>
                <a:cxn ang="0">
                  <a:pos x="0" y="67"/>
                </a:cxn>
                <a:cxn ang="0">
                  <a:pos x="5" y="80"/>
                </a:cxn>
                <a:cxn ang="0">
                  <a:pos x="23" y="89"/>
                </a:cxn>
                <a:cxn ang="0">
                  <a:pos x="45" y="107"/>
                </a:cxn>
                <a:cxn ang="0">
                  <a:pos x="45" y="147"/>
                </a:cxn>
                <a:cxn ang="0">
                  <a:pos x="81" y="152"/>
                </a:cxn>
                <a:cxn ang="0">
                  <a:pos x="103" y="165"/>
                </a:cxn>
                <a:cxn ang="0">
                  <a:pos x="121" y="197"/>
                </a:cxn>
                <a:cxn ang="0">
                  <a:pos x="201" y="201"/>
                </a:cxn>
                <a:cxn ang="0">
                  <a:pos x="210" y="210"/>
                </a:cxn>
                <a:cxn ang="0">
                  <a:pos x="250" y="223"/>
                </a:cxn>
                <a:cxn ang="0">
                  <a:pos x="259" y="210"/>
                </a:cxn>
                <a:cxn ang="0">
                  <a:pos x="291" y="201"/>
                </a:cxn>
                <a:cxn ang="0">
                  <a:pos x="317" y="201"/>
                </a:cxn>
                <a:cxn ang="0">
                  <a:pos x="326" y="188"/>
                </a:cxn>
                <a:cxn ang="0">
                  <a:pos x="344" y="179"/>
                </a:cxn>
                <a:cxn ang="0">
                  <a:pos x="331" y="161"/>
                </a:cxn>
                <a:cxn ang="0">
                  <a:pos x="340" y="147"/>
                </a:cxn>
                <a:cxn ang="0">
                  <a:pos x="349" y="147"/>
                </a:cxn>
                <a:cxn ang="0">
                  <a:pos x="358" y="156"/>
                </a:cxn>
                <a:cxn ang="0">
                  <a:pos x="366" y="156"/>
                </a:cxn>
                <a:cxn ang="0">
                  <a:pos x="380" y="139"/>
                </a:cxn>
                <a:cxn ang="0">
                  <a:pos x="393" y="143"/>
                </a:cxn>
                <a:cxn ang="0">
                  <a:pos x="416" y="121"/>
                </a:cxn>
                <a:cxn ang="0">
                  <a:pos x="438" y="125"/>
                </a:cxn>
                <a:cxn ang="0">
                  <a:pos x="451" y="116"/>
                </a:cxn>
                <a:cxn ang="0">
                  <a:pos x="456" y="107"/>
                </a:cxn>
                <a:cxn ang="0">
                  <a:pos x="442" y="107"/>
                </a:cxn>
                <a:cxn ang="0">
                  <a:pos x="433" y="89"/>
                </a:cxn>
                <a:cxn ang="0">
                  <a:pos x="416" y="98"/>
                </a:cxn>
                <a:cxn ang="0">
                  <a:pos x="407" y="94"/>
                </a:cxn>
                <a:cxn ang="0">
                  <a:pos x="393" y="98"/>
                </a:cxn>
                <a:cxn ang="0">
                  <a:pos x="389" y="89"/>
                </a:cxn>
                <a:cxn ang="0">
                  <a:pos x="402" y="71"/>
                </a:cxn>
                <a:cxn ang="0">
                  <a:pos x="407" y="54"/>
                </a:cxn>
              </a:cxnLst>
              <a:rect l="0" t="0" r="r" b="b"/>
              <a:pathLst>
                <a:path w="456" h="223">
                  <a:moveTo>
                    <a:pt x="407" y="54"/>
                  </a:moveTo>
                  <a:lnTo>
                    <a:pt x="402" y="49"/>
                  </a:lnTo>
                  <a:lnTo>
                    <a:pt x="393" y="49"/>
                  </a:lnTo>
                  <a:lnTo>
                    <a:pt x="375" y="40"/>
                  </a:lnTo>
                  <a:lnTo>
                    <a:pt x="366" y="45"/>
                  </a:lnTo>
                  <a:lnTo>
                    <a:pt x="353" y="58"/>
                  </a:lnTo>
                  <a:lnTo>
                    <a:pt x="322" y="67"/>
                  </a:lnTo>
                  <a:lnTo>
                    <a:pt x="291" y="63"/>
                  </a:lnTo>
                  <a:lnTo>
                    <a:pt x="250" y="40"/>
                  </a:lnTo>
                  <a:lnTo>
                    <a:pt x="228" y="45"/>
                  </a:lnTo>
                  <a:lnTo>
                    <a:pt x="206" y="40"/>
                  </a:lnTo>
                  <a:lnTo>
                    <a:pt x="201" y="13"/>
                  </a:lnTo>
                  <a:lnTo>
                    <a:pt x="157" y="0"/>
                  </a:lnTo>
                  <a:lnTo>
                    <a:pt x="143" y="22"/>
                  </a:lnTo>
                  <a:lnTo>
                    <a:pt x="148" y="31"/>
                  </a:lnTo>
                  <a:lnTo>
                    <a:pt x="143" y="54"/>
                  </a:lnTo>
                  <a:lnTo>
                    <a:pt x="103" y="54"/>
                  </a:lnTo>
                  <a:lnTo>
                    <a:pt x="85" y="36"/>
                  </a:lnTo>
                  <a:lnTo>
                    <a:pt x="72" y="36"/>
                  </a:lnTo>
                  <a:lnTo>
                    <a:pt x="67" y="31"/>
                  </a:lnTo>
                  <a:lnTo>
                    <a:pt x="40" y="40"/>
                  </a:lnTo>
                  <a:lnTo>
                    <a:pt x="14" y="58"/>
                  </a:lnTo>
                  <a:lnTo>
                    <a:pt x="5" y="58"/>
                  </a:lnTo>
                  <a:lnTo>
                    <a:pt x="0" y="67"/>
                  </a:lnTo>
                  <a:lnTo>
                    <a:pt x="5" y="80"/>
                  </a:lnTo>
                  <a:lnTo>
                    <a:pt x="23" y="89"/>
                  </a:lnTo>
                  <a:lnTo>
                    <a:pt x="45" y="107"/>
                  </a:lnTo>
                  <a:lnTo>
                    <a:pt x="45" y="147"/>
                  </a:lnTo>
                  <a:lnTo>
                    <a:pt x="81" y="152"/>
                  </a:lnTo>
                  <a:lnTo>
                    <a:pt x="103" y="165"/>
                  </a:lnTo>
                  <a:lnTo>
                    <a:pt x="121" y="197"/>
                  </a:lnTo>
                  <a:lnTo>
                    <a:pt x="201" y="201"/>
                  </a:lnTo>
                  <a:lnTo>
                    <a:pt x="210" y="210"/>
                  </a:lnTo>
                  <a:lnTo>
                    <a:pt x="250" y="223"/>
                  </a:lnTo>
                  <a:lnTo>
                    <a:pt x="259" y="210"/>
                  </a:lnTo>
                  <a:lnTo>
                    <a:pt x="291" y="201"/>
                  </a:lnTo>
                  <a:lnTo>
                    <a:pt x="317" y="201"/>
                  </a:lnTo>
                  <a:lnTo>
                    <a:pt x="326" y="188"/>
                  </a:lnTo>
                  <a:lnTo>
                    <a:pt x="344" y="179"/>
                  </a:lnTo>
                  <a:lnTo>
                    <a:pt x="331" y="161"/>
                  </a:lnTo>
                  <a:lnTo>
                    <a:pt x="340" y="147"/>
                  </a:lnTo>
                  <a:lnTo>
                    <a:pt x="349" y="147"/>
                  </a:lnTo>
                  <a:lnTo>
                    <a:pt x="358" y="156"/>
                  </a:lnTo>
                  <a:lnTo>
                    <a:pt x="366" y="156"/>
                  </a:lnTo>
                  <a:lnTo>
                    <a:pt x="380" y="139"/>
                  </a:lnTo>
                  <a:lnTo>
                    <a:pt x="393" y="143"/>
                  </a:lnTo>
                  <a:lnTo>
                    <a:pt x="416" y="121"/>
                  </a:lnTo>
                  <a:lnTo>
                    <a:pt x="438" y="125"/>
                  </a:lnTo>
                  <a:lnTo>
                    <a:pt x="451" y="116"/>
                  </a:lnTo>
                  <a:lnTo>
                    <a:pt x="456" y="107"/>
                  </a:lnTo>
                  <a:lnTo>
                    <a:pt x="442" y="107"/>
                  </a:lnTo>
                  <a:lnTo>
                    <a:pt x="433" y="89"/>
                  </a:lnTo>
                  <a:lnTo>
                    <a:pt x="416" y="98"/>
                  </a:lnTo>
                  <a:lnTo>
                    <a:pt x="407" y="94"/>
                  </a:lnTo>
                  <a:lnTo>
                    <a:pt x="393" y="98"/>
                  </a:lnTo>
                  <a:lnTo>
                    <a:pt x="389" y="89"/>
                  </a:lnTo>
                  <a:lnTo>
                    <a:pt x="402" y="71"/>
                  </a:lnTo>
                  <a:lnTo>
                    <a:pt x="407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2" name="Freeform 135">
              <a:extLst>
                <a:ext uri="{FF2B5EF4-FFF2-40B4-BE49-F238E27FC236}">
                  <a16:creationId xmlns:a16="http://schemas.microsoft.com/office/drawing/2014/main" id="{2BA9A43B-BCF7-4743-8C58-1887167C614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57165" y="4043033"/>
              <a:ext cx="156115" cy="223703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4" y="151"/>
                </a:cxn>
                <a:cxn ang="0">
                  <a:pos x="22" y="147"/>
                </a:cxn>
                <a:cxn ang="0">
                  <a:pos x="36" y="151"/>
                </a:cxn>
                <a:cxn ang="0">
                  <a:pos x="36" y="134"/>
                </a:cxn>
                <a:cxn ang="0">
                  <a:pos x="49" y="134"/>
                </a:cxn>
                <a:cxn ang="0">
                  <a:pos x="54" y="120"/>
                </a:cxn>
                <a:cxn ang="0">
                  <a:pos x="71" y="120"/>
                </a:cxn>
                <a:cxn ang="0">
                  <a:pos x="71" y="102"/>
                </a:cxn>
                <a:cxn ang="0">
                  <a:pos x="80" y="102"/>
                </a:cxn>
                <a:cxn ang="0">
                  <a:pos x="85" y="98"/>
                </a:cxn>
                <a:cxn ang="0">
                  <a:pos x="80" y="98"/>
                </a:cxn>
                <a:cxn ang="0">
                  <a:pos x="89" y="84"/>
                </a:cxn>
                <a:cxn ang="0">
                  <a:pos x="98" y="67"/>
                </a:cxn>
                <a:cxn ang="0">
                  <a:pos x="89" y="62"/>
                </a:cxn>
                <a:cxn ang="0">
                  <a:pos x="80" y="44"/>
                </a:cxn>
                <a:cxn ang="0">
                  <a:pos x="58" y="40"/>
                </a:cxn>
                <a:cxn ang="0">
                  <a:pos x="49" y="31"/>
                </a:cxn>
                <a:cxn ang="0">
                  <a:pos x="45" y="22"/>
                </a:cxn>
                <a:cxn ang="0">
                  <a:pos x="40" y="26"/>
                </a:cxn>
                <a:cxn ang="0">
                  <a:pos x="31" y="40"/>
                </a:cxn>
                <a:cxn ang="0">
                  <a:pos x="31" y="67"/>
                </a:cxn>
                <a:cxn ang="0">
                  <a:pos x="40" y="62"/>
                </a:cxn>
                <a:cxn ang="0">
                  <a:pos x="54" y="67"/>
                </a:cxn>
                <a:cxn ang="0">
                  <a:pos x="58" y="89"/>
                </a:cxn>
                <a:cxn ang="0">
                  <a:pos x="54" y="102"/>
                </a:cxn>
                <a:cxn ang="0">
                  <a:pos x="40" y="107"/>
                </a:cxn>
                <a:cxn ang="0">
                  <a:pos x="0" y="129"/>
                </a:cxn>
                <a:cxn ang="0">
                  <a:pos x="40" y="8"/>
                </a:cxn>
                <a:cxn ang="0">
                  <a:pos x="45" y="8"/>
                </a:cxn>
                <a:cxn ang="0">
                  <a:pos x="49" y="4"/>
                </a:cxn>
                <a:cxn ang="0">
                  <a:pos x="49" y="0"/>
                </a:cxn>
                <a:cxn ang="0">
                  <a:pos x="45" y="0"/>
                </a:cxn>
                <a:cxn ang="0">
                  <a:pos x="40" y="8"/>
                </a:cxn>
              </a:cxnLst>
              <a:rect l="0" t="0" r="r" b="b"/>
              <a:pathLst>
                <a:path w="98" h="151">
                  <a:moveTo>
                    <a:pt x="0" y="129"/>
                  </a:moveTo>
                  <a:lnTo>
                    <a:pt x="4" y="151"/>
                  </a:lnTo>
                  <a:lnTo>
                    <a:pt x="22" y="147"/>
                  </a:lnTo>
                  <a:lnTo>
                    <a:pt x="36" y="151"/>
                  </a:lnTo>
                  <a:lnTo>
                    <a:pt x="36" y="134"/>
                  </a:lnTo>
                  <a:lnTo>
                    <a:pt x="49" y="134"/>
                  </a:lnTo>
                  <a:lnTo>
                    <a:pt x="54" y="120"/>
                  </a:lnTo>
                  <a:lnTo>
                    <a:pt x="71" y="120"/>
                  </a:lnTo>
                  <a:lnTo>
                    <a:pt x="71" y="102"/>
                  </a:lnTo>
                  <a:lnTo>
                    <a:pt x="80" y="102"/>
                  </a:lnTo>
                  <a:lnTo>
                    <a:pt x="85" y="98"/>
                  </a:lnTo>
                  <a:lnTo>
                    <a:pt x="80" y="98"/>
                  </a:lnTo>
                  <a:lnTo>
                    <a:pt x="89" y="84"/>
                  </a:lnTo>
                  <a:lnTo>
                    <a:pt x="98" y="67"/>
                  </a:lnTo>
                  <a:lnTo>
                    <a:pt x="89" y="62"/>
                  </a:lnTo>
                  <a:lnTo>
                    <a:pt x="80" y="44"/>
                  </a:lnTo>
                  <a:lnTo>
                    <a:pt x="58" y="40"/>
                  </a:lnTo>
                  <a:lnTo>
                    <a:pt x="49" y="31"/>
                  </a:lnTo>
                  <a:lnTo>
                    <a:pt x="45" y="22"/>
                  </a:lnTo>
                  <a:lnTo>
                    <a:pt x="40" y="26"/>
                  </a:lnTo>
                  <a:lnTo>
                    <a:pt x="31" y="40"/>
                  </a:lnTo>
                  <a:lnTo>
                    <a:pt x="31" y="67"/>
                  </a:lnTo>
                  <a:lnTo>
                    <a:pt x="40" y="62"/>
                  </a:lnTo>
                  <a:lnTo>
                    <a:pt x="54" y="67"/>
                  </a:lnTo>
                  <a:lnTo>
                    <a:pt x="58" y="89"/>
                  </a:lnTo>
                  <a:lnTo>
                    <a:pt x="54" y="102"/>
                  </a:lnTo>
                  <a:lnTo>
                    <a:pt x="40" y="107"/>
                  </a:lnTo>
                  <a:lnTo>
                    <a:pt x="0" y="129"/>
                  </a:lnTo>
                  <a:close/>
                  <a:moveTo>
                    <a:pt x="40" y="8"/>
                  </a:moveTo>
                  <a:lnTo>
                    <a:pt x="45" y="8"/>
                  </a:lnTo>
                  <a:lnTo>
                    <a:pt x="49" y="4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3" name="Freeform 140">
              <a:extLst>
                <a:ext uri="{FF2B5EF4-FFF2-40B4-BE49-F238E27FC236}">
                  <a16:creationId xmlns:a16="http://schemas.microsoft.com/office/drawing/2014/main" id="{D99C050F-F48C-4AB0-99D8-824CE494171F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5582" y="3777849"/>
              <a:ext cx="375950" cy="337776"/>
            </a:xfrm>
            <a:custGeom>
              <a:avLst/>
              <a:gdLst/>
              <a:ahLst/>
              <a:cxnLst>
                <a:cxn ang="0">
                  <a:pos x="9" y="129"/>
                </a:cxn>
                <a:cxn ang="0">
                  <a:pos x="76" y="129"/>
                </a:cxn>
                <a:cxn ang="0">
                  <a:pos x="84" y="98"/>
                </a:cxn>
                <a:cxn ang="0">
                  <a:pos x="107" y="89"/>
                </a:cxn>
                <a:cxn ang="0">
                  <a:pos x="120" y="89"/>
                </a:cxn>
                <a:cxn ang="0">
                  <a:pos x="120" y="71"/>
                </a:cxn>
                <a:cxn ang="0">
                  <a:pos x="129" y="53"/>
                </a:cxn>
                <a:cxn ang="0">
                  <a:pos x="151" y="31"/>
                </a:cxn>
                <a:cxn ang="0">
                  <a:pos x="151" y="13"/>
                </a:cxn>
                <a:cxn ang="0">
                  <a:pos x="192" y="0"/>
                </a:cxn>
                <a:cxn ang="0">
                  <a:pos x="214" y="0"/>
                </a:cxn>
                <a:cxn ang="0">
                  <a:pos x="236" y="9"/>
                </a:cxn>
                <a:cxn ang="0">
                  <a:pos x="218" y="36"/>
                </a:cxn>
                <a:cxn ang="0">
                  <a:pos x="183" y="53"/>
                </a:cxn>
                <a:cxn ang="0">
                  <a:pos x="210" y="80"/>
                </a:cxn>
                <a:cxn ang="0">
                  <a:pos x="192" y="112"/>
                </a:cxn>
                <a:cxn ang="0">
                  <a:pos x="165" y="143"/>
                </a:cxn>
                <a:cxn ang="0">
                  <a:pos x="143" y="161"/>
                </a:cxn>
                <a:cxn ang="0">
                  <a:pos x="125" y="170"/>
                </a:cxn>
                <a:cxn ang="0">
                  <a:pos x="134" y="179"/>
                </a:cxn>
                <a:cxn ang="0">
                  <a:pos x="143" y="192"/>
                </a:cxn>
                <a:cxn ang="0">
                  <a:pos x="138" y="214"/>
                </a:cxn>
                <a:cxn ang="0">
                  <a:pos x="107" y="228"/>
                </a:cxn>
                <a:cxn ang="0">
                  <a:pos x="89" y="205"/>
                </a:cxn>
                <a:cxn ang="0">
                  <a:pos x="84" y="205"/>
                </a:cxn>
                <a:cxn ang="0">
                  <a:pos x="80" y="196"/>
                </a:cxn>
                <a:cxn ang="0">
                  <a:pos x="53" y="201"/>
                </a:cxn>
                <a:cxn ang="0">
                  <a:pos x="40" y="196"/>
                </a:cxn>
                <a:cxn ang="0">
                  <a:pos x="26" y="196"/>
                </a:cxn>
                <a:cxn ang="0">
                  <a:pos x="13" y="201"/>
                </a:cxn>
                <a:cxn ang="0">
                  <a:pos x="13" y="187"/>
                </a:cxn>
                <a:cxn ang="0">
                  <a:pos x="35" y="174"/>
                </a:cxn>
                <a:cxn ang="0">
                  <a:pos x="26" y="165"/>
                </a:cxn>
                <a:cxn ang="0">
                  <a:pos x="13" y="147"/>
                </a:cxn>
                <a:cxn ang="0">
                  <a:pos x="0" y="125"/>
                </a:cxn>
              </a:cxnLst>
              <a:rect l="0" t="0" r="r" b="b"/>
              <a:pathLst>
                <a:path w="236" h="228">
                  <a:moveTo>
                    <a:pt x="0" y="125"/>
                  </a:moveTo>
                  <a:lnTo>
                    <a:pt x="9" y="129"/>
                  </a:lnTo>
                  <a:lnTo>
                    <a:pt x="22" y="134"/>
                  </a:lnTo>
                  <a:lnTo>
                    <a:pt x="76" y="129"/>
                  </a:lnTo>
                  <a:lnTo>
                    <a:pt x="80" y="107"/>
                  </a:lnTo>
                  <a:lnTo>
                    <a:pt x="84" y="98"/>
                  </a:lnTo>
                  <a:lnTo>
                    <a:pt x="98" y="98"/>
                  </a:lnTo>
                  <a:lnTo>
                    <a:pt x="107" y="89"/>
                  </a:lnTo>
                  <a:lnTo>
                    <a:pt x="116" y="94"/>
                  </a:lnTo>
                  <a:lnTo>
                    <a:pt x="120" y="89"/>
                  </a:lnTo>
                  <a:lnTo>
                    <a:pt x="120" y="76"/>
                  </a:lnTo>
                  <a:lnTo>
                    <a:pt x="120" y="71"/>
                  </a:lnTo>
                  <a:lnTo>
                    <a:pt x="134" y="62"/>
                  </a:lnTo>
                  <a:lnTo>
                    <a:pt x="129" y="53"/>
                  </a:lnTo>
                  <a:lnTo>
                    <a:pt x="143" y="49"/>
                  </a:lnTo>
                  <a:lnTo>
                    <a:pt x="151" y="31"/>
                  </a:lnTo>
                  <a:lnTo>
                    <a:pt x="147" y="22"/>
                  </a:lnTo>
                  <a:lnTo>
                    <a:pt x="151" y="13"/>
                  </a:lnTo>
                  <a:lnTo>
                    <a:pt x="169" y="4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14" y="0"/>
                  </a:lnTo>
                  <a:lnTo>
                    <a:pt x="223" y="13"/>
                  </a:lnTo>
                  <a:lnTo>
                    <a:pt x="236" y="9"/>
                  </a:lnTo>
                  <a:lnTo>
                    <a:pt x="232" y="40"/>
                  </a:lnTo>
                  <a:lnTo>
                    <a:pt x="218" y="36"/>
                  </a:lnTo>
                  <a:lnTo>
                    <a:pt x="187" y="36"/>
                  </a:lnTo>
                  <a:lnTo>
                    <a:pt x="183" y="53"/>
                  </a:lnTo>
                  <a:lnTo>
                    <a:pt x="187" y="67"/>
                  </a:lnTo>
                  <a:lnTo>
                    <a:pt x="210" y="80"/>
                  </a:lnTo>
                  <a:lnTo>
                    <a:pt x="201" y="94"/>
                  </a:lnTo>
                  <a:lnTo>
                    <a:pt x="192" y="112"/>
                  </a:lnTo>
                  <a:lnTo>
                    <a:pt x="183" y="134"/>
                  </a:lnTo>
                  <a:lnTo>
                    <a:pt x="165" y="143"/>
                  </a:lnTo>
                  <a:lnTo>
                    <a:pt x="160" y="152"/>
                  </a:lnTo>
                  <a:lnTo>
                    <a:pt x="143" y="161"/>
                  </a:lnTo>
                  <a:lnTo>
                    <a:pt x="134" y="156"/>
                  </a:lnTo>
                  <a:lnTo>
                    <a:pt x="125" y="170"/>
                  </a:lnTo>
                  <a:lnTo>
                    <a:pt x="120" y="179"/>
                  </a:lnTo>
                  <a:lnTo>
                    <a:pt x="134" y="179"/>
                  </a:lnTo>
                  <a:lnTo>
                    <a:pt x="129" y="187"/>
                  </a:lnTo>
                  <a:lnTo>
                    <a:pt x="143" y="192"/>
                  </a:lnTo>
                  <a:lnTo>
                    <a:pt x="151" y="214"/>
                  </a:lnTo>
                  <a:lnTo>
                    <a:pt x="138" y="214"/>
                  </a:lnTo>
                  <a:lnTo>
                    <a:pt x="111" y="219"/>
                  </a:lnTo>
                  <a:lnTo>
                    <a:pt x="107" y="228"/>
                  </a:lnTo>
                  <a:lnTo>
                    <a:pt x="89" y="219"/>
                  </a:lnTo>
                  <a:lnTo>
                    <a:pt x="89" y="205"/>
                  </a:lnTo>
                  <a:lnTo>
                    <a:pt x="89" y="205"/>
                  </a:lnTo>
                  <a:lnTo>
                    <a:pt x="84" y="205"/>
                  </a:lnTo>
                  <a:lnTo>
                    <a:pt x="84" y="201"/>
                  </a:lnTo>
                  <a:lnTo>
                    <a:pt x="80" y="196"/>
                  </a:lnTo>
                  <a:lnTo>
                    <a:pt x="67" y="192"/>
                  </a:lnTo>
                  <a:lnTo>
                    <a:pt x="53" y="201"/>
                  </a:lnTo>
                  <a:lnTo>
                    <a:pt x="49" y="196"/>
                  </a:lnTo>
                  <a:lnTo>
                    <a:pt x="40" y="196"/>
                  </a:lnTo>
                  <a:lnTo>
                    <a:pt x="40" y="201"/>
                  </a:lnTo>
                  <a:lnTo>
                    <a:pt x="26" y="196"/>
                  </a:lnTo>
                  <a:lnTo>
                    <a:pt x="22" y="201"/>
                  </a:lnTo>
                  <a:lnTo>
                    <a:pt x="13" y="201"/>
                  </a:lnTo>
                  <a:lnTo>
                    <a:pt x="13" y="196"/>
                  </a:lnTo>
                  <a:lnTo>
                    <a:pt x="13" y="187"/>
                  </a:lnTo>
                  <a:lnTo>
                    <a:pt x="22" y="179"/>
                  </a:lnTo>
                  <a:lnTo>
                    <a:pt x="35" y="174"/>
                  </a:lnTo>
                  <a:lnTo>
                    <a:pt x="35" y="165"/>
                  </a:lnTo>
                  <a:lnTo>
                    <a:pt x="26" y="165"/>
                  </a:lnTo>
                  <a:lnTo>
                    <a:pt x="26" y="152"/>
                  </a:lnTo>
                  <a:lnTo>
                    <a:pt x="13" y="147"/>
                  </a:lnTo>
                  <a:lnTo>
                    <a:pt x="0" y="129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4" name="Freeform 143">
              <a:extLst>
                <a:ext uri="{FF2B5EF4-FFF2-40B4-BE49-F238E27FC236}">
                  <a16:creationId xmlns:a16="http://schemas.microsoft.com/office/drawing/2014/main" id="{866C6D2B-3C8D-49B6-97F3-0B15C8B8F7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7782" y="4043033"/>
              <a:ext cx="20709" cy="3851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9" y="26"/>
                </a:cxn>
                <a:cxn ang="0">
                  <a:pos x="13" y="26"/>
                </a:cxn>
                <a:cxn ang="0">
                  <a:pos x="13" y="8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22"/>
                </a:cxn>
              </a:cxnLst>
              <a:rect l="0" t="0" r="r" b="b"/>
              <a:pathLst>
                <a:path w="13" h="26">
                  <a:moveTo>
                    <a:pt x="0" y="22"/>
                  </a:moveTo>
                  <a:lnTo>
                    <a:pt x="9" y="26"/>
                  </a:lnTo>
                  <a:lnTo>
                    <a:pt x="13" y="26"/>
                  </a:lnTo>
                  <a:lnTo>
                    <a:pt x="13" y="8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5" name="Freeform 144">
              <a:extLst>
                <a:ext uri="{FF2B5EF4-FFF2-40B4-BE49-F238E27FC236}">
                  <a16:creationId xmlns:a16="http://schemas.microsoft.com/office/drawing/2014/main" id="{89CDFA9C-C7BD-4379-9335-3FAED114586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87741" y="1863785"/>
              <a:ext cx="3899689" cy="1794065"/>
            </a:xfrm>
            <a:custGeom>
              <a:avLst/>
              <a:gdLst/>
              <a:ahLst/>
              <a:cxnLst>
                <a:cxn ang="0">
                  <a:pos x="23" y="907"/>
                </a:cxn>
                <a:cxn ang="0">
                  <a:pos x="152" y="764"/>
                </a:cxn>
                <a:cxn ang="0">
                  <a:pos x="157" y="630"/>
                </a:cxn>
                <a:cxn ang="0">
                  <a:pos x="170" y="429"/>
                </a:cxn>
                <a:cxn ang="0">
                  <a:pos x="300" y="505"/>
                </a:cxn>
                <a:cxn ang="0">
                  <a:pos x="224" y="613"/>
                </a:cxn>
                <a:cxn ang="0">
                  <a:pos x="318" y="577"/>
                </a:cxn>
                <a:cxn ang="0">
                  <a:pos x="385" y="541"/>
                </a:cxn>
                <a:cxn ang="0">
                  <a:pos x="577" y="474"/>
                </a:cxn>
                <a:cxn ang="0">
                  <a:pos x="697" y="358"/>
                </a:cxn>
                <a:cxn ang="0">
                  <a:pos x="755" y="568"/>
                </a:cxn>
                <a:cxn ang="0">
                  <a:pos x="796" y="318"/>
                </a:cxn>
                <a:cxn ang="0">
                  <a:pos x="867" y="318"/>
                </a:cxn>
                <a:cxn ang="0">
                  <a:pos x="965" y="170"/>
                </a:cxn>
                <a:cxn ang="0">
                  <a:pos x="1229" y="41"/>
                </a:cxn>
                <a:cxn ang="0">
                  <a:pos x="1314" y="242"/>
                </a:cxn>
                <a:cxn ang="0">
                  <a:pos x="1573" y="349"/>
                </a:cxn>
                <a:cxn ang="0">
                  <a:pos x="1823" y="309"/>
                </a:cxn>
                <a:cxn ang="0">
                  <a:pos x="2073" y="438"/>
                </a:cxn>
                <a:cxn ang="0">
                  <a:pos x="2377" y="537"/>
                </a:cxn>
                <a:cxn ang="0">
                  <a:pos x="2310" y="595"/>
                </a:cxn>
                <a:cxn ang="0">
                  <a:pos x="2095" y="782"/>
                </a:cxn>
                <a:cxn ang="0">
                  <a:pos x="2011" y="957"/>
                </a:cxn>
                <a:cxn ang="0">
                  <a:pos x="2055" y="724"/>
                </a:cxn>
                <a:cxn ang="0">
                  <a:pos x="1854" y="782"/>
                </a:cxn>
                <a:cxn ang="0">
                  <a:pos x="1716" y="1091"/>
                </a:cxn>
                <a:cxn ang="0">
                  <a:pos x="1649" y="1068"/>
                </a:cxn>
                <a:cxn ang="0">
                  <a:pos x="1448" y="979"/>
                </a:cxn>
                <a:cxn ang="0">
                  <a:pos x="1140" y="979"/>
                </a:cxn>
                <a:cxn ang="0">
                  <a:pos x="934" y="1028"/>
                </a:cxn>
                <a:cxn ang="0">
                  <a:pos x="800" y="934"/>
                </a:cxn>
                <a:cxn ang="0">
                  <a:pos x="697" y="912"/>
                </a:cxn>
                <a:cxn ang="0">
                  <a:pos x="590" y="961"/>
                </a:cxn>
                <a:cxn ang="0">
                  <a:pos x="532" y="1001"/>
                </a:cxn>
                <a:cxn ang="0">
                  <a:pos x="434" y="1010"/>
                </a:cxn>
                <a:cxn ang="0">
                  <a:pos x="420" y="1091"/>
                </a:cxn>
                <a:cxn ang="0">
                  <a:pos x="411" y="1211"/>
                </a:cxn>
                <a:cxn ang="0">
                  <a:pos x="322" y="1171"/>
                </a:cxn>
                <a:cxn ang="0">
                  <a:pos x="273" y="1091"/>
                </a:cxn>
                <a:cxn ang="0">
                  <a:pos x="260" y="1019"/>
                </a:cxn>
                <a:cxn ang="0">
                  <a:pos x="170" y="957"/>
                </a:cxn>
                <a:cxn ang="0">
                  <a:pos x="139" y="881"/>
                </a:cxn>
                <a:cxn ang="0">
                  <a:pos x="188" y="764"/>
                </a:cxn>
                <a:cxn ang="0">
                  <a:pos x="429" y="443"/>
                </a:cxn>
                <a:cxn ang="0">
                  <a:pos x="711" y="67"/>
                </a:cxn>
                <a:cxn ang="0">
                  <a:pos x="528" y="188"/>
                </a:cxn>
                <a:cxn ang="0">
                  <a:pos x="537" y="376"/>
                </a:cxn>
                <a:cxn ang="0">
                  <a:pos x="483" y="353"/>
                </a:cxn>
                <a:cxn ang="0">
                  <a:pos x="550" y="385"/>
                </a:cxn>
                <a:cxn ang="0">
                  <a:pos x="1296" y="890"/>
                </a:cxn>
                <a:cxn ang="0">
                  <a:pos x="1693" y="121"/>
                </a:cxn>
                <a:cxn ang="0">
                  <a:pos x="1760" y="130"/>
                </a:cxn>
                <a:cxn ang="0">
                  <a:pos x="1734" y="242"/>
                </a:cxn>
                <a:cxn ang="0">
                  <a:pos x="1756" y="939"/>
                </a:cxn>
                <a:cxn ang="0">
                  <a:pos x="1792" y="1055"/>
                </a:cxn>
                <a:cxn ang="0">
                  <a:pos x="1823" y="1144"/>
                </a:cxn>
                <a:cxn ang="0">
                  <a:pos x="1832" y="188"/>
                </a:cxn>
                <a:cxn ang="0">
                  <a:pos x="1903" y="1086"/>
                </a:cxn>
                <a:cxn ang="0">
                  <a:pos x="1953" y="1015"/>
                </a:cxn>
                <a:cxn ang="0">
                  <a:pos x="2091" y="903"/>
                </a:cxn>
              </a:cxnLst>
              <a:rect l="0" t="0" r="r" b="b"/>
              <a:pathLst>
                <a:path w="2448" h="1211">
                  <a:moveTo>
                    <a:pt x="23" y="894"/>
                  </a:moveTo>
                  <a:lnTo>
                    <a:pt x="27" y="894"/>
                  </a:lnTo>
                  <a:lnTo>
                    <a:pt x="27" y="899"/>
                  </a:lnTo>
                  <a:lnTo>
                    <a:pt x="41" y="903"/>
                  </a:lnTo>
                  <a:lnTo>
                    <a:pt x="50" y="903"/>
                  </a:lnTo>
                  <a:lnTo>
                    <a:pt x="50" y="907"/>
                  </a:lnTo>
                  <a:lnTo>
                    <a:pt x="50" y="921"/>
                  </a:lnTo>
                  <a:lnTo>
                    <a:pt x="27" y="921"/>
                  </a:lnTo>
                  <a:lnTo>
                    <a:pt x="9" y="916"/>
                  </a:lnTo>
                  <a:lnTo>
                    <a:pt x="0" y="916"/>
                  </a:lnTo>
                  <a:lnTo>
                    <a:pt x="9" y="912"/>
                  </a:lnTo>
                  <a:lnTo>
                    <a:pt x="5" y="912"/>
                  </a:lnTo>
                  <a:lnTo>
                    <a:pt x="5" y="907"/>
                  </a:lnTo>
                  <a:lnTo>
                    <a:pt x="14" y="903"/>
                  </a:lnTo>
                  <a:lnTo>
                    <a:pt x="18" y="894"/>
                  </a:lnTo>
                  <a:lnTo>
                    <a:pt x="14" y="907"/>
                  </a:lnTo>
                  <a:lnTo>
                    <a:pt x="23" y="907"/>
                  </a:lnTo>
                  <a:lnTo>
                    <a:pt x="27" y="903"/>
                  </a:lnTo>
                  <a:lnTo>
                    <a:pt x="23" y="894"/>
                  </a:lnTo>
                  <a:close/>
                  <a:moveTo>
                    <a:pt x="117" y="840"/>
                  </a:moveTo>
                  <a:lnTo>
                    <a:pt x="126" y="836"/>
                  </a:lnTo>
                  <a:lnTo>
                    <a:pt x="130" y="832"/>
                  </a:lnTo>
                  <a:lnTo>
                    <a:pt x="121" y="823"/>
                  </a:lnTo>
                  <a:lnTo>
                    <a:pt x="117" y="814"/>
                  </a:lnTo>
                  <a:lnTo>
                    <a:pt x="117" y="809"/>
                  </a:lnTo>
                  <a:lnTo>
                    <a:pt x="117" y="800"/>
                  </a:lnTo>
                  <a:lnTo>
                    <a:pt x="126" y="796"/>
                  </a:lnTo>
                  <a:lnTo>
                    <a:pt x="130" y="787"/>
                  </a:lnTo>
                  <a:lnTo>
                    <a:pt x="126" y="778"/>
                  </a:lnTo>
                  <a:lnTo>
                    <a:pt x="126" y="773"/>
                  </a:lnTo>
                  <a:lnTo>
                    <a:pt x="130" y="778"/>
                  </a:lnTo>
                  <a:lnTo>
                    <a:pt x="139" y="769"/>
                  </a:lnTo>
                  <a:lnTo>
                    <a:pt x="148" y="773"/>
                  </a:lnTo>
                  <a:lnTo>
                    <a:pt x="152" y="764"/>
                  </a:lnTo>
                  <a:lnTo>
                    <a:pt x="148" y="764"/>
                  </a:lnTo>
                  <a:lnTo>
                    <a:pt x="134" y="764"/>
                  </a:lnTo>
                  <a:lnTo>
                    <a:pt x="130" y="756"/>
                  </a:lnTo>
                  <a:lnTo>
                    <a:pt x="134" y="756"/>
                  </a:lnTo>
                  <a:lnTo>
                    <a:pt x="134" y="747"/>
                  </a:lnTo>
                  <a:lnTo>
                    <a:pt x="130" y="756"/>
                  </a:lnTo>
                  <a:lnTo>
                    <a:pt x="126" y="756"/>
                  </a:lnTo>
                  <a:lnTo>
                    <a:pt x="134" y="747"/>
                  </a:lnTo>
                  <a:lnTo>
                    <a:pt x="143" y="738"/>
                  </a:lnTo>
                  <a:lnTo>
                    <a:pt x="148" y="724"/>
                  </a:lnTo>
                  <a:lnTo>
                    <a:pt x="175" y="697"/>
                  </a:lnTo>
                  <a:lnTo>
                    <a:pt x="179" y="689"/>
                  </a:lnTo>
                  <a:lnTo>
                    <a:pt x="161" y="671"/>
                  </a:lnTo>
                  <a:lnTo>
                    <a:pt x="148" y="657"/>
                  </a:lnTo>
                  <a:lnTo>
                    <a:pt x="161" y="644"/>
                  </a:lnTo>
                  <a:lnTo>
                    <a:pt x="148" y="635"/>
                  </a:lnTo>
                  <a:lnTo>
                    <a:pt x="157" y="630"/>
                  </a:lnTo>
                  <a:lnTo>
                    <a:pt x="148" y="626"/>
                  </a:lnTo>
                  <a:lnTo>
                    <a:pt x="148" y="581"/>
                  </a:lnTo>
                  <a:lnTo>
                    <a:pt x="157" y="577"/>
                  </a:lnTo>
                  <a:lnTo>
                    <a:pt x="148" y="563"/>
                  </a:lnTo>
                  <a:lnTo>
                    <a:pt x="143" y="546"/>
                  </a:lnTo>
                  <a:lnTo>
                    <a:pt x="134" y="532"/>
                  </a:lnTo>
                  <a:lnTo>
                    <a:pt x="148" y="505"/>
                  </a:lnTo>
                  <a:lnTo>
                    <a:pt x="148" y="496"/>
                  </a:lnTo>
                  <a:lnTo>
                    <a:pt x="134" y="487"/>
                  </a:lnTo>
                  <a:lnTo>
                    <a:pt x="130" y="470"/>
                  </a:lnTo>
                  <a:lnTo>
                    <a:pt x="139" y="452"/>
                  </a:lnTo>
                  <a:lnTo>
                    <a:pt x="148" y="438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57" y="438"/>
                  </a:lnTo>
                  <a:lnTo>
                    <a:pt x="161" y="425"/>
                  </a:lnTo>
                  <a:lnTo>
                    <a:pt x="170" y="429"/>
                  </a:lnTo>
                  <a:lnTo>
                    <a:pt x="175" y="425"/>
                  </a:lnTo>
                  <a:lnTo>
                    <a:pt x="175" y="416"/>
                  </a:lnTo>
                  <a:lnTo>
                    <a:pt x="197" y="425"/>
                  </a:lnTo>
                  <a:lnTo>
                    <a:pt x="193" y="434"/>
                  </a:lnTo>
                  <a:lnTo>
                    <a:pt x="179" y="429"/>
                  </a:lnTo>
                  <a:lnTo>
                    <a:pt x="179" y="434"/>
                  </a:lnTo>
                  <a:lnTo>
                    <a:pt x="201" y="443"/>
                  </a:lnTo>
                  <a:lnTo>
                    <a:pt x="197" y="456"/>
                  </a:lnTo>
                  <a:lnTo>
                    <a:pt x="206" y="452"/>
                  </a:lnTo>
                  <a:lnTo>
                    <a:pt x="224" y="452"/>
                  </a:lnTo>
                  <a:lnTo>
                    <a:pt x="228" y="447"/>
                  </a:lnTo>
                  <a:lnTo>
                    <a:pt x="233" y="447"/>
                  </a:lnTo>
                  <a:lnTo>
                    <a:pt x="246" y="456"/>
                  </a:lnTo>
                  <a:lnTo>
                    <a:pt x="273" y="483"/>
                  </a:lnTo>
                  <a:lnTo>
                    <a:pt x="277" y="478"/>
                  </a:lnTo>
                  <a:lnTo>
                    <a:pt x="300" y="496"/>
                  </a:lnTo>
                  <a:lnTo>
                    <a:pt x="300" y="505"/>
                  </a:lnTo>
                  <a:lnTo>
                    <a:pt x="309" y="510"/>
                  </a:lnTo>
                  <a:lnTo>
                    <a:pt x="309" y="537"/>
                  </a:lnTo>
                  <a:lnTo>
                    <a:pt x="300" y="563"/>
                  </a:lnTo>
                  <a:lnTo>
                    <a:pt x="282" y="572"/>
                  </a:lnTo>
                  <a:lnTo>
                    <a:pt x="246" y="568"/>
                  </a:lnTo>
                  <a:lnTo>
                    <a:pt x="219" y="559"/>
                  </a:lnTo>
                  <a:lnTo>
                    <a:pt x="201" y="550"/>
                  </a:lnTo>
                  <a:lnTo>
                    <a:pt x="193" y="537"/>
                  </a:lnTo>
                  <a:lnTo>
                    <a:pt x="184" y="537"/>
                  </a:lnTo>
                  <a:lnTo>
                    <a:pt x="188" y="550"/>
                  </a:lnTo>
                  <a:lnTo>
                    <a:pt x="197" y="554"/>
                  </a:lnTo>
                  <a:lnTo>
                    <a:pt x="197" y="559"/>
                  </a:lnTo>
                  <a:lnTo>
                    <a:pt x="206" y="563"/>
                  </a:lnTo>
                  <a:lnTo>
                    <a:pt x="219" y="568"/>
                  </a:lnTo>
                  <a:lnTo>
                    <a:pt x="224" y="581"/>
                  </a:lnTo>
                  <a:lnTo>
                    <a:pt x="219" y="604"/>
                  </a:lnTo>
                  <a:lnTo>
                    <a:pt x="224" y="613"/>
                  </a:lnTo>
                  <a:lnTo>
                    <a:pt x="219" y="630"/>
                  </a:lnTo>
                  <a:lnTo>
                    <a:pt x="233" y="630"/>
                  </a:lnTo>
                  <a:lnTo>
                    <a:pt x="246" y="644"/>
                  </a:lnTo>
                  <a:lnTo>
                    <a:pt x="268" y="644"/>
                  </a:lnTo>
                  <a:lnTo>
                    <a:pt x="268" y="630"/>
                  </a:lnTo>
                  <a:lnTo>
                    <a:pt x="255" y="630"/>
                  </a:lnTo>
                  <a:lnTo>
                    <a:pt x="246" y="617"/>
                  </a:lnTo>
                  <a:lnTo>
                    <a:pt x="251" y="604"/>
                  </a:lnTo>
                  <a:lnTo>
                    <a:pt x="260" y="608"/>
                  </a:lnTo>
                  <a:lnTo>
                    <a:pt x="291" y="626"/>
                  </a:lnTo>
                  <a:lnTo>
                    <a:pt x="304" y="626"/>
                  </a:lnTo>
                  <a:lnTo>
                    <a:pt x="300" y="617"/>
                  </a:lnTo>
                  <a:lnTo>
                    <a:pt x="291" y="604"/>
                  </a:lnTo>
                  <a:lnTo>
                    <a:pt x="291" y="595"/>
                  </a:lnTo>
                  <a:lnTo>
                    <a:pt x="300" y="586"/>
                  </a:lnTo>
                  <a:lnTo>
                    <a:pt x="304" y="577"/>
                  </a:lnTo>
                  <a:lnTo>
                    <a:pt x="318" y="577"/>
                  </a:lnTo>
                  <a:lnTo>
                    <a:pt x="327" y="559"/>
                  </a:lnTo>
                  <a:lnTo>
                    <a:pt x="358" y="572"/>
                  </a:lnTo>
                  <a:lnTo>
                    <a:pt x="362" y="546"/>
                  </a:lnTo>
                  <a:lnTo>
                    <a:pt x="362" y="528"/>
                  </a:lnTo>
                  <a:lnTo>
                    <a:pt x="349" y="528"/>
                  </a:lnTo>
                  <a:lnTo>
                    <a:pt x="349" y="505"/>
                  </a:lnTo>
                  <a:lnTo>
                    <a:pt x="353" y="487"/>
                  </a:lnTo>
                  <a:lnTo>
                    <a:pt x="340" y="474"/>
                  </a:lnTo>
                  <a:lnTo>
                    <a:pt x="344" y="470"/>
                  </a:lnTo>
                  <a:lnTo>
                    <a:pt x="358" y="474"/>
                  </a:lnTo>
                  <a:lnTo>
                    <a:pt x="371" y="474"/>
                  </a:lnTo>
                  <a:lnTo>
                    <a:pt x="389" y="492"/>
                  </a:lnTo>
                  <a:lnTo>
                    <a:pt x="394" y="501"/>
                  </a:lnTo>
                  <a:lnTo>
                    <a:pt x="376" y="505"/>
                  </a:lnTo>
                  <a:lnTo>
                    <a:pt x="371" y="519"/>
                  </a:lnTo>
                  <a:lnTo>
                    <a:pt x="376" y="523"/>
                  </a:lnTo>
                  <a:lnTo>
                    <a:pt x="385" y="541"/>
                  </a:lnTo>
                  <a:lnTo>
                    <a:pt x="407" y="541"/>
                  </a:lnTo>
                  <a:lnTo>
                    <a:pt x="411" y="510"/>
                  </a:lnTo>
                  <a:lnTo>
                    <a:pt x="447" y="483"/>
                  </a:lnTo>
                  <a:lnTo>
                    <a:pt x="456" y="483"/>
                  </a:lnTo>
                  <a:lnTo>
                    <a:pt x="487" y="461"/>
                  </a:lnTo>
                  <a:lnTo>
                    <a:pt x="501" y="461"/>
                  </a:lnTo>
                  <a:lnTo>
                    <a:pt x="492" y="474"/>
                  </a:lnTo>
                  <a:lnTo>
                    <a:pt x="496" y="483"/>
                  </a:lnTo>
                  <a:lnTo>
                    <a:pt x="487" y="487"/>
                  </a:lnTo>
                  <a:lnTo>
                    <a:pt x="501" y="492"/>
                  </a:lnTo>
                  <a:lnTo>
                    <a:pt x="523" y="474"/>
                  </a:lnTo>
                  <a:lnTo>
                    <a:pt x="541" y="474"/>
                  </a:lnTo>
                  <a:lnTo>
                    <a:pt x="559" y="461"/>
                  </a:lnTo>
                  <a:lnTo>
                    <a:pt x="568" y="461"/>
                  </a:lnTo>
                  <a:lnTo>
                    <a:pt x="568" y="483"/>
                  </a:lnTo>
                  <a:lnTo>
                    <a:pt x="581" y="483"/>
                  </a:lnTo>
                  <a:lnTo>
                    <a:pt x="577" y="474"/>
                  </a:lnTo>
                  <a:lnTo>
                    <a:pt x="595" y="465"/>
                  </a:lnTo>
                  <a:lnTo>
                    <a:pt x="586" y="438"/>
                  </a:lnTo>
                  <a:lnTo>
                    <a:pt x="595" y="429"/>
                  </a:lnTo>
                  <a:lnTo>
                    <a:pt x="630" y="434"/>
                  </a:lnTo>
                  <a:lnTo>
                    <a:pt x="662" y="456"/>
                  </a:lnTo>
                  <a:lnTo>
                    <a:pt x="693" y="478"/>
                  </a:lnTo>
                  <a:lnTo>
                    <a:pt x="702" y="496"/>
                  </a:lnTo>
                  <a:lnTo>
                    <a:pt x="711" y="470"/>
                  </a:lnTo>
                  <a:lnTo>
                    <a:pt x="702" y="470"/>
                  </a:lnTo>
                  <a:lnTo>
                    <a:pt x="693" y="443"/>
                  </a:lnTo>
                  <a:lnTo>
                    <a:pt x="679" y="443"/>
                  </a:lnTo>
                  <a:lnTo>
                    <a:pt x="679" y="420"/>
                  </a:lnTo>
                  <a:lnTo>
                    <a:pt x="684" y="411"/>
                  </a:lnTo>
                  <a:lnTo>
                    <a:pt x="684" y="389"/>
                  </a:lnTo>
                  <a:lnTo>
                    <a:pt x="675" y="394"/>
                  </a:lnTo>
                  <a:lnTo>
                    <a:pt x="684" y="362"/>
                  </a:lnTo>
                  <a:lnTo>
                    <a:pt x="697" y="358"/>
                  </a:lnTo>
                  <a:lnTo>
                    <a:pt x="706" y="331"/>
                  </a:lnTo>
                  <a:lnTo>
                    <a:pt x="711" y="295"/>
                  </a:lnTo>
                  <a:lnTo>
                    <a:pt x="720" y="282"/>
                  </a:lnTo>
                  <a:lnTo>
                    <a:pt x="751" y="282"/>
                  </a:lnTo>
                  <a:lnTo>
                    <a:pt x="760" y="291"/>
                  </a:lnTo>
                  <a:lnTo>
                    <a:pt x="755" y="340"/>
                  </a:lnTo>
                  <a:lnTo>
                    <a:pt x="746" y="340"/>
                  </a:lnTo>
                  <a:lnTo>
                    <a:pt x="769" y="376"/>
                  </a:lnTo>
                  <a:lnTo>
                    <a:pt x="760" y="456"/>
                  </a:lnTo>
                  <a:lnTo>
                    <a:pt x="773" y="478"/>
                  </a:lnTo>
                  <a:lnTo>
                    <a:pt x="764" y="492"/>
                  </a:lnTo>
                  <a:lnTo>
                    <a:pt x="769" y="510"/>
                  </a:lnTo>
                  <a:lnTo>
                    <a:pt x="755" y="537"/>
                  </a:lnTo>
                  <a:lnTo>
                    <a:pt x="746" y="546"/>
                  </a:lnTo>
                  <a:lnTo>
                    <a:pt x="738" y="554"/>
                  </a:lnTo>
                  <a:lnTo>
                    <a:pt x="742" y="563"/>
                  </a:lnTo>
                  <a:lnTo>
                    <a:pt x="755" y="568"/>
                  </a:lnTo>
                  <a:lnTo>
                    <a:pt x="760" y="554"/>
                  </a:lnTo>
                  <a:lnTo>
                    <a:pt x="778" y="541"/>
                  </a:lnTo>
                  <a:lnTo>
                    <a:pt x="782" y="514"/>
                  </a:lnTo>
                  <a:lnTo>
                    <a:pt x="791" y="510"/>
                  </a:lnTo>
                  <a:lnTo>
                    <a:pt x="791" y="478"/>
                  </a:lnTo>
                  <a:lnTo>
                    <a:pt x="818" y="465"/>
                  </a:lnTo>
                  <a:lnTo>
                    <a:pt x="827" y="505"/>
                  </a:lnTo>
                  <a:lnTo>
                    <a:pt x="840" y="487"/>
                  </a:lnTo>
                  <a:lnTo>
                    <a:pt x="836" y="465"/>
                  </a:lnTo>
                  <a:lnTo>
                    <a:pt x="809" y="456"/>
                  </a:lnTo>
                  <a:lnTo>
                    <a:pt x="778" y="461"/>
                  </a:lnTo>
                  <a:lnTo>
                    <a:pt x="773" y="416"/>
                  </a:lnTo>
                  <a:lnTo>
                    <a:pt x="787" y="398"/>
                  </a:lnTo>
                  <a:lnTo>
                    <a:pt x="778" y="362"/>
                  </a:lnTo>
                  <a:lnTo>
                    <a:pt x="769" y="358"/>
                  </a:lnTo>
                  <a:lnTo>
                    <a:pt x="778" y="335"/>
                  </a:lnTo>
                  <a:lnTo>
                    <a:pt x="796" y="318"/>
                  </a:lnTo>
                  <a:lnTo>
                    <a:pt x="796" y="286"/>
                  </a:lnTo>
                  <a:lnTo>
                    <a:pt x="800" y="282"/>
                  </a:lnTo>
                  <a:lnTo>
                    <a:pt x="809" y="309"/>
                  </a:lnTo>
                  <a:lnTo>
                    <a:pt x="805" y="358"/>
                  </a:lnTo>
                  <a:lnTo>
                    <a:pt x="836" y="367"/>
                  </a:lnTo>
                  <a:lnTo>
                    <a:pt x="840" y="380"/>
                  </a:lnTo>
                  <a:lnTo>
                    <a:pt x="849" y="376"/>
                  </a:lnTo>
                  <a:lnTo>
                    <a:pt x="836" y="358"/>
                  </a:lnTo>
                  <a:lnTo>
                    <a:pt x="813" y="344"/>
                  </a:lnTo>
                  <a:lnTo>
                    <a:pt x="818" y="327"/>
                  </a:lnTo>
                  <a:lnTo>
                    <a:pt x="836" y="335"/>
                  </a:lnTo>
                  <a:lnTo>
                    <a:pt x="845" y="322"/>
                  </a:lnTo>
                  <a:lnTo>
                    <a:pt x="831" y="322"/>
                  </a:lnTo>
                  <a:lnTo>
                    <a:pt x="831" y="313"/>
                  </a:lnTo>
                  <a:lnTo>
                    <a:pt x="845" y="304"/>
                  </a:lnTo>
                  <a:lnTo>
                    <a:pt x="863" y="309"/>
                  </a:lnTo>
                  <a:lnTo>
                    <a:pt x="867" y="318"/>
                  </a:lnTo>
                  <a:lnTo>
                    <a:pt x="880" y="318"/>
                  </a:lnTo>
                  <a:lnTo>
                    <a:pt x="894" y="340"/>
                  </a:lnTo>
                  <a:lnTo>
                    <a:pt x="912" y="335"/>
                  </a:lnTo>
                  <a:lnTo>
                    <a:pt x="912" y="353"/>
                  </a:lnTo>
                  <a:lnTo>
                    <a:pt x="903" y="362"/>
                  </a:lnTo>
                  <a:lnTo>
                    <a:pt x="898" y="389"/>
                  </a:lnTo>
                  <a:lnTo>
                    <a:pt x="921" y="389"/>
                  </a:lnTo>
                  <a:lnTo>
                    <a:pt x="916" y="367"/>
                  </a:lnTo>
                  <a:lnTo>
                    <a:pt x="925" y="335"/>
                  </a:lnTo>
                  <a:lnTo>
                    <a:pt x="912" y="327"/>
                  </a:lnTo>
                  <a:lnTo>
                    <a:pt x="880" y="291"/>
                  </a:lnTo>
                  <a:lnTo>
                    <a:pt x="880" y="242"/>
                  </a:lnTo>
                  <a:lnTo>
                    <a:pt x="965" y="233"/>
                  </a:lnTo>
                  <a:lnTo>
                    <a:pt x="961" y="215"/>
                  </a:lnTo>
                  <a:lnTo>
                    <a:pt x="952" y="215"/>
                  </a:lnTo>
                  <a:lnTo>
                    <a:pt x="947" y="192"/>
                  </a:lnTo>
                  <a:lnTo>
                    <a:pt x="965" y="170"/>
                  </a:lnTo>
                  <a:lnTo>
                    <a:pt x="983" y="175"/>
                  </a:lnTo>
                  <a:lnTo>
                    <a:pt x="1001" y="157"/>
                  </a:lnTo>
                  <a:lnTo>
                    <a:pt x="1055" y="130"/>
                  </a:lnTo>
                  <a:lnTo>
                    <a:pt x="1050" y="117"/>
                  </a:lnTo>
                  <a:lnTo>
                    <a:pt x="1090" y="85"/>
                  </a:lnTo>
                  <a:lnTo>
                    <a:pt x="1113" y="90"/>
                  </a:lnTo>
                  <a:lnTo>
                    <a:pt x="1090" y="117"/>
                  </a:lnTo>
                  <a:lnTo>
                    <a:pt x="1108" y="117"/>
                  </a:lnTo>
                  <a:lnTo>
                    <a:pt x="1135" y="94"/>
                  </a:lnTo>
                  <a:lnTo>
                    <a:pt x="1144" y="94"/>
                  </a:lnTo>
                  <a:lnTo>
                    <a:pt x="1135" y="81"/>
                  </a:lnTo>
                  <a:lnTo>
                    <a:pt x="1166" y="76"/>
                  </a:lnTo>
                  <a:lnTo>
                    <a:pt x="1175" y="41"/>
                  </a:lnTo>
                  <a:lnTo>
                    <a:pt x="1198" y="14"/>
                  </a:lnTo>
                  <a:lnTo>
                    <a:pt x="1224" y="0"/>
                  </a:lnTo>
                  <a:lnTo>
                    <a:pt x="1247" y="18"/>
                  </a:lnTo>
                  <a:lnTo>
                    <a:pt x="1229" y="41"/>
                  </a:lnTo>
                  <a:lnTo>
                    <a:pt x="1256" y="54"/>
                  </a:lnTo>
                  <a:lnTo>
                    <a:pt x="1242" y="81"/>
                  </a:lnTo>
                  <a:lnTo>
                    <a:pt x="1260" y="81"/>
                  </a:lnTo>
                  <a:lnTo>
                    <a:pt x="1274" y="63"/>
                  </a:lnTo>
                  <a:lnTo>
                    <a:pt x="1323" y="58"/>
                  </a:lnTo>
                  <a:lnTo>
                    <a:pt x="1345" y="76"/>
                  </a:lnTo>
                  <a:lnTo>
                    <a:pt x="1349" y="94"/>
                  </a:lnTo>
                  <a:lnTo>
                    <a:pt x="1345" y="166"/>
                  </a:lnTo>
                  <a:lnTo>
                    <a:pt x="1332" y="184"/>
                  </a:lnTo>
                  <a:lnTo>
                    <a:pt x="1287" y="224"/>
                  </a:lnTo>
                  <a:lnTo>
                    <a:pt x="1269" y="255"/>
                  </a:lnTo>
                  <a:lnTo>
                    <a:pt x="1251" y="268"/>
                  </a:lnTo>
                  <a:lnTo>
                    <a:pt x="1251" y="273"/>
                  </a:lnTo>
                  <a:lnTo>
                    <a:pt x="1287" y="260"/>
                  </a:lnTo>
                  <a:lnTo>
                    <a:pt x="1300" y="233"/>
                  </a:lnTo>
                  <a:lnTo>
                    <a:pt x="1314" y="228"/>
                  </a:lnTo>
                  <a:lnTo>
                    <a:pt x="1314" y="242"/>
                  </a:lnTo>
                  <a:lnTo>
                    <a:pt x="1336" y="246"/>
                  </a:lnTo>
                  <a:lnTo>
                    <a:pt x="1341" y="233"/>
                  </a:lnTo>
                  <a:lnTo>
                    <a:pt x="1349" y="255"/>
                  </a:lnTo>
                  <a:lnTo>
                    <a:pt x="1372" y="242"/>
                  </a:lnTo>
                  <a:lnTo>
                    <a:pt x="1421" y="251"/>
                  </a:lnTo>
                  <a:lnTo>
                    <a:pt x="1416" y="273"/>
                  </a:lnTo>
                  <a:lnTo>
                    <a:pt x="1466" y="282"/>
                  </a:lnTo>
                  <a:lnTo>
                    <a:pt x="1479" y="286"/>
                  </a:lnTo>
                  <a:lnTo>
                    <a:pt x="1488" y="268"/>
                  </a:lnTo>
                  <a:lnTo>
                    <a:pt x="1475" y="255"/>
                  </a:lnTo>
                  <a:lnTo>
                    <a:pt x="1497" y="237"/>
                  </a:lnTo>
                  <a:lnTo>
                    <a:pt x="1528" y="255"/>
                  </a:lnTo>
                  <a:lnTo>
                    <a:pt x="1573" y="277"/>
                  </a:lnTo>
                  <a:lnTo>
                    <a:pt x="1564" y="335"/>
                  </a:lnTo>
                  <a:lnTo>
                    <a:pt x="1573" y="335"/>
                  </a:lnTo>
                  <a:lnTo>
                    <a:pt x="1577" y="344"/>
                  </a:lnTo>
                  <a:lnTo>
                    <a:pt x="1573" y="349"/>
                  </a:lnTo>
                  <a:lnTo>
                    <a:pt x="1582" y="371"/>
                  </a:lnTo>
                  <a:lnTo>
                    <a:pt x="1595" y="380"/>
                  </a:lnTo>
                  <a:lnTo>
                    <a:pt x="1600" y="394"/>
                  </a:lnTo>
                  <a:lnTo>
                    <a:pt x="1613" y="367"/>
                  </a:lnTo>
                  <a:lnTo>
                    <a:pt x="1617" y="331"/>
                  </a:lnTo>
                  <a:lnTo>
                    <a:pt x="1626" y="331"/>
                  </a:lnTo>
                  <a:lnTo>
                    <a:pt x="1635" y="358"/>
                  </a:lnTo>
                  <a:lnTo>
                    <a:pt x="1653" y="353"/>
                  </a:lnTo>
                  <a:lnTo>
                    <a:pt x="1662" y="344"/>
                  </a:lnTo>
                  <a:lnTo>
                    <a:pt x="1725" y="353"/>
                  </a:lnTo>
                  <a:lnTo>
                    <a:pt x="1720" y="331"/>
                  </a:lnTo>
                  <a:lnTo>
                    <a:pt x="1725" y="318"/>
                  </a:lnTo>
                  <a:lnTo>
                    <a:pt x="1711" y="318"/>
                  </a:lnTo>
                  <a:lnTo>
                    <a:pt x="1716" y="304"/>
                  </a:lnTo>
                  <a:lnTo>
                    <a:pt x="1734" y="304"/>
                  </a:lnTo>
                  <a:lnTo>
                    <a:pt x="1734" y="286"/>
                  </a:lnTo>
                  <a:lnTo>
                    <a:pt x="1823" y="309"/>
                  </a:lnTo>
                  <a:lnTo>
                    <a:pt x="1787" y="304"/>
                  </a:lnTo>
                  <a:lnTo>
                    <a:pt x="1783" y="322"/>
                  </a:lnTo>
                  <a:lnTo>
                    <a:pt x="1823" y="313"/>
                  </a:lnTo>
                  <a:lnTo>
                    <a:pt x="1796" y="344"/>
                  </a:lnTo>
                  <a:lnTo>
                    <a:pt x="1814" y="335"/>
                  </a:lnTo>
                  <a:lnTo>
                    <a:pt x="1832" y="313"/>
                  </a:lnTo>
                  <a:lnTo>
                    <a:pt x="1859" y="313"/>
                  </a:lnTo>
                  <a:lnTo>
                    <a:pt x="1868" y="331"/>
                  </a:lnTo>
                  <a:lnTo>
                    <a:pt x="1854" y="340"/>
                  </a:lnTo>
                  <a:lnTo>
                    <a:pt x="1868" y="349"/>
                  </a:lnTo>
                  <a:lnTo>
                    <a:pt x="1903" y="380"/>
                  </a:lnTo>
                  <a:lnTo>
                    <a:pt x="1975" y="376"/>
                  </a:lnTo>
                  <a:lnTo>
                    <a:pt x="1997" y="380"/>
                  </a:lnTo>
                  <a:lnTo>
                    <a:pt x="2011" y="411"/>
                  </a:lnTo>
                  <a:lnTo>
                    <a:pt x="2011" y="438"/>
                  </a:lnTo>
                  <a:lnTo>
                    <a:pt x="2037" y="443"/>
                  </a:lnTo>
                  <a:lnTo>
                    <a:pt x="2073" y="438"/>
                  </a:lnTo>
                  <a:lnTo>
                    <a:pt x="2078" y="447"/>
                  </a:lnTo>
                  <a:lnTo>
                    <a:pt x="2091" y="443"/>
                  </a:lnTo>
                  <a:lnTo>
                    <a:pt x="2104" y="447"/>
                  </a:lnTo>
                  <a:lnTo>
                    <a:pt x="2122" y="434"/>
                  </a:lnTo>
                  <a:lnTo>
                    <a:pt x="2122" y="420"/>
                  </a:lnTo>
                  <a:lnTo>
                    <a:pt x="2140" y="429"/>
                  </a:lnTo>
                  <a:lnTo>
                    <a:pt x="2127" y="443"/>
                  </a:lnTo>
                  <a:lnTo>
                    <a:pt x="2140" y="478"/>
                  </a:lnTo>
                  <a:lnTo>
                    <a:pt x="2167" y="470"/>
                  </a:lnTo>
                  <a:lnTo>
                    <a:pt x="2167" y="443"/>
                  </a:lnTo>
                  <a:lnTo>
                    <a:pt x="2158" y="438"/>
                  </a:lnTo>
                  <a:lnTo>
                    <a:pt x="2158" y="420"/>
                  </a:lnTo>
                  <a:lnTo>
                    <a:pt x="2203" y="429"/>
                  </a:lnTo>
                  <a:lnTo>
                    <a:pt x="2243" y="434"/>
                  </a:lnTo>
                  <a:lnTo>
                    <a:pt x="2283" y="452"/>
                  </a:lnTo>
                  <a:lnTo>
                    <a:pt x="2368" y="519"/>
                  </a:lnTo>
                  <a:lnTo>
                    <a:pt x="2377" y="537"/>
                  </a:lnTo>
                  <a:lnTo>
                    <a:pt x="2372" y="554"/>
                  </a:lnTo>
                  <a:lnTo>
                    <a:pt x="2386" y="559"/>
                  </a:lnTo>
                  <a:lnTo>
                    <a:pt x="2381" y="537"/>
                  </a:lnTo>
                  <a:lnTo>
                    <a:pt x="2422" y="541"/>
                  </a:lnTo>
                  <a:lnTo>
                    <a:pt x="2448" y="577"/>
                  </a:lnTo>
                  <a:lnTo>
                    <a:pt x="2435" y="595"/>
                  </a:lnTo>
                  <a:lnTo>
                    <a:pt x="2417" y="595"/>
                  </a:lnTo>
                  <a:lnTo>
                    <a:pt x="2417" y="617"/>
                  </a:lnTo>
                  <a:lnTo>
                    <a:pt x="2404" y="639"/>
                  </a:lnTo>
                  <a:lnTo>
                    <a:pt x="2377" y="626"/>
                  </a:lnTo>
                  <a:lnTo>
                    <a:pt x="2363" y="626"/>
                  </a:lnTo>
                  <a:lnTo>
                    <a:pt x="2359" y="604"/>
                  </a:lnTo>
                  <a:lnTo>
                    <a:pt x="2346" y="599"/>
                  </a:lnTo>
                  <a:lnTo>
                    <a:pt x="2319" y="599"/>
                  </a:lnTo>
                  <a:lnTo>
                    <a:pt x="2319" y="577"/>
                  </a:lnTo>
                  <a:lnTo>
                    <a:pt x="2305" y="581"/>
                  </a:lnTo>
                  <a:lnTo>
                    <a:pt x="2310" y="595"/>
                  </a:lnTo>
                  <a:lnTo>
                    <a:pt x="2305" y="608"/>
                  </a:lnTo>
                  <a:lnTo>
                    <a:pt x="2279" y="635"/>
                  </a:lnTo>
                  <a:lnTo>
                    <a:pt x="2256" y="621"/>
                  </a:lnTo>
                  <a:lnTo>
                    <a:pt x="2256" y="626"/>
                  </a:lnTo>
                  <a:lnTo>
                    <a:pt x="2274" y="644"/>
                  </a:lnTo>
                  <a:lnTo>
                    <a:pt x="2279" y="671"/>
                  </a:lnTo>
                  <a:lnTo>
                    <a:pt x="2292" y="684"/>
                  </a:lnTo>
                  <a:lnTo>
                    <a:pt x="2283" y="702"/>
                  </a:lnTo>
                  <a:lnTo>
                    <a:pt x="2261" y="693"/>
                  </a:lnTo>
                  <a:lnTo>
                    <a:pt x="2238" y="702"/>
                  </a:lnTo>
                  <a:lnTo>
                    <a:pt x="2207" y="724"/>
                  </a:lnTo>
                  <a:lnTo>
                    <a:pt x="2180" y="742"/>
                  </a:lnTo>
                  <a:lnTo>
                    <a:pt x="2162" y="782"/>
                  </a:lnTo>
                  <a:lnTo>
                    <a:pt x="2145" y="760"/>
                  </a:lnTo>
                  <a:lnTo>
                    <a:pt x="2127" y="760"/>
                  </a:lnTo>
                  <a:lnTo>
                    <a:pt x="2095" y="782"/>
                  </a:lnTo>
                  <a:lnTo>
                    <a:pt x="2095" y="782"/>
                  </a:lnTo>
                  <a:lnTo>
                    <a:pt x="2095" y="760"/>
                  </a:lnTo>
                  <a:lnTo>
                    <a:pt x="2082" y="787"/>
                  </a:lnTo>
                  <a:lnTo>
                    <a:pt x="2064" y="778"/>
                  </a:lnTo>
                  <a:lnTo>
                    <a:pt x="2037" y="832"/>
                  </a:lnTo>
                  <a:lnTo>
                    <a:pt x="2055" y="836"/>
                  </a:lnTo>
                  <a:lnTo>
                    <a:pt x="2046" y="863"/>
                  </a:lnTo>
                  <a:lnTo>
                    <a:pt x="2055" y="876"/>
                  </a:lnTo>
                  <a:lnTo>
                    <a:pt x="2046" y="885"/>
                  </a:lnTo>
                  <a:lnTo>
                    <a:pt x="2033" y="881"/>
                  </a:lnTo>
                  <a:lnTo>
                    <a:pt x="2028" y="907"/>
                  </a:lnTo>
                  <a:lnTo>
                    <a:pt x="2037" y="912"/>
                  </a:lnTo>
                  <a:lnTo>
                    <a:pt x="2033" y="925"/>
                  </a:lnTo>
                  <a:lnTo>
                    <a:pt x="2024" y="916"/>
                  </a:lnTo>
                  <a:lnTo>
                    <a:pt x="2011" y="930"/>
                  </a:lnTo>
                  <a:lnTo>
                    <a:pt x="2006" y="948"/>
                  </a:lnTo>
                  <a:lnTo>
                    <a:pt x="2015" y="952"/>
                  </a:lnTo>
                  <a:lnTo>
                    <a:pt x="2011" y="957"/>
                  </a:lnTo>
                  <a:lnTo>
                    <a:pt x="2006" y="952"/>
                  </a:lnTo>
                  <a:lnTo>
                    <a:pt x="1988" y="961"/>
                  </a:lnTo>
                  <a:lnTo>
                    <a:pt x="1988" y="975"/>
                  </a:lnTo>
                  <a:lnTo>
                    <a:pt x="1961" y="1015"/>
                  </a:lnTo>
                  <a:lnTo>
                    <a:pt x="1953" y="961"/>
                  </a:lnTo>
                  <a:lnTo>
                    <a:pt x="1944" y="903"/>
                  </a:lnTo>
                  <a:lnTo>
                    <a:pt x="1944" y="881"/>
                  </a:lnTo>
                  <a:lnTo>
                    <a:pt x="1953" y="854"/>
                  </a:lnTo>
                  <a:lnTo>
                    <a:pt x="1966" y="845"/>
                  </a:lnTo>
                  <a:lnTo>
                    <a:pt x="1961" y="836"/>
                  </a:lnTo>
                  <a:lnTo>
                    <a:pt x="1984" y="827"/>
                  </a:lnTo>
                  <a:lnTo>
                    <a:pt x="2060" y="747"/>
                  </a:lnTo>
                  <a:lnTo>
                    <a:pt x="2069" y="706"/>
                  </a:lnTo>
                  <a:lnTo>
                    <a:pt x="2082" y="693"/>
                  </a:lnTo>
                  <a:lnTo>
                    <a:pt x="2073" y="689"/>
                  </a:lnTo>
                  <a:lnTo>
                    <a:pt x="2055" y="697"/>
                  </a:lnTo>
                  <a:lnTo>
                    <a:pt x="2055" y="724"/>
                  </a:lnTo>
                  <a:lnTo>
                    <a:pt x="2042" y="724"/>
                  </a:lnTo>
                  <a:lnTo>
                    <a:pt x="2011" y="760"/>
                  </a:lnTo>
                  <a:lnTo>
                    <a:pt x="2006" y="742"/>
                  </a:lnTo>
                  <a:lnTo>
                    <a:pt x="2020" y="715"/>
                  </a:lnTo>
                  <a:lnTo>
                    <a:pt x="2006" y="724"/>
                  </a:lnTo>
                  <a:lnTo>
                    <a:pt x="1997" y="715"/>
                  </a:lnTo>
                  <a:lnTo>
                    <a:pt x="1961" y="729"/>
                  </a:lnTo>
                  <a:lnTo>
                    <a:pt x="1961" y="738"/>
                  </a:lnTo>
                  <a:lnTo>
                    <a:pt x="1935" y="764"/>
                  </a:lnTo>
                  <a:lnTo>
                    <a:pt x="1926" y="791"/>
                  </a:lnTo>
                  <a:lnTo>
                    <a:pt x="1939" y="791"/>
                  </a:lnTo>
                  <a:lnTo>
                    <a:pt x="1944" y="800"/>
                  </a:lnTo>
                  <a:lnTo>
                    <a:pt x="1886" y="809"/>
                  </a:lnTo>
                  <a:lnTo>
                    <a:pt x="1881" y="800"/>
                  </a:lnTo>
                  <a:lnTo>
                    <a:pt x="1899" y="796"/>
                  </a:lnTo>
                  <a:lnTo>
                    <a:pt x="1886" y="787"/>
                  </a:lnTo>
                  <a:lnTo>
                    <a:pt x="1854" y="782"/>
                  </a:lnTo>
                  <a:lnTo>
                    <a:pt x="1850" y="796"/>
                  </a:lnTo>
                  <a:lnTo>
                    <a:pt x="1760" y="796"/>
                  </a:lnTo>
                  <a:lnTo>
                    <a:pt x="1747" y="814"/>
                  </a:lnTo>
                  <a:lnTo>
                    <a:pt x="1734" y="814"/>
                  </a:lnTo>
                  <a:lnTo>
                    <a:pt x="1662" y="912"/>
                  </a:lnTo>
                  <a:lnTo>
                    <a:pt x="1671" y="916"/>
                  </a:lnTo>
                  <a:lnTo>
                    <a:pt x="1680" y="907"/>
                  </a:lnTo>
                  <a:lnTo>
                    <a:pt x="1698" y="907"/>
                  </a:lnTo>
                  <a:lnTo>
                    <a:pt x="1689" y="930"/>
                  </a:lnTo>
                  <a:lnTo>
                    <a:pt x="1689" y="939"/>
                  </a:lnTo>
                  <a:lnTo>
                    <a:pt x="1707" y="921"/>
                  </a:lnTo>
                  <a:lnTo>
                    <a:pt x="1720" y="925"/>
                  </a:lnTo>
                  <a:lnTo>
                    <a:pt x="1743" y="948"/>
                  </a:lnTo>
                  <a:lnTo>
                    <a:pt x="1743" y="983"/>
                  </a:lnTo>
                  <a:lnTo>
                    <a:pt x="1734" y="1001"/>
                  </a:lnTo>
                  <a:lnTo>
                    <a:pt x="1729" y="1064"/>
                  </a:lnTo>
                  <a:lnTo>
                    <a:pt x="1716" y="1091"/>
                  </a:lnTo>
                  <a:lnTo>
                    <a:pt x="1711" y="1091"/>
                  </a:lnTo>
                  <a:lnTo>
                    <a:pt x="1662" y="1158"/>
                  </a:lnTo>
                  <a:lnTo>
                    <a:pt x="1644" y="1176"/>
                  </a:lnTo>
                  <a:lnTo>
                    <a:pt x="1626" y="1180"/>
                  </a:lnTo>
                  <a:lnTo>
                    <a:pt x="1613" y="1180"/>
                  </a:lnTo>
                  <a:lnTo>
                    <a:pt x="1613" y="1171"/>
                  </a:lnTo>
                  <a:lnTo>
                    <a:pt x="1604" y="1180"/>
                  </a:lnTo>
                  <a:lnTo>
                    <a:pt x="1600" y="1180"/>
                  </a:lnTo>
                  <a:lnTo>
                    <a:pt x="1591" y="1185"/>
                  </a:lnTo>
                  <a:lnTo>
                    <a:pt x="1586" y="1176"/>
                  </a:lnTo>
                  <a:lnTo>
                    <a:pt x="1595" y="1167"/>
                  </a:lnTo>
                  <a:lnTo>
                    <a:pt x="1600" y="1162"/>
                  </a:lnTo>
                  <a:lnTo>
                    <a:pt x="1595" y="1140"/>
                  </a:lnTo>
                  <a:lnTo>
                    <a:pt x="1604" y="1131"/>
                  </a:lnTo>
                  <a:lnTo>
                    <a:pt x="1622" y="1131"/>
                  </a:lnTo>
                  <a:lnTo>
                    <a:pt x="1653" y="1082"/>
                  </a:lnTo>
                  <a:lnTo>
                    <a:pt x="1649" y="1068"/>
                  </a:lnTo>
                  <a:lnTo>
                    <a:pt x="1640" y="1064"/>
                  </a:lnTo>
                  <a:lnTo>
                    <a:pt x="1617" y="1082"/>
                  </a:lnTo>
                  <a:lnTo>
                    <a:pt x="1595" y="1073"/>
                  </a:lnTo>
                  <a:lnTo>
                    <a:pt x="1591" y="1055"/>
                  </a:lnTo>
                  <a:lnTo>
                    <a:pt x="1573" y="1042"/>
                  </a:lnTo>
                  <a:lnTo>
                    <a:pt x="1564" y="1042"/>
                  </a:lnTo>
                  <a:lnTo>
                    <a:pt x="1559" y="1037"/>
                  </a:lnTo>
                  <a:lnTo>
                    <a:pt x="1546" y="1037"/>
                  </a:lnTo>
                  <a:lnTo>
                    <a:pt x="1542" y="1015"/>
                  </a:lnTo>
                  <a:lnTo>
                    <a:pt x="1519" y="957"/>
                  </a:lnTo>
                  <a:lnTo>
                    <a:pt x="1492" y="943"/>
                  </a:lnTo>
                  <a:lnTo>
                    <a:pt x="1479" y="939"/>
                  </a:lnTo>
                  <a:lnTo>
                    <a:pt x="1452" y="943"/>
                  </a:lnTo>
                  <a:lnTo>
                    <a:pt x="1439" y="961"/>
                  </a:lnTo>
                  <a:lnTo>
                    <a:pt x="1439" y="966"/>
                  </a:lnTo>
                  <a:lnTo>
                    <a:pt x="1448" y="966"/>
                  </a:lnTo>
                  <a:lnTo>
                    <a:pt x="1448" y="979"/>
                  </a:lnTo>
                  <a:lnTo>
                    <a:pt x="1421" y="1015"/>
                  </a:lnTo>
                  <a:lnTo>
                    <a:pt x="1430" y="1024"/>
                  </a:lnTo>
                  <a:lnTo>
                    <a:pt x="1416" y="1028"/>
                  </a:lnTo>
                  <a:lnTo>
                    <a:pt x="1403" y="1042"/>
                  </a:lnTo>
                  <a:lnTo>
                    <a:pt x="1390" y="1033"/>
                  </a:lnTo>
                  <a:lnTo>
                    <a:pt x="1385" y="1028"/>
                  </a:lnTo>
                  <a:lnTo>
                    <a:pt x="1376" y="1028"/>
                  </a:lnTo>
                  <a:lnTo>
                    <a:pt x="1358" y="1019"/>
                  </a:lnTo>
                  <a:lnTo>
                    <a:pt x="1349" y="1024"/>
                  </a:lnTo>
                  <a:lnTo>
                    <a:pt x="1336" y="1037"/>
                  </a:lnTo>
                  <a:lnTo>
                    <a:pt x="1305" y="1046"/>
                  </a:lnTo>
                  <a:lnTo>
                    <a:pt x="1274" y="1042"/>
                  </a:lnTo>
                  <a:lnTo>
                    <a:pt x="1233" y="1019"/>
                  </a:lnTo>
                  <a:lnTo>
                    <a:pt x="1211" y="1024"/>
                  </a:lnTo>
                  <a:lnTo>
                    <a:pt x="1189" y="1019"/>
                  </a:lnTo>
                  <a:lnTo>
                    <a:pt x="1184" y="992"/>
                  </a:lnTo>
                  <a:lnTo>
                    <a:pt x="1140" y="979"/>
                  </a:lnTo>
                  <a:lnTo>
                    <a:pt x="1126" y="1001"/>
                  </a:lnTo>
                  <a:lnTo>
                    <a:pt x="1131" y="1010"/>
                  </a:lnTo>
                  <a:lnTo>
                    <a:pt x="1126" y="1033"/>
                  </a:lnTo>
                  <a:lnTo>
                    <a:pt x="1086" y="1033"/>
                  </a:lnTo>
                  <a:lnTo>
                    <a:pt x="1068" y="1015"/>
                  </a:lnTo>
                  <a:lnTo>
                    <a:pt x="1055" y="1015"/>
                  </a:lnTo>
                  <a:lnTo>
                    <a:pt x="1050" y="1010"/>
                  </a:lnTo>
                  <a:lnTo>
                    <a:pt x="1023" y="1019"/>
                  </a:lnTo>
                  <a:lnTo>
                    <a:pt x="997" y="1037"/>
                  </a:lnTo>
                  <a:lnTo>
                    <a:pt x="988" y="1037"/>
                  </a:lnTo>
                  <a:lnTo>
                    <a:pt x="983" y="1046"/>
                  </a:lnTo>
                  <a:lnTo>
                    <a:pt x="974" y="1046"/>
                  </a:lnTo>
                  <a:lnTo>
                    <a:pt x="974" y="1042"/>
                  </a:lnTo>
                  <a:lnTo>
                    <a:pt x="952" y="1037"/>
                  </a:lnTo>
                  <a:lnTo>
                    <a:pt x="943" y="1037"/>
                  </a:lnTo>
                  <a:lnTo>
                    <a:pt x="939" y="1024"/>
                  </a:lnTo>
                  <a:lnTo>
                    <a:pt x="934" y="1028"/>
                  </a:lnTo>
                  <a:lnTo>
                    <a:pt x="921" y="1010"/>
                  </a:lnTo>
                  <a:lnTo>
                    <a:pt x="912" y="1006"/>
                  </a:lnTo>
                  <a:lnTo>
                    <a:pt x="907" y="1006"/>
                  </a:lnTo>
                  <a:lnTo>
                    <a:pt x="903" y="1010"/>
                  </a:lnTo>
                  <a:lnTo>
                    <a:pt x="898" y="1015"/>
                  </a:lnTo>
                  <a:lnTo>
                    <a:pt x="889" y="1010"/>
                  </a:lnTo>
                  <a:lnTo>
                    <a:pt x="889" y="1001"/>
                  </a:lnTo>
                  <a:lnTo>
                    <a:pt x="880" y="1001"/>
                  </a:lnTo>
                  <a:lnTo>
                    <a:pt x="876" y="1006"/>
                  </a:lnTo>
                  <a:lnTo>
                    <a:pt x="872" y="1010"/>
                  </a:lnTo>
                  <a:lnTo>
                    <a:pt x="840" y="957"/>
                  </a:lnTo>
                  <a:lnTo>
                    <a:pt x="822" y="934"/>
                  </a:lnTo>
                  <a:lnTo>
                    <a:pt x="827" y="925"/>
                  </a:lnTo>
                  <a:lnTo>
                    <a:pt x="822" y="921"/>
                  </a:lnTo>
                  <a:lnTo>
                    <a:pt x="813" y="925"/>
                  </a:lnTo>
                  <a:lnTo>
                    <a:pt x="805" y="930"/>
                  </a:lnTo>
                  <a:lnTo>
                    <a:pt x="800" y="934"/>
                  </a:lnTo>
                  <a:lnTo>
                    <a:pt x="791" y="943"/>
                  </a:lnTo>
                  <a:lnTo>
                    <a:pt x="782" y="939"/>
                  </a:lnTo>
                  <a:lnTo>
                    <a:pt x="773" y="943"/>
                  </a:lnTo>
                  <a:lnTo>
                    <a:pt x="773" y="939"/>
                  </a:lnTo>
                  <a:lnTo>
                    <a:pt x="778" y="934"/>
                  </a:lnTo>
                  <a:lnTo>
                    <a:pt x="764" y="930"/>
                  </a:lnTo>
                  <a:lnTo>
                    <a:pt x="760" y="934"/>
                  </a:lnTo>
                  <a:lnTo>
                    <a:pt x="760" y="925"/>
                  </a:lnTo>
                  <a:lnTo>
                    <a:pt x="746" y="930"/>
                  </a:lnTo>
                  <a:lnTo>
                    <a:pt x="742" y="925"/>
                  </a:lnTo>
                  <a:lnTo>
                    <a:pt x="742" y="916"/>
                  </a:lnTo>
                  <a:lnTo>
                    <a:pt x="738" y="903"/>
                  </a:lnTo>
                  <a:lnTo>
                    <a:pt x="729" y="903"/>
                  </a:lnTo>
                  <a:lnTo>
                    <a:pt x="711" y="899"/>
                  </a:lnTo>
                  <a:lnTo>
                    <a:pt x="706" y="903"/>
                  </a:lnTo>
                  <a:lnTo>
                    <a:pt x="702" y="894"/>
                  </a:lnTo>
                  <a:lnTo>
                    <a:pt x="697" y="912"/>
                  </a:lnTo>
                  <a:lnTo>
                    <a:pt x="693" y="907"/>
                  </a:lnTo>
                  <a:lnTo>
                    <a:pt x="688" y="912"/>
                  </a:lnTo>
                  <a:lnTo>
                    <a:pt x="666" y="916"/>
                  </a:lnTo>
                  <a:lnTo>
                    <a:pt x="657" y="916"/>
                  </a:lnTo>
                  <a:lnTo>
                    <a:pt x="653" y="921"/>
                  </a:lnTo>
                  <a:lnTo>
                    <a:pt x="653" y="916"/>
                  </a:lnTo>
                  <a:lnTo>
                    <a:pt x="635" y="925"/>
                  </a:lnTo>
                  <a:lnTo>
                    <a:pt x="626" y="930"/>
                  </a:lnTo>
                  <a:lnTo>
                    <a:pt x="604" y="930"/>
                  </a:lnTo>
                  <a:lnTo>
                    <a:pt x="599" y="934"/>
                  </a:lnTo>
                  <a:lnTo>
                    <a:pt x="595" y="943"/>
                  </a:lnTo>
                  <a:lnTo>
                    <a:pt x="608" y="943"/>
                  </a:lnTo>
                  <a:lnTo>
                    <a:pt x="599" y="948"/>
                  </a:lnTo>
                  <a:lnTo>
                    <a:pt x="608" y="948"/>
                  </a:lnTo>
                  <a:lnTo>
                    <a:pt x="612" y="957"/>
                  </a:lnTo>
                  <a:lnTo>
                    <a:pt x="599" y="957"/>
                  </a:lnTo>
                  <a:lnTo>
                    <a:pt x="590" y="961"/>
                  </a:lnTo>
                  <a:lnTo>
                    <a:pt x="595" y="970"/>
                  </a:lnTo>
                  <a:lnTo>
                    <a:pt x="581" y="979"/>
                  </a:lnTo>
                  <a:lnTo>
                    <a:pt x="590" y="988"/>
                  </a:lnTo>
                  <a:lnTo>
                    <a:pt x="595" y="997"/>
                  </a:lnTo>
                  <a:lnTo>
                    <a:pt x="604" y="997"/>
                  </a:lnTo>
                  <a:lnTo>
                    <a:pt x="604" y="1006"/>
                  </a:lnTo>
                  <a:lnTo>
                    <a:pt x="604" y="1010"/>
                  </a:lnTo>
                  <a:lnTo>
                    <a:pt x="590" y="1015"/>
                  </a:lnTo>
                  <a:lnTo>
                    <a:pt x="581" y="1006"/>
                  </a:lnTo>
                  <a:lnTo>
                    <a:pt x="572" y="1019"/>
                  </a:lnTo>
                  <a:lnTo>
                    <a:pt x="572" y="1010"/>
                  </a:lnTo>
                  <a:lnTo>
                    <a:pt x="568" y="1006"/>
                  </a:lnTo>
                  <a:lnTo>
                    <a:pt x="563" y="1001"/>
                  </a:lnTo>
                  <a:lnTo>
                    <a:pt x="554" y="1001"/>
                  </a:lnTo>
                  <a:lnTo>
                    <a:pt x="545" y="1006"/>
                  </a:lnTo>
                  <a:lnTo>
                    <a:pt x="541" y="1001"/>
                  </a:lnTo>
                  <a:lnTo>
                    <a:pt x="532" y="1001"/>
                  </a:lnTo>
                  <a:lnTo>
                    <a:pt x="528" y="1010"/>
                  </a:lnTo>
                  <a:lnTo>
                    <a:pt x="523" y="1015"/>
                  </a:lnTo>
                  <a:lnTo>
                    <a:pt x="514" y="1010"/>
                  </a:lnTo>
                  <a:lnTo>
                    <a:pt x="510" y="1010"/>
                  </a:lnTo>
                  <a:lnTo>
                    <a:pt x="510" y="1015"/>
                  </a:lnTo>
                  <a:lnTo>
                    <a:pt x="505" y="1015"/>
                  </a:lnTo>
                  <a:lnTo>
                    <a:pt x="501" y="1010"/>
                  </a:lnTo>
                  <a:lnTo>
                    <a:pt x="496" y="997"/>
                  </a:lnTo>
                  <a:lnTo>
                    <a:pt x="483" y="992"/>
                  </a:lnTo>
                  <a:lnTo>
                    <a:pt x="478" y="997"/>
                  </a:lnTo>
                  <a:lnTo>
                    <a:pt x="474" y="988"/>
                  </a:lnTo>
                  <a:lnTo>
                    <a:pt x="465" y="992"/>
                  </a:lnTo>
                  <a:lnTo>
                    <a:pt x="461" y="997"/>
                  </a:lnTo>
                  <a:lnTo>
                    <a:pt x="461" y="992"/>
                  </a:lnTo>
                  <a:lnTo>
                    <a:pt x="456" y="988"/>
                  </a:lnTo>
                  <a:lnTo>
                    <a:pt x="452" y="997"/>
                  </a:lnTo>
                  <a:lnTo>
                    <a:pt x="434" y="1010"/>
                  </a:lnTo>
                  <a:lnTo>
                    <a:pt x="425" y="1015"/>
                  </a:lnTo>
                  <a:lnTo>
                    <a:pt x="420" y="1010"/>
                  </a:lnTo>
                  <a:lnTo>
                    <a:pt x="425" y="1028"/>
                  </a:lnTo>
                  <a:lnTo>
                    <a:pt x="420" y="1033"/>
                  </a:lnTo>
                  <a:lnTo>
                    <a:pt x="407" y="1019"/>
                  </a:lnTo>
                  <a:lnTo>
                    <a:pt x="402" y="1019"/>
                  </a:lnTo>
                  <a:lnTo>
                    <a:pt x="402" y="1033"/>
                  </a:lnTo>
                  <a:lnTo>
                    <a:pt x="398" y="1033"/>
                  </a:lnTo>
                  <a:lnTo>
                    <a:pt x="394" y="1046"/>
                  </a:lnTo>
                  <a:lnTo>
                    <a:pt x="394" y="1050"/>
                  </a:lnTo>
                  <a:lnTo>
                    <a:pt x="389" y="1064"/>
                  </a:lnTo>
                  <a:lnTo>
                    <a:pt x="398" y="1068"/>
                  </a:lnTo>
                  <a:lnTo>
                    <a:pt x="398" y="1073"/>
                  </a:lnTo>
                  <a:lnTo>
                    <a:pt x="402" y="1082"/>
                  </a:lnTo>
                  <a:lnTo>
                    <a:pt x="402" y="1073"/>
                  </a:lnTo>
                  <a:lnTo>
                    <a:pt x="411" y="1077"/>
                  </a:lnTo>
                  <a:lnTo>
                    <a:pt x="420" y="1091"/>
                  </a:lnTo>
                  <a:lnTo>
                    <a:pt x="425" y="1095"/>
                  </a:lnTo>
                  <a:lnTo>
                    <a:pt x="420" y="1095"/>
                  </a:lnTo>
                  <a:lnTo>
                    <a:pt x="416" y="1100"/>
                  </a:lnTo>
                  <a:lnTo>
                    <a:pt x="425" y="1100"/>
                  </a:lnTo>
                  <a:lnTo>
                    <a:pt x="425" y="1104"/>
                  </a:lnTo>
                  <a:lnTo>
                    <a:pt x="416" y="1118"/>
                  </a:lnTo>
                  <a:lnTo>
                    <a:pt x="402" y="1118"/>
                  </a:lnTo>
                  <a:lnTo>
                    <a:pt x="394" y="1144"/>
                  </a:lnTo>
                  <a:lnTo>
                    <a:pt x="398" y="1144"/>
                  </a:lnTo>
                  <a:lnTo>
                    <a:pt x="402" y="1158"/>
                  </a:lnTo>
                  <a:lnTo>
                    <a:pt x="407" y="1153"/>
                  </a:lnTo>
                  <a:lnTo>
                    <a:pt x="402" y="1176"/>
                  </a:lnTo>
                  <a:lnTo>
                    <a:pt x="420" y="1198"/>
                  </a:lnTo>
                  <a:lnTo>
                    <a:pt x="425" y="1202"/>
                  </a:lnTo>
                  <a:lnTo>
                    <a:pt x="416" y="1207"/>
                  </a:lnTo>
                  <a:lnTo>
                    <a:pt x="416" y="1207"/>
                  </a:lnTo>
                  <a:lnTo>
                    <a:pt x="411" y="1211"/>
                  </a:lnTo>
                  <a:lnTo>
                    <a:pt x="407" y="1211"/>
                  </a:lnTo>
                  <a:lnTo>
                    <a:pt x="398" y="1198"/>
                  </a:lnTo>
                  <a:lnTo>
                    <a:pt x="394" y="1198"/>
                  </a:lnTo>
                  <a:lnTo>
                    <a:pt x="389" y="1193"/>
                  </a:lnTo>
                  <a:lnTo>
                    <a:pt x="389" y="1193"/>
                  </a:lnTo>
                  <a:lnTo>
                    <a:pt x="380" y="1189"/>
                  </a:lnTo>
                  <a:lnTo>
                    <a:pt x="385" y="1185"/>
                  </a:lnTo>
                  <a:lnTo>
                    <a:pt x="371" y="1185"/>
                  </a:lnTo>
                  <a:lnTo>
                    <a:pt x="371" y="1180"/>
                  </a:lnTo>
                  <a:lnTo>
                    <a:pt x="362" y="1180"/>
                  </a:lnTo>
                  <a:lnTo>
                    <a:pt x="362" y="1185"/>
                  </a:lnTo>
                  <a:lnTo>
                    <a:pt x="358" y="1180"/>
                  </a:lnTo>
                  <a:lnTo>
                    <a:pt x="353" y="1185"/>
                  </a:lnTo>
                  <a:lnTo>
                    <a:pt x="349" y="1176"/>
                  </a:lnTo>
                  <a:lnTo>
                    <a:pt x="344" y="1180"/>
                  </a:lnTo>
                  <a:lnTo>
                    <a:pt x="340" y="1171"/>
                  </a:lnTo>
                  <a:lnTo>
                    <a:pt x="322" y="1171"/>
                  </a:lnTo>
                  <a:lnTo>
                    <a:pt x="313" y="1167"/>
                  </a:lnTo>
                  <a:lnTo>
                    <a:pt x="300" y="1167"/>
                  </a:lnTo>
                  <a:lnTo>
                    <a:pt x="295" y="1167"/>
                  </a:lnTo>
                  <a:lnTo>
                    <a:pt x="291" y="1167"/>
                  </a:lnTo>
                  <a:lnTo>
                    <a:pt x="255" y="1131"/>
                  </a:lnTo>
                  <a:lnTo>
                    <a:pt x="251" y="1126"/>
                  </a:lnTo>
                  <a:lnTo>
                    <a:pt x="251" y="1122"/>
                  </a:lnTo>
                  <a:lnTo>
                    <a:pt x="260" y="1122"/>
                  </a:lnTo>
                  <a:lnTo>
                    <a:pt x="264" y="1122"/>
                  </a:lnTo>
                  <a:lnTo>
                    <a:pt x="264" y="1113"/>
                  </a:lnTo>
                  <a:lnTo>
                    <a:pt x="268" y="1109"/>
                  </a:lnTo>
                  <a:lnTo>
                    <a:pt x="273" y="1109"/>
                  </a:lnTo>
                  <a:lnTo>
                    <a:pt x="268" y="1104"/>
                  </a:lnTo>
                  <a:lnTo>
                    <a:pt x="264" y="1104"/>
                  </a:lnTo>
                  <a:lnTo>
                    <a:pt x="260" y="1100"/>
                  </a:lnTo>
                  <a:lnTo>
                    <a:pt x="268" y="1095"/>
                  </a:lnTo>
                  <a:lnTo>
                    <a:pt x="273" y="1091"/>
                  </a:lnTo>
                  <a:lnTo>
                    <a:pt x="286" y="1086"/>
                  </a:lnTo>
                  <a:lnTo>
                    <a:pt x="282" y="1082"/>
                  </a:lnTo>
                  <a:lnTo>
                    <a:pt x="273" y="1086"/>
                  </a:lnTo>
                  <a:lnTo>
                    <a:pt x="282" y="1073"/>
                  </a:lnTo>
                  <a:lnTo>
                    <a:pt x="291" y="1068"/>
                  </a:lnTo>
                  <a:lnTo>
                    <a:pt x="295" y="1059"/>
                  </a:lnTo>
                  <a:lnTo>
                    <a:pt x="291" y="1055"/>
                  </a:lnTo>
                  <a:lnTo>
                    <a:pt x="295" y="1050"/>
                  </a:lnTo>
                  <a:lnTo>
                    <a:pt x="291" y="1046"/>
                  </a:lnTo>
                  <a:lnTo>
                    <a:pt x="295" y="1042"/>
                  </a:lnTo>
                  <a:lnTo>
                    <a:pt x="282" y="1033"/>
                  </a:lnTo>
                  <a:lnTo>
                    <a:pt x="277" y="1028"/>
                  </a:lnTo>
                  <a:lnTo>
                    <a:pt x="273" y="1033"/>
                  </a:lnTo>
                  <a:lnTo>
                    <a:pt x="273" y="1028"/>
                  </a:lnTo>
                  <a:lnTo>
                    <a:pt x="264" y="1028"/>
                  </a:lnTo>
                  <a:lnTo>
                    <a:pt x="264" y="1024"/>
                  </a:lnTo>
                  <a:lnTo>
                    <a:pt x="260" y="1019"/>
                  </a:lnTo>
                  <a:lnTo>
                    <a:pt x="251" y="1019"/>
                  </a:lnTo>
                  <a:lnTo>
                    <a:pt x="246" y="1024"/>
                  </a:lnTo>
                  <a:lnTo>
                    <a:pt x="242" y="1019"/>
                  </a:lnTo>
                  <a:lnTo>
                    <a:pt x="233" y="1019"/>
                  </a:lnTo>
                  <a:lnTo>
                    <a:pt x="228" y="1006"/>
                  </a:lnTo>
                  <a:lnTo>
                    <a:pt x="228" y="997"/>
                  </a:lnTo>
                  <a:lnTo>
                    <a:pt x="210" y="992"/>
                  </a:lnTo>
                  <a:lnTo>
                    <a:pt x="215" y="983"/>
                  </a:lnTo>
                  <a:lnTo>
                    <a:pt x="210" y="983"/>
                  </a:lnTo>
                  <a:lnTo>
                    <a:pt x="206" y="975"/>
                  </a:lnTo>
                  <a:lnTo>
                    <a:pt x="197" y="975"/>
                  </a:lnTo>
                  <a:lnTo>
                    <a:pt x="188" y="979"/>
                  </a:lnTo>
                  <a:lnTo>
                    <a:pt x="184" y="975"/>
                  </a:lnTo>
                  <a:lnTo>
                    <a:pt x="179" y="979"/>
                  </a:lnTo>
                  <a:lnTo>
                    <a:pt x="175" y="979"/>
                  </a:lnTo>
                  <a:lnTo>
                    <a:pt x="175" y="970"/>
                  </a:lnTo>
                  <a:lnTo>
                    <a:pt x="170" y="957"/>
                  </a:lnTo>
                  <a:lnTo>
                    <a:pt x="175" y="952"/>
                  </a:lnTo>
                  <a:lnTo>
                    <a:pt x="179" y="957"/>
                  </a:lnTo>
                  <a:lnTo>
                    <a:pt x="179" y="957"/>
                  </a:lnTo>
                  <a:lnTo>
                    <a:pt x="184" y="952"/>
                  </a:lnTo>
                  <a:lnTo>
                    <a:pt x="188" y="948"/>
                  </a:lnTo>
                  <a:lnTo>
                    <a:pt x="184" y="948"/>
                  </a:lnTo>
                  <a:lnTo>
                    <a:pt x="179" y="939"/>
                  </a:lnTo>
                  <a:lnTo>
                    <a:pt x="170" y="943"/>
                  </a:lnTo>
                  <a:lnTo>
                    <a:pt x="170" y="930"/>
                  </a:lnTo>
                  <a:lnTo>
                    <a:pt x="166" y="925"/>
                  </a:lnTo>
                  <a:lnTo>
                    <a:pt x="166" y="921"/>
                  </a:lnTo>
                  <a:lnTo>
                    <a:pt x="166" y="912"/>
                  </a:lnTo>
                  <a:lnTo>
                    <a:pt x="166" y="907"/>
                  </a:lnTo>
                  <a:lnTo>
                    <a:pt x="161" y="894"/>
                  </a:lnTo>
                  <a:lnTo>
                    <a:pt x="152" y="885"/>
                  </a:lnTo>
                  <a:lnTo>
                    <a:pt x="143" y="890"/>
                  </a:lnTo>
                  <a:lnTo>
                    <a:pt x="139" y="881"/>
                  </a:lnTo>
                  <a:lnTo>
                    <a:pt x="130" y="881"/>
                  </a:lnTo>
                  <a:lnTo>
                    <a:pt x="130" y="876"/>
                  </a:lnTo>
                  <a:lnTo>
                    <a:pt x="126" y="876"/>
                  </a:lnTo>
                  <a:lnTo>
                    <a:pt x="121" y="876"/>
                  </a:lnTo>
                  <a:lnTo>
                    <a:pt x="121" y="867"/>
                  </a:lnTo>
                  <a:lnTo>
                    <a:pt x="121" y="849"/>
                  </a:lnTo>
                  <a:lnTo>
                    <a:pt x="126" y="845"/>
                  </a:lnTo>
                  <a:lnTo>
                    <a:pt x="121" y="840"/>
                  </a:lnTo>
                  <a:lnTo>
                    <a:pt x="117" y="840"/>
                  </a:lnTo>
                  <a:close/>
                  <a:moveTo>
                    <a:pt x="157" y="724"/>
                  </a:moveTo>
                  <a:lnTo>
                    <a:pt x="166" y="715"/>
                  </a:lnTo>
                  <a:lnTo>
                    <a:pt x="175" y="724"/>
                  </a:lnTo>
                  <a:lnTo>
                    <a:pt x="184" y="724"/>
                  </a:lnTo>
                  <a:lnTo>
                    <a:pt x="188" y="733"/>
                  </a:lnTo>
                  <a:lnTo>
                    <a:pt x="197" y="747"/>
                  </a:lnTo>
                  <a:lnTo>
                    <a:pt x="188" y="751"/>
                  </a:lnTo>
                  <a:lnTo>
                    <a:pt x="188" y="764"/>
                  </a:lnTo>
                  <a:lnTo>
                    <a:pt x="184" y="760"/>
                  </a:lnTo>
                  <a:lnTo>
                    <a:pt x="175" y="760"/>
                  </a:lnTo>
                  <a:lnTo>
                    <a:pt x="175" y="769"/>
                  </a:lnTo>
                  <a:lnTo>
                    <a:pt x="170" y="769"/>
                  </a:lnTo>
                  <a:lnTo>
                    <a:pt x="157" y="738"/>
                  </a:lnTo>
                  <a:lnTo>
                    <a:pt x="152" y="742"/>
                  </a:lnTo>
                  <a:lnTo>
                    <a:pt x="148" y="733"/>
                  </a:lnTo>
                  <a:lnTo>
                    <a:pt x="157" y="733"/>
                  </a:lnTo>
                  <a:lnTo>
                    <a:pt x="157" y="724"/>
                  </a:lnTo>
                  <a:close/>
                  <a:moveTo>
                    <a:pt x="429" y="443"/>
                  </a:moveTo>
                  <a:lnTo>
                    <a:pt x="420" y="447"/>
                  </a:lnTo>
                  <a:lnTo>
                    <a:pt x="416" y="452"/>
                  </a:lnTo>
                  <a:lnTo>
                    <a:pt x="416" y="465"/>
                  </a:lnTo>
                  <a:lnTo>
                    <a:pt x="429" y="470"/>
                  </a:lnTo>
                  <a:lnTo>
                    <a:pt x="434" y="465"/>
                  </a:lnTo>
                  <a:lnTo>
                    <a:pt x="438" y="452"/>
                  </a:lnTo>
                  <a:lnTo>
                    <a:pt x="429" y="443"/>
                  </a:lnTo>
                  <a:close/>
                  <a:moveTo>
                    <a:pt x="532" y="268"/>
                  </a:moveTo>
                  <a:lnTo>
                    <a:pt x="541" y="255"/>
                  </a:lnTo>
                  <a:lnTo>
                    <a:pt x="537" y="251"/>
                  </a:lnTo>
                  <a:lnTo>
                    <a:pt x="545" y="246"/>
                  </a:lnTo>
                  <a:lnTo>
                    <a:pt x="541" y="242"/>
                  </a:lnTo>
                  <a:lnTo>
                    <a:pt x="550" y="237"/>
                  </a:lnTo>
                  <a:lnTo>
                    <a:pt x="563" y="215"/>
                  </a:lnTo>
                  <a:lnTo>
                    <a:pt x="559" y="201"/>
                  </a:lnTo>
                  <a:lnTo>
                    <a:pt x="568" y="197"/>
                  </a:lnTo>
                  <a:lnTo>
                    <a:pt x="568" y="188"/>
                  </a:lnTo>
                  <a:lnTo>
                    <a:pt x="577" y="192"/>
                  </a:lnTo>
                  <a:lnTo>
                    <a:pt x="590" y="184"/>
                  </a:lnTo>
                  <a:lnTo>
                    <a:pt x="590" y="175"/>
                  </a:lnTo>
                  <a:lnTo>
                    <a:pt x="630" y="143"/>
                  </a:lnTo>
                  <a:lnTo>
                    <a:pt x="635" y="148"/>
                  </a:lnTo>
                  <a:lnTo>
                    <a:pt x="702" y="99"/>
                  </a:lnTo>
                  <a:lnTo>
                    <a:pt x="711" y="67"/>
                  </a:lnTo>
                  <a:lnTo>
                    <a:pt x="702" y="54"/>
                  </a:lnTo>
                  <a:lnTo>
                    <a:pt x="688" y="49"/>
                  </a:lnTo>
                  <a:lnTo>
                    <a:pt x="671" y="63"/>
                  </a:lnTo>
                  <a:lnTo>
                    <a:pt x="644" y="85"/>
                  </a:lnTo>
                  <a:lnTo>
                    <a:pt x="612" y="94"/>
                  </a:lnTo>
                  <a:lnTo>
                    <a:pt x="595" y="94"/>
                  </a:lnTo>
                  <a:lnTo>
                    <a:pt x="595" y="108"/>
                  </a:lnTo>
                  <a:lnTo>
                    <a:pt x="586" y="103"/>
                  </a:lnTo>
                  <a:lnTo>
                    <a:pt x="563" y="125"/>
                  </a:lnTo>
                  <a:lnTo>
                    <a:pt x="554" y="143"/>
                  </a:lnTo>
                  <a:lnTo>
                    <a:pt x="528" y="166"/>
                  </a:lnTo>
                  <a:lnTo>
                    <a:pt x="519" y="161"/>
                  </a:lnTo>
                  <a:lnTo>
                    <a:pt x="519" y="179"/>
                  </a:lnTo>
                  <a:lnTo>
                    <a:pt x="523" y="175"/>
                  </a:lnTo>
                  <a:lnTo>
                    <a:pt x="528" y="179"/>
                  </a:lnTo>
                  <a:lnTo>
                    <a:pt x="519" y="188"/>
                  </a:lnTo>
                  <a:lnTo>
                    <a:pt x="528" y="188"/>
                  </a:lnTo>
                  <a:lnTo>
                    <a:pt x="514" y="192"/>
                  </a:lnTo>
                  <a:lnTo>
                    <a:pt x="523" y="201"/>
                  </a:lnTo>
                  <a:lnTo>
                    <a:pt x="514" y="201"/>
                  </a:lnTo>
                  <a:lnTo>
                    <a:pt x="519" y="215"/>
                  </a:lnTo>
                  <a:lnTo>
                    <a:pt x="510" y="215"/>
                  </a:lnTo>
                  <a:lnTo>
                    <a:pt x="505" y="219"/>
                  </a:lnTo>
                  <a:lnTo>
                    <a:pt x="505" y="224"/>
                  </a:lnTo>
                  <a:lnTo>
                    <a:pt x="487" y="237"/>
                  </a:lnTo>
                  <a:lnTo>
                    <a:pt x="496" y="246"/>
                  </a:lnTo>
                  <a:lnTo>
                    <a:pt x="514" y="242"/>
                  </a:lnTo>
                  <a:lnTo>
                    <a:pt x="496" y="260"/>
                  </a:lnTo>
                  <a:lnTo>
                    <a:pt x="501" y="260"/>
                  </a:lnTo>
                  <a:lnTo>
                    <a:pt x="514" y="255"/>
                  </a:lnTo>
                  <a:lnTo>
                    <a:pt x="528" y="264"/>
                  </a:lnTo>
                  <a:lnTo>
                    <a:pt x="532" y="268"/>
                  </a:lnTo>
                  <a:close/>
                  <a:moveTo>
                    <a:pt x="550" y="385"/>
                  </a:moveTo>
                  <a:lnTo>
                    <a:pt x="537" y="376"/>
                  </a:lnTo>
                  <a:lnTo>
                    <a:pt x="519" y="349"/>
                  </a:lnTo>
                  <a:lnTo>
                    <a:pt x="519" y="327"/>
                  </a:lnTo>
                  <a:lnTo>
                    <a:pt x="523" y="300"/>
                  </a:lnTo>
                  <a:lnTo>
                    <a:pt x="528" y="268"/>
                  </a:lnTo>
                  <a:lnTo>
                    <a:pt x="510" y="260"/>
                  </a:lnTo>
                  <a:lnTo>
                    <a:pt x="501" y="264"/>
                  </a:lnTo>
                  <a:lnTo>
                    <a:pt x="487" y="268"/>
                  </a:lnTo>
                  <a:lnTo>
                    <a:pt x="483" y="282"/>
                  </a:lnTo>
                  <a:lnTo>
                    <a:pt x="478" y="282"/>
                  </a:lnTo>
                  <a:lnTo>
                    <a:pt x="470" y="291"/>
                  </a:lnTo>
                  <a:lnTo>
                    <a:pt x="474" y="295"/>
                  </a:lnTo>
                  <a:lnTo>
                    <a:pt x="470" y="322"/>
                  </a:lnTo>
                  <a:lnTo>
                    <a:pt x="461" y="322"/>
                  </a:lnTo>
                  <a:lnTo>
                    <a:pt x="456" y="335"/>
                  </a:lnTo>
                  <a:lnTo>
                    <a:pt x="461" y="344"/>
                  </a:lnTo>
                  <a:lnTo>
                    <a:pt x="465" y="349"/>
                  </a:lnTo>
                  <a:lnTo>
                    <a:pt x="483" y="353"/>
                  </a:lnTo>
                  <a:lnTo>
                    <a:pt x="487" y="358"/>
                  </a:lnTo>
                  <a:lnTo>
                    <a:pt x="474" y="358"/>
                  </a:lnTo>
                  <a:lnTo>
                    <a:pt x="474" y="362"/>
                  </a:lnTo>
                  <a:lnTo>
                    <a:pt x="478" y="362"/>
                  </a:lnTo>
                  <a:lnTo>
                    <a:pt x="483" y="380"/>
                  </a:lnTo>
                  <a:lnTo>
                    <a:pt x="483" y="367"/>
                  </a:lnTo>
                  <a:lnTo>
                    <a:pt x="492" y="367"/>
                  </a:lnTo>
                  <a:lnTo>
                    <a:pt x="501" y="371"/>
                  </a:lnTo>
                  <a:lnTo>
                    <a:pt x="492" y="376"/>
                  </a:lnTo>
                  <a:lnTo>
                    <a:pt x="487" y="389"/>
                  </a:lnTo>
                  <a:lnTo>
                    <a:pt x="501" y="398"/>
                  </a:lnTo>
                  <a:lnTo>
                    <a:pt x="514" y="403"/>
                  </a:lnTo>
                  <a:lnTo>
                    <a:pt x="519" y="394"/>
                  </a:lnTo>
                  <a:lnTo>
                    <a:pt x="532" y="398"/>
                  </a:lnTo>
                  <a:lnTo>
                    <a:pt x="528" y="385"/>
                  </a:lnTo>
                  <a:lnTo>
                    <a:pt x="541" y="394"/>
                  </a:lnTo>
                  <a:lnTo>
                    <a:pt x="550" y="385"/>
                  </a:lnTo>
                  <a:close/>
                  <a:moveTo>
                    <a:pt x="729" y="255"/>
                  </a:moveTo>
                  <a:lnTo>
                    <a:pt x="729" y="277"/>
                  </a:lnTo>
                  <a:lnTo>
                    <a:pt x="733" y="277"/>
                  </a:lnTo>
                  <a:lnTo>
                    <a:pt x="751" y="268"/>
                  </a:lnTo>
                  <a:lnTo>
                    <a:pt x="751" y="260"/>
                  </a:lnTo>
                  <a:lnTo>
                    <a:pt x="738" y="251"/>
                  </a:lnTo>
                  <a:lnTo>
                    <a:pt x="729" y="255"/>
                  </a:lnTo>
                  <a:close/>
                  <a:moveTo>
                    <a:pt x="1224" y="979"/>
                  </a:moveTo>
                  <a:lnTo>
                    <a:pt x="1229" y="979"/>
                  </a:lnTo>
                  <a:lnTo>
                    <a:pt x="1256" y="957"/>
                  </a:lnTo>
                  <a:lnTo>
                    <a:pt x="1265" y="948"/>
                  </a:lnTo>
                  <a:lnTo>
                    <a:pt x="1260" y="943"/>
                  </a:lnTo>
                  <a:lnTo>
                    <a:pt x="1278" y="921"/>
                  </a:lnTo>
                  <a:lnTo>
                    <a:pt x="1282" y="912"/>
                  </a:lnTo>
                  <a:lnTo>
                    <a:pt x="1282" y="894"/>
                  </a:lnTo>
                  <a:lnTo>
                    <a:pt x="1291" y="885"/>
                  </a:lnTo>
                  <a:lnTo>
                    <a:pt x="1296" y="890"/>
                  </a:lnTo>
                  <a:lnTo>
                    <a:pt x="1287" y="925"/>
                  </a:lnTo>
                  <a:lnTo>
                    <a:pt x="1291" y="930"/>
                  </a:lnTo>
                  <a:lnTo>
                    <a:pt x="1287" y="939"/>
                  </a:lnTo>
                  <a:lnTo>
                    <a:pt x="1282" y="934"/>
                  </a:lnTo>
                  <a:lnTo>
                    <a:pt x="1278" y="939"/>
                  </a:lnTo>
                  <a:lnTo>
                    <a:pt x="1278" y="943"/>
                  </a:lnTo>
                  <a:lnTo>
                    <a:pt x="1265" y="961"/>
                  </a:lnTo>
                  <a:lnTo>
                    <a:pt x="1256" y="970"/>
                  </a:lnTo>
                  <a:lnTo>
                    <a:pt x="1251" y="979"/>
                  </a:lnTo>
                  <a:lnTo>
                    <a:pt x="1247" y="975"/>
                  </a:lnTo>
                  <a:lnTo>
                    <a:pt x="1238" y="988"/>
                  </a:lnTo>
                  <a:lnTo>
                    <a:pt x="1224" y="992"/>
                  </a:lnTo>
                  <a:lnTo>
                    <a:pt x="1207" y="988"/>
                  </a:lnTo>
                  <a:lnTo>
                    <a:pt x="1220" y="983"/>
                  </a:lnTo>
                  <a:lnTo>
                    <a:pt x="1224" y="979"/>
                  </a:lnTo>
                  <a:close/>
                  <a:moveTo>
                    <a:pt x="1716" y="108"/>
                  </a:moveTo>
                  <a:lnTo>
                    <a:pt x="1693" y="121"/>
                  </a:lnTo>
                  <a:lnTo>
                    <a:pt x="1680" y="139"/>
                  </a:lnTo>
                  <a:lnTo>
                    <a:pt x="1676" y="166"/>
                  </a:lnTo>
                  <a:lnTo>
                    <a:pt x="1680" y="179"/>
                  </a:lnTo>
                  <a:lnTo>
                    <a:pt x="1698" y="192"/>
                  </a:lnTo>
                  <a:lnTo>
                    <a:pt x="1716" y="201"/>
                  </a:lnTo>
                  <a:lnTo>
                    <a:pt x="1725" y="188"/>
                  </a:lnTo>
                  <a:lnTo>
                    <a:pt x="1729" y="197"/>
                  </a:lnTo>
                  <a:lnTo>
                    <a:pt x="1738" y="192"/>
                  </a:lnTo>
                  <a:lnTo>
                    <a:pt x="1747" y="184"/>
                  </a:lnTo>
                  <a:lnTo>
                    <a:pt x="1751" y="188"/>
                  </a:lnTo>
                  <a:lnTo>
                    <a:pt x="1760" y="184"/>
                  </a:lnTo>
                  <a:lnTo>
                    <a:pt x="1765" y="188"/>
                  </a:lnTo>
                  <a:lnTo>
                    <a:pt x="1769" y="184"/>
                  </a:lnTo>
                  <a:lnTo>
                    <a:pt x="1760" y="179"/>
                  </a:lnTo>
                  <a:lnTo>
                    <a:pt x="1756" y="166"/>
                  </a:lnTo>
                  <a:lnTo>
                    <a:pt x="1756" y="148"/>
                  </a:lnTo>
                  <a:lnTo>
                    <a:pt x="1760" y="130"/>
                  </a:lnTo>
                  <a:lnTo>
                    <a:pt x="1765" y="139"/>
                  </a:lnTo>
                  <a:lnTo>
                    <a:pt x="1760" y="152"/>
                  </a:lnTo>
                  <a:lnTo>
                    <a:pt x="1765" y="175"/>
                  </a:lnTo>
                  <a:lnTo>
                    <a:pt x="1774" y="179"/>
                  </a:lnTo>
                  <a:lnTo>
                    <a:pt x="1783" y="175"/>
                  </a:lnTo>
                  <a:lnTo>
                    <a:pt x="1792" y="161"/>
                  </a:lnTo>
                  <a:lnTo>
                    <a:pt x="1787" y="148"/>
                  </a:lnTo>
                  <a:lnTo>
                    <a:pt x="1796" y="139"/>
                  </a:lnTo>
                  <a:lnTo>
                    <a:pt x="1765" y="121"/>
                  </a:lnTo>
                  <a:lnTo>
                    <a:pt x="1747" y="103"/>
                  </a:lnTo>
                  <a:lnTo>
                    <a:pt x="1738" y="121"/>
                  </a:lnTo>
                  <a:lnTo>
                    <a:pt x="1734" y="134"/>
                  </a:lnTo>
                  <a:lnTo>
                    <a:pt x="1729" y="134"/>
                  </a:lnTo>
                  <a:lnTo>
                    <a:pt x="1716" y="108"/>
                  </a:lnTo>
                  <a:close/>
                  <a:moveTo>
                    <a:pt x="1729" y="219"/>
                  </a:moveTo>
                  <a:lnTo>
                    <a:pt x="1729" y="237"/>
                  </a:lnTo>
                  <a:lnTo>
                    <a:pt x="1734" y="242"/>
                  </a:lnTo>
                  <a:lnTo>
                    <a:pt x="1738" y="233"/>
                  </a:lnTo>
                  <a:lnTo>
                    <a:pt x="1738" y="224"/>
                  </a:lnTo>
                  <a:lnTo>
                    <a:pt x="1729" y="219"/>
                  </a:lnTo>
                  <a:close/>
                  <a:moveTo>
                    <a:pt x="1738" y="242"/>
                  </a:moveTo>
                  <a:lnTo>
                    <a:pt x="1734" y="255"/>
                  </a:lnTo>
                  <a:lnTo>
                    <a:pt x="1720" y="260"/>
                  </a:lnTo>
                  <a:lnTo>
                    <a:pt x="1720" y="264"/>
                  </a:lnTo>
                  <a:lnTo>
                    <a:pt x="1734" y="264"/>
                  </a:lnTo>
                  <a:lnTo>
                    <a:pt x="1774" y="268"/>
                  </a:lnTo>
                  <a:lnTo>
                    <a:pt x="1774" y="251"/>
                  </a:lnTo>
                  <a:lnTo>
                    <a:pt x="1760" y="246"/>
                  </a:lnTo>
                  <a:lnTo>
                    <a:pt x="1760" y="242"/>
                  </a:lnTo>
                  <a:lnTo>
                    <a:pt x="1751" y="237"/>
                  </a:lnTo>
                  <a:lnTo>
                    <a:pt x="1738" y="242"/>
                  </a:lnTo>
                  <a:close/>
                  <a:moveTo>
                    <a:pt x="1765" y="921"/>
                  </a:moveTo>
                  <a:lnTo>
                    <a:pt x="1756" y="921"/>
                  </a:lnTo>
                  <a:lnTo>
                    <a:pt x="1756" y="939"/>
                  </a:lnTo>
                  <a:lnTo>
                    <a:pt x="1747" y="948"/>
                  </a:lnTo>
                  <a:lnTo>
                    <a:pt x="1747" y="988"/>
                  </a:lnTo>
                  <a:lnTo>
                    <a:pt x="1751" y="1006"/>
                  </a:lnTo>
                  <a:lnTo>
                    <a:pt x="1747" y="1055"/>
                  </a:lnTo>
                  <a:lnTo>
                    <a:pt x="1756" y="1068"/>
                  </a:lnTo>
                  <a:lnTo>
                    <a:pt x="1747" y="1082"/>
                  </a:lnTo>
                  <a:lnTo>
                    <a:pt x="1751" y="1091"/>
                  </a:lnTo>
                  <a:lnTo>
                    <a:pt x="1747" y="1104"/>
                  </a:lnTo>
                  <a:lnTo>
                    <a:pt x="1751" y="1118"/>
                  </a:lnTo>
                  <a:lnTo>
                    <a:pt x="1760" y="1100"/>
                  </a:lnTo>
                  <a:lnTo>
                    <a:pt x="1769" y="1104"/>
                  </a:lnTo>
                  <a:lnTo>
                    <a:pt x="1774" y="1113"/>
                  </a:lnTo>
                  <a:lnTo>
                    <a:pt x="1774" y="1095"/>
                  </a:lnTo>
                  <a:lnTo>
                    <a:pt x="1760" y="1077"/>
                  </a:lnTo>
                  <a:lnTo>
                    <a:pt x="1769" y="1046"/>
                  </a:lnTo>
                  <a:lnTo>
                    <a:pt x="1783" y="1046"/>
                  </a:lnTo>
                  <a:lnTo>
                    <a:pt x="1792" y="1055"/>
                  </a:lnTo>
                  <a:lnTo>
                    <a:pt x="1792" y="1055"/>
                  </a:lnTo>
                  <a:lnTo>
                    <a:pt x="1787" y="1046"/>
                  </a:lnTo>
                  <a:lnTo>
                    <a:pt x="1778" y="1019"/>
                  </a:lnTo>
                  <a:lnTo>
                    <a:pt x="1769" y="952"/>
                  </a:lnTo>
                  <a:lnTo>
                    <a:pt x="1765" y="921"/>
                  </a:lnTo>
                  <a:close/>
                  <a:moveTo>
                    <a:pt x="1805" y="1158"/>
                  </a:moveTo>
                  <a:lnTo>
                    <a:pt x="1805" y="1162"/>
                  </a:lnTo>
                  <a:lnTo>
                    <a:pt x="1819" y="1144"/>
                  </a:lnTo>
                  <a:lnTo>
                    <a:pt x="1814" y="1144"/>
                  </a:lnTo>
                  <a:lnTo>
                    <a:pt x="1805" y="1158"/>
                  </a:lnTo>
                  <a:close/>
                  <a:moveTo>
                    <a:pt x="1850" y="1118"/>
                  </a:moveTo>
                  <a:lnTo>
                    <a:pt x="1841" y="1126"/>
                  </a:lnTo>
                  <a:lnTo>
                    <a:pt x="1836" y="1122"/>
                  </a:lnTo>
                  <a:lnTo>
                    <a:pt x="1827" y="1131"/>
                  </a:lnTo>
                  <a:lnTo>
                    <a:pt x="1823" y="1140"/>
                  </a:lnTo>
                  <a:lnTo>
                    <a:pt x="1819" y="1144"/>
                  </a:lnTo>
                  <a:lnTo>
                    <a:pt x="1823" y="1144"/>
                  </a:lnTo>
                  <a:lnTo>
                    <a:pt x="1836" y="1135"/>
                  </a:lnTo>
                  <a:lnTo>
                    <a:pt x="1850" y="1126"/>
                  </a:lnTo>
                  <a:lnTo>
                    <a:pt x="1850" y="1118"/>
                  </a:lnTo>
                  <a:close/>
                  <a:moveTo>
                    <a:pt x="1854" y="161"/>
                  </a:moveTo>
                  <a:lnTo>
                    <a:pt x="1850" y="166"/>
                  </a:lnTo>
                  <a:lnTo>
                    <a:pt x="1845" y="166"/>
                  </a:lnTo>
                  <a:lnTo>
                    <a:pt x="1850" y="152"/>
                  </a:lnTo>
                  <a:lnTo>
                    <a:pt x="1832" y="152"/>
                  </a:lnTo>
                  <a:lnTo>
                    <a:pt x="1827" y="157"/>
                  </a:lnTo>
                  <a:lnTo>
                    <a:pt x="1819" y="157"/>
                  </a:lnTo>
                  <a:lnTo>
                    <a:pt x="1823" y="143"/>
                  </a:lnTo>
                  <a:lnTo>
                    <a:pt x="1814" y="143"/>
                  </a:lnTo>
                  <a:lnTo>
                    <a:pt x="1814" y="157"/>
                  </a:lnTo>
                  <a:lnTo>
                    <a:pt x="1810" y="161"/>
                  </a:lnTo>
                  <a:lnTo>
                    <a:pt x="1810" y="170"/>
                  </a:lnTo>
                  <a:lnTo>
                    <a:pt x="1823" y="184"/>
                  </a:lnTo>
                  <a:lnTo>
                    <a:pt x="1832" y="188"/>
                  </a:lnTo>
                  <a:lnTo>
                    <a:pt x="1841" y="197"/>
                  </a:lnTo>
                  <a:lnTo>
                    <a:pt x="1863" y="197"/>
                  </a:lnTo>
                  <a:lnTo>
                    <a:pt x="1868" y="192"/>
                  </a:lnTo>
                  <a:lnTo>
                    <a:pt x="1877" y="188"/>
                  </a:lnTo>
                  <a:lnTo>
                    <a:pt x="1872" y="184"/>
                  </a:lnTo>
                  <a:lnTo>
                    <a:pt x="1877" y="175"/>
                  </a:lnTo>
                  <a:lnTo>
                    <a:pt x="1872" y="175"/>
                  </a:lnTo>
                  <a:lnTo>
                    <a:pt x="1868" y="175"/>
                  </a:lnTo>
                  <a:lnTo>
                    <a:pt x="1868" y="170"/>
                  </a:lnTo>
                  <a:lnTo>
                    <a:pt x="1854" y="161"/>
                  </a:lnTo>
                  <a:close/>
                  <a:moveTo>
                    <a:pt x="1877" y="1109"/>
                  </a:moveTo>
                  <a:lnTo>
                    <a:pt x="1872" y="1109"/>
                  </a:lnTo>
                  <a:lnTo>
                    <a:pt x="1859" y="1122"/>
                  </a:lnTo>
                  <a:lnTo>
                    <a:pt x="1863" y="1126"/>
                  </a:lnTo>
                  <a:lnTo>
                    <a:pt x="1877" y="1109"/>
                  </a:lnTo>
                  <a:close/>
                  <a:moveTo>
                    <a:pt x="1899" y="1086"/>
                  </a:moveTo>
                  <a:lnTo>
                    <a:pt x="1903" y="1086"/>
                  </a:lnTo>
                  <a:lnTo>
                    <a:pt x="1899" y="1082"/>
                  </a:lnTo>
                  <a:lnTo>
                    <a:pt x="1890" y="1091"/>
                  </a:lnTo>
                  <a:lnTo>
                    <a:pt x="1890" y="1100"/>
                  </a:lnTo>
                  <a:lnTo>
                    <a:pt x="1899" y="1091"/>
                  </a:lnTo>
                  <a:lnTo>
                    <a:pt x="1899" y="1086"/>
                  </a:lnTo>
                  <a:close/>
                  <a:moveTo>
                    <a:pt x="1935" y="1037"/>
                  </a:moveTo>
                  <a:lnTo>
                    <a:pt x="1930" y="1042"/>
                  </a:lnTo>
                  <a:lnTo>
                    <a:pt x="1935" y="1046"/>
                  </a:lnTo>
                  <a:lnTo>
                    <a:pt x="1939" y="1037"/>
                  </a:lnTo>
                  <a:lnTo>
                    <a:pt x="1935" y="1037"/>
                  </a:lnTo>
                  <a:close/>
                  <a:moveTo>
                    <a:pt x="1957" y="1015"/>
                  </a:moveTo>
                  <a:lnTo>
                    <a:pt x="1957" y="1019"/>
                  </a:lnTo>
                  <a:lnTo>
                    <a:pt x="1961" y="1015"/>
                  </a:lnTo>
                  <a:lnTo>
                    <a:pt x="1957" y="1010"/>
                  </a:lnTo>
                  <a:lnTo>
                    <a:pt x="1953" y="1015"/>
                  </a:lnTo>
                  <a:lnTo>
                    <a:pt x="1957" y="1015"/>
                  </a:lnTo>
                  <a:lnTo>
                    <a:pt x="1953" y="1015"/>
                  </a:lnTo>
                  <a:lnTo>
                    <a:pt x="1948" y="1024"/>
                  </a:lnTo>
                  <a:lnTo>
                    <a:pt x="1944" y="1024"/>
                  </a:lnTo>
                  <a:lnTo>
                    <a:pt x="1944" y="1033"/>
                  </a:lnTo>
                  <a:lnTo>
                    <a:pt x="1948" y="1028"/>
                  </a:lnTo>
                  <a:lnTo>
                    <a:pt x="1957" y="1019"/>
                  </a:lnTo>
                  <a:lnTo>
                    <a:pt x="1957" y="1015"/>
                  </a:lnTo>
                  <a:close/>
                  <a:moveTo>
                    <a:pt x="2064" y="800"/>
                  </a:moveTo>
                  <a:lnTo>
                    <a:pt x="2060" y="809"/>
                  </a:lnTo>
                  <a:lnTo>
                    <a:pt x="2055" y="818"/>
                  </a:lnTo>
                  <a:lnTo>
                    <a:pt x="2060" y="823"/>
                  </a:lnTo>
                  <a:lnTo>
                    <a:pt x="2078" y="805"/>
                  </a:lnTo>
                  <a:lnTo>
                    <a:pt x="2073" y="796"/>
                  </a:lnTo>
                  <a:lnTo>
                    <a:pt x="2069" y="796"/>
                  </a:lnTo>
                  <a:lnTo>
                    <a:pt x="2069" y="800"/>
                  </a:lnTo>
                  <a:lnTo>
                    <a:pt x="2064" y="800"/>
                  </a:lnTo>
                  <a:close/>
                  <a:moveTo>
                    <a:pt x="2100" y="903"/>
                  </a:moveTo>
                  <a:lnTo>
                    <a:pt x="2091" y="903"/>
                  </a:lnTo>
                  <a:lnTo>
                    <a:pt x="2095" y="907"/>
                  </a:lnTo>
                  <a:lnTo>
                    <a:pt x="2104" y="921"/>
                  </a:lnTo>
                  <a:lnTo>
                    <a:pt x="2104" y="912"/>
                  </a:lnTo>
                  <a:lnTo>
                    <a:pt x="2100" y="903"/>
                  </a:lnTo>
                  <a:close/>
                  <a:moveTo>
                    <a:pt x="2274" y="371"/>
                  </a:moveTo>
                  <a:lnTo>
                    <a:pt x="2279" y="385"/>
                  </a:lnTo>
                  <a:lnTo>
                    <a:pt x="2288" y="380"/>
                  </a:lnTo>
                  <a:lnTo>
                    <a:pt x="2292" y="380"/>
                  </a:lnTo>
                  <a:lnTo>
                    <a:pt x="2301" y="376"/>
                  </a:lnTo>
                  <a:lnTo>
                    <a:pt x="2305" y="380"/>
                  </a:lnTo>
                  <a:lnTo>
                    <a:pt x="2319" y="380"/>
                  </a:lnTo>
                  <a:lnTo>
                    <a:pt x="2337" y="367"/>
                  </a:lnTo>
                  <a:lnTo>
                    <a:pt x="2328" y="353"/>
                  </a:lnTo>
                  <a:lnTo>
                    <a:pt x="2305" y="349"/>
                  </a:lnTo>
                  <a:lnTo>
                    <a:pt x="2296" y="349"/>
                  </a:lnTo>
                  <a:lnTo>
                    <a:pt x="2274" y="3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6" name="Freeform 145">
              <a:extLst>
                <a:ext uri="{FF2B5EF4-FFF2-40B4-BE49-F238E27FC236}">
                  <a16:creationId xmlns:a16="http://schemas.microsoft.com/office/drawing/2014/main" id="{F43B920E-A227-4E6B-BBA5-A6713108B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0238" y="3903774"/>
              <a:ext cx="519321" cy="397035"/>
            </a:xfrm>
            <a:custGeom>
              <a:avLst/>
              <a:gdLst/>
              <a:ahLst/>
              <a:cxnLst>
                <a:cxn ang="0">
                  <a:pos x="9" y="49"/>
                </a:cxn>
                <a:cxn ang="0">
                  <a:pos x="31" y="49"/>
                </a:cxn>
                <a:cxn ang="0">
                  <a:pos x="36" y="40"/>
                </a:cxn>
                <a:cxn ang="0">
                  <a:pos x="49" y="31"/>
                </a:cxn>
                <a:cxn ang="0">
                  <a:pos x="45" y="13"/>
                </a:cxn>
                <a:cxn ang="0">
                  <a:pos x="71" y="0"/>
                </a:cxn>
                <a:cxn ang="0">
                  <a:pos x="94" y="4"/>
                </a:cxn>
                <a:cxn ang="0">
                  <a:pos x="125" y="27"/>
                </a:cxn>
                <a:cxn ang="0">
                  <a:pos x="125" y="35"/>
                </a:cxn>
                <a:cxn ang="0">
                  <a:pos x="134" y="35"/>
                </a:cxn>
                <a:cxn ang="0">
                  <a:pos x="134" y="49"/>
                </a:cxn>
                <a:cxn ang="0">
                  <a:pos x="147" y="53"/>
                </a:cxn>
                <a:cxn ang="0">
                  <a:pos x="174" y="53"/>
                </a:cxn>
                <a:cxn ang="0">
                  <a:pos x="187" y="58"/>
                </a:cxn>
                <a:cxn ang="0">
                  <a:pos x="192" y="62"/>
                </a:cxn>
                <a:cxn ang="0">
                  <a:pos x="205" y="58"/>
                </a:cxn>
                <a:cxn ang="0">
                  <a:pos x="214" y="71"/>
                </a:cxn>
                <a:cxn ang="0">
                  <a:pos x="214" y="80"/>
                </a:cxn>
                <a:cxn ang="0">
                  <a:pos x="228" y="89"/>
                </a:cxn>
                <a:cxn ang="0">
                  <a:pos x="228" y="102"/>
                </a:cxn>
                <a:cxn ang="0">
                  <a:pos x="237" y="116"/>
                </a:cxn>
                <a:cxn ang="0">
                  <a:pos x="246" y="143"/>
                </a:cxn>
                <a:cxn ang="0">
                  <a:pos x="259" y="152"/>
                </a:cxn>
                <a:cxn ang="0">
                  <a:pos x="281" y="143"/>
                </a:cxn>
                <a:cxn ang="0">
                  <a:pos x="299" y="134"/>
                </a:cxn>
                <a:cxn ang="0">
                  <a:pos x="299" y="161"/>
                </a:cxn>
                <a:cxn ang="0">
                  <a:pos x="308" y="156"/>
                </a:cxn>
                <a:cxn ang="0">
                  <a:pos x="322" y="161"/>
                </a:cxn>
                <a:cxn ang="0">
                  <a:pos x="326" y="183"/>
                </a:cxn>
                <a:cxn ang="0">
                  <a:pos x="322" y="196"/>
                </a:cxn>
                <a:cxn ang="0">
                  <a:pos x="308" y="201"/>
                </a:cxn>
                <a:cxn ang="0">
                  <a:pos x="268" y="223"/>
                </a:cxn>
                <a:cxn ang="0">
                  <a:pos x="255" y="237"/>
                </a:cxn>
                <a:cxn ang="0">
                  <a:pos x="232" y="241"/>
                </a:cxn>
                <a:cxn ang="0">
                  <a:pos x="161" y="268"/>
                </a:cxn>
                <a:cxn ang="0">
                  <a:pos x="165" y="245"/>
                </a:cxn>
                <a:cxn ang="0">
                  <a:pos x="134" y="237"/>
                </a:cxn>
                <a:cxn ang="0">
                  <a:pos x="129" y="250"/>
                </a:cxn>
                <a:cxn ang="0">
                  <a:pos x="125" y="250"/>
                </a:cxn>
                <a:cxn ang="0">
                  <a:pos x="120" y="245"/>
                </a:cxn>
                <a:cxn ang="0">
                  <a:pos x="120" y="245"/>
                </a:cxn>
                <a:cxn ang="0">
                  <a:pos x="94" y="205"/>
                </a:cxn>
                <a:cxn ang="0">
                  <a:pos x="89" y="196"/>
                </a:cxn>
                <a:cxn ang="0">
                  <a:pos x="80" y="192"/>
                </a:cxn>
                <a:cxn ang="0">
                  <a:pos x="67" y="178"/>
                </a:cxn>
                <a:cxn ang="0">
                  <a:pos x="67" y="170"/>
                </a:cxn>
                <a:cxn ang="0">
                  <a:pos x="62" y="165"/>
                </a:cxn>
                <a:cxn ang="0">
                  <a:pos x="62" y="161"/>
                </a:cxn>
                <a:cxn ang="0">
                  <a:pos x="67" y="165"/>
                </a:cxn>
                <a:cxn ang="0">
                  <a:pos x="67" y="156"/>
                </a:cxn>
                <a:cxn ang="0">
                  <a:pos x="62" y="152"/>
                </a:cxn>
                <a:cxn ang="0">
                  <a:pos x="58" y="138"/>
                </a:cxn>
                <a:cxn ang="0">
                  <a:pos x="49" y="129"/>
                </a:cxn>
                <a:cxn ang="0">
                  <a:pos x="40" y="125"/>
                </a:cxn>
                <a:cxn ang="0">
                  <a:pos x="36" y="116"/>
                </a:cxn>
                <a:cxn ang="0">
                  <a:pos x="40" y="116"/>
                </a:cxn>
                <a:cxn ang="0">
                  <a:pos x="36" y="107"/>
                </a:cxn>
                <a:cxn ang="0">
                  <a:pos x="27" y="98"/>
                </a:cxn>
                <a:cxn ang="0">
                  <a:pos x="9" y="67"/>
                </a:cxn>
                <a:cxn ang="0">
                  <a:pos x="0" y="67"/>
                </a:cxn>
                <a:cxn ang="0">
                  <a:pos x="0" y="62"/>
                </a:cxn>
                <a:cxn ang="0">
                  <a:pos x="9" y="49"/>
                </a:cxn>
              </a:cxnLst>
              <a:rect l="0" t="0" r="r" b="b"/>
              <a:pathLst>
                <a:path w="326" h="268">
                  <a:moveTo>
                    <a:pt x="9" y="49"/>
                  </a:moveTo>
                  <a:lnTo>
                    <a:pt x="31" y="49"/>
                  </a:lnTo>
                  <a:lnTo>
                    <a:pt x="36" y="40"/>
                  </a:lnTo>
                  <a:lnTo>
                    <a:pt x="49" y="31"/>
                  </a:lnTo>
                  <a:lnTo>
                    <a:pt x="45" y="13"/>
                  </a:lnTo>
                  <a:lnTo>
                    <a:pt x="71" y="0"/>
                  </a:lnTo>
                  <a:lnTo>
                    <a:pt x="94" y="4"/>
                  </a:lnTo>
                  <a:lnTo>
                    <a:pt x="125" y="27"/>
                  </a:lnTo>
                  <a:lnTo>
                    <a:pt x="125" y="35"/>
                  </a:lnTo>
                  <a:lnTo>
                    <a:pt x="134" y="35"/>
                  </a:lnTo>
                  <a:lnTo>
                    <a:pt x="134" y="49"/>
                  </a:lnTo>
                  <a:lnTo>
                    <a:pt x="147" y="53"/>
                  </a:lnTo>
                  <a:lnTo>
                    <a:pt x="174" y="53"/>
                  </a:lnTo>
                  <a:lnTo>
                    <a:pt x="187" y="58"/>
                  </a:lnTo>
                  <a:lnTo>
                    <a:pt x="192" y="62"/>
                  </a:lnTo>
                  <a:lnTo>
                    <a:pt x="205" y="58"/>
                  </a:lnTo>
                  <a:lnTo>
                    <a:pt x="214" y="71"/>
                  </a:lnTo>
                  <a:lnTo>
                    <a:pt x="214" y="80"/>
                  </a:lnTo>
                  <a:lnTo>
                    <a:pt x="228" y="89"/>
                  </a:lnTo>
                  <a:lnTo>
                    <a:pt x="228" y="102"/>
                  </a:lnTo>
                  <a:lnTo>
                    <a:pt x="237" y="116"/>
                  </a:lnTo>
                  <a:lnTo>
                    <a:pt x="246" y="143"/>
                  </a:lnTo>
                  <a:lnTo>
                    <a:pt x="259" y="152"/>
                  </a:lnTo>
                  <a:lnTo>
                    <a:pt x="281" y="143"/>
                  </a:lnTo>
                  <a:lnTo>
                    <a:pt x="299" y="134"/>
                  </a:lnTo>
                  <a:lnTo>
                    <a:pt x="299" y="161"/>
                  </a:lnTo>
                  <a:lnTo>
                    <a:pt x="308" y="156"/>
                  </a:lnTo>
                  <a:lnTo>
                    <a:pt x="322" y="161"/>
                  </a:lnTo>
                  <a:lnTo>
                    <a:pt x="326" y="183"/>
                  </a:lnTo>
                  <a:lnTo>
                    <a:pt x="322" y="196"/>
                  </a:lnTo>
                  <a:lnTo>
                    <a:pt x="308" y="201"/>
                  </a:lnTo>
                  <a:lnTo>
                    <a:pt x="268" y="223"/>
                  </a:lnTo>
                  <a:lnTo>
                    <a:pt x="255" y="237"/>
                  </a:lnTo>
                  <a:lnTo>
                    <a:pt x="232" y="241"/>
                  </a:lnTo>
                  <a:lnTo>
                    <a:pt x="161" y="268"/>
                  </a:lnTo>
                  <a:lnTo>
                    <a:pt x="165" y="245"/>
                  </a:lnTo>
                  <a:lnTo>
                    <a:pt x="134" y="237"/>
                  </a:lnTo>
                  <a:lnTo>
                    <a:pt x="129" y="250"/>
                  </a:lnTo>
                  <a:lnTo>
                    <a:pt x="125" y="250"/>
                  </a:lnTo>
                  <a:lnTo>
                    <a:pt x="120" y="245"/>
                  </a:lnTo>
                  <a:lnTo>
                    <a:pt x="120" y="245"/>
                  </a:lnTo>
                  <a:lnTo>
                    <a:pt x="94" y="205"/>
                  </a:lnTo>
                  <a:lnTo>
                    <a:pt x="89" y="196"/>
                  </a:lnTo>
                  <a:lnTo>
                    <a:pt x="80" y="192"/>
                  </a:lnTo>
                  <a:lnTo>
                    <a:pt x="67" y="178"/>
                  </a:lnTo>
                  <a:lnTo>
                    <a:pt x="67" y="170"/>
                  </a:lnTo>
                  <a:lnTo>
                    <a:pt x="62" y="165"/>
                  </a:lnTo>
                  <a:lnTo>
                    <a:pt x="62" y="161"/>
                  </a:lnTo>
                  <a:lnTo>
                    <a:pt x="67" y="165"/>
                  </a:lnTo>
                  <a:lnTo>
                    <a:pt x="67" y="156"/>
                  </a:lnTo>
                  <a:lnTo>
                    <a:pt x="62" y="152"/>
                  </a:lnTo>
                  <a:lnTo>
                    <a:pt x="58" y="138"/>
                  </a:lnTo>
                  <a:lnTo>
                    <a:pt x="49" y="129"/>
                  </a:lnTo>
                  <a:lnTo>
                    <a:pt x="40" y="125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36" y="107"/>
                  </a:lnTo>
                  <a:lnTo>
                    <a:pt x="27" y="98"/>
                  </a:lnTo>
                  <a:lnTo>
                    <a:pt x="9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9" y="4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7" name="Freeform 148">
              <a:extLst>
                <a:ext uri="{FF2B5EF4-FFF2-40B4-BE49-F238E27FC236}">
                  <a16:creationId xmlns:a16="http://schemas.microsoft.com/office/drawing/2014/main" id="{B6615301-E212-43E3-B570-DC9D6414F9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8913" y="3770442"/>
              <a:ext cx="162487" cy="133333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36"/>
                </a:cxn>
                <a:cxn ang="0">
                  <a:pos x="4" y="41"/>
                </a:cxn>
                <a:cxn ang="0">
                  <a:pos x="0" y="45"/>
                </a:cxn>
                <a:cxn ang="0">
                  <a:pos x="9" y="45"/>
                </a:cxn>
                <a:cxn ang="0">
                  <a:pos x="13" y="54"/>
                </a:cxn>
                <a:cxn ang="0">
                  <a:pos x="4" y="67"/>
                </a:cxn>
                <a:cxn ang="0">
                  <a:pos x="4" y="81"/>
                </a:cxn>
                <a:cxn ang="0">
                  <a:pos x="18" y="90"/>
                </a:cxn>
                <a:cxn ang="0">
                  <a:pos x="35" y="76"/>
                </a:cxn>
                <a:cxn ang="0">
                  <a:pos x="40" y="72"/>
                </a:cxn>
                <a:cxn ang="0">
                  <a:pos x="44" y="72"/>
                </a:cxn>
                <a:cxn ang="0">
                  <a:pos x="80" y="45"/>
                </a:cxn>
                <a:cxn ang="0">
                  <a:pos x="85" y="18"/>
                </a:cxn>
                <a:cxn ang="0">
                  <a:pos x="98" y="9"/>
                </a:cxn>
                <a:cxn ang="0">
                  <a:pos x="102" y="5"/>
                </a:cxn>
                <a:cxn ang="0">
                  <a:pos x="94" y="0"/>
                </a:cxn>
                <a:cxn ang="0">
                  <a:pos x="71" y="5"/>
                </a:cxn>
                <a:cxn ang="0">
                  <a:pos x="58" y="9"/>
                </a:cxn>
                <a:cxn ang="0">
                  <a:pos x="40" y="5"/>
                </a:cxn>
                <a:cxn ang="0">
                  <a:pos x="18" y="9"/>
                </a:cxn>
                <a:cxn ang="0">
                  <a:pos x="18" y="18"/>
                </a:cxn>
                <a:cxn ang="0">
                  <a:pos x="9" y="27"/>
                </a:cxn>
                <a:cxn ang="0">
                  <a:pos x="0" y="27"/>
                </a:cxn>
              </a:cxnLst>
              <a:rect l="0" t="0" r="r" b="b"/>
              <a:pathLst>
                <a:path w="102" h="90">
                  <a:moveTo>
                    <a:pt x="0" y="27"/>
                  </a:moveTo>
                  <a:lnTo>
                    <a:pt x="0" y="36"/>
                  </a:lnTo>
                  <a:lnTo>
                    <a:pt x="4" y="41"/>
                  </a:lnTo>
                  <a:lnTo>
                    <a:pt x="0" y="45"/>
                  </a:lnTo>
                  <a:lnTo>
                    <a:pt x="9" y="45"/>
                  </a:lnTo>
                  <a:lnTo>
                    <a:pt x="13" y="54"/>
                  </a:lnTo>
                  <a:lnTo>
                    <a:pt x="4" y="67"/>
                  </a:lnTo>
                  <a:lnTo>
                    <a:pt x="4" y="81"/>
                  </a:lnTo>
                  <a:lnTo>
                    <a:pt x="18" y="90"/>
                  </a:lnTo>
                  <a:lnTo>
                    <a:pt x="35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80" y="45"/>
                  </a:lnTo>
                  <a:lnTo>
                    <a:pt x="85" y="18"/>
                  </a:lnTo>
                  <a:lnTo>
                    <a:pt x="98" y="9"/>
                  </a:lnTo>
                  <a:lnTo>
                    <a:pt x="102" y="5"/>
                  </a:lnTo>
                  <a:lnTo>
                    <a:pt x="94" y="0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0" y="5"/>
                  </a:lnTo>
                  <a:lnTo>
                    <a:pt x="18" y="9"/>
                  </a:lnTo>
                  <a:lnTo>
                    <a:pt x="18" y="18"/>
                  </a:lnTo>
                  <a:lnTo>
                    <a:pt x="9" y="2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8" name="Freeform 149">
              <a:extLst>
                <a:ext uri="{FF2B5EF4-FFF2-40B4-BE49-F238E27FC236}">
                  <a16:creationId xmlns:a16="http://schemas.microsoft.com/office/drawing/2014/main" id="{18D675A9-BE74-42A4-826E-4FCBF8F005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83732" y="3657850"/>
              <a:ext cx="178417" cy="125925"/>
            </a:xfrm>
            <a:custGeom>
              <a:avLst/>
              <a:gdLst/>
              <a:ahLst/>
              <a:cxnLst>
                <a:cxn ang="0">
                  <a:pos x="54" y="18"/>
                </a:cxn>
                <a:cxn ang="0">
                  <a:pos x="50" y="18"/>
                </a:cxn>
                <a:cxn ang="0">
                  <a:pos x="45" y="18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5" y="0"/>
                </a:cxn>
                <a:cxn ang="0">
                  <a:pos x="41" y="0"/>
                </a:cxn>
                <a:cxn ang="0">
                  <a:pos x="41" y="5"/>
                </a:cxn>
                <a:cxn ang="0">
                  <a:pos x="27" y="5"/>
                </a:cxn>
                <a:cxn ang="0">
                  <a:pos x="32" y="9"/>
                </a:cxn>
                <a:cxn ang="0">
                  <a:pos x="23" y="18"/>
                </a:cxn>
                <a:cxn ang="0">
                  <a:pos x="9" y="27"/>
                </a:cxn>
                <a:cxn ang="0">
                  <a:pos x="9" y="27"/>
                </a:cxn>
                <a:cxn ang="0">
                  <a:pos x="5" y="32"/>
                </a:cxn>
                <a:cxn ang="0">
                  <a:pos x="0" y="36"/>
                </a:cxn>
                <a:cxn ang="0">
                  <a:pos x="5" y="41"/>
                </a:cxn>
                <a:cxn ang="0">
                  <a:pos x="5" y="41"/>
                </a:cxn>
                <a:cxn ang="0">
                  <a:pos x="9" y="45"/>
                </a:cxn>
                <a:cxn ang="0">
                  <a:pos x="14" y="45"/>
                </a:cxn>
                <a:cxn ang="0">
                  <a:pos x="9" y="54"/>
                </a:cxn>
                <a:cxn ang="0">
                  <a:pos x="14" y="58"/>
                </a:cxn>
                <a:cxn ang="0">
                  <a:pos x="9" y="67"/>
                </a:cxn>
                <a:cxn ang="0">
                  <a:pos x="5" y="76"/>
                </a:cxn>
                <a:cxn ang="0">
                  <a:pos x="9" y="76"/>
                </a:cxn>
                <a:cxn ang="0">
                  <a:pos x="23" y="72"/>
                </a:cxn>
                <a:cxn ang="0">
                  <a:pos x="36" y="67"/>
                </a:cxn>
                <a:cxn ang="0">
                  <a:pos x="41" y="67"/>
                </a:cxn>
                <a:cxn ang="0">
                  <a:pos x="54" y="50"/>
                </a:cxn>
                <a:cxn ang="0">
                  <a:pos x="58" y="54"/>
                </a:cxn>
                <a:cxn ang="0">
                  <a:pos x="63" y="67"/>
                </a:cxn>
                <a:cxn ang="0">
                  <a:pos x="58" y="85"/>
                </a:cxn>
                <a:cxn ang="0">
                  <a:pos x="81" y="72"/>
                </a:cxn>
                <a:cxn ang="0">
                  <a:pos x="108" y="76"/>
                </a:cxn>
                <a:cxn ang="0">
                  <a:pos x="112" y="72"/>
                </a:cxn>
                <a:cxn ang="0">
                  <a:pos x="112" y="67"/>
                </a:cxn>
                <a:cxn ang="0">
                  <a:pos x="108" y="67"/>
                </a:cxn>
                <a:cxn ang="0">
                  <a:pos x="108" y="54"/>
                </a:cxn>
                <a:cxn ang="0">
                  <a:pos x="90" y="50"/>
                </a:cxn>
                <a:cxn ang="0">
                  <a:pos x="90" y="32"/>
                </a:cxn>
                <a:cxn ang="0">
                  <a:pos x="81" y="32"/>
                </a:cxn>
                <a:cxn ang="0">
                  <a:pos x="76" y="36"/>
                </a:cxn>
                <a:cxn ang="0">
                  <a:pos x="63" y="36"/>
                </a:cxn>
                <a:cxn ang="0">
                  <a:pos x="63" y="32"/>
                </a:cxn>
                <a:cxn ang="0">
                  <a:pos x="58" y="32"/>
                </a:cxn>
                <a:cxn ang="0">
                  <a:pos x="54" y="36"/>
                </a:cxn>
                <a:cxn ang="0">
                  <a:pos x="50" y="32"/>
                </a:cxn>
                <a:cxn ang="0">
                  <a:pos x="45" y="32"/>
                </a:cxn>
                <a:cxn ang="0">
                  <a:pos x="41" y="32"/>
                </a:cxn>
                <a:cxn ang="0">
                  <a:pos x="27" y="32"/>
                </a:cxn>
                <a:cxn ang="0">
                  <a:pos x="27" y="27"/>
                </a:cxn>
                <a:cxn ang="0">
                  <a:pos x="32" y="23"/>
                </a:cxn>
                <a:cxn ang="0">
                  <a:pos x="32" y="18"/>
                </a:cxn>
                <a:cxn ang="0">
                  <a:pos x="41" y="18"/>
                </a:cxn>
                <a:cxn ang="0">
                  <a:pos x="45" y="23"/>
                </a:cxn>
                <a:cxn ang="0">
                  <a:pos x="45" y="27"/>
                </a:cxn>
                <a:cxn ang="0">
                  <a:pos x="50" y="27"/>
                </a:cxn>
                <a:cxn ang="0">
                  <a:pos x="50" y="23"/>
                </a:cxn>
                <a:cxn ang="0">
                  <a:pos x="54" y="18"/>
                </a:cxn>
              </a:cxnLst>
              <a:rect l="0" t="0" r="r" b="b"/>
              <a:pathLst>
                <a:path w="112" h="85">
                  <a:moveTo>
                    <a:pt x="54" y="18"/>
                  </a:moveTo>
                  <a:lnTo>
                    <a:pt x="50" y="18"/>
                  </a:lnTo>
                  <a:lnTo>
                    <a:pt x="45" y="1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5"/>
                  </a:lnTo>
                  <a:lnTo>
                    <a:pt x="27" y="5"/>
                  </a:lnTo>
                  <a:lnTo>
                    <a:pt x="32" y="9"/>
                  </a:lnTo>
                  <a:lnTo>
                    <a:pt x="23" y="1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5" y="32"/>
                  </a:lnTo>
                  <a:lnTo>
                    <a:pt x="0" y="36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9" y="45"/>
                  </a:lnTo>
                  <a:lnTo>
                    <a:pt x="14" y="45"/>
                  </a:lnTo>
                  <a:lnTo>
                    <a:pt x="9" y="54"/>
                  </a:lnTo>
                  <a:lnTo>
                    <a:pt x="14" y="58"/>
                  </a:lnTo>
                  <a:lnTo>
                    <a:pt x="9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23" y="72"/>
                  </a:lnTo>
                  <a:lnTo>
                    <a:pt x="36" y="67"/>
                  </a:lnTo>
                  <a:lnTo>
                    <a:pt x="41" y="67"/>
                  </a:lnTo>
                  <a:lnTo>
                    <a:pt x="54" y="50"/>
                  </a:lnTo>
                  <a:lnTo>
                    <a:pt x="58" y="54"/>
                  </a:lnTo>
                  <a:lnTo>
                    <a:pt x="63" y="67"/>
                  </a:lnTo>
                  <a:lnTo>
                    <a:pt x="58" y="85"/>
                  </a:lnTo>
                  <a:lnTo>
                    <a:pt x="81" y="72"/>
                  </a:lnTo>
                  <a:lnTo>
                    <a:pt x="108" y="76"/>
                  </a:lnTo>
                  <a:lnTo>
                    <a:pt x="112" y="72"/>
                  </a:lnTo>
                  <a:lnTo>
                    <a:pt x="112" y="67"/>
                  </a:lnTo>
                  <a:lnTo>
                    <a:pt x="108" y="67"/>
                  </a:lnTo>
                  <a:lnTo>
                    <a:pt x="108" y="54"/>
                  </a:lnTo>
                  <a:lnTo>
                    <a:pt x="90" y="50"/>
                  </a:lnTo>
                  <a:lnTo>
                    <a:pt x="90" y="32"/>
                  </a:lnTo>
                  <a:lnTo>
                    <a:pt x="81" y="32"/>
                  </a:lnTo>
                  <a:lnTo>
                    <a:pt x="76" y="36"/>
                  </a:lnTo>
                  <a:lnTo>
                    <a:pt x="63" y="36"/>
                  </a:lnTo>
                  <a:lnTo>
                    <a:pt x="63" y="32"/>
                  </a:lnTo>
                  <a:lnTo>
                    <a:pt x="58" y="32"/>
                  </a:lnTo>
                  <a:lnTo>
                    <a:pt x="54" y="36"/>
                  </a:lnTo>
                  <a:lnTo>
                    <a:pt x="50" y="32"/>
                  </a:lnTo>
                  <a:lnTo>
                    <a:pt x="45" y="32"/>
                  </a:lnTo>
                  <a:lnTo>
                    <a:pt x="41" y="32"/>
                  </a:lnTo>
                  <a:lnTo>
                    <a:pt x="27" y="32"/>
                  </a:lnTo>
                  <a:lnTo>
                    <a:pt x="27" y="27"/>
                  </a:lnTo>
                  <a:lnTo>
                    <a:pt x="32" y="23"/>
                  </a:lnTo>
                  <a:lnTo>
                    <a:pt x="32" y="18"/>
                  </a:lnTo>
                  <a:lnTo>
                    <a:pt x="41" y="18"/>
                  </a:lnTo>
                  <a:lnTo>
                    <a:pt x="45" y="23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50" y="23"/>
                  </a:lnTo>
                  <a:lnTo>
                    <a:pt x="54" y="1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9" name="Freeform 151">
              <a:extLst>
                <a:ext uri="{FF2B5EF4-FFF2-40B4-BE49-F238E27FC236}">
                  <a16:creationId xmlns:a16="http://schemas.microsoft.com/office/drawing/2014/main" id="{014A9EE4-B9AB-40A1-990F-AB6351E46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7782" y="4054885"/>
              <a:ext cx="127441" cy="7407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9" y="18"/>
                </a:cxn>
                <a:cxn ang="0">
                  <a:pos x="13" y="18"/>
                </a:cxn>
                <a:cxn ang="0">
                  <a:pos x="26" y="23"/>
                </a:cxn>
                <a:cxn ang="0">
                  <a:pos x="40" y="23"/>
                </a:cxn>
                <a:cxn ang="0">
                  <a:pos x="44" y="32"/>
                </a:cxn>
                <a:cxn ang="0">
                  <a:pos x="49" y="27"/>
                </a:cxn>
                <a:cxn ang="0">
                  <a:pos x="49" y="23"/>
                </a:cxn>
                <a:cxn ang="0">
                  <a:pos x="53" y="23"/>
                </a:cxn>
                <a:cxn ang="0">
                  <a:pos x="71" y="0"/>
                </a:cxn>
                <a:cxn ang="0">
                  <a:pos x="76" y="0"/>
                </a:cxn>
                <a:cxn ang="0">
                  <a:pos x="80" y="5"/>
                </a:cxn>
                <a:cxn ang="0">
                  <a:pos x="76" y="14"/>
                </a:cxn>
                <a:cxn ang="0">
                  <a:pos x="76" y="14"/>
                </a:cxn>
                <a:cxn ang="0">
                  <a:pos x="71" y="18"/>
                </a:cxn>
                <a:cxn ang="0">
                  <a:pos x="62" y="32"/>
                </a:cxn>
                <a:cxn ang="0">
                  <a:pos x="44" y="41"/>
                </a:cxn>
                <a:cxn ang="0">
                  <a:pos x="22" y="50"/>
                </a:cxn>
                <a:cxn ang="0">
                  <a:pos x="9" y="41"/>
                </a:cxn>
                <a:cxn ang="0">
                  <a:pos x="0" y="14"/>
                </a:cxn>
              </a:cxnLst>
              <a:rect l="0" t="0" r="r" b="b"/>
              <a:pathLst>
                <a:path w="80" h="50">
                  <a:moveTo>
                    <a:pt x="0" y="14"/>
                  </a:moveTo>
                  <a:lnTo>
                    <a:pt x="9" y="18"/>
                  </a:lnTo>
                  <a:lnTo>
                    <a:pt x="13" y="18"/>
                  </a:lnTo>
                  <a:lnTo>
                    <a:pt x="26" y="23"/>
                  </a:lnTo>
                  <a:lnTo>
                    <a:pt x="40" y="23"/>
                  </a:lnTo>
                  <a:lnTo>
                    <a:pt x="44" y="32"/>
                  </a:lnTo>
                  <a:lnTo>
                    <a:pt x="49" y="27"/>
                  </a:lnTo>
                  <a:lnTo>
                    <a:pt x="49" y="23"/>
                  </a:lnTo>
                  <a:lnTo>
                    <a:pt x="53" y="23"/>
                  </a:lnTo>
                  <a:lnTo>
                    <a:pt x="71" y="0"/>
                  </a:lnTo>
                  <a:lnTo>
                    <a:pt x="76" y="0"/>
                  </a:lnTo>
                  <a:lnTo>
                    <a:pt x="80" y="5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1" y="18"/>
                  </a:lnTo>
                  <a:lnTo>
                    <a:pt x="62" y="32"/>
                  </a:lnTo>
                  <a:lnTo>
                    <a:pt x="44" y="41"/>
                  </a:lnTo>
                  <a:lnTo>
                    <a:pt x="22" y="50"/>
                  </a:lnTo>
                  <a:lnTo>
                    <a:pt x="9" y="4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0" name="Freeform 152">
              <a:extLst>
                <a:ext uri="{FF2B5EF4-FFF2-40B4-BE49-F238E27FC236}">
                  <a16:creationId xmlns:a16="http://schemas.microsoft.com/office/drawing/2014/main" id="{DC6BE904-E79E-44CA-8BE8-38410B1C0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9200" y="3611924"/>
              <a:ext cx="313823" cy="211851"/>
            </a:xfrm>
            <a:custGeom>
              <a:avLst/>
              <a:gdLst/>
              <a:ahLst/>
              <a:cxnLst>
                <a:cxn ang="0">
                  <a:pos x="5" y="31"/>
                </a:cxn>
                <a:cxn ang="0">
                  <a:pos x="18" y="9"/>
                </a:cxn>
                <a:cxn ang="0">
                  <a:pos x="32" y="31"/>
                </a:cxn>
                <a:cxn ang="0">
                  <a:pos x="9" y="40"/>
                </a:cxn>
                <a:cxn ang="0">
                  <a:pos x="0" y="49"/>
                </a:cxn>
                <a:cxn ang="0">
                  <a:pos x="9" y="54"/>
                </a:cxn>
                <a:cxn ang="0">
                  <a:pos x="18" y="67"/>
                </a:cxn>
                <a:cxn ang="0">
                  <a:pos x="5" y="67"/>
                </a:cxn>
                <a:cxn ang="0">
                  <a:pos x="14" y="72"/>
                </a:cxn>
                <a:cxn ang="0">
                  <a:pos x="18" y="98"/>
                </a:cxn>
                <a:cxn ang="0">
                  <a:pos x="32" y="103"/>
                </a:cxn>
                <a:cxn ang="0">
                  <a:pos x="54" y="94"/>
                </a:cxn>
                <a:cxn ang="0">
                  <a:pos x="72" y="94"/>
                </a:cxn>
                <a:cxn ang="0">
                  <a:pos x="108" y="116"/>
                </a:cxn>
                <a:cxn ang="0">
                  <a:pos x="121" y="134"/>
                </a:cxn>
                <a:cxn ang="0">
                  <a:pos x="139" y="143"/>
                </a:cxn>
                <a:cxn ang="0">
                  <a:pos x="170" y="125"/>
                </a:cxn>
                <a:cxn ang="0">
                  <a:pos x="188" y="103"/>
                </a:cxn>
                <a:cxn ang="0">
                  <a:pos x="197" y="103"/>
                </a:cxn>
                <a:cxn ang="0">
                  <a:pos x="188" y="89"/>
                </a:cxn>
                <a:cxn ang="0">
                  <a:pos x="175" y="81"/>
                </a:cxn>
                <a:cxn ang="0">
                  <a:pos x="152" y="63"/>
                </a:cxn>
                <a:cxn ang="0">
                  <a:pos x="134" y="45"/>
                </a:cxn>
                <a:cxn ang="0">
                  <a:pos x="130" y="27"/>
                </a:cxn>
                <a:cxn ang="0">
                  <a:pos x="108" y="31"/>
                </a:cxn>
                <a:cxn ang="0">
                  <a:pos x="108" y="13"/>
                </a:cxn>
                <a:cxn ang="0">
                  <a:pos x="99" y="5"/>
                </a:cxn>
                <a:cxn ang="0">
                  <a:pos x="81" y="5"/>
                </a:cxn>
                <a:cxn ang="0">
                  <a:pos x="81" y="13"/>
                </a:cxn>
                <a:cxn ang="0">
                  <a:pos x="72" y="9"/>
                </a:cxn>
                <a:cxn ang="0">
                  <a:pos x="67" y="13"/>
                </a:cxn>
                <a:cxn ang="0">
                  <a:pos x="63" y="22"/>
                </a:cxn>
                <a:cxn ang="0">
                  <a:pos x="59" y="27"/>
                </a:cxn>
                <a:cxn ang="0">
                  <a:pos x="41" y="27"/>
                </a:cxn>
                <a:cxn ang="0">
                  <a:pos x="32" y="13"/>
                </a:cxn>
                <a:cxn ang="0">
                  <a:pos x="9" y="9"/>
                </a:cxn>
                <a:cxn ang="0">
                  <a:pos x="0" y="18"/>
                </a:cxn>
              </a:cxnLst>
              <a:rect l="0" t="0" r="r" b="b"/>
              <a:pathLst>
                <a:path w="197" h="143">
                  <a:moveTo>
                    <a:pt x="0" y="18"/>
                  </a:moveTo>
                  <a:lnTo>
                    <a:pt x="5" y="31"/>
                  </a:lnTo>
                  <a:lnTo>
                    <a:pt x="5" y="13"/>
                  </a:lnTo>
                  <a:lnTo>
                    <a:pt x="18" y="9"/>
                  </a:lnTo>
                  <a:lnTo>
                    <a:pt x="23" y="22"/>
                  </a:lnTo>
                  <a:lnTo>
                    <a:pt x="32" y="31"/>
                  </a:lnTo>
                  <a:lnTo>
                    <a:pt x="23" y="36"/>
                  </a:lnTo>
                  <a:lnTo>
                    <a:pt x="9" y="40"/>
                  </a:lnTo>
                  <a:lnTo>
                    <a:pt x="5" y="36"/>
                  </a:lnTo>
                  <a:lnTo>
                    <a:pt x="0" y="49"/>
                  </a:lnTo>
                  <a:lnTo>
                    <a:pt x="5" y="58"/>
                  </a:lnTo>
                  <a:lnTo>
                    <a:pt x="9" y="54"/>
                  </a:lnTo>
                  <a:lnTo>
                    <a:pt x="18" y="54"/>
                  </a:lnTo>
                  <a:lnTo>
                    <a:pt x="18" y="67"/>
                  </a:lnTo>
                  <a:lnTo>
                    <a:pt x="9" y="63"/>
                  </a:lnTo>
                  <a:lnTo>
                    <a:pt x="5" y="67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8" y="76"/>
                  </a:lnTo>
                  <a:lnTo>
                    <a:pt x="18" y="98"/>
                  </a:lnTo>
                  <a:lnTo>
                    <a:pt x="23" y="107"/>
                  </a:lnTo>
                  <a:lnTo>
                    <a:pt x="32" y="103"/>
                  </a:lnTo>
                  <a:lnTo>
                    <a:pt x="41" y="94"/>
                  </a:lnTo>
                  <a:lnTo>
                    <a:pt x="54" y="94"/>
                  </a:lnTo>
                  <a:lnTo>
                    <a:pt x="63" y="85"/>
                  </a:lnTo>
                  <a:lnTo>
                    <a:pt x="72" y="94"/>
                  </a:lnTo>
                  <a:lnTo>
                    <a:pt x="94" y="98"/>
                  </a:lnTo>
                  <a:lnTo>
                    <a:pt x="108" y="116"/>
                  </a:lnTo>
                  <a:lnTo>
                    <a:pt x="121" y="116"/>
                  </a:lnTo>
                  <a:lnTo>
                    <a:pt x="121" y="134"/>
                  </a:lnTo>
                  <a:lnTo>
                    <a:pt x="134" y="134"/>
                  </a:lnTo>
                  <a:lnTo>
                    <a:pt x="139" y="143"/>
                  </a:lnTo>
                  <a:lnTo>
                    <a:pt x="152" y="130"/>
                  </a:lnTo>
                  <a:lnTo>
                    <a:pt x="170" y="125"/>
                  </a:lnTo>
                  <a:lnTo>
                    <a:pt x="179" y="107"/>
                  </a:lnTo>
                  <a:lnTo>
                    <a:pt x="188" y="103"/>
                  </a:lnTo>
                  <a:lnTo>
                    <a:pt x="197" y="107"/>
                  </a:lnTo>
                  <a:lnTo>
                    <a:pt x="197" y="103"/>
                  </a:lnTo>
                  <a:lnTo>
                    <a:pt x="197" y="94"/>
                  </a:lnTo>
                  <a:lnTo>
                    <a:pt x="188" y="89"/>
                  </a:lnTo>
                  <a:lnTo>
                    <a:pt x="184" y="89"/>
                  </a:lnTo>
                  <a:lnTo>
                    <a:pt x="175" y="81"/>
                  </a:lnTo>
                  <a:lnTo>
                    <a:pt x="166" y="76"/>
                  </a:lnTo>
                  <a:lnTo>
                    <a:pt x="152" y="63"/>
                  </a:lnTo>
                  <a:lnTo>
                    <a:pt x="143" y="54"/>
                  </a:lnTo>
                  <a:lnTo>
                    <a:pt x="134" y="45"/>
                  </a:lnTo>
                  <a:lnTo>
                    <a:pt x="134" y="36"/>
                  </a:lnTo>
                  <a:lnTo>
                    <a:pt x="130" y="27"/>
                  </a:lnTo>
                  <a:lnTo>
                    <a:pt x="126" y="31"/>
                  </a:lnTo>
                  <a:lnTo>
                    <a:pt x="108" y="31"/>
                  </a:lnTo>
                  <a:lnTo>
                    <a:pt x="103" y="18"/>
                  </a:lnTo>
                  <a:lnTo>
                    <a:pt x="108" y="13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81" y="0"/>
                  </a:lnTo>
                  <a:lnTo>
                    <a:pt x="81" y="5"/>
                  </a:lnTo>
                  <a:lnTo>
                    <a:pt x="85" y="9"/>
                  </a:lnTo>
                  <a:lnTo>
                    <a:pt x="81" y="13"/>
                  </a:lnTo>
                  <a:lnTo>
                    <a:pt x="76" y="5"/>
                  </a:lnTo>
                  <a:lnTo>
                    <a:pt x="72" y="9"/>
                  </a:lnTo>
                  <a:lnTo>
                    <a:pt x="72" y="13"/>
                  </a:lnTo>
                  <a:lnTo>
                    <a:pt x="67" y="13"/>
                  </a:lnTo>
                  <a:lnTo>
                    <a:pt x="63" y="18"/>
                  </a:lnTo>
                  <a:lnTo>
                    <a:pt x="63" y="22"/>
                  </a:lnTo>
                  <a:lnTo>
                    <a:pt x="63" y="27"/>
                  </a:lnTo>
                  <a:lnTo>
                    <a:pt x="59" y="27"/>
                  </a:lnTo>
                  <a:lnTo>
                    <a:pt x="45" y="27"/>
                  </a:lnTo>
                  <a:lnTo>
                    <a:pt x="41" y="27"/>
                  </a:lnTo>
                  <a:lnTo>
                    <a:pt x="36" y="22"/>
                  </a:lnTo>
                  <a:lnTo>
                    <a:pt x="32" y="13"/>
                  </a:lnTo>
                  <a:lnTo>
                    <a:pt x="23" y="5"/>
                  </a:lnTo>
                  <a:lnTo>
                    <a:pt x="9" y="9"/>
                  </a:lnTo>
                  <a:lnTo>
                    <a:pt x="0" y="13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1" name="Freeform 153">
              <a:extLst>
                <a:ext uri="{FF2B5EF4-FFF2-40B4-BE49-F238E27FC236}">
                  <a16:creationId xmlns:a16="http://schemas.microsoft.com/office/drawing/2014/main" id="{A3199EE7-6586-43BE-A0D4-78E67FDA6A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886" y="3525999"/>
              <a:ext cx="398253" cy="24444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36" y="9"/>
                </a:cxn>
                <a:cxn ang="0">
                  <a:pos x="45" y="40"/>
                </a:cxn>
                <a:cxn ang="0">
                  <a:pos x="49" y="40"/>
                </a:cxn>
                <a:cxn ang="0">
                  <a:pos x="63" y="45"/>
                </a:cxn>
                <a:cxn ang="0">
                  <a:pos x="76" y="31"/>
                </a:cxn>
                <a:cxn ang="0">
                  <a:pos x="89" y="40"/>
                </a:cxn>
                <a:cxn ang="0">
                  <a:pos x="125" y="36"/>
                </a:cxn>
                <a:cxn ang="0">
                  <a:pos x="139" y="54"/>
                </a:cxn>
                <a:cxn ang="0">
                  <a:pos x="143" y="67"/>
                </a:cxn>
                <a:cxn ang="0">
                  <a:pos x="139" y="76"/>
                </a:cxn>
                <a:cxn ang="0">
                  <a:pos x="152" y="85"/>
                </a:cxn>
                <a:cxn ang="0">
                  <a:pos x="188" y="85"/>
                </a:cxn>
                <a:cxn ang="0">
                  <a:pos x="219" y="63"/>
                </a:cxn>
                <a:cxn ang="0">
                  <a:pos x="223" y="71"/>
                </a:cxn>
                <a:cxn ang="0">
                  <a:pos x="210" y="85"/>
                </a:cxn>
                <a:cxn ang="0">
                  <a:pos x="215" y="89"/>
                </a:cxn>
                <a:cxn ang="0">
                  <a:pos x="232" y="89"/>
                </a:cxn>
                <a:cxn ang="0">
                  <a:pos x="250" y="94"/>
                </a:cxn>
                <a:cxn ang="0">
                  <a:pos x="246" y="103"/>
                </a:cxn>
                <a:cxn ang="0">
                  <a:pos x="237" y="103"/>
                </a:cxn>
                <a:cxn ang="0">
                  <a:pos x="223" y="103"/>
                </a:cxn>
                <a:cxn ang="0">
                  <a:pos x="223" y="116"/>
                </a:cxn>
                <a:cxn ang="0">
                  <a:pos x="219" y="107"/>
                </a:cxn>
                <a:cxn ang="0">
                  <a:pos x="210" y="107"/>
                </a:cxn>
                <a:cxn ang="0">
                  <a:pos x="210" y="98"/>
                </a:cxn>
                <a:cxn ang="0">
                  <a:pos x="206" y="89"/>
                </a:cxn>
                <a:cxn ang="0">
                  <a:pos x="192" y="94"/>
                </a:cxn>
                <a:cxn ang="0">
                  <a:pos x="188" y="107"/>
                </a:cxn>
                <a:cxn ang="0">
                  <a:pos x="174" y="116"/>
                </a:cxn>
                <a:cxn ang="0">
                  <a:pos x="165" y="125"/>
                </a:cxn>
                <a:cxn ang="0">
                  <a:pos x="170" y="130"/>
                </a:cxn>
                <a:cxn ang="0">
                  <a:pos x="179" y="134"/>
                </a:cxn>
                <a:cxn ang="0">
                  <a:pos x="179" y="147"/>
                </a:cxn>
                <a:cxn ang="0">
                  <a:pos x="170" y="165"/>
                </a:cxn>
                <a:cxn ang="0">
                  <a:pos x="152" y="161"/>
                </a:cxn>
                <a:cxn ang="0">
                  <a:pos x="143" y="147"/>
                </a:cxn>
                <a:cxn ang="0">
                  <a:pos x="130" y="139"/>
                </a:cxn>
                <a:cxn ang="0">
                  <a:pos x="107" y="121"/>
                </a:cxn>
                <a:cxn ang="0">
                  <a:pos x="89" y="103"/>
                </a:cxn>
                <a:cxn ang="0">
                  <a:pos x="85" y="85"/>
                </a:cxn>
                <a:cxn ang="0">
                  <a:pos x="63" y="89"/>
                </a:cxn>
                <a:cxn ang="0">
                  <a:pos x="63" y="71"/>
                </a:cxn>
                <a:cxn ang="0">
                  <a:pos x="54" y="63"/>
                </a:cxn>
                <a:cxn ang="0">
                  <a:pos x="36" y="63"/>
                </a:cxn>
                <a:cxn ang="0">
                  <a:pos x="36" y="71"/>
                </a:cxn>
                <a:cxn ang="0">
                  <a:pos x="27" y="67"/>
                </a:cxn>
                <a:cxn ang="0">
                  <a:pos x="22" y="71"/>
                </a:cxn>
                <a:cxn ang="0">
                  <a:pos x="18" y="80"/>
                </a:cxn>
                <a:cxn ang="0">
                  <a:pos x="14" y="85"/>
                </a:cxn>
              </a:cxnLst>
              <a:rect l="0" t="0" r="r" b="b"/>
              <a:pathLst>
                <a:path w="250" h="165">
                  <a:moveTo>
                    <a:pt x="0" y="85"/>
                  </a:moveTo>
                  <a:lnTo>
                    <a:pt x="0" y="13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40"/>
                  </a:lnTo>
                  <a:lnTo>
                    <a:pt x="45" y="40"/>
                  </a:lnTo>
                  <a:lnTo>
                    <a:pt x="45" y="49"/>
                  </a:lnTo>
                  <a:lnTo>
                    <a:pt x="49" y="40"/>
                  </a:lnTo>
                  <a:lnTo>
                    <a:pt x="58" y="40"/>
                  </a:lnTo>
                  <a:lnTo>
                    <a:pt x="63" y="45"/>
                  </a:lnTo>
                  <a:lnTo>
                    <a:pt x="72" y="31"/>
                  </a:lnTo>
                  <a:lnTo>
                    <a:pt x="76" y="31"/>
                  </a:lnTo>
                  <a:lnTo>
                    <a:pt x="81" y="27"/>
                  </a:lnTo>
                  <a:lnTo>
                    <a:pt x="89" y="40"/>
                  </a:lnTo>
                  <a:lnTo>
                    <a:pt x="121" y="40"/>
                  </a:lnTo>
                  <a:lnTo>
                    <a:pt x="125" y="36"/>
                  </a:lnTo>
                  <a:lnTo>
                    <a:pt x="134" y="45"/>
                  </a:lnTo>
                  <a:lnTo>
                    <a:pt x="139" y="54"/>
                  </a:lnTo>
                  <a:lnTo>
                    <a:pt x="143" y="54"/>
                  </a:lnTo>
                  <a:lnTo>
                    <a:pt x="143" y="67"/>
                  </a:lnTo>
                  <a:lnTo>
                    <a:pt x="139" y="67"/>
                  </a:lnTo>
                  <a:lnTo>
                    <a:pt x="139" y="76"/>
                  </a:lnTo>
                  <a:lnTo>
                    <a:pt x="152" y="76"/>
                  </a:lnTo>
                  <a:lnTo>
                    <a:pt x="152" y="85"/>
                  </a:lnTo>
                  <a:lnTo>
                    <a:pt x="183" y="89"/>
                  </a:lnTo>
                  <a:lnTo>
                    <a:pt x="188" y="85"/>
                  </a:lnTo>
                  <a:lnTo>
                    <a:pt x="206" y="67"/>
                  </a:lnTo>
                  <a:lnTo>
                    <a:pt x="219" y="63"/>
                  </a:lnTo>
                  <a:lnTo>
                    <a:pt x="223" y="67"/>
                  </a:lnTo>
                  <a:lnTo>
                    <a:pt x="223" y="71"/>
                  </a:lnTo>
                  <a:lnTo>
                    <a:pt x="210" y="80"/>
                  </a:lnTo>
                  <a:lnTo>
                    <a:pt x="210" y="85"/>
                  </a:lnTo>
                  <a:lnTo>
                    <a:pt x="215" y="85"/>
                  </a:lnTo>
                  <a:lnTo>
                    <a:pt x="215" y="89"/>
                  </a:lnTo>
                  <a:lnTo>
                    <a:pt x="228" y="85"/>
                  </a:lnTo>
                  <a:lnTo>
                    <a:pt x="232" y="89"/>
                  </a:lnTo>
                  <a:lnTo>
                    <a:pt x="241" y="94"/>
                  </a:lnTo>
                  <a:lnTo>
                    <a:pt x="250" y="94"/>
                  </a:lnTo>
                  <a:lnTo>
                    <a:pt x="250" y="98"/>
                  </a:lnTo>
                  <a:lnTo>
                    <a:pt x="246" y="103"/>
                  </a:lnTo>
                  <a:lnTo>
                    <a:pt x="241" y="98"/>
                  </a:lnTo>
                  <a:lnTo>
                    <a:pt x="237" y="103"/>
                  </a:lnTo>
                  <a:lnTo>
                    <a:pt x="232" y="107"/>
                  </a:lnTo>
                  <a:lnTo>
                    <a:pt x="223" y="103"/>
                  </a:lnTo>
                  <a:lnTo>
                    <a:pt x="223" y="107"/>
                  </a:lnTo>
                  <a:lnTo>
                    <a:pt x="223" y="116"/>
                  </a:lnTo>
                  <a:lnTo>
                    <a:pt x="219" y="116"/>
                  </a:lnTo>
                  <a:lnTo>
                    <a:pt x="219" y="107"/>
                  </a:lnTo>
                  <a:lnTo>
                    <a:pt x="215" y="107"/>
                  </a:lnTo>
                  <a:lnTo>
                    <a:pt x="210" y="107"/>
                  </a:lnTo>
                  <a:lnTo>
                    <a:pt x="210" y="98"/>
                  </a:lnTo>
                  <a:lnTo>
                    <a:pt x="210" y="98"/>
                  </a:lnTo>
                  <a:lnTo>
                    <a:pt x="210" y="89"/>
                  </a:lnTo>
                  <a:lnTo>
                    <a:pt x="206" y="89"/>
                  </a:lnTo>
                  <a:lnTo>
                    <a:pt x="206" y="94"/>
                  </a:lnTo>
                  <a:lnTo>
                    <a:pt x="192" y="94"/>
                  </a:lnTo>
                  <a:lnTo>
                    <a:pt x="197" y="98"/>
                  </a:lnTo>
                  <a:lnTo>
                    <a:pt x="188" y="107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0" y="121"/>
                  </a:lnTo>
                  <a:lnTo>
                    <a:pt x="165" y="125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74" y="134"/>
                  </a:lnTo>
                  <a:lnTo>
                    <a:pt x="179" y="134"/>
                  </a:lnTo>
                  <a:lnTo>
                    <a:pt x="174" y="143"/>
                  </a:lnTo>
                  <a:lnTo>
                    <a:pt x="179" y="147"/>
                  </a:lnTo>
                  <a:lnTo>
                    <a:pt x="174" y="156"/>
                  </a:lnTo>
                  <a:lnTo>
                    <a:pt x="170" y="165"/>
                  </a:lnTo>
                  <a:lnTo>
                    <a:pt x="152" y="165"/>
                  </a:lnTo>
                  <a:lnTo>
                    <a:pt x="152" y="161"/>
                  </a:lnTo>
                  <a:lnTo>
                    <a:pt x="152" y="152"/>
                  </a:lnTo>
                  <a:lnTo>
                    <a:pt x="143" y="147"/>
                  </a:lnTo>
                  <a:lnTo>
                    <a:pt x="139" y="147"/>
                  </a:lnTo>
                  <a:lnTo>
                    <a:pt x="130" y="139"/>
                  </a:lnTo>
                  <a:lnTo>
                    <a:pt x="121" y="134"/>
                  </a:lnTo>
                  <a:lnTo>
                    <a:pt x="107" y="121"/>
                  </a:lnTo>
                  <a:lnTo>
                    <a:pt x="98" y="112"/>
                  </a:lnTo>
                  <a:lnTo>
                    <a:pt x="89" y="103"/>
                  </a:lnTo>
                  <a:lnTo>
                    <a:pt x="89" y="94"/>
                  </a:lnTo>
                  <a:lnTo>
                    <a:pt x="85" y="85"/>
                  </a:lnTo>
                  <a:lnTo>
                    <a:pt x="81" y="89"/>
                  </a:lnTo>
                  <a:lnTo>
                    <a:pt x="63" y="89"/>
                  </a:lnTo>
                  <a:lnTo>
                    <a:pt x="58" y="76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54" y="63"/>
                  </a:lnTo>
                  <a:lnTo>
                    <a:pt x="36" y="58"/>
                  </a:lnTo>
                  <a:lnTo>
                    <a:pt x="36" y="63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1" y="63"/>
                  </a:lnTo>
                  <a:lnTo>
                    <a:pt x="27" y="67"/>
                  </a:lnTo>
                  <a:lnTo>
                    <a:pt x="27" y="71"/>
                  </a:lnTo>
                  <a:lnTo>
                    <a:pt x="22" y="71"/>
                  </a:lnTo>
                  <a:lnTo>
                    <a:pt x="18" y="76"/>
                  </a:lnTo>
                  <a:lnTo>
                    <a:pt x="18" y="80"/>
                  </a:lnTo>
                  <a:lnTo>
                    <a:pt x="18" y="85"/>
                  </a:lnTo>
                  <a:lnTo>
                    <a:pt x="14" y="85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2" name="Freeform 155">
              <a:extLst>
                <a:ext uri="{FF2B5EF4-FFF2-40B4-BE49-F238E27FC236}">
                  <a16:creationId xmlns:a16="http://schemas.microsoft.com/office/drawing/2014/main" id="{27BF7E37-EB05-4F2E-BE57-EB1A61DDC0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21400" y="4234143"/>
              <a:ext cx="278777" cy="133333"/>
            </a:xfrm>
            <a:custGeom>
              <a:avLst/>
              <a:gdLst/>
              <a:ahLst/>
              <a:cxnLst>
                <a:cxn ang="0">
                  <a:pos x="5" y="27"/>
                </a:cxn>
                <a:cxn ang="0">
                  <a:pos x="5" y="40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5" y="54"/>
                </a:cxn>
                <a:cxn ang="0">
                  <a:pos x="5" y="58"/>
                </a:cxn>
                <a:cxn ang="0">
                  <a:pos x="9" y="67"/>
                </a:cxn>
                <a:cxn ang="0">
                  <a:pos x="9" y="72"/>
                </a:cxn>
                <a:cxn ang="0">
                  <a:pos x="18" y="85"/>
                </a:cxn>
                <a:cxn ang="0">
                  <a:pos x="18" y="90"/>
                </a:cxn>
                <a:cxn ang="0">
                  <a:pos x="36" y="85"/>
                </a:cxn>
                <a:cxn ang="0">
                  <a:pos x="54" y="72"/>
                </a:cxn>
                <a:cxn ang="0">
                  <a:pos x="67" y="72"/>
                </a:cxn>
                <a:cxn ang="0">
                  <a:pos x="81" y="63"/>
                </a:cxn>
                <a:cxn ang="0">
                  <a:pos x="94" y="63"/>
                </a:cxn>
                <a:cxn ang="0">
                  <a:pos x="103" y="54"/>
                </a:cxn>
                <a:cxn ang="0">
                  <a:pos x="143" y="40"/>
                </a:cxn>
                <a:cxn ang="0">
                  <a:pos x="139" y="31"/>
                </a:cxn>
                <a:cxn ang="0">
                  <a:pos x="152" y="22"/>
                </a:cxn>
                <a:cxn ang="0">
                  <a:pos x="148" y="0"/>
                </a:cxn>
                <a:cxn ang="0">
                  <a:pos x="135" y="14"/>
                </a:cxn>
                <a:cxn ang="0">
                  <a:pos x="112" y="18"/>
                </a:cxn>
                <a:cxn ang="0">
                  <a:pos x="41" y="45"/>
                </a:cxn>
                <a:cxn ang="0">
                  <a:pos x="45" y="22"/>
                </a:cxn>
                <a:cxn ang="0">
                  <a:pos x="14" y="14"/>
                </a:cxn>
                <a:cxn ang="0">
                  <a:pos x="9" y="27"/>
                </a:cxn>
                <a:cxn ang="0">
                  <a:pos x="5" y="27"/>
                </a:cxn>
                <a:cxn ang="0">
                  <a:pos x="157" y="85"/>
                </a:cxn>
                <a:cxn ang="0">
                  <a:pos x="166" y="90"/>
                </a:cxn>
                <a:cxn ang="0">
                  <a:pos x="175" y="85"/>
                </a:cxn>
                <a:cxn ang="0">
                  <a:pos x="161" y="81"/>
                </a:cxn>
                <a:cxn ang="0">
                  <a:pos x="157" y="85"/>
                </a:cxn>
              </a:cxnLst>
              <a:rect l="0" t="0" r="r" b="b"/>
              <a:pathLst>
                <a:path w="175" h="90">
                  <a:moveTo>
                    <a:pt x="5" y="27"/>
                  </a:moveTo>
                  <a:lnTo>
                    <a:pt x="5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9" y="72"/>
                  </a:lnTo>
                  <a:lnTo>
                    <a:pt x="18" y="85"/>
                  </a:lnTo>
                  <a:lnTo>
                    <a:pt x="18" y="90"/>
                  </a:lnTo>
                  <a:lnTo>
                    <a:pt x="36" y="85"/>
                  </a:lnTo>
                  <a:lnTo>
                    <a:pt x="54" y="72"/>
                  </a:lnTo>
                  <a:lnTo>
                    <a:pt x="67" y="72"/>
                  </a:lnTo>
                  <a:lnTo>
                    <a:pt x="81" y="63"/>
                  </a:lnTo>
                  <a:lnTo>
                    <a:pt x="94" y="63"/>
                  </a:lnTo>
                  <a:lnTo>
                    <a:pt x="103" y="54"/>
                  </a:lnTo>
                  <a:lnTo>
                    <a:pt x="143" y="40"/>
                  </a:lnTo>
                  <a:lnTo>
                    <a:pt x="139" y="31"/>
                  </a:lnTo>
                  <a:lnTo>
                    <a:pt x="152" y="22"/>
                  </a:lnTo>
                  <a:lnTo>
                    <a:pt x="148" y="0"/>
                  </a:lnTo>
                  <a:lnTo>
                    <a:pt x="135" y="14"/>
                  </a:lnTo>
                  <a:lnTo>
                    <a:pt x="112" y="18"/>
                  </a:lnTo>
                  <a:lnTo>
                    <a:pt x="41" y="45"/>
                  </a:lnTo>
                  <a:lnTo>
                    <a:pt x="45" y="22"/>
                  </a:lnTo>
                  <a:lnTo>
                    <a:pt x="14" y="14"/>
                  </a:lnTo>
                  <a:lnTo>
                    <a:pt x="9" y="27"/>
                  </a:lnTo>
                  <a:lnTo>
                    <a:pt x="5" y="27"/>
                  </a:lnTo>
                  <a:close/>
                  <a:moveTo>
                    <a:pt x="157" y="85"/>
                  </a:moveTo>
                  <a:lnTo>
                    <a:pt x="166" y="90"/>
                  </a:lnTo>
                  <a:lnTo>
                    <a:pt x="175" y="85"/>
                  </a:lnTo>
                  <a:lnTo>
                    <a:pt x="161" y="81"/>
                  </a:lnTo>
                  <a:lnTo>
                    <a:pt x="157" y="8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3" name="Freeform 162">
              <a:extLst>
                <a:ext uri="{FF2B5EF4-FFF2-40B4-BE49-F238E27FC236}">
                  <a16:creationId xmlns:a16="http://schemas.microsoft.com/office/drawing/2014/main" id="{10C37776-C819-4B90-AA56-281A421F7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741" y="3611924"/>
              <a:ext cx="43011" cy="9333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5" y="13"/>
                </a:cxn>
                <a:cxn ang="0">
                  <a:pos x="0" y="18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45"/>
                </a:cxn>
                <a:cxn ang="0">
                  <a:pos x="5" y="54"/>
                </a:cxn>
                <a:cxn ang="0">
                  <a:pos x="5" y="58"/>
                </a:cxn>
                <a:cxn ang="0">
                  <a:pos x="9" y="63"/>
                </a:cxn>
                <a:cxn ang="0">
                  <a:pos x="14" y="63"/>
                </a:cxn>
                <a:cxn ang="0">
                  <a:pos x="14" y="54"/>
                </a:cxn>
                <a:cxn ang="0">
                  <a:pos x="27" y="40"/>
                </a:cxn>
                <a:cxn ang="0">
                  <a:pos x="18" y="36"/>
                </a:cxn>
                <a:cxn ang="0">
                  <a:pos x="18" y="13"/>
                </a:cxn>
                <a:cxn ang="0">
                  <a:pos x="14" y="13"/>
                </a:cxn>
                <a:cxn ang="0">
                  <a:pos x="14" y="5"/>
                </a:cxn>
                <a:cxn ang="0">
                  <a:pos x="5" y="0"/>
                </a:cxn>
                <a:cxn ang="0">
                  <a:pos x="0" y="13"/>
                </a:cxn>
              </a:cxnLst>
              <a:rect l="0" t="0" r="r" b="b"/>
              <a:pathLst>
                <a:path w="27" h="63">
                  <a:moveTo>
                    <a:pt x="0" y="13"/>
                  </a:moveTo>
                  <a:lnTo>
                    <a:pt x="5" y="13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3"/>
                  </a:lnTo>
                  <a:lnTo>
                    <a:pt x="14" y="63"/>
                  </a:lnTo>
                  <a:lnTo>
                    <a:pt x="14" y="54"/>
                  </a:lnTo>
                  <a:lnTo>
                    <a:pt x="27" y="40"/>
                  </a:lnTo>
                  <a:lnTo>
                    <a:pt x="18" y="36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5"/>
                  </a:lnTo>
                  <a:lnTo>
                    <a:pt x="5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4" name="Freeform 163">
              <a:extLst>
                <a:ext uri="{FF2B5EF4-FFF2-40B4-BE49-F238E27FC236}">
                  <a16:creationId xmlns:a16="http://schemas.microsoft.com/office/drawing/2014/main" id="{7CF313C5-D1FD-4680-8FE3-E3E1CA543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7906" y="3413407"/>
              <a:ext cx="170452" cy="859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5"/>
                </a:cxn>
                <a:cxn ang="0">
                  <a:pos x="0" y="49"/>
                </a:cxn>
                <a:cxn ang="0">
                  <a:pos x="9" y="45"/>
                </a:cxn>
                <a:cxn ang="0">
                  <a:pos x="9" y="49"/>
                </a:cxn>
                <a:cxn ang="0">
                  <a:pos x="18" y="49"/>
                </a:cxn>
                <a:cxn ang="0">
                  <a:pos x="22" y="45"/>
                </a:cxn>
                <a:cxn ang="0">
                  <a:pos x="36" y="45"/>
                </a:cxn>
                <a:cxn ang="0">
                  <a:pos x="40" y="54"/>
                </a:cxn>
                <a:cxn ang="0">
                  <a:pos x="54" y="58"/>
                </a:cxn>
                <a:cxn ang="0">
                  <a:pos x="67" y="58"/>
                </a:cxn>
                <a:cxn ang="0">
                  <a:pos x="76" y="54"/>
                </a:cxn>
                <a:cxn ang="0">
                  <a:pos x="89" y="49"/>
                </a:cxn>
                <a:cxn ang="0">
                  <a:pos x="94" y="45"/>
                </a:cxn>
                <a:cxn ang="0">
                  <a:pos x="94" y="40"/>
                </a:cxn>
                <a:cxn ang="0">
                  <a:pos x="94" y="36"/>
                </a:cxn>
                <a:cxn ang="0">
                  <a:pos x="94" y="31"/>
                </a:cxn>
                <a:cxn ang="0">
                  <a:pos x="103" y="31"/>
                </a:cxn>
                <a:cxn ang="0">
                  <a:pos x="107" y="22"/>
                </a:cxn>
                <a:cxn ang="0">
                  <a:pos x="107" y="18"/>
                </a:cxn>
                <a:cxn ang="0">
                  <a:pos x="107" y="13"/>
                </a:cxn>
                <a:cxn ang="0">
                  <a:pos x="103" y="13"/>
                </a:cxn>
                <a:cxn ang="0">
                  <a:pos x="98" y="13"/>
                </a:cxn>
                <a:cxn ang="0">
                  <a:pos x="98" y="4"/>
                </a:cxn>
                <a:cxn ang="0">
                  <a:pos x="76" y="0"/>
                </a:cxn>
                <a:cxn ang="0">
                  <a:pos x="67" y="9"/>
                </a:cxn>
                <a:cxn ang="0">
                  <a:pos x="58" y="9"/>
                </a:cxn>
                <a:cxn ang="0">
                  <a:pos x="54" y="13"/>
                </a:cxn>
                <a:cxn ang="0">
                  <a:pos x="45" y="18"/>
                </a:cxn>
                <a:cxn ang="0">
                  <a:pos x="40" y="22"/>
                </a:cxn>
                <a:cxn ang="0">
                  <a:pos x="49" y="27"/>
                </a:cxn>
                <a:cxn ang="0">
                  <a:pos x="45" y="36"/>
                </a:cxn>
                <a:cxn ang="0">
                  <a:pos x="40" y="31"/>
                </a:cxn>
                <a:cxn ang="0">
                  <a:pos x="22" y="36"/>
                </a:cxn>
                <a:cxn ang="0">
                  <a:pos x="0" y="31"/>
                </a:cxn>
              </a:cxnLst>
              <a:rect l="0" t="0" r="r" b="b"/>
              <a:pathLst>
                <a:path w="107" h="58">
                  <a:moveTo>
                    <a:pt x="0" y="31"/>
                  </a:moveTo>
                  <a:lnTo>
                    <a:pt x="0" y="45"/>
                  </a:lnTo>
                  <a:lnTo>
                    <a:pt x="0" y="49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22" y="45"/>
                  </a:lnTo>
                  <a:lnTo>
                    <a:pt x="36" y="45"/>
                  </a:lnTo>
                  <a:lnTo>
                    <a:pt x="40" y="54"/>
                  </a:lnTo>
                  <a:lnTo>
                    <a:pt x="54" y="58"/>
                  </a:lnTo>
                  <a:lnTo>
                    <a:pt x="67" y="58"/>
                  </a:lnTo>
                  <a:lnTo>
                    <a:pt x="76" y="54"/>
                  </a:lnTo>
                  <a:lnTo>
                    <a:pt x="89" y="49"/>
                  </a:lnTo>
                  <a:lnTo>
                    <a:pt x="94" y="45"/>
                  </a:lnTo>
                  <a:lnTo>
                    <a:pt x="94" y="40"/>
                  </a:lnTo>
                  <a:lnTo>
                    <a:pt x="94" y="36"/>
                  </a:lnTo>
                  <a:lnTo>
                    <a:pt x="94" y="31"/>
                  </a:lnTo>
                  <a:lnTo>
                    <a:pt x="103" y="31"/>
                  </a:lnTo>
                  <a:lnTo>
                    <a:pt x="107" y="22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3"/>
                  </a:lnTo>
                  <a:lnTo>
                    <a:pt x="98" y="4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45" y="18"/>
                  </a:lnTo>
                  <a:lnTo>
                    <a:pt x="40" y="22"/>
                  </a:lnTo>
                  <a:lnTo>
                    <a:pt x="49" y="27"/>
                  </a:lnTo>
                  <a:lnTo>
                    <a:pt x="45" y="36"/>
                  </a:lnTo>
                  <a:lnTo>
                    <a:pt x="40" y="31"/>
                  </a:lnTo>
                  <a:lnTo>
                    <a:pt x="22" y="3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5" name="Freeform 164">
              <a:extLst>
                <a:ext uri="{FF2B5EF4-FFF2-40B4-BE49-F238E27FC236}">
                  <a16:creationId xmlns:a16="http://schemas.microsoft.com/office/drawing/2014/main" id="{4B92BC60-031E-4B9D-BD1F-AFAE799F13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3826" y="3327481"/>
              <a:ext cx="92395" cy="7259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22"/>
                </a:cxn>
                <a:cxn ang="0">
                  <a:pos x="14" y="22"/>
                </a:cxn>
                <a:cxn ang="0">
                  <a:pos x="18" y="27"/>
                </a:cxn>
                <a:cxn ang="0">
                  <a:pos x="23" y="27"/>
                </a:cxn>
                <a:cxn ang="0">
                  <a:pos x="23" y="36"/>
                </a:cxn>
                <a:cxn ang="0">
                  <a:pos x="27" y="36"/>
                </a:cxn>
                <a:cxn ang="0">
                  <a:pos x="36" y="31"/>
                </a:cxn>
                <a:cxn ang="0">
                  <a:pos x="32" y="40"/>
                </a:cxn>
                <a:cxn ang="0">
                  <a:pos x="40" y="45"/>
                </a:cxn>
                <a:cxn ang="0">
                  <a:pos x="45" y="49"/>
                </a:cxn>
                <a:cxn ang="0">
                  <a:pos x="49" y="49"/>
                </a:cxn>
                <a:cxn ang="0">
                  <a:pos x="49" y="45"/>
                </a:cxn>
                <a:cxn ang="0">
                  <a:pos x="49" y="36"/>
                </a:cxn>
                <a:cxn ang="0">
                  <a:pos x="54" y="36"/>
                </a:cxn>
                <a:cxn ang="0">
                  <a:pos x="58" y="27"/>
                </a:cxn>
                <a:cxn ang="0">
                  <a:pos x="54" y="18"/>
                </a:cxn>
                <a:cxn ang="0">
                  <a:pos x="49" y="18"/>
                </a:cxn>
                <a:cxn ang="0">
                  <a:pos x="49" y="13"/>
                </a:cxn>
                <a:cxn ang="0">
                  <a:pos x="45" y="9"/>
                </a:cxn>
                <a:cxn ang="0">
                  <a:pos x="36" y="9"/>
                </a:cxn>
                <a:cxn ang="0">
                  <a:pos x="27" y="0"/>
                </a:cxn>
                <a:cxn ang="0">
                  <a:pos x="23" y="9"/>
                </a:cxn>
                <a:cxn ang="0">
                  <a:pos x="18" y="9"/>
                </a:cxn>
                <a:cxn ang="0">
                  <a:pos x="9" y="9"/>
                </a:cxn>
                <a:cxn ang="0">
                  <a:pos x="9" y="4"/>
                </a:cxn>
                <a:cxn ang="0">
                  <a:pos x="5" y="4"/>
                </a:cxn>
                <a:cxn ang="0">
                  <a:pos x="0" y="9"/>
                </a:cxn>
              </a:cxnLst>
              <a:rect l="0" t="0" r="r" b="b"/>
              <a:pathLst>
                <a:path w="58" h="49">
                  <a:moveTo>
                    <a:pt x="0" y="9"/>
                  </a:moveTo>
                  <a:lnTo>
                    <a:pt x="9" y="22"/>
                  </a:lnTo>
                  <a:lnTo>
                    <a:pt x="14" y="22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36" y="31"/>
                  </a:lnTo>
                  <a:lnTo>
                    <a:pt x="32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9" y="49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54" y="36"/>
                  </a:lnTo>
                  <a:lnTo>
                    <a:pt x="58" y="27"/>
                  </a:lnTo>
                  <a:lnTo>
                    <a:pt x="54" y="18"/>
                  </a:lnTo>
                  <a:lnTo>
                    <a:pt x="49" y="18"/>
                  </a:lnTo>
                  <a:lnTo>
                    <a:pt x="49" y="13"/>
                  </a:lnTo>
                  <a:lnTo>
                    <a:pt x="45" y="9"/>
                  </a:lnTo>
                  <a:lnTo>
                    <a:pt x="36" y="9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18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5" y="4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6" name="Freeform 165">
              <a:extLst>
                <a:ext uri="{FF2B5EF4-FFF2-40B4-BE49-F238E27FC236}">
                  <a16:creationId xmlns:a16="http://schemas.microsoft.com/office/drawing/2014/main" id="{F3FC13FA-805A-4BD5-A445-D515E7F349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347" y="3531925"/>
              <a:ext cx="92395" cy="74074"/>
            </a:xfrm>
            <a:custGeom>
              <a:avLst/>
              <a:gdLst/>
              <a:ahLst/>
              <a:cxnLst>
                <a:cxn ang="0">
                  <a:pos x="32" y="45"/>
                </a:cxn>
                <a:cxn ang="0">
                  <a:pos x="32" y="45"/>
                </a:cxn>
                <a:cxn ang="0">
                  <a:pos x="36" y="45"/>
                </a:cxn>
                <a:cxn ang="0">
                  <a:pos x="45" y="50"/>
                </a:cxn>
                <a:cxn ang="0">
                  <a:pos x="45" y="50"/>
                </a:cxn>
                <a:cxn ang="0">
                  <a:pos x="45" y="50"/>
                </a:cxn>
                <a:cxn ang="0">
                  <a:pos x="45" y="45"/>
                </a:cxn>
                <a:cxn ang="0">
                  <a:pos x="45" y="45"/>
                </a:cxn>
                <a:cxn ang="0">
                  <a:pos x="45" y="41"/>
                </a:cxn>
                <a:cxn ang="0">
                  <a:pos x="50" y="36"/>
                </a:cxn>
                <a:cxn ang="0">
                  <a:pos x="50" y="36"/>
                </a:cxn>
                <a:cxn ang="0">
                  <a:pos x="50" y="36"/>
                </a:cxn>
                <a:cxn ang="0">
                  <a:pos x="50" y="32"/>
                </a:cxn>
                <a:cxn ang="0">
                  <a:pos x="54" y="32"/>
                </a:cxn>
                <a:cxn ang="0">
                  <a:pos x="58" y="27"/>
                </a:cxn>
                <a:cxn ang="0">
                  <a:pos x="54" y="23"/>
                </a:cxn>
                <a:cxn ang="0">
                  <a:pos x="58" y="23"/>
                </a:cxn>
                <a:cxn ang="0">
                  <a:pos x="58" y="23"/>
                </a:cxn>
                <a:cxn ang="0">
                  <a:pos x="50" y="18"/>
                </a:cxn>
                <a:cxn ang="0">
                  <a:pos x="50" y="14"/>
                </a:cxn>
                <a:cxn ang="0">
                  <a:pos x="54" y="9"/>
                </a:cxn>
                <a:cxn ang="0">
                  <a:pos x="54" y="5"/>
                </a:cxn>
                <a:cxn ang="0">
                  <a:pos x="50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1" y="0"/>
                </a:cxn>
                <a:cxn ang="0">
                  <a:pos x="36" y="0"/>
                </a:cxn>
                <a:cxn ang="0">
                  <a:pos x="32" y="5"/>
                </a:cxn>
                <a:cxn ang="0">
                  <a:pos x="23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9" y="18"/>
                </a:cxn>
                <a:cxn ang="0">
                  <a:pos x="9" y="23"/>
                </a:cxn>
                <a:cxn ang="0">
                  <a:pos x="23" y="36"/>
                </a:cxn>
                <a:cxn ang="0">
                  <a:pos x="27" y="36"/>
                </a:cxn>
                <a:cxn ang="0">
                  <a:pos x="27" y="36"/>
                </a:cxn>
                <a:cxn ang="0">
                  <a:pos x="32" y="45"/>
                </a:cxn>
                <a:cxn ang="0">
                  <a:pos x="32" y="45"/>
                </a:cxn>
              </a:cxnLst>
              <a:rect l="0" t="0" r="r" b="b"/>
              <a:pathLst>
                <a:path w="58" h="50">
                  <a:moveTo>
                    <a:pt x="32" y="45"/>
                  </a:moveTo>
                  <a:lnTo>
                    <a:pt x="32" y="45"/>
                  </a:lnTo>
                  <a:lnTo>
                    <a:pt x="36" y="45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8" y="27"/>
                  </a:lnTo>
                  <a:lnTo>
                    <a:pt x="54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4" y="9"/>
                  </a:lnTo>
                  <a:lnTo>
                    <a:pt x="54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32" y="5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32" y="45"/>
                  </a:lnTo>
                  <a:lnTo>
                    <a:pt x="32" y="4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7" name="Freeform 166">
              <a:extLst>
                <a:ext uri="{FF2B5EF4-FFF2-40B4-BE49-F238E27FC236}">
                  <a16:creationId xmlns:a16="http://schemas.microsoft.com/office/drawing/2014/main" id="{084368F3-0325-427D-ADBB-20C886B898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3055" y="3558591"/>
              <a:ext cx="141778" cy="9333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8"/>
                </a:cxn>
                <a:cxn ang="0">
                  <a:pos x="13" y="27"/>
                </a:cxn>
                <a:cxn ang="0">
                  <a:pos x="13" y="32"/>
                </a:cxn>
                <a:cxn ang="0">
                  <a:pos x="4" y="36"/>
                </a:cxn>
                <a:cxn ang="0">
                  <a:pos x="4" y="45"/>
                </a:cxn>
                <a:cxn ang="0">
                  <a:pos x="13" y="49"/>
                </a:cxn>
                <a:cxn ang="0">
                  <a:pos x="13" y="63"/>
                </a:cxn>
                <a:cxn ang="0">
                  <a:pos x="22" y="63"/>
                </a:cxn>
                <a:cxn ang="0">
                  <a:pos x="31" y="58"/>
                </a:cxn>
                <a:cxn ang="0">
                  <a:pos x="40" y="63"/>
                </a:cxn>
                <a:cxn ang="0">
                  <a:pos x="53" y="63"/>
                </a:cxn>
                <a:cxn ang="0">
                  <a:pos x="53" y="54"/>
                </a:cxn>
                <a:cxn ang="0">
                  <a:pos x="71" y="45"/>
                </a:cxn>
                <a:cxn ang="0">
                  <a:pos x="76" y="49"/>
                </a:cxn>
                <a:cxn ang="0">
                  <a:pos x="85" y="49"/>
                </a:cxn>
                <a:cxn ang="0">
                  <a:pos x="80" y="36"/>
                </a:cxn>
                <a:cxn ang="0">
                  <a:pos x="76" y="36"/>
                </a:cxn>
                <a:cxn ang="0">
                  <a:pos x="80" y="32"/>
                </a:cxn>
                <a:cxn ang="0">
                  <a:pos x="80" y="18"/>
                </a:cxn>
                <a:cxn ang="0">
                  <a:pos x="89" y="18"/>
                </a:cxn>
                <a:cxn ang="0">
                  <a:pos x="89" y="14"/>
                </a:cxn>
                <a:cxn ang="0">
                  <a:pos x="71" y="5"/>
                </a:cxn>
                <a:cxn ang="0">
                  <a:pos x="58" y="9"/>
                </a:cxn>
                <a:cxn ang="0">
                  <a:pos x="49" y="18"/>
                </a:cxn>
                <a:cxn ang="0">
                  <a:pos x="35" y="18"/>
                </a:cxn>
                <a:cxn ang="0">
                  <a:pos x="22" y="14"/>
                </a:cxn>
                <a:cxn ang="0">
                  <a:pos x="9" y="9"/>
                </a:cxn>
                <a:cxn ang="0">
                  <a:pos x="9" y="0"/>
                </a:cxn>
                <a:cxn ang="0">
                  <a:pos x="4" y="0"/>
                </a:cxn>
              </a:cxnLst>
              <a:rect l="0" t="0" r="r" b="b"/>
              <a:pathLst>
                <a:path w="89" h="63">
                  <a:moveTo>
                    <a:pt x="4" y="0"/>
                  </a:moveTo>
                  <a:lnTo>
                    <a:pt x="0" y="18"/>
                  </a:lnTo>
                  <a:lnTo>
                    <a:pt x="13" y="27"/>
                  </a:lnTo>
                  <a:lnTo>
                    <a:pt x="13" y="32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13" y="49"/>
                  </a:lnTo>
                  <a:lnTo>
                    <a:pt x="13" y="63"/>
                  </a:lnTo>
                  <a:lnTo>
                    <a:pt x="22" y="63"/>
                  </a:lnTo>
                  <a:lnTo>
                    <a:pt x="31" y="58"/>
                  </a:lnTo>
                  <a:lnTo>
                    <a:pt x="40" y="63"/>
                  </a:lnTo>
                  <a:lnTo>
                    <a:pt x="53" y="63"/>
                  </a:lnTo>
                  <a:lnTo>
                    <a:pt x="53" y="54"/>
                  </a:lnTo>
                  <a:lnTo>
                    <a:pt x="71" y="45"/>
                  </a:lnTo>
                  <a:lnTo>
                    <a:pt x="76" y="49"/>
                  </a:lnTo>
                  <a:lnTo>
                    <a:pt x="85" y="49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80" y="18"/>
                  </a:lnTo>
                  <a:lnTo>
                    <a:pt x="89" y="18"/>
                  </a:lnTo>
                  <a:lnTo>
                    <a:pt x="89" y="14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9" y="18"/>
                  </a:lnTo>
                  <a:lnTo>
                    <a:pt x="35" y="18"/>
                  </a:lnTo>
                  <a:lnTo>
                    <a:pt x="22" y="14"/>
                  </a:lnTo>
                  <a:lnTo>
                    <a:pt x="9" y="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8" name="Freeform 167">
              <a:extLst>
                <a:ext uri="{FF2B5EF4-FFF2-40B4-BE49-F238E27FC236}">
                  <a16:creationId xmlns:a16="http://schemas.microsoft.com/office/drawing/2014/main" id="{9C46CD6C-844D-4114-9FB6-D3C7E28457F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3764" y="3161556"/>
              <a:ext cx="213463" cy="179258"/>
            </a:xfrm>
            <a:custGeom>
              <a:avLst/>
              <a:gdLst/>
              <a:ahLst/>
              <a:cxnLst>
                <a:cxn ang="0">
                  <a:pos x="13" y="116"/>
                </a:cxn>
                <a:cxn ang="0">
                  <a:pos x="22" y="103"/>
                </a:cxn>
                <a:cxn ang="0">
                  <a:pos x="45" y="112"/>
                </a:cxn>
                <a:cxn ang="0">
                  <a:pos x="63" y="112"/>
                </a:cxn>
                <a:cxn ang="0">
                  <a:pos x="67" y="116"/>
                </a:cxn>
                <a:cxn ang="0">
                  <a:pos x="76" y="112"/>
                </a:cxn>
                <a:cxn ang="0">
                  <a:pos x="85" y="112"/>
                </a:cxn>
                <a:cxn ang="0">
                  <a:pos x="98" y="116"/>
                </a:cxn>
                <a:cxn ang="0">
                  <a:pos x="107" y="116"/>
                </a:cxn>
                <a:cxn ang="0">
                  <a:pos x="112" y="99"/>
                </a:cxn>
                <a:cxn ang="0">
                  <a:pos x="121" y="94"/>
                </a:cxn>
                <a:cxn ang="0">
                  <a:pos x="121" y="76"/>
                </a:cxn>
                <a:cxn ang="0">
                  <a:pos x="125" y="81"/>
                </a:cxn>
                <a:cxn ang="0">
                  <a:pos x="134" y="72"/>
                </a:cxn>
                <a:cxn ang="0">
                  <a:pos x="125" y="63"/>
                </a:cxn>
                <a:cxn ang="0">
                  <a:pos x="116" y="54"/>
                </a:cxn>
                <a:cxn ang="0">
                  <a:pos x="112" y="45"/>
                </a:cxn>
                <a:cxn ang="0">
                  <a:pos x="112" y="31"/>
                </a:cxn>
                <a:cxn ang="0">
                  <a:pos x="98" y="9"/>
                </a:cxn>
                <a:cxn ang="0">
                  <a:pos x="85" y="5"/>
                </a:cxn>
                <a:cxn ang="0">
                  <a:pos x="76" y="0"/>
                </a:cxn>
                <a:cxn ang="0">
                  <a:pos x="67" y="0"/>
                </a:cxn>
                <a:cxn ang="0">
                  <a:pos x="63" y="9"/>
                </a:cxn>
                <a:cxn ang="0">
                  <a:pos x="45" y="18"/>
                </a:cxn>
                <a:cxn ang="0">
                  <a:pos x="45" y="23"/>
                </a:cxn>
                <a:cxn ang="0">
                  <a:pos x="45" y="27"/>
                </a:cxn>
                <a:cxn ang="0">
                  <a:pos x="40" y="31"/>
                </a:cxn>
                <a:cxn ang="0">
                  <a:pos x="31" y="45"/>
                </a:cxn>
                <a:cxn ang="0">
                  <a:pos x="27" y="49"/>
                </a:cxn>
                <a:cxn ang="0">
                  <a:pos x="13" y="49"/>
                </a:cxn>
                <a:cxn ang="0">
                  <a:pos x="9" y="72"/>
                </a:cxn>
                <a:cxn ang="0">
                  <a:pos x="13" y="90"/>
                </a:cxn>
                <a:cxn ang="0">
                  <a:pos x="5" y="103"/>
                </a:cxn>
              </a:cxnLst>
              <a:rect l="0" t="0" r="r" b="b"/>
              <a:pathLst>
                <a:path w="134" h="121">
                  <a:moveTo>
                    <a:pt x="5" y="112"/>
                  </a:moveTo>
                  <a:lnTo>
                    <a:pt x="13" y="116"/>
                  </a:lnTo>
                  <a:lnTo>
                    <a:pt x="18" y="107"/>
                  </a:lnTo>
                  <a:lnTo>
                    <a:pt x="22" y="103"/>
                  </a:lnTo>
                  <a:lnTo>
                    <a:pt x="36" y="107"/>
                  </a:lnTo>
                  <a:lnTo>
                    <a:pt x="45" y="112"/>
                  </a:lnTo>
                  <a:lnTo>
                    <a:pt x="58" y="107"/>
                  </a:lnTo>
                  <a:lnTo>
                    <a:pt x="63" y="112"/>
                  </a:lnTo>
                  <a:lnTo>
                    <a:pt x="67" y="121"/>
                  </a:lnTo>
                  <a:lnTo>
                    <a:pt x="67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5" y="112"/>
                  </a:lnTo>
                  <a:lnTo>
                    <a:pt x="89" y="121"/>
                  </a:lnTo>
                  <a:lnTo>
                    <a:pt x="98" y="116"/>
                  </a:lnTo>
                  <a:lnTo>
                    <a:pt x="107" y="121"/>
                  </a:lnTo>
                  <a:lnTo>
                    <a:pt x="107" y="116"/>
                  </a:lnTo>
                  <a:lnTo>
                    <a:pt x="107" y="112"/>
                  </a:lnTo>
                  <a:lnTo>
                    <a:pt x="112" y="99"/>
                  </a:lnTo>
                  <a:lnTo>
                    <a:pt x="121" y="103"/>
                  </a:lnTo>
                  <a:lnTo>
                    <a:pt x="121" y="94"/>
                  </a:lnTo>
                  <a:lnTo>
                    <a:pt x="116" y="81"/>
                  </a:lnTo>
                  <a:lnTo>
                    <a:pt x="121" y="76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30" y="76"/>
                  </a:lnTo>
                  <a:lnTo>
                    <a:pt x="134" y="72"/>
                  </a:lnTo>
                  <a:lnTo>
                    <a:pt x="130" y="72"/>
                  </a:lnTo>
                  <a:lnTo>
                    <a:pt x="125" y="63"/>
                  </a:lnTo>
                  <a:lnTo>
                    <a:pt x="116" y="67"/>
                  </a:lnTo>
                  <a:lnTo>
                    <a:pt x="116" y="54"/>
                  </a:lnTo>
                  <a:lnTo>
                    <a:pt x="112" y="49"/>
                  </a:lnTo>
                  <a:lnTo>
                    <a:pt x="112" y="45"/>
                  </a:lnTo>
                  <a:lnTo>
                    <a:pt x="112" y="36"/>
                  </a:lnTo>
                  <a:lnTo>
                    <a:pt x="112" y="31"/>
                  </a:lnTo>
                  <a:lnTo>
                    <a:pt x="107" y="18"/>
                  </a:lnTo>
                  <a:lnTo>
                    <a:pt x="98" y="9"/>
                  </a:lnTo>
                  <a:lnTo>
                    <a:pt x="89" y="14"/>
                  </a:lnTo>
                  <a:lnTo>
                    <a:pt x="85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3" y="9"/>
                  </a:lnTo>
                  <a:lnTo>
                    <a:pt x="58" y="14"/>
                  </a:lnTo>
                  <a:lnTo>
                    <a:pt x="45" y="18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9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36" y="40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27" y="49"/>
                  </a:lnTo>
                  <a:lnTo>
                    <a:pt x="22" y="54"/>
                  </a:lnTo>
                  <a:lnTo>
                    <a:pt x="13" y="49"/>
                  </a:lnTo>
                  <a:lnTo>
                    <a:pt x="5" y="58"/>
                  </a:lnTo>
                  <a:lnTo>
                    <a:pt x="9" y="72"/>
                  </a:lnTo>
                  <a:lnTo>
                    <a:pt x="13" y="81"/>
                  </a:lnTo>
                  <a:lnTo>
                    <a:pt x="13" y="90"/>
                  </a:lnTo>
                  <a:lnTo>
                    <a:pt x="0" y="94"/>
                  </a:lnTo>
                  <a:lnTo>
                    <a:pt x="5" y="103"/>
                  </a:lnTo>
                  <a:lnTo>
                    <a:pt x="5" y="11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9" name="Freeform 168">
              <a:extLst>
                <a:ext uri="{FF2B5EF4-FFF2-40B4-BE49-F238E27FC236}">
                  <a16:creationId xmlns:a16="http://schemas.microsoft.com/office/drawing/2014/main" id="{3608525A-365F-4DB4-B0EE-7E4A0BC827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963" y="3493406"/>
              <a:ext cx="135406" cy="11851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9" y="35"/>
                </a:cxn>
                <a:cxn ang="0">
                  <a:pos x="22" y="31"/>
                </a:cxn>
                <a:cxn ang="0">
                  <a:pos x="27" y="44"/>
                </a:cxn>
                <a:cxn ang="0">
                  <a:pos x="22" y="53"/>
                </a:cxn>
                <a:cxn ang="0">
                  <a:pos x="36" y="62"/>
                </a:cxn>
                <a:cxn ang="0">
                  <a:pos x="45" y="67"/>
                </a:cxn>
                <a:cxn ang="0">
                  <a:pos x="45" y="62"/>
                </a:cxn>
                <a:cxn ang="0">
                  <a:pos x="54" y="67"/>
                </a:cxn>
                <a:cxn ang="0">
                  <a:pos x="63" y="71"/>
                </a:cxn>
                <a:cxn ang="0">
                  <a:pos x="58" y="62"/>
                </a:cxn>
                <a:cxn ang="0">
                  <a:pos x="54" y="62"/>
                </a:cxn>
                <a:cxn ang="0">
                  <a:pos x="40" y="44"/>
                </a:cxn>
                <a:cxn ang="0">
                  <a:pos x="31" y="35"/>
                </a:cxn>
                <a:cxn ang="0">
                  <a:pos x="36" y="26"/>
                </a:cxn>
                <a:cxn ang="0">
                  <a:pos x="45" y="26"/>
                </a:cxn>
                <a:cxn ang="0">
                  <a:pos x="49" y="26"/>
                </a:cxn>
                <a:cxn ang="0">
                  <a:pos x="63" y="31"/>
                </a:cxn>
                <a:cxn ang="0">
                  <a:pos x="72" y="26"/>
                </a:cxn>
                <a:cxn ang="0">
                  <a:pos x="76" y="31"/>
                </a:cxn>
                <a:cxn ang="0">
                  <a:pos x="81" y="26"/>
                </a:cxn>
                <a:cxn ang="0">
                  <a:pos x="85" y="22"/>
                </a:cxn>
                <a:cxn ang="0">
                  <a:pos x="81" y="22"/>
                </a:cxn>
                <a:cxn ang="0">
                  <a:pos x="81" y="18"/>
                </a:cxn>
                <a:cxn ang="0">
                  <a:pos x="76" y="13"/>
                </a:cxn>
                <a:cxn ang="0">
                  <a:pos x="49" y="13"/>
                </a:cxn>
                <a:cxn ang="0">
                  <a:pos x="45" y="4"/>
                </a:cxn>
                <a:cxn ang="0">
                  <a:pos x="40" y="0"/>
                </a:cxn>
                <a:cxn ang="0">
                  <a:pos x="40" y="4"/>
                </a:cxn>
                <a:cxn ang="0">
                  <a:pos x="36" y="9"/>
                </a:cxn>
                <a:cxn ang="0">
                  <a:pos x="31" y="9"/>
                </a:cxn>
                <a:cxn ang="0">
                  <a:pos x="31" y="13"/>
                </a:cxn>
                <a:cxn ang="0">
                  <a:pos x="27" y="22"/>
                </a:cxn>
                <a:cxn ang="0">
                  <a:pos x="22" y="22"/>
                </a:cxn>
                <a:cxn ang="0">
                  <a:pos x="14" y="22"/>
                </a:cxn>
                <a:cxn ang="0">
                  <a:pos x="5" y="22"/>
                </a:cxn>
                <a:cxn ang="0">
                  <a:pos x="63" y="71"/>
                </a:cxn>
                <a:cxn ang="0">
                  <a:pos x="72" y="80"/>
                </a:cxn>
                <a:cxn ang="0">
                  <a:pos x="76" y="76"/>
                </a:cxn>
                <a:cxn ang="0">
                  <a:pos x="63" y="71"/>
                </a:cxn>
              </a:cxnLst>
              <a:rect l="0" t="0" r="r" b="b"/>
              <a:pathLst>
                <a:path w="85" h="80">
                  <a:moveTo>
                    <a:pt x="5" y="22"/>
                  </a:moveTo>
                  <a:lnTo>
                    <a:pt x="0" y="22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14" y="26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53"/>
                  </a:lnTo>
                  <a:lnTo>
                    <a:pt x="31" y="49"/>
                  </a:lnTo>
                  <a:lnTo>
                    <a:pt x="36" y="62"/>
                  </a:lnTo>
                  <a:lnTo>
                    <a:pt x="45" y="62"/>
                  </a:lnTo>
                  <a:lnTo>
                    <a:pt x="45" y="67"/>
                  </a:lnTo>
                  <a:lnTo>
                    <a:pt x="54" y="67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4" y="67"/>
                  </a:lnTo>
                  <a:lnTo>
                    <a:pt x="54" y="71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4" y="62"/>
                  </a:lnTo>
                  <a:lnTo>
                    <a:pt x="40" y="49"/>
                  </a:lnTo>
                  <a:lnTo>
                    <a:pt x="40" y="44"/>
                  </a:lnTo>
                  <a:lnTo>
                    <a:pt x="36" y="35"/>
                  </a:lnTo>
                  <a:lnTo>
                    <a:pt x="31" y="3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40" y="31"/>
                  </a:lnTo>
                  <a:lnTo>
                    <a:pt x="45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4" y="26"/>
                  </a:lnTo>
                  <a:lnTo>
                    <a:pt x="63" y="31"/>
                  </a:lnTo>
                  <a:lnTo>
                    <a:pt x="67" y="26"/>
                  </a:lnTo>
                  <a:lnTo>
                    <a:pt x="72" y="26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81" y="31"/>
                  </a:lnTo>
                  <a:lnTo>
                    <a:pt x="81" y="26"/>
                  </a:lnTo>
                  <a:lnTo>
                    <a:pt x="85" y="26"/>
                  </a:lnTo>
                  <a:lnTo>
                    <a:pt x="85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3"/>
                  </a:lnTo>
                  <a:lnTo>
                    <a:pt x="76" y="13"/>
                  </a:lnTo>
                  <a:lnTo>
                    <a:pt x="67" y="18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7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5" y="22"/>
                  </a:lnTo>
                  <a:lnTo>
                    <a:pt x="5" y="22"/>
                  </a:lnTo>
                  <a:close/>
                  <a:moveTo>
                    <a:pt x="63" y="71"/>
                  </a:moveTo>
                  <a:lnTo>
                    <a:pt x="72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67" y="71"/>
                  </a:lnTo>
                  <a:lnTo>
                    <a:pt x="63" y="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0" name="Freeform 169">
              <a:extLst>
                <a:ext uri="{FF2B5EF4-FFF2-40B4-BE49-F238E27FC236}">
                  <a16:creationId xmlns:a16="http://schemas.microsoft.com/office/drawing/2014/main" id="{0DC32B22-7DC2-47D8-8A7B-C48CAFA4CC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80855" y="3804516"/>
              <a:ext cx="55755" cy="26667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9" y="9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13" y="18"/>
                </a:cxn>
                <a:cxn ang="0">
                  <a:pos x="22" y="13"/>
                </a:cxn>
                <a:cxn ang="0">
                  <a:pos x="22" y="9"/>
                </a:cxn>
                <a:cxn ang="0">
                  <a:pos x="35" y="0"/>
                </a:cxn>
                <a:cxn ang="0">
                  <a:pos x="31" y="0"/>
                </a:cxn>
                <a:cxn ang="0">
                  <a:pos x="26" y="0"/>
                </a:cxn>
                <a:cxn ang="0">
                  <a:pos x="17" y="9"/>
                </a:cxn>
                <a:cxn ang="0">
                  <a:pos x="9" y="9"/>
                </a:cxn>
              </a:cxnLst>
              <a:rect l="0" t="0" r="r" b="b"/>
              <a:pathLst>
                <a:path w="35" h="18">
                  <a:moveTo>
                    <a:pt x="9" y="9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22" y="13"/>
                  </a:lnTo>
                  <a:lnTo>
                    <a:pt x="22" y="9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17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1" name="Freeform 170">
              <a:extLst>
                <a:ext uri="{FF2B5EF4-FFF2-40B4-BE49-F238E27FC236}">
                  <a16:creationId xmlns:a16="http://schemas.microsoft.com/office/drawing/2014/main" id="{A48768A8-6655-4749-96B6-FBE97ACEB23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7289" y="3354148"/>
              <a:ext cx="149743" cy="7851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6" y="0"/>
                </a:cxn>
                <a:cxn ang="0">
                  <a:pos x="32" y="9"/>
                </a:cxn>
                <a:cxn ang="0">
                  <a:pos x="18" y="9"/>
                </a:cxn>
                <a:cxn ang="0">
                  <a:pos x="9" y="18"/>
                </a:cxn>
                <a:cxn ang="0">
                  <a:pos x="5" y="18"/>
                </a:cxn>
                <a:cxn ang="0">
                  <a:pos x="0" y="18"/>
                </a:cxn>
                <a:cxn ang="0">
                  <a:pos x="5" y="27"/>
                </a:cxn>
                <a:cxn ang="0">
                  <a:pos x="9" y="36"/>
                </a:cxn>
                <a:cxn ang="0">
                  <a:pos x="18" y="36"/>
                </a:cxn>
                <a:cxn ang="0">
                  <a:pos x="27" y="44"/>
                </a:cxn>
                <a:cxn ang="0">
                  <a:pos x="27" y="49"/>
                </a:cxn>
                <a:cxn ang="0">
                  <a:pos x="36" y="49"/>
                </a:cxn>
                <a:cxn ang="0">
                  <a:pos x="45" y="40"/>
                </a:cxn>
                <a:cxn ang="0">
                  <a:pos x="67" y="44"/>
                </a:cxn>
                <a:cxn ang="0">
                  <a:pos x="67" y="53"/>
                </a:cxn>
                <a:cxn ang="0">
                  <a:pos x="72" y="49"/>
                </a:cxn>
                <a:cxn ang="0">
                  <a:pos x="81" y="49"/>
                </a:cxn>
                <a:cxn ang="0">
                  <a:pos x="85" y="44"/>
                </a:cxn>
                <a:cxn ang="0">
                  <a:pos x="90" y="36"/>
                </a:cxn>
                <a:cxn ang="0">
                  <a:pos x="94" y="31"/>
                </a:cxn>
                <a:cxn ang="0">
                  <a:pos x="94" y="22"/>
                </a:cxn>
                <a:cxn ang="0">
                  <a:pos x="85" y="22"/>
                </a:cxn>
                <a:cxn ang="0">
                  <a:pos x="81" y="13"/>
                </a:cxn>
                <a:cxn ang="0">
                  <a:pos x="72" y="9"/>
                </a:cxn>
                <a:cxn ang="0">
                  <a:pos x="67" y="18"/>
                </a:cxn>
                <a:cxn ang="0">
                  <a:pos x="58" y="13"/>
                </a:cxn>
                <a:cxn ang="0">
                  <a:pos x="63" y="9"/>
                </a:cxn>
                <a:cxn ang="0">
                  <a:pos x="54" y="9"/>
                </a:cxn>
                <a:cxn ang="0">
                  <a:pos x="49" y="0"/>
                </a:cxn>
                <a:cxn ang="0">
                  <a:pos x="45" y="4"/>
                </a:cxn>
                <a:cxn ang="0">
                  <a:pos x="40" y="0"/>
                </a:cxn>
              </a:cxnLst>
              <a:rect l="0" t="0" r="r" b="b"/>
              <a:pathLst>
                <a:path w="94" h="53">
                  <a:moveTo>
                    <a:pt x="40" y="0"/>
                  </a:moveTo>
                  <a:lnTo>
                    <a:pt x="36" y="0"/>
                  </a:lnTo>
                  <a:lnTo>
                    <a:pt x="3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18" y="36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36" y="49"/>
                  </a:lnTo>
                  <a:lnTo>
                    <a:pt x="45" y="40"/>
                  </a:lnTo>
                  <a:lnTo>
                    <a:pt x="67" y="44"/>
                  </a:lnTo>
                  <a:lnTo>
                    <a:pt x="67" y="53"/>
                  </a:lnTo>
                  <a:lnTo>
                    <a:pt x="72" y="49"/>
                  </a:lnTo>
                  <a:lnTo>
                    <a:pt x="81" y="49"/>
                  </a:lnTo>
                  <a:lnTo>
                    <a:pt x="85" y="44"/>
                  </a:lnTo>
                  <a:lnTo>
                    <a:pt x="90" y="36"/>
                  </a:lnTo>
                  <a:lnTo>
                    <a:pt x="94" y="31"/>
                  </a:lnTo>
                  <a:lnTo>
                    <a:pt x="94" y="22"/>
                  </a:lnTo>
                  <a:lnTo>
                    <a:pt x="85" y="22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7" y="18"/>
                  </a:lnTo>
                  <a:lnTo>
                    <a:pt x="58" y="13"/>
                  </a:lnTo>
                  <a:lnTo>
                    <a:pt x="63" y="9"/>
                  </a:lnTo>
                  <a:lnTo>
                    <a:pt x="54" y="9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2" name="Freeform 171">
              <a:extLst>
                <a:ext uri="{FF2B5EF4-FFF2-40B4-BE49-F238E27FC236}">
                  <a16:creationId xmlns:a16="http://schemas.microsoft.com/office/drawing/2014/main" id="{7553EDC4-2904-4F08-BCEB-2E22ADFF3E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90363" y="2890446"/>
              <a:ext cx="498612" cy="330369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5" y="18"/>
                </a:cxn>
                <a:cxn ang="0">
                  <a:pos x="5" y="27"/>
                </a:cxn>
                <a:cxn ang="0">
                  <a:pos x="9" y="31"/>
                </a:cxn>
                <a:cxn ang="0">
                  <a:pos x="9" y="18"/>
                </a:cxn>
                <a:cxn ang="0">
                  <a:pos x="5" y="13"/>
                </a:cxn>
                <a:cxn ang="0">
                  <a:pos x="14" y="0"/>
                </a:cxn>
                <a:cxn ang="0">
                  <a:pos x="0" y="4"/>
                </a:cxn>
                <a:cxn ang="0">
                  <a:pos x="241" y="214"/>
                </a:cxn>
                <a:cxn ang="0">
                  <a:pos x="237" y="206"/>
                </a:cxn>
                <a:cxn ang="0">
                  <a:pos x="237" y="192"/>
                </a:cxn>
                <a:cxn ang="0">
                  <a:pos x="241" y="188"/>
                </a:cxn>
                <a:cxn ang="0">
                  <a:pos x="246" y="183"/>
                </a:cxn>
                <a:cxn ang="0">
                  <a:pos x="250" y="170"/>
                </a:cxn>
                <a:cxn ang="0">
                  <a:pos x="246" y="165"/>
                </a:cxn>
                <a:cxn ang="0">
                  <a:pos x="241" y="156"/>
                </a:cxn>
                <a:cxn ang="0">
                  <a:pos x="246" y="156"/>
                </a:cxn>
                <a:cxn ang="0">
                  <a:pos x="246" y="143"/>
                </a:cxn>
                <a:cxn ang="0">
                  <a:pos x="246" y="134"/>
                </a:cxn>
                <a:cxn ang="0">
                  <a:pos x="237" y="152"/>
                </a:cxn>
                <a:cxn ang="0">
                  <a:pos x="219" y="161"/>
                </a:cxn>
                <a:cxn ang="0">
                  <a:pos x="224" y="165"/>
                </a:cxn>
                <a:cxn ang="0">
                  <a:pos x="219" y="170"/>
                </a:cxn>
                <a:cxn ang="0">
                  <a:pos x="224" y="174"/>
                </a:cxn>
                <a:cxn ang="0">
                  <a:pos x="219" y="183"/>
                </a:cxn>
                <a:cxn ang="0">
                  <a:pos x="224" y="188"/>
                </a:cxn>
                <a:cxn ang="0">
                  <a:pos x="219" y="201"/>
                </a:cxn>
                <a:cxn ang="0">
                  <a:pos x="224" y="206"/>
                </a:cxn>
                <a:cxn ang="0">
                  <a:pos x="224" y="219"/>
                </a:cxn>
                <a:cxn ang="0">
                  <a:pos x="241" y="206"/>
                </a:cxn>
                <a:cxn ang="0">
                  <a:pos x="246" y="210"/>
                </a:cxn>
                <a:cxn ang="0">
                  <a:pos x="246" y="219"/>
                </a:cxn>
                <a:cxn ang="0">
                  <a:pos x="246" y="210"/>
                </a:cxn>
                <a:cxn ang="0">
                  <a:pos x="246" y="201"/>
                </a:cxn>
                <a:cxn ang="0">
                  <a:pos x="250" y="214"/>
                </a:cxn>
                <a:cxn ang="0">
                  <a:pos x="259" y="223"/>
                </a:cxn>
                <a:cxn ang="0">
                  <a:pos x="264" y="219"/>
                </a:cxn>
                <a:cxn ang="0">
                  <a:pos x="264" y="214"/>
                </a:cxn>
                <a:cxn ang="0">
                  <a:pos x="250" y="214"/>
                </a:cxn>
                <a:cxn ang="0">
                  <a:pos x="264" y="192"/>
                </a:cxn>
                <a:cxn ang="0">
                  <a:pos x="255" y="192"/>
                </a:cxn>
                <a:cxn ang="0">
                  <a:pos x="255" y="206"/>
                </a:cxn>
                <a:cxn ang="0">
                  <a:pos x="264" y="210"/>
                </a:cxn>
                <a:cxn ang="0">
                  <a:pos x="273" y="210"/>
                </a:cxn>
                <a:cxn ang="0">
                  <a:pos x="273" y="201"/>
                </a:cxn>
                <a:cxn ang="0">
                  <a:pos x="273" y="197"/>
                </a:cxn>
                <a:cxn ang="0">
                  <a:pos x="273" y="183"/>
                </a:cxn>
                <a:cxn ang="0">
                  <a:pos x="264" y="183"/>
                </a:cxn>
                <a:cxn ang="0">
                  <a:pos x="304" y="210"/>
                </a:cxn>
                <a:cxn ang="0">
                  <a:pos x="313" y="206"/>
                </a:cxn>
              </a:cxnLst>
              <a:rect l="0" t="0" r="r" b="b"/>
              <a:pathLst>
                <a:path w="313" h="223">
                  <a:moveTo>
                    <a:pt x="0" y="4"/>
                  </a:moveTo>
                  <a:lnTo>
                    <a:pt x="0" y="9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5" y="27"/>
                  </a:lnTo>
                  <a:lnTo>
                    <a:pt x="9" y="18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4"/>
                  </a:lnTo>
                  <a:lnTo>
                    <a:pt x="14" y="0"/>
                  </a:lnTo>
                  <a:lnTo>
                    <a:pt x="9" y="0"/>
                  </a:lnTo>
                  <a:lnTo>
                    <a:pt x="0" y="4"/>
                  </a:lnTo>
                  <a:close/>
                  <a:moveTo>
                    <a:pt x="224" y="219"/>
                  </a:moveTo>
                  <a:lnTo>
                    <a:pt x="241" y="214"/>
                  </a:lnTo>
                  <a:lnTo>
                    <a:pt x="237" y="210"/>
                  </a:lnTo>
                  <a:lnTo>
                    <a:pt x="237" y="206"/>
                  </a:lnTo>
                  <a:lnTo>
                    <a:pt x="241" y="197"/>
                  </a:lnTo>
                  <a:lnTo>
                    <a:pt x="237" y="192"/>
                  </a:lnTo>
                  <a:lnTo>
                    <a:pt x="241" y="192"/>
                  </a:lnTo>
                  <a:lnTo>
                    <a:pt x="241" y="188"/>
                  </a:lnTo>
                  <a:lnTo>
                    <a:pt x="241" y="179"/>
                  </a:lnTo>
                  <a:lnTo>
                    <a:pt x="246" y="183"/>
                  </a:lnTo>
                  <a:lnTo>
                    <a:pt x="250" y="174"/>
                  </a:lnTo>
                  <a:lnTo>
                    <a:pt x="250" y="170"/>
                  </a:lnTo>
                  <a:lnTo>
                    <a:pt x="246" y="170"/>
                  </a:lnTo>
                  <a:lnTo>
                    <a:pt x="246" y="165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2"/>
                  </a:lnTo>
                  <a:lnTo>
                    <a:pt x="246" y="156"/>
                  </a:lnTo>
                  <a:lnTo>
                    <a:pt x="250" y="147"/>
                  </a:lnTo>
                  <a:lnTo>
                    <a:pt x="246" y="143"/>
                  </a:lnTo>
                  <a:lnTo>
                    <a:pt x="246" y="139"/>
                  </a:lnTo>
                  <a:lnTo>
                    <a:pt x="246" y="134"/>
                  </a:lnTo>
                  <a:lnTo>
                    <a:pt x="241" y="134"/>
                  </a:lnTo>
                  <a:lnTo>
                    <a:pt x="237" y="152"/>
                  </a:lnTo>
                  <a:lnTo>
                    <a:pt x="224" y="156"/>
                  </a:lnTo>
                  <a:lnTo>
                    <a:pt x="219" y="161"/>
                  </a:lnTo>
                  <a:lnTo>
                    <a:pt x="219" y="165"/>
                  </a:lnTo>
                  <a:lnTo>
                    <a:pt x="224" y="165"/>
                  </a:lnTo>
                  <a:lnTo>
                    <a:pt x="224" y="170"/>
                  </a:lnTo>
                  <a:lnTo>
                    <a:pt x="219" y="170"/>
                  </a:lnTo>
                  <a:lnTo>
                    <a:pt x="219" y="174"/>
                  </a:lnTo>
                  <a:lnTo>
                    <a:pt x="224" y="174"/>
                  </a:lnTo>
                  <a:lnTo>
                    <a:pt x="219" y="179"/>
                  </a:lnTo>
                  <a:lnTo>
                    <a:pt x="219" y="183"/>
                  </a:lnTo>
                  <a:lnTo>
                    <a:pt x="219" y="183"/>
                  </a:lnTo>
                  <a:lnTo>
                    <a:pt x="224" y="188"/>
                  </a:lnTo>
                  <a:lnTo>
                    <a:pt x="219" y="192"/>
                  </a:lnTo>
                  <a:lnTo>
                    <a:pt x="219" y="201"/>
                  </a:lnTo>
                  <a:lnTo>
                    <a:pt x="224" y="197"/>
                  </a:lnTo>
                  <a:lnTo>
                    <a:pt x="224" y="206"/>
                  </a:lnTo>
                  <a:lnTo>
                    <a:pt x="224" y="214"/>
                  </a:lnTo>
                  <a:lnTo>
                    <a:pt x="224" y="219"/>
                  </a:lnTo>
                  <a:close/>
                  <a:moveTo>
                    <a:pt x="241" y="197"/>
                  </a:moveTo>
                  <a:lnTo>
                    <a:pt x="241" y="206"/>
                  </a:lnTo>
                  <a:lnTo>
                    <a:pt x="241" y="210"/>
                  </a:lnTo>
                  <a:lnTo>
                    <a:pt x="246" y="210"/>
                  </a:lnTo>
                  <a:lnTo>
                    <a:pt x="246" y="219"/>
                  </a:lnTo>
                  <a:lnTo>
                    <a:pt x="246" y="219"/>
                  </a:lnTo>
                  <a:lnTo>
                    <a:pt x="250" y="210"/>
                  </a:lnTo>
                  <a:lnTo>
                    <a:pt x="246" y="210"/>
                  </a:lnTo>
                  <a:lnTo>
                    <a:pt x="246" y="206"/>
                  </a:lnTo>
                  <a:lnTo>
                    <a:pt x="246" y="201"/>
                  </a:lnTo>
                  <a:lnTo>
                    <a:pt x="241" y="197"/>
                  </a:lnTo>
                  <a:close/>
                  <a:moveTo>
                    <a:pt x="250" y="214"/>
                  </a:moveTo>
                  <a:lnTo>
                    <a:pt x="250" y="219"/>
                  </a:lnTo>
                  <a:lnTo>
                    <a:pt x="259" y="223"/>
                  </a:lnTo>
                  <a:lnTo>
                    <a:pt x="264" y="219"/>
                  </a:lnTo>
                  <a:lnTo>
                    <a:pt x="264" y="219"/>
                  </a:lnTo>
                  <a:lnTo>
                    <a:pt x="268" y="219"/>
                  </a:lnTo>
                  <a:lnTo>
                    <a:pt x="264" y="214"/>
                  </a:lnTo>
                  <a:lnTo>
                    <a:pt x="259" y="214"/>
                  </a:lnTo>
                  <a:lnTo>
                    <a:pt x="250" y="214"/>
                  </a:lnTo>
                  <a:close/>
                  <a:moveTo>
                    <a:pt x="264" y="183"/>
                  </a:moveTo>
                  <a:lnTo>
                    <a:pt x="264" y="192"/>
                  </a:lnTo>
                  <a:lnTo>
                    <a:pt x="259" y="183"/>
                  </a:lnTo>
                  <a:lnTo>
                    <a:pt x="255" y="192"/>
                  </a:lnTo>
                  <a:lnTo>
                    <a:pt x="250" y="192"/>
                  </a:lnTo>
                  <a:lnTo>
                    <a:pt x="255" y="206"/>
                  </a:lnTo>
                  <a:lnTo>
                    <a:pt x="259" y="206"/>
                  </a:lnTo>
                  <a:lnTo>
                    <a:pt x="264" y="210"/>
                  </a:lnTo>
                  <a:lnTo>
                    <a:pt x="273" y="214"/>
                  </a:lnTo>
                  <a:lnTo>
                    <a:pt x="273" y="210"/>
                  </a:lnTo>
                  <a:lnTo>
                    <a:pt x="268" y="206"/>
                  </a:lnTo>
                  <a:lnTo>
                    <a:pt x="273" y="201"/>
                  </a:lnTo>
                  <a:lnTo>
                    <a:pt x="268" y="197"/>
                  </a:lnTo>
                  <a:lnTo>
                    <a:pt x="273" y="197"/>
                  </a:lnTo>
                  <a:lnTo>
                    <a:pt x="273" y="192"/>
                  </a:lnTo>
                  <a:lnTo>
                    <a:pt x="273" y="183"/>
                  </a:lnTo>
                  <a:lnTo>
                    <a:pt x="268" y="179"/>
                  </a:lnTo>
                  <a:lnTo>
                    <a:pt x="264" y="183"/>
                  </a:lnTo>
                  <a:close/>
                  <a:moveTo>
                    <a:pt x="308" y="206"/>
                  </a:moveTo>
                  <a:lnTo>
                    <a:pt x="304" y="210"/>
                  </a:lnTo>
                  <a:lnTo>
                    <a:pt x="313" y="210"/>
                  </a:lnTo>
                  <a:lnTo>
                    <a:pt x="313" y="206"/>
                  </a:lnTo>
                  <a:lnTo>
                    <a:pt x="308" y="20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3" name="Freeform 172">
              <a:extLst>
                <a:ext uri="{FF2B5EF4-FFF2-40B4-BE49-F238E27FC236}">
                  <a16:creationId xmlns:a16="http://schemas.microsoft.com/office/drawing/2014/main" id="{6D9A6E96-B87B-45AF-A7B4-BC54E4AD7A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38718" y="3016372"/>
              <a:ext cx="156115" cy="91851"/>
            </a:xfrm>
            <a:custGeom>
              <a:avLst/>
              <a:gdLst/>
              <a:ahLst/>
              <a:cxnLst>
                <a:cxn ang="0">
                  <a:pos x="4" y="31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0" y="45"/>
                </a:cxn>
                <a:cxn ang="0">
                  <a:pos x="4" y="49"/>
                </a:cxn>
                <a:cxn ang="0">
                  <a:pos x="9" y="40"/>
                </a:cxn>
                <a:cxn ang="0">
                  <a:pos x="13" y="40"/>
                </a:cxn>
                <a:cxn ang="0">
                  <a:pos x="22" y="31"/>
                </a:cxn>
                <a:cxn ang="0">
                  <a:pos x="22" y="27"/>
                </a:cxn>
                <a:cxn ang="0">
                  <a:pos x="18" y="27"/>
                </a:cxn>
                <a:cxn ang="0">
                  <a:pos x="13" y="27"/>
                </a:cxn>
                <a:cxn ang="0">
                  <a:pos x="22" y="22"/>
                </a:cxn>
                <a:cxn ang="0">
                  <a:pos x="13" y="18"/>
                </a:cxn>
                <a:cxn ang="0">
                  <a:pos x="9" y="22"/>
                </a:cxn>
                <a:cxn ang="0">
                  <a:pos x="13" y="27"/>
                </a:cxn>
                <a:cxn ang="0">
                  <a:pos x="13" y="27"/>
                </a:cxn>
                <a:cxn ang="0">
                  <a:pos x="4" y="31"/>
                </a:cxn>
                <a:cxn ang="0">
                  <a:pos x="40" y="54"/>
                </a:cxn>
                <a:cxn ang="0">
                  <a:pos x="53" y="49"/>
                </a:cxn>
                <a:cxn ang="0">
                  <a:pos x="62" y="54"/>
                </a:cxn>
                <a:cxn ang="0">
                  <a:pos x="71" y="58"/>
                </a:cxn>
                <a:cxn ang="0">
                  <a:pos x="76" y="58"/>
                </a:cxn>
                <a:cxn ang="0">
                  <a:pos x="85" y="62"/>
                </a:cxn>
                <a:cxn ang="0">
                  <a:pos x="94" y="58"/>
                </a:cxn>
                <a:cxn ang="0">
                  <a:pos x="98" y="54"/>
                </a:cxn>
                <a:cxn ang="0">
                  <a:pos x="89" y="45"/>
                </a:cxn>
                <a:cxn ang="0">
                  <a:pos x="85" y="36"/>
                </a:cxn>
                <a:cxn ang="0">
                  <a:pos x="85" y="31"/>
                </a:cxn>
                <a:cxn ang="0">
                  <a:pos x="85" y="22"/>
                </a:cxn>
                <a:cxn ang="0">
                  <a:pos x="94" y="18"/>
                </a:cxn>
                <a:cxn ang="0">
                  <a:pos x="98" y="9"/>
                </a:cxn>
                <a:cxn ang="0">
                  <a:pos x="94" y="0"/>
                </a:cxn>
                <a:cxn ang="0">
                  <a:pos x="89" y="4"/>
                </a:cxn>
                <a:cxn ang="0">
                  <a:pos x="71" y="0"/>
                </a:cxn>
                <a:cxn ang="0">
                  <a:pos x="40" y="9"/>
                </a:cxn>
                <a:cxn ang="0">
                  <a:pos x="27" y="18"/>
                </a:cxn>
                <a:cxn ang="0">
                  <a:pos x="27" y="31"/>
                </a:cxn>
                <a:cxn ang="0">
                  <a:pos x="35" y="40"/>
                </a:cxn>
                <a:cxn ang="0">
                  <a:pos x="40" y="36"/>
                </a:cxn>
                <a:cxn ang="0">
                  <a:pos x="40" y="54"/>
                </a:cxn>
              </a:cxnLst>
              <a:rect l="0" t="0" r="r" b="b"/>
              <a:pathLst>
                <a:path w="98" h="62">
                  <a:moveTo>
                    <a:pt x="4" y="31"/>
                  </a:moveTo>
                  <a:lnTo>
                    <a:pt x="0" y="36"/>
                  </a:lnTo>
                  <a:lnTo>
                    <a:pt x="4" y="40"/>
                  </a:lnTo>
                  <a:lnTo>
                    <a:pt x="0" y="45"/>
                  </a:lnTo>
                  <a:lnTo>
                    <a:pt x="4" y="49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22" y="31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22" y="22"/>
                  </a:lnTo>
                  <a:lnTo>
                    <a:pt x="13" y="18"/>
                  </a:lnTo>
                  <a:lnTo>
                    <a:pt x="9" y="22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4" y="31"/>
                  </a:lnTo>
                  <a:close/>
                  <a:moveTo>
                    <a:pt x="40" y="54"/>
                  </a:moveTo>
                  <a:lnTo>
                    <a:pt x="53" y="49"/>
                  </a:lnTo>
                  <a:lnTo>
                    <a:pt x="62" y="54"/>
                  </a:lnTo>
                  <a:lnTo>
                    <a:pt x="71" y="58"/>
                  </a:lnTo>
                  <a:lnTo>
                    <a:pt x="76" y="58"/>
                  </a:lnTo>
                  <a:lnTo>
                    <a:pt x="85" y="62"/>
                  </a:lnTo>
                  <a:lnTo>
                    <a:pt x="94" y="58"/>
                  </a:lnTo>
                  <a:lnTo>
                    <a:pt x="98" y="54"/>
                  </a:lnTo>
                  <a:lnTo>
                    <a:pt x="89" y="45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5" y="22"/>
                  </a:lnTo>
                  <a:lnTo>
                    <a:pt x="94" y="18"/>
                  </a:lnTo>
                  <a:lnTo>
                    <a:pt x="98" y="9"/>
                  </a:lnTo>
                  <a:lnTo>
                    <a:pt x="94" y="0"/>
                  </a:lnTo>
                  <a:lnTo>
                    <a:pt x="89" y="4"/>
                  </a:lnTo>
                  <a:lnTo>
                    <a:pt x="71" y="0"/>
                  </a:lnTo>
                  <a:lnTo>
                    <a:pt x="40" y="9"/>
                  </a:lnTo>
                  <a:lnTo>
                    <a:pt x="27" y="18"/>
                  </a:lnTo>
                  <a:lnTo>
                    <a:pt x="27" y="31"/>
                  </a:lnTo>
                  <a:lnTo>
                    <a:pt x="35" y="40"/>
                  </a:lnTo>
                  <a:lnTo>
                    <a:pt x="40" y="36"/>
                  </a:lnTo>
                  <a:lnTo>
                    <a:pt x="40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4" name="Freeform 173">
              <a:extLst>
                <a:ext uri="{FF2B5EF4-FFF2-40B4-BE49-F238E27FC236}">
                  <a16:creationId xmlns:a16="http://schemas.microsoft.com/office/drawing/2014/main" id="{F17EA56C-7359-4930-9F7A-1E376CF24F0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0043" y="2480078"/>
              <a:ext cx="262847" cy="536293"/>
            </a:xfrm>
            <a:custGeom>
              <a:avLst/>
              <a:gdLst/>
              <a:ahLst/>
              <a:cxnLst>
                <a:cxn ang="0">
                  <a:pos x="18" y="54"/>
                </a:cxn>
                <a:cxn ang="0">
                  <a:pos x="45" y="76"/>
                </a:cxn>
                <a:cxn ang="0">
                  <a:pos x="53" y="121"/>
                </a:cxn>
                <a:cxn ang="0">
                  <a:pos x="49" y="152"/>
                </a:cxn>
                <a:cxn ang="0">
                  <a:pos x="58" y="165"/>
                </a:cxn>
                <a:cxn ang="0">
                  <a:pos x="67" y="192"/>
                </a:cxn>
                <a:cxn ang="0">
                  <a:pos x="45" y="219"/>
                </a:cxn>
                <a:cxn ang="0">
                  <a:pos x="22" y="250"/>
                </a:cxn>
                <a:cxn ang="0">
                  <a:pos x="9" y="264"/>
                </a:cxn>
                <a:cxn ang="0">
                  <a:pos x="13" y="277"/>
                </a:cxn>
                <a:cxn ang="0">
                  <a:pos x="13" y="313"/>
                </a:cxn>
                <a:cxn ang="0">
                  <a:pos x="27" y="335"/>
                </a:cxn>
                <a:cxn ang="0">
                  <a:pos x="36" y="340"/>
                </a:cxn>
                <a:cxn ang="0">
                  <a:pos x="36" y="348"/>
                </a:cxn>
                <a:cxn ang="0">
                  <a:pos x="40" y="353"/>
                </a:cxn>
                <a:cxn ang="0">
                  <a:pos x="40" y="362"/>
                </a:cxn>
                <a:cxn ang="0">
                  <a:pos x="58" y="348"/>
                </a:cxn>
                <a:cxn ang="0">
                  <a:pos x="62" y="353"/>
                </a:cxn>
                <a:cxn ang="0">
                  <a:pos x="76" y="348"/>
                </a:cxn>
                <a:cxn ang="0">
                  <a:pos x="85" y="344"/>
                </a:cxn>
                <a:cxn ang="0">
                  <a:pos x="98" y="340"/>
                </a:cxn>
                <a:cxn ang="0">
                  <a:pos x="112" y="340"/>
                </a:cxn>
                <a:cxn ang="0">
                  <a:pos x="129" y="322"/>
                </a:cxn>
                <a:cxn ang="0">
                  <a:pos x="161" y="281"/>
                </a:cxn>
                <a:cxn ang="0">
                  <a:pos x="147" y="255"/>
                </a:cxn>
                <a:cxn ang="0">
                  <a:pos x="147" y="228"/>
                </a:cxn>
                <a:cxn ang="0">
                  <a:pos x="143" y="214"/>
                </a:cxn>
                <a:cxn ang="0">
                  <a:pos x="134" y="165"/>
                </a:cxn>
                <a:cxn ang="0">
                  <a:pos x="134" y="147"/>
                </a:cxn>
                <a:cxn ang="0">
                  <a:pos x="120" y="116"/>
                </a:cxn>
                <a:cxn ang="0">
                  <a:pos x="134" y="80"/>
                </a:cxn>
                <a:cxn ang="0">
                  <a:pos x="116" y="54"/>
                </a:cxn>
                <a:cxn ang="0">
                  <a:pos x="112" y="40"/>
                </a:cxn>
                <a:cxn ang="0">
                  <a:pos x="116" y="31"/>
                </a:cxn>
                <a:cxn ang="0">
                  <a:pos x="120" y="9"/>
                </a:cxn>
                <a:cxn ang="0">
                  <a:pos x="107" y="0"/>
                </a:cxn>
                <a:cxn ang="0">
                  <a:pos x="76" y="22"/>
                </a:cxn>
                <a:cxn ang="0">
                  <a:pos x="62" y="58"/>
                </a:cxn>
                <a:cxn ang="0">
                  <a:pos x="31" y="54"/>
                </a:cxn>
                <a:cxn ang="0">
                  <a:pos x="9" y="31"/>
                </a:cxn>
                <a:cxn ang="0">
                  <a:pos x="0" y="36"/>
                </a:cxn>
              </a:cxnLst>
              <a:rect l="0" t="0" r="r" b="b"/>
              <a:pathLst>
                <a:path w="165" h="362">
                  <a:moveTo>
                    <a:pt x="4" y="40"/>
                  </a:moveTo>
                  <a:lnTo>
                    <a:pt x="18" y="54"/>
                  </a:lnTo>
                  <a:lnTo>
                    <a:pt x="40" y="62"/>
                  </a:lnTo>
                  <a:lnTo>
                    <a:pt x="45" y="76"/>
                  </a:lnTo>
                  <a:lnTo>
                    <a:pt x="49" y="98"/>
                  </a:lnTo>
                  <a:lnTo>
                    <a:pt x="53" y="121"/>
                  </a:lnTo>
                  <a:lnTo>
                    <a:pt x="49" y="138"/>
                  </a:lnTo>
                  <a:lnTo>
                    <a:pt x="49" y="152"/>
                  </a:lnTo>
                  <a:lnTo>
                    <a:pt x="53" y="165"/>
                  </a:lnTo>
                  <a:lnTo>
                    <a:pt x="58" y="165"/>
                  </a:lnTo>
                  <a:lnTo>
                    <a:pt x="71" y="183"/>
                  </a:lnTo>
                  <a:lnTo>
                    <a:pt x="67" y="192"/>
                  </a:lnTo>
                  <a:lnTo>
                    <a:pt x="71" y="197"/>
                  </a:lnTo>
                  <a:lnTo>
                    <a:pt x="45" y="219"/>
                  </a:lnTo>
                  <a:lnTo>
                    <a:pt x="31" y="237"/>
                  </a:lnTo>
                  <a:lnTo>
                    <a:pt x="22" y="250"/>
                  </a:lnTo>
                  <a:lnTo>
                    <a:pt x="13" y="250"/>
                  </a:lnTo>
                  <a:lnTo>
                    <a:pt x="9" y="264"/>
                  </a:lnTo>
                  <a:lnTo>
                    <a:pt x="9" y="277"/>
                  </a:lnTo>
                  <a:lnTo>
                    <a:pt x="13" y="277"/>
                  </a:lnTo>
                  <a:lnTo>
                    <a:pt x="18" y="299"/>
                  </a:lnTo>
                  <a:lnTo>
                    <a:pt x="13" y="313"/>
                  </a:lnTo>
                  <a:lnTo>
                    <a:pt x="18" y="331"/>
                  </a:lnTo>
                  <a:lnTo>
                    <a:pt x="27" y="335"/>
                  </a:lnTo>
                  <a:lnTo>
                    <a:pt x="31" y="344"/>
                  </a:lnTo>
                  <a:lnTo>
                    <a:pt x="36" y="340"/>
                  </a:lnTo>
                  <a:lnTo>
                    <a:pt x="36" y="344"/>
                  </a:lnTo>
                  <a:lnTo>
                    <a:pt x="36" y="348"/>
                  </a:lnTo>
                  <a:lnTo>
                    <a:pt x="36" y="353"/>
                  </a:lnTo>
                  <a:lnTo>
                    <a:pt x="40" y="353"/>
                  </a:lnTo>
                  <a:lnTo>
                    <a:pt x="36" y="362"/>
                  </a:lnTo>
                  <a:lnTo>
                    <a:pt x="40" y="362"/>
                  </a:lnTo>
                  <a:lnTo>
                    <a:pt x="45" y="353"/>
                  </a:lnTo>
                  <a:lnTo>
                    <a:pt x="58" y="348"/>
                  </a:lnTo>
                  <a:lnTo>
                    <a:pt x="58" y="353"/>
                  </a:lnTo>
                  <a:lnTo>
                    <a:pt x="62" y="353"/>
                  </a:lnTo>
                  <a:lnTo>
                    <a:pt x="67" y="344"/>
                  </a:lnTo>
                  <a:lnTo>
                    <a:pt x="76" y="348"/>
                  </a:lnTo>
                  <a:lnTo>
                    <a:pt x="80" y="344"/>
                  </a:lnTo>
                  <a:lnTo>
                    <a:pt x="85" y="344"/>
                  </a:lnTo>
                  <a:lnTo>
                    <a:pt x="94" y="344"/>
                  </a:lnTo>
                  <a:lnTo>
                    <a:pt x="98" y="340"/>
                  </a:lnTo>
                  <a:lnTo>
                    <a:pt x="107" y="344"/>
                  </a:lnTo>
                  <a:lnTo>
                    <a:pt x="112" y="340"/>
                  </a:lnTo>
                  <a:lnTo>
                    <a:pt x="120" y="331"/>
                  </a:lnTo>
                  <a:lnTo>
                    <a:pt x="129" y="322"/>
                  </a:lnTo>
                  <a:lnTo>
                    <a:pt x="134" y="308"/>
                  </a:lnTo>
                  <a:lnTo>
                    <a:pt x="161" y="281"/>
                  </a:lnTo>
                  <a:lnTo>
                    <a:pt x="165" y="273"/>
                  </a:lnTo>
                  <a:lnTo>
                    <a:pt x="147" y="255"/>
                  </a:lnTo>
                  <a:lnTo>
                    <a:pt x="134" y="241"/>
                  </a:lnTo>
                  <a:lnTo>
                    <a:pt x="147" y="228"/>
                  </a:lnTo>
                  <a:lnTo>
                    <a:pt x="134" y="219"/>
                  </a:lnTo>
                  <a:lnTo>
                    <a:pt x="143" y="214"/>
                  </a:lnTo>
                  <a:lnTo>
                    <a:pt x="134" y="210"/>
                  </a:lnTo>
                  <a:lnTo>
                    <a:pt x="134" y="165"/>
                  </a:lnTo>
                  <a:lnTo>
                    <a:pt x="143" y="161"/>
                  </a:lnTo>
                  <a:lnTo>
                    <a:pt x="134" y="147"/>
                  </a:lnTo>
                  <a:lnTo>
                    <a:pt x="129" y="130"/>
                  </a:lnTo>
                  <a:lnTo>
                    <a:pt x="120" y="116"/>
                  </a:lnTo>
                  <a:lnTo>
                    <a:pt x="134" y="89"/>
                  </a:lnTo>
                  <a:lnTo>
                    <a:pt x="134" y="80"/>
                  </a:lnTo>
                  <a:lnTo>
                    <a:pt x="120" y="71"/>
                  </a:lnTo>
                  <a:lnTo>
                    <a:pt x="116" y="54"/>
                  </a:lnTo>
                  <a:lnTo>
                    <a:pt x="125" y="36"/>
                  </a:lnTo>
                  <a:lnTo>
                    <a:pt x="112" y="40"/>
                  </a:lnTo>
                  <a:lnTo>
                    <a:pt x="112" y="36"/>
                  </a:lnTo>
                  <a:lnTo>
                    <a:pt x="116" y="31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2" y="9"/>
                  </a:lnTo>
                  <a:lnTo>
                    <a:pt x="107" y="0"/>
                  </a:lnTo>
                  <a:lnTo>
                    <a:pt x="89" y="4"/>
                  </a:lnTo>
                  <a:lnTo>
                    <a:pt x="76" y="22"/>
                  </a:lnTo>
                  <a:lnTo>
                    <a:pt x="76" y="45"/>
                  </a:lnTo>
                  <a:lnTo>
                    <a:pt x="62" y="58"/>
                  </a:lnTo>
                  <a:lnTo>
                    <a:pt x="53" y="54"/>
                  </a:lnTo>
                  <a:lnTo>
                    <a:pt x="31" y="54"/>
                  </a:lnTo>
                  <a:lnTo>
                    <a:pt x="18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4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5" name="Freeform 174">
              <a:extLst>
                <a:ext uri="{FF2B5EF4-FFF2-40B4-BE49-F238E27FC236}">
                  <a16:creationId xmlns:a16="http://schemas.microsoft.com/office/drawing/2014/main" id="{CE2BD3E6-929E-4772-953B-18A04E62AD2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1339" y="3340814"/>
              <a:ext cx="326567" cy="303702"/>
            </a:xfrm>
            <a:custGeom>
              <a:avLst/>
              <a:gdLst/>
              <a:ahLst/>
              <a:cxnLst>
                <a:cxn ang="0">
                  <a:pos x="49" y="174"/>
                </a:cxn>
                <a:cxn ang="0">
                  <a:pos x="67" y="183"/>
                </a:cxn>
                <a:cxn ang="0">
                  <a:pos x="89" y="183"/>
                </a:cxn>
                <a:cxn ang="0">
                  <a:pos x="107" y="188"/>
                </a:cxn>
                <a:cxn ang="0">
                  <a:pos x="116" y="174"/>
                </a:cxn>
                <a:cxn ang="0">
                  <a:pos x="129" y="174"/>
                </a:cxn>
                <a:cxn ang="0">
                  <a:pos x="142" y="170"/>
                </a:cxn>
                <a:cxn ang="0">
                  <a:pos x="165" y="170"/>
                </a:cxn>
                <a:cxn ang="0">
                  <a:pos x="178" y="161"/>
                </a:cxn>
                <a:cxn ang="0">
                  <a:pos x="165" y="156"/>
                </a:cxn>
                <a:cxn ang="0">
                  <a:pos x="160" y="129"/>
                </a:cxn>
                <a:cxn ang="0">
                  <a:pos x="169" y="116"/>
                </a:cxn>
                <a:cxn ang="0">
                  <a:pos x="160" y="103"/>
                </a:cxn>
                <a:cxn ang="0">
                  <a:pos x="156" y="103"/>
                </a:cxn>
                <a:cxn ang="0">
                  <a:pos x="165" y="85"/>
                </a:cxn>
                <a:cxn ang="0">
                  <a:pos x="178" y="80"/>
                </a:cxn>
                <a:cxn ang="0">
                  <a:pos x="183" y="53"/>
                </a:cxn>
                <a:cxn ang="0">
                  <a:pos x="174" y="45"/>
                </a:cxn>
                <a:cxn ang="0">
                  <a:pos x="160" y="40"/>
                </a:cxn>
                <a:cxn ang="0">
                  <a:pos x="151" y="40"/>
                </a:cxn>
                <a:cxn ang="0">
                  <a:pos x="142" y="36"/>
                </a:cxn>
                <a:cxn ang="0">
                  <a:pos x="138" y="22"/>
                </a:cxn>
                <a:cxn ang="0">
                  <a:pos x="125" y="27"/>
                </a:cxn>
                <a:cxn ang="0">
                  <a:pos x="120" y="18"/>
                </a:cxn>
                <a:cxn ang="0">
                  <a:pos x="111" y="13"/>
                </a:cxn>
                <a:cxn ang="0">
                  <a:pos x="93" y="4"/>
                </a:cxn>
                <a:cxn ang="0">
                  <a:pos x="93" y="22"/>
                </a:cxn>
                <a:cxn ang="0">
                  <a:pos x="93" y="27"/>
                </a:cxn>
                <a:cxn ang="0">
                  <a:pos x="80" y="31"/>
                </a:cxn>
                <a:cxn ang="0">
                  <a:pos x="67" y="36"/>
                </a:cxn>
                <a:cxn ang="0">
                  <a:pos x="67" y="40"/>
                </a:cxn>
                <a:cxn ang="0">
                  <a:pos x="49" y="45"/>
                </a:cxn>
                <a:cxn ang="0">
                  <a:pos x="40" y="36"/>
                </a:cxn>
                <a:cxn ang="0">
                  <a:pos x="44" y="45"/>
                </a:cxn>
                <a:cxn ang="0">
                  <a:pos x="49" y="58"/>
                </a:cxn>
                <a:cxn ang="0">
                  <a:pos x="35" y="58"/>
                </a:cxn>
                <a:cxn ang="0">
                  <a:pos x="22" y="53"/>
                </a:cxn>
                <a:cxn ang="0">
                  <a:pos x="17" y="58"/>
                </a:cxn>
                <a:cxn ang="0">
                  <a:pos x="8" y="58"/>
                </a:cxn>
                <a:cxn ang="0">
                  <a:pos x="0" y="62"/>
                </a:cxn>
                <a:cxn ang="0">
                  <a:pos x="4" y="62"/>
                </a:cxn>
                <a:cxn ang="0">
                  <a:pos x="0" y="67"/>
                </a:cxn>
                <a:cxn ang="0">
                  <a:pos x="4" y="76"/>
                </a:cxn>
                <a:cxn ang="0">
                  <a:pos x="22" y="80"/>
                </a:cxn>
                <a:cxn ang="0">
                  <a:pos x="26" y="80"/>
                </a:cxn>
                <a:cxn ang="0">
                  <a:pos x="35" y="89"/>
                </a:cxn>
                <a:cxn ang="0">
                  <a:pos x="40" y="98"/>
                </a:cxn>
                <a:cxn ang="0">
                  <a:pos x="53" y="112"/>
                </a:cxn>
                <a:cxn ang="0">
                  <a:pos x="49" y="116"/>
                </a:cxn>
                <a:cxn ang="0">
                  <a:pos x="58" y="129"/>
                </a:cxn>
                <a:cxn ang="0">
                  <a:pos x="49" y="129"/>
                </a:cxn>
                <a:cxn ang="0">
                  <a:pos x="53" y="138"/>
                </a:cxn>
                <a:cxn ang="0">
                  <a:pos x="49" y="147"/>
                </a:cxn>
                <a:cxn ang="0">
                  <a:pos x="44" y="165"/>
                </a:cxn>
                <a:cxn ang="0">
                  <a:pos x="192" y="192"/>
                </a:cxn>
                <a:cxn ang="0">
                  <a:pos x="192" y="205"/>
                </a:cxn>
                <a:cxn ang="0">
                  <a:pos x="205" y="188"/>
                </a:cxn>
                <a:cxn ang="0">
                  <a:pos x="196" y="174"/>
                </a:cxn>
                <a:cxn ang="0">
                  <a:pos x="192" y="183"/>
                </a:cxn>
              </a:cxnLst>
              <a:rect l="0" t="0" r="r" b="b"/>
              <a:pathLst>
                <a:path w="205" h="205">
                  <a:moveTo>
                    <a:pt x="44" y="165"/>
                  </a:moveTo>
                  <a:lnTo>
                    <a:pt x="49" y="174"/>
                  </a:lnTo>
                  <a:lnTo>
                    <a:pt x="62" y="183"/>
                  </a:lnTo>
                  <a:lnTo>
                    <a:pt x="67" y="183"/>
                  </a:lnTo>
                  <a:lnTo>
                    <a:pt x="80" y="183"/>
                  </a:lnTo>
                  <a:lnTo>
                    <a:pt x="89" y="183"/>
                  </a:lnTo>
                  <a:lnTo>
                    <a:pt x="98" y="188"/>
                  </a:lnTo>
                  <a:lnTo>
                    <a:pt x="107" y="188"/>
                  </a:lnTo>
                  <a:lnTo>
                    <a:pt x="116" y="188"/>
                  </a:lnTo>
                  <a:lnTo>
                    <a:pt x="116" y="174"/>
                  </a:lnTo>
                  <a:lnTo>
                    <a:pt x="120" y="170"/>
                  </a:lnTo>
                  <a:lnTo>
                    <a:pt x="129" y="174"/>
                  </a:lnTo>
                  <a:lnTo>
                    <a:pt x="134" y="170"/>
                  </a:lnTo>
                  <a:lnTo>
                    <a:pt x="142" y="170"/>
                  </a:lnTo>
                  <a:lnTo>
                    <a:pt x="151" y="174"/>
                  </a:lnTo>
                  <a:lnTo>
                    <a:pt x="165" y="170"/>
                  </a:lnTo>
                  <a:lnTo>
                    <a:pt x="169" y="165"/>
                  </a:lnTo>
                  <a:lnTo>
                    <a:pt x="178" y="161"/>
                  </a:lnTo>
                  <a:lnTo>
                    <a:pt x="174" y="156"/>
                  </a:lnTo>
                  <a:lnTo>
                    <a:pt x="165" y="156"/>
                  </a:lnTo>
                  <a:lnTo>
                    <a:pt x="156" y="143"/>
                  </a:lnTo>
                  <a:lnTo>
                    <a:pt x="160" y="129"/>
                  </a:lnTo>
                  <a:lnTo>
                    <a:pt x="165" y="129"/>
                  </a:lnTo>
                  <a:lnTo>
                    <a:pt x="169" y="116"/>
                  </a:lnTo>
                  <a:lnTo>
                    <a:pt x="165" y="107"/>
                  </a:lnTo>
                  <a:lnTo>
                    <a:pt x="160" y="103"/>
                  </a:lnTo>
                  <a:lnTo>
                    <a:pt x="156" y="112"/>
                  </a:lnTo>
                  <a:lnTo>
                    <a:pt x="156" y="103"/>
                  </a:lnTo>
                  <a:lnTo>
                    <a:pt x="165" y="89"/>
                  </a:lnTo>
                  <a:lnTo>
                    <a:pt x="165" y="85"/>
                  </a:lnTo>
                  <a:lnTo>
                    <a:pt x="174" y="85"/>
                  </a:lnTo>
                  <a:lnTo>
                    <a:pt x="178" y="80"/>
                  </a:lnTo>
                  <a:lnTo>
                    <a:pt x="178" y="67"/>
                  </a:lnTo>
                  <a:lnTo>
                    <a:pt x="183" y="53"/>
                  </a:lnTo>
                  <a:lnTo>
                    <a:pt x="178" y="45"/>
                  </a:lnTo>
                  <a:lnTo>
                    <a:pt x="174" y="45"/>
                  </a:lnTo>
                  <a:lnTo>
                    <a:pt x="160" y="49"/>
                  </a:lnTo>
                  <a:lnTo>
                    <a:pt x="160" y="40"/>
                  </a:lnTo>
                  <a:lnTo>
                    <a:pt x="156" y="40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2" y="36"/>
                  </a:lnTo>
                  <a:lnTo>
                    <a:pt x="134" y="31"/>
                  </a:lnTo>
                  <a:lnTo>
                    <a:pt x="138" y="22"/>
                  </a:lnTo>
                  <a:lnTo>
                    <a:pt x="129" y="27"/>
                  </a:lnTo>
                  <a:lnTo>
                    <a:pt x="125" y="27"/>
                  </a:lnTo>
                  <a:lnTo>
                    <a:pt x="125" y="18"/>
                  </a:lnTo>
                  <a:lnTo>
                    <a:pt x="120" y="18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02" y="0"/>
                  </a:lnTo>
                  <a:lnTo>
                    <a:pt x="93" y="4"/>
                  </a:lnTo>
                  <a:lnTo>
                    <a:pt x="93" y="13"/>
                  </a:lnTo>
                  <a:lnTo>
                    <a:pt x="93" y="22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4" y="27"/>
                  </a:lnTo>
                  <a:lnTo>
                    <a:pt x="80" y="31"/>
                  </a:lnTo>
                  <a:lnTo>
                    <a:pt x="75" y="31"/>
                  </a:lnTo>
                  <a:lnTo>
                    <a:pt x="67" y="36"/>
                  </a:lnTo>
                  <a:lnTo>
                    <a:pt x="71" y="40"/>
                  </a:lnTo>
                  <a:lnTo>
                    <a:pt x="67" y="40"/>
                  </a:lnTo>
                  <a:lnTo>
                    <a:pt x="53" y="40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4" y="45"/>
                  </a:lnTo>
                  <a:lnTo>
                    <a:pt x="44" y="53"/>
                  </a:lnTo>
                  <a:lnTo>
                    <a:pt x="49" y="58"/>
                  </a:lnTo>
                  <a:lnTo>
                    <a:pt x="40" y="58"/>
                  </a:lnTo>
                  <a:lnTo>
                    <a:pt x="35" y="58"/>
                  </a:lnTo>
                  <a:lnTo>
                    <a:pt x="31" y="62"/>
                  </a:lnTo>
                  <a:lnTo>
                    <a:pt x="22" y="53"/>
                  </a:lnTo>
                  <a:lnTo>
                    <a:pt x="17" y="53"/>
                  </a:lnTo>
                  <a:lnTo>
                    <a:pt x="17" y="58"/>
                  </a:lnTo>
                  <a:lnTo>
                    <a:pt x="13" y="58"/>
                  </a:lnTo>
                  <a:lnTo>
                    <a:pt x="8" y="58"/>
                  </a:lnTo>
                  <a:lnTo>
                    <a:pt x="4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2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4" y="76"/>
                  </a:lnTo>
                  <a:lnTo>
                    <a:pt x="8" y="71"/>
                  </a:lnTo>
                  <a:lnTo>
                    <a:pt x="22" y="80"/>
                  </a:lnTo>
                  <a:lnTo>
                    <a:pt x="22" y="85"/>
                  </a:lnTo>
                  <a:lnTo>
                    <a:pt x="26" y="80"/>
                  </a:lnTo>
                  <a:lnTo>
                    <a:pt x="35" y="85"/>
                  </a:lnTo>
                  <a:lnTo>
                    <a:pt x="35" y="89"/>
                  </a:lnTo>
                  <a:lnTo>
                    <a:pt x="40" y="89"/>
                  </a:lnTo>
                  <a:lnTo>
                    <a:pt x="40" y="98"/>
                  </a:lnTo>
                  <a:lnTo>
                    <a:pt x="44" y="107"/>
                  </a:lnTo>
                  <a:lnTo>
                    <a:pt x="53" y="112"/>
                  </a:lnTo>
                  <a:lnTo>
                    <a:pt x="49" y="116"/>
                  </a:lnTo>
                  <a:lnTo>
                    <a:pt x="49" y="116"/>
                  </a:lnTo>
                  <a:lnTo>
                    <a:pt x="49" y="121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49" y="129"/>
                  </a:lnTo>
                  <a:lnTo>
                    <a:pt x="49" y="143"/>
                  </a:lnTo>
                  <a:lnTo>
                    <a:pt x="53" y="138"/>
                  </a:lnTo>
                  <a:lnTo>
                    <a:pt x="53" y="143"/>
                  </a:lnTo>
                  <a:lnTo>
                    <a:pt x="49" y="147"/>
                  </a:lnTo>
                  <a:lnTo>
                    <a:pt x="44" y="165"/>
                  </a:lnTo>
                  <a:lnTo>
                    <a:pt x="44" y="165"/>
                  </a:lnTo>
                  <a:close/>
                  <a:moveTo>
                    <a:pt x="192" y="183"/>
                  </a:moveTo>
                  <a:lnTo>
                    <a:pt x="192" y="192"/>
                  </a:lnTo>
                  <a:lnTo>
                    <a:pt x="187" y="196"/>
                  </a:lnTo>
                  <a:lnTo>
                    <a:pt x="192" y="205"/>
                  </a:lnTo>
                  <a:lnTo>
                    <a:pt x="201" y="205"/>
                  </a:lnTo>
                  <a:lnTo>
                    <a:pt x="205" y="188"/>
                  </a:lnTo>
                  <a:lnTo>
                    <a:pt x="201" y="174"/>
                  </a:lnTo>
                  <a:lnTo>
                    <a:pt x="196" y="174"/>
                  </a:lnTo>
                  <a:lnTo>
                    <a:pt x="196" y="183"/>
                  </a:lnTo>
                  <a:lnTo>
                    <a:pt x="192" y="18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6" name="Freeform 175">
              <a:extLst>
                <a:ext uri="{FF2B5EF4-FFF2-40B4-BE49-F238E27FC236}">
                  <a16:creationId xmlns:a16="http://schemas.microsoft.com/office/drawing/2014/main" id="{134B31DA-5698-4E61-839B-6A158450CB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81883" y="3207482"/>
              <a:ext cx="199126" cy="259258"/>
            </a:xfrm>
            <a:custGeom>
              <a:avLst/>
              <a:gdLst/>
              <a:ahLst/>
              <a:cxnLst>
                <a:cxn ang="0">
                  <a:pos x="9" y="108"/>
                </a:cxn>
                <a:cxn ang="0">
                  <a:pos x="0" y="94"/>
                </a:cxn>
                <a:cxn ang="0">
                  <a:pos x="0" y="81"/>
                </a:cxn>
                <a:cxn ang="0">
                  <a:pos x="9" y="72"/>
                </a:cxn>
                <a:cxn ang="0">
                  <a:pos x="14" y="54"/>
                </a:cxn>
                <a:cxn ang="0">
                  <a:pos x="18" y="45"/>
                </a:cxn>
                <a:cxn ang="0">
                  <a:pos x="14" y="36"/>
                </a:cxn>
                <a:cxn ang="0">
                  <a:pos x="18" y="36"/>
                </a:cxn>
                <a:cxn ang="0">
                  <a:pos x="27" y="32"/>
                </a:cxn>
                <a:cxn ang="0">
                  <a:pos x="32" y="36"/>
                </a:cxn>
                <a:cxn ang="0">
                  <a:pos x="36" y="32"/>
                </a:cxn>
                <a:cxn ang="0">
                  <a:pos x="41" y="27"/>
                </a:cxn>
                <a:cxn ang="0">
                  <a:pos x="50" y="27"/>
                </a:cxn>
                <a:cxn ang="0">
                  <a:pos x="45" y="18"/>
                </a:cxn>
                <a:cxn ang="0">
                  <a:pos x="45" y="14"/>
                </a:cxn>
                <a:cxn ang="0">
                  <a:pos x="58" y="0"/>
                </a:cxn>
                <a:cxn ang="0">
                  <a:pos x="58" y="14"/>
                </a:cxn>
                <a:cxn ang="0">
                  <a:pos x="67" y="14"/>
                </a:cxn>
                <a:cxn ang="0">
                  <a:pos x="72" y="9"/>
                </a:cxn>
                <a:cxn ang="0">
                  <a:pos x="67" y="18"/>
                </a:cxn>
                <a:cxn ang="0">
                  <a:pos x="63" y="23"/>
                </a:cxn>
                <a:cxn ang="0">
                  <a:pos x="72" y="27"/>
                </a:cxn>
                <a:cxn ang="0">
                  <a:pos x="76" y="23"/>
                </a:cxn>
                <a:cxn ang="0">
                  <a:pos x="90" y="14"/>
                </a:cxn>
                <a:cxn ang="0">
                  <a:pos x="94" y="18"/>
                </a:cxn>
                <a:cxn ang="0">
                  <a:pos x="108" y="23"/>
                </a:cxn>
                <a:cxn ang="0">
                  <a:pos x="112" y="27"/>
                </a:cxn>
                <a:cxn ang="0">
                  <a:pos x="112" y="50"/>
                </a:cxn>
                <a:cxn ang="0">
                  <a:pos x="121" y="72"/>
                </a:cxn>
                <a:cxn ang="0">
                  <a:pos x="125" y="90"/>
                </a:cxn>
                <a:cxn ang="0">
                  <a:pos x="121" y="99"/>
                </a:cxn>
                <a:cxn ang="0">
                  <a:pos x="103" y="108"/>
                </a:cxn>
                <a:cxn ang="0">
                  <a:pos x="90" y="117"/>
                </a:cxn>
                <a:cxn ang="0">
                  <a:pos x="90" y="126"/>
                </a:cxn>
                <a:cxn ang="0">
                  <a:pos x="103" y="135"/>
                </a:cxn>
                <a:cxn ang="0">
                  <a:pos x="112" y="148"/>
                </a:cxn>
                <a:cxn ang="0">
                  <a:pos x="99" y="157"/>
                </a:cxn>
                <a:cxn ang="0">
                  <a:pos x="103" y="166"/>
                </a:cxn>
                <a:cxn ang="0">
                  <a:pos x="94" y="170"/>
                </a:cxn>
                <a:cxn ang="0">
                  <a:pos x="54" y="170"/>
                </a:cxn>
                <a:cxn ang="0">
                  <a:pos x="36" y="170"/>
                </a:cxn>
                <a:cxn ang="0">
                  <a:pos x="27" y="170"/>
                </a:cxn>
                <a:cxn ang="0">
                  <a:pos x="32" y="143"/>
                </a:cxn>
                <a:cxn ang="0">
                  <a:pos x="23" y="135"/>
                </a:cxn>
                <a:cxn ang="0">
                  <a:pos x="9" y="130"/>
                </a:cxn>
                <a:cxn ang="0">
                  <a:pos x="5" y="121"/>
                </a:cxn>
                <a:cxn ang="0">
                  <a:pos x="103" y="9"/>
                </a:cxn>
                <a:cxn ang="0">
                  <a:pos x="108" y="18"/>
                </a:cxn>
                <a:cxn ang="0">
                  <a:pos x="103" y="9"/>
                </a:cxn>
              </a:cxnLst>
              <a:rect l="0" t="0" r="r" b="b"/>
              <a:pathLst>
                <a:path w="125" h="175">
                  <a:moveTo>
                    <a:pt x="5" y="117"/>
                  </a:moveTo>
                  <a:lnTo>
                    <a:pt x="9" y="108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5" y="85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8" y="45"/>
                  </a:lnTo>
                  <a:lnTo>
                    <a:pt x="14" y="45"/>
                  </a:lnTo>
                  <a:lnTo>
                    <a:pt x="14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27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1" y="27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45" y="23"/>
                  </a:lnTo>
                  <a:lnTo>
                    <a:pt x="45" y="18"/>
                  </a:lnTo>
                  <a:lnTo>
                    <a:pt x="41" y="14"/>
                  </a:lnTo>
                  <a:lnTo>
                    <a:pt x="45" y="14"/>
                  </a:lnTo>
                  <a:lnTo>
                    <a:pt x="41" y="5"/>
                  </a:lnTo>
                  <a:lnTo>
                    <a:pt x="58" y="0"/>
                  </a:lnTo>
                  <a:lnTo>
                    <a:pt x="58" y="9"/>
                  </a:lnTo>
                  <a:lnTo>
                    <a:pt x="58" y="14"/>
                  </a:lnTo>
                  <a:lnTo>
                    <a:pt x="63" y="18"/>
                  </a:lnTo>
                  <a:lnTo>
                    <a:pt x="67" y="14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14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72" y="27"/>
                  </a:lnTo>
                  <a:lnTo>
                    <a:pt x="76" y="27"/>
                  </a:lnTo>
                  <a:lnTo>
                    <a:pt x="76" y="23"/>
                  </a:lnTo>
                  <a:lnTo>
                    <a:pt x="85" y="23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9" y="18"/>
                  </a:lnTo>
                  <a:lnTo>
                    <a:pt x="108" y="23"/>
                  </a:lnTo>
                  <a:lnTo>
                    <a:pt x="108" y="27"/>
                  </a:lnTo>
                  <a:lnTo>
                    <a:pt x="112" y="27"/>
                  </a:lnTo>
                  <a:lnTo>
                    <a:pt x="112" y="36"/>
                  </a:lnTo>
                  <a:lnTo>
                    <a:pt x="112" y="50"/>
                  </a:lnTo>
                  <a:lnTo>
                    <a:pt x="121" y="59"/>
                  </a:lnTo>
                  <a:lnTo>
                    <a:pt x="121" y="72"/>
                  </a:lnTo>
                  <a:lnTo>
                    <a:pt x="121" y="85"/>
                  </a:lnTo>
                  <a:lnTo>
                    <a:pt x="125" y="90"/>
                  </a:lnTo>
                  <a:lnTo>
                    <a:pt x="125" y="99"/>
                  </a:lnTo>
                  <a:lnTo>
                    <a:pt x="121" y="99"/>
                  </a:lnTo>
                  <a:lnTo>
                    <a:pt x="117" y="108"/>
                  </a:lnTo>
                  <a:lnTo>
                    <a:pt x="103" y="108"/>
                  </a:lnTo>
                  <a:lnTo>
                    <a:pt x="94" y="117"/>
                  </a:lnTo>
                  <a:lnTo>
                    <a:pt x="90" y="117"/>
                  </a:lnTo>
                  <a:lnTo>
                    <a:pt x="85" y="117"/>
                  </a:lnTo>
                  <a:lnTo>
                    <a:pt x="90" y="126"/>
                  </a:lnTo>
                  <a:lnTo>
                    <a:pt x="94" y="135"/>
                  </a:lnTo>
                  <a:lnTo>
                    <a:pt x="103" y="135"/>
                  </a:lnTo>
                  <a:lnTo>
                    <a:pt x="112" y="143"/>
                  </a:lnTo>
                  <a:lnTo>
                    <a:pt x="112" y="148"/>
                  </a:lnTo>
                  <a:lnTo>
                    <a:pt x="108" y="152"/>
                  </a:lnTo>
                  <a:lnTo>
                    <a:pt x="99" y="157"/>
                  </a:lnTo>
                  <a:lnTo>
                    <a:pt x="94" y="161"/>
                  </a:lnTo>
                  <a:lnTo>
                    <a:pt x="103" y="166"/>
                  </a:lnTo>
                  <a:lnTo>
                    <a:pt x="99" y="175"/>
                  </a:lnTo>
                  <a:lnTo>
                    <a:pt x="94" y="170"/>
                  </a:lnTo>
                  <a:lnTo>
                    <a:pt x="76" y="175"/>
                  </a:lnTo>
                  <a:lnTo>
                    <a:pt x="54" y="170"/>
                  </a:lnTo>
                  <a:lnTo>
                    <a:pt x="45" y="170"/>
                  </a:lnTo>
                  <a:lnTo>
                    <a:pt x="36" y="170"/>
                  </a:lnTo>
                  <a:lnTo>
                    <a:pt x="27" y="175"/>
                  </a:lnTo>
                  <a:lnTo>
                    <a:pt x="27" y="170"/>
                  </a:lnTo>
                  <a:lnTo>
                    <a:pt x="27" y="157"/>
                  </a:lnTo>
                  <a:lnTo>
                    <a:pt x="32" y="143"/>
                  </a:lnTo>
                  <a:lnTo>
                    <a:pt x="27" y="135"/>
                  </a:lnTo>
                  <a:lnTo>
                    <a:pt x="23" y="135"/>
                  </a:lnTo>
                  <a:lnTo>
                    <a:pt x="9" y="139"/>
                  </a:lnTo>
                  <a:lnTo>
                    <a:pt x="9" y="130"/>
                  </a:lnTo>
                  <a:lnTo>
                    <a:pt x="9" y="126"/>
                  </a:lnTo>
                  <a:lnTo>
                    <a:pt x="5" y="121"/>
                  </a:lnTo>
                  <a:lnTo>
                    <a:pt x="5" y="117"/>
                  </a:lnTo>
                  <a:close/>
                  <a:moveTo>
                    <a:pt x="103" y="9"/>
                  </a:moveTo>
                  <a:lnTo>
                    <a:pt x="99" y="18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3" y="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7" name="Freeform 176">
              <a:extLst>
                <a:ext uri="{FF2B5EF4-FFF2-40B4-BE49-F238E27FC236}">
                  <a16:creationId xmlns:a16="http://schemas.microsoft.com/office/drawing/2014/main" id="{59B40B9E-7CEF-423B-B739-72BB97814B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02078" y="3644517"/>
              <a:ext cx="186382" cy="186666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4" y="63"/>
                </a:cxn>
                <a:cxn ang="0">
                  <a:pos x="41" y="63"/>
                </a:cxn>
                <a:cxn ang="0">
                  <a:pos x="41" y="72"/>
                </a:cxn>
                <a:cxn ang="0">
                  <a:pos x="14" y="67"/>
                </a:cxn>
                <a:cxn ang="0">
                  <a:pos x="23" y="94"/>
                </a:cxn>
                <a:cxn ang="0">
                  <a:pos x="36" y="94"/>
                </a:cxn>
                <a:cxn ang="0">
                  <a:pos x="41" y="99"/>
                </a:cxn>
                <a:cxn ang="0">
                  <a:pos x="41" y="81"/>
                </a:cxn>
                <a:cxn ang="0">
                  <a:pos x="50" y="81"/>
                </a:cxn>
                <a:cxn ang="0">
                  <a:pos x="54" y="76"/>
                </a:cxn>
                <a:cxn ang="0">
                  <a:pos x="45" y="59"/>
                </a:cxn>
                <a:cxn ang="0">
                  <a:pos x="36" y="50"/>
                </a:cxn>
                <a:cxn ang="0">
                  <a:pos x="36" y="27"/>
                </a:cxn>
                <a:cxn ang="0">
                  <a:pos x="45" y="32"/>
                </a:cxn>
                <a:cxn ang="0">
                  <a:pos x="58" y="27"/>
                </a:cxn>
                <a:cxn ang="0">
                  <a:pos x="72" y="9"/>
                </a:cxn>
                <a:cxn ang="0">
                  <a:pos x="72" y="5"/>
                </a:cxn>
                <a:cxn ang="0">
                  <a:pos x="45" y="5"/>
                </a:cxn>
                <a:cxn ang="0">
                  <a:pos x="27" y="14"/>
                </a:cxn>
                <a:cxn ang="0">
                  <a:pos x="5" y="41"/>
                </a:cxn>
                <a:cxn ang="0">
                  <a:pos x="54" y="59"/>
                </a:cxn>
                <a:cxn ang="0">
                  <a:pos x="67" y="72"/>
                </a:cxn>
                <a:cxn ang="0">
                  <a:pos x="58" y="54"/>
                </a:cxn>
                <a:cxn ang="0">
                  <a:pos x="41" y="50"/>
                </a:cxn>
                <a:cxn ang="0">
                  <a:pos x="50" y="112"/>
                </a:cxn>
                <a:cxn ang="0">
                  <a:pos x="63" y="126"/>
                </a:cxn>
                <a:cxn ang="0">
                  <a:pos x="81" y="117"/>
                </a:cxn>
                <a:cxn ang="0">
                  <a:pos x="63" y="112"/>
                </a:cxn>
                <a:cxn ang="0">
                  <a:pos x="58" y="90"/>
                </a:cxn>
                <a:cxn ang="0">
                  <a:pos x="58" y="90"/>
                </a:cxn>
                <a:cxn ang="0">
                  <a:pos x="72" y="85"/>
                </a:cxn>
                <a:cxn ang="0">
                  <a:pos x="76" y="81"/>
                </a:cxn>
                <a:cxn ang="0">
                  <a:pos x="81" y="90"/>
                </a:cxn>
                <a:cxn ang="0">
                  <a:pos x="81" y="90"/>
                </a:cxn>
                <a:cxn ang="0">
                  <a:pos x="85" y="45"/>
                </a:cxn>
                <a:cxn ang="0">
                  <a:pos x="90" y="45"/>
                </a:cxn>
                <a:cxn ang="0">
                  <a:pos x="81" y="76"/>
                </a:cxn>
                <a:cxn ang="0">
                  <a:pos x="81" y="76"/>
                </a:cxn>
                <a:cxn ang="0">
                  <a:pos x="85" y="63"/>
                </a:cxn>
                <a:cxn ang="0">
                  <a:pos x="112" y="99"/>
                </a:cxn>
                <a:cxn ang="0">
                  <a:pos x="112" y="108"/>
                </a:cxn>
                <a:cxn ang="0">
                  <a:pos x="112" y="99"/>
                </a:cxn>
              </a:cxnLst>
              <a:rect l="0" t="0" r="r" b="b"/>
              <a:pathLst>
                <a:path w="117" h="126">
                  <a:moveTo>
                    <a:pt x="0" y="41"/>
                  </a:moveTo>
                  <a:lnTo>
                    <a:pt x="5" y="45"/>
                  </a:lnTo>
                  <a:lnTo>
                    <a:pt x="9" y="45"/>
                  </a:lnTo>
                  <a:lnTo>
                    <a:pt x="14" y="50"/>
                  </a:lnTo>
                  <a:lnTo>
                    <a:pt x="9" y="50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36" y="59"/>
                  </a:lnTo>
                  <a:lnTo>
                    <a:pt x="41" y="63"/>
                  </a:lnTo>
                  <a:lnTo>
                    <a:pt x="41" y="67"/>
                  </a:lnTo>
                  <a:lnTo>
                    <a:pt x="45" y="72"/>
                  </a:lnTo>
                  <a:lnTo>
                    <a:pt x="41" y="72"/>
                  </a:lnTo>
                  <a:lnTo>
                    <a:pt x="27" y="63"/>
                  </a:lnTo>
                  <a:lnTo>
                    <a:pt x="23" y="63"/>
                  </a:lnTo>
                  <a:lnTo>
                    <a:pt x="14" y="67"/>
                  </a:lnTo>
                  <a:lnTo>
                    <a:pt x="18" y="76"/>
                  </a:lnTo>
                  <a:lnTo>
                    <a:pt x="23" y="85"/>
                  </a:lnTo>
                  <a:lnTo>
                    <a:pt x="23" y="94"/>
                  </a:lnTo>
                  <a:lnTo>
                    <a:pt x="27" y="85"/>
                  </a:lnTo>
                  <a:lnTo>
                    <a:pt x="32" y="99"/>
                  </a:lnTo>
                  <a:lnTo>
                    <a:pt x="36" y="94"/>
                  </a:lnTo>
                  <a:lnTo>
                    <a:pt x="36" y="90"/>
                  </a:lnTo>
                  <a:lnTo>
                    <a:pt x="41" y="94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45" y="81"/>
                  </a:lnTo>
                  <a:lnTo>
                    <a:pt x="50" y="81"/>
                  </a:lnTo>
                  <a:lnTo>
                    <a:pt x="45" y="76"/>
                  </a:lnTo>
                  <a:lnTo>
                    <a:pt x="50" y="72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59"/>
                  </a:lnTo>
                  <a:lnTo>
                    <a:pt x="41" y="54"/>
                  </a:lnTo>
                  <a:lnTo>
                    <a:pt x="32" y="50"/>
                  </a:lnTo>
                  <a:lnTo>
                    <a:pt x="36" y="50"/>
                  </a:lnTo>
                  <a:lnTo>
                    <a:pt x="41" y="45"/>
                  </a:lnTo>
                  <a:lnTo>
                    <a:pt x="45" y="45"/>
                  </a:lnTo>
                  <a:lnTo>
                    <a:pt x="36" y="27"/>
                  </a:lnTo>
                  <a:lnTo>
                    <a:pt x="36" y="18"/>
                  </a:lnTo>
                  <a:lnTo>
                    <a:pt x="41" y="27"/>
                  </a:lnTo>
                  <a:lnTo>
                    <a:pt x="45" y="32"/>
                  </a:lnTo>
                  <a:lnTo>
                    <a:pt x="54" y="32"/>
                  </a:lnTo>
                  <a:lnTo>
                    <a:pt x="54" y="23"/>
                  </a:lnTo>
                  <a:lnTo>
                    <a:pt x="58" y="27"/>
                  </a:lnTo>
                  <a:lnTo>
                    <a:pt x="50" y="18"/>
                  </a:lnTo>
                  <a:lnTo>
                    <a:pt x="58" y="9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85" y="5"/>
                  </a:lnTo>
                  <a:lnTo>
                    <a:pt x="72" y="5"/>
                  </a:lnTo>
                  <a:lnTo>
                    <a:pt x="63" y="0"/>
                  </a:lnTo>
                  <a:lnTo>
                    <a:pt x="54" y="5"/>
                  </a:lnTo>
                  <a:lnTo>
                    <a:pt x="45" y="5"/>
                  </a:lnTo>
                  <a:lnTo>
                    <a:pt x="36" y="9"/>
                  </a:lnTo>
                  <a:lnTo>
                    <a:pt x="32" y="9"/>
                  </a:lnTo>
                  <a:lnTo>
                    <a:pt x="27" y="14"/>
                  </a:lnTo>
                  <a:lnTo>
                    <a:pt x="18" y="18"/>
                  </a:lnTo>
                  <a:lnTo>
                    <a:pt x="5" y="32"/>
                  </a:lnTo>
                  <a:lnTo>
                    <a:pt x="5" y="41"/>
                  </a:lnTo>
                  <a:lnTo>
                    <a:pt x="0" y="41"/>
                  </a:lnTo>
                  <a:close/>
                  <a:moveTo>
                    <a:pt x="41" y="50"/>
                  </a:moveTo>
                  <a:lnTo>
                    <a:pt x="54" y="59"/>
                  </a:lnTo>
                  <a:lnTo>
                    <a:pt x="58" y="67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58" y="63"/>
                  </a:lnTo>
                  <a:lnTo>
                    <a:pt x="58" y="59"/>
                  </a:lnTo>
                  <a:lnTo>
                    <a:pt x="58" y="54"/>
                  </a:lnTo>
                  <a:lnTo>
                    <a:pt x="50" y="54"/>
                  </a:lnTo>
                  <a:lnTo>
                    <a:pt x="45" y="50"/>
                  </a:lnTo>
                  <a:lnTo>
                    <a:pt x="41" y="50"/>
                  </a:lnTo>
                  <a:close/>
                  <a:moveTo>
                    <a:pt x="58" y="108"/>
                  </a:moveTo>
                  <a:lnTo>
                    <a:pt x="54" y="108"/>
                  </a:lnTo>
                  <a:lnTo>
                    <a:pt x="50" y="112"/>
                  </a:lnTo>
                  <a:lnTo>
                    <a:pt x="50" y="117"/>
                  </a:lnTo>
                  <a:lnTo>
                    <a:pt x="63" y="117"/>
                  </a:lnTo>
                  <a:lnTo>
                    <a:pt x="63" y="126"/>
                  </a:lnTo>
                  <a:lnTo>
                    <a:pt x="90" y="121"/>
                  </a:lnTo>
                  <a:lnTo>
                    <a:pt x="90" y="112"/>
                  </a:lnTo>
                  <a:lnTo>
                    <a:pt x="81" y="117"/>
                  </a:lnTo>
                  <a:lnTo>
                    <a:pt x="81" y="112"/>
                  </a:lnTo>
                  <a:lnTo>
                    <a:pt x="67" y="112"/>
                  </a:lnTo>
                  <a:lnTo>
                    <a:pt x="63" y="112"/>
                  </a:lnTo>
                  <a:lnTo>
                    <a:pt x="58" y="108"/>
                  </a:lnTo>
                  <a:close/>
                  <a:moveTo>
                    <a:pt x="58" y="90"/>
                  </a:moveTo>
                  <a:lnTo>
                    <a:pt x="58" y="90"/>
                  </a:lnTo>
                  <a:lnTo>
                    <a:pt x="58" y="94"/>
                  </a:lnTo>
                  <a:lnTo>
                    <a:pt x="63" y="90"/>
                  </a:lnTo>
                  <a:lnTo>
                    <a:pt x="58" y="90"/>
                  </a:lnTo>
                  <a:close/>
                  <a:moveTo>
                    <a:pt x="72" y="81"/>
                  </a:moveTo>
                  <a:lnTo>
                    <a:pt x="72" y="85"/>
                  </a:lnTo>
                  <a:lnTo>
                    <a:pt x="72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1"/>
                  </a:lnTo>
                  <a:lnTo>
                    <a:pt x="72" y="85"/>
                  </a:lnTo>
                  <a:lnTo>
                    <a:pt x="72" y="81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5" y="85"/>
                  </a:lnTo>
                  <a:lnTo>
                    <a:pt x="81" y="90"/>
                  </a:lnTo>
                  <a:close/>
                  <a:moveTo>
                    <a:pt x="81" y="41"/>
                  </a:moveTo>
                  <a:lnTo>
                    <a:pt x="81" y="41"/>
                  </a:lnTo>
                  <a:lnTo>
                    <a:pt x="85" y="45"/>
                  </a:lnTo>
                  <a:lnTo>
                    <a:pt x="90" y="45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90" y="41"/>
                  </a:lnTo>
                  <a:lnTo>
                    <a:pt x="81" y="41"/>
                  </a:lnTo>
                  <a:close/>
                  <a:moveTo>
                    <a:pt x="81" y="76"/>
                  </a:moveTo>
                  <a:lnTo>
                    <a:pt x="85" y="76"/>
                  </a:lnTo>
                  <a:lnTo>
                    <a:pt x="90" y="76"/>
                  </a:lnTo>
                  <a:lnTo>
                    <a:pt x="81" y="76"/>
                  </a:lnTo>
                  <a:close/>
                  <a:moveTo>
                    <a:pt x="85" y="54"/>
                  </a:moveTo>
                  <a:lnTo>
                    <a:pt x="81" y="59"/>
                  </a:lnTo>
                  <a:lnTo>
                    <a:pt x="85" y="63"/>
                  </a:lnTo>
                  <a:lnTo>
                    <a:pt x="85" y="59"/>
                  </a:lnTo>
                  <a:lnTo>
                    <a:pt x="85" y="54"/>
                  </a:lnTo>
                  <a:close/>
                  <a:moveTo>
                    <a:pt x="112" y="99"/>
                  </a:moveTo>
                  <a:lnTo>
                    <a:pt x="108" y="103"/>
                  </a:lnTo>
                  <a:lnTo>
                    <a:pt x="108" y="112"/>
                  </a:lnTo>
                  <a:lnTo>
                    <a:pt x="112" y="108"/>
                  </a:lnTo>
                  <a:lnTo>
                    <a:pt x="117" y="108"/>
                  </a:lnTo>
                  <a:lnTo>
                    <a:pt x="117" y="99"/>
                  </a:lnTo>
                  <a:lnTo>
                    <a:pt x="112" y="9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8" name="Freeform 177">
              <a:extLst>
                <a:ext uri="{FF2B5EF4-FFF2-40B4-BE49-F238E27FC236}">
                  <a16:creationId xmlns:a16="http://schemas.microsoft.com/office/drawing/2014/main" id="{0C34592E-7C8A-4ED7-B122-7F74D222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9684" y="3426740"/>
              <a:ext cx="157708" cy="93333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5" y="36"/>
                </a:cxn>
                <a:cxn ang="0">
                  <a:pos x="5" y="31"/>
                </a:cxn>
                <a:cxn ang="0">
                  <a:pos x="5" y="27"/>
                </a:cxn>
                <a:cxn ang="0">
                  <a:pos x="5" y="22"/>
                </a:cxn>
                <a:cxn ang="0">
                  <a:pos x="14" y="22"/>
                </a:cxn>
                <a:cxn ang="0">
                  <a:pos x="18" y="13"/>
                </a:cxn>
                <a:cxn ang="0">
                  <a:pos x="18" y="9"/>
                </a:cxn>
                <a:cxn ang="0">
                  <a:pos x="23" y="13"/>
                </a:cxn>
                <a:cxn ang="0">
                  <a:pos x="41" y="13"/>
                </a:cxn>
                <a:cxn ang="0">
                  <a:pos x="45" y="9"/>
                </a:cxn>
                <a:cxn ang="0">
                  <a:pos x="54" y="9"/>
                </a:cxn>
                <a:cxn ang="0">
                  <a:pos x="63" y="0"/>
                </a:cxn>
                <a:cxn ang="0">
                  <a:pos x="72" y="4"/>
                </a:cxn>
                <a:cxn ang="0">
                  <a:pos x="76" y="0"/>
                </a:cxn>
                <a:cxn ang="0">
                  <a:pos x="81" y="4"/>
                </a:cxn>
                <a:cxn ang="0">
                  <a:pos x="90" y="4"/>
                </a:cxn>
                <a:cxn ang="0">
                  <a:pos x="99" y="18"/>
                </a:cxn>
                <a:cxn ang="0">
                  <a:pos x="99" y="22"/>
                </a:cxn>
                <a:cxn ang="0">
                  <a:pos x="85" y="27"/>
                </a:cxn>
                <a:cxn ang="0">
                  <a:pos x="76" y="45"/>
                </a:cxn>
                <a:cxn ang="0">
                  <a:pos x="76" y="49"/>
                </a:cxn>
                <a:cxn ang="0">
                  <a:pos x="67" y="54"/>
                </a:cxn>
                <a:cxn ang="0">
                  <a:pos x="63" y="54"/>
                </a:cxn>
                <a:cxn ang="0">
                  <a:pos x="49" y="54"/>
                </a:cxn>
                <a:cxn ang="0">
                  <a:pos x="36" y="58"/>
                </a:cxn>
                <a:cxn ang="0">
                  <a:pos x="27" y="63"/>
                </a:cxn>
                <a:cxn ang="0">
                  <a:pos x="9" y="58"/>
                </a:cxn>
                <a:cxn ang="0">
                  <a:pos x="5" y="49"/>
                </a:cxn>
                <a:cxn ang="0">
                  <a:pos x="5" y="49"/>
                </a:cxn>
                <a:cxn ang="0">
                  <a:pos x="0" y="40"/>
                </a:cxn>
              </a:cxnLst>
              <a:rect l="0" t="0" r="r" b="b"/>
              <a:pathLst>
                <a:path w="99" h="63">
                  <a:moveTo>
                    <a:pt x="0" y="40"/>
                  </a:moveTo>
                  <a:lnTo>
                    <a:pt x="5" y="36"/>
                  </a:lnTo>
                  <a:lnTo>
                    <a:pt x="5" y="31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23" y="13"/>
                  </a:lnTo>
                  <a:lnTo>
                    <a:pt x="41" y="13"/>
                  </a:lnTo>
                  <a:lnTo>
                    <a:pt x="45" y="9"/>
                  </a:lnTo>
                  <a:lnTo>
                    <a:pt x="54" y="9"/>
                  </a:lnTo>
                  <a:lnTo>
                    <a:pt x="63" y="0"/>
                  </a:lnTo>
                  <a:lnTo>
                    <a:pt x="72" y="4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90" y="4"/>
                  </a:lnTo>
                  <a:lnTo>
                    <a:pt x="99" y="18"/>
                  </a:lnTo>
                  <a:lnTo>
                    <a:pt x="99" y="22"/>
                  </a:lnTo>
                  <a:lnTo>
                    <a:pt x="85" y="27"/>
                  </a:lnTo>
                  <a:lnTo>
                    <a:pt x="76" y="45"/>
                  </a:lnTo>
                  <a:lnTo>
                    <a:pt x="76" y="49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49" y="54"/>
                  </a:lnTo>
                  <a:lnTo>
                    <a:pt x="36" y="58"/>
                  </a:lnTo>
                  <a:lnTo>
                    <a:pt x="27" y="63"/>
                  </a:lnTo>
                  <a:lnTo>
                    <a:pt x="9" y="5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9" name="Freeform 178">
              <a:extLst>
                <a:ext uri="{FF2B5EF4-FFF2-40B4-BE49-F238E27FC236}">
                  <a16:creationId xmlns:a16="http://schemas.microsoft.com/office/drawing/2014/main" id="{EC956E60-0D32-40FA-A1FF-7BC57EABAC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110" y="2691929"/>
              <a:ext cx="248510" cy="152592"/>
            </a:xfrm>
            <a:custGeom>
              <a:avLst/>
              <a:gdLst/>
              <a:ahLst/>
              <a:cxnLst>
                <a:cxn ang="0">
                  <a:pos x="45" y="85"/>
                </a:cxn>
                <a:cxn ang="0">
                  <a:pos x="81" y="103"/>
                </a:cxn>
                <a:cxn ang="0">
                  <a:pos x="98" y="89"/>
                </a:cxn>
                <a:cxn ang="0">
                  <a:pos x="121" y="76"/>
                </a:cxn>
                <a:cxn ang="0">
                  <a:pos x="134" y="71"/>
                </a:cxn>
                <a:cxn ang="0">
                  <a:pos x="148" y="62"/>
                </a:cxn>
                <a:cxn ang="0">
                  <a:pos x="152" y="54"/>
                </a:cxn>
                <a:cxn ang="0">
                  <a:pos x="152" y="45"/>
                </a:cxn>
                <a:cxn ang="0">
                  <a:pos x="148" y="31"/>
                </a:cxn>
                <a:cxn ang="0">
                  <a:pos x="143" y="27"/>
                </a:cxn>
                <a:cxn ang="0">
                  <a:pos x="143" y="18"/>
                </a:cxn>
                <a:cxn ang="0">
                  <a:pos x="134" y="13"/>
                </a:cxn>
                <a:cxn ang="0">
                  <a:pos x="139" y="0"/>
                </a:cxn>
                <a:cxn ang="0">
                  <a:pos x="125" y="9"/>
                </a:cxn>
                <a:cxn ang="0">
                  <a:pos x="107" y="0"/>
                </a:cxn>
                <a:cxn ang="0">
                  <a:pos x="107" y="13"/>
                </a:cxn>
                <a:cxn ang="0">
                  <a:pos x="98" y="18"/>
                </a:cxn>
                <a:cxn ang="0">
                  <a:pos x="85" y="13"/>
                </a:cxn>
                <a:cxn ang="0">
                  <a:pos x="76" y="13"/>
                </a:cxn>
                <a:cxn ang="0">
                  <a:pos x="72" y="27"/>
                </a:cxn>
                <a:cxn ang="0">
                  <a:pos x="58" y="13"/>
                </a:cxn>
                <a:cxn ang="0">
                  <a:pos x="54" y="31"/>
                </a:cxn>
                <a:cxn ang="0">
                  <a:pos x="40" y="27"/>
                </a:cxn>
                <a:cxn ang="0">
                  <a:pos x="45" y="13"/>
                </a:cxn>
                <a:cxn ang="0">
                  <a:pos x="18" y="0"/>
                </a:cxn>
                <a:cxn ang="0">
                  <a:pos x="22" y="9"/>
                </a:cxn>
                <a:cxn ang="0">
                  <a:pos x="22" y="13"/>
                </a:cxn>
                <a:cxn ang="0">
                  <a:pos x="9" y="13"/>
                </a:cxn>
                <a:cxn ang="0">
                  <a:pos x="14" y="27"/>
                </a:cxn>
                <a:cxn ang="0">
                  <a:pos x="9" y="31"/>
                </a:cxn>
                <a:cxn ang="0">
                  <a:pos x="0" y="36"/>
                </a:cxn>
                <a:cxn ang="0">
                  <a:pos x="27" y="36"/>
                </a:cxn>
                <a:cxn ang="0">
                  <a:pos x="31" y="45"/>
                </a:cxn>
                <a:cxn ang="0">
                  <a:pos x="27" y="49"/>
                </a:cxn>
                <a:cxn ang="0">
                  <a:pos x="9" y="67"/>
                </a:cxn>
                <a:cxn ang="0">
                  <a:pos x="31" y="62"/>
                </a:cxn>
                <a:cxn ang="0">
                  <a:pos x="36" y="62"/>
                </a:cxn>
                <a:cxn ang="0">
                  <a:pos x="22" y="80"/>
                </a:cxn>
              </a:cxnLst>
              <a:rect l="0" t="0" r="r" b="b"/>
              <a:pathLst>
                <a:path w="156" h="103">
                  <a:moveTo>
                    <a:pt x="27" y="89"/>
                  </a:moveTo>
                  <a:lnTo>
                    <a:pt x="45" y="85"/>
                  </a:lnTo>
                  <a:lnTo>
                    <a:pt x="63" y="98"/>
                  </a:lnTo>
                  <a:lnTo>
                    <a:pt x="81" y="103"/>
                  </a:lnTo>
                  <a:lnTo>
                    <a:pt x="94" y="98"/>
                  </a:lnTo>
                  <a:lnTo>
                    <a:pt x="98" y="89"/>
                  </a:lnTo>
                  <a:lnTo>
                    <a:pt x="112" y="89"/>
                  </a:lnTo>
                  <a:lnTo>
                    <a:pt x="121" y="76"/>
                  </a:lnTo>
                  <a:lnTo>
                    <a:pt x="130" y="71"/>
                  </a:lnTo>
                  <a:lnTo>
                    <a:pt x="134" y="71"/>
                  </a:lnTo>
                  <a:lnTo>
                    <a:pt x="143" y="67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2" y="54"/>
                  </a:lnTo>
                  <a:lnTo>
                    <a:pt x="156" y="49"/>
                  </a:lnTo>
                  <a:lnTo>
                    <a:pt x="152" y="45"/>
                  </a:lnTo>
                  <a:lnTo>
                    <a:pt x="152" y="36"/>
                  </a:lnTo>
                  <a:lnTo>
                    <a:pt x="148" y="31"/>
                  </a:lnTo>
                  <a:lnTo>
                    <a:pt x="143" y="36"/>
                  </a:lnTo>
                  <a:lnTo>
                    <a:pt x="143" y="27"/>
                  </a:lnTo>
                  <a:lnTo>
                    <a:pt x="139" y="27"/>
                  </a:lnTo>
                  <a:lnTo>
                    <a:pt x="143" y="18"/>
                  </a:lnTo>
                  <a:lnTo>
                    <a:pt x="139" y="22"/>
                  </a:lnTo>
                  <a:lnTo>
                    <a:pt x="134" y="13"/>
                  </a:lnTo>
                  <a:lnTo>
                    <a:pt x="143" y="4"/>
                  </a:lnTo>
                  <a:lnTo>
                    <a:pt x="139" y="0"/>
                  </a:lnTo>
                  <a:lnTo>
                    <a:pt x="130" y="13"/>
                  </a:lnTo>
                  <a:lnTo>
                    <a:pt x="125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112" y="9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8"/>
                  </a:lnTo>
                  <a:lnTo>
                    <a:pt x="89" y="9"/>
                  </a:lnTo>
                  <a:lnTo>
                    <a:pt x="85" y="13"/>
                  </a:lnTo>
                  <a:lnTo>
                    <a:pt x="89" y="27"/>
                  </a:lnTo>
                  <a:lnTo>
                    <a:pt x="76" y="13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58" y="31"/>
                  </a:lnTo>
                  <a:lnTo>
                    <a:pt x="54" y="31"/>
                  </a:lnTo>
                  <a:lnTo>
                    <a:pt x="45" y="40"/>
                  </a:lnTo>
                  <a:lnTo>
                    <a:pt x="40" y="27"/>
                  </a:lnTo>
                  <a:lnTo>
                    <a:pt x="45" y="22"/>
                  </a:lnTo>
                  <a:lnTo>
                    <a:pt x="45" y="13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22" y="9"/>
                  </a:lnTo>
                  <a:lnTo>
                    <a:pt x="27" y="18"/>
                  </a:lnTo>
                  <a:lnTo>
                    <a:pt x="22" y="13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14" y="18"/>
                  </a:lnTo>
                  <a:lnTo>
                    <a:pt x="14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5" y="31"/>
                  </a:lnTo>
                  <a:lnTo>
                    <a:pt x="0" y="36"/>
                  </a:lnTo>
                  <a:lnTo>
                    <a:pt x="14" y="40"/>
                  </a:lnTo>
                  <a:lnTo>
                    <a:pt x="27" y="36"/>
                  </a:lnTo>
                  <a:lnTo>
                    <a:pt x="36" y="36"/>
                  </a:lnTo>
                  <a:lnTo>
                    <a:pt x="31" y="45"/>
                  </a:lnTo>
                  <a:lnTo>
                    <a:pt x="31" y="49"/>
                  </a:lnTo>
                  <a:lnTo>
                    <a:pt x="27" y="49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14" y="62"/>
                  </a:lnTo>
                  <a:lnTo>
                    <a:pt x="31" y="62"/>
                  </a:lnTo>
                  <a:lnTo>
                    <a:pt x="31" y="67"/>
                  </a:lnTo>
                  <a:lnTo>
                    <a:pt x="36" y="62"/>
                  </a:lnTo>
                  <a:lnTo>
                    <a:pt x="31" y="80"/>
                  </a:lnTo>
                  <a:lnTo>
                    <a:pt x="22" y="80"/>
                  </a:lnTo>
                  <a:lnTo>
                    <a:pt x="27" y="8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0" name="Freeform 179">
              <a:extLst>
                <a:ext uri="{FF2B5EF4-FFF2-40B4-BE49-F238E27FC236}">
                  <a16:creationId xmlns:a16="http://schemas.microsoft.com/office/drawing/2014/main" id="{80B44337-5C2F-469E-811D-4D99D53953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2305" y="3188223"/>
              <a:ext cx="92395" cy="145184"/>
            </a:xfrm>
            <a:custGeom>
              <a:avLst/>
              <a:gdLst/>
              <a:ahLst/>
              <a:cxnLst>
                <a:cxn ang="0">
                  <a:pos x="45" y="5"/>
                </a:cxn>
                <a:cxn ang="0">
                  <a:pos x="45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36" y="9"/>
                </a:cxn>
                <a:cxn ang="0">
                  <a:pos x="36" y="0"/>
                </a:cxn>
                <a:cxn ang="0">
                  <a:pos x="27" y="5"/>
                </a:cxn>
                <a:cxn ang="0">
                  <a:pos x="27" y="13"/>
                </a:cxn>
                <a:cxn ang="0">
                  <a:pos x="22" y="18"/>
                </a:cxn>
                <a:cxn ang="0">
                  <a:pos x="27" y="22"/>
                </a:cxn>
                <a:cxn ang="0">
                  <a:pos x="27" y="22"/>
                </a:cxn>
                <a:cxn ang="0">
                  <a:pos x="22" y="27"/>
                </a:cxn>
                <a:cxn ang="0">
                  <a:pos x="22" y="27"/>
                </a:cxn>
                <a:cxn ang="0">
                  <a:pos x="18" y="27"/>
                </a:cxn>
                <a:cxn ang="0">
                  <a:pos x="5" y="27"/>
                </a:cxn>
                <a:cxn ang="0">
                  <a:pos x="0" y="36"/>
                </a:cxn>
                <a:cxn ang="0">
                  <a:pos x="9" y="36"/>
                </a:cxn>
                <a:cxn ang="0">
                  <a:pos x="5" y="45"/>
                </a:cxn>
                <a:cxn ang="0">
                  <a:pos x="0" y="45"/>
                </a:cxn>
                <a:cxn ang="0">
                  <a:pos x="0" y="54"/>
                </a:cxn>
                <a:cxn ang="0">
                  <a:pos x="9" y="58"/>
                </a:cxn>
                <a:cxn ang="0">
                  <a:pos x="14" y="54"/>
                </a:cxn>
                <a:cxn ang="0">
                  <a:pos x="18" y="54"/>
                </a:cxn>
                <a:cxn ang="0">
                  <a:pos x="14" y="63"/>
                </a:cxn>
                <a:cxn ang="0">
                  <a:pos x="14" y="63"/>
                </a:cxn>
                <a:cxn ang="0">
                  <a:pos x="9" y="72"/>
                </a:cxn>
                <a:cxn ang="0">
                  <a:pos x="18" y="67"/>
                </a:cxn>
                <a:cxn ang="0">
                  <a:pos x="18" y="72"/>
                </a:cxn>
                <a:cxn ang="0">
                  <a:pos x="9" y="76"/>
                </a:cxn>
                <a:cxn ang="0">
                  <a:pos x="9" y="81"/>
                </a:cxn>
                <a:cxn ang="0">
                  <a:pos x="0" y="81"/>
                </a:cxn>
                <a:cxn ang="0">
                  <a:pos x="0" y="89"/>
                </a:cxn>
                <a:cxn ang="0">
                  <a:pos x="9" y="89"/>
                </a:cxn>
                <a:cxn ang="0">
                  <a:pos x="0" y="94"/>
                </a:cxn>
                <a:cxn ang="0">
                  <a:pos x="9" y="98"/>
                </a:cxn>
                <a:cxn ang="0">
                  <a:pos x="27" y="89"/>
                </a:cxn>
                <a:cxn ang="0">
                  <a:pos x="40" y="85"/>
                </a:cxn>
                <a:cxn ang="0">
                  <a:pos x="49" y="85"/>
                </a:cxn>
                <a:cxn ang="0">
                  <a:pos x="54" y="81"/>
                </a:cxn>
                <a:cxn ang="0">
                  <a:pos x="58" y="72"/>
                </a:cxn>
                <a:cxn ang="0">
                  <a:pos x="58" y="54"/>
                </a:cxn>
                <a:cxn ang="0">
                  <a:pos x="58" y="49"/>
                </a:cxn>
                <a:cxn ang="0">
                  <a:pos x="58" y="49"/>
                </a:cxn>
                <a:cxn ang="0">
                  <a:pos x="54" y="31"/>
                </a:cxn>
                <a:cxn ang="0">
                  <a:pos x="49" y="31"/>
                </a:cxn>
                <a:cxn ang="0">
                  <a:pos x="40" y="27"/>
                </a:cxn>
                <a:cxn ang="0">
                  <a:pos x="40" y="36"/>
                </a:cxn>
                <a:cxn ang="0">
                  <a:pos x="27" y="31"/>
                </a:cxn>
                <a:cxn ang="0">
                  <a:pos x="27" y="27"/>
                </a:cxn>
                <a:cxn ang="0">
                  <a:pos x="31" y="18"/>
                </a:cxn>
                <a:cxn ang="0">
                  <a:pos x="36" y="18"/>
                </a:cxn>
                <a:cxn ang="0">
                  <a:pos x="40" y="13"/>
                </a:cxn>
                <a:cxn ang="0">
                  <a:pos x="45" y="5"/>
                </a:cxn>
              </a:cxnLst>
              <a:rect l="0" t="0" r="r" b="b"/>
              <a:pathLst>
                <a:path w="58" h="98">
                  <a:moveTo>
                    <a:pt x="45" y="5"/>
                  </a:move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0"/>
                  </a:lnTo>
                  <a:lnTo>
                    <a:pt x="27" y="5"/>
                  </a:lnTo>
                  <a:lnTo>
                    <a:pt x="27" y="13"/>
                  </a:lnTo>
                  <a:lnTo>
                    <a:pt x="22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5" y="27"/>
                  </a:lnTo>
                  <a:lnTo>
                    <a:pt x="0" y="36"/>
                  </a:lnTo>
                  <a:lnTo>
                    <a:pt x="9" y="36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4" y="54"/>
                  </a:lnTo>
                  <a:lnTo>
                    <a:pt x="18" y="54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9" y="72"/>
                  </a:lnTo>
                  <a:lnTo>
                    <a:pt x="18" y="67"/>
                  </a:lnTo>
                  <a:lnTo>
                    <a:pt x="18" y="72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9" y="89"/>
                  </a:lnTo>
                  <a:lnTo>
                    <a:pt x="0" y="94"/>
                  </a:lnTo>
                  <a:lnTo>
                    <a:pt x="9" y="98"/>
                  </a:lnTo>
                  <a:lnTo>
                    <a:pt x="27" y="89"/>
                  </a:lnTo>
                  <a:lnTo>
                    <a:pt x="40" y="85"/>
                  </a:lnTo>
                  <a:lnTo>
                    <a:pt x="49" y="85"/>
                  </a:lnTo>
                  <a:lnTo>
                    <a:pt x="54" y="81"/>
                  </a:lnTo>
                  <a:lnTo>
                    <a:pt x="58" y="72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4" y="31"/>
                  </a:lnTo>
                  <a:lnTo>
                    <a:pt x="49" y="31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27" y="31"/>
                  </a:lnTo>
                  <a:lnTo>
                    <a:pt x="27" y="27"/>
                  </a:lnTo>
                  <a:lnTo>
                    <a:pt x="31" y="18"/>
                  </a:lnTo>
                  <a:lnTo>
                    <a:pt x="36" y="18"/>
                  </a:lnTo>
                  <a:lnTo>
                    <a:pt x="40" y="13"/>
                  </a:lnTo>
                  <a:lnTo>
                    <a:pt x="45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1" name="Freeform 180">
              <a:extLst>
                <a:ext uri="{FF2B5EF4-FFF2-40B4-BE49-F238E27FC236}">
                  <a16:creationId xmlns:a16="http://schemas.microsoft.com/office/drawing/2014/main" id="{A824D3A7-76BC-4229-9008-B4AB565B4C4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89848" y="3480073"/>
              <a:ext cx="277184" cy="303702"/>
            </a:xfrm>
            <a:custGeom>
              <a:avLst/>
              <a:gdLst/>
              <a:ahLst/>
              <a:cxnLst>
                <a:cxn ang="0">
                  <a:pos x="27" y="62"/>
                </a:cxn>
                <a:cxn ang="0">
                  <a:pos x="36" y="49"/>
                </a:cxn>
                <a:cxn ang="0">
                  <a:pos x="53" y="62"/>
                </a:cxn>
                <a:cxn ang="0">
                  <a:pos x="62" y="94"/>
                </a:cxn>
                <a:cxn ang="0">
                  <a:pos x="94" y="120"/>
                </a:cxn>
                <a:cxn ang="0">
                  <a:pos x="112" y="129"/>
                </a:cxn>
                <a:cxn ang="0">
                  <a:pos x="120" y="138"/>
                </a:cxn>
                <a:cxn ang="0">
                  <a:pos x="138" y="161"/>
                </a:cxn>
                <a:cxn ang="0">
                  <a:pos x="134" y="170"/>
                </a:cxn>
                <a:cxn ang="0">
                  <a:pos x="134" y="183"/>
                </a:cxn>
                <a:cxn ang="0">
                  <a:pos x="147" y="170"/>
                </a:cxn>
                <a:cxn ang="0">
                  <a:pos x="152" y="161"/>
                </a:cxn>
                <a:cxn ang="0">
                  <a:pos x="143" y="143"/>
                </a:cxn>
                <a:cxn ang="0">
                  <a:pos x="156" y="134"/>
                </a:cxn>
                <a:cxn ang="0">
                  <a:pos x="165" y="143"/>
                </a:cxn>
                <a:cxn ang="0">
                  <a:pos x="174" y="138"/>
                </a:cxn>
                <a:cxn ang="0">
                  <a:pos x="147" y="111"/>
                </a:cxn>
                <a:cxn ang="0">
                  <a:pos x="138" y="102"/>
                </a:cxn>
                <a:cxn ang="0">
                  <a:pos x="120" y="98"/>
                </a:cxn>
                <a:cxn ang="0">
                  <a:pos x="103" y="80"/>
                </a:cxn>
                <a:cxn ang="0">
                  <a:pos x="85" y="58"/>
                </a:cxn>
                <a:cxn ang="0">
                  <a:pos x="85" y="44"/>
                </a:cxn>
                <a:cxn ang="0">
                  <a:pos x="80" y="31"/>
                </a:cxn>
                <a:cxn ang="0">
                  <a:pos x="94" y="22"/>
                </a:cxn>
                <a:cxn ang="0">
                  <a:pos x="103" y="27"/>
                </a:cxn>
                <a:cxn ang="0">
                  <a:pos x="107" y="31"/>
                </a:cxn>
                <a:cxn ang="0">
                  <a:pos x="103" y="18"/>
                </a:cxn>
                <a:cxn ang="0">
                  <a:pos x="103" y="13"/>
                </a:cxn>
                <a:cxn ang="0">
                  <a:pos x="85" y="0"/>
                </a:cxn>
                <a:cxn ang="0">
                  <a:pos x="67" y="4"/>
                </a:cxn>
                <a:cxn ang="0">
                  <a:pos x="53" y="13"/>
                </a:cxn>
                <a:cxn ang="0">
                  <a:pos x="40" y="9"/>
                </a:cxn>
                <a:cxn ang="0">
                  <a:pos x="36" y="22"/>
                </a:cxn>
                <a:cxn ang="0">
                  <a:pos x="27" y="13"/>
                </a:cxn>
                <a:cxn ang="0">
                  <a:pos x="18" y="22"/>
                </a:cxn>
                <a:cxn ang="0">
                  <a:pos x="9" y="35"/>
                </a:cxn>
                <a:cxn ang="0">
                  <a:pos x="0" y="49"/>
                </a:cxn>
                <a:cxn ang="0">
                  <a:pos x="18" y="62"/>
                </a:cxn>
                <a:cxn ang="0">
                  <a:pos x="40" y="116"/>
                </a:cxn>
                <a:cxn ang="0">
                  <a:pos x="27" y="125"/>
                </a:cxn>
                <a:cxn ang="0">
                  <a:pos x="31" y="129"/>
                </a:cxn>
                <a:cxn ang="0">
                  <a:pos x="36" y="143"/>
                </a:cxn>
                <a:cxn ang="0">
                  <a:pos x="31" y="147"/>
                </a:cxn>
                <a:cxn ang="0">
                  <a:pos x="36" y="161"/>
                </a:cxn>
                <a:cxn ang="0">
                  <a:pos x="45" y="156"/>
                </a:cxn>
                <a:cxn ang="0">
                  <a:pos x="49" y="143"/>
                </a:cxn>
                <a:cxn ang="0">
                  <a:pos x="49" y="129"/>
                </a:cxn>
                <a:cxn ang="0">
                  <a:pos x="40" y="116"/>
                </a:cxn>
                <a:cxn ang="0">
                  <a:pos x="120" y="174"/>
                </a:cxn>
                <a:cxn ang="0">
                  <a:pos x="98" y="170"/>
                </a:cxn>
                <a:cxn ang="0">
                  <a:pos x="85" y="178"/>
                </a:cxn>
                <a:cxn ang="0">
                  <a:pos x="89" y="187"/>
                </a:cxn>
                <a:cxn ang="0">
                  <a:pos x="103" y="196"/>
                </a:cxn>
                <a:cxn ang="0">
                  <a:pos x="116" y="201"/>
                </a:cxn>
                <a:cxn ang="0">
                  <a:pos x="125" y="201"/>
                </a:cxn>
                <a:cxn ang="0">
                  <a:pos x="129" y="178"/>
                </a:cxn>
                <a:cxn ang="0">
                  <a:pos x="125" y="174"/>
                </a:cxn>
              </a:cxnLst>
              <a:rect l="0" t="0" r="r" b="b"/>
              <a:pathLst>
                <a:path w="174" h="205">
                  <a:moveTo>
                    <a:pt x="22" y="67"/>
                  </a:moveTo>
                  <a:lnTo>
                    <a:pt x="27" y="62"/>
                  </a:lnTo>
                  <a:lnTo>
                    <a:pt x="31" y="58"/>
                  </a:lnTo>
                  <a:lnTo>
                    <a:pt x="36" y="49"/>
                  </a:lnTo>
                  <a:lnTo>
                    <a:pt x="49" y="58"/>
                  </a:lnTo>
                  <a:lnTo>
                    <a:pt x="53" y="62"/>
                  </a:lnTo>
                  <a:lnTo>
                    <a:pt x="58" y="80"/>
                  </a:lnTo>
                  <a:lnTo>
                    <a:pt x="62" y="94"/>
                  </a:lnTo>
                  <a:lnTo>
                    <a:pt x="85" y="111"/>
                  </a:lnTo>
                  <a:lnTo>
                    <a:pt x="94" y="120"/>
                  </a:lnTo>
                  <a:lnTo>
                    <a:pt x="103" y="116"/>
                  </a:lnTo>
                  <a:lnTo>
                    <a:pt x="112" y="129"/>
                  </a:lnTo>
                  <a:lnTo>
                    <a:pt x="120" y="129"/>
                  </a:lnTo>
                  <a:lnTo>
                    <a:pt x="120" y="138"/>
                  </a:lnTo>
                  <a:lnTo>
                    <a:pt x="129" y="143"/>
                  </a:lnTo>
                  <a:lnTo>
                    <a:pt x="138" y="161"/>
                  </a:lnTo>
                  <a:lnTo>
                    <a:pt x="134" y="165"/>
                  </a:lnTo>
                  <a:lnTo>
                    <a:pt x="134" y="170"/>
                  </a:lnTo>
                  <a:lnTo>
                    <a:pt x="129" y="174"/>
                  </a:lnTo>
                  <a:lnTo>
                    <a:pt x="134" y="183"/>
                  </a:lnTo>
                  <a:lnTo>
                    <a:pt x="138" y="178"/>
                  </a:lnTo>
                  <a:lnTo>
                    <a:pt x="147" y="170"/>
                  </a:lnTo>
                  <a:lnTo>
                    <a:pt x="147" y="165"/>
                  </a:lnTo>
                  <a:lnTo>
                    <a:pt x="152" y="161"/>
                  </a:lnTo>
                  <a:lnTo>
                    <a:pt x="156" y="152"/>
                  </a:lnTo>
                  <a:lnTo>
                    <a:pt x="143" y="143"/>
                  </a:lnTo>
                  <a:lnTo>
                    <a:pt x="152" y="134"/>
                  </a:lnTo>
                  <a:lnTo>
                    <a:pt x="156" y="134"/>
                  </a:lnTo>
                  <a:lnTo>
                    <a:pt x="165" y="134"/>
                  </a:lnTo>
                  <a:lnTo>
                    <a:pt x="165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65" y="125"/>
                  </a:lnTo>
                  <a:lnTo>
                    <a:pt x="147" y="111"/>
                  </a:lnTo>
                  <a:lnTo>
                    <a:pt x="138" y="111"/>
                  </a:lnTo>
                  <a:lnTo>
                    <a:pt x="138" y="102"/>
                  </a:lnTo>
                  <a:lnTo>
                    <a:pt x="138" y="98"/>
                  </a:lnTo>
                  <a:lnTo>
                    <a:pt x="120" y="98"/>
                  </a:lnTo>
                  <a:lnTo>
                    <a:pt x="112" y="89"/>
                  </a:lnTo>
                  <a:lnTo>
                    <a:pt x="103" y="80"/>
                  </a:lnTo>
                  <a:lnTo>
                    <a:pt x="98" y="71"/>
                  </a:lnTo>
                  <a:lnTo>
                    <a:pt x="85" y="58"/>
                  </a:lnTo>
                  <a:lnTo>
                    <a:pt x="80" y="49"/>
                  </a:lnTo>
                  <a:lnTo>
                    <a:pt x="85" y="44"/>
                  </a:lnTo>
                  <a:lnTo>
                    <a:pt x="80" y="35"/>
                  </a:lnTo>
                  <a:lnTo>
                    <a:pt x="80" y="31"/>
                  </a:lnTo>
                  <a:lnTo>
                    <a:pt x="85" y="27"/>
                  </a:lnTo>
                  <a:lnTo>
                    <a:pt x="94" y="22"/>
                  </a:lnTo>
                  <a:lnTo>
                    <a:pt x="98" y="27"/>
                  </a:lnTo>
                  <a:lnTo>
                    <a:pt x="103" y="27"/>
                  </a:lnTo>
                  <a:lnTo>
                    <a:pt x="103" y="31"/>
                  </a:lnTo>
                  <a:lnTo>
                    <a:pt x="107" y="31"/>
                  </a:lnTo>
                  <a:lnTo>
                    <a:pt x="103" y="22"/>
                  </a:lnTo>
                  <a:lnTo>
                    <a:pt x="103" y="18"/>
                  </a:lnTo>
                  <a:lnTo>
                    <a:pt x="98" y="13"/>
                  </a:lnTo>
                  <a:lnTo>
                    <a:pt x="103" y="13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0"/>
                  </a:lnTo>
                  <a:lnTo>
                    <a:pt x="67" y="4"/>
                  </a:lnTo>
                  <a:lnTo>
                    <a:pt x="58" y="4"/>
                  </a:lnTo>
                  <a:lnTo>
                    <a:pt x="53" y="13"/>
                  </a:lnTo>
                  <a:lnTo>
                    <a:pt x="45" y="13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36" y="22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7" y="22"/>
                  </a:lnTo>
                  <a:lnTo>
                    <a:pt x="18" y="22"/>
                  </a:lnTo>
                  <a:lnTo>
                    <a:pt x="13" y="22"/>
                  </a:lnTo>
                  <a:lnTo>
                    <a:pt x="9" y="35"/>
                  </a:lnTo>
                  <a:lnTo>
                    <a:pt x="4" y="35"/>
                  </a:lnTo>
                  <a:lnTo>
                    <a:pt x="0" y="49"/>
                  </a:lnTo>
                  <a:lnTo>
                    <a:pt x="9" y="62"/>
                  </a:lnTo>
                  <a:lnTo>
                    <a:pt x="18" y="62"/>
                  </a:lnTo>
                  <a:lnTo>
                    <a:pt x="22" y="67"/>
                  </a:lnTo>
                  <a:close/>
                  <a:moveTo>
                    <a:pt x="40" y="116"/>
                  </a:moveTo>
                  <a:lnTo>
                    <a:pt x="36" y="125"/>
                  </a:lnTo>
                  <a:lnTo>
                    <a:pt x="27" y="125"/>
                  </a:lnTo>
                  <a:lnTo>
                    <a:pt x="27" y="129"/>
                  </a:lnTo>
                  <a:lnTo>
                    <a:pt x="31" y="129"/>
                  </a:lnTo>
                  <a:lnTo>
                    <a:pt x="31" y="143"/>
                  </a:lnTo>
                  <a:lnTo>
                    <a:pt x="36" y="143"/>
                  </a:lnTo>
                  <a:lnTo>
                    <a:pt x="36" y="147"/>
                  </a:lnTo>
                  <a:lnTo>
                    <a:pt x="31" y="147"/>
                  </a:lnTo>
                  <a:lnTo>
                    <a:pt x="31" y="156"/>
                  </a:lnTo>
                  <a:lnTo>
                    <a:pt x="36" y="161"/>
                  </a:lnTo>
                  <a:lnTo>
                    <a:pt x="40" y="161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9" y="143"/>
                  </a:lnTo>
                  <a:lnTo>
                    <a:pt x="45" y="134"/>
                  </a:lnTo>
                  <a:lnTo>
                    <a:pt x="49" y="129"/>
                  </a:lnTo>
                  <a:lnTo>
                    <a:pt x="49" y="120"/>
                  </a:lnTo>
                  <a:lnTo>
                    <a:pt x="40" y="116"/>
                  </a:lnTo>
                  <a:close/>
                  <a:moveTo>
                    <a:pt x="125" y="174"/>
                  </a:moveTo>
                  <a:lnTo>
                    <a:pt x="120" y="174"/>
                  </a:lnTo>
                  <a:lnTo>
                    <a:pt x="107" y="174"/>
                  </a:lnTo>
                  <a:lnTo>
                    <a:pt x="98" y="170"/>
                  </a:lnTo>
                  <a:lnTo>
                    <a:pt x="89" y="174"/>
                  </a:lnTo>
                  <a:lnTo>
                    <a:pt x="85" y="178"/>
                  </a:lnTo>
                  <a:lnTo>
                    <a:pt x="85" y="187"/>
                  </a:lnTo>
                  <a:lnTo>
                    <a:pt x="89" y="187"/>
                  </a:lnTo>
                  <a:lnTo>
                    <a:pt x="94" y="187"/>
                  </a:lnTo>
                  <a:lnTo>
                    <a:pt x="103" y="196"/>
                  </a:lnTo>
                  <a:lnTo>
                    <a:pt x="112" y="196"/>
                  </a:lnTo>
                  <a:lnTo>
                    <a:pt x="116" y="201"/>
                  </a:lnTo>
                  <a:lnTo>
                    <a:pt x="125" y="205"/>
                  </a:lnTo>
                  <a:lnTo>
                    <a:pt x="125" y="201"/>
                  </a:lnTo>
                  <a:lnTo>
                    <a:pt x="125" y="187"/>
                  </a:lnTo>
                  <a:lnTo>
                    <a:pt x="129" y="178"/>
                  </a:lnTo>
                  <a:lnTo>
                    <a:pt x="129" y="174"/>
                  </a:lnTo>
                  <a:lnTo>
                    <a:pt x="125" y="17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2" name="Freeform 181">
              <a:extLst>
                <a:ext uri="{FF2B5EF4-FFF2-40B4-BE49-F238E27FC236}">
                  <a16:creationId xmlns:a16="http://schemas.microsoft.com/office/drawing/2014/main" id="{0B0ED4F0-DEA2-4655-BD6C-D3CFEE6EB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6415" y="3088964"/>
              <a:ext cx="172045" cy="99259"/>
            </a:xfrm>
            <a:custGeom>
              <a:avLst/>
              <a:gdLst/>
              <a:ahLst/>
              <a:cxnLst>
                <a:cxn ang="0">
                  <a:pos x="5" y="49"/>
                </a:cxn>
                <a:cxn ang="0">
                  <a:pos x="9" y="49"/>
                </a:cxn>
                <a:cxn ang="0">
                  <a:pos x="18" y="45"/>
                </a:cxn>
                <a:cxn ang="0">
                  <a:pos x="23" y="49"/>
                </a:cxn>
                <a:cxn ang="0">
                  <a:pos x="32" y="45"/>
                </a:cxn>
                <a:cxn ang="0">
                  <a:pos x="49" y="49"/>
                </a:cxn>
                <a:cxn ang="0">
                  <a:pos x="58" y="45"/>
                </a:cxn>
                <a:cxn ang="0">
                  <a:pos x="63" y="49"/>
                </a:cxn>
                <a:cxn ang="0">
                  <a:pos x="67" y="54"/>
                </a:cxn>
                <a:cxn ang="0">
                  <a:pos x="81" y="67"/>
                </a:cxn>
                <a:cxn ang="0">
                  <a:pos x="94" y="63"/>
                </a:cxn>
                <a:cxn ang="0">
                  <a:pos x="99" y="58"/>
                </a:cxn>
                <a:cxn ang="0">
                  <a:pos x="103" y="49"/>
                </a:cxn>
                <a:cxn ang="0">
                  <a:pos x="103" y="49"/>
                </a:cxn>
                <a:cxn ang="0">
                  <a:pos x="103" y="40"/>
                </a:cxn>
                <a:cxn ang="0">
                  <a:pos x="103" y="22"/>
                </a:cxn>
                <a:cxn ang="0">
                  <a:pos x="108" y="18"/>
                </a:cxn>
                <a:cxn ang="0">
                  <a:pos x="103" y="13"/>
                </a:cxn>
                <a:cxn ang="0">
                  <a:pos x="99" y="13"/>
                </a:cxn>
                <a:cxn ang="0">
                  <a:pos x="90" y="9"/>
                </a:cxn>
                <a:cxn ang="0">
                  <a:pos x="85" y="9"/>
                </a:cxn>
                <a:cxn ang="0">
                  <a:pos x="76" y="5"/>
                </a:cxn>
                <a:cxn ang="0">
                  <a:pos x="67" y="0"/>
                </a:cxn>
                <a:cxn ang="0">
                  <a:pos x="54" y="5"/>
                </a:cxn>
                <a:cxn ang="0">
                  <a:pos x="54" y="18"/>
                </a:cxn>
                <a:cxn ang="0">
                  <a:pos x="49" y="22"/>
                </a:cxn>
                <a:cxn ang="0">
                  <a:pos x="41" y="27"/>
                </a:cxn>
                <a:cxn ang="0">
                  <a:pos x="32" y="22"/>
                </a:cxn>
                <a:cxn ang="0">
                  <a:pos x="32" y="18"/>
                </a:cxn>
                <a:cxn ang="0">
                  <a:pos x="27" y="9"/>
                </a:cxn>
                <a:cxn ang="0">
                  <a:pos x="23" y="5"/>
                </a:cxn>
                <a:cxn ang="0">
                  <a:pos x="14" y="9"/>
                </a:cxn>
                <a:cxn ang="0">
                  <a:pos x="9" y="13"/>
                </a:cxn>
                <a:cxn ang="0">
                  <a:pos x="9" y="22"/>
                </a:cxn>
                <a:cxn ang="0">
                  <a:pos x="0" y="31"/>
                </a:cxn>
                <a:cxn ang="0">
                  <a:pos x="5" y="49"/>
                </a:cxn>
              </a:cxnLst>
              <a:rect l="0" t="0" r="r" b="b"/>
              <a:pathLst>
                <a:path w="108" h="67">
                  <a:moveTo>
                    <a:pt x="5" y="49"/>
                  </a:moveTo>
                  <a:lnTo>
                    <a:pt x="9" y="49"/>
                  </a:lnTo>
                  <a:lnTo>
                    <a:pt x="18" y="45"/>
                  </a:lnTo>
                  <a:lnTo>
                    <a:pt x="23" y="49"/>
                  </a:lnTo>
                  <a:lnTo>
                    <a:pt x="32" y="45"/>
                  </a:lnTo>
                  <a:lnTo>
                    <a:pt x="49" y="49"/>
                  </a:lnTo>
                  <a:lnTo>
                    <a:pt x="58" y="45"/>
                  </a:lnTo>
                  <a:lnTo>
                    <a:pt x="63" y="49"/>
                  </a:lnTo>
                  <a:lnTo>
                    <a:pt x="67" y="54"/>
                  </a:lnTo>
                  <a:lnTo>
                    <a:pt x="81" y="67"/>
                  </a:lnTo>
                  <a:lnTo>
                    <a:pt x="94" y="63"/>
                  </a:lnTo>
                  <a:lnTo>
                    <a:pt x="99" y="5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40"/>
                  </a:lnTo>
                  <a:lnTo>
                    <a:pt x="103" y="22"/>
                  </a:lnTo>
                  <a:lnTo>
                    <a:pt x="108" y="18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0" y="9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7" y="0"/>
                  </a:lnTo>
                  <a:lnTo>
                    <a:pt x="54" y="5"/>
                  </a:lnTo>
                  <a:lnTo>
                    <a:pt x="54" y="18"/>
                  </a:lnTo>
                  <a:lnTo>
                    <a:pt x="49" y="22"/>
                  </a:lnTo>
                  <a:lnTo>
                    <a:pt x="41" y="27"/>
                  </a:lnTo>
                  <a:lnTo>
                    <a:pt x="32" y="22"/>
                  </a:lnTo>
                  <a:lnTo>
                    <a:pt x="32" y="18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9" y="22"/>
                  </a:lnTo>
                  <a:lnTo>
                    <a:pt x="0" y="31"/>
                  </a:lnTo>
                  <a:lnTo>
                    <a:pt x="5" y="4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3" name="Freeform 182">
              <a:extLst>
                <a:ext uri="{FF2B5EF4-FFF2-40B4-BE49-F238E27FC236}">
                  <a16:creationId xmlns:a16="http://schemas.microsoft.com/office/drawing/2014/main" id="{3A87952F-E98F-4F17-813E-79BA453147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6415" y="3155630"/>
              <a:ext cx="135406" cy="91851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0" y="4"/>
                </a:cxn>
                <a:cxn ang="0">
                  <a:pos x="5" y="18"/>
                </a:cxn>
                <a:cxn ang="0">
                  <a:pos x="5" y="22"/>
                </a:cxn>
                <a:cxn ang="0">
                  <a:pos x="9" y="22"/>
                </a:cxn>
                <a:cxn ang="0">
                  <a:pos x="9" y="27"/>
                </a:cxn>
                <a:cxn ang="0">
                  <a:pos x="23" y="31"/>
                </a:cxn>
                <a:cxn ang="0">
                  <a:pos x="32" y="31"/>
                </a:cxn>
                <a:cxn ang="0">
                  <a:pos x="32" y="35"/>
                </a:cxn>
                <a:cxn ang="0">
                  <a:pos x="32" y="49"/>
                </a:cxn>
                <a:cxn ang="0">
                  <a:pos x="41" y="58"/>
                </a:cxn>
                <a:cxn ang="0">
                  <a:pos x="41" y="62"/>
                </a:cxn>
                <a:cxn ang="0">
                  <a:pos x="49" y="53"/>
                </a:cxn>
                <a:cxn ang="0">
                  <a:pos x="58" y="58"/>
                </a:cxn>
                <a:cxn ang="0">
                  <a:pos x="63" y="53"/>
                </a:cxn>
                <a:cxn ang="0">
                  <a:pos x="67" y="58"/>
                </a:cxn>
                <a:cxn ang="0">
                  <a:pos x="67" y="49"/>
                </a:cxn>
                <a:cxn ang="0">
                  <a:pos x="72" y="44"/>
                </a:cxn>
                <a:cxn ang="0">
                  <a:pos x="76" y="35"/>
                </a:cxn>
                <a:cxn ang="0">
                  <a:pos x="81" y="31"/>
                </a:cxn>
                <a:cxn ang="0">
                  <a:pos x="81" y="31"/>
                </a:cxn>
                <a:cxn ang="0">
                  <a:pos x="85" y="31"/>
                </a:cxn>
                <a:cxn ang="0">
                  <a:pos x="81" y="27"/>
                </a:cxn>
                <a:cxn ang="0">
                  <a:pos x="81" y="27"/>
                </a:cxn>
                <a:cxn ang="0">
                  <a:pos x="81" y="22"/>
                </a:cxn>
                <a:cxn ang="0">
                  <a:pos x="67" y="9"/>
                </a:cxn>
                <a:cxn ang="0">
                  <a:pos x="63" y="4"/>
                </a:cxn>
                <a:cxn ang="0">
                  <a:pos x="58" y="0"/>
                </a:cxn>
                <a:cxn ang="0">
                  <a:pos x="49" y="4"/>
                </a:cxn>
                <a:cxn ang="0">
                  <a:pos x="32" y="0"/>
                </a:cxn>
                <a:cxn ang="0">
                  <a:pos x="23" y="4"/>
                </a:cxn>
                <a:cxn ang="0">
                  <a:pos x="18" y="0"/>
                </a:cxn>
                <a:cxn ang="0">
                  <a:pos x="9" y="4"/>
                </a:cxn>
                <a:cxn ang="0">
                  <a:pos x="5" y="4"/>
                </a:cxn>
              </a:cxnLst>
              <a:rect l="0" t="0" r="r" b="b"/>
              <a:pathLst>
                <a:path w="85" h="62">
                  <a:moveTo>
                    <a:pt x="5" y="4"/>
                  </a:moveTo>
                  <a:lnTo>
                    <a:pt x="0" y="4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7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32" y="35"/>
                  </a:lnTo>
                  <a:lnTo>
                    <a:pt x="32" y="49"/>
                  </a:lnTo>
                  <a:lnTo>
                    <a:pt x="41" y="58"/>
                  </a:lnTo>
                  <a:lnTo>
                    <a:pt x="41" y="62"/>
                  </a:lnTo>
                  <a:lnTo>
                    <a:pt x="49" y="53"/>
                  </a:lnTo>
                  <a:lnTo>
                    <a:pt x="58" y="58"/>
                  </a:lnTo>
                  <a:lnTo>
                    <a:pt x="63" y="53"/>
                  </a:lnTo>
                  <a:lnTo>
                    <a:pt x="67" y="58"/>
                  </a:lnTo>
                  <a:lnTo>
                    <a:pt x="67" y="49"/>
                  </a:lnTo>
                  <a:lnTo>
                    <a:pt x="72" y="44"/>
                  </a:lnTo>
                  <a:lnTo>
                    <a:pt x="76" y="35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2"/>
                  </a:lnTo>
                  <a:lnTo>
                    <a:pt x="67" y="9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49" y="4"/>
                  </a:lnTo>
                  <a:lnTo>
                    <a:pt x="32" y="0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9" y="4"/>
                  </a:lnTo>
                  <a:lnTo>
                    <a:pt x="5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4" name="Freeform 183">
              <a:extLst>
                <a:ext uri="{FF2B5EF4-FFF2-40B4-BE49-F238E27FC236}">
                  <a16:creationId xmlns:a16="http://schemas.microsoft.com/office/drawing/2014/main" id="{EA6E3A98-E791-474C-B902-7FA5408D3C3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1883" y="3380814"/>
              <a:ext cx="14337" cy="19259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9" y="9"/>
                </a:cxn>
                <a:cxn ang="0">
                  <a:pos x="9" y="13"/>
                </a:cxn>
                <a:cxn ang="0">
                  <a:pos x="5" y="13"/>
                </a:cxn>
                <a:cxn ang="0">
                  <a:pos x="0" y="13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5" name="Freeform 184">
              <a:extLst>
                <a:ext uri="{FF2B5EF4-FFF2-40B4-BE49-F238E27FC236}">
                  <a16:creationId xmlns:a16="http://schemas.microsoft.com/office/drawing/2014/main" id="{9D26FD5F-D24C-4916-8C5E-08FC882B3B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1821" y="3440073"/>
              <a:ext cx="71685" cy="859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18"/>
                </a:cxn>
                <a:cxn ang="0">
                  <a:pos x="18" y="27"/>
                </a:cxn>
                <a:cxn ang="0">
                  <a:pos x="23" y="40"/>
                </a:cxn>
                <a:cxn ang="0">
                  <a:pos x="18" y="58"/>
                </a:cxn>
                <a:cxn ang="0">
                  <a:pos x="27" y="58"/>
                </a:cxn>
                <a:cxn ang="0">
                  <a:pos x="31" y="54"/>
                </a:cxn>
                <a:cxn ang="0">
                  <a:pos x="31" y="49"/>
                </a:cxn>
                <a:cxn ang="0">
                  <a:pos x="31" y="40"/>
                </a:cxn>
                <a:cxn ang="0">
                  <a:pos x="36" y="45"/>
                </a:cxn>
                <a:cxn ang="0">
                  <a:pos x="36" y="40"/>
                </a:cxn>
                <a:cxn ang="0">
                  <a:pos x="40" y="40"/>
                </a:cxn>
                <a:cxn ang="0">
                  <a:pos x="45" y="40"/>
                </a:cxn>
                <a:cxn ang="0">
                  <a:pos x="45" y="31"/>
                </a:cxn>
                <a:cxn ang="0">
                  <a:pos x="40" y="22"/>
                </a:cxn>
                <a:cxn ang="0">
                  <a:pos x="40" y="13"/>
                </a:cxn>
                <a:cxn ang="0">
                  <a:pos x="27" y="4"/>
                </a:cxn>
                <a:cxn ang="0">
                  <a:pos x="23" y="4"/>
                </a:cxn>
                <a:cxn ang="0">
                  <a:pos x="18" y="0"/>
                </a:cxn>
                <a:cxn ang="0">
                  <a:pos x="14" y="4"/>
                </a:cxn>
                <a:cxn ang="0">
                  <a:pos x="14" y="0"/>
                </a:cxn>
                <a:cxn ang="0">
                  <a:pos x="0" y="0"/>
                </a:cxn>
              </a:cxnLst>
              <a:rect l="0" t="0" r="r" b="b"/>
              <a:pathLst>
                <a:path w="45" h="58">
                  <a:moveTo>
                    <a:pt x="0" y="0"/>
                  </a:moveTo>
                  <a:lnTo>
                    <a:pt x="14" y="18"/>
                  </a:lnTo>
                  <a:lnTo>
                    <a:pt x="18" y="27"/>
                  </a:lnTo>
                  <a:lnTo>
                    <a:pt x="23" y="40"/>
                  </a:lnTo>
                  <a:lnTo>
                    <a:pt x="18" y="58"/>
                  </a:lnTo>
                  <a:lnTo>
                    <a:pt x="27" y="58"/>
                  </a:lnTo>
                  <a:lnTo>
                    <a:pt x="31" y="54"/>
                  </a:lnTo>
                  <a:lnTo>
                    <a:pt x="31" y="49"/>
                  </a:lnTo>
                  <a:lnTo>
                    <a:pt x="31" y="40"/>
                  </a:lnTo>
                  <a:lnTo>
                    <a:pt x="36" y="4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5" y="31"/>
                  </a:lnTo>
                  <a:lnTo>
                    <a:pt x="40" y="22"/>
                  </a:lnTo>
                  <a:lnTo>
                    <a:pt x="40" y="1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6" name="Freeform 185">
              <a:extLst>
                <a:ext uri="{FF2B5EF4-FFF2-40B4-BE49-F238E27FC236}">
                  <a16:creationId xmlns:a16="http://schemas.microsoft.com/office/drawing/2014/main" id="{3F932112-FFC7-4F7A-980C-8FE81D4337D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8163" y="3260815"/>
              <a:ext cx="92395" cy="93333"/>
            </a:xfrm>
            <a:custGeom>
              <a:avLst/>
              <a:gdLst/>
              <a:ahLst/>
              <a:cxnLst>
                <a:cxn ang="0">
                  <a:pos x="45" y="63"/>
                </a:cxn>
                <a:cxn ang="0">
                  <a:pos x="40" y="63"/>
                </a:cxn>
                <a:cxn ang="0">
                  <a:pos x="40" y="58"/>
                </a:cxn>
                <a:cxn ang="0">
                  <a:pos x="36" y="54"/>
                </a:cxn>
                <a:cxn ang="0">
                  <a:pos x="27" y="54"/>
                </a:cxn>
                <a:cxn ang="0">
                  <a:pos x="18" y="45"/>
                </a:cxn>
                <a:cxn ang="0">
                  <a:pos x="14" y="54"/>
                </a:cxn>
                <a:cxn ang="0">
                  <a:pos x="9" y="54"/>
                </a:cxn>
                <a:cxn ang="0">
                  <a:pos x="0" y="54"/>
                </a:cxn>
                <a:cxn ang="0">
                  <a:pos x="0" y="49"/>
                </a:cxn>
                <a:cxn ang="0">
                  <a:pos x="5" y="49"/>
                </a:cxn>
                <a:cxn ang="0">
                  <a:pos x="5" y="49"/>
                </a:cxn>
                <a:cxn ang="0">
                  <a:pos x="5" y="49"/>
                </a:cxn>
                <a:cxn ang="0">
                  <a:pos x="0" y="45"/>
                </a:cxn>
                <a:cxn ang="0">
                  <a:pos x="5" y="40"/>
                </a:cxn>
                <a:cxn ang="0">
                  <a:pos x="14" y="45"/>
                </a:cxn>
                <a:cxn ang="0">
                  <a:pos x="14" y="40"/>
                </a:cxn>
                <a:cxn ang="0">
                  <a:pos x="9" y="40"/>
                </a:cxn>
                <a:cxn ang="0">
                  <a:pos x="5" y="40"/>
                </a:cxn>
                <a:cxn ang="0">
                  <a:pos x="14" y="36"/>
                </a:cxn>
                <a:cxn ang="0">
                  <a:pos x="18" y="27"/>
                </a:cxn>
                <a:cxn ang="0">
                  <a:pos x="27" y="9"/>
                </a:cxn>
                <a:cxn ang="0">
                  <a:pos x="27" y="9"/>
                </a:cxn>
                <a:cxn ang="0">
                  <a:pos x="31" y="9"/>
                </a:cxn>
                <a:cxn ang="0">
                  <a:pos x="36" y="5"/>
                </a:cxn>
                <a:cxn ang="0">
                  <a:pos x="40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9"/>
                </a:cxn>
                <a:cxn ang="0">
                  <a:pos x="58" y="9"/>
                </a:cxn>
                <a:cxn ang="0">
                  <a:pos x="54" y="18"/>
                </a:cxn>
                <a:cxn ang="0">
                  <a:pos x="54" y="18"/>
                </a:cxn>
                <a:cxn ang="0">
                  <a:pos x="54" y="36"/>
                </a:cxn>
                <a:cxn ang="0">
                  <a:pos x="49" y="36"/>
                </a:cxn>
                <a:cxn ang="0">
                  <a:pos x="40" y="40"/>
                </a:cxn>
                <a:cxn ang="0">
                  <a:pos x="40" y="45"/>
                </a:cxn>
                <a:cxn ang="0">
                  <a:pos x="45" y="49"/>
                </a:cxn>
                <a:cxn ang="0">
                  <a:pos x="40" y="58"/>
                </a:cxn>
                <a:cxn ang="0">
                  <a:pos x="45" y="63"/>
                </a:cxn>
              </a:cxnLst>
              <a:rect l="0" t="0" r="r" b="b"/>
              <a:pathLst>
                <a:path w="58" h="63">
                  <a:moveTo>
                    <a:pt x="45" y="63"/>
                  </a:moveTo>
                  <a:lnTo>
                    <a:pt x="40" y="63"/>
                  </a:lnTo>
                  <a:lnTo>
                    <a:pt x="40" y="58"/>
                  </a:lnTo>
                  <a:lnTo>
                    <a:pt x="36" y="54"/>
                  </a:lnTo>
                  <a:lnTo>
                    <a:pt x="27" y="54"/>
                  </a:lnTo>
                  <a:lnTo>
                    <a:pt x="18" y="45"/>
                  </a:lnTo>
                  <a:lnTo>
                    <a:pt x="14" y="54"/>
                  </a:lnTo>
                  <a:lnTo>
                    <a:pt x="9" y="54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5"/>
                  </a:lnTo>
                  <a:lnTo>
                    <a:pt x="5" y="40"/>
                  </a:lnTo>
                  <a:lnTo>
                    <a:pt x="14" y="45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14" y="36"/>
                  </a:lnTo>
                  <a:lnTo>
                    <a:pt x="18" y="2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31" y="9"/>
                  </a:lnTo>
                  <a:lnTo>
                    <a:pt x="36" y="5"/>
                  </a:lnTo>
                  <a:lnTo>
                    <a:pt x="40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9"/>
                  </a:lnTo>
                  <a:lnTo>
                    <a:pt x="58" y="9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36"/>
                  </a:lnTo>
                  <a:lnTo>
                    <a:pt x="49" y="36"/>
                  </a:lnTo>
                  <a:lnTo>
                    <a:pt x="40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0" y="58"/>
                  </a:lnTo>
                  <a:lnTo>
                    <a:pt x="45" y="63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7" name="Freeform 186">
              <a:extLst>
                <a:ext uri="{FF2B5EF4-FFF2-40B4-BE49-F238E27FC236}">
                  <a16:creationId xmlns:a16="http://schemas.microsoft.com/office/drawing/2014/main" id="{4ADD9399-5371-4E31-BBF3-0A5012E75A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174" y="2400079"/>
              <a:ext cx="591007" cy="688885"/>
            </a:xfrm>
            <a:custGeom>
              <a:avLst/>
              <a:gdLst/>
              <a:ahLst/>
              <a:cxnLst>
                <a:cxn ang="0">
                  <a:pos x="98" y="416"/>
                </a:cxn>
                <a:cxn ang="0">
                  <a:pos x="98" y="349"/>
                </a:cxn>
                <a:cxn ang="0">
                  <a:pos x="103" y="277"/>
                </a:cxn>
                <a:cxn ang="0">
                  <a:pos x="125" y="259"/>
                </a:cxn>
                <a:cxn ang="0">
                  <a:pos x="143" y="215"/>
                </a:cxn>
                <a:cxn ang="0">
                  <a:pos x="161" y="157"/>
                </a:cxn>
                <a:cxn ang="0">
                  <a:pos x="188" y="130"/>
                </a:cxn>
                <a:cxn ang="0">
                  <a:pos x="210" y="103"/>
                </a:cxn>
                <a:cxn ang="0">
                  <a:pos x="228" y="90"/>
                </a:cxn>
                <a:cxn ang="0">
                  <a:pos x="272" y="108"/>
                </a:cxn>
                <a:cxn ang="0">
                  <a:pos x="308" y="58"/>
                </a:cxn>
                <a:cxn ang="0">
                  <a:pos x="339" y="67"/>
                </a:cxn>
                <a:cxn ang="0">
                  <a:pos x="344" y="90"/>
                </a:cxn>
                <a:cxn ang="0">
                  <a:pos x="362" y="76"/>
                </a:cxn>
                <a:cxn ang="0">
                  <a:pos x="357" y="49"/>
                </a:cxn>
                <a:cxn ang="0">
                  <a:pos x="348" y="18"/>
                </a:cxn>
                <a:cxn ang="0">
                  <a:pos x="335" y="14"/>
                </a:cxn>
                <a:cxn ang="0">
                  <a:pos x="335" y="5"/>
                </a:cxn>
                <a:cxn ang="0">
                  <a:pos x="308" y="32"/>
                </a:cxn>
                <a:cxn ang="0">
                  <a:pos x="281" y="49"/>
                </a:cxn>
                <a:cxn ang="0">
                  <a:pos x="272" y="18"/>
                </a:cxn>
                <a:cxn ang="0">
                  <a:pos x="259" y="54"/>
                </a:cxn>
                <a:cxn ang="0">
                  <a:pos x="228" y="45"/>
                </a:cxn>
                <a:cxn ang="0">
                  <a:pos x="214" y="76"/>
                </a:cxn>
                <a:cxn ang="0">
                  <a:pos x="179" y="67"/>
                </a:cxn>
                <a:cxn ang="0">
                  <a:pos x="179" y="81"/>
                </a:cxn>
                <a:cxn ang="0">
                  <a:pos x="161" y="125"/>
                </a:cxn>
                <a:cxn ang="0">
                  <a:pos x="147" y="143"/>
                </a:cxn>
                <a:cxn ang="0">
                  <a:pos x="147" y="157"/>
                </a:cxn>
                <a:cxn ang="0">
                  <a:pos x="134" y="166"/>
                </a:cxn>
                <a:cxn ang="0">
                  <a:pos x="121" y="192"/>
                </a:cxn>
                <a:cxn ang="0">
                  <a:pos x="98" y="233"/>
                </a:cxn>
                <a:cxn ang="0">
                  <a:pos x="89" y="255"/>
                </a:cxn>
                <a:cxn ang="0">
                  <a:pos x="76" y="277"/>
                </a:cxn>
                <a:cxn ang="0">
                  <a:pos x="67" y="295"/>
                </a:cxn>
                <a:cxn ang="0">
                  <a:pos x="40" y="309"/>
                </a:cxn>
                <a:cxn ang="0">
                  <a:pos x="4" y="358"/>
                </a:cxn>
                <a:cxn ang="0">
                  <a:pos x="13" y="376"/>
                </a:cxn>
                <a:cxn ang="0">
                  <a:pos x="0" y="425"/>
                </a:cxn>
                <a:cxn ang="0">
                  <a:pos x="27" y="452"/>
                </a:cxn>
                <a:cxn ang="0">
                  <a:pos x="49" y="456"/>
                </a:cxn>
                <a:cxn ang="0">
                  <a:pos x="71" y="425"/>
                </a:cxn>
                <a:cxn ang="0">
                  <a:pos x="89" y="429"/>
                </a:cxn>
                <a:cxn ang="0">
                  <a:pos x="125" y="125"/>
                </a:cxn>
                <a:cxn ang="0">
                  <a:pos x="134" y="116"/>
                </a:cxn>
                <a:cxn ang="0">
                  <a:pos x="112" y="139"/>
                </a:cxn>
                <a:cxn ang="0">
                  <a:pos x="161" y="94"/>
                </a:cxn>
                <a:cxn ang="0">
                  <a:pos x="156" y="90"/>
                </a:cxn>
                <a:cxn ang="0">
                  <a:pos x="138" y="90"/>
                </a:cxn>
                <a:cxn ang="0">
                  <a:pos x="138" y="108"/>
                </a:cxn>
                <a:cxn ang="0">
                  <a:pos x="192" y="67"/>
                </a:cxn>
                <a:cxn ang="0">
                  <a:pos x="205" y="58"/>
                </a:cxn>
                <a:cxn ang="0">
                  <a:pos x="192" y="54"/>
                </a:cxn>
                <a:cxn ang="0">
                  <a:pos x="192" y="67"/>
                </a:cxn>
                <a:cxn ang="0">
                  <a:pos x="255" y="36"/>
                </a:cxn>
                <a:cxn ang="0">
                  <a:pos x="264" y="14"/>
                </a:cxn>
                <a:cxn ang="0">
                  <a:pos x="241" y="27"/>
                </a:cxn>
              </a:cxnLst>
              <a:rect l="0" t="0" r="r" b="b"/>
              <a:pathLst>
                <a:path w="371" h="465">
                  <a:moveTo>
                    <a:pt x="89" y="434"/>
                  </a:moveTo>
                  <a:lnTo>
                    <a:pt x="98" y="438"/>
                  </a:lnTo>
                  <a:lnTo>
                    <a:pt x="98" y="425"/>
                  </a:lnTo>
                  <a:lnTo>
                    <a:pt x="98" y="416"/>
                  </a:lnTo>
                  <a:lnTo>
                    <a:pt x="107" y="407"/>
                  </a:lnTo>
                  <a:lnTo>
                    <a:pt x="103" y="380"/>
                  </a:lnTo>
                  <a:lnTo>
                    <a:pt x="112" y="367"/>
                  </a:lnTo>
                  <a:lnTo>
                    <a:pt x="98" y="349"/>
                  </a:lnTo>
                  <a:lnTo>
                    <a:pt x="98" y="304"/>
                  </a:lnTo>
                  <a:lnTo>
                    <a:pt x="103" y="300"/>
                  </a:lnTo>
                  <a:lnTo>
                    <a:pt x="98" y="295"/>
                  </a:lnTo>
                  <a:lnTo>
                    <a:pt x="103" y="277"/>
                  </a:lnTo>
                  <a:lnTo>
                    <a:pt x="112" y="273"/>
                  </a:lnTo>
                  <a:lnTo>
                    <a:pt x="121" y="277"/>
                  </a:lnTo>
                  <a:lnTo>
                    <a:pt x="130" y="273"/>
                  </a:lnTo>
                  <a:lnTo>
                    <a:pt x="125" y="259"/>
                  </a:lnTo>
                  <a:lnTo>
                    <a:pt x="134" y="233"/>
                  </a:lnTo>
                  <a:lnTo>
                    <a:pt x="134" y="215"/>
                  </a:lnTo>
                  <a:lnTo>
                    <a:pt x="138" y="210"/>
                  </a:lnTo>
                  <a:lnTo>
                    <a:pt x="143" y="215"/>
                  </a:lnTo>
                  <a:lnTo>
                    <a:pt x="147" y="206"/>
                  </a:lnTo>
                  <a:lnTo>
                    <a:pt x="143" y="197"/>
                  </a:lnTo>
                  <a:lnTo>
                    <a:pt x="165" y="175"/>
                  </a:lnTo>
                  <a:lnTo>
                    <a:pt x="161" y="157"/>
                  </a:lnTo>
                  <a:lnTo>
                    <a:pt x="165" y="143"/>
                  </a:lnTo>
                  <a:lnTo>
                    <a:pt x="174" y="130"/>
                  </a:lnTo>
                  <a:lnTo>
                    <a:pt x="183" y="134"/>
                  </a:lnTo>
                  <a:lnTo>
                    <a:pt x="188" y="130"/>
                  </a:lnTo>
                  <a:lnTo>
                    <a:pt x="183" y="116"/>
                  </a:lnTo>
                  <a:lnTo>
                    <a:pt x="188" y="112"/>
                  </a:lnTo>
                  <a:lnTo>
                    <a:pt x="210" y="116"/>
                  </a:lnTo>
                  <a:lnTo>
                    <a:pt x="210" y="103"/>
                  </a:lnTo>
                  <a:lnTo>
                    <a:pt x="214" y="94"/>
                  </a:lnTo>
                  <a:lnTo>
                    <a:pt x="223" y="94"/>
                  </a:lnTo>
                  <a:lnTo>
                    <a:pt x="219" y="90"/>
                  </a:lnTo>
                  <a:lnTo>
                    <a:pt x="228" y="90"/>
                  </a:lnTo>
                  <a:lnTo>
                    <a:pt x="228" y="85"/>
                  </a:lnTo>
                  <a:lnTo>
                    <a:pt x="237" y="85"/>
                  </a:lnTo>
                  <a:lnTo>
                    <a:pt x="250" y="108"/>
                  </a:lnTo>
                  <a:lnTo>
                    <a:pt x="272" y="108"/>
                  </a:lnTo>
                  <a:lnTo>
                    <a:pt x="281" y="112"/>
                  </a:lnTo>
                  <a:lnTo>
                    <a:pt x="295" y="99"/>
                  </a:lnTo>
                  <a:lnTo>
                    <a:pt x="295" y="76"/>
                  </a:lnTo>
                  <a:lnTo>
                    <a:pt x="308" y="58"/>
                  </a:lnTo>
                  <a:lnTo>
                    <a:pt x="326" y="54"/>
                  </a:lnTo>
                  <a:lnTo>
                    <a:pt x="331" y="63"/>
                  </a:lnTo>
                  <a:lnTo>
                    <a:pt x="339" y="63"/>
                  </a:lnTo>
                  <a:lnTo>
                    <a:pt x="339" y="67"/>
                  </a:lnTo>
                  <a:lnTo>
                    <a:pt x="335" y="85"/>
                  </a:lnTo>
                  <a:lnTo>
                    <a:pt x="331" y="90"/>
                  </a:lnTo>
                  <a:lnTo>
                    <a:pt x="331" y="94"/>
                  </a:lnTo>
                  <a:lnTo>
                    <a:pt x="344" y="90"/>
                  </a:lnTo>
                  <a:lnTo>
                    <a:pt x="353" y="76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62" y="76"/>
                  </a:lnTo>
                  <a:lnTo>
                    <a:pt x="366" y="63"/>
                  </a:lnTo>
                  <a:lnTo>
                    <a:pt x="339" y="49"/>
                  </a:lnTo>
                  <a:lnTo>
                    <a:pt x="335" y="45"/>
                  </a:lnTo>
                  <a:lnTo>
                    <a:pt x="357" y="49"/>
                  </a:lnTo>
                  <a:lnTo>
                    <a:pt x="366" y="36"/>
                  </a:lnTo>
                  <a:lnTo>
                    <a:pt x="371" y="36"/>
                  </a:lnTo>
                  <a:lnTo>
                    <a:pt x="371" y="27"/>
                  </a:lnTo>
                  <a:lnTo>
                    <a:pt x="348" y="18"/>
                  </a:lnTo>
                  <a:lnTo>
                    <a:pt x="344" y="18"/>
                  </a:lnTo>
                  <a:lnTo>
                    <a:pt x="348" y="9"/>
                  </a:lnTo>
                  <a:lnTo>
                    <a:pt x="344" y="5"/>
                  </a:lnTo>
                  <a:lnTo>
                    <a:pt x="335" y="14"/>
                  </a:lnTo>
                  <a:lnTo>
                    <a:pt x="331" y="32"/>
                  </a:lnTo>
                  <a:lnTo>
                    <a:pt x="326" y="27"/>
                  </a:lnTo>
                  <a:lnTo>
                    <a:pt x="331" y="18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26" y="0"/>
                  </a:lnTo>
                  <a:lnTo>
                    <a:pt x="317" y="5"/>
                  </a:lnTo>
                  <a:lnTo>
                    <a:pt x="308" y="32"/>
                  </a:lnTo>
                  <a:lnTo>
                    <a:pt x="304" y="9"/>
                  </a:lnTo>
                  <a:lnTo>
                    <a:pt x="295" y="27"/>
                  </a:lnTo>
                  <a:lnTo>
                    <a:pt x="286" y="49"/>
                  </a:lnTo>
                  <a:lnTo>
                    <a:pt x="281" y="49"/>
                  </a:lnTo>
                  <a:lnTo>
                    <a:pt x="286" y="32"/>
                  </a:lnTo>
                  <a:lnTo>
                    <a:pt x="295" y="9"/>
                  </a:lnTo>
                  <a:lnTo>
                    <a:pt x="277" y="5"/>
                  </a:lnTo>
                  <a:lnTo>
                    <a:pt x="272" y="18"/>
                  </a:lnTo>
                  <a:lnTo>
                    <a:pt x="277" y="23"/>
                  </a:lnTo>
                  <a:lnTo>
                    <a:pt x="268" y="27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0" y="54"/>
                  </a:lnTo>
                  <a:lnTo>
                    <a:pt x="250" y="41"/>
                  </a:lnTo>
                  <a:lnTo>
                    <a:pt x="237" y="41"/>
                  </a:lnTo>
                  <a:lnTo>
                    <a:pt x="228" y="45"/>
                  </a:lnTo>
                  <a:lnTo>
                    <a:pt x="237" y="54"/>
                  </a:lnTo>
                  <a:lnTo>
                    <a:pt x="228" y="58"/>
                  </a:lnTo>
                  <a:lnTo>
                    <a:pt x="223" y="54"/>
                  </a:lnTo>
                  <a:lnTo>
                    <a:pt x="214" y="76"/>
                  </a:lnTo>
                  <a:lnTo>
                    <a:pt x="214" y="58"/>
                  </a:lnTo>
                  <a:lnTo>
                    <a:pt x="197" y="67"/>
                  </a:lnTo>
                  <a:lnTo>
                    <a:pt x="192" y="76"/>
                  </a:lnTo>
                  <a:lnTo>
                    <a:pt x="179" y="67"/>
                  </a:lnTo>
                  <a:lnTo>
                    <a:pt x="170" y="76"/>
                  </a:lnTo>
                  <a:lnTo>
                    <a:pt x="165" y="85"/>
                  </a:lnTo>
                  <a:lnTo>
                    <a:pt x="170" y="90"/>
                  </a:lnTo>
                  <a:lnTo>
                    <a:pt x="179" y="81"/>
                  </a:lnTo>
                  <a:lnTo>
                    <a:pt x="179" y="99"/>
                  </a:lnTo>
                  <a:lnTo>
                    <a:pt x="165" y="108"/>
                  </a:lnTo>
                  <a:lnTo>
                    <a:pt x="161" y="116"/>
                  </a:lnTo>
                  <a:lnTo>
                    <a:pt x="161" y="125"/>
                  </a:lnTo>
                  <a:lnTo>
                    <a:pt x="152" y="121"/>
                  </a:lnTo>
                  <a:lnTo>
                    <a:pt x="138" y="134"/>
                  </a:lnTo>
                  <a:lnTo>
                    <a:pt x="138" y="148"/>
                  </a:lnTo>
                  <a:lnTo>
                    <a:pt x="147" y="143"/>
                  </a:lnTo>
                  <a:lnTo>
                    <a:pt x="147" y="152"/>
                  </a:lnTo>
                  <a:lnTo>
                    <a:pt x="138" y="152"/>
                  </a:lnTo>
                  <a:lnTo>
                    <a:pt x="130" y="161"/>
                  </a:lnTo>
                  <a:lnTo>
                    <a:pt x="147" y="157"/>
                  </a:lnTo>
                  <a:lnTo>
                    <a:pt x="152" y="161"/>
                  </a:lnTo>
                  <a:lnTo>
                    <a:pt x="152" y="166"/>
                  </a:lnTo>
                  <a:lnTo>
                    <a:pt x="143" y="161"/>
                  </a:lnTo>
                  <a:lnTo>
                    <a:pt x="134" y="166"/>
                  </a:lnTo>
                  <a:lnTo>
                    <a:pt x="134" y="170"/>
                  </a:lnTo>
                  <a:lnTo>
                    <a:pt x="125" y="170"/>
                  </a:lnTo>
                  <a:lnTo>
                    <a:pt x="116" y="184"/>
                  </a:lnTo>
                  <a:lnTo>
                    <a:pt x="121" y="192"/>
                  </a:lnTo>
                  <a:lnTo>
                    <a:pt x="112" y="197"/>
                  </a:lnTo>
                  <a:lnTo>
                    <a:pt x="116" y="206"/>
                  </a:lnTo>
                  <a:lnTo>
                    <a:pt x="107" y="215"/>
                  </a:lnTo>
                  <a:lnTo>
                    <a:pt x="98" y="233"/>
                  </a:lnTo>
                  <a:lnTo>
                    <a:pt x="98" y="233"/>
                  </a:lnTo>
                  <a:lnTo>
                    <a:pt x="103" y="246"/>
                  </a:lnTo>
                  <a:lnTo>
                    <a:pt x="98" y="242"/>
                  </a:lnTo>
                  <a:lnTo>
                    <a:pt x="89" y="255"/>
                  </a:lnTo>
                  <a:lnTo>
                    <a:pt x="94" y="255"/>
                  </a:lnTo>
                  <a:lnTo>
                    <a:pt x="94" y="264"/>
                  </a:lnTo>
                  <a:lnTo>
                    <a:pt x="80" y="264"/>
                  </a:lnTo>
                  <a:lnTo>
                    <a:pt x="76" y="277"/>
                  </a:lnTo>
                  <a:lnTo>
                    <a:pt x="71" y="286"/>
                  </a:lnTo>
                  <a:lnTo>
                    <a:pt x="80" y="295"/>
                  </a:lnTo>
                  <a:lnTo>
                    <a:pt x="76" y="300"/>
                  </a:lnTo>
                  <a:lnTo>
                    <a:pt x="67" y="295"/>
                  </a:lnTo>
                  <a:lnTo>
                    <a:pt x="58" y="282"/>
                  </a:lnTo>
                  <a:lnTo>
                    <a:pt x="49" y="295"/>
                  </a:lnTo>
                  <a:lnTo>
                    <a:pt x="49" y="313"/>
                  </a:lnTo>
                  <a:lnTo>
                    <a:pt x="40" y="309"/>
                  </a:lnTo>
                  <a:lnTo>
                    <a:pt x="18" y="327"/>
                  </a:lnTo>
                  <a:lnTo>
                    <a:pt x="4" y="335"/>
                  </a:lnTo>
                  <a:lnTo>
                    <a:pt x="0" y="349"/>
                  </a:lnTo>
                  <a:lnTo>
                    <a:pt x="4" y="358"/>
                  </a:lnTo>
                  <a:lnTo>
                    <a:pt x="13" y="358"/>
                  </a:lnTo>
                  <a:lnTo>
                    <a:pt x="4" y="362"/>
                  </a:lnTo>
                  <a:lnTo>
                    <a:pt x="9" y="371"/>
                  </a:lnTo>
                  <a:lnTo>
                    <a:pt x="13" y="376"/>
                  </a:lnTo>
                  <a:lnTo>
                    <a:pt x="4" y="376"/>
                  </a:lnTo>
                  <a:lnTo>
                    <a:pt x="0" y="398"/>
                  </a:lnTo>
                  <a:lnTo>
                    <a:pt x="4" y="402"/>
                  </a:lnTo>
                  <a:lnTo>
                    <a:pt x="0" y="425"/>
                  </a:lnTo>
                  <a:lnTo>
                    <a:pt x="9" y="434"/>
                  </a:lnTo>
                  <a:lnTo>
                    <a:pt x="13" y="447"/>
                  </a:lnTo>
                  <a:lnTo>
                    <a:pt x="18" y="452"/>
                  </a:lnTo>
                  <a:lnTo>
                    <a:pt x="27" y="452"/>
                  </a:lnTo>
                  <a:lnTo>
                    <a:pt x="27" y="461"/>
                  </a:lnTo>
                  <a:lnTo>
                    <a:pt x="36" y="465"/>
                  </a:lnTo>
                  <a:lnTo>
                    <a:pt x="45" y="461"/>
                  </a:lnTo>
                  <a:lnTo>
                    <a:pt x="49" y="456"/>
                  </a:lnTo>
                  <a:lnTo>
                    <a:pt x="54" y="456"/>
                  </a:lnTo>
                  <a:lnTo>
                    <a:pt x="63" y="438"/>
                  </a:lnTo>
                  <a:lnTo>
                    <a:pt x="67" y="429"/>
                  </a:lnTo>
                  <a:lnTo>
                    <a:pt x="71" y="425"/>
                  </a:lnTo>
                  <a:lnTo>
                    <a:pt x="76" y="420"/>
                  </a:lnTo>
                  <a:lnTo>
                    <a:pt x="80" y="420"/>
                  </a:lnTo>
                  <a:lnTo>
                    <a:pt x="80" y="429"/>
                  </a:lnTo>
                  <a:lnTo>
                    <a:pt x="89" y="429"/>
                  </a:lnTo>
                  <a:lnTo>
                    <a:pt x="89" y="434"/>
                  </a:lnTo>
                  <a:close/>
                  <a:moveTo>
                    <a:pt x="112" y="139"/>
                  </a:moveTo>
                  <a:lnTo>
                    <a:pt x="121" y="130"/>
                  </a:lnTo>
                  <a:lnTo>
                    <a:pt x="125" y="125"/>
                  </a:lnTo>
                  <a:lnTo>
                    <a:pt x="130" y="125"/>
                  </a:lnTo>
                  <a:lnTo>
                    <a:pt x="138" y="121"/>
                  </a:lnTo>
                  <a:lnTo>
                    <a:pt x="138" y="112"/>
                  </a:lnTo>
                  <a:lnTo>
                    <a:pt x="134" y="116"/>
                  </a:lnTo>
                  <a:lnTo>
                    <a:pt x="130" y="121"/>
                  </a:lnTo>
                  <a:lnTo>
                    <a:pt x="125" y="121"/>
                  </a:lnTo>
                  <a:lnTo>
                    <a:pt x="112" y="130"/>
                  </a:lnTo>
                  <a:lnTo>
                    <a:pt x="112" y="139"/>
                  </a:lnTo>
                  <a:close/>
                  <a:moveTo>
                    <a:pt x="152" y="116"/>
                  </a:moveTo>
                  <a:lnTo>
                    <a:pt x="161" y="108"/>
                  </a:lnTo>
                  <a:lnTo>
                    <a:pt x="165" y="99"/>
                  </a:lnTo>
                  <a:lnTo>
                    <a:pt x="161" y="94"/>
                  </a:lnTo>
                  <a:lnTo>
                    <a:pt x="156" y="94"/>
                  </a:lnTo>
                  <a:lnTo>
                    <a:pt x="152" y="103"/>
                  </a:lnTo>
                  <a:lnTo>
                    <a:pt x="152" y="94"/>
                  </a:lnTo>
                  <a:lnTo>
                    <a:pt x="156" y="90"/>
                  </a:lnTo>
                  <a:lnTo>
                    <a:pt x="156" y="76"/>
                  </a:lnTo>
                  <a:lnTo>
                    <a:pt x="147" y="90"/>
                  </a:lnTo>
                  <a:lnTo>
                    <a:pt x="143" y="103"/>
                  </a:lnTo>
                  <a:lnTo>
                    <a:pt x="138" y="90"/>
                  </a:lnTo>
                  <a:lnTo>
                    <a:pt x="138" y="99"/>
                  </a:lnTo>
                  <a:lnTo>
                    <a:pt x="134" y="99"/>
                  </a:lnTo>
                  <a:lnTo>
                    <a:pt x="130" y="108"/>
                  </a:lnTo>
                  <a:lnTo>
                    <a:pt x="138" y="108"/>
                  </a:lnTo>
                  <a:lnTo>
                    <a:pt x="147" y="103"/>
                  </a:lnTo>
                  <a:lnTo>
                    <a:pt x="143" y="116"/>
                  </a:lnTo>
                  <a:lnTo>
                    <a:pt x="152" y="116"/>
                  </a:lnTo>
                  <a:close/>
                  <a:moveTo>
                    <a:pt x="192" y="67"/>
                  </a:moveTo>
                  <a:lnTo>
                    <a:pt x="197" y="63"/>
                  </a:lnTo>
                  <a:lnTo>
                    <a:pt x="201" y="58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10" y="49"/>
                  </a:lnTo>
                  <a:lnTo>
                    <a:pt x="205" y="54"/>
                  </a:lnTo>
                  <a:lnTo>
                    <a:pt x="201" y="49"/>
                  </a:lnTo>
                  <a:lnTo>
                    <a:pt x="192" y="54"/>
                  </a:lnTo>
                  <a:lnTo>
                    <a:pt x="192" y="63"/>
                  </a:lnTo>
                  <a:lnTo>
                    <a:pt x="188" y="58"/>
                  </a:lnTo>
                  <a:lnTo>
                    <a:pt x="183" y="67"/>
                  </a:lnTo>
                  <a:lnTo>
                    <a:pt x="192" y="67"/>
                  </a:lnTo>
                  <a:close/>
                  <a:moveTo>
                    <a:pt x="241" y="27"/>
                  </a:moveTo>
                  <a:lnTo>
                    <a:pt x="246" y="32"/>
                  </a:lnTo>
                  <a:lnTo>
                    <a:pt x="259" y="27"/>
                  </a:lnTo>
                  <a:lnTo>
                    <a:pt x="255" y="36"/>
                  </a:lnTo>
                  <a:lnTo>
                    <a:pt x="259" y="41"/>
                  </a:lnTo>
                  <a:lnTo>
                    <a:pt x="264" y="27"/>
                  </a:lnTo>
                  <a:lnTo>
                    <a:pt x="259" y="27"/>
                  </a:lnTo>
                  <a:lnTo>
                    <a:pt x="264" y="14"/>
                  </a:lnTo>
                  <a:lnTo>
                    <a:pt x="259" y="14"/>
                  </a:lnTo>
                  <a:lnTo>
                    <a:pt x="259" y="18"/>
                  </a:lnTo>
                  <a:lnTo>
                    <a:pt x="250" y="18"/>
                  </a:lnTo>
                  <a:lnTo>
                    <a:pt x="241" y="2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8" name="Freeform 187">
              <a:extLst>
                <a:ext uri="{FF2B5EF4-FFF2-40B4-BE49-F238E27FC236}">
                  <a16:creationId xmlns:a16="http://schemas.microsoft.com/office/drawing/2014/main" id="{4B71E865-1243-411F-9F1E-EA720DA065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960300" y="3207482"/>
              <a:ext cx="234172" cy="205925"/>
            </a:xfrm>
            <a:custGeom>
              <a:avLst/>
              <a:gdLst/>
              <a:ahLst/>
              <a:cxnLst>
                <a:cxn ang="0">
                  <a:pos x="13" y="99"/>
                </a:cxn>
                <a:cxn ang="0">
                  <a:pos x="13" y="90"/>
                </a:cxn>
                <a:cxn ang="0">
                  <a:pos x="9" y="85"/>
                </a:cxn>
                <a:cxn ang="0">
                  <a:pos x="9" y="72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0" y="36"/>
                </a:cxn>
                <a:cxn ang="0">
                  <a:pos x="0" y="27"/>
                </a:cxn>
                <a:cxn ang="0">
                  <a:pos x="5" y="27"/>
                </a:cxn>
                <a:cxn ang="0">
                  <a:pos x="9" y="36"/>
                </a:cxn>
                <a:cxn ang="0">
                  <a:pos x="9" y="27"/>
                </a:cxn>
                <a:cxn ang="0">
                  <a:pos x="13" y="23"/>
                </a:cxn>
                <a:cxn ang="0">
                  <a:pos x="22" y="14"/>
                </a:cxn>
                <a:cxn ang="0">
                  <a:pos x="36" y="14"/>
                </a:cxn>
                <a:cxn ang="0">
                  <a:pos x="40" y="5"/>
                </a:cxn>
                <a:cxn ang="0">
                  <a:pos x="49" y="0"/>
                </a:cxn>
                <a:cxn ang="0">
                  <a:pos x="58" y="0"/>
                </a:cxn>
                <a:cxn ang="0">
                  <a:pos x="72" y="0"/>
                </a:cxn>
                <a:cxn ang="0">
                  <a:pos x="72" y="5"/>
                </a:cxn>
                <a:cxn ang="0">
                  <a:pos x="63" y="5"/>
                </a:cxn>
                <a:cxn ang="0">
                  <a:pos x="67" y="9"/>
                </a:cxn>
                <a:cxn ang="0">
                  <a:pos x="76" y="5"/>
                </a:cxn>
                <a:cxn ang="0">
                  <a:pos x="76" y="14"/>
                </a:cxn>
                <a:cxn ang="0">
                  <a:pos x="80" y="9"/>
                </a:cxn>
                <a:cxn ang="0">
                  <a:pos x="89" y="9"/>
                </a:cxn>
                <a:cxn ang="0">
                  <a:pos x="107" y="14"/>
                </a:cxn>
                <a:cxn ang="0">
                  <a:pos x="130" y="14"/>
                </a:cxn>
                <a:cxn ang="0">
                  <a:pos x="139" y="23"/>
                </a:cxn>
                <a:cxn ang="0">
                  <a:pos x="139" y="27"/>
                </a:cxn>
                <a:cxn ang="0">
                  <a:pos x="143" y="41"/>
                </a:cxn>
                <a:cxn ang="0">
                  <a:pos x="147" y="50"/>
                </a:cxn>
                <a:cxn ang="0">
                  <a:pos x="147" y="59"/>
                </a:cxn>
                <a:cxn ang="0">
                  <a:pos x="134" y="63"/>
                </a:cxn>
                <a:cxn ang="0">
                  <a:pos x="139" y="72"/>
                </a:cxn>
                <a:cxn ang="0">
                  <a:pos x="139" y="81"/>
                </a:cxn>
                <a:cxn ang="0">
                  <a:pos x="139" y="85"/>
                </a:cxn>
                <a:cxn ang="0">
                  <a:pos x="143" y="99"/>
                </a:cxn>
                <a:cxn ang="0">
                  <a:pos x="143" y="108"/>
                </a:cxn>
                <a:cxn ang="0">
                  <a:pos x="147" y="112"/>
                </a:cxn>
                <a:cxn ang="0">
                  <a:pos x="143" y="117"/>
                </a:cxn>
                <a:cxn ang="0">
                  <a:pos x="134" y="121"/>
                </a:cxn>
                <a:cxn ang="0">
                  <a:pos x="125" y="135"/>
                </a:cxn>
                <a:cxn ang="0">
                  <a:pos x="130" y="139"/>
                </a:cxn>
                <a:cxn ang="0">
                  <a:pos x="125" y="139"/>
                </a:cxn>
                <a:cxn ang="0">
                  <a:pos x="112" y="130"/>
                </a:cxn>
                <a:cxn ang="0">
                  <a:pos x="98" y="135"/>
                </a:cxn>
                <a:cxn ang="0">
                  <a:pos x="94" y="130"/>
                </a:cxn>
                <a:cxn ang="0">
                  <a:pos x="89" y="139"/>
                </a:cxn>
                <a:cxn ang="0">
                  <a:pos x="80" y="130"/>
                </a:cxn>
                <a:cxn ang="0">
                  <a:pos x="72" y="135"/>
                </a:cxn>
                <a:cxn ang="0">
                  <a:pos x="67" y="130"/>
                </a:cxn>
                <a:cxn ang="0">
                  <a:pos x="67" y="121"/>
                </a:cxn>
                <a:cxn ang="0">
                  <a:pos x="58" y="121"/>
                </a:cxn>
                <a:cxn ang="0">
                  <a:pos x="54" y="112"/>
                </a:cxn>
                <a:cxn ang="0">
                  <a:pos x="45" y="108"/>
                </a:cxn>
                <a:cxn ang="0">
                  <a:pos x="40" y="117"/>
                </a:cxn>
                <a:cxn ang="0">
                  <a:pos x="31" y="112"/>
                </a:cxn>
                <a:cxn ang="0">
                  <a:pos x="36" y="108"/>
                </a:cxn>
                <a:cxn ang="0">
                  <a:pos x="27" y="108"/>
                </a:cxn>
                <a:cxn ang="0">
                  <a:pos x="22" y="99"/>
                </a:cxn>
                <a:cxn ang="0">
                  <a:pos x="18" y="103"/>
                </a:cxn>
                <a:cxn ang="0">
                  <a:pos x="13" y="99"/>
                </a:cxn>
              </a:cxnLst>
              <a:rect l="0" t="0" r="r" b="b"/>
              <a:pathLst>
                <a:path w="147" h="139">
                  <a:moveTo>
                    <a:pt x="13" y="99"/>
                  </a:moveTo>
                  <a:lnTo>
                    <a:pt x="13" y="90"/>
                  </a:lnTo>
                  <a:lnTo>
                    <a:pt x="9" y="85"/>
                  </a:lnTo>
                  <a:lnTo>
                    <a:pt x="9" y="72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36" y="14"/>
                  </a:lnTo>
                  <a:lnTo>
                    <a:pt x="40" y="5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0"/>
                  </a:lnTo>
                  <a:lnTo>
                    <a:pt x="72" y="5"/>
                  </a:lnTo>
                  <a:lnTo>
                    <a:pt x="63" y="5"/>
                  </a:lnTo>
                  <a:lnTo>
                    <a:pt x="67" y="9"/>
                  </a:lnTo>
                  <a:lnTo>
                    <a:pt x="76" y="5"/>
                  </a:lnTo>
                  <a:lnTo>
                    <a:pt x="76" y="14"/>
                  </a:lnTo>
                  <a:lnTo>
                    <a:pt x="80" y="9"/>
                  </a:lnTo>
                  <a:lnTo>
                    <a:pt x="89" y="9"/>
                  </a:lnTo>
                  <a:lnTo>
                    <a:pt x="107" y="14"/>
                  </a:lnTo>
                  <a:lnTo>
                    <a:pt x="130" y="14"/>
                  </a:lnTo>
                  <a:lnTo>
                    <a:pt x="139" y="23"/>
                  </a:lnTo>
                  <a:lnTo>
                    <a:pt x="139" y="27"/>
                  </a:lnTo>
                  <a:lnTo>
                    <a:pt x="143" y="41"/>
                  </a:lnTo>
                  <a:lnTo>
                    <a:pt x="147" y="50"/>
                  </a:lnTo>
                  <a:lnTo>
                    <a:pt x="147" y="59"/>
                  </a:lnTo>
                  <a:lnTo>
                    <a:pt x="134" y="63"/>
                  </a:lnTo>
                  <a:lnTo>
                    <a:pt x="139" y="72"/>
                  </a:lnTo>
                  <a:lnTo>
                    <a:pt x="139" y="81"/>
                  </a:lnTo>
                  <a:lnTo>
                    <a:pt x="139" y="85"/>
                  </a:lnTo>
                  <a:lnTo>
                    <a:pt x="143" y="99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3" y="117"/>
                  </a:lnTo>
                  <a:lnTo>
                    <a:pt x="134" y="121"/>
                  </a:lnTo>
                  <a:lnTo>
                    <a:pt x="125" y="135"/>
                  </a:lnTo>
                  <a:lnTo>
                    <a:pt x="130" y="139"/>
                  </a:lnTo>
                  <a:lnTo>
                    <a:pt x="125" y="139"/>
                  </a:lnTo>
                  <a:lnTo>
                    <a:pt x="112" y="130"/>
                  </a:lnTo>
                  <a:lnTo>
                    <a:pt x="98" y="135"/>
                  </a:lnTo>
                  <a:lnTo>
                    <a:pt x="94" y="130"/>
                  </a:lnTo>
                  <a:lnTo>
                    <a:pt x="89" y="139"/>
                  </a:lnTo>
                  <a:lnTo>
                    <a:pt x="80" y="130"/>
                  </a:lnTo>
                  <a:lnTo>
                    <a:pt x="72" y="135"/>
                  </a:lnTo>
                  <a:lnTo>
                    <a:pt x="67" y="130"/>
                  </a:lnTo>
                  <a:lnTo>
                    <a:pt x="67" y="121"/>
                  </a:lnTo>
                  <a:lnTo>
                    <a:pt x="58" y="121"/>
                  </a:lnTo>
                  <a:lnTo>
                    <a:pt x="54" y="112"/>
                  </a:lnTo>
                  <a:lnTo>
                    <a:pt x="45" y="108"/>
                  </a:lnTo>
                  <a:lnTo>
                    <a:pt x="40" y="117"/>
                  </a:lnTo>
                  <a:lnTo>
                    <a:pt x="31" y="112"/>
                  </a:lnTo>
                  <a:lnTo>
                    <a:pt x="36" y="108"/>
                  </a:lnTo>
                  <a:lnTo>
                    <a:pt x="27" y="108"/>
                  </a:lnTo>
                  <a:lnTo>
                    <a:pt x="22" y="99"/>
                  </a:lnTo>
                  <a:lnTo>
                    <a:pt x="18" y="103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9" name="Freeform 188">
              <a:extLst>
                <a:ext uri="{FF2B5EF4-FFF2-40B4-BE49-F238E27FC236}">
                  <a16:creationId xmlns:a16="http://schemas.microsoft.com/office/drawing/2014/main" id="{31EB32FB-45FB-40C8-A1AD-6BC012FF10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6190" y="3625257"/>
              <a:ext cx="256475" cy="265184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0" y="179"/>
                </a:cxn>
                <a:cxn ang="0">
                  <a:pos x="9" y="179"/>
                </a:cxn>
                <a:cxn ang="0">
                  <a:pos x="9" y="174"/>
                </a:cxn>
                <a:cxn ang="0">
                  <a:pos x="0" y="174"/>
                </a:cxn>
                <a:cxn ang="0">
                  <a:pos x="120" y="4"/>
                </a:cxn>
                <a:cxn ang="0">
                  <a:pos x="120" y="13"/>
                </a:cxn>
                <a:cxn ang="0">
                  <a:pos x="120" y="27"/>
                </a:cxn>
                <a:cxn ang="0">
                  <a:pos x="120" y="31"/>
                </a:cxn>
                <a:cxn ang="0">
                  <a:pos x="120" y="31"/>
                </a:cxn>
                <a:cxn ang="0">
                  <a:pos x="120" y="40"/>
                </a:cxn>
                <a:cxn ang="0">
                  <a:pos x="116" y="54"/>
                </a:cxn>
                <a:cxn ang="0">
                  <a:pos x="112" y="58"/>
                </a:cxn>
                <a:cxn ang="0">
                  <a:pos x="112" y="67"/>
                </a:cxn>
                <a:cxn ang="0">
                  <a:pos x="116" y="72"/>
                </a:cxn>
                <a:cxn ang="0">
                  <a:pos x="116" y="72"/>
                </a:cxn>
                <a:cxn ang="0">
                  <a:pos x="116" y="76"/>
                </a:cxn>
                <a:cxn ang="0">
                  <a:pos x="120" y="80"/>
                </a:cxn>
                <a:cxn ang="0">
                  <a:pos x="120" y="89"/>
                </a:cxn>
                <a:cxn ang="0">
                  <a:pos x="120" y="98"/>
                </a:cxn>
                <a:cxn ang="0">
                  <a:pos x="120" y="98"/>
                </a:cxn>
                <a:cxn ang="0">
                  <a:pos x="125" y="94"/>
                </a:cxn>
                <a:cxn ang="0">
                  <a:pos x="134" y="98"/>
                </a:cxn>
                <a:cxn ang="0">
                  <a:pos x="138" y="98"/>
                </a:cxn>
                <a:cxn ang="0">
                  <a:pos x="143" y="94"/>
                </a:cxn>
                <a:cxn ang="0">
                  <a:pos x="143" y="85"/>
                </a:cxn>
                <a:cxn ang="0">
                  <a:pos x="147" y="85"/>
                </a:cxn>
                <a:cxn ang="0">
                  <a:pos x="143" y="76"/>
                </a:cxn>
                <a:cxn ang="0">
                  <a:pos x="147" y="67"/>
                </a:cxn>
                <a:cxn ang="0">
                  <a:pos x="138" y="54"/>
                </a:cxn>
                <a:cxn ang="0">
                  <a:pos x="147" y="49"/>
                </a:cxn>
                <a:cxn ang="0">
                  <a:pos x="147" y="40"/>
                </a:cxn>
                <a:cxn ang="0">
                  <a:pos x="147" y="36"/>
                </a:cxn>
                <a:cxn ang="0">
                  <a:pos x="152" y="22"/>
                </a:cxn>
                <a:cxn ang="0">
                  <a:pos x="161" y="13"/>
                </a:cxn>
                <a:cxn ang="0">
                  <a:pos x="152" y="9"/>
                </a:cxn>
                <a:cxn ang="0">
                  <a:pos x="134" y="9"/>
                </a:cxn>
                <a:cxn ang="0">
                  <a:pos x="129" y="0"/>
                </a:cxn>
                <a:cxn ang="0">
                  <a:pos x="120" y="4"/>
                </a:cxn>
              </a:cxnLst>
              <a:rect l="0" t="0" r="r" b="b"/>
              <a:pathLst>
                <a:path w="161" h="179">
                  <a:moveTo>
                    <a:pt x="0" y="174"/>
                  </a:moveTo>
                  <a:lnTo>
                    <a:pt x="0" y="179"/>
                  </a:lnTo>
                  <a:lnTo>
                    <a:pt x="9" y="179"/>
                  </a:lnTo>
                  <a:lnTo>
                    <a:pt x="9" y="174"/>
                  </a:lnTo>
                  <a:lnTo>
                    <a:pt x="0" y="174"/>
                  </a:lnTo>
                  <a:close/>
                  <a:moveTo>
                    <a:pt x="120" y="4"/>
                  </a:moveTo>
                  <a:lnTo>
                    <a:pt x="120" y="13"/>
                  </a:lnTo>
                  <a:lnTo>
                    <a:pt x="120" y="27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40"/>
                  </a:lnTo>
                  <a:lnTo>
                    <a:pt x="116" y="54"/>
                  </a:lnTo>
                  <a:lnTo>
                    <a:pt x="112" y="58"/>
                  </a:lnTo>
                  <a:lnTo>
                    <a:pt x="112" y="67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6"/>
                  </a:lnTo>
                  <a:lnTo>
                    <a:pt x="120" y="80"/>
                  </a:lnTo>
                  <a:lnTo>
                    <a:pt x="120" y="89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25" y="94"/>
                  </a:lnTo>
                  <a:lnTo>
                    <a:pt x="134" y="98"/>
                  </a:lnTo>
                  <a:lnTo>
                    <a:pt x="138" y="98"/>
                  </a:lnTo>
                  <a:lnTo>
                    <a:pt x="143" y="94"/>
                  </a:lnTo>
                  <a:lnTo>
                    <a:pt x="143" y="85"/>
                  </a:lnTo>
                  <a:lnTo>
                    <a:pt x="147" y="85"/>
                  </a:lnTo>
                  <a:lnTo>
                    <a:pt x="143" y="76"/>
                  </a:lnTo>
                  <a:lnTo>
                    <a:pt x="147" y="67"/>
                  </a:lnTo>
                  <a:lnTo>
                    <a:pt x="138" y="54"/>
                  </a:lnTo>
                  <a:lnTo>
                    <a:pt x="147" y="49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52" y="22"/>
                  </a:lnTo>
                  <a:lnTo>
                    <a:pt x="161" y="13"/>
                  </a:lnTo>
                  <a:lnTo>
                    <a:pt x="152" y="9"/>
                  </a:lnTo>
                  <a:lnTo>
                    <a:pt x="134" y="9"/>
                  </a:lnTo>
                  <a:lnTo>
                    <a:pt x="129" y="0"/>
                  </a:lnTo>
                  <a:lnTo>
                    <a:pt x="120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0" name="Freeform 189">
              <a:extLst>
                <a:ext uri="{FF2B5EF4-FFF2-40B4-BE49-F238E27FC236}">
                  <a16:creationId xmlns:a16="http://schemas.microsoft.com/office/drawing/2014/main" id="{2B071506-5CF8-4A1D-B331-BE43FC9438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0043" y="3440073"/>
              <a:ext cx="205498" cy="145184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" y="54"/>
                </a:cxn>
                <a:cxn ang="0">
                  <a:pos x="4" y="62"/>
                </a:cxn>
                <a:cxn ang="0">
                  <a:pos x="13" y="71"/>
                </a:cxn>
                <a:cxn ang="0">
                  <a:pos x="22" y="76"/>
                </a:cxn>
                <a:cxn ang="0">
                  <a:pos x="27" y="76"/>
                </a:cxn>
                <a:cxn ang="0">
                  <a:pos x="27" y="80"/>
                </a:cxn>
                <a:cxn ang="0">
                  <a:pos x="31" y="80"/>
                </a:cxn>
                <a:cxn ang="0">
                  <a:pos x="36" y="80"/>
                </a:cxn>
                <a:cxn ang="0">
                  <a:pos x="36" y="89"/>
                </a:cxn>
                <a:cxn ang="0">
                  <a:pos x="49" y="94"/>
                </a:cxn>
                <a:cxn ang="0">
                  <a:pos x="62" y="98"/>
                </a:cxn>
                <a:cxn ang="0">
                  <a:pos x="76" y="98"/>
                </a:cxn>
                <a:cxn ang="0">
                  <a:pos x="85" y="89"/>
                </a:cxn>
                <a:cxn ang="0">
                  <a:pos x="98" y="85"/>
                </a:cxn>
                <a:cxn ang="0">
                  <a:pos x="116" y="94"/>
                </a:cxn>
                <a:cxn ang="0">
                  <a:pos x="116" y="85"/>
                </a:cxn>
                <a:cxn ang="0">
                  <a:pos x="120" y="80"/>
                </a:cxn>
                <a:cxn ang="0">
                  <a:pos x="120" y="67"/>
                </a:cxn>
                <a:cxn ang="0">
                  <a:pos x="120" y="71"/>
                </a:cxn>
                <a:cxn ang="0">
                  <a:pos x="129" y="71"/>
                </a:cxn>
                <a:cxn ang="0">
                  <a:pos x="129" y="62"/>
                </a:cxn>
                <a:cxn ang="0">
                  <a:pos x="125" y="62"/>
                </a:cxn>
                <a:cxn ang="0">
                  <a:pos x="116" y="67"/>
                </a:cxn>
                <a:cxn ang="0">
                  <a:pos x="112" y="62"/>
                </a:cxn>
                <a:cxn ang="0">
                  <a:pos x="107" y="58"/>
                </a:cxn>
                <a:cxn ang="0">
                  <a:pos x="112" y="40"/>
                </a:cxn>
                <a:cxn ang="0">
                  <a:pos x="107" y="27"/>
                </a:cxn>
                <a:cxn ang="0">
                  <a:pos x="103" y="18"/>
                </a:cxn>
                <a:cxn ang="0">
                  <a:pos x="89" y="0"/>
                </a:cxn>
                <a:cxn ang="0">
                  <a:pos x="67" y="9"/>
                </a:cxn>
                <a:cxn ang="0">
                  <a:pos x="40" y="4"/>
                </a:cxn>
                <a:cxn ang="0">
                  <a:pos x="36" y="9"/>
                </a:cxn>
                <a:cxn ang="0">
                  <a:pos x="36" y="13"/>
                </a:cxn>
                <a:cxn ang="0">
                  <a:pos x="22" y="18"/>
                </a:cxn>
                <a:cxn ang="0">
                  <a:pos x="13" y="36"/>
                </a:cxn>
                <a:cxn ang="0">
                  <a:pos x="13" y="40"/>
                </a:cxn>
                <a:cxn ang="0">
                  <a:pos x="4" y="45"/>
                </a:cxn>
                <a:cxn ang="0">
                  <a:pos x="0" y="45"/>
                </a:cxn>
              </a:cxnLst>
              <a:rect l="0" t="0" r="r" b="b"/>
              <a:pathLst>
                <a:path w="129" h="98">
                  <a:moveTo>
                    <a:pt x="0" y="45"/>
                  </a:moveTo>
                  <a:lnTo>
                    <a:pt x="4" y="54"/>
                  </a:lnTo>
                  <a:lnTo>
                    <a:pt x="4" y="62"/>
                  </a:lnTo>
                  <a:lnTo>
                    <a:pt x="13" y="71"/>
                  </a:lnTo>
                  <a:lnTo>
                    <a:pt x="22" y="76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6" y="80"/>
                  </a:lnTo>
                  <a:lnTo>
                    <a:pt x="36" y="89"/>
                  </a:lnTo>
                  <a:lnTo>
                    <a:pt x="49" y="94"/>
                  </a:lnTo>
                  <a:lnTo>
                    <a:pt x="62" y="98"/>
                  </a:lnTo>
                  <a:lnTo>
                    <a:pt x="76" y="98"/>
                  </a:lnTo>
                  <a:lnTo>
                    <a:pt x="85" y="89"/>
                  </a:lnTo>
                  <a:lnTo>
                    <a:pt x="98" y="85"/>
                  </a:lnTo>
                  <a:lnTo>
                    <a:pt x="116" y="94"/>
                  </a:lnTo>
                  <a:lnTo>
                    <a:pt x="116" y="85"/>
                  </a:lnTo>
                  <a:lnTo>
                    <a:pt x="120" y="80"/>
                  </a:lnTo>
                  <a:lnTo>
                    <a:pt x="120" y="67"/>
                  </a:lnTo>
                  <a:lnTo>
                    <a:pt x="120" y="71"/>
                  </a:lnTo>
                  <a:lnTo>
                    <a:pt x="129" y="71"/>
                  </a:lnTo>
                  <a:lnTo>
                    <a:pt x="129" y="62"/>
                  </a:lnTo>
                  <a:lnTo>
                    <a:pt x="125" y="62"/>
                  </a:lnTo>
                  <a:lnTo>
                    <a:pt x="116" y="67"/>
                  </a:lnTo>
                  <a:lnTo>
                    <a:pt x="112" y="62"/>
                  </a:lnTo>
                  <a:lnTo>
                    <a:pt x="107" y="58"/>
                  </a:lnTo>
                  <a:lnTo>
                    <a:pt x="112" y="40"/>
                  </a:lnTo>
                  <a:lnTo>
                    <a:pt x="107" y="27"/>
                  </a:lnTo>
                  <a:lnTo>
                    <a:pt x="103" y="18"/>
                  </a:lnTo>
                  <a:lnTo>
                    <a:pt x="89" y="0"/>
                  </a:lnTo>
                  <a:lnTo>
                    <a:pt x="67" y="9"/>
                  </a:lnTo>
                  <a:lnTo>
                    <a:pt x="40" y="4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22" y="18"/>
                  </a:lnTo>
                  <a:lnTo>
                    <a:pt x="13" y="36"/>
                  </a:lnTo>
                  <a:lnTo>
                    <a:pt x="13" y="40"/>
                  </a:lnTo>
                  <a:lnTo>
                    <a:pt x="4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1" name="Freeform 190">
              <a:extLst>
                <a:ext uri="{FF2B5EF4-FFF2-40B4-BE49-F238E27FC236}">
                  <a16:creationId xmlns:a16="http://schemas.microsoft.com/office/drawing/2014/main" id="{836DAF61-64F5-46D6-B35C-F85ECB14A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4021" y="3400073"/>
              <a:ext cx="135406" cy="45926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5" y="18"/>
                </a:cxn>
                <a:cxn ang="0">
                  <a:pos x="14" y="18"/>
                </a:cxn>
                <a:cxn ang="0">
                  <a:pos x="18" y="13"/>
                </a:cxn>
                <a:cxn ang="0">
                  <a:pos x="23" y="5"/>
                </a:cxn>
                <a:cxn ang="0">
                  <a:pos x="27" y="0"/>
                </a:cxn>
                <a:cxn ang="0">
                  <a:pos x="32" y="5"/>
                </a:cxn>
                <a:cxn ang="0">
                  <a:pos x="40" y="0"/>
                </a:cxn>
                <a:cxn ang="0">
                  <a:pos x="49" y="9"/>
                </a:cxn>
                <a:cxn ang="0">
                  <a:pos x="54" y="0"/>
                </a:cxn>
                <a:cxn ang="0">
                  <a:pos x="58" y="5"/>
                </a:cxn>
                <a:cxn ang="0">
                  <a:pos x="72" y="0"/>
                </a:cxn>
                <a:cxn ang="0">
                  <a:pos x="85" y="9"/>
                </a:cxn>
                <a:cxn ang="0">
                  <a:pos x="81" y="22"/>
                </a:cxn>
                <a:cxn ang="0">
                  <a:pos x="72" y="22"/>
                </a:cxn>
                <a:cxn ang="0">
                  <a:pos x="67" y="18"/>
                </a:cxn>
                <a:cxn ang="0">
                  <a:pos x="63" y="22"/>
                </a:cxn>
                <a:cxn ang="0">
                  <a:pos x="54" y="18"/>
                </a:cxn>
                <a:cxn ang="0">
                  <a:pos x="45" y="27"/>
                </a:cxn>
                <a:cxn ang="0">
                  <a:pos x="36" y="27"/>
                </a:cxn>
                <a:cxn ang="0">
                  <a:pos x="32" y="31"/>
                </a:cxn>
                <a:cxn ang="0">
                  <a:pos x="14" y="31"/>
                </a:cxn>
                <a:cxn ang="0">
                  <a:pos x="9" y="27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0" y="22"/>
                </a:cxn>
              </a:cxnLst>
              <a:rect l="0" t="0" r="r" b="b"/>
              <a:pathLst>
                <a:path w="85" h="31">
                  <a:moveTo>
                    <a:pt x="0" y="22"/>
                  </a:moveTo>
                  <a:lnTo>
                    <a:pt x="5" y="18"/>
                  </a:lnTo>
                  <a:lnTo>
                    <a:pt x="14" y="18"/>
                  </a:lnTo>
                  <a:lnTo>
                    <a:pt x="18" y="13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2" y="5"/>
                  </a:lnTo>
                  <a:lnTo>
                    <a:pt x="40" y="0"/>
                  </a:lnTo>
                  <a:lnTo>
                    <a:pt x="49" y="9"/>
                  </a:lnTo>
                  <a:lnTo>
                    <a:pt x="54" y="0"/>
                  </a:lnTo>
                  <a:lnTo>
                    <a:pt x="58" y="5"/>
                  </a:lnTo>
                  <a:lnTo>
                    <a:pt x="72" y="0"/>
                  </a:lnTo>
                  <a:lnTo>
                    <a:pt x="85" y="9"/>
                  </a:lnTo>
                  <a:lnTo>
                    <a:pt x="81" y="22"/>
                  </a:lnTo>
                  <a:lnTo>
                    <a:pt x="72" y="22"/>
                  </a:lnTo>
                  <a:lnTo>
                    <a:pt x="67" y="18"/>
                  </a:lnTo>
                  <a:lnTo>
                    <a:pt x="63" y="22"/>
                  </a:lnTo>
                  <a:lnTo>
                    <a:pt x="54" y="18"/>
                  </a:lnTo>
                  <a:lnTo>
                    <a:pt x="45" y="27"/>
                  </a:lnTo>
                  <a:lnTo>
                    <a:pt x="36" y="27"/>
                  </a:lnTo>
                  <a:lnTo>
                    <a:pt x="32" y="31"/>
                  </a:lnTo>
                  <a:lnTo>
                    <a:pt x="14" y="31"/>
                  </a:lnTo>
                  <a:lnTo>
                    <a:pt x="9" y="27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2" name="Freeform 191">
              <a:extLst>
                <a:ext uri="{FF2B5EF4-FFF2-40B4-BE49-F238E27FC236}">
                  <a16:creationId xmlns:a16="http://schemas.microsoft.com/office/drawing/2014/main" id="{9E880815-711F-44DD-8B49-86EF2F3AB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963" y="3485999"/>
              <a:ext cx="71685" cy="40000"/>
            </a:xfrm>
            <a:custGeom>
              <a:avLst/>
              <a:gdLst/>
              <a:ahLst/>
              <a:cxnLst>
                <a:cxn ang="0">
                  <a:pos x="5" y="27"/>
                </a:cxn>
                <a:cxn ang="0">
                  <a:pos x="5" y="27"/>
                </a:cxn>
                <a:cxn ang="0">
                  <a:pos x="5" y="27"/>
                </a:cxn>
                <a:cxn ang="0">
                  <a:pos x="14" y="27"/>
                </a:cxn>
                <a:cxn ang="0">
                  <a:pos x="14" y="27"/>
                </a:cxn>
                <a:cxn ang="0">
                  <a:pos x="18" y="23"/>
                </a:cxn>
                <a:cxn ang="0">
                  <a:pos x="22" y="27"/>
                </a:cxn>
                <a:cxn ang="0">
                  <a:pos x="27" y="27"/>
                </a:cxn>
                <a:cxn ang="0">
                  <a:pos x="27" y="27"/>
                </a:cxn>
                <a:cxn ang="0">
                  <a:pos x="27" y="23"/>
                </a:cxn>
                <a:cxn ang="0">
                  <a:pos x="31" y="18"/>
                </a:cxn>
                <a:cxn ang="0">
                  <a:pos x="31" y="18"/>
                </a:cxn>
                <a:cxn ang="0">
                  <a:pos x="31" y="14"/>
                </a:cxn>
                <a:cxn ang="0">
                  <a:pos x="31" y="14"/>
                </a:cxn>
                <a:cxn ang="0">
                  <a:pos x="36" y="14"/>
                </a:cxn>
                <a:cxn ang="0">
                  <a:pos x="36" y="9"/>
                </a:cxn>
                <a:cxn ang="0">
                  <a:pos x="40" y="9"/>
                </a:cxn>
                <a:cxn ang="0">
                  <a:pos x="40" y="9"/>
                </a:cxn>
                <a:cxn ang="0">
                  <a:pos x="40" y="5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0" y="0"/>
                </a:cxn>
                <a:cxn ang="0">
                  <a:pos x="27" y="5"/>
                </a:cxn>
                <a:cxn ang="0">
                  <a:pos x="18" y="9"/>
                </a:cxn>
                <a:cxn ang="0">
                  <a:pos x="5" y="9"/>
                </a:cxn>
                <a:cxn ang="0">
                  <a:pos x="0" y="9"/>
                </a:cxn>
                <a:cxn ang="0">
                  <a:pos x="5" y="14"/>
                </a:cxn>
                <a:cxn ang="0">
                  <a:pos x="5" y="18"/>
                </a:cxn>
                <a:cxn ang="0">
                  <a:pos x="9" y="27"/>
                </a:cxn>
                <a:cxn ang="0">
                  <a:pos x="5" y="27"/>
                </a:cxn>
              </a:cxnLst>
              <a:rect l="0" t="0" r="r" b="b"/>
              <a:pathLst>
                <a:path w="45" h="27">
                  <a:moveTo>
                    <a:pt x="5" y="27"/>
                  </a:moveTo>
                  <a:lnTo>
                    <a:pt x="5" y="27"/>
                  </a:lnTo>
                  <a:lnTo>
                    <a:pt x="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2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5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0"/>
                  </a:lnTo>
                  <a:lnTo>
                    <a:pt x="27" y="5"/>
                  </a:lnTo>
                  <a:lnTo>
                    <a:pt x="1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27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3" name="Freeform 192">
              <a:extLst>
                <a:ext uri="{FF2B5EF4-FFF2-40B4-BE49-F238E27FC236}">
                  <a16:creationId xmlns:a16="http://schemas.microsoft.com/office/drawing/2014/main" id="{D0FB1DBA-6EF7-4763-A123-1E36B1EAC0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96580" y="2539337"/>
              <a:ext cx="297893" cy="648885"/>
            </a:xfrm>
            <a:custGeom>
              <a:avLst/>
              <a:gdLst/>
              <a:ahLst/>
              <a:cxnLst>
                <a:cxn ang="0">
                  <a:pos x="0" y="340"/>
                </a:cxn>
                <a:cxn ang="0">
                  <a:pos x="9" y="358"/>
                </a:cxn>
                <a:cxn ang="0">
                  <a:pos x="13" y="358"/>
                </a:cxn>
                <a:cxn ang="0">
                  <a:pos x="9" y="371"/>
                </a:cxn>
                <a:cxn ang="0">
                  <a:pos x="13" y="384"/>
                </a:cxn>
                <a:cxn ang="0">
                  <a:pos x="27" y="402"/>
                </a:cxn>
                <a:cxn ang="0">
                  <a:pos x="22" y="411"/>
                </a:cxn>
                <a:cxn ang="0">
                  <a:pos x="22" y="429"/>
                </a:cxn>
                <a:cxn ang="0">
                  <a:pos x="31" y="438"/>
                </a:cxn>
                <a:cxn ang="0">
                  <a:pos x="45" y="434"/>
                </a:cxn>
                <a:cxn ang="0">
                  <a:pos x="45" y="420"/>
                </a:cxn>
                <a:cxn ang="0">
                  <a:pos x="53" y="416"/>
                </a:cxn>
                <a:cxn ang="0">
                  <a:pos x="76" y="407"/>
                </a:cxn>
                <a:cxn ang="0">
                  <a:pos x="85" y="358"/>
                </a:cxn>
                <a:cxn ang="0">
                  <a:pos x="112" y="340"/>
                </a:cxn>
                <a:cxn ang="0">
                  <a:pos x="116" y="317"/>
                </a:cxn>
                <a:cxn ang="0">
                  <a:pos x="98" y="295"/>
                </a:cxn>
                <a:cxn ang="0">
                  <a:pos x="94" y="282"/>
                </a:cxn>
                <a:cxn ang="0">
                  <a:pos x="98" y="259"/>
                </a:cxn>
                <a:cxn ang="0">
                  <a:pos x="98" y="241"/>
                </a:cxn>
                <a:cxn ang="0">
                  <a:pos x="98" y="233"/>
                </a:cxn>
                <a:cxn ang="0">
                  <a:pos x="103" y="224"/>
                </a:cxn>
                <a:cxn ang="0">
                  <a:pos x="103" y="215"/>
                </a:cxn>
                <a:cxn ang="0">
                  <a:pos x="116" y="210"/>
                </a:cxn>
                <a:cxn ang="0">
                  <a:pos x="125" y="201"/>
                </a:cxn>
                <a:cxn ang="0">
                  <a:pos x="138" y="188"/>
                </a:cxn>
                <a:cxn ang="0">
                  <a:pos x="143" y="165"/>
                </a:cxn>
                <a:cxn ang="0">
                  <a:pos x="161" y="139"/>
                </a:cxn>
                <a:cxn ang="0">
                  <a:pos x="165" y="125"/>
                </a:cxn>
                <a:cxn ang="0">
                  <a:pos x="174" y="125"/>
                </a:cxn>
                <a:cxn ang="0">
                  <a:pos x="183" y="112"/>
                </a:cxn>
                <a:cxn ang="0">
                  <a:pos x="187" y="81"/>
                </a:cxn>
                <a:cxn ang="0">
                  <a:pos x="179" y="36"/>
                </a:cxn>
                <a:cxn ang="0">
                  <a:pos x="152" y="14"/>
                </a:cxn>
                <a:cxn ang="0">
                  <a:pos x="129" y="0"/>
                </a:cxn>
                <a:cxn ang="0">
                  <a:pos x="125" y="22"/>
                </a:cxn>
                <a:cxn ang="0">
                  <a:pos x="98" y="22"/>
                </a:cxn>
                <a:cxn ang="0">
                  <a:pos x="98" y="40"/>
                </a:cxn>
                <a:cxn ang="0">
                  <a:pos x="80" y="49"/>
                </a:cxn>
                <a:cxn ang="0">
                  <a:pos x="80" y="81"/>
                </a:cxn>
                <a:cxn ang="0">
                  <a:pos x="62" y="112"/>
                </a:cxn>
                <a:cxn ang="0">
                  <a:pos x="53" y="116"/>
                </a:cxn>
                <a:cxn ang="0">
                  <a:pos x="49" y="139"/>
                </a:cxn>
                <a:cxn ang="0">
                  <a:pos x="45" y="179"/>
                </a:cxn>
                <a:cxn ang="0">
                  <a:pos x="27" y="179"/>
                </a:cxn>
                <a:cxn ang="0">
                  <a:pos x="13" y="201"/>
                </a:cxn>
                <a:cxn ang="0">
                  <a:pos x="13" y="210"/>
                </a:cxn>
                <a:cxn ang="0">
                  <a:pos x="27" y="273"/>
                </a:cxn>
                <a:cxn ang="0">
                  <a:pos x="22" y="313"/>
                </a:cxn>
                <a:cxn ang="0">
                  <a:pos x="13" y="331"/>
                </a:cxn>
                <a:cxn ang="0">
                  <a:pos x="4" y="340"/>
                </a:cxn>
                <a:cxn ang="0">
                  <a:pos x="80" y="402"/>
                </a:cxn>
                <a:cxn ang="0">
                  <a:pos x="80" y="411"/>
                </a:cxn>
                <a:cxn ang="0">
                  <a:pos x="89" y="384"/>
                </a:cxn>
                <a:cxn ang="0">
                  <a:pos x="120" y="371"/>
                </a:cxn>
                <a:cxn ang="0">
                  <a:pos x="112" y="371"/>
                </a:cxn>
                <a:cxn ang="0">
                  <a:pos x="103" y="376"/>
                </a:cxn>
                <a:cxn ang="0">
                  <a:pos x="107" y="393"/>
                </a:cxn>
                <a:cxn ang="0">
                  <a:pos x="112" y="380"/>
                </a:cxn>
                <a:cxn ang="0">
                  <a:pos x="120" y="371"/>
                </a:cxn>
              </a:cxnLst>
              <a:rect l="0" t="0" r="r" b="b"/>
              <a:pathLst>
                <a:path w="187" h="438">
                  <a:moveTo>
                    <a:pt x="4" y="340"/>
                  </a:moveTo>
                  <a:lnTo>
                    <a:pt x="0" y="340"/>
                  </a:lnTo>
                  <a:lnTo>
                    <a:pt x="0" y="358"/>
                  </a:lnTo>
                  <a:lnTo>
                    <a:pt x="9" y="358"/>
                  </a:lnTo>
                  <a:lnTo>
                    <a:pt x="9" y="353"/>
                  </a:lnTo>
                  <a:lnTo>
                    <a:pt x="13" y="358"/>
                  </a:lnTo>
                  <a:lnTo>
                    <a:pt x="9" y="367"/>
                  </a:lnTo>
                  <a:lnTo>
                    <a:pt x="9" y="371"/>
                  </a:lnTo>
                  <a:lnTo>
                    <a:pt x="9" y="384"/>
                  </a:lnTo>
                  <a:lnTo>
                    <a:pt x="13" y="384"/>
                  </a:lnTo>
                  <a:lnTo>
                    <a:pt x="18" y="398"/>
                  </a:lnTo>
                  <a:lnTo>
                    <a:pt x="27" y="402"/>
                  </a:lnTo>
                  <a:lnTo>
                    <a:pt x="18" y="411"/>
                  </a:lnTo>
                  <a:lnTo>
                    <a:pt x="22" y="411"/>
                  </a:lnTo>
                  <a:lnTo>
                    <a:pt x="18" y="411"/>
                  </a:lnTo>
                  <a:lnTo>
                    <a:pt x="22" y="429"/>
                  </a:lnTo>
                  <a:lnTo>
                    <a:pt x="22" y="434"/>
                  </a:lnTo>
                  <a:lnTo>
                    <a:pt x="31" y="438"/>
                  </a:lnTo>
                  <a:lnTo>
                    <a:pt x="45" y="438"/>
                  </a:lnTo>
                  <a:lnTo>
                    <a:pt x="45" y="434"/>
                  </a:lnTo>
                  <a:lnTo>
                    <a:pt x="45" y="429"/>
                  </a:lnTo>
                  <a:lnTo>
                    <a:pt x="45" y="420"/>
                  </a:lnTo>
                  <a:lnTo>
                    <a:pt x="53" y="420"/>
                  </a:lnTo>
                  <a:lnTo>
                    <a:pt x="53" y="416"/>
                  </a:lnTo>
                  <a:lnTo>
                    <a:pt x="71" y="416"/>
                  </a:lnTo>
                  <a:lnTo>
                    <a:pt x="76" y="407"/>
                  </a:lnTo>
                  <a:lnTo>
                    <a:pt x="80" y="380"/>
                  </a:lnTo>
                  <a:lnTo>
                    <a:pt x="85" y="358"/>
                  </a:lnTo>
                  <a:lnTo>
                    <a:pt x="94" y="344"/>
                  </a:lnTo>
                  <a:lnTo>
                    <a:pt x="112" y="340"/>
                  </a:lnTo>
                  <a:lnTo>
                    <a:pt x="107" y="331"/>
                  </a:lnTo>
                  <a:lnTo>
                    <a:pt x="116" y="317"/>
                  </a:lnTo>
                  <a:lnTo>
                    <a:pt x="112" y="308"/>
                  </a:lnTo>
                  <a:lnTo>
                    <a:pt x="98" y="295"/>
                  </a:lnTo>
                  <a:lnTo>
                    <a:pt x="94" y="291"/>
                  </a:lnTo>
                  <a:lnTo>
                    <a:pt x="94" y="282"/>
                  </a:lnTo>
                  <a:lnTo>
                    <a:pt x="94" y="259"/>
                  </a:lnTo>
                  <a:lnTo>
                    <a:pt x="98" y="259"/>
                  </a:lnTo>
                  <a:lnTo>
                    <a:pt x="94" y="255"/>
                  </a:lnTo>
                  <a:lnTo>
                    <a:pt x="98" y="241"/>
                  </a:lnTo>
                  <a:lnTo>
                    <a:pt x="94" y="237"/>
                  </a:lnTo>
                  <a:lnTo>
                    <a:pt x="98" y="233"/>
                  </a:lnTo>
                  <a:lnTo>
                    <a:pt x="98" y="224"/>
                  </a:lnTo>
                  <a:lnTo>
                    <a:pt x="103" y="224"/>
                  </a:lnTo>
                  <a:lnTo>
                    <a:pt x="107" y="219"/>
                  </a:lnTo>
                  <a:lnTo>
                    <a:pt x="103" y="215"/>
                  </a:lnTo>
                  <a:lnTo>
                    <a:pt x="112" y="206"/>
                  </a:lnTo>
                  <a:lnTo>
                    <a:pt x="116" y="210"/>
                  </a:lnTo>
                  <a:lnTo>
                    <a:pt x="125" y="197"/>
                  </a:lnTo>
                  <a:lnTo>
                    <a:pt x="125" y="201"/>
                  </a:lnTo>
                  <a:lnTo>
                    <a:pt x="129" y="192"/>
                  </a:lnTo>
                  <a:lnTo>
                    <a:pt x="138" y="188"/>
                  </a:lnTo>
                  <a:lnTo>
                    <a:pt x="152" y="174"/>
                  </a:lnTo>
                  <a:lnTo>
                    <a:pt x="143" y="165"/>
                  </a:lnTo>
                  <a:lnTo>
                    <a:pt x="152" y="148"/>
                  </a:lnTo>
                  <a:lnTo>
                    <a:pt x="161" y="139"/>
                  </a:lnTo>
                  <a:lnTo>
                    <a:pt x="161" y="130"/>
                  </a:lnTo>
                  <a:lnTo>
                    <a:pt x="165" y="125"/>
                  </a:lnTo>
                  <a:lnTo>
                    <a:pt x="165" y="121"/>
                  </a:lnTo>
                  <a:lnTo>
                    <a:pt x="174" y="125"/>
                  </a:lnTo>
                  <a:lnTo>
                    <a:pt x="187" y="125"/>
                  </a:lnTo>
                  <a:lnTo>
                    <a:pt x="183" y="112"/>
                  </a:lnTo>
                  <a:lnTo>
                    <a:pt x="183" y="98"/>
                  </a:lnTo>
                  <a:lnTo>
                    <a:pt x="187" y="81"/>
                  </a:lnTo>
                  <a:lnTo>
                    <a:pt x="183" y="58"/>
                  </a:lnTo>
                  <a:lnTo>
                    <a:pt x="179" y="36"/>
                  </a:lnTo>
                  <a:lnTo>
                    <a:pt x="174" y="22"/>
                  </a:lnTo>
                  <a:lnTo>
                    <a:pt x="152" y="14"/>
                  </a:lnTo>
                  <a:lnTo>
                    <a:pt x="138" y="0"/>
                  </a:lnTo>
                  <a:lnTo>
                    <a:pt x="129" y="0"/>
                  </a:lnTo>
                  <a:lnTo>
                    <a:pt x="125" y="9"/>
                  </a:lnTo>
                  <a:lnTo>
                    <a:pt x="125" y="22"/>
                  </a:lnTo>
                  <a:lnTo>
                    <a:pt x="103" y="18"/>
                  </a:lnTo>
                  <a:lnTo>
                    <a:pt x="98" y="22"/>
                  </a:lnTo>
                  <a:lnTo>
                    <a:pt x="103" y="36"/>
                  </a:lnTo>
                  <a:lnTo>
                    <a:pt x="98" y="40"/>
                  </a:lnTo>
                  <a:lnTo>
                    <a:pt x="89" y="36"/>
                  </a:lnTo>
                  <a:lnTo>
                    <a:pt x="80" y="49"/>
                  </a:lnTo>
                  <a:lnTo>
                    <a:pt x="76" y="63"/>
                  </a:lnTo>
                  <a:lnTo>
                    <a:pt x="80" y="81"/>
                  </a:lnTo>
                  <a:lnTo>
                    <a:pt x="58" y="103"/>
                  </a:lnTo>
                  <a:lnTo>
                    <a:pt x="62" y="112"/>
                  </a:lnTo>
                  <a:lnTo>
                    <a:pt x="58" y="121"/>
                  </a:lnTo>
                  <a:lnTo>
                    <a:pt x="53" y="116"/>
                  </a:lnTo>
                  <a:lnTo>
                    <a:pt x="49" y="121"/>
                  </a:lnTo>
                  <a:lnTo>
                    <a:pt x="49" y="139"/>
                  </a:lnTo>
                  <a:lnTo>
                    <a:pt x="40" y="165"/>
                  </a:lnTo>
                  <a:lnTo>
                    <a:pt x="45" y="179"/>
                  </a:lnTo>
                  <a:lnTo>
                    <a:pt x="36" y="183"/>
                  </a:lnTo>
                  <a:lnTo>
                    <a:pt x="27" y="179"/>
                  </a:lnTo>
                  <a:lnTo>
                    <a:pt x="18" y="183"/>
                  </a:lnTo>
                  <a:lnTo>
                    <a:pt x="13" y="201"/>
                  </a:lnTo>
                  <a:lnTo>
                    <a:pt x="18" y="206"/>
                  </a:lnTo>
                  <a:lnTo>
                    <a:pt x="13" y="210"/>
                  </a:lnTo>
                  <a:lnTo>
                    <a:pt x="13" y="255"/>
                  </a:lnTo>
                  <a:lnTo>
                    <a:pt x="27" y="273"/>
                  </a:lnTo>
                  <a:lnTo>
                    <a:pt x="18" y="286"/>
                  </a:lnTo>
                  <a:lnTo>
                    <a:pt x="22" y="313"/>
                  </a:lnTo>
                  <a:lnTo>
                    <a:pt x="13" y="322"/>
                  </a:lnTo>
                  <a:lnTo>
                    <a:pt x="13" y="331"/>
                  </a:lnTo>
                  <a:lnTo>
                    <a:pt x="13" y="344"/>
                  </a:lnTo>
                  <a:lnTo>
                    <a:pt x="4" y="340"/>
                  </a:lnTo>
                  <a:close/>
                  <a:moveTo>
                    <a:pt x="85" y="384"/>
                  </a:moveTo>
                  <a:lnTo>
                    <a:pt x="80" y="402"/>
                  </a:lnTo>
                  <a:lnTo>
                    <a:pt x="80" y="416"/>
                  </a:lnTo>
                  <a:lnTo>
                    <a:pt x="80" y="411"/>
                  </a:lnTo>
                  <a:lnTo>
                    <a:pt x="80" y="407"/>
                  </a:lnTo>
                  <a:lnTo>
                    <a:pt x="89" y="384"/>
                  </a:lnTo>
                  <a:lnTo>
                    <a:pt x="85" y="384"/>
                  </a:lnTo>
                  <a:close/>
                  <a:moveTo>
                    <a:pt x="120" y="371"/>
                  </a:moveTo>
                  <a:lnTo>
                    <a:pt x="116" y="367"/>
                  </a:lnTo>
                  <a:lnTo>
                    <a:pt x="112" y="371"/>
                  </a:lnTo>
                  <a:lnTo>
                    <a:pt x="107" y="367"/>
                  </a:lnTo>
                  <a:lnTo>
                    <a:pt x="103" y="376"/>
                  </a:lnTo>
                  <a:lnTo>
                    <a:pt x="103" y="384"/>
                  </a:lnTo>
                  <a:lnTo>
                    <a:pt x="107" y="393"/>
                  </a:lnTo>
                  <a:lnTo>
                    <a:pt x="112" y="380"/>
                  </a:lnTo>
                  <a:lnTo>
                    <a:pt x="112" y="380"/>
                  </a:lnTo>
                  <a:lnTo>
                    <a:pt x="112" y="371"/>
                  </a:lnTo>
                  <a:lnTo>
                    <a:pt x="120" y="3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4" name="Freeform 193">
              <a:extLst>
                <a:ext uri="{FF2B5EF4-FFF2-40B4-BE49-F238E27FC236}">
                  <a16:creationId xmlns:a16="http://schemas.microsoft.com/office/drawing/2014/main" id="{3BF34D16-8618-405D-B4CF-E41E5DC6FA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9848" y="3459332"/>
              <a:ext cx="92395" cy="53333"/>
            </a:xfrm>
            <a:custGeom>
              <a:avLst/>
              <a:gdLst/>
              <a:ahLst/>
              <a:cxnLst>
                <a:cxn ang="0">
                  <a:pos x="13" y="36"/>
                </a:cxn>
                <a:cxn ang="0">
                  <a:pos x="9" y="27"/>
                </a:cxn>
                <a:cxn ang="0">
                  <a:pos x="4" y="23"/>
                </a:cxn>
                <a:cxn ang="0">
                  <a:pos x="0" y="32"/>
                </a:cxn>
                <a:cxn ang="0">
                  <a:pos x="0" y="23"/>
                </a:cxn>
                <a:cxn ang="0">
                  <a:pos x="9" y="9"/>
                </a:cxn>
                <a:cxn ang="0">
                  <a:pos x="9" y="5"/>
                </a:cxn>
                <a:cxn ang="0">
                  <a:pos x="18" y="5"/>
                </a:cxn>
                <a:cxn ang="0">
                  <a:pos x="22" y="0"/>
                </a:cxn>
                <a:cxn ang="0">
                  <a:pos x="22" y="5"/>
                </a:cxn>
                <a:cxn ang="0">
                  <a:pos x="31" y="0"/>
                </a:cxn>
                <a:cxn ang="0">
                  <a:pos x="40" y="0"/>
                </a:cxn>
                <a:cxn ang="0">
                  <a:pos x="49" y="0"/>
                </a:cxn>
                <a:cxn ang="0">
                  <a:pos x="49" y="14"/>
                </a:cxn>
                <a:cxn ang="0">
                  <a:pos x="49" y="18"/>
                </a:cxn>
                <a:cxn ang="0">
                  <a:pos x="58" y="14"/>
                </a:cxn>
                <a:cxn ang="0">
                  <a:pos x="58" y="18"/>
                </a:cxn>
                <a:cxn ang="0">
                  <a:pos x="53" y="27"/>
                </a:cxn>
                <a:cxn ang="0">
                  <a:pos x="45" y="27"/>
                </a:cxn>
                <a:cxn ang="0">
                  <a:pos x="40" y="23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31" y="27"/>
                </a:cxn>
                <a:cxn ang="0">
                  <a:pos x="27" y="27"/>
                </a:cxn>
                <a:cxn ang="0">
                  <a:pos x="27" y="36"/>
                </a:cxn>
                <a:cxn ang="0">
                  <a:pos x="18" y="36"/>
                </a:cxn>
                <a:cxn ang="0">
                  <a:pos x="13" y="36"/>
                </a:cxn>
              </a:cxnLst>
              <a:rect l="0" t="0" r="r" b="b"/>
              <a:pathLst>
                <a:path w="58" h="36">
                  <a:moveTo>
                    <a:pt x="13" y="36"/>
                  </a:moveTo>
                  <a:lnTo>
                    <a:pt x="9" y="27"/>
                  </a:lnTo>
                  <a:lnTo>
                    <a:pt x="4" y="23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9" y="9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8" y="14"/>
                  </a:lnTo>
                  <a:lnTo>
                    <a:pt x="58" y="18"/>
                  </a:lnTo>
                  <a:lnTo>
                    <a:pt x="53" y="27"/>
                  </a:lnTo>
                  <a:lnTo>
                    <a:pt x="45" y="27"/>
                  </a:lnTo>
                  <a:lnTo>
                    <a:pt x="40" y="23"/>
                  </a:lnTo>
                  <a:lnTo>
                    <a:pt x="40" y="32"/>
                  </a:lnTo>
                  <a:lnTo>
                    <a:pt x="36" y="36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36"/>
                  </a:lnTo>
                  <a:lnTo>
                    <a:pt x="18" y="36"/>
                  </a:lnTo>
                  <a:lnTo>
                    <a:pt x="13" y="36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5" name="Freeform 194">
              <a:extLst>
                <a:ext uri="{FF2B5EF4-FFF2-40B4-BE49-F238E27FC236}">
                  <a16:creationId xmlns:a16="http://schemas.microsoft.com/office/drawing/2014/main" id="{AD2CFF2F-4193-4CBA-A007-FFF5DBE61F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37484" y="3625257"/>
              <a:ext cx="434892" cy="18518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8" y="0"/>
                </a:cxn>
                <a:cxn ang="0">
                  <a:pos x="32" y="4"/>
                </a:cxn>
                <a:cxn ang="0">
                  <a:pos x="45" y="18"/>
                </a:cxn>
                <a:cxn ang="0">
                  <a:pos x="32" y="22"/>
                </a:cxn>
                <a:cxn ang="0">
                  <a:pos x="14" y="31"/>
                </a:cxn>
                <a:cxn ang="0">
                  <a:pos x="0" y="40"/>
                </a:cxn>
                <a:cxn ang="0">
                  <a:pos x="9" y="27"/>
                </a:cxn>
                <a:cxn ang="0">
                  <a:pos x="63" y="112"/>
                </a:cxn>
                <a:cxn ang="0">
                  <a:pos x="85" y="107"/>
                </a:cxn>
                <a:cxn ang="0">
                  <a:pos x="99" y="116"/>
                </a:cxn>
                <a:cxn ang="0">
                  <a:pos x="121" y="107"/>
                </a:cxn>
                <a:cxn ang="0">
                  <a:pos x="139" y="112"/>
                </a:cxn>
                <a:cxn ang="0">
                  <a:pos x="148" y="107"/>
                </a:cxn>
                <a:cxn ang="0">
                  <a:pos x="143" y="116"/>
                </a:cxn>
                <a:cxn ang="0">
                  <a:pos x="139" y="125"/>
                </a:cxn>
                <a:cxn ang="0">
                  <a:pos x="157" y="116"/>
                </a:cxn>
                <a:cxn ang="0">
                  <a:pos x="179" y="103"/>
                </a:cxn>
                <a:cxn ang="0">
                  <a:pos x="210" y="103"/>
                </a:cxn>
                <a:cxn ang="0">
                  <a:pos x="241" y="103"/>
                </a:cxn>
                <a:cxn ang="0">
                  <a:pos x="264" y="103"/>
                </a:cxn>
                <a:cxn ang="0">
                  <a:pos x="273" y="94"/>
                </a:cxn>
                <a:cxn ang="0">
                  <a:pos x="259" y="63"/>
                </a:cxn>
                <a:cxn ang="0">
                  <a:pos x="264" y="45"/>
                </a:cxn>
                <a:cxn ang="0">
                  <a:pos x="250" y="22"/>
                </a:cxn>
                <a:cxn ang="0">
                  <a:pos x="219" y="13"/>
                </a:cxn>
                <a:cxn ang="0">
                  <a:pos x="206" y="22"/>
                </a:cxn>
                <a:cxn ang="0">
                  <a:pos x="183" y="22"/>
                </a:cxn>
                <a:cxn ang="0">
                  <a:pos x="148" y="18"/>
                </a:cxn>
                <a:cxn ang="0">
                  <a:pos x="134" y="9"/>
                </a:cxn>
                <a:cxn ang="0">
                  <a:pos x="130" y="0"/>
                </a:cxn>
                <a:cxn ang="0">
                  <a:pos x="103" y="0"/>
                </a:cxn>
                <a:cxn ang="0">
                  <a:pos x="76" y="18"/>
                </a:cxn>
                <a:cxn ang="0">
                  <a:pos x="54" y="18"/>
                </a:cxn>
                <a:cxn ang="0">
                  <a:pos x="45" y="22"/>
                </a:cxn>
                <a:cxn ang="0">
                  <a:pos x="40" y="27"/>
                </a:cxn>
                <a:cxn ang="0">
                  <a:pos x="36" y="31"/>
                </a:cxn>
                <a:cxn ang="0">
                  <a:pos x="23" y="40"/>
                </a:cxn>
                <a:cxn ang="0">
                  <a:pos x="9" y="36"/>
                </a:cxn>
                <a:cxn ang="0">
                  <a:pos x="0" y="49"/>
                </a:cxn>
                <a:cxn ang="0">
                  <a:pos x="9" y="54"/>
                </a:cxn>
                <a:cxn ang="0">
                  <a:pos x="14" y="72"/>
                </a:cxn>
                <a:cxn ang="0">
                  <a:pos x="5" y="67"/>
                </a:cxn>
                <a:cxn ang="0">
                  <a:pos x="9" y="76"/>
                </a:cxn>
                <a:cxn ang="0">
                  <a:pos x="14" y="85"/>
                </a:cxn>
                <a:cxn ang="0">
                  <a:pos x="23" y="94"/>
                </a:cxn>
                <a:cxn ang="0">
                  <a:pos x="27" y="98"/>
                </a:cxn>
                <a:cxn ang="0">
                  <a:pos x="23" y="107"/>
                </a:cxn>
                <a:cxn ang="0">
                  <a:pos x="32" y="107"/>
                </a:cxn>
                <a:cxn ang="0">
                  <a:pos x="45" y="103"/>
                </a:cxn>
                <a:cxn ang="0">
                  <a:pos x="54" y="116"/>
                </a:cxn>
              </a:cxnLst>
              <a:rect l="0" t="0" r="r" b="b"/>
              <a:pathLst>
                <a:path w="273" h="125">
                  <a:moveTo>
                    <a:pt x="0" y="22"/>
                  </a:moveTo>
                  <a:lnTo>
                    <a:pt x="0" y="18"/>
                  </a:lnTo>
                  <a:lnTo>
                    <a:pt x="0" y="9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2" y="13"/>
                  </a:lnTo>
                  <a:lnTo>
                    <a:pt x="45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18" y="22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9" y="27"/>
                  </a:lnTo>
                  <a:lnTo>
                    <a:pt x="0" y="22"/>
                  </a:lnTo>
                  <a:close/>
                  <a:moveTo>
                    <a:pt x="63" y="112"/>
                  </a:moveTo>
                  <a:lnTo>
                    <a:pt x="67" y="103"/>
                  </a:lnTo>
                  <a:lnTo>
                    <a:pt x="85" y="107"/>
                  </a:lnTo>
                  <a:lnTo>
                    <a:pt x="90" y="116"/>
                  </a:lnTo>
                  <a:lnTo>
                    <a:pt x="99" y="116"/>
                  </a:lnTo>
                  <a:lnTo>
                    <a:pt x="116" y="112"/>
                  </a:lnTo>
                  <a:lnTo>
                    <a:pt x="121" y="107"/>
                  </a:lnTo>
                  <a:lnTo>
                    <a:pt x="125" y="107"/>
                  </a:lnTo>
                  <a:lnTo>
                    <a:pt x="139" y="112"/>
                  </a:lnTo>
                  <a:lnTo>
                    <a:pt x="143" y="103"/>
                  </a:lnTo>
                  <a:lnTo>
                    <a:pt x="148" y="107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21"/>
                  </a:lnTo>
                  <a:lnTo>
                    <a:pt x="139" y="125"/>
                  </a:lnTo>
                  <a:lnTo>
                    <a:pt x="148" y="125"/>
                  </a:lnTo>
                  <a:lnTo>
                    <a:pt x="157" y="116"/>
                  </a:lnTo>
                  <a:lnTo>
                    <a:pt x="157" y="107"/>
                  </a:lnTo>
                  <a:lnTo>
                    <a:pt x="179" y="103"/>
                  </a:lnTo>
                  <a:lnTo>
                    <a:pt x="197" y="107"/>
                  </a:lnTo>
                  <a:lnTo>
                    <a:pt x="210" y="103"/>
                  </a:lnTo>
                  <a:lnTo>
                    <a:pt x="233" y="98"/>
                  </a:lnTo>
                  <a:lnTo>
                    <a:pt x="241" y="103"/>
                  </a:lnTo>
                  <a:lnTo>
                    <a:pt x="246" y="98"/>
                  </a:lnTo>
                  <a:lnTo>
                    <a:pt x="264" y="103"/>
                  </a:lnTo>
                  <a:lnTo>
                    <a:pt x="273" y="98"/>
                  </a:lnTo>
                  <a:lnTo>
                    <a:pt x="273" y="94"/>
                  </a:lnTo>
                  <a:lnTo>
                    <a:pt x="264" y="89"/>
                  </a:lnTo>
                  <a:lnTo>
                    <a:pt x="259" y="63"/>
                  </a:lnTo>
                  <a:lnTo>
                    <a:pt x="268" y="54"/>
                  </a:lnTo>
                  <a:lnTo>
                    <a:pt x="264" y="45"/>
                  </a:lnTo>
                  <a:lnTo>
                    <a:pt x="255" y="40"/>
                  </a:lnTo>
                  <a:lnTo>
                    <a:pt x="250" y="22"/>
                  </a:lnTo>
                  <a:lnTo>
                    <a:pt x="241" y="18"/>
                  </a:lnTo>
                  <a:lnTo>
                    <a:pt x="219" y="13"/>
                  </a:lnTo>
                  <a:lnTo>
                    <a:pt x="210" y="18"/>
                  </a:lnTo>
                  <a:lnTo>
                    <a:pt x="206" y="22"/>
                  </a:lnTo>
                  <a:lnTo>
                    <a:pt x="192" y="18"/>
                  </a:lnTo>
                  <a:lnTo>
                    <a:pt x="183" y="22"/>
                  </a:lnTo>
                  <a:lnTo>
                    <a:pt x="170" y="22"/>
                  </a:lnTo>
                  <a:lnTo>
                    <a:pt x="148" y="18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76" y="13"/>
                  </a:lnTo>
                  <a:lnTo>
                    <a:pt x="76" y="18"/>
                  </a:lnTo>
                  <a:lnTo>
                    <a:pt x="63" y="18"/>
                  </a:lnTo>
                  <a:lnTo>
                    <a:pt x="54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7"/>
                  </a:lnTo>
                  <a:lnTo>
                    <a:pt x="40" y="27"/>
                  </a:lnTo>
                  <a:lnTo>
                    <a:pt x="45" y="31"/>
                  </a:lnTo>
                  <a:lnTo>
                    <a:pt x="36" y="31"/>
                  </a:lnTo>
                  <a:lnTo>
                    <a:pt x="27" y="31"/>
                  </a:lnTo>
                  <a:lnTo>
                    <a:pt x="23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4" y="49"/>
                  </a:lnTo>
                  <a:lnTo>
                    <a:pt x="9" y="54"/>
                  </a:lnTo>
                  <a:lnTo>
                    <a:pt x="14" y="67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5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14" y="80"/>
                  </a:lnTo>
                  <a:lnTo>
                    <a:pt x="14" y="85"/>
                  </a:lnTo>
                  <a:lnTo>
                    <a:pt x="14" y="94"/>
                  </a:lnTo>
                  <a:lnTo>
                    <a:pt x="23" y="94"/>
                  </a:lnTo>
                  <a:lnTo>
                    <a:pt x="14" y="98"/>
                  </a:lnTo>
                  <a:lnTo>
                    <a:pt x="27" y="98"/>
                  </a:lnTo>
                  <a:lnTo>
                    <a:pt x="27" y="103"/>
                  </a:lnTo>
                  <a:lnTo>
                    <a:pt x="23" y="107"/>
                  </a:lnTo>
                  <a:lnTo>
                    <a:pt x="27" y="103"/>
                  </a:lnTo>
                  <a:lnTo>
                    <a:pt x="32" y="107"/>
                  </a:lnTo>
                  <a:lnTo>
                    <a:pt x="36" y="98"/>
                  </a:lnTo>
                  <a:lnTo>
                    <a:pt x="45" y="103"/>
                  </a:lnTo>
                  <a:lnTo>
                    <a:pt x="49" y="112"/>
                  </a:lnTo>
                  <a:lnTo>
                    <a:pt x="54" y="116"/>
                  </a:lnTo>
                  <a:lnTo>
                    <a:pt x="63" y="11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6" name="Freeform 195">
              <a:extLst>
                <a:ext uri="{FF2B5EF4-FFF2-40B4-BE49-F238E27FC236}">
                  <a16:creationId xmlns:a16="http://schemas.microsoft.com/office/drawing/2014/main" id="{CC6F5286-1EDC-42E9-ADBF-F7E5073A7E3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3055" y="3308222"/>
              <a:ext cx="404625" cy="250369"/>
            </a:xfrm>
            <a:custGeom>
              <a:avLst/>
              <a:gdLst/>
              <a:ahLst/>
              <a:cxnLst>
                <a:cxn ang="0">
                  <a:pos x="4" y="71"/>
                </a:cxn>
                <a:cxn ang="0">
                  <a:pos x="4" y="67"/>
                </a:cxn>
                <a:cxn ang="0">
                  <a:pos x="22" y="49"/>
                </a:cxn>
                <a:cxn ang="0">
                  <a:pos x="22" y="40"/>
                </a:cxn>
                <a:cxn ang="0">
                  <a:pos x="18" y="17"/>
                </a:cxn>
                <a:cxn ang="0">
                  <a:pos x="26" y="17"/>
                </a:cxn>
                <a:cxn ang="0">
                  <a:pos x="35" y="4"/>
                </a:cxn>
                <a:cxn ang="0">
                  <a:pos x="58" y="13"/>
                </a:cxn>
                <a:cxn ang="0">
                  <a:pos x="76" y="13"/>
                </a:cxn>
                <a:cxn ang="0">
                  <a:pos x="80" y="17"/>
                </a:cxn>
                <a:cxn ang="0">
                  <a:pos x="89" y="13"/>
                </a:cxn>
                <a:cxn ang="0">
                  <a:pos x="98" y="13"/>
                </a:cxn>
                <a:cxn ang="0">
                  <a:pos x="111" y="17"/>
                </a:cxn>
                <a:cxn ang="0">
                  <a:pos x="120" y="17"/>
                </a:cxn>
                <a:cxn ang="0">
                  <a:pos x="125" y="0"/>
                </a:cxn>
                <a:cxn ang="0">
                  <a:pos x="138" y="4"/>
                </a:cxn>
                <a:cxn ang="0">
                  <a:pos x="147" y="4"/>
                </a:cxn>
                <a:cxn ang="0">
                  <a:pos x="165" y="0"/>
                </a:cxn>
                <a:cxn ang="0">
                  <a:pos x="174" y="8"/>
                </a:cxn>
                <a:cxn ang="0">
                  <a:pos x="187" y="22"/>
                </a:cxn>
                <a:cxn ang="0">
                  <a:pos x="192" y="44"/>
                </a:cxn>
                <a:cxn ang="0">
                  <a:pos x="205" y="49"/>
                </a:cxn>
                <a:cxn ang="0">
                  <a:pos x="219" y="44"/>
                </a:cxn>
                <a:cxn ang="0">
                  <a:pos x="223" y="53"/>
                </a:cxn>
                <a:cxn ang="0">
                  <a:pos x="232" y="58"/>
                </a:cxn>
                <a:cxn ang="0">
                  <a:pos x="241" y="58"/>
                </a:cxn>
                <a:cxn ang="0">
                  <a:pos x="250" y="71"/>
                </a:cxn>
                <a:cxn ang="0">
                  <a:pos x="250" y="80"/>
                </a:cxn>
                <a:cxn ang="0">
                  <a:pos x="250" y="93"/>
                </a:cxn>
                <a:cxn ang="0">
                  <a:pos x="232" y="111"/>
                </a:cxn>
                <a:cxn ang="0">
                  <a:pos x="205" y="120"/>
                </a:cxn>
                <a:cxn ang="0">
                  <a:pos x="192" y="125"/>
                </a:cxn>
                <a:cxn ang="0">
                  <a:pos x="183" y="125"/>
                </a:cxn>
                <a:cxn ang="0">
                  <a:pos x="192" y="147"/>
                </a:cxn>
                <a:cxn ang="0">
                  <a:pos x="201" y="156"/>
                </a:cxn>
                <a:cxn ang="0">
                  <a:pos x="192" y="156"/>
                </a:cxn>
                <a:cxn ang="0">
                  <a:pos x="178" y="160"/>
                </a:cxn>
                <a:cxn ang="0">
                  <a:pos x="156" y="165"/>
                </a:cxn>
                <a:cxn ang="0">
                  <a:pos x="160" y="151"/>
                </a:cxn>
                <a:cxn ang="0">
                  <a:pos x="147" y="147"/>
                </a:cxn>
                <a:cxn ang="0">
                  <a:pos x="165" y="138"/>
                </a:cxn>
                <a:cxn ang="0">
                  <a:pos x="156" y="129"/>
                </a:cxn>
                <a:cxn ang="0">
                  <a:pos x="138" y="129"/>
                </a:cxn>
                <a:cxn ang="0">
                  <a:pos x="138" y="120"/>
                </a:cxn>
                <a:cxn ang="0">
                  <a:pos x="116" y="129"/>
                </a:cxn>
                <a:cxn ang="0">
                  <a:pos x="111" y="129"/>
                </a:cxn>
                <a:cxn ang="0">
                  <a:pos x="111" y="143"/>
                </a:cxn>
                <a:cxn ang="0">
                  <a:pos x="102" y="151"/>
                </a:cxn>
                <a:cxn ang="0">
                  <a:pos x="89" y="156"/>
                </a:cxn>
                <a:cxn ang="0">
                  <a:pos x="80" y="147"/>
                </a:cxn>
                <a:cxn ang="0">
                  <a:pos x="93" y="143"/>
                </a:cxn>
                <a:cxn ang="0">
                  <a:pos x="93" y="129"/>
                </a:cxn>
                <a:cxn ang="0">
                  <a:pos x="98" y="129"/>
                </a:cxn>
                <a:cxn ang="0">
                  <a:pos x="107" y="129"/>
                </a:cxn>
                <a:cxn ang="0">
                  <a:pos x="102" y="111"/>
                </a:cxn>
                <a:cxn ang="0">
                  <a:pos x="89" y="93"/>
                </a:cxn>
                <a:cxn ang="0">
                  <a:pos x="80" y="89"/>
                </a:cxn>
                <a:cxn ang="0">
                  <a:pos x="76" y="89"/>
                </a:cxn>
                <a:cxn ang="0">
                  <a:pos x="40" y="98"/>
                </a:cxn>
                <a:cxn ang="0">
                  <a:pos x="9" y="98"/>
                </a:cxn>
              </a:cxnLst>
              <a:rect l="0" t="0" r="r" b="b"/>
              <a:pathLst>
                <a:path w="254" h="169">
                  <a:moveTo>
                    <a:pt x="0" y="84"/>
                  </a:moveTo>
                  <a:lnTo>
                    <a:pt x="4" y="71"/>
                  </a:lnTo>
                  <a:lnTo>
                    <a:pt x="9" y="71"/>
                  </a:lnTo>
                  <a:lnTo>
                    <a:pt x="4" y="67"/>
                  </a:lnTo>
                  <a:lnTo>
                    <a:pt x="13" y="53"/>
                  </a:lnTo>
                  <a:lnTo>
                    <a:pt x="22" y="49"/>
                  </a:lnTo>
                  <a:lnTo>
                    <a:pt x="26" y="44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17"/>
                  </a:lnTo>
                  <a:lnTo>
                    <a:pt x="18" y="13"/>
                  </a:lnTo>
                  <a:lnTo>
                    <a:pt x="26" y="17"/>
                  </a:lnTo>
                  <a:lnTo>
                    <a:pt x="31" y="8"/>
                  </a:lnTo>
                  <a:lnTo>
                    <a:pt x="35" y="4"/>
                  </a:lnTo>
                  <a:lnTo>
                    <a:pt x="49" y="8"/>
                  </a:lnTo>
                  <a:lnTo>
                    <a:pt x="58" y="13"/>
                  </a:lnTo>
                  <a:lnTo>
                    <a:pt x="71" y="8"/>
                  </a:lnTo>
                  <a:lnTo>
                    <a:pt x="76" y="13"/>
                  </a:lnTo>
                  <a:lnTo>
                    <a:pt x="80" y="22"/>
                  </a:lnTo>
                  <a:lnTo>
                    <a:pt x="80" y="17"/>
                  </a:lnTo>
                  <a:lnTo>
                    <a:pt x="89" y="17"/>
                  </a:lnTo>
                  <a:lnTo>
                    <a:pt x="89" y="13"/>
                  </a:lnTo>
                  <a:lnTo>
                    <a:pt x="93" y="17"/>
                  </a:lnTo>
                  <a:lnTo>
                    <a:pt x="98" y="13"/>
                  </a:lnTo>
                  <a:lnTo>
                    <a:pt x="102" y="22"/>
                  </a:lnTo>
                  <a:lnTo>
                    <a:pt x="111" y="17"/>
                  </a:lnTo>
                  <a:lnTo>
                    <a:pt x="120" y="22"/>
                  </a:lnTo>
                  <a:lnTo>
                    <a:pt x="120" y="17"/>
                  </a:lnTo>
                  <a:lnTo>
                    <a:pt x="120" y="13"/>
                  </a:lnTo>
                  <a:lnTo>
                    <a:pt x="125" y="0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0"/>
                  </a:lnTo>
                  <a:lnTo>
                    <a:pt x="147" y="4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69" y="17"/>
                  </a:lnTo>
                  <a:lnTo>
                    <a:pt x="187" y="22"/>
                  </a:lnTo>
                  <a:lnTo>
                    <a:pt x="187" y="31"/>
                  </a:lnTo>
                  <a:lnTo>
                    <a:pt x="192" y="44"/>
                  </a:lnTo>
                  <a:lnTo>
                    <a:pt x="201" y="44"/>
                  </a:lnTo>
                  <a:lnTo>
                    <a:pt x="205" y="49"/>
                  </a:lnTo>
                  <a:lnTo>
                    <a:pt x="210" y="44"/>
                  </a:lnTo>
                  <a:lnTo>
                    <a:pt x="219" y="44"/>
                  </a:lnTo>
                  <a:lnTo>
                    <a:pt x="223" y="49"/>
                  </a:lnTo>
                  <a:lnTo>
                    <a:pt x="223" y="53"/>
                  </a:lnTo>
                  <a:lnTo>
                    <a:pt x="232" y="53"/>
                  </a:lnTo>
                  <a:lnTo>
                    <a:pt x="232" y="58"/>
                  </a:lnTo>
                  <a:lnTo>
                    <a:pt x="236" y="53"/>
                  </a:lnTo>
                  <a:lnTo>
                    <a:pt x="241" y="58"/>
                  </a:lnTo>
                  <a:lnTo>
                    <a:pt x="254" y="67"/>
                  </a:lnTo>
                  <a:lnTo>
                    <a:pt x="250" y="71"/>
                  </a:lnTo>
                  <a:lnTo>
                    <a:pt x="254" y="75"/>
                  </a:lnTo>
                  <a:lnTo>
                    <a:pt x="250" y="80"/>
                  </a:lnTo>
                  <a:lnTo>
                    <a:pt x="254" y="84"/>
                  </a:lnTo>
                  <a:lnTo>
                    <a:pt x="250" y="93"/>
                  </a:lnTo>
                  <a:lnTo>
                    <a:pt x="241" y="98"/>
                  </a:lnTo>
                  <a:lnTo>
                    <a:pt x="232" y="111"/>
                  </a:lnTo>
                  <a:lnTo>
                    <a:pt x="223" y="111"/>
                  </a:lnTo>
                  <a:lnTo>
                    <a:pt x="205" y="120"/>
                  </a:lnTo>
                  <a:lnTo>
                    <a:pt x="196" y="125"/>
                  </a:lnTo>
                  <a:lnTo>
                    <a:pt x="192" y="125"/>
                  </a:lnTo>
                  <a:lnTo>
                    <a:pt x="187" y="129"/>
                  </a:lnTo>
                  <a:lnTo>
                    <a:pt x="183" y="125"/>
                  </a:lnTo>
                  <a:lnTo>
                    <a:pt x="174" y="134"/>
                  </a:lnTo>
                  <a:lnTo>
                    <a:pt x="192" y="147"/>
                  </a:lnTo>
                  <a:lnTo>
                    <a:pt x="205" y="147"/>
                  </a:lnTo>
                  <a:lnTo>
                    <a:pt x="201" y="156"/>
                  </a:lnTo>
                  <a:lnTo>
                    <a:pt x="196" y="156"/>
                  </a:lnTo>
                  <a:lnTo>
                    <a:pt x="192" y="156"/>
                  </a:lnTo>
                  <a:lnTo>
                    <a:pt x="183" y="160"/>
                  </a:lnTo>
                  <a:lnTo>
                    <a:pt x="178" y="160"/>
                  </a:lnTo>
                  <a:lnTo>
                    <a:pt x="169" y="169"/>
                  </a:lnTo>
                  <a:lnTo>
                    <a:pt x="156" y="165"/>
                  </a:lnTo>
                  <a:lnTo>
                    <a:pt x="160" y="160"/>
                  </a:lnTo>
                  <a:lnTo>
                    <a:pt x="160" y="151"/>
                  </a:lnTo>
                  <a:lnTo>
                    <a:pt x="156" y="151"/>
                  </a:lnTo>
                  <a:lnTo>
                    <a:pt x="147" y="147"/>
                  </a:lnTo>
                  <a:lnTo>
                    <a:pt x="156" y="138"/>
                  </a:lnTo>
                  <a:lnTo>
                    <a:pt x="165" y="138"/>
                  </a:lnTo>
                  <a:lnTo>
                    <a:pt x="160" y="134"/>
                  </a:lnTo>
                  <a:lnTo>
                    <a:pt x="156" y="129"/>
                  </a:lnTo>
                  <a:lnTo>
                    <a:pt x="134" y="134"/>
                  </a:lnTo>
                  <a:lnTo>
                    <a:pt x="138" y="129"/>
                  </a:lnTo>
                  <a:lnTo>
                    <a:pt x="129" y="125"/>
                  </a:lnTo>
                  <a:lnTo>
                    <a:pt x="138" y="120"/>
                  </a:lnTo>
                  <a:lnTo>
                    <a:pt x="125" y="125"/>
                  </a:lnTo>
                  <a:lnTo>
                    <a:pt x="116" y="129"/>
                  </a:lnTo>
                  <a:lnTo>
                    <a:pt x="111" y="125"/>
                  </a:lnTo>
                  <a:lnTo>
                    <a:pt x="111" y="129"/>
                  </a:lnTo>
                  <a:lnTo>
                    <a:pt x="116" y="134"/>
                  </a:lnTo>
                  <a:lnTo>
                    <a:pt x="111" y="143"/>
                  </a:lnTo>
                  <a:lnTo>
                    <a:pt x="102" y="147"/>
                  </a:lnTo>
                  <a:lnTo>
                    <a:pt x="102" y="151"/>
                  </a:lnTo>
                  <a:lnTo>
                    <a:pt x="98" y="151"/>
                  </a:lnTo>
                  <a:lnTo>
                    <a:pt x="89" y="156"/>
                  </a:lnTo>
                  <a:lnTo>
                    <a:pt x="85" y="151"/>
                  </a:lnTo>
                  <a:lnTo>
                    <a:pt x="80" y="147"/>
                  </a:lnTo>
                  <a:lnTo>
                    <a:pt x="89" y="147"/>
                  </a:lnTo>
                  <a:lnTo>
                    <a:pt x="93" y="143"/>
                  </a:lnTo>
                  <a:lnTo>
                    <a:pt x="93" y="138"/>
                  </a:lnTo>
                  <a:lnTo>
                    <a:pt x="93" y="129"/>
                  </a:lnTo>
                  <a:lnTo>
                    <a:pt x="98" y="134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7" y="120"/>
                  </a:lnTo>
                  <a:lnTo>
                    <a:pt x="102" y="111"/>
                  </a:lnTo>
                  <a:lnTo>
                    <a:pt x="102" y="102"/>
                  </a:lnTo>
                  <a:lnTo>
                    <a:pt x="89" y="93"/>
                  </a:lnTo>
                  <a:lnTo>
                    <a:pt x="85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62" y="89"/>
                  </a:lnTo>
                  <a:lnTo>
                    <a:pt x="40" y="98"/>
                  </a:lnTo>
                  <a:lnTo>
                    <a:pt x="13" y="93"/>
                  </a:lnTo>
                  <a:lnTo>
                    <a:pt x="9" y="98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7" name="Freeform 196">
              <a:extLst>
                <a:ext uri="{FF2B5EF4-FFF2-40B4-BE49-F238E27FC236}">
                  <a16:creationId xmlns:a16="http://schemas.microsoft.com/office/drawing/2014/main" id="{48F72D0D-6754-4DDE-99D0-8EE5DC5EAF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6415" y="3619331"/>
              <a:ext cx="57348" cy="51852"/>
            </a:xfrm>
            <a:custGeom>
              <a:avLst/>
              <a:gdLst/>
              <a:ahLst/>
              <a:cxnLst>
                <a:cxn ang="0">
                  <a:pos x="9" y="35"/>
                </a:cxn>
                <a:cxn ang="0">
                  <a:pos x="0" y="31"/>
                </a:cxn>
                <a:cxn ang="0">
                  <a:pos x="0" y="8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23" y="0"/>
                </a:cxn>
                <a:cxn ang="0">
                  <a:pos x="27" y="4"/>
                </a:cxn>
                <a:cxn ang="0">
                  <a:pos x="36" y="8"/>
                </a:cxn>
                <a:cxn ang="0">
                  <a:pos x="36" y="22"/>
                </a:cxn>
                <a:cxn ang="0">
                  <a:pos x="27" y="26"/>
                </a:cxn>
                <a:cxn ang="0">
                  <a:pos x="23" y="26"/>
                </a:cxn>
                <a:cxn ang="0">
                  <a:pos x="18" y="31"/>
                </a:cxn>
                <a:cxn ang="0">
                  <a:pos x="9" y="35"/>
                </a:cxn>
              </a:cxnLst>
              <a:rect l="0" t="0" r="r" b="b"/>
              <a:pathLst>
                <a:path w="36" h="35">
                  <a:moveTo>
                    <a:pt x="9" y="35"/>
                  </a:moveTo>
                  <a:lnTo>
                    <a:pt x="0" y="31"/>
                  </a:lnTo>
                  <a:lnTo>
                    <a:pt x="0" y="8"/>
                  </a:lnTo>
                  <a:lnTo>
                    <a:pt x="9" y="4"/>
                  </a:lnTo>
                  <a:lnTo>
                    <a:pt x="9" y="4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36" y="8"/>
                  </a:lnTo>
                  <a:lnTo>
                    <a:pt x="36" y="22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31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8" name="Freeform 197">
              <a:extLst>
                <a:ext uri="{FF2B5EF4-FFF2-40B4-BE49-F238E27FC236}">
                  <a16:creationId xmlns:a16="http://schemas.microsoft.com/office/drawing/2014/main" id="{CC52C24C-3030-4C8D-9037-2D37A49B73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5316" y="2983779"/>
              <a:ext cx="234172" cy="402961"/>
            </a:xfrm>
            <a:custGeom>
              <a:avLst/>
              <a:gdLst/>
              <a:ahLst/>
              <a:cxnLst>
                <a:cxn ang="0">
                  <a:pos x="22" y="71"/>
                </a:cxn>
                <a:cxn ang="0">
                  <a:pos x="31" y="53"/>
                </a:cxn>
                <a:cxn ang="0">
                  <a:pos x="18" y="80"/>
                </a:cxn>
                <a:cxn ang="0">
                  <a:pos x="13" y="165"/>
                </a:cxn>
                <a:cxn ang="0">
                  <a:pos x="4" y="156"/>
                </a:cxn>
                <a:cxn ang="0">
                  <a:pos x="22" y="143"/>
                </a:cxn>
                <a:cxn ang="0">
                  <a:pos x="36" y="156"/>
                </a:cxn>
                <a:cxn ang="0">
                  <a:pos x="36" y="89"/>
                </a:cxn>
                <a:cxn ang="0">
                  <a:pos x="27" y="80"/>
                </a:cxn>
                <a:cxn ang="0">
                  <a:pos x="31" y="93"/>
                </a:cxn>
                <a:cxn ang="0">
                  <a:pos x="76" y="49"/>
                </a:cxn>
                <a:cxn ang="0">
                  <a:pos x="45" y="62"/>
                </a:cxn>
                <a:cxn ang="0">
                  <a:pos x="36" y="98"/>
                </a:cxn>
                <a:cxn ang="0">
                  <a:pos x="27" y="107"/>
                </a:cxn>
                <a:cxn ang="0">
                  <a:pos x="36" y="111"/>
                </a:cxn>
                <a:cxn ang="0">
                  <a:pos x="36" y="120"/>
                </a:cxn>
                <a:cxn ang="0">
                  <a:pos x="40" y="138"/>
                </a:cxn>
                <a:cxn ang="0">
                  <a:pos x="45" y="125"/>
                </a:cxn>
                <a:cxn ang="0">
                  <a:pos x="54" y="143"/>
                </a:cxn>
                <a:cxn ang="0">
                  <a:pos x="58" y="156"/>
                </a:cxn>
                <a:cxn ang="0">
                  <a:pos x="71" y="151"/>
                </a:cxn>
                <a:cxn ang="0">
                  <a:pos x="76" y="174"/>
                </a:cxn>
                <a:cxn ang="0">
                  <a:pos x="76" y="183"/>
                </a:cxn>
                <a:cxn ang="0">
                  <a:pos x="54" y="187"/>
                </a:cxn>
                <a:cxn ang="0">
                  <a:pos x="67" y="196"/>
                </a:cxn>
                <a:cxn ang="0">
                  <a:pos x="45" y="223"/>
                </a:cxn>
                <a:cxn ang="0">
                  <a:pos x="67" y="232"/>
                </a:cxn>
                <a:cxn ang="0">
                  <a:pos x="76" y="236"/>
                </a:cxn>
                <a:cxn ang="0">
                  <a:pos x="49" y="254"/>
                </a:cxn>
                <a:cxn ang="0">
                  <a:pos x="40" y="268"/>
                </a:cxn>
                <a:cxn ang="0">
                  <a:pos x="58" y="259"/>
                </a:cxn>
                <a:cxn ang="0">
                  <a:pos x="89" y="254"/>
                </a:cxn>
                <a:cxn ang="0">
                  <a:pos x="98" y="254"/>
                </a:cxn>
                <a:cxn ang="0">
                  <a:pos x="121" y="250"/>
                </a:cxn>
                <a:cxn ang="0">
                  <a:pos x="143" y="232"/>
                </a:cxn>
                <a:cxn ang="0">
                  <a:pos x="143" y="223"/>
                </a:cxn>
                <a:cxn ang="0">
                  <a:pos x="129" y="201"/>
                </a:cxn>
                <a:cxn ang="0">
                  <a:pos x="121" y="183"/>
                </a:cxn>
                <a:cxn ang="0">
                  <a:pos x="103" y="151"/>
                </a:cxn>
                <a:cxn ang="0">
                  <a:pos x="85" y="125"/>
                </a:cxn>
                <a:cxn ang="0">
                  <a:pos x="89" y="111"/>
                </a:cxn>
                <a:cxn ang="0">
                  <a:pos x="98" y="80"/>
                </a:cxn>
                <a:cxn ang="0">
                  <a:pos x="62" y="80"/>
                </a:cxn>
                <a:cxn ang="0">
                  <a:pos x="67" y="71"/>
                </a:cxn>
                <a:cxn ang="0">
                  <a:pos x="76" y="44"/>
                </a:cxn>
                <a:cxn ang="0">
                  <a:pos x="76" y="40"/>
                </a:cxn>
                <a:cxn ang="0">
                  <a:pos x="107" y="13"/>
                </a:cxn>
                <a:cxn ang="0">
                  <a:pos x="103" y="17"/>
                </a:cxn>
              </a:cxnLst>
              <a:rect l="0" t="0" r="r" b="b"/>
              <a:pathLst>
                <a:path w="147" h="272">
                  <a:moveTo>
                    <a:pt x="13" y="98"/>
                  </a:moveTo>
                  <a:lnTo>
                    <a:pt x="18" y="93"/>
                  </a:lnTo>
                  <a:lnTo>
                    <a:pt x="22" y="76"/>
                  </a:lnTo>
                  <a:lnTo>
                    <a:pt x="22" y="71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1" y="58"/>
                  </a:lnTo>
                  <a:lnTo>
                    <a:pt x="31" y="53"/>
                  </a:lnTo>
                  <a:lnTo>
                    <a:pt x="22" y="58"/>
                  </a:lnTo>
                  <a:lnTo>
                    <a:pt x="18" y="76"/>
                  </a:lnTo>
                  <a:lnTo>
                    <a:pt x="13" y="76"/>
                  </a:lnTo>
                  <a:lnTo>
                    <a:pt x="18" y="80"/>
                  </a:lnTo>
                  <a:lnTo>
                    <a:pt x="13" y="98"/>
                  </a:lnTo>
                  <a:close/>
                  <a:moveTo>
                    <a:pt x="27" y="169"/>
                  </a:moveTo>
                  <a:lnTo>
                    <a:pt x="22" y="169"/>
                  </a:lnTo>
                  <a:lnTo>
                    <a:pt x="13" y="165"/>
                  </a:lnTo>
                  <a:lnTo>
                    <a:pt x="13" y="174"/>
                  </a:lnTo>
                  <a:lnTo>
                    <a:pt x="0" y="169"/>
                  </a:lnTo>
                  <a:lnTo>
                    <a:pt x="0" y="165"/>
                  </a:lnTo>
                  <a:lnTo>
                    <a:pt x="4" y="156"/>
                  </a:lnTo>
                  <a:lnTo>
                    <a:pt x="9" y="156"/>
                  </a:lnTo>
                  <a:lnTo>
                    <a:pt x="13" y="151"/>
                  </a:lnTo>
                  <a:lnTo>
                    <a:pt x="18" y="143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36" y="151"/>
                  </a:lnTo>
                  <a:lnTo>
                    <a:pt x="31" y="156"/>
                  </a:lnTo>
                  <a:lnTo>
                    <a:pt x="36" y="156"/>
                  </a:lnTo>
                  <a:lnTo>
                    <a:pt x="40" y="160"/>
                  </a:lnTo>
                  <a:lnTo>
                    <a:pt x="36" y="165"/>
                  </a:lnTo>
                  <a:lnTo>
                    <a:pt x="27" y="169"/>
                  </a:lnTo>
                  <a:close/>
                  <a:moveTo>
                    <a:pt x="36" y="89"/>
                  </a:moveTo>
                  <a:lnTo>
                    <a:pt x="31" y="84"/>
                  </a:lnTo>
                  <a:lnTo>
                    <a:pt x="31" y="80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22" y="89"/>
                  </a:lnTo>
                  <a:lnTo>
                    <a:pt x="27" y="89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6" y="89"/>
                  </a:lnTo>
                  <a:close/>
                  <a:moveTo>
                    <a:pt x="62" y="71"/>
                  </a:moveTo>
                  <a:lnTo>
                    <a:pt x="76" y="58"/>
                  </a:lnTo>
                  <a:lnTo>
                    <a:pt x="76" y="49"/>
                  </a:lnTo>
                  <a:lnTo>
                    <a:pt x="58" y="53"/>
                  </a:lnTo>
                  <a:lnTo>
                    <a:pt x="49" y="49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6" y="84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107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27" y="111"/>
                  </a:lnTo>
                  <a:lnTo>
                    <a:pt x="27" y="116"/>
                  </a:lnTo>
                  <a:lnTo>
                    <a:pt x="36" y="111"/>
                  </a:lnTo>
                  <a:lnTo>
                    <a:pt x="45" y="102"/>
                  </a:lnTo>
                  <a:lnTo>
                    <a:pt x="49" y="102"/>
                  </a:lnTo>
                  <a:lnTo>
                    <a:pt x="36" y="120"/>
                  </a:lnTo>
                  <a:lnTo>
                    <a:pt x="36" y="120"/>
                  </a:lnTo>
                  <a:lnTo>
                    <a:pt x="31" y="125"/>
                  </a:lnTo>
                  <a:lnTo>
                    <a:pt x="36" y="125"/>
                  </a:lnTo>
                  <a:lnTo>
                    <a:pt x="40" y="134"/>
                  </a:lnTo>
                  <a:lnTo>
                    <a:pt x="40" y="138"/>
                  </a:lnTo>
                  <a:lnTo>
                    <a:pt x="45" y="138"/>
                  </a:lnTo>
                  <a:lnTo>
                    <a:pt x="45" y="134"/>
                  </a:lnTo>
                  <a:lnTo>
                    <a:pt x="49" y="134"/>
                  </a:lnTo>
                  <a:lnTo>
                    <a:pt x="45" y="125"/>
                  </a:lnTo>
                  <a:lnTo>
                    <a:pt x="49" y="125"/>
                  </a:lnTo>
                  <a:lnTo>
                    <a:pt x="49" y="134"/>
                  </a:lnTo>
                  <a:lnTo>
                    <a:pt x="54" y="134"/>
                  </a:lnTo>
                  <a:lnTo>
                    <a:pt x="54" y="143"/>
                  </a:lnTo>
                  <a:lnTo>
                    <a:pt x="49" y="151"/>
                  </a:lnTo>
                  <a:lnTo>
                    <a:pt x="54" y="160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62" y="156"/>
                  </a:lnTo>
                  <a:lnTo>
                    <a:pt x="58" y="151"/>
                  </a:lnTo>
                  <a:lnTo>
                    <a:pt x="67" y="156"/>
                  </a:lnTo>
                  <a:lnTo>
                    <a:pt x="71" y="151"/>
                  </a:lnTo>
                  <a:lnTo>
                    <a:pt x="80" y="151"/>
                  </a:lnTo>
                  <a:lnTo>
                    <a:pt x="76" y="156"/>
                  </a:lnTo>
                  <a:lnTo>
                    <a:pt x="71" y="160"/>
                  </a:lnTo>
                  <a:lnTo>
                    <a:pt x="76" y="174"/>
                  </a:lnTo>
                  <a:lnTo>
                    <a:pt x="80" y="169"/>
                  </a:lnTo>
                  <a:lnTo>
                    <a:pt x="85" y="169"/>
                  </a:lnTo>
                  <a:lnTo>
                    <a:pt x="76" y="174"/>
                  </a:lnTo>
                  <a:lnTo>
                    <a:pt x="76" y="183"/>
                  </a:lnTo>
                  <a:lnTo>
                    <a:pt x="80" y="187"/>
                  </a:lnTo>
                  <a:lnTo>
                    <a:pt x="62" y="187"/>
                  </a:lnTo>
                  <a:lnTo>
                    <a:pt x="58" y="187"/>
                  </a:lnTo>
                  <a:lnTo>
                    <a:pt x="54" y="187"/>
                  </a:lnTo>
                  <a:lnTo>
                    <a:pt x="58" y="192"/>
                  </a:lnTo>
                  <a:lnTo>
                    <a:pt x="54" y="201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67" y="205"/>
                  </a:lnTo>
                  <a:lnTo>
                    <a:pt x="67" y="210"/>
                  </a:lnTo>
                  <a:lnTo>
                    <a:pt x="62" y="219"/>
                  </a:lnTo>
                  <a:lnTo>
                    <a:pt x="45" y="223"/>
                  </a:lnTo>
                  <a:lnTo>
                    <a:pt x="49" y="232"/>
                  </a:lnTo>
                  <a:lnTo>
                    <a:pt x="58" y="223"/>
                  </a:lnTo>
                  <a:lnTo>
                    <a:pt x="62" y="232"/>
                  </a:lnTo>
                  <a:lnTo>
                    <a:pt x="67" y="232"/>
                  </a:lnTo>
                  <a:lnTo>
                    <a:pt x="71" y="232"/>
                  </a:lnTo>
                  <a:lnTo>
                    <a:pt x="76" y="227"/>
                  </a:lnTo>
                  <a:lnTo>
                    <a:pt x="80" y="227"/>
                  </a:lnTo>
                  <a:lnTo>
                    <a:pt x="76" y="236"/>
                  </a:lnTo>
                  <a:lnTo>
                    <a:pt x="62" y="241"/>
                  </a:lnTo>
                  <a:lnTo>
                    <a:pt x="58" y="245"/>
                  </a:lnTo>
                  <a:lnTo>
                    <a:pt x="54" y="250"/>
                  </a:lnTo>
                  <a:lnTo>
                    <a:pt x="49" y="254"/>
                  </a:lnTo>
                  <a:lnTo>
                    <a:pt x="45" y="259"/>
                  </a:lnTo>
                  <a:lnTo>
                    <a:pt x="40" y="263"/>
                  </a:lnTo>
                  <a:lnTo>
                    <a:pt x="36" y="268"/>
                  </a:lnTo>
                  <a:lnTo>
                    <a:pt x="40" y="268"/>
                  </a:lnTo>
                  <a:lnTo>
                    <a:pt x="45" y="268"/>
                  </a:lnTo>
                  <a:lnTo>
                    <a:pt x="45" y="272"/>
                  </a:lnTo>
                  <a:lnTo>
                    <a:pt x="49" y="263"/>
                  </a:lnTo>
                  <a:lnTo>
                    <a:pt x="58" y="259"/>
                  </a:lnTo>
                  <a:lnTo>
                    <a:pt x="71" y="263"/>
                  </a:lnTo>
                  <a:lnTo>
                    <a:pt x="71" y="254"/>
                  </a:lnTo>
                  <a:lnTo>
                    <a:pt x="85" y="250"/>
                  </a:lnTo>
                  <a:lnTo>
                    <a:pt x="89" y="254"/>
                  </a:lnTo>
                  <a:lnTo>
                    <a:pt x="89" y="259"/>
                  </a:lnTo>
                  <a:lnTo>
                    <a:pt x="94" y="254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103" y="254"/>
                  </a:lnTo>
                  <a:lnTo>
                    <a:pt x="103" y="250"/>
                  </a:lnTo>
                  <a:lnTo>
                    <a:pt x="112" y="254"/>
                  </a:lnTo>
                  <a:lnTo>
                    <a:pt x="121" y="250"/>
                  </a:lnTo>
                  <a:lnTo>
                    <a:pt x="125" y="250"/>
                  </a:lnTo>
                  <a:lnTo>
                    <a:pt x="138" y="250"/>
                  </a:lnTo>
                  <a:lnTo>
                    <a:pt x="143" y="241"/>
                  </a:lnTo>
                  <a:lnTo>
                    <a:pt x="143" y="232"/>
                  </a:lnTo>
                  <a:lnTo>
                    <a:pt x="134" y="232"/>
                  </a:lnTo>
                  <a:lnTo>
                    <a:pt x="129" y="232"/>
                  </a:lnTo>
                  <a:lnTo>
                    <a:pt x="138" y="223"/>
                  </a:lnTo>
                  <a:lnTo>
                    <a:pt x="143" y="223"/>
                  </a:lnTo>
                  <a:lnTo>
                    <a:pt x="147" y="214"/>
                  </a:lnTo>
                  <a:lnTo>
                    <a:pt x="147" y="205"/>
                  </a:lnTo>
                  <a:lnTo>
                    <a:pt x="143" y="201"/>
                  </a:lnTo>
                  <a:lnTo>
                    <a:pt x="129" y="201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25" y="192"/>
                  </a:lnTo>
                  <a:lnTo>
                    <a:pt x="121" y="183"/>
                  </a:lnTo>
                  <a:lnTo>
                    <a:pt x="121" y="178"/>
                  </a:lnTo>
                  <a:lnTo>
                    <a:pt x="112" y="160"/>
                  </a:lnTo>
                  <a:lnTo>
                    <a:pt x="107" y="160"/>
                  </a:lnTo>
                  <a:lnTo>
                    <a:pt x="103" y="151"/>
                  </a:lnTo>
                  <a:lnTo>
                    <a:pt x="103" y="147"/>
                  </a:lnTo>
                  <a:lnTo>
                    <a:pt x="98" y="134"/>
                  </a:lnTo>
                  <a:lnTo>
                    <a:pt x="94" y="129"/>
                  </a:lnTo>
                  <a:lnTo>
                    <a:pt x="85" y="125"/>
                  </a:lnTo>
                  <a:lnTo>
                    <a:pt x="76" y="125"/>
                  </a:lnTo>
                  <a:lnTo>
                    <a:pt x="80" y="116"/>
                  </a:lnTo>
                  <a:lnTo>
                    <a:pt x="85" y="120"/>
                  </a:lnTo>
                  <a:lnTo>
                    <a:pt x="89" y="111"/>
                  </a:lnTo>
                  <a:lnTo>
                    <a:pt x="85" y="116"/>
                  </a:lnTo>
                  <a:lnTo>
                    <a:pt x="85" y="107"/>
                  </a:lnTo>
                  <a:lnTo>
                    <a:pt x="85" y="98"/>
                  </a:lnTo>
                  <a:lnTo>
                    <a:pt x="98" y="80"/>
                  </a:lnTo>
                  <a:lnTo>
                    <a:pt x="98" y="76"/>
                  </a:lnTo>
                  <a:lnTo>
                    <a:pt x="89" y="80"/>
                  </a:lnTo>
                  <a:lnTo>
                    <a:pt x="71" y="76"/>
                  </a:lnTo>
                  <a:lnTo>
                    <a:pt x="62" y="80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2" y="76"/>
                  </a:lnTo>
                  <a:lnTo>
                    <a:pt x="67" y="71"/>
                  </a:lnTo>
                  <a:lnTo>
                    <a:pt x="62" y="71"/>
                  </a:lnTo>
                  <a:close/>
                  <a:moveTo>
                    <a:pt x="71" y="35"/>
                  </a:moveTo>
                  <a:lnTo>
                    <a:pt x="71" y="44"/>
                  </a:lnTo>
                  <a:lnTo>
                    <a:pt x="76" y="44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31"/>
                  </a:lnTo>
                  <a:lnTo>
                    <a:pt x="71" y="35"/>
                  </a:lnTo>
                  <a:close/>
                  <a:moveTo>
                    <a:pt x="103" y="17"/>
                  </a:moveTo>
                  <a:lnTo>
                    <a:pt x="107" y="13"/>
                  </a:lnTo>
                  <a:lnTo>
                    <a:pt x="103" y="0"/>
                  </a:lnTo>
                  <a:lnTo>
                    <a:pt x="98" y="8"/>
                  </a:lnTo>
                  <a:lnTo>
                    <a:pt x="103" y="8"/>
                  </a:lnTo>
                  <a:lnTo>
                    <a:pt x="103" y="1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9" name="Freeform 198">
              <a:extLst>
                <a:ext uri="{FF2B5EF4-FFF2-40B4-BE49-F238E27FC236}">
                  <a16:creationId xmlns:a16="http://schemas.microsoft.com/office/drawing/2014/main" id="{ADE9FDAB-5779-4503-9BAA-E5F6EB431A0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7032" y="3506739"/>
              <a:ext cx="106732" cy="124444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0" y="67"/>
                </a:cxn>
                <a:cxn ang="0">
                  <a:pos x="0" y="67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0" y="58"/>
                </a:cxn>
                <a:cxn ang="0">
                  <a:pos x="5" y="53"/>
                </a:cxn>
                <a:cxn ang="0">
                  <a:pos x="5" y="53"/>
                </a:cxn>
                <a:cxn ang="0">
                  <a:pos x="5" y="53"/>
                </a:cxn>
                <a:cxn ang="0">
                  <a:pos x="5" y="49"/>
                </a:cxn>
                <a:cxn ang="0">
                  <a:pos x="9" y="49"/>
                </a:cxn>
                <a:cxn ang="0">
                  <a:pos x="13" y="44"/>
                </a:cxn>
                <a:cxn ang="0">
                  <a:pos x="9" y="40"/>
                </a:cxn>
                <a:cxn ang="0">
                  <a:pos x="13" y="40"/>
                </a:cxn>
                <a:cxn ang="0">
                  <a:pos x="13" y="40"/>
                </a:cxn>
                <a:cxn ang="0">
                  <a:pos x="5" y="35"/>
                </a:cxn>
                <a:cxn ang="0">
                  <a:pos x="5" y="31"/>
                </a:cxn>
                <a:cxn ang="0">
                  <a:pos x="9" y="26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9" y="17"/>
                </a:cxn>
                <a:cxn ang="0">
                  <a:pos x="9" y="13"/>
                </a:cxn>
                <a:cxn ang="0">
                  <a:pos x="5" y="13"/>
                </a:cxn>
                <a:cxn ang="0">
                  <a:pos x="5" y="13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5" y="4"/>
                </a:cxn>
                <a:cxn ang="0">
                  <a:pos x="0" y="4"/>
                </a:cxn>
                <a:cxn ang="0">
                  <a:pos x="13" y="0"/>
                </a:cxn>
                <a:cxn ang="0">
                  <a:pos x="27" y="0"/>
                </a:cxn>
                <a:cxn ang="0">
                  <a:pos x="31" y="9"/>
                </a:cxn>
                <a:cxn ang="0">
                  <a:pos x="31" y="17"/>
                </a:cxn>
                <a:cxn ang="0">
                  <a:pos x="40" y="26"/>
                </a:cxn>
                <a:cxn ang="0">
                  <a:pos x="49" y="31"/>
                </a:cxn>
                <a:cxn ang="0">
                  <a:pos x="54" y="31"/>
                </a:cxn>
                <a:cxn ang="0">
                  <a:pos x="54" y="35"/>
                </a:cxn>
                <a:cxn ang="0">
                  <a:pos x="58" y="35"/>
                </a:cxn>
                <a:cxn ang="0">
                  <a:pos x="54" y="53"/>
                </a:cxn>
                <a:cxn ang="0">
                  <a:pos x="67" y="62"/>
                </a:cxn>
                <a:cxn ang="0">
                  <a:pos x="67" y="67"/>
                </a:cxn>
                <a:cxn ang="0">
                  <a:pos x="58" y="71"/>
                </a:cxn>
                <a:cxn ang="0">
                  <a:pos x="58" y="80"/>
                </a:cxn>
                <a:cxn ang="0">
                  <a:pos x="54" y="76"/>
                </a:cxn>
                <a:cxn ang="0">
                  <a:pos x="40" y="80"/>
                </a:cxn>
                <a:cxn ang="0">
                  <a:pos x="40" y="80"/>
                </a:cxn>
                <a:cxn ang="0">
                  <a:pos x="31" y="84"/>
                </a:cxn>
                <a:cxn ang="0">
                  <a:pos x="27" y="84"/>
                </a:cxn>
                <a:cxn ang="0">
                  <a:pos x="27" y="76"/>
                </a:cxn>
                <a:cxn ang="0">
                  <a:pos x="18" y="71"/>
                </a:cxn>
                <a:cxn ang="0">
                  <a:pos x="13" y="84"/>
                </a:cxn>
                <a:cxn ang="0">
                  <a:pos x="9" y="84"/>
                </a:cxn>
                <a:cxn ang="0">
                  <a:pos x="0" y="71"/>
                </a:cxn>
                <a:cxn ang="0">
                  <a:pos x="0" y="71"/>
                </a:cxn>
                <a:cxn ang="0">
                  <a:pos x="0" y="67"/>
                </a:cxn>
              </a:cxnLst>
              <a:rect l="0" t="0" r="r" b="b"/>
              <a:pathLst>
                <a:path w="67" h="84">
                  <a:moveTo>
                    <a:pt x="0" y="67"/>
                  </a:moveTo>
                  <a:lnTo>
                    <a:pt x="0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3" y="44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5" y="35"/>
                  </a:lnTo>
                  <a:lnTo>
                    <a:pt x="5" y="31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31" y="9"/>
                  </a:lnTo>
                  <a:lnTo>
                    <a:pt x="31" y="17"/>
                  </a:lnTo>
                  <a:lnTo>
                    <a:pt x="40" y="26"/>
                  </a:lnTo>
                  <a:lnTo>
                    <a:pt x="49" y="31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53"/>
                  </a:lnTo>
                  <a:lnTo>
                    <a:pt x="67" y="62"/>
                  </a:lnTo>
                  <a:lnTo>
                    <a:pt x="67" y="67"/>
                  </a:lnTo>
                  <a:lnTo>
                    <a:pt x="58" y="71"/>
                  </a:lnTo>
                  <a:lnTo>
                    <a:pt x="58" y="80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27" y="76"/>
                  </a:lnTo>
                  <a:lnTo>
                    <a:pt x="18" y="71"/>
                  </a:lnTo>
                  <a:lnTo>
                    <a:pt x="13" y="84"/>
                  </a:lnTo>
                  <a:lnTo>
                    <a:pt x="9" y="84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20" name="Freeform 199">
              <a:extLst>
                <a:ext uri="{FF2B5EF4-FFF2-40B4-BE49-F238E27FC236}">
                  <a16:creationId xmlns:a16="http://schemas.microsoft.com/office/drawing/2014/main" id="{312BD298-A808-423F-B936-B9784C4CCB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7032" y="3611924"/>
              <a:ext cx="20709" cy="192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9" y="13"/>
                </a:cxn>
                <a:cxn ang="0">
                  <a:pos x="13" y="13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3"/>
                  </a:lnTo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21" name="Freeform 200">
              <a:extLst>
                <a:ext uri="{FF2B5EF4-FFF2-40B4-BE49-F238E27FC236}">
                  <a16:creationId xmlns:a16="http://schemas.microsoft.com/office/drawing/2014/main" id="{E57E1EBF-D23D-4204-8A10-8BD9F829F6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6190" y="3579332"/>
              <a:ext cx="504984" cy="429627"/>
            </a:xfrm>
            <a:custGeom>
              <a:avLst/>
              <a:gdLst/>
              <a:ahLst/>
              <a:cxnLst>
                <a:cxn ang="0">
                  <a:pos x="4" y="290"/>
                </a:cxn>
                <a:cxn ang="0">
                  <a:pos x="13" y="277"/>
                </a:cxn>
                <a:cxn ang="0">
                  <a:pos x="22" y="286"/>
                </a:cxn>
                <a:cxn ang="0">
                  <a:pos x="27" y="290"/>
                </a:cxn>
                <a:cxn ang="0">
                  <a:pos x="27" y="286"/>
                </a:cxn>
                <a:cxn ang="0">
                  <a:pos x="143" y="125"/>
                </a:cxn>
                <a:cxn ang="0">
                  <a:pos x="156" y="138"/>
                </a:cxn>
                <a:cxn ang="0">
                  <a:pos x="170" y="147"/>
                </a:cxn>
                <a:cxn ang="0">
                  <a:pos x="179" y="143"/>
                </a:cxn>
                <a:cxn ang="0">
                  <a:pos x="196" y="138"/>
                </a:cxn>
                <a:cxn ang="0">
                  <a:pos x="205" y="138"/>
                </a:cxn>
                <a:cxn ang="0">
                  <a:pos x="219" y="134"/>
                </a:cxn>
                <a:cxn ang="0">
                  <a:pos x="228" y="125"/>
                </a:cxn>
                <a:cxn ang="0">
                  <a:pos x="241" y="111"/>
                </a:cxn>
                <a:cxn ang="0">
                  <a:pos x="250" y="98"/>
                </a:cxn>
                <a:cxn ang="0">
                  <a:pos x="241" y="89"/>
                </a:cxn>
                <a:cxn ang="0">
                  <a:pos x="263" y="53"/>
                </a:cxn>
                <a:cxn ang="0">
                  <a:pos x="295" y="35"/>
                </a:cxn>
                <a:cxn ang="0">
                  <a:pos x="295" y="31"/>
                </a:cxn>
                <a:cxn ang="0">
                  <a:pos x="295" y="27"/>
                </a:cxn>
                <a:cxn ang="0">
                  <a:pos x="277" y="27"/>
                </a:cxn>
                <a:cxn ang="0">
                  <a:pos x="259" y="22"/>
                </a:cxn>
                <a:cxn ang="0">
                  <a:pos x="241" y="22"/>
                </a:cxn>
                <a:cxn ang="0">
                  <a:pos x="223" y="4"/>
                </a:cxn>
                <a:cxn ang="0">
                  <a:pos x="214" y="4"/>
                </a:cxn>
                <a:cxn ang="0">
                  <a:pos x="201" y="4"/>
                </a:cxn>
                <a:cxn ang="0">
                  <a:pos x="179" y="4"/>
                </a:cxn>
                <a:cxn ang="0">
                  <a:pos x="170" y="0"/>
                </a:cxn>
                <a:cxn ang="0">
                  <a:pos x="152" y="4"/>
                </a:cxn>
                <a:cxn ang="0">
                  <a:pos x="143" y="0"/>
                </a:cxn>
                <a:cxn ang="0">
                  <a:pos x="125" y="0"/>
                </a:cxn>
                <a:cxn ang="0">
                  <a:pos x="116" y="4"/>
                </a:cxn>
                <a:cxn ang="0">
                  <a:pos x="112" y="18"/>
                </a:cxn>
                <a:cxn ang="0">
                  <a:pos x="116" y="22"/>
                </a:cxn>
                <a:cxn ang="0">
                  <a:pos x="116" y="31"/>
                </a:cxn>
                <a:cxn ang="0">
                  <a:pos x="129" y="31"/>
                </a:cxn>
                <a:cxn ang="0">
                  <a:pos x="152" y="40"/>
                </a:cxn>
                <a:cxn ang="0">
                  <a:pos x="152" y="53"/>
                </a:cxn>
                <a:cxn ang="0">
                  <a:pos x="147" y="71"/>
                </a:cxn>
                <a:cxn ang="0">
                  <a:pos x="138" y="85"/>
                </a:cxn>
                <a:cxn ang="0">
                  <a:pos x="143" y="107"/>
                </a:cxn>
                <a:cxn ang="0">
                  <a:pos x="143" y="116"/>
                </a:cxn>
                <a:cxn ang="0">
                  <a:pos x="268" y="94"/>
                </a:cxn>
                <a:cxn ang="0">
                  <a:pos x="268" y="103"/>
                </a:cxn>
                <a:cxn ang="0">
                  <a:pos x="272" y="103"/>
                </a:cxn>
                <a:cxn ang="0">
                  <a:pos x="272" y="94"/>
                </a:cxn>
                <a:cxn ang="0">
                  <a:pos x="286" y="85"/>
                </a:cxn>
                <a:cxn ang="0">
                  <a:pos x="290" y="89"/>
                </a:cxn>
                <a:cxn ang="0">
                  <a:pos x="304" y="85"/>
                </a:cxn>
                <a:cxn ang="0">
                  <a:pos x="299" y="76"/>
                </a:cxn>
                <a:cxn ang="0">
                  <a:pos x="290" y="80"/>
                </a:cxn>
                <a:cxn ang="0">
                  <a:pos x="308" y="71"/>
                </a:cxn>
                <a:cxn ang="0">
                  <a:pos x="317" y="80"/>
                </a:cxn>
                <a:cxn ang="0">
                  <a:pos x="308" y="71"/>
                </a:cxn>
              </a:cxnLst>
              <a:rect l="0" t="0" r="r" b="b"/>
              <a:pathLst>
                <a:path w="317" h="290">
                  <a:moveTo>
                    <a:pt x="0" y="281"/>
                  </a:moveTo>
                  <a:lnTo>
                    <a:pt x="4" y="290"/>
                  </a:lnTo>
                  <a:lnTo>
                    <a:pt x="13" y="286"/>
                  </a:lnTo>
                  <a:lnTo>
                    <a:pt x="13" y="277"/>
                  </a:lnTo>
                  <a:lnTo>
                    <a:pt x="0" y="281"/>
                  </a:lnTo>
                  <a:close/>
                  <a:moveTo>
                    <a:pt x="22" y="286"/>
                  </a:moveTo>
                  <a:lnTo>
                    <a:pt x="18" y="290"/>
                  </a:lnTo>
                  <a:lnTo>
                    <a:pt x="27" y="290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2" y="286"/>
                  </a:lnTo>
                  <a:close/>
                  <a:moveTo>
                    <a:pt x="143" y="125"/>
                  </a:moveTo>
                  <a:lnTo>
                    <a:pt x="156" y="134"/>
                  </a:lnTo>
                  <a:lnTo>
                    <a:pt x="156" y="138"/>
                  </a:lnTo>
                  <a:lnTo>
                    <a:pt x="156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79" y="143"/>
                  </a:lnTo>
                  <a:lnTo>
                    <a:pt x="187" y="134"/>
                  </a:lnTo>
                  <a:lnTo>
                    <a:pt x="196" y="138"/>
                  </a:lnTo>
                  <a:lnTo>
                    <a:pt x="205" y="134"/>
                  </a:lnTo>
                  <a:lnTo>
                    <a:pt x="205" y="138"/>
                  </a:lnTo>
                  <a:lnTo>
                    <a:pt x="214" y="134"/>
                  </a:lnTo>
                  <a:lnTo>
                    <a:pt x="219" y="134"/>
                  </a:lnTo>
                  <a:lnTo>
                    <a:pt x="223" y="129"/>
                  </a:lnTo>
                  <a:lnTo>
                    <a:pt x="228" y="125"/>
                  </a:lnTo>
                  <a:lnTo>
                    <a:pt x="237" y="125"/>
                  </a:lnTo>
                  <a:lnTo>
                    <a:pt x="241" y="111"/>
                  </a:lnTo>
                  <a:lnTo>
                    <a:pt x="246" y="103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1" y="89"/>
                  </a:lnTo>
                  <a:lnTo>
                    <a:pt x="241" y="85"/>
                  </a:lnTo>
                  <a:lnTo>
                    <a:pt x="263" y="53"/>
                  </a:lnTo>
                  <a:lnTo>
                    <a:pt x="281" y="49"/>
                  </a:lnTo>
                  <a:lnTo>
                    <a:pt x="295" y="35"/>
                  </a:lnTo>
                  <a:lnTo>
                    <a:pt x="295" y="31"/>
                  </a:lnTo>
                  <a:lnTo>
                    <a:pt x="295" y="31"/>
                  </a:lnTo>
                  <a:lnTo>
                    <a:pt x="299" y="27"/>
                  </a:lnTo>
                  <a:lnTo>
                    <a:pt x="295" y="27"/>
                  </a:lnTo>
                  <a:lnTo>
                    <a:pt x="286" y="27"/>
                  </a:lnTo>
                  <a:lnTo>
                    <a:pt x="277" y="27"/>
                  </a:lnTo>
                  <a:lnTo>
                    <a:pt x="268" y="22"/>
                  </a:lnTo>
                  <a:lnTo>
                    <a:pt x="259" y="22"/>
                  </a:lnTo>
                  <a:lnTo>
                    <a:pt x="246" y="22"/>
                  </a:lnTo>
                  <a:lnTo>
                    <a:pt x="241" y="22"/>
                  </a:lnTo>
                  <a:lnTo>
                    <a:pt x="228" y="13"/>
                  </a:lnTo>
                  <a:lnTo>
                    <a:pt x="223" y="4"/>
                  </a:lnTo>
                  <a:lnTo>
                    <a:pt x="214" y="9"/>
                  </a:lnTo>
                  <a:lnTo>
                    <a:pt x="214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2" y="4"/>
                  </a:lnTo>
                  <a:lnTo>
                    <a:pt x="179" y="4"/>
                  </a:lnTo>
                  <a:lnTo>
                    <a:pt x="170" y="4"/>
                  </a:lnTo>
                  <a:lnTo>
                    <a:pt x="170" y="0"/>
                  </a:lnTo>
                  <a:lnTo>
                    <a:pt x="161" y="0"/>
                  </a:lnTo>
                  <a:lnTo>
                    <a:pt x="152" y="4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5" y="0"/>
                  </a:lnTo>
                  <a:lnTo>
                    <a:pt x="129" y="4"/>
                  </a:lnTo>
                  <a:lnTo>
                    <a:pt x="116" y="4"/>
                  </a:lnTo>
                  <a:lnTo>
                    <a:pt x="112" y="9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5"/>
                  </a:lnTo>
                  <a:lnTo>
                    <a:pt x="129" y="31"/>
                  </a:lnTo>
                  <a:lnTo>
                    <a:pt x="134" y="40"/>
                  </a:lnTo>
                  <a:lnTo>
                    <a:pt x="152" y="40"/>
                  </a:lnTo>
                  <a:lnTo>
                    <a:pt x="161" y="44"/>
                  </a:lnTo>
                  <a:lnTo>
                    <a:pt x="152" y="53"/>
                  </a:lnTo>
                  <a:lnTo>
                    <a:pt x="147" y="67"/>
                  </a:lnTo>
                  <a:lnTo>
                    <a:pt x="147" y="71"/>
                  </a:lnTo>
                  <a:lnTo>
                    <a:pt x="147" y="80"/>
                  </a:lnTo>
                  <a:lnTo>
                    <a:pt x="138" y="85"/>
                  </a:lnTo>
                  <a:lnTo>
                    <a:pt x="147" y="98"/>
                  </a:lnTo>
                  <a:lnTo>
                    <a:pt x="143" y="107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3" y="125"/>
                  </a:lnTo>
                  <a:close/>
                  <a:moveTo>
                    <a:pt x="268" y="94"/>
                  </a:moveTo>
                  <a:lnTo>
                    <a:pt x="263" y="98"/>
                  </a:lnTo>
                  <a:lnTo>
                    <a:pt x="268" y="103"/>
                  </a:lnTo>
                  <a:lnTo>
                    <a:pt x="268" y="103"/>
                  </a:lnTo>
                  <a:lnTo>
                    <a:pt x="272" y="103"/>
                  </a:lnTo>
                  <a:lnTo>
                    <a:pt x="268" y="98"/>
                  </a:lnTo>
                  <a:lnTo>
                    <a:pt x="272" y="94"/>
                  </a:lnTo>
                  <a:lnTo>
                    <a:pt x="268" y="94"/>
                  </a:lnTo>
                  <a:close/>
                  <a:moveTo>
                    <a:pt x="286" y="85"/>
                  </a:moveTo>
                  <a:lnTo>
                    <a:pt x="286" y="85"/>
                  </a:lnTo>
                  <a:lnTo>
                    <a:pt x="290" y="89"/>
                  </a:lnTo>
                  <a:lnTo>
                    <a:pt x="299" y="89"/>
                  </a:lnTo>
                  <a:lnTo>
                    <a:pt x="304" y="85"/>
                  </a:lnTo>
                  <a:lnTo>
                    <a:pt x="304" y="80"/>
                  </a:lnTo>
                  <a:lnTo>
                    <a:pt x="299" y="76"/>
                  </a:lnTo>
                  <a:lnTo>
                    <a:pt x="299" y="76"/>
                  </a:lnTo>
                  <a:lnTo>
                    <a:pt x="290" y="80"/>
                  </a:lnTo>
                  <a:lnTo>
                    <a:pt x="286" y="85"/>
                  </a:lnTo>
                  <a:close/>
                  <a:moveTo>
                    <a:pt x="308" y="71"/>
                  </a:moveTo>
                  <a:lnTo>
                    <a:pt x="308" y="80"/>
                  </a:lnTo>
                  <a:lnTo>
                    <a:pt x="317" y="80"/>
                  </a:lnTo>
                  <a:lnTo>
                    <a:pt x="313" y="71"/>
                  </a:lnTo>
                  <a:lnTo>
                    <a:pt x="308" y="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22" name="Freeform 75">
              <a:extLst>
                <a:ext uri="{FF2B5EF4-FFF2-40B4-BE49-F238E27FC236}">
                  <a16:creationId xmlns:a16="http://schemas.microsoft.com/office/drawing/2014/main" id="{C54A3B10-C1D4-46C2-8AA5-E69E77B7EDA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946247" y="1844525"/>
              <a:ext cx="1402205" cy="1075096"/>
            </a:xfrm>
            <a:custGeom>
              <a:avLst/>
              <a:gdLst>
                <a:gd name="T0" fmla="*/ 0 w 2109"/>
                <a:gd name="T1" fmla="*/ 1 h 1540"/>
                <a:gd name="T2" fmla="*/ 0 w 2109"/>
                <a:gd name="T3" fmla="*/ 1 h 1540"/>
                <a:gd name="T4" fmla="*/ 0 w 2109"/>
                <a:gd name="T5" fmla="*/ 1 h 1540"/>
                <a:gd name="T6" fmla="*/ 0 w 2109"/>
                <a:gd name="T7" fmla="*/ 1 h 1540"/>
                <a:gd name="T8" fmla="*/ 0 w 2109"/>
                <a:gd name="T9" fmla="*/ 1 h 1540"/>
                <a:gd name="T10" fmla="*/ 0 w 2109"/>
                <a:gd name="T11" fmla="*/ 1 h 1540"/>
                <a:gd name="T12" fmla="*/ 0 w 2109"/>
                <a:gd name="T13" fmla="*/ 1 h 1540"/>
                <a:gd name="T14" fmla="*/ 0 w 2109"/>
                <a:gd name="T15" fmla="*/ 1 h 1540"/>
                <a:gd name="T16" fmla="*/ 0 w 2109"/>
                <a:gd name="T17" fmla="*/ 1 h 1540"/>
                <a:gd name="T18" fmla="*/ 0 w 2109"/>
                <a:gd name="T19" fmla="*/ 1 h 1540"/>
                <a:gd name="T20" fmla="*/ 0 w 2109"/>
                <a:gd name="T21" fmla="*/ 1 h 1540"/>
                <a:gd name="T22" fmla="*/ 0 w 2109"/>
                <a:gd name="T23" fmla="*/ 1 h 1540"/>
                <a:gd name="T24" fmla="*/ 0 w 2109"/>
                <a:gd name="T25" fmla="*/ 1 h 1540"/>
                <a:gd name="T26" fmla="*/ 0 w 2109"/>
                <a:gd name="T27" fmla="*/ 1 h 1540"/>
                <a:gd name="T28" fmla="*/ 0 w 2109"/>
                <a:gd name="T29" fmla="*/ 1 h 1540"/>
                <a:gd name="T30" fmla="*/ 0 w 2109"/>
                <a:gd name="T31" fmla="*/ 1 h 1540"/>
                <a:gd name="T32" fmla="*/ 0 w 2109"/>
                <a:gd name="T33" fmla="*/ 1 h 1540"/>
                <a:gd name="T34" fmla="*/ 0 w 2109"/>
                <a:gd name="T35" fmla="*/ 1 h 1540"/>
                <a:gd name="T36" fmla="*/ 0 w 2109"/>
                <a:gd name="T37" fmla="*/ 1 h 1540"/>
                <a:gd name="T38" fmla="*/ 0 w 2109"/>
                <a:gd name="T39" fmla="*/ 1 h 1540"/>
                <a:gd name="T40" fmla="*/ 0 w 2109"/>
                <a:gd name="T41" fmla="*/ 1 h 1540"/>
                <a:gd name="T42" fmla="*/ 0 w 2109"/>
                <a:gd name="T43" fmla="*/ 1 h 1540"/>
                <a:gd name="T44" fmla="*/ 0 w 2109"/>
                <a:gd name="T45" fmla="*/ 1 h 1540"/>
                <a:gd name="T46" fmla="*/ 0 w 2109"/>
                <a:gd name="T47" fmla="*/ 1 h 1540"/>
                <a:gd name="T48" fmla="*/ 0 w 2109"/>
                <a:gd name="T49" fmla="*/ 1 h 1540"/>
                <a:gd name="T50" fmla="*/ 0 w 2109"/>
                <a:gd name="T51" fmla="*/ 1 h 1540"/>
                <a:gd name="T52" fmla="*/ 0 w 2109"/>
                <a:gd name="T53" fmla="*/ 1 h 1540"/>
                <a:gd name="T54" fmla="*/ 0 w 2109"/>
                <a:gd name="T55" fmla="*/ 1 h 1540"/>
                <a:gd name="T56" fmla="*/ 0 w 2109"/>
                <a:gd name="T57" fmla="*/ 1 h 1540"/>
                <a:gd name="T58" fmla="*/ 0 w 2109"/>
                <a:gd name="T59" fmla="*/ 1 h 1540"/>
                <a:gd name="T60" fmla="*/ 0 w 2109"/>
                <a:gd name="T61" fmla="*/ 1 h 1540"/>
                <a:gd name="T62" fmla="*/ 0 w 2109"/>
                <a:gd name="T63" fmla="*/ 1 h 1540"/>
                <a:gd name="T64" fmla="*/ 0 w 2109"/>
                <a:gd name="T65" fmla="*/ 1 h 1540"/>
                <a:gd name="T66" fmla="*/ 0 w 2109"/>
                <a:gd name="T67" fmla="*/ 1 h 1540"/>
                <a:gd name="T68" fmla="*/ 0 w 2109"/>
                <a:gd name="T69" fmla="*/ 1 h 1540"/>
                <a:gd name="T70" fmla="*/ 0 w 2109"/>
                <a:gd name="T71" fmla="*/ 1 h 1540"/>
                <a:gd name="T72" fmla="*/ 0 w 2109"/>
                <a:gd name="T73" fmla="*/ 1 h 1540"/>
                <a:gd name="T74" fmla="*/ 0 w 2109"/>
                <a:gd name="T75" fmla="*/ 1 h 1540"/>
                <a:gd name="T76" fmla="*/ 0 w 2109"/>
                <a:gd name="T77" fmla="*/ 1 h 1540"/>
                <a:gd name="T78" fmla="*/ 0 w 2109"/>
                <a:gd name="T79" fmla="*/ 1 h 1540"/>
                <a:gd name="T80" fmla="*/ 0 w 2109"/>
                <a:gd name="T81" fmla="*/ 1 h 1540"/>
                <a:gd name="T82" fmla="*/ 0 w 2109"/>
                <a:gd name="T83" fmla="*/ 1 h 1540"/>
                <a:gd name="T84" fmla="*/ 0 w 2109"/>
                <a:gd name="T85" fmla="*/ 1 h 1540"/>
                <a:gd name="T86" fmla="*/ 0 w 2109"/>
                <a:gd name="T87" fmla="*/ 1 h 1540"/>
                <a:gd name="T88" fmla="*/ 0 w 2109"/>
                <a:gd name="T89" fmla="*/ 1 h 1540"/>
                <a:gd name="T90" fmla="*/ 0 w 2109"/>
                <a:gd name="T91" fmla="*/ 1 h 1540"/>
                <a:gd name="T92" fmla="*/ 0 w 2109"/>
                <a:gd name="T93" fmla="*/ 1 h 1540"/>
                <a:gd name="T94" fmla="*/ 0 w 2109"/>
                <a:gd name="T95" fmla="*/ 1 h 1540"/>
                <a:gd name="T96" fmla="*/ 0 w 2109"/>
                <a:gd name="T97" fmla="*/ 1 h 1540"/>
                <a:gd name="T98" fmla="*/ 0 w 2109"/>
                <a:gd name="T99" fmla="*/ 1 h 1540"/>
                <a:gd name="T100" fmla="*/ 0 w 2109"/>
                <a:gd name="T101" fmla="*/ 1 h 1540"/>
                <a:gd name="T102" fmla="*/ 0 w 2109"/>
                <a:gd name="T103" fmla="*/ 1 h 1540"/>
                <a:gd name="T104" fmla="*/ 0 w 2109"/>
                <a:gd name="T105" fmla="*/ 1 h 1540"/>
                <a:gd name="T106" fmla="*/ 0 w 2109"/>
                <a:gd name="T107" fmla="*/ 1 h 1540"/>
                <a:gd name="T108" fmla="*/ 0 w 2109"/>
                <a:gd name="T109" fmla="*/ 1 h 1540"/>
                <a:gd name="T110" fmla="*/ 0 w 2109"/>
                <a:gd name="T111" fmla="*/ 1 h 1540"/>
                <a:gd name="T112" fmla="*/ 0 w 2109"/>
                <a:gd name="T113" fmla="*/ 1 h 1540"/>
                <a:gd name="T114" fmla="*/ 0 w 2109"/>
                <a:gd name="T115" fmla="*/ 1 h 15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09"/>
                <a:gd name="T175" fmla="*/ 0 h 1540"/>
                <a:gd name="T176" fmla="*/ 2109 w 2109"/>
                <a:gd name="T177" fmla="*/ 1540 h 15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09" h="1540">
                  <a:moveTo>
                    <a:pt x="0" y="432"/>
                  </a:moveTo>
                  <a:lnTo>
                    <a:pt x="12" y="409"/>
                  </a:lnTo>
                  <a:lnTo>
                    <a:pt x="149" y="365"/>
                  </a:lnTo>
                  <a:lnTo>
                    <a:pt x="236" y="365"/>
                  </a:lnTo>
                  <a:lnTo>
                    <a:pt x="285" y="330"/>
                  </a:lnTo>
                  <a:lnTo>
                    <a:pt x="270" y="319"/>
                  </a:lnTo>
                  <a:lnTo>
                    <a:pt x="301" y="307"/>
                  </a:lnTo>
                  <a:lnTo>
                    <a:pt x="275" y="299"/>
                  </a:lnTo>
                  <a:lnTo>
                    <a:pt x="321" y="285"/>
                  </a:lnTo>
                  <a:lnTo>
                    <a:pt x="304" y="273"/>
                  </a:lnTo>
                  <a:lnTo>
                    <a:pt x="243" y="296"/>
                  </a:lnTo>
                  <a:lnTo>
                    <a:pt x="183" y="267"/>
                  </a:lnTo>
                  <a:lnTo>
                    <a:pt x="260" y="250"/>
                  </a:lnTo>
                  <a:lnTo>
                    <a:pt x="303" y="201"/>
                  </a:lnTo>
                  <a:lnTo>
                    <a:pt x="397" y="199"/>
                  </a:lnTo>
                  <a:lnTo>
                    <a:pt x="393" y="146"/>
                  </a:lnTo>
                  <a:lnTo>
                    <a:pt x="463" y="144"/>
                  </a:lnTo>
                  <a:lnTo>
                    <a:pt x="534" y="182"/>
                  </a:lnTo>
                  <a:lnTo>
                    <a:pt x="450" y="133"/>
                  </a:lnTo>
                  <a:lnTo>
                    <a:pt x="609" y="100"/>
                  </a:lnTo>
                  <a:lnTo>
                    <a:pt x="648" y="124"/>
                  </a:lnTo>
                  <a:lnTo>
                    <a:pt x="653" y="170"/>
                  </a:lnTo>
                  <a:lnTo>
                    <a:pt x="674" y="131"/>
                  </a:lnTo>
                  <a:lnTo>
                    <a:pt x="776" y="159"/>
                  </a:lnTo>
                  <a:lnTo>
                    <a:pt x="741" y="136"/>
                  </a:lnTo>
                  <a:lnTo>
                    <a:pt x="790" y="140"/>
                  </a:lnTo>
                  <a:lnTo>
                    <a:pt x="747" y="113"/>
                  </a:lnTo>
                  <a:lnTo>
                    <a:pt x="735" y="92"/>
                  </a:lnTo>
                  <a:lnTo>
                    <a:pt x="758" y="87"/>
                  </a:lnTo>
                  <a:lnTo>
                    <a:pt x="961" y="152"/>
                  </a:lnTo>
                  <a:lnTo>
                    <a:pt x="945" y="131"/>
                  </a:lnTo>
                  <a:lnTo>
                    <a:pt x="989" y="127"/>
                  </a:lnTo>
                  <a:lnTo>
                    <a:pt x="961" y="109"/>
                  </a:lnTo>
                  <a:lnTo>
                    <a:pt x="1029" y="113"/>
                  </a:lnTo>
                  <a:lnTo>
                    <a:pt x="921" y="66"/>
                  </a:lnTo>
                  <a:lnTo>
                    <a:pt x="1118" y="92"/>
                  </a:lnTo>
                  <a:lnTo>
                    <a:pt x="1074" y="65"/>
                  </a:lnTo>
                  <a:lnTo>
                    <a:pt x="957" y="60"/>
                  </a:lnTo>
                  <a:lnTo>
                    <a:pt x="996" y="58"/>
                  </a:lnTo>
                  <a:lnTo>
                    <a:pt x="924" y="34"/>
                  </a:lnTo>
                  <a:lnTo>
                    <a:pt x="1009" y="41"/>
                  </a:lnTo>
                  <a:lnTo>
                    <a:pt x="974" y="31"/>
                  </a:lnTo>
                  <a:lnTo>
                    <a:pt x="1012" y="23"/>
                  </a:lnTo>
                  <a:lnTo>
                    <a:pt x="1157" y="66"/>
                  </a:lnTo>
                  <a:lnTo>
                    <a:pt x="1141" y="50"/>
                  </a:lnTo>
                  <a:lnTo>
                    <a:pt x="1204" y="34"/>
                  </a:lnTo>
                  <a:lnTo>
                    <a:pt x="1151" y="31"/>
                  </a:lnTo>
                  <a:lnTo>
                    <a:pt x="1149" y="9"/>
                  </a:lnTo>
                  <a:lnTo>
                    <a:pt x="1185" y="0"/>
                  </a:lnTo>
                  <a:lnTo>
                    <a:pt x="1574" y="10"/>
                  </a:lnTo>
                  <a:lnTo>
                    <a:pt x="1602" y="22"/>
                  </a:lnTo>
                  <a:lnTo>
                    <a:pt x="1591" y="31"/>
                  </a:lnTo>
                  <a:lnTo>
                    <a:pt x="1329" y="33"/>
                  </a:lnTo>
                  <a:lnTo>
                    <a:pt x="1360" y="44"/>
                  </a:lnTo>
                  <a:lnTo>
                    <a:pt x="1258" y="58"/>
                  </a:lnTo>
                  <a:lnTo>
                    <a:pt x="1626" y="34"/>
                  </a:lnTo>
                  <a:lnTo>
                    <a:pt x="1640" y="55"/>
                  </a:lnTo>
                  <a:lnTo>
                    <a:pt x="1591" y="67"/>
                  </a:lnTo>
                  <a:lnTo>
                    <a:pt x="1675" y="59"/>
                  </a:lnTo>
                  <a:lnTo>
                    <a:pt x="1772" y="83"/>
                  </a:lnTo>
                  <a:lnTo>
                    <a:pt x="1626" y="124"/>
                  </a:lnTo>
                  <a:lnTo>
                    <a:pt x="1392" y="120"/>
                  </a:lnTo>
                  <a:lnTo>
                    <a:pt x="1448" y="127"/>
                  </a:lnTo>
                  <a:lnTo>
                    <a:pt x="1349" y="144"/>
                  </a:lnTo>
                  <a:lnTo>
                    <a:pt x="1349" y="165"/>
                  </a:lnTo>
                  <a:lnTo>
                    <a:pt x="1607" y="133"/>
                  </a:lnTo>
                  <a:lnTo>
                    <a:pt x="1628" y="146"/>
                  </a:lnTo>
                  <a:lnTo>
                    <a:pt x="1574" y="177"/>
                  </a:lnTo>
                  <a:lnTo>
                    <a:pt x="1740" y="127"/>
                  </a:lnTo>
                  <a:lnTo>
                    <a:pt x="1749" y="175"/>
                  </a:lnTo>
                  <a:lnTo>
                    <a:pt x="1668" y="258"/>
                  </a:lnTo>
                  <a:lnTo>
                    <a:pt x="1827" y="163"/>
                  </a:lnTo>
                  <a:lnTo>
                    <a:pt x="1824" y="177"/>
                  </a:lnTo>
                  <a:lnTo>
                    <a:pt x="1900" y="176"/>
                  </a:lnTo>
                  <a:lnTo>
                    <a:pt x="1924" y="144"/>
                  </a:lnTo>
                  <a:lnTo>
                    <a:pt x="2007" y="140"/>
                  </a:lnTo>
                  <a:lnTo>
                    <a:pt x="2109" y="168"/>
                  </a:lnTo>
                  <a:lnTo>
                    <a:pt x="2009" y="209"/>
                  </a:lnTo>
                  <a:lnTo>
                    <a:pt x="2015" y="226"/>
                  </a:lnTo>
                  <a:lnTo>
                    <a:pt x="1787" y="250"/>
                  </a:lnTo>
                  <a:lnTo>
                    <a:pt x="1969" y="252"/>
                  </a:lnTo>
                  <a:lnTo>
                    <a:pt x="1820" y="286"/>
                  </a:lnTo>
                  <a:lnTo>
                    <a:pt x="1829" y="312"/>
                  </a:lnTo>
                  <a:lnTo>
                    <a:pt x="1930" y="286"/>
                  </a:lnTo>
                  <a:lnTo>
                    <a:pt x="1856" y="319"/>
                  </a:lnTo>
                  <a:lnTo>
                    <a:pt x="1847" y="361"/>
                  </a:lnTo>
                  <a:lnTo>
                    <a:pt x="1871" y="350"/>
                  </a:lnTo>
                  <a:lnTo>
                    <a:pt x="1801" y="388"/>
                  </a:lnTo>
                  <a:lnTo>
                    <a:pt x="1776" y="466"/>
                  </a:lnTo>
                  <a:lnTo>
                    <a:pt x="1813" y="449"/>
                  </a:lnTo>
                  <a:lnTo>
                    <a:pt x="1866" y="466"/>
                  </a:lnTo>
                  <a:lnTo>
                    <a:pt x="1818" y="466"/>
                  </a:lnTo>
                  <a:lnTo>
                    <a:pt x="1818" y="489"/>
                  </a:lnTo>
                  <a:lnTo>
                    <a:pt x="1898" y="499"/>
                  </a:lnTo>
                  <a:lnTo>
                    <a:pt x="1900" y="527"/>
                  </a:lnTo>
                  <a:lnTo>
                    <a:pt x="1780" y="522"/>
                  </a:lnTo>
                  <a:lnTo>
                    <a:pt x="1813" y="535"/>
                  </a:lnTo>
                  <a:lnTo>
                    <a:pt x="1746" y="543"/>
                  </a:lnTo>
                  <a:lnTo>
                    <a:pt x="1780" y="575"/>
                  </a:lnTo>
                  <a:lnTo>
                    <a:pt x="1842" y="576"/>
                  </a:lnTo>
                  <a:lnTo>
                    <a:pt x="1805" y="595"/>
                  </a:lnTo>
                  <a:lnTo>
                    <a:pt x="1854" y="612"/>
                  </a:lnTo>
                  <a:lnTo>
                    <a:pt x="1853" y="652"/>
                  </a:lnTo>
                  <a:lnTo>
                    <a:pt x="1763" y="628"/>
                  </a:lnTo>
                  <a:lnTo>
                    <a:pt x="1816" y="650"/>
                  </a:lnTo>
                  <a:lnTo>
                    <a:pt x="1784" y="663"/>
                  </a:lnTo>
                  <a:lnTo>
                    <a:pt x="1813" y="661"/>
                  </a:lnTo>
                  <a:lnTo>
                    <a:pt x="1805" y="686"/>
                  </a:lnTo>
                  <a:lnTo>
                    <a:pt x="1870" y="700"/>
                  </a:lnTo>
                  <a:lnTo>
                    <a:pt x="1768" y="692"/>
                  </a:lnTo>
                  <a:lnTo>
                    <a:pt x="1749" y="706"/>
                  </a:lnTo>
                  <a:lnTo>
                    <a:pt x="1827" y="738"/>
                  </a:lnTo>
                  <a:lnTo>
                    <a:pt x="1816" y="764"/>
                  </a:lnTo>
                  <a:lnTo>
                    <a:pt x="1754" y="780"/>
                  </a:lnTo>
                  <a:lnTo>
                    <a:pt x="1692" y="742"/>
                  </a:lnTo>
                  <a:lnTo>
                    <a:pt x="1599" y="776"/>
                  </a:lnTo>
                  <a:lnTo>
                    <a:pt x="1665" y="795"/>
                  </a:lnTo>
                  <a:lnTo>
                    <a:pt x="1602" y="813"/>
                  </a:lnTo>
                  <a:lnTo>
                    <a:pt x="1670" y="816"/>
                  </a:lnTo>
                  <a:lnTo>
                    <a:pt x="1648" y="855"/>
                  </a:lnTo>
                  <a:lnTo>
                    <a:pt x="1675" y="832"/>
                  </a:lnTo>
                  <a:lnTo>
                    <a:pt x="1749" y="864"/>
                  </a:lnTo>
                  <a:lnTo>
                    <a:pt x="1727" y="889"/>
                  </a:lnTo>
                  <a:lnTo>
                    <a:pt x="1768" y="879"/>
                  </a:lnTo>
                  <a:lnTo>
                    <a:pt x="1749" y="906"/>
                  </a:lnTo>
                  <a:lnTo>
                    <a:pt x="1778" y="894"/>
                  </a:lnTo>
                  <a:lnTo>
                    <a:pt x="1782" y="959"/>
                  </a:lnTo>
                  <a:lnTo>
                    <a:pt x="1749" y="934"/>
                  </a:lnTo>
                  <a:lnTo>
                    <a:pt x="1749" y="959"/>
                  </a:lnTo>
                  <a:lnTo>
                    <a:pt x="1717" y="958"/>
                  </a:lnTo>
                  <a:lnTo>
                    <a:pt x="1675" y="904"/>
                  </a:lnTo>
                  <a:lnTo>
                    <a:pt x="1575" y="873"/>
                  </a:lnTo>
                  <a:lnTo>
                    <a:pt x="1645" y="909"/>
                  </a:lnTo>
                  <a:lnTo>
                    <a:pt x="1552" y="928"/>
                  </a:lnTo>
                  <a:lnTo>
                    <a:pt x="1526" y="959"/>
                  </a:lnTo>
                  <a:lnTo>
                    <a:pt x="1612" y="966"/>
                  </a:lnTo>
                  <a:lnTo>
                    <a:pt x="1540" y="985"/>
                  </a:lnTo>
                  <a:lnTo>
                    <a:pt x="1650" y="963"/>
                  </a:lnTo>
                  <a:lnTo>
                    <a:pt x="1756" y="991"/>
                  </a:lnTo>
                  <a:lnTo>
                    <a:pt x="1618" y="1067"/>
                  </a:lnTo>
                  <a:lnTo>
                    <a:pt x="1483" y="1100"/>
                  </a:lnTo>
                  <a:lnTo>
                    <a:pt x="1434" y="1102"/>
                  </a:lnTo>
                  <a:lnTo>
                    <a:pt x="1404" y="1068"/>
                  </a:lnTo>
                  <a:lnTo>
                    <a:pt x="1420" y="1102"/>
                  </a:lnTo>
                  <a:lnTo>
                    <a:pt x="1379" y="1122"/>
                  </a:lnTo>
                  <a:lnTo>
                    <a:pt x="1329" y="1204"/>
                  </a:lnTo>
                  <a:lnTo>
                    <a:pt x="1288" y="1202"/>
                  </a:lnTo>
                  <a:lnTo>
                    <a:pt x="1279" y="1227"/>
                  </a:lnTo>
                  <a:lnTo>
                    <a:pt x="1239" y="1230"/>
                  </a:lnTo>
                  <a:lnTo>
                    <a:pt x="1219" y="1222"/>
                  </a:lnTo>
                  <a:lnTo>
                    <a:pt x="1246" y="1205"/>
                  </a:lnTo>
                  <a:lnTo>
                    <a:pt x="1218" y="1202"/>
                  </a:lnTo>
                  <a:lnTo>
                    <a:pt x="1203" y="1244"/>
                  </a:lnTo>
                  <a:lnTo>
                    <a:pt x="1140" y="1248"/>
                  </a:lnTo>
                  <a:lnTo>
                    <a:pt x="1141" y="1281"/>
                  </a:lnTo>
                  <a:lnTo>
                    <a:pt x="1102" y="1284"/>
                  </a:lnTo>
                  <a:lnTo>
                    <a:pt x="1136" y="1311"/>
                  </a:lnTo>
                  <a:lnTo>
                    <a:pt x="1091" y="1316"/>
                  </a:lnTo>
                  <a:lnTo>
                    <a:pt x="1126" y="1347"/>
                  </a:lnTo>
                  <a:lnTo>
                    <a:pt x="1094" y="1347"/>
                  </a:lnTo>
                  <a:lnTo>
                    <a:pt x="1119" y="1354"/>
                  </a:lnTo>
                  <a:lnTo>
                    <a:pt x="1094" y="1387"/>
                  </a:lnTo>
                  <a:lnTo>
                    <a:pt x="1074" y="1381"/>
                  </a:lnTo>
                  <a:lnTo>
                    <a:pt x="1091" y="1396"/>
                  </a:lnTo>
                  <a:lnTo>
                    <a:pt x="1048" y="1408"/>
                  </a:lnTo>
                  <a:lnTo>
                    <a:pt x="1074" y="1454"/>
                  </a:lnTo>
                  <a:lnTo>
                    <a:pt x="1048" y="1517"/>
                  </a:lnTo>
                  <a:lnTo>
                    <a:pt x="1016" y="1518"/>
                  </a:lnTo>
                  <a:lnTo>
                    <a:pt x="1040" y="1540"/>
                  </a:lnTo>
                  <a:lnTo>
                    <a:pt x="970" y="1540"/>
                  </a:lnTo>
                  <a:lnTo>
                    <a:pt x="961" y="1498"/>
                  </a:lnTo>
                  <a:lnTo>
                    <a:pt x="862" y="1503"/>
                  </a:lnTo>
                  <a:lnTo>
                    <a:pt x="885" y="1492"/>
                  </a:lnTo>
                  <a:lnTo>
                    <a:pt x="834" y="1475"/>
                  </a:lnTo>
                  <a:lnTo>
                    <a:pt x="859" y="1468"/>
                  </a:lnTo>
                  <a:lnTo>
                    <a:pt x="822" y="1468"/>
                  </a:lnTo>
                  <a:lnTo>
                    <a:pt x="835" y="1435"/>
                  </a:lnTo>
                  <a:lnTo>
                    <a:pt x="813" y="1442"/>
                  </a:lnTo>
                  <a:lnTo>
                    <a:pt x="747" y="1354"/>
                  </a:lnTo>
                  <a:lnTo>
                    <a:pt x="747" y="1327"/>
                  </a:lnTo>
                  <a:lnTo>
                    <a:pt x="796" y="1298"/>
                  </a:lnTo>
                  <a:lnTo>
                    <a:pt x="776" y="1289"/>
                  </a:lnTo>
                  <a:lnTo>
                    <a:pt x="726" y="1322"/>
                  </a:lnTo>
                  <a:lnTo>
                    <a:pt x="726" y="1256"/>
                  </a:lnTo>
                  <a:lnTo>
                    <a:pt x="680" y="1222"/>
                  </a:lnTo>
                  <a:lnTo>
                    <a:pt x="693" y="1169"/>
                  </a:lnTo>
                  <a:lnTo>
                    <a:pt x="665" y="1150"/>
                  </a:lnTo>
                  <a:lnTo>
                    <a:pt x="703" y="1104"/>
                  </a:lnTo>
                  <a:lnTo>
                    <a:pt x="680" y="1100"/>
                  </a:lnTo>
                  <a:lnTo>
                    <a:pt x="764" y="1100"/>
                  </a:lnTo>
                  <a:lnTo>
                    <a:pt x="756" y="1082"/>
                  </a:lnTo>
                  <a:lnTo>
                    <a:pt x="699" y="1084"/>
                  </a:lnTo>
                  <a:lnTo>
                    <a:pt x="785" y="1043"/>
                  </a:lnTo>
                  <a:lnTo>
                    <a:pt x="764" y="1030"/>
                  </a:lnTo>
                  <a:lnTo>
                    <a:pt x="785" y="985"/>
                  </a:lnTo>
                  <a:lnTo>
                    <a:pt x="715" y="983"/>
                  </a:lnTo>
                  <a:lnTo>
                    <a:pt x="637" y="947"/>
                  </a:lnTo>
                  <a:lnTo>
                    <a:pt x="776" y="966"/>
                  </a:lnTo>
                  <a:lnTo>
                    <a:pt x="752" y="950"/>
                  </a:lnTo>
                  <a:lnTo>
                    <a:pt x="776" y="943"/>
                  </a:lnTo>
                  <a:lnTo>
                    <a:pt x="721" y="916"/>
                  </a:lnTo>
                  <a:lnTo>
                    <a:pt x="741" y="904"/>
                  </a:lnTo>
                  <a:lnTo>
                    <a:pt x="711" y="914"/>
                  </a:lnTo>
                  <a:lnTo>
                    <a:pt x="730" y="895"/>
                  </a:lnTo>
                  <a:lnTo>
                    <a:pt x="694" y="897"/>
                  </a:lnTo>
                  <a:lnTo>
                    <a:pt x="735" y="882"/>
                  </a:lnTo>
                  <a:lnTo>
                    <a:pt x="674" y="861"/>
                  </a:lnTo>
                  <a:lnTo>
                    <a:pt x="660" y="895"/>
                  </a:lnTo>
                  <a:lnTo>
                    <a:pt x="609" y="897"/>
                  </a:lnTo>
                  <a:lnTo>
                    <a:pt x="599" y="882"/>
                  </a:lnTo>
                  <a:lnTo>
                    <a:pt x="633" y="861"/>
                  </a:lnTo>
                  <a:lnTo>
                    <a:pt x="606" y="861"/>
                  </a:lnTo>
                  <a:lnTo>
                    <a:pt x="637" y="804"/>
                  </a:lnTo>
                  <a:lnTo>
                    <a:pt x="601" y="794"/>
                  </a:lnTo>
                  <a:lnTo>
                    <a:pt x="619" y="768"/>
                  </a:lnTo>
                  <a:lnTo>
                    <a:pt x="562" y="697"/>
                  </a:lnTo>
                  <a:lnTo>
                    <a:pt x="581" y="696"/>
                  </a:lnTo>
                  <a:lnTo>
                    <a:pt x="504" y="635"/>
                  </a:lnTo>
                  <a:lnTo>
                    <a:pt x="504" y="612"/>
                  </a:lnTo>
                  <a:lnTo>
                    <a:pt x="419" y="582"/>
                  </a:lnTo>
                  <a:lnTo>
                    <a:pt x="340" y="565"/>
                  </a:lnTo>
                  <a:lnTo>
                    <a:pt x="269" y="593"/>
                  </a:lnTo>
                  <a:lnTo>
                    <a:pt x="210" y="575"/>
                  </a:lnTo>
                  <a:lnTo>
                    <a:pt x="232" y="598"/>
                  </a:lnTo>
                  <a:lnTo>
                    <a:pt x="170" y="587"/>
                  </a:lnTo>
                  <a:lnTo>
                    <a:pt x="117" y="564"/>
                  </a:lnTo>
                  <a:lnTo>
                    <a:pt x="170" y="543"/>
                  </a:lnTo>
                  <a:lnTo>
                    <a:pt x="53" y="522"/>
                  </a:lnTo>
                  <a:lnTo>
                    <a:pt x="96" y="502"/>
                  </a:lnTo>
                  <a:lnTo>
                    <a:pt x="236" y="508"/>
                  </a:lnTo>
                  <a:lnTo>
                    <a:pt x="253" y="500"/>
                  </a:lnTo>
                  <a:lnTo>
                    <a:pt x="228" y="488"/>
                  </a:lnTo>
                  <a:lnTo>
                    <a:pt x="252" y="476"/>
                  </a:lnTo>
                  <a:lnTo>
                    <a:pt x="126" y="484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</p:grpSp>
    </p:spTree>
    <p:extLst>
      <p:ext uri="{BB962C8B-B14F-4D97-AF65-F5344CB8AC3E}">
        <p14:creationId xmlns:p14="http://schemas.microsoft.com/office/powerpoint/2010/main" val="167203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roup 542"/>
          <p:cNvGrpSpPr/>
          <p:nvPr/>
        </p:nvGrpSpPr>
        <p:grpSpPr>
          <a:xfrm>
            <a:off x="294023" y="1411589"/>
            <a:ext cx="8569325" cy="3220046"/>
            <a:chOff x="606426" y="1544638"/>
            <a:chExt cx="7972425" cy="2770188"/>
          </a:xfrm>
          <a:solidFill>
            <a:schemeClr val="accent6"/>
          </a:solidFill>
        </p:grpSpPr>
        <p:sp>
          <p:nvSpPr>
            <p:cNvPr id="342" name="Freeform 5"/>
            <p:cNvSpPr>
              <a:spLocks/>
            </p:cNvSpPr>
            <p:nvPr/>
          </p:nvSpPr>
          <p:spPr bwMode="auto">
            <a:xfrm>
              <a:off x="7339013" y="2595563"/>
              <a:ext cx="1239838" cy="771525"/>
            </a:xfrm>
            <a:custGeom>
              <a:avLst/>
              <a:gdLst>
                <a:gd name="T0" fmla="*/ 727 w 781"/>
                <a:gd name="T1" fmla="*/ 25 h 486"/>
                <a:gd name="T2" fmla="*/ 698 w 781"/>
                <a:gd name="T3" fmla="*/ 48 h 486"/>
                <a:gd name="T4" fmla="*/ 664 w 781"/>
                <a:gd name="T5" fmla="*/ 58 h 486"/>
                <a:gd name="T6" fmla="*/ 653 w 781"/>
                <a:gd name="T7" fmla="*/ 45 h 486"/>
                <a:gd name="T8" fmla="*/ 631 w 781"/>
                <a:gd name="T9" fmla="*/ 48 h 486"/>
                <a:gd name="T10" fmla="*/ 609 w 781"/>
                <a:gd name="T11" fmla="*/ 37 h 486"/>
                <a:gd name="T12" fmla="*/ 592 w 781"/>
                <a:gd name="T13" fmla="*/ 41 h 486"/>
                <a:gd name="T14" fmla="*/ 585 w 781"/>
                <a:gd name="T15" fmla="*/ 25 h 486"/>
                <a:gd name="T16" fmla="*/ 563 w 781"/>
                <a:gd name="T17" fmla="*/ 3 h 486"/>
                <a:gd name="T18" fmla="*/ 524 w 781"/>
                <a:gd name="T19" fmla="*/ 0 h 486"/>
                <a:gd name="T20" fmla="*/ 501 w 781"/>
                <a:gd name="T21" fmla="*/ 19 h 486"/>
                <a:gd name="T22" fmla="*/ 465 w 781"/>
                <a:gd name="T23" fmla="*/ 33 h 486"/>
                <a:gd name="T24" fmla="*/ 438 w 781"/>
                <a:gd name="T25" fmla="*/ 41 h 486"/>
                <a:gd name="T26" fmla="*/ 410 w 781"/>
                <a:gd name="T27" fmla="*/ 54 h 486"/>
                <a:gd name="T28" fmla="*/ 375 w 781"/>
                <a:gd name="T29" fmla="*/ 68 h 486"/>
                <a:gd name="T30" fmla="*/ 349 w 781"/>
                <a:gd name="T31" fmla="*/ 70 h 486"/>
                <a:gd name="T32" fmla="*/ 331 w 781"/>
                <a:gd name="T33" fmla="*/ 79 h 486"/>
                <a:gd name="T34" fmla="*/ 344 w 781"/>
                <a:gd name="T35" fmla="*/ 90 h 486"/>
                <a:gd name="T36" fmla="*/ 364 w 781"/>
                <a:gd name="T37" fmla="*/ 104 h 486"/>
                <a:gd name="T38" fmla="*/ 340 w 781"/>
                <a:gd name="T39" fmla="*/ 128 h 486"/>
                <a:gd name="T40" fmla="*/ 339 w 781"/>
                <a:gd name="T41" fmla="*/ 146 h 486"/>
                <a:gd name="T42" fmla="*/ 367 w 781"/>
                <a:gd name="T43" fmla="*/ 177 h 486"/>
                <a:gd name="T44" fmla="*/ 333 w 781"/>
                <a:gd name="T45" fmla="*/ 192 h 486"/>
                <a:gd name="T46" fmla="*/ 291 w 781"/>
                <a:gd name="T47" fmla="*/ 182 h 486"/>
                <a:gd name="T48" fmla="*/ 274 w 781"/>
                <a:gd name="T49" fmla="*/ 174 h 486"/>
                <a:gd name="T50" fmla="*/ 245 w 781"/>
                <a:gd name="T51" fmla="*/ 174 h 486"/>
                <a:gd name="T52" fmla="*/ 219 w 781"/>
                <a:gd name="T53" fmla="*/ 187 h 486"/>
                <a:gd name="T54" fmla="*/ 192 w 781"/>
                <a:gd name="T55" fmla="*/ 188 h 486"/>
                <a:gd name="T56" fmla="*/ 159 w 781"/>
                <a:gd name="T57" fmla="*/ 168 h 486"/>
                <a:gd name="T58" fmla="*/ 122 w 781"/>
                <a:gd name="T59" fmla="*/ 161 h 486"/>
                <a:gd name="T60" fmla="*/ 101 w 781"/>
                <a:gd name="T61" fmla="*/ 173 h 486"/>
                <a:gd name="T62" fmla="*/ 89 w 781"/>
                <a:gd name="T63" fmla="*/ 162 h 486"/>
                <a:gd name="T64" fmla="*/ 61 w 781"/>
                <a:gd name="T65" fmla="*/ 185 h 486"/>
                <a:gd name="T66" fmla="*/ 52 w 781"/>
                <a:gd name="T67" fmla="*/ 226 h 486"/>
                <a:gd name="T68" fmla="*/ 7 w 781"/>
                <a:gd name="T69" fmla="*/ 223 h 486"/>
                <a:gd name="T70" fmla="*/ 17 w 781"/>
                <a:gd name="T71" fmla="*/ 276 h 486"/>
                <a:gd name="T72" fmla="*/ 57 w 781"/>
                <a:gd name="T73" fmla="*/ 314 h 486"/>
                <a:gd name="T74" fmla="*/ 87 w 781"/>
                <a:gd name="T75" fmla="*/ 329 h 486"/>
                <a:gd name="T76" fmla="*/ 104 w 781"/>
                <a:gd name="T77" fmla="*/ 319 h 486"/>
                <a:gd name="T78" fmla="*/ 119 w 781"/>
                <a:gd name="T79" fmla="*/ 310 h 486"/>
                <a:gd name="T80" fmla="*/ 141 w 781"/>
                <a:gd name="T81" fmla="*/ 313 h 486"/>
                <a:gd name="T82" fmla="*/ 156 w 781"/>
                <a:gd name="T83" fmla="*/ 313 h 486"/>
                <a:gd name="T84" fmla="*/ 179 w 781"/>
                <a:gd name="T85" fmla="*/ 316 h 486"/>
                <a:gd name="T86" fmla="*/ 182 w 781"/>
                <a:gd name="T87" fmla="*/ 336 h 486"/>
                <a:gd name="T88" fmla="*/ 184 w 781"/>
                <a:gd name="T89" fmla="*/ 357 h 486"/>
                <a:gd name="T90" fmla="*/ 173 w 781"/>
                <a:gd name="T91" fmla="*/ 360 h 486"/>
                <a:gd name="T92" fmla="*/ 144 w 781"/>
                <a:gd name="T93" fmla="*/ 363 h 486"/>
                <a:gd name="T94" fmla="*/ 144 w 781"/>
                <a:gd name="T95" fmla="*/ 385 h 486"/>
                <a:gd name="T96" fmla="*/ 141 w 781"/>
                <a:gd name="T97" fmla="*/ 390 h 486"/>
                <a:gd name="T98" fmla="*/ 119 w 781"/>
                <a:gd name="T99" fmla="*/ 394 h 486"/>
                <a:gd name="T100" fmla="*/ 142 w 781"/>
                <a:gd name="T101" fmla="*/ 411 h 486"/>
                <a:gd name="T102" fmla="*/ 159 w 781"/>
                <a:gd name="T103" fmla="*/ 428 h 486"/>
                <a:gd name="T104" fmla="*/ 181 w 781"/>
                <a:gd name="T105" fmla="*/ 442 h 486"/>
                <a:gd name="T106" fmla="*/ 188 w 781"/>
                <a:gd name="T107" fmla="*/ 462 h 486"/>
                <a:gd name="T108" fmla="*/ 278 w 781"/>
                <a:gd name="T109" fmla="*/ 486 h 486"/>
                <a:gd name="T110" fmla="*/ 428 w 781"/>
                <a:gd name="T111" fmla="*/ 401 h 486"/>
                <a:gd name="T112" fmla="*/ 568 w 781"/>
                <a:gd name="T113" fmla="*/ 455 h 486"/>
                <a:gd name="T114" fmla="*/ 631 w 781"/>
                <a:gd name="T115" fmla="*/ 484 h 486"/>
                <a:gd name="T116" fmla="*/ 674 w 781"/>
                <a:gd name="T117" fmla="*/ 436 h 486"/>
                <a:gd name="T118" fmla="*/ 701 w 781"/>
                <a:gd name="T119" fmla="*/ 427 h 486"/>
                <a:gd name="T120" fmla="*/ 749 w 781"/>
                <a:gd name="T121" fmla="*/ 408 h 486"/>
                <a:gd name="T122" fmla="*/ 781 w 781"/>
                <a:gd name="T123" fmla="*/ 72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81" h="486">
                  <a:moveTo>
                    <a:pt x="732" y="39"/>
                  </a:moveTo>
                  <a:lnTo>
                    <a:pt x="727" y="36"/>
                  </a:lnTo>
                  <a:lnTo>
                    <a:pt x="733" y="36"/>
                  </a:lnTo>
                  <a:lnTo>
                    <a:pt x="738" y="30"/>
                  </a:lnTo>
                  <a:lnTo>
                    <a:pt x="738" y="25"/>
                  </a:lnTo>
                  <a:lnTo>
                    <a:pt x="735" y="25"/>
                  </a:lnTo>
                  <a:lnTo>
                    <a:pt x="727" y="25"/>
                  </a:lnTo>
                  <a:lnTo>
                    <a:pt x="722" y="28"/>
                  </a:lnTo>
                  <a:lnTo>
                    <a:pt x="716" y="31"/>
                  </a:lnTo>
                  <a:lnTo>
                    <a:pt x="712" y="33"/>
                  </a:lnTo>
                  <a:lnTo>
                    <a:pt x="707" y="37"/>
                  </a:lnTo>
                  <a:lnTo>
                    <a:pt x="707" y="41"/>
                  </a:lnTo>
                  <a:lnTo>
                    <a:pt x="701" y="45"/>
                  </a:lnTo>
                  <a:lnTo>
                    <a:pt x="698" y="48"/>
                  </a:lnTo>
                  <a:lnTo>
                    <a:pt x="695" y="52"/>
                  </a:lnTo>
                  <a:lnTo>
                    <a:pt x="686" y="52"/>
                  </a:lnTo>
                  <a:lnTo>
                    <a:pt x="682" y="54"/>
                  </a:lnTo>
                  <a:lnTo>
                    <a:pt x="682" y="59"/>
                  </a:lnTo>
                  <a:lnTo>
                    <a:pt x="678" y="64"/>
                  </a:lnTo>
                  <a:lnTo>
                    <a:pt x="676" y="61"/>
                  </a:lnTo>
                  <a:lnTo>
                    <a:pt x="664" y="58"/>
                  </a:lnTo>
                  <a:lnTo>
                    <a:pt x="658" y="59"/>
                  </a:lnTo>
                  <a:lnTo>
                    <a:pt x="655" y="64"/>
                  </a:lnTo>
                  <a:lnTo>
                    <a:pt x="652" y="64"/>
                  </a:lnTo>
                  <a:lnTo>
                    <a:pt x="647" y="59"/>
                  </a:lnTo>
                  <a:lnTo>
                    <a:pt x="647" y="52"/>
                  </a:lnTo>
                  <a:lnTo>
                    <a:pt x="652" y="50"/>
                  </a:lnTo>
                  <a:lnTo>
                    <a:pt x="653" y="45"/>
                  </a:lnTo>
                  <a:lnTo>
                    <a:pt x="649" y="45"/>
                  </a:lnTo>
                  <a:lnTo>
                    <a:pt x="646" y="47"/>
                  </a:lnTo>
                  <a:lnTo>
                    <a:pt x="642" y="47"/>
                  </a:lnTo>
                  <a:lnTo>
                    <a:pt x="632" y="42"/>
                  </a:lnTo>
                  <a:lnTo>
                    <a:pt x="626" y="42"/>
                  </a:lnTo>
                  <a:lnTo>
                    <a:pt x="628" y="47"/>
                  </a:lnTo>
                  <a:lnTo>
                    <a:pt x="631" y="48"/>
                  </a:lnTo>
                  <a:lnTo>
                    <a:pt x="626" y="52"/>
                  </a:lnTo>
                  <a:lnTo>
                    <a:pt x="623" y="52"/>
                  </a:lnTo>
                  <a:lnTo>
                    <a:pt x="619" y="47"/>
                  </a:lnTo>
                  <a:lnTo>
                    <a:pt x="619" y="37"/>
                  </a:lnTo>
                  <a:lnTo>
                    <a:pt x="609" y="31"/>
                  </a:lnTo>
                  <a:lnTo>
                    <a:pt x="608" y="33"/>
                  </a:lnTo>
                  <a:lnTo>
                    <a:pt x="609" y="37"/>
                  </a:lnTo>
                  <a:lnTo>
                    <a:pt x="609" y="41"/>
                  </a:lnTo>
                  <a:lnTo>
                    <a:pt x="606" y="41"/>
                  </a:lnTo>
                  <a:lnTo>
                    <a:pt x="603" y="37"/>
                  </a:lnTo>
                  <a:lnTo>
                    <a:pt x="600" y="37"/>
                  </a:lnTo>
                  <a:lnTo>
                    <a:pt x="600" y="42"/>
                  </a:lnTo>
                  <a:lnTo>
                    <a:pt x="597" y="42"/>
                  </a:lnTo>
                  <a:lnTo>
                    <a:pt x="592" y="41"/>
                  </a:lnTo>
                  <a:lnTo>
                    <a:pt x="585" y="42"/>
                  </a:lnTo>
                  <a:lnTo>
                    <a:pt x="583" y="41"/>
                  </a:lnTo>
                  <a:lnTo>
                    <a:pt x="579" y="37"/>
                  </a:lnTo>
                  <a:lnTo>
                    <a:pt x="585" y="36"/>
                  </a:lnTo>
                  <a:lnTo>
                    <a:pt x="585" y="33"/>
                  </a:lnTo>
                  <a:lnTo>
                    <a:pt x="583" y="30"/>
                  </a:lnTo>
                  <a:lnTo>
                    <a:pt x="585" y="25"/>
                  </a:lnTo>
                  <a:lnTo>
                    <a:pt x="585" y="22"/>
                  </a:lnTo>
                  <a:lnTo>
                    <a:pt x="581" y="20"/>
                  </a:lnTo>
                  <a:lnTo>
                    <a:pt x="577" y="17"/>
                  </a:lnTo>
                  <a:lnTo>
                    <a:pt x="575" y="11"/>
                  </a:lnTo>
                  <a:lnTo>
                    <a:pt x="573" y="9"/>
                  </a:lnTo>
                  <a:lnTo>
                    <a:pt x="569" y="3"/>
                  </a:lnTo>
                  <a:lnTo>
                    <a:pt x="563" y="3"/>
                  </a:lnTo>
                  <a:lnTo>
                    <a:pt x="557" y="6"/>
                  </a:lnTo>
                  <a:lnTo>
                    <a:pt x="552" y="6"/>
                  </a:lnTo>
                  <a:lnTo>
                    <a:pt x="545" y="2"/>
                  </a:lnTo>
                  <a:lnTo>
                    <a:pt x="537" y="2"/>
                  </a:lnTo>
                  <a:lnTo>
                    <a:pt x="531" y="0"/>
                  </a:lnTo>
                  <a:lnTo>
                    <a:pt x="526" y="2"/>
                  </a:lnTo>
                  <a:lnTo>
                    <a:pt x="524" y="0"/>
                  </a:lnTo>
                  <a:lnTo>
                    <a:pt x="518" y="3"/>
                  </a:lnTo>
                  <a:lnTo>
                    <a:pt x="516" y="8"/>
                  </a:lnTo>
                  <a:lnTo>
                    <a:pt x="508" y="8"/>
                  </a:lnTo>
                  <a:lnTo>
                    <a:pt x="507" y="9"/>
                  </a:lnTo>
                  <a:lnTo>
                    <a:pt x="508" y="13"/>
                  </a:lnTo>
                  <a:lnTo>
                    <a:pt x="508" y="17"/>
                  </a:lnTo>
                  <a:lnTo>
                    <a:pt x="501" y="19"/>
                  </a:lnTo>
                  <a:lnTo>
                    <a:pt x="497" y="17"/>
                  </a:lnTo>
                  <a:lnTo>
                    <a:pt x="493" y="22"/>
                  </a:lnTo>
                  <a:lnTo>
                    <a:pt x="487" y="22"/>
                  </a:lnTo>
                  <a:lnTo>
                    <a:pt x="485" y="25"/>
                  </a:lnTo>
                  <a:lnTo>
                    <a:pt x="482" y="25"/>
                  </a:lnTo>
                  <a:lnTo>
                    <a:pt x="470" y="31"/>
                  </a:lnTo>
                  <a:lnTo>
                    <a:pt x="465" y="33"/>
                  </a:lnTo>
                  <a:lnTo>
                    <a:pt x="459" y="36"/>
                  </a:lnTo>
                  <a:lnTo>
                    <a:pt x="455" y="36"/>
                  </a:lnTo>
                  <a:lnTo>
                    <a:pt x="451" y="33"/>
                  </a:lnTo>
                  <a:lnTo>
                    <a:pt x="447" y="36"/>
                  </a:lnTo>
                  <a:lnTo>
                    <a:pt x="447" y="39"/>
                  </a:lnTo>
                  <a:lnTo>
                    <a:pt x="441" y="39"/>
                  </a:lnTo>
                  <a:lnTo>
                    <a:pt x="438" y="41"/>
                  </a:lnTo>
                  <a:lnTo>
                    <a:pt x="438" y="47"/>
                  </a:lnTo>
                  <a:lnTo>
                    <a:pt x="436" y="48"/>
                  </a:lnTo>
                  <a:lnTo>
                    <a:pt x="432" y="47"/>
                  </a:lnTo>
                  <a:lnTo>
                    <a:pt x="428" y="47"/>
                  </a:lnTo>
                  <a:lnTo>
                    <a:pt x="425" y="50"/>
                  </a:lnTo>
                  <a:lnTo>
                    <a:pt x="416" y="50"/>
                  </a:lnTo>
                  <a:lnTo>
                    <a:pt x="410" y="54"/>
                  </a:lnTo>
                  <a:lnTo>
                    <a:pt x="407" y="56"/>
                  </a:lnTo>
                  <a:lnTo>
                    <a:pt x="401" y="56"/>
                  </a:lnTo>
                  <a:lnTo>
                    <a:pt x="395" y="59"/>
                  </a:lnTo>
                  <a:lnTo>
                    <a:pt x="389" y="59"/>
                  </a:lnTo>
                  <a:lnTo>
                    <a:pt x="379" y="64"/>
                  </a:lnTo>
                  <a:lnTo>
                    <a:pt x="377" y="67"/>
                  </a:lnTo>
                  <a:lnTo>
                    <a:pt x="375" y="68"/>
                  </a:lnTo>
                  <a:lnTo>
                    <a:pt x="371" y="65"/>
                  </a:lnTo>
                  <a:lnTo>
                    <a:pt x="367" y="65"/>
                  </a:lnTo>
                  <a:lnTo>
                    <a:pt x="361" y="67"/>
                  </a:lnTo>
                  <a:lnTo>
                    <a:pt x="361" y="70"/>
                  </a:lnTo>
                  <a:lnTo>
                    <a:pt x="360" y="73"/>
                  </a:lnTo>
                  <a:lnTo>
                    <a:pt x="354" y="68"/>
                  </a:lnTo>
                  <a:lnTo>
                    <a:pt x="349" y="70"/>
                  </a:lnTo>
                  <a:lnTo>
                    <a:pt x="346" y="67"/>
                  </a:lnTo>
                  <a:lnTo>
                    <a:pt x="343" y="67"/>
                  </a:lnTo>
                  <a:lnTo>
                    <a:pt x="339" y="70"/>
                  </a:lnTo>
                  <a:lnTo>
                    <a:pt x="333" y="70"/>
                  </a:lnTo>
                  <a:lnTo>
                    <a:pt x="331" y="73"/>
                  </a:lnTo>
                  <a:lnTo>
                    <a:pt x="335" y="78"/>
                  </a:lnTo>
                  <a:lnTo>
                    <a:pt x="331" y="79"/>
                  </a:lnTo>
                  <a:lnTo>
                    <a:pt x="337" y="81"/>
                  </a:lnTo>
                  <a:lnTo>
                    <a:pt x="344" y="81"/>
                  </a:lnTo>
                  <a:lnTo>
                    <a:pt x="346" y="87"/>
                  </a:lnTo>
                  <a:lnTo>
                    <a:pt x="339" y="87"/>
                  </a:lnTo>
                  <a:lnTo>
                    <a:pt x="337" y="89"/>
                  </a:lnTo>
                  <a:lnTo>
                    <a:pt x="337" y="90"/>
                  </a:lnTo>
                  <a:lnTo>
                    <a:pt x="344" y="90"/>
                  </a:lnTo>
                  <a:lnTo>
                    <a:pt x="350" y="95"/>
                  </a:lnTo>
                  <a:lnTo>
                    <a:pt x="352" y="90"/>
                  </a:lnTo>
                  <a:lnTo>
                    <a:pt x="358" y="90"/>
                  </a:lnTo>
                  <a:lnTo>
                    <a:pt x="361" y="95"/>
                  </a:lnTo>
                  <a:lnTo>
                    <a:pt x="367" y="96"/>
                  </a:lnTo>
                  <a:lnTo>
                    <a:pt x="367" y="101"/>
                  </a:lnTo>
                  <a:lnTo>
                    <a:pt x="364" y="104"/>
                  </a:lnTo>
                  <a:lnTo>
                    <a:pt x="360" y="101"/>
                  </a:lnTo>
                  <a:lnTo>
                    <a:pt x="349" y="104"/>
                  </a:lnTo>
                  <a:lnTo>
                    <a:pt x="340" y="107"/>
                  </a:lnTo>
                  <a:lnTo>
                    <a:pt x="335" y="117"/>
                  </a:lnTo>
                  <a:lnTo>
                    <a:pt x="335" y="122"/>
                  </a:lnTo>
                  <a:lnTo>
                    <a:pt x="339" y="122"/>
                  </a:lnTo>
                  <a:lnTo>
                    <a:pt x="340" y="128"/>
                  </a:lnTo>
                  <a:lnTo>
                    <a:pt x="337" y="131"/>
                  </a:lnTo>
                  <a:lnTo>
                    <a:pt x="335" y="137"/>
                  </a:lnTo>
                  <a:lnTo>
                    <a:pt x="331" y="137"/>
                  </a:lnTo>
                  <a:lnTo>
                    <a:pt x="329" y="140"/>
                  </a:lnTo>
                  <a:lnTo>
                    <a:pt x="331" y="143"/>
                  </a:lnTo>
                  <a:lnTo>
                    <a:pt x="331" y="146"/>
                  </a:lnTo>
                  <a:lnTo>
                    <a:pt x="339" y="146"/>
                  </a:lnTo>
                  <a:lnTo>
                    <a:pt x="343" y="150"/>
                  </a:lnTo>
                  <a:lnTo>
                    <a:pt x="349" y="150"/>
                  </a:lnTo>
                  <a:lnTo>
                    <a:pt x="350" y="153"/>
                  </a:lnTo>
                  <a:lnTo>
                    <a:pt x="354" y="157"/>
                  </a:lnTo>
                  <a:lnTo>
                    <a:pt x="364" y="157"/>
                  </a:lnTo>
                  <a:lnTo>
                    <a:pt x="366" y="159"/>
                  </a:lnTo>
                  <a:lnTo>
                    <a:pt x="367" y="177"/>
                  </a:lnTo>
                  <a:lnTo>
                    <a:pt x="364" y="182"/>
                  </a:lnTo>
                  <a:lnTo>
                    <a:pt x="355" y="185"/>
                  </a:lnTo>
                  <a:lnTo>
                    <a:pt x="346" y="183"/>
                  </a:lnTo>
                  <a:lnTo>
                    <a:pt x="339" y="179"/>
                  </a:lnTo>
                  <a:lnTo>
                    <a:pt x="335" y="182"/>
                  </a:lnTo>
                  <a:lnTo>
                    <a:pt x="335" y="187"/>
                  </a:lnTo>
                  <a:lnTo>
                    <a:pt x="333" y="192"/>
                  </a:lnTo>
                  <a:lnTo>
                    <a:pt x="325" y="192"/>
                  </a:lnTo>
                  <a:lnTo>
                    <a:pt x="315" y="187"/>
                  </a:lnTo>
                  <a:lnTo>
                    <a:pt x="309" y="188"/>
                  </a:lnTo>
                  <a:lnTo>
                    <a:pt x="304" y="187"/>
                  </a:lnTo>
                  <a:lnTo>
                    <a:pt x="303" y="187"/>
                  </a:lnTo>
                  <a:lnTo>
                    <a:pt x="297" y="187"/>
                  </a:lnTo>
                  <a:lnTo>
                    <a:pt x="291" y="182"/>
                  </a:lnTo>
                  <a:lnTo>
                    <a:pt x="295" y="179"/>
                  </a:lnTo>
                  <a:lnTo>
                    <a:pt x="297" y="176"/>
                  </a:lnTo>
                  <a:lnTo>
                    <a:pt x="294" y="174"/>
                  </a:lnTo>
                  <a:lnTo>
                    <a:pt x="288" y="170"/>
                  </a:lnTo>
                  <a:lnTo>
                    <a:pt x="283" y="174"/>
                  </a:lnTo>
                  <a:lnTo>
                    <a:pt x="278" y="174"/>
                  </a:lnTo>
                  <a:lnTo>
                    <a:pt x="274" y="174"/>
                  </a:lnTo>
                  <a:lnTo>
                    <a:pt x="274" y="182"/>
                  </a:lnTo>
                  <a:lnTo>
                    <a:pt x="266" y="182"/>
                  </a:lnTo>
                  <a:lnTo>
                    <a:pt x="265" y="177"/>
                  </a:lnTo>
                  <a:lnTo>
                    <a:pt x="257" y="173"/>
                  </a:lnTo>
                  <a:lnTo>
                    <a:pt x="251" y="173"/>
                  </a:lnTo>
                  <a:lnTo>
                    <a:pt x="248" y="177"/>
                  </a:lnTo>
                  <a:lnTo>
                    <a:pt x="245" y="174"/>
                  </a:lnTo>
                  <a:lnTo>
                    <a:pt x="239" y="174"/>
                  </a:lnTo>
                  <a:lnTo>
                    <a:pt x="239" y="179"/>
                  </a:lnTo>
                  <a:lnTo>
                    <a:pt x="234" y="179"/>
                  </a:lnTo>
                  <a:lnTo>
                    <a:pt x="234" y="188"/>
                  </a:lnTo>
                  <a:lnTo>
                    <a:pt x="226" y="192"/>
                  </a:lnTo>
                  <a:lnTo>
                    <a:pt x="223" y="192"/>
                  </a:lnTo>
                  <a:lnTo>
                    <a:pt x="219" y="187"/>
                  </a:lnTo>
                  <a:lnTo>
                    <a:pt x="209" y="185"/>
                  </a:lnTo>
                  <a:lnTo>
                    <a:pt x="205" y="182"/>
                  </a:lnTo>
                  <a:lnTo>
                    <a:pt x="199" y="183"/>
                  </a:lnTo>
                  <a:lnTo>
                    <a:pt x="199" y="191"/>
                  </a:lnTo>
                  <a:lnTo>
                    <a:pt x="196" y="194"/>
                  </a:lnTo>
                  <a:lnTo>
                    <a:pt x="194" y="194"/>
                  </a:lnTo>
                  <a:lnTo>
                    <a:pt x="192" y="188"/>
                  </a:lnTo>
                  <a:lnTo>
                    <a:pt x="190" y="185"/>
                  </a:lnTo>
                  <a:lnTo>
                    <a:pt x="187" y="185"/>
                  </a:lnTo>
                  <a:lnTo>
                    <a:pt x="179" y="179"/>
                  </a:lnTo>
                  <a:lnTo>
                    <a:pt x="175" y="174"/>
                  </a:lnTo>
                  <a:lnTo>
                    <a:pt x="168" y="174"/>
                  </a:lnTo>
                  <a:lnTo>
                    <a:pt x="162" y="168"/>
                  </a:lnTo>
                  <a:lnTo>
                    <a:pt x="159" y="168"/>
                  </a:lnTo>
                  <a:lnTo>
                    <a:pt x="156" y="165"/>
                  </a:lnTo>
                  <a:lnTo>
                    <a:pt x="153" y="165"/>
                  </a:lnTo>
                  <a:lnTo>
                    <a:pt x="142" y="167"/>
                  </a:lnTo>
                  <a:lnTo>
                    <a:pt x="135" y="162"/>
                  </a:lnTo>
                  <a:lnTo>
                    <a:pt x="133" y="157"/>
                  </a:lnTo>
                  <a:lnTo>
                    <a:pt x="127" y="157"/>
                  </a:lnTo>
                  <a:lnTo>
                    <a:pt x="122" y="161"/>
                  </a:lnTo>
                  <a:lnTo>
                    <a:pt x="116" y="161"/>
                  </a:lnTo>
                  <a:lnTo>
                    <a:pt x="116" y="162"/>
                  </a:lnTo>
                  <a:lnTo>
                    <a:pt x="112" y="167"/>
                  </a:lnTo>
                  <a:lnTo>
                    <a:pt x="112" y="162"/>
                  </a:lnTo>
                  <a:lnTo>
                    <a:pt x="108" y="165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8" y="168"/>
                  </a:lnTo>
                  <a:lnTo>
                    <a:pt x="102" y="165"/>
                  </a:lnTo>
                  <a:lnTo>
                    <a:pt x="102" y="161"/>
                  </a:lnTo>
                  <a:lnTo>
                    <a:pt x="96" y="159"/>
                  </a:lnTo>
                  <a:lnTo>
                    <a:pt x="89" y="156"/>
                  </a:lnTo>
                  <a:lnTo>
                    <a:pt x="87" y="157"/>
                  </a:lnTo>
                  <a:lnTo>
                    <a:pt x="89" y="162"/>
                  </a:lnTo>
                  <a:lnTo>
                    <a:pt x="87" y="167"/>
                  </a:lnTo>
                  <a:lnTo>
                    <a:pt x="82" y="165"/>
                  </a:lnTo>
                  <a:lnTo>
                    <a:pt x="78" y="168"/>
                  </a:lnTo>
                  <a:lnTo>
                    <a:pt x="76" y="174"/>
                  </a:lnTo>
                  <a:lnTo>
                    <a:pt x="72" y="176"/>
                  </a:lnTo>
                  <a:lnTo>
                    <a:pt x="63" y="179"/>
                  </a:lnTo>
                  <a:lnTo>
                    <a:pt x="61" y="185"/>
                  </a:lnTo>
                  <a:lnTo>
                    <a:pt x="64" y="188"/>
                  </a:lnTo>
                  <a:lnTo>
                    <a:pt x="64" y="196"/>
                  </a:lnTo>
                  <a:lnTo>
                    <a:pt x="57" y="196"/>
                  </a:lnTo>
                  <a:lnTo>
                    <a:pt x="47" y="196"/>
                  </a:lnTo>
                  <a:lnTo>
                    <a:pt x="55" y="216"/>
                  </a:lnTo>
                  <a:lnTo>
                    <a:pt x="52" y="218"/>
                  </a:lnTo>
                  <a:lnTo>
                    <a:pt x="52" y="226"/>
                  </a:lnTo>
                  <a:lnTo>
                    <a:pt x="43" y="226"/>
                  </a:lnTo>
                  <a:lnTo>
                    <a:pt x="34" y="222"/>
                  </a:lnTo>
                  <a:lnTo>
                    <a:pt x="32" y="216"/>
                  </a:lnTo>
                  <a:lnTo>
                    <a:pt x="18" y="205"/>
                  </a:lnTo>
                  <a:lnTo>
                    <a:pt x="12" y="210"/>
                  </a:lnTo>
                  <a:lnTo>
                    <a:pt x="12" y="216"/>
                  </a:lnTo>
                  <a:lnTo>
                    <a:pt x="7" y="223"/>
                  </a:lnTo>
                  <a:lnTo>
                    <a:pt x="1" y="226"/>
                  </a:lnTo>
                  <a:lnTo>
                    <a:pt x="3" y="238"/>
                  </a:lnTo>
                  <a:lnTo>
                    <a:pt x="7" y="243"/>
                  </a:lnTo>
                  <a:lnTo>
                    <a:pt x="3" y="257"/>
                  </a:lnTo>
                  <a:lnTo>
                    <a:pt x="0" y="266"/>
                  </a:lnTo>
                  <a:lnTo>
                    <a:pt x="11" y="270"/>
                  </a:lnTo>
                  <a:lnTo>
                    <a:pt x="17" y="276"/>
                  </a:lnTo>
                  <a:lnTo>
                    <a:pt x="15" y="279"/>
                  </a:lnTo>
                  <a:lnTo>
                    <a:pt x="24" y="286"/>
                  </a:lnTo>
                  <a:lnTo>
                    <a:pt x="26" y="283"/>
                  </a:lnTo>
                  <a:lnTo>
                    <a:pt x="43" y="286"/>
                  </a:lnTo>
                  <a:lnTo>
                    <a:pt x="57" y="297"/>
                  </a:lnTo>
                  <a:lnTo>
                    <a:pt x="68" y="314"/>
                  </a:lnTo>
                  <a:lnTo>
                    <a:pt x="57" y="314"/>
                  </a:lnTo>
                  <a:lnTo>
                    <a:pt x="57" y="318"/>
                  </a:lnTo>
                  <a:lnTo>
                    <a:pt x="67" y="324"/>
                  </a:lnTo>
                  <a:lnTo>
                    <a:pt x="74" y="322"/>
                  </a:lnTo>
                  <a:lnTo>
                    <a:pt x="82" y="327"/>
                  </a:lnTo>
                  <a:lnTo>
                    <a:pt x="83" y="325"/>
                  </a:lnTo>
                  <a:lnTo>
                    <a:pt x="83" y="329"/>
                  </a:lnTo>
                  <a:lnTo>
                    <a:pt x="87" y="329"/>
                  </a:lnTo>
                  <a:lnTo>
                    <a:pt x="89" y="325"/>
                  </a:lnTo>
                  <a:lnTo>
                    <a:pt x="93" y="327"/>
                  </a:lnTo>
                  <a:lnTo>
                    <a:pt x="95" y="329"/>
                  </a:lnTo>
                  <a:lnTo>
                    <a:pt x="96" y="327"/>
                  </a:lnTo>
                  <a:lnTo>
                    <a:pt x="96" y="324"/>
                  </a:lnTo>
                  <a:lnTo>
                    <a:pt x="101" y="324"/>
                  </a:lnTo>
                  <a:lnTo>
                    <a:pt x="104" y="319"/>
                  </a:lnTo>
                  <a:lnTo>
                    <a:pt x="107" y="318"/>
                  </a:lnTo>
                  <a:lnTo>
                    <a:pt x="110" y="318"/>
                  </a:lnTo>
                  <a:lnTo>
                    <a:pt x="113" y="314"/>
                  </a:lnTo>
                  <a:lnTo>
                    <a:pt x="116" y="314"/>
                  </a:lnTo>
                  <a:lnTo>
                    <a:pt x="118" y="316"/>
                  </a:lnTo>
                  <a:lnTo>
                    <a:pt x="119" y="314"/>
                  </a:lnTo>
                  <a:lnTo>
                    <a:pt x="119" y="310"/>
                  </a:lnTo>
                  <a:lnTo>
                    <a:pt x="124" y="307"/>
                  </a:lnTo>
                  <a:lnTo>
                    <a:pt x="131" y="307"/>
                  </a:lnTo>
                  <a:lnTo>
                    <a:pt x="135" y="308"/>
                  </a:lnTo>
                  <a:lnTo>
                    <a:pt x="137" y="308"/>
                  </a:lnTo>
                  <a:lnTo>
                    <a:pt x="141" y="307"/>
                  </a:lnTo>
                  <a:lnTo>
                    <a:pt x="141" y="308"/>
                  </a:lnTo>
                  <a:lnTo>
                    <a:pt x="141" y="313"/>
                  </a:lnTo>
                  <a:lnTo>
                    <a:pt x="142" y="314"/>
                  </a:lnTo>
                  <a:lnTo>
                    <a:pt x="144" y="314"/>
                  </a:lnTo>
                  <a:lnTo>
                    <a:pt x="148" y="314"/>
                  </a:lnTo>
                  <a:lnTo>
                    <a:pt x="148" y="316"/>
                  </a:lnTo>
                  <a:lnTo>
                    <a:pt x="153" y="316"/>
                  </a:lnTo>
                  <a:lnTo>
                    <a:pt x="156" y="316"/>
                  </a:lnTo>
                  <a:lnTo>
                    <a:pt x="156" y="313"/>
                  </a:lnTo>
                  <a:lnTo>
                    <a:pt x="158" y="313"/>
                  </a:lnTo>
                  <a:lnTo>
                    <a:pt x="159" y="310"/>
                  </a:lnTo>
                  <a:lnTo>
                    <a:pt x="164" y="308"/>
                  </a:lnTo>
                  <a:lnTo>
                    <a:pt x="168" y="310"/>
                  </a:lnTo>
                  <a:lnTo>
                    <a:pt x="177" y="310"/>
                  </a:lnTo>
                  <a:lnTo>
                    <a:pt x="177" y="313"/>
                  </a:lnTo>
                  <a:lnTo>
                    <a:pt x="179" y="316"/>
                  </a:lnTo>
                  <a:lnTo>
                    <a:pt x="182" y="316"/>
                  </a:lnTo>
                  <a:lnTo>
                    <a:pt x="182" y="318"/>
                  </a:lnTo>
                  <a:lnTo>
                    <a:pt x="181" y="319"/>
                  </a:lnTo>
                  <a:lnTo>
                    <a:pt x="182" y="324"/>
                  </a:lnTo>
                  <a:lnTo>
                    <a:pt x="187" y="327"/>
                  </a:lnTo>
                  <a:lnTo>
                    <a:pt x="187" y="331"/>
                  </a:lnTo>
                  <a:lnTo>
                    <a:pt x="182" y="336"/>
                  </a:lnTo>
                  <a:lnTo>
                    <a:pt x="182" y="338"/>
                  </a:lnTo>
                  <a:lnTo>
                    <a:pt x="184" y="341"/>
                  </a:lnTo>
                  <a:lnTo>
                    <a:pt x="187" y="341"/>
                  </a:lnTo>
                  <a:lnTo>
                    <a:pt x="184" y="344"/>
                  </a:lnTo>
                  <a:lnTo>
                    <a:pt x="181" y="346"/>
                  </a:lnTo>
                  <a:lnTo>
                    <a:pt x="181" y="351"/>
                  </a:lnTo>
                  <a:lnTo>
                    <a:pt x="184" y="357"/>
                  </a:lnTo>
                  <a:lnTo>
                    <a:pt x="190" y="358"/>
                  </a:lnTo>
                  <a:lnTo>
                    <a:pt x="194" y="360"/>
                  </a:lnTo>
                  <a:lnTo>
                    <a:pt x="192" y="363"/>
                  </a:lnTo>
                  <a:lnTo>
                    <a:pt x="187" y="364"/>
                  </a:lnTo>
                  <a:lnTo>
                    <a:pt x="182" y="364"/>
                  </a:lnTo>
                  <a:lnTo>
                    <a:pt x="177" y="360"/>
                  </a:lnTo>
                  <a:lnTo>
                    <a:pt x="173" y="360"/>
                  </a:lnTo>
                  <a:lnTo>
                    <a:pt x="171" y="360"/>
                  </a:lnTo>
                  <a:lnTo>
                    <a:pt x="169" y="358"/>
                  </a:lnTo>
                  <a:lnTo>
                    <a:pt x="165" y="360"/>
                  </a:lnTo>
                  <a:lnTo>
                    <a:pt x="159" y="360"/>
                  </a:lnTo>
                  <a:lnTo>
                    <a:pt x="153" y="358"/>
                  </a:lnTo>
                  <a:lnTo>
                    <a:pt x="150" y="360"/>
                  </a:lnTo>
                  <a:lnTo>
                    <a:pt x="144" y="363"/>
                  </a:lnTo>
                  <a:lnTo>
                    <a:pt x="141" y="366"/>
                  </a:lnTo>
                  <a:lnTo>
                    <a:pt x="141" y="368"/>
                  </a:lnTo>
                  <a:lnTo>
                    <a:pt x="141" y="372"/>
                  </a:lnTo>
                  <a:lnTo>
                    <a:pt x="139" y="374"/>
                  </a:lnTo>
                  <a:lnTo>
                    <a:pt x="139" y="375"/>
                  </a:lnTo>
                  <a:lnTo>
                    <a:pt x="144" y="380"/>
                  </a:lnTo>
                  <a:lnTo>
                    <a:pt x="144" y="385"/>
                  </a:lnTo>
                  <a:lnTo>
                    <a:pt x="147" y="386"/>
                  </a:lnTo>
                  <a:lnTo>
                    <a:pt x="153" y="386"/>
                  </a:lnTo>
                  <a:lnTo>
                    <a:pt x="153" y="388"/>
                  </a:lnTo>
                  <a:lnTo>
                    <a:pt x="153" y="388"/>
                  </a:lnTo>
                  <a:lnTo>
                    <a:pt x="147" y="388"/>
                  </a:lnTo>
                  <a:lnTo>
                    <a:pt x="144" y="388"/>
                  </a:lnTo>
                  <a:lnTo>
                    <a:pt x="141" y="390"/>
                  </a:lnTo>
                  <a:lnTo>
                    <a:pt x="139" y="390"/>
                  </a:lnTo>
                  <a:lnTo>
                    <a:pt x="137" y="390"/>
                  </a:lnTo>
                  <a:lnTo>
                    <a:pt x="133" y="388"/>
                  </a:lnTo>
                  <a:lnTo>
                    <a:pt x="125" y="390"/>
                  </a:lnTo>
                  <a:lnTo>
                    <a:pt x="124" y="388"/>
                  </a:lnTo>
                  <a:lnTo>
                    <a:pt x="119" y="390"/>
                  </a:lnTo>
                  <a:lnTo>
                    <a:pt x="119" y="394"/>
                  </a:lnTo>
                  <a:lnTo>
                    <a:pt x="124" y="397"/>
                  </a:lnTo>
                  <a:lnTo>
                    <a:pt x="127" y="397"/>
                  </a:lnTo>
                  <a:lnTo>
                    <a:pt x="133" y="399"/>
                  </a:lnTo>
                  <a:lnTo>
                    <a:pt x="135" y="403"/>
                  </a:lnTo>
                  <a:lnTo>
                    <a:pt x="137" y="405"/>
                  </a:lnTo>
                  <a:lnTo>
                    <a:pt x="139" y="408"/>
                  </a:lnTo>
                  <a:lnTo>
                    <a:pt x="142" y="411"/>
                  </a:lnTo>
                  <a:lnTo>
                    <a:pt x="142" y="411"/>
                  </a:lnTo>
                  <a:lnTo>
                    <a:pt x="150" y="421"/>
                  </a:lnTo>
                  <a:lnTo>
                    <a:pt x="153" y="425"/>
                  </a:lnTo>
                  <a:lnTo>
                    <a:pt x="150" y="430"/>
                  </a:lnTo>
                  <a:lnTo>
                    <a:pt x="153" y="433"/>
                  </a:lnTo>
                  <a:lnTo>
                    <a:pt x="158" y="430"/>
                  </a:lnTo>
                  <a:lnTo>
                    <a:pt x="159" y="428"/>
                  </a:lnTo>
                  <a:lnTo>
                    <a:pt x="164" y="430"/>
                  </a:lnTo>
                  <a:lnTo>
                    <a:pt x="165" y="434"/>
                  </a:lnTo>
                  <a:lnTo>
                    <a:pt x="168" y="436"/>
                  </a:lnTo>
                  <a:lnTo>
                    <a:pt x="169" y="442"/>
                  </a:lnTo>
                  <a:lnTo>
                    <a:pt x="173" y="442"/>
                  </a:lnTo>
                  <a:lnTo>
                    <a:pt x="177" y="439"/>
                  </a:lnTo>
                  <a:lnTo>
                    <a:pt x="181" y="442"/>
                  </a:lnTo>
                  <a:lnTo>
                    <a:pt x="187" y="444"/>
                  </a:lnTo>
                  <a:lnTo>
                    <a:pt x="192" y="442"/>
                  </a:lnTo>
                  <a:lnTo>
                    <a:pt x="194" y="444"/>
                  </a:lnTo>
                  <a:lnTo>
                    <a:pt x="192" y="445"/>
                  </a:lnTo>
                  <a:lnTo>
                    <a:pt x="194" y="447"/>
                  </a:lnTo>
                  <a:lnTo>
                    <a:pt x="192" y="455"/>
                  </a:lnTo>
                  <a:lnTo>
                    <a:pt x="188" y="462"/>
                  </a:lnTo>
                  <a:lnTo>
                    <a:pt x="190" y="467"/>
                  </a:lnTo>
                  <a:lnTo>
                    <a:pt x="192" y="473"/>
                  </a:lnTo>
                  <a:lnTo>
                    <a:pt x="209" y="460"/>
                  </a:lnTo>
                  <a:lnTo>
                    <a:pt x="223" y="456"/>
                  </a:lnTo>
                  <a:lnTo>
                    <a:pt x="239" y="459"/>
                  </a:lnTo>
                  <a:lnTo>
                    <a:pt x="259" y="467"/>
                  </a:lnTo>
                  <a:lnTo>
                    <a:pt x="278" y="486"/>
                  </a:lnTo>
                  <a:lnTo>
                    <a:pt x="289" y="484"/>
                  </a:lnTo>
                  <a:lnTo>
                    <a:pt x="294" y="484"/>
                  </a:lnTo>
                  <a:lnTo>
                    <a:pt x="270" y="368"/>
                  </a:lnTo>
                  <a:lnTo>
                    <a:pt x="344" y="355"/>
                  </a:lnTo>
                  <a:lnTo>
                    <a:pt x="389" y="383"/>
                  </a:lnTo>
                  <a:lnTo>
                    <a:pt x="406" y="388"/>
                  </a:lnTo>
                  <a:lnTo>
                    <a:pt x="428" y="401"/>
                  </a:lnTo>
                  <a:lnTo>
                    <a:pt x="470" y="397"/>
                  </a:lnTo>
                  <a:lnTo>
                    <a:pt x="516" y="397"/>
                  </a:lnTo>
                  <a:lnTo>
                    <a:pt x="530" y="406"/>
                  </a:lnTo>
                  <a:lnTo>
                    <a:pt x="537" y="421"/>
                  </a:lnTo>
                  <a:lnTo>
                    <a:pt x="546" y="417"/>
                  </a:lnTo>
                  <a:lnTo>
                    <a:pt x="546" y="453"/>
                  </a:lnTo>
                  <a:lnTo>
                    <a:pt x="568" y="455"/>
                  </a:lnTo>
                  <a:lnTo>
                    <a:pt x="579" y="482"/>
                  </a:lnTo>
                  <a:lnTo>
                    <a:pt x="585" y="484"/>
                  </a:lnTo>
                  <a:lnTo>
                    <a:pt x="597" y="477"/>
                  </a:lnTo>
                  <a:lnTo>
                    <a:pt x="606" y="477"/>
                  </a:lnTo>
                  <a:lnTo>
                    <a:pt x="615" y="477"/>
                  </a:lnTo>
                  <a:lnTo>
                    <a:pt x="626" y="482"/>
                  </a:lnTo>
                  <a:lnTo>
                    <a:pt x="631" y="484"/>
                  </a:lnTo>
                  <a:lnTo>
                    <a:pt x="642" y="475"/>
                  </a:lnTo>
                  <a:lnTo>
                    <a:pt x="646" y="466"/>
                  </a:lnTo>
                  <a:lnTo>
                    <a:pt x="649" y="464"/>
                  </a:lnTo>
                  <a:lnTo>
                    <a:pt x="653" y="456"/>
                  </a:lnTo>
                  <a:lnTo>
                    <a:pt x="664" y="445"/>
                  </a:lnTo>
                  <a:lnTo>
                    <a:pt x="669" y="444"/>
                  </a:lnTo>
                  <a:lnTo>
                    <a:pt x="674" y="436"/>
                  </a:lnTo>
                  <a:lnTo>
                    <a:pt x="676" y="436"/>
                  </a:lnTo>
                  <a:lnTo>
                    <a:pt x="678" y="434"/>
                  </a:lnTo>
                  <a:lnTo>
                    <a:pt x="683" y="430"/>
                  </a:lnTo>
                  <a:lnTo>
                    <a:pt x="682" y="428"/>
                  </a:lnTo>
                  <a:lnTo>
                    <a:pt x="687" y="423"/>
                  </a:lnTo>
                  <a:lnTo>
                    <a:pt x="695" y="425"/>
                  </a:lnTo>
                  <a:lnTo>
                    <a:pt x="701" y="427"/>
                  </a:lnTo>
                  <a:lnTo>
                    <a:pt x="722" y="428"/>
                  </a:lnTo>
                  <a:lnTo>
                    <a:pt x="739" y="428"/>
                  </a:lnTo>
                  <a:lnTo>
                    <a:pt x="747" y="427"/>
                  </a:lnTo>
                  <a:lnTo>
                    <a:pt x="747" y="421"/>
                  </a:lnTo>
                  <a:lnTo>
                    <a:pt x="744" y="416"/>
                  </a:lnTo>
                  <a:lnTo>
                    <a:pt x="744" y="411"/>
                  </a:lnTo>
                  <a:lnTo>
                    <a:pt x="749" y="408"/>
                  </a:lnTo>
                  <a:lnTo>
                    <a:pt x="753" y="411"/>
                  </a:lnTo>
                  <a:lnTo>
                    <a:pt x="759" y="411"/>
                  </a:lnTo>
                  <a:lnTo>
                    <a:pt x="762" y="408"/>
                  </a:lnTo>
                  <a:lnTo>
                    <a:pt x="771" y="408"/>
                  </a:lnTo>
                  <a:lnTo>
                    <a:pt x="777" y="411"/>
                  </a:lnTo>
                  <a:lnTo>
                    <a:pt x="781" y="412"/>
                  </a:lnTo>
                  <a:lnTo>
                    <a:pt x="781" y="72"/>
                  </a:lnTo>
                  <a:lnTo>
                    <a:pt x="732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3" name="Freeform 6"/>
            <p:cNvSpPr>
              <a:spLocks/>
            </p:cNvSpPr>
            <p:nvPr/>
          </p:nvSpPr>
          <p:spPr bwMode="auto">
            <a:xfrm>
              <a:off x="7767638" y="3157538"/>
              <a:ext cx="712788" cy="390525"/>
            </a:xfrm>
            <a:custGeom>
              <a:avLst/>
              <a:gdLst>
                <a:gd name="T0" fmla="*/ 357 w 449"/>
                <a:gd name="T1" fmla="*/ 229 h 246"/>
                <a:gd name="T2" fmla="*/ 365 w 449"/>
                <a:gd name="T3" fmla="*/ 215 h 246"/>
                <a:gd name="T4" fmla="*/ 359 w 449"/>
                <a:gd name="T5" fmla="*/ 205 h 246"/>
                <a:gd name="T6" fmla="*/ 359 w 449"/>
                <a:gd name="T7" fmla="*/ 194 h 246"/>
                <a:gd name="T8" fmla="*/ 350 w 449"/>
                <a:gd name="T9" fmla="*/ 188 h 246"/>
                <a:gd name="T10" fmla="*/ 338 w 449"/>
                <a:gd name="T11" fmla="*/ 182 h 246"/>
                <a:gd name="T12" fmla="*/ 344 w 449"/>
                <a:gd name="T13" fmla="*/ 170 h 246"/>
                <a:gd name="T14" fmla="*/ 361 w 449"/>
                <a:gd name="T15" fmla="*/ 170 h 246"/>
                <a:gd name="T16" fmla="*/ 373 w 449"/>
                <a:gd name="T17" fmla="*/ 163 h 246"/>
                <a:gd name="T18" fmla="*/ 368 w 449"/>
                <a:gd name="T19" fmla="*/ 155 h 246"/>
                <a:gd name="T20" fmla="*/ 389 w 449"/>
                <a:gd name="T21" fmla="*/ 149 h 246"/>
                <a:gd name="T22" fmla="*/ 380 w 449"/>
                <a:gd name="T23" fmla="*/ 143 h 246"/>
                <a:gd name="T24" fmla="*/ 388 w 449"/>
                <a:gd name="T25" fmla="*/ 134 h 246"/>
                <a:gd name="T26" fmla="*/ 400 w 449"/>
                <a:gd name="T27" fmla="*/ 129 h 246"/>
                <a:gd name="T28" fmla="*/ 416 w 449"/>
                <a:gd name="T29" fmla="*/ 128 h 246"/>
                <a:gd name="T30" fmla="*/ 431 w 449"/>
                <a:gd name="T31" fmla="*/ 128 h 246"/>
                <a:gd name="T32" fmla="*/ 449 w 449"/>
                <a:gd name="T33" fmla="*/ 120 h 246"/>
                <a:gd name="T34" fmla="*/ 434 w 449"/>
                <a:gd name="T35" fmla="*/ 107 h 246"/>
                <a:gd name="T36" fmla="*/ 429 w 449"/>
                <a:gd name="T37" fmla="*/ 112 h 246"/>
                <a:gd name="T38" fmla="*/ 420 w 449"/>
                <a:gd name="T39" fmla="*/ 117 h 246"/>
                <a:gd name="T40" fmla="*/ 403 w 449"/>
                <a:gd name="T41" fmla="*/ 109 h 246"/>
                <a:gd name="T42" fmla="*/ 400 w 449"/>
                <a:gd name="T43" fmla="*/ 100 h 246"/>
                <a:gd name="T44" fmla="*/ 411 w 449"/>
                <a:gd name="T45" fmla="*/ 84 h 246"/>
                <a:gd name="T46" fmla="*/ 399 w 449"/>
                <a:gd name="T47" fmla="*/ 89 h 246"/>
                <a:gd name="T48" fmla="*/ 383 w 449"/>
                <a:gd name="T49" fmla="*/ 102 h 246"/>
                <a:gd name="T50" fmla="*/ 376 w 449"/>
                <a:gd name="T51" fmla="*/ 112 h 246"/>
                <a:gd name="T52" fmla="*/ 361 w 449"/>
                <a:gd name="T53" fmla="*/ 129 h 246"/>
                <a:gd name="T54" fmla="*/ 345 w 449"/>
                <a:gd name="T55" fmla="*/ 122 h 246"/>
                <a:gd name="T56" fmla="*/ 327 w 449"/>
                <a:gd name="T57" fmla="*/ 122 h 246"/>
                <a:gd name="T58" fmla="*/ 309 w 449"/>
                <a:gd name="T59" fmla="*/ 128 h 246"/>
                <a:gd name="T60" fmla="*/ 277 w 449"/>
                <a:gd name="T61" fmla="*/ 98 h 246"/>
                <a:gd name="T62" fmla="*/ 267 w 449"/>
                <a:gd name="T63" fmla="*/ 67 h 246"/>
                <a:gd name="T64" fmla="*/ 247 w 449"/>
                <a:gd name="T65" fmla="*/ 43 h 246"/>
                <a:gd name="T66" fmla="*/ 158 w 449"/>
                <a:gd name="T67" fmla="*/ 46 h 246"/>
                <a:gd name="T68" fmla="*/ 119 w 449"/>
                <a:gd name="T69" fmla="*/ 28 h 246"/>
                <a:gd name="T70" fmla="*/ 0 w 449"/>
                <a:gd name="T71" fmla="*/ 14 h 246"/>
                <a:gd name="T72" fmla="*/ 36 w 449"/>
                <a:gd name="T73" fmla="*/ 128 h 246"/>
                <a:gd name="T74" fmla="*/ 50 w 449"/>
                <a:gd name="T75" fmla="*/ 124 h 246"/>
                <a:gd name="T76" fmla="*/ 45 w 449"/>
                <a:gd name="T77" fmla="*/ 112 h 246"/>
                <a:gd name="T78" fmla="*/ 57 w 449"/>
                <a:gd name="T79" fmla="*/ 100 h 246"/>
                <a:gd name="T80" fmla="*/ 69 w 449"/>
                <a:gd name="T81" fmla="*/ 90 h 246"/>
                <a:gd name="T82" fmla="*/ 79 w 449"/>
                <a:gd name="T83" fmla="*/ 93 h 246"/>
                <a:gd name="T84" fmla="*/ 86 w 449"/>
                <a:gd name="T85" fmla="*/ 87 h 246"/>
                <a:gd name="T86" fmla="*/ 122 w 449"/>
                <a:gd name="T87" fmla="*/ 104 h 246"/>
                <a:gd name="T88" fmla="*/ 146 w 449"/>
                <a:gd name="T89" fmla="*/ 118 h 246"/>
                <a:gd name="T90" fmla="*/ 166 w 449"/>
                <a:gd name="T91" fmla="*/ 124 h 246"/>
                <a:gd name="T92" fmla="*/ 183 w 449"/>
                <a:gd name="T93" fmla="*/ 131 h 246"/>
                <a:gd name="T94" fmla="*/ 192 w 449"/>
                <a:gd name="T95" fmla="*/ 149 h 246"/>
                <a:gd name="T96" fmla="*/ 203 w 449"/>
                <a:gd name="T97" fmla="*/ 166 h 246"/>
                <a:gd name="T98" fmla="*/ 229 w 449"/>
                <a:gd name="T99" fmla="*/ 182 h 246"/>
                <a:gd name="T100" fmla="*/ 269 w 449"/>
                <a:gd name="T101" fmla="*/ 201 h 246"/>
                <a:gd name="T102" fmla="*/ 304 w 449"/>
                <a:gd name="T103" fmla="*/ 215 h 246"/>
                <a:gd name="T104" fmla="*/ 311 w 449"/>
                <a:gd name="T105" fmla="*/ 216 h 246"/>
                <a:gd name="T106" fmla="*/ 321 w 449"/>
                <a:gd name="T107" fmla="*/ 229 h 246"/>
                <a:gd name="T108" fmla="*/ 330 w 449"/>
                <a:gd name="T109" fmla="*/ 238 h 246"/>
                <a:gd name="T110" fmla="*/ 339 w 449"/>
                <a:gd name="T111" fmla="*/ 246 h 246"/>
                <a:gd name="T112" fmla="*/ 348 w 449"/>
                <a:gd name="T113" fmla="*/ 243 h 246"/>
                <a:gd name="T114" fmla="*/ 355 w 449"/>
                <a:gd name="T115" fmla="*/ 244 h 246"/>
                <a:gd name="T116" fmla="*/ 355 w 449"/>
                <a:gd name="T117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9" h="246">
                  <a:moveTo>
                    <a:pt x="355" y="244"/>
                  </a:moveTo>
                  <a:lnTo>
                    <a:pt x="357" y="229"/>
                  </a:lnTo>
                  <a:lnTo>
                    <a:pt x="363" y="218"/>
                  </a:lnTo>
                  <a:lnTo>
                    <a:pt x="365" y="215"/>
                  </a:lnTo>
                  <a:lnTo>
                    <a:pt x="365" y="207"/>
                  </a:lnTo>
                  <a:lnTo>
                    <a:pt x="359" y="205"/>
                  </a:lnTo>
                  <a:lnTo>
                    <a:pt x="355" y="199"/>
                  </a:lnTo>
                  <a:lnTo>
                    <a:pt x="359" y="194"/>
                  </a:lnTo>
                  <a:lnTo>
                    <a:pt x="357" y="188"/>
                  </a:lnTo>
                  <a:lnTo>
                    <a:pt x="350" y="188"/>
                  </a:lnTo>
                  <a:lnTo>
                    <a:pt x="344" y="190"/>
                  </a:lnTo>
                  <a:lnTo>
                    <a:pt x="338" y="182"/>
                  </a:lnTo>
                  <a:lnTo>
                    <a:pt x="338" y="174"/>
                  </a:lnTo>
                  <a:lnTo>
                    <a:pt x="344" y="170"/>
                  </a:lnTo>
                  <a:lnTo>
                    <a:pt x="355" y="172"/>
                  </a:lnTo>
                  <a:lnTo>
                    <a:pt x="361" y="170"/>
                  </a:lnTo>
                  <a:lnTo>
                    <a:pt x="361" y="165"/>
                  </a:lnTo>
                  <a:lnTo>
                    <a:pt x="373" y="163"/>
                  </a:lnTo>
                  <a:lnTo>
                    <a:pt x="370" y="159"/>
                  </a:lnTo>
                  <a:lnTo>
                    <a:pt x="368" y="155"/>
                  </a:lnTo>
                  <a:lnTo>
                    <a:pt x="380" y="154"/>
                  </a:lnTo>
                  <a:lnTo>
                    <a:pt x="389" y="149"/>
                  </a:lnTo>
                  <a:lnTo>
                    <a:pt x="389" y="146"/>
                  </a:lnTo>
                  <a:lnTo>
                    <a:pt x="380" y="143"/>
                  </a:lnTo>
                  <a:lnTo>
                    <a:pt x="382" y="135"/>
                  </a:lnTo>
                  <a:lnTo>
                    <a:pt x="388" y="134"/>
                  </a:lnTo>
                  <a:lnTo>
                    <a:pt x="395" y="129"/>
                  </a:lnTo>
                  <a:lnTo>
                    <a:pt x="400" y="129"/>
                  </a:lnTo>
                  <a:lnTo>
                    <a:pt x="411" y="122"/>
                  </a:lnTo>
                  <a:lnTo>
                    <a:pt x="416" y="128"/>
                  </a:lnTo>
                  <a:lnTo>
                    <a:pt x="418" y="129"/>
                  </a:lnTo>
                  <a:lnTo>
                    <a:pt x="431" y="128"/>
                  </a:lnTo>
                  <a:lnTo>
                    <a:pt x="440" y="129"/>
                  </a:lnTo>
                  <a:lnTo>
                    <a:pt x="449" y="120"/>
                  </a:lnTo>
                  <a:lnTo>
                    <a:pt x="449" y="117"/>
                  </a:lnTo>
                  <a:lnTo>
                    <a:pt x="434" y="107"/>
                  </a:lnTo>
                  <a:lnTo>
                    <a:pt x="431" y="106"/>
                  </a:lnTo>
                  <a:lnTo>
                    <a:pt x="429" y="112"/>
                  </a:lnTo>
                  <a:lnTo>
                    <a:pt x="425" y="118"/>
                  </a:lnTo>
                  <a:lnTo>
                    <a:pt x="420" y="117"/>
                  </a:lnTo>
                  <a:lnTo>
                    <a:pt x="414" y="112"/>
                  </a:lnTo>
                  <a:lnTo>
                    <a:pt x="403" y="109"/>
                  </a:lnTo>
                  <a:lnTo>
                    <a:pt x="397" y="106"/>
                  </a:lnTo>
                  <a:lnTo>
                    <a:pt x="400" y="100"/>
                  </a:lnTo>
                  <a:lnTo>
                    <a:pt x="411" y="87"/>
                  </a:lnTo>
                  <a:lnTo>
                    <a:pt x="411" y="84"/>
                  </a:lnTo>
                  <a:lnTo>
                    <a:pt x="405" y="81"/>
                  </a:lnTo>
                  <a:lnTo>
                    <a:pt x="399" y="89"/>
                  </a:lnTo>
                  <a:lnTo>
                    <a:pt x="395" y="90"/>
                  </a:lnTo>
                  <a:lnTo>
                    <a:pt x="383" y="102"/>
                  </a:lnTo>
                  <a:lnTo>
                    <a:pt x="380" y="109"/>
                  </a:lnTo>
                  <a:lnTo>
                    <a:pt x="376" y="112"/>
                  </a:lnTo>
                  <a:lnTo>
                    <a:pt x="373" y="120"/>
                  </a:lnTo>
                  <a:lnTo>
                    <a:pt x="361" y="129"/>
                  </a:lnTo>
                  <a:lnTo>
                    <a:pt x="357" y="128"/>
                  </a:lnTo>
                  <a:lnTo>
                    <a:pt x="345" y="122"/>
                  </a:lnTo>
                  <a:lnTo>
                    <a:pt x="336" y="122"/>
                  </a:lnTo>
                  <a:lnTo>
                    <a:pt x="327" y="122"/>
                  </a:lnTo>
                  <a:lnTo>
                    <a:pt x="315" y="129"/>
                  </a:lnTo>
                  <a:lnTo>
                    <a:pt x="309" y="128"/>
                  </a:lnTo>
                  <a:lnTo>
                    <a:pt x="298" y="100"/>
                  </a:lnTo>
                  <a:lnTo>
                    <a:pt x="277" y="98"/>
                  </a:lnTo>
                  <a:lnTo>
                    <a:pt x="277" y="63"/>
                  </a:lnTo>
                  <a:lnTo>
                    <a:pt x="267" y="67"/>
                  </a:lnTo>
                  <a:lnTo>
                    <a:pt x="260" y="51"/>
                  </a:lnTo>
                  <a:lnTo>
                    <a:pt x="247" y="43"/>
                  </a:lnTo>
                  <a:lnTo>
                    <a:pt x="201" y="43"/>
                  </a:lnTo>
                  <a:lnTo>
                    <a:pt x="158" y="46"/>
                  </a:lnTo>
                  <a:lnTo>
                    <a:pt x="136" y="34"/>
                  </a:lnTo>
                  <a:lnTo>
                    <a:pt x="119" y="28"/>
                  </a:lnTo>
                  <a:lnTo>
                    <a:pt x="74" y="0"/>
                  </a:lnTo>
                  <a:lnTo>
                    <a:pt x="0" y="14"/>
                  </a:lnTo>
                  <a:lnTo>
                    <a:pt x="24" y="129"/>
                  </a:lnTo>
                  <a:lnTo>
                    <a:pt x="36" y="128"/>
                  </a:lnTo>
                  <a:lnTo>
                    <a:pt x="48" y="129"/>
                  </a:lnTo>
                  <a:lnTo>
                    <a:pt x="50" y="124"/>
                  </a:lnTo>
                  <a:lnTo>
                    <a:pt x="45" y="120"/>
                  </a:lnTo>
                  <a:lnTo>
                    <a:pt x="45" y="112"/>
                  </a:lnTo>
                  <a:lnTo>
                    <a:pt x="50" y="100"/>
                  </a:lnTo>
                  <a:lnTo>
                    <a:pt x="57" y="100"/>
                  </a:lnTo>
                  <a:lnTo>
                    <a:pt x="63" y="95"/>
                  </a:lnTo>
                  <a:lnTo>
                    <a:pt x="69" y="90"/>
                  </a:lnTo>
                  <a:lnTo>
                    <a:pt x="74" y="95"/>
                  </a:lnTo>
                  <a:lnTo>
                    <a:pt x="79" y="93"/>
                  </a:lnTo>
                  <a:lnTo>
                    <a:pt x="74" y="87"/>
                  </a:lnTo>
                  <a:lnTo>
                    <a:pt x="86" y="87"/>
                  </a:lnTo>
                  <a:lnTo>
                    <a:pt x="105" y="96"/>
                  </a:lnTo>
                  <a:lnTo>
                    <a:pt x="122" y="104"/>
                  </a:lnTo>
                  <a:lnTo>
                    <a:pt x="125" y="109"/>
                  </a:lnTo>
                  <a:lnTo>
                    <a:pt x="146" y="118"/>
                  </a:lnTo>
                  <a:lnTo>
                    <a:pt x="161" y="126"/>
                  </a:lnTo>
                  <a:lnTo>
                    <a:pt x="166" y="124"/>
                  </a:lnTo>
                  <a:lnTo>
                    <a:pt x="172" y="124"/>
                  </a:lnTo>
                  <a:lnTo>
                    <a:pt x="183" y="131"/>
                  </a:lnTo>
                  <a:lnTo>
                    <a:pt x="187" y="146"/>
                  </a:lnTo>
                  <a:lnTo>
                    <a:pt x="192" y="149"/>
                  </a:lnTo>
                  <a:lnTo>
                    <a:pt x="195" y="157"/>
                  </a:lnTo>
                  <a:lnTo>
                    <a:pt x="203" y="166"/>
                  </a:lnTo>
                  <a:lnTo>
                    <a:pt x="212" y="170"/>
                  </a:lnTo>
                  <a:lnTo>
                    <a:pt x="229" y="182"/>
                  </a:lnTo>
                  <a:lnTo>
                    <a:pt x="249" y="192"/>
                  </a:lnTo>
                  <a:lnTo>
                    <a:pt x="269" y="201"/>
                  </a:lnTo>
                  <a:lnTo>
                    <a:pt x="288" y="213"/>
                  </a:lnTo>
                  <a:lnTo>
                    <a:pt x="304" y="215"/>
                  </a:lnTo>
                  <a:lnTo>
                    <a:pt x="305" y="218"/>
                  </a:lnTo>
                  <a:lnTo>
                    <a:pt x="311" y="216"/>
                  </a:lnTo>
                  <a:lnTo>
                    <a:pt x="321" y="224"/>
                  </a:lnTo>
                  <a:lnTo>
                    <a:pt x="321" y="229"/>
                  </a:lnTo>
                  <a:lnTo>
                    <a:pt x="323" y="240"/>
                  </a:lnTo>
                  <a:lnTo>
                    <a:pt x="330" y="238"/>
                  </a:lnTo>
                  <a:lnTo>
                    <a:pt x="336" y="240"/>
                  </a:lnTo>
                  <a:lnTo>
                    <a:pt x="339" y="246"/>
                  </a:lnTo>
                  <a:lnTo>
                    <a:pt x="344" y="246"/>
                  </a:lnTo>
                  <a:lnTo>
                    <a:pt x="348" y="243"/>
                  </a:lnTo>
                  <a:lnTo>
                    <a:pt x="353" y="243"/>
                  </a:lnTo>
                  <a:lnTo>
                    <a:pt x="355" y="244"/>
                  </a:lnTo>
                  <a:lnTo>
                    <a:pt x="355" y="244"/>
                  </a:lnTo>
                  <a:lnTo>
                    <a:pt x="355" y="24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4" name="Freeform 7"/>
            <p:cNvSpPr>
              <a:spLocks/>
            </p:cNvSpPr>
            <p:nvPr/>
          </p:nvSpPr>
          <p:spPr bwMode="auto">
            <a:xfrm>
              <a:off x="7645401" y="3297238"/>
              <a:ext cx="633413" cy="349250"/>
            </a:xfrm>
            <a:custGeom>
              <a:avLst/>
              <a:gdLst>
                <a:gd name="T0" fmla="*/ 398 w 399"/>
                <a:gd name="T1" fmla="*/ 137 h 220"/>
                <a:gd name="T2" fmla="*/ 381 w 399"/>
                <a:gd name="T3" fmla="*/ 128 h 220"/>
                <a:gd name="T4" fmla="*/ 326 w 399"/>
                <a:gd name="T5" fmla="*/ 106 h 220"/>
                <a:gd name="T6" fmla="*/ 280 w 399"/>
                <a:gd name="T7" fmla="*/ 79 h 220"/>
                <a:gd name="T8" fmla="*/ 264 w 399"/>
                <a:gd name="T9" fmla="*/ 58 h 220"/>
                <a:gd name="T10" fmla="*/ 244 w 399"/>
                <a:gd name="T11" fmla="*/ 36 h 220"/>
                <a:gd name="T12" fmla="*/ 202 w 399"/>
                <a:gd name="T13" fmla="*/ 22 h 220"/>
                <a:gd name="T14" fmla="*/ 163 w 399"/>
                <a:gd name="T15" fmla="*/ 0 h 220"/>
                <a:gd name="T16" fmla="*/ 152 w 399"/>
                <a:gd name="T17" fmla="*/ 8 h 220"/>
                <a:gd name="T18" fmla="*/ 135 w 399"/>
                <a:gd name="T19" fmla="*/ 13 h 220"/>
                <a:gd name="T20" fmla="*/ 123 w 399"/>
                <a:gd name="T21" fmla="*/ 33 h 220"/>
                <a:gd name="T22" fmla="*/ 114 w 399"/>
                <a:gd name="T23" fmla="*/ 41 h 220"/>
                <a:gd name="T24" fmla="*/ 67 w 399"/>
                <a:gd name="T25" fmla="*/ 25 h 220"/>
                <a:gd name="T26" fmla="*/ 17 w 399"/>
                <a:gd name="T27" fmla="*/ 18 h 220"/>
                <a:gd name="T28" fmla="*/ 4 w 399"/>
                <a:gd name="T29" fmla="*/ 36 h 220"/>
                <a:gd name="T30" fmla="*/ 11 w 399"/>
                <a:gd name="T31" fmla="*/ 48 h 220"/>
                <a:gd name="T32" fmla="*/ 13 w 399"/>
                <a:gd name="T33" fmla="*/ 67 h 220"/>
                <a:gd name="T34" fmla="*/ 19 w 399"/>
                <a:gd name="T35" fmla="*/ 89 h 220"/>
                <a:gd name="T36" fmla="*/ 25 w 399"/>
                <a:gd name="T37" fmla="*/ 89 h 220"/>
                <a:gd name="T38" fmla="*/ 39 w 399"/>
                <a:gd name="T39" fmla="*/ 87 h 220"/>
                <a:gd name="T40" fmla="*/ 40 w 399"/>
                <a:gd name="T41" fmla="*/ 100 h 220"/>
                <a:gd name="T42" fmla="*/ 45 w 399"/>
                <a:gd name="T43" fmla="*/ 103 h 220"/>
                <a:gd name="T44" fmla="*/ 36 w 399"/>
                <a:gd name="T45" fmla="*/ 101 h 220"/>
                <a:gd name="T46" fmla="*/ 34 w 399"/>
                <a:gd name="T47" fmla="*/ 114 h 220"/>
                <a:gd name="T48" fmla="*/ 40 w 399"/>
                <a:gd name="T49" fmla="*/ 109 h 220"/>
                <a:gd name="T50" fmla="*/ 54 w 399"/>
                <a:gd name="T51" fmla="*/ 118 h 220"/>
                <a:gd name="T52" fmla="*/ 57 w 399"/>
                <a:gd name="T53" fmla="*/ 133 h 220"/>
                <a:gd name="T54" fmla="*/ 62 w 399"/>
                <a:gd name="T55" fmla="*/ 167 h 220"/>
                <a:gd name="T56" fmla="*/ 85 w 399"/>
                <a:gd name="T57" fmla="*/ 156 h 220"/>
                <a:gd name="T58" fmla="*/ 105 w 399"/>
                <a:gd name="T59" fmla="*/ 145 h 220"/>
                <a:gd name="T60" fmla="*/ 129 w 399"/>
                <a:gd name="T61" fmla="*/ 139 h 220"/>
                <a:gd name="T62" fmla="*/ 146 w 399"/>
                <a:gd name="T63" fmla="*/ 139 h 220"/>
                <a:gd name="T64" fmla="*/ 180 w 399"/>
                <a:gd name="T65" fmla="*/ 156 h 220"/>
                <a:gd name="T66" fmla="*/ 202 w 399"/>
                <a:gd name="T67" fmla="*/ 156 h 220"/>
                <a:gd name="T68" fmla="*/ 211 w 399"/>
                <a:gd name="T69" fmla="*/ 168 h 220"/>
                <a:gd name="T70" fmla="*/ 238 w 399"/>
                <a:gd name="T71" fmla="*/ 181 h 220"/>
                <a:gd name="T72" fmla="*/ 263 w 399"/>
                <a:gd name="T73" fmla="*/ 192 h 220"/>
                <a:gd name="T74" fmla="*/ 263 w 399"/>
                <a:gd name="T75" fmla="*/ 204 h 220"/>
                <a:gd name="T76" fmla="*/ 274 w 399"/>
                <a:gd name="T77" fmla="*/ 210 h 220"/>
                <a:gd name="T78" fmla="*/ 286 w 399"/>
                <a:gd name="T79" fmla="*/ 210 h 220"/>
                <a:gd name="T80" fmla="*/ 299 w 399"/>
                <a:gd name="T81" fmla="*/ 218 h 220"/>
                <a:gd name="T82" fmla="*/ 312 w 399"/>
                <a:gd name="T83" fmla="*/ 216 h 220"/>
                <a:gd name="T84" fmla="*/ 320 w 399"/>
                <a:gd name="T85" fmla="*/ 204 h 220"/>
                <a:gd name="T86" fmla="*/ 339 w 399"/>
                <a:gd name="T87" fmla="*/ 195 h 220"/>
                <a:gd name="T88" fmla="*/ 348 w 399"/>
                <a:gd name="T89" fmla="*/ 190 h 220"/>
                <a:gd name="T90" fmla="*/ 355 w 399"/>
                <a:gd name="T91" fmla="*/ 171 h 220"/>
                <a:gd name="T92" fmla="*/ 354 w 399"/>
                <a:gd name="T93" fmla="*/ 161 h 220"/>
                <a:gd name="T94" fmla="*/ 367 w 399"/>
                <a:gd name="T95" fmla="*/ 156 h 220"/>
                <a:gd name="T96" fmla="*/ 384 w 399"/>
                <a:gd name="T97" fmla="*/ 150 h 220"/>
                <a:gd name="T98" fmla="*/ 398 w 399"/>
                <a:gd name="T99" fmla="*/ 154 h 220"/>
                <a:gd name="T100" fmla="*/ 399 w 399"/>
                <a:gd name="T101" fmla="*/ 154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9" h="220">
                  <a:moveTo>
                    <a:pt x="399" y="154"/>
                  </a:moveTo>
                  <a:lnTo>
                    <a:pt x="398" y="142"/>
                  </a:lnTo>
                  <a:lnTo>
                    <a:pt x="398" y="137"/>
                  </a:lnTo>
                  <a:lnTo>
                    <a:pt x="388" y="129"/>
                  </a:lnTo>
                  <a:lnTo>
                    <a:pt x="382" y="131"/>
                  </a:lnTo>
                  <a:lnTo>
                    <a:pt x="381" y="128"/>
                  </a:lnTo>
                  <a:lnTo>
                    <a:pt x="365" y="125"/>
                  </a:lnTo>
                  <a:lnTo>
                    <a:pt x="346" y="114"/>
                  </a:lnTo>
                  <a:lnTo>
                    <a:pt x="326" y="106"/>
                  </a:lnTo>
                  <a:lnTo>
                    <a:pt x="306" y="94"/>
                  </a:lnTo>
                  <a:lnTo>
                    <a:pt x="289" y="83"/>
                  </a:lnTo>
                  <a:lnTo>
                    <a:pt x="280" y="79"/>
                  </a:lnTo>
                  <a:lnTo>
                    <a:pt x="272" y="70"/>
                  </a:lnTo>
                  <a:lnTo>
                    <a:pt x="270" y="62"/>
                  </a:lnTo>
                  <a:lnTo>
                    <a:pt x="264" y="58"/>
                  </a:lnTo>
                  <a:lnTo>
                    <a:pt x="260" y="44"/>
                  </a:lnTo>
                  <a:lnTo>
                    <a:pt x="249" y="36"/>
                  </a:lnTo>
                  <a:lnTo>
                    <a:pt x="244" y="36"/>
                  </a:lnTo>
                  <a:lnTo>
                    <a:pt x="238" y="39"/>
                  </a:lnTo>
                  <a:lnTo>
                    <a:pt x="223" y="31"/>
                  </a:lnTo>
                  <a:lnTo>
                    <a:pt x="202" y="22"/>
                  </a:lnTo>
                  <a:lnTo>
                    <a:pt x="200" y="17"/>
                  </a:lnTo>
                  <a:lnTo>
                    <a:pt x="183" y="8"/>
                  </a:lnTo>
                  <a:lnTo>
                    <a:pt x="163" y="0"/>
                  </a:lnTo>
                  <a:lnTo>
                    <a:pt x="152" y="0"/>
                  </a:lnTo>
                  <a:lnTo>
                    <a:pt x="156" y="5"/>
                  </a:lnTo>
                  <a:lnTo>
                    <a:pt x="152" y="8"/>
                  </a:lnTo>
                  <a:lnTo>
                    <a:pt x="146" y="3"/>
                  </a:lnTo>
                  <a:lnTo>
                    <a:pt x="140" y="8"/>
                  </a:lnTo>
                  <a:lnTo>
                    <a:pt x="135" y="13"/>
                  </a:lnTo>
                  <a:lnTo>
                    <a:pt x="128" y="13"/>
                  </a:lnTo>
                  <a:lnTo>
                    <a:pt x="122" y="24"/>
                  </a:lnTo>
                  <a:lnTo>
                    <a:pt x="123" y="33"/>
                  </a:lnTo>
                  <a:lnTo>
                    <a:pt x="128" y="36"/>
                  </a:lnTo>
                  <a:lnTo>
                    <a:pt x="125" y="42"/>
                  </a:lnTo>
                  <a:lnTo>
                    <a:pt x="114" y="41"/>
                  </a:lnTo>
                  <a:lnTo>
                    <a:pt x="97" y="42"/>
                  </a:lnTo>
                  <a:lnTo>
                    <a:pt x="85" y="44"/>
                  </a:lnTo>
                  <a:lnTo>
                    <a:pt x="67" y="25"/>
                  </a:lnTo>
                  <a:lnTo>
                    <a:pt x="48" y="17"/>
                  </a:lnTo>
                  <a:lnTo>
                    <a:pt x="31" y="14"/>
                  </a:lnTo>
                  <a:lnTo>
                    <a:pt x="17" y="18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4" y="36"/>
                  </a:lnTo>
                  <a:lnTo>
                    <a:pt x="5" y="41"/>
                  </a:lnTo>
                  <a:lnTo>
                    <a:pt x="10" y="44"/>
                  </a:lnTo>
                  <a:lnTo>
                    <a:pt x="11" y="48"/>
                  </a:lnTo>
                  <a:lnTo>
                    <a:pt x="17" y="57"/>
                  </a:lnTo>
                  <a:lnTo>
                    <a:pt x="17" y="62"/>
                  </a:lnTo>
                  <a:lnTo>
                    <a:pt x="13" y="67"/>
                  </a:lnTo>
                  <a:lnTo>
                    <a:pt x="13" y="81"/>
                  </a:lnTo>
                  <a:lnTo>
                    <a:pt x="17" y="84"/>
                  </a:lnTo>
                  <a:lnTo>
                    <a:pt x="19" y="89"/>
                  </a:lnTo>
                  <a:lnTo>
                    <a:pt x="28" y="95"/>
                  </a:lnTo>
                  <a:lnTo>
                    <a:pt x="28" y="92"/>
                  </a:lnTo>
                  <a:lnTo>
                    <a:pt x="25" y="89"/>
                  </a:lnTo>
                  <a:lnTo>
                    <a:pt x="27" y="89"/>
                  </a:lnTo>
                  <a:lnTo>
                    <a:pt x="34" y="89"/>
                  </a:lnTo>
                  <a:lnTo>
                    <a:pt x="39" y="87"/>
                  </a:lnTo>
                  <a:lnTo>
                    <a:pt x="40" y="89"/>
                  </a:lnTo>
                  <a:lnTo>
                    <a:pt x="40" y="94"/>
                  </a:lnTo>
                  <a:lnTo>
                    <a:pt x="40" y="100"/>
                  </a:lnTo>
                  <a:lnTo>
                    <a:pt x="44" y="98"/>
                  </a:lnTo>
                  <a:lnTo>
                    <a:pt x="48" y="101"/>
                  </a:lnTo>
                  <a:lnTo>
                    <a:pt x="45" y="103"/>
                  </a:lnTo>
                  <a:lnTo>
                    <a:pt x="42" y="103"/>
                  </a:lnTo>
                  <a:lnTo>
                    <a:pt x="39" y="103"/>
                  </a:lnTo>
                  <a:lnTo>
                    <a:pt x="36" y="101"/>
                  </a:lnTo>
                  <a:lnTo>
                    <a:pt x="31" y="106"/>
                  </a:lnTo>
                  <a:lnTo>
                    <a:pt x="31" y="109"/>
                  </a:lnTo>
                  <a:lnTo>
                    <a:pt x="34" y="114"/>
                  </a:lnTo>
                  <a:lnTo>
                    <a:pt x="34" y="109"/>
                  </a:lnTo>
                  <a:lnTo>
                    <a:pt x="36" y="106"/>
                  </a:lnTo>
                  <a:lnTo>
                    <a:pt x="40" y="109"/>
                  </a:lnTo>
                  <a:lnTo>
                    <a:pt x="44" y="109"/>
                  </a:lnTo>
                  <a:lnTo>
                    <a:pt x="45" y="114"/>
                  </a:lnTo>
                  <a:lnTo>
                    <a:pt x="54" y="118"/>
                  </a:lnTo>
                  <a:lnTo>
                    <a:pt x="56" y="122"/>
                  </a:lnTo>
                  <a:lnTo>
                    <a:pt x="56" y="129"/>
                  </a:lnTo>
                  <a:lnTo>
                    <a:pt x="57" y="133"/>
                  </a:lnTo>
                  <a:lnTo>
                    <a:pt x="56" y="146"/>
                  </a:lnTo>
                  <a:lnTo>
                    <a:pt x="59" y="155"/>
                  </a:lnTo>
                  <a:lnTo>
                    <a:pt x="62" y="167"/>
                  </a:lnTo>
                  <a:lnTo>
                    <a:pt x="68" y="164"/>
                  </a:lnTo>
                  <a:lnTo>
                    <a:pt x="82" y="162"/>
                  </a:lnTo>
                  <a:lnTo>
                    <a:pt x="85" y="156"/>
                  </a:lnTo>
                  <a:lnTo>
                    <a:pt x="90" y="151"/>
                  </a:lnTo>
                  <a:lnTo>
                    <a:pt x="94" y="151"/>
                  </a:lnTo>
                  <a:lnTo>
                    <a:pt x="105" y="145"/>
                  </a:lnTo>
                  <a:lnTo>
                    <a:pt x="116" y="142"/>
                  </a:lnTo>
                  <a:lnTo>
                    <a:pt x="128" y="145"/>
                  </a:lnTo>
                  <a:lnTo>
                    <a:pt x="129" y="139"/>
                  </a:lnTo>
                  <a:lnTo>
                    <a:pt x="135" y="137"/>
                  </a:lnTo>
                  <a:lnTo>
                    <a:pt x="140" y="139"/>
                  </a:lnTo>
                  <a:lnTo>
                    <a:pt x="146" y="139"/>
                  </a:lnTo>
                  <a:lnTo>
                    <a:pt x="156" y="146"/>
                  </a:lnTo>
                  <a:lnTo>
                    <a:pt x="165" y="148"/>
                  </a:lnTo>
                  <a:lnTo>
                    <a:pt x="180" y="156"/>
                  </a:lnTo>
                  <a:lnTo>
                    <a:pt x="186" y="155"/>
                  </a:lnTo>
                  <a:lnTo>
                    <a:pt x="191" y="154"/>
                  </a:lnTo>
                  <a:lnTo>
                    <a:pt x="202" y="156"/>
                  </a:lnTo>
                  <a:lnTo>
                    <a:pt x="208" y="159"/>
                  </a:lnTo>
                  <a:lnTo>
                    <a:pt x="209" y="167"/>
                  </a:lnTo>
                  <a:lnTo>
                    <a:pt x="211" y="168"/>
                  </a:lnTo>
                  <a:lnTo>
                    <a:pt x="217" y="167"/>
                  </a:lnTo>
                  <a:lnTo>
                    <a:pt x="226" y="168"/>
                  </a:lnTo>
                  <a:lnTo>
                    <a:pt x="238" y="181"/>
                  </a:lnTo>
                  <a:lnTo>
                    <a:pt x="251" y="182"/>
                  </a:lnTo>
                  <a:lnTo>
                    <a:pt x="257" y="185"/>
                  </a:lnTo>
                  <a:lnTo>
                    <a:pt x="263" y="192"/>
                  </a:lnTo>
                  <a:lnTo>
                    <a:pt x="260" y="195"/>
                  </a:lnTo>
                  <a:lnTo>
                    <a:pt x="263" y="201"/>
                  </a:lnTo>
                  <a:lnTo>
                    <a:pt x="263" y="204"/>
                  </a:lnTo>
                  <a:lnTo>
                    <a:pt x="264" y="209"/>
                  </a:lnTo>
                  <a:lnTo>
                    <a:pt x="266" y="209"/>
                  </a:lnTo>
                  <a:lnTo>
                    <a:pt x="274" y="210"/>
                  </a:lnTo>
                  <a:lnTo>
                    <a:pt x="278" y="212"/>
                  </a:lnTo>
                  <a:lnTo>
                    <a:pt x="281" y="212"/>
                  </a:lnTo>
                  <a:lnTo>
                    <a:pt x="286" y="210"/>
                  </a:lnTo>
                  <a:lnTo>
                    <a:pt x="291" y="210"/>
                  </a:lnTo>
                  <a:lnTo>
                    <a:pt x="297" y="215"/>
                  </a:lnTo>
                  <a:lnTo>
                    <a:pt x="299" y="218"/>
                  </a:lnTo>
                  <a:lnTo>
                    <a:pt x="300" y="220"/>
                  </a:lnTo>
                  <a:lnTo>
                    <a:pt x="304" y="216"/>
                  </a:lnTo>
                  <a:lnTo>
                    <a:pt x="312" y="216"/>
                  </a:lnTo>
                  <a:lnTo>
                    <a:pt x="315" y="212"/>
                  </a:lnTo>
                  <a:lnTo>
                    <a:pt x="315" y="209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7" y="198"/>
                  </a:lnTo>
                  <a:lnTo>
                    <a:pt x="339" y="195"/>
                  </a:lnTo>
                  <a:lnTo>
                    <a:pt x="339" y="194"/>
                  </a:lnTo>
                  <a:lnTo>
                    <a:pt x="344" y="190"/>
                  </a:lnTo>
                  <a:lnTo>
                    <a:pt x="348" y="190"/>
                  </a:lnTo>
                  <a:lnTo>
                    <a:pt x="350" y="182"/>
                  </a:lnTo>
                  <a:lnTo>
                    <a:pt x="350" y="177"/>
                  </a:lnTo>
                  <a:lnTo>
                    <a:pt x="355" y="171"/>
                  </a:lnTo>
                  <a:lnTo>
                    <a:pt x="355" y="167"/>
                  </a:lnTo>
                  <a:lnTo>
                    <a:pt x="354" y="164"/>
                  </a:lnTo>
                  <a:lnTo>
                    <a:pt x="354" y="161"/>
                  </a:lnTo>
                  <a:lnTo>
                    <a:pt x="358" y="161"/>
                  </a:lnTo>
                  <a:lnTo>
                    <a:pt x="359" y="159"/>
                  </a:lnTo>
                  <a:lnTo>
                    <a:pt x="367" y="156"/>
                  </a:lnTo>
                  <a:lnTo>
                    <a:pt x="369" y="156"/>
                  </a:lnTo>
                  <a:lnTo>
                    <a:pt x="379" y="151"/>
                  </a:lnTo>
                  <a:lnTo>
                    <a:pt x="384" y="150"/>
                  </a:lnTo>
                  <a:lnTo>
                    <a:pt x="390" y="154"/>
                  </a:lnTo>
                  <a:lnTo>
                    <a:pt x="395" y="151"/>
                  </a:lnTo>
                  <a:lnTo>
                    <a:pt x="398" y="154"/>
                  </a:lnTo>
                  <a:lnTo>
                    <a:pt x="399" y="154"/>
                  </a:lnTo>
                  <a:lnTo>
                    <a:pt x="399" y="154"/>
                  </a:lnTo>
                  <a:lnTo>
                    <a:pt x="399" y="15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5" name="Freeform 8"/>
            <p:cNvSpPr>
              <a:spLocks/>
            </p:cNvSpPr>
            <p:nvPr/>
          </p:nvSpPr>
          <p:spPr bwMode="auto">
            <a:xfrm>
              <a:off x="8447088" y="3954463"/>
              <a:ext cx="131763" cy="322263"/>
            </a:xfrm>
            <a:custGeom>
              <a:avLst/>
              <a:gdLst>
                <a:gd name="T0" fmla="*/ 64 w 83"/>
                <a:gd name="T1" fmla="*/ 6 h 203"/>
                <a:gd name="T2" fmla="*/ 49 w 83"/>
                <a:gd name="T3" fmla="*/ 12 h 203"/>
                <a:gd name="T4" fmla="*/ 41 w 83"/>
                <a:gd name="T5" fmla="*/ 4 h 203"/>
                <a:gd name="T6" fmla="*/ 34 w 83"/>
                <a:gd name="T7" fmla="*/ 7 h 203"/>
                <a:gd name="T8" fmla="*/ 24 w 83"/>
                <a:gd name="T9" fmla="*/ 23 h 203"/>
                <a:gd name="T10" fmla="*/ 17 w 83"/>
                <a:gd name="T11" fmla="*/ 34 h 203"/>
                <a:gd name="T12" fmla="*/ 21 w 83"/>
                <a:gd name="T13" fmla="*/ 40 h 203"/>
                <a:gd name="T14" fmla="*/ 30 w 83"/>
                <a:gd name="T15" fmla="*/ 40 h 203"/>
                <a:gd name="T16" fmla="*/ 40 w 83"/>
                <a:gd name="T17" fmla="*/ 47 h 203"/>
                <a:gd name="T18" fmla="*/ 41 w 83"/>
                <a:gd name="T19" fmla="*/ 63 h 203"/>
                <a:gd name="T20" fmla="*/ 55 w 83"/>
                <a:gd name="T21" fmla="*/ 68 h 203"/>
                <a:gd name="T22" fmla="*/ 57 w 83"/>
                <a:gd name="T23" fmla="*/ 73 h 203"/>
                <a:gd name="T24" fmla="*/ 67 w 83"/>
                <a:gd name="T25" fmla="*/ 95 h 203"/>
                <a:gd name="T26" fmla="*/ 70 w 83"/>
                <a:gd name="T27" fmla="*/ 100 h 203"/>
                <a:gd name="T28" fmla="*/ 58 w 83"/>
                <a:gd name="T29" fmla="*/ 106 h 203"/>
                <a:gd name="T30" fmla="*/ 58 w 83"/>
                <a:gd name="T31" fmla="*/ 99 h 203"/>
                <a:gd name="T32" fmla="*/ 49 w 83"/>
                <a:gd name="T33" fmla="*/ 105 h 203"/>
                <a:gd name="T34" fmla="*/ 21 w 83"/>
                <a:gd name="T35" fmla="*/ 106 h 203"/>
                <a:gd name="T36" fmla="*/ 11 w 83"/>
                <a:gd name="T37" fmla="*/ 108 h 203"/>
                <a:gd name="T38" fmla="*/ 6 w 83"/>
                <a:gd name="T39" fmla="*/ 114 h 203"/>
                <a:gd name="T40" fmla="*/ 0 w 83"/>
                <a:gd name="T41" fmla="*/ 125 h 203"/>
                <a:gd name="T42" fmla="*/ 15 w 83"/>
                <a:gd name="T43" fmla="*/ 119 h 203"/>
                <a:gd name="T44" fmla="*/ 3 w 83"/>
                <a:gd name="T45" fmla="*/ 128 h 203"/>
                <a:gd name="T46" fmla="*/ 6 w 83"/>
                <a:gd name="T47" fmla="*/ 134 h 203"/>
                <a:gd name="T48" fmla="*/ 32 w 83"/>
                <a:gd name="T49" fmla="*/ 147 h 203"/>
                <a:gd name="T50" fmla="*/ 46 w 83"/>
                <a:gd name="T51" fmla="*/ 147 h 203"/>
                <a:gd name="T52" fmla="*/ 57 w 83"/>
                <a:gd name="T53" fmla="*/ 139 h 203"/>
                <a:gd name="T54" fmla="*/ 61 w 83"/>
                <a:gd name="T55" fmla="*/ 144 h 203"/>
                <a:gd name="T56" fmla="*/ 55 w 83"/>
                <a:gd name="T57" fmla="*/ 150 h 203"/>
                <a:gd name="T58" fmla="*/ 40 w 83"/>
                <a:gd name="T59" fmla="*/ 158 h 203"/>
                <a:gd name="T60" fmla="*/ 36 w 83"/>
                <a:gd name="T61" fmla="*/ 161 h 203"/>
                <a:gd name="T62" fmla="*/ 30 w 83"/>
                <a:gd name="T63" fmla="*/ 162 h 203"/>
                <a:gd name="T64" fmla="*/ 26 w 83"/>
                <a:gd name="T65" fmla="*/ 156 h 203"/>
                <a:gd name="T66" fmla="*/ 23 w 83"/>
                <a:gd name="T67" fmla="*/ 155 h 203"/>
                <a:gd name="T68" fmla="*/ 17 w 83"/>
                <a:gd name="T69" fmla="*/ 158 h 203"/>
                <a:gd name="T70" fmla="*/ 30 w 83"/>
                <a:gd name="T71" fmla="*/ 173 h 203"/>
                <a:gd name="T72" fmla="*/ 37 w 83"/>
                <a:gd name="T73" fmla="*/ 175 h 203"/>
                <a:gd name="T74" fmla="*/ 66 w 83"/>
                <a:gd name="T75" fmla="*/ 201 h 203"/>
                <a:gd name="T76" fmla="*/ 83 w 83"/>
                <a:gd name="T77" fmla="*/ 201 h 203"/>
                <a:gd name="T78" fmla="*/ 78 w 83"/>
                <a:gd name="T79" fmla="*/ 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3" h="203">
                  <a:moveTo>
                    <a:pt x="78" y="6"/>
                  </a:moveTo>
                  <a:lnTo>
                    <a:pt x="64" y="6"/>
                  </a:lnTo>
                  <a:lnTo>
                    <a:pt x="52" y="12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1" y="4"/>
                  </a:lnTo>
                  <a:lnTo>
                    <a:pt x="40" y="6"/>
                  </a:lnTo>
                  <a:lnTo>
                    <a:pt x="34" y="7"/>
                  </a:lnTo>
                  <a:lnTo>
                    <a:pt x="32" y="13"/>
                  </a:lnTo>
                  <a:lnTo>
                    <a:pt x="24" y="23"/>
                  </a:lnTo>
                  <a:lnTo>
                    <a:pt x="21" y="2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21" y="40"/>
                  </a:lnTo>
                  <a:lnTo>
                    <a:pt x="28" y="41"/>
                  </a:lnTo>
                  <a:lnTo>
                    <a:pt x="30" y="40"/>
                  </a:lnTo>
                  <a:lnTo>
                    <a:pt x="36" y="40"/>
                  </a:lnTo>
                  <a:lnTo>
                    <a:pt x="40" y="47"/>
                  </a:lnTo>
                  <a:lnTo>
                    <a:pt x="40" y="55"/>
                  </a:lnTo>
                  <a:lnTo>
                    <a:pt x="41" y="63"/>
                  </a:lnTo>
                  <a:lnTo>
                    <a:pt x="49" y="68"/>
                  </a:lnTo>
                  <a:lnTo>
                    <a:pt x="55" y="68"/>
                  </a:lnTo>
                  <a:lnTo>
                    <a:pt x="58" y="69"/>
                  </a:lnTo>
                  <a:lnTo>
                    <a:pt x="57" y="73"/>
                  </a:lnTo>
                  <a:lnTo>
                    <a:pt x="62" y="80"/>
                  </a:lnTo>
                  <a:lnTo>
                    <a:pt x="67" y="95"/>
                  </a:lnTo>
                  <a:lnTo>
                    <a:pt x="67" y="99"/>
                  </a:lnTo>
                  <a:lnTo>
                    <a:pt x="70" y="100"/>
                  </a:lnTo>
                  <a:lnTo>
                    <a:pt x="64" y="103"/>
                  </a:lnTo>
                  <a:lnTo>
                    <a:pt x="58" y="106"/>
                  </a:lnTo>
                  <a:lnTo>
                    <a:pt x="57" y="103"/>
                  </a:lnTo>
                  <a:lnTo>
                    <a:pt x="58" y="99"/>
                  </a:lnTo>
                  <a:lnTo>
                    <a:pt x="52" y="100"/>
                  </a:lnTo>
                  <a:lnTo>
                    <a:pt x="49" y="105"/>
                  </a:lnTo>
                  <a:lnTo>
                    <a:pt x="40" y="106"/>
                  </a:lnTo>
                  <a:lnTo>
                    <a:pt x="21" y="106"/>
                  </a:lnTo>
                  <a:lnTo>
                    <a:pt x="15" y="108"/>
                  </a:lnTo>
                  <a:lnTo>
                    <a:pt x="11" y="108"/>
                  </a:lnTo>
                  <a:lnTo>
                    <a:pt x="9" y="114"/>
                  </a:lnTo>
                  <a:lnTo>
                    <a:pt x="6" y="114"/>
                  </a:lnTo>
                  <a:lnTo>
                    <a:pt x="0" y="117"/>
                  </a:lnTo>
                  <a:lnTo>
                    <a:pt x="0" y="125"/>
                  </a:lnTo>
                  <a:lnTo>
                    <a:pt x="7" y="119"/>
                  </a:lnTo>
                  <a:lnTo>
                    <a:pt x="15" y="119"/>
                  </a:lnTo>
                  <a:lnTo>
                    <a:pt x="9" y="122"/>
                  </a:lnTo>
                  <a:lnTo>
                    <a:pt x="3" y="128"/>
                  </a:lnTo>
                  <a:lnTo>
                    <a:pt x="1" y="132"/>
                  </a:lnTo>
                  <a:lnTo>
                    <a:pt x="6" y="134"/>
                  </a:lnTo>
                  <a:lnTo>
                    <a:pt x="15" y="141"/>
                  </a:lnTo>
                  <a:lnTo>
                    <a:pt x="32" y="147"/>
                  </a:lnTo>
                  <a:lnTo>
                    <a:pt x="37" y="147"/>
                  </a:lnTo>
                  <a:lnTo>
                    <a:pt x="46" y="147"/>
                  </a:lnTo>
                  <a:lnTo>
                    <a:pt x="57" y="141"/>
                  </a:lnTo>
                  <a:lnTo>
                    <a:pt x="57" y="139"/>
                  </a:lnTo>
                  <a:lnTo>
                    <a:pt x="62" y="139"/>
                  </a:lnTo>
                  <a:lnTo>
                    <a:pt x="61" y="144"/>
                  </a:lnTo>
                  <a:lnTo>
                    <a:pt x="58" y="144"/>
                  </a:lnTo>
                  <a:lnTo>
                    <a:pt x="55" y="150"/>
                  </a:lnTo>
                  <a:lnTo>
                    <a:pt x="51" y="150"/>
                  </a:lnTo>
                  <a:lnTo>
                    <a:pt x="40" y="158"/>
                  </a:lnTo>
                  <a:lnTo>
                    <a:pt x="37" y="162"/>
                  </a:lnTo>
                  <a:lnTo>
                    <a:pt x="36" y="161"/>
                  </a:lnTo>
                  <a:lnTo>
                    <a:pt x="34" y="161"/>
                  </a:lnTo>
                  <a:lnTo>
                    <a:pt x="30" y="162"/>
                  </a:lnTo>
                  <a:lnTo>
                    <a:pt x="26" y="162"/>
                  </a:lnTo>
                  <a:lnTo>
                    <a:pt x="26" y="156"/>
                  </a:lnTo>
                  <a:lnTo>
                    <a:pt x="23" y="156"/>
                  </a:lnTo>
                  <a:lnTo>
                    <a:pt x="23" y="155"/>
                  </a:lnTo>
                  <a:lnTo>
                    <a:pt x="18" y="156"/>
                  </a:lnTo>
                  <a:lnTo>
                    <a:pt x="17" y="158"/>
                  </a:lnTo>
                  <a:lnTo>
                    <a:pt x="18" y="162"/>
                  </a:lnTo>
                  <a:lnTo>
                    <a:pt x="30" y="173"/>
                  </a:lnTo>
                  <a:lnTo>
                    <a:pt x="34" y="175"/>
                  </a:lnTo>
                  <a:lnTo>
                    <a:pt x="37" y="175"/>
                  </a:lnTo>
                  <a:lnTo>
                    <a:pt x="46" y="186"/>
                  </a:lnTo>
                  <a:lnTo>
                    <a:pt x="66" y="201"/>
                  </a:lnTo>
                  <a:lnTo>
                    <a:pt x="78" y="203"/>
                  </a:lnTo>
                  <a:lnTo>
                    <a:pt x="83" y="201"/>
                  </a:lnTo>
                  <a:lnTo>
                    <a:pt x="83" y="0"/>
                  </a:lnTo>
                  <a:lnTo>
                    <a:pt x="78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6" name="Freeform 9"/>
            <p:cNvSpPr>
              <a:spLocks/>
            </p:cNvSpPr>
            <p:nvPr/>
          </p:nvSpPr>
          <p:spPr bwMode="auto">
            <a:xfrm>
              <a:off x="8091488" y="3563938"/>
              <a:ext cx="487363" cy="592138"/>
            </a:xfrm>
            <a:custGeom>
              <a:avLst/>
              <a:gdLst>
                <a:gd name="T0" fmla="*/ 291 w 307"/>
                <a:gd name="T1" fmla="*/ 29 h 373"/>
                <a:gd name="T2" fmla="*/ 299 w 307"/>
                <a:gd name="T3" fmla="*/ 3 h 373"/>
                <a:gd name="T4" fmla="*/ 269 w 307"/>
                <a:gd name="T5" fmla="*/ 9 h 373"/>
                <a:gd name="T6" fmla="*/ 264 w 307"/>
                <a:gd name="T7" fmla="*/ 36 h 373"/>
                <a:gd name="T8" fmla="*/ 258 w 307"/>
                <a:gd name="T9" fmla="*/ 75 h 373"/>
                <a:gd name="T10" fmla="*/ 224 w 307"/>
                <a:gd name="T11" fmla="*/ 84 h 373"/>
                <a:gd name="T12" fmla="*/ 235 w 307"/>
                <a:gd name="T13" fmla="*/ 104 h 373"/>
                <a:gd name="T14" fmla="*/ 218 w 307"/>
                <a:gd name="T15" fmla="*/ 120 h 373"/>
                <a:gd name="T16" fmla="*/ 215 w 307"/>
                <a:gd name="T17" fmla="*/ 142 h 373"/>
                <a:gd name="T18" fmla="*/ 200 w 307"/>
                <a:gd name="T19" fmla="*/ 146 h 373"/>
                <a:gd name="T20" fmla="*/ 184 w 307"/>
                <a:gd name="T21" fmla="*/ 148 h 373"/>
                <a:gd name="T22" fmla="*/ 164 w 307"/>
                <a:gd name="T23" fmla="*/ 164 h 373"/>
                <a:gd name="T24" fmla="*/ 151 w 307"/>
                <a:gd name="T25" fmla="*/ 170 h 373"/>
                <a:gd name="T26" fmla="*/ 144 w 307"/>
                <a:gd name="T27" fmla="*/ 190 h 373"/>
                <a:gd name="T28" fmla="*/ 134 w 307"/>
                <a:gd name="T29" fmla="*/ 209 h 373"/>
                <a:gd name="T30" fmla="*/ 90 w 307"/>
                <a:gd name="T31" fmla="*/ 212 h 373"/>
                <a:gd name="T32" fmla="*/ 37 w 307"/>
                <a:gd name="T33" fmla="*/ 218 h 373"/>
                <a:gd name="T34" fmla="*/ 24 w 307"/>
                <a:gd name="T35" fmla="*/ 238 h 373"/>
                <a:gd name="T36" fmla="*/ 49 w 307"/>
                <a:gd name="T37" fmla="*/ 246 h 373"/>
                <a:gd name="T38" fmla="*/ 58 w 307"/>
                <a:gd name="T39" fmla="*/ 264 h 373"/>
                <a:gd name="T40" fmla="*/ 75 w 307"/>
                <a:gd name="T41" fmla="*/ 279 h 373"/>
                <a:gd name="T42" fmla="*/ 51 w 307"/>
                <a:gd name="T43" fmla="*/ 292 h 373"/>
                <a:gd name="T44" fmla="*/ 40 w 307"/>
                <a:gd name="T45" fmla="*/ 306 h 373"/>
                <a:gd name="T46" fmla="*/ 35 w 307"/>
                <a:gd name="T47" fmla="*/ 329 h 373"/>
                <a:gd name="T48" fmla="*/ 49 w 307"/>
                <a:gd name="T49" fmla="*/ 329 h 373"/>
                <a:gd name="T50" fmla="*/ 61 w 307"/>
                <a:gd name="T51" fmla="*/ 328 h 373"/>
                <a:gd name="T52" fmla="*/ 78 w 307"/>
                <a:gd name="T53" fmla="*/ 328 h 373"/>
                <a:gd name="T54" fmla="*/ 90 w 307"/>
                <a:gd name="T55" fmla="*/ 326 h 373"/>
                <a:gd name="T56" fmla="*/ 100 w 307"/>
                <a:gd name="T57" fmla="*/ 328 h 373"/>
                <a:gd name="T58" fmla="*/ 119 w 307"/>
                <a:gd name="T59" fmla="*/ 325 h 373"/>
                <a:gd name="T60" fmla="*/ 138 w 307"/>
                <a:gd name="T61" fmla="*/ 323 h 373"/>
                <a:gd name="T62" fmla="*/ 157 w 307"/>
                <a:gd name="T63" fmla="*/ 320 h 373"/>
                <a:gd name="T64" fmla="*/ 172 w 307"/>
                <a:gd name="T65" fmla="*/ 335 h 373"/>
                <a:gd name="T66" fmla="*/ 184 w 307"/>
                <a:gd name="T67" fmla="*/ 335 h 373"/>
                <a:gd name="T68" fmla="*/ 193 w 307"/>
                <a:gd name="T69" fmla="*/ 356 h 373"/>
                <a:gd name="T70" fmla="*/ 195 w 307"/>
                <a:gd name="T71" fmla="*/ 362 h 373"/>
                <a:gd name="T72" fmla="*/ 219 w 307"/>
                <a:gd name="T73" fmla="*/ 368 h 373"/>
                <a:gd name="T74" fmla="*/ 229 w 307"/>
                <a:gd name="T75" fmla="*/ 359 h 373"/>
                <a:gd name="T76" fmla="*/ 244 w 307"/>
                <a:gd name="T77" fmla="*/ 352 h 373"/>
                <a:gd name="T78" fmla="*/ 282 w 307"/>
                <a:gd name="T79" fmla="*/ 345 h 373"/>
                <a:gd name="T80" fmla="*/ 293 w 307"/>
                <a:gd name="T81" fmla="*/ 346 h 373"/>
                <a:gd name="T82" fmla="*/ 281 w 307"/>
                <a:gd name="T83" fmla="*/ 320 h 373"/>
                <a:gd name="T84" fmla="*/ 264 w 307"/>
                <a:gd name="T85" fmla="*/ 309 h 373"/>
                <a:gd name="T86" fmla="*/ 253 w 307"/>
                <a:gd name="T87" fmla="*/ 286 h 373"/>
                <a:gd name="T88" fmla="*/ 240 w 307"/>
                <a:gd name="T89" fmla="*/ 281 h 373"/>
                <a:gd name="T90" fmla="*/ 258 w 307"/>
                <a:gd name="T91" fmla="*/ 254 h 373"/>
                <a:gd name="T92" fmla="*/ 273 w 307"/>
                <a:gd name="T93" fmla="*/ 259 h 373"/>
                <a:gd name="T94" fmla="*/ 307 w 307"/>
                <a:gd name="T95" fmla="*/ 24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7" h="373">
                  <a:moveTo>
                    <a:pt x="307" y="30"/>
                  </a:moveTo>
                  <a:lnTo>
                    <a:pt x="301" y="25"/>
                  </a:lnTo>
                  <a:lnTo>
                    <a:pt x="295" y="26"/>
                  </a:lnTo>
                  <a:lnTo>
                    <a:pt x="291" y="29"/>
                  </a:lnTo>
                  <a:lnTo>
                    <a:pt x="288" y="25"/>
                  </a:lnTo>
                  <a:lnTo>
                    <a:pt x="285" y="15"/>
                  </a:lnTo>
                  <a:lnTo>
                    <a:pt x="301" y="6"/>
                  </a:lnTo>
                  <a:lnTo>
                    <a:pt x="299" y="3"/>
                  </a:lnTo>
                  <a:lnTo>
                    <a:pt x="290" y="4"/>
                  </a:lnTo>
                  <a:lnTo>
                    <a:pt x="284" y="0"/>
                  </a:lnTo>
                  <a:lnTo>
                    <a:pt x="275" y="6"/>
                  </a:lnTo>
                  <a:lnTo>
                    <a:pt x="269" y="9"/>
                  </a:lnTo>
                  <a:lnTo>
                    <a:pt x="261" y="9"/>
                  </a:lnTo>
                  <a:lnTo>
                    <a:pt x="255" y="17"/>
                  </a:lnTo>
                  <a:lnTo>
                    <a:pt x="252" y="21"/>
                  </a:lnTo>
                  <a:lnTo>
                    <a:pt x="264" y="36"/>
                  </a:lnTo>
                  <a:lnTo>
                    <a:pt x="264" y="47"/>
                  </a:lnTo>
                  <a:lnTo>
                    <a:pt x="250" y="61"/>
                  </a:lnTo>
                  <a:lnTo>
                    <a:pt x="258" y="67"/>
                  </a:lnTo>
                  <a:lnTo>
                    <a:pt x="258" y="75"/>
                  </a:lnTo>
                  <a:lnTo>
                    <a:pt x="250" y="84"/>
                  </a:lnTo>
                  <a:lnTo>
                    <a:pt x="240" y="84"/>
                  </a:lnTo>
                  <a:lnTo>
                    <a:pt x="229" y="81"/>
                  </a:lnTo>
                  <a:lnTo>
                    <a:pt x="224" y="84"/>
                  </a:lnTo>
                  <a:lnTo>
                    <a:pt x="225" y="91"/>
                  </a:lnTo>
                  <a:lnTo>
                    <a:pt x="233" y="93"/>
                  </a:lnTo>
                  <a:lnTo>
                    <a:pt x="235" y="100"/>
                  </a:lnTo>
                  <a:lnTo>
                    <a:pt x="235" y="104"/>
                  </a:lnTo>
                  <a:lnTo>
                    <a:pt x="227" y="108"/>
                  </a:lnTo>
                  <a:lnTo>
                    <a:pt x="221" y="108"/>
                  </a:lnTo>
                  <a:lnTo>
                    <a:pt x="219" y="112"/>
                  </a:lnTo>
                  <a:lnTo>
                    <a:pt x="218" y="120"/>
                  </a:lnTo>
                  <a:lnTo>
                    <a:pt x="215" y="126"/>
                  </a:lnTo>
                  <a:lnTo>
                    <a:pt x="215" y="129"/>
                  </a:lnTo>
                  <a:lnTo>
                    <a:pt x="213" y="131"/>
                  </a:lnTo>
                  <a:lnTo>
                    <a:pt x="215" y="142"/>
                  </a:lnTo>
                  <a:lnTo>
                    <a:pt x="210" y="150"/>
                  </a:lnTo>
                  <a:lnTo>
                    <a:pt x="204" y="145"/>
                  </a:lnTo>
                  <a:lnTo>
                    <a:pt x="202" y="145"/>
                  </a:lnTo>
                  <a:lnTo>
                    <a:pt x="200" y="146"/>
                  </a:lnTo>
                  <a:lnTo>
                    <a:pt x="195" y="146"/>
                  </a:lnTo>
                  <a:lnTo>
                    <a:pt x="190" y="145"/>
                  </a:lnTo>
                  <a:lnTo>
                    <a:pt x="185" y="145"/>
                  </a:lnTo>
                  <a:lnTo>
                    <a:pt x="184" y="148"/>
                  </a:lnTo>
                  <a:lnTo>
                    <a:pt x="172" y="156"/>
                  </a:lnTo>
                  <a:lnTo>
                    <a:pt x="178" y="157"/>
                  </a:lnTo>
                  <a:lnTo>
                    <a:pt x="173" y="159"/>
                  </a:lnTo>
                  <a:lnTo>
                    <a:pt x="164" y="164"/>
                  </a:lnTo>
                  <a:lnTo>
                    <a:pt x="160" y="163"/>
                  </a:lnTo>
                  <a:lnTo>
                    <a:pt x="153" y="163"/>
                  </a:lnTo>
                  <a:lnTo>
                    <a:pt x="151" y="167"/>
                  </a:lnTo>
                  <a:lnTo>
                    <a:pt x="151" y="170"/>
                  </a:lnTo>
                  <a:lnTo>
                    <a:pt x="146" y="172"/>
                  </a:lnTo>
                  <a:lnTo>
                    <a:pt x="141" y="176"/>
                  </a:lnTo>
                  <a:lnTo>
                    <a:pt x="141" y="183"/>
                  </a:lnTo>
                  <a:lnTo>
                    <a:pt x="144" y="190"/>
                  </a:lnTo>
                  <a:lnTo>
                    <a:pt x="144" y="195"/>
                  </a:lnTo>
                  <a:lnTo>
                    <a:pt x="146" y="201"/>
                  </a:lnTo>
                  <a:lnTo>
                    <a:pt x="146" y="206"/>
                  </a:lnTo>
                  <a:lnTo>
                    <a:pt x="134" y="209"/>
                  </a:lnTo>
                  <a:lnTo>
                    <a:pt x="124" y="209"/>
                  </a:lnTo>
                  <a:lnTo>
                    <a:pt x="115" y="211"/>
                  </a:lnTo>
                  <a:lnTo>
                    <a:pt x="100" y="211"/>
                  </a:lnTo>
                  <a:lnTo>
                    <a:pt x="90" y="212"/>
                  </a:lnTo>
                  <a:lnTo>
                    <a:pt x="89" y="216"/>
                  </a:lnTo>
                  <a:lnTo>
                    <a:pt x="78" y="215"/>
                  </a:lnTo>
                  <a:lnTo>
                    <a:pt x="69" y="218"/>
                  </a:lnTo>
                  <a:lnTo>
                    <a:pt x="37" y="218"/>
                  </a:lnTo>
                  <a:lnTo>
                    <a:pt x="0" y="209"/>
                  </a:lnTo>
                  <a:lnTo>
                    <a:pt x="15" y="225"/>
                  </a:lnTo>
                  <a:lnTo>
                    <a:pt x="16" y="231"/>
                  </a:lnTo>
                  <a:lnTo>
                    <a:pt x="24" y="238"/>
                  </a:lnTo>
                  <a:lnTo>
                    <a:pt x="31" y="242"/>
                  </a:lnTo>
                  <a:lnTo>
                    <a:pt x="34" y="243"/>
                  </a:lnTo>
                  <a:lnTo>
                    <a:pt x="43" y="243"/>
                  </a:lnTo>
                  <a:lnTo>
                    <a:pt x="49" y="246"/>
                  </a:lnTo>
                  <a:lnTo>
                    <a:pt x="49" y="249"/>
                  </a:lnTo>
                  <a:lnTo>
                    <a:pt x="56" y="249"/>
                  </a:lnTo>
                  <a:lnTo>
                    <a:pt x="56" y="256"/>
                  </a:lnTo>
                  <a:lnTo>
                    <a:pt x="58" y="264"/>
                  </a:lnTo>
                  <a:lnTo>
                    <a:pt x="60" y="270"/>
                  </a:lnTo>
                  <a:lnTo>
                    <a:pt x="60" y="273"/>
                  </a:lnTo>
                  <a:lnTo>
                    <a:pt x="67" y="273"/>
                  </a:lnTo>
                  <a:lnTo>
                    <a:pt x="75" y="279"/>
                  </a:lnTo>
                  <a:lnTo>
                    <a:pt x="75" y="288"/>
                  </a:lnTo>
                  <a:lnTo>
                    <a:pt x="71" y="292"/>
                  </a:lnTo>
                  <a:lnTo>
                    <a:pt x="64" y="288"/>
                  </a:lnTo>
                  <a:lnTo>
                    <a:pt x="51" y="292"/>
                  </a:lnTo>
                  <a:lnTo>
                    <a:pt x="49" y="295"/>
                  </a:lnTo>
                  <a:lnTo>
                    <a:pt x="40" y="298"/>
                  </a:lnTo>
                  <a:lnTo>
                    <a:pt x="37" y="303"/>
                  </a:lnTo>
                  <a:lnTo>
                    <a:pt x="40" y="306"/>
                  </a:lnTo>
                  <a:lnTo>
                    <a:pt x="34" y="312"/>
                  </a:lnTo>
                  <a:lnTo>
                    <a:pt x="37" y="317"/>
                  </a:lnTo>
                  <a:lnTo>
                    <a:pt x="35" y="326"/>
                  </a:lnTo>
                  <a:lnTo>
                    <a:pt x="35" y="329"/>
                  </a:lnTo>
                  <a:lnTo>
                    <a:pt x="40" y="329"/>
                  </a:lnTo>
                  <a:lnTo>
                    <a:pt x="40" y="334"/>
                  </a:lnTo>
                  <a:lnTo>
                    <a:pt x="41" y="334"/>
                  </a:lnTo>
                  <a:lnTo>
                    <a:pt x="49" y="329"/>
                  </a:lnTo>
                  <a:lnTo>
                    <a:pt x="54" y="329"/>
                  </a:lnTo>
                  <a:lnTo>
                    <a:pt x="56" y="332"/>
                  </a:lnTo>
                  <a:lnTo>
                    <a:pt x="58" y="329"/>
                  </a:lnTo>
                  <a:lnTo>
                    <a:pt x="61" y="328"/>
                  </a:lnTo>
                  <a:lnTo>
                    <a:pt x="67" y="328"/>
                  </a:lnTo>
                  <a:lnTo>
                    <a:pt x="71" y="328"/>
                  </a:lnTo>
                  <a:lnTo>
                    <a:pt x="75" y="328"/>
                  </a:lnTo>
                  <a:lnTo>
                    <a:pt x="78" y="328"/>
                  </a:lnTo>
                  <a:lnTo>
                    <a:pt x="80" y="328"/>
                  </a:lnTo>
                  <a:lnTo>
                    <a:pt x="83" y="326"/>
                  </a:lnTo>
                  <a:lnTo>
                    <a:pt x="84" y="323"/>
                  </a:lnTo>
                  <a:lnTo>
                    <a:pt x="90" y="326"/>
                  </a:lnTo>
                  <a:lnTo>
                    <a:pt x="94" y="326"/>
                  </a:lnTo>
                  <a:lnTo>
                    <a:pt x="94" y="325"/>
                  </a:lnTo>
                  <a:lnTo>
                    <a:pt x="98" y="325"/>
                  </a:lnTo>
                  <a:lnTo>
                    <a:pt x="100" y="328"/>
                  </a:lnTo>
                  <a:lnTo>
                    <a:pt x="104" y="328"/>
                  </a:lnTo>
                  <a:lnTo>
                    <a:pt x="107" y="329"/>
                  </a:lnTo>
                  <a:lnTo>
                    <a:pt x="111" y="329"/>
                  </a:lnTo>
                  <a:lnTo>
                    <a:pt x="119" y="325"/>
                  </a:lnTo>
                  <a:lnTo>
                    <a:pt x="124" y="325"/>
                  </a:lnTo>
                  <a:lnTo>
                    <a:pt x="130" y="326"/>
                  </a:lnTo>
                  <a:lnTo>
                    <a:pt x="134" y="323"/>
                  </a:lnTo>
                  <a:lnTo>
                    <a:pt x="138" y="323"/>
                  </a:lnTo>
                  <a:lnTo>
                    <a:pt x="140" y="320"/>
                  </a:lnTo>
                  <a:lnTo>
                    <a:pt x="141" y="323"/>
                  </a:lnTo>
                  <a:lnTo>
                    <a:pt x="149" y="325"/>
                  </a:lnTo>
                  <a:lnTo>
                    <a:pt x="157" y="320"/>
                  </a:lnTo>
                  <a:lnTo>
                    <a:pt x="164" y="320"/>
                  </a:lnTo>
                  <a:lnTo>
                    <a:pt x="170" y="326"/>
                  </a:lnTo>
                  <a:lnTo>
                    <a:pt x="172" y="329"/>
                  </a:lnTo>
                  <a:lnTo>
                    <a:pt x="172" y="335"/>
                  </a:lnTo>
                  <a:lnTo>
                    <a:pt x="170" y="335"/>
                  </a:lnTo>
                  <a:lnTo>
                    <a:pt x="170" y="337"/>
                  </a:lnTo>
                  <a:lnTo>
                    <a:pt x="175" y="337"/>
                  </a:lnTo>
                  <a:lnTo>
                    <a:pt x="184" y="335"/>
                  </a:lnTo>
                  <a:lnTo>
                    <a:pt x="184" y="340"/>
                  </a:lnTo>
                  <a:lnTo>
                    <a:pt x="189" y="346"/>
                  </a:lnTo>
                  <a:lnTo>
                    <a:pt x="190" y="354"/>
                  </a:lnTo>
                  <a:lnTo>
                    <a:pt x="193" y="356"/>
                  </a:lnTo>
                  <a:lnTo>
                    <a:pt x="193" y="359"/>
                  </a:lnTo>
                  <a:lnTo>
                    <a:pt x="189" y="359"/>
                  </a:lnTo>
                  <a:lnTo>
                    <a:pt x="190" y="362"/>
                  </a:lnTo>
                  <a:lnTo>
                    <a:pt x="195" y="362"/>
                  </a:lnTo>
                  <a:lnTo>
                    <a:pt x="196" y="365"/>
                  </a:lnTo>
                  <a:lnTo>
                    <a:pt x="200" y="365"/>
                  </a:lnTo>
                  <a:lnTo>
                    <a:pt x="208" y="365"/>
                  </a:lnTo>
                  <a:lnTo>
                    <a:pt x="219" y="368"/>
                  </a:lnTo>
                  <a:lnTo>
                    <a:pt x="218" y="373"/>
                  </a:lnTo>
                  <a:lnTo>
                    <a:pt x="224" y="371"/>
                  </a:lnTo>
                  <a:lnTo>
                    <a:pt x="224" y="363"/>
                  </a:lnTo>
                  <a:lnTo>
                    <a:pt x="229" y="359"/>
                  </a:lnTo>
                  <a:lnTo>
                    <a:pt x="233" y="359"/>
                  </a:lnTo>
                  <a:lnTo>
                    <a:pt x="235" y="354"/>
                  </a:lnTo>
                  <a:lnTo>
                    <a:pt x="238" y="354"/>
                  </a:lnTo>
                  <a:lnTo>
                    <a:pt x="244" y="352"/>
                  </a:lnTo>
                  <a:lnTo>
                    <a:pt x="264" y="352"/>
                  </a:lnTo>
                  <a:lnTo>
                    <a:pt x="273" y="350"/>
                  </a:lnTo>
                  <a:lnTo>
                    <a:pt x="276" y="346"/>
                  </a:lnTo>
                  <a:lnTo>
                    <a:pt x="282" y="345"/>
                  </a:lnTo>
                  <a:lnTo>
                    <a:pt x="281" y="349"/>
                  </a:lnTo>
                  <a:lnTo>
                    <a:pt x="282" y="352"/>
                  </a:lnTo>
                  <a:lnTo>
                    <a:pt x="288" y="349"/>
                  </a:lnTo>
                  <a:lnTo>
                    <a:pt x="293" y="346"/>
                  </a:lnTo>
                  <a:lnTo>
                    <a:pt x="291" y="345"/>
                  </a:lnTo>
                  <a:lnTo>
                    <a:pt x="291" y="341"/>
                  </a:lnTo>
                  <a:lnTo>
                    <a:pt x="285" y="326"/>
                  </a:lnTo>
                  <a:lnTo>
                    <a:pt x="281" y="320"/>
                  </a:lnTo>
                  <a:lnTo>
                    <a:pt x="282" y="315"/>
                  </a:lnTo>
                  <a:lnTo>
                    <a:pt x="278" y="314"/>
                  </a:lnTo>
                  <a:lnTo>
                    <a:pt x="273" y="314"/>
                  </a:lnTo>
                  <a:lnTo>
                    <a:pt x="264" y="309"/>
                  </a:lnTo>
                  <a:lnTo>
                    <a:pt x="264" y="301"/>
                  </a:lnTo>
                  <a:lnTo>
                    <a:pt x="264" y="293"/>
                  </a:lnTo>
                  <a:lnTo>
                    <a:pt x="259" y="286"/>
                  </a:lnTo>
                  <a:lnTo>
                    <a:pt x="253" y="286"/>
                  </a:lnTo>
                  <a:lnTo>
                    <a:pt x="252" y="288"/>
                  </a:lnTo>
                  <a:lnTo>
                    <a:pt x="244" y="286"/>
                  </a:lnTo>
                  <a:lnTo>
                    <a:pt x="240" y="286"/>
                  </a:lnTo>
                  <a:lnTo>
                    <a:pt x="240" y="281"/>
                  </a:lnTo>
                  <a:lnTo>
                    <a:pt x="244" y="270"/>
                  </a:lnTo>
                  <a:lnTo>
                    <a:pt x="248" y="270"/>
                  </a:lnTo>
                  <a:lnTo>
                    <a:pt x="255" y="260"/>
                  </a:lnTo>
                  <a:lnTo>
                    <a:pt x="258" y="254"/>
                  </a:lnTo>
                  <a:lnTo>
                    <a:pt x="264" y="253"/>
                  </a:lnTo>
                  <a:lnTo>
                    <a:pt x="264" y="251"/>
                  </a:lnTo>
                  <a:lnTo>
                    <a:pt x="273" y="253"/>
                  </a:lnTo>
                  <a:lnTo>
                    <a:pt x="273" y="259"/>
                  </a:lnTo>
                  <a:lnTo>
                    <a:pt x="276" y="259"/>
                  </a:lnTo>
                  <a:lnTo>
                    <a:pt x="288" y="253"/>
                  </a:lnTo>
                  <a:lnTo>
                    <a:pt x="301" y="253"/>
                  </a:lnTo>
                  <a:lnTo>
                    <a:pt x="307" y="247"/>
                  </a:lnTo>
                  <a:lnTo>
                    <a:pt x="307" y="31"/>
                  </a:lnTo>
                  <a:lnTo>
                    <a:pt x="307" y="3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7" name="Freeform 10"/>
            <p:cNvSpPr>
              <a:spLocks/>
            </p:cNvSpPr>
            <p:nvPr/>
          </p:nvSpPr>
          <p:spPr bwMode="auto">
            <a:xfrm>
              <a:off x="8545513" y="3563938"/>
              <a:ext cx="33338" cy="46038"/>
            </a:xfrm>
            <a:custGeom>
              <a:avLst/>
              <a:gdLst>
                <a:gd name="T0" fmla="*/ 14 w 21"/>
                <a:gd name="T1" fmla="*/ 1 h 29"/>
                <a:gd name="T2" fmla="*/ 16 w 21"/>
                <a:gd name="T3" fmla="*/ 5 h 29"/>
                <a:gd name="T4" fmla="*/ 0 w 21"/>
                <a:gd name="T5" fmla="*/ 14 h 29"/>
                <a:gd name="T6" fmla="*/ 2 w 21"/>
                <a:gd name="T7" fmla="*/ 23 h 29"/>
                <a:gd name="T8" fmla="*/ 6 w 21"/>
                <a:gd name="T9" fmla="*/ 27 h 29"/>
                <a:gd name="T10" fmla="*/ 11 w 21"/>
                <a:gd name="T11" fmla="*/ 24 h 29"/>
                <a:gd name="T12" fmla="*/ 16 w 21"/>
                <a:gd name="T13" fmla="*/ 23 h 29"/>
                <a:gd name="T14" fmla="*/ 21 w 21"/>
                <a:gd name="T15" fmla="*/ 29 h 29"/>
                <a:gd name="T16" fmla="*/ 21 w 21"/>
                <a:gd name="T17" fmla="*/ 0 h 29"/>
                <a:gd name="T18" fmla="*/ 14 w 21"/>
                <a:gd name="T19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9">
                  <a:moveTo>
                    <a:pt x="14" y="1"/>
                  </a:moveTo>
                  <a:lnTo>
                    <a:pt x="16" y="5"/>
                  </a:lnTo>
                  <a:lnTo>
                    <a:pt x="0" y="14"/>
                  </a:lnTo>
                  <a:lnTo>
                    <a:pt x="2" y="23"/>
                  </a:lnTo>
                  <a:lnTo>
                    <a:pt x="6" y="27"/>
                  </a:lnTo>
                  <a:lnTo>
                    <a:pt x="11" y="24"/>
                  </a:lnTo>
                  <a:lnTo>
                    <a:pt x="16" y="23"/>
                  </a:lnTo>
                  <a:lnTo>
                    <a:pt x="21" y="29"/>
                  </a:lnTo>
                  <a:lnTo>
                    <a:pt x="21" y="0"/>
                  </a:lnTo>
                  <a:lnTo>
                    <a:pt x="14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8" name="Freeform 11"/>
            <p:cNvSpPr>
              <a:spLocks/>
            </p:cNvSpPr>
            <p:nvPr/>
          </p:nvSpPr>
          <p:spPr bwMode="auto">
            <a:xfrm>
              <a:off x="8047038" y="3479801"/>
              <a:ext cx="531813" cy="431800"/>
            </a:xfrm>
            <a:custGeom>
              <a:avLst/>
              <a:gdLst>
                <a:gd name="T0" fmla="*/ 315 w 335"/>
                <a:gd name="T1" fmla="*/ 37 h 272"/>
                <a:gd name="T2" fmla="*/ 300 w 335"/>
                <a:gd name="T3" fmla="*/ 51 h 272"/>
                <a:gd name="T4" fmla="*/ 286 w 335"/>
                <a:gd name="T5" fmla="*/ 55 h 272"/>
                <a:gd name="T6" fmla="*/ 277 w 335"/>
                <a:gd name="T7" fmla="*/ 45 h 272"/>
                <a:gd name="T8" fmla="*/ 277 w 335"/>
                <a:gd name="T9" fmla="*/ 24 h 272"/>
                <a:gd name="T10" fmla="*/ 268 w 335"/>
                <a:gd name="T11" fmla="*/ 15 h 272"/>
                <a:gd name="T12" fmla="*/ 264 w 335"/>
                <a:gd name="T13" fmla="*/ 4 h 272"/>
                <a:gd name="T14" fmla="*/ 251 w 335"/>
                <a:gd name="T15" fmla="*/ 6 h 272"/>
                <a:gd name="T16" fmla="*/ 243 w 335"/>
                <a:gd name="T17" fmla="*/ 18 h 272"/>
                <a:gd name="T18" fmla="*/ 235 w 335"/>
                <a:gd name="T19" fmla="*/ 30 h 272"/>
                <a:gd name="T20" fmla="*/ 229 w 335"/>
                <a:gd name="T21" fmla="*/ 30 h 272"/>
                <a:gd name="T22" fmla="*/ 226 w 335"/>
                <a:gd name="T23" fmla="*/ 37 h 272"/>
                <a:gd name="T24" fmla="*/ 212 w 335"/>
                <a:gd name="T25" fmla="*/ 37 h 272"/>
                <a:gd name="T26" fmla="*/ 205 w 335"/>
                <a:gd name="T27" fmla="*/ 40 h 272"/>
                <a:gd name="T28" fmla="*/ 186 w 335"/>
                <a:gd name="T29" fmla="*/ 46 h 272"/>
                <a:gd name="T30" fmla="*/ 171 w 335"/>
                <a:gd name="T31" fmla="*/ 40 h 272"/>
                <a:gd name="T32" fmla="*/ 160 w 335"/>
                <a:gd name="T33" fmla="*/ 37 h 272"/>
                <a:gd name="T34" fmla="*/ 142 w 335"/>
                <a:gd name="T35" fmla="*/ 35 h 272"/>
                <a:gd name="T36" fmla="*/ 125 w 335"/>
                <a:gd name="T37" fmla="*/ 35 h 272"/>
                <a:gd name="T38" fmla="*/ 106 w 335"/>
                <a:gd name="T39" fmla="*/ 43 h 272"/>
                <a:gd name="T40" fmla="*/ 100 w 335"/>
                <a:gd name="T41" fmla="*/ 49 h 272"/>
                <a:gd name="T42" fmla="*/ 97 w 335"/>
                <a:gd name="T43" fmla="*/ 61 h 272"/>
                <a:gd name="T44" fmla="*/ 91 w 335"/>
                <a:gd name="T45" fmla="*/ 74 h 272"/>
                <a:gd name="T46" fmla="*/ 74 w 335"/>
                <a:gd name="T47" fmla="*/ 82 h 272"/>
                <a:gd name="T48" fmla="*/ 62 w 335"/>
                <a:gd name="T49" fmla="*/ 94 h 272"/>
                <a:gd name="T50" fmla="*/ 51 w 335"/>
                <a:gd name="T51" fmla="*/ 100 h 272"/>
                <a:gd name="T52" fmla="*/ 44 w 335"/>
                <a:gd name="T53" fmla="*/ 100 h 272"/>
                <a:gd name="T54" fmla="*/ 28 w 335"/>
                <a:gd name="T55" fmla="*/ 97 h 272"/>
                <a:gd name="T56" fmla="*/ 13 w 335"/>
                <a:gd name="T57" fmla="*/ 94 h 272"/>
                <a:gd name="T58" fmla="*/ 11 w 335"/>
                <a:gd name="T59" fmla="*/ 100 h 272"/>
                <a:gd name="T60" fmla="*/ 13 w 335"/>
                <a:gd name="T61" fmla="*/ 111 h 272"/>
                <a:gd name="T62" fmla="*/ 5 w 335"/>
                <a:gd name="T63" fmla="*/ 122 h 272"/>
                <a:gd name="T64" fmla="*/ 5 w 335"/>
                <a:gd name="T65" fmla="*/ 128 h 272"/>
                <a:gd name="T66" fmla="*/ 4 w 335"/>
                <a:gd name="T67" fmla="*/ 151 h 272"/>
                <a:gd name="T68" fmla="*/ 8 w 335"/>
                <a:gd name="T69" fmla="*/ 162 h 272"/>
                <a:gd name="T70" fmla="*/ 17 w 335"/>
                <a:gd name="T71" fmla="*/ 193 h 272"/>
                <a:gd name="T72" fmla="*/ 19 w 335"/>
                <a:gd name="T73" fmla="*/ 210 h 272"/>
                <a:gd name="T74" fmla="*/ 48 w 335"/>
                <a:gd name="T75" fmla="*/ 226 h 272"/>
                <a:gd name="T76" fmla="*/ 27 w 335"/>
                <a:gd name="T77" fmla="*/ 263 h 272"/>
                <a:gd name="T78" fmla="*/ 106 w 335"/>
                <a:gd name="T79" fmla="*/ 269 h 272"/>
                <a:gd name="T80" fmla="*/ 127 w 335"/>
                <a:gd name="T81" fmla="*/ 266 h 272"/>
                <a:gd name="T82" fmla="*/ 162 w 335"/>
                <a:gd name="T83" fmla="*/ 263 h 272"/>
                <a:gd name="T84" fmla="*/ 171 w 335"/>
                <a:gd name="T85" fmla="*/ 250 h 272"/>
                <a:gd name="T86" fmla="*/ 169 w 335"/>
                <a:gd name="T87" fmla="*/ 230 h 272"/>
                <a:gd name="T88" fmla="*/ 179 w 335"/>
                <a:gd name="T89" fmla="*/ 221 h 272"/>
                <a:gd name="T90" fmla="*/ 191 w 335"/>
                <a:gd name="T91" fmla="*/ 219 h 272"/>
                <a:gd name="T92" fmla="*/ 200 w 335"/>
                <a:gd name="T93" fmla="*/ 210 h 272"/>
                <a:gd name="T94" fmla="*/ 218 w 335"/>
                <a:gd name="T95" fmla="*/ 198 h 272"/>
                <a:gd name="T96" fmla="*/ 229 w 335"/>
                <a:gd name="T97" fmla="*/ 198 h 272"/>
                <a:gd name="T98" fmla="*/ 243 w 335"/>
                <a:gd name="T99" fmla="*/ 196 h 272"/>
                <a:gd name="T100" fmla="*/ 243 w 335"/>
                <a:gd name="T101" fmla="*/ 179 h 272"/>
                <a:gd name="T102" fmla="*/ 249 w 335"/>
                <a:gd name="T103" fmla="*/ 161 h 272"/>
                <a:gd name="T104" fmla="*/ 262 w 335"/>
                <a:gd name="T105" fmla="*/ 153 h 272"/>
                <a:gd name="T106" fmla="*/ 251 w 335"/>
                <a:gd name="T107" fmla="*/ 137 h 272"/>
                <a:gd name="T108" fmla="*/ 277 w 335"/>
                <a:gd name="T109" fmla="*/ 137 h 272"/>
                <a:gd name="T110" fmla="*/ 277 w 335"/>
                <a:gd name="T111" fmla="*/ 114 h 272"/>
                <a:gd name="T112" fmla="*/ 279 w 335"/>
                <a:gd name="T113" fmla="*/ 72 h 272"/>
                <a:gd name="T114" fmla="*/ 297 w 335"/>
                <a:gd name="T115" fmla="*/ 61 h 272"/>
                <a:gd name="T116" fmla="*/ 317 w 335"/>
                <a:gd name="T117" fmla="*/ 55 h 272"/>
                <a:gd name="T118" fmla="*/ 329 w 335"/>
                <a:gd name="T119" fmla="*/ 2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5" h="272">
                  <a:moveTo>
                    <a:pt x="329" y="28"/>
                  </a:moveTo>
                  <a:lnTo>
                    <a:pt x="318" y="35"/>
                  </a:lnTo>
                  <a:lnTo>
                    <a:pt x="315" y="37"/>
                  </a:lnTo>
                  <a:lnTo>
                    <a:pt x="313" y="43"/>
                  </a:lnTo>
                  <a:lnTo>
                    <a:pt x="309" y="46"/>
                  </a:lnTo>
                  <a:lnTo>
                    <a:pt x="300" y="51"/>
                  </a:lnTo>
                  <a:lnTo>
                    <a:pt x="298" y="52"/>
                  </a:lnTo>
                  <a:lnTo>
                    <a:pt x="294" y="55"/>
                  </a:lnTo>
                  <a:lnTo>
                    <a:pt x="286" y="55"/>
                  </a:lnTo>
                  <a:lnTo>
                    <a:pt x="280" y="54"/>
                  </a:lnTo>
                  <a:lnTo>
                    <a:pt x="280" y="51"/>
                  </a:lnTo>
                  <a:lnTo>
                    <a:pt x="277" y="45"/>
                  </a:lnTo>
                  <a:lnTo>
                    <a:pt x="277" y="35"/>
                  </a:lnTo>
                  <a:lnTo>
                    <a:pt x="277" y="30"/>
                  </a:lnTo>
                  <a:lnTo>
                    <a:pt x="277" y="24"/>
                  </a:lnTo>
                  <a:lnTo>
                    <a:pt x="275" y="21"/>
                  </a:lnTo>
                  <a:lnTo>
                    <a:pt x="269" y="21"/>
                  </a:lnTo>
                  <a:lnTo>
                    <a:pt x="268" y="15"/>
                  </a:lnTo>
                  <a:lnTo>
                    <a:pt x="269" y="9"/>
                  </a:lnTo>
                  <a:lnTo>
                    <a:pt x="269" y="6"/>
                  </a:lnTo>
                  <a:lnTo>
                    <a:pt x="264" y="4"/>
                  </a:lnTo>
                  <a:lnTo>
                    <a:pt x="260" y="0"/>
                  </a:lnTo>
                  <a:lnTo>
                    <a:pt x="252" y="0"/>
                  </a:lnTo>
                  <a:lnTo>
                    <a:pt x="251" y="6"/>
                  </a:lnTo>
                  <a:lnTo>
                    <a:pt x="249" y="12"/>
                  </a:lnTo>
                  <a:lnTo>
                    <a:pt x="246" y="15"/>
                  </a:lnTo>
                  <a:lnTo>
                    <a:pt x="243" y="18"/>
                  </a:lnTo>
                  <a:lnTo>
                    <a:pt x="245" y="24"/>
                  </a:lnTo>
                  <a:lnTo>
                    <a:pt x="240" y="30"/>
                  </a:lnTo>
                  <a:lnTo>
                    <a:pt x="235" y="30"/>
                  </a:lnTo>
                  <a:lnTo>
                    <a:pt x="235" y="28"/>
                  </a:lnTo>
                  <a:lnTo>
                    <a:pt x="231" y="28"/>
                  </a:lnTo>
                  <a:lnTo>
                    <a:pt x="229" y="30"/>
                  </a:lnTo>
                  <a:lnTo>
                    <a:pt x="224" y="32"/>
                  </a:lnTo>
                  <a:lnTo>
                    <a:pt x="224" y="35"/>
                  </a:lnTo>
                  <a:lnTo>
                    <a:pt x="226" y="37"/>
                  </a:lnTo>
                  <a:lnTo>
                    <a:pt x="226" y="41"/>
                  </a:lnTo>
                  <a:lnTo>
                    <a:pt x="216" y="41"/>
                  </a:lnTo>
                  <a:lnTo>
                    <a:pt x="212" y="37"/>
                  </a:lnTo>
                  <a:lnTo>
                    <a:pt x="211" y="35"/>
                  </a:lnTo>
                  <a:lnTo>
                    <a:pt x="206" y="40"/>
                  </a:lnTo>
                  <a:lnTo>
                    <a:pt x="205" y="40"/>
                  </a:lnTo>
                  <a:lnTo>
                    <a:pt x="201" y="43"/>
                  </a:lnTo>
                  <a:lnTo>
                    <a:pt x="196" y="46"/>
                  </a:lnTo>
                  <a:lnTo>
                    <a:pt x="186" y="46"/>
                  </a:lnTo>
                  <a:lnTo>
                    <a:pt x="182" y="46"/>
                  </a:lnTo>
                  <a:lnTo>
                    <a:pt x="176" y="40"/>
                  </a:lnTo>
                  <a:lnTo>
                    <a:pt x="171" y="40"/>
                  </a:lnTo>
                  <a:lnTo>
                    <a:pt x="167" y="43"/>
                  </a:lnTo>
                  <a:lnTo>
                    <a:pt x="163" y="43"/>
                  </a:lnTo>
                  <a:lnTo>
                    <a:pt x="160" y="37"/>
                  </a:lnTo>
                  <a:lnTo>
                    <a:pt x="154" y="35"/>
                  </a:lnTo>
                  <a:lnTo>
                    <a:pt x="145" y="37"/>
                  </a:lnTo>
                  <a:lnTo>
                    <a:pt x="142" y="35"/>
                  </a:lnTo>
                  <a:lnTo>
                    <a:pt x="137" y="37"/>
                  </a:lnTo>
                  <a:lnTo>
                    <a:pt x="131" y="34"/>
                  </a:lnTo>
                  <a:lnTo>
                    <a:pt x="125" y="35"/>
                  </a:lnTo>
                  <a:lnTo>
                    <a:pt x="116" y="41"/>
                  </a:lnTo>
                  <a:lnTo>
                    <a:pt x="114" y="41"/>
                  </a:lnTo>
                  <a:lnTo>
                    <a:pt x="106" y="43"/>
                  </a:lnTo>
                  <a:lnTo>
                    <a:pt x="105" y="45"/>
                  </a:lnTo>
                  <a:lnTo>
                    <a:pt x="100" y="45"/>
                  </a:lnTo>
                  <a:lnTo>
                    <a:pt x="100" y="49"/>
                  </a:lnTo>
                  <a:lnTo>
                    <a:pt x="102" y="51"/>
                  </a:lnTo>
                  <a:lnTo>
                    <a:pt x="102" y="55"/>
                  </a:lnTo>
                  <a:lnTo>
                    <a:pt x="97" y="61"/>
                  </a:lnTo>
                  <a:lnTo>
                    <a:pt x="97" y="67"/>
                  </a:lnTo>
                  <a:lnTo>
                    <a:pt x="95" y="74"/>
                  </a:lnTo>
                  <a:lnTo>
                    <a:pt x="91" y="74"/>
                  </a:lnTo>
                  <a:lnTo>
                    <a:pt x="86" y="78"/>
                  </a:lnTo>
                  <a:lnTo>
                    <a:pt x="86" y="80"/>
                  </a:lnTo>
                  <a:lnTo>
                    <a:pt x="74" y="82"/>
                  </a:lnTo>
                  <a:lnTo>
                    <a:pt x="67" y="88"/>
                  </a:lnTo>
                  <a:lnTo>
                    <a:pt x="67" y="89"/>
                  </a:lnTo>
                  <a:lnTo>
                    <a:pt x="62" y="94"/>
                  </a:lnTo>
                  <a:lnTo>
                    <a:pt x="62" y="97"/>
                  </a:lnTo>
                  <a:lnTo>
                    <a:pt x="59" y="100"/>
                  </a:lnTo>
                  <a:lnTo>
                    <a:pt x="51" y="100"/>
                  </a:lnTo>
                  <a:lnTo>
                    <a:pt x="48" y="105"/>
                  </a:lnTo>
                  <a:lnTo>
                    <a:pt x="46" y="103"/>
                  </a:lnTo>
                  <a:lnTo>
                    <a:pt x="44" y="100"/>
                  </a:lnTo>
                  <a:lnTo>
                    <a:pt x="38" y="95"/>
                  </a:lnTo>
                  <a:lnTo>
                    <a:pt x="33" y="95"/>
                  </a:lnTo>
                  <a:lnTo>
                    <a:pt x="28" y="97"/>
                  </a:lnTo>
                  <a:lnTo>
                    <a:pt x="25" y="97"/>
                  </a:lnTo>
                  <a:lnTo>
                    <a:pt x="22" y="95"/>
                  </a:lnTo>
                  <a:lnTo>
                    <a:pt x="13" y="94"/>
                  </a:lnTo>
                  <a:lnTo>
                    <a:pt x="11" y="94"/>
                  </a:lnTo>
                  <a:lnTo>
                    <a:pt x="11" y="95"/>
                  </a:lnTo>
                  <a:lnTo>
                    <a:pt x="11" y="100"/>
                  </a:lnTo>
                  <a:lnTo>
                    <a:pt x="11" y="105"/>
                  </a:lnTo>
                  <a:lnTo>
                    <a:pt x="10" y="108"/>
                  </a:lnTo>
                  <a:lnTo>
                    <a:pt x="13" y="111"/>
                  </a:lnTo>
                  <a:lnTo>
                    <a:pt x="11" y="114"/>
                  </a:lnTo>
                  <a:lnTo>
                    <a:pt x="13" y="117"/>
                  </a:lnTo>
                  <a:lnTo>
                    <a:pt x="5" y="122"/>
                  </a:lnTo>
                  <a:lnTo>
                    <a:pt x="0" y="123"/>
                  </a:lnTo>
                  <a:lnTo>
                    <a:pt x="2" y="128"/>
                  </a:lnTo>
                  <a:lnTo>
                    <a:pt x="5" y="128"/>
                  </a:lnTo>
                  <a:lnTo>
                    <a:pt x="2" y="137"/>
                  </a:lnTo>
                  <a:lnTo>
                    <a:pt x="4" y="146"/>
                  </a:lnTo>
                  <a:lnTo>
                    <a:pt x="4" y="151"/>
                  </a:lnTo>
                  <a:lnTo>
                    <a:pt x="13" y="153"/>
                  </a:lnTo>
                  <a:lnTo>
                    <a:pt x="17" y="153"/>
                  </a:lnTo>
                  <a:lnTo>
                    <a:pt x="8" y="162"/>
                  </a:lnTo>
                  <a:lnTo>
                    <a:pt x="5" y="168"/>
                  </a:lnTo>
                  <a:lnTo>
                    <a:pt x="13" y="181"/>
                  </a:lnTo>
                  <a:lnTo>
                    <a:pt x="17" y="193"/>
                  </a:lnTo>
                  <a:lnTo>
                    <a:pt x="16" y="196"/>
                  </a:lnTo>
                  <a:lnTo>
                    <a:pt x="19" y="199"/>
                  </a:lnTo>
                  <a:lnTo>
                    <a:pt x="19" y="210"/>
                  </a:lnTo>
                  <a:lnTo>
                    <a:pt x="44" y="210"/>
                  </a:lnTo>
                  <a:lnTo>
                    <a:pt x="48" y="219"/>
                  </a:lnTo>
                  <a:lnTo>
                    <a:pt x="48" y="226"/>
                  </a:lnTo>
                  <a:lnTo>
                    <a:pt x="50" y="235"/>
                  </a:lnTo>
                  <a:lnTo>
                    <a:pt x="48" y="238"/>
                  </a:lnTo>
                  <a:lnTo>
                    <a:pt x="27" y="263"/>
                  </a:lnTo>
                  <a:lnTo>
                    <a:pt x="65" y="272"/>
                  </a:lnTo>
                  <a:lnTo>
                    <a:pt x="97" y="272"/>
                  </a:lnTo>
                  <a:lnTo>
                    <a:pt x="106" y="269"/>
                  </a:lnTo>
                  <a:lnTo>
                    <a:pt x="116" y="271"/>
                  </a:lnTo>
                  <a:lnTo>
                    <a:pt x="117" y="267"/>
                  </a:lnTo>
                  <a:lnTo>
                    <a:pt x="127" y="266"/>
                  </a:lnTo>
                  <a:lnTo>
                    <a:pt x="142" y="266"/>
                  </a:lnTo>
                  <a:lnTo>
                    <a:pt x="151" y="263"/>
                  </a:lnTo>
                  <a:lnTo>
                    <a:pt x="162" y="263"/>
                  </a:lnTo>
                  <a:lnTo>
                    <a:pt x="173" y="260"/>
                  </a:lnTo>
                  <a:lnTo>
                    <a:pt x="173" y="256"/>
                  </a:lnTo>
                  <a:lnTo>
                    <a:pt x="171" y="250"/>
                  </a:lnTo>
                  <a:lnTo>
                    <a:pt x="171" y="244"/>
                  </a:lnTo>
                  <a:lnTo>
                    <a:pt x="169" y="238"/>
                  </a:lnTo>
                  <a:lnTo>
                    <a:pt x="169" y="230"/>
                  </a:lnTo>
                  <a:lnTo>
                    <a:pt x="173" y="226"/>
                  </a:lnTo>
                  <a:lnTo>
                    <a:pt x="179" y="224"/>
                  </a:lnTo>
                  <a:lnTo>
                    <a:pt x="179" y="221"/>
                  </a:lnTo>
                  <a:lnTo>
                    <a:pt x="180" y="216"/>
                  </a:lnTo>
                  <a:lnTo>
                    <a:pt x="188" y="216"/>
                  </a:lnTo>
                  <a:lnTo>
                    <a:pt x="191" y="219"/>
                  </a:lnTo>
                  <a:lnTo>
                    <a:pt x="201" y="213"/>
                  </a:lnTo>
                  <a:lnTo>
                    <a:pt x="205" y="211"/>
                  </a:lnTo>
                  <a:lnTo>
                    <a:pt x="200" y="210"/>
                  </a:lnTo>
                  <a:lnTo>
                    <a:pt x="211" y="202"/>
                  </a:lnTo>
                  <a:lnTo>
                    <a:pt x="212" y="198"/>
                  </a:lnTo>
                  <a:lnTo>
                    <a:pt x="218" y="198"/>
                  </a:lnTo>
                  <a:lnTo>
                    <a:pt x="222" y="199"/>
                  </a:lnTo>
                  <a:lnTo>
                    <a:pt x="228" y="199"/>
                  </a:lnTo>
                  <a:lnTo>
                    <a:pt x="229" y="198"/>
                  </a:lnTo>
                  <a:lnTo>
                    <a:pt x="231" y="198"/>
                  </a:lnTo>
                  <a:lnTo>
                    <a:pt x="237" y="204"/>
                  </a:lnTo>
                  <a:lnTo>
                    <a:pt x="243" y="196"/>
                  </a:lnTo>
                  <a:lnTo>
                    <a:pt x="240" y="184"/>
                  </a:lnTo>
                  <a:lnTo>
                    <a:pt x="243" y="183"/>
                  </a:lnTo>
                  <a:lnTo>
                    <a:pt x="243" y="179"/>
                  </a:lnTo>
                  <a:lnTo>
                    <a:pt x="245" y="174"/>
                  </a:lnTo>
                  <a:lnTo>
                    <a:pt x="246" y="165"/>
                  </a:lnTo>
                  <a:lnTo>
                    <a:pt x="249" y="161"/>
                  </a:lnTo>
                  <a:lnTo>
                    <a:pt x="254" y="161"/>
                  </a:lnTo>
                  <a:lnTo>
                    <a:pt x="262" y="156"/>
                  </a:lnTo>
                  <a:lnTo>
                    <a:pt x="262" y="153"/>
                  </a:lnTo>
                  <a:lnTo>
                    <a:pt x="260" y="146"/>
                  </a:lnTo>
                  <a:lnTo>
                    <a:pt x="252" y="144"/>
                  </a:lnTo>
                  <a:lnTo>
                    <a:pt x="251" y="137"/>
                  </a:lnTo>
                  <a:lnTo>
                    <a:pt x="257" y="133"/>
                  </a:lnTo>
                  <a:lnTo>
                    <a:pt x="268" y="137"/>
                  </a:lnTo>
                  <a:lnTo>
                    <a:pt x="277" y="137"/>
                  </a:lnTo>
                  <a:lnTo>
                    <a:pt x="285" y="128"/>
                  </a:lnTo>
                  <a:lnTo>
                    <a:pt x="285" y="119"/>
                  </a:lnTo>
                  <a:lnTo>
                    <a:pt x="277" y="114"/>
                  </a:lnTo>
                  <a:lnTo>
                    <a:pt x="291" y="100"/>
                  </a:lnTo>
                  <a:lnTo>
                    <a:pt x="291" y="88"/>
                  </a:lnTo>
                  <a:lnTo>
                    <a:pt x="279" y="72"/>
                  </a:lnTo>
                  <a:lnTo>
                    <a:pt x="283" y="69"/>
                  </a:lnTo>
                  <a:lnTo>
                    <a:pt x="289" y="61"/>
                  </a:lnTo>
                  <a:lnTo>
                    <a:pt x="297" y="61"/>
                  </a:lnTo>
                  <a:lnTo>
                    <a:pt x="303" y="58"/>
                  </a:lnTo>
                  <a:lnTo>
                    <a:pt x="311" y="52"/>
                  </a:lnTo>
                  <a:lnTo>
                    <a:pt x="317" y="55"/>
                  </a:lnTo>
                  <a:lnTo>
                    <a:pt x="335" y="52"/>
                  </a:lnTo>
                  <a:lnTo>
                    <a:pt x="335" y="27"/>
                  </a:lnTo>
                  <a:lnTo>
                    <a:pt x="329" y="2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9" name="Freeform 12"/>
            <p:cNvSpPr>
              <a:spLocks noEditPoints="1"/>
            </p:cNvSpPr>
            <p:nvPr/>
          </p:nvSpPr>
          <p:spPr bwMode="auto">
            <a:xfrm>
              <a:off x="7327901" y="3344863"/>
              <a:ext cx="241300" cy="177800"/>
            </a:xfrm>
            <a:custGeom>
              <a:avLst/>
              <a:gdLst>
                <a:gd name="T0" fmla="*/ 2 w 152"/>
                <a:gd name="T1" fmla="*/ 19 h 112"/>
                <a:gd name="T2" fmla="*/ 28 w 152"/>
                <a:gd name="T3" fmla="*/ 22 h 112"/>
                <a:gd name="T4" fmla="*/ 48 w 152"/>
                <a:gd name="T5" fmla="*/ 28 h 112"/>
                <a:gd name="T6" fmla="*/ 46 w 152"/>
                <a:gd name="T7" fmla="*/ 13 h 112"/>
                <a:gd name="T8" fmla="*/ 42 w 152"/>
                <a:gd name="T9" fmla="*/ 3 h 112"/>
                <a:gd name="T10" fmla="*/ 63 w 152"/>
                <a:gd name="T11" fmla="*/ 12 h 112"/>
                <a:gd name="T12" fmla="*/ 78 w 152"/>
                <a:gd name="T13" fmla="*/ 19 h 112"/>
                <a:gd name="T14" fmla="*/ 89 w 152"/>
                <a:gd name="T15" fmla="*/ 10 h 112"/>
                <a:gd name="T16" fmla="*/ 104 w 152"/>
                <a:gd name="T17" fmla="*/ 4 h 112"/>
                <a:gd name="T18" fmla="*/ 114 w 152"/>
                <a:gd name="T19" fmla="*/ 19 h 112"/>
                <a:gd name="T20" fmla="*/ 127 w 152"/>
                <a:gd name="T21" fmla="*/ 31 h 112"/>
                <a:gd name="T22" fmla="*/ 133 w 152"/>
                <a:gd name="T23" fmla="*/ 39 h 112"/>
                <a:gd name="T24" fmla="*/ 149 w 152"/>
                <a:gd name="T25" fmla="*/ 42 h 112"/>
                <a:gd name="T26" fmla="*/ 149 w 152"/>
                <a:gd name="T27" fmla="*/ 47 h 112"/>
                <a:gd name="T28" fmla="*/ 137 w 152"/>
                <a:gd name="T29" fmla="*/ 48 h 112"/>
                <a:gd name="T30" fmla="*/ 129 w 152"/>
                <a:gd name="T31" fmla="*/ 62 h 112"/>
                <a:gd name="T32" fmla="*/ 127 w 152"/>
                <a:gd name="T33" fmla="*/ 70 h 112"/>
                <a:gd name="T34" fmla="*/ 129 w 152"/>
                <a:gd name="T35" fmla="*/ 76 h 112"/>
                <a:gd name="T36" fmla="*/ 126 w 152"/>
                <a:gd name="T37" fmla="*/ 82 h 112"/>
                <a:gd name="T38" fmla="*/ 124 w 152"/>
                <a:gd name="T39" fmla="*/ 93 h 112"/>
                <a:gd name="T40" fmla="*/ 124 w 152"/>
                <a:gd name="T41" fmla="*/ 86 h 112"/>
                <a:gd name="T42" fmla="*/ 118 w 152"/>
                <a:gd name="T43" fmla="*/ 84 h 112"/>
                <a:gd name="T44" fmla="*/ 118 w 152"/>
                <a:gd name="T45" fmla="*/ 95 h 112"/>
                <a:gd name="T46" fmla="*/ 120 w 152"/>
                <a:gd name="T47" fmla="*/ 101 h 112"/>
                <a:gd name="T48" fmla="*/ 118 w 152"/>
                <a:gd name="T49" fmla="*/ 112 h 112"/>
                <a:gd name="T50" fmla="*/ 110 w 152"/>
                <a:gd name="T51" fmla="*/ 109 h 112"/>
                <a:gd name="T52" fmla="*/ 97 w 152"/>
                <a:gd name="T53" fmla="*/ 97 h 112"/>
                <a:gd name="T54" fmla="*/ 98 w 152"/>
                <a:gd name="T55" fmla="*/ 88 h 112"/>
                <a:gd name="T56" fmla="*/ 101 w 152"/>
                <a:gd name="T57" fmla="*/ 82 h 112"/>
                <a:gd name="T58" fmla="*/ 95 w 152"/>
                <a:gd name="T59" fmla="*/ 75 h 112"/>
                <a:gd name="T60" fmla="*/ 92 w 152"/>
                <a:gd name="T61" fmla="*/ 73 h 112"/>
                <a:gd name="T62" fmla="*/ 83 w 152"/>
                <a:gd name="T63" fmla="*/ 76 h 112"/>
                <a:gd name="T64" fmla="*/ 77 w 152"/>
                <a:gd name="T65" fmla="*/ 82 h 112"/>
                <a:gd name="T66" fmla="*/ 69 w 152"/>
                <a:gd name="T67" fmla="*/ 89 h 112"/>
                <a:gd name="T68" fmla="*/ 63 w 152"/>
                <a:gd name="T69" fmla="*/ 92 h 112"/>
                <a:gd name="T70" fmla="*/ 57 w 152"/>
                <a:gd name="T71" fmla="*/ 97 h 112"/>
                <a:gd name="T72" fmla="*/ 55 w 152"/>
                <a:gd name="T73" fmla="*/ 95 h 112"/>
                <a:gd name="T74" fmla="*/ 57 w 152"/>
                <a:gd name="T75" fmla="*/ 88 h 112"/>
                <a:gd name="T76" fmla="*/ 59 w 152"/>
                <a:gd name="T77" fmla="*/ 80 h 112"/>
                <a:gd name="T78" fmla="*/ 43 w 152"/>
                <a:gd name="T79" fmla="*/ 75 h 112"/>
                <a:gd name="T80" fmla="*/ 28 w 152"/>
                <a:gd name="T81" fmla="*/ 59 h 112"/>
                <a:gd name="T82" fmla="*/ 32 w 152"/>
                <a:gd name="T83" fmla="*/ 53 h 112"/>
                <a:gd name="T84" fmla="*/ 20 w 152"/>
                <a:gd name="T85" fmla="*/ 39 h 112"/>
                <a:gd name="T86" fmla="*/ 17 w 152"/>
                <a:gd name="T87" fmla="*/ 28 h 112"/>
                <a:gd name="T88" fmla="*/ 2 w 152"/>
                <a:gd name="T89" fmla="*/ 22 h 112"/>
                <a:gd name="T90" fmla="*/ 2 w 152"/>
                <a:gd name="T91" fmla="*/ 22 h 112"/>
                <a:gd name="T92" fmla="*/ 48 w 152"/>
                <a:gd name="T93" fmla="*/ 95 h 112"/>
                <a:gd name="T94" fmla="*/ 28 w 152"/>
                <a:gd name="T95" fmla="*/ 79 h 112"/>
                <a:gd name="T96" fmla="*/ 19 w 152"/>
                <a:gd name="T97" fmla="*/ 70 h 112"/>
                <a:gd name="T98" fmla="*/ 9 w 152"/>
                <a:gd name="T99" fmla="*/ 65 h 112"/>
                <a:gd name="T100" fmla="*/ 0 w 152"/>
                <a:gd name="T101" fmla="*/ 70 h 112"/>
                <a:gd name="T102" fmla="*/ 2 w 152"/>
                <a:gd name="T103" fmla="*/ 71 h 112"/>
                <a:gd name="T104" fmla="*/ 9 w 152"/>
                <a:gd name="T105" fmla="*/ 75 h 112"/>
                <a:gd name="T106" fmla="*/ 11 w 152"/>
                <a:gd name="T107" fmla="*/ 82 h 112"/>
                <a:gd name="T108" fmla="*/ 25 w 152"/>
                <a:gd name="T109" fmla="*/ 93 h 112"/>
                <a:gd name="T110" fmla="*/ 38 w 152"/>
                <a:gd name="T111" fmla="*/ 95 h 112"/>
                <a:gd name="T112" fmla="*/ 48 w 152"/>
                <a:gd name="T113" fmla="*/ 95 h 112"/>
                <a:gd name="T114" fmla="*/ 48 w 152"/>
                <a:gd name="T115" fmla="*/ 9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2" h="112">
                  <a:moveTo>
                    <a:pt x="2" y="22"/>
                  </a:moveTo>
                  <a:lnTo>
                    <a:pt x="2" y="19"/>
                  </a:lnTo>
                  <a:lnTo>
                    <a:pt x="11" y="16"/>
                  </a:lnTo>
                  <a:lnTo>
                    <a:pt x="28" y="22"/>
                  </a:lnTo>
                  <a:lnTo>
                    <a:pt x="38" y="22"/>
                  </a:lnTo>
                  <a:lnTo>
                    <a:pt x="48" y="28"/>
                  </a:lnTo>
                  <a:lnTo>
                    <a:pt x="49" y="19"/>
                  </a:lnTo>
                  <a:lnTo>
                    <a:pt x="46" y="13"/>
                  </a:lnTo>
                  <a:lnTo>
                    <a:pt x="38" y="10"/>
                  </a:lnTo>
                  <a:lnTo>
                    <a:pt x="42" y="3"/>
                  </a:lnTo>
                  <a:lnTo>
                    <a:pt x="49" y="3"/>
                  </a:lnTo>
                  <a:lnTo>
                    <a:pt x="63" y="12"/>
                  </a:lnTo>
                  <a:lnTo>
                    <a:pt x="66" y="17"/>
                  </a:lnTo>
                  <a:lnTo>
                    <a:pt x="78" y="19"/>
                  </a:lnTo>
                  <a:lnTo>
                    <a:pt x="83" y="13"/>
                  </a:lnTo>
                  <a:lnTo>
                    <a:pt x="89" y="10"/>
                  </a:lnTo>
                  <a:lnTo>
                    <a:pt x="98" y="0"/>
                  </a:lnTo>
                  <a:lnTo>
                    <a:pt x="104" y="4"/>
                  </a:lnTo>
                  <a:lnTo>
                    <a:pt x="112" y="13"/>
                  </a:lnTo>
                  <a:lnTo>
                    <a:pt x="114" y="19"/>
                  </a:lnTo>
                  <a:lnTo>
                    <a:pt x="118" y="25"/>
                  </a:lnTo>
                  <a:lnTo>
                    <a:pt x="127" y="31"/>
                  </a:lnTo>
                  <a:lnTo>
                    <a:pt x="127" y="36"/>
                  </a:lnTo>
                  <a:lnTo>
                    <a:pt x="133" y="39"/>
                  </a:lnTo>
                  <a:lnTo>
                    <a:pt x="141" y="39"/>
                  </a:lnTo>
                  <a:lnTo>
                    <a:pt x="149" y="42"/>
                  </a:lnTo>
                  <a:lnTo>
                    <a:pt x="152" y="47"/>
                  </a:lnTo>
                  <a:lnTo>
                    <a:pt x="149" y="47"/>
                  </a:lnTo>
                  <a:lnTo>
                    <a:pt x="144" y="48"/>
                  </a:lnTo>
                  <a:lnTo>
                    <a:pt x="137" y="48"/>
                  </a:lnTo>
                  <a:lnTo>
                    <a:pt x="127" y="54"/>
                  </a:lnTo>
                  <a:lnTo>
                    <a:pt x="129" y="62"/>
                  </a:lnTo>
                  <a:lnTo>
                    <a:pt x="129" y="67"/>
                  </a:lnTo>
                  <a:lnTo>
                    <a:pt x="127" y="70"/>
                  </a:lnTo>
                  <a:lnTo>
                    <a:pt x="127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6" y="82"/>
                  </a:lnTo>
                  <a:lnTo>
                    <a:pt x="126" y="92"/>
                  </a:lnTo>
                  <a:lnTo>
                    <a:pt x="124" y="93"/>
                  </a:lnTo>
                  <a:lnTo>
                    <a:pt x="121" y="92"/>
                  </a:lnTo>
                  <a:lnTo>
                    <a:pt x="124" y="86"/>
                  </a:lnTo>
                  <a:lnTo>
                    <a:pt x="120" y="82"/>
                  </a:lnTo>
                  <a:lnTo>
                    <a:pt x="118" y="84"/>
                  </a:lnTo>
                  <a:lnTo>
                    <a:pt x="115" y="88"/>
                  </a:lnTo>
                  <a:lnTo>
                    <a:pt x="118" y="95"/>
                  </a:lnTo>
                  <a:lnTo>
                    <a:pt x="118" y="98"/>
                  </a:lnTo>
                  <a:lnTo>
                    <a:pt x="120" y="101"/>
                  </a:lnTo>
                  <a:lnTo>
                    <a:pt x="120" y="110"/>
                  </a:lnTo>
                  <a:lnTo>
                    <a:pt x="118" y="112"/>
                  </a:lnTo>
                  <a:lnTo>
                    <a:pt x="112" y="110"/>
                  </a:lnTo>
                  <a:lnTo>
                    <a:pt x="110" y="109"/>
                  </a:lnTo>
                  <a:lnTo>
                    <a:pt x="106" y="104"/>
                  </a:lnTo>
                  <a:lnTo>
                    <a:pt x="97" y="97"/>
                  </a:lnTo>
                  <a:lnTo>
                    <a:pt x="106" y="92"/>
                  </a:lnTo>
                  <a:lnTo>
                    <a:pt x="98" y="88"/>
                  </a:lnTo>
                  <a:lnTo>
                    <a:pt x="97" y="86"/>
                  </a:lnTo>
                  <a:lnTo>
                    <a:pt x="101" y="82"/>
                  </a:lnTo>
                  <a:lnTo>
                    <a:pt x="97" y="79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2" y="73"/>
                  </a:lnTo>
                  <a:lnTo>
                    <a:pt x="89" y="73"/>
                  </a:lnTo>
                  <a:lnTo>
                    <a:pt x="83" y="76"/>
                  </a:lnTo>
                  <a:lnTo>
                    <a:pt x="80" y="79"/>
                  </a:lnTo>
                  <a:lnTo>
                    <a:pt x="77" y="82"/>
                  </a:lnTo>
                  <a:lnTo>
                    <a:pt x="72" y="82"/>
                  </a:lnTo>
                  <a:lnTo>
                    <a:pt x="69" y="89"/>
                  </a:lnTo>
                  <a:lnTo>
                    <a:pt x="65" y="89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57" y="97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89"/>
                  </a:lnTo>
                  <a:lnTo>
                    <a:pt x="57" y="88"/>
                  </a:lnTo>
                  <a:lnTo>
                    <a:pt x="51" y="80"/>
                  </a:lnTo>
                  <a:lnTo>
                    <a:pt x="59" y="80"/>
                  </a:lnTo>
                  <a:lnTo>
                    <a:pt x="54" y="75"/>
                  </a:lnTo>
                  <a:lnTo>
                    <a:pt x="43" y="75"/>
                  </a:lnTo>
                  <a:lnTo>
                    <a:pt x="32" y="67"/>
                  </a:lnTo>
                  <a:lnTo>
                    <a:pt x="28" y="59"/>
                  </a:lnTo>
                  <a:lnTo>
                    <a:pt x="32" y="58"/>
                  </a:lnTo>
                  <a:lnTo>
                    <a:pt x="32" y="5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3" y="34"/>
                  </a:lnTo>
                  <a:lnTo>
                    <a:pt x="17" y="28"/>
                  </a:lnTo>
                  <a:lnTo>
                    <a:pt x="5" y="28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close/>
                  <a:moveTo>
                    <a:pt x="48" y="95"/>
                  </a:moveTo>
                  <a:lnTo>
                    <a:pt x="37" y="80"/>
                  </a:lnTo>
                  <a:lnTo>
                    <a:pt x="28" y="79"/>
                  </a:lnTo>
                  <a:lnTo>
                    <a:pt x="25" y="70"/>
                  </a:lnTo>
                  <a:lnTo>
                    <a:pt x="19" y="70"/>
                  </a:lnTo>
                  <a:lnTo>
                    <a:pt x="17" y="73"/>
                  </a:lnTo>
                  <a:lnTo>
                    <a:pt x="9" y="65"/>
                  </a:lnTo>
                  <a:lnTo>
                    <a:pt x="3" y="70"/>
                  </a:lnTo>
                  <a:lnTo>
                    <a:pt x="0" y="70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5" y="75"/>
                  </a:lnTo>
                  <a:lnTo>
                    <a:pt x="9" y="75"/>
                  </a:lnTo>
                  <a:lnTo>
                    <a:pt x="11" y="79"/>
                  </a:lnTo>
                  <a:lnTo>
                    <a:pt x="11" y="82"/>
                  </a:lnTo>
                  <a:lnTo>
                    <a:pt x="23" y="88"/>
                  </a:lnTo>
                  <a:lnTo>
                    <a:pt x="25" y="93"/>
                  </a:lnTo>
                  <a:lnTo>
                    <a:pt x="31" y="95"/>
                  </a:lnTo>
                  <a:lnTo>
                    <a:pt x="38" y="95"/>
                  </a:lnTo>
                  <a:lnTo>
                    <a:pt x="46" y="101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0" name="Freeform 13"/>
            <p:cNvSpPr>
              <a:spLocks/>
            </p:cNvSpPr>
            <p:nvPr/>
          </p:nvSpPr>
          <p:spPr bwMode="auto">
            <a:xfrm>
              <a:off x="7307263" y="3457576"/>
              <a:ext cx="901700" cy="638175"/>
            </a:xfrm>
            <a:custGeom>
              <a:avLst/>
              <a:gdLst>
                <a:gd name="T0" fmla="*/ 25 w 568"/>
                <a:gd name="T1" fmla="*/ 8 h 402"/>
                <a:gd name="T2" fmla="*/ 51 w 568"/>
                <a:gd name="T3" fmla="*/ 25 h 402"/>
                <a:gd name="T4" fmla="*/ 71 w 568"/>
                <a:gd name="T5" fmla="*/ 27 h 402"/>
                <a:gd name="T6" fmla="*/ 86 w 568"/>
                <a:gd name="T7" fmla="*/ 12 h 402"/>
                <a:gd name="T8" fmla="*/ 105 w 568"/>
                <a:gd name="T9" fmla="*/ 3 h 402"/>
                <a:gd name="T10" fmla="*/ 111 w 568"/>
                <a:gd name="T11" fmla="*/ 16 h 402"/>
                <a:gd name="T12" fmla="*/ 124 w 568"/>
                <a:gd name="T13" fmla="*/ 38 h 402"/>
                <a:gd name="T14" fmla="*/ 137 w 568"/>
                <a:gd name="T15" fmla="*/ 45 h 402"/>
                <a:gd name="T16" fmla="*/ 149 w 568"/>
                <a:gd name="T17" fmla="*/ 66 h 402"/>
                <a:gd name="T18" fmla="*/ 175 w 568"/>
                <a:gd name="T19" fmla="*/ 67 h 402"/>
                <a:gd name="T20" fmla="*/ 219 w 568"/>
                <a:gd name="T21" fmla="*/ 87 h 402"/>
                <a:gd name="T22" fmla="*/ 281 w 568"/>
                <a:gd name="T23" fmla="*/ 84 h 402"/>
                <a:gd name="T24" fmla="*/ 295 w 568"/>
                <a:gd name="T25" fmla="*/ 61 h 402"/>
                <a:gd name="T26" fmla="*/ 329 w 568"/>
                <a:gd name="T27" fmla="*/ 42 h 402"/>
                <a:gd name="T28" fmla="*/ 359 w 568"/>
                <a:gd name="T29" fmla="*/ 38 h 402"/>
                <a:gd name="T30" fmla="*/ 404 w 568"/>
                <a:gd name="T31" fmla="*/ 53 h 402"/>
                <a:gd name="T32" fmla="*/ 430 w 568"/>
                <a:gd name="T33" fmla="*/ 66 h 402"/>
                <a:gd name="T34" fmla="*/ 476 w 568"/>
                <a:gd name="T35" fmla="*/ 92 h 402"/>
                <a:gd name="T36" fmla="*/ 477 w 568"/>
                <a:gd name="T37" fmla="*/ 115 h 402"/>
                <a:gd name="T38" fmla="*/ 479 w 568"/>
                <a:gd name="T39" fmla="*/ 132 h 402"/>
                <a:gd name="T40" fmla="*/ 468 w 568"/>
                <a:gd name="T41" fmla="*/ 151 h 402"/>
                <a:gd name="T42" fmla="*/ 483 w 568"/>
                <a:gd name="T43" fmla="*/ 167 h 402"/>
                <a:gd name="T44" fmla="*/ 482 w 568"/>
                <a:gd name="T45" fmla="*/ 210 h 402"/>
                <a:gd name="T46" fmla="*/ 513 w 568"/>
                <a:gd name="T47" fmla="*/ 240 h 402"/>
                <a:gd name="T48" fmla="*/ 510 w 568"/>
                <a:gd name="T49" fmla="*/ 299 h 402"/>
                <a:gd name="T50" fmla="*/ 542 w 568"/>
                <a:gd name="T51" fmla="*/ 313 h 402"/>
                <a:gd name="T52" fmla="*/ 553 w 568"/>
                <a:gd name="T53" fmla="*/ 338 h 402"/>
                <a:gd name="T54" fmla="*/ 565 w 568"/>
                <a:gd name="T55" fmla="*/ 360 h 402"/>
                <a:gd name="T56" fmla="*/ 531 w 568"/>
                <a:gd name="T57" fmla="*/ 371 h 402"/>
                <a:gd name="T58" fmla="*/ 528 w 568"/>
                <a:gd name="T59" fmla="*/ 398 h 402"/>
                <a:gd name="T60" fmla="*/ 506 w 568"/>
                <a:gd name="T61" fmla="*/ 396 h 402"/>
                <a:gd name="T62" fmla="*/ 493 w 568"/>
                <a:gd name="T63" fmla="*/ 395 h 402"/>
                <a:gd name="T64" fmla="*/ 448 w 568"/>
                <a:gd name="T65" fmla="*/ 391 h 402"/>
                <a:gd name="T66" fmla="*/ 422 w 568"/>
                <a:gd name="T67" fmla="*/ 386 h 402"/>
                <a:gd name="T68" fmla="*/ 398 w 568"/>
                <a:gd name="T69" fmla="*/ 367 h 402"/>
                <a:gd name="T70" fmla="*/ 387 w 568"/>
                <a:gd name="T71" fmla="*/ 347 h 402"/>
                <a:gd name="T72" fmla="*/ 358 w 568"/>
                <a:gd name="T73" fmla="*/ 350 h 402"/>
                <a:gd name="T74" fmla="*/ 316 w 568"/>
                <a:gd name="T75" fmla="*/ 358 h 402"/>
                <a:gd name="T76" fmla="*/ 287 w 568"/>
                <a:gd name="T77" fmla="*/ 350 h 402"/>
                <a:gd name="T78" fmla="*/ 270 w 568"/>
                <a:gd name="T79" fmla="*/ 335 h 402"/>
                <a:gd name="T80" fmla="*/ 240 w 568"/>
                <a:gd name="T81" fmla="*/ 330 h 402"/>
                <a:gd name="T82" fmla="*/ 217 w 568"/>
                <a:gd name="T83" fmla="*/ 304 h 402"/>
                <a:gd name="T84" fmla="*/ 215 w 568"/>
                <a:gd name="T85" fmla="*/ 299 h 402"/>
                <a:gd name="T86" fmla="*/ 194 w 568"/>
                <a:gd name="T87" fmla="*/ 268 h 402"/>
                <a:gd name="T88" fmla="*/ 175 w 568"/>
                <a:gd name="T89" fmla="*/ 268 h 402"/>
                <a:gd name="T90" fmla="*/ 166 w 568"/>
                <a:gd name="T91" fmla="*/ 263 h 402"/>
                <a:gd name="T92" fmla="*/ 160 w 568"/>
                <a:gd name="T93" fmla="*/ 273 h 402"/>
                <a:gd name="T94" fmla="*/ 145 w 568"/>
                <a:gd name="T95" fmla="*/ 263 h 402"/>
                <a:gd name="T96" fmla="*/ 128 w 568"/>
                <a:gd name="T97" fmla="*/ 232 h 402"/>
                <a:gd name="T98" fmla="*/ 115 w 568"/>
                <a:gd name="T99" fmla="*/ 202 h 402"/>
                <a:gd name="T100" fmla="*/ 79 w 568"/>
                <a:gd name="T101" fmla="*/ 191 h 402"/>
                <a:gd name="T102" fmla="*/ 73 w 568"/>
                <a:gd name="T103" fmla="*/ 173 h 402"/>
                <a:gd name="T104" fmla="*/ 62 w 568"/>
                <a:gd name="T105" fmla="*/ 162 h 402"/>
                <a:gd name="T106" fmla="*/ 65 w 568"/>
                <a:gd name="T107" fmla="*/ 137 h 402"/>
                <a:gd name="T108" fmla="*/ 71 w 568"/>
                <a:gd name="T109" fmla="*/ 119 h 402"/>
                <a:gd name="T110" fmla="*/ 75 w 568"/>
                <a:gd name="T111" fmla="*/ 114 h 402"/>
                <a:gd name="T112" fmla="*/ 46 w 568"/>
                <a:gd name="T113" fmla="*/ 106 h 402"/>
                <a:gd name="T114" fmla="*/ 33 w 568"/>
                <a:gd name="T115" fmla="*/ 86 h 402"/>
                <a:gd name="T116" fmla="*/ 23 w 568"/>
                <a:gd name="T117" fmla="*/ 69 h 402"/>
                <a:gd name="T118" fmla="*/ 14 w 568"/>
                <a:gd name="T119" fmla="*/ 42 h 402"/>
                <a:gd name="T120" fmla="*/ 5 w 568"/>
                <a:gd name="T121" fmla="*/ 16 h 402"/>
                <a:gd name="T122" fmla="*/ 14 w 568"/>
                <a:gd name="T123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68" h="402">
                  <a:moveTo>
                    <a:pt x="14" y="0"/>
                  </a:moveTo>
                  <a:lnTo>
                    <a:pt x="16" y="0"/>
                  </a:lnTo>
                  <a:lnTo>
                    <a:pt x="20" y="5"/>
                  </a:lnTo>
                  <a:lnTo>
                    <a:pt x="23" y="5"/>
                  </a:lnTo>
                  <a:lnTo>
                    <a:pt x="25" y="8"/>
                  </a:lnTo>
                  <a:lnTo>
                    <a:pt x="25" y="12"/>
                  </a:lnTo>
                  <a:lnTo>
                    <a:pt x="36" y="17"/>
                  </a:lnTo>
                  <a:lnTo>
                    <a:pt x="39" y="23"/>
                  </a:lnTo>
                  <a:lnTo>
                    <a:pt x="45" y="25"/>
                  </a:lnTo>
                  <a:lnTo>
                    <a:pt x="51" y="25"/>
                  </a:lnTo>
                  <a:lnTo>
                    <a:pt x="60" y="30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7" y="25"/>
                  </a:lnTo>
                  <a:lnTo>
                    <a:pt x="71" y="27"/>
                  </a:lnTo>
                  <a:lnTo>
                    <a:pt x="76" y="23"/>
                  </a:lnTo>
                  <a:lnTo>
                    <a:pt x="76" y="21"/>
                  </a:lnTo>
                  <a:lnTo>
                    <a:pt x="79" y="20"/>
                  </a:lnTo>
                  <a:lnTo>
                    <a:pt x="82" y="20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4" y="8"/>
                  </a:lnTo>
                  <a:lnTo>
                    <a:pt x="97" y="6"/>
                  </a:lnTo>
                  <a:lnTo>
                    <a:pt x="103" y="3"/>
                  </a:lnTo>
                  <a:lnTo>
                    <a:pt x="105" y="3"/>
                  </a:lnTo>
                  <a:lnTo>
                    <a:pt x="106" y="5"/>
                  </a:lnTo>
                  <a:lnTo>
                    <a:pt x="109" y="5"/>
                  </a:lnTo>
                  <a:lnTo>
                    <a:pt x="111" y="8"/>
                  </a:lnTo>
                  <a:lnTo>
                    <a:pt x="115" y="12"/>
                  </a:lnTo>
                  <a:lnTo>
                    <a:pt x="111" y="16"/>
                  </a:lnTo>
                  <a:lnTo>
                    <a:pt x="112" y="17"/>
                  </a:lnTo>
                  <a:lnTo>
                    <a:pt x="120" y="21"/>
                  </a:lnTo>
                  <a:lnTo>
                    <a:pt x="111" y="27"/>
                  </a:lnTo>
                  <a:lnTo>
                    <a:pt x="120" y="34"/>
                  </a:lnTo>
                  <a:lnTo>
                    <a:pt x="124" y="38"/>
                  </a:lnTo>
                  <a:lnTo>
                    <a:pt x="126" y="39"/>
                  </a:lnTo>
                  <a:lnTo>
                    <a:pt x="131" y="42"/>
                  </a:lnTo>
                  <a:lnTo>
                    <a:pt x="134" y="39"/>
                  </a:lnTo>
                  <a:lnTo>
                    <a:pt x="134" y="42"/>
                  </a:lnTo>
                  <a:lnTo>
                    <a:pt x="137" y="45"/>
                  </a:lnTo>
                  <a:lnTo>
                    <a:pt x="137" y="51"/>
                  </a:lnTo>
                  <a:lnTo>
                    <a:pt x="137" y="58"/>
                  </a:lnTo>
                  <a:lnTo>
                    <a:pt x="140" y="60"/>
                  </a:lnTo>
                  <a:lnTo>
                    <a:pt x="143" y="60"/>
                  </a:lnTo>
                  <a:lnTo>
                    <a:pt x="149" y="66"/>
                  </a:lnTo>
                  <a:lnTo>
                    <a:pt x="154" y="66"/>
                  </a:lnTo>
                  <a:lnTo>
                    <a:pt x="160" y="67"/>
                  </a:lnTo>
                  <a:lnTo>
                    <a:pt x="166" y="64"/>
                  </a:lnTo>
                  <a:lnTo>
                    <a:pt x="171" y="67"/>
                  </a:lnTo>
                  <a:lnTo>
                    <a:pt x="175" y="67"/>
                  </a:lnTo>
                  <a:lnTo>
                    <a:pt x="177" y="73"/>
                  </a:lnTo>
                  <a:lnTo>
                    <a:pt x="183" y="78"/>
                  </a:lnTo>
                  <a:lnTo>
                    <a:pt x="197" y="82"/>
                  </a:lnTo>
                  <a:lnTo>
                    <a:pt x="203" y="84"/>
                  </a:lnTo>
                  <a:lnTo>
                    <a:pt x="219" y="87"/>
                  </a:lnTo>
                  <a:lnTo>
                    <a:pt x="226" y="87"/>
                  </a:lnTo>
                  <a:lnTo>
                    <a:pt x="246" y="84"/>
                  </a:lnTo>
                  <a:lnTo>
                    <a:pt x="259" y="82"/>
                  </a:lnTo>
                  <a:lnTo>
                    <a:pt x="275" y="82"/>
                  </a:lnTo>
                  <a:lnTo>
                    <a:pt x="281" y="84"/>
                  </a:lnTo>
                  <a:lnTo>
                    <a:pt x="284" y="78"/>
                  </a:lnTo>
                  <a:lnTo>
                    <a:pt x="280" y="73"/>
                  </a:lnTo>
                  <a:lnTo>
                    <a:pt x="275" y="66"/>
                  </a:lnTo>
                  <a:lnTo>
                    <a:pt x="281" y="64"/>
                  </a:lnTo>
                  <a:lnTo>
                    <a:pt x="295" y="61"/>
                  </a:lnTo>
                  <a:lnTo>
                    <a:pt x="299" y="56"/>
                  </a:lnTo>
                  <a:lnTo>
                    <a:pt x="303" y="51"/>
                  </a:lnTo>
                  <a:lnTo>
                    <a:pt x="307" y="51"/>
                  </a:lnTo>
                  <a:lnTo>
                    <a:pt x="318" y="44"/>
                  </a:lnTo>
                  <a:lnTo>
                    <a:pt x="329" y="42"/>
                  </a:lnTo>
                  <a:lnTo>
                    <a:pt x="341" y="44"/>
                  </a:lnTo>
                  <a:lnTo>
                    <a:pt x="342" y="38"/>
                  </a:lnTo>
                  <a:lnTo>
                    <a:pt x="348" y="36"/>
                  </a:lnTo>
                  <a:lnTo>
                    <a:pt x="354" y="38"/>
                  </a:lnTo>
                  <a:lnTo>
                    <a:pt x="359" y="38"/>
                  </a:lnTo>
                  <a:lnTo>
                    <a:pt x="369" y="45"/>
                  </a:lnTo>
                  <a:lnTo>
                    <a:pt x="379" y="47"/>
                  </a:lnTo>
                  <a:lnTo>
                    <a:pt x="394" y="56"/>
                  </a:lnTo>
                  <a:lnTo>
                    <a:pt x="399" y="55"/>
                  </a:lnTo>
                  <a:lnTo>
                    <a:pt x="404" y="53"/>
                  </a:lnTo>
                  <a:lnTo>
                    <a:pt x="415" y="56"/>
                  </a:lnTo>
                  <a:lnTo>
                    <a:pt x="421" y="58"/>
                  </a:lnTo>
                  <a:lnTo>
                    <a:pt x="422" y="66"/>
                  </a:lnTo>
                  <a:lnTo>
                    <a:pt x="424" y="67"/>
                  </a:lnTo>
                  <a:lnTo>
                    <a:pt x="430" y="66"/>
                  </a:lnTo>
                  <a:lnTo>
                    <a:pt x="439" y="67"/>
                  </a:lnTo>
                  <a:lnTo>
                    <a:pt x="451" y="81"/>
                  </a:lnTo>
                  <a:lnTo>
                    <a:pt x="464" y="82"/>
                  </a:lnTo>
                  <a:lnTo>
                    <a:pt x="470" y="84"/>
                  </a:lnTo>
                  <a:lnTo>
                    <a:pt x="476" y="92"/>
                  </a:lnTo>
                  <a:lnTo>
                    <a:pt x="474" y="95"/>
                  </a:lnTo>
                  <a:lnTo>
                    <a:pt x="476" y="100"/>
                  </a:lnTo>
                  <a:lnTo>
                    <a:pt x="476" y="104"/>
                  </a:lnTo>
                  <a:lnTo>
                    <a:pt x="477" y="109"/>
                  </a:lnTo>
                  <a:lnTo>
                    <a:pt x="477" y="115"/>
                  </a:lnTo>
                  <a:lnTo>
                    <a:pt x="477" y="119"/>
                  </a:lnTo>
                  <a:lnTo>
                    <a:pt x="476" y="123"/>
                  </a:lnTo>
                  <a:lnTo>
                    <a:pt x="479" y="126"/>
                  </a:lnTo>
                  <a:lnTo>
                    <a:pt x="477" y="128"/>
                  </a:lnTo>
                  <a:lnTo>
                    <a:pt x="479" y="132"/>
                  </a:lnTo>
                  <a:lnTo>
                    <a:pt x="471" y="136"/>
                  </a:lnTo>
                  <a:lnTo>
                    <a:pt x="466" y="137"/>
                  </a:lnTo>
                  <a:lnTo>
                    <a:pt x="468" y="142"/>
                  </a:lnTo>
                  <a:lnTo>
                    <a:pt x="471" y="143"/>
                  </a:lnTo>
                  <a:lnTo>
                    <a:pt x="468" y="151"/>
                  </a:lnTo>
                  <a:lnTo>
                    <a:pt x="468" y="151"/>
                  </a:lnTo>
                  <a:lnTo>
                    <a:pt x="470" y="160"/>
                  </a:lnTo>
                  <a:lnTo>
                    <a:pt x="470" y="165"/>
                  </a:lnTo>
                  <a:lnTo>
                    <a:pt x="479" y="167"/>
                  </a:lnTo>
                  <a:lnTo>
                    <a:pt x="483" y="167"/>
                  </a:lnTo>
                  <a:lnTo>
                    <a:pt x="474" y="176"/>
                  </a:lnTo>
                  <a:lnTo>
                    <a:pt x="471" y="182"/>
                  </a:lnTo>
                  <a:lnTo>
                    <a:pt x="479" y="195"/>
                  </a:lnTo>
                  <a:lnTo>
                    <a:pt x="483" y="206"/>
                  </a:lnTo>
                  <a:lnTo>
                    <a:pt x="482" y="210"/>
                  </a:lnTo>
                  <a:lnTo>
                    <a:pt x="485" y="213"/>
                  </a:lnTo>
                  <a:lnTo>
                    <a:pt x="485" y="223"/>
                  </a:lnTo>
                  <a:lnTo>
                    <a:pt x="510" y="223"/>
                  </a:lnTo>
                  <a:lnTo>
                    <a:pt x="513" y="232"/>
                  </a:lnTo>
                  <a:lnTo>
                    <a:pt x="513" y="240"/>
                  </a:lnTo>
                  <a:lnTo>
                    <a:pt x="516" y="249"/>
                  </a:lnTo>
                  <a:lnTo>
                    <a:pt x="513" y="251"/>
                  </a:lnTo>
                  <a:lnTo>
                    <a:pt x="493" y="276"/>
                  </a:lnTo>
                  <a:lnTo>
                    <a:pt x="508" y="293"/>
                  </a:lnTo>
                  <a:lnTo>
                    <a:pt x="510" y="299"/>
                  </a:lnTo>
                  <a:lnTo>
                    <a:pt x="517" y="306"/>
                  </a:lnTo>
                  <a:lnTo>
                    <a:pt x="525" y="310"/>
                  </a:lnTo>
                  <a:lnTo>
                    <a:pt x="527" y="311"/>
                  </a:lnTo>
                  <a:lnTo>
                    <a:pt x="537" y="311"/>
                  </a:lnTo>
                  <a:lnTo>
                    <a:pt x="542" y="313"/>
                  </a:lnTo>
                  <a:lnTo>
                    <a:pt x="542" y="316"/>
                  </a:lnTo>
                  <a:lnTo>
                    <a:pt x="550" y="316"/>
                  </a:lnTo>
                  <a:lnTo>
                    <a:pt x="550" y="324"/>
                  </a:lnTo>
                  <a:lnTo>
                    <a:pt x="552" y="332"/>
                  </a:lnTo>
                  <a:lnTo>
                    <a:pt x="553" y="338"/>
                  </a:lnTo>
                  <a:lnTo>
                    <a:pt x="553" y="341"/>
                  </a:lnTo>
                  <a:lnTo>
                    <a:pt x="561" y="341"/>
                  </a:lnTo>
                  <a:lnTo>
                    <a:pt x="568" y="347"/>
                  </a:lnTo>
                  <a:lnTo>
                    <a:pt x="568" y="355"/>
                  </a:lnTo>
                  <a:lnTo>
                    <a:pt x="565" y="360"/>
                  </a:lnTo>
                  <a:lnTo>
                    <a:pt x="557" y="355"/>
                  </a:lnTo>
                  <a:lnTo>
                    <a:pt x="544" y="360"/>
                  </a:lnTo>
                  <a:lnTo>
                    <a:pt x="542" y="364"/>
                  </a:lnTo>
                  <a:lnTo>
                    <a:pt x="533" y="365"/>
                  </a:lnTo>
                  <a:lnTo>
                    <a:pt x="531" y="371"/>
                  </a:lnTo>
                  <a:lnTo>
                    <a:pt x="533" y="374"/>
                  </a:lnTo>
                  <a:lnTo>
                    <a:pt x="527" y="380"/>
                  </a:lnTo>
                  <a:lnTo>
                    <a:pt x="531" y="386"/>
                  </a:lnTo>
                  <a:lnTo>
                    <a:pt x="528" y="395"/>
                  </a:lnTo>
                  <a:lnTo>
                    <a:pt x="528" y="398"/>
                  </a:lnTo>
                  <a:lnTo>
                    <a:pt x="527" y="398"/>
                  </a:lnTo>
                  <a:lnTo>
                    <a:pt x="527" y="400"/>
                  </a:lnTo>
                  <a:lnTo>
                    <a:pt x="522" y="402"/>
                  </a:lnTo>
                  <a:lnTo>
                    <a:pt x="513" y="398"/>
                  </a:lnTo>
                  <a:lnTo>
                    <a:pt x="506" y="396"/>
                  </a:lnTo>
                  <a:lnTo>
                    <a:pt x="502" y="393"/>
                  </a:lnTo>
                  <a:lnTo>
                    <a:pt x="500" y="393"/>
                  </a:lnTo>
                  <a:lnTo>
                    <a:pt x="499" y="396"/>
                  </a:lnTo>
                  <a:lnTo>
                    <a:pt x="497" y="398"/>
                  </a:lnTo>
                  <a:lnTo>
                    <a:pt x="493" y="395"/>
                  </a:lnTo>
                  <a:lnTo>
                    <a:pt x="491" y="395"/>
                  </a:lnTo>
                  <a:lnTo>
                    <a:pt x="485" y="395"/>
                  </a:lnTo>
                  <a:lnTo>
                    <a:pt x="474" y="393"/>
                  </a:lnTo>
                  <a:lnTo>
                    <a:pt x="464" y="391"/>
                  </a:lnTo>
                  <a:lnTo>
                    <a:pt x="448" y="391"/>
                  </a:lnTo>
                  <a:lnTo>
                    <a:pt x="442" y="386"/>
                  </a:lnTo>
                  <a:lnTo>
                    <a:pt x="439" y="386"/>
                  </a:lnTo>
                  <a:lnTo>
                    <a:pt x="434" y="389"/>
                  </a:lnTo>
                  <a:lnTo>
                    <a:pt x="428" y="386"/>
                  </a:lnTo>
                  <a:lnTo>
                    <a:pt x="422" y="386"/>
                  </a:lnTo>
                  <a:lnTo>
                    <a:pt x="408" y="387"/>
                  </a:lnTo>
                  <a:lnTo>
                    <a:pt x="405" y="383"/>
                  </a:lnTo>
                  <a:lnTo>
                    <a:pt x="404" y="382"/>
                  </a:lnTo>
                  <a:lnTo>
                    <a:pt x="404" y="377"/>
                  </a:lnTo>
                  <a:lnTo>
                    <a:pt x="398" y="367"/>
                  </a:lnTo>
                  <a:lnTo>
                    <a:pt x="394" y="358"/>
                  </a:lnTo>
                  <a:lnTo>
                    <a:pt x="388" y="352"/>
                  </a:lnTo>
                  <a:lnTo>
                    <a:pt x="388" y="349"/>
                  </a:lnTo>
                  <a:lnTo>
                    <a:pt x="387" y="349"/>
                  </a:lnTo>
                  <a:lnTo>
                    <a:pt x="387" y="347"/>
                  </a:lnTo>
                  <a:lnTo>
                    <a:pt x="376" y="347"/>
                  </a:lnTo>
                  <a:lnTo>
                    <a:pt x="370" y="349"/>
                  </a:lnTo>
                  <a:lnTo>
                    <a:pt x="364" y="352"/>
                  </a:lnTo>
                  <a:lnTo>
                    <a:pt x="358" y="352"/>
                  </a:lnTo>
                  <a:lnTo>
                    <a:pt x="358" y="350"/>
                  </a:lnTo>
                  <a:lnTo>
                    <a:pt x="358" y="355"/>
                  </a:lnTo>
                  <a:lnTo>
                    <a:pt x="347" y="360"/>
                  </a:lnTo>
                  <a:lnTo>
                    <a:pt x="335" y="367"/>
                  </a:lnTo>
                  <a:lnTo>
                    <a:pt x="325" y="360"/>
                  </a:lnTo>
                  <a:lnTo>
                    <a:pt x="316" y="358"/>
                  </a:lnTo>
                  <a:lnTo>
                    <a:pt x="309" y="360"/>
                  </a:lnTo>
                  <a:lnTo>
                    <a:pt x="307" y="360"/>
                  </a:lnTo>
                  <a:lnTo>
                    <a:pt x="298" y="352"/>
                  </a:lnTo>
                  <a:lnTo>
                    <a:pt x="292" y="352"/>
                  </a:lnTo>
                  <a:lnTo>
                    <a:pt x="287" y="350"/>
                  </a:lnTo>
                  <a:lnTo>
                    <a:pt x="281" y="349"/>
                  </a:lnTo>
                  <a:lnTo>
                    <a:pt x="272" y="341"/>
                  </a:lnTo>
                  <a:lnTo>
                    <a:pt x="275" y="338"/>
                  </a:lnTo>
                  <a:lnTo>
                    <a:pt x="275" y="335"/>
                  </a:lnTo>
                  <a:lnTo>
                    <a:pt x="270" y="335"/>
                  </a:lnTo>
                  <a:lnTo>
                    <a:pt x="269" y="333"/>
                  </a:lnTo>
                  <a:lnTo>
                    <a:pt x="261" y="333"/>
                  </a:lnTo>
                  <a:lnTo>
                    <a:pt x="258" y="330"/>
                  </a:lnTo>
                  <a:lnTo>
                    <a:pt x="249" y="328"/>
                  </a:lnTo>
                  <a:lnTo>
                    <a:pt x="240" y="330"/>
                  </a:lnTo>
                  <a:lnTo>
                    <a:pt x="234" y="326"/>
                  </a:lnTo>
                  <a:lnTo>
                    <a:pt x="226" y="310"/>
                  </a:lnTo>
                  <a:lnTo>
                    <a:pt x="224" y="306"/>
                  </a:lnTo>
                  <a:lnTo>
                    <a:pt x="223" y="307"/>
                  </a:lnTo>
                  <a:lnTo>
                    <a:pt x="217" y="304"/>
                  </a:lnTo>
                  <a:lnTo>
                    <a:pt x="219" y="302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19" y="299"/>
                  </a:lnTo>
                  <a:lnTo>
                    <a:pt x="215" y="299"/>
                  </a:lnTo>
                  <a:lnTo>
                    <a:pt x="213" y="299"/>
                  </a:lnTo>
                  <a:lnTo>
                    <a:pt x="212" y="289"/>
                  </a:lnTo>
                  <a:lnTo>
                    <a:pt x="203" y="280"/>
                  </a:lnTo>
                  <a:lnTo>
                    <a:pt x="203" y="274"/>
                  </a:lnTo>
                  <a:lnTo>
                    <a:pt x="194" y="268"/>
                  </a:lnTo>
                  <a:lnTo>
                    <a:pt x="192" y="268"/>
                  </a:lnTo>
                  <a:lnTo>
                    <a:pt x="183" y="273"/>
                  </a:lnTo>
                  <a:lnTo>
                    <a:pt x="181" y="273"/>
                  </a:lnTo>
                  <a:lnTo>
                    <a:pt x="180" y="268"/>
                  </a:lnTo>
                  <a:lnTo>
                    <a:pt x="175" y="268"/>
                  </a:lnTo>
                  <a:lnTo>
                    <a:pt x="169" y="268"/>
                  </a:lnTo>
                  <a:lnTo>
                    <a:pt x="169" y="263"/>
                  </a:lnTo>
                  <a:lnTo>
                    <a:pt x="171" y="262"/>
                  </a:lnTo>
                  <a:lnTo>
                    <a:pt x="169" y="263"/>
                  </a:lnTo>
                  <a:lnTo>
                    <a:pt x="166" y="263"/>
                  </a:lnTo>
                  <a:lnTo>
                    <a:pt x="163" y="262"/>
                  </a:lnTo>
                  <a:lnTo>
                    <a:pt x="168" y="265"/>
                  </a:lnTo>
                  <a:lnTo>
                    <a:pt x="166" y="271"/>
                  </a:lnTo>
                  <a:lnTo>
                    <a:pt x="164" y="273"/>
                  </a:lnTo>
                  <a:lnTo>
                    <a:pt x="160" y="273"/>
                  </a:lnTo>
                  <a:lnTo>
                    <a:pt x="157" y="268"/>
                  </a:lnTo>
                  <a:lnTo>
                    <a:pt x="157" y="268"/>
                  </a:lnTo>
                  <a:lnTo>
                    <a:pt x="154" y="268"/>
                  </a:lnTo>
                  <a:lnTo>
                    <a:pt x="152" y="265"/>
                  </a:lnTo>
                  <a:lnTo>
                    <a:pt x="145" y="263"/>
                  </a:lnTo>
                  <a:lnTo>
                    <a:pt x="141" y="262"/>
                  </a:lnTo>
                  <a:lnTo>
                    <a:pt x="140" y="245"/>
                  </a:lnTo>
                  <a:lnTo>
                    <a:pt x="129" y="245"/>
                  </a:lnTo>
                  <a:lnTo>
                    <a:pt x="128" y="240"/>
                  </a:lnTo>
                  <a:lnTo>
                    <a:pt x="128" y="232"/>
                  </a:lnTo>
                  <a:lnTo>
                    <a:pt x="134" y="227"/>
                  </a:lnTo>
                  <a:lnTo>
                    <a:pt x="128" y="218"/>
                  </a:lnTo>
                  <a:lnTo>
                    <a:pt x="124" y="213"/>
                  </a:lnTo>
                  <a:lnTo>
                    <a:pt x="118" y="206"/>
                  </a:lnTo>
                  <a:lnTo>
                    <a:pt x="115" y="202"/>
                  </a:lnTo>
                  <a:lnTo>
                    <a:pt x="112" y="204"/>
                  </a:lnTo>
                  <a:lnTo>
                    <a:pt x="91" y="193"/>
                  </a:lnTo>
                  <a:lnTo>
                    <a:pt x="86" y="193"/>
                  </a:lnTo>
                  <a:lnTo>
                    <a:pt x="85" y="195"/>
                  </a:lnTo>
                  <a:lnTo>
                    <a:pt x="79" y="191"/>
                  </a:lnTo>
                  <a:lnTo>
                    <a:pt x="79" y="188"/>
                  </a:lnTo>
                  <a:lnTo>
                    <a:pt x="76" y="185"/>
                  </a:lnTo>
                  <a:lnTo>
                    <a:pt x="80" y="180"/>
                  </a:lnTo>
                  <a:lnTo>
                    <a:pt x="73" y="176"/>
                  </a:lnTo>
                  <a:lnTo>
                    <a:pt x="73" y="173"/>
                  </a:lnTo>
                  <a:lnTo>
                    <a:pt x="67" y="171"/>
                  </a:lnTo>
                  <a:lnTo>
                    <a:pt x="63" y="170"/>
                  </a:lnTo>
                  <a:lnTo>
                    <a:pt x="60" y="167"/>
                  </a:lnTo>
                  <a:lnTo>
                    <a:pt x="60" y="165"/>
                  </a:lnTo>
                  <a:lnTo>
                    <a:pt x="62" y="162"/>
                  </a:lnTo>
                  <a:lnTo>
                    <a:pt x="60" y="160"/>
                  </a:lnTo>
                  <a:lnTo>
                    <a:pt x="62" y="156"/>
                  </a:lnTo>
                  <a:lnTo>
                    <a:pt x="62" y="148"/>
                  </a:lnTo>
                  <a:lnTo>
                    <a:pt x="65" y="145"/>
                  </a:lnTo>
                  <a:lnTo>
                    <a:pt x="65" y="137"/>
                  </a:lnTo>
                  <a:lnTo>
                    <a:pt x="69" y="137"/>
                  </a:lnTo>
                  <a:lnTo>
                    <a:pt x="73" y="136"/>
                  </a:lnTo>
                  <a:lnTo>
                    <a:pt x="73" y="128"/>
                  </a:lnTo>
                  <a:lnTo>
                    <a:pt x="71" y="126"/>
                  </a:lnTo>
                  <a:lnTo>
                    <a:pt x="71" y="119"/>
                  </a:lnTo>
                  <a:lnTo>
                    <a:pt x="73" y="119"/>
                  </a:lnTo>
                  <a:lnTo>
                    <a:pt x="79" y="117"/>
                  </a:lnTo>
                  <a:lnTo>
                    <a:pt x="80" y="117"/>
                  </a:lnTo>
                  <a:lnTo>
                    <a:pt x="79" y="115"/>
                  </a:lnTo>
                  <a:lnTo>
                    <a:pt x="75" y="114"/>
                  </a:lnTo>
                  <a:lnTo>
                    <a:pt x="69" y="114"/>
                  </a:lnTo>
                  <a:lnTo>
                    <a:pt x="63" y="114"/>
                  </a:lnTo>
                  <a:lnTo>
                    <a:pt x="56" y="108"/>
                  </a:lnTo>
                  <a:lnTo>
                    <a:pt x="50" y="108"/>
                  </a:lnTo>
                  <a:lnTo>
                    <a:pt x="46" y="106"/>
                  </a:lnTo>
                  <a:lnTo>
                    <a:pt x="42" y="100"/>
                  </a:lnTo>
                  <a:lnTo>
                    <a:pt x="40" y="95"/>
                  </a:lnTo>
                  <a:lnTo>
                    <a:pt x="36" y="95"/>
                  </a:lnTo>
                  <a:lnTo>
                    <a:pt x="33" y="90"/>
                  </a:lnTo>
                  <a:lnTo>
                    <a:pt x="33" y="86"/>
                  </a:lnTo>
                  <a:lnTo>
                    <a:pt x="31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7" y="75"/>
                  </a:lnTo>
                  <a:lnTo>
                    <a:pt x="23" y="69"/>
                  </a:lnTo>
                  <a:lnTo>
                    <a:pt x="17" y="60"/>
                  </a:lnTo>
                  <a:lnTo>
                    <a:pt x="10" y="58"/>
                  </a:lnTo>
                  <a:lnTo>
                    <a:pt x="11" y="55"/>
                  </a:lnTo>
                  <a:lnTo>
                    <a:pt x="10" y="50"/>
                  </a:lnTo>
                  <a:lnTo>
                    <a:pt x="14" y="42"/>
                  </a:lnTo>
                  <a:lnTo>
                    <a:pt x="11" y="38"/>
                  </a:lnTo>
                  <a:lnTo>
                    <a:pt x="6" y="38"/>
                  </a:lnTo>
                  <a:lnTo>
                    <a:pt x="6" y="30"/>
                  </a:lnTo>
                  <a:lnTo>
                    <a:pt x="6" y="25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8" y="8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1" name="Freeform 14"/>
            <p:cNvSpPr>
              <a:spLocks/>
            </p:cNvSpPr>
            <p:nvPr/>
          </p:nvSpPr>
          <p:spPr bwMode="auto">
            <a:xfrm>
              <a:off x="7119938" y="3571876"/>
              <a:ext cx="431800" cy="357188"/>
            </a:xfrm>
            <a:custGeom>
              <a:avLst/>
              <a:gdLst>
                <a:gd name="T0" fmla="*/ 269 w 272"/>
                <a:gd name="T1" fmla="*/ 192 h 225"/>
                <a:gd name="T2" fmla="*/ 257 w 272"/>
                <a:gd name="T3" fmla="*/ 189 h 225"/>
                <a:gd name="T4" fmla="*/ 246 w 272"/>
                <a:gd name="T5" fmla="*/ 172 h 225"/>
                <a:gd name="T6" fmla="*/ 245 w 272"/>
                <a:gd name="T7" fmla="*/ 159 h 225"/>
                <a:gd name="T8" fmla="*/ 245 w 272"/>
                <a:gd name="T9" fmla="*/ 144 h 225"/>
                <a:gd name="T10" fmla="*/ 234 w 272"/>
                <a:gd name="T11" fmla="*/ 133 h 225"/>
                <a:gd name="T12" fmla="*/ 229 w 272"/>
                <a:gd name="T13" fmla="*/ 131 h 225"/>
                <a:gd name="T14" fmla="*/ 202 w 272"/>
                <a:gd name="T15" fmla="*/ 120 h 225"/>
                <a:gd name="T16" fmla="*/ 196 w 272"/>
                <a:gd name="T17" fmla="*/ 117 h 225"/>
                <a:gd name="T18" fmla="*/ 193 w 272"/>
                <a:gd name="T19" fmla="*/ 112 h 225"/>
                <a:gd name="T20" fmla="*/ 190 w 272"/>
                <a:gd name="T21" fmla="*/ 103 h 225"/>
                <a:gd name="T22" fmla="*/ 184 w 272"/>
                <a:gd name="T23" fmla="*/ 98 h 225"/>
                <a:gd name="T24" fmla="*/ 176 w 272"/>
                <a:gd name="T25" fmla="*/ 94 h 225"/>
                <a:gd name="T26" fmla="*/ 178 w 272"/>
                <a:gd name="T27" fmla="*/ 89 h 225"/>
                <a:gd name="T28" fmla="*/ 178 w 272"/>
                <a:gd name="T29" fmla="*/ 83 h 225"/>
                <a:gd name="T30" fmla="*/ 182 w 272"/>
                <a:gd name="T31" fmla="*/ 72 h 225"/>
                <a:gd name="T32" fmla="*/ 185 w 272"/>
                <a:gd name="T33" fmla="*/ 64 h 225"/>
                <a:gd name="T34" fmla="*/ 190 w 272"/>
                <a:gd name="T35" fmla="*/ 55 h 225"/>
                <a:gd name="T36" fmla="*/ 187 w 272"/>
                <a:gd name="T37" fmla="*/ 46 h 225"/>
                <a:gd name="T38" fmla="*/ 196 w 272"/>
                <a:gd name="T39" fmla="*/ 44 h 225"/>
                <a:gd name="T40" fmla="*/ 196 w 272"/>
                <a:gd name="T41" fmla="*/ 42 h 225"/>
                <a:gd name="T42" fmla="*/ 185 w 272"/>
                <a:gd name="T43" fmla="*/ 41 h 225"/>
                <a:gd name="T44" fmla="*/ 172 w 272"/>
                <a:gd name="T45" fmla="*/ 36 h 225"/>
                <a:gd name="T46" fmla="*/ 162 w 272"/>
                <a:gd name="T47" fmla="*/ 33 h 225"/>
                <a:gd name="T48" fmla="*/ 156 w 272"/>
                <a:gd name="T49" fmla="*/ 22 h 225"/>
                <a:gd name="T50" fmla="*/ 150 w 272"/>
                <a:gd name="T51" fmla="*/ 16 h 225"/>
                <a:gd name="T52" fmla="*/ 147 w 272"/>
                <a:gd name="T53" fmla="*/ 7 h 225"/>
                <a:gd name="T54" fmla="*/ 136 w 272"/>
                <a:gd name="T55" fmla="*/ 7 h 225"/>
                <a:gd name="T56" fmla="*/ 130 w 272"/>
                <a:gd name="T57" fmla="*/ 2 h 225"/>
                <a:gd name="T58" fmla="*/ 121 w 272"/>
                <a:gd name="T59" fmla="*/ 2 h 225"/>
                <a:gd name="T60" fmla="*/ 99 w 272"/>
                <a:gd name="T61" fmla="*/ 0 h 225"/>
                <a:gd name="T62" fmla="*/ 90 w 272"/>
                <a:gd name="T63" fmla="*/ 2 h 225"/>
                <a:gd name="T64" fmla="*/ 83 w 272"/>
                <a:gd name="T65" fmla="*/ 7 h 225"/>
                <a:gd name="T66" fmla="*/ 77 w 272"/>
                <a:gd name="T67" fmla="*/ 13 h 225"/>
                <a:gd name="T68" fmla="*/ 60 w 272"/>
                <a:gd name="T69" fmla="*/ 19 h 225"/>
                <a:gd name="T70" fmla="*/ 55 w 272"/>
                <a:gd name="T71" fmla="*/ 36 h 225"/>
                <a:gd name="T72" fmla="*/ 60 w 272"/>
                <a:gd name="T73" fmla="*/ 52 h 225"/>
                <a:gd name="T74" fmla="*/ 55 w 272"/>
                <a:gd name="T75" fmla="*/ 64 h 225"/>
                <a:gd name="T76" fmla="*/ 52 w 272"/>
                <a:gd name="T77" fmla="*/ 75 h 225"/>
                <a:gd name="T78" fmla="*/ 0 w 272"/>
                <a:gd name="T79" fmla="*/ 111 h 225"/>
                <a:gd name="T80" fmla="*/ 0 w 272"/>
                <a:gd name="T81" fmla="*/ 111 h 225"/>
                <a:gd name="T82" fmla="*/ 38 w 272"/>
                <a:gd name="T83" fmla="*/ 145 h 225"/>
                <a:gd name="T84" fmla="*/ 222 w 272"/>
                <a:gd name="T85" fmla="*/ 225 h 225"/>
                <a:gd name="T86" fmla="*/ 233 w 272"/>
                <a:gd name="T87" fmla="*/ 203 h 225"/>
                <a:gd name="T88" fmla="*/ 257 w 272"/>
                <a:gd name="T89" fmla="*/ 201 h 225"/>
                <a:gd name="T90" fmla="*/ 266 w 272"/>
                <a:gd name="T91" fmla="*/ 201 h 225"/>
                <a:gd name="T92" fmla="*/ 272 w 272"/>
                <a:gd name="T93" fmla="*/ 194 h 225"/>
                <a:gd name="T94" fmla="*/ 272 w 272"/>
                <a:gd name="T95" fmla="*/ 19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2" h="225">
                  <a:moveTo>
                    <a:pt x="272" y="194"/>
                  </a:moveTo>
                  <a:lnTo>
                    <a:pt x="269" y="192"/>
                  </a:lnTo>
                  <a:lnTo>
                    <a:pt x="262" y="190"/>
                  </a:lnTo>
                  <a:lnTo>
                    <a:pt x="257" y="189"/>
                  </a:lnTo>
                  <a:lnTo>
                    <a:pt x="257" y="172"/>
                  </a:lnTo>
                  <a:lnTo>
                    <a:pt x="246" y="172"/>
                  </a:lnTo>
                  <a:lnTo>
                    <a:pt x="245" y="167"/>
                  </a:lnTo>
                  <a:lnTo>
                    <a:pt x="245" y="159"/>
                  </a:lnTo>
                  <a:lnTo>
                    <a:pt x="251" y="153"/>
                  </a:lnTo>
                  <a:lnTo>
                    <a:pt x="245" y="144"/>
                  </a:lnTo>
                  <a:lnTo>
                    <a:pt x="240" y="140"/>
                  </a:lnTo>
                  <a:lnTo>
                    <a:pt x="234" y="133"/>
                  </a:lnTo>
                  <a:lnTo>
                    <a:pt x="231" y="129"/>
                  </a:lnTo>
                  <a:lnTo>
                    <a:pt x="229" y="131"/>
                  </a:lnTo>
                  <a:lnTo>
                    <a:pt x="208" y="120"/>
                  </a:lnTo>
                  <a:lnTo>
                    <a:pt x="202" y="120"/>
                  </a:lnTo>
                  <a:lnTo>
                    <a:pt x="201" y="122"/>
                  </a:lnTo>
                  <a:lnTo>
                    <a:pt x="196" y="117"/>
                  </a:lnTo>
                  <a:lnTo>
                    <a:pt x="196" y="114"/>
                  </a:lnTo>
                  <a:lnTo>
                    <a:pt x="193" y="112"/>
                  </a:lnTo>
                  <a:lnTo>
                    <a:pt x="197" y="106"/>
                  </a:lnTo>
                  <a:lnTo>
                    <a:pt x="190" y="103"/>
                  </a:lnTo>
                  <a:lnTo>
                    <a:pt x="190" y="100"/>
                  </a:lnTo>
                  <a:lnTo>
                    <a:pt x="184" y="98"/>
                  </a:lnTo>
                  <a:lnTo>
                    <a:pt x="180" y="97"/>
                  </a:lnTo>
                  <a:lnTo>
                    <a:pt x="176" y="94"/>
                  </a:lnTo>
                  <a:lnTo>
                    <a:pt x="176" y="92"/>
                  </a:lnTo>
                  <a:lnTo>
                    <a:pt x="178" y="89"/>
                  </a:lnTo>
                  <a:lnTo>
                    <a:pt x="176" y="86"/>
                  </a:lnTo>
                  <a:lnTo>
                    <a:pt x="178" y="83"/>
                  </a:lnTo>
                  <a:lnTo>
                    <a:pt x="178" y="74"/>
                  </a:lnTo>
                  <a:lnTo>
                    <a:pt x="182" y="72"/>
                  </a:lnTo>
                  <a:lnTo>
                    <a:pt x="182" y="64"/>
                  </a:lnTo>
                  <a:lnTo>
                    <a:pt x="185" y="64"/>
                  </a:lnTo>
                  <a:lnTo>
                    <a:pt x="190" y="63"/>
                  </a:lnTo>
                  <a:lnTo>
                    <a:pt x="190" y="55"/>
                  </a:lnTo>
                  <a:lnTo>
                    <a:pt x="187" y="53"/>
                  </a:lnTo>
                  <a:lnTo>
                    <a:pt x="187" y="46"/>
                  </a:lnTo>
                  <a:lnTo>
                    <a:pt x="190" y="46"/>
                  </a:lnTo>
                  <a:lnTo>
                    <a:pt x="196" y="44"/>
                  </a:lnTo>
                  <a:lnTo>
                    <a:pt x="197" y="44"/>
                  </a:lnTo>
                  <a:lnTo>
                    <a:pt x="196" y="42"/>
                  </a:lnTo>
                  <a:lnTo>
                    <a:pt x="191" y="41"/>
                  </a:lnTo>
                  <a:lnTo>
                    <a:pt x="185" y="41"/>
                  </a:lnTo>
                  <a:lnTo>
                    <a:pt x="180" y="41"/>
                  </a:lnTo>
                  <a:lnTo>
                    <a:pt x="172" y="36"/>
                  </a:lnTo>
                  <a:lnTo>
                    <a:pt x="167" y="36"/>
                  </a:lnTo>
                  <a:lnTo>
                    <a:pt x="162" y="33"/>
                  </a:lnTo>
                  <a:lnTo>
                    <a:pt x="159" y="28"/>
                  </a:lnTo>
                  <a:lnTo>
                    <a:pt x="156" y="22"/>
                  </a:lnTo>
                  <a:lnTo>
                    <a:pt x="153" y="22"/>
                  </a:lnTo>
                  <a:lnTo>
                    <a:pt x="150" y="16"/>
                  </a:lnTo>
                  <a:lnTo>
                    <a:pt x="150" y="13"/>
                  </a:lnTo>
                  <a:lnTo>
                    <a:pt x="147" y="7"/>
                  </a:lnTo>
                  <a:lnTo>
                    <a:pt x="141" y="7"/>
                  </a:lnTo>
                  <a:lnTo>
                    <a:pt x="136" y="7"/>
                  </a:lnTo>
                  <a:lnTo>
                    <a:pt x="130" y="5"/>
                  </a:lnTo>
                  <a:lnTo>
                    <a:pt x="130" y="2"/>
                  </a:lnTo>
                  <a:lnTo>
                    <a:pt x="127" y="0"/>
                  </a:lnTo>
                  <a:lnTo>
                    <a:pt x="121" y="2"/>
                  </a:lnTo>
                  <a:lnTo>
                    <a:pt x="111" y="0"/>
                  </a:lnTo>
                  <a:lnTo>
                    <a:pt x="99" y="0"/>
                  </a:lnTo>
                  <a:lnTo>
                    <a:pt x="96" y="2"/>
                  </a:lnTo>
                  <a:lnTo>
                    <a:pt x="90" y="2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79" y="13"/>
                  </a:lnTo>
                  <a:lnTo>
                    <a:pt x="77" y="13"/>
                  </a:lnTo>
                  <a:lnTo>
                    <a:pt x="71" y="16"/>
                  </a:lnTo>
                  <a:lnTo>
                    <a:pt x="60" y="19"/>
                  </a:lnTo>
                  <a:lnTo>
                    <a:pt x="55" y="28"/>
                  </a:lnTo>
                  <a:lnTo>
                    <a:pt x="55" y="36"/>
                  </a:lnTo>
                  <a:lnTo>
                    <a:pt x="60" y="44"/>
                  </a:lnTo>
                  <a:lnTo>
                    <a:pt x="60" y="52"/>
                  </a:lnTo>
                  <a:lnTo>
                    <a:pt x="55" y="61"/>
                  </a:lnTo>
                  <a:lnTo>
                    <a:pt x="55" y="64"/>
                  </a:lnTo>
                  <a:lnTo>
                    <a:pt x="55" y="70"/>
                  </a:lnTo>
                  <a:lnTo>
                    <a:pt x="52" y="75"/>
                  </a:lnTo>
                  <a:lnTo>
                    <a:pt x="50" y="80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14" y="142"/>
                  </a:lnTo>
                  <a:lnTo>
                    <a:pt x="38" y="145"/>
                  </a:lnTo>
                  <a:lnTo>
                    <a:pt x="168" y="225"/>
                  </a:lnTo>
                  <a:lnTo>
                    <a:pt x="222" y="225"/>
                  </a:lnTo>
                  <a:lnTo>
                    <a:pt x="228" y="216"/>
                  </a:lnTo>
                  <a:lnTo>
                    <a:pt x="233" y="203"/>
                  </a:lnTo>
                  <a:lnTo>
                    <a:pt x="246" y="198"/>
                  </a:lnTo>
                  <a:lnTo>
                    <a:pt x="257" y="201"/>
                  </a:lnTo>
                  <a:lnTo>
                    <a:pt x="262" y="200"/>
                  </a:lnTo>
                  <a:lnTo>
                    <a:pt x="266" y="201"/>
                  </a:lnTo>
                  <a:lnTo>
                    <a:pt x="268" y="195"/>
                  </a:lnTo>
                  <a:lnTo>
                    <a:pt x="272" y="194"/>
                  </a:lnTo>
                  <a:lnTo>
                    <a:pt x="272" y="194"/>
                  </a:lnTo>
                  <a:lnTo>
                    <a:pt x="272" y="19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2" name="Freeform 15"/>
            <p:cNvSpPr>
              <a:spLocks/>
            </p:cNvSpPr>
            <p:nvPr/>
          </p:nvSpPr>
          <p:spPr bwMode="auto">
            <a:xfrm>
              <a:off x="7470776" y="3887788"/>
              <a:ext cx="76200" cy="69850"/>
            </a:xfrm>
            <a:custGeom>
              <a:avLst/>
              <a:gdLst>
                <a:gd name="T0" fmla="*/ 0 w 48"/>
                <a:gd name="T1" fmla="*/ 27 h 44"/>
                <a:gd name="T2" fmla="*/ 6 w 48"/>
                <a:gd name="T3" fmla="*/ 17 h 44"/>
                <a:gd name="T4" fmla="*/ 12 w 48"/>
                <a:gd name="T5" fmla="*/ 5 h 44"/>
                <a:gd name="T6" fmla="*/ 25 w 48"/>
                <a:gd name="T7" fmla="*/ 0 h 44"/>
                <a:gd name="T8" fmla="*/ 35 w 48"/>
                <a:gd name="T9" fmla="*/ 3 h 44"/>
                <a:gd name="T10" fmla="*/ 41 w 48"/>
                <a:gd name="T11" fmla="*/ 2 h 44"/>
                <a:gd name="T12" fmla="*/ 45 w 48"/>
                <a:gd name="T13" fmla="*/ 3 h 44"/>
                <a:gd name="T14" fmla="*/ 42 w 48"/>
                <a:gd name="T15" fmla="*/ 3 h 44"/>
                <a:gd name="T16" fmla="*/ 47 w 48"/>
                <a:gd name="T17" fmla="*/ 14 h 44"/>
                <a:gd name="T18" fmla="*/ 30 w 48"/>
                <a:gd name="T19" fmla="*/ 17 h 44"/>
                <a:gd name="T20" fmla="*/ 41 w 48"/>
                <a:gd name="T21" fmla="*/ 23 h 44"/>
                <a:gd name="T22" fmla="*/ 42 w 48"/>
                <a:gd name="T23" fmla="*/ 22 h 44"/>
                <a:gd name="T24" fmla="*/ 45 w 48"/>
                <a:gd name="T25" fmla="*/ 25 h 44"/>
                <a:gd name="T26" fmla="*/ 45 w 48"/>
                <a:gd name="T27" fmla="*/ 29 h 44"/>
                <a:gd name="T28" fmla="*/ 47 w 48"/>
                <a:gd name="T29" fmla="*/ 33 h 44"/>
                <a:gd name="T30" fmla="*/ 47 w 48"/>
                <a:gd name="T31" fmla="*/ 33 h 44"/>
                <a:gd name="T32" fmla="*/ 45 w 48"/>
                <a:gd name="T33" fmla="*/ 33 h 44"/>
                <a:gd name="T34" fmla="*/ 48 w 48"/>
                <a:gd name="T35" fmla="*/ 36 h 44"/>
                <a:gd name="T36" fmla="*/ 31 w 48"/>
                <a:gd name="T37" fmla="*/ 44 h 44"/>
                <a:gd name="T38" fmla="*/ 30 w 48"/>
                <a:gd name="T39" fmla="*/ 34 h 44"/>
                <a:gd name="T40" fmla="*/ 3 w 48"/>
                <a:gd name="T41" fmla="*/ 27 h 44"/>
                <a:gd name="T42" fmla="*/ 0 w 48"/>
                <a:gd name="T43" fmla="*/ 27 h 44"/>
                <a:gd name="T44" fmla="*/ 0 w 48"/>
                <a:gd name="T45" fmla="*/ 27 h 44"/>
                <a:gd name="T46" fmla="*/ 0 w 48"/>
                <a:gd name="T47" fmla="*/ 2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" h="44">
                  <a:moveTo>
                    <a:pt x="0" y="27"/>
                  </a:moveTo>
                  <a:lnTo>
                    <a:pt x="6" y="17"/>
                  </a:lnTo>
                  <a:lnTo>
                    <a:pt x="12" y="5"/>
                  </a:lnTo>
                  <a:lnTo>
                    <a:pt x="25" y="0"/>
                  </a:lnTo>
                  <a:lnTo>
                    <a:pt x="35" y="3"/>
                  </a:lnTo>
                  <a:lnTo>
                    <a:pt x="41" y="2"/>
                  </a:lnTo>
                  <a:lnTo>
                    <a:pt x="45" y="3"/>
                  </a:lnTo>
                  <a:lnTo>
                    <a:pt x="42" y="3"/>
                  </a:lnTo>
                  <a:lnTo>
                    <a:pt x="47" y="14"/>
                  </a:lnTo>
                  <a:lnTo>
                    <a:pt x="30" y="17"/>
                  </a:lnTo>
                  <a:lnTo>
                    <a:pt x="41" y="23"/>
                  </a:lnTo>
                  <a:lnTo>
                    <a:pt x="42" y="22"/>
                  </a:lnTo>
                  <a:lnTo>
                    <a:pt x="45" y="25"/>
                  </a:lnTo>
                  <a:lnTo>
                    <a:pt x="45" y="29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8" y="36"/>
                  </a:lnTo>
                  <a:lnTo>
                    <a:pt x="31" y="44"/>
                  </a:lnTo>
                  <a:lnTo>
                    <a:pt x="30" y="34"/>
                  </a:lnTo>
                  <a:lnTo>
                    <a:pt x="3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3" name="Freeform 16"/>
            <p:cNvSpPr>
              <a:spLocks/>
            </p:cNvSpPr>
            <p:nvPr/>
          </p:nvSpPr>
          <p:spPr bwMode="auto">
            <a:xfrm>
              <a:off x="6829426" y="3652838"/>
              <a:ext cx="101600" cy="50800"/>
            </a:xfrm>
            <a:custGeom>
              <a:avLst/>
              <a:gdLst>
                <a:gd name="T0" fmla="*/ 10 w 64"/>
                <a:gd name="T1" fmla="*/ 29 h 32"/>
                <a:gd name="T2" fmla="*/ 4 w 64"/>
                <a:gd name="T3" fmla="*/ 26 h 32"/>
                <a:gd name="T4" fmla="*/ 0 w 64"/>
                <a:gd name="T5" fmla="*/ 23 h 32"/>
                <a:gd name="T6" fmla="*/ 0 w 64"/>
                <a:gd name="T7" fmla="*/ 17 h 32"/>
                <a:gd name="T8" fmla="*/ 4 w 64"/>
                <a:gd name="T9" fmla="*/ 15 h 32"/>
                <a:gd name="T10" fmla="*/ 8 w 64"/>
                <a:gd name="T11" fmla="*/ 11 h 32"/>
                <a:gd name="T12" fmla="*/ 12 w 64"/>
                <a:gd name="T13" fmla="*/ 13 h 32"/>
                <a:gd name="T14" fmla="*/ 16 w 64"/>
                <a:gd name="T15" fmla="*/ 13 h 32"/>
                <a:gd name="T16" fmla="*/ 18 w 64"/>
                <a:gd name="T17" fmla="*/ 9 h 32"/>
                <a:gd name="T18" fmla="*/ 18 w 64"/>
                <a:gd name="T19" fmla="*/ 6 h 32"/>
                <a:gd name="T20" fmla="*/ 24 w 64"/>
                <a:gd name="T21" fmla="*/ 6 h 32"/>
                <a:gd name="T22" fmla="*/ 30 w 64"/>
                <a:gd name="T23" fmla="*/ 9 h 32"/>
                <a:gd name="T24" fmla="*/ 37 w 64"/>
                <a:gd name="T25" fmla="*/ 9 h 32"/>
                <a:gd name="T26" fmla="*/ 49 w 64"/>
                <a:gd name="T27" fmla="*/ 4 h 32"/>
                <a:gd name="T28" fmla="*/ 58 w 64"/>
                <a:gd name="T29" fmla="*/ 0 h 32"/>
                <a:gd name="T30" fmla="*/ 62 w 64"/>
                <a:gd name="T31" fmla="*/ 0 h 32"/>
                <a:gd name="T32" fmla="*/ 64 w 64"/>
                <a:gd name="T33" fmla="*/ 0 h 32"/>
                <a:gd name="T34" fmla="*/ 60 w 64"/>
                <a:gd name="T35" fmla="*/ 1 h 32"/>
                <a:gd name="T36" fmla="*/ 54 w 64"/>
                <a:gd name="T37" fmla="*/ 6 h 32"/>
                <a:gd name="T38" fmla="*/ 48 w 64"/>
                <a:gd name="T39" fmla="*/ 13 h 32"/>
                <a:gd name="T40" fmla="*/ 49 w 64"/>
                <a:gd name="T41" fmla="*/ 17 h 32"/>
                <a:gd name="T42" fmla="*/ 49 w 64"/>
                <a:gd name="T43" fmla="*/ 23 h 32"/>
                <a:gd name="T44" fmla="*/ 42 w 64"/>
                <a:gd name="T45" fmla="*/ 20 h 32"/>
                <a:gd name="T46" fmla="*/ 37 w 64"/>
                <a:gd name="T47" fmla="*/ 23 h 32"/>
                <a:gd name="T48" fmla="*/ 31 w 64"/>
                <a:gd name="T49" fmla="*/ 28 h 32"/>
                <a:gd name="T50" fmla="*/ 25 w 64"/>
                <a:gd name="T51" fmla="*/ 28 h 32"/>
                <a:gd name="T52" fmla="*/ 21 w 64"/>
                <a:gd name="T53" fmla="*/ 32 h 32"/>
                <a:gd name="T54" fmla="*/ 18 w 64"/>
                <a:gd name="T55" fmla="*/ 29 h 32"/>
                <a:gd name="T56" fmla="*/ 10 w 64"/>
                <a:gd name="T57" fmla="*/ 29 h 32"/>
                <a:gd name="T58" fmla="*/ 10 w 64"/>
                <a:gd name="T59" fmla="*/ 29 h 32"/>
                <a:gd name="T60" fmla="*/ 10 w 64"/>
                <a:gd name="T61" fmla="*/ 2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32">
                  <a:moveTo>
                    <a:pt x="10" y="29"/>
                  </a:moveTo>
                  <a:lnTo>
                    <a:pt x="4" y="26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12" y="13"/>
                  </a:lnTo>
                  <a:lnTo>
                    <a:pt x="16" y="13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9"/>
                  </a:lnTo>
                  <a:lnTo>
                    <a:pt x="37" y="9"/>
                  </a:lnTo>
                  <a:lnTo>
                    <a:pt x="49" y="4"/>
                  </a:lnTo>
                  <a:lnTo>
                    <a:pt x="58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0" y="1"/>
                  </a:lnTo>
                  <a:lnTo>
                    <a:pt x="54" y="6"/>
                  </a:lnTo>
                  <a:lnTo>
                    <a:pt x="48" y="13"/>
                  </a:lnTo>
                  <a:lnTo>
                    <a:pt x="49" y="17"/>
                  </a:lnTo>
                  <a:lnTo>
                    <a:pt x="49" y="23"/>
                  </a:lnTo>
                  <a:lnTo>
                    <a:pt x="42" y="20"/>
                  </a:lnTo>
                  <a:lnTo>
                    <a:pt x="37" y="23"/>
                  </a:lnTo>
                  <a:lnTo>
                    <a:pt x="31" y="28"/>
                  </a:lnTo>
                  <a:lnTo>
                    <a:pt x="25" y="28"/>
                  </a:lnTo>
                  <a:lnTo>
                    <a:pt x="21" y="32"/>
                  </a:lnTo>
                  <a:lnTo>
                    <a:pt x="18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4" name="Freeform 17"/>
            <p:cNvSpPr>
              <a:spLocks/>
            </p:cNvSpPr>
            <p:nvPr/>
          </p:nvSpPr>
          <p:spPr bwMode="auto">
            <a:xfrm>
              <a:off x="6973888" y="3582988"/>
              <a:ext cx="277813" cy="215900"/>
            </a:xfrm>
            <a:custGeom>
              <a:avLst/>
              <a:gdLst>
                <a:gd name="T0" fmla="*/ 142 w 175"/>
                <a:gd name="T1" fmla="*/ 74 h 136"/>
                <a:gd name="T2" fmla="*/ 148 w 175"/>
                <a:gd name="T3" fmla="*/ 64 h 136"/>
                <a:gd name="T4" fmla="*/ 148 w 175"/>
                <a:gd name="T5" fmla="*/ 55 h 136"/>
                <a:gd name="T6" fmla="*/ 153 w 175"/>
                <a:gd name="T7" fmla="*/ 39 h 136"/>
                <a:gd name="T8" fmla="*/ 148 w 175"/>
                <a:gd name="T9" fmla="*/ 22 h 136"/>
                <a:gd name="T10" fmla="*/ 164 w 175"/>
                <a:gd name="T11" fmla="*/ 11 h 136"/>
                <a:gd name="T12" fmla="*/ 171 w 175"/>
                <a:gd name="T13" fmla="*/ 8 h 136"/>
                <a:gd name="T14" fmla="*/ 173 w 175"/>
                <a:gd name="T15" fmla="*/ 0 h 136"/>
                <a:gd name="T16" fmla="*/ 154 w 175"/>
                <a:gd name="T17" fmla="*/ 3 h 136"/>
                <a:gd name="T18" fmla="*/ 135 w 175"/>
                <a:gd name="T19" fmla="*/ 3 h 136"/>
                <a:gd name="T20" fmla="*/ 118 w 175"/>
                <a:gd name="T21" fmla="*/ 5 h 136"/>
                <a:gd name="T22" fmla="*/ 107 w 175"/>
                <a:gd name="T23" fmla="*/ 11 h 136"/>
                <a:gd name="T24" fmla="*/ 90 w 175"/>
                <a:gd name="T25" fmla="*/ 13 h 136"/>
                <a:gd name="T26" fmla="*/ 78 w 175"/>
                <a:gd name="T27" fmla="*/ 9 h 136"/>
                <a:gd name="T28" fmla="*/ 61 w 175"/>
                <a:gd name="T29" fmla="*/ 9 h 136"/>
                <a:gd name="T30" fmla="*/ 52 w 175"/>
                <a:gd name="T31" fmla="*/ 11 h 136"/>
                <a:gd name="T32" fmla="*/ 35 w 175"/>
                <a:gd name="T33" fmla="*/ 14 h 136"/>
                <a:gd name="T34" fmla="*/ 26 w 175"/>
                <a:gd name="T35" fmla="*/ 18 h 136"/>
                <a:gd name="T36" fmla="*/ 22 w 175"/>
                <a:gd name="T37" fmla="*/ 30 h 136"/>
                <a:gd name="T38" fmla="*/ 16 w 175"/>
                <a:gd name="T39" fmla="*/ 35 h 136"/>
                <a:gd name="T40" fmla="*/ 5 w 175"/>
                <a:gd name="T41" fmla="*/ 35 h 136"/>
                <a:gd name="T42" fmla="*/ 0 w 175"/>
                <a:gd name="T43" fmla="*/ 36 h 136"/>
                <a:gd name="T44" fmla="*/ 6 w 175"/>
                <a:gd name="T45" fmla="*/ 53 h 136"/>
                <a:gd name="T46" fmla="*/ 6 w 175"/>
                <a:gd name="T47" fmla="*/ 64 h 136"/>
                <a:gd name="T48" fmla="*/ 18 w 175"/>
                <a:gd name="T49" fmla="*/ 74 h 136"/>
                <a:gd name="T50" fmla="*/ 26 w 175"/>
                <a:gd name="T51" fmla="*/ 81 h 136"/>
                <a:gd name="T52" fmla="*/ 28 w 175"/>
                <a:gd name="T53" fmla="*/ 92 h 136"/>
                <a:gd name="T54" fmla="*/ 22 w 175"/>
                <a:gd name="T55" fmla="*/ 94 h 136"/>
                <a:gd name="T56" fmla="*/ 14 w 175"/>
                <a:gd name="T57" fmla="*/ 103 h 136"/>
                <a:gd name="T58" fmla="*/ 9 w 175"/>
                <a:gd name="T59" fmla="*/ 109 h 136"/>
                <a:gd name="T60" fmla="*/ 14 w 175"/>
                <a:gd name="T61" fmla="*/ 114 h 136"/>
                <a:gd name="T62" fmla="*/ 14 w 175"/>
                <a:gd name="T63" fmla="*/ 125 h 136"/>
                <a:gd name="T64" fmla="*/ 26 w 175"/>
                <a:gd name="T65" fmla="*/ 128 h 136"/>
                <a:gd name="T66" fmla="*/ 34 w 175"/>
                <a:gd name="T67" fmla="*/ 133 h 136"/>
                <a:gd name="T68" fmla="*/ 93 w 175"/>
                <a:gd name="T69" fmla="*/ 105 h 136"/>
                <a:gd name="T70" fmla="*/ 93 w 175"/>
                <a:gd name="T71" fmla="*/ 10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5" h="136">
                  <a:moveTo>
                    <a:pt x="93" y="105"/>
                  </a:moveTo>
                  <a:lnTo>
                    <a:pt x="142" y="74"/>
                  </a:lnTo>
                  <a:lnTo>
                    <a:pt x="144" y="70"/>
                  </a:lnTo>
                  <a:lnTo>
                    <a:pt x="148" y="64"/>
                  </a:lnTo>
                  <a:lnTo>
                    <a:pt x="148" y="58"/>
                  </a:lnTo>
                  <a:lnTo>
                    <a:pt x="148" y="55"/>
                  </a:lnTo>
                  <a:lnTo>
                    <a:pt x="153" y="46"/>
                  </a:lnTo>
                  <a:lnTo>
                    <a:pt x="153" y="39"/>
                  </a:lnTo>
                  <a:lnTo>
                    <a:pt x="147" y="30"/>
                  </a:lnTo>
                  <a:lnTo>
                    <a:pt x="148" y="22"/>
                  </a:lnTo>
                  <a:lnTo>
                    <a:pt x="153" y="13"/>
                  </a:lnTo>
                  <a:lnTo>
                    <a:pt x="164" y="11"/>
                  </a:lnTo>
                  <a:lnTo>
                    <a:pt x="170" y="8"/>
                  </a:lnTo>
                  <a:lnTo>
                    <a:pt x="171" y="8"/>
                  </a:lnTo>
                  <a:lnTo>
                    <a:pt x="175" y="2"/>
                  </a:lnTo>
                  <a:lnTo>
                    <a:pt x="173" y="0"/>
                  </a:lnTo>
                  <a:lnTo>
                    <a:pt x="164" y="0"/>
                  </a:lnTo>
                  <a:lnTo>
                    <a:pt x="154" y="3"/>
                  </a:lnTo>
                  <a:lnTo>
                    <a:pt x="139" y="2"/>
                  </a:lnTo>
                  <a:lnTo>
                    <a:pt x="135" y="3"/>
                  </a:lnTo>
                  <a:lnTo>
                    <a:pt x="127" y="3"/>
                  </a:lnTo>
                  <a:lnTo>
                    <a:pt x="118" y="5"/>
                  </a:lnTo>
                  <a:lnTo>
                    <a:pt x="112" y="9"/>
                  </a:lnTo>
                  <a:lnTo>
                    <a:pt x="107" y="11"/>
                  </a:lnTo>
                  <a:lnTo>
                    <a:pt x="104" y="13"/>
                  </a:lnTo>
                  <a:lnTo>
                    <a:pt x="90" y="13"/>
                  </a:lnTo>
                  <a:lnTo>
                    <a:pt x="83" y="11"/>
                  </a:lnTo>
                  <a:lnTo>
                    <a:pt x="78" y="9"/>
                  </a:lnTo>
                  <a:lnTo>
                    <a:pt x="75" y="8"/>
                  </a:lnTo>
                  <a:lnTo>
                    <a:pt x="61" y="9"/>
                  </a:lnTo>
                  <a:lnTo>
                    <a:pt x="57" y="11"/>
                  </a:lnTo>
                  <a:lnTo>
                    <a:pt x="52" y="11"/>
                  </a:lnTo>
                  <a:lnTo>
                    <a:pt x="40" y="16"/>
                  </a:lnTo>
                  <a:lnTo>
                    <a:pt x="35" y="14"/>
                  </a:lnTo>
                  <a:lnTo>
                    <a:pt x="26" y="13"/>
                  </a:lnTo>
                  <a:lnTo>
                    <a:pt x="26" y="18"/>
                  </a:lnTo>
                  <a:lnTo>
                    <a:pt x="23" y="25"/>
                  </a:lnTo>
                  <a:lnTo>
                    <a:pt x="22" y="30"/>
                  </a:lnTo>
                  <a:lnTo>
                    <a:pt x="22" y="33"/>
                  </a:lnTo>
                  <a:lnTo>
                    <a:pt x="16" y="35"/>
                  </a:lnTo>
                  <a:lnTo>
                    <a:pt x="11" y="36"/>
                  </a:lnTo>
                  <a:lnTo>
                    <a:pt x="5" y="35"/>
                  </a:lnTo>
                  <a:lnTo>
                    <a:pt x="5" y="36"/>
                  </a:lnTo>
                  <a:lnTo>
                    <a:pt x="0" y="36"/>
                  </a:lnTo>
                  <a:lnTo>
                    <a:pt x="3" y="44"/>
                  </a:lnTo>
                  <a:lnTo>
                    <a:pt x="6" y="53"/>
                  </a:lnTo>
                  <a:lnTo>
                    <a:pt x="9" y="58"/>
                  </a:lnTo>
                  <a:lnTo>
                    <a:pt x="6" y="64"/>
                  </a:lnTo>
                  <a:lnTo>
                    <a:pt x="6" y="74"/>
                  </a:lnTo>
                  <a:lnTo>
                    <a:pt x="18" y="74"/>
                  </a:lnTo>
                  <a:lnTo>
                    <a:pt x="22" y="79"/>
                  </a:lnTo>
                  <a:lnTo>
                    <a:pt x="26" y="81"/>
                  </a:lnTo>
                  <a:lnTo>
                    <a:pt x="26" y="88"/>
                  </a:lnTo>
                  <a:lnTo>
                    <a:pt x="28" y="92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16" y="96"/>
                  </a:lnTo>
                  <a:lnTo>
                    <a:pt x="14" y="103"/>
                  </a:lnTo>
                  <a:lnTo>
                    <a:pt x="11" y="109"/>
                  </a:lnTo>
                  <a:lnTo>
                    <a:pt x="9" y="109"/>
                  </a:lnTo>
                  <a:lnTo>
                    <a:pt x="11" y="110"/>
                  </a:lnTo>
                  <a:lnTo>
                    <a:pt x="14" y="114"/>
                  </a:lnTo>
                  <a:lnTo>
                    <a:pt x="16" y="122"/>
                  </a:lnTo>
                  <a:lnTo>
                    <a:pt x="14" y="125"/>
                  </a:lnTo>
                  <a:lnTo>
                    <a:pt x="16" y="125"/>
                  </a:lnTo>
                  <a:lnTo>
                    <a:pt x="26" y="128"/>
                  </a:lnTo>
                  <a:lnTo>
                    <a:pt x="31" y="133"/>
                  </a:lnTo>
                  <a:lnTo>
                    <a:pt x="34" y="133"/>
                  </a:lnTo>
                  <a:lnTo>
                    <a:pt x="37" y="136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3" y="10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5" name="Freeform 18"/>
            <p:cNvSpPr>
              <a:spLocks/>
            </p:cNvSpPr>
            <p:nvPr/>
          </p:nvSpPr>
          <p:spPr bwMode="auto">
            <a:xfrm>
              <a:off x="6921501" y="3756026"/>
              <a:ext cx="68263" cy="169863"/>
            </a:xfrm>
            <a:custGeom>
              <a:avLst/>
              <a:gdLst>
                <a:gd name="T0" fmla="*/ 28 w 43"/>
                <a:gd name="T1" fmla="*/ 107 h 107"/>
                <a:gd name="T2" fmla="*/ 31 w 43"/>
                <a:gd name="T3" fmla="*/ 102 h 107"/>
                <a:gd name="T4" fmla="*/ 31 w 43"/>
                <a:gd name="T5" fmla="*/ 102 h 107"/>
                <a:gd name="T6" fmla="*/ 31 w 43"/>
                <a:gd name="T7" fmla="*/ 98 h 107"/>
                <a:gd name="T8" fmla="*/ 34 w 43"/>
                <a:gd name="T9" fmla="*/ 97 h 107"/>
                <a:gd name="T10" fmla="*/ 34 w 43"/>
                <a:gd name="T11" fmla="*/ 92 h 107"/>
                <a:gd name="T12" fmla="*/ 35 w 43"/>
                <a:gd name="T13" fmla="*/ 86 h 107"/>
                <a:gd name="T14" fmla="*/ 35 w 43"/>
                <a:gd name="T15" fmla="*/ 78 h 107"/>
                <a:gd name="T16" fmla="*/ 37 w 43"/>
                <a:gd name="T17" fmla="*/ 76 h 107"/>
                <a:gd name="T18" fmla="*/ 37 w 43"/>
                <a:gd name="T19" fmla="*/ 70 h 107"/>
                <a:gd name="T20" fmla="*/ 40 w 43"/>
                <a:gd name="T21" fmla="*/ 65 h 107"/>
                <a:gd name="T22" fmla="*/ 37 w 43"/>
                <a:gd name="T23" fmla="*/ 61 h 107"/>
                <a:gd name="T24" fmla="*/ 40 w 43"/>
                <a:gd name="T25" fmla="*/ 52 h 107"/>
                <a:gd name="T26" fmla="*/ 37 w 43"/>
                <a:gd name="T27" fmla="*/ 52 h 107"/>
                <a:gd name="T28" fmla="*/ 34 w 43"/>
                <a:gd name="T29" fmla="*/ 52 h 107"/>
                <a:gd name="T30" fmla="*/ 29 w 43"/>
                <a:gd name="T31" fmla="*/ 54 h 107"/>
                <a:gd name="T32" fmla="*/ 25 w 43"/>
                <a:gd name="T33" fmla="*/ 52 h 107"/>
                <a:gd name="T34" fmla="*/ 28 w 43"/>
                <a:gd name="T35" fmla="*/ 45 h 107"/>
                <a:gd name="T36" fmla="*/ 28 w 43"/>
                <a:gd name="T37" fmla="*/ 33 h 107"/>
                <a:gd name="T38" fmla="*/ 25 w 43"/>
                <a:gd name="T39" fmla="*/ 30 h 107"/>
                <a:gd name="T40" fmla="*/ 28 w 43"/>
                <a:gd name="T41" fmla="*/ 24 h 107"/>
                <a:gd name="T42" fmla="*/ 34 w 43"/>
                <a:gd name="T43" fmla="*/ 24 h 107"/>
                <a:gd name="T44" fmla="*/ 35 w 43"/>
                <a:gd name="T45" fmla="*/ 28 h 107"/>
                <a:gd name="T46" fmla="*/ 37 w 43"/>
                <a:gd name="T47" fmla="*/ 28 h 107"/>
                <a:gd name="T48" fmla="*/ 41 w 43"/>
                <a:gd name="T49" fmla="*/ 24 h 107"/>
                <a:gd name="T50" fmla="*/ 41 w 43"/>
                <a:gd name="T51" fmla="*/ 22 h 107"/>
                <a:gd name="T52" fmla="*/ 41 w 43"/>
                <a:gd name="T53" fmla="*/ 22 h 107"/>
                <a:gd name="T54" fmla="*/ 41 w 43"/>
                <a:gd name="T55" fmla="*/ 19 h 107"/>
                <a:gd name="T56" fmla="*/ 40 w 43"/>
                <a:gd name="T57" fmla="*/ 16 h 107"/>
                <a:gd name="T58" fmla="*/ 41 w 43"/>
                <a:gd name="T59" fmla="*/ 9 h 107"/>
                <a:gd name="T60" fmla="*/ 41 w 43"/>
                <a:gd name="T61" fmla="*/ 1 h 107"/>
                <a:gd name="T62" fmla="*/ 43 w 43"/>
                <a:gd name="T63" fmla="*/ 0 h 107"/>
                <a:gd name="T64" fmla="*/ 41 w 43"/>
                <a:gd name="T65" fmla="*/ 0 h 107"/>
                <a:gd name="T66" fmla="*/ 37 w 43"/>
                <a:gd name="T67" fmla="*/ 5 h 107"/>
                <a:gd name="T68" fmla="*/ 29 w 43"/>
                <a:gd name="T69" fmla="*/ 5 h 107"/>
                <a:gd name="T70" fmla="*/ 25 w 43"/>
                <a:gd name="T71" fmla="*/ 3 h 107"/>
                <a:gd name="T72" fmla="*/ 20 w 43"/>
                <a:gd name="T73" fmla="*/ 10 h 107"/>
                <a:gd name="T74" fmla="*/ 18 w 43"/>
                <a:gd name="T75" fmla="*/ 28 h 107"/>
                <a:gd name="T76" fmla="*/ 8 w 43"/>
                <a:gd name="T77" fmla="*/ 42 h 107"/>
                <a:gd name="T78" fmla="*/ 0 w 43"/>
                <a:gd name="T79" fmla="*/ 52 h 107"/>
                <a:gd name="T80" fmla="*/ 4 w 43"/>
                <a:gd name="T81" fmla="*/ 54 h 107"/>
                <a:gd name="T82" fmla="*/ 8 w 43"/>
                <a:gd name="T83" fmla="*/ 61 h 107"/>
                <a:gd name="T84" fmla="*/ 12 w 43"/>
                <a:gd name="T85" fmla="*/ 70 h 107"/>
                <a:gd name="T86" fmla="*/ 20 w 43"/>
                <a:gd name="T87" fmla="*/ 80 h 107"/>
                <a:gd name="T88" fmla="*/ 25 w 43"/>
                <a:gd name="T89" fmla="*/ 93 h 107"/>
                <a:gd name="T90" fmla="*/ 23 w 43"/>
                <a:gd name="T91" fmla="*/ 98 h 107"/>
                <a:gd name="T92" fmla="*/ 28 w 43"/>
                <a:gd name="T93" fmla="*/ 107 h 107"/>
                <a:gd name="T94" fmla="*/ 28 w 43"/>
                <a:gd name="T95" fmla="*/ 107 h 107"/>
                <a:gd name="T96" fmla="*/ 28 w 43"/>
                <a:gd name="T9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107">
                  <a:moveTo>
                    <a:pt x="28" y="107"/>
                  </a:moveTo>
                  <a:lnTo>
                    <a:pt x="31" y="102"/>
                  </a:lnTo>
                  <a:lnTo>
                    <a:pt x="31" y="102"/>
                  </a:lnTo>
                  <a:lnTo>
                    <a:pt x="31" y="98"/>
                  </a:lnTo>
                  <a:lnTo>
                    <a:pt x="34" y="97"/>
                  </a:lnTo>
                  <a:lnTo>
                    <a:pt x="34" y="92"/>
                  </a:lnTo>
                  <a:lnTo>
                    <a:pt x="35" y="86"/>
                  </a:lnTo>
                  <a:lnTo>
                    <a:pt x="35" y="78"/>
                  </a:lnTo>
                  <a:lnTo>
                    <a:pt x="37" y="76"/>
                  </a:lnTo>
                  <a:lnTo>
                    <a:pt x="37" y="70"/>
                  </a:lnTo>
                  <a:lnTo>
                    <a:pt x="40" y="65"/>
                  </a:lnTo>
                  <a:lnTo>
                    <a:pt x="37" y="61"/>
                  </a:lnTo>
                  <a:lnTo>
                    <a:pt x="40" y="52"/>
                  </a:lnTo>
                  <a:lnTo>
                    <a:pt x="37" y="52"/>
                  </a:lnTo>
                  <a:lnTo>
                    <a:pt x="34" y="52"/>
                  </a:lnTo>
                  <a:lnTo>
                    <a:pt x="29" y="54"/>
                  </a:lnTo>
                  <a:lnTo>
                    <a:pt x="25" y="52"/>
                  </a:lnTo>
                  <a:lnTo>
                    <a:pt x="28" y="45"/>
                  </a:lnTo>
                  <a:lnTo>
                    <a:pt x="28" y="33"/>
                  </a:lnTo>
                  <a:lnTo>
                    <a:pt x="25" y="30"/>
                  </a:lnTo>
                  <a:lnTo>
                    <a:pt x="28" y="24"/>
                  </a:lnTo>
                  <a:lnTo>
                    <a:pt x="34" y="24"/>
                  </a:lnTo>
                  <a:lnTo>
                    <a:pt x="35" y="28"/>
                  </a:lnTo>
                  <a:lnTo>
                    <a:pt x="37" y="28"/>
                  </a:lnTo>
                  <a:lnTo>
                    <a:pt x="41" y="24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9"/>
                  </a:lnTo>
                  <a:lnTo>
                    <a:pt x="40" y="16"/>
                  </a:lnTo>
                  <a:lnTo>
                    <a:pt x="41" y="9"/>
                  </a:lnTo>
                  <a:lnTo>
                    <a:pt x="41" y="1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7" y="5"/>
                  </a:lnTo>
                  <a:lnTo>
                    <a:pt x="29" y="5"/>
                  </a:lnTo>
                  <a:lnTo>
                    <a:pt x="25" y="3"/>
                  </a:lnTo>
                  <a:lnTo>
                    <a:pt x="20" y="10"/>
                  </a:lnTo>
                  <a:lnTo>
                    <a:pt x="18" y="28"/>
                  </a:lnTo>
                  <a:lnTo>
                    <a:pt x="8" y="42"/>
                  </a:lnTo>
                  <a:lnTo>
                    <a:pt x="0" y="52"/>
                  </a:lnTo>
                  <a:lnTo>
                    <a:pt x="4" y="54"/>
                  </a:lnTo>
                  <a:lnTo>
                    <a:pt x="8" y="61"/>
                  </a:lnTo>
                  <a:lnTo>
                    <a:pt x="12" y="70"/>
                  </a:lnTo>
                  <a:lnTo>
                    <a:pt x="20" y="80"/>
                  </a:lnTo>
                  <a:lnTo>
                    <a:pt x="25" y="93"/>
                  </a:lnTo>
                  <a:lnTo>
                    <a:pt x="23" y="98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6" name="Freeform 19"/>
            <p:cNvSpPr>
              <a:spLocks/>
            </p:cNvSpPr>
            <p:nvPr/>
          </p:nvSpPr>
          <p:spPr bwMode="auto">
            <a:xfrm>
              <a:off x="6983413" y="3756026"/>
              <a:ext cx="19050" cy="34925"/>
            </a:xfrm>
            <a:custGeom>
              <a:avLst/>
              <a:gdLst>
                <a:gd name="T0" fmla="*/ 1 w 12"/>
                <a:gd name="T1" fmla="*/ 22 h 22"/>
                <a:gd name="T2" fmla="*/ 1 w 12"/>
                <a:gd name="T3" fmla="*/ 20 h 22"/>
                <a:gd name="T4" fmla="*/ 0 w 12"/>
                <a:gd name="T5" fmla="*/ 16 h 22"/>
                <a:gd name="T6" fmla="*/ 1 w 12"/>
                <a:gd name="T7" fmla="*/ 9 h 22"/>
                <a:gd name="T8" fmla="*/ 1 w 12"/>
                <a:gd name="T9" fmla="*/ 1 h 22"/>
                <a:gd name="T10" fmla="*/ 3 w 12"/>
                <a:gd name="T11" fmla="*/ 0 h 22"/>
                <a:gd name="T12" fmla="*/ 3 w 12"/>
                <a:gd name="T13" fmla="*/ 0 h 22"/>
                <a:gd name="T14" fmla="*/ 6 w 12"/>
                <a:gd name="T15" fmla="*/ 1 h 22"/>
                <a:gd name="T16" fmla="*/ 9 w 12"/>
                <a:gd name="T17" fmla="*/ 5 h 22"/>
                <a:gd name="T18" fmla="*/ 12 w 12"/>
                <a:gd name="T19" fmla="*/ 13 h 22"/>
                <a:gd name="T20" fmla="*/ 9 w 12"/>
                <a:gd name="T21" fmla="*/ 16 h 22"/>
                <a:gd name="T22" fmla="*/ 9 w 12"/>
                <a:gd name="T23" fmla="*/ 16 h 22"/>
                <a:gd name="T24" fmla="*/ 6 w 12"/>
                <a:gd name="T25" fmla="*/ 20 h 22"/>
                <a:gd name="T26" fmla="*/ 3 w 12"/>
                <a:gd name="T27" fmla="*/ 22 h 22"/>
                <a:gd name="T28" fmla="*/ 1 w 12"/>
                <a:gd name="T29" fmla="*/ 22 h 22"/>
                <a:gd name="T30" fmla="*/ 1 w 12"/>
                <a:gd name="T31" fmla="*/ 22 h 22"/>
                <a:gd name="T32" fmla="*/ 1 w 12"/>
                <a:gd name="T3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2">
                  <a:moveTo>
                    <a:pt x="1" y="22"/>
                  </a:moveTo>
                  <a:lnTo>
                    <a:pt x="1" y="20"/>
                  </a:lnTo>
                  <a:lnTo>
                    <a:pt x="0" y="16"/>
                  </a:lnTo>
                  <a:lnTo>
                    <a:pt x="1" y="9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1"/>
                  </a:lnTo>
                  <a:lnTo>
                    <a:pt x="9" y="5"/>
                  </a:lnTo>
                  <a:lnTo>
                    <a:pt x="12" y="13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6" y="20"/>
                  </a:lnTo>
                  <a:lnTo>
                    <a:pt x="3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7" name="Freeform 20"/>
            <p:cNvSpPr>
              <a:spLocks/>
            </p:cNvSpPr>
            <p:nvPr/>
          </p:nvSpPr>
          <p:spPr bwMode="auto">
            <a:xfrm>
              <a:off x="6959601" y="3790951"/>
              <a:ext cx="25400" cy="50800"/>
            </a:xfrm>
            <a:custGeom>
              <a:avLst/>
              <a:gdLst>
                <a:gd name="T0" fmla="*/ 13 w 16"/>
                <a:gd name="T1" fmla="*/ 31 h 32"/>
                <a:gd name="T2" fmla="*/ 9 w 16"/>
                <a:gd name="T3" fmla="*/ 31 h 32"/>
                <a:gd name="T4" fmla="*/ 4 w 16"/>
                <a:gd name="T5" fmla="*/ 32 h 32"/>
                <a:gd name="T6" fmla="*/ 0 w 16"/>
                <a:gd name="T7" fmla="*/ 31 h 32"/>
                <a:gd name="T8" fmla="*/ 3 w 16"/>
                <a:gd name="T9" fmla="*/ 22 h 32"/>
                <a:gd name="T10" fmla="*/ 3 w 16"/>
                <a:gd name="T11" fmla="*/ 10 h 32"/>
                <a:gd name="T12" fmla="*/ 0 w 16"/>
                <a:gd name="T13" fmla="*/ 6 h 32"/>
                <a:gd name="T14" fmla="*/ 3 w 16"/>
                <a:gd name="T15" fmla="*/ 0 h 32"/>
                <a:gd name="T16" fmla="*/ 9 w 16"/>
                <a:gd name="T17" fmla="*/ 0 h 32"/>
                <a:gd name="T18" fmla="*/ 10 w 16"/>
                <a:gd name="T19" fmla="*/ 4 h 32"/>
                <a:gd name="T20" fmla="*/ 13 w 16"/>
                <a:gd name="T21" fmla="*/ 4 h 32"/>
                <a:gd name="T22" fmla="*/ 16 w 16"/>
                <a:gd name="T23" fmla="*/ 0 h 32"/>
                <a:gd name="T24" fmla="*/ 16 w 16"/>
                <a:gd name="T25" fmla="*/ 2 h 32"/>
                <a:gd name="T26" fmla="*/ 16 w 16"/>
                <a:gd name="T27" fmla="*/ 6 h 32"/>
                <a:gd name="T28" fmla="*/ 16 w 16"/>
                <a:gd name="T29" fmla="*/ 8 h 32"/>
                <a:gd name="T30" fmla="*/ 15 w 16"/>
                <a:gd name="T31" fmla="*/ 16 h 32"/>
                <a:gd name="T32" fmla="*/ 15 w 16"/>
                <a:gd name="T33" fmla="*/ 20 h 32"/>
                <a:gd name="T34" fmla="*/ 15 w 16"/>
                <a:gd name="T35" fmla="*/ 31 h 32"/>
                <a:gd name="T36" fmla="*/ 13 w 16"/>
                <a:gd name="T37" fmla="*/ 31 h 32"/>
                <a:gd name="T38" fmla="*/ 13 w 16"/>
                <a:gd name="T39" fmla="*/ 31 h 32"/>
                <a:gd name="T40" fmla="*/ 13 w 16"/>
                <a:gd name="T41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2">
                  <a:moveTo>
                    <a:pt x="13" y="31"/>
                  </a:moveTo>
                  <a:lnTo>
                    <a:pt x="9" y="31"/>
                  </a:lnTo>
                  <a:lnTo>
                    <a:pt x="4" y="32"/>
                  </a:lnTo>
                  <a:lnTo>
                    <a:pt x="0" y="31"/>
                  </a:lnTo>
                  <a:lnTo>
                    <a:pt x="3" y="22"/>
                  </a:lnTo>
                  <a:lnTo>
                    <a:pt x="3" y="10"/>
                  </a:lnTo>
                  <a:lnTo>
                    <a:pt x="0" y="6"/>
                  </a:lnTo>
                  <a:lnTo>
                    <a:pt x="3" y="0"/>
                  </a:lnTo>
                  <a:lnTo>
                    <a:pt x="9" y="0"/>
                  </a:lnTo>
                  <a:lnTo>
                    <a:pt x="10" y="4"/>
                  </a:lnTo>
                  <a:lnTo>
                    <a:pt x="13" y="4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8" name="Freeform 21"/>
            <p:cNvSpPr>
              <a:spLocks/>
            </p:cNvSpPr>
            <p:nvPr/>
          </p:nvSpPr>
          <p:spPr bwMode="auto">
            <a:xfrm>
              <a:off x="6959601" y="3698876"/>
              <a:ext cx="58738" cy="63500"/>
            </a:xfrm>
            <a:custGeom>
              <a:avLst/>
              <a:gdLst>
                <a:gd name="T0" fmla="*/ 0 w 37"/>
                <a:gd name="T1" fmla="*/ 38 h 40"/>
                <a:gd name="T2" fmla="*/ 4 w 37"/>
                <a:gd name="T3" fmla="*/ 40 h 40"/>
                <a:gd name="T4" fmla="*/ 12 w 37"/>
                <a:gd name="T5" fmla="*/ 40 h 40"/>
                <a:gd name="T6" fmla="*/ 15 w 37"/>
                <a:gd name="T7" fmla="*/ 34 h 40"/>
                <a:gd name="T8" fmla="*/ 20 w 37"/>
                <a:gd name="T9" fmla="*/ 34 h 40"/>
                <a:gd name="T10" fmla="*/ 24 w 37"/>
                <a:gd name="T11" fmla="*/ 29 h 40"/>
                <a:gd name="T12" fmla="*/ 26 w 37"/>
                <a:gd name="T13" fmla="*/ 23 h 40"/>
                <a:gd name="T14" fmla="*/ 31 w 37"/>
                <a:gd name="T15" fmla="*/ 20 h 40"/>
                <a:gd name="T16" fmla="*/ 32 w 37"/>
                <a:gd name="T17" fmla="*/ 20 h 40"/>
                <a:gd name="T18" fmla="*/ 37 w 37"/>
                <a:gd name="T19" fmla="*/ 18 h 40"/>
                <a:gd name="T20" fmla="*/ 35 w 37"/>
                <a:gd name="T21" fmla="*/ 15 h 40"/>
                <a:gd name="T22" fmla="*/ 35 w 37"/>
                <a:gd name="T23" fmla="*/ 6 h 40"/>
                <a:gd name="T24" fmla="*/ 31 w 37"/>
                <a:gd name="T25" fmla="*/ 6 h 40"/>
                <a:gd name="T26" fmla="*/ 27 w 37"/>
                <a:gd name="T27" fmla="*/ 0 h 40"/>
                <a:gd name="T28" fmla="*/ 15 w 37"/>
                <a:gd name="T29" fmla="*/ 0 h 40"/>
                <a:gd name="T30" fmla="*/ 15 w 37"/>
                <a:gd name="T31" fmla="*/ 1 h 40"/>
                <a:gd name="T32" fmla="*/ 12 w 37"/>
                <a:gd name="T33" fmla="*/ 1 h 40"/>
                <a:gd name="T34" fmla="*/ 10 w 37"/>
                <a:gd name="T35" fmla="*/ 20 h 40"/>
                <a:gd name="T36" fmla="*/ 6 w 37"/>
                <a:gd name="T37" fmla="*/ 26 h 40"/>
                <a:gd name="T38" fmla="*/ 0 w 37"/>
                <a:gd name="T39" fmla="*/ 31 h 40"/>
                <a:gd name="T40" fmla="*/ 0 w 37"/>
                <a:gd name="T41" fmla="*/ 38 h 40"/>
                <a:gd name="T42" fmla="*/ 0 w 37"/>
                <a:gd name="T43" fmla="*/ 38 h 40"/>
                <a:gd name="T44" fmla="*/ 0 w 37"/>
                <a:gd name="T45" fmla="*/ 38 h 40"/>
                <a:gd name="T46" fmla="*/ 0 w 37"/>
                <a:gd name="T4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" h="40">
                  <a:moveTo>
                    <a:pt x="0" y="38"/>
                  </a:moveTo>
                  <a:lnTo>
                    <a:pt x="4" y="40"/>
                  </a:lnTo>
                  <a:lnTo>
                    <a:pt x="12" y="40"/>
                  </a:lnTo>
                  <a:lnTo>
                    <a:pt x="15" y="34"/>
                  </a:lnTo>
                  <a:lnTo>
                    <a:pt x="20" y="34"/>
                  </a:lnTo>
                  <a:lnTo>
                    <a:pt x="24" y="29"/>
                  </a:lnTo>
                  <a:lnTo>
                    <a:pt x="26" y="23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7" y="18"/>
                  </a:lnTo>
                  <a:lnTo>
                    <a:pt x="35" y="15"/>
                  </a:lnTo>
                  <a:lnTo>
                    <a:pt x="35" y="6"/>
                  </a:lnTo>
                  <a:lnTo>
                    <a:pt x="31" y="6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2" y="1"/>
                  </a:lnTo>
                  <a:lnTo>
                    <a:pt x="10" y="20"/>
                  </a:lnTo>
                  <a:lnTo>
                    <a:pt x="6" y="26"/>
                  </a:lnTo>
                  <a:lnTo>
                    <a:pt x="0" y="31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9" name="Freeform 22"/>
            <p:cNvSpPr>
              <a:spLocks/>
            </p:cNvSpPr>
            <p:nvPr/>
          </p:nvSpPr>
          <p:spPr bwMode="auto">
            <a:xfrm>
              <a:off x="6964363" y="3748088"/>
              <a:ext cx="177800" cy="195263"/>
            </a:xfrm>
            <a:custGeom>
              <a:avLst/>
              <a:gdLst>
                <a:gd name="T0" fmla="*/ 3 w 112"/>
                <a:gd name="T1" fmla="*/ 106 h 123"/>
                <a:gd name="T2" fmla="*/ 3 w 112"/>
                <a:gd name="T3" fmla="*/ 106 h 123"/>
                <a:gd name="T4" fmla="*/ 3 w 112"/>
                <a:gd name="T5" fmla="*/ 103 h 123"/>
                <a:gd name="T6" fmla="*/ 5 w 112"/>
                <a:gd name="T7" fmla="*/ 102 h 123"/>
                <a:gd name="T8" fmla="*/ 5 w 112"/>
                <a:gd name="T9" fmla="*/ 96 h 123"/>
                <a:gd name="T10" fmla="*/ 6 w 112"/>
                <a:gd name="T11" fmla="*/ 91 h 123"/>
                <a:gd name="T12" fmla="*/ 6 w 112"/>
                <a:gd name="T13" fmla="*/ 82 h 123"/>
                <a:gd name="T14" fmla="*/ 9 w 112"/>
                <a:gd name="T15" fmla="*/ 81 h 123"/>
                <a:gd name="T16" fmla="*/ 9 w 112"/>
                <a:gd name="T17" fmla="*/ 75 h 123"/>
                <a:gd name="T18" fmla="*/ 11 w 112"/>
                <a:gd name="T19" fmla="*/ 69 h 123"/>
                <a:gd name="T20" fmla="*/ 9 w 112"/>
                <a:gd name="T21" fmla="*/ 66 h 123"/>
                <a:gd name="T22" fmla="*/ 11 w 112"/>
                <a:gd name="T23" fmla="*/ 47 h 123"/>
                <a:gd name="T24" fmla="*/ 11 w 112"/>
                <a:gd name="T25" fmla="*/ 44 h 123"/>
                <a:gd name="T26" fmla="*/ 12 w 112"/>
                <a:gd name="T27" fmla="*/ 35 h 123"/>
                <a:gd name="T28" fmla="*/ 12 w 112"/>
                <a:gd name="T29" fmla="*/ 34 h 123"/>
                <a:gd name="T30" fmla="*/ 12 w 112"/>
                <a:gd name="T31" fmla="*/ 30 h 123"/>
                <a:gd name="T32" fmla="*/ 12 w 112"/>
                <a:gd name="T33" fmla="*/ 26 h 123"/>
                <a:gd name="T34" fmla="*/ 15 w 112"/>
                <a:gd name="T35" fmla="*/ 26 h 123"/>
                <a:gd name="T36" fmla="*/ 17 w 112"/>
                <a:gd name="T37" fmla="*/ 24 h 123"/>
                <a:gd name="T38" fmla="*/ 20 w 112"/>
                <a:gd name="T39" fmla="*/ 21 h 123"/>
                <a:gd name="T40" fmla="*/ 22 w 112"/>
                <a:gd name="T41" fmla="*/ 21 h 123"/>
                <a:gd name="T42" fmla="*/ 32 w 112"/>
                <a:gd name="T43" fmla="*/ 24 h 123"/>
                <a:gd name="T44" fmla="*/ 37 w 112"/>
                <a:gd name="T45" fmla="*/ 29 h 123"/>
                <a:gd name="T46" fmla="*/ 40 w 112"/>
                <a:gd name="T47" fmla="*/ 29 h 123"/>
                <a:gd name="T48" fmla="*/ 43 w 112"/>
                <a:gd name="T49" fmla="*/ 32 h 123"/>
                <a:gd name="T50" fmla="*/ 98 w 112"/>
                <a:gd name="T51" fmla="*/ 0 h 123"/>
                <a:gd name="T52" fmla="*/ 112 w 112"/>
                <a:gd name="T53" fmla="*/ 32 h 123"/>
                <a:gd name="T54" fmla="*/ 110 w 112"/>
                <a:gd name="T55" fmla="*/ 32 h 123"/>
                <a:gd name="T56" fmla="*/ 101 w 112"/>
                <a:gd name="T57" fmla="*/ 41 h 123"/>
                <a:gd name="T58" fmla="*/ 61 w 112"/>
                <a:gd name="T59" fmla="*/ 53 h 123"/>
                <a:gd name="T60" fmla="*/ 90 w 112"/>
                <a:gd name="T61" fmla="*/ 85 h 123"/>
                <a:gd name="T62" fmla="*/ 80 w 112"/>
                <a:gd name="T63" fmla="*/ 96 h 123"/>
                <a:gd name="T64" fmla="*/ 78 w 112"/>
                <a:gd name="T65" fmla="*/ 103 h 123"/>
                <a:gd name="T66" fmla="*/ 57 w 112"/>
                <a:gd name="T67" fmla="*/ 106 h 123"/>
                <a:gd name="T68" fmla="*/ 37 w 112"/>
                <a:gd name="T69" fmla="*/ 123 h 123"/>
                <a:gd name="T70" fmla="*/ 9 w 112"/>
                <a:gd name="T71" fmla="*/ 117 h 123"/>
                <a:gd name="T72" fmla="*/ 0 w 112"/>
                <a:gd name="T73" fmla="*/ 117 h 123"/>
                <a:gd name="T74" fmla="*/ 1 w 112"/>
                <a:gd name="T75" fmla="*/ 117 h 123"/>
                <a:gd name="T76" fmla="*/ 3 w 112"/>
                <a:gd name="T77" fmla="*/ 109 h 123"/>
                <a:gd name="T78" fmla="*/ 3 w 112"/>
                <a:gd name="T79" fmla="*/ 106 h 123"/>
                <a:gd name="T80" fmla="*/ 3 w 112"/>
                <a:gd name="T81" fmla="*/ 106 h 123"/>
                <a:gd name="T82" fmla="*/ 3 w 112"/>
                <a:gd name="T83" fmla="*/ 106 h 123"/>
                <a:gd name="T84" fmla="*/ 3 w 112"/>
                <a:gd name="T85" fmla="*/ 10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2" h="123">
                  <a:moveTo>
                    <a:pt x="3" y="106"/>
                  </a:moveTo>
                  <a:lnTo>
                    <a:pt x="3" y="106"/>
                  </a:lnTo>
                  <a:lnTo>
                    <a:pt x="3" y="103"/>
                  </a:lnTo>
                  <a:lnTo>
                    <a:pt x="5" y="102"/>
                  </a:lnTo>
                  <a:lnTo>
                    <a:pt x="5" y="96"/>
                  </a:lnTo>
                  <a:lnTo>
                    <a:pt x="6" y="91"/>
                  </a:lnTo>
                  <a:lnTo>
                    <a:pt x="6" y="82"/>
                  </a:lnTo>
                  <a:lnTo>
                    <a:pt x="9" y="81"/>
                  </a:lnTo>
                  <a:lnTo>
                    <a:pt x="9" y="75"/>
                  </a:lnTo>
                  <a:lnTo>
                    <a:pt x="11" y="69"/>
                  </a:lnTo>
                  <a:lnTo>
                    <a:pt x="9" y="66"/>
                  </a:lnTo>
                  <a:lnTo>
                    <a:pt x="11" y="47"/>
                  </a:lnTo>
                  <a:lnTo>
                    <a:pt x="11" y="44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5" y="26"/>
                  </a:lnTo>
                  <a:lnTo>
                    <a:pt x="17" y="24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32" y="24"/>
                  </a:lnTo>
                  <a:lnTo>
                    <a:pt x="37" y="29"/>
                  </a:lnTo>
                  <a:lnTo>
                    <a:pt x="40" y="29"/>
                  </a:lnTo>
                  <a:lnTo>
                    <a:pt x="43" y="32"/>
                  </a:lnTo>
                  <a:lnTo>
                    <a:pt x="98" y="0"/>
                  </a:lnTo>
                  <a:lnTo>
                    <a:pt x="112" y="32"/>
                  </a:lnTo>
                  <a:lnTo>
                    <a:pt x="110" y="32"/>
                  </a:lnTo>
                  <a:lnTo>
                    <a:pt x="101" y="41"/>
                  </a:lnTo>
                  <a:lnTo>
                    <a:pt x="61" y="53"/>
                  </a:lnTo>
                  <a:lnTo>
                    <a:pt x="90" y="85"/>
                  </a:lnTo>
                  <a:lnTo>
                    <a:pt x="80" y="96"/>
                  </a:lnTo>
                  <a:lnTo>
                    <a:pt x="78" y="103"/>
                  </a:lnTo>
                  <a:lnTo>
                    <a:pt x="57" y="106"/>
                  </a:lnTo>
                  <a:lnTo>
                    <a:pt x="37" y="123"/>
                  </a:lnTo>
                  <a:lnTo>
                    <a:pt x="9" y="117"/>
                  </a:lnTo>
                  <a:lnTo>
                    <a:pt x="0" y="117"/>
                  </a:lnTo>
                  <a:lnTo>
                    <a:pt x="1" y="117"/>
                  </a:lnTo>
                  <a:lnTo>
                    <a:pt x="3" y="109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3" y="10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0" name="Freeform 23"/>
            <p:cNvSpPr>
              <a:spLocks/>
            </p:cNvSpPr>
            <p:nvPr/>
          </p:nvSpPr>
          <p:spPr bwMode="auto">
            <a:xfrm>
              <a:off x="7666038" y="4049713"/>
              <a:ext cx="38100" cy="66675"/>
            </a:xfrm>
            <a:custGeom>
              <a:avLst/>
              <a:gdLst>
                <a:gd name="T0" fmla="*/ 18 w 24"/>
                <a:gd name="T1" fmla="*/ 42 h 42"/>
                <a:gd name="T2" fmla="*/ 15 w 24"/>
                <a:gd name="T3" fmla="*/ 42 h 42"/>
                <a:gd name="T4" fmla="*/ 4 w 24"/>
                <a:gd name="T5" fmla="*/ 38 h 42"/>
                <a:gd name="T6" fmla="*/ 3 w 24"/>
                <a:gd name="T7" fmla="*/ 36 h 42"/>
                <a:gd name="T8" fmla="*/ 4 w 24"/>
                <a:gd name="T9" fmla="*/ 35 h 42"/>
                <a:gd name="T10" fmla="*/ 4 w 24"/>
                <a:gd name="T11" fmla="*/ 30 h 42"/>
                <a:gd name="T12" fmla="*/ 3 w 24"/>
                <a:gd name="T13" fmla="*/ 26 h 42"/>
                <a:gd name="T14" fmla="*/ 0 w 24"/>
                <a:gd name="T15" fmla="*/ 25 h 42"/>
                <a:gd name="T16" fmla="*/ 3 w 24"/>
                <a:gd name="T17" fmla="*/ 17 h 42"/>
                <a:gd name="T18" fmla="*/ 4 w 24"/>
                <a:gd name="T19" fmla="*/ 17 h 42"/>
                <a:gd name="T20" fmla="*/ 6 w 24"/>
                <a:gd name="T21" fmla="*/ 17 h 42"/>
                <a:gd name="T22" fmla="*/ 4 w 24"/>
                <a:gd name="T23" fmla="*/ 9 h 42"/>
                <a:gd name="T24" fmla="*/ 6 w 24"/>
                <a:gd name="T25" fmla="*/ 9 h 42"/>
                <a:gd name="T26" fmla="*/ 4 w 24"/>
                <a:gd name="T27" fmla="*/ 5 h 42"/>
                <a:gd name="T28" fmla="*/ 6 w 24"/>
                <a:gd name="T29" fmla="*/ 3 h 42"/>
                <a:gd name="T30" fmla="*/ 6 w 24"/>
                <a:gd name="T31" fmla="*/ 2 h 42"/>
                <a:gd name="T32" fmla="*/ 9 w 24"/>
                <a:gd name="T33" fmla="*/ 2 h 42"/>
                <a:gd name="T34" fmla="*/ 10 w 24"/>
                <a:gd name="T35" fmla="*/ 0 h 42"/>
                <a:gd name="T36" fmla="*/ 12 w 24"/>
                <a:gd name="T37" fmla="*/ 0 h 42"/>
                <a:gd name="T38" fmla="*/ 16 w 24"/>
                <a:gd name="T39" fmla="*/ 3 h 42"/>
                <a:gd name="T40" fmla="*/ 18 w 24"/>
                <a:gd name="T41" fmla="*/ 5 h 42"/>
                <a:gd name="T42" fmla="*/ 21 w 24"/>
                <a:gd name="T43" fmla="*/ 5 h 42"/>
                <a:gd name="T44" fmla="*/ 21 w 24"/>
                <a:gd name="T45" fmla="*/ 8 h 42"/>
                <a:gd name="T46" fmla="*/ 18 w 24"/>
                <a:gd name="T47" fmla="*/ 15 h 42"/>
                <a:gd name="T48" fmla="*/ 18 w 24"/>
                <a:gd name="T49" fmla="*/ 15 h 42"/>
                <a:gd name="T50" fmla="*/ 18 w 24"/>
                <a:gd name="T51" fmla="*/ 25 h 42"/>
                <a:gd name="T52" fmla="*/ 21 w 24"/>
                <a:gd name="T53" fmla="*/ 25 h 42"/>
                <a:gd name="T54" fmla="*/ 24 w 24"/>
                <a:gd name="T55" fmla="*/ 29 h 42"/>
                <a:gd name="T56" fmla="*/ 22 w 24"/>
                <a:gd name="T57" fmla="*/ 42 h 42"/>
                <a:gd name="T58" fmla="*/ 18 w 24"/>
                <a:gd name="T59" fmla="*/ 42 h 42"/>
                <a:gd name="T60" fmla="*/ 18 w 24"/>
                <a:gd name="T61" fmla="*/ 42 h 42"/>
                <a:gd name="T62" fmla="*/ 18 w 24"/>
                <a:gd name="T63" fmla="*/ 42 h 42"/>
                <a:gd name="T64" fmla="*/ 18 w 24"/>
                <a:gd name="T6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42">
                  <a:moveTo>
                    <a:pt x="18" y="42"/>
                  </a:moveTo>
                  <a:lnTo>
                    <a:pt x="15" y="42"/>
                  </a:lnTo>
                  <a:lnTo>
                    <a:pt x="4" y="38"/>
                  </a:lnTo>
                  <a:lnTo>
                    <a:pt x="3" y="36"/>
                  </a:lnTo>
                  <a:lnTo>
                    <a:pt x="4" y="35"/>
                  </a:lnTo>
                  <a:lnTo>
                    <a:pt x="4" y="30"/>
                  </a:lnTo>
                  <a:lnTo>
                    <a:pt x="3" y="26"/>
                  </a:lnTo>
                  <a:lnTo>
                    <a:pt x="0" y="25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6" y="17"/>
                  </a:lnTo>
                  <a:lnTo>
                    <a:pt x="4" y="9"/>
                  </a:lnTo>
                  <a:lnTo>
                    <a:pt x="6" y="9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2"/>
                  </a:lnTo>
                  <a:lnTo>
                    <a:pt x="9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3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1" y="8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25"/>
                  </a:lnTo>
                  <a:lnTo>
                    <a:pt x="21" y="25"/>
                  </a:lnTo>
                  <a:lnTo>
                    <a:pt x="24" y="29"/>
                  </a:lnTo>
                  <a:lnTo>
                    <a:pt x="22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1" name="Freeform 24"/>
            <p:cNvSpPr>
              <a:spLocks/>
            </p:cNvSpPr>
            <p:nvPr/>
          </p:nvSpPr>
          <p:spPr bwMode="auto">
            <a:xfrm>
              <a:off x="7704138" y="4056063"/>
              <a:ext cx="209550" cy="149225"/>
            </a:xfrm>
            <a:custGeom>
              <a:avLst/>
              <a:gdLst>
                <a:gd name="T0" fmla="*/ 0 w 132"/>
                <a:gd name="T1" fmla="*/ 48 h 94"/>
                <a:gd name="T2" fmla="*/ 0 w 132"/>
                <a:gd name="T3" fmla="*/ 57 h 94"/>
                <a:gd name="T4" fmla="*/ 6 w 132"/>
                <a:gd name="T5" fmla="*/ 64 h 94"/>
                <a:gd name="T6" fmla="*/ 12 w 132"/>
                <a:gd name="T7" fmla="*/ 82 h 94"/>
                <a:gd name="T8" fmla="*/ 94 w 132"/>
                <a:gd name="T9" fmla="*/ 94 h 94"/>
                <a:gd name="T10" fmla="*/ 104 w 132"/>
                <a:gd name="T11" fmla="*/ 87 h 94"/>
                <a:gd name="T12" fmla="*/ 127 w 132"/>
                <a:gd name="T13" fmla="*/ 21 h 94"/>
                <a:gd name="T14" fmla="*/ 132 w 132"/>
                <a:gd name="T15" fmla="*/ 21 h 94"/>
                <a:gd name="T16" fmla="*/ 132 w 132"/>
                <a:gd name="T17" fmla="*/ 14 h 94"/>
                <a:gd name="T18" fmla="*/ 131 w 132"/>
                <a:gd name="T19" fmla="*/ 10 h 94"/>
                <a:gd name="T20" fmla="*/ 129 w 132"/>
                <a:gd name="T21" fmla="*/ 12 h 94"/>
                <a:gd name="T22" fmla="*/ 127 w 132"/>
                <a:gd name="T23" fmla="*/ 10 h 94"/>
                <a:gd name="T24" fmla="*/ 127 w 132"/>
                <a:gd name="T25" fmla="*/ 10 h 94"/>
                <a:gd name="T26" fmla="*/ 126 w 132"/>
                <a:gd name="T27" fmla="*/ 10 h 94"/>
                <a:gd name="T28" fmla="*/ 123 w 132"/>
                <a:gd name="T29" fmla="*/ 0 h 94"/>
                <a:gd name="T30" fmla="*/ 121 w 132"/>
                <a:gd name="T31" fmla="*/ 0 h 94"/>
                <a:gd name="T32" fmla="*/ 121 w 132"/>
                <a:gd name="T33" fmla="*/ 5 h 94"/>
                <a:gd name="T34" fmla="*/ 120 w 132"/>
                <a:gd name="T35" fmla="*/ 6 h 94"/>
                <a:gd name="T36" fmla="*/ 103 w 132"/>
                <a:gd name="T37" fmla="*/ 16 h 94"/>
                <a:gd name="T38" fmla="*/ 103 w 132"/>
                <a:gd name="T39" fmla="*/ 21 h 94"/>
                <a:gd name="T40" fmla="*/ 85 w 132"/>
                <a:gd name="T41" fmla="*/ 34 h 94"/>
                <a:gd name="T42" fmla="*/ 83 w 132"/>
                <a:gd name="T43" fmla="*/ 37 h 94"/>
                <a:gd name="T44" fmla="*/ 85 w 132"/>
                <a:gd name="T45" fmla="*/ 37 h 94"/>
                <a:gd name="T46" fmla="*/ 86 w 132"/>
                <a:gd name="T47" fmla="*/ 42 h 94"/>
                <a:gd name="T48" fmla="*/ 79 w 132"/>
                <a:gd name="T49" fmla="*/ 48 h 94"/>
                <a:gd name="T50" fmla="*/ 77 w 132"/>
                <a:gd name="T51" fmla="*/ 45 h 94"/>
                <a:gd name="T52" fmla="*/ 74 w 132"/>
                <a:gd name="T53" fmla="*/ 45 h 94"/>
                <a:gd name="T54" fmla="*/ 71 w 132"/>
                <a:gd name="T55" fmla="*/ 45 h 94"/>
                <a:gd name="T56" fmla="*/ 71 w 132"/>
                <a:gd name="T57" fmla="*/ 51 h 94"/>
                <a:gd name="T58" fmla="*/ 70 w 132"/>
                <a:gd name="T59" fmla="*/ 51 h 94"/>
                <a:gd name="T60" fmla="*/ 70 w 132"/>
                <a:gd name="T61" fmla="*/ 53 h 94"/>
                <a:gd name="T62" fmla="*/ 60 w 132"/>
                <a:gd name="T63" fmla="*/ 54 h 94"/>
                <a:gd name="T64" fmla="*/ 54 w 132"/>
                <a:gd name="T65" fmla="*/ 54 h 94"/>
                <a:gd name="T66" fmla="*/ 52 w 132"/>
                <a:gd name="T67" fmla="*/ 51 h 94"/>
                <a:gd name="T68" fmla="*/ 46 w 132"/>
                <a:gd name="T69" fmla="*/ 53 h 94"/>
                <a:gd name="T70" fmla="*/ 45 w 132"/>
                <a:gd name="T71" fmla="*/ 51 h 94"/>
                <a:gd name="T72" fmla="*/ 41 w 132"/>
                <a:gd name="T73" fmla="*/ 51 h 94"/>
                <a:gd name="T74" fmla="*/ 30 w 132"/>
                <a:gd name="T75" fmla="*/ 49 h 94"/>
                <a:gd name="T76" fmla="*/ 19 w 132"/>
                <a:gd name="T77" fmla="*/ 59 h 94"/>
                <a:gd name="T78" fmla="*/ 13 w 132"/>
                <a:gd name="T79" fmla="*/ 57 h 94"/>
                <a:gd name="T80" fmla="*/ 9 w 132"/>
                <a:gd name="T81" fmla="*/ 57 h 94"/>
                <a:gd name="T82" fmla="*/ 6 w 132"/>
                <a:gd name="T83" fmla="*/ 59 h 94"/>
                <a:gd name="T84" fmla="*/ 3 w 132"/>
                <a:gd name="T85" fmla="*/ 48 h 94"/>
                <a:gd name="T86" fmla="*/ 2 w 132"/>
                <a:gd name="T87" fmla="*/ 49 h 94"/>
                <a:gd name="T88" fmla="*/ 0 w 132"/>
                <a:gd name="T89" fmla="*/ 48 h 94"/>
                <a:gd name="T90" fmla="*/ 0 w 132"/>
                <a:gd name="T91" fmla="*/ 48 h 94"/>
                <a:gd name="T92" fmla="*/ 0 w 132"/>
                <a:gd name="T93" fmla="*/ 4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94">
                  <a:moveTo>
                    <a:pt x="0" y="48"/>
                  </a:moveTo>
                  <a:lnTo>
                    <a:pt x="0" y="57"/>
                  </a:lnTo>
                  <a:lnTo>
                    <a:pt x="6" y="64"/>
                  </a:lnTo>
                  <a:lnTo>
                    <a:pt x="12" y="82"/>
                  </a:lnTo>
                  <a:lnTo>
                    <a:pt x="94" y="94"/>
                  </a:lnTo>
                  <a:lnTo>
                    <a:pt x="104" y="87"/>
                  </a:lnTo>
                  <a:lnTo>
                    <a:pt x="127" y="21"/>
                  </a:lnTo>
                  <a:lnTo>
                    <a:pt x="132" y="21"/>
                  </a:lnTo>
                  <a:lnTo>
                    <a:pt x="132" y="14"/>
                  </a:lnTo>
                  <a:lnTo>
                    <a:pt x="131" y="10"/>
                  </a:lnTo>
                  <a:lnTo>
                    <a:pt x="129" y="12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6" y="10"/>
                  </a:lnTo>
                  <a:lnTo>
                    <a:pt x="123" y="0"/>
                  </a:lnTo>
                  <a:lnTo>
                    <a:pt x="121" y="0"/>
                  </a:lnTo>
                  <a:lnTo>
                    <a:pt x="121" y="5"/>
                  </a:lnTo>
                  <a:lnTo>
                    <a:pt x="120" y="6"/>
                  </a:lnTo>
                  <a:lnTo>
                    <a:pt x="103" y="16"/>
                  </a:lnTo>
                  <a:lnTo>
                    <a:pt x="103" y="21"/>
                  </a:lnTo>
                  <a:lnTo>
                    <a:pt x="85" y="34"/>
                  </a:lnTo>
                  <a:lnTo>
                    <a:pt x="83" y="37"/>
                  </a:lnTo>
                  <a:lnTo>
                    <a:pt x="85" y="37"/>
                  </a:lnTo>
                  <a:lnTo>
                    <a:pt x="86" y="42"/>
                  </a:lnTo>
                  <a:lnTo>
                    <a:pt x="79" y="48"/>
                  </a:lnTo>
                  <a:lnTo>
                    <a:pt x="77" y="45"/>
                  </a:lnTo>
                  <a:lnTo>
                    <a:pt x="74" y="45"/>
                  </a:lnTo>
                  <a:lnTo>
                    <a:pt x="71" y="45"/>
                  </a:lnTo>
                  <a:lnTo>
                    <a:pt x="71" y="51"/>
                  </a:lnTo>
                  <a:lnTo>
                    <a:pt x="70" y="51"/>
                  </a:lnTo>
                  <a:lnTo>
                    <a:pt x="70" y="53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52" y="51"/>
                  </a:lnTo>
                  <a:lnTo>
                    <a:pt x="46" y="53"/>
                  </a:lnTo>
                  <a:lnTo>
                    <a:pt x="45" y="51"/>
                  </a:lnTo>
                  <a:lnTo>
                    <a:pt x="41" y="51"/>
                  </a:lnTo>
                  <a:lnTo>
                    <a:pt x="30" y="49"/>
                  </a:lnTo>
                  <a:lnTo>
                    <a:pt x="19" y="59"/>
                  </a:lnTo>
                  <a:lnTo>
                    <a:pt x="13" y="57"/>
                  </a:lnTo>
                  <a:lnTo>
                    <a:pt x="9" y="57"/>
                  </a:lnTo>
                  <a:lnTo>
                    <a:pt x="6" y="59"/>
                  </a:lnTo>
                  <a:lnTo>
                    <a:pt x="3" y="48"/>
                  </a:lnTo>
                  <a:lnTo>
                    <a:pt x="2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2" name="Freeform 25"/>
            <p:cNvSpPr>
              <a:spLocks/>
            </p:cNvSpPr>
            <p:nvPr/>
          </p:nvSpPr>
          <p:spPr bwMode="auto">
            <a:xfrm>
              <a:off x="7867651" y="4086226"/>
              <a:ext cx="206375" cy="196850"/>
            </a:xfrm>
            <a:custGeom>
              <a:avLst/>
              <a:gdLst>
                <a:gd name="T0" fmla="*/ 92 w 130"/>
                <a:gd name="T1" fmla="*/ 122 h 124"/>
                <a:gd name="T2" fmla="*/ 95 w 130"/>
                <a:gd name="T3" fmla="*/ 122 h 124"/>
                <a:gd name="T4" fmla="*/ 95 w 130"/>
                <a:gd name="T5" fmla="*/ 124 h 124"/>
                <a:gd name="T6" fmla="*/ 101 w 130"/>
                <a:gd name="T7" fmla="*/ 124 h 124"/>
                <a:gd name="T8" fmla="*/ 102 w 130"/>
                <a:gd name="T9" fmla="*/ 121 h 124"/>
                <a:gd name="T10" fmla="*/ 107 w 130"/>
                <a:gd name="T11" fmla="*/ 116 h 124"/>
                <a:gd name="T12" fmla="*/ 110 w 130"/>
                <a:gd name="T13" fmla="*/ 111 h 124"/>
                <a:gd name="T14" fmla="*/ 116 w 130"/>
                <a:gd name="T15" fmla="*/ 106 h 124"/>
                <a:gd name="T16" fmla="*/ 127 w 130"/>
                <a:gd name="T17" fmla="*/ 93 h 124"/>
                <a:gd name="T18" fmla="*/ 127 w 130"/>
                <a:gd name="T19" fmla="*/ 89 h 124"/>
                <a:gd name="T20" fmla="*/ 127 w 130"/>
                <a:gd name="T21" fmla="*/ 85 h 124"/>
                <a:gd name="T22" fmla="*/ 130 w 130"/>
                <a:gd name="T23" fmla="*/ 79 h 124"/>
                <a:gd name="T24" fmla="*/ 130 w 130"/>
                <a:gd name="T25" fmla="*/ 73 h 124"/>
                <a:gd name="T26" fmla="*/ 129 w 130"/>
                <a:gd name="T27" fmla="*/ 72 h 124"/>
                <a:gd name="T28" fmla="*/ 124 w 130"/>
                <a:gd name="T29" fmla="*/ 72 h 124"/>
                <a:gd name="T30" fmla="*/ 113 w 130"/>
                <a:gd name="T31" fmla="*/ 64 h 124"/>
                <a:gd name="T32" fmla="*/ 110 w 130"/>
                <a:gd name="T33" fmla="*/ 61 h 124"/>
                <a:gd name="T34" fmla="*/ 107 w 130"/>
                <a:gd name="T35" fmla="*/ 57 h 124"/>
                <a:gd name="T36" fmla="*/ 104 w 130"/>
                <a:gd name="T37" fmla="*/ 50 h 124"/>
                <a:gd name="T38" fmla="*/ 96 w 130"/>
                <a:gd name="T39" fmla="*/ 40 h 124"/>
                <a:gd name="T40" fmla="*/ 92 w 130"/>
                <a:gd name="T41" fmla="*/ 40 h 124"/>
                <a:gd name="T42" fmla="*/ 84 w 130"/>
                <a:gd name="T43" fmla="*/ 42 h 124"/>
                <a:gd name="T44" fmla="*/ 74 w 130"/>
                <a:gd name="T45" fmla="*/ 40 h 124"/>
                <a:gd name="T46" fmla="*/ 68 w 130"/>
                <a:gd name="T47" fmla="*/ 40 h 124"/>
                <a:gd name="T48" fmla="*/ 64 w 130"/>
                <a:gd name="T49" fmla="*/ 42 h 124"/>
                <a:gd name="T50" fmla="*/ 57 w 130"/>
                <a:gd name="T51" fmla="*/ 40 h 124"/>
                <a:gd name="T52" fmla="*/ 41 w 130"/>
                <a:gd name="T53" fmla="*/ 29 h 124"/>
                <a:gd name="T54" fmla="*/ 41 w 130"/>
                <a:gd name="T55" fmla="*/ 25 h 124"/>
                <a:gd name="T56" fmla="*/ 31 w 130"/>
                <a:gd name="T57" fmla="*/ 14 h 124"/>
                <a:gd name="T58" fmla="*/ 29 w 130"/>
                <a:gd name="T59" fmla="*/ 0 h 124"/>
                <a:gd name="T60" fmla="*/ 23 w 130"/>
                <a:gd name="T61" fmla="*/ 0 h 124"/>
                <a:gd name="T62" fmla="*/ 0 w 130"/>
                <a:gd name="T63" fmla="*/ 67 h 124"/>
                <a:gd name="T64" fmla="*/ 6 w 130"/>
                <a:gd name="T65" fmla="*/ 85 h 124"/>
                <a:gd name="T66" fmla="*/ 4 w 130"/>
                <a:gd name="T67" fmla="*/ 124 h 124"/>
                <a:gd name="T68" fmla="*/ 90 w 130"/>
                <a:gd name="T69" fmla="*/ 124 h 124"/>
                <a:gd name="T70" fmla="*/ 92 w 130"/>
                <a:gd name="T71" fmla="*/ 1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0" h="124">
                  <a:moveTo>
                    <a:pt x="92" y="122"/>
                  </a:moveTo>
                  <a:lnTo>
                    <a:pt x="95" y="122"/>
                  </a:lnTo>
                  <a:lnTo>
                    <a:pt x="95" y="124"/>
                  </a:lnTo>
                  <a:lnTo>
                    <a:pt x="101" y="124"/>
                  </a:lnTo>
                  <a:lnTo>
                    <a:pt x="102" y="121"/>
                  </a:lnTo>
                  <a:lnTo>
                    <a:pt x="107" y="116"/>
                  </a:lnTo>
                  <a:lnTo>
                    <a:pt x="110" y="111"/>
                  </a:lnTo>
                  <a:lnTo>
                    <a:pt x="116" y="106"/>
                  </a:lnTo>
                  <a:lnTo>
                    <a:pt x="127" y="93"/>
                  </a:lnTo>
                  <a:lnTo>
                    <a:pt x="127" y="89"/>
                  </a:lnTo>
                  <a:lnTo>
                    <a:pt x="127" y="85"/>
                  </a:lnTo>
                  <a:lnTo>
                    <a:pt x="130" y="79"/>
                  </a:lnTo>
                  <a:lnTo>
                    <a:pt x="130" y="73"/>
                  </a:lnTo>
                  <a:lnTo>
                    <a:pt x="129" y="72"/>
                  </a:lnTo>
                  <a:lnTo>
                    <a:pt x="124" y="72"/>
                  </a:lnTo>
                  <a:lnTo>
                    <a:pt x="113" y="64"/>
                  </a:lnTo>
                  <a:lnTo>
                    <a:pt x="110" y="61"/>
                  </a:lnTo>
                  <a:lnTo>
                    <a:pt x="107" y="57"/>
                  </a:lnTo>
                  <a:lnTo>
                    <a:pt x="104" y="50"/>
                  </a:lnTo>
                  <a:lnTo>
                    <a:pt x="96" y="40"/>
                  </a:lnTo>
                  <a:lnTo>
                    <a:pt x="92" y="40"/>
                  </a:lnTo>
                  <a:lnTo>
                    <a:pt x="84" y="42"/>
                  </a:lnTo>
                  <a:lnTo>
                    <a:pt x="74" y="40"/>
                  </a:lnTo>
                  <a:lnTo>
                    <a:pt x="68" y="40"/>
                  </a:lnTo>
                  <a:lnTo>
                    <a:pt x="64" y="42"/>
                  </a:lnTo>
                  <a:lnTo>
                    <a:pt x="57" y="40"/>
                  </a:lnTo>
                  <a:lnTo>
                    <a:pt x="41" y="29"/>
                  </a:lnTo>
                  <a:lnTo>
                    <a:pt x="41" y="25"/>
                  </a:lnTo>
                  <a:lnTo>
                    <a:pt x="31" y="14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0" y="67"/>
                  </a:lnTo>
                  <a:lnTo>
                    <a:pt x="6" y="85"/>
                  </a:lnTo>
                  <a:lnTo>
                    <a:pt x="4" y="124"/>
                  </a:lnTo>
                  <a:lnTo>
                    <a:pt x="90" y="124"/>
                  </a:lnTo>
                  <a:lnTo>
                    <a:pt x="92" y="12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3" name="Freeform 26"/>
            <p:cNvSpPr>
              <a:spLocks/>
            </p:cNvSpPr>
            <p:nvPr/>
          </p:nvSpPr>
          <p:spPr bwMode="auto">
            <a:xfrm>
              <a:off x="7894638" y="4035426"/>
              <a:ext cx="17463" cy="34925"/>
            </a:xfrm>
            <a:custGeom>
              <a:avLst/>
              <a:gdLst>
                <a:gd name="T0" fmla="*/ 5 w 11"/>
                <a:gd name="T1" fmla="*/ 22 h 22"/>
                <a:gd name="T2" fmla="*/ 6 w 11"/>
                <a:gd name="T3" fmla="*/ 22 h 22"/>
                <a:gd name="T4" fmla="*/ 6 w 11"/>
                <a:gd name="T5" fmla="*/ 17 h 22"/>
                <a:gd name="T6" fmla="*/ 9 w 11"/>
                <a:gd name="T7" fmla="*/ 14 h 22"/>
                <a:gd name="T8" fmla="*/ 11 w 11"/>
                <a:gd name="T9" fmla="*/ 6 h 22"/>
                <a:gd name="T10" fmla="*/ 9 w 11"/>
                <a:gd name="T11" fmla="*/ 6 h 22"/>
                <a:gd name="T12" fmla="*/ 11 w 11"/>
                <a:gd name="T13" fmla="*/ 6 h 22"/>
                <a:gd name="T14" fmla="*/ 9 w 11"/>
                <a:gd name="T15" fmla="*/ 3 h 22"/>
                <a:gd name="T16" fmla="*/ 11 w 11"/>
                <a:gd name="T17" fmla="*/ 1 h 22"/>
                <a:gd name="T18" fmla="*/ 11 w 11"/>
                <a:gd name="T19" fmla="*/ 0 h 22"/>
                <a:gd name="T20" fmla="*/ 9 w 11"/>
                <a:gd name="T21" fmla="*/ 1 h 22"/>
                <a:gd name="T22" fmla="*/ 5 w 11"/>
                <a:gd name="T23" fmla="*/ 1 h 22"/>
                <a:gd name="T24" fmla="*/ 5 w 11"/>
                <a:gd name="T25" fmla="*/ 6 h 22"/>
                <a:gd name="T26" fmla="*/ 3 w 11"/>
                <a:gd name="T27" fmla="*/ 9 h 22"/>
                <a:gd name="T28" fmla="*/ 0 w 11"/>
                <a:gd name="T29" fmla="*/ 6 h 22"/>
                <a:gd name="T30" fmla="*/ 0 w 11"/>
                <a:gd name="T31" fmla="*/ 9 h 22"/>
                <a:gd name="T32" fmla="*/ 0 w 11"/>
                <a:gd name="T33" fmla="*/ 12 h 22"/>
                <a:gd name="T34" fmla="*/ 3 w 11"/>
                <a:gd name="T35" fmla="*/ 12 h 22"/>
                <a:gd name="T36" fmla="*/ 5 w 11"/>
                <a:gd name="T3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22">
                  <a:moveTo>
                    <a:pt x="5" y="22"/>
                  </a:moveTo>
                  <a:lnTo>
                    <a:pt x="6" y="22"/>
                  </a:lnTo>
                  <a:lnTo>
                    <a:pt x="6" y="17"/>
                  </a:lnTo>
                  <a:lnTo>
                    <a:pt x="9" y="14"/>
                  </a:lnTo>
                  <a:lnTo>
                    <a:pt x="11" y="6"/>
                  </a:lnTo>
                  <a:lnTo>
                    <a:pt x="9" y="6"/>
                  </a:lnTo>
                  <a:lnTo>
                    <a:pt x="11" y="6"/>
                  </a:lnTo>
                  <a:lnTo>
                    <a:pt x="9" y="3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9" y="1"/>
                  </a:lnTo>
                  <a:lnTo>
                    <a:pt x="5" y="1"/>
                  </a:lnTo>
                  <a:lnTo>
                    <a:pt x="5" y="6"/>
                  </a:lnTo>
                  <a:lnTo>
                    <a:pt x="3" y="9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4" name="Freeform 27"/>
            <p:cNvSpPr>
              <a:spLocks/>
            </p:cNvSpPr>
            <p:nvPr/>
          </p:nvSpPr>
          <p:spPr bwMode="auto">
            <a:xfrm>
              <a:off x="8304213" y="3243263"/>
              <a:ext cx="274638" cy="323850"/>
            </a:xfrm>
            <a:custGeom>
              <a:avLst/>
              <a:gdLst>
                <a:gd name="T0" fmla="*/ 163 w 173"/>
                <a:gd name="T1" fmla="*/ 0 h 204"/>
                <a:gd name="T2" fmla="*/ 151 w 173"/>
                <a:gd name="T3" fmla="*/ 2 h 204"/>
                <a:gd name="T4" fmla="*/ 141 w 173"/>
                <a:gd name="T5" fmla="*/ 0 h 204"/>
                <a:gd name="T6" fmla="*/ 136 w 173"/>
                <a:gd name="T7" fmla="*/ 7 h 204"/>
                <a:gd name="T8" fmla="*/ 139 w 173"/>
                <a:gd name="T9" fmla="*/ 19 h 204"/>
                <a:gd name="T10" fmla="*/ 114 w 173"/>
                <a:gd name="T11" fmla="*/ 19 h 204"/>
                <a:gd name="T12" fmla="*/ 87 w 173"/>
                <a:gd name="T13" fmla="*/ 16 h 204"/>
                <a:gd name="T14" fmla="*/ 74 w 173"/>
                <a:gd name="T15" fmla="*/ 19 h 204"/>
                <a:gd name="T16" fmla="*/ 70 w 173"/>
                <a:gd name="T17" fmla="*/ 25 h 204"/>
                <a:gd name="T18" fmla="*/ 72 w 173"/>
                <a:gd name="T19" fmla="*/ 30 h 204"/>
                <a:gd name="T20" fmla="*/ 62 w 173"/>
                <a:gd name="T21" fmla="*/ 46 h 204"/>
                <a:gd name="T22" fmla="*/ 64 w 173"/>
                <a:gd name="T23" fmla="*/ 55 h 204"/>
                <a:gd name="T24" fmla="*/ 81 w 173"/>
                <a:gd name="T25" fmla="*/ 63 h 204"/>
                <a:gd name="T26" fmla="*/ 90 w 173"/>
                <a:gd name="T27" fmla="*/ 59 h 204"/>
                <a:gd name="T28" fmla="*/ 95 w 173"/>
                <a:gd name="T29" fmla="*/ 53 h 204"/>
                <a:gd name="T30" fmla="*/ 110 w 173"/>
                <a:gd name="T31" fmla="*/ 67 h 204"/>
                <a:gd name="T32" fmla="*/ 93 w 173"/>
                <a:gd name="T33" fmla="*/ 74 h 204"/>
                <a:gd name="T34" fmla="*/ 78 w 173"/>
                <a:gd name="T35" fmla="*/ 72 h 204"/>
                <a:gd name="T36" fmla="*/ 62 w 173"/>
                <a:gd name="T37" fmla="*/ 75 h 204"/>
                <a:gd name="T38" fmla="*/ 49 w 173"/>
                <a:gd name="T39" fmla="*/ 80 h 204"/>
                <a:gd name="T40" fmla="*/ 41 w 173"/>
                <a:gd name="T41" fmla="*/ 89 h 204"/>
                <a:gd name="T42" fmla="*/ 50 w 173"/>
                <a:gd name="T43" fmla="*/ 95 h 204"/>
                <a:gd name="T44" fmla="*/ 30 w 173"/>
                <a:gd name="T45" fmla="*/ 101 h 204"/>
                <a:gd name="T46" fmla="*/ 34 w 173"/>
                <a:gd name="T47" fmla="*/ 109 h 204"/>
                <a:gd name="T48" fmla="*/ 23 w 173"/>
                <a:gd name="T49" fmla="*/ 116 h 204"/>
                <a:gd name="T50" fmla="*/ 5 w 173"/>
                <a:gd name="T51" fmla="*/ 116 h 204"/>
                <a:gd name="T52" fmla="*/ 0 w 173"/>
                <a:gd name="T53" fmla="*/ 128 h 204"/>
                <a:gd name="T54" fmla="*/ 11 w 173"/>
                <a:gd name="T55" fmla="*/ 134 h 204"/>
                <a:gd name="T56" fmla="*/ 20 w 173"/>
                <a:gd name="T57" fmla="*/ 140 h 204"/>
                <a:gd name="T58" fmla="*/ 20 w 173"/>
                <a:gd name="T59" fmla="*/ 151 h 204"/>
                <a:gd name="T60" fmla="*/ 26 w 173"/>
                <a:gd name="T61" fmla="*/ 161 h 204"/>
                <a:gd name="T62" fmla="*/ 18 w 173"/>
                <a:gd name="T63" fmla="*/ 176 h 204"/>
                <a:gd name="T64" fmla="*/ 15 w 173"/>
                <a:gd name="T65" fmla="*/ 189 h 204"/>
                <a:gd name="T66" fmla="*/ 24 w 173"/>
                <a:gd name="T67" fmla="*/ 195 h 204"/>
                <a:gd name="T68" fmla="*/ 39 w 173"/>
                <a:gd name="T69" fmla="*/ 192 h 204"/>
                <a:gd name="T70" fmla="*/ 45 w 173"/>
                <a:gd name="T71" fmla="*/ 186 h 204"/>
                <a:gd name="T72" fmla="*/ 50 w 173"/>
                <a:gd name="T73" fmla="*/ 186 h 204"/>
                <a:gd name="T74" fmla="*/ 64 w 173"/>
                <a:gd name="T75" fmla="*/ 190 h 204"/>
                <a:gd name="T76" fmla="*/ 62 w 173"/>
                <a:gd name="T77" fmla="*/ 185 h 204"/>
                <a:gd name="T78" fmla="*/ 68 w 173"/>
                <a:gd name="T79" fmla="*/ 179 h 204"/>
                <a:gd name="T80" fmla="*/ 74 w 173"/>
                <a:gd name="T81" fmla="*/ 177 h 204"/>
                <a:gd name="T82" fmla="*/ 79 w 173"/>
                <a:gd name="T83" fmla="*/ 179 h 204"/>
                <a:gd name="T84" fmla="*/ 81 w 173"/>
                <a:gd name="T85" fmla="*/ 168 h 204"/>
                <a:gd name="T86" fmla="*/ 87 w 173"/>
                <a:gd name="T87" fmla="*/ 161 h 204"/>
                <a:gd name="T88" fmla="*/ 90 w 173"/>
                <a:gd name="T89" fmla="*/ 150 h 204"/>
                <a:gd name="T90" fmla="*/ 102 w 173"/>
                <a:gd name="T91" fmla="*/ 153 h 204"/>
                <a:gd name="T92" fmla="*/ 108 w 173"/>
                <a:gd name="T93" fmla="*/ 159 h 204"/>
                <a:gd name="T94" fmla="*/ 108 w 173"/>
                <a:gd name="T95" fmla="*/ 170 h 204"/>
                <a:gd name="T96" fmla="*/ 116 w 173"/>
                <a:gd name="T97" fmla="*/ 173 h 204"/>
                <a:gd name="T98" fmla="*/ 116 w 173"/>
                <a:gd name="T99" fmla="*/ 185 h 204"/>
                <a:gd name="T100" fmla="*/ 119 w 173"/>
                <a:gd name="T101" fmla="*/ 200 h 204"/>
                <a:gd name="T102" fmla="*/ 125 w 173"/>
                <a:gd name="T103" fmla="*/ 204 h 204"/>
                <a:gd name="T104" fmla="*/ 136 w 173"/>
                <a:gd name="T105" fmla="*/ 201 h 204"/>
                <a:gd name="T106" fmla="*/ 148 w 173"/>
                <a:gd name="T107" fmla="*/ 194 h 204"/>
                <a:gd name="T108" fmla="*/ 154 w 173"/>
                <a:gd name="T109" fmla="*/ 186 h 204"/>
                <a:gd name="T110" fmla="*/ 169 w 173"/>
                <a:gd name="T111" fmla="*/ 177 h 204"/>
                <a:gd name="T112" fmla="*/ 173 w 173"/>
                <a:gd name="T113" fmla="*/ 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3" h="204">
                  <a:moveTo>
                    <a:pt x="169" y="3"/>
                  </a:moveTo>
                  <a:lnTo>
                    <a:pt x="163" y="0"/>
                  </a:lnTo>
                  <a:lnTo>
                    <a:pt x="154" y="0"/>
                  </a:lnTo>
                  <a:lnTo>
                    <a:pt x="151" y="2"/>
                  </a:lnTo>
                  <a:lnTo>
                    <a:pt x="145" y="2"/>
                  </a:lnTo>
                  <a:lnTo>
                    <a:pt x="141" y="0"/>
                  </a:lnTo>
                  <a:lnTo>
                    <a:pt x="136" y="2"/>
                  </a:lnTo>
                  <a:lnTo>
                    <a:pt x="136" y="7"/>
                  </a:lnTo>
                  <a:lnTo>
                    <a:pt x="139" y="13"/>
                  </a:lnTo>
                  <a:lnTo>
                    <a:pt x="139" y="19"/>
                  </a:lnTo>
                  <a:lnTo>
                    <a:pt x="131" y="19"/>
                  </a:lnTo>
                  <a:lnTo>
                    <a:pt x="114" y="19"/>
                  </a:lnTo>
                  <a:lnTo>
                    <a:pt x="93" y="19"/>
                  </a:lnTo>
                  <a:lnTo>
                    <a:pt x="87" y="16"/>
                  </a:lnTo>
                  <a:lnTo>
                    <a:pt x="79" y="14"/>
                  </a:lnTo>
                  <a:lnTo>
                    <a:pt x="74" y="19"/>
                  </a:lnTo>
                  <a:lnTo>
                    <a:pt x="75" y="22"/>
                  </a:lnTo>
                  <a:lnTo>
                    <a:pt x="70" y="25"/>
                  </a:lnTo>
                  <a:lnTo>
                    <a:pt x="68" y="27"/>
                  </a:lnTo>
                  <a:lnTo>
                    <a:pt x="72" y="30"/>
                  </a:lnTo>
                  <a:lnTo>
                    <a:pt x="72" y="33"/>
                  </a:lnTo>
                  <a:lnTo>
                    <a:pt x="62" y="46"/>
                  </a:lnTo>
                  <a:lnTo>
                    <a:pt x="59" y="52"/>
                  </a:lnTo>
                  <a:lnTo>
                    <a:pt x="64" y="55"/>
                  </a:lnTo>
                  <a:lnTo>
                    <a:pt x="75" y="58"/>
                  </a:lnTo>
                  <a:lnTo>
                    <a:pt x="81" y="63"/>
                  </a:lnTo>
                  <a:lnTo>
                    <a:pt x="87" y="63"/>
                  </a:lnTo>
                  <a:lnTo>
                    <a:pt x="90" y="59"/>
                  </a:lnTo>
                  <a:lnTo>
                    <a:pt x="93" y="52"/>
                  </a:lnTo>
                  <a:lnTo>
                    <a:pt x="95" y="53"/>
                  </a:lnTo>
                  <a:lnTo>
                    <a:pt x="110" y="63"/>
                  </a:lnTo>
                  <a:lnTo>
                    <a:pt x="110" y="67"/>
                  </a:lnTo>
                  <a:lnTo>
                    <a:pt x="102" y="75"/>
                  </a:lnTo>
                  <a:lnTo>
                    <a:pt x="93" y="74"/>
                  </a:lnTo>
                  <a:lnTo>
                    <a:pt x="79" y="75"/>
                  </a:lnTo>
                  <a:lnTo>
                    <a:pt x="78" y="72"/>
                  </a:lnTo>
                  <a:lnTo>
                    <a:pt x="72" y="68"/>
                  </a:lnTo>
                  <a:lnTo>
                    <a:pt x="62" y="75"/>
                  </a:lnTo>
                  <a:lnTo>
                    <a:pt x="56" y="75"/>
                  </a:lnTo>
                  <a:lnTo>
                    <a:pt x="49" y="80"/>
                  </a:lnTo>
                  <a:lnTo>
                    <a:pt x="44" y="81"/>
                  </a:lnTo>
                  <a:lnTo>
                    <a:pt x="41" y="89"/>
                  </a:lnTo>
                  <a:lnTo>
                    <a:pt x="50" y="92"/>
                  </a:lnTo>
                  <a:lnTo>
                    <a:pt x="50" y="95"/>
                  </a:lnTo>
                  <a:lnTo>
                    <a:pt x="41" y="100"/>
                  </a:lnTo>
                  <a:lnTo>
                    <a:pt x="30" y="101"/>
                  </a:lnTo>
                  <a:lnTo>
                    <a:pt x="32" y="103"/>
                  </a:lnTo>
                  <a:lnTo>
                    <a:pt x="34" y="109"/>
                  </a:lnTo>
                  <a:lnTo>
                    <a:pt x="23" y="111"/>
                  </a:lnTo>
                  <a:lnTo>
                    <a:pt x="23" y="116"/>
                  </a:lnTo>
                  <a:lnTo>
                    <a:pt x="17" y="118"/>
                  </a:lnTo>
                  <a:lnTo>
                    <a:pt x="5" y="116"/>
                  </a:lnTo>
                  <a:lnTo>
                    <a:pt x="0" y="120"/>
                  </a:lnTo>
                  <a:lnTo>
                    <a:pt x="0" y="128"/>
                  </a:lnTo>
                  <a:lnTo>
                    <a:pt x="5" y="137"/>
                  </a:lnTo>
                  <a:lnTo>
                    <a:pt x="11" y="134"/>
                  </a:lnTo>
                  <a:lnTo>
                    <a:pt x="18" y="134"/>
                  </a:lnTo>
                  <a:lnTo>
                    <a:pt x="20" y="140"/>
                  </a:lnTo>
                  <a:lnTo>
                    <a:pt x="17" y="145"/>
                  </a:lnTo>
                  <a:lnTo>
                    <a:pt x="20" y="151"/>
                  </a:lnTo>
                  <a:lnTo>
                    <a:pt x="26" y="153"/>
                  </a:lnTo>
                  <a:lnTo>
                    <a:pt x="26" y="161"/>
                  </a:lnTo>
                  <a:lnTo>
                    <a:pt x="24" y="164"/>
                  </a:lnTo>
                  <a:lnTo>
                    <a:pt x="18" y="176"/>
                  </a:lnTo>
                  <a:lnTo>
                    <a:pt x="17" y="190"/>
                  </a:lnTo>
                  <a:lnTo>
                    <a:pt x="15" y="189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34" y="194"/>
                  </a:lnTo>
                  <a:lnTo>
                    <a:pt x="39" y="192"/>
                  </a:lnTo>
                  <a:lnTo>
                    <a:pt x="44" y="189"/>
                  </a:lnTo>
                  <a:lnTo>
                    <a:pt x="45" y="186"/>
                  </a:lnTo>
                  <a:lnTo>
                    <a:pt x="49" y="185"/>
                  </a:lnTo>
                  <a:lnTo>
                    <a:pt x="50" y="186"/>
                  </a:lnTo>
                  <a:lnTo>
                    <a:pt x="55" y="190"/>
                  </a:lnTo>
                  <a:lnTo>
                    <a:pt x="64" y="190"/>
                  </a:lnTo>
                  <a:lnTo>
                    <a:pt x="64" y="186"/>
                  </a:lnTo>
                  <a:lnTo>
                    <a:pt x="62" y="185"/>
                  </a:lnTo>
                  <a:lnTo>
                    <a:pt x="62" y="181"/>
                  </a:lnTo>
                  <a:lnTo>
                    <a:pt x="68" y="179"/>
                  </a:lnTo>
                  <a:lnTo>
                    <a:pt x="70" y="177"/>
                  </a:lnTo>
                  <a:lnTo>
                    <a:pt x="74" y="177"/>
                  </a:lnTo>
                  <a:lnTo>
                    <a:pt x="74" y="179"/>
                  </a:lnTo>
                  <a:lnTo>
                    <a:pt x="79" y="179"/>
                  </a:lnTo>
                  <a:lnTo>
                    <a:pt x="84" y="173"/>
                  </a:lnTo>
                  <a:lnTo>
                    <a:pt x="81" y="168"/>
                  </a:lnTo>
                  <a:lnTo>
                    <a:pt x="85" y="164"/>
                  </a:lnTo>
                  <a:lnTo>
                    <a:pt x="87" y="161"/>
                  </a:lnTo>
                  <a:lnTo>
                    <a:pt x="89" y="155"/>
                  </a:lnTo>
                  <a:lnTo>
                    <a:pt x="90" y="150"/>
                  </a:lnTo>
                  <a:lnTo>
                    <a:pt x="99" y="150"/>
                  </a:lnTo>
                  <a:lnTo>
                    <a:pt x="102" y="153"/>
                  </a:lnTo>
                  <a:lnTo>
                    <a:pt x="108" y="155"/>
                  </a:lnTo>
                  <a:lnTo>
                    <a:pt x="108" y="159"/>
                  </a:lnTo>
                  <a:lnTo>
                    <a:pt x="106" y="164"/>
                  </a:lnTo>
                  <a:lnTo>
                    <a:pt x="108" y="170"/>
                  </a:lnTo>
                  <a:lnTo>
                    <a:pt x="114" y="170"/>
                  </a:lnTo>
                  <a:lnTo>
                    <a:pt x="116" y="173"/>
                  </a:lnTo>
                  <a:lnTo>
                    <a:pt x="116" y="179"/>
                  </a:lnTo>
                  <a:lnTo>
                    <a:pt x="116" y="185"/>
                  </a:lnTo>
                  <a:lnTo>
                    <a:pt x="116" y="194"/>
                  </a:lnTo>
                  <a:lnTo>
                    <a:pt x="119" y="200"/>
                  </a:lnTo>
                  <a:lnTo>
                    <a:pt x="119" y="203"/>
                  </a:lnTo>
                  <a:lnTo>
                    <a:pt x="125" y="204"/>
                  </a:lnTo>
                  <a:lnTo>
                    <a:pt x="133" y="204"/>
                  </a:lnTo>
                  <a:lnTo>
                    <a:pt x="136" y="201"/>
                  </a:lnTo>
                  <a:lnTo>
                    <a:pt x="139" y="200"/>
                  </a:lnTo>
                  <a:lnTo>
                    <a:pt x="148" y="194"/>
                  </a:lnTo>
                  <a:lnTo>
                    <a:pt x="151" y="192"/>
                  </a:lnTo>
                  <a:lnTo>
                    <a:pt x="154" y="186"/>
                  </a:lnTo>
                  <a:lnTo>
                    <a:pt x="157" y="185"/>
                  </a:lnTo>
                  <a:lnTo>
                    <a:pt x="169" y="177"/>
                  </a:lnTo>
                  <a:lnTo>
                    <a:pt x="173" y="177"/>
                  </a:lnTo>
                  <a:lnTo>
                    <a:pt x="173" y="4"/>
                  </a:lnTo>
                  <a:lnTo>
                    <a:pt x="169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5" name="Freeform 28"/>
            <p:cNvSpPr>
              <a:spLocks/>
            </p:cNvSpPr>
            <p:nvPr/>
          </p:nvSpPr>
          <p:spPr bwMode="auto">
            <a:xfrm>
              <a:off x="6524626" y="3827463"/>
              <a:ext cx="552450" cy="411163"/>
            </a:xfrm>
            <a:custGeom>
              <a:avLst/>
              <a:gdLst>
                <a:gd name="T0" fmla="*/ 275 w 348"/>
                <a:gd name="T1" fmla="*/ 46 h 259"/>
                <a:gd name="T2" fmla="*/ 259 w 348"/>
                <a:gd name="T3" fmla="*/ 14 h 259"/>
                <a:gd name="T4" fmla="*/ 247 w 348"/>
                <a:gd name="T5" fmla="*/ 9 h 259"/>
                <a:gd name="T6" fmla="*/ 209 w 348"/>
                <a:gd name="T7" fmla="*/ 12 h 259"/>
                <a:gd name="T8" fmla="*/ 201 w 348"/>
                <a:gd name="T9" fmla="*/ 17 h 259"/>
                <a:gd name="T10" fmla="*/ 190 w 348"/>
                <a:gd name="T11" fmla="*/ 11 h 259"/>
                <a:gd name="T12" fmla="*/ 190 w 348"/>
                <a:gd name="T13" fmla="*/ 3 h 259"/>
                <a:gd name="T14" fmla="*/ 171 w 348"/>
                <a:gd name="T15" fmla="*/ 1 h 259"/>
                <a:gd name="T16" fmla="*/ 173 w 348"/>
                <a:gd name="T17" fmla="*/ 6 h 259"/>
                <a:gd name="T18" fmla="*/ 158 w 348"/>
                <a:gd name="T19" fmla="*/ 7 h 259"/>
                <a:gd name="T20" fmla="*/ 161 w 348"/>
                <a:gd name="T21" fmla="*/ 3 h 259"/>
                <a:gd name="T22" fmla="*/ 152 w 348"/>
                <a:gd name="T23" fmla="*/ 3 h 259"/>
                <a:gd name="T24" fmla="*/ 137 w 348"/>
                <a:gd name="T25" fmla="*/ 11 h 259"/>
                <a:gd name="T26" fmla="*/ 123 w 348"/>
                <a:gd name="T27" fmla="*/ 20 h 259"/>
                <a:gd name="T28" fmla="*/ 97 w 348"/>
                <a:gd name="T29" fmla="*/ 12 h 259"/>
                <a:gd name="T30" fmla="*/ 78 w 348"/>
                <a:gd name="T31" fmla="*/ 9 h 259"/>
                <a:gd name="T32" fmla="*/ 57 w 348"/>
                <a:gd name="T33" fmla="*/ 6 h 259"/>
                <a:gd name="T34" fmla="*/ 11 w 348"/>
                <a:gd name="T35" fmla="*/ 0 h 259"/>
                <a:gd name="T36" fmla="*/ 5 w 348"/>
                <a:gd name="T37" fmla="*/ 6 h 259"/>
                <a:gd name="T38" fmla="*/ 8 w 348"/>
                <a:gd name="T39" fmla="*/ 28 h 259"/>
                <a:gd name="T40" fmla="*/ 4 w 348"/>
                <a:gd name="T41" fmla="*/ 50 h 259"/>
                <a:gd name="T42" fmla="*/ 348 w 348"/>
                <a:gd name="T43" fmla="*/ 254 h 259"/>
                <a:gd name="T44" fmla="*/ 336 w 348"/>
                <a:gd name="T45" fmla="*/ 247 h 259"/>
                <a:gd name="T46" fmla="*/ 325 w 348"/>
                <a:gd name="T47" fmla="*/ 236 h 259"/>
                <a:gd name="T48" fmla="*/ 308 w 348"/>
                <a:gd name="T49" fmla="*/ 232 h 259"/>
                <a:gd name="T50" fmla="*/ 304 w 348"/>
                <a:gd name="T51" fmla="*/ 209 h 259"/>
                <a:gd name="T52" fmla="*/ 304 w 348"/>
                <a:gd name="T53" fmla="*/ 206 h 259"/>
                <a:gd name="T54" fmla="*/ 308 w 348"/>
                <a:gd name="T55" fmla="*/ 204 h 259"/>
                <a:gd name="T56" fmla="*/ 301 w 348"/>
                <a:gd name="T57" fmla="*/ 197 h 259"/>
                <a:gd name="T58" fmla="*/ 285 w 348"/>
                <a:gd name="T59" fmla="*/ 172 h 259"/>
                <a:gd name="T60" fmla="*/ 260 w 348"/>
                <a:gd name="T61" fmla="*/ 141 h 259"/>
                <a:gd name="T62" fmla="*/ 256 w 348"/>
                <a:gd name="T63" fmla="*/ 122 h 259"/>
                <a:gd name="T64" fmla="*/ 246 w 348"/>
                <a:gd name="T65" fmla="*/ 107 h 259"/>
                <a:gd name="T66" fmla="*/ 244 w 348"/>
                <a:gd name="T67" fmla="*/ 96 h 259"/>
                <a:gd name="T68" fmla="*/ 215 w 348"/>
                <a:gd name="T69" fmla="*/ 70 h 259"/>
                <a:gd name="T70" fmla="*/ 211 w 348"/>
                <a:gd name="T71" fmla="*/ 53 h 259"/>
                <a:gd name="T72" fmla="*/ 213 w 348"/>
                <a:gd name="T73" fmla="*/ 50 h 259"/>
                <a:gd name="T74" fmla="*/ 218 w 348"/>
                <a:gd name="T75" fmla="*/ 59 h 259"/>
                <a:gd name="T76" fmla="*/ 230 w 348"/>
                <a:gd name="T77" fmla="*/ 76 h 259"/>
                <a:gd name="T78" fmla="*/ 241 w 348"/>
                <a:gd name="T79" fmla="*/ 87 h 259"/>
                <a:gd name="T80" fmla="*/ 264 w 348"/>
                <a:gd name="T81" fmla="*/ 105 h 259"/>
                <a:gd name="T82" fmla="*/ 270 w 348"/>
                <a:gd name="T83" fmla="*/ 90 h 259"/>
                <a:gd name="T84" fmla="*/ 272 w 348"/>
                <a:gd name="T85" fmla="*/ 76 h 259"/>
                <a:gd name="T86" fmla="*/ 278 w 348"/>
                <a:gd name="T87" fmla="*/ 61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8" h="259">
                  <a:moveTo>
                    <a:pt x="278" y="61"/>
                  </a:moveTo>
                  <a:lnTo>
                    <a:pt x="273" y="52"/>
                  </a:lnTo>
                  <a:lnTo>
                    <a:pt x="275" y="46"/>
                  </a:lnTo>
                  <a:lnTo>
                    <a:pt x="270" y="34"/>
                  </a:lnTo>
                  <a:lnTo>
                    <a:pt x="262" y="23"/>
                  </a:lnTo>
                  <a:lnTo>
                    <a:pt x="259" y="14"/>
                  </a:lnTo>
                  <a:lnTo>
                    <a:pt x="255" y="7"/>
                  </a:lnTo>
                  <a:lnTo>
                    <a:pt x="250" y="6"/>
                  </a:lnTo>
                  <a:lnTo>
                    <a:pt x="247" y="9"/>
                  </a:lnTo>
                  <a:lnTo>
                    <a:pt x="240" y="12"/>
                  </a:lnTo>
                  <a:lnTo>
                    <a:pt x="223" y="9"/>
                  </a:lnTo>
                  <a:lnTo>
                    <a:pt x="209" y="12"/>
                  </a:lnTo>
                  <a:lnTo>
                    <a:pt x="198" y="7"/>
                  </a:lnTo>
                  <a:lnTo>
                    <a:pt x="198" y="11"/>
                  </a:lnTo>
                  <a:lnTo>
                    <a:pt x="201" y="17"/>
                  </a:lnTo>
                  <a:lnTo>
                    <a:pt x="200" y="20"/>
                  </a:lnTo>
                  <a:lnTo>
                    <a:pt x="195" y="14"/>
                  </a:lnTo>
                  <a:lnTo>
                    <a:pt x="190" y="11"/>
                  </a:lnTo>
                  <a:lnTo>
                    <a:pt x="190" y="7"/>
                  </a:lnTo>
                  <a:lnTo>
                    <a:pt x="192" y="6"/>
                  </a:lnTo>
                  <a:lnTo>
                    <a:pt x="190" y="3"/>
                  </a:lnTo>
                  <a:lnTo>
                    <a:pt x="186" y="6"/>
                  </a:lnTo>
                  <a:lnTo>
                    <a:pt x="180" y="3"/>
                  </a:lnTo>
                  <a:lnTo>
                    <a:pt x="171" y="1"/>
                  </a:lnTo>
                  <a:lnTo>
                    <a:pt x="169" y="1"/>
                  </a:lnTo>
                  <a:lnTo>
                    <a:pt x="173" y="3"/>
                  </a:lnTo>
                  <a:lnTo>
                    <a:pt x="173" y="6"/>
                  </a:lnTo>
                  <a:lnTo>
                    <a:pt x="169" y="6"/>
                  </a:lnTo>
                  <a:lnTo>
                    <a:pt x="164" y="6"/>
                  </a:lnTo>
                  <a:lnTo>
                    <a:pt x="158" y="7"/>
                  </a:lnTo>
                  <a:lnTo>
                    <a:pt x="155" y="6"/>
                  </a:lnTo>
                  <a:lnTo>
                    <a:pt x="155" y="3"/>
                  </a:lnTo>
                  <a:lnTo>
                    <a:pt x="161" y="3"/>
                  </a:lnTo>
                  <a:lnTo>
                    <a:pt x="165" y="1"/>
                  </a:lnTo>
                  <a:lnTo>
                    <a:pt x="160" y="1"/>
                  </a:lnTo>
                  <a:lnTo>
                    <a:pt x="152" y="3"/>
                  </a:lnTo>
                  <a:lnTo>
                    <a:pt x="149" y="6"/>
                  </a:lnTo>
                  <a:lnTo>
                    <a:pt x="140" y="9"/>
                  </a:lnTo>
                  <a:lnTo>
                    <a:pt x="137" y="11"/>
                  </a:lnTo>
                  <a:lnTo>
                    <a:pt x="131" y="12"/>
                  </a:lnTo>
                  <a:lnTo>
                    <a:pt x="123" y="17"/>
                  </a:lnTo>
                  <a:lnTo>
                    <a:pt x="123" y="20"/>
                  </a:lnTo>
                  <a:lnTo>
                    <a:pt x="114" y="20"/>
                  </a:lnTo>
                  <a:lnTo>
                    <a:pt x="105" y="14"/>
                  </a:lnTo>
                  <a:lnTo>
                    <a:pt x="97" y="12"/>
                  </a:lnTo>
                  <a:lnTo>
                    <a:pt x="88" y="14"/>
                  </a:lnTo>
                  <a:lnTo>
                    <a:pt x="80" y="9"/>
                  </a:lnTo>
                  <a:lnTo>
                    <a:pt x="78" y="9"/>
                  </a:lnTo>
                  <a:lnTo>
                    <a:pt x="74" y="11"/>
                  </a:lnTo>
                  <a:lnTo>
                    <a:pt x="66" y="7"/>
                  </a:lnTo>
                  <a:lnTo>
                    <a:pt x="57" y="6"/>
                  </a:lnTo>
                  <a:lnTo>
                    <a:pt x="36" y="3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5" y="6"/>
                  </a:lnTo>
                  <a:lnTo>
                    <a:pt x="4" y="17"/>
                  </a:lnTo>
                  <a:lnTo>
                    <a:pt x="8" y="22"/>
                  </a:lnTo>
                  <a:lnTo>
                    <a:pt x="8" y="28"/>
                  </a:lnTo>
                  <a:lnTo>
                    <a:pt x="4" y="37"/>
                  </a:lnTo>
                  <a:lnTo>
                    <a:pt x="0" y="45"/>
                  </a:lnTo>
                  <a:lnTo>
                    <a:pt x="4" y="50"/>
                  </a:lnTo>
                  <a:lnTo>
                    <a:pt x="5" y="62"/>
                  </a:lnTo>
                  <a:lnTo>
                    <a:pt x="15" y="259"/>
                  </a:lnTo>
                  <a:lnTo>
                    <a:pt x="348" y="254"/>
                  </a:lnTo>
                  <a:lnTo>
                    <a:pt x="348" y="254"/>
                  </a:lnTo>
                  <a:lnTo>
                    <a:pt x="342" y="253"/>
                  </a:lnTo>
                  <a:lnTo>
                    <a:pt x="336" y="247"/>
                  </a:lnTo>
                  <a:lnTo>
                    <a:pt x="335" y="242"/>
                  </a:lnTo>
                  <a:lnTo>
                    <a:pt x="329" y="242"/>
                  </a:lnTo>
                  <a:lnTo>
                    <a:pt x="325" y="236"/>
                  </a:lnTo>
                  <a:lnTo>
                    <a:pt x="321" y="237"/>
                  </a:lnTo>
                  <a:lnTo>
                    <a:pt x="315" y="237"/>
                  </a:lnTo>
                  <a:lnTo>
                    <a:pt x="308" y="232"/>
                  </a:lnTo>
                  <a:lnTo>
                    <a:pt x="304" y="219"/>
                  </a:lnTo>
                  <a:lnTo>
                    <a:pt x="304" y="215"/>
                  </a:lnTo>
                  <a:lnTo>
                    <a:pt x="304" y="209"/>
                  </a:lnTo>
                  <a:lnTo>
                    <a:pt x="302" y="206"/>
                  </a:lnTo>
                  <a:lnTo>
                    <a:pt x="302" y="204"/>
                  </a:lnTo>
                  <a:lnTo>
                    <a:pt x="304" y="206"/>
                  </a:lnTo>
                  <a:lnTo>
                    <a:pt x="313" y="206"/>
                  </a:lnTo>
                  <a:lnTo>
                    <a:pt x="310" y="204"/>
                  </a:lnTo>
                  <a:lnTo>
                    <a:pt x="308" y="204"/>
                  </a:lnTo>
                  <a:lnTo>
                    <a:pt x="302" y="197"/>
                  </a:lnTo>
                  <a:lnTo>
                    <a:pt x="301" y="197"/>
                  </a:lnTo>
                  <a:lnTo>
                    <a:pt x="301" y="197"/>
                  </a:lnTo>
                  <a:lnTo>
                    <a:pt x="299" y="195"/>
                  </a:lnTo>
                  <a:lnTo>
                    <a:pt x="295" y="187"/>
                  </a:lnTo>
                  <a:lnTo>
                    <a:pt x="285" y="172"/>
                  </a:lnTo>
                  <a:lnTo>
                    <a:pt x="279" y="170"/>
                  </a:lnTo>
                  <a:lnTo>
                    <a:pt x="278" y="163"/>
                  </a:lnTo>
                  <a:lnTo>
                    <a:pt x="260" y="141"/>
                  </a:lnTo>
                  <a:lnTo>
                    <a:pt x="260" y="135"/>
                  </a:lnTo>
                  <a:lnTo>
                    <a:pt x="259" y="132"/>
                  </a:lnTo>
                  <a:lnTo>
                    <a:pt x="256" y="122"/>
                  </a:lnTo>
                  <a:lnTo>
                    <a:pt x="255" y="119"/>
                  </a:lnTo>
                  <a:lnTo>
                    <a:pt x="255" y="116"/>
                  </a:lnTo>
                  <a:lnTo>
                    <a:pt x="246" y="107"/>
                  </a:lnTo>
                  <a:lnTo>
                    <a:pt x="246" y="104"/>
                  </a:lnTo>
                  <a:lnTo>
                    <a:pt x="246" y="99"/>
                  </a:lnTo>
                  <a:lnTo>
                    <a:pt x="244" y="96"/>
                  </a:lnTo>
                  <a:lnTo>
                    <a:pt x="226" y="83"/>
                  </a:lnTo>
                  <a:lnTo>
                    <a:pt x="226" y="79"/>
                  </a:lnTo>
                  <a:lnTo>
                    <a:pt x="215" y="70"/>
                  </a:lnTo>
                  <a:lnTo>
                    <a:pt x="215" y="65"/>
                  </a:lnTo>
                  <a:lnTo>
                    <a:pt x="209" y="57"/>
                  </a:lnTo>
                  <a:lnTo>
                    <a:pt x="211" y="53"/>
                  </a:lnTo>
                  <a:lnTo>
                    <a:pt x="209" y="50"/>
                  </a:lnTo>
                  <a:lnTo>
                    <a:pt x="211" y="50"/>
                  </a:lnTo>
                  <a:lnTo>
                    <a:pt x="213" y="50"/>
                  </a:lnTo>
                  <a:lnTo>
                    <a:pt x="215" y="50"/>
                  </a:lnTo>
                  <a:lnTo>
                    <a:pt x="217" y="57"/>
                  </a:lnTo>
                  <a:lnTo>
                    <a:pt x="218" y="59"/>
                  </a:lnTo>
                  <a:lnTo>
                    <a:pt x="220" y="62"/>
                  </a:lnTo>
                  <a:lnTo>
                    <a:pt x="230" y="70"/>
                  </a:lnTo>
                  <a:lnTo>
                    <a:pt x="230" y="76"/>
                  </a:lnTo>
                  <a:lnTo>
                    <a:pt x="234" y="79"/>
                  </a:lnTo>
                  <a:lnTo>
                    <a:pt x="241" y="83"/>
                  </a:lnTo>
                  <a:lnTo>
                    <a:pt x="241" y="87"/>
                  </a:lnTo>
                  <a:lnTo>
                    <a:pt x="255" y="99"/>
                  </a:lnTo>
                  <a:lnTo>
                    <a:pt x="262" y="104"/>
                  </a:lnTo>
                  <a:lnTo>
                    <a:pt x="264" y="105"/>
                  </a:lnTo>
                  <a:lnTo>
                    <a:pt x="264" y="102"/>
                  </a:lnTo>
                  <a:lnTo>
                    <a:pt x="268" y="98"/>
                  </a:lnTo>
                  <a:lnTo>
                    <a:pt x="270" y="90"/>
                  </a:lnTo>
                  <a:lnTo>
                    <a:pt x="268" y="88"/>
                  </a:lnTo>
                  <a:lnTo>
                    <a:pt x="272" y="81"/>
                  </a:lnTo>
                  <a:lnTo>
                    <a:pt x="272" y="76"/>
                  </a:lnTo>
                  <a:lnTo>
                    <a:pt x="275" y="62"/>
                  </a:lnTo>
                  <a:lnTo>
                    <a:pt x="278" y="61"/>
                  </a:lnTo>
                  <a:lnTo>
                    <a:pt x="278" y="61"/>
                  </a:lnTo>
                  <a:lnTo>
                    <a:pt x="278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6" name="Freeform 29"/>
            <p:cNvSpPr>
              <a:spLocks/>
            </p:cNvSpPr>
            <p:nvPr/>
          </p:nvSpPr>
          <p:spPr bwMode="auto">
            <a:xfrm>
              <a:off x="6546851" y="4229101"/>
              <a:ext cx="541338" cy="53975"/>
            </a:xfrm>
            <a:custGeom>
              <a:avLst/>
              <a:gdLst>
                <a:gd name="T0" fmla="*/ 337 w 341"/>
                <a:gd name="T1" fmla="*/ 28 h 34"/>
                <a:gd name="T2" fmla="*/ 337 w 341"/>
                <a:gd name="T3" fmla="*/ 25 h 34"/>
                <a:gd name="T4" fmla="*/ 337 w 341"/>
                <a:gd name="T5" fmla="*/ 23 h 34"/>
                <a:gd name="T6" fmla="*/ 339 w 341"/>
                <a:gd name="T7" fmla="*/ 25 h 34"/>
                <a:gd name="T8" fmla="*/ 341 w 341"/>
                <a:gd name="T9" fmla="*/ 26 h 34"/>
                <a:gd name="T10" fmla="*/ 341 w 341"/>
                <a:gd name="T11" fmla="*/ 25 h 34"/>
                <a:gd name="T12" fmla="*/ 337 w 341"/>
                <a:gd name="T13" fmla="*/ 19 h 34"/>
                <a:gd name="T14" fmla="*/ 335 w 341"/>
                <a:gd name="T15" fmla="*/ 12 h 34"/>
                <a:gd name="T16" fmla="*/ 333 w 341"/>
                <a:gd name="T17" fmla="*/ 12 h 34"/>
                <a:gd name="T18" fmla="*/ 333 w 341"/>
                <a:gd name="T19" fmla="*/ 10 h 34"/>
                <a:gd name="T20" fmla="*/ 333 w 341"/>
                <a:gd name="T21" fmla="*/ 8 h 34"/>
                <a:gd name="T22" fmla="*/ 332 w 341"/>
                <a:gd name="T23" fmla="*/ 6 h 34"/>
                <a:gd name="T24" fmla="*/ 332 w 341"/>
                <a:gd name="T25" fmla="*/ 5 h 34"/>
                <a:gd name="T26" fmla="*/ 333 w 341"/>
                <a:gd name="T27" fmla="*/ 0 h 34"/>
                <a:gd name="T28" fmla="*/ 0 w 341"/>
                <a:gd name="T29" fmla="*/ 5 h 34"/>
                <a:gd name="T30" fmla="*/ 3 w 341"/>
                <a:gd name="T31" fmla="*/ 34 h 34"/>
                <a:gd name="T32" fmla="*/ 340 w 341"/>
                <a:gd name="T33" fmla="*/ 34 h 34"/>
                <a:gd name="T34" fmla="*/ 337 w 341"/>
                <a:gd name="T35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1" h="34">
                  <a:moveTo>
                    <a:pt x="337" y="28"/>
                  </a:moveTo>
                  <a:lnTo>
                    <a:pt x="337" y="25"/>
                  </a:lnTo>
                  <a:lnTo>
                    <a:pt x="337" y="23"/>
                  </a:lnTo>
                  <a:lnTo>
                    <a:pt x="339" y="25"/>
                  </a:lnTo>
                  <a:lnTo>
                    <a:pt x="341" y="26"/>
                  </a:lnTo>
                  <a:lnTo>
                    <a:pt x="341" y="25"/>
                  </a:lnTo>
                  <a:lnTo>
                    <a:pt x="337" y="19"/>
                  </a:lnTo>
                  <a:lnTo>
                    <a:pt x="335" y="12"/>
                  </a:lnTo>
                  <a:lnTo>
                    <a:pt x="333" y="12"/>
                  </a:lnTo>
                  <a:lnTo>
                    <a:pt x="333" y="10"/>
                  </a:lnTo>
                  <a:lnTo>
                    <a:pt x="333" y="8"/>
                  </a:lnTo>
                  <a:lnTo>
                    <a:pt x="332" y="6"/>
                  </a:lnTo>
                  <a:lnTo>
                    <a:pt x="332" y="5"/>
                  </a:lnTo>
                  <a:lnTo>
                    <a:pt x="333" y="0"/>
                  </a:lnTo>
                  <a:lnTo>
                    <a:pt x="0" y="5"/>
                  </a:lnTo>
                  <a:lnTo>
                    <a:pt x="3" y="34"/>
                  </a:lnTo>
                  <a:lnTo>
                    <a:pt x="340" y="34"/>
                  </a:lnTo>
                  <a:lnTo>
                    <a:pt x="337" y="2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7" name="Freeform 30"/>
            <p:cNvSpPr>
              <a:spLocks noEditPoints="1"/>
            </p:cNvSpPr>
            <p:nvPr/>
          </p:nvSpPr>
          <p:spPr bwMode="auto">
            <a:xfrm>
              <a:off x="5780088" y="3586163"/>
              <a:ext cx="171450" cy="304800"/>
            </a:xfrm>
            <a:custGeom>
              <a:avLst/>
              <a:gdLst>
                <a:gd name="T0" fmla="*/ 60 w 108"/>
                <a:gd name="T1" fmla="*/ 192 h 192"/>
                <a:gd name="T2" fmla="*/ 66 w 108"/>
                <a:gd name="T3" fmla="*/ 187 h 192"/>
                <a:gd name="T4" fmla="*/ 71 w 108"/>
                <a:gd name="T5" fmla="*/ 180 h 192"/>
                <a:gd name="T6" fmla="*/ 71 w 108"/>
                <a:gd name="T7" fmla="*/ 176 h 192"/>
                <a:gd name="T8" fmla="*/ 70 w 108"/>
                <a:gd name="T9" fmla="*/ 164 h 192"/>
                <a:gd name="T10" fmla="*/ 70 w 108"/>
                <a:gd name="T11" fmla="*/ 158 h 192"/>
                <a:gd name="T12" fmla="*/ 82 w 108"/>
                <a:gd name="T13" fmla="*/ 153 h 192"/>
                <a:gd name="T14" fmla="*/ 85 w 108"/>
                <a:gd name="T15" fmla="*/ 147 h 192"/>
                <a:gd name="T16" fmla="*/ 108 w 108"/>
                <a:gd name="T17" fmla="*/ 128 h 192"/>
                <a:gd name="T18" fmla="*/ 104 w 108"/>
                <a:gd name="T19" fmla="*/ 117 h 192"/>
                <a:gd name="T20" fmla="*/ 102 w 108"/>
                <a:gd name="T21" fmla="*/ 114 h 192"/>
                <a:gd name="T22" fmla="*/ 93 w 108"/>
                <a:gd name="T23" fmla="*/ 108 h 192"/>
                <a:gd name="T24" fmla="*/ 88 w 108"/>
                <a:gd name="T25" fmla="*/ 102 h 192"/>
                <a:gd name="T26" fmla="*/ 88 w 108"/>
                <a:gd name="T27" fmla="*/ 105 h 192"/>
                <a:gd name="T28" fmla="*/ 82 w 108"/>
                <a:gd name="T29" fmla="*/ 105 h 192"/>
                <a:gd name="T30" fmla="*/ 76 w 108"/>
                <a:gd name="T31" fmla="*/ 102 h 192"/>
                <a:gd name="T32" fmla="*/ 62 w 108"/>
                <a:gd name="T33" fmla="*/ 89 h 192"/>
                <a:gd name="T34" fmla="*/ 79 w 108"/>
                <a:gd name="T35" fmla="*/ 74 h 192"/>
                <a:gd name="T36" fmla="*/ 88 w 108"/>
                <a:gd name="T37" fmla="*/ 65 h 192"/>
                <a:gd name="T38" fmla="*/ 88 w 108"/>
                <a:gd name="T39" fmla="*/ 60 h 192"/>
                <a:gd name="T40" fmla="*/ 88 w 108"/>
                <a:gd name="T41" fmla="*/ 54 h 192"/>
                <a:gd name="T42" fmla="*/ 79 w 108"/>
                <a:gd name="T43" fmla="*/ 44 h 192"/>
                <a:gd name="T44" fmla="*/ 74 w 108"/>
                <a:gd name="T45" fmla="*/ 30 h 192"/>
                <a:gd name="T46" fmla="*/ 82 w 108"/>
                <a:gd name="T47" fmla="*/ 21 h 192"/>
                <a:gd name="T48" fmla="*/ 85 w 108"/>
                <a:gd name="T49" fmla="*/ 10 h 192"/>
                <a:gd name="T50" fmla="*/ 74 w 108"/>
                <a:gd name="T51" fmla="*/ 15 h 192"/>
                <a:gd name="T52" fmla="*/ 68 w 108"/>
                <a:gd name="T53" fmla="*/ 16 h 192"/>
                <a:gd name="T54" fmla="*/ 60 w 108"/>
                <a:gd name="T55" fmla="*/ 7 h 192"/>
                <a:gd name="T56" fmla="*/ 57 w 108"/>
                <a:gd name="T57" fmla="*/ 0 h 192"/>
                <a:gd name="T58" fmla="*/ 51 w 108"/>
                <a:gd name="T59" fmla="*/ 4 h 192"/>
                <a:gd name="T60" fmla="*/ 42 w 108"/>
                <a:gd name="T61" fmla="*/ 2 h 192"/>
                <a:gd name="T62" fmla="*/ 25 w 108"/>
                <a:gd name="T63" fmla="*/ 13 h 192"/>
                <a:gd name="T64" fmla="*/ 22 w 108"/>
                <a:gd name="T65" fmla="*/ 16 h 192"/>
                <a:gd name="T66" fmla="*/ 22 w 108"/>
                <a:gd name="T67" fmla="*/ 27 h 192"/>
                <a:gd name="T68" fmla="*/ 19 w 108"/>
                <a:gd name="T69" fmla="*/ 44 h 192"/>
                <a:gd name="T70" fmla="*/ 25 w 108"/>
                <a:gd name="T71" fmla="*/ 55 h 192"/>
                <a:gd name="T72" fmla="*/ 22 w 108"/>
                <a:gd name="T73" fmla="*/ 60 h 192"/>
                <a:gd name="T74" fmla="*/ 22 w 108"/>
                <a:gd name="T75" fmla="*/ 65 h 192"/>
                <a:gd name="T76" fmla="*/ 19 w 108"/>
                <a:gd name="T77" fmla="*/ 77 h 192"/>
                <a:gd name="T78" fmla="*/ 13 w 108"/>
                <a:gd name="T79" fmla="*/ 82 h 192"/>
                <a:gd name="T80" fmla="*/ 5 w 108"/>
                <a:gd name="T81" fmla="*/ 89 h 192"/>
                <a:gd name="T82" fmla="*/ 2 w 108"/>
                <a:gd name="T83" fmla="*/ 102 h 192"/>
                <a:gd name="T84" fmla="*/ 5 w 108"/>
                <a:gd name="T85" fmla="*/ 111 h 192"/>
                <a:gd name="T86" fmla="*/ 10 w 108"/>
                <a:gd name="T87" fmla="*/ 117 h 192"/>
                <a:gd name="T88" fmla="*/ 19 w 108"/>
                <a:gd name="T89" fmla="*/ 130 h 192"/>
                <a:gd name="T90" fmla="*/ 28 w 108"/>
                <a:gd name="T91" fmla="*/ 134 h 192"/>
                <a:gd name="T92" fmla="*/ 40 w 108"/>
                <a:gd name="T93" fmla="*/ 141 h 192"/>
                <a:gd name="T94" fmla="*/ 57 w 108"/>
                <a:gd name="T95" fmla="*/ 192 h 192"/>
                <a:gd name="T96" fmla="*/ 57 w 108"/>
                <a:gd name="T97" fmla="*/ 192 h 192"/>
                <a:gd name="T98" fmla="*/ 83 w 108"/>
                <a:gd name="T99" fmla="*/ 97 h 192"/>
                <a:gd name="T100" fmla="*/ 88 w 108"/>
                <a:gd name="T101" fmla="*/ 98 h 192"/>
                <a:gd name="T102" fmla="*/ 82 w 108"/>
                <a:gd name="T103" fmla="*/ 98 h 192"/>
                <a:gd name="T104" fmla="*/ 82 w 108"/>
                <a:gd name="T105" fmla="*/ 9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8" h="192">
                  <a:moveTo>
                    <a:pt x="57" y="192"/>
                  </a:moveTo>
                  <a:lnTo>
                    <a:pt x="60" y="192"/>
                  </a:lnTo>
                  <a:lnTo>
                    <a:pt x="62" y="189"/>
                  </a:lnTo>
                  <a:lnTo>
                    <a:pt x="66" y="187"/>
                  </a:lnTo>
                  <a:lnTo>
                    <a:pt x="70" y="181"/>
                  </a:lnTo>
                  <a:lnTo>
                    <a:pt x="71" y="180"/>
                  </a:lnTo>
                  <a:lnTo>
                    <a:pt x="70" y="178"/>
                  </a:lnTo>
                  <a:lnTo>
                    <a:pt x="71" y="176"/>
                  </a:lnTo>
                  <a:lnTo>
                    <a:pt x="71" y="170"/>
                  </a:lnTo>
                  <a:lnTo>
                    <a:pt x="70" y="164"/>
                  </a:lnTo>
                  <a:lnTo>
                    <a:pt x="70" y="159"/>
                  </a:lnTo>
                  <a:lnTo>
                    <a:pt x="70" y="158"/>
                  </a:lnTo>
                  <a:lnTo>
                    <a:pt x="74" y="153"/>
                  </a:lnTo>
                  <a:lnTo>
                    <a:pt x="82" y="153"/>
                  </a:lnTo>
                  <a:lnTo>
                    <a:pt x="85" y="148"/>
                  </a:lnTo>
                  <a:lnTo>
                    <a:pt x="85" y="147"/>
                  </a:lnTo>
                  <a:lnTo>
                    <a:pt x="102" y="137"/>
                  </a:lnTo>
                  <a:lnTo>
                    <a:pt x="108" y="128"/>
                  </a:lnTo>
                  <a:lnTo>
                    <a:pt x="106" y="126"/>
                  </a:lnTo>
                  <a:lnTo>
                    <a:pt x="104" y="117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93" y="109"/>
                  </a:lnTo>
                  <a:lnTo>
                    <a:pt x="93" y="108"/>
                  </a:lnTo>
                  <a:lnTo>
                    <a:pt x="93" y="103"/>
                  </a:lnTo>
                  <a:lnTo>
                    <a:pt x="88" y="102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85" y="105"/>
                  </a:lnTo>
                  <a:lnTo>
                    <a:pt x="82" y="105"/>
                  </a:lnTo>
                  <a:lnTo>
                    <a:pt x="79" y="102"/>
                  </a:lnTo>
                  <a:lnTo>
                    <a:pt x="76" y="102"/>
                  </a:lnTo>
                  <a:lnTo>
                    <a:pt x="66" y="97"/>
                  </a:lnTo>
                  <a:lnTo>
                    <a:pt x="62" y="89"/>
                  </a:lnTo>
                  <a:lnTo>
                    <a:pt x="66" y="82"/>
                  </a:lnTo>
                  <a:lnTo>
                    <a:pt x="79" y="74"/>
                  </a:lnTo>
                  <a:lnTo>
                    <a:pt x="88" y="67"/>
                  </a:lnTo>
                  <a:lnTo>
                    <a:pt x="88" y="65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88" y="55"/>
                  </a:lnTo>
                  <a:lnTo>
                    <a:pt x="88" y="54"/>
                  </a:lnTo>
                  <a:lnTo>
                    <a:pt x="88" y="46"/>
                  </a:lnTo>
                  <a:lnTo>
                    <a:pt x="79" y="44"/>
                  </a:lnTo>
                  <a:lnTo>
                    <a:pt x="71" y="36"/>
                  </a:lnTo>
                  <a:lnTo>
                    <a:pt x="74" y="30"/>
                  </a:lnTo>
                  <a:lnTo>
                    <a:pt x="79" y="27"/>
                  </a:lnTo>
                  <a:lnTo>
                    <a:pt x="82" y="21"/>
                  </a:lnTo>
                  <a:lnTo>
                    <a:pt x="85" y="13"/>
                  </a:lnTo>
                  <a:lnTo>
                    <a:pt x="85" y="10"/>
                  </a:lnTo>
                  <a:lnTo>
                    <a:pt x="83" y="7"/>
                  </a:lnTo>
                  <a:lnTo>
                    <a:pt x="74" y="15"/>
                  </a:lnTo>
                  <a:lnTo>
                    <a:pt x="70" y="19"/>
                  </a:lnTo>
                  <a:lnTo>
                    <a:pt x="68" y="16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60" y="4"/>
                  </a:lnTo>
                  <a:lnTo>
                    <a:pt x="57" y="0"/>
                  </a:lnTo>
                  <a:lnTo>
                    <a:pt x="51" y="2"/>
                  </a:lnTo>
                  <a:lnTo>
                    <a:pt x="51" y="4"/>
                  </a:lnTo>
                  <a:lnTo>
                    <a:pt x="49" y="2"/>
                  </a:lnTo>
                  <a:lnTo>
                    <a:pt x="42" y="2"/>
                  </a:lnTo>
                  <a:lnTo>
                    <a:pt x="31" y="7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2" y="16"/>
                  </a:lnTo>
                  <a:lnTo>
                    <a:pt x="25" y="19"/>
                  </a:lnTo>
                  <a:lnTo>
                    <a:pt x="22" y="27"/>
                  </a:lnTo>
                  <a:lnTo>
                    <a:pt x="22" y="33"/>
                  </a:lnTo>
                  <a:lnTo>
                    <a:pt x="19" y="44"/>
                  </a:lnTo>
                  <a:lnTo>
                    <a:pt x="21" y="52"/>
                  </a:lnTo>
                  <a:lnTo>
                    <a:pt x="25" y="55"/>
                  </a:lnTo>
                  <a:lnTo>
                    <a:pt x="25" y="58"/>
                  </a:lnTo>
                  <a:lnTo>
                    <a:pt x="22" y="60"/>
                  </a:lnTo>
                  <a:lnTo>
                    <a:pt x="19" y="63"/>
                  </a:lnTo>
                  <a:lnTo>
                    <a:pt x="22" y="65"/>
                  </a:lnTo>
                  <a:lnTo>
                    <a:pt x="21" y="69"/>
                  </a:lnTo>
                  <a:lnTo>
                    <a:pt x="19" y="77"/>
                  </a:lnTo>
                  <a:lnTo>
                    <a:pt x="16" y="78"/>
                  </a:lnTo>
                  <a:lnTo>
                    <a:pt x="13" y="82"/>
                  </a:lnTo>
                  <a:lnTo>
                    <a:pt x="10" y="83"/>
                  </a:lnTo>
                  <a:lnTo>
                    <a:pt x="5" y="89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6" y="109"/>
                  </a:lnTo>
                  <a:lnTo>
                    <a:pt x="5" y="111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7" y="122"/>
                  </a:lnTo>
                  <a:lnTo>
                    <a:pt x="19" y="130"/>
                  </a:lnTo>
                  <a:lnTo>
                    <a:pt x="27" y="131"/>
                  </a:lnTo>
                  <a:lnTo>
                    <a:pt x="28" y="134"/>
                  </a:lnTo>
                  <a:lnTo>
                    <a:pt x="32" y="136"/>
                  </a:lnTo>
                  <a:lnTo>
                    <a:pt x="40" y="141"/>
                  </a:lnTo>
                  <a:lnTo>
                    <a:pt x="57" y="192"/>
                  </a:lnTo>
                  <a:lnTo>
                    <a:pt x="57" y="192"/>
                  </a:lnTo>
                  <a:lnTo>
                    <a:pt x="57" y="192"/>
                  </a:lnTo>
                  <a:lnTo>
                    <a:pt x="57" y="192"/>
                  </a:lnTo>
                  <a:close/>
                  <a:moveTo>
                    <a:pt x="82" y="98"/>
                  </a:moveTo>
                  <a:lnTo>
                    <a:pt x="83" y="97"/>
                  </a:lnTo>
                  <a:lnTo>
                    <a:pt x="88" y="97"/>
                  </a:lnTo>
                  <a:lnTo>
                    <a:pt x="88" y="98"/>
                  </a:lnTo>
                  <a:lnTo>
                    <a:pt x="85" y="100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2" y="9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8" name="Freeform 31"/>
            <p:cNvSpPr>
              <a:spLocks/>
            </p:cNvSpPr>
            <p:nvPr/>
          </p:nvSpPr>
          <p:spPr bwMode="auto">
            <a:xfrm>
              <a:off x="4916488" y="3649663"/>
              <a:ext cx="512763" cy="354013"/>
            </a:xfrm>
            <a:custGeom>
              <a:avLst/>
              <a:gdLst>
                <a:gd name="T0" fmla="*/ 112 w 323"/>
                <a:gd name="T1" fmla="*/ 203 h 223"/>
                <a:gd name="T2" fmla="*/ 131 w 323"/>
                <a:gd name="T3" fmla="*/ 189 h 223"/>
                <a:gd name="T4" fmla="*/ 155 w 323"/>
                <a:gd name="T5" fmla="*/ 181 h 223"/>
                <a:gd name="T6" fmla="*/ 167 w 323"/>
                <a:gd name="T7" fmla="*/ 179 h 223"/>
                <a:gd name="T8" fmla="*/ 189 w 323"/>
                <a:gd name="T9" fmla="*/ 177 h 223"/>
                <a:gd name="T10" fmla="*/ 241 w 323"/>
                <a:gd name="T11" fmla="*/ 150 h 223"/>
                <a:gd name="T12" fmla="*/ 262 w 323"/>
                <a:gd name="T13" fmla="*/ 135 h 223"/>
                <a:gd name="T14" fmla="*/ 264 w 323"/>
                <a:gd name="T15" fmla="*/ 120 h 223"/>
                <a:gd name="T16" fmla="*/ 278 w 323"/>
                <a:gd name="T17" fmla="*/ 107 h 223"/>
                <a:gd name="T18" fmla="*/ 315 w 323"/>
                <a:gd name="T19" fmla="*/ 106 h 223"/>
                <a:gd name="T20" fmla="*/ 319 w 323"/>
                <a:gd name="T21" fmla="*/ 100 h 223"/>
                <a:gd name="T22" fmla="*/ 319 w 323"/>
                <a:gd name="T23" fmla="*/ 91 h 223"/>
                <a:gd name="T24" fmla="*/ 313 w 323"/>
                <a:gd name="T25" fmla="*/ 89 h 223"/>
                <a:gd name="T26" fmla="*/ 308 w 323"/>
                <a:gd name="T27" fmla="*/ 83 h 223"/>
                <a:gd name="T28" fmla="*/ 302 w 323"/>
                <a:gd name="T29" fmla="*/ 58 h 223"/>
                <a:gd name="T30" fmla="*/ 302 w 323"/>
                <a:gd name="T31" fmla="*/ 45 h 223"/>
                <a:gd name="T32" fmla="*/ 301 w 323"/>
                <a:gd name="T33" fmla="*/ 36 h 223"/>
                <a:gd name="T34" fmla="*/ 296 w 323"/>
                <a:gd name="T35" fmla="*/ 28 h 223"/>
                <a:gd name="T36" fmla="*/ 293 w 323"/>
                <a:gd name="T37" fmla="*/ 22 h 223"/>
                <a:gd name="T38" fmla="*/ 273 w 323"/>
                <a:gd name="T39" fmla="*/ 21 h 223"/>
                <a:gd name="T40" fmla="*/ 268 w 323"/>
                <a:gd name="T41" fmla="*/ 13 h 223"/>
                <a:gd name="T42" fmla="*/ 266 w 323"/>
                <a:gd name="T43" fmla="*/ 13 h 223"/>
                <a:gd name="T44" fmla="*/ 253 w 323"/>
                <a:gd name="T45" fmla="*/ 19 h 223"/>
                <a:gd name="T46" fmla="*/ 239 w 323"/>
                <a:gd name="T47" fmla="*/ 17 h 223"/>
                <a:gd name="T48" fmla="*/ 224 w 323"/>
                <a:gd name="T49" fmla="*/ 21 h 223"/>
                <a:gd name="T50" fmla="*/ 211 w 323"/>
                <a:gd name="T51" fmla="*/ 11 h 223"/>
                <a:gd name="T52" fmla="*/ 207 w 323"/>
                <a:gd name="T53" fmla="*/ 6 h 223"/>
                <a:gd name="T54" fmla="*/ 207 w 323"/>
                <a:gd name="T55" fmla="*/ 3 h 223"/>
                <a:gd name="T56" fmla="*/ 201 w 323"/>
                <a:gd name="T57" fmla="*/ 3 h 223"/>
                <a:gd name="T58" fmla="*/ 194 w 323"/>
                <a:gd name="T59" fmla="*/ 4 h 223"/>
                <a:gd name="T60" fmla="*/ 189 w 323"/>
                <a:gd name="T61" fmla="*/ 22 h 223"/>
                <a:gd name="T62" fmla="*/ 181 w 323"/>
                <a:gd name="T63" fmla="*/ 39 h 223"/>
                <a:gd name="T64" fmla="*/ 164 w 323"/>
                <a:gd name="T65" fmla="*/ 55 h 223"/>
                <a:gd name="T66" fmla="*/ 155 w 323"/>
                <a:gd name="T67" fmla="*/ 59 h 223"/>
                <a:gd name="T68" fmla="*/ 137 w 323"/>
                <a:gd name="T69" fmla="*/ 69 h 223"/>
                <a:gd name="T70" fmla="*/ 124 w 323"/>
                <a:gd name="T71" fmla="*/ 76 h 223"/>
                <a:gd name="T72" fmla="*/ 112 w 323"/>
                <a:gd name="T73" fmla="*/ 83 h 223"/>
                <a:gd name="T74" fmla="*/ 105 w 323"/>
                <a:gd name="T75" fmla="*/ 100 h 223"/>
                <a:gd name="T76" fmla="*/ 94 w 323"/>
                <a:gd name="T77" fmla="*/ 115 h 223"/>
                <a:gd name="T78" fmla="*/ 86 w 323"/>
                <a:gd name="T79" fmla="*/ 131 h 223"/>
                <a:gd name="T80" fmla="*/ 86 w 323"/>
                <a:gd name="T81" fmla="*/ 150 h 223"/>
                <a:gd name="T82" fmla="*/ 91 w 323"/>
                <a:gd name="T83" fmla="*/ 155 h 223"/>
                <a:gd name="T84" fmla="*/ 72 w 323"/>
                <a:gd name="T85" fmla="*/ 179 h 223"/>
                <a:gd name="T86" fmla="*/ 63 w 323"/>
                <a:gd name="T87" fmla="*/ 194 h 223"/>
                <a:gd name="T88" fmla="*/ 35 w 323"/>
                <a:gd name="T89" fmla="*/ 208 h 223"/>
                <a:gd name="T90" fmla="*/ 0 w 323"/>
                <a:gd name="T91" fmla="*/ 222 h 223"/>
                <a:gd name="T92" fmla="*/ 112 w 323"/>
                <a:gd name="T93" fmla="*/ 223 h 223"/>
                <a:gd name="T94" fmla="*/ 112 w 323"/>
                <a:gd name="T9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3" h="223">
                  <a:moveTo>
                    <a:pt x="112" y="223"/>
                  </a:moveTo>
                  <a:lnTo>
                    <a:pt x="112" y="203"/>
                  </a:lnTo>
                  <a:lnTo>
                    <a:pt x="126" y="194"/>
                  </a:lnTo>
                  <a:lnTo>
                    <a:pt x="131" y="189"/>
                  </a:lnTo>
                  <a:lnTo>
                    <a:pt x="139" y="183"/>
                  </a:lnTo>
                  <a:lnTo>
                    <a:pt x="155" y="181"/>
                  </a:lnTo>
                  <a:lnTo>
                    <a:pt x="161" y="181"/>
                  </a:lnTo>
                  <a:lnTo>
                    <a:pt x="167" y="179"/>
                  </a:lnTo>
                  <a:lnTo>
                    <a:pt x="177" y="179"/>
                  </a:lnTo>
                  <a:lnTo>
                    <a:pt x="189" y="177"/>
                  </a:lnTo>
                  <a:lnTo>
                    <a:pt x="211" y="167"/>
                  </a:lnTo>
                  <a:lnTo>
                    <a:pt x="241" y="150"/>
                  </a:lnTo>
                  <a:lnTo>
                    <a:pt x="260" y="138"/>
                  </a:lnTo>
                  <a:lnTo>
                    <a:pt x="262" y="135"/>
                  </a:lnTo>
                  <a:lnTo>
                    <a:pt x="262" y="125"/>
                  </a:lnTo>
                  <a:lnTo>
                    <a:pt x="264" y="120"/>
                  </a:lnTo>
                  <a:lnTo>
                    <a:pt x="270" y="116"/>
                  </a:lnTo>
                  <a:lnTo>
                    <a:pt x="278" y="107"/>
                  </a:lnTo>
                  <a:lnTo>
                    <a:pt x="284" y="106"/>
                  </a:lnTo>
                  <a:lnTo>
                    <a:pt x="315" y="106"/>
                  </a:lnTo>
                  <a:lnTo>
                    <a:pt x="319" y="102"/>
                  </a:lnTo>
                  <a:lnTo>
                    <a:pt x="319" y="100"/>
                  </a:lnTo>
                  <a:lnTo>
                    <a:pt x="323" y="92"/>
                  </a:lnTo>
                  <a:lnTo>
                    <a:pt x="319" y="91"/>
                  </a:lnTo>
                  <a:lnTo>
                    <a:pt x="318" y="91"/>
                  </a:lnTo>
                  <a:lnTo>
                    <a:pt x="313" y="89"/>
                  </a:lnTo>
                  <a:lnTo>
                    <a:pt x="310" y="89"/>
                  </a:lnTo>
                  <a:lnTo>
                    <a:pt x="308" y="83"/>
                  </a:lnTo>
                  <a:lnTo>
                    <a:pt x="304" y="76"/>
                  </a:lnTo>
                  <a:lnTo>
                    <a:pt x="302" y="58"/>
                  </a:lnTo>
                  <a:lnTo>
                    <a:pt x="302" y="55"/>
                  </a:lnTo>
                  <a:lnTo>
                    <a:pt x="302" y="45"/>
                  </a:lnTo>
                  <a:lnTo>
                    <a:pt x="301" y="38"/>
                  </a:lnTo>
                  <a:lnTo>
                    <a:pt x="301" y="36"/>
                  </a:lnTo>
                  <a:lnTo>
                    <a:pt x="301" y="33"/>
                  </a:lnTo>
                  <a:lnTo>
                    <a:pt x="296" y="28"/>
                  </a:lnTo>
                  <a:lnTo>
                    <a:pt x="295" y="25"/>
                  </a:lnTo>
                  <a:lnTo>
                    <a:pt x="293" y="22"/>
                  </a:lnTo>
                  <a:lnTo>
                    <a:pt x="289" y="22"/>
                  </a:lnTo>
                  <a:lnTo>
                    <a:pt x="273" y="21"/>
                  </a:lnTo>
                  <a:lnTo>
                    <a:pt x="270" y="17"/>
                  </a:lnTo>
                  <a:lnTo>
                    <a:pt x="268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0" y="17"/>
                  </a:lnTo>
                  <a:lnTo>
                    <a:pt x="253" y="19"/>
                  </a:lnTo>
                  <a:lnTo>
                    <a:pt x="244" y="17"/>
                  </a:lnTo>
                  <a:lnTo>
                    <a:pt x="239" y="17"/>
                  </a:lnTo>
                  <a:lnTo>
                    <a:pt x="234" y="19"/>
                  </a:lnTo>
                  <a:lnTo>
                    <a:pt x="224" y="21"/>
                  </a:lnTo>
                  <a:lnTo>
                    <a:pt x="219" y="19"/>
                  </a:lnTo>
                  <a:lnTo>
                    <a:pt x="211" y="11"/>
                  </a:lnTo>
                  <a:lnTo>
                    <a:pt x="207" y="10"/>
                  </a:lnTo>
                  <a:lnTo>
                    <a:pt x="207" y="6"/>
                  </a:lnTo>
                  <a:lnTo>
                    <a:pt x="207" y="4"/>
                  </a:lnTo>
                  <a:lnTo>
                    <a:pt x="207" y="3"/>
                  </a:lnTo>
                  <a:lnTo>
                    <a:pt x="206" y="0"/>
                  </a:lnTo>
                  <a:lnTo>
                    <a:pt x="201" y="3"/>
                  </a:lnTo>
                  <a:lnTo>
                    <a:pt x="198" y="4"/>
                  </a:lnTo>
                  <a:lnTo>
                    <a:pt x="194" y="4"/>
                  </a:lnTo>
                  <a:lnTo>
                    <a:pt x="189" y="8"/>
                  </a:lnTo>
                  <a:lnTo>
                    <a:pt x="189" y="22"/>
                  </a:lnTo>
                  <a:lnTo>
                    <a:pt x="183" y="28"/>
                  </a:lnTo>
                  <a:lnTo>
                    <a:pt x="181" y="39"/>
                  </a:lnTo>
                  <a:lnTo>
                    <a:pt x="177" y="45"/>
                  </a:lnTo>
                  <a:lnTo>
                    <a:pt x="164" y="55"/>
                  </a:lnTo>
                  <a:lnTo>
                    <a:pt x="161" y="55"/>
                  </a:lnTo>
                  <a:lnTo>
                    <a:pt x="155" y="59"/>
                  </a:lnTo>
                  <a:lnTo>
                    <a:pt x="144" y="61"/>
                  </a:lnTo>
                  <a:lnTo>
                    <a:pt x="137" y="69"/>
                  </a:lnTo>
                  <a:lnTo>
                    <a:pt x="135" y="69"/>
                  </a:lnTo>
                  <a:lnTo>
                    <a:pt x="124" y="76"/>
                  </a:lnTo>
                  <a:lnTo>
                    <a:pt x="116" y="77"/>
                  </a:lnTo>
                  <a:lnTo>
                    <a:pt x="112" y="83"/>
                  </a:lnTo>
                  <a:lnTo>
                    <a:pt x="101" y="91"/>
                  </a:lnTo>
                  <a:lnTo>
                    <a:pt x="105" y="100"/>
                  </a:lnTo>
                  <a:lnTo>
                    <a:pt x="105" y="106"/>
                  </a:lnTo>
                  <a:lnTo>
                    <a:pt x="94" y="115"/>
                  </a:lnTo>
                  <a:lnTo>
                    <a:pt x="86" y="128"/>
                  </a:lnTo>
                  <a:lnTo>
                    <a:pt x="86" y="131"/>
                  </a:lnTo>
                  <a:lnTo>
                    <a:pt x="90" y="141"/>
                  </a:lnTo>
                  <a:lnTo>
                    <a:pt x="86" y="150"/>
                  </a:lnTo>
                  <a:lnTo>
                    <a:pt x="90" y="152"/>
                  </a:lnTo>
                  <a:lnTo>
                    <a:pt x="91" y="155"/>
                  </a:lnTo>
                  <a:lnTo>
                    <a:pt x="90" y="163"/>
                  </a:lnTo>
                  <a:lnTo>
                    <a:pt x="72" y="179"/>
                  </a:lnTo>
                  <a:lnTo>
                    <a:pt x="71" y="186"/>
                  </a:lnTo>
                  <a:lnTo>
                    <a:pt x="63" y="194"/>
                  </a:lnTo>
                  <a:lnTo>
                    <a:pt x="54" y="194"/>
                  </a:lnTo>
                  <a:lnTo>
                    <a:pt x="35" y="208"/>
                  </a:lnTo>
                  <a:lnTo>
                    <a:pt x="8" y="214"/>
                  </a:lnTo>
                  <a:lnTo>
                    <a:pt x="0" y="222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9" name="Freeform 32"/>
            <p:cNvSpPr>
              <a:spLocks/>
            </p:cNvSpPr>
            <p:nvPr/>
          </p:nvSpPr>
          <p:spPr bwMode="auto">
            <a:xfrm>
              <a:off x="4735513" y="4000501"/>
              <a:ext cx="360363" cy="257175"/>
            </a:xfrm>
            <a:custGeom>
              <a:avLst/>
              <a:gdLst>
                <a:gd name="T0" fmla="*/ 227 w 227"/>
                <a:gd name="T1" fmla="*/ 9 h 162"/>
                <a:gd name="T2" fmla="*/ 227 w 227"/>
                <a:gd name="T3" fmla="*/ 1 h 162"/>
                <a:gd name="T4" fmla="*/ 114 w 227"/>
                <a:gd name="T5" fmla="*/ 0 h 162"/>
                <a:gd name="T6" fmla="*/ 104 w 227"/>
                <a:gd name="T7" fmla="*/ 12 h 162"/>
                <a:gd name="T8" fmla="*/ 104 w 227"/>
                <a:gd name="T9" fmla="*/ 23 h 162"/>
                <a:gd name="T10" fmla="*/ 99 w 227"/>
                <a:gd name="T11" fmla="*/ 23 h 162"/>
                <a:gd name="T12" fmla="*/ 79 w 227"/>
                <a:gd name="T13" fmla="*/ 31 h 162"/>
                <a:gd name="T14" fmla="*/ 78 w 227"/>
                <a:gd name="T15" fmla="*/ 36 h 162"/>
                <a:gd name="T16" fmla="*/ 70 w 227"/>
                <a:gd name="T17" fmla="*/ 40 h 162"/>
                <a:gd name="T18" fmla="*/ 72 w 227"/>
                <a:gd name="T19" fmla="*/ 45 h 162"/>
                <a:gd name="T20" fmla="*/ 55 w 227"/>
                <a:gd name="T21" fmla="*/ 68 h 162"/>
                <a:gd name="T22" fmla="*/ 55 w 227"/>
                <a:gd name="T23" fmla="*/ 75 h 162"/>
                <a:gd name="T24" fmla="*/ 41 w 227"/>
                <a:gd name="T25" fmla="*/ 87 h 162"/>
                <a:gd name="T26" fmla="*/ 37 w 227"/>
                <a:gd name="T27" fmla="*/ 88 h 162"/>
                <a:gd name="T28" fmla="*/ 30 w 227"/>
                <a:gd name="T29" fmla="*/ 101 h 162"/>
                <a:gd name="T30" fmla="*/ 30 w 227"/>
                <a:gd name="T31" fmla="*/ 104 h 162"/>
                <a:gd name="T32" fmla="*/ 20 w 227"/>
                <a:gd name="T33" fmla="*/ 118 h 162"/>
                <a:gd name="T34" fmla="*/ 18 w 227"/>
                <a:gd name="T35" fmla="*/ 120 h 162"/>
                <a:gd name="T36" fmla="*/ 21 w 227"/>
                <a:gd name="T37" fmla="*/ 121 h 162"/>
                <a:gd name="T38" fmla="*/ 18 w 227"/>
                <a:gd name="T39" fmla="*/ 123 h 162"/>
                <a:gd name="T40" fmla="*/ 9 w 227"/>
                <a:gd name="T41" fmla="*/ 138 h 162"/>
                <a:gd name="T42" fmla="*/ 5 w 227"/>
                <a:gd name="T43" fmla="*/ 138 h 162"/>
                <a:gd name="T44" fmla="*/ 1 w 227"/>
                <a:gd name="T45" fmla="*/ 142 h 162"/>
                <a:gd name="T46" fmla="*/ 1 w 227"/>
                <a:gd name="T47" fmla="*/ 149 h 162"/>
                <a:gd name="T48" fmla="*/ 0 w 227"/>
                <a:gd name="T49" fmla="*/ 153 h 162"/>
                <a:gd name="T50" fmla="*/ 0 w 227"/>
                <a:gd name="T51" fmla="*/ 162 h 162"/>
                <a:gd name="T52" fmla="*/ 110 w 227"/>
                <a:gd name="T53" fmla="*/ 160 h 162"/>
                <a:gd name="T54" fmla="*/ 110 w 227"/>
                <a:gd name="T55" fmla="*/ 115 h 162"/>
                <a:gd name="T56" fmla="*/ 114 w 227"/>
                <a:gd name="T57" fmla="*/ 110 h 162"/>
                <a:gd name="T58" fmla="*/ 119 w 227"/>
                <a:gd name="T59" fmla="*/ 106 h 162"/>
                <a:gd name="T60" fmla="*/ 125 w 227"/>
                <a:gd name="T61" fmla="*/ 104 h 162"/>
                <a:gd name="T62" fmla="*/ 137 w 227"/>
                <a:gd name="T63" fmla="*/ 104 h 162"/>
                <a:gd name="T64" fmla="*/ 137 w 227"/>
                <a:gd name="T65" fmla="*/ 40 h 162"/>
                <a:gd name="T66" fmla="*/ 226 w 227"/>
                <a:gd name="T67" fmla="*/ 42 h 162"/>
                <a:gd name="T68" fmla="*/ 227 w 227"/>
                <a:gd name="T69" fmla="*/ 9 h 162"/>
                <a:gd name="T70" fmla="*/ 227 w 227"/>
                <a:gd name="T71" fmla="*/ 9 h 162"/>
                <a:gd name="T72" fmla="*/ 227 w 227"/>
                <a:gd name="T73" fmla="*/ 9 h 162"/>
                <a:gd name="T74" fmla="*/ 227 w 227"/>
                <a:gd name="T75" fmla="*/ 9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7" h="162">
                  <a:moveTo>
                    <a:pt x="227" y="9"/>
                  </a:moveTo>
                  <a:lnTo>
                    <a:pt x="227" y="1"/>
                  </a:lnTo>
                  <a:lnTo>
                    <a:pt x="114" y="0"/>
                  </a:lnTo>
                  <a:lnTo>
                    <a:pt x="104" y="12"/>
                  </a:lnTo>
                  <a:lnTo>
                    <a:pt x="104" y="23"/>
                  </a:lnTo>
                  <a:lnTo>
                    <a:pt x="99" y="23"/>
                  </a:lnTo>
                  <a:lnTo>
                    <a:pt x="79" y="31"/>
                  </a:lnTo>
                  <a:lnTo>
                    <a:pt x="78" y="36"/>
                  </a:lnTo>
                  <a:lnTo>
                    <a:pt x="70" y="40"/>
                  </a:lnTo>
                  <a:lnTo>
                    <a:pt x="72" y="45"/>
                  </a:lnTo>
                  <a:lnTo>
                    <a:pt x="55" y="68"/>
                  </a:lnTo>
                  <a:lnTo>
                    <a:pt x="55" y="75"/>
                  </a:lnTo>
                  <a:lnTo>
                    <a:pt x="41" y="87"/>
                  </a:lnTo>
                  <a:lnTo>
                    <a:pt x="37" y="88"/>
                  </a:lnTo>
                  <a:lnTo>
                    <a:pt x="30" y="101"/>
                  </a:lnTo>
                  <a:lnTo>
                    <a:pt x="30" y="104"/>
                  </a:lnTo>
                  <a:lnTo>
                    <a:pt x="20" y="118"/>
                  </a:lnTo>
                  <a:lnTo>
                    <a:pt x="18" y="120"/>
                  </a:lnTo>
                  <a:lnTo>
                    <a:pt x="21" y="121"/>
                  </a:lnTo>
                  <a:lnTo>
                    <a:pt x="18" y="123"/>
                  </a:lnTo>
                  <a:lnTo>
                    <a:pt x="9" y="138"/>
                  </a:lnTo>
                  <a:lnTo>
                    <a:pt x="5" y="138"/>
                  </a:lnTo>
                  <a:lnTo>
                    <a:pt x="1" y="142"/>
                  </a:lnTo>
                  <a:lnTo>
                    <a:pt x="1" y="149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110" y="160"/>
                  </a:lnTo>
                  <a:lnTo>
                    <a:pt x="110" y="115"/>
                  </a:lnTo>
                  <a:lnTo>
                    <a:pt x="114" y="110"/>
                  </a:lnTo>
                  <a:lnTo>
                    <a:pt x="119" y="106"/>
                  </a:lnTo>
                  <a:lnTo>
                    <a:pt x="125" y="104"/>
                  </a:lnTo>
                  <a:lnTo>
                    <a:pt x="137" y="104"/>
                  </a:lnTo>
                  <a:lnTo>
                    <a:pt x="137" y="40"/>
                  </a:lnTo>
                  <a:lnTo>
                    <a:pt x="226" y="42"/>
                  </a:lnTo>
                  <a:lnTo>
                    <a:pt x="227" y="9"/>
                  </a:lnTo>
                  <a:lnTo>
                    <a:pt x="227" y="9"/>
                  </a:lnTo>
                  <a:lnTo>
                    <a:pt x="227" y="9"/>
                  </a:lnTo>
                  <a:lnTo>
                    <a:pt x="227" y="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0" name="Freeform 33"/>
            <p:cNvSpPr>
              <a:spLocks/>
            </p:cNvSpPr>
            <p:nvPr/>
          </p:nvSpPr>
          <p:spPr bwMode="auto">
            <a:xfrm>
              <a:off x="4730751" y="4014788"/>
              <a:ext cx="525463" cy="268288"/>
            </a:xfrm>
            <a:custGeom>
              <a:avLst/>
              <a:gdLst>
                <a:gd name="T0" fmla="*/ 6 w 331"/>
                <a:gd name="T1" fmla="*/ 163 h 169"/>
                <a:gd name="T2" fmla="*/ 9 w 331"/>
                <a:gd name="T3" fmla="*/ 169 h 169"/>
                <a:gd name="T4" fmla="*/ 308 w 331"/>
                <a:gd name="T5" fmla="*/ 169 h 169"/>
                <a:gd name="T6" fmla="*/ 296 w 331"/>
                <a:gd name="T7" fmla="*/ 59 h 169"/>
                <a:gd name="T8" fmla="*/ 331 w 331"/>
                <a:gd name="T9" fmla="*/ 59 h 169"/>
                <a:gd name="T10" fmla="*/ 229 w 331"/>
                <a:gd name="T11" fmla="*/ 0 h 169"/>
                <a:gd name="T12" fmla="*/ 228 w 331"/>
                <a:gd name="T13" fmla="*/ 33 h 169"/>
                <a:gd name="T14" fmla="*/ 140 w 331"/>
                <a:gd name="T15" fmla="*/ 31 h 169"/>
                <a:gd name="T16" fmla="*/ 140 w 331"/>
                <a:gd name="T17" fmla="*/ 96 h 169"/>
                <a:gd name="T18" fmla="*/ 128 w 331"/>
                <a:gd name="T19" fmla="*/ 96 h 169"/>
                <a:gd name="T20" fmla="*/ 122 w 331"/>
                <a:gd name="T21" fmla="*/ 99 h 169"/>
                <a:gd name="T22" fmla="*/ 117 w 331"/>
                <a:gd name="T23" fmla="*/ 102 h 169"/>
                <a:gd name="T24" fmla="*/ 113 w 331"/>
                <a:gd name="T25" fmla="*/ 108 h 169"/>
                <a:gd name="T26" fmla="*/ 113 w 331"/>
                <a:gd name="T27" fmla="*/ 153 h 169"/>
                <a:gd name="T28" fmla="*/ 3 w 331"/>
                <a:gd name="T29" fmla="*/ 154 h 169"/>
                <a:gd name="T30" fmla="*/ 0 w 331"/>
                <a:gd name="T31" fmla="*/ 160 h 169"/>
                <a:gd name="T32" fmla="*/ 0 w 331"/>
                <a:gd name="T33" fmla="*/ 169 h 169"/>
                <a:gd name="T34" fmla="*/ 1 w 331"/>
                <a:gd name="T35" fmla="*/ 169 h 169"/>
                <a:gd name="T36" fmla="*/ 6 w 331"/>
                <a:gd name="T37" fmla="*/ 16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1" h="169">
                  <a:moveTo>
                    <a:pt x="6" y="163"/>
                  </a:moveTo>
                  <a:lnTo>
                    <a:pt x="9" y="169"/>
                  </a:lnTo>
                  <a:lnTo>
                    <a:pt x="308" y="169"/>
                  </a:lnTo>
                  <a:lnTo>
                    <a:pt x="296" y="59"/>
                  </a:lnTo>
                  <a:lnTo>
                    <a:pt x="331" y="59"/>
                  </a:lnTo>
                  <a:lnTo>
                    <a:pt x="229" y="0"/>
                  </a:lnTo>
                  <a:lnTo>
                    <a:pt x="228" y="33"/>
                  </a:lnTo>
                  <a:lnTo>
                    <a:pt x="140" y="31"/>
                  </a:lnTo>
                  <a:lnTo>
                    <a:pt x="140" y="96"/>
                  </a:lnTo>
                  <a:lnTo>
                    <a:pt x="128" y="96"/>
                  </a:lnTo>
                  <a:lnTo>
                    <a:pt x="122" y="99"/>
                  </a:lnTo>
                  <a:lnTo>
                    <a:pt x="117" y="102"/>
                  </a:lnTo>
                  <a:lnTo>
                    <a:pt x="113" y="108"/>
                  </a:lnTo>
                  <a:lnTo>
                    <a:pt x="113" y="153"/>
                  </a:lnTo>
                  <a:lnTo>
                    <a:pt x="3" y="154"/>
                  </a:lnTo>
                  <a:lnTo>
                    <a:pt x="0" y="160"/>
                  </a:lnTo>
                  <a:lnTo>
                    <a:pt x="0" y="169"/>
                  </a:lnTo>
                  <a:lnTo>
                    <a:pt x="1" y="169"/>
                  </a:lnTo>
                  <a:lnTo>
                    <a:pt x="6" y="16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1" name="Freeform 34"/>
            <p:cNvSpPr>
              <a:spLocks/>
            </p:cNvSpPr>
            <p:nvPr/>
          </p:nvSpPr>
          <p:spPr bwMode="auto">
            <a:xfrm>
              <a:off x="6103938" y="4168776"/>
              <a:ext cx="306388" cy="114300"/>
            </a:xfrm>
            <a:custGeom>
              <a:avLst/>
              <a:gdLst>
                <a:gd name="T0" fmla="*/ 31 w 193"/>
                <a:gd name="T1" fmla="*/ 0 h 72"/>
                <a:gd name="T2" fmla="*/ 0 w 193"/>
                <a:gd name="T3" fmla="*/ 14 h 72"/>
                <a:gd name="T4" fmla="*/ 3 w 193"/>
                <a:gd name="T5" fmla="*/ 16 h 72"/>
                <a:gd name="T6" fmla="*/ 15 w 193"/>
                <a:gd name="T7" fmla="*/ 51 h 72"/>
                <a:gd name="T8" fmla="*/ 15 w 193"/>
                <a:gd name="T9" fmla="*/ 56 h 72"/>
                <a:gd name="T10" fmla="*/ 14 w 193"/>
                <a:gd name="T11" fmla="*/ 59 h 72"/>
                <a:gd name="T12" fmla="*/ 26 w 193"/>
                <a:gd name="T13" fmla="*/ 72 h 72"/>
                <a:gd name="T14" fmla="*/ 193 w 193"/>
                <a:gd name="T15" fmla="*/ 72 h 72"/>
                <a:gd name="T16" fmla="*/ 31 w 193"/>
                <a:gd name="T1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72">
                  <a:moveTo>
                    <a:pt x="31" y="0"/>
                  </a:moveTo>
                  <a:lnTo>
                    <a:pt x="0" y="14"/>
                  </a:lnTo>
                  <a:lnTo>
                    <a:pt x="3" y="16"/>
                  </a:lnTo>
                  <a:lnTo>
                    <a:pt x="15" y="51"/>
                  </a:lnTo>
                  <a:lnTo>
                    <a:pt x="15" y="56"/>
                  </a:lnTo>
                  <a:lnTo>
                    <a:pt x="14" y="59"/>
                  </a:lnTo>
                  <a:lnTo>
                    <a:pt x="26" y="72"/>
                  </a:lnTo>
                  <a:lnTo>
                    <a:pt x="193" y="7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2" name="Freeform 35"/>
            <p:cNvSpPr>
              <a:spLocks/>
            </p:cNvSpPr>
            <p:nvPr/>
          </p:nvSpPr>
          <p:spPr bwMode="auto">
            <a:xfrm>
              <a:off x="5786438" y="4176713"/>
              <a:ext cx="360363" cy="106363"/>
            </a:xfrm>
            <a:custGeom>
              <a:avLst/>
              <a:gdLst>
                <a:gd name="T0" fmla="*/ 214 w 227"/>
                <a:gd name="T1" fmla="*/ 54 h 67"/>
                <a:gd name="T2" fmla="*/ 215 w 227"/>
                <a:gd name="T3" fmla="*/ 50 h 67"/>
                <a:gd name="T4" fmla="*/ 215 w 227"/>
                <a:gd name="T5" fmla="*/ 45 h 67"/>
                <a:gd name="T6" fmla="*/ 203 w 227"/>
                <a:gd name="T7" fmla="*/ 10 h 67"/>
                <a:gd name="T8" fmla="*/ 200 w 227"/>
                <a:gd name="T9" fmla="*/ 7 h 67"/>
                <a:gd name="T10" fmla="*/ 175 w 227"/>
                <a:gd name="T11" fmla="*/ 16 h 67"/>
                <a:gd name="T12" fmla="*/ 169 w 227"/>
                <a:gd name="T13" fmla="*/ 11 h 67"/>
                <a:gd name="T14" fmla="*/ 122 w 227"/>
                <a:gd name="T15" fmla="*/ 0 h 67"/>
                <a:gd name="T16" fmla="*/ 0 w 227"/>
                <a:gd name="T17" fmla="*/ 67 h 67"/>
                <a:gd name="T18" fmla="*/ 227 w 227"/>
                <a:gd name="T19" fmla="*/ 67 h 67"/>
                <a:gd name="T20" fmla="*/ 214 w 227"/>
                <a:gd name="T21" fmla="*/ 5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7" h="67">
                  <a:moveTo>
                    <a:pt x="214" y="54"/>
                  </a:moveTo>
                  <a:lnTo>
                    <a:pt x="215" y="50"/>
                  </a:lnTo>
                  <a:lnTo>
                    <a:pt x="215" y="45"/>
                  </a:lnTo>
                  <a:lnTo>
                    <a:pt x="203" y="10"/>
                  </a:lnTo>
                  <a:lnTo>
                    <a:pt x="200" y="7"/>
                  </a:lnTo>
                  <a:lnTo>
                    <a:pt x="175" y="16"/>
                  </a:lnTo>
                  <a:lnTo>
                    <a:pt x="169" y="11"/>
                  </a:lnTo>
                  <a:lnTo>
                    <a:pt x="122" y="0"/>
                  </a:lnTo>
                  <a:lnTo>
                    <a:pt x="0" y="67"/>
                  </a:lnTo>
                  <a:lnTo>
                    <a:pt x="227" y="67"/>
                  </a:lnTo>
                  <a:lnTo>
                    <a:pt x="214" y="5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3" name="Freeform 36"/>
            <p:cNvSpPr>
              <a:spLocks noEditPoints="1"/>
            </p:cNvSpPr>
            <p:nvPr/>
          </p:nvSpPr>
          <p:spPr bwMode="auto">
            <a:xfrm>
              <a:off x="5754688" y="2560638"/>
              <a:ext cx="280988" cy="190500"/>
            </a:xfrm>
            <a:custGeom>
              <a:avLst/>
              <a:gdLst>
                <a:gd name="T0" fmla="*/ 142 w 177"/>
                <a:gd name="T1" fmla="*/ 118 h 120"/>
                <a:gd name="T2" fmla="*/ 134 w 177"/>
                <a:gd name="T3" fmla="*/ 107 h 120"/>
                <a:gd name="T4" fmla="*/ 133 w 177"/>
                <a:gd name="T5" fmla="*/ 113 h 120"/>
                <a:gd name="T6" fmla="*/ 128 w 177"/>
                <a:gd name="T7" fmla="*/ 118 h 120"/>
                <a:gd name="T8" fmla="*/ 177 w 177"/>
                <a:gd name="T9" fmla="*/ 92 h 120"/>
                <a:gd name="T10" fmla="*/ 167 w 177"/>
                <a:gd name="T11" fmla="*/ 83 h 120"/>
                <a:gd name="T12" fmla="*/ 114 w 177"/>
                <a:gd name="T13" fmla="*/ 73 h 120"/>
                <a:gd name="T14" fmla="*/ 93 w 177"/>
                <a:gd name="T15" fmla="*/ 94 h 120"/>
                <a:gd name="T16" fmla="*/ 81 w 177"/>
                <a:gd name="T17" fmla="*/ 85 h 120"/>
                <a:gd name="T18" fmla="*/ 84 w 177"/>
                <a:gd name="T19" fmla="*/ 68 h 120"/>
                <a:gd name="T20" fmla="*/ 96 w 177"/>
                <a:gd name="T21" fmla="*/ 74 h 120"/>
                <a:gd name="T22" fmla="*/ 96 w 177"/>
                <a:gd name="T23" fmla="*/ 62 h 120"/>
                <a:gd name="T24" fmla="*/ 110 w 177"/>
                <a:gd name="T25" fmla="*/ 76 h 120"/>
                <a:gd name="T26" fmla="*/ 108 w 177"/>
                <a:gd name="T27" fmla="*/ 88 h 120"/>
                <a:gd name="T28" fmla="*/ 99 w 177"/>
                <a:gd name="T29" fmla="*/ 96 h 120"/>
                <a:gd name="T30" fmla="*/ 110 w 177"/>
                <a:gd name="T31" fmla="*/ 96 h 120"/>
                <a:gd name="T32" fmla="*/ 102 w 177"/>
                <a:gd name="T33" fmla="*/ 98 h 120"/>
                <a:gd name="T34" fmla="*/ 93 w 177"/>
                <a:gd name="T35" fmla="*/ 104 h 120"/>
                <a:gd name="T36" fmla="*/ 98 w 177"/>
                <a:gd name="T37" fmla="*/ 105 h 120"/>
                <a:gd name="T38" fmla="*/ 84 w 177"/>
                <a:gd name="T39" fmla="*/ 109 h 120"/>
                <a:gd name="T40" fmla="*/ 79 w 177"/>
                <a:gd name="T41" fmla="*/ 98 h 120"/>
                <a:gd name="T42" fmla="*/ 62 w 177"/>
                <a:gd name="T43" fmla="*/ 74 h 120"/>
                <a:gd name="T44" fmla="*/ 62 w 177"/>
                <a:gd name="T45" fmla="*/ 74 h 120"/>
                <a:gd name="T46" fmla="*/ 64 w 177"/>
                <a:gd name="T47" fmla="*/ 104 h 120"/>
                <a:gd name="T48" fmla="*/ 58 w 177"/>
                <a:gd name="T49" fmla="*/ 99 h 120"/>
                <a:gd name="T50" fmla="*/ 71 w 177"/>
                <a:gd name="T51" fmla="*/ 99 h 120"/>
                <a:gd name="T52" fmla="*/ 71 w 177"/>
                <a:gd name="T53" fmla="*/ 90 h 120"/>
                <a:gd name="T54" fmla="*/ 64 w 177"/>
                <a:gd name="T55" fmla="*/ 79 h 120"/>
                <a:gd name="T56" fmla="*/ 58 w 177"/>
                <a:gd name="T57" fmla="*/ 96 h 120"/>
                <a:gd name="T58" fmla="*/ 46 w 177"/>
                <a:gd name="T59" fmla="*/ 79 h 120"/>
                <a:gd name="T60" fmla="*/ 77 w 177"/>
                <a:gd name="T61" fmla="*/ 15 h 120"/>
                <a:gd name="T62" fmla="*/ 67 w 177"/>
                <a:gd name="T63" fmla="*/ 18 h 120"/>
                <a:gd name="T64" fmla="*/ 26 w 177"/>
                <a:gd name="T65" fmla="*/ 35 h 120"/>
                <a:gd name="T66" fmla="*/ 18 w 177"/>
                <a:gd name="T67" fmla="*/ 40 h 120"/>
                <a:gd name="T68" fmla="*/ 27 w 177"/>
                <a:gd name="T69" fmla="*/ 30 h 120"/>
                <a:gd name="T70" fmla="*/ 52 w 177"/>
                <a:gd name="T71" fmla="*/ 30 h 120"/>
                <a:gd name="T72" fmla="*/ 59 w 177"/>
                <a:gd name="T73" fmla="*/ 9 h 120"/>
                <a:gd name="T74" fmla="*/ 43 w 177"/>
                <a:gd name="T75" fmla="*/ 12 h 120"/>
                <a:gd name="T76" fmla="*/ 18 w 177"/>
                <a:gd name="T77" fmla="*/ 30 h 120"/>
                <a:gd name="T78" fmla="*/ 8 w 177"/>
                <a:gd name="T79" fmla="*/ 39 h 120"/>
                <a:gd name="T80" fmla="*/ 18 w 177"/>
                <a:gd name="T81" fmla="*/ 43 h 120"/>
                <a:gd name="T82" fmla="*/ 37 w 177"/>
                <a:gd name="T83" fmla="*/ 94 h 120"/>
                <a:gd name="T84" fmla="*/ 37 w 177"/>
                <a:gd name="T85" fmla="*/ 82 h 120"/>
                <a:gd name="T86" fmla="*/ 58 w 177"/>
                <a:gd name="T87" fmla="*/ 70 h 120"/>
                <a:gd name="T88" fmla="*/ 67 w 177"/>
                <a:gd name="T89" fmla="*/ 59 h 120"/>
                <a:gd name="T90" fmla="*/ 70 w 177"/>
                <a:gd name="T91" fmla="*/ 46 h 120"/>
                <a:gd name="T92" fmla="*/ 52 w 177"/>
                <a:gd name="T93" fmla="*/ 40 h 120"/>
                <a:gd name="T94" fmla="*/ 37 w 177"/>
                <a:gd name="T95" fmla="*/ 34 h 120"/>
                <a:gd name="T96" fmla="*/ 37 w 177"/>
                <a:gd name="T97" fmla="*/ 46 h 120"/>
                <a:gd name="T98" fmla="*/ 31 w 177"/>
                <a:gd name="T99" fmla="*/ 43 h 120"/>
                <a:gd name="T100" fmla="*/ 18 w 177"/>
                <a:gd name="T101" fmla="*/ 48 h 120"/>
                <a:gd name="T102" fmla="*/ 9 w 177"/>
                <a:gd name="T103" fmla="*/ 52 h 120"/>
                <a:gd name="T104" fmla="*/ 8 w 177"/>
                <a:gd name="T105" fmla="*/ 62 h 120"/>
                <a:gd name="T106" fmla="*/ 4 w 177"/>
                <a:gd name="T107" fmla="*/ 83 h 120"/>
                <a:gd name="T108" fmla="*/ 15 w 177"/>
                <a:gd name="T109" fmla="*/ 98 h 120"/>
                <a:gd name="T110" fmla="*/ 41 w 177"/>
                <a:gd name="T111" fmla="*/ 10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7" h="120">
                  <a:moveTo>
                    <a:pt x="128" y="118"/>
                  </a:moveTo>
                  <a:lnTo>
                    <a:pt x="129" y="118"/>
                  </a:lnTo>
                  <a:lnTo>
                    <a:pt x="134" y="120"/>
                  </a:lnTo>
                  <a:lnTo>
                    <a:pt x="139" y="116"/>
                  </a:lnTo>
                  <a:lnTo>
                    <a:pt x="142" y="118"/>
                  </a:lnTo>
                  <a:lnTo>
                    <a:pt x="142" y="114"/>
                  </a:lnTo>
                  <a:lnTo>
                    <a:pt x="140" y="110"/>
                  </a:lnTo>
                  <a:lnTo>
                    <a:pt x="140" y="107"/>
                  </a:lnTo>
                  <a:lnTo>
                    <a:pt x="136" y="107"/>
                  </a:lnTo>
                  <a:lnTo>
                    <a:pt x="134" y="107"/>
                  </a:lnTo>
                  <a:lnTo>
                    <a:pt x="133" y="107"/>
                  </a:lnTo>
                  <a:lnTo>
                    <a:pt x="129" y="107"/>
                  </a:lnTo>
                  <a:lnTo>
                    <a:pt x="129" y="110"/>
                  </a:lnTo>
                  <a:lnTo>
                    <a:pt x="133" y="110"/>
                  </a:lnTo>
                  <a:lnTo>
                    <a:pt x="133" y="113"/>
                  </a:lnTo>
                  <a:lnTo>
                    <a:pt x="129" y="114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close/>
                  <a:moveTo>
                    <a:pt x="167" y="83"/>
                  </a:moveTo>
                  <a:lnTo>
                    <a:pt x="167" y="90"/>
                  </a:lnTo>
                  <a:lnTo>
                    <a:pt x="167" y="94"/>
                  </a:lnTo>
                  <a:lnTo>
                    <a:pt x="177" y="98"/>
                  </a:lnTo>
                  <a:lnTo>
                    <a:pt x="177" y="92"/>
                  </a:lnTo>
                  <a:lnTo>
                    <a:pt x="172" y="87"/>
                  </a:lnTo>
                  <a:lnTo>
                    <a:pt x="167" y="83"/>
                  </a:lnTo>
                  <a:lnTo>
                    <a:pt x="167" y="83"/>
                  </a:lnTo>
                  <a:lnTo>
                    <a:pt x="167" y="83"/>
                  </a:lnTo>
                  <a:lnTo>
                    <a:pt x="167" y="83"/>
                  </a:lnTo>
                  <a:close/>
                  <a:moveTo>
                    <a:pt x="114" y="73"/>
                  </a:moveTo>
                  <a:lnTo>
                    <a:pt x="111" y="78"/>
                  </a:lnTo>
                  <a:lnTo>
                    <a:pt x="116" y="79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3"/>
                  </a:lnTo>
                  <a:close/>
                  <a:moveTo>
                    <a:pt x="99" y="96"/>
                  </a:moveTo>
                  <a:lnTo>
                    <a:pt x="94" y="96"/>
                  </a:lnTo>
                  <a:lnTo>
                    <a:pt x="93" y="94"/>
                  </a:lnTo>
                  <a:lnTo>
                    <a:pt x="94" y="92"/>
                  </a:lnTo>
                  <a:lnTo>
                    <a:pt x="94" y="88"/>
                  </a:lnTo>
                  <a:lnTo>
                    <a:pt x="88" y="88"/>
                  </a:lnTo>
                  <a:lnTo>
                    <a:pt x="84" y="88"/>
                  </a:lnTo>
                  <a:lnTo>
                    <a:pt x="81" y="85"/>
                  </a:lnTo>
                  <a:lnTo>
                    <a:pt x="81" y="79"/>
                  </a:lnTo>
                  <a:lnTo>
                    <a:pt x="79" y="76"/>
                  </a:lnTo>
                  <a:lnTo>
                    <a:pt x="79" y="74"/>
                  </a:lnTo>
                  <a:lnTo>
                    <a:pt x="81" y="73"/>
                  </a:lnTo>
                  <a:lnTo>
                    <a:pt x="84" y="68"/>
                  </a:lnTo>
                  <a:lnTo>
                    <a:pt x="87" y="67"/>
                  </a:lnTo>
                  <a:lnTo>
                    <a:pt x="88" y="70"/>
                  </a:lnTo>
                  <a:lnTo>
                    <a:pt x="88" y="73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4" y="70"/>
                  </a:lnTo>
                  <a:lnTo>
                    <a:pt x="93" y="67"/>
                  </a:lnTo>
                  <a:lnTo>
                    <a:pt x="96" y="62"/>
                  </a:lnTo>
                  <a:lnTo>
                    <a:pt x="102" y="61"/>
                  </a:lnTo>
                  <a:lnTo>
                    <a:pt x="110" y="61"/>
                  </a:lnTo>
                  <a:lnTo>
                    <a:pt x="111" y="65"/>
                  </a:lnTo>
                  <a:lnTo>
                    <a:pt x="111" y="70"/>
                  </a:lnTo>
                  <a:lnTo>
                    <a:pt x="110" y="76"/>
                  </a:lnTo>
                  <a:lnTo>
                    <a:pt x="104" y="79"/>
                  </a:lnTo>
                  <a:lnTo>
                    <a:pt x="104" y="82"/>
                  </a:lnTo>
                  <a:lnTo>
                    <a:pt x="110" y="83"/>
                  </a:lnTo>
                  <a:lnTo>
                    <a:pt x="110" y="87"/>
                  </a:lnTo>
                  <a:lnTo>
                    <a:pt x="108" y="88"/>
                  </a:lnTo>
                  <a:lnTo>
                    <a:pt x="102" y="90"/>
                  </a:lnTo>
                  <a:lnTo>
                    <a:pt x="102" y="94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close/>
                  <a:moveTo>
                    <a:pt x="102" y="98"/>
                  </a:moveTo>
                  <a:lnTo>
                    <a:pt x="104" y="99"/>
                  </a:lnTo>
                  <a:lnTo>
                    <a:pt x="105" y="96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4" y="94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8"/>
                  </a:lnTo>
                  <a:close/>
                  <a:moveTo>
                    <a:pt x="81" y="98"/>
                  </a:moveTo>
                  <a:lnTo>
                    <a:pt x="87" y="104"/>
                  </a:lnTo>
                  <a:lnTo>
                    <a:pt x="90" y="104"/>
                  </a:lnTo>
                  <a:lnTo>
                    <a:pt x="93" y="104"/>
                  </a:lnTo>
                  <a:lnTo>
                    <a:pt x="94" y="99"/>
                  </a:lnTo>
                  <a:lnTo>
                    <a:pt x="99" y="99"/>
                  </a:lnTo>
                  <a:lnTo>
                    <a:pt x="99" y="98"/>
                  </a:lnTo>
                  <a:lnTo>
                    <a:pt x="102" y="101"/>
                  </a:lnTo>
                  <a:lnTo>
                    <a:pt x="98" y="105"/>
                  </a:lnTo>
                  <a:lnTo>
                    <a:pt x="98" y="110"/>
                  </a:lnTo>
                  <a:lnTo>
                    <a:pt x="98" y="109"/>
                  </a:lnTo>
                  <a:lnTo>
                    <a:pt x="96" y="105"/>
                  </a:lnTo>
                  <a:lnTo>
                    <a:pt x="94" y="109"/>
                  </a:lnTo>
                  <a:lnTo>
                    <a:pt x="84" y="109"/>
                  </a:lnTo>
                  <a:lnTo>
                    <a:pt x="77" y="107"/>
                  </a:lnTo>
                  <a:lnTo>
                    <a:pt x="76" y="104"/>
                  </a:lnTo>
                  <a:lnTo>
                    <a:pt x="79" y="104"/>
                  </a:lnTo>
                  <a:lnTo>
                    <a:pt x="77" y="101"/>
                  </a:lnTo>
                  <a:lnTo>
                    <a:pt x="79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8"/>
                  </a:lnTo>
                  <a:close/>
                  <a:moveTo>
                    <a:pt x="62" y="74"/>
                  </a:moveTo>
                  <a:lnTo>
                    <a:pt x="64" y="68"/>
                  </a:lnTo>
                  <a:lnTo>
                    <a:pt x="64" y="62"/>
                  </a:lnTo>
                  <a:lnTo>
                    <a:pt x="65" y="68"/>
                  </a:lnTo>
                  <a:lnTo>
                    <a:pt x="65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4"/>
                  </a:lnTo>
                  <a:close/>
                  <a:moveTo>
                    <a:pt x="58" y="99"/>
                  </a:moveTo>
                  <a:lnTo>
                    <a:pt x="64" y="104"/>
                  </a:lnTo>
                  <a:lnTo>
                    <a:pt x="65" y="101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8" y="99"/>
                  </a:lnTo>
                  <a:close/>
                  <a:moveTo>
                    <a:pt x="71" y="90"/>
                  </a:moveTo>
                  <a:lnTo>
                    <a:pt x="70" y="98"/>
                  </a:lnTo>
                  <a:lnTo>
                    <a:pt x="67" y="101"/>
                  </a:lnTo>
                  <a:lnTo>
                    <a:pt x="70" y="104"/>
                  </a:lnTo>
                  <a:lnTo>
                    <a:pt x="71" y="99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close/>
                  <a:moveTo>
                    <a:pt x="46" y="79"/>
                  </a:moveTo>
                  <a:lnTo>
                    <a:pt x="53" y="78"/>
                  </a:lnTo>
                  <a:lnTo>
                    <a:pt x="59" y="79"/>
                  </a:lnTo>
                  <a:lnTo>
                    <a:pt x="64" y="79"/>
                  </a:lnTo>
                  <a:lnTo>
                    <a:pt x="67" y="87"/>
                  </a:lnTo>
                  <a:lnTo>
                    <a:pt x="70" y="90"/>
                  </a:lnTo>
                  <a:lnTo>
                    <a:pt x="65" y="96"/>
                  </a:lnTo>
                  <a:lnTo>
                    <a:pt x="59" y="98"/>
                  </a:lnTo>
                  <a:lnTo>
                    <a:pt x="58" y="96"/>
                  </a:lnTo>
                  <a:lnTo>
                    <a:pt x="52" y="94"/>
                  </a:lnTo>
                  <a:lnTo>
                    <a:pt x="47" y="90"/>
                  </a:lnTo>
                  <a:lnTo>
                    <a:pt x="44" y="85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6" y="79"/>
                  </a:lnTo>
                  <a:close/>
                  <a:moveTo>
                    <a:pt x="67" y="18"/>
                  </a:moveTo>
                  <a:lnTo>
                    <a:pt x="71" y="15"/>
                  </a:lnTo>
                  <a:lnTo>
                    <a:pt x="77" y="15"/>
                  </a:lnTo>
                  <a:lnTo>
                    <a:pt x="73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close/>
                  <a:moveTo>
                    <a:pt x="18" y="40"/>
                  </a:moveTo>
                  <a:lnTo>
                    <a:pt x="18" y="35"/>
                  </a:lnTo>
                  <a:lnTo>
                    <a:pt x="21" y="31"/>
                  </a:lnTo>
                  <a:lnTo>
                    <a:pt x="27" y="31"/>
                  </a:lnTo>
                  <a:lnTo>
                    <a:pt x="26" y="35"/>
                  </a:lnTo>
                  <a:lnTo>
                    <a:pt x="21" y="39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close/>
                  <a:moveTo>
                    <a:pt x="18" y="43"/>
                  </a:moveTo>
                  <a:lnTo>
                    <a:pt x="15" y="37"/>
                  </a:lnTo>
                  <a:lnTo>
                    <a:pt x="18" y="34"/>
                  </a:lnTo>
                  <a:lnTo>
                    <a:pt x="26" y="28"/>
                  </a:lnTo>
                  <a:lnTo>
                    <a:pt x="27" y="30"/>
                  </a:lnTo>
                  <a:lnTo>
                    <a:pt x="31" y="28"/>
                  </a:lnTo>
                  <a:lnTo>
                    <a:pt x="38" y="30"/>
                  </a:lnTo>
                  <a:lnTo>
                    <a:pt x="43" y="28"/>
                  </a:lnTo>
                  <a:lnTo>
                    <a:pt x="47" y="28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59" y="21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59" y="9"/>
                  </a:lnTo>
                  <a:lnTo>
                    <a:pt x="64" y="1"/>
                  </a:lnTo>
                  <a:lnTo>
                    <a:pt x="62" y="0"/>
                  </a:lnTo>
                  <a:lnTo>
                    <a:pt x="53" y="7"/>
                  </a:lnTo>
                  <a:lnTo>
                    <a:pt x="47" y="9"/>
                  </a:lnTo>
                  <a:lnTo>
                    <a:pt x="43" y="12"/>
                  </a:lnTo>
                  <a:lnTo>
                    <a:pt x="38" y="15"/>
                  </a:lnTo>
                  <a:lnTo>
                    <a:pt x="37" y="21"/>
                  </a:lnTo>
                  <a:lnTo>
                    <a:pt x="31" y="24"/>
                  </a:lnTo>
                  <a:lnTo>
                    <a:pt x="26" y="24"/>
                  </a:lnTo>
                  <a:lnTo>
                    <a:pt x="18" y="30"/>
                  </a:lnTo>
                  <a:lnTo>
                    <a:pt x="15" y="28"/>
                  </a:lnTo>
                  <a:lnTo>
                    <a:pt x="12" y="28"/>
                  </a:lnTo>
                  <a:lnTo>
                    <a:pt x="9" y="34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7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close/>
                  <a:moveTo>
                    <a:pt x="41" y="101"/>
                  </a:moveTo>
                  <a:lnTo>
                    <a:pt x="41" y="99"/>
                  </a:lnTo>
                  <a:lnTo>
                    <a:pt x="43" y="98"/>
                  </a:lnTo>
                  <a:lnTo>
                    <a:pt x="38" y="94"/>
                  </a:lnTo>
                  <a:lnTo>
                    <a:pt x="37" y="94"/>
                  </a:lnTo>
                  <a:lnTo>
                    <a:pt x="37" y="90"/>
                  </a:lnTo>
                  <a:lnTo>
                    <a:pt x="38" y="88"/>
                  </a:lnTo>
                  <a:lnTo>
                    <a:pt x="41" y="85"/>
                  </a:lnTo>
                  <a:lnTo>
                    <a:pt x="37" y="83"/>
                  </a:lnTo>
                  <a:lnTo>
                    <a:pt x="37" y="82"/>
                  </a:lnTo>
                  <a:lnTo>
                    <a:pt x="47" y="76"/>
                  </a:lnTo>
                  <a:lnTo>
                    <a:pt x="46" y="74"/>
                  </a:lnTo>
                  <a:lnTo>
                    <a:pt x="50" y="70"/>
                  </a:lnTo>
                  <a:lnTo>
                    <a:pt x="52" y="73"/>
                  </a:lnTo>
                  <a:lnTo>
                    <a:pt x="58" y="70"/>
                  </a:lnTo>
                  <a:lnTo>
                    <a:pt x="58" y="62"/>
                  </a:lnTo>
                  <a:lnTo>
                    <a:pt x="56" y="59"/>
                  </a:lnTo>
                  <a:lnTo>
                    <a:pt x="58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70" y="57"/>
                  </a:lnTo>
                  <a:lnTo>
                    <a:pt x="71" y="57"/>
                  </a:lnTo>
                  <a:lnTo>
                    <a:pt x="73" y="56"/>
                  </a:lnTo>
                  <a:lnTo>
                    <a:pt x="76" y="52"/>
                  </a:lnTo>
                  <a:lnTo>
                    <a:pt x="70" y="46"/>
                  </a:lnTo>
                  <a:lnTo>
                    <a:pt x="67" y="48"/>
                  </a:lnTo>
                  <a:lnTo>
                    <a:pt x="59" y="48"/>
                  </a:lnTo>
                  <a:lnTo>
                    <a:pt x="58" y="46"/>
                  </a:lnTo>
                  <a:lnTo>
                    <a:pt x="53" y="40"/>
                  </a:lnTo>
                  <a:lnTo>
                    <a:pt x="52" y="40"/>
                  </a:lnTo>
                  <a:lnTo>
                    <a:pt x="53" y="39"/>
                  </a:lnTo>
                  <a:lnTo>
                    <a:pt x="53" y="34"/>
                  </a:lnTo>
                  <a:lnTo>
                    <a:pt x="47" y="30"/>
                  </a:lnTo>
                  <a:lnTo>
                    <a:pt x="41" y="31"/>
                  </a:lnTo>
                  <a:lnTo>
                    <a:pt x="37" y="34"/>
                  </a:lnTo>
                  <a:lnTo>
                    <a:pt x="31" y="31"/>
                  </a:lnTo>
                  <a:lnTo>
                    <a:pt x="29" y="34"/>
                  </a:lnTo>
                  <a:lnTo>
                    <a:pt x="35" y="39"/>
                  </a:lnTo>
                  <a:lnTo>
                    <a:pt x="32" y="40"/>
                  </a:lnTo>
                  <a:lnTo>
                    <a:pt x="37" y="46"/>
                  </a:lnTo>
                  <a:lnTo>
                    <a:pt x="37" y="48"/>
                  </a:lnTo>
                  <a:lnTo>
                    <a:pt x="32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31" y="43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1" y="43"/>
                  </a:lnTo>
                  <a:lnTo>
                    <a:pt x="24" y="46"/>
                  </a:lnTo>
                  <a:lnTo>
                    <a:pt x="18" y="48"/>
                  </a:lnTo>
                  <a:lnTo>
                    <a:pt x="15" y="46"/>
                  </a:lnTo>
                  <a:lnTo>
                    <a:pt x="9" y="46"/>
                  </a:lnTo>
                  <a:lnTo>
                    <a:pt x="8" y="44"/>
                  </a:lnTo>
                  <a:lnTo>
                    <a:pt x="4" y="48"/>
                  </a:lnTo>
                  <a:lnTo>
                    <a:pt x="9" y="52"/>
                  </a:lnTo>
                  <a:lnTo>
                    <a:pt x="9" y="56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4" y="61"/>
                  </a:lnTo>
                  <a:lnTo>
                    <a:pt x="8" y="62"/>
                  </a:lnTo>
                  <a:lnTo>
                    <a:pt x="8" y="68"/>
                  </a:lnTo>
                  <a:lnTo>
                    <a:pt x="12" y="70"/>
                  </a:lnTo>
                  <a:lnTo>
                    <a:pt x="4" y="74"/>
                  </a:lnTo>
                  <a:lnTo>
                    <a:pt x="0" y="82"/>
                  </a:lnTo>
                  <a:lnTo>
                    <a:pt x="4" y="83"/>
                  </a:lnTo>
                  <a:lnTo>
                    <a:pt x="8" y="82"/>
                  </a:lnTo>
                  <a:lnTo>
                    <a:pt x="15" y="85"/>
                  </a:lnTo>
                  <a:lnTo>
                    <a:pt x="15" y="92"/>
                  </a:lnTo>
                  <a:lnTo>
                    <a:pt x="14" y="94"/>
                  </a:lnTo>
                  <a:lnTo>
                    <a:pt x="15" y="98"/>
                  </a:lnTo>
                  <a:lnTo>
                    <a:pt x="24" y="98"/>
                  </a:lnTo>
                  <a:lnTo>
                    <a:pt x="32" y="99"/>
                  </a:lnTo>
                  <a:lnTo>
                    <a:pt x="37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4" name="Freeform 37"/>
            <p:cNvSpPr>
              <a:spLocks noEditPoints="1"/>
            </p:cNvSpPr>
            <p:nvPr/>
          </p:nvSpPr>
          <p:spPr bwMode="auto">
            <a:xfrm>
              <a:off x="5616576" y="1647826"/>
              <a:ext cx="900113" cy="909638"/>
            </a:xfrm>
            <a:custGeom>
              <a:avLst/>
              <a:gdLst>
                <a:gd name="T0" fmla="*/ 540 w 567"/>
                <a:gd name="T1" fmla="*/ 67 h 573"/>
                <a:gd name="T2" fmla="*/ 564 w 567"/>
                <a:gd name="T3" fmla="*/ 31 h 573"/>
                <a:gd name="T4" fmla="*/ 509 w 567"/>
                <a:gd name="T5" fmla="*/ 15 h 573"/>
                <a:gd name="T6" fmla="*/ 484 w 567"/>
                <a:gd name="T7" fmla="*/ 20 h 573"/>
                <a:gd name="T8" fmla="*/ 471 w 567"/>
                <a:gd name="T9" fmla="*/ 15 h 573"/>
                <a:gd name="T10" fmla="*/ 445 w 567"/>
                <a:gd name="T11" fmla="*/ 23 h 573"/>
                <a:gd name="T12" fmla="*/ 425 w 567"/>
                <a:gd name="T13" fmla="*/ 17 h 573"/>
                <a:gd name="T14" fmla="*/ 393 w 567"/>
                <a:gd name="T15" fmla="*/ 45 h 573"/>
                <a:gd name="T16" fmla="*/ 353 w 567"/>
                <a:gd name="T17" fmla="*/ 58 h 573"/>
                <a:gd name="T18" fmla="*/ 327 w 567"/>
                <a:gd name="T19" fmla="*/ 93 h 573"/>
                <a:gd name="T20" fmla="*/ 307 w 567"/>
                <a:gd name="T21" fmla="*/ 101 h 573"/>
                <a:gd name="T22" fmla="*/ 269 w 567"/>
                <a:gd name="T23" fmla="*/ 113 h 573"/>
                <a:gd name="T24" fmla="*/ 272 w 567"/>
                <a:gd name="T25" fmla="*/ 140 h 573"/>
                <a:gd name="T26" fmla="*/ 232 w 567"/>
                <a:gd name="T27" fmla="*/ 155 h 573"/>
                <a:gd name="T28" fmla="*/ 235 w 567"/>
                <a:gd name="T29" fmla="*/ 188 h 573"/>
                <a:gd name="T30" fmla="*/ 204 w 567"/>
                <a:gd name="T31" fmla="*/ 205 h 573"/>
                <a:gd name="T32" fmla="*/ 185 w 567"/>
                <a:gd name="T33" fmla="*/ 234 h 573"/>
                <a:gd name="T34" fmla="*/ 179 w 567"/>
                <a:gd name="T35" fmla="*/ 267 h 573"/>
                <a:gd name="T36" fmla="*/ 157 w 567"/>
                <a:gd name="T37" fmla="*/ 301 h 573"/>
                <a:gd name="T38" fmla="*/ 122 w 567"/>
                <a:gd name="T39" fmla="*/ 342 h 573"/>
                <a:gd name="T40" fmla="*/ 154 w 567"/>
                <a:gd name="T41" fmla="*/ 343 h 573"/>
                <a:gd name="T42" fmla="*/ 108 w 567"/>
                <a:gd name="T43" fmla="*/ 360 h 573"/>
                <a:gd name="T44" fmla="*/ 73 w 567"/>
                <a:gd name="T45" fmla="*/ 374 h 573"/>
                <a:gd name="T46" fmla="*/ 72 w 567"/>
                <a:gd name="T47" fmla="*/ 393 h 573"/>
                <a:gd name="T48" fmla="*/ 39 w 567"/>
                <a:gd name="T49" fmla="*/ 410 h 573"/>
                <a:gd name="T50" fmla="*/ 44 w 567"/>
                <a:gd name="T51" fmla="*/ 427 h 573"/>
                <a:gd name="T52" fmla="*/ 10 w 567"/>
                <a:gd name="T53" fmla="*/ 447 h 573"/>
                <a:gd name="T54" fmla="*/ 68 w 567"/>
                <a:gd name="T55" fmla="*/ 451 h 573"/>
                <a:gd name="T56" fmla="*/ 15 w 567"/>
                <a:gd name="T57" fmla="*/ 463 h 573"/>
                <a:gd name="T58" fmla="*/ 45 w 567"/>
                <a:gd name="T59" fmla="*/ 475 h 573"/>
                <a:gd name="T60" fmla="*/ 24 w 567"/>
                <a:gd name="T61" fmla="*/ 505 h 573"/>
                <a:gd name="T62" fmla="*/ 44 w 567"/>
                <a:gd name="T63" fmla="*/ 541 h 573"/>
                <a:gd name="T64" fmla="*/ 76 w 567"/>
                <a:gd name="T65" fmla="*/ 570 h 573"/>
                <a:gd name="T66" fmla="*/ 113 w 567"/>
                <a:gd name="T67" fmla="*/ 517 h 573"/>
                <a:gd name="T68" fmla="*/ 143 w 567"/>
                <a:gd name="T69" fmla="*/ 500 h 573"/>
                <a:gd name="T70" fmla="*/ 185 w 567"/>
                <a:gd name="T71" fmla="*/ 488 h 573"/>
                <a:gd name="T72" fmla="*/ 206 w 567"/>
                <a:gd name="T73" fmla="*/ 325 h 573"/>
                <a:gd name="T74" fmla="*/ 258 w 567"/>
                <a:gd name="T75" fmla="*/ 168 h 573"/>
                <a:gd name="T76" fmla="*/ 330 w 567"/>
                <a:gd name="T77" fmla="*/ 130 h 573"/>
                <a:gd name="T78" fmla="*/ 408 w 567"/>
                <a:gd name="T79" fmla="*/ 119 h 573"/>
                <a:gd name="T80" fmla="*/ 480 w 567"/>
                <a:gd name="T81" fmla="*/ 56 h 573"/>
                <a:gd name="T82" fmla="*/ 13 w 567"/>
                <a:gd name="T83" fmla="*/ 500 h 573"/>
                <a:gd name="T84" fmla="*/ 4 w 567"/>
                <a:gd name="T85" fmla="*/ 468 h 573"/>
                <a:gd name="T86" fmla="*/ 4 w 567"/>
                <a:gd name="T87" fmla="*/ 481 h 573"/>
                <a:gd name="T88" fmla="*/ 7 w 567"/>
                <a:gd name="T89" fmla="*/ 420 h 573"/>
                <a:gd name="T90" fmla="*/ 79 w 567"/>
                <a:gd name="T91" fmla="*/ 370 h 573"/>
                <a:gd name="T92" fmla="*/ 82 w 567"/>
                <a:gd name="T93" fmla="*/ 360 h 573"/>
                <a:gd name="T94" fmla="*/ 143 w 567"/>
                <a:gd name="T95" fmla="*/ 301 h 573"/>
                <a:gd name="T96" fmla="*/ 174 w 567"/>
                <a:gd name="T97" fmla="*/ 253 h 573"/>
                <a:gd name="T98" fmla="*/ 169 w 567"/>
                <a:gd name="T99" fmla="*/ 174 h 573"/>
                <a:gd name="T100" fmla="*/ 191 w 567"/>
                <a:gd name="T101" fmla="*/ 151 h 573"/>
                <a:gd name="T102" fmla="*/ 221 w 567"/>
                <a:gd name="T103" fmla="*/ 130 h 573"/>
                <a:gd name="T104" fmla="*/ 232 w 567"/>
                <a:gd name="T105" fmla="*/ 110 h 573"/>
                <a:gd name="T106" fmla="*/ 244 w 567"/>
                <a:gd name="T107" fmla="*/ 127 h 573"/>
                <a:gd name="T108" fmla="*/ 276 w 567"/>
                <a:gd name="T109" fmla="*/ 98 h 573"/>
                <a:gd name="T110" fmla="*/ 276 w 567"/>
                <a:gd name="T111" fmla="*/ 98 h 573"/>
                <a:gd name="T112" fmla="*/ 290 w 567"/>
                <a:gd name="T113" fmla="*/ 65 h 573"/>
                <a:gd name="T114" fmla="*/ 310 w 567"/>
                <a:gd name="T115" fmla="*/ 65 h 573"/>
                <a:gd name="T116" fmla="*/ 338 w 567"/>
                <a:gd name="T117" fmla="*/ 54 h 573"/>
                <a:gd name="T118" fmla="*/ 385 w 567"/>
                <a:gd name="T119" fmla="*/ 45 h 573"/>
                <a:gd name="T120" fmla="*/ 394 w 567"/>
                <a:gd name="T121" fmla="*/ 34 h 573"/>
                <a:gd name="T122" fmla="*/ 425 w 567"/>
                <a:gd name="T123" fmla="*/ 9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67" h="573">
                  <a:moveTo>
                    <a:pt x="524" y="103"/>
                  </a:moveTo>
                  <a:lnTo>
                    <a:pt x="529" y="103"/>
                  </a:lnTo>
                  <a:lnTo>
                    <a:pt x="529" y="93"/>
                  </a:lnTo>
                  <a:lnTo>
                    <a:pt x="535" y="88"/>
                  </a:lnTo>
                  <a:lnTo>
                    <a:pt x="544" y="88"/>
                  </a:lnTo>
                  <a:lnTo>
                    <a:pt x="547" y="82"/>
                  </a:lnTo>
                  <a:lnTo>
                    <a:pt x="547" y="75"/>
                  </a:lnTo>
                  <a:lnTo>
                    <a:pt x="552" y="75"/>
                  </a:lnTo>
                  <a:lnTo>
                    <a:pt x="558" y="76"/>
                  </a:lnTo>
                  <a:lnTo>
                    <a:pt x="561" y="73"/>
                  </a:lnTo>
                  <a:lnTo>
                    <a:pt x="561" y="67"/>
                  </a:lnTo>
                  <a:lnTo>
                    <a:pt x="559" y="67"/>
                  </a:lnTo>
                  <a:lnTo>
                    <a:pt x="555" y="65"/>
                  </a:lnTo>
                  <a:lnTo>
                    <a:pt x="553" y="65"/>
                  </a:lnTo>
                  <a:lnTo>
                    <a:pt x="552" y="65"/>
                  </a:lnTo>
                  <a:lnTo>
                    <a:pt x="549" y="70"/>
                  </a:lnTo>
                  <a:lnTo>
                    <a:pt x="547" y="67"/>
                  </a:lnTo>
                  <a:lnTo>
                    <a:pt x="547" y="64"/>
                  </a:lnTo>
                  <a:lnTo>
                    <a:pt x="544" y="64"/>
                  </a:lnTo>
                  <a:lnTo>
                    <a:pt x="544" y="67"/>
                  </a:lnTo>
                  <a:lnTo>
                    <a:pt x="544" y="71"/>
                  </a:lnTo>
                  <a:lnTo>
                    <a:pt x="541" y="71"/>
                  </a:lnTo>
                  <a:lnTo>
                    <a:pt x="540" y="67"/>
                  </a:lnTo>
                  <a:lnTo>
                    <a:pt x="534" y="70"/>
                  </a:lnTo>
                  <a:lnTo>
                    <a:pt x="534" y="73"/>
                  </a:lnTo>
                  <a:lnTo>
                    <a:pt x="532" y="67"/>
                  </a:lnTo>
                  <a:lnTo>
                    <a:pt x="530" y="64"/>
                  </a:lnTo>
                  <a:lnTo>
                    <a:pt x="529" y="64"/>
                  </a:lnTo>
                  <a:lnTo>
                    <a:pt x="526" y="58"/>
                  </a:lnTo>
                  <a:lnTo>
                    <a:pt x="524" y="56"/>
                  </a:lnTo>
                  <a:lnTo>
                    <a:pt x="519" y="56"/>
                  </a:lnTo>
                  <a:lnTo>
                    <a:pt x="515" y="56"/>
                  </a:lnTo>
                  <a:lnTo>
                    <a:pt x="509" y="54"/>
                  </a:lnTo>
                  <a:lnTo>
                    <a:pt x="506" y="51"/>
                  </a:lnTo>
                  <a:lnTo>
                    <a:pt x="507" y="51"/>
                  </a:lnTo>
                  <a:lnTo>
                    <a:pt x="515" y="53"/>
                  </a:lnTo>
                  <a:lnTo>
                    <a:pt x="523" y="51"/>
                  </a:lnTo>
                  <a:lnTo>
                    <a:pt x="529" y="53"/>
                  </a:lnTo>
                  <a:lnTo>
                    <a:pt x="538" y="53"/>
                  </a:lnTo>
                  <a:lnTo>
                    <a:pt x="546" y="51"/>
                  </a:lnTo>
                  <a:lnTo>
                    <a:pt x="552" y="43"/>
                  </a:lnTo>
                  <a:lnTo>
                    <a:pt x="561" y="39"/>
                  </a:lnTo>
                  <a:lnTo>
                    <a:pt x="567" y="36"/>
                  </a:lnTo>
                  <a:lnTo>
                    <a:pt x="567" y="36"/>
                  </a:lnTo>
                  <a:lnTo>
                    <a:pt x="564" y="34"/>
                  </a:lnTo>
                  <a:lnTo>
                    <a:pt x="564" y="31"/>
                  </a:lnTo>
                  <a:lnTo>
                    <a:pt x="559" y="31"/>
                  </a:lnTo>
                  <a:lnTo>
                    <a:pt x="553" y="31"/>
                  </a:lnTo>
                  <a:lnTo>
                    <a:pt x="546" y="26"/>
                  </a:lnTo>
                  <a:lnTo>
                    <a:pt x="541" y="26"/>
                  </a:lnTo>
                  <a:lnTo>
                    <a:pt x="538" y="31"/>
                  </a:lnTo>
                  <a:lnTo>
                    <a:pt x="535" y="31"/>
                  </a:lnTo>
                  <a:lnTo>
                    <a:pt x="534" y="31"/>
                  </a:lnTo>
                  <a:lnTo>
                    <a:pt x="540" y="26"/>
                  </a:lnTo>
                  <a:lnTo>
                    <a:pt x="540" y="25"/>
                  </a:lnTo>
                  <a:lnTo>
                    <a:pt x="534" y="23"/>
                  </a:lnTo>
                  <a:lnTo>
                    <a:pt x="534" y="21"/>
                  </a:lnTo>
                  <a:lnTo>
                    <a:pt x="530" y="21"/>
                  </a:lnTo>
                  <a:lnTo>
                    <a:pt x="526" y="26"/>
                  </a:lnTo>
                  <a:lnTo>
                    <a:pt x="524" y="26"/>
                  </a:lnTo>
                  <a:lnTo>
                    <a:pt x="524" y="23"/>
                  </a:lnTo>
                  <a:lnTo>
                    <a:pt x="523" y="23"/>
                  </a:lnTo>
                  <a:lnTo>
                    <a:pt x="519" y="26"/>
                  </a:lnTo>
                  <a:lnTo>
                    <a:pt x="518" y="25"/>
                  </a:lnTo>
                  <a:lnTo>
                    <a:pt x="518" y="23"/>
                  </a:lnTo>
                  <a:lnTo>
                    <a:pt x="520" y="21"/>
                  </a:lnTo>
                  <a:lnTo>
                    <a:pt x="520" y="17"/>
                  </a:lnTo>
                  <a:lnTo>
                    <a:pt x="515" y="15"/>
                  </a:lnTo>
                  <a:lnTo>
                    <a:pt x="509" y="15"/>
                  </a:lnTo>
                  <a:lnTo>
                    <a:pt x="506" y="17"/>
                  </a:lnTo>
                  <a:lnTo>
                    <a:pt x="506" y="23"/>
                  </a:lnTo>
                  <a:lnTo>
                    <a:pt x="501" y="25"/>
                  </a:lnTo>
                  <a:lnTo>
                    <a:pt x="501" y="26"/>
                  </a:lnTo>
                  <a:lnTo>
                    <a:pt x="504" y="34"/>
                  </a:lnTo>
                  <a:lnTo>
                    <a:pt x="504" y="37"/>
                  </a:lnTo>
                  <a:lnTo>
                    <a:pt x="501" y="39"/>
                  </a:lnTo>
                  <a:lnTo>
                    <a:pt x="500" y="36"/>
                  </a:lnTo>
                  <a:lnTo>
                    <a:pt x="495" y="36"/>
                  </a:lnTo>
                  <a:lnTo>
                    <a:pt x="494" y="36"/>
                  </a:lnTo>
                  <a:lnTo>
                    <a:pt x="489" y="36"/>
                  </a:lnTo>
                  <a:lnTo>
                    <a:pt x="483" y="37"/>
                  </a:lnTo>
                  <a:lnTo>
                    <a:pt x="489" y="31"/>
                  </a:lnTo>
                  <a:lnTo>
                    <a:pt x="492" y="31"/>
                  </a:lnTo>
                  <a:lnTo>
                    <a:pt x="495" y="26"/>
                  </a:lnTo>
                  <a:lnTo>
                    <a:pt x="494" y="25"/>
                  </a:lnTo>
                  <a:lnTo>
                    <a:pt x="492" y="25"/>
                  </a:lnTo>
                  <a:lnTo>
                    <a:pt x="486" y="28"/>
                  </a:lnTo>
                  <a:lnTo>
                    <a:pt x="484" y="26"/>
                  </a:lnTo>
                  <a:lnTo>
                    <a:pt x="484" y="25"/>
                  </a:lnTo>
                  <a:lnTo>
                    <a:pt x="489" y="23"/>
                  </a:lnTo>
                  <a:lnTo>
                    <a:pt x="489" y="21"/>
                  </a:lnTo>
                  <a:lnTo>
                    <a:pt x="484" y="20"/>
                  </a:lnTo>
                  <a:lnTo>
                    <a:pt x="483" y="17"/>
                  </a:lnTo>
                  <a:lnTo>
                    <a:pt x="486" y="17"/>
                  </a:lnTo>
                  <a:lnTo>
                    <a:pt x="489" y="17"/>
                  </a:lnTo>
                  <a:lnTo>
                    <a:pt x="494" y="17"/>
                  </a:lnTo>
                  <a:lnTo>
                    <a:pt x="498" y="9"/>
                  </a:lnTo>
                  <a:lnTo>
                    <a:pt x="495" y="8"/>
                  </a:lnTo>
                  <a:lnTo>
                    <a:pt x="492" y="8"/>
                  </a:lnTo>
                  <a:lnTo>
                    <a:pt x="489" y="6"/>
                  </a:lnTo>
                  <a:lnTo>
                    <a:pt x="489" y="4"/>
                  </a:lnTo>
                  <a:lnTo>
                    <a:pt x="489" y="0"/>
                  </a:lnTo>
                  <a:lnTo>
                    <a:pt x="484" y="3"/>
                  </a:lnTo>
                  <a:lnTo>
                    <a:pt x="483" y="3"/>
                  </a:lnTo>
                  <a:lnTo>
                    <a:pt x="478" y="0"/>
                  </a:lnTo>
                  <a:lnTo>
                    <a:pt x="474" y="4"/>
                  </a:lnTo>
                  <a:lnTo>
                    <a:pt x="474" y="6"/>
                  </a:lnTo>
                  <a:lnTo>
                    <a:pt x="478" y="9"/>
                  </a:lnTo>
                  <a:lnTo>
                    <a:pt x="477" y="12"/>
                  </a:lnTo>
                  <a:lnTo>
                    <a:pt x="474" y="12"/>
                  </a:lnTo>
                  <a:lnTo>
                    <a:pt x="469" y="8"/>
                  </a:lnTo>
                  <a:lnTo>
                    <a:pt x="468" y="9"/>
                  </a:lnTo>
                  <a:lnTo>
                    <a:pt x="466" y="14"/>
                  </a:lnTo>
                  <a:lnTo>
                    <a:pt x="468" y="15"/>
                  </a:lnTo>
                  <a:lnTo>
                    <a:pt x="471" y="15"/>
                  </a:lnTo>
                  <a:lnTo>
                    <a:pt x="474" y="17"/>
                  </a:lnTo>
                  <a:lnTo>
                    <a:pt x="474" y="20"/>
                  </a:lnTo>
                  <a:lnTo>
                    <a:pt x="469" y="21"/>
                  </a:lnTo>
                  <a:lnTo>
                    <a:pt x="469" y="25"/>
                  </a:lnTo>
                  <a:lnTo>
                    <a:pt x="466" y="25"/>
                  </a:lnTo>
                  <a:lnTo>
                    <a:pt x="466" y="28"/>
                  </a:lnTo>
                  <a:lnTo>
                    <a:pt x="468" y="31"/>
                  </a:lnTo>
                  <a:lnTo>
                    <a:pt x="463" y="31"/>
                  </a:lnTo>
                  <a:lnTo>
                    <a:pt x="466" y="36"/>
                  </a:lnTo>
                  <a:lnTo>
                    <a:pt x="463" y="37"/>
                  </a:lnTo>
                  <a:lnTo>
                    <a:pt x="460" y="36"/>
                  </a:lnTo>
                  <a:lnTo>
                    <a:pt x="458" y="37"/>
                  </a:lnTo>
                  <a:lnTo>
                    <a:pt x="457" y="39"/>
                  </a:lnTo>
                  <a:lnTo>
                    <a:pt x="452" y="43"/>
                  </a:lnTo>
                  <a:lnTo>
                    <a:pt x="452" y="37"/>
                  </a:lnTo>
                  <a:lnTo>
                    <a:pt x="458" y="28"/>
                  </a:lnTo>
                  <a:lnTo>
                    <a:pt x="452" y="28"/>
                  </a:lnTo>
                  <a:lnTo>
                    <a:pt x="454" y="25"/>
                  </a:lnTo>
                  <a:lnTo>
                    <a:pt x="457" y="23"/>
                  </a:lnTo>
                  <a:lnTo>
                    <a:pt x="457" y="15"/>
                  </a:lnTo>
                  <a:lnTo>
                    <a:pt x="454" y="14"/>
                  </a:lnTo>
                  <a:lnTo>
                    <a:pt x="452" y="14"/>
                  </a:lnTo>
                  <a:lnTo>
                    <a:pt x="445" y="23"/>
                  </a:lnTo>
                  <a:lnTo>
                    <a:pt x="445" y="28"/>
                  </a:lnTo>
                  <a:lnTo>
                    <a:pt x="439" y="37"/>
                  </a:lnTo>
                  <a:lnTo>
                    <a:pt x="437" y="43"/>
                  </a:lnTo>
                  <a:lnTo>
                    <a:pt x="437" y="45"/>
                  </a:lnTo>
                  <a:lnTo>
                    <a:pt x="437" y="51"/>
                  </a:lnTo>
                  <a:lnTo>
                    <a:pt x="429" y="58"/>
                  </a:lnTo>
                  <a:lnTo>
                    <a:pt x="425" y="60"/>
                  </a:lnTo>
                  <a:lnTo>
                    <a:pt x="425" y="54"/>
                  </a:lnTo>
                  <a:lnTo>
                    <a:pt x="425" y="53"/>
                  </a:lnTo>
                  <a:lnTo>
                    <a:pt x="429" y="45"/>
                  </a:lnTo>
                  <a:lnTo>
                    <a:pt x="428" y="42"/>
                  </a:lnTo>
                  <a:lnTo>
                    <a:pt x="429" y="37"/>
                  </a:lnTo>
                  <a:lnTo>
                    <a:pt x="428" y="34"/>
                  </a:lnTo>
                  <a:lnTo>
                    <a:pt x="437" y="26"/>
                  </a:lnTo>
                  <a:lnTo>
                    <a:pt x="437" y="21"/>
                  </a:lnTo>
                  <a:lnTo>
                    <a:pt x="439" y="21"/>
                  </a:lnTo>
                  <a:lnTo>
                    <a:pt x="439" y="17"/>
                  </a:lnTo>
                  <a:lnTo>
                    <a:pt x="433" y="17"/>
                  </a:lnTo>
                  <a:lnTo>
                    <a:pt x="429" y="14"/>
                  </a:lnTo>
                  <a:lnTo>
                    <a:pt x="428" y="14"/>
                  </a:lnTo>
                  <a:lnTo>
                    <a:pt x="428" y="20"/>
                  </a:lnTo>
                  <a:lnTo>
                    <a:pt x="425" y="21"/>
                  </a:lnTo>
                  <a:lnTo>
                    <a:pt x="425" y="17"/>
                  </a:lnTo>
                  <a:lnTo>
                    <a:pt x="422" y="14"/>
                  </a:lnTo>
                  <a:lnTo>
                    <a:pt x="416" y="14"/>
                  </a:lnTo>
                  <a:lnTo>
                    <a:pt x="412" y="15"/>
                  </a:lnTo>
                  <a:lnTo>
                    <a:pt x="414" y="21"/>
                  </a:lnTo>
                  <a:lnTo>
                    <a:pt x="412" y="23"/>
                  </a:lnTo>
                  <a:lnTo>
                    <a:pt x="411" y="21"/>
                  </a:lnTo>
                  <a:lnTo>
                    <a:pt x="406" y="20"/>
                  </a:lnTo>
                  <a:lnTo>
                    <a:pt x="405" y="21"/>
                  </a:lnTo>
                  <a:lnTo>
                    <a:pt x="405" y="23"/>
                  </a:lnTo>
                  <a:lnTo>
                    <a:pt x="412" y="26"/>
                  </a:lnTo>
                  <a:lnTo>
                    <a:pt x="412" y="31"/>
                  </a:lnTo>
                  <a:lnTo>
                    <a:pt x="412" y="31"/>
                  </a:lnTo>
                  <a:lnTo>
                    <a:pt x="408" y="31"/>
                  </a:lnTo>
                  <a:lnTo>
                    <a:pt x="405" y="31"/>
                  </a:lnTo>
                  <a:lnTo>
                    <a:pt x="405" y="36"/>
                  </a:lnTo>
                  <a:lnTo>
                    <a:pt x="406" y="37"/>
                  </a:lnTo>
                  <a:lnTo>
                    <a:pt x="405" y="39"/>
                  </a:lnTo>
                  <a:lnTo>
                    <a:pt x="400" y="36"/>
                  </a:lnTo>
                  <a:lnTo>
                    <a:pt x="397" y="36"/>
                  </a:lnTo>
                  <a:lnTo>
                    <a:pt x="394" y="42"/>
                  </a:lnTo>
                  <a:lnTo>
                    <a:pt x="391" y="43"/>
                  </a:lnTo>
                  <a:lnTo>
                    <a:pt x="391" y="45"/>
                  </a:lnTo>
                  <a:lnTo>
                    <a:pt x="393" y="45"/>
                  </a:lnTo>
                  <a:lnTo>
                    <a:pt x="387" y="48"/>
                  </a:lnTo>
                  <a:lnTo>
                    <a:pt x="387" y="53"/>
                  </a:lnTo>
                  <a:lnTo>
                    <a:pt x="391" y="56"/>
                  </a:lnTo>
                  <a:lnTo>
                    <a:pt x="387" y="60"/>
                  </a:lnTo>
                  <a:lnTo>
                    <a:pt x="391" y="60"/>
                  </a:lnTo>
                  <a:lnTo>
                    <a:pt x="393" y="62"/>
                  </a:lnTo>
                  <a:lnTo>
                    <a:pt x="391" y="65"/>
                  </a:lnTo>
                  <a:lnTo>
                    <a:pt x="385" y="64"/>
                  </a:lnTo>
                  <a:lnTo>
                    <a:pt x="383" y="58"/>
                  </a:lnTo>
                  <a:lnTo>
                    <a:pt x="379" y="56"/>
                  </a:lnTo>
                  <a:lnTo>
                    <a:pt x="383" y="54"/>
                  </a:lnTo>
                  <a:lnTo>
                    <a:pt x="377" y="53"/>
                  </a:lnTo>
                  <a:lnTo>
                    <a:pt x="373" y="53"/>
                  </a:lnTo>
                  <a:lnTo>
                    <a:pt x="368" y="53"/>
                  </a:lnTo>
                  <a:lnTo>
                    <a:pt x="359" y="48"/>
                  </a:lnTo>
                  <a:lnTo>
                    <a:pt x="356" y="48"/>
                  </a:lnTo>
                  <a:lnTo>
                    <a:pt x="353" y="48"/>
                  </a:lnTo>
                  <a:lnTo>
                    <a:pt x="351" y="45"/>
                  </a:lnTo>
                  <a:lnTo>
                    <a:pt x="347" y="48"/>
                  </a:lnTo>
                  <a:lnTo>
                    <a:pt x="344" y="51"/>
                  </a:lnTo>
                  <a:lnTo>
                    <a:pt x="341" y="53"/>
                  </a:lnTo>
                  <a:lnTo>
                    <a:pt x="350" y="58"/>
                  </a:lnTo>
                  <a:lnTo>
                    <a:pt x="353" y="58"/>
                  </a:lnTo>
                  <a:lnTo>
                    <a:pt x="356" y="62"/>
                  </a:lnTo>
                  <a:lnTo>
                    <a:pt x="361" y="62"/>
                  </a:lnTo>
                  <a:lnTo>
                    <a:pt x="359" y="65"/>
                  </a:lnTo>
                  <a:lnTo>
                    <a:pt x="359" y="70"/>
                  </a:lnTo>
                  <a:lnTo>
                    <a:pt x="362" y="75"/>
                  </a:lnTo>
                  <a:lnTo>
                    <a:pt x="362" y="79"/>
                  </a:lnTo>
                  <a:lnTo>
                    <a:pt x="359" y="76"/>
                  </a:lnTo>
                  <a:lnTo>
                    <a:pt x="356" y="71"/>
                  </a:lnTo>
                  <a:lnTo>
                    <a:pt x="351" y="70"/>
                  </a:lnTo>
                  <a:lnTo>
                    <a:pt x="347" y="65"/>
                  </a:lnTo>
                  <a:lnTo>
                    <a:pt x="345" y="70"/>
                  </a:lnTo>
                  <a:lnTo>
                    <a:pt x="341" y="73"/>
                  </a:lnTo>
                  <a:lnTo>
                    <a:pt x="341" y="67"/>
                  </a:lnTo>
                  <a:lnTo>
                    <a:pt x="338" y="71"/>
                  </a:lnTo>
                  <a:lnTo>
                    <a:pt x="338" y="73"/>
                  </a:lnTo>
                  <a:lnTo>
                    <a:pt x="332" y="76"/>
                  </a:lnTo>
                  <a:lnTo>
                    <a:pt x="332" y="81"/>
                  </a:lnTo>
                  <a:lnTo>
                    <a:pt x="338" y="82"/>
                  </a:lnTo>
                  <a:lnTo>
                    <a:pt x="339" y="88"/>
                  </a:lnTo>
                  <a:lnTo>
                    <a:pt x="336" y="87"/>
                  </a:lnTo>
                  <a:lnTo>
                    <a:pt x="333" y="84"/>
                  </a:lnTo>
                  <a:lnTo>
                    <a:pt x="330" y="90"/>
                  </a:lnTo>
                  <a:lnTo>
                    <a:pt x="327" y="93"/>
                  </a:lnTo>
                  <a:lnTo>
                    <a:pt x="322" y="98"/>
                  </a:lnTo>
                  <a:lnTo>
                    <a:pt x="322" y="95"/>
                  </a:lnTo>
                  <a:lnTo>
                    <a:pt x="326" y="92"/>
                  </a:lnTo>
                  <a:lnTo>
                    <a:pt x="324" y="90"/>
                  </a:lnTo>
                  <a:lnTo>
                    <a:pt x="327" y="82"/>
                  </a:lnTo>
                  <a:lnTo>
                    <a:pt x="326" y="67"/>
                  </a:lnTo>
                  <a:lnTo>
                    <a:pt x="322" y="71"/>
                  </a:lnTo>
                  <a:lnTo>
                    <a:pt x="315" y="79"/>
                  </a:lnTo>
                  <a:lnTo>
                    <a:pt x="315" y="87"/>
                  </a:lnTo>
                  <a:lnTo>
                    <a:pt x="316" y="88"/>
                  </a:lnTo>
                  <a:lnTo>
                    <a:pt x="313" y="92"/>
                  </a:lnTo>
                  <a:lnTo>
                    <a:pt x="311" y="88"/>
                  </a:lnTo>
                  <a:lnTo>
                    <a:pt x="315" y="82"/>
                  </a:lnTo>
                  <a:lnTo>
                    <a:pt x="313" y="76"/>
                  </a:lnTo>
                  <a:lnTo>
                    <a:pt x="310" y="75"/>
                  </a:lnTo>
                  <a:lnTo>
                    <a:pt x="304" y="79"/>
                  </a:lnTo>
                  <a:lnTo>
                    <a:pt x="301" y="84"/>
                  </a:lnTo>
                  <a:lnTo>
                    <a:pt x="304" y="90"/>
                  </a:lnTo>
                  <a:lnTo>
                    <a:pt x="304" y="93"/>
                  </a:lnTo>
                  <a:lnTo>
                    <a:pt x="311" y="98"/>
                  </a:lnTo>
                  <a:lnTo>
                    <a:pt x="313" y="101"/>
                  </a:lnTo>
                  <a:lnTo>
                    <a:pt x="310" y="107"/>
                  </a:lnTo>
                  <a:lnTo>
                    <a:pt x="307" y="101"/>
                  </a:lnTo>
                  <a:lnTo>
                    <a:pt x="301" y="98"/>
                  </a:lnTo>
                  <a:lnTo>
                    <a:pt x="298" y="90"/>
                  </a:lnTo>
                  <a:lnTo>
                    <a:pt x="296" y="88"/>
                  </a:lnTo>
                  <a:lnTo>
                    <a:pt x="287" y="92"/>
                  </a:lnTo>
                  <a:lnTo>
                    <a:pt x="287" y="93"/>
                  </a:lnTo>
                  <a:lnTo>
                    <a:pt x="296" y="98"/>
                  </a:lnTo>
                  <a:lnTo>
                    <a:pt x="298" y="98"/>
                  </a:lnTo>
                  <a:lnTo>
                    <a:pt x="299" y="101"/>
                  </a:lnTo>
                  <a:lnTo>
                    <a:pt x="296" y="101"/>
                  </a:lnTo>
                  <a:lnTo>
                    <a:pt x="290" y="101"/>
                  </a:lnTo>
                  <a:lnTo>
                    <a:pt x="293" y="107"/>
                  </a:lnTo>
                  <a:lnTo>
                    <a:pt x="287" y="103"/>
                  </a:lnTo>
                  <a:lnTo>
                    <a:pt x="287" y="98"/>
                  </a:lnTo>
                  <a:lnTo>
                    <a:pt x="286" y="98"/>
                  </a:lnTo>
                  <a:lnTo>
                    <a:pt x="284" y="92"/>
                  </a:lnTo>
                  <a:lnTo>
                    <a:pt x="281" y="95"/>
                  </a:lnTo>
                  <a:lnTo>
                    <a:pt x="281" y="101"/>
                  </a:lnTo>
                  <a:lnTo>
                    <a:pt x="281" y="103"/>
                  </a:lnTo>
                  <a:lnTo>
                    <a:pt x="281" y="109"/>
                  </a:lnTo>
                  <a:lnTo>
                    <a:pt x="276" y="107"/>
                  </a:lnTo>
                  <a:lnTo>
                    <a:pt x="272" y="109"/>
                  </a:lnTo>
                  <a:lnTo>
                    <a:pt x="269" y="113"/>
                  </a:lnTo>
                  <a:lnTo>
                    <a:pt x="269" y="113"/>
                  </a:lnTo>
                  <a:lnTo>
                    <a:pt x="272" y="113"/>
                  </a:lnTo>
                  <a:lnTo>
                    <a:pt x="276" y="118"/>
                  </a:lnTo>
                  <a:lnTo>
                    <a:pt x="272" y="118"/>
                  </a:lnTo>
                  <a:lnTo>
                    <a:pt x="269" y="119"/>
                  </a:lnTo>
                  <a:lnTo>
                    <a:pt x="270" y="121"/>
                  </a:lnTo>
                  <a:lnTo>
                    <a:pt x="269" y="124"/>
                  </a:lnTo>
                  <a:lnTo>
                    <a:pt x="265" y="124"/>
                  </a:lnTo>
                  <a:lnTo>
                    <a:pt x="265" y="127"/>
                  </a:lnTo>
                  <a:lnTo>
                    <a:pt x="266" y="127"/>
                  </a:lnTo>
                  <a:lnTo>
                    <a:pt x="264" y="129"/>
                  </a:lnTo>
                  <a:lnTo>
                    <a:pt x="261" y="124"/>
                  </a:lnTo>
                  <a:lnTo>
                    <a:pt x="258" y="127"/>
                  </a:lnTo>
                  <a:lnTo>
                    <a:pt x="253" y="130"/>
                  </a:lnTo>
                  <a:lnTo>
                    <a:pt x="255" y="132"/>
                  </a:lnTo>
                  <a:lnTo>
                    <a:pt x="253" y="134"/>
                  </a:lnTo>
                  <a:lnTo>
                    <a:pt x="249" y="134"/>
                  </a:lnTo>
                  <a:lnTo>
                    <a:pt x="246" y="140"/>
                  </a:lnTo>
                  <a:lnTo>
                    <a:pt x="250" y="140"/>
                  </a:lnTo>
                  <a:lnTo>
                    <a:pt x="261" y="138"/>
                  </a:lnTo>
                  <a:lnTo>
                    <a:pt x="265" y="140"/>
                  </a:lnTo>
                  <a:lnTo>
                    <a:pt x="270" y="136"/>
                  </a:lnTo>
                  <a:lnTo>
                    <a:pt x="272" y="136"/>
                  </a:lnTo>
                  <a:lnTo>
                    <a:pt x="272" y="140"/>
                  </a:lnTo>
                  <a:lnTo>
                    <a:pt x="269" y="143"/>
                  </a:lnTo>
                  <a:lnTo>
                    <a:pt x="269" y="149"/>
                  </a:lnTo>
                  <a:lnTo>
                    <a:pt x="266" y="151"/>
                  </a:lnTo>
                  <a:lnTo>
                    <a:pt x="265" y="149"/>
                  </a:lnTo>
                  <a:lnTo>
                    <a:pt x="265" y="146"/>
                  </a:lnTo>
                  <a:lnTo>
                    <a:pt x="259" y="147"/>
                  </a:lnTo>
                  <a:lnTo>
                    <a:pt x="258" y="146"/>
                  </a:lnTo>
                  <a:lnTo>
                    <a:pt x="252" y="146"/>
                  </a:lnTo>
                  <a:lnTo>
                    <a:pt x="253" y="146"/>
                  </a:lnTo>
                  <a:lnTo>
                    <a:pt x="252" y="149"/>
                  </a:lnTo>
                  <a:lnTo>
                    <a:pt x="249" y="147"/>
                  </a:lnTo>
                  <a:lnTo>
                    <a:pt x="246" y="147"/>
                  </a:lnTo>
                  <a:lnTo>
                    <a:pt x="250" y="149"/>
                  </a:lnTo>
                  <a:lnTo>
                    <a:pt x="252" y="152"/>
                  </a:lnTo>
                  <a:lnTo>
                    <a:pt x="249" y="155"/>
                  </a:lnTo>
                  <a:lnTo>
                    <a:pt x="246" y="157"/>
                  </a:lnTo>
                  <a:lnTo>
                    <a:pt x="249" y="160"/>
                  </a:lnTo>
                  <a:lnTo>
                    <a:pt x="246" y="162"/>
                  </a:lnTo>
                  <a:lnTo>
                    <a:pt x="244" y="158"/>
                  </a:lnTo>
                  <a:lnTo>
                    <a:pt x="244" y="155"/>
                  </a:lnTo>
                  <a:lnTo>
                    <a:pt x="240" y="151"/>
                  </a:lnTo>
                  <a:lnTo>
                    <a:pt x="237" y="155"/>
                  </a:lnTo>
                  <a:lnTo>
                    <a:pt x="232" y="155"/>
                  </a:lnTo>
                  <a:lnTo>
                    <a:pt x="231" y="152"/>
                  </a:lnTo>
                  <a:lnTo>
                    <a:pt x="232" y="151"/>
                  </a:lnTo>
                  <a:lnTo>
                    <a:pt x="229" y="149"/>
                  </a:lnTo>
                  <a:lnTo>
                    <a:pt x="225" y="155"/>
                  </a:lnTo>
                  <a:lnTo>
                    <a:pt x="229" y="158"/>
                  </a:lnTo>
                  <a:lnTo>
                    <a:pt x="235" y="157"/>
                  </a:lnTo>
                  <a:lnTo>
                    <a:pt x="240" y="160"/>
                  </a:lnTo>
                  <a:lnTo>
                    <a:pt x="237" y="164"/>
                  </a:lnTo>
                  <a:lnTo>
                    <a:pt x="226" y="165"/>
                  </a:lnTo>
                  <a:lnTo>
                    <a:pt x="225" y="164"/>
                  </a:lnTo>
                  <a:lnTo>
                    <a:pt x="221" y="164"/>
                  </a:lnTo>
                  <a:lnTo>
                    <a:pt x="220" y="168"/>
                  </a:lnTo>
                  <a:lnTo>
                    <a:pt x="221" y="171"/>
                  </a:lnTo>
                  <a:lnTo>
                    <a:pt x="220" y="174"/>
                  </a:lnTo>
                  <a:lnTo>
                    <a:pt x="223" y="174"/>
                  </a:lnTo>
                  <a:lnTo>
                    <a:pt x="226" y="169"/>
                  </a:lnTo>
                  <a:lnTo>
                    <a:pt x="232" y="169"/>
                  </a:lnTo>
                  <a:lnTo>
                    <a:pt x="235" y="171"/>
                  </a:lnTo>
                  <a:lnTo>
                    <a:pt x="226" y="174"/>
                  </a:lnTo>
                  <a:lnTo>
                    <a:pt x="226" y="177"/>
                  </a:lnTo>
                  <a:lnTo>
                    <a:pt x="229" y="180"/>
                  </a:lnTo>
                  <a:lnTo>
                    <a:pt x="235" y="185"/>
                  </a:lnTo>
                  <a:lnTo>
                    <a:pt x="235" y="188"/>
                  </a:lnTo>
                  <a:lnTo>
                    <a:pt x="231" y="185"/>
                  </a:lnTo>
                  <a:lnTo>
                    <a:pt x="226" y="186"/>
                  </a:lnTo>
                  <a:lnTo>
                    <a:pt x="223" y="180"/>
                  </a:lnTo>
                  <a:lnTo>
                    <a:pt x="221" y="180"/>
                  </a:lnTo>
                  <a:lnTo>
                    <a:pt x="217" y="185"/>
                  </a:lnTo>
                  <a:lnTo>
                    <a:pt x="221" y="186"/>
                  </a:lnTo>
                  <a:lnTo>
                    <a:pt x="215" y="188"/>
                  </a:lnTo>
                  <a:lnTo>
                    <a:pt x="212" y="191"/>
                  </a:lnTo>
                  <a:lnTo>
                    <a:pt x="212" y="194"/>
                  </a:lnTo>
                  <a:lnTo>
                    <a:pt x="215" y="196"/>
                  </a:lnTo>
                  <a:lnTo>
                    <a:pt x="221" y="194"/>
                  </a:lnTo>
                  <a:lnTo>
                    <a:pt x="223" y="196"/>
                  </a:lnTo>
                  <a:lnTo>
                    <a:pt x="229" y="194"/>
                  </a:lnTo>
                  <a:lnTo>
                    <a:pt x="229" y="197"/>
                  </a:lnTo>
                  <a:lnTo>
                    <a:pt x="232" y="199"/>
                  </a:lnTo>
                  <a:lnTo>
                    <a:pt x="232" y="203"/>
                  </a:lnTo>
                  <a:lnTo>
                    <a:pt x="225" y="199"/>
                  </a:lnTo>
                  <a:lnTo>
                    <a:pt x="220" y="199"/>
                  </a:lnTo>
                  <a:lnTo>
                    <a:pt x="217" y="199"/>
                  </a:lnTo>
                  <a:lnTo>
                    <a:pt x="209" y="201"/>
                  </a:lnTo>
                  <a:lnTo>
                    <a:pt x="209" y="205"/>
                  </a:lnTo>
                  <a:lnTo>
                    <a:pt x="206" y="207"/>
                  </a:lnTo>
                  <a:lnTo>
                    <a:pt x="204" y="205"/>
                  </a:lnTo>
                  <a:lnTo>
                    <a:pt x="197" y="208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7" y="213"/>
                  </a:lnTo>
                  <a:lnTo>
                    <a:pt x="200" y="216"/>
                  </a:lnTo>
                  <a:lnTo>
                    <a:pt x="197" y="218"/>
                  </a:lnTo>
                  <a:lnTo>
                    <a:pt x="194" y="216"/>
                  </a:lnTo>
                  <a:lnTo>
                    <a:pt x="192" y="218"/>
                  </a:lnTo>
                  <a:lnTo>
                    <a:pt x="197" y="219"/>
                  </a:lnTo>
                  <a:lnTo>
                    <a:pt x="194" y="222"/>
                  </a:lnTo>
                  <a:lnTo>
                    <a:pt x="189" y="222"/>
                  </a:lnTo>
                  <a:lnTo>
                    <a:pt x="189" y="219"/>
                  </a:lnTo>
                  <a:lnTo>
                    <a:pt x="186" y="222"/>
                  </a:lnTo>
                  <a:lnTo>
                    <a:pt x="191" y="223"/>
                  </a:lnTo>
                  <a:lnTo>
                    <a:pt x="189" y="225"/>
                  </a:lnTo>
                  <a:lnTo>
                    <a:pt x="189" y="228"/>
                  </a:lnTo>
                  <a:lnTo>
                    <a:pt x="192" y="228"/>
                  </a:lnTo>
                  <a:lnTo>
                    <a:pt x="189" y="231"/>
                  </a:lnTo>
                  <a:lnTo>
                    <a:pt x="185" y="231"/>
                  </a:lnTo>
                  <a:lnTo>
                    <a:pt x="183" y="228"/>
                  </a:lnTo>
                  <a:lnTo>
                    <a:pt x="183" y="233"/>
                  </a:lnTo>
                  <a:lnTo>
                    <a:pt x="180" y="234"/>
                  </a:lnTo>
                  <a:lnTo>
                    <a:pt x="185" y="234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7" y="241"/>
                  </a:lnTo>
                  <a:lnTo>
                    <a:pt x="200" y="240"/>
                  </a:lnTo>
                  <a:lnTo>
                    <a:pt x="197" y="241"/>
                  </a:lnTo>
                  <a:lnTo>
                    <a:pt x="197" y="244"/>
                  </a:lnTo>
                  <a:lnTo>
                    <a:pt x="192" y="244"/>
                  </a:lnTo>
                  <a:lnTo>
                    <a:pt x="191" y="244"/>
                  </a:lnTo>
                  <a:lnTo>
                    <a:pt x="183" y="244"/>
                  </a:lnTo>
                  <a:lnTo>
                    <a:pt x="177" y="247"/>
                  </a:lnTo>
                  <a:lnTo>
                    <a:pt x="179" y="250"/>
                  </a:lnTo>
                  <a:lnTo>
                    <a:pt x="185" y="250"/>
                  </a:lnTo>
                  <a:lnTo>
                    <a:pt x="185" y="250"/>
                  </a:lnTo>
                  <a:lnTo>
                    <a:pt x="189" y="255"/>
                  </a:lnTo>
                  <a:lnTo>
                    <a:pt x="186" y="258"/>
                  </a:lnTo>
                  <a:lnTo>
                    <a:pt x="185" y="255"/>
                  </a:lnTo>
                  <a:lnTo>
                    <a:pt x="180" y="255"/>
                  </a:lnTo>
                  <a:lnTo>
                    <a:pt x="179" y="258"/>
                  </a:lnTo>
                  <a:lnTo>
                    <a:pt x="179" y="261"/>
                  </a:lnTo>
                  <a:lnTo>
                    <a:pt x="177" y="262"/>
                  </a:lnTo>
                  <a:lnTo>
                    <a:pt x="180" y="264"/>
                  </a:lnTo>
                  <a:lnTo>
                    <a:pt x="180" y="267"/>
                  </a:lnTo>
                  <a:lnTo>
                    <a:pt x="179" y="267"/>
                  </a:lnTo>
                  <a:lnTo>
                    <a:pt x="175" y="264"/>
                  </a:lnTo>
                  <a:lnTo>
                    <a:pt x="174" y="267"/>
                  </a:lnTo>
                  <a:lnTo>
                    <a:pt x="174" y="270"/>
                  </a:lnTo>
                  <a:lnTo>
                    <a:pt x="179" y="272"/>
                  </a:lnTo>
                  <a:lnTo>
                    <a:pt x="179" y="273"/>
                  </a:lnTo>
                  <a:lnTo>
                    <a:pt x="179" y="275"/>
                  </a:lnTo>
                  <a:lnTo>
                    <a:pt x="174" y="272"/>
                  </a:lnTo>
                  <a:lnTo>
                    <a:pt x="171" y="273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71" y="283"/>
                  </a:lnTo>
                  <a:lnTo>
                    <a:pt x="174" y="286"/>
                  </a:lnTo>
                  <a:lnTo>
                    <a:pt x="177" y="286"/>
                  </a:lnTo>
                  <a:lnTo>
                    <a:pt x="179" y="283"/>
                  </a:lnTo>
                  <a:lnTo>
                    <a:pt x="183" y="283"/>
                  </a:lnTo>
                  <a:lnTo>
                    <a:pt x="179" y="289"/>
                  </a:lnTo>
                  <a:lnTo>
                    <a:pt x="177" y="289"/>
                  </a:lnTo>
                  <a:lnTo>
                    <a:pt x="171" y="294"/>
                  </a:lnTo>
                  <a:lnTo>
                    <a:pt x="168" y="294"/>
                  </a:lnTo>
                  <a:lnTo>
                    <a:pt x="163" y="294"/>
                  </a:lnTo>
                  <a:lnTo>
                    <a:pt x="163" y="295"/>
                  </a:lnTo>
                  <a:lnTo>
                    <a:pt x="160" y="298"/>
                  </a:lnTo>
                  <a:lnTo>
                    <a:pt x="157" y="301"/>
                  </a:lnTo>
                  <a:lnTo>
                    <a:pt x="160" y="303"/>
                  </a:lnTo>
                  <a:lnTo>
                    <a:pt x="158" y="305"/>
                  </a:lnTo>
                  <a:lnTo>
                    <a:pt x="152" y="305"/>
                  </a:lnTo>
                  <a:lnTo>
                    <a:pt x="148" y="308"/>
                  </a:lnTo>
                  <a:lnTo>
                    <a:pt x="148" y="311"/>
                  </a:lnTo>
                  <a:lnTo>
                    <a:pt x="154" y="312"/>
                  </a:lnTo>
                  <a:lnTo>
                    <a:pt x="151" y="314"/>
                  </a:lnTo>
                  <a:lnTo>
                    <a:pt x="148" y="317"/>
                  </a:lnTo>
                  <a:lnTo>
                    <a:pt x="145" y="317"/>
                  </a:lnTo>
                  <a:lnTo>
                    <a:pt x="143" y="314"/>
                  </a:lnTo>
                  <a:lnTo>
                    <a:pt x="140" y="312"/>
                  </a:lnTo>
                  <a:lnTo>
                    <a:pt x="139" y="317"/>
                  </a:lnTo>
                  <a:lnTo>
                    <a:pt x="134" y="317"/>
                  </a:lnTo>
                  <a:lnTo>
                    <a:pt x="137" y="317"/>
                  </a:lnTo>
                  <a:lnTo>
                    <a:pt x="133" y="320"/>
                  </a:lnTo>
                  <a:lnTo>
                    <a:pt x="133" y="323"/>
                  </a:lnTo>
                  <a:lnTo>
                    <a:pt x="134" y="325"/>
                  </a:lnTo>
                  <a:lnTo>
                    <a:pt x="128" y="325"/>
                  </a:lnTo>
                  <a:lnTo>
                    <a:pt x="125" y="328"/>
                  </a:lnTo>
                  <a:lnTo>
                    <a:pt x="125" y="331"/>
                  </a:lnTo>
                  <a:lnTo>
                    <a:pt x="122" y="334"/>
                  </a:lnTo>
                  <a:lnTo>
                    <a:pt x="122" y="337"/>
                  </a:lnTo>
                  <a:lnTo>
                    <a:pt x="122" y="342"/>
                  </a:lnTo>
                  <a:lnTo>
                    <a:pt x="118" y="343"/>
                  </a:lnTo>
                  <a:lnTo>
                    <a:pt x="113" y="348"/>
                  </a:lnTo>
                  <a:lnTo>
                    <a:pt x="114" y="349"/>
                  </a:lnTo>
                  <a:lnTo>
                    <a:pt x="119" y="346"/>
                  </a:lnTo>
                  <a:lnTo>
                    <a:pt x="122" y="348"/>
                  </a:lnTo>
                  <a:lnTo>
                    <a:pt x="122" y="349"/>
                  </a:lnTo>
                  <a:lnTo>
                    <a:pt x="118" y="351"/>
                  </a:lnTo>
                  <a:lnTo>
                    <a:pt x="118" y="354"/>
                  </a:lnTo>
                  <a:lnTo>
                    <a:pt x="122" y="359"/>
                  </a:lnTo>
                  <a:lnTo>
                    <a:pt x="128" y="357"/>
                  </a:lnTo>
                  <a:lnTo>
                    <a:pt x="133" y="354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7" y="346"/>
                  </a:lnTo>
                  <a:lnTo>
                    <a:pt x="140" y="342"/>
                  </a:lnTo>
                  <a:lnTo>
                    <a:pt x="143" y="337"/>
                  </a:lnTo>
                  <a:lnTo>
                    <a:pt x="145" y="337"/>
                  </a:lnTo>
                  <a:lnTo>
                    <a:pt x="146" y="334"/>
                  </a:lnTo>
                  <a:lnTo>
                    <a:pt x="152" y="334"/>
                  </a:lnTo>
                  <a:lnTo>
                    <a:pt x="154" y="334"/>
                  </a:lnTo>
                  <a:lnTo>
                    <a:pt x="146" y="338"/>
                  </a:lnTo>
                  <a:lnTo>
                    <a:pt x="146" y="342"/>
                  </a:lnTo>
                  <a:lnTo>
                    <a:pt x="154" y="343"/>
                  </a:lnTo>
                  <a:lnTo>
                    <a:pt x="152" y="348"/>
                  </a:lnTo>
                  <a:lnTo>
                    <a:pt x="146" y="348"/>
                  </a:lnTo>
                  <a:lnTo>
                    <a:pt x="139" y="354"/>
                  </a:lnTo>
                  <a:lnTo>
                    <a:pt x="145" y="357"/>
                  </a:lnTo>
                  <a:lnTo>
                    <a:pt x="140" y="360"/>
                  </a:lnTo>
                  <a:lnTo>
                    <a:pt x="143" y="365"/>
                  </a:lnTo>
                  <a:lnTo>
                    <a:pt x="137" y="365"/>
                  </a:lnTo>
                  <a:lnTo>
                    <a:pt x="133" y="360"/>
                  </a:lnTo>
                  <a:lnTo>
                    <a:pt x="128" y="360"/>
                  </a:lnTo>
                  <a:lnTo>
                    <a:pt x="124" y="362"/>
                  </a:lnTo>
                  <a:lnTo>
                    <a:pt x="124" y="368"/>
                  </a:lnTo>
                  <a:lnTo>
                    <a:pt x="119" y="370"/>
                  </a:lnTo>
                  <a:lnTo>
                    <a:pt x="116" y="371"/>
                  </a:lnTo>
                  <a:lnTo>
                    <a:pt x="118" y="368"/>
                  </a:lnTo>
                  <a:lnTo>
                    <a:pt x="119" y="366"/>
                  </a:lnTo>
                  <a:lnTo>
                    <a:pt x="118" y="362"/>
                  </a:lnTo>
                  <a:lnTo>
                    <a:pt x="118" y="359"/>
                  </a:lnTo>
                  <a:lnTo>
                    <a:pt x="114" y="353"/>
                  </a:lnTo>
                  <a:lnTo>
                    <a:pt x="111" y="353"/>
                  </a:lnTo>
                  <a:lnTo>
                    <a:pt x="108" y="357"/>
                  </a:lnTo>
                  <a:lnTo>
                    <a:pt x="102" y="359"/>
                  </a:lnTo>
                  <a:lnTo>
                    <a:pt x="102" y="360"/>
                  </a:lnTo>
                  <a:lnTo>
                    <a:pt x="108" y="360"/>
                  </a:lnTo>
                  <a:lnTo>
                    <a:pt x="102" y="366"/>
                  </a:lnTo>
                  <a:lnTo>
                    <a:pt x="97" y="365"/>
                  </a:lnTo>
                  <a:lnTo>
                    <a:pt x="93" y="365"/>
                  </a:lnTo>
                  <a:lnTo>
                    <a:pt x="87" y="368"/>
                  </a:lnTo>
                  <a:lnTo>
                    <a:pt x="91" y="370"/>
                  </a:lnTo>
                  <a:lnTo>
                    <a:pt x="93" y="368"/>
                  </a:lnTo>
                  <a:lnTo>
                    <a:pt x="96" y="370"/>
                  </a:lnTo>
                  <a:lnTo>
                    <a:pt x="90" y="371"/>
                  </a:lnTo>
                  <a:lnTo>
                    <a:pt x="87" y="376"/>
                  </a:lnTo>
                  <a:lnTo>
                    <a:pt x="85" y="374"/>
                  </a:lnTo>
                  <a:lnTo>
                    <a:pt x="82" y="374"/>
                  </a:lnTo>
                  <a:lnTo>
                    <a:pt x="79" y="376"/>
                  </a:lnTo>
                  <a:lnTo>
                    <a:pt x="85" y="379"/>
                  </a:lnTo>
                  <a:lnTo>
                    <a:pt x="93" y="379"/>
                  </a:lnTo>
                  <a:lnTo>
                    <a:pt x="91" y="381"/>
                  </a:lnTo>
                  <a:lnTo>
                    <a:pt x="96" y="383"/>
                  </a:lnTo>
                  <a:lnTo>
                    <a:pt x="96" y="387"/>
                  </a:lnTo>
                  <a:lnTo>
                    <a:pt x="90" y="384"/>
                  </a:lnTo>
                  <a:lnTo>
                    <a:pt x="87" y="381"/>
                  </a:lnTo>
                  <a:lnTo>
                    <a:pt x="84" y="381"/>
                  </a:lnTo>
                  <a:lnTo>
                    <a:pt x="78" y="377"/>
                  </a:lnTo>
                  <a:lnTo>
                    <a:pt x="78" y="374"/>
                  </a:lnTo>
                  <a:lnTo>
                    <a:pt x="73" y="374"/>
                  </a:lnTo>
                  <a:lnTo>
                    <a:pt x="73" y="377"/>
                  </a:lnTo>
                  <a:lnTo>
                    <a:pt x="79" y="383"/>
                  </a:lnTo>
                  <a:lnTo>
                    <a:pt x="84" y="387"/>
                  </a:lnTo>
                  <a:lnTo>
                    <a:pt x="90" y="388"/>
                  </a:lnTo>
                  <a:lnTo>
                    <a:pt x="91" y="390"/>
                  </a:lnTo>
                  <a:lnTo>
                    <a:pt x="85" y="390"/>
                  </a:lnTo>
                  <a:lnTo>
                    <a:pt x="78" y="387"/>
                  </a:lnTo>
                  <a:lnTo>
                    <a:pt x="72" y="381"/>
                  </a:lnTo>
                  <a:lnTo>
                    <a:pt x="68" y="383"/>
                  </a:lnTo>
                  <a:lnTo>
                    <a:pt x="64" y="379"/>
                  </a:lnTo>
                  <a:lnTo>
                    <a:pt x="59" y="379"/>
                  </a:lnTo>
                  <a:lnTo>
                    <a:pt x="56" y="377"/>
                  </a:lnTo>
                  <a:lnTo>
                    <a:pt x="53" y="379"/>
                  </a:lnTo>
                  <a:lnTo>
                    <a:pt x="56" y="383"/>
                  </a:lnTo>
                  <a:lnTo>
                    <a:pt x="51" y="384"/>
                  </a:lnTo>
                  <a:lnTo>
                    <a:pt x="56" y="390"/>
                  </a:lnTo>
                  <a:lnTo>
                    <a:pt x="64" y="387"/>
                  </a:lnTo>
                  <a:lnTo>
                    <a:pt x="67" y="388"/>
                  </a:lnTo>
                  <a:lnTo>
                    <a:pt x="62" y="390"/>
                  </a:lnTo>
                  <a:lnTo>
                    <a:pt x="64" y="393"/>
                  </a:lnTo>
                  <a:lnTo>
                    <a:pt x="70" y="388"/>
                  </a:lnTo>
                  <a:lnTo>
                    <a:pt x="73" y="388"/>
                  </a:lnTo>
                  <a:lnTo>
                    <a:pt x="72" y="393"/>
                  </a:lnTo>
                  <a:lnTo>
                    <a:pt x="64" y="393"/>
                  </a:lnTo>
                  <a:lnTo>
                    <a:pt x="61" y="399"/>
                  </a:lnTo>
                  <a:lnTo>
                    <a:pt x="56" y="398"/>
                  </a:lnTo>
                  <a:lnTo>
                    <a:pt x="51" y="393"/>
                  </a:lnTo>
                  <a:lnTo>
                    <a:pt x="50" y="393"/>
                  </a:lnTo>
                  <a:lnTo>
                    <a:pt x="45" y="393"/>
                  </a:lnTo>
                  <a:lnTo>
                    <a:pt x="42" y="390"/>
                  </a:lnTo>
                  <a:lnTo>
                    <a:pt x="39" y="393"/>
                  </a:lnTo>
                  <a:lnTo>
                    <a:pt x="36" y="393"/>
                  </a:lnTo>
                  <a:lnTo>
                    <a:pt x="32" y="393"/>
                  </a:lnTo>
                  <a:lnTo>
                    <a:pt x="33" y="396"/>
                  </a:lnTo>
                  <a:lnTo>
                    <a:pt x="42" y="398"/>
                  </a:lnTo>
                  <a:lnTo>
                    <a:pt x="47" y="399"/>
                  </a:lnTo>
                  <a:lnTo>
                    <a:pt x="56" y="404"/>
                  </a:lnTo>
                  <a:lnTo>
                    <a:pt x="53" y="407"/>
                  </a:lnTo>
                  <a:lnTo>
                    <a:pt x="56" y="410"/>
                  </a:lnTo>
                  <a:lnTo>
                    <a:pt x="51" y="413"/>
                  </a:lnTo>
                  <a:lnTo>
                    <a:pt x="50" y="410"/>
                  </a:lnTo>
                  <a:lnTo>
                    <a:pt x="50" y="404"/>
                  </a:lnTo>
                  <a:lnTo>
                    <a:pt x="44" y="404"/>
                  </a:lnTo>
                  <a:lnTo>
                    <a:pt x="39" y="404"/>
                  </a:lnTo>
                  <a:lnTo>
                    <a:pt x="42" y="407"/>
                  </a:lnTo>
                  <a:lnTo>
                    <a:pt x="39" y="410"/>
                  </a:lnTo>
                  <a:lnTo>
                    <a:pt x="33" y="405"/>
                  </a:lnTo>
                  <a:lnTo>
                    <a:pt x="28" y="410"/>
                  </a:lnTo>
                  <a:lnTo>
                    <a:pt x="33" y="413"/>
                  </a:lnTo>
                  <a:lnTo>
                    <a:pt x="30" y="415"/>
                  </a:lnTo>
                  <a:lnTo>
                    <a:pt x="27" y="415"/>
                  </a:lnTo>
                  <a:lnTo>
                    <a:pt x="27" y="410"/>
                  </a:lnTo>
                  <a:lnTo>
                    <a:pt x="17" y="410"/>
                  </a:lnTo>
                  <a:lnTo>
                    <a:pt x="21" y="415"/>
                  </a:lnTo>
                  <a:lnTo>
                    <a:pt x="17" y="416"/>
                  </a:lnTo>
                  <a:lnTo>
                    <a:pt x="15" y="413"/>
                  </a:lnTo>
                  <a:lnTo>
                    <a:pt x="12" y="410"/>
                  </a:lnTo>
                  <a:lnTo>
                    <a:pt x="7" y="410"/>
                  </a:lnTo>
                  <a:lnTo>
                    <a:pt x="10" y="413"/>
                  </a:lnTo>
                  <a:lnTo>
                    <a:pt x="15" y="416"/>
                  </a:lnTo>
                  <a:lnTo>
                    <a:pt x="12" y="418"/>
                  </a:lnTo>
                  <a:lnTo>
                    <a:pt x="15" y="421"/>
                  </a:lnTo>
                  <a:lnTo>
                    <a:pt x="21" y="420"/>
                  </a:lnTo>
                  <a:lnTo>
                    <a:pt x="28" y="420"/>
                  </a:lnTo>
                  <a:lnTo>
                    <a:pt x="33" y="424"/>
                  </a:lnTo>
                  <a:lnTo>
                    <a:pt x="42" y="424"/>
                  </a:lnTo>
                  <a:lnTo>
                    <a:pt x="44" y="421"/>
                  </a:lnTo>
                  <a:lnTo>
                    <a:pt x="47" y="421"/>
                  </a:lnTo>
                  <a:lnTo>
                    <a:pt x="44" y="427"/>
                  </a:lnTo>
                  <a:lnTo>
                    <a:pt x="36" y="426"/>
                  </a:lnTo>
                  <a:lnTo>
                    <a:pt x="32" y="427"/>
                  </a:lnTo>
                  <a:lnTo>
                    <a:pt x="24" y="424"/>
                  </a:lnTo>
                  <a:lnTo>
                    <a:pt x="18" y="424"/>
                  </a:lnTo>
                  <a:lnTo>
                    <a:pt x="17" y="424"/>
                  </a:lnTo>
                  <a:lnTo>
                    <a:pt x="13" y="427"/>
                  </a:lnTo>
                  <a:lnTo>
                    <a:pt x="6" y="427"/>
                  </a:lnTo>
                  <a:lnTo>
                    <a:pt x="6" y="429"/>
                  </a:lnTo>
                  <a:lnTo>
                    <a:pt x="15" y="433"/>
                  </a:lnTo>
                  <a:lnTo>
                    <a:pt x="12" y="437"/>
                  </a:lnTo>
                  <a:lnTo>
                    <a:pt x="17" y="437"/>
                  </a:lnTo>
                  <a:lnTo>
                    <a:pt x="18" y="435"/>
                  </a:lnTo>
                  <a:lnTo>
                    <a:pt x="27" y="435"/>
                  </a:lnTo>
                  <a:lnTo>
                    <a:pt x="21" y="438"/>
                  </a:lnTo>
                  <a:lnTo>
                    <a:pt x="13" y="438"/>
                  </a:lnTo>
                  <a:lnTo>
                    <a:pt x="12" y="441"/>
                  </a:lnTo>
                  <a:lnTo>
                    <a:pt x="10" y="438"/>
                  </a:lnTo>
                  <a:lnTo>
                    <a:pt x="10" y="441"/>
                  </a:lnTo>
                  <a:lnTo>
                    <a:pt x="13" y="443"/>
                  </a:lnTo>
                  <a:lnTo>
                    <a:pt x="15" y="443"/>
                  </a:lnTo>
                  <a:lnTo>
                    <a:pt x="12" y="444"/>
                  </a:lnTo>
                  <a:lnTo>
                    <a:pt x="10" y="444"/>
                  </a:lnTo>
                  <a:lnTo>
                    <a:pt x="10" y="447"/>
                  </a:lnTo>
                  <a:lnTo>
                    <a:pt x="12" y="447"/>
                  </a:lnTo>
                  <a:lnTo>
                    <a:pt x="13" y="451"/>
                  </a:lnTo>
                  <a:lnTo>
                    <a:pt x="21" y="451"/>
                  </a:lnTo>
                  <a:lnTo>
                    <a:pt x="22" y="450"/>
                  </a:lnTo>
                  <a:lnTo>
                    <a:pt x="32" y="447"/>
                  </a:lnTo>
                  <a:lnTo>
                    <a:pt x="38" y="450"/>
                  </a:lnTo>
                  <a:lnTo>
                    <a:pt x="39" y="451"/>
                  </a:lnTo>
                  <a:lnTo>
                    <a:pt x="44" y="447"/>
                  </a:lnTo>
                  <a:lnTo>
                    <a:pt x="44" y="446"/>
                  </a:lnTo>
                  <a:lnTo>
                    <a:pt x="47" y="444"/>
                  </a:lnTo>
                  <a:lnTo>
                    <a:pt x="47" y="447"/>
                  </a:lnTo>
                  <a:lnTo>
                    <a:pt x="53" y="447"/>
                  </a:lnTo>
                  <a:lnTo>
                    <a:pt x="59" y="444"/>
                  </a:lnTo>
                  <a:lnTo>
                    <a:pt x="61" y="444"/>
                  </a:lnTo>
                  <a:lnTo>
                    <a:pt x="61" y="446"/>
                  </a:lnTo>
                  <a:lnTo>
                    <a:pt x="57" y="447"/>
                  </a:lnTo>
                  <a:lnTo>
                    <a:pt x="62" y="450"/>
                  </a:lnTo>
                  <a:lnTo>
                    <a:pt x="64" y="446"/>
                  </a:lnTo>
                  <a:lnTo>
                    <a:pt x="64" y="444"/>
                  </a:lnTo>
                  <a:lnTo>
                    <a:pt x="68" y="438"/>
                  </a:lnTo>
                  <a:lnTo>
                    <a:pt x="67" y="443"/>
                  </a:lnTo>
                  <a:lnTo>
                    <a:pt x="70" y="447"/>
                  </a:lnTo>
                  <a:lnTo>
                    <a:pt x="68" y="451"/>
                  </a:lnTo>
                  <a:lnTo>
                    <a:pt x="61" y="453"/>
                  </a:lnTo>
                  <a:lnTo>
                    <a:pt x="57" y="455"/>
                  </a:lnTo>
                  <a:lnTo>
                    <a:pt x="59" y="457"/>
                  </a:lnTo>
                  <a:lnTo>
                    <a:pt x="57" y="460"/>
                  </a:lnTo>
                  <a:lnTo>
                    <a:pt x="50" y="460"/>
                  </a:lnTo>
                  <a:lnTo>
                    <a:pt x="50" y="459"/>
                  </a:lnTo>
                  <a:lnTo>
                    <a:pt x="53" y="455"/>
                  </a:lnTo>
                  <a:lnTo>
                    <a:pt x="53" y="451"/>
                  </a:lnTo>
                  <a:lnTo>
                    <a:pt x="47" y="451"/>
                  </a:lnTo>
                  <a:lnTo>
                    <a:pt x="42" y="455"/>
                  </a:lnTo>
                  <a:lnTo>
                    <a:pt x="39" y="459"/>
                  </a:lnTo>
                  <a:lnTo>
                    <a:pt x="36" y="453"/>
                  </a:lnTo>
                  <a:lnTo>
                    <a:pt x="32" y="453"/>
                  </a:lnTo>
                  <a:lnTo>
                    <a:pt x="27" y="453"/>
                  </a:lnTo>
                  <a:lnTo>
                    <a:pt x="22" y="453"/>
                  </a:lnTo>
                  <a:lnTo>
                    <a:pt x="15" y="455"/>
                  </a:lnTo>
                  <a:lnTo>
                    <a:pt x="13" y="455"/>
                  </a:lnTo>
                  <a:lnTo>
                    <a:pt x="10" y="453"/>
                  </a:lnTo>
                  <a:lnTo>
                    <a:pt x="7" y="453"/>
                  </a:lnTo>
                  <a:lnTo>
                    <a:pt x="10" y="459"/>
                  </a:lnTo>
                  <a:lnTo>
                    <a:pt x="7" y="460"/>
                  </a:lnTo>
                  <a:lnTo>
                    <a:pt x="12" y="463"/>
                  </a:lnTo>
                  <a:lnTo>
                    <a:pt x="15" y="463"/>
                  </a:lnTo>
                  <a:lnTo>
                    <a:pt x="17" y="459"/>
                  </a:lnTo>
                  <a:lnTo>
                    <a:pt x="18" y="460"/>
                  </a:lnTo>
                  <a:lnTo>
                    <a:pt x="17" y="463"/>
                  </a:lnTo>
                  <a:lnTo>
                    <a:pt x="17" y="466"/>
                  </a:lnTo>
                  <a:lnTo>
                    <a:pt x="15" y="468"/>
                  </a:lnTo>
                  <a:lnTo>
                    <a:pt x="12" y="466"/>
                  </a:lnTo>
                  <a:lnTo>
                    <a:pt x="13" y="472"/>
                  </a:lnTo>
                  <a:lnTo>
                    <a:pt x="15" y="475"/>
                  </a:lnTo>
                  <a:lnTo>
                    <a:pt x="22" y="466"/>
                  </a:lnTo>
                  <a:lnTo>
                    <a:pt x="28" y="469"/>
                  </a:lnTo>
                  <a:lnTo>
                    <a:pt x="27" y="472"/>
                  </a:lnTo>
                  <a:lnTo>
                    <a:pt x="27" y="475"/>
                  </a:lnTo>
                  <a:lnTo>
                    <a:pt x="21" y="477"/>
                  </a:lnTo>
                  <a:lnTo>
                    <a:pt x="21" y="480"/>
                  </a:lnTo>
                  <a:lnTo>
                    <a:pt x="24" y="481"/>
                  </a:lnTo>
                  <a:lnTo>
                    <a:pt x="22" y="483"/>
                  </a:lnTo>
                  <a:lnTo>
                    <a:pt x="27" y="486"/>
                  </a:lnTo>
                  <a:lnTo>
                    <a:pt x="24" y="492"/>
                  </a:lnTo>
                  <a:lnTo>
                    <a:pt x="27" y="492"/>
                  </a:lnTo>
                  <a:lnTo>
                    <a:pt x="30" y="486"/>
                  </a:lnTo>
                  <a:lnTo>
                    <a:pt x="33" y="485"/>
                  </a:lnTo>
                  <a:lnTo>
                    <a:pt x="33" y="480"/>
                  </a:lnTo>
                  <a:lnTo>
                    <a:pt x="45" y="475"/>
                  </a:lnTo>
                  <a:lnTo>
                    <a:pt x="50" y="475"/>
                  </a:lnTo>
                  <a:lnTo>
                    <a:pt x="56" y="475"/>
                  </a:lnTo>
                  <a:lnTo>
                    <a:pt x="51" y="477"/>
                  </a:lnTo>
                  <a:lnTo>
                    <a:pt x="45" y="481"/>
                  </a:lnTo>
                  <a:lnTo>
                    <a:pt x="45" y="486"/>
                  </a:lnTo>
                  <a:lnTo>
                    <a:pt x="47" y="491"/>
                  </a:lnTo>
                  <a:lnTo>
                    <a:pt x="44" y="486"/>
                  </a:lnTo>
                  <a:lnTo>
                    <a:pt x="44" y="481"/>
                  </a:lnTo>
                  <a:lnTo>
                    <a:pt x="39" y="481"/>
                  </a:lnTo>
                  <a:lnTo>
                    <a:pt x="36" y="486"/>
                  </a:lnTo>
                  <a:lnTo>
                    <a:pt x="33" y="488"/>
                  </a:lnTo>
                  <a:lnTo>
                    <a:pt x="38" y="491"/>
                  </a:lnTo>
                  <a:lnTo>
                    <a:pt x="33" y="494"/>
                  </a:lnTo>
                  <a:lnTo>
                    <a:pt x="30" y="494"/>
                  </a:lnTo>
                  <a:lnTo>
                    <a:pt x="28" y="497"/>
                  </a:lnTo>
                  <a:lnTo>
                    <a:pt x="32" y="500"/>
                  </a:lnTo>
                  <a:lnTo>
                    <a:pt x="39" y="500"/>
                  </a:lnTo>
                  <a:lnTo>
                    <a:pt x="42" y="502"/>
                  </a:lnTo>
                  <a:lnTo>
                    <a:pt x="36" y="502"/>
                  </a:lnTo>
                  <a:lnTo>
                    <a:pt x="33" y="505"/>
                  </a:lnTo>
                  <a:lnTo>
                    <a:pt x="33" y="509"/>
                  </a:lnTo>
                  <a:lnTo>
                    <a:pt x="27" y="505"/>
                  </a:lnTo>
                  <a:lnTo>
                    <a:pt x="24" y="505"/>
                  </a:lnTo>
                  <a:lnTo>
                    <a:pt x="22" y="511"/>
                  </a:lnTo>
                  <a:lnTo>
                    <a:pt x="22" y="505"/>
                  </a:lnTo>
                  <a:lnTo>
                    <a:pt x="18" y="508"/>
                  </a:lnTo>
                  <a:lnTo>
                    <a:pt x="13" y="513"/>
                  </a:lnTo>
                  <a:lnTo>
                    <a:pt x="15" y="519"/>
                  </a:lnTo>
                  <a:lnTo>
                    <a:pt x="22" y="524"/>
                  </a:lnTo>
                  <a:lnTo>
                    <a:pt x="24" y="520"/>
                  </a:lnTo>
                  <a:lnTo>
                    <a:pt x="27" y="522"/>
                  </a:lnTo>
                  <a:lnTo>
                    <a:pt x="30" y="520"/>
                  </a:lnTo>
                  <a:lnTo>
                    <a:pt x="30" y="519"/>
                  </a:lnTo>
                  <a:lnTo>
                    <a:pt x="32" y="514"/>
                  </a:lnTo>
                  <a:lnTo>
                    <a:pt x="38" y="519"/>
                  </a:lnTo>
                  <a:lnTo>
                    <a:pt x="33" y="519"/>
                  </a:lnTo>
                  <a:lnTo>
                    <a:pt x="38" y="522"/>
                  </a:lnTo>
                  <a:lnTo>
                    <a:pt x="38" y="526"/>
                  </a:lnTo>
                  <a:lnTo>
                    <a:pt x="33" y="530"/>
                  </a:lnTo>
                  <a:lnTo>
                    <a:pt x="36" y="536"/>
                  </a:lnTo>
                  <a:lnTo>
                    <a:pt x="39" y="533"/>
                  </a:lnTo>
                  <a:lnTo>
                    <a:pt x="45" y="531"/>
                  </a:lnTo>
                  <a:lnTo>
                    <a:pt x="50" y="536"/>
                  </a:lnTo>
                  <a:lnTo>
                    <a:pt x="44" y="536"/>
                  </a:lnTo>
                  <a:lnTo>
                    <a:pt x="39" y="536"/>
                  </a:lnTo>
                  <a:lnTo>
                    <a:pt x="44" y="541"/>
                  </a:lnTo>
                  <a:lnTo>
                    <a:pt x="42" y="542"/>
                  </a:lnTo>
                  <a:lnTo>
                    <a:pt x="32" y="536"/>
                  </a:lnTo>
                  <a:lnTo>
                    <a:pt x="28" y="536"/>
                  </a:lnTo>
                  <a:lnTo>
                    <a:pt x="27" y="536"/>
                  </a:lnTo>
                  <a:lnTo>
                    <a:pt x="22" y="536"/>
                  </a:lnTo>
                  <a:lnTo>
                    <a:pt x="22" y="539"/>
                  </a:lnTo>
                  <a:lnTo>
                    <a:pt x="18" y="542"/>
                  </a:lnTo>
                  <a:lnTo>
                    <a:pt x="27" y="552"/>
                  </a:lnTo>
                  <a:lnTo>
                    <a:pt x="32" y="553"/>
                  </a:lnTo>
                  <a:lnTo>
                    <a:pt x="39" y="559"/>
                  </a:lnTo>
                  <a:lnTo>
                    <a:pt x="50" y="562"/>
                  </a:lnTo>
                  <a:lnTo>
                    <a:pt x="51" y="564"/>
                  </a:lnTo>
                  <a:lnTo>
                    <a:pt x="47" y="567"/>
                  </a:lnTo>
                  <a:lnTo>
                    <a:pt x="53" y="570"/>
                  </a:lnTo>
                  <a:lnTo>
                    <a:pt x="57" y="568"/>
                  </a:lnTo>
                  <a:lnTo>
                    <a:pt x="56" y="562"/>
                  </a:lnTo>
                  <a:lnTo>
                    <a:pt x="57" y="562"/>
                  </a:lnTo>
                  <a:lnTo>
                    <a:pt x="61" y="567"/>
                  </a:lnTo>
                  <a:lnTo>
                    <a:pt x="61" y="567"/>
                  </a:lnTo>
                  <a:lnTo>
                    <a:pt x="67" y="573"/>
                  </a:lnTo>
                  <a:lnTo>
                    <a:pt x="68" y="570"/>
                  </a:lnTo>
                  <a:lnTo>
                    <a:pt x="70" y="572"/>
                  </a:lnTo>
                  <a:lnTo>
                    <a:pt x="76" y="570"/>
                  </a:lnTo>
                  <a:lnTo>
                    <a:pt x="82" y="564"/>
                  </a:lnTo>
                  <a:lnTo>
                    <a:pt x="84" y="564"/>
                  </a:lnTo>
                  <a:lnTo>
                    <a:pt x="85" y="562"/>
                  </a:lnTo>
                  <a:lnTo>
                    <a:pt x="87" y="562"/>
                  </a:lnTo>
                  <a:lnTo>
                    <a:pt x="90" y="567"/>
                  </a:lnTo>
                  <a:lnTo>
                    <a:pt x="91" y="567"/>
                  </a:lnTo>
                  <a:lnTo>
                    <a:pt x="102" y="557"/>
                  </a:lnTo>
                  <a:lnTo>
                    <a:pt x="102" y="555"/>
                  </a:lnTo>
                  <a:lnTo>
                    <a:pt x="97" y="550"/>
                  </a:lnTo>
                  <a:lnTo>
                    <a:pt x="105" y="553"/>
                  </a:lnTo>
                  <a:lnTo>
                    <a:pt x="111" y="548"/>
                  </a:lnTo>
                  <a:lnTo>
                    <a:pt x="108" y="546"/>
                  </a:lnTo>
                  <a:lnTo>
                    <a:pt x="113" y="544"/>
                  </a:lnTo>
                  <a:lnTo>
                    <a:pt x="113" y="542"/>
                  </a:lnTo>
                  <a:lnTo>
                    <a:pt x="116" y="539"/>
                  </a:lnTo>
                  <a:lnTo>
                    <a:pt x="119" y="539"/>
                  </a:lnTo>
                  <a:lnTo>
                    <a:pt x="122" y="536"/>
                  </a:lnTo>
                  <a:lnTo>
                    <a:pt x="118" y="531"/>
                  </a:lnTo>
                  <a:lnTo>
                    <a:pt x="118" y="527"/>
                  </a:lnTo>
                  <a:lnTo>
                    <a:pt x="114" y="522"/>
                  </a:lnTo>
                  <a:lnTo>
                    <a:pt x="111" y="520"/>
                  </a:lnTo>
                  <a:lnTo>
                    <a:pt x="111" y="517"/>
                  </a:lnTo>
                  <a:lnTo>
                    <a:pt x="113" y="517"/>
                  </a:lnTo>
                  <a:lnTo>
                    <a:pt x="118" y="522"/>
                  </a:lnTo>
                  <a:lnTo>
                    <a:pt x="119" y="530"/>
                  </a:lnTo>
                  <a:lnTo>
                    <a:pt x="122" y="531"/>
                  </a:lnTo>
                  <a:lnTo>
                    <a:pt x="125" y="531"/>
                  </a:lnTo>
                  <a:lnTo>
                    <a:pt x="125" y="533"/>
                  </a:lnTo>
                  <a:lnTo>
                    <a:pt x="128" y="536"/>
                  </a:lnTo>
                  <a:lnTo>
                    <a:pt x="133" y="536"/>
                  </a:lnTo>
                  <a:lnTo>
                    <a:pt x="131" y="531"/>
                  </a:lnTo>
                  <a:lnTo>
                    <a:pt x="130" y="531"/>
                  </a:lnTo>
                  <a:lnTo>
                    <a:pt x="131" y="527"/>
                  </a:lnTo>
                  <a:lnTo>
                    <a:pt x="134" y="531"/>
                  </a:lnTo>
                  <a:lnTo>
                    <a:pt x="134" y="533"/>
                  </a:lnTo>
                  <a:lnTo>
                    <a:pt x="143" y="527"/>
                  </a:lnTo>
                  <a:lnTo>
                    <a:pt x="145" y="522"/>
                  </a:lnTo>
                  <a:lnTo>
                    <a:pt x="143" y="517"/>
                  </a:lnTo>
                  <a:lnTo>
                    <a:pt x="139" y="517"/>
                  </a:lnTo>
                  <a:lnTo>
                    <a:pt x="137" y="513"/>
                  </a:lnTo>
                  <a:lnTo>
                    <a:pt x="139" y="511"/>
                  </a:lnTo>
                  <a:lnTo>
                    <a:pt x="140" y="509"/>
                  </a:lnTo>
                  <a:lnTo>
                    <a:pt x="143" y="509"/>
                  </a:lnTo>
                  <a:lnTo>
                    <a:pt x="145" y="508"/>
                  </a:lnTo>
                  <a:lnTo>
                    <a:pt x="143" y="503"/>
                  </a:lnTo>
                  <a:lnTo>
                    <a:pt x="143" y="500"/>
                  </a:lnTo>
                  <a:lnTo>
                    <a:pt x="146" y="496"/>
                  </a:lnTo>
                  <a:lnTo>
                    <a:pt x="151" y="500"/>
                  </a:lnTo>
                  <a:lnTo>
                    <a:pt x="146" y="505"/>
                  </a:lnTo>
                  <a:lnTo>
                    <a:pt x="148" y="511"/>
                  </a:lnTo>
                  <a:lnTo>
                    <a:pt x="146" y="514"/>
                  </a:lnTo>
                  <a:lnTo>
                    <a:pt x="151" y="519"/>
                  </a:lnTo>
                  <a:lnTo>
                    <a:pt x="151" y="522"/>
                  </a:lnTo>
                  <a:lnTo>
                    <a:pt x="157" y="527"/>
                  </a:lnTo>
                  <a:lnTo>
                    <a:pt x="163" y="526"/>
                  </a:lnTo>
                  <a:lnTo>
                    <a:pt x="165" y="530"/>
                  </a:lnTo>
                  <a:lnTo>
                    <a:pt x="163" y="531"/>
                  </a:lnTo>
                  <a:lnTo>
                    <a:pt x="168" y="533"/>
                  </a:lnTo>
                  <a:lnTo>
                    <a:pt x="171" y="536"/>
                  </a:lnTo>
                  <a:lnTo>
                    <a:pt x="174" y="533"/>
                  </a:lnTo>
                  <a:lnTo>
                    <a:pt x="174" y="519"/>
                  </a:lnTo>
                  <a:lnTo>
                    <a:pt x="169" y="511"/>
                  </a:lnTo>
                  <a:lnTo>
                    <a:pt x="171" y="508"/>
                  </a:lnTo>
                  <a:lnTo>
                    <a:pt x="175" y="505"/>
                  </a:lnTo>
                  <a:lnTo>
                    <a:pt x="171" y="500"/>
                  </a:lnTo>
                  <a:lnTo>
                    <a:pt x="174" y="497"/>
                  </a:lnTo>
                  <a:lnTo>
                    <a:pt x="183" y="496"/>
                  </a:lnTo>
                  <a:lnTo>
                    <a:pt x="185" y="492"/>
                  </a:lnTo>
                  <a:lnTo>
                    <a:pt x="185" y="488"/>
                  </a:lnTo>
                  <a:lnTo>
                    <a:pt x="189" y="480"/>
                  </a:lnTo>
                  <a:lnTo>
                    <a:pt x="185" y="475"/>
                  </a:lnTo>
                  <a:lnTo>
                    <a:pt x="183" y="464"/>
                  </a:lnTo>
                  <a:lnTo>
                    <a:pt x="177" y="455"/>
                  </a:lnTo>
                  <a:lnTo>
                    <a:pt x="177" y="451"/>
                  </a:lnTo>
                  <a:lnTo>
                    <a:pt x="191" y="447"/>
                  </a:lnTo>
                  <a:lnTo>
                    <a:pt x="191" y="438"/>
                  </a:lnTo>
                  <a:lnTo>
                    <a:pt x="192" y="435"/>
                  </a:lnTo>
                  <a:lnTo>
                    <a:pt x="183" y="424"/>
                  </a:lnTo>
                  <a:lnTo>
                    <a:pt x="175" y="421"/>
                  </a:lnTo>
                  <a:lnTo>
                    <a:pt x="175" y="413"/>
                  </a:lnTo>
                  <a:lnTo>
                    <a:pt x="177" y="404"/>
                  </a:lnTo>
                  <a:lnTo>
                    <a:pt x="175" y="393"/>
                  </a:lnTo>
                  <a:lnTo>
                    <a:pt x="171" y="387"/>
                  </a:lnTo>
                  <a:lnTo>
                    <a:pt x="175" y="379"/>
                  </a:lnTo>
                  <a:lnTo>
                    <a:pt x="174" y="366"/>
                  </a:lnTo>
                  <a:lnTo>
                    <a:pt x="171" y="353"/>
                  </a:lnTo>
                  <a:lnTo>
                    <a:pt x="174" y="342"/>
                  </a:lnTo>
                  <a:lnTo>
                    <a:pt x="179" y="334"/>
                  </a:lnTo>
                  <a:lnTo>
                    <a:pt x="185" y="329"/>
                  </a:lnTo>
                  <a:lnTo>
                    <a:pt x="192" y="331"/>
                  </a:lnTo>
                  <a:lnTo>
                    <a:pt x="203" y="331"/>
                  </a:lnTo>
                  <a:lnTo>
                    <a:pt x="206" y="325"/>
                  </a:lnTo>
                  <a:lnTo>
                    <a:pt x="206" y="317"/>
                  </a:lnTo>
                  <a:lnTo>
                    <a:pt x="204" y="312"/>
                  </a:lnTo>
                  <a:lnTo>
                    <a:pt x="204" y="307"/>
                  </a:lnTo>
                  <a:lnTo>
                    <a:pt x="214" y="286"/>
                  </a:lnTo>
                  <a:lnTo>
                    <a:pt x="214" y="275"/>
                  </a:lnTo>
                  <a:lnTo>
                    <a:pt x="215" y="264"/>
                  </a:lnTo>
                  <a:lnTo>
                    <a:pt x="220" y="258"/>
                  </a:lnTo>
                  <a:lnTo>
                    <a:pt x="220" y="250"/>
                  </a:lnTo>
                  <a:lnTo>
                    <a:pt x="215" y="247"/>
                  </a:lnTo>
                  <a:lnTo>
                    <a:pt x="215" y="241"/>
                  </a:lnTo>
                  <a:lnTo>
                    <a:pt x="223" y="238"/>
                  </a:lnTo>
                  <a:lnTo>
                    <a:pt x="232" y="236"/>
                  </a:lnTo>
                  <a:lnTo>
                    <a:pt x="238" y="233"/>
                  </a:lnTo>
                  <a:lnTo>
                    <a:pt x="238" y="227"/>
                  </a:lnTo>
                  <a:lnTo>
                    <a:pt x="246" y="216"/>
                  </a:lnTo>
                  <a:lnTo>
                    <a:pt x="253" y="207"/>
                  </a:lnTo>
                  <a:lnTo>
                    <a:pt x="255" y="201"/>
                  </a:lnTo>
                  <a:lnTo>
                    <a:pt x="253" y="194"/>
                  </a:lnTo>
                  <a:lnTo>
                    <a:pt x="250" y="191"/>
                  </a:lnTo>
                  <a:lnTo>
                    <a:pt x="250" y="179"/>
                  </a:lnTo>
                  <a:lnTo>
                    <a:pt x="253" y="177"/>
                  </a:lnTo>
                  <a:lnTo>
                    <a:pt x="258" y="174"/>
                  </a:lnTo>
                  <a:lnTo>
                    <a:pt x="258" y="168"/>
                  </a:lnTo>
                  <a:lnTo>
                    <a:pt x="261" y="165"/>
                  </a:lnTo>
                  <a:lnTo>
                    <a:pt x="266" y="158"/>
                  </a:lnTo>
                  <a:lnTo>
                    <a:pt x="272" y="152"/>
                  </a:lnTo>
                  <a:lnTo>
                    <a:pt x="278" y="157"/>
                  </a:lnTo>
                  <a:lnTo>
                    <a:pt x="281" y="158"/>
                  </a:lnTo>
                  <a:lnTo>
                    <a:pt x="284" y="158"/>
                  </a:lnTo>
                  <a:lnTo>
                    <a:pt x="287" y="155"/>
                  </a:lnTo>
                  <a:lnTo>
                    <a:pt x="286" y="149"/>
                  </a:lnTo>
                  <a:lnTo>
                    <a:pt x="287" y="147"/>
                  </a:lnTo>
                  <a:lnTo>
                    <a:pt x="287" y="143"/>
                  </a:lnTo>
                  <a:lnTo>
                    <a:pt x="290" y="141"/>
                  </a:lnTo>
                  <a:lnTo>
                    <a:pt x="286" y="136"/>
                  </a:lnTo>
                  <a:lnTo>
                    <a:pt x="287" y="134"/>
                  </a:lnTo>
                  <a:lnTo>
                    <a:pt x="296" y="134"/>
                  </a:lnTo>
                  <a:lnTo>
                    <a:pt x="304" y="130"/>
                  </a:lnTo>
                  <a:lnTo>
                    <a:pt x="311" y="134"/>
                  </a:lnTo>
                  <a:lnTo>
                    <a:pt x="316" y="136"/>
                  </a:lnTo>
                  <a:lnTo>
                    <a:pt x="324" y="138"/>
                  </a:lnTo>
                  <a:lnTo>
                    <a:pt x="327" y="140"/>
                  </a:lnTo>
                  <a:lnTo>
                    <a:pt x="330" y="140"/>
                  </a:lnTo>
                  <a:lnTo>
                    <a:pt x="332" y="140"/>
                  </a:lnTo>
                  <a:lnTo>
                    <a:pt x="332" y="134"/>
                  </a:lnTo>
                  <a:lnTo>
                    <a:pt x="330" y="130"/>
                  </a:lnTo>
                  <a:lnTo>
                    <a:pt x="330" y="124"/>
                  </a:lnTo>
                  <a:lnTo>
                    <a:pt x="336" y="121"/>
                  </a:lnTo>
                  <a:lnTo>
                    <a:pt x="333" y="115"/>
                  </a:lnTo>
                  <a:lnTo>
                    <a:pt x="330" y="113"/>
                  </a:lnTo>
                  <a:lnTo>
                    <a:pt x="327" y="109"/>
                  </a:lnTo>
                  <a:lnTo>
                    <a:pt x="336" y="110"/>
                  </a:lnTo>
                  <a:lnTo>
                    <a:pt x="341" y="110"/>
                  </a:lnTo>
                  <a:lnTo>
                    <a:pt x="344" y="109"/>
                  </a:lnTo>
                  <a:lnTo>
                    <a:pt x="344" y="109"/>
                  </a:lnTo>
                  <a:lnTo>
                    <a:pt x="345" y="107"/>
                  </a:lnTo>
                  <a:lnTo>
                    <a:pt x="347" y="109"/>
                  </a:lnTo>
                  <a:lnTo>
                    <a:pt x="350" y="107"/>
                  </a:lnTo>
                  <a:lnTo>
                    <a:pt x="347" y="103"/>
                  </a:lnTo>
                  <a:lnTo>
                    <a:pt x="350" y="98"/>
                  </a:lnTo>
                  <a:lnTo>
                    <a:pt x="353" y="98"/>
                  </a:lnTo>
                  <a:lnTo>
                    <a:pt x="356" y="98"/>
                  </a:lnTo>
                  <a:lnTo>
                    <a:pt x="361" y="103"/>
                  </a:lnTo>
                  <a:lnTo>
                    <a:pt x="373" y="110"/>
                  </a:lnTo>
                  <a:lnTo>
                    <a:pt x="376" y="115"/>
                  </a:lnTo>
                  <a:lnTo>
                    <a:pt x="379" y="121"/>
                  </a:lnTo>
                  <a:lnTo>
                    <a:pt x="387" y="124"/>
                  </a:lnTo>
                  <a:lnTo>
                    <a:pt x="400" y="124"/>
                  </a:lnTo>
                  <a:lnTo>
                    <a:pt x="408" y="119"/>
                  </a:lnTo>
                  <a:lnTo>
                    <a:pt x="412" y="115"/>
                  </a:lnTo>
                  <a:lnTo>
                    <a:pt x="417" y="115"/>
                  </a:lnTo>
                  <a:lnTo>
                    <a:pt x="428" y="121"/>
                  </a:lnTo>
                  <a:lnTo>
                    <a:pt x="433" y="121"/>
                  </a:lnTo>
                  <a:lnTo>
                    <a:pt x="434" y="115"/>
                  </a:lnTo>
                  <a:lnTo>
                    <a:pt x="439" y="115"/>
                  </a:lnTo>
                  <a:lnTo>
                    <a:pt x="445" y="112"/>
                  </a:lnTo>
                  <a:lnTo>
                    <a:pt x="448" y="112"/>
                  </a:lnTo>
                  <a:lnTo>
                    <a:pt x="454" y="109"/>
                  </a:lnTo>
                  <a:lnTo>
                    <a:pt x="457" y="104"/>
                  </a:lnTo>
                  <a:lnTo>
                    <a:pt x="454" y="101"/>
                  </a:lnTo>
                  <a:lnTo>
                    <a:pt x="451" y="93"/>
                  </a:lnTo>
                  <a:lnTo>
                    <a:pt x="452" y="81"/>
                  </a:lnTo>
                  <a:lnTo>
                    <a:pt x="454" y="76"/>
                  </a:lnTo>
                  <a:lnTo>
                    <a:pt x="452" y="73"/>
                  </a:lnTo>
                  <a:lnTo>
                    <a:pt x="454" y="71"/>
                  </a:lnTo>
                  <a:lnTo>
                    <a:pt x="460" y="67"/>
                  </a:lnTo>
                  <a:lnTo>
                    <a:pt x="458" y="64"/>
                  </a:lnTo>
                  <a:lnTo>
                    <a:pt x="463" y="62"/>
                  </a:lnTo>
                  <a:lnTo>
                    <a:pt x="471" y="62"/>
                  </a:lnTo>
                  <a:lnTo>
                    <a:pt x="474" y="62"/>
                  </a:lnTo>
                  <a:lnTo>
                    <a:pt x="474" y="60"/>
                  </a:lnTo>
                  <a:lnTo>
                    <a:pt x="480" y="56"/>
                  </a:lnTo>
                  <a:lnTo>
                    <a:pt x="492" y="54"/>
                  </a:lnTo>
                  <a:lnTo>
                    <a:pt x="498" y="58"/>
                  </a:lnTo>
                  <a:lnTo>
                    <a:pt x="504" y="65"/>
                  </a:lnTo>
                  <a:lnTo>
                    <a:pt x="507" y="70"/>
                  </a:lnTo>
                  <a:lnTo>
                    <a:pt x="513" y="71"/>
                  </a:lnTo>
                  <a:lnTo>
                    <a:pt x="523" y="73"/>
                  </a:lnTo>
                  <a:lnTo>
                    <a:pt x="524" y="76"/>
                  </a:lnTo>
                  <a:lnTo>
                    <a:pt x="530" y="82"/>
                  </a:lnTo>
                  <a:lnTo>
                    <a:pt x="529" y="87"/>
                  </a:lnTo>
                  <a:lnTo>
                    <a:pt x="524" y="93"/>
                  </a:lnTo>
                  <a:lnTo>
                    <a:pt x="524" y="103"/>
                  </a:lnTo>
                  <a:lnTo>
                    <a:pt x="524" y="103"/>
                  </a:lnTo>
                  <a:lnTo>
                    <a:pt x="524" y="103"/>
                  </a:lnTo>
                  <a:lnTo>
                    <a:pt x="524" y="103"/>
                  </a:lnTo>
                  <a:close/>
                  <a:moveTo>
                    <a:pt x="24" y="527"/>
                  </a:moveTo>
                  <a:lnTo>
                    <a:pt x="28" y="531"/>
                  </a:lnTo>
                  <a:lnTo>
                    <a:pt x="24" y="531"/>
                  </a:lnTo>
                  <a:lnTo>
                    <a:pt x="24" y="527"/>
                  </a:lnTo>
                  <a:lnTo>
                    <a:pt x="24" y="527"/>
                  </a:lnTo>
                  <a:lnTo>
                    <a:pt x="24" y="527"/>
                  </a:lnTo>
                  <a:lnTo>
                    <a:pt x="24" y="527"/>
                  </a:lnTo>
                  <a:close/>
                  <a:moveTo>
                    <a:pt x="13" y="500"/>
                  </a:moveTo>
                  <a:lnTo>
                    <a:pt x="13" y="500"/>
                  </a:lnTo>
                  <a:lnTo>
                    <a:pt x="15" y="500"/>
                  </a:lnTo>
                  <a:lnTo>
                    <a:pt x="18" y="502"/>
                  </a:lnTo>
                  <a:lnTo>
                    <a:pt x="17" y="505"/>
                  </a:lnTo>
                  <a:lnTo>
                    <a:pt x="13" y="500"/>
                  </a:lnTo>
                  <a:lnTo>
                    <a:pt x="13" y="500"/>
                  </a:lnTo>
                  <a:lnTo>
                    <a:pt x="13" y="500"/>
                  </a:lnTo>
                  <a:lnTo>
                    <a:pt x="13" y="500"/>
                  </a:lnTo>
                  <a:close/>
                  <a:moveTo>
                    <a:pt x="22" y="491"/>
                  </a:moveTo>
                  <a:lnTo>
                    <a:pt x="21" y="494"/>
                  </a:lnTo>
                  <a:lnTo>
                    <a:pt x="18" y="494"/>
                  </a:lnTo>
                  <a:lnTo>
                    <a:pt x="22" y="491"/>
                  </a:lnTo>
                  <a:lnTo>
                    <a:pt x="22" y="491"/>
                  </a:lnTo>
                  <a:lnTo>
                    <a:pt x="22" y="491"/>
                  </a:lnTo>
                  <a:lnTo>
                    <a:pt x="22" y="491"/>
                  </a:lnTo>
                  <a:close/>
                  <a:moveTo>
                    <a:pt x="17" y="488"/>
                  </a:moveTo>
                  <a:lnTo>
                    <a:pt x="17" y="492"/>
                  </a:lnTo>
                  <a:lnTo>
                    <a:pt x="12" y="492"/>
                  </a:lnTo>
                  <a:lnTo>
                    <a:pt x="17" y="488"/>
                  </a:lnTo>
                  <a:lnTo>
                    <a:pt x="17" y="488"/>
                  </a:lnTo>
                  <a:lnTo>
                    <a:pt x="17" y="488"/>
                  </a:lnTo>
                  <a:lnTo>
                    <a:pt x="17" y="488"/>
                  </a:lnTo>
                  <a:close/>
                  <a:moveTo>
                    <a:pt x="7" y="469"/>
                  </a:moveTo>
                  <a:lnTo>
                    <a:pt x="4" y="468"/>
                  </a:lnTo>
                  <a:lnTo>
                    <a:pt x="7" y="464"/>
                  </a:lnTo>
                  <a:lnTo>
                    <a:pt x="7" y="464"/>
                  </a:lnTo>
                  <a:lnTo>
                    <a:pt x="7" y="469"/>
                  </a:lnTo>
                  <a:lnTo>
                    <a:pt x="7" y="469"/>
                  </a:lnTo>
                  <a:lnTo>
                    <a:pt x="7" y="469"/>
                  </a:lnTo>
                  <a:lnTo>
                    <a:pt x="7" y="469"/>
                  </a:lnTo>
                  <a:close/>
                  <a:moveTo>
                    <a:pt x="6" y="474"/>
                  </a:moveTo>
                  <a:lnTo>
                    <a:pt x="10" y="474"/>
                  </a:lnTo>
                  <a:lnTo>
                    <a:pt x="7" y="475"/>
                  </a:lnTo>
                  <a:lnTo>
                    <a:pt x="6" y="474"/>
                  </a:lnTo>
                  <a:lnTo>
                    <a:pt x="6" y="474"/>
                  </a:lnTo>
                  <a:lnTo>
                    <a:pt x="6" y="474"/>
                  </a:lnTo>
                  <a:lnTo>
                    <a:pt x="6" y="474"/>
                  </a:lnTo>
                  <a:close/>
                  <a:moveTo>
                    <a:pt x="15" y="477"/>
                  </a:moveTo>
                  <a:lnTo>
                    <a:pt x="15" y="477"/>
                  </a:lnTo>
                  <a:lnTo>
                    <a:pt x="21" y="483"/>
                  </a:lnTo>
                  <a:lnTo>
                    <a:pt x="18" y="486"/>
                  </a:lnTo>
                  <a:lnTo>
                    <a:pt x="15" y="477"/>
                  </a:lnTo>
                  <a:lnTo>
                    <a:pt x="15" y="477"/>
                  </a:lnTo>
                  <a:lnTo>
                    <a:pt x="15" y="477"/>
                  </a:lnTo>
                  <a:lnTo>
                    <a:pt x="15" y="477"/>
                  </a:lnTo>
                  <a:close/>
                  <a:moveTo>
                    <a:pt x="7" y="485"/>
                  </a:moveTo>
                  <a:lnTo>
                    <a:pt x="4" y="481"/>
                  </a:lnTo>
                  <a:lnTo>
                    <a:pt x="10" y="480"/>
                  </a:lnTo>
                  <a:lnTo>
                    <a:pt x="7" y="485"/>
                  </a:lnTo>
                  <a:lnTo>
                    <a:pt x="7" y="485"/>
                  </a:lnTo>
                  <a:lnTo>
                    <a:pt x="7" y="485"/>
                  </a:lnTo>
                  <a:lnTo>
                    <a:pt x="7" y="485"/>
                  </a:lnTo>
                  <a:close/>
                  <a:moveTo>
                    <a:pt x="4" y="455"/>
                  </a:moveTo>
                  <a:lnTo>
                    <a:pt x="0" y="459"/>
                  </a:lnTo>
                  <a:lnTo>
                    <a:pt x="1" y="460"/>
                  </a:lnTo>
                  <a:lnTo>
                    <a:pt x="6" y="459"/>
                  </a:lnTo>
                  <a:lnTo>
                    <a:pt x="4" y="455"/>
                  </a:lnTo>
                  <a:lnTo>
                    <a:pt x="4" y="455"/>
                  </a:lnTo>
                  <a:lnTo>
                    <a:pt x="4" y="455"/>
                  </a:lnTo>
                  <a:lnTo>
                    <a:pt x="4" y="455"/>
                  </a:lnTo>
                  <a:close/>
                  <a:moveTo>
                    <a:pt x="1" y="421"/>
                  </a:moveTo>
                  <a:lnTo>
                    <a:pt x="10" y="424"/>
                  </a:lnTo>
                  <a:lnTo>
                    <a:pt x="4" y="426"/>
                  </a:lnTo>
                  <a:lnTo>
                    <a:pt x="1" y="421"/>
                  </a:lnTo>
                  <a:lnTo>
                    <a:pt x="1" y="421"/>
                  </a:lnTo>
                  <a:lnTo>
                    <a:pt x="1" y="421"/>
                  </a:lnTo>
                  <a:lnTo>
                    <a:pt x="1" y="421"/>
                  </a:lnTo>
                  <a:close/>
                  <a:moveTo>
                    <a:pt x="4" y="413"/>
                  </a:moveTo>
                  <a:lnTo>
                    <a:pt x="10" y="416"/>
                  </a:lnTo>
                  <a:lnTo>
                    <a:pt x="7" y="420"/>
                  </a:lnTo>
                  <a:lnTo>
                    <a:pt x="4" y="413"/>
                  </a:lnTo>
                  <a:lnTo>
                    <a:pt x="4" y="413"/>
                  </a:lnTo>
                  <a:lnTo>
                    <a:pt x="4" y="413"/>
                  </a:lnTo>
                  <a:lnTo>
                    <a:pt x="4" y="413"/>
                  </a:lnTo>
                  <a:close/>
                  <a:moveTo>
                    <a:pt x="21" y="404"/>
                  </a:moveTo>
                  <a:lnTo>
                    <a:pt x="21" y="407"/>
                  </a:lnTo>
                  <a:lnTo>
                    <a:pt x="17" y="407"/>
                  </a:lnTo>
                  <a:lnTo>
                    <a:pt x="21" y="404"/>
                  </a:lnTo>
                  <a:lnTo>
                    <a:pt x="21" y="404"/>
                  </a:lnTo>
                  <a:lnTo>
                    <a:pt x="21" y="404"/>
                  </a:lnTo>
                  <a:lnTo>
                    <a:pt x="21" y="404"/>
                  </a:lnTo>
                  <a:close/>
                  <a:moveTo>
                    <a:pt x="24" y="399"/>
                  </a:moveTo>
                  <a:lnTo>
                    <a:pt x="28" y="401"/>
                  </a:lnTo>
                  <a:lnTo>
                    <a:pt x="30" y="405"/>
                  </a:lnTo>
                  <a:lnTo>
                    <a:pt x="24" y="407"/>
                  </a:lnTo>
                  <a:lnTo>
                    <a:pt x="24" y="399"/>
                  </a:lnTo>
                  <a:lnTo>
                    <a:pt x="24" y="399"/>
                  </a:lnTo>
                  <a:lnTo>
                    <a:pt x="24" y="399"/>
                  </a:lnTo>
                  <a:lnTo>
                    <a:pt x="24" y="399"/>
                  </a:lnTo>
                  <a:close/>
                  <a:moveTo>
                    <a:pt x="73" y="370"/>
                  </a:moveTo>
                  <a:lnTo>
                    <a:pt x="73" y="370"/>
                  </a:lnTo>
                  <a:lnTo>
                    <a:pt x="79" y="365"/>
                  </a:lnTo>
                  <a:lnTo>
                    <a:pt x="79" y="370"/>
                  </a:lnTo>
                  <a:lnTo>
                    <a:pt x="78" y="374"/>
                  </a:lnTo>
                  <a:lnTo>
                    <a:pt x="73" y="370"/>
                  </a:lnTo>
                  <a:lnTo>
                    <a:pt x="73" y="370"/>
                  </a:lnTo>
                  <a:lnTo>
                    <a:pt x="73" y="370"/>
                  </a:lnTo>
                  <a:lnTo>
                    <a:pt x="73" y="370"/>
                  </a:lnTo>
                  <a:close/>
                  <a:moveTo>
                    <a:pt x="76" y="362"/>
                  </a:moveTo>
                  <a:lnTo>
                    <a:pt x="76" y="362"/>
                  </a:lnTo>
                  <a:lnTo>
                    <a:pt x="73" y="365"/>
                  </a:lnTo>
                  <a:lnTo>
                    <a:pt x="68" y="359"/>
                  </a:lnTo>
                  <a:lnTo>
                    <a:pt x="73" y="359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62"/>
                  </a:lnTo>
                  <a:close/>
                  <a:moveTo>
                    <a:pt x="82" y="351"/>
                  </a:moveTo>
                  <a:lnTo>
                    <a:pt x="90" y="346"/>
                  </a:lnTo>
                  <a:lnTo>
                    <a:pt x="93" y="348"/>
                  </a:lnTo>
                  <a:lnTo>
                    <a:pt x="87" y="351"/>
                  </a:lnTo>
                  <a:lnTo>
                    <a:pt x="82" y="351"/>
                  </a:lnTo>
                  <a:lnTo>
                    <a:pt x="82" y="351"/>
                  </a:lnTo>
                  <a:lnTo>
                    <a:pt x="82" y="351"/>
                  </a:lnTo>
                  <a:lnTo>
                    <a:pt x="82" y="351"/>
                  </a:lnTo>
                  <a:close/>
                  <a:moveTo>
                    <a:pt x="82" y="360"/>
                  </a:moveTo>
                  <a:lnTo>
                    <a:pt x="85" y="354"/>
                  </a:lnTo>
                  <a:lnTo>
                    <a:pt x="91" y="354"/>
                  </a:lnTo>
                  <a:lnTo>
                    <a:pt x="93" y="353"/>
                  </a:lnTo>
                  <a:lnTo>
                    <a:pt x="97" y="353"/>
                  </a:lnTo>
                  <a:lnTo>
                    <a:pt x="102" y="354"/>
                  </a:lnTo>
                  <a:lnTo>
                    <a:pt x="97" y="360"/>
                  </a:lnTo>
                  <a:lnTo>
                    <a:pt x="90" y="359"/>
                  </a:lnTo>
                  <a:lnTo>
                    <a:pt x="85" y="360"/>
                  </a:lnTo>
                  <a:lnTo>
                    <a:pt x="82" y="360"/>
                  </a:lnTo>
                  <a:lnTo>
                    <a:pt x="82" y="360"/>
                  </a:lnTo>
                  <a:lnTo>
                    <a:pt x="82" y="360"/>
                  </a:lnTo>
                  <a:lnTo>
                    <a:pt x="82" y="360"/>
                  </a:lnTo>
                  <a:close/>
                  <a:moveTo>
                    <a:pt x="154" y="292"/>
                  </a:moveTo>
                  <a:lnTo>
                    <a:pt x="157" y="289"/>
                  </a:lnTo>
                  <a:lnTo>
                    <a:pt x="163" y="286"/>
                  </a:lnTo>
                  <a:lnTo>
                    <a:pt x="158" y="294"/>
                  </a:lnTo>
                  <a:lnTo>
                    <a:pt x="154" y="292"/>
                  </a:lnTo>
                  <a:lnTo>
                    <a:pt x="154" y="292"/>
                  </a:lnTo>
                  <a:lnTo>
                    <a:pt x="154" y="292"/>
                  </a:lnTo>
                  <a:lnTo>
                    <a:pt x="154" y="292"/>
                  </a:lnTo>
                  <a:close/>
                  <a:moveTo>
                    <a:pt x="148" y="303"/>
                  </a:moveTo>
                  <a:lnTo>
                    <a:pt x="146" y="300"/>
                  </a:lnTo>
                  <a:lnTo>
                    <a:pt x="143" y="301"/>
                  </a:lnTo>
                  <a:lnTo>
                    <a:pt x="146" y="295"/>
                  </a:lnTo>
                  <a:lnTo>
                    <a:pt x="154" y="295"/>
                  </a:lnTo>
                  <a:lnTo>
                    <a:pt x="158" y="294"/>
                  </a:lnTo>
                  <a:lnTo>
                    <a:pt x="152" y="301"/>
                  </a:lnTo>
                  <a:lnTo>
                    <a:pt x="148" y="303"/>
                  </a:lnTo>
                  <a:lnTo>
                    <a:pt x="148" y="303"/>
                  </a:lnTo>
                  <a:lnTo>
                    <a:pt x="148" y="303"/>
                  </a:lnTo>
                  <a:lnTo>
                    <a:pt x="148" y="303"/>
                  </a:lnTo>
                  <a:close/>
                  <a:moveTo>
                    <a:pt x="162" y="262"/>
                  </a:moveTo>
                  <a:lnTo>
                    <a:pt x="163" y="264"/>
                  </a:lnTo>
                  <a:lnTo>
                    <a:pt x="165" y="267"/>
                  </a:lnTo>
                  <a:lnTo>
                    <a:pt x="162" y="267"/>
                  </a:lnTo>
                  <a:lnTo>
                    <a:pt x="160" y="267"/>
                  </a:lnTo>
                  <a:lnTo>
                    <a:pt x="162" y="262"/>
                  </a:lnTo>
                  <a:lnTo>
                    <a:pt x="162" y="262"/>
                  </a:lnTo>
                  <a:lnTo>
                    <a:pt x="162" y="262"/>
                  </a:lnTo>
                  <a:lnTo>
                    <a:pt x="162" y="262"/>
                  </a:lnTo>
                  <a:close/>
                  <a:moveTo>
                    <a:pt x="174" y="253"/>
                  </a:moveTo>
                  <a:lnTo>
                    <a:pt x="175" y="250"/>
                  </a:lnTo>
                  <a:lnTo>
                    <a:pt x="180" y="250"/>
                  </a:lnTo>
                  <a:lnTo>
                    <a:pt x="174" y="256"/>
                  </a:lnTo>
                  <a:lnTo>
                    <a:pt x="174" y="253"/>
                  </a:lnTo>
                  <a:lnTo>
                    <a:pt x="174" y="253"/>
                  </a:lnTo>
                  <a:lnTo>
                    <a:pt x="174" y="253"/>
                  </a:lnTo>
                  <a:lnTo>
                    <a:pt x="174" y="253"/>
                  </a:lnTo>
                  <a:close/>
                  <a:moveTo>
                    <a:pt x="169" y="244"/>
                  </a:moveTo>
                  <a:lnTo>
                    <a:pt x="175" y="240"/>
                  </a:lnTo>
                  <a:lnTo>
                    <a:pt x="175" y="244"/>
                  </a:lnTo>
                  <a:lnTo>
                    <a:pt x="171" y="250"/>
                  </a:lnTo>
                  <a:lnTo>
                    <a:pt x="169" y="244"/>
                  </a:lnTo>
                  <a:lnTo>
                    <a:pt x="169" y="244"/>
                  </a:lnTo>
                  <a:lnTo>
                    <a:pt x="169" y="244"/>
                  </a:lnTo>
                  <a:lnTo>
                    <a:pt x="169" y="244"/>
                  </a:lnTo>
                  <a:close/>
                  <a:moveTo>
                    <a:pt x="204" y="199"/>
                  </a:moveTo>
                  <a:lnTo>
                    <a:pt x="206" y="197"/>
                  </a:lnTo>
                  <a:lnTo>
                    <a:pt x="209" y="197"/>
                  </a:lnTo>
                  <a:lnTo>
                    <a:pt x="206" y="203"/>
                  </a:lnTo>
                  <a:lnTo>
                    <a:pt x="204" y="199"/>
                  </a:lnTo>
                  <a:lnTo>
                    <a:pt x="204" y="199"/>
                  </a:lnTo>
                  <a:lnTo>
                    <a:pt x="204" y="199"/>
                  </a:lnTo>
                  <a:lnTo>
                    <a:pt x="204" y="199"/>
                  </a:lnTo>
                  <a:close/>
                  <a:moveTo>
                    <a:pt x="169" y="174"/>
                  </a:moveTo>
                  <a:lnTo>
                    <a:pt x="174" y="177"/>
                  </a:lnTo>
                  <a:lnTo>
                    <a:pt x="171" y="180"/>
                  </a:lnTo>
                  <a:lnTo>
                    <a:pt x="168" y="179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69" y="174"/>
                  </a:lnTo>
                  <a:close/>
                  <a:moveTo>
                    <a:pt x="179" y="162"/>
                  </a:moveTo>
                  <a:lnTo>
                    <a:pt x="174" y="168"/>
                  </a:lnTo>
                  <a:lnTo>
                    <a:pt x="174" y="164"/>
                  </a:lnTo>
                  <a:lnTo>
                    <a:pt x="179" y="157"/>
                  </a:lnTo>
                  <a:lnTo>
                    <a:pt x="179" y="162"/>
                  </a:lnTo>
                  <a:lnTo>
                    <a:pt x="179" y="162"/>
                  </a:lnTo>
                  <a:lnTo>
                    <a:pt x="179" y="162"/>
                  </a:lnTo>
                  <a:lnTo>
                    <a:pt x="179" y="162"/>
                  </a:lnTo>
                  <a:close/>
                  <a:moveTo>
                    <a:pt x="183" y="158"/>
                  </a:moveTo>
                  <a:lnTo>
                    <a:pt x="180" y="157"/>
                  </a:lnTo>
                  <a:lnTo>
                    <a:pt x="183" y="152"/>
                  </a:lnTo>
                  <a:lnTo>
                    <a:pt x="186" y="155"/>
                  </a:lnTo>
                  <a:lnTo>
                    <a:pt x="183" y="158"/>
                  </a:lnTo>
                  <a:lnTo>
                    <a:pt x="183" y="158"/>
                  </a:lnTo>
                  <a:lnTo>
                    <a:pt x="183" y="158"/>
                  </a:lnTo>
                  <a:lnTo>
                    <a:pt x="183" y="158"/>
                  </a:lnTo>
                  <a:close/>
                  <a:moveTo>
                    <a:pt x="200" y="147"/>
                  </a:moveTo>
                  <a:lnTo>
                    <a:pt x="200" y="152"/>
                  </a:lnTo>
                  <a:lnTo>
                    <a:pt x="189" y="158"/>
                  </a:lnTo>
                  <a:lnTo>
                    <a:pt x="191" y="151"/>
                  </a:lnTo>
                  <a:lnTo>
                    <a:pt x="200" y="147"/>
                  </a:lnTo>
                  <a:lnTo>
                    <a:pt x="200" y="147"/>
                  </a:lnTo>
                  <a:lnTo>
                    <a:pt x="200" y="147"/>
                  </a:lnTo>
                  <a:lnTo>
                    <a:pt x="200" y="147"/>
                  </a:lnTo>
                  <a:close/>
                  <a:moveTo>
                    <a:pt x="209" y="138"/>
                  </a:moveTo>
                  <a:lnTo>
                    <a:pt x="212" y="132"/>
                  </a:lnTo>
                  <a:lnTo>
                    <a:pt x="217" y="136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close/>
                  <a:moveTo>
                    <a:pt x="215" y="140"/>
                  </a:moveTo>
                  <a:lnTo>
                    <a:pt x="215" y="149"/>
                  </a:lnTo>
                  <a:lnTo>
                    <a:pt x="209" y="147"/>
                  </a:lnTo>
                  <a:lnTo>
                    <a:pt x="203" y="151"/>
                  </a:lnTo>
                  <a:lnTo>
                    <a:pt x="204" y="146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close/>
                  <a:moveTo>
                    <a:pt x="220" y="115"/>
                  </a:moveTo>
                  <a:lnTo>
                    <a:pt x="221" y="121"/>
                  </a:lnTo>
                  <a:lnTo>
                    <a:pt x="221" y="130"/>
                  </a:lnTo>
                  <a:lnTo>
                    <a:pt x="214" y="132"/>
                  </a:lnTo>
                  <a:lnTo>
                    <a:pt x="212" y="130"/>
                  </a:lnTo>
                  <a:lnTo>
                    <a:pt x="217" y="124"/>
                  </a:lnTo>
                  <a:lnTo>
                    <a:pt x="214" y="124"/>
                  </a:lnTo>
                  <a:lnTo>
                    <a:pt x="208" y="130"/>
                  </a:lnTo>
                  <a:lnTo>
                    <a:pt x="206" y="127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7" y="118"/>
                  </a:lnTo>
                  <a:lnTo>
                    <a:pt x="215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close/>
                  <a:moveTo>
                    <a:pt x="225" y="118"/>
                  </a:moveTo>
                  <a:lnTo>
                    <a:pt x="223" y="115"/>
                  </a:lnTo>
                  <a:lnTo>
                    <a:pt x="223" y="110"/>
                  </a:lnTo>
                  <a:lnTo>
                    <a:pt x="231" y="104"/>
                  </a:lnTo>
                  <a:lnTo>
                    <a:pt x="231" y="98"/>
                  </a:lnTo>
                  <a:lnTo>
                    <a:pt x="238" y="98"/>
                  </a:lnTo>
                  <a:lnTo>
                    <a:pt x="240" y="103"/>
                  </a:lnTo>
                  <a:lnTo>
                    <a:pt x="235" y="107"/>
                  </a:lnTo>
                  <a:lnTo>
                    <a:pt x="232" y="110"/>
                  </a:lnTo>
                  <a:lnTo>
                    <a:pt x="225" y="118"/>
                  </a:lnTo>
                  <a:lnTo>
                    <a:pt x="225" y="118"/>
                  </a:lnTo>
                  <a:lnTo>
                    <a:pt x="225" y="118"/>
                  </a:lnTo>
                  <a:lnTo>
                    <a:pt x="225" y="118"/>
                  </a:lnTo>
                  <a:close/>
                  <a:moveTo>
                    <a:pt x="244" y="121"/>
                  </a:moveTo>
                  <a:lnTo>
                    <a:pt x="252" y="127"/>
                  </a:lnTo>
                  <a:lnTo>
                    <a:pt x="243" y="136"/>
                  </a:lnTo>
                  <a:lnTo>
                    <a:pt x="235" y="140"/>
                  </a:lnTo>
                  <a:lnTo>
                    <a:pt x="232" y="143"/>
                  </a:lnTo>
                  <a:lnTo>
                    <a:pt x="229" y="141"/>
                  </a:lnTo>
                  <a:lnTo>
                    <a:pt x="229" y="138"/>
                  </a:lnTo>
                  <a:lnTo>
                    <a:pt x="223" y="146"/>
                  </a:lnTo>
                  <a:lnTo>
                    <a:pt x="220" y="146"/>
                  </a:lnTo>
                  <a:lnTo>
                    <a:pt x="221" y="140"/>
                  </a:lnTo>
                  <a:lnTo>
                    <a:pt x="223" y="138"/>
                  </a:lnTo>
                  <a:lnTo>
                    <a:pt x="223" y="132"/>
                  </a:lnTo>
                  <a:lnTo>
                    <a:pt x="226" y="129"/>
                  </a:lnTo>
                  <a:lnTo>
                    <a:pt x="226" y="124"/>
                  </a:lnTo>
                  <a:lnTo>
                    <a:pt x="232" y="115"/>
                  </a:lnTo>
                  <a:lnTo>
                    <a:pt x="231" y="129"/>
                  </a:lnTo>
                  <a:lnTo>
                    <a:pt x="231" y="132"/>
                  </a:lnTo>
                  <a:lnTo>
                    <a:pt x="235" y="127"/>
                  </a:lnTo>
                  <a:lnTo>
                    <a:pt x="244" y="127"/>
                  </a:lnTo>
                  <a:lnTo>
                    <a:pt x="240" y="124"/>
                  </a:lnTo>
                  <a:lnTo>
                    <a:pt x="240" y="119"/>
                  </a:lnTo>
                  <a:lnTo>
                    <a:pt x="244" y="121"/>
                  </a:lnTo>
                  <a:lnTo>
                    <a:pt x="244" y="121"/>
                  </a:lnTo>
                  <a:lnTo>
                    <a:pt x="244" y="121"/>
                  </a:lnTo>
                  <a:lnTo>
                    <a:pt x="244" y="121"/>
                  </a:lnTo>
                  <a:close/>
                  <a:moveTo>
                    <a:pt x="244" y="115"/>
                  </a:moveTo>
                  <a:lnTo>
                    <a:pt x="243" y="113"/>
                  </a:lnTo>
                  <a:lnTo>
                    <a:pt x="246" y="112"/>
                  </a:lnTo>
                  <a:lnTo>
                    <a:pt x="252" y="115"/>
                  </a:lnTo>
                  <a:lnTo>
                    <a:pt x="252" y="119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close/>
                  <a:moveTo>
                    <a:pt x="259" y="124"/>
                  </a:moveTo>
                  <a:lnTo>
                    <a:pt x="259" y="118"/>
                  </a:lnTo>
                  <a:lnTo>
                    <a:pt x="264" y="121"/>
                  </a:lnTo>
                  <a:lnTo>
                    <a:pt x="259" y="124"/>
                  </a:lnTo>
                  <a:lnTo>
                    <a:pt x="259" y="124"/>
                  </a:lnTo>
                  <a:lnTo>
                    <a:pt x="259" y="124"/>
                  </a:lnTo>
                  <a:lnTo>
                    <a:pt x="259" y="124"/>
                  </a:lnTo>
                  <a:close/>
                  <a:moveTo>
                    <a:pt x="276" y="98"/>
                  </a:moveTo>
                  <a:lnTo>
                    <a:pt x="276" y="98"/>
                  </a:lnTo>
                  <a:lnTo>
                    <a:pt x="278" y="103"/>
                  </a:lnTo>
                  <a:lnTo>
                    <a:pt x="270" y="104"/>
                  </a:lnTo>
                  <a:lnTo>
                    <a:pt x="269" y="107"/>
                  </a:lnTo>
                  <a:lnTo>
                    <a:pt x="264" y="107"/>
                  </a:lnTo>
                  <a:lnTo>
                    <a:pt x="261" y="112"/>
                  </a:lnTo>
                  <a:lnTo>
                    <a:pt x="259" y="112"/>
                  </a:lnTo>
                  <a:lnTo>
                    <a:pt x="259" y="109"/>
                  </a:lnTo>
                  <a:lnTo>
                    <a:pt x="253" y="109"/>
                  </a:lnTo>
                  <a:lnTo>
                    <a:pt x="259" y="103"/>
                  </a:lnTo>
                  <a:lnTo>
                    <a:pt x="253" y="103"/>
                  </a:lnTo>
                  <a:lnTo>
                    <a:pt x="255" y="98"/>
                  </a:lnTo>
                  <a:lnTo>
                    <a:pt x="264" y="95"/>
                  </a:lnTo>
                  <a:lnTo>
                    <a:pt x="255" y="93"/>
                  </a:lnTo>
                  <a:lnTo>
                    <a:pt x="259" y="88"/>
                  </a:lnTo>
                  <a:lnTo>
                    <a:pt x="264" y="90"/>
                  </a:lnTo>
                  <a:lnTo>
                    <a:pt x="264" y="87"/>
                  </a:lnTo>
                  <a:lnTo>
                    <a:pt x="270" y="87"/>
                  </a:lnTo>
                  <a:lnTo>
                    <a:pt x="272" y="90"/>
                  </a:lnTo>
                  <a:lnTo>
                    <a:pt x="276" y="92"/>
                  </a:lnTo>
                  <a:lnTo>
                    <a:pt x="276" y="98"/>
                  </a:lnTo>
                  <a:lnTo>
                    <a:pt x="276" y="98"/>
                  </a:lnTo>
                  <a:lnTo>
                    <a:pt x="276" y="98"/>
                  </a:lnTo>
                  <a:lnTo>
                    <a:pt x="276" y="98"/>
                  </a:lnTo>
                  <a:close/>
                  <a:moveTo>
                    <a:pt x="278" y="82"/>
                  </a:moveTo>
                  <a:lnTo>
                    <a:pt x="284" y="82"/>
                  </a:lnTo>
                  <a:lnTo>
                    <a:pt x="286" y="79"/>
                  </a:lnTo>
                  <a:lnTo>
                    <a:pt x="292" y="79"/>
                  </a:lnTo>
                  <a:lnTo>
                    <a:pt x="296" y="75"/>
                  </a:lnTo>
                  <a:lnTo>
                    <a:pt x="299" y="79"/>
                  </a:lnTo>
                  <a:lnTo>
                    <a:pt x="296" y="84"/>
                  </a:lnTo>
                  <a:lnTo>
                    <a:pt x="296" y="87"/>
                  </a:lnTo>
                  <a:lnTo>
                    <a:pt x="287" y="87"/>
                  </a:lnTo>
                  <a:lnTo>
                    <a:pt x="281" y="88"/>
                  </a:lnTo>
                  <a:lnTo>
                    <a:pt x="278" y="82"/>
                  </a:lnTo>
                  <a:lnTo>
                    <a:pt x="278" y="82"/>
                  </a:lnTo>
                  <a:lnTo>
                    <a:pt x="278" y="82"/>
                  </a:lnTo>
                  <a:lnTo>
                    <a:pt x="278" y="82"/>
                  </a:lnTo>
                  <a:close/>
                  <a:moveTo>
                    <a:pt x="299" y="54"/>
                  </a:moveTo>
                  <a:lnTo>
                    <a:pt x="299" y="53"/>
                  </a:lnTo>
                  <a:lnTo>
                    <a:pt x="304" y="51"/>
                  </a:lnTo>
                  <a:lnTo>
                    <a:pt x="299" y="54"/>
                  </a:lnTo>
                  <a:lnTo>
                    <a:pt x="299" y="54"/>
                  </a:lnTo>
                  <a:lnTo>
                    <a:pt x="299" y="54"/>
                  </a:lnTo>
                  <a:lnTo>
                    <a:pt x="299" y="54"/>
                  </a:lnTo>
                  <a:close/>
                  <a:moveTo>
                    <a:pt x="290" y="65"/>
                  </a:moveTo>
                  <a:lnTo>
                    <a:pt x="290" y="58"/>
                  </a:lnTo>
                  <a:lnTo>
                    <a:pt x="298" y="58"/>
                  </a:lnTo>
                  <a:lnTo>
                    <a:pt x="298" y="60"/>
                  </a:lnTo>
                  <a:lnTo>
                    <a:pt x="298" y="60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close/>
                  <a:moveTo>
                    <a:pt x="310" y="73"/>
                  </a:moveTo>
                  <a:lnTo>
                    <a:pt x="311" y="67"/>
                  </a:lnTo>
                  <a:lnTo>
                    <a:pt x="313" y="71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3"/>
                  </a:lnTo>
                  <a:close/>
                  <a:moveTo>
                    <a:pt x="305" y="73"/>
                  </a:moveTo>
                  <a:lnTo>
                    <a:pt x="304" y="75"/>
                  </a:lnTo>
                  <a:lnTo>
                    <a:pt x="299" y="75"/>
                  </a:lnTo>
                  <a:lnTo>
                    <a:pt x="293" y="67"/>
                  </a:lnTo>
                  <a:lnTo>
                    <a:pt x="301" y="62"/>
                  </a:lnTo>
                  <a:lnTo>
                    <a:pt x="304" y="64"/>
                  </a:lnTo>
                  <a:lnTo>
                    <a:pt x="310" y="64"/>
                  </a:lnTo>
                  <a:lnTo>
                    <a:pt x="310" y="65"/>
                  </a:lnTo>
                  <a:lnTo>
                    <a:pt x="305" y="67"/>
                  </a:lnTo>
                  <a:lnTo>
                    <a:pt x="305" y="73"/>
                  </a:lnTo>
                  <a:lnTo>
                    <a:pt x="305" y="73"/>
                  </a:lnTo>
                  <a:lnTo>
                    <a:pt x="305" y="73"/>
                  </a:lnTo>
                  <a:lnTo>
                    <a:pt x="305" y="73"/>
                  </a:lnTo>
                  <a:close/>
                  <a:moveTo>
                    <a:pt x="321" y="60"/>
                  </a:moveTo>
                  <a:lnTo>
                    <a:pt x="318" y="62"/>
                  </a:lnTo>
                  <a:lnTo>
                    <a:pt x="311" y="60"/>
                  </a:lnTo>
                  <a:lnTo>
                    <a:pt x="311" y="56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3" y="54"/>
                  </a:lnTo>
                  <a:lnTo>
                    <a:pt x="318" y="58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1" y="60"/>
                  </a:lnTo>
                  <a:close/>
                  <a:moveTo>
                    <a:pt x="336" y="67"/>
                  </a:moveTo>
                  <a:lnTo>
                    <a:pt x="332" y="64"/>
                  </a:lnTo>
                  <a:lnTo>
                    <a:pt x="327" y="62"/>
                  </a:lnTo>
                  <a:lnTo>
                    <a:pt x="327" y="54"/>
                  </a:lnTo>
                  <a:lnTo>
                    <a:pt x="332" y="51"/>
                  </a:lnTo>
                  <a:lnTo>
                    <a:pt x="338" y="54"/>
                  </a:lnTo>
                  <a:lnTo>
                    <a:pt x="336" y="60"/>
                  </a:lnTo>
                  <a:lnTo>
                    <a:pt x="338" y="64"/>
                  </a:lnTo>
                  <a:lnTo>
                    <a:pt x="336" y="67"/>
                  </a:lnTo>
                  <a:lnTo>
                    <a:pt x="336" y="67"/>
                  </a:lnTo>
                  <a:lnTo>
                    <a:pt x="336" y="67"/>
                  </a:lnTo>
                  <a:lnTo>
                    <a:pt x="336" y="67"/>
                  </a:lnTo>
                  <a:close/>
                  <a:moveTo>
                    <a:pt x="377" y="48"/>
                  </a:moveTo>
                  <a:lnTo>
                    <a:pt x="371" y="48"/>
                  </a:lnTo>
                  <a:lnTo>
                    <a:pt x="366" y="45"/>
                  </a:lnTo>
                  <a:lnTo>
                    <a:pt x="370" y="42"/>
                  </a:lnTo>
                  <a:lnTo>
                    <a:pt x="376" y="42"/>
                  </a:lnTo>
                  <a:lnTo>
                    <a:pt x="377" y="45"/>
                  </a:lnTo>
                  <a:lnTo>
                    <a:pt x="377" y="48"/>
                  </a:lnTo>
                  <a:lnTo>
                    <a:pt x="377" y="48"/>
                  </a:lnTo>
                  <a:lnTo>
                    <a:pt x="377" y="48"/>
                  </a:lnTo>
                  <a:lnTo>
                    <a:pt x="377" y="48"/>
                  </a:lnTo>
                  <a:close/>
                  <a:moveTo>
                    <a:pt x="385" y="45"/>
                  </a:moveTo>
                  <a:lnTo>
                    <a:pt x="377" y="37"/>
                  </a:lnTo>
                  <a:lnTo>
                    <a:pt x="388" y="31"/>
                  </a:lnTo>
                  <a:lnTo>
                    <a:pt x="388" y="36"/>
                  </a:lnTo>
                  <a:lnTo>
                    <a:pt x="385" y="42"/>
                  </a:lnTo>
                  <a:lnTo>
                    <a:pt x="385" y="45"/>
                  </a:lnTo>
                  <a:lnTo>
                    <a:pt x="385" y="45"/>
                  </a:lnTo>
                  <a:lnTo>
                    <a:pt x="385" y="45"/>
                  </a:lnTo>
                  <a:lnTo>
                    <a:pt x="385" y="45"/>
                  </a:lnTo>
                  <a:close/>
                  <a:moveTo>
                    <a:pt x="371" y="36"/>
                  </a:moveTo>
                  <a:lnTo>
                    <a:pt x="368" y="37"/>
                  </a:lnTo>
                  <a:lnTo>
                    <a:pt x="361" y="34"/>
                  </a:lnTo>
                  <a:lnTo>
                    <a:pt x="359" y="31"/>
                  </a:lnTo>
                  <a:lnTo>
                    <a:pt x="362" y="31"/>
                  </a:lnTo>
                  <a:lnTo>
                    <a:pt x="368" y="26"/>
                  </a:lnTo>
                  <a:lnTo>
                    <a:pt x="370" y="31"/>
                  </a:lnTo>
                  <a:lnTo>
                    <a:pt x="373" y="26"/>
                  </a:lnTo>
                  <a:lnTo>
                    <a:pt x="377" y="26"/>
                  </a:lnTo>
                  <a:lnTo>
                    <a:pt x="385" y="21"/>
                  </a:lnTo>
                  <a:lnTo>
                    <a:pt x="387" y="23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6"/>
                  </a:lnTo>
                  <a:close/>
                  <a:moveTo>
                    <a:pt x="388" y="26"/>
                  </a:moveTo>
                  <a:lnTo>
                    <a:pt x="388" y="26"/>
                  </a:lnTo>
                  <a:lnTo>
                    <a:pt x="397" y="23"/>
                  </a:lnTo>
                  <a:lnTo>
                    <a:pt x="405" y="28"/>
                  </a:lnTo>
                  <a:lnTo>
                    <a:pt x="402" y="31"/>
                  </a:lnTo>
                  <a:lnTo>
                    <a:pt x="394" y="34"/>
                  </a:lnTo>
                  <a:lnTo>
                    <a:pt x="394" y="31"/>
                  </a:lnTo>
                  <a:lnTo>
                    <a:pt x="388" y="26"/>
                  </a:lnTo>
                  <a:lnTo>
                    <a:pt x="388" y="26"/>
                  </a:lnTo>
                  <a:lnTo>
                    <a:pt x="388" y="26"/>
                  </a:lnTo>
                  <a:lnTo>
                    <a:pt x="388" y="26"/>
                  </a:lnTo>
                  <a:close/>
                  <a:moveTo>
                    <a:pt x="405" y="14"/>
                  </a:moveTo>
                  <a:lnTo>
                    <a:pt x="402" y="17"/>
                  </a:lnTo>
                  <a:lnTo>
                    <a:pt x="400" y="17"/>
                  </a:lnTo>
                  <a:lnTo>
                    <a:pt x="397" y="12"/>
                  </a:lnTo>
                  <a:lnTo>
                    <a:pt x="402" y="12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5" y="14"/>
                  </a:lnTo>
                  <a:close/>
                  <a:moveTo>
                    <a:pt x="417" y="6"/>
                  </a:moveTo>
                  <a:lnTo>
                    <a:pt x="414" y="6"/>
                  </a:lnTo>
                  <a:lnTo>
                    <a:pt x="416" y="3"/>
                  </a:lnTo>
                  <a:lnTo>
                    <a:pt x="419" y="3"/>
                  </a:lnTo>
                  <a:lnTo>
                    <a:pt x="417" y="6"/>
                  </a:lnTo>
                  <a:lnTo>
                    <a:pt x="417" y="6"/>
                  </a:lnTo>
                  <a:lnTo>
                    <a:pt x="417" y="6"/>
                  </a:lnTo>
                  <a:lnTo>
                    <a:pt x="417" y="6"/>
                  </a:lnTo>
                  <a:close/>
                  <a:moveTo>
                    <a:pt x="425" y="9"/>
                  </a:moveTo>
                  <a:lnTo>
                    <a:pt x="425" y="6"/>
                  </a:lnTo>
                  <a:lnTo>
                    <a:pt x="428" y="4"/>
                  </a:lnTo>
                  <a:lnTo>
                    <a:pt x="431" y="6"/>
                  </a:lnTo>
                  <a:lnTo>
                    <a:pt x="433" y="4"/>
                  </a:lnTo>
                  <a:lnTo>
                    <a:pt x="433" y="0"/>
                  </a:lnTo>
                  <a:lnTo>
                    <a:pt x="437" y="3"/>
                  </a:lnTo>
                  <a:lnTo>
                    <a:pt x="443" y="4"/>
                  </a:lnTo>
                  <a:lnTo>
                    <a:pt x="439" y="8"/>
                  </a:lnTo>
                  <a:lnTo>
                    <a:pt x="445" y="8"/>
                  </a:lnTo>
                  <a:lnTo>
                    <a:pt x="443" y="14"/>
                  </a:lnTo>
                  <a:lnTo>
                    <a:pt x="437" y="14"/>
                  </a:lnTo>
                  <a:lnTo>
                    <a:pt x="431" y="9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5" y="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5" name="Freeform 38"/>
            <p:cNvSpPr>
              <a:spLocks noEditPoints="1"/>
            </p:cNvSpPr>
            <p:nvPr/>
          </p:nvSpPr>
          <p:spPr bwMode="auto">
            <a:xfrm>
              <a:off x="5870576" y="1817688"/>
              <a:ext cx="441325" cy="877888"/>
            </a:xfrm>
            <a:custGeom>
              <a:avLst/>
              <a:gdLst>
                <a:gd name="T0" fmla="*/ 11 w 278"/>
                <a:gd name="T1" fmla="*/ 399 h 553"/>
                <a:gd name="T2" fmla="*/ 29 w 278"/>
                <a:gd name="T3" fmla="*/ 371 h 553"/>
                <a:gd name="T4" fmla="*/ 32 w 278"/>
                <a:gd name="T5" fmla="*/ 326 h 553"/>
                <a:gd name="T6" fmla="*/ 15 w 278"/>
                <a:gd name="T7" fmla="*/ 270 h 553"/>
                <a:gd name="T8" fmla="*/ 43 w 278"/>
                <a:gd name="T9" fmla="*/ 222 h 553"/>
                <a:gd name="T10" fmla="*/ 55 w 278"/>
                <a:gd name="T11" fmla="*/ 155 h 553"/>
                <a:gd name="T12" fmla="*/ 78 w 278"/>
                <a:gd name="T13" fmla="*/ 124 h 553"/>
                <a:gd name="T14" fmla="*/ 90 w 278"/>
                <a:gd name="T15" fmla="*/ 70 h 553"/>
                <a:gd name="T16" fmla="*/ 118 w 278"/>
                <a:gd name="T17" fmla="*/ 48 h 553"/>
                <a:gd name="T18" fmla="*/ 130 w 278"/>
                <a:gd name="T19" fmla="*/ 33 h 553"/>
                <a:gd name="T20" fmla="*/ 164 w 278"/>
                <a:gd name="T21" fmla="*/ 29 h 553"/>
                <a:gd name="T22" fmla="*/ 175 w 278"/>
                <a:gd name="T23" fmla="*/ 12 h 553"/>
                <a:gd name="T24" fmla="*/ 187 w 278"/>
                <a:gd name="T25" fmla="*/ 5 h 553"/>
                <a:gd name="T26" fmla="*/ 236 w 278"/>
                <a:gd name="T27" fmla="*/ 32 h 553"/>
                <a:gd name="T28" fmla="*/ 251 w 278"/>
                <a:gd name="T29" fmla="*/ 49 h 553"/>
                <a:gd name="T30" fmla="*/ 259 w 278"/>
                <a:gd name="T31" fmla="*/ 85 h 553"/>
                <a:gd name="T32" fmla="*/ 264 w 278"/>
                <a:gd name="T33" fmla="*/ 125 h 553"/>
                <a:gd name="T34" fmla="*/ 268 w 278"/>
                <a:gd name="T35" fmla="*/ 146 h 553"/>
                <a:gd name="T36" fmla="*/ 239 w 278"/>
                <a:gd name="T37" fmla="*/ 146 h 553"/>
                <a:gd name="T38" fmla="*/ 221 w 278"/>
                <a:gd name="T39" fmla="*/ 150 h 553"/>
                <a:gd name="T40" fmla="*/ 219 w 278"/>
                <a:gd name="T41" fmla="*/ 169 h 553"/>
                <a:gd name="T42" fmla="*/ 219 w 278"/>
                <a:gd name="T43" fmla="*/ 175 h 553"/>
                <a:gd name="T44" fmla="*/ 221 w 278"/>
                <a:gd name="T45" fmla="*/ 197 h 553"/>
                <a:gd name="T46" fmla="*/ 213 w 278"/>
                <a:gd name="T47" fmla="*/ 220 h 553"/>
                <a:gd name="T48" fmla="*/ 189 w 278"/>
                <a:gd name="T49" fmla="*/ 242 h 553"/>
                <a:gd name="T50" fmla="*/ 172 w 278"/>
                <a:gd name="T51" fmla="*/ 256 h 553"/>
                <a:gd name="T52" fmla="*/ 156 w 278"/>
                <a:gd name="T53" fmla="*/ 262 h 553"/>
                <a:gd name="T54" fmla="*/ 144 w 278"/>
                <a:gd name="T55" fmla="*/ 285 h 553"/>
                <a:gd name="T56" fmla="*/ 135 w 278"/>
                <a:gd name="T57" fmla="*/ 313 h 553"/>
                <a:gd name="T58" fmla="*/ 138 w 278"/>
                <a:gd name="T59" fmla="*/ 334 h 553"/>
                <a:gd name="T60" fmla="*/ 144 w 278"/>
                <a:gd name="T61" fmla="*/ 354 h 553"/>
                <a:gd name="T62" fmla="*/ 167 w 278"/>
                <a:gd name="T63" fmla="*/ 371 h 553"/>
                <a:gd name="T64" fmla="*/ 167 w 278"/>
                <a:gd name="T65" fmla="*/ 404 h 553"/>
                <a:gd name="T66" fmla="*/ 144 w 278"/>
                <a:gd name="T67" fmla="*/ 399 h 553"/>
                <a:gd name="T68" fmla="*/ 120 w 278"/>
                <a:gd name="T69" fmla="*/ 402 h 553"/>
                <a:gd name="T70" fmla="*/ 138 w 278"/>
                <a:gd name="T71" fmla="*/ 405 h 553"/>
                <a:gd name="T72" fmla="*/ 169 w 278"/>
                <a:gd name="T73" fmla="*/ 413 h 553"/>
                <a:gd name="T74" fmla="*/ 155 w 278"/>
                <a:gd name="T75" fmla="*/ 419 h 553"/>
                <a:gd name="T76" fmla="*/ 139 w 278"/>
                <a:gd name="T77" fmla="*/ 433 h 553"/>
                <a:gd name="T78" fmla="*/ 130 w 278"/>
                <a:gd name="T79" fmla="*/ 444 h 553"/>
                <a:gd name="T80" fmla="*/ 132 w 278"/>
                <a:gd name="T81" fmla="*/ 465 h 553"/>
                <a:gd name="T82" fmla="*/ 133 w 278"/>
                <a:gd name="T83" fmla="*/ 495 h 553"/>
                <a:gd name="T84" fmla="*/ 110 w 278"/>
                <a:gd name="T85" fmla="*/ 524 h 553"/>
                <a:gd name="T86" fmla="*/ 83 w 278"/>
                <a:gd name="T87" fmla="*/ 541 h 553"/>
                <a:gd name="T88" fmla="*/ 50 w 278"/>
                <a:gd name="T89" fmla="*/ 545 h 553"/>
                <a:gd name="T90" fmla="*/ 50 w 278"/>
                <a:gd name="T91" fmla="*/ 515 h 553"/>
                <a:gd name="T92" fmla="*/ 23 w 278"/>
                <a:gd name="T93" fmla="*/ 486 h 553"/>
                <a:gd name="T94" fmla="*/ 11 w 278"/>
                <a:gd name="T95" fmla="*/ 459 h 553"/>
                <a:gd name="T96" fmla="*/ 11 w 278"/>
                <a:gd name="T97" fmla="*/ 448 h 553"/>
                <a:gd name="T98" fmla="*/ 0 w 278"/>
                <a:gd name="T99" fmla="*/ 435 h 553"/>
                <a:gd name="T100" fmla="*/ 167 w 278"/>
                <a:gd name="T101" fmla="*/ 407 h 553"/>
                <a:gd name="T102" fmla="*/ 167 w 278"/>
                <a:gd name="T103" fmla="*/ 407 h 553"/>
                <a:gd name="T104" fmla="*/ 11 w 278"/>
                <a:gd name="T105" fmla="*/ 456 h 553"/>
                <a:gd name="T106" fmla="*/ 196 w 278"/>
                <a:gd name="T107" fmla="*/ 441 h 553"/>
                <a:gd name="T108" fmla="*/ 196 w 278"/>
                <a:gd name="T109" fmla="*/ 465 h 553"/>
                <a:gd name="T110" fmla="*/ 195 w 278"/>
                <a:gd name="T111" fmla="*/ 463 h 553"/>
                <a:gd name="T112" fmla="*/ 189 w 278"/>
                <a:gd name="T113" fmla="*/ 487 h 553"/>
                <a:gd name="T114" fmla="*/ 195 w 278"/>
                <a:gd name="T115" fmla="*/ 466 h 553"/>
                <a:gd name="T116" fmla="*/ 173 w 278"/>
                <a:gd name="T117" fmla="*/ 483 h 553"/>
                <a:gd name="T118" fmla="*/ 175 w 278"/>
                <a:gd name="T119" fmla="*/ 502 h 553"/>
                <a:gd name="T120" fmla="*/ 138 w 278"/>
                <a:gd name="T121" fmla="*/ 520 h 553"/>
                <a:gd name="T122" fmla="*/ 141 w 278"/>
                <a:gd name="T123" fmla="*/ 495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8" h="553">
                  <a:moveTo>
                    <a:pt x="4" y="422"/>
                  </a:moveTo>
                  <a:lnTo>
                    <a:pt x="8" y="424"/>
                  </a:lnTo>
                  <a:lnTo>
                    <a:pt x="11" y="428"/>
                  </a:lnTo>
                  <a:lnTo>
                    <a:pt x="14" y="424"/>
                  </a:lnTo>
                  <a:lnTo>
                    <a:pt x="14" y="410"/>
                  </a:lnTo>
                  <a:lnTo>
                    <a:pt x="10" y="402"/>
                  </a:lnTo>
                  <a:lnTo>
                    <a:pt x="11" y="399"/>
                  </a:lnTo>
                  <a:lnTo>
                    <a:pt x="15" y="396"/>
                  </a:lnTo>
                  <a:lnTo>
                    <a:pt x="11" y="391"/>
                  </a:lnTo>
                  <a:lnTo>
                    <a:pt x="14" y="389"/>
                  </a:lnTo>
                  <a:lnTo>
                    <a:pt x="23" y="387"/>
                  </a:lnTo>
                  <a:lnTo>
                    <a:pt x="25" y="383"/>
                  </a:lnTo>
                  <a:lnTo>
                    <a:pt x="25" y="380"/>
                  </a:lnTo>
                  <a:lnTo>
                    <a:pt x="29" y="371"/>
                  </a:lnTo>
                  <a:lnTo>
                    <a:pt x="25" y="366"/>
                  </a:lnTo>
                  <a:lnTo>
                    <a:pt x="23" y="355"/>
                  </a:lnTo>
                  <a:lnTo>
                    <a:pt x="17" y="346"/>
                  </a:lnTo>
                  <a:lnTo>
                    <a:pt x="17" y="343"/>
                  </a:lnTo>
                  <a:lnTo>
                    <a:pt x="31" y="338"/>
                  </a:lnTo>
                  <a:lnTo>
                    <a:pt x="31" y="329"/>
                  </a:lnTo>
                  <a:lnTo>
                    <a:pt x="32" y="326"/>
                  </a:lnTo>
                  <a:lnTo>
                    <a:pt x="23" y="315"/>
                  </a:lnTo>
                  <a:lnTo>
                    <a:pt x="15" y="313"/>
                  </a:lnTo>
                  <a:lnTo>
                    <a:pt x="15" y="304"/>
                  </a:lnTo>
                  <a:lnTo>
                    <a:pt x="17" y="295"/>
                  </a:lnTo>
                  <a:lnTo>
                    <a:pt x="15" y="283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4" y="257"/>
                  </a:lnTo>
                  <a:lnTo>
                    <a:pt x="11" y="244"/>
                  </a:lnTo>
                  <a:lnTo>
                    <a:pt x="14" y="234"/>
                  </a:lnTo>
                  <a:lnTo>
                    <a:pt x="20" y="225"/>
                  </a:lnTo>
                  <a:lnTo>
                    <a:pt x="25" y="220"/>
                  </a:lnTo>
                  <a:lnTo>
                    <a:pt x="32" y="222"/>
                  </a:lnTo>
                  <a:lnTo>
                    <a:pt x="43" y="222"/>
                  </a:lnTo>
                  <a:lnTo>
                    <a:pt x="46" y="217"/>
                  </a:lnTo>
                  <a:lnTo>
                    <a:pt x="46" y="208"/>
                  </a:lnTo>
                  <a:lnTo>
                    <a:pt x="44" y="203"/>
                  </a:lnTo>
                  <a:lnTo>
                    <a:pt x="44" y="198"/>
                  </a:lnTo>
                  <a:lnTo>
                    <a:pt x="54" y="178"/>
                  </a:lnTo>
                  <a:lnTo>
                    <a:pt x="54" y="167"/>
                  </a:lnTo>
                  <a:lnTo>
                    <a:pt x="55" y="155"/>
                  </a:lnTo>
                  <a:lnTo>
                    <a:pt x="60" y="150"/>
                  </a:lnTo>
                  <a:lnTo>
                    <a:pt x="60" y="142"/>
                  </a:lnTo>
                  <a:lnTo>
                    <a:pt x="55" y="139"/>
                  </a:lnTo>
                  <a:lnTo>
                    <a:pt x="55" y="133"/>
                  </a:lnTo>
                  <a:lnTo>
                    <a:pt x="63" y="130"/>
                  </a:lnTo>
                  <a:lnTo>
                    <a:pt x="72" y="127"/>
                  </a:lnTo>
                  <a:lnTo>
                    <a:pt x="78" y="124"/>
                  </a:lnTo>
                  <a:lnTo>
                    <a:pt x="78" y="118"/>
                  </a:lnTo>
                  <a:lnTo>
                    <a:pt x="86" y="108"/>
                  </a:lnTo>
                  <a:lnTo>
                    <a:pt x="93" y="99"/>
                  </a:lnTo>
                  <a:lnTo>
                    <a:pt x="95" y="93"/>
                  </a:lnTo>
                  <a:lnTo>
                    <a:pt x="93" y="85"/>
                  </a:lnTo>
                  <a:lnTo>
                    <a:pt x="90" y="82"/>
                  </a:lnTo>
                  <a:lnTo>
                    <a:pt x="90" y="70"/>
                  </a:lnTo>
                  <a:lnTo>
                    <a:pt x="93" y="69"/>
                  </a:lnTo>
                  <a:lnTo>
                    <a:pt x="98" y="65"/>
                  </a:lnTo>
                  <a:lnTo>
                    <a:pt x="98" y="60"/>
                  </a:lnTo>
                  <a:lnTo>
                    <a:pt x="101" y="57"/>
                  </a:lnTo>
                  <a:lnTo>
                    <a:pt x="106" y="49"/>
                  </a:lnTo>
                  <a:lnTo>
                    <a:pt x="112" y="44"/>
                  </a:lnTo>
                  <a:lnTo>
                    <a:pt x="118" y="48"/>
                  </a:lnTo>
                  <a:lnTo>
                    <a:pt x="120" y="49"/>
                  </a:lnTo>
                  <a:lnTo>
                    <a:pt x="124" y="49"/>
                  </a:lnTo>
                  <a:lnTo>
                    <a:pt x="127" y="46"/>
                  </a:lnTo>
                  <a:lnTo>
                    <a:pt x="126" y="41"/>
                  </a:lnTo>
                  <a:lnTo>
                    <a:pt x="127" y="38"/>
                  </a:lnTo>
                  <a:lnTo>
                    <a:pt x="127" y="35"/>
                  </a:lnTo>
                  <a:lnTo>
                    <a:pt x="130" y="33"/>
                  </a:lnTo>
                  <a:lnTo>
                    <a:pt x="126" y="27"/>
                  </a:lnTo>
                  <a:lnTo>
                    <a:pt x="127" y="26"/>
                  </a:lnTo>
                  <a:lnTo>
                    <a:pt x="135" y="26"/>
                  </a:lnTo>
                  <a:lnTo>
                    <a:pt x="144" y="21"/>
                  </a:lnTo>
                  <a:lnTo>
                    <a:pt x="150" y="26"/>
                  </a:lnTo>
                  <a:lnTo>
                    <a:pt x="156" y="27"/>
                  </a:lnTo>
                  <a:lnTo>
                    <a:pt x="164" y="29"/>
                  </a:lnTo>
                  <a:lnTo>
                    <a:pt x="167" y="32"/>
                  </a:lnTo>
                  <a:lnTo>
                    <a:pt x="169" y="32"/>
                  </a:lnTo>
                  <a:lnTo>
                    <a:pt x="172" y="32"/>
                  </a:lnTo>
                  <a:lnTo>
                    <a:pt x="172" y="26"/>
                  </a:lnTo>
                  <a:lnTo>
                    <a:pt x="169" y="21"/>
                  </a:lnTo>
                  <a:lnTo>
                    <a:pt x="169" y="15"/>
                  </a:lnTo>
                  <a:lnTo>
                    <a:pt x="175" y="12"/>
                  </a:lnTo>
                  <a:lnTo>
                    <a:pt x="173" y="7"/>
                  </a:lnTo>
                  <a:lnTo>
                    <a:pt x="169" y="5"/>
                  </a:lnTo>
                  <a:lnTo>
                    <a:pt x="167" y="0"/>
                  </a:lnTo>
                  <a:lnTo>
                    <a:pt x="175" y="2"/>
                  </a:lnTo>
                  <a:lnTo>
                    <a:pt x="181" y="2"/>
                  </a:lnTo>
                  <a:lnTo>
                    <a:pt x="183" y="0"/>
                  </a:lnTo>
                  <a:lnTo>
                    <a:pt x="187" y="5"/>
                  </a:lnTo>
                  <a:lnTo>
                    <a:pt x="195" y="7"/>
                  </a:lnTo>
                  <a:lnTo>
                    <a:pt x="204" y="18"/>
                  </a:lnTo>
                  <a:lnTo>
                    <a:pt x="210" y="21"/>
                  </a:lnTo>
                  <a:lnTo>
                    <a:pt x="222" y="24"/>
                  </a:lnTo>
                  <a:lnTo>
                    <a:pt x="227" y="26"/>
                  </a:lnTo>
                  <a:lnTo>
                    <a:pt x="230" y="27"/>
                  </a:lnTo>
                  <a:lnTo>
                    <a:pt x="236" y="32"/>
                  </a:lnTo>
                  <a:lnTo>
                    <a:pt x="238" y="37"/>
                  </a:lnTo>
                  <a:lnTo>
                    <a:pt x="239" y="37"/>
                  </a:lnTo>
                  <a:lnTo>
                    <a:pt x="242" y="37"/>
                  </a:lnTo>
                  <a:lnTo>
                    <a:pt x="248" y="43"/>
                  </a:lnTo>
                  <a:lnTo>
                    <a:pt x="251" y="43"/>
                  </a:lnTo>
                  <a:lnTo>
                    <a:pt x="253" y="46"/>
                  </a:lnTo>
                  <a:lnTo>
                    <a:pt x="251" y="49"/>
                  </a:lnTo>
                  <a:lnTo>
                    <a:pt x="253" y="57"/>
                  </a:lnTo>
                  <a:lnTo>
                    <a:pt x="251" y="63"/>
                  </a:lnTo>
                  <a:lnTo>
                    <a:pt x="251" y="69"/>
                  </a:lnTo>
                  <a:lnTo>
                    <a:pt x="259" y="69"/>
                  </a:lnTo>
                  <a:lnTo>
                    <a:pt x="261" y="74"/>
                  </a:lnTo>
                  <a:lnTo>
                    <a:pt x="257" y="77"/>
                  </a:lnTo>
                  <a:lnTo>
                    <a:pt x="259" y="85"/>
                  </a:lnTo>
                  <a:lnTo>
                    <a:pt x="261" y="88"/>
                  </a:lnTo>
                  <a:lnTo>
                    <a:pt x="262" y="99"/>
                  </a:lnTo>
                  <a:lnTo>
                    <a:pt x="262" y="102"/>
                  </a:lnTo>
                  <a:lnTo>
                    <a:pt x="262" y="105"/>
                  </a:lnTo>
                  <a:lnTo>
                    <a:pt x="262" y="114"/>
                  </a:lnTo>
                  <a:lnTo>
                    <a:pt x="261" y="118"/>
                  </a:lnTo>
                  <a:lnTo>
                    <a:pt x="264" y="125"/>
                  </a:lnTo>
                  <a:lnTo>
                    <a:pt x="268" y="125"/>
                  </a:lnTo>
                  <a:lnTo>
                    <a:pt x="274" y="135"/>
                  </a:lnTo>
                  <a:lnTo>
                    <a:pt x="278" y="139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3" y="146"/>
                  </a:lnTo>
                  <a:lnTo>
                    <a:pt x="268" y="146"/>
                  </a:lnTo>
                  <a:lnTo>
                    <a:pt x="264" y="142"/>
                  </a:lnTo>
                  <a:lnTo>
                    <a:pt x="259" y="146"/>
                  </a:lnTo>
                  <a:lnTo>
                    <a:pt x="253" y="144"/>
                  </a:lnTo>
                  <a:lnTo>
                    <a:pt x="251" y="148"/>
                  </a:lnTo>
                  <a:lnTo>
                    <a:pt x="248" y="146"/>
                  </a:lnTo>
                  <a:lnTo>
                    <a:pt x="245" y="142"/>
                  </a:lnTo>
                  <a:lnTo>
                    <a:pt x="239" y="146"/>
                  </a:lnTo>
                  <a:lnTo>
                    <a:pt x="236" y="141"/>
                  </a:lnTo>
                  <a:lnTo>
                    <a:pt x="234" y="144"/>
                  </a:lnTo>
                  <a:lnTo>
                    <a:pt x="234" y="148"/>
                  </a:lnTo>
                  <a:lnTo>
                    <a:pt x="233" y="152"/>
                  </a:lnTo>
                  <a:lnTo>
                    <a:pt x="227" y="153"/>
                  </a:lnTo>
                  <a:lnTo>
                    <a:pt x="224" y="150"/>
                  </a:lnTo>
                  <a:lnTo>
                    <a:pt x="221" y="150"/>
                  </a:lnTo>
                  <a:lnTo>
                    <a:pt x="224" y="155"/>
                  </a:lnTo>
                  <a:lnTo>
                    <a:pt x="228" y="158"/>
                  </a:lnTo>
                  <a:lnTo>
                    <a:pt x="224" y="161"/>
                  </a:lnTo>
                  <a:lnTo>
                    <a:pt x="219" y="161"/>
                  </a:lnTo>
                  <a:lnTo>
                    <a:pt x="215" y="163"/>
                  </a:lnTo>
                  <a:lnTo>
                    <a:pt x="221" y="164"/>
                  </a:lnTo>
                  <a:lnTo>
                    <a:pt x="219" y="169"/>
                  </a:lnTo>
                  <a:lnTo>
                    <a:pt x="216" y="169"/>
                  </a:lnTo>
                  <a:lnTo>
                    <a:pt x="216" y="167"/>
                  </a:lnTo>
                  <a:lnTo>
                    <a:pt x="213" y="164"/>
                  </a:lnTo>
                  <a:lnTo>
                    <a:pt x="210" y="167"/>
                  </a:lnTo>
                  <a:lnTo>
                    <a:pt x="213" y="170"/>
                  </a:lnTo>
                  <a:lnTo>
                    <a:pt x="216" y="170"/>
                  </a:lnTo>
                  <a:lnTo>
                    <a:pt x="219" y="175"/>
                  </a:lnTo>
                  <a:lnTo>
                    <a:pt x="219" y="176"/>
                  </a:lnTo>
                  <a:lnTo>
                    <a:pt x="215" y="185"/>
                  </a:lnTo>
                  <a:lnTo>
                    <a:pt x="215" y="189"/>
                  </a:lnTo>
                  <a:lnTo>
                    <a:pt x="209" y="189"/>
                  </a:lnTo>
                  <a:lnTo>
                    <a:pt x="215" y="192"/>
                  </a:lnTo>
                  <a:lnTo>
                    <a:pt x="219" y="194"/>
                  </a:lnTo>
                  <a:lnTo>
                    <a:pt x="221" y="197"/>
                  </a:lnTo>
                  <a:lnTo>
                    <a:pt x="216" y="198"/>
                  </a:lnTo>
                  <a:lnTo>
                    <a:pt x="221" y="202"/>
                  </a:lnTo>
                  <a:lnTo>
                    <a:pt x="224" y="202"/>
                  </a:lnTo>
                  <a:lnTo>
                    <a:pt x="219" y="208"/>
                  </a:lnTo>
                  <a:lnTo>
                    <a:pt x="215" y="208"/>
                  </a:lnTo>
                  <a:lnTo>
                    <a:pt x="210" y="213"/>
                  </a:lnTo>
                  <a:lnTo>
                    <a:pt x="213" y="220"/>
                  </a:lnTo>
                  <a:lnTo>
                    <a:pt x="208" y="228"/>
                  </a:lnTo>
                  <a:lnTo>
                    <a:pt x="204" y="228"/>
                  </a:lnTo>
                  <a:lnTo>
                    <a:pt x="198" y="234"/>
                  </a:lnTo>
                  <a:lnTo>
                    <a:pt x="195" y="229"/>
                  </a:lnTo>
                  <a:lnTo>
                    <a:pt x="195" y="234"/>
                  </a:lnTo>
                  <a:lnTo>
                    <a:pt x="196" y="239"/>
                  </a:lnTo>
                  <a:lnTo>
                    <a:pt x="189" y="242"/>
                  </a:lnTo>
                  <a:lnTo>
                    <a:pt x="187" y="246"/>
                  </a:lnTo>
                  <a:lnTo>
                    <a:pt x="183" y="246"/>
                  </a:lnTo>
                  <a:lnTo>
                    <a:pt x="183" y="242"/>
                  </a:lnTo>
                  <a:lnTo>
                    <a:pt x="179" y="242"/>
                  </a:lnTo>
                  <a:lnTo>
                    <a:pt x="175" y="248"/>
                  </a:lnTo>
                  <a:lnTo>
                    <a:pt x="175" y="253"/>
                  </a:lnTo>
                  <a:lnTo>
                    <a:pt x="172" y="256"/>
                  </a:lnTo>
                  <a:lnTo>
                    <a:pt x="169" y="253"/>
                  </a:lnTo>
                  <a:lnTo>
                    <a:pt x="167" y="253"/>
                  </a:lnTo>
                  <a:lnTo>
                    <a:pt x="166" y="259"/>
                  </a:lnTo>
                  <a:lnTo>
                    <a:pt x="164" y="259"/>
                  </a:lnTo>
                  <a:lnTo>
                    <a:pt x="161" y="256"/>
                  </a:lnTo>
                  <a:lnTo>
                    <a:pt x="158" y="259"/>
                  </a:lnTo>
                  <a:lnTo>
                    <a:pt x="156" y="262"/>
                  </a:lnTo>
                  <a:lnTo>
                    <a:pt x="160" y="265"/>
                  </a:lnTo>
                  <a:lnTo>
                    <a:pt x="160" y="267"/>
                  </a:lnTo>
                  <a:lnTo>
                    <a:pt x="153" y="273"/>
                  </a:lnTo>
                  <a:lnTo>
                    <a:pt x="147" y="273"/>
                  </a:lnTo>
                  <a:lnTo>
                    <a:pt x="144" y="274"/>
                  </a:lnTo>
                  <a:lnTo>
                    <a:pt x="147" y="279"/>
                  </a:lnTo>
                  <a:lnTo>
                    <a:pt x="144" y="285"/>
                  </a:lnTo>
                  <a:lnTo>
                    <a:pt x="135" y="285"/>
                  </a:lnTo>
                  <a:lnTo>
                    <a:pt x="132" y="285"/>
                  </a:lnTo>
                  <a:lnTo>
                    <a:pt x="138" y="291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306"/>
                  </a:lnTo>
                  <a:lnTo>
                    <a:pt x="135" y="313"/>
                  </a:lnTo>
                  <a:lnTo>
                    <a:pt x="139" y="317"/>
                  </a:lnTo>
                  <a:lnTo>
                    <a:pt x="139" y="320"/>
                  </a:lnTo>
                  <a:lnTo>
                    <a:pt x="135" y="318"/>
                  </a:lnTo>
                  <a:lnTo>
                    <a:pt x="135" y="320"/>
                  </a:lnTo>
                  <a:lnTo>
                    <a:pt x="138" y="326"/>
                  </a:lnTo>
                  <a:lnTo>
                    <a:pt x="132" y="332"/>
                  </a:lnTo>
                  <a:lnTo>
                    <a:pt x="138" y="334"/>
                  </a:lnTo>
                  <a:lnTo>
                    <a:pt x="138" y="335"/>
                  </a:lnTo>
                  <a:lnTo>
                    <a:pt x="133" y="337"/>
                  </a:lnTo>
                  <a:lnTo>
                    <a:pt x="138" y="343"/>
                  </a:lnTo>
                  <a:lnTo>
                    <a:pt x="133" y="346"/>
                  </a:lnTo>
                  <a:lnTo>
                    <a:pt x="135" y="350"/>
                  </a:lnTo>
                  <a:lnTo>
                    <a:pt x="139" y="354"/>
                  </a:lnTo>
                  <a:lnTo>
                    <a:pt x="144" y="354"/>
                  </a:lnTo>
                  <a:lnTo>
                    <a:pt x="144" y="359"/>
                  </a:lnTo>
                  <a:lnTo>
                    <a:pt x="144" y="358"/>
                  </a:lnTo>
                  <a:lnTo>
                    <a:pt x="149" y="361"/>
                  </a:lnTo>
                  <a:lnTo>
                    <a:pt x="153" y="358"/>
                  </a:lnTo>
                  <a:lnTo>
                    <a:pt x="156" y="359"/>
                  </a:lnTo>
                  <a:lnTo>
                    <a:pt x="158" y="363"/>
                  </a:lnTo>
                  <a:lnTo>
                    <a:pt x="167" y="371"/>
                  </a:lnTo>
                  <a:lnTo>
                    <a:pt x="166" y="372"/>
                  </a:lnTo>
                  <a:lnTo>
                    <a:pt x="175" y="377"/>
                  </a:lnTo>
                  <a:lnTo>
                    <a:pt x="175" y="382"/>
                  </a:lnTo>
                  <a:lnTo>
                    <a:pt x="181" y="385"/>
                  </a:lnTo>
                  <a:lnTo>
                    <a:pt x="178" y="393"/>
                  </a:lnTo>
                  <a:lnTo>
                    <a:pt x="169" y="399"/>
                  </a:lnTo>
                  <a:lnTo>
                    <a:pt x="167" y="404"/>
                  </a:lnTo>
                  <a:lnTo>
                    <a:pt x="160" y="405"/>
                  </a:lnTo>
                  <a:lnTo>
                    <a:pt x="156" y="404"/>
                  </a:lnTo>
                  <a:lnTo>
                    <a:pt x="156" y="399"/>
                  </a:lnTo>
                  <a:lnTo>
                    <a:pt x="150" y="399"/>
                  </a:lnTo>
                  <a:lnTo>
                    <a:pt x="147" y="396"/>
                  </a:lnTo>
                  <a:lnTo>
                    <a:pt x="147" y="399"/>
                  </a:lnTo>
                  <a:lnTo>
                    <a:pt x="144" y="399"/>
                  </a:lnTo>
                  <a:lnTo>
                    <a:pt x="141" y="399"/>
                  </a:lnTo>
                  <a:lnTo>
                    <a:pt x="138" y="396"/>
                  </a:lnTo>
                  <a:lnTo>
                    <a:pt x="135" y="399"/>
                  </a:lnTo>
                  <a:lnTo>
                    <a:pt x="130" y="399"/>
                  </a:lnTo>
                  <a:lnTo>
                    <a:pt x="127" y="399"/>
                  </a:lnTo>
                  <a:lnTo>
                    <a:pt x="124" y="404"/>
                  </a:lnTo>
                  <a:lnTo>
                    <a:pt x="120" y="402"/>
                  </a:lnTo>
                  <a:lnTo>
                    <a:pt x="116" y="402"/>
                  </a:lnTo>
                  <a:lnTo>
                    <a:pt x="116" y="404"/>
                  </a:lnTo>
                  <a:lnTo>
                    <a:pt x="124" y="405"/>
                  </a:lnTo>
                  <a:lnTo>
                    <a:pt x="126" y="407"/>
                  </a:lnTo>
                  <a:lnTo>
                    <a:pt x="127" y="404"/>
                  </a:lnTo>
                  <a:lnTo>
                    <a:pt x="133" y="404"/>
                  </a:lnTo>
                  <a:lnTo>
                    <a:pt x="138" y="405"/>
                  </a:lnTo>
                  <a:lnTo>
                    <a:pt x="144" y="407"/>
                  </a:lnTo>
                  <a:lnTo>
                    <a:pt x="147" y="411"/>
                  </a:lnTo>
                  <a:lnTo>
                    <a:pt x="153" y="410"/>
                  </a:lnTo>
                  <a:lnTo>
                    <a:pt x="155" y="411"/>
                  </a:lnTo>
                  <a:lnTo>
                    <a:pt x="160" y="407"/>
                  </a:lnTo>
                  <a:lnTo>
                    <a:pt x="166" y="410"/>
                  </a:lnTo>
                  <a:lnTo>
                    <a:pt x="169" y="413"/>
                  </a:lnTo>
                  <a:lnTo>
                    <a:pt x="169" y="416"/>
                  </a:lnTo>
                  <a:lnTo>
                    <a:pt x="166" y="421"/>
                  </a:lnTo>
                  <a:lnTo>
                    <a:pt x="161" y="421"/>
                  </a:lnTo>
                  <a:lnTo>
                    <a:pt x="158" y="426"/>
                  </a:lnTo>
                  <a:lnTo>
                    <a:pt x="155" y="426"/>
                  </a:lnTo>
                  <a:lnTo>
                    <a:pt x="156" y="422"/>
                  </a:lnTo>
                  <a:lnTo>
                    <a:pt x="155" y="419"/>
                  </a:lnTo>
                  <a:lnTo>
                    <a:pt x="150" y="422"/>
                  </a:lnTo>
                  <a:lnTo>
                    <a:pt x="153" y="424"/>
                  </a:lnTo>
                  <a:lnTo>
                    <a:pt x="149" y="426"/>
                  </a:lnTo>
                  <a:lnTo>
                    <a:pt x="144" y="430"/>
                  </a:lnTo>
                  <a:lnTo>
                    <a:pt x="144" y="433"/>
                  </a:lnTo>
                  <a:lnTo>
                    <a:pt x="139" y="432"/>
                  </a:lnTo>
                  <a:lnTo>
                    <a:pt x="139" y="433"/>
                  </a:lnTo>
                  <a:lnTo>
                    <a:pt x="138" y="438"/>
                  </a:lnTo>
                  <a:lnTo>
                    <a:pt x="135" y="435"/>
                  </a:lnTo>
                  <a:lnTo>
                    <a:pt x="133" y="435"/>
                  </a:lnTo>
                  <a:lnTo>
                    <a:pt x="130" y="439"/>
                  </a:lnTo>
                  <a:lnTo>
                    <a:pt x="133" y="439"/>
                  </a:lnTo>
                  <a:lnTo>
                    <a:pt x="139" y="444"/>
                  </a:lnTo>
                  <a:lnTo>
                    <a:pt x="130" y="444"/>
                  </a:lnTo>
                  <a:lnTo>
                    <a:pt x="138" y="447"/>
                  </a:lnTo>
                  <a:lnTo>
                    <a:pt x="138" y="450"/>
                  </a:lnTo>
                  <a:lnTo>
                    <a:pt x="135" y="456"/>
                  </a:lnTo>
                  <a:lnTo>
                    <a:pt x="141" y="461"/>
                  </a:lnTo>
                  <a:lnTo>
                    <a:pt x="135" y="461"/>
                  </a:lnTo>
                  <a:lnTo>
                    <a:pt x="127" y="459"/>
                  </a:lnTo>
                  <a:lnTo>
                    <a:pt x="132" y="465"/>
                  </a:lnTo>
                  <a:lnTo>
                    <a:pt x="130" y="469"/>
                  </a:lnTo>
                  <a:lnTo>
                    <a:pt x="135" y="472"/>
                  </a:lnTo>
                  <a:lnTo>
                    <a:pt x="130" y="475"/>
                  </a:lnTo>
                  <a:lnTo>
                    <a:pt x="135" y="481"/>
                  </a:lnTo>
                  <a:lnTo>
                    <a:pt x="130" y="486"/>
                  </a:lnTo>
                  <a:lnTo>
                    <a:pt x="130" y="491"/>
                  </a:lnTo>
                  <a:lnTo>
                    <a:pt x="133" y="495"/>
                  </a:lnTo>
                  <a:lnTo>
                    <a:pt x="132" y="498"/>
                  </a:lnTo>
                  <a:lnTo>
                    <a:pt x="132" y="509"/>
                  </a:lnTo>
                  <a:lnTo>
                    <a:pt x="126" y="514"/>
                  </a:lnTo>
                  <a:lnTo>
                    <a:pt x="124" y="524"/>
                  </a:lnTo>
                  <a:lnTo>
                    <a:pt x="118" y="530"/>
                  </a:lnTo>
                  <a:lnTo>
                    <a:pt x="115" y="526"/>
                  </a:lnTo>
                  <a:lnTo>
                    <a:pt x="110" y="524"/>
                  </a:lnTo>
                  <a:lnTo>
                    <a:pt x="104" y="528"/>
                  </a:lnTo>
                  <a:lnTo>
                    <a:pt x="93" y="526"/>
                  </a:lnTo>
                  <a:lnTo>
                    <a:pt x="93" y="523"/>
                  </a:lnTo>
                  <a:lnTo>
                    <a:pt x="92" y="530"/>
                  </a:lnTo>
                  <a:lnTo>
                    <a:pt x="83" y="531"/>
                  </a:lnTo>
                  <a:lnTo>
                    <a:pt x="78" y="539"/>
                  </a:lnTo>
                  <a:lnTo>
                    <a:pt x="83" y="541"/>
                  </a:lnTo>
                  <a:lnTo>
                    <a:pt x="83" y="547"/>
                  </a:lnTo>
                  <a:lnTo>
                    <a:pt x="77" y="550"/>
                  </a:lnTo>
                  <a:lnTo>
                    <a:pt x="69" y="548"/>
                  </a:lnTo>
                  <a:lnTo>
                    <a:pt x="55" y="553"/>
                  </a:lnTo>
                  <a:lnTo>
                    <a:pt x="50" y="553"/>
                  </a:lnTo>
                  <a:lnTo>
                    <a:pt x="49" y="548"/>
                  </a:lnTo>
                  <a:lnTo>
                    <a:pt x="50" y="545"/>
                  </a:lnTo>
                  <a:lnTo>
                    <a:pt x="49" y="533"/>
                  </a:lnTo>
                  <a:lnTo>
                    <a:pt x="43" y="531"/>
                  </a:lnTo>
                  <a:lnTo>
                    <a:pt x="43" y="526"/>
                  </a:lnTo>
                  <a:lnTo>
                    <a:pt x="38" y="524"/>
                  </a:lnTo>
                  <a:lnTo>
                    <a:pt x="38" y="523"/>
                  </a:lnTo>
                  <a:lnTo>
                    <a:pt x="46" y="523"/>
                  </a:lnTo>
                  <a:lnTo>
                    <a:pt x="50" y="515"/>
                  </a:lnTo>
                  <a:lnTo>
                    <a:pt x="49" y="509"/>
                  </a:lnTo>
                  <a:lnTo>
                    <a:pt x="43" y="511"/>
                  </a:lnTo>
                  <a:lnTo>
                    <a:pt x="37" y="508"/>
                  </a:lnTo>
                  <a:lnTo>
                    <a:pt x="35" y="502"/>
                  </a:lnTo>
                  <a:lnTo>
                    <a:pt x="29" y="500"/>
                  </a:lnTo>
                  <a:lnTo>
                    <a:pt x="29" y="495"/>
                  </a:lnTo>
                  <a:lnTo>
                    <a:pt x="23" y="486"/>
                  </a:lnTo>
                  <a:lnTo>
                    <a:pt x="21" y="483"/>
                  </a:lnTo>
                  <a:lnTo>
                    <a:pt x="20" y="475"/>
                  </a:lnTo>
                  <a:lnTo>
                    <a:pt x="14" y="475"/>
                  </a:lnTo>
                  <a:lnTo>
                    <a:pt x="11" y="472"/>
                  </a:lnTo>
                  <a:lnTo>
                    <a:pt x="14" y="469"/>
                  </a:lnTo>
                  <a:lnTo>
                    <a:pt x="14" y="465"/>
                  </a:lnTo>
                  <a:lnTo>
                    <a:pt x="11" y="459"/>
                  </a:lnTo>
                  <a:lnTo>
                    <a:pt x="14" y="456"/>
                  </a:lnTo>
                  <a:lnTo>
                    <a:pt x="20" y="452"/>
                  </a:lnTo>
                  <a:lnTo>
                    <a:pt x="17" y="450"/>
                  </a:lnTo>
                  <a:lnTo>
                    <a:pt x="14" y="448"/>
                  </a:lnTo>
                  <a:lnTo>
                    <a:pt x="14" y="444"/>
                  </a:lnTo>
                  <a:lnTo>
                    <a:pt x="11" y="444"/>
                  </a:lnTo>
                  <a:lnTo>
                    <a:pt x="11" y="448"/>
                  </a:lnTo>
                  <a:lnTo>
                    <a:pt x="15" y="452"/>
                  </a:lnTo>
                  <a:lnTo>
                    <a:pt x="8" y="453"/>
                  </a:lnTo>
                  <a:lnTo>
                    <a:pt x="10" y="450"/>
                  </a:lnTo>
                  <a:lnTo>
                    <a:pt x="8" y="448"/>
                  </a:lnTo>
                  <a:lnTo>
                    <a:pt x="4" y="447"/>
                  </a:lnTo>
                  <a:lnTo>
                    <a:pt x="4" y="438"/>
                  </a:lnTo>
                  <a:lnTo>
                    <a:pt x="0" y="435"/>
                  </a:lnTo>
                  <a:lnTo>
                    <a:pt x="0" y="424"/>
                  </a:lnTo>
                  <a:lnTo>
                    <a:pt x="4" y="422"/>
                  </a:lnTo>
                  <a:lnTo>
                    <a:pt x="4" y="422"/>
                  </a:lnTo>
                  <a:lnTo>
                    <a:pt x="4" y="422"/>
                  </a:lnTo>
                  <a:lnTo>
                    <a:pt x="4" y="422"/>
                  </a:lnTo>
                  <a:lnTo>
                    <a:pt x="4" y="422"/>
                  </a:lnTo>
                  <a:close/>
                  <a:moveTo>
                    <a:pt x="167" y="407"/>
                  </a:moveTo>
                  <a:lnTo>
                    <a:pt x="172" y="413"/>
                  </a:lnTo>
                  <a:lnTo>
                    <a:pt x="173" y="416"/>
                  </a:lnTo>
                  <a:lnTo>
                    <a:pt x="173" y="410"/>
                  </a:lnTo>
                  <a:lnTo>
                    <a:pt x="179" y="404"/>
                  </a:lnTo>
                  <a:lnTo>
                    <a:pt x="179" y="399"/>
                  </a:lnTo>
                  <a:lnTo>
                    <a:pt x="173" y="399"/>
                  </a:lnTo>
                  <a:lnTo>
                    <a:pt x="167" y="407"/>
                  </a:lnTo>
                  <a:lnTo>
                    <a:pt x="167" y="407"/>
                  </a:lnTo>
                  <a:lnTo>
                    <a:pt x="167" y="407"/>
                  </a:lnTo>
                  <a:lnTo>
                    <a:pt x="167" y="407"/>
                  </a:lnTo>
                  <a:close/>
                  <a:moveTo>
                    <a:pt x="8" y="456"/>
                  </a:moveTo>
                  <a:lnTo>
                    <a:pt x="8" y="459"/>
                  </a:lnTo>
                  <a:lnTo>
                    <a:pt x="10" y="459"/>
                  </a:lnTo>
                  <a:lnTo>
                    <a:pt x="11" y="456"/>
                  </a:lnTo>
                  <a:lnTo>
                    <a:pt x="8" y="456"/>
                  </a:lnTo>
                  <a:lnTo>
                    <a:pt x="8" y="456"/>
                  </a:lnTo>
                  <a:lnTo>
                    <a:pt x="8" y="456"/>
                  </a:lnTo>
                  <a:lnTo>
                    <a:pt x="8" y="456"/>
                  </a:lnTo>
                  <a:close/>
                  <a:moveTo>
                    <a:pt x="193" y="441"/>
                  </a:moveTo>
                  <a:lnTo>
                    <a:pt x="195" y="444"/>
                  </a:lnTo>
                  <a:lnTo>
                    <a:pt x="196" y="441"/>
                  </a:lnTo>
                  <a:lnTo>
                    <a:pt x="195" y="439"/>
                  </a:lnTo>
                  <a:lnTo>
                    <a:pt x="193" y="441"/>
                  </a:lnTo>
                  <a:lnTo>
                    <a:pt x="193" y="441"/>
                  </a:lnTo>
                  <a:lnTo>
                    <a:pt x="193" y="441"/>
                  </a:lnTo>
                  <a:lnTo>
                    <a:pt x="193" y="441"/>
                  </a:lnTo>
                  <a:close/>
                  <a:moveTo>
                    <a:pt x="195" y="463"/>
                  </a:moveTo>
                  <a:lnTo>
                    <a:pt x="196" y="465"/>
                  </a:lnTo>
                  <a:lnTo>
                    <a:pt x="198" y="463"/>
                  </a:lnTo>
                  <a:lnTo>
                    <a:pt x="204" y="461"/>
                  </a:lnTo>
                  <a:lnTo>
                    <a:pt x="202" y="461"/>
                  </a:lnTo>
                  <a:lnTo>
                    <a:pt x="196" y="461"/>
                  </a:lnTo>
                  <a:lnTo>
                    <a:pt x="195" y="463"/>
                  </a:lnTo>
                  <a:lnTo>
                    <a:pt x="195" y="463"/>
                  </a:lnTo>
                  <a:lnTo>
                    <a:pt x="195" y="463"/>
                  </a:lnTo>
                  <a:lnTo>
                    <a:pt x="195" y="463"/>
                  </a:lnTo>
                  <a:close/>
                  <a:moveTo>
                    <a:pt x="175" y="502"/>
                  </a:moveTo>
                  <a:lnTo>
                    <a:pt x="181" y="500"/>
                  </a:lnTo>
                  <a:lnTo>
                    <a:pt x="183" y="497"/>
                  </a:lnTo>
                  <a:lnTo>
                    <a:pt x="181" y="495"/>
                  </a:lnTo>
                  <a:lnTo>
                    <a:pt x="181" y="492"/>
                  </a:lnTo>
                  <a:lnTo>
                    <a:pt x="189" y="487"/>
                  </a:lnTo>
                  <a:lnTo>
                    <a:pt x="189" y="486"/>
                  </a:lnTo>
                  <a:lnTo>
                    <a:pt x="193" y="480"/>
                  </a:lnTo>
                  <a:lnTo>
                    <a:pt x="193" y="478"/>
                  </a:lnTo>
                  <a:lnTo>
                    <a:pt x="189" y="475"/>
                  </a:lnTo>
                  <a:lnTo>
                    <a:pt x="190" y="470"/>
                  </a:lnTo>
                  <a:lnTo>
                    <a:pt x="190" y="469"/>
                  </a:lnTo>
                  <a:lnTo>
                    <a:pt x="195" y="466"/>
                  </a:lnTo>
                  <a:lnTo>
                    <a:pt x="190" y="465"/>
                  </a:lnTo>
                  <a:lnTo>
                    <a:pt x="187" y="466"/>
                  </a:lnTo>
                  <a:lnTo>
                    <a:pt x="181" y="466"/>
                  </a:lnTo>
                  <a:lnTo>
                    <a:pt x="178" y="470"/>
                  </a:lnTo>
                  <a:lnTo>
                    <a:pt x="175" y="474"/>
                  </a:lnTo>
                  <a:lnTo>
                    <a:pt x="172" y="478"/>
                  </a:lnTo>
                  <a:lnTo>
                    <a:pt x="173" y="483"/>
                  </a:lnTo>
                  <a:lnTo>
                    <a:pt x="172" y="486"/>
                  </a:lnTo>
                  <a:lnTo>
                    <a:pt x="178" y="492"/>
                  </a:lnTo>
                  <a:lnTo>
                    <a:pt x="179" y="491"/>
                  </a:lnTo>
                  <a:lnTo>
                    <a:pt x="178" y="497"/>
                  </a:lnTo>
                  <a:lnTo>
                    <a:pt x="175" y="498"/>
                  </a:lnTo>
                  <a:lnTo>
                    <a:pt x="175" y="502"/>
                  </a:lnTo>
                  <a:lnTo>
                    <a:pt x="175" y="502"/>
                  </a:lnTo>
                  <a:lnTo>
                    <a:pt x="175" y="502"/>
                  </a:lnTo>
                  <a:lnTo>
                    <a:pt x="175" y="502"/>
                  </a:lnTo>
                  <a:close/>
                  <a:moveTo>
                    <a:pt x="133" y="515"/>
                  </a:moveTo>
                  <a:lnTo>
                    <a:pt x="133" y="520"/>
                  </a:lnTo>
                  <a:lnTo>
                    <a:pt x="133" y="524"/>
                  </a:lnTo>
                  <a:lnTo>
                    <a:pt x="135" y="526"/>
                  </a:lnTo>
                  <a:lnTo>
                    <a:pt x="138" y="520"/>
                  </a:lnTo>
                  <a:lnTo>
                    <a:pt x="141" y="514"/>
                  </a:lnTo>
                  <a:lnTo>
                    <a:pt x="144" y="506"/>
                  </a:lnTo>
                  <a:lnTo>
                    <a:pt x="144" y="497"/>
                  </a:lnTo>
                  <a:lnTo>
                    <a:pt x="147" y="489"/>
                  </a:lnTo>
                  <a:lnTo>
                    <a:pt x="144" y="487"/>
                  </a:lnTo>
                  <a:lnTo>
                    <a:pt x="139" y="491"/>
                  </a:lnTo>
                  <a:lnTo>
                    <a:pt x="141" y="495"/>
                  </a:lnTo>
                  <a:lnTo>
                    <a:pt x="139" y="500"/>
                  </a:lnTo>
                  <a:lnTo>
                    <a:pt x="135" y="502"/>
                  </a:lnTo>
                  <a:lnTo>
                    <a:pt x="133" y="515"/>
                  </a:lnTo>
                  <a:lnTo>
                    <a:pt x="133" y="515"/>
                  </a:lnTo>
                  <a:lnTo>
                    <a:pt x="133" y="51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6" name="Freeform 39"/>
            <p:cNvSpPr>
              <a:spLocks noEditPoints="1"/>
            </p:cNvSpPr>
            <p:nvPr/>
          </p:nvSpPr>
          <p:spPr bwMode="auto">
            <a:xfrm>
              <a:off x="6162676" y="1733551"/>
              <a:ext cx="441325" cy="696913"/>
            </a:xfrm>
            <a:custGeom>
              <a:avLst/>
              <a:gdLst>
                <a:gd name="T0" fmla="*/ 253 w 278"/>
                <a:gd name="T1" fmla="*/ 366 h 439"/>
                <a:gd name="T2" fmla="*/ 257 w 278"/>
                <a:gd name="T3" fmla="*/ 296 h 439"/>
                <a:gd name="T4" fmla="*/ 240 w 278"/>
                <a:gd name="T5" fmla="*/ 251 h 439"/>
                <a:gd name="T6" fmla="*/ 228 w 278"/>
                <a:gd name="T7" fmla="*/ 221 h 439"/>
                <a:gd name="T8" fmla="*/ 221 w 278"/>
                <a:gd name="T9" fmla="*/ 168 h 439"/>
                <a:gd name="T10" fmla="*/ 214 w 278"/>
                <a:gd name="T11" fmla="*/ 109 h 439"/>
                <a:gd name="T12" fmla="*/ 179 w 278"/>
                <a:gd name="T13" fmla="*/ 86 h 439"/>
                <a:gd name="T14" fmla="*/ 175 w 278"/>
                <a:gd name="T15" fmla="*/ 52 h 439"/>
                <a:gd name="T16" fmla="*/ 179 w 278"/>
                <a:gd name="T17" fmla="*/ 19 h 439"/>
                <a:gd name="T18" fmla="*/ 137 w 278"/>
                <a:gd name="T19" fmla="*/ 2 h 439"/>
                <a:gd name="T20" fmla="*/ 116 w 278"/>
                <a:gd name="T21" fmla="*/ 13 h 439"/>
                <a:gd name="T22" fmla="*/ 110 w 278"/>
                <a:gd name="T23" fmla="*/ 47 h 439"/>
                <a:gd name="T24" fmla="*/ 91 w 278"/>
                <a:gd name="T25" fmla="*/ 61 h 439"/>
                <a:gd name="T26" fmla="*/ 56 w 278"/>
                <a:gd name="T27" fmla="*/ 70 h 439"/>
                <a:gd name="T28" fmla="*/ 13 w 278"/>
                <a:gd name="T29" fmla="*/ 43 h 439"/>
                <a:gd name="T30" fmla="*/ 1 w 278"/>
                <a:gd name="T31" fmla="*/ 52 h 439"/>
                <a:gd name="T32" fmla="*/ 39 w 278"/>
                <a:gd name="T33" fmla="*/ 78 h 439"/>
                <a:gd name="T34" fmla="*/ 59 w 278"/>
                <a:gd name="T35" fmla="*/ 91 h 439"/>
                <a:gd name="T36" fmla="*/ 68 w 278"/>
                <a:gd name="T37" fmla="*/ 117 h 439"/>
                <a:gd name="T38" fmla="*/ 78 w 278"/>
                <a:gd name="T39" fmla="*/ 143 h 439"/>
                <a:gd name="T40" fmla="*/ 81 w 278"/>
                <a:gd name="T41" fmla="*/ 180 h 439"/>
                <a:gd name="T42" fmla="*/ 101 w 278"/>
                <a:gd name="T43" fmla="*/ 201 h 439"/>
                <a:gd name="T44" fmla="*/ 125 w 278"/>
                <a:gd name="T45" fmla="*/ 223 h 439"/>
                <a:gd name="T46" fmla="*/ 127 w 278"/>
                <a:gd name="T47" fmla="*/ 239 h 439"/>
                <a:gd name="T48" fmla="*/ 101 w 278"/>
                <a:gd name="T49" fmla="*/ 252 h 439"/>
                <a:gd name="T50" fmla="*/ 81 w 278"/>
                <a:gd name="T51" fmla="*/ 268 h 439"/>
                <a:gd name="T52" fmla="*/ 80 w 278"/>
                <a:gd name="T53" fmla="*/ 289 h 439"/>
                <a:gd name="T54" fmla="*/ 62 w 278"/>
                <a:gd name="T55" fmla="*/ 293 h 439"/>
                <a:gd name="T56" fmla="*/ 55 w 278"/>
                <a:gd name="T57" fmla="*/ 308 h 439"/>
                <a:gd name="T58" fmla="*/ 41 w 278"/>
                <a:gd name="T59" fmla="*/ 311 h 439"/>
                <a:gd name="T60" fmla="*/ 39 w 278"/>
                <a:gd name="T61" fmla="*/ 332 h 439"/>
                <a:gd name="T62" fmla="*/ 44 w 278"/>
                <a:gd name="T63" fmla="*/ 349 h 439"/>
                <a:gd name="T64" fmla="*/ 55 w 278"/>
                <a:gd name="T65" fmla="*/ 375 h 439"/>
                <a:gd name="T66" fmla="*/ 50 w 278"/>
                <a:gd name="T67" fmla="*/ 403 h 439"/>
                <a:gd name="T68" fmla="*/ 70 w 278"/>
                <a:gd name="T69" fmla="*/ 414 h 439"/>
                <a:gd name="T70" fmla="*/ 90 w 278"/>
                <a:gd name="T71" fmla="*/ 419 h 439"/>
                <a:gd name="T72" fmla="*/ 99 w 278"/>
                <a:gd name="T73" fmla="*/ 439 h 439"/>
                <a:gd name="T74" fmla="*/ 116 w 278"/>
                <a:gd name="T75" fmla="*/ 431 h 439"/>
                <a:gd name="T76" fmla="*/ 154 w 278"/>
                <a:gd name="T77" fmla="*/ 419 h 439"/>
                <a:gd name="T78" fmla="*/ 166 w 278"/>
                <a:gd name="T79" fmla="*/ 415 h 439"/>
                <a:gd name="T80" fmla="*/ 175 w 278"/>
                <a:gd name="T81" fmla="*/ 415 h 439"/>
                <a:gd name="T82" fmla="*/ 194 w 278"/>
                <a:gd name="T83" fmla="*/ 409 h 439"/>
                <a:gd name="T84" fmla="*/ 212 w 278"/>
                <a:gd name="T85" fmla="*/ 408 h 439"/>
                <a:gd name="T86" fmla="*/ 221 w 278"/>
                <a:gd name="T87" fmla="*/ 408 h 439"/>
                <a:gd name="T88" fmla="*/ 110 w 278"/>
                <a:gd name="T89" fmla="*/ 223 h 439"/>
                <a:gd name="T90" fmla="*/ 116 w 278"/>
                <a:gd name="T91" fmla="*/ 230 h 439"/>
                <a:gd name="T92" fmla="*/ 38 w 278"/>
                <a:gd name="T93" fmla="*/ 299 h 439"/>
                <a:gd name="T94" fmla="*/ 41 w 278"/>
                <a:gd name="T95" fmla="*/ 302 h 439"/>
                <a:gd name="T96" fmla="*/ 36 w 278"/>
                <a:gd name="T97" fmla="*/ 302 h 439"/>
                <a:gd name="T98" fmla="*/ 91 w 278"/>
                <a:gd name="T99" fmla="*/ 431 h 439"/>
                <a:gd name="T100" fmla="*/ 85 w 278"/>
                <a:gd name="T101" fmla="*/ 425 h 439"/>
                <a:gd name="T102" fmla="*/ 85 w 278"/>
                <a:gd name="T103" fmla="*/ 425 h 439"/>
                <a:gd name="T104" fmla="*/ 74 w 278"/>
                <a:gd name="T105" fmla="*/ 420 h 439"/>
                <a:gd name="T106" fmla="*/ 65 w 278"/>
                <a:gd name="T107" fmla="*/ 419 h 439"/>
                <a:gd name="T108" fmla="*/ 51 w 278"/>
                <a:gd name="T109" fmla="*/ 414 h 439"/>
                <a:gd name="T110" fmla="*/ 51 w 278"/>
                <a:gd name="T111" fmla="*/ 414 h 439"/>
                <a:gd name="T112" fmla="*/ 18 w 278"/>
                <a:gd name="T113" fmla="*/ 415 h 439"/>
                <a:gd name="T114" fmla="*/ 26 w 278"/>
                <a:gd name="T115" fmla="*/ 428 h 439"/>
                <a:gd name="T116" fmla="*/ 15 w 278"/>
                <a:gd name="T117" fmla="*/ 4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8" h="439">
                  <a:moveTo>
                    <a:pt x="221" y="408"/>
                  </a:moveTo>
                  <a:lnTo>
                    <a:pt x="220" y="400"/>
                  </a:lnTo>
                  <a:lnTo>
                    <a:pt x="232" y="389"/>
                  </a:lnTo>
                  <a:lnTo>
                    <a:pt x="238" y="388"/>
                  </a:lnTo>
                  <a:lnTo>
                    <a:pt x="246" y="375"/>
                  </a:lnTo>
                  <a:lnTo>
                    <a:pt x="253" y="366"/>
                  </a:lnTo>
                  <a:lnTo>
                    <a:pt x="258" y="353"/>
                  </a:lnTo>
                  <a:lnTo>
                    <a:pt x="270" y="336"/>
                  </a:lnTo>
                  <a:lnTo>
                    <a:pt x="278" y="319"/>
                  </a:lnTo>
                  <a:lnTo>
                    <a:pt x="276" y="311"/>
                  </a:lnTo>
                  <a:lnTo>
                    <a:pt x="264" y="299"/>
                  </a:lnTo>
                  <a:lnTo>
                    <a:pt x="257" y="296"/>
                  </a:lnTo>
                  <a:lnTo>
                    <a:pt x="243" y="282"/>
                  </a:lnTo>
                  <a:lnTo>
                    <a:pt x="247" y="274"/>
                  </a:lnTo>
                  <a:lnTo>
                    <a:pt x="252" y="268"/>
                  </a:lnTo>
                  <a:lnTo>
                    <a:pt x="252" y="260"/>
                  </a:lnTo>
                  <a:lnTo>
                    <a:pt x="243" y="256"/>
                  </a:lnTo>
                  <a:lnTo>
                    <a:pt x="240" y="251"/>
                  </a:lnTo>
                  <a:lnTo>
                    <a:pt x="240" y="241"/>
                  </a:lnTo>
                  <a:lnTo>
                    <a:pt x="242" y="238"/>
                  </a:lnTo>
                  <a:lnTo>
                    <a:pt x="240" y="234"/>
                  </a:lnTo>
                  <a:lnTo>
                    <a:pt x="232" y="232"/>
                  </a:lnTo>
                  <a:lnTo>
                    <a:pt x="228" y="229"/>
                  </a:lnTo>
                  <a:lnTo>
                    <a:pt x="228" y="221"/>
                  </a:lnTo>
                  <a:lnTo>
                    <a:pt x="232" y="215"/>
                  </a:lnTo>
                  <a:lnTo>
                    <a:pt x="227" y="215"/>
                  </a:lnTo>
                  <a:lnTo>
                    <a:pt x="227" y="212"/>
                  </a:lnTo>
                  <a:lnTo>
                    <a:pt x="228" y="195"/>
                  </a:lnTo>
                  <a:lnTo>
                    <a:pt x="234" y="193"/>
                  </a:lnTo>
                  <a:lnTo>
                    <a:pt x="221" y="168"/>
                  </a:lnTo>
                  <a:lnTo>
                    <a:pt x="209" y="150"/>
                  </a:lnTo>
                  <a:lnTo>
                    <a:pt x="208" y="143"/>
                  </a:lnTo>
                  <a:lnTo>
                    <a:pt x="200" y="137"/>
                  </a:lnTo>
                  <a:lnTo>
                    <a:pt x="206" y="125"/>
                  </a:lnTo>
                  <a:lnTo>
                    <a:pt x="212" y="117"/>
                  </a:lnTo>
                  <a:lnTo>
                    <a:pt x="214" y="109"/>
                  </a:lnTo>
                  <a:lnTo>
                    <a:pt x="209" y="108"/>
                  </a:lnTo>
                  <a:lnTo>
                    <a:pt x="197" y="100"/>
                  </a:lnTo>
                  <a:lnTo>
                    <a:pt x="197" y="95"/>
                  </a:lnTo>
                  <a:lnTo>
                    <a:pt x="191" y="89"/>
                  </a:lnTo>
                  <a:lnTo>
                    <a:pt x="183" y="86"/>
                  </a:lnTo>
                  <a:lnTo>
                    <a:pt x="179" y="86"/>
                  </a:lnTo>
                  <a:lnTo>
                    <a:pt x="175" y="74"/>
                  </a:lnTo>
                  <a:lnTo>
                    <a:pt x="171" y="70"/>
                  </a:lnTo>
                  <a:lnTo>
                    <a:pt x="174" y="61"/>
                  </a:lnTo>
                  <a:lnTo>
                    <a:pt x="175" y="56"/>
                  </a:lnTo>
                  <a:lnTo>
                    <a:pt x="169" y="55"/>
                  </a:lnTo>
                  <a:lnTo>
                    <a:pt x="175" y="52"/>
                  </a:lnTo>
                  <a:lnTo>
                    <a:pt x="181" y="49"/>
                  </a:lnTo>
                  <a:lnTo>
                    <a:pt x="181" y="39"/>
                  </a:lnTo>
                  <a:lnTo>
                    <a:pt x="185" y="33"/>
                  </a:lnTo>
                  <a:lnTo>
                    <a:pt x="186" y="28"/>
                  </a:lnTo>
                  <a:lnTo>
                    <a:pt x="181" y="22"/>
                  </a:lnTo>
                  <a:lnTo>
                    <a:pt x="179" y="19"/>
                  </a:lnTo>
                  <a:lnTo>
                    <a:pt x="169" y="16"/>
                  </a:lnTo>
                  <a:lnTo>
                    <a:pt x="163" y="16"/>
                  </a:lnTo>
                  <a:lnTo>
                    <a:pt x="160" y="11"/>
                  </a:lnTo>
                  <a:lnTo>
                    <a:pt x="154" y="4"/>
                  </a:lnTo>
                  <a:lnTo>
                    <a:pt x="148" y="0"/>
                  </a:lnTo>
                  <a:lnTo>
                    <a:pt x="137" y="2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27" y="8"/>
                  </a:lnTo>
                  <a:lnTo>
                    <a:pt x="120" y="8"/>
                  </a:lnTo>
                  <a:lnTo>
                    <a:pt x="114" y="10"/>
                  </a:lnTo>
                  <a:lnTo>
                    <a:pt x="116" y="13"/>
                  </a:lnTo>
                  <a:lnTo>
                    <a:pt x="110" y="16"/>
                  </a:lnTo>
                  <a:lnTo>
                    <a:pt x="108" y="19"/>
                  </a:lnTo>
                  <a:lnTo>
                    <a:pt x="110" y="22"/>
                  </a:lnTo>
                  <a:lnTo>
                    <a:pt x="108" y="27"/>
                  </a:lnTo>
                  <a:lnTo>
                    <a:pt x="107" y="39"/>
                  </a:lnTo>
                  <a:lnTo>
                    <a:pt x="110" y="47"/>
                  </a:lnTo>
                  <a:lnTo>
                    <a:pt x="113" y="50"/>
                  </a:lnTo>
                  <a:lnTo>
                    <a:pt x="110" y="55"/>
                  </a:lnTo>
                  <a:lnTo>
                    <a:pt x="105" y="58"/>
                  </a:lnTo>
                  <a:lnTo>
                    <a:pt x="101" y="58"/>
                  </a:lnTo>
                  <a:lnTo>
                    <a:pt x="96" y="61"/>
                  </a:lnTo>
                  <a:lnTo>
                    <a:pt x="91" y="61"/>
                  </a:lnTo>
                  <a:lnTo>
                    <a:pt x="90" y="67"/>
                  </a:lnTo>
                  <a:lnTo>
                    <a:pt x="84" y="67"/>
                  </a:lnTo>
                  <a:lnTo>
                    <a:pt x="74" y="61"/>
                  </a:lnTo>
                  <a:lnTo>
                    <a:pt x="68" y="61"/>
                  </a:lnTo>
                  <a:lnTo>
                    <a:pt x="65" y="65"/>
                  </a:lnTo>
                  <a:lnTo>
                    <a:pt x="56" y="70"/>
                  </a:lnTo>
                  <a:lnTo>
                    <a:pt x="44" y="70"/>
                  </a:lnTo>
                  <a:lnTo>
                    <a:pt x="36" y="67"/>
                  </a:lnTo>
                  <a:lnTo>
                    <a:pt x="32" y="61"/>
                  </a:lnTo>
                  <a:lnTo>
                    <a:pt x="30" y="56"/>
                  </a:lnTo>
                  <a:lnTo>
                    <a:pt x="18" y="49"/>
                  </a:lnTo>
                  <a:lnTo>
                    <a:pt x="13" y="43"/>
                  </a:lnTo>
                  <a:lnTo>
                    <a:pt x="9" y="43"/>
                  </a:lnTo>
                  <a:lnTo>
                    <a:pt x="6" y="44"/>
                  </a:lnTo>
                  <a:lnTo>
                    <a:pt x="4" y="49"/>
                  </a:lnTo>
                  <a:lnTo>
                    <a:pt x="6" y="52"/>
                  </a:lnTo>
                  <a:lnTo>
                    <a:pt x="4" y="55"/>
                  </a:lnTo>
                  <a:lnTo>
                    <a:pt x="1" y="52"/>
                  </a:lnTo>
                  <a:lnTo>
                    <a:pt x="0" y="55"/>
                  </a:lnTo>
                  <a:lnTo>
                    <a:pt x="4" y="59"/>
                  </a:lnTo>
                  <a:lnTo>
                    <a:pt x="12" y="61"/>
                  </a:lnTo>
                  <a:lnTo>
                    <a:pt x="21" y="73"/>
                  </a:lnTo>
                  <a:lnTo>
                    <a:pt x="28" y="76"/>
                  </a:lnTo>
                  <a:lnTo>
                    <a:pt x="39" y="78"/>
                  </a:lnTo>
                  <a:lnTo>
                    <a:pt x="44" y="80"/>
                  </a:lnTo>
                  <a:lnTo>
                    <a:pt x="47" y="82"/>
                  </a:lnTo>
                  <a:lnTo>
                    <a:pt x="53" y="86"/>
                  </a:lnTo>
                  <a:lnTo>
                    <a:pt x="55" y="91"/>
                  </a:lnTo>
                  <a:lnTo>
                    <a:pt x="56" y="91"/>
                  </a:lnTo>
                  <a:lnTo>
                    <a:pt x="59" y="91"/>
                  </a:lnTo>
                  <a:lnTo>
                    <a:pt x="65" y="97"/>
                  </a:lnTo>
                  <a:lnTo>
                    <a:pt x="68" y="97"/>
                  </a:lnTo>
                  <a:lnTo>
                    <a:pt x="70" y="100"/>
                  </a:lnTo>
                  <a:lnTo>
                    <a:pt x="68" y="104"/>
                  </a:lnTo>
                  <a:lnTo>
                    <a:pt x="70" y="111"/>
                  </a:lnTo>
                  <a:lnTo>
                    <a:pt x="68" y="117"/>
                  </a:lnTo>
                  <a:lnTo>
                    <a:pt x="68" y="123"/>
                  </a:lnTo>
                  <a:lnTo>
                    <a:pt x="76" y="123"/>
                  </a:lnTo>
                  <a:lnTo>
                    <a:pt x="78" y="128"/>
                  </a:lnTo>
                  <a:lnTo>
                    <a:pt x="74" y="131"/>
                  </a:lnTo>
                  <a:lnTo>
                    <a:pt x="76" y="139"/>
                  </a:lnTo>
                  <a:lnTo>
                    <a:pt x="78" y="143"/>
                  </a:lnTo>
                  <a:lnTo>
                    <a:pt x="80" y="153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80" y="168"/>
                  </a:lnTo>
                  <a:lnTo>
                    <a:pt x="78" y="172"/>
                  </a:lnTo>
                  <a:lnTo>
                    <a:pt x="81" y="180"/>
                  </a:lnTo>
                  <a:lnTo>
                    <a:pt x="85" y="180"/>
                  </a:lnTo>
                  <a:lnTo>
                    <a:pt x="91" y="189"/>
                  </a:lnTo>
                  <a:lnTo>
                    <a:pt x="96" y="193"/>
                  </a:lnTo>
                  <a:lnTo>
                    <a:pt x="93" y="198"/>
                  </a:lnTo>
                  <a:lnTo>
                    <a:pt x="96" y="201"/>
                  </a:lnTo>
                  <a:lnTo>
                    <a:pt x="101" y="201"/>
                  </a:lnTo>
                  <a:lnTo>
                    <a:pt x="107" y="204"/>
                  </a:lnTo>
                  <a:lnTo>
                    <a:pt x="116" y="204"/>
                  </a:lnTo>
                  <a:lnTo>
                    <a:pt x="125" y="212"/>
                  </a:lnTo>
                  <a:lnTo>
                    <a:pt x="120" y="213"/>
                  </a:lnTo>
                  <a:lnTo>
                    <a:pt x="122" y="215"/>
                  </a:lnTo>
                  <a:lnTo>
                    <a:pt x="125" y="223"/>
                  </a:lnTo>
                  <a:lnTo>
                    <a:pt x="122" y="224"/>
                  </a:lnTo>
                  <a:lnTo>
                    <a:pt x="130" y="232"/>
                  </a:lnTo>
                  <a:lnTo>
                    <a:pt x="125" y="230"/>
                  </a:lnTo>
                  <a:lnTo>
                    <a:pt x="122" y="232"/>
                  </a:lnTo>
                  <a:lnTo>
                    <a:pt x="127" y="235"/>
                  </a:lnTo>
                  <a:lnTo>
                    <a:pt x="127" y="239"/>
                  </a:lnTo>
                  <a:lnTo>
                    <a:pt x="120" y="235"/>
                  </a:lnTo>
                  <a:lnTo>
                    <a:pt x="113" y="235"/>
                  </a:lnTo>
                  <a:lnTo>
                    <a:pt x="107" y="239"/>
                  </a:lnTo>
                  <a:lnTo>
                    <a:pt x="107" y="243"/>
                  </a:lnTo>
                  <a:lnTo>
                    <a:pt x="101" y="248"/>
                  </a:lnTo>
                  <a:lnTo>
                    <a:pt x="101" y="252"/>
                  </a:lnTo>
                  <a:lnTo>
                    <a:pt x="99" y="252"/>
                  </a:lnTo>
                  <a:lnTo>
                    <a:pt x="90" y="262"/>
                  </a:lnTo>
                  <a:lnTo>
                    <a:pt x="90" y="269"/>
                  </a:lnTo>
                  <a:lnTo>
                    <a:pt x="87" y="269"/>
                  </a:lnTo>
                  <a:lnTo>
                    <a:pt x="85" y="268"/>
                  </a:lnTo>
                  <a:lnTo>
                    <a:pt x="81" y="268"/>
                  </a:lnTo>
                  <a:lnTo>
                    <a:pt x="84" y="273"/>
                  </a:lnTo>
                  <a:lnTo>
                    <a:pt x="84" y="277"/>
                  </a:lnTo>
                  <a:lnTo>
                    <a:pt x="78" y="277"/>
                  </a:lnTo>
                  <a:lnTo>
                    <a:pt x="74" y="280"/>
                  </a:lnTo>
                  <a:lnTo>
                    <a:pt x="76" y="287"/>
                  </a:lnTo>
                  <a:lnTo>
                    <a:pt x="80" y="289"/>
                  </a:lnTo>
                  <a:lnTo>
                    <a:pt x="73" y="287"/>
                  </a:lnTo>
                  <a:lnTo>
                    <a:pt x="70" y="286"/>
                  </a:lnTo>
                  <a:lnTo>
                    <a:pt x="67" y="286"/>
                  </a:lnTo>
                  <a:lnTo>
                    <a:pt x="65" y="291"/>
                  </a:lnTo>
                  <a:lnTo>
                    <a:pt x="67" y="295"/>
                  </a:lnTo>
                  <a:lnTo>
                    <a:pt x="62" y="293"/>
                  </a:lnTo>
                  <a:lnTo>
                    <a:pt x="61" y="295"/>
                  </a:lnTo>
                  <a:lnTo>
                    <a:pt x="65" y="296"/>
                  </a:lnTo>
                  <a:lnTo>
                    <a:pt x="65" y="300"/>
                  </a:lnTo>
                  <a:lnTo>
                    <a:pt x="61" y="302"/>
                  </a:lnTo>
                  <a:lnTo>
                    <a:pt x="59" y="305"/>
                  </a:lnTo>
                  <a:lnTo>
                    <a:pt x="55" y="308"/>
                  </a:lnTo>
                  <a:lnTo>
                    <a:pt x="51" y="308"/>
                  </a:lnTo>
                  <a:lnTo>
                    <a:pt x="51" y="305"/>
                  </a:lnTo>
                  <a:lnTo>
                    <a:pt x="47" y="304"/>
                  </a:lnTo>
                  <a:lnTo>
                    <a:pt x="44" y="305"/>
                  </a:lnTo>
                  <a:lnTo>
                    <a:pt x="45" y="310"/>
                  </a:lnTo>
                  <a:lnTo>
                    <a:pt x="41" y="311"/>
                  </a:lnTo>
                  <a:lnTo>
                    <a:pt x="44" y="317"/>
                  </a:lnTo>
                  <a:lnTo>
                    <a:pt x="41" y="321"/>
                  </a:lnTo>
                  <a:lnTo>
                    <a:pt x="39" y="322"/>
                  </a:lnTo>
                  <a:lnTo>
                    <a:pt x="36" y="327"/>
                  </a:lnTo>
                  <a:lnTo>
                    <a:pt x="39" y="330"/>
                  </a:lnTo>
                  <a:lnTo>
                    <a:pt x="39" y="332"/>
                  </a:lnTo>
                  <a:lnTo>
                    <a:pt x="38" y="336"/>
                  </a:lnTo>
                  <a:lnTo>
                    <a:pt x="39" y="339"/>
                  </a:lnTo>
                  <a:lnTo>
                    <a:pt x="44" y="338"/>
                  </a:lnTo>
                  <a:lnTo>
                    <a:pt x="45" y="341"/>
                  </a:lnTo>
                  <a:lnTo>
                    <a:pt x="45" y="347"/>
                  </a:lnTo>
                  <a:lnTo>
                    <a:pt x="44" y="349"/>
                  </a:lnTo>
                  <a:lnTo>
                    <a:pt x="45" y="354"/>
                  </a:lnTo>
                  <a:lnTo>
                    <a:pt x="44" y="356"/>
                  </a:lnTo>
                  <a:lnTo>
                    <a:pt x="50" y="363"/>
                  </a:lnTo>
                  <a:lnTo>
                    <a:pt x="53" y="366"/>
                  </a:lnTo>
                  <a:lnTo>
                    <a:pt x="51" y="369"/>
                  </a:lnTo>
                  <a:lnTo>
                    <a:pt x="55" y="375"/>
                  </a:lnTo>
                  <a:lnTo>
                    <a:pt x="51" y="377"/>
                  </a:lnTo>
                  <a:lnTo>
                    <a:pt x="51" y="384"/>
                  </a:lnTo>
                  <a:lnTo>
                    <a:pt x="50" y="386"/>
                  </a:lnTo>
                  <a:lnTo>
                    <a:pt x="50" y="397"/>
                  </a:lnTo>
                  <a:lnTo>
                    <a:pt x="53" y="400"/>
                  </a:lnTo>
                  <a:lnTo>
                    <a:pt x="50" y="403"/>
                  </a:lnTo>
                  <a:lnTo>
                    <a:pt x="50" y="408"/>
                  </a:lnTo>
                  <a:lnTo>
                    <a:pt x="51" y="411"/>
                  </a:lnTo>
                  <a:lnTo>
                    <a:pt x="59" y="408"/>
                  </a:lnTo>
                  <a:lnTo>
                    <a:pt x="62" y="409"/>
                  </a:lnTo>
                  <a:lnTo>
                    <a:pt x="62" y="408"/>
                  </a:lnTo>
                  <a:lnTo>
                    <a:pt x="70" y="414"/>
                  </a:lnTo>
                  <a:lnTo>
                    <a:pt x="74" y="414"/>
                  </a:lnTo>
                  <a:lnTo>
                    <a:pt x="78" y="415"/>
                  </a:lnTo>
                  <a:lnTo>
                    <a:pt x="85" y="415"/>
                  </a:lnTo>
                  <a:lnTo>
                    <a:pt x="87" y="415"/>
                  </a:lnTo>
                  <a:lnTo>
                    <a:pt x="85" y="419"/>
                  </a:lnTo>
                  <a:lnTo>
                    <a:pt x="90" y="419"/>
                  </a:lnTo>
                  <a:lnTo>
                    <a:pt x="96" y="415"/>
                  </a:lnTo>
                  <a:lnTo>
                    <a:pt x="96" y="419"/>
                  </a:lnTo>
                  <a:lnTo>
                    <a:pt x="91" y="423"/>
                  </a:lnTo>
                  <a:lnTo>
                    <a:pt x="99" y="431"/>
                  </a:lnTo>
                  <a:lnTo>
                    <a:pt x="101" y="434"/>
                  </a:lnTo>
                  <a:lnTo>
                    <a:pt x="99" y="439"/>
                  </a:lnTo>
                  <a:lnTo>
                    <a:pt x="101" y="439"/>
                  </a:lnTo>
                  <a:lnTo>
                    <a:pt x="102" y="434"/>
                  </a:lnTo>
                  <a:lnTo>
                    <a:pt x="107" y="431"/>
                  </a:lnTo>
                  <a:lnTo>
                    <a:pt x="107" y="434"/>
                  </a:lnTo>
                  <a:lnTo>
                    <a:pt x="113" y="431"/>
                  </a:lnTo>
                  <a:lnTo>
                    <a:pt x="116" y="431"/>
                  </a:lnTo>
                  <a:lnTo>
                    <a:pt x="125" y="426"/>
                  </a:lnTo>
                  <a:lnTo>
                    <a:pt x="130" y="426"/>
                  </a:lnTo>
                  <a:lnTo>
                    <a:pt x="140" y="420"/>
                  </a:lnTo>
                  <a:lnTo>
                    <a:pt x="140" y="417"/>
                  </a:lnTo>
                  <a:lnTo>
                    <a:pt x="148" y="419"/>
                  </a:lnTo>
                  <a:lnTo>
                    <a:pt x="154" y="419"/>
                  </a:lnTo>
                  <a:lnTo>
                    <a:pt x="157" y="414"/>
                  </a:lnTo>
                  <a:lnTo>
                    <a:pt x="160" y="415"/>
                  </a:lnTo>
                  <a:lnTo>
                    <a:pt x="156" y="419"/>
                  </a:lnTo>
                  <a:lnTo>
                    <a:pt x="160" y="420"/>
                  </a:lnTo>
                  <a:lnTo>
                    <a:pt x="162" y="415"/>
                  </a:lnTo>
                  <a:lnTo>
                    <a:pt x="166" y="415"/>
                  </a:lnTo>
                  <a:lnTo>
                    <a:pt x="163" y="409"/>
                  </a:lnTo>
                  <a:lnTo>
                    <a:pt x="166" y="408"/>
                  </a:lnTo>
                  <a:lnTo>
                    <a:pt x="168" y="414"/>
                  </a:lnTo>
                  <a:lnTo>
                    <a:pt x="171" y="414"/>
                  </a:lnTo>
                  <a:lnTo>
                    <a:pt x="171" y="409"/>
                  </a:lnTo>
                  <a:lnTo>
                    <a:pt x="175" y="415"/>
                  </a:lnTo>
                  <a:lnTo>
                    <a:pt x="179" y="414"/>
                  </a:lnTo>
                  <a:lnTo>
                    <a:pt x="179" y="411"/>
                  </a:lnTo>
                  <a:lnTo>
                    <a:pt x="183" y="411"/>
                  </a:lnTo>
                  <a:lnTo>
                    <a:pt x="183" y="414"/>
                  </a:lnTo>
                  <a:lnTo>
                    <a:pt x="186" y="411"/>
                  </a:lnTo>
                  <a:lnTo>
                    <a:pt x="194" y="409"/>
                  </a:lnTo>
                  <a:lnTo>
                    <a:pt x="197" y="414"/>
                  </a:lnTo>
                  <a:lnTo>
                    <a:pt x="208" y="411"/>
                  </a:lnTo>
                  <a:lnTo>
                    <a:pt x="208" y="409"/>
                  </a:lnTo>
                  <a:lnTo>
                    <a:pt x="206" y="408"/>
                  </a:lnTo>
                  <a:lnTo>
                    <a:pt x="208" y="406"/>
                  </a:lnTo>
                  <a:lnTo>
                    <a:pt x="212" y="408"/>
                  </a:lnTo>
                  <a:lnTo>
                    <a:pt x="212" y="409"/>
                  </a:lnTo>
                  <a:lnTo>
                    <a:pt x="217" y="411"/>
                  </a:lnTo>
                  <a:lnTo>
                    <a:pt x="217" y="411"/>
                  </a:lnTo>
                  <a:lnTo>
                    <a:pt x="221" y="408"/>
                  </a:lnTo>
                  <a:lnTo>
                    <a:pt x="221" y="408"/>
                  </a:lnTo>
                  <a:lnTo>
                    <a:pt x="221" y="408"/>
                  </a:lnTo>
                  <a:lnTo>
                    <a:pt x="221" y="408"/>
                  </a:lnTo>
                  <a:close/>
                  <a:moveTo>
                    <a:pt x="116" y="230"/>
                  </a:moveTo>
                  <a:lnTo>
                    <a:pt x="114" y="232"/>
                  </a:lnTo>
                  <a:lnTo>
                    <a:pt x="108" y="232"/>
                  </a:lnTo>
                  <a:lnTo>
                    <a:pt x="105" y="226"/>
                  </a:lnTo>
                  <a:lnTo>
                    <a:pt x="110" y="223"/>
                  </a:lnTo>
                  <a:lnTo>
                    <a:pt x="120" y="224"/>
                  </a:lnTo>
                  <a:lnTo>
                    <a:pt x="119" y="226"/>
                  </a:lnTo>
                  <a:lnTo>
                    <a:pt x="114" y="226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close/>
                  <a:moveTo>
                    <a:pt x="38" y="299"/>
                  </a:moveTo>
                  <a:lnTo>
                    <a:pt x="38" y="295"/>
                  </a:lnTo>
                  <a:lnTo>
                    <a:pt x="41" y="299"/>
                  </a:lnTo>
                  <a:lnTo>
                    <a:pt x="39" y="300"/>
                  </a:lnTo>
                  <a:lnTo>
                    <a:pt x="38" y="299"/>
                  </a:lnTo>
                  <a:lnTo>
                    <a:pt x="38" y="299"/>
                  </a:lnTo>
                  <a:lnTo>
                    <a:pt x="38" y="299"/>
                  </a:lnTo>
                  <a:lnTo>
                    <a:pt x="38" y="299"/>
                  </a:lnTo>
                  <a:close/>
                  <a:moveTo>
                    <a:pt x="36" y="302"/>
                  </a:moveTo>
                  <a:lnTo>
                    <a:pt x="38" y="304"/>
                  </a:lnTo>
                  <a:lnTo>
                    <a:pt x="41" y="302"/>
                  </a:lnTo>
                  <a:lnTo>
                    <a:pt x="41" y="305"/>
                  </a:lnTo>
                  <a:lnTo>
                    <a:pt x="36" y="310"/>
                  </a:lnTo>
                  <a:lnTo>
                    <a:pt x="34" y="305"/>
                  </a:lnTo>
                  <a:lnTo>
                    <a:pt x="36" y="302"/>
                  </a:lnTo>
                  <a:lnTo>
                    <a:pt x="36" y="302"/>
                  </a:lnTo>
                  <a:lnTo>
                    <a:pt x="36" y="302"/>
                  </a:lnTo>
                  <a:lnTo>
                    <a:pt x="36" y="302"/>
                  </a:lnTo>
                  <a:close/>
                  <a:moveTo>
                    <a:pt x="93" y="430"/>
                  </a:moveTo>
                  <a:lnTo>
                    <a:pt x="96" y="434"/>
                  </a:lnTo>
                  <a:lnTo>
                    <a:pt x="91" y="436"/>
                  </a:lnTo>
                  <a:lnTo>
                    <a:pt x="90" y="434"/>
                  </a:lnTo>
                  <a:lnTo>
                    <a:pt x="91" y="431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close/>
                  <a:moveTo>
                    <a:pt x="85" y="425"/>
                  </a:moveTo>
                  <a:lnTo>
                    <a:pt x="85" y="425"/>
                  </a:lnTo>
                  <a:lnTo>
                    <a:pt x="87" y="428"/>
                  </a:lnTo>
                  <a:lnTo>
                    <a:pt x="85" y="428"/>
                  </a:lnTo>
                  <a:lnTo>
                    <a:pt x="85" y="425"/>
                  </a:lnTo>
                  <a:lnTo>
                    <a:pt x="85" y="425"/>
                  </a:lnTo>
                  <a:lnTo>
                    <a:pt x="85" y="425"/>
                  </a:lnTo>
                  <a:lnTo>
                    <a:pt x="85" y="425"/>
                  </a:lnTo>
                  <a:close/>
                  <a:moveTo>
                    <a:pt x="74" y="420"/>
                  </a:moveTo>
                  <a:lnTo>
                    <a:pt x="84" y="419"/>
                  </a:lnTo>
                  <a:lnTo>
                    <a:pt x="81" y="420"/>
                  </a:lnTo>
                  <a:lnTo>
                    <a:pt x="78" y="425"/>
                  </a:lnTo>
                  <a:lnTo>
                    <a:pt x="74" y="423"/>
                  </a:lnTo>
                  <a:lnTo>
                    <a:pt x="74" y="420"/>
                  </a:lnTo>
                  <a:lnTo>
                    <a:pt x="74" y="420"/>
                  </a:lnTo>
                  <a:lnTo>
                    <a:pt x="74" y="420"/>
                  </a:lnTo>
                  <a:lnTo>
                    <a:pt x="74" y="420"/>
                  </a:lnTo>
                  <a:close/>
                  <a:moveTo>
                    <a:pt x="62" y="411"/>
                  </a:moveTo>
                  <a:lnTo>
                    <a:pt x="68" y="415"/>
                  </a:lnTo>
                  <a:lnTo>
                    <a:pt x="65" y="419"/>
                  </a:lnTo>
                  <a:lnTo>
                    <a:pt x="62" y="415"/>
                  </a:lnTo>
                  <a:lnTo>
                    <a:pt x="62" y="411"/>
                  </a:lnTo>
                  <a:lnTo>
                    <a:pt x="62" y="411"/>
                  </a:lnTo>
                  <a:lnTo>
                    <a:pt x="62" y="411"/>
                  </a:lnTo>
                  <a:lnTo>
                    <a:pt x="62" y="411"/>
                  </a:lnTo>
                  <a:close/>
                  <a:moveTo>
                    <a:pt x="51" y="414"/>
                  </a:moveTo>
                  <a:lnTo>
                    <a:pt x="55" y="415"/>
                  </a:lnTo>
                  <a:lnTo>
                    <a:pt x="53" y="415"/>
                  </a:lnTo>
                  <a:lnTo>
                    <a:pt x="53" y="415"/>
                  </a:lnTo>
                  <a:lnTo>
                    <a:pt x="51" y="414"/>
                  </a:lnTo>
                  <a:lnTo>
                    <a:pt x="51" y="414"/>
                  </a:lnTo>
                  <a:lnTo>
                    <a:pt x="51" y="414"/>
                  </a:lnTo>
                  <a:lnTo>
                    <a:pt x="51" y="414"/>
                  </a:lnTo>
                  <a:close/>
                  <a:moveTo>
                    <a:pt x="13" y="420"/>
                  </a:moveTo>
                  <a:lnTo>
                    <a:pt x="21" y="423"/>
                  </a:lnTo>
                  <a:lnTo>
                    <a:pt x="21" y="420"/>
                  </a:lnTo>
                  <a:lnTo>
                    <a:pt x="18" y="419"/>
                  </a:lnTo>
                  <a:lnTo>
                    <a:pt x="18" y="415"/>
                  </a:lnTo>
                  <a:lnTo>
                    <a:pt x="21" y="414"/>
                  </a:lnTo>
                  <a:lnTo>
                    <a:pt x="28" y="419"/>
                  </a:lnTo>
                  <a:lnTo>
                    <a:pt x="28" y="423"/>
                  </a:lnTo>
                  <a:lnTo>
                    <a:pt x="24" y="423"/>
                  </a:lnTo>
                  <a:lnTo>
                    <a:pt x="22" y="425"/>
                  </a:lnTo>
                  <a:lnTo>
                    <a:pt x="26" y="428"/>
                  </a:lnTo>
                  <a:lnTo>
                    <a:pt x="30" y="428"/>
                  </a:lnTo>
                  <a:lnTo>
                    <a:pt x="32" y="431"/>
                  </a:lnTo>
                  <a:lnTo>
                    <a:pt x="28" y="434"/>
                  </a:lnTo>
                  <a:lnTo>
                    <a:pt x="22" y="430"/>
                  </a:lnTo>
                  <a:lnTo>
                    <a:pt x="18" y="428"/>
                  </a:lnTo>
                  <a:lnTo>
                    <a:pt x="15" y="426"/>
                  </a:lnTo>
                  <a:lnTo>
                    <a:pt x="12" y="423"/>
                  </a:lnTo>
                  <a:lnTo>
                    <a:pt x="13" y="420"/>
                  </a:lnTo>
                  <a:lnTo>
                    <a:pt x="13" y="420"/>
                  </a:lnTo>
                  <a:lnTo>
                    <a:pt x="13" y="4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7" name="Freeform 40"/>
            <p:cNvSpPr>
              <a:spLocks noEditPoints="1"/>
            </p:cNvSpPr>
            <p:nvPr/>
          </p:nvSpPr>
          <p:spPr bwMode="auto">
            <a:xfrm>
              <a:off x="6281738" y="2436813"/>
              <a:ext cx="234950" cy="142875"/>
            </a:xfrm>
            <a:custGeom>
              <a:avLst/>
              <a:gdLst>
                <a:gd name="T0" fmla="*/ 145 w 148"/>
                <a:gd name="T1" fmla="*/ 76 h 90"/>
                <a:gd name="T2" fmla="*/ 136 w 148"/>
                <a:gd name="T3" fmla="*/ 47 h 90"/>
                <a:gd name="T4" fmla="*/ 142 w 148"/>
                <a:gd name="T5" fmla="*/ 21 h 90"/>
                <a:gd name="T6" fmla="*/ 148 w 148"/>
                <a:gd name="T7" fmla="*/ 14 h 90"/>
                <a:gd name="T8" fmla="*/ 122 w 148"/>
                <a:gd name="T9" fmla="*/ 11 h 90"/>
                <a:gd name="T10" fmla="*/ 96 w 148"/>
                <a:gd name="T11" fmla="*/ 2 h 90"/>
                <a:gd name="T12" fmla="*/ 84 w 148"/>
                <a:gd name="T13" fmla="*/ 2 h 90"/>
                <a:gd name="T14" fmla="*/ 84 w 148"/>
                <a:gd name="T15" fmla="*/ 8 h 90"/>
                <a:gd name="T16" fmla="*/ 67 w 148"/>
                <a:gd name="T17" fmla="*/ 8 h 90"/>
                <a:gd name="T18" fmla="*/ 59 w 148"/>
                <a:gd name="T19" fmla="*/ 10 h 90"/>
                <a:gd name="T20" fmla="*/ 50 w 148"/>
                <a:gd name="T21" fmla="*/ 16 h 90"/>
                <a:gd name="T22" fmla="*/ 37 w 148"/>
                <a:gd name="T23" fmla="*/ 39 h 90"/>
                <a:gd name="T24" fmla="*/ 49 w 148"/>
                <a:gd name="T25" fmla="*/ 38 h 90"/>
                <a:gd name="T26" fmla="*/ 43 w 148"/>
                <a:gd name="T27" fmla="*/ 49 h 90"/>
                <a:gd name="T28" fmla="*/ 58 w 148"/>
                <a:gd name="T29" fmla="*/ 59 h 90"/>
                <a:gd name="T30" fmla="*/ 65 w 148"/>
                <a:gd name="T31" fmla="*/ 56 h 90"/>
                <a:gd name="T32" fmla="*/ 65 w 148"/>
                <a:gd name="T33" fmla="*/ 70 h 90"/>
                <a:gd name="T34" fmla="*/ 87 w 148"/>
                <a:gd name="T35" fmla="*/ 69 h 90"/>
                <a:gd name="T36" fmla="*/ 96 w 148"/>
                <a:gd name="T37" fmla="*/ 67 h 90"/>
                <a:gd name="T38" fmla="*/ 111 w 148"/>
                <a:gd name="T39" fmla="*/ 76 h 90"/>
                <a:gd name="T40" fmla="*/ 122 w 148"/>
                <a:gd name="T41" fmla="*/ 90 h 90"/>
                <a:gd name="T42" fmla="*/ 140 w 148"/>
                <a:gd name="T43" fmla="*/ 86 h 90"/>
                <a:gd name="T44" fmla="*/ 27 w 148"/>
                <a:gd name="T45" fmla="*/ 30 h 90"/>
                <a:gd name="T46" fmla="*/ 29 w 148"/>
                <a:gd name="T47" fmla="*/ 33 h 90"/>
                <a:gd name="T48" fmla="*/ 27 w 148"/>
                <a:gd name="T49" fmla="*/ 30 h 90"/>
                <a:gd name="T50" fmla="*/ 14 w 148"/>
                <a:gd name="T51" fmla="*/ 36 h 90"/>
                <a:gd name="T52" fmla="*/ 3 w 148"/>
                <a:gd name="T53" fmla="*/ 38 h 90"/>
                <a:gd name="T54" fmla="*/ 15 w 148"/>
                <a:gd name="T55" fmla="*/ 28 h 90"/>
                <a:gd name="T56" fmla="*/ 26 w 148"/>
                <a:gd name="T57" fmla="*/ 33 h 90"/>
                <a:gd name="T58" fmla="*/ 20 w 148"/>
                <a:gd name="T59" fmla="*/ 38 h 90"/>
                <a:gd name="T60" fmla="*/ 18 w 148"/>
                <a:gd name="T61" fmla="*/ 41 h 90"/>
                <a:gd name="T62" fmla="*/ 27 w 148"/>
                <a:gd name="T63" fmla="*/ 41 h 90"/>
                <a:gd name="T64" fmla="*/ 35 w 148"/>
                <a:gd name="T65" fmla="*/ 49 h 90"/>
                <a:gd name="T66" fmla="*/ 29 w 148"/>
                <a:gd name="T67" fmla="*/ 45 h 90"/>
                <a:gd name="T68" fmla="*/ 6 w 148"/>
                <a:gd name="T69" fmla="*/ 73 h 90"/>
                <a:gd name="T70" fmla="*/ 14 w 148"/>
                <a:gd name="T71" fmla="*/ 59 h 90"/>
                <a:gd name="T72" fmla="*/ 27 w 148"/>
                <a:gd name="T73" fmla="*/ 52 h 90"/>
                <a:gd name="T74" fmla="*/ 32 w 148"/>
                <a:gd name="T75" fmla="*/ 50 h 90"/>
                <a:gd name="T76" fmla="*/ 15 w 148"/>
                <a:gd name="T77" fmla="*/ 45 h 90"/>
                <a:gd name="T78" fmla="*/ 9 w 148"/>
                <a:gd name="T79" fmla="*/ 47 h 90"/>
                <a:gd name="T80" fmla="*/ 3 w 148"/>
                <a:gd name="T81" fmla="*/ 47 h 90"/>
                <a:gd name="T82" fmla="*/ 4 w 148"/>
                <a:gd name="T83" fmla="*/ 50 h 90"/>
                <a:gd name="T84" fmla="*/ 0 w 148"/>
                <a:gd name="T85" fmla="*/ 58 h 90"/>
                <a:gd name="T86" fmla="*/ 8 w 148"/>
                <a:gd name="T87" fmla="*/ 67 h 90"/>
                <a:gd name="T88" fmla="*/ 4 w 148"/>
                <a:gd name="T89" fmla="*/ 7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8" h="90">
                  <a:moveTo>
                    <a:pt x="140" y="86"/>
                  </a:moveTo>
                  <a:lnTo>
                    <a:pt x="145" y="81"/>
                  </a:lnTo>
                  <a:lnTo>
                    <a:pt x="145" y="76"/>
                  </a:lnTo>
                  <a:lnTo>
                    <a:pt x="148" y="73"/>
                  </a:lnTo>
                  <a:lnTo>
                    <a:pt x="148" y="67"/>
                  </a:lnTo>
                  <a:lnTo>
                    <a:pt x="136" y="47"/>
                  </a:lnTo>
                  <a:lnTo>
                    <a:pt x="139" y="30"/>
                  </a:lnTo>
                  <a:lnTo>
                    <a:pt x="140" y="28"/>
                  </a:lnTo>
                  <a:lnTo>
                    <a:pt x="142" y="21"/>
                  </a:lnTo>
                  <a:lnTo>
                    <a:pt x="148" y="16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5" y="10"/>
                  </a:lnTo>
                  <a:lnTo>
                    <a:pt x="145" y="11"/>
                  </a:lnTo>
                  <a:lnTo>
                    <a:pt x="122" y="11"/>
                  </a:lnTo>
                  <a:lnTo>
                    <a:pt x="111" y="6"/>
                  </a:lnTo>
                  <a:lnTo>
                    <a:pt x="101" y="6"/>
                  </a:lnTo>
                  <a:lnTo>
                    <a:pt x="96" y="2"/>
                  </a:lnTo>
                  <a:lnTo>
                    <a:pt x="93" y="5"/>
                  </a:lnTo>
                  <a:lnTo>
                    <a:pt x="87" y="0"/>
                  </a:lnTo>
                  <a:lnTo>
                    <a:pt x="84" y="2"/>
                  </a:lnTo>
                  <a:lnTo>
                    <a:pt x="82" y="2"/>
                  </a:lnTo>
                  <a:lnTo>
                    <a:pt x="82" y="5"/>
                  </a:lnTo>
                  <a:lnTo>
                    <a:pt x="84" y="8"/>
                  </a:lnTo>
                  <a:lnTo>
                    <a:pt x="81" y="10"/>
                  </a:lnTo>
                  <a:lnTo>
                    <a:pt x="76" y="8"/>
                  </a:lnTo>
                  <a:lnTo>
                    <a:pt x="67" y="8"/>
                  </a:lnTo>
                  <a:lnTo>
                    <a:pt x="65" y="6"/>
                  </a:lnTo>
                  <a:lnTo>
                    <a:pt x="64" y="11"/>
                  </a:lnTo>
                  <a:lnTo>
                    <a:pt x="59" y="10"/>
                  </a:lnTo>
                  <a:lnTo>
                    <a:pt x="54" y="11"/>
                  </a:lnTo>
                  <a:lnTo>
                    <a:pt x="52" y="16"/>
                  </a:lnTo>
                  <a:lnTo>
                    <a:pt x="50" y="16"/>
                  </a:lnTo>
                  <a:lnTo>
                    <a:pt x="41" y="19"/>
                  </a:lnTo>
                  <a:lnTo>
                    <a:pt x="37" y="23"/>
                  </a:lnTo>
                  <a:lnTo>
                    <a:pt x="37" y="39"/>
                  </a:lnTo>
                  <a:lnTo>
                    <a:pt x="41" y="39"/>
                  </a:lnTo>
                  <a:lnTo>
                    <a:pt x="43" y="38"/>
                  </a:lnTo>
                  <a:lnTo>
                    <a:pt x="49" y="38"/>
                  </a:lnTo>
                  <a:lnTo>
                    <a:pt x="44" y="41"/>
                  </a:lnTo>
                  <a:lnTo>
                    <a:pt x="41" y="41"/>
                  </a:lnTo>
                  <a:lnTo>
                    <a:pt x="43" y="49"/>
                  </a:lnTo>
                  <a:lnTo>
                    <a:pt x="47" y="55"/>
                  </a:lnTo>
                  <a:lnTo>
                    <a:pt x="54" y="61"/>
                  </a:lnTo>
                  <a:lnTo>
                    <a:pt x="58" y="59"/>
                  </a:lnTo>
                  <a:lnTo>
                    <a:pt x="58" y="56"/>
                  </a:lnTo>
                  <a:lnTo>
                    <a:pt x="64" y="52"/>
                  </a:lnTo>
                  <a:lnTo>
                    <a:pt x="65" y="56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5" y="70"/>
                  </a:lnTo>
                  <a:lnTo>
                    <a:pt x="73" y="65"/>
                  </a:lnTo>
                  <a:lnTo>
                    <a:pt x="81" y="65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3" y="65"/>
                  </a:lnTo>
                  <a:lnTo>
                    <a:pt x="96" y="67"/>
                  </a:lnTo>
                  <a:lnTo>
                    <a:pt x="98" y="70"/>
                  </a:lnTo>
                  <a:lnTo>
                    <a:pt x="101" y="70"/>
                  </a:lnTo>
                  <a:lnTo>
                    <a:pt x="111" y="76"/>
                  </a:lnTo>
                  <a:lnTo>
                    <a:pt x="113" y="81"/>
                  </a:lnTo>
                  <a:lnTo>
                    <a:pt x="119" y="84"/>
                  </a:lnTo>
                  <a:lnTo>
                    <a:pt x="122" y="90"/>
                  </a:lnTo>
                  <a:lnTo>
                    <a:pt x="133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close/>
                  <a:moveTo>
                    <a:pt x="27" y="30"/>
                  </a:moveTo>
                  <a:lnTo>
                    <a:pt x="33" y="28"/>
                  </a:lnTo>
                  <a:lnTo>
                    <a:pt x="35" y="33"/>
                  </a:lnTo>
                  <a:lnTo>
                    <a:pt x="29" y="33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close/>
                  <a:moveTo>
                    <a:pt x="18" y="41"/>
                  </a:moveTo>
                  <a:lnTo>
                    <a:pt x="14" y="36"/>
                  </a:lnTo>
                  <a:lnTo>
                    <a:pt x="9" y="36"/>
                  </a:lnTo>
                  <a:lnTo>
                    <a:pt x="6" y="38"/>
                  </a:lnTo>
                  <a:lnTo>
                    <a:pt x="3" y="38"/>
                  </a:lnTo>
                  <a:lnTo>
                    <a:pt x="12" y="33"/>
                  </a:lnTo>
                  <a:lnTo>
                    <a:pt x="14" y="30"/>
                  </a:lnTo>
                  <a:lnTo>
                    <a:pt x="15" y="28"/>
                  </a:lnTo>
                  <a:lnTo>
                    <a:pt x="18" y="28"/>
                  </a:lnTo>
                  <a:lnTo>
                    <a:pt x="21" y="33"/>
                  </a:lnTo>
                  <a:lnTo>
                    <a:pt x="26" y="33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0" y="38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close/>
                  <a:moveTo>
                    <a:pt x="29" y="45"/>
                  </a:moveTo>
                  <a:lnTo>
                    <a:pt x="27" y="41"/>
                  </a:lnTo>
                  <a:lnTo>
                    <a:pt x="35" y="41"/>
                  </a:lnTo>
                  <a:lnTo>
                    <a:pt x="37" y="47"/>
                  </a:lnTo>
                  <a:lnTo>
                    <a:pt x="35" y="49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close/>
                  <a:moveTo>
                    <a:pt x="4" y="73"/>
                  </a:moveTo>
                  <a:lnTo>
                    <a:pt x="6" y="73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4" y="59"/>
                  </a:lnTo>
                  <a:lnTo>
                    <a:pt x="21" y="59"/>
                  </a:lnTo>
                  <a:lnTo>
                    <a:pt x="26" y="56"/>
                  </a:lnTo>
                  <a:lnTo>
                    <a:pt x="27" y="52"/>
                  </a:lnTo>
                  <a:lnTo>
                    <a:pt x="32" y="52"/>
                  </a:lnTo>
                  <a:lnTo>
                    <a:pt x="33" y="52"/>
                  </a:lnTo>
                  <a:lnTo>
                    <a:pt x="32" y="50"/>
                  </a:lnTo>
                  <a:lnTo>
                    <a:pt x="29" y="49"/>
                  </a:lnTo>
                  <a:lnTo>
                    <a:pt x="26" y="45"/>
                  </a:lnTo>
                  <a:lnTo>
                    <a:pt x="15" y="45"/>
                  </a:lnTo>
                  <a:lnTo>
                    <a:pt x="14" y="45"/>
                  </a:lnTo>
                  <a:lnTo>
                    <a:pt x="12" y="47"/>
                  </a:lnTo>
                  <a:lnTo>
                    <a:pt x="9" y="47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3" y="47"/>
                  </a:lnTo>
                  <a:lnTo>
                    <a:pt x="3" y="49"/>
                  </a:lnTo>
                  <a:lnTo>
                    <a:pt x="0" y="50"/>
                  </a:lnTo>
                  <a:lnTo>
                    <a:pt x="4" y="50"/>
                  </a:lnTo>
                  <a:lnTo>
                    <a:pt x="4" y="55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4" y="59"/>
                  </a:lnTo>
                  <a:lnTo>
                    <a:pt x="9" y="64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8" name="Freeform 41"/>
            <p:cNvSpPr>
              <a:spLocks/>
            </p:cNvSpPr>
            <p:nvPr/>
          </p:nvSpPr>
          <p:spPr bwMode="auto">
            <a:xfrm>
              <a:off x="6256338" y="2538413"/>
              <a:ext cx="285750" cy="133350"/>
            </a:xfrm>
            <a:custGeom>
              <a:avLst/>
              <a:gdLst>
                <a:gd name="T0" fmla="*/ 178 w 180"/>
                <a:gd name="T1" fmla="*/ 58 h 84"/>
                <a:gd name="T2" fmla="*/ 172 w 180"/>
                <a:gd name="T3" fmla="*/ 47 h 84"/>
                <a:gd name="T4" fmla="*/ 167 w 180"/>
                <a:gd name="T5" fmla="*/ 38 h 84"/>
                <a:gd name="T6" fmla="*/ 164 w 180"/>
                <a:gd name="T7" fmla="*/ 30 h 84"/>
                <a:gd name="T8" fmla="*/ 164 w 180"/>
                <a:gd name="T9" fmla="*/ 27 h 84"/>
                <a:gd name="T10" fmla="*/ 149 w 180"/>
                <a:gd name="T11" fmla="*/ 21 h 84"/>
                <a:gd name="T12" fmla="*/ 135 w 180"/>
                <a:gd name="T13" fmla="*/ 20 h 84"/>
                <a:gd name="T14" fmla="*/ 127 w 180"/>
                <a:gd name="T15" fmla="*/ 12 h 84"/>
                <a:gd name="T16" fmla="*/ 115 w 180"/>
                <a:gd name="T17" fmla="*/ 6 h 84"/>
                <a:gd name="T18" fmla="*/ 109 w 180"/>
                <a:gd name="T19" fmla="*/ 0 h 84"/>
                <a:gd name="T20" fmla="*/ 103 w 180"/>
                <a:gd name="T21" fmla="*/ 5 h 84"/>
                <a:gd name="T22" fmla="*/ 89 w 180"/>
                <a:gd name="T23" fmla="*/ 0 h 84"/>
                <a:gd name="T24" fmla="*/ 77 w 180"/>
                <a:gd name="T25" fmla="*/ 6 h 84"/>
                <a:gd name="T26" fmla="*/ 80 w 180"/>
                <a:gd name="T27" fmla="*/ 23 h 84"/>
                <a:gd name="T28" fmla="*/ 68 w 180"/>
                <a:gd name="T29" fmla="*/ 39 h 84"/>
                <a:gd name="T30" fmla="*/ 54 w 180"/>
                <a:gd name="T31" fmla="*/ 34 h 84"/>
                <a:gd name="T32" fmla="*/ 41 w 180"/>
                <a:gd name="T33" fmla="*/ 20 h 84"/>
                <a:gd name="T34" fmla="*/ 39 w 180"/>
                <a:gd name="T35" fmla="*/ 12 h 84"/>
                <a:gd name="T36" fmla="*/ 25 w 180"/>
                <a:gd name="T37" fmla="*/ 17 h 84"/>
                <a:gd name="T38" fmla="*/ 18 w 180"/>
                <a:gd name="T39" fmla="*/ 20 h 84"/>
                <a:gd name="T40" fmla="*/ 14 w 180"/>
                <a:gd name="T41" fmla="*/ 30 h 84"/>
                <a:gd name="T42" fmla="*/ 12 w 180"/>
                <a:gd name="T43" fmla="*/ 38 h 84"/>
                <a:gd name="T44" fmla="*/ 4 w 180"/>
                <a:gd name="T45" fmla="*/ 51 h 84"/>
                <a:gd name="T46" fmla="*/ 0 w 180"/>
                <a:gd name="T47" fmla="*/ 58 h 84"/>
                <a:gd name="T48" fmla="*/ 6 w 180"/>
                <a:gd name="T49" fmla="*/ 73 h 84"/>
                <a:gd name="T50" fmla="*/ 12 w 180"/>
                <a:gd name="T51" fmla="*/ 73 h 84"/>
                <a:gd name="T52" fmla="*/ 21 w 180"/>
                <a:gd name="T53" fmla="*/ 61 h 84"/>
                <a:gd name="T54" fmla="*/ 42 w 180"/>
                <a:gd name="T55" fmla="*/ 60 h 84"/>
                <a:gd name="T56" fmla="*/ 54 w 180"/>
                <a:gd name="T57" fmla="*/ 61 h 84"/>
                <a:gd name="T58" fmla="*/ 66 w 180"/>
                <a:gd name="T59" fmla="*/ 58 h 84"/>
                <a:gd name="T60" fmla="*/ 71 w 180"/>
                <a:gd name="T61" fmla="*/ 60 h 84"/>
                <a:gd name="T62" fmla="*/ 85 w 180"/>
                <a:gd name="T63" fmla="*/ 66 h 84"/>
                <a:gd name="T64" fmla="*/ 97 w 180"/>
                <a:gd name="T65" fmla="*/ 60 h 84"/>
                <a:gd name="T66" fmla="*/ 115 w 180"/>
                <a:gd name="T67" fmla="*/ 66 h 84"/>
                <a:gd name="T68" fmla="*/ 127 w 180"/>
                <a:gd name="T69" fmla="*/ 75 h 84"/>
                <a:gd name="T70" fmla="*/ 143 w 180"/>
                <a:gd name="T71" fmla="*/ 82 h 84"/>
                <a:gd name="T72" fmla="*/ 144 w 180"/>
                <a:gd name="T73" fmla="*/ 84 h 84"/>
                <a:gd name="T74" fmla="*/ 167 w 180"/>
                <a:gd name="T75" fmla="*/ 78 h 84"/>
                <a:gd name="T76" fmla="*/ 172 w 180"/>
                <a:gd name="T77" fmla="*/ 72 h 84"/>
                <a:gd name="T78" fmla="*/ 180 w 180"/>
                <a:gd name="T79" fmla="*/ 66 h 84"/>
                <a:gd name="T80" fmla="*/ 180 w 180"/>
                <a:gd name="T81" fmla="*/ 6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" h="84">
                  <a:moveTo>
                    <a:pt x="180" y="66"/>
                  </a:moveTo>
                  <a:lnTo>
                    <a:pt x="178" y="58"/>
                  </a:lnTo>
                  <a:lnTo>
                    <a:pt x="174" y="52"/>
                  </a:lnTo>
                  <a:lnTo>
                    <a:pt x="172" y="47"/>
                  </a:lnTo>
                  <a:lnTo>
                    <a:pt x="170" y="44"/>
                  </a:lnTo>
                  <a:lnTo>
                    <a:pt x="167" y="38"/>
                  </a:lnTo>
                  <a:lnTo>
                    <a:pt x="167" y="34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4" y="27"/>
                  </a:lnTo>
                  <a:lnTo>
                    <a:pt x="162" y="23"/>
                  </a:lnTo>
                  <a:lnTo>
                    <a:pt x="149" y="21"/>
                  </a:lnTo>
                  <a:lnTo>
                    <a:pt x="139" y="25"/>
                  </a:lnTo>
                  <a:lnTo>
                    <a:pt x="135" y="20"/>
                  </a:lnTo>
                  <a:lnTo>
                    <a:pt x="129" y="17"/>
                  </a:lnTo>
                  <a:lnTo>
                    <a:pt x="127" y="12"/>
                  </a:lnTo>
                  <a:lnTo>
                    <a:pt x="118" y="6"/>
                  </a:lnTo>
                  <a:lnTo>
                    <a:pt x="115" y="6"/>
                  </a:lnTo>
                  <a:lnTo>
                    <a:pt x="112" y="3"/>
                  </a:lnTo>
                  <a:lnTo>
                    <a:pt x="109" y="0"/>
                  </a:lnTo>
                  <a:lnTo>
                    <a:pt x="106" y="5"/>
                  </a:lnTo>
                  <a:lnTo>
                    <a:pt x="103" y="5"/>
                  </a:lnTo>
                  <a:lnTo>
                    <a:pt x="97" y="0"/>
                  </a:lnTo>
                  <a:lnTo>
                    <a:pt x="89" y="0"/>
                  </a:lnTo>
                  <a:lnTo>
                    <a:pt x="80" y="6"/>
                  </a:lnTo>
                  <a:lnTo>
                    <a:pt x="77" y="6"/>
                  </a:lnTo>
                  <a:lnTo>
                    <a:pt x="77" y="14"/>
                  </a:lnTo>
                  <a:lnTo>
                    <a:pt x="80" y="23"/>
                  </a:lnTo>
                  <a:lnTo>
                    <a:pt x="77" y="33"/>
                  </a:lnTo>
                  <a:lnTo>
                    <a:pt x="68" y="39"/>
                  </a:lnTo>
                  <a:lnTo>
                    <a:pt x="62" y="39"/>
                  </a:lnTo>
                  <a:lnTo>
                    <a:pt x="54" y="34"/>
                  </a:lnTo>
                  <a:lnTo>
                    <a:pt x="54" y="30"/>
                  </a:lnTo>
                  <a:lnTo>
                    <a:pt x="41" y="20"/>
                  </a:lnTo>
                  <a:lnTo>
                    <a:pt x="41" y="12"/>
                  </a:lnTo>
                  <a:lnTo>
                    <a:pt x="39" y="12"/>
                  </a:lnTo>
                  <a:lnTo>
                    <a:pt x="33" y="16"/>
                  </a:lnTo>
                  <a:lnTo>
                    <a:pt x="25" y="17"/>
                  </a:lnTo>
                  <a:lnTo>
                    <a:pt x="24" y="20"/>
                  </a:lnTo>
                  <a:lnTo>
                    <a:pt x="18" y="20"/>
                  </a:lnTo>
                  <a:lnTo>
                    <a:pt x="12" y="25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38"/>
                  </a:lnTo>
                  <a:lnTo>
                    <a:pt x="4" y="45"/>
                  </a:lnTo>
                  <a:lnTo>
                    <a:pt x="4" y="51"/>
                  </a:lnTo>
                  <a:lnTo>
                    <a:pt x="4" y="55"/>
                  </a:lnTo>
                  <a:lnTo>
                    <a:pt x="0" y="58"/>
                  </a:lnTo>
                  <a:lnTo>
                    <a:pt x="2" y="69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12" y="73"/>
                  </a:lnTo>
                  <a:lnTo>
                    <a:pt x="14" y="67"/>
                  </a:lnTo>
                  <a:lnTo>
                    <a:pt x="21" y="61"/>
                  </a:lnTo>
                  <a:lnTo>
                    <a:pt x="33" y="58"/>
                  </a:lnTo>
                  <a:lnTo>
                    <a:pt x="42" y="60"/>
                  </a:lnTo>
                  <a:lnTo>
                    <a:pt x="51" y="58"/>
                  </a:lnTo>
                  <a:lnTo>
                    <a:pt x="54" y="61"/>
                  </a:lnTo>
                  <a:lnTo>
                    <a:pt x="60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71" y="60"/>
                  </a:lnTo>
                  <a:lnTo>
                    <a:pt x="75" y="66"/>
                  </a:lnTo>
                  <a:lnTo>
                    <a:pt x="85" y="66"/>
                  </a:lnTo>
                  <a:lnTo>
                    <a:pt x="86" y="66"/>
                  </a:lnTo>
                  <a:lnTo>
                    <a:pt x="97" y="60"/>
                  </a:lnTo>
                  <a:lnTo>
                    <a:pt x="106" y="66"/>
                  </a:lnTo>
                  <a:lnTo>
                    <a:pt x="115" y="66"/>
                  </a:lnTo>
                  <a:lnTo>
                    <a:pt x="122" y="73"/>
                  </a:lnTo>
                  <a:lnTo>
                    <a:pt x="127" y="75"/>
                  </a:lnTo>
                  <a:lnTo>
                    <a:pt x="135" y="82"/>
                  </a:lnTo>
                  <a:lnTo>
                    <a:pt x="143" y="82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55" y="81"/>
                  </a:lnTo>
                  <a:lnTo>
                    <a:pt x="167" y="78"/>
                  </a:lnTo>
                  <a:lnTo>
                    <a:pt x="168" y="73"/>
                  </a:lnTo>
                  <a:lnTo>
                    <a:pt x="172" y="72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80" y="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9" name="Freeform 42"/>
            <p:cNvSpPr>
              <a:spLocks/>
            </p:cNvSpPr>
            <p:nvPr/>
          </p:nvSpPr>
          <p:spPr bwMode="auto">
            <a:xfrm>
              <a:off x="6269038" y="2628901"/>
              <a:ext cx="217488" cy="141288"/>
            </a:xfrm>
            <a:custGeom>
              <a:avLst/>
              <a:gdLst>
                <a:gd name="T0" fmla="*/ 43 w 137"/>
                <a:gd name="T1" fmla="*/ 57 h 89"/>
                <a:gd name="T2" fmla="*/ 43 w 137"/>
                <a:gd name="T3" fmla="*/ 49 h 89"/>
                <a:gd name="T4" fmla="*/ 40 w 137"/>
                <a:gd name="T5" fmla="*/ 43 h 89"/>
                <a:gd name="T6" fmla="*/ 26 w 137"/>
                <a:gd name="T7" fmla="*/ 46 h 89"/>
                <a:gd name="T8" fmla="*/ 11 w 137"/>
                <a:gd name="T9" fmla="*/ 32 h 89"/>
                <a:gd name="T10" fmla="*/ 0 w 137"/>
                <a:gd name="T11" fmla="*/ 34 h 89"/>
                <a:gd name="T12" fmla="*/ 0 w 137"/>
                <a:gd name="T13" fmla="*/ 23 h 89"/>
                <a:gd name="T14" fmla="*/ 6 w 137"/>
                <a:gd name="T15" fmla="*/ 15 h 89"/>
                <a:gd name="T16" fmla="*/ 14 w 137"/>
                <a:gd name="T17" fmla="*/ 3 h 89"/>
                <a:gd name="T18" fmla="*/ 35 w 137"/>
                <a:gd name="T19" fmla="*/ 2 h 89"/>
                <a:gd name="T20" fmla="*/ 47 w 137"/>
                <a:gd name="T21" fmla="*/ 3 h 89"/>
                <a:gd name="T22" fmla="*/ 58 w 137"/>
                <a:gd name="T23" fmla="*/ 0 h 89"/>
                <a:gd name="T24" fmla="*/ 64 w 137"/>
                <a:gd name="T25" fmla="*/ 2 h 89"/>
                <a:gd name="T26" fmla="*/ 78 w 137"/>
                <a:gd name="T27" fmla="*/ 8 h 89"/>
                <a:gd name="T28" fmla="*/ 90 w 137"/>
                <a:gd name="T29" fmla="*/ 2 h 89"/>
                <a:gd name="T30" fmla="*/ 107 w 137"/>
                <a:gd name="T31" fmla="*/ 8 h 89"/>
                <a:gd name="T32" fmla="*/ 120 w 137"/>
                <a:gd name="T33" fmla="*/ 17 h 89"/>
                <a:gd name="T34" fmla="*/ 136 w 137"/>
                <a:gd name="T35" fmla="*/ 25 h 89"/>
                <a:gd name="T36" fmla="*/ 131 w 137"/>
                <a:gd name="T37" fmla="*/ 34 h 89"/>
                <a:gd name="T38" fmla="*/ 136 w 137"/>
                <a:gd name="T39" fmla="*/ 42 h 89"/>
                <a:gd name="T40" fmla="*/ 122 w 137"/>
                <a:gd name="T41" fmla="*/ 52 h 89"/>
                <a:gd name="T42" fmla="*/ 116 w 137"/>
                <a:gd name="T43" fmla="*/ 62 h 89"/>
                <a:gd name="T44" fmla="*/ 122 w 137"/>
                <a:gd name="T45" fmla="*/ 70 h 89"/>
                <a:gd name="T46" fmla="*/ 114 w 137"/>
                <a:gd name="T47" fmla="*/ 68 h 89"/>
                <a:gd name="T48" fmla="*/ 107 w 137"/>
                <a:gd name="T49" fmla="*/ 75 h 89"/>
                <a:gd name="T50" fmla="*/ 101 w 137"/>
                <a:gd name="T51" fmla="*/ 83 h 89"/>
                <a:gd name="T52" fmla="*/ 90 w 137"/>
                <a:gd name="T53" fmla="*/ 87 h 89"/>
                <a:gd name="T54" fmla="*/ 72 w 137"/>
                <a:gd name="T55" fmla="*/ 86 h 89"/>
                <a:gd name="T56" fmla="*/ 63 w 137"/>
                <a:gd name="T57" fmla="*/ 86 h 89"/>
                <a:gd name="T58" fmla="*/ 60 w 137"/>
                <a:gd name="T59" fmla="*/ 70 h 89"/>
                <a:gd name="T60" fmla="*/ 49 w 137"/>
                <a:gd name="T61" fmla="*/ 64 h 89"/>
                <a:gd name="T62" fmla="*/ 43 w 137"/>
                <a:gd name="T63" fmla="*/ 6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7" h="89">
                  <a:moveTo>
                    <a:pt x="43" y="64"/>
                  </a:moveTo>
                  <a:lnTo>
                    <a:pt x="43" y="57"/>
                  </a:lnTo>
                  <a:lnTo>
                    <a:pt x="47" y="52"/>
                  </a:lnTo>
                  <a:lnTo>
                    <a:pt x="43" y="49"/>
                  </a:lnTo>
                  <a:lnTo>
                    <a:pt x="40" y="49"/>
                  </a:lnTo>
                  <a:lnTo>
                    <a:pt x="40" y="43"/>
                  </a:lnTo>
                  <a:lnTo>
                    <a:pt x="35" y="42"/>
                  </a:lnTo>
                  <a:lnTo>
                    <a:pt x="26" y="46"/>
                  </a:lnTo>
                  <a:lnTo>
                    <a:pt x="18" y="42"/>
                  </a:lnTo>
                  <a:lnTo>
                    <a:pt x="11" y="32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1" y="31"/>
                  </a:lnTo>
                  <a:lnTo>
                    <a:pt x="0" y="23"/>
                  </a:lnTo>
                  <a:lnTo>
                    <a:pt x="0" y="15"/>
                  </a:lnTo>
                  <a:lnTo>
                    <a:pt x="6" y="15"/>
                  </a:lnTo>
                  <a:lnTo>
                    <a:pt x="7" y="9"/>
                  </a:lnTo>
                  <a:lnTo>
                    <a:pt x="14" y="3"/>
                  </a:lnTo>
                  <a:lnTo>
                    <a:pt x="26" y="0"/>
                  </a:lnTo>
                  <a:lnTo>
                    <a:pt x="35" y="2"/>
                  </a:lnTo>
                  <a:lnTo>
                    <a:pt x="43" y="0"/>
                  </a:lnTo>
                  <a:lnTo>
                    <a:pt x="47" y="3"/>
                  </a:lnTo>
                  <a:lnTo>
                    <a:pt x="53" y="0"/>
                  </a:lnTo>
                  <a:lnTo>
                    <a:pt x="58" y="0"/>
                  </a:lnTo>
                  <a:lnTo>
                    <a:pt x="58" y="2"/>
                  </a:lnTo>
                  <a:lnTo>
                    <a:pt x="64" y="2"/>
                  </a:lnTo>
                  <a:lnTo>
                    <a:pt x="68" y="8"/>
                  </a:lnTo>
                  <a:lnTo>
                    <a:pt x="78" y="8"/>
                  </a:lnTo>
                  <a:lnTo>
                    <a:pt x="79" y="8"/>
                  </a:lnTo>
                  <a:lnTo>
                    <a:pt x="90" y="2"/>
                  </a:lnTo>
                  <a:lnTo>
                    <a:pt x="99" y="8"/>
                  </a:lnTo>
                  <a:lnTo>
                    <a:pt x="107" y="8"/>
                  </a:lnTo>
                  <a:lnTo>
                    <a:pt x="114" y="15"/>
                  </a:lnTo>
                  <a:lnTo>
                    <a:pt x="120" y="17"/>
                  </a:lnTo>
                  <a:lnTo>
                    <a:pt x="127" y="25"/>
                  </a:lnTo>
                  <a:lnTo>
                    <a:pt x="136" y="25"/>
                  </a:lnTo>
                  <a:lnTo>
                    <a:pt x="137" y="26"/>
                  </a:lnTo>
                  <a:lnTo>
                    <a:pt x="131" y="34"/>
                  </a:lnTo>
                  <a:lnTo>
                    <a:pt x="136" y="37"/>
                  </a:lnTo>
                  <a:lnTo>
                    <a:pt x="136" y="42"/>
                  </a:lnTo>
                  <a:lnTo>
                    <a:pt x="126" y="46"/>
                  </a:lnTo>
                  <a:lnTo>
                    <a:pt x="122" y="52"/>
                  </a:lnTo>
                  <a:lnTo>
                    <a:pt x="116" y="55"/>
                  </a:lnTo>
                  <a:lnTo>
                    <a:pt x="116" y="62"/>
                  </a:lnTo>
                  <a:lnTo>
                    <a:pt x="122" y="64"/>
                  </a:lnTo>
                  <a:lnTo>
                    <a:pt x="122" y="70"/>
                  </a:lnTo>
                  <a:lnTo>
                    <a:pt x="116" y="70"/>
                  </a:lnTo>
                  <a:lnTo>
                    <a:pt x="114" y="68"/>
                  </a:lnTo>
                  <a:lnTo>
                    <a:pt x="110" y="68"/>
                  </a:lnTo>
                  <a:lnTo>
                    <a:pt x="107" y="75"/>
                  </a:lnTo>
                  <a:lnTo>
                    <a:pt x="99" y="75"/>
                  </a:lnTo>
                  <a:lnTo>
                    <a:pt x="101" y="83"/>
                  </a:lnTo>
                  <a:lnTo>
                    <a:pt x="96" y="83"/>
                  </a:lnTo>
                  <a:lnTo>
                    <a:pt x="90" y="87"/>
                  </a:lnTo>
                  <a:lnTo>
                    <a:pt x="81" y="83"/>
                  </a:lnTo>
                  <a:lnTo>
                    <a:pt x="72" y="86"/>
                  </a:lnTo>
                  <a:lnTo>
                    <a:pt x="66" y="89"/>
                  </a:lnTo>
                  <a:lnTo>
                    <a:pt x="63" y="86"/>
                  </a:lnTo>
                  <a:lnTo>
                    <a:pt x="63" y="80"/>
                  </a:lnTo>
                  <a:lnTo>
                    <a:pt x="60" y="70"/>
                  </a:lnTo>
                  <a:lnTo>
                    <a:pt x="58" y="70"/>
                  </a:lnTo>
                  <a:lnTo>
                    <a:pt x="49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0" name="Freeform 43"/>
            <p:cNvSpPr>
              <a:spLocks/>
            </p:cNvSpPr>
            <p:nvPr/>
          </p:nvSpPr>
          <p:spPr bwMode="auto">
            <a:xfrm>
              <a:off x="6373813" y="2638426"/>
              <a:ext cx="368300" cy="250825"/>
            </a:xfrm>
            <a:custGeom>
              <a:avLst/>
              <a:gdLst>
                <a:gd name="T0" fmla="*/ 5 w 232"/>
                <a:gd name="T1" fmla="*/ 79 h 158"/>
                <a:gd name="T2" fmla="*/ 23 w 232"/>
                <a:gd name="T3" fmla="*/ 80 h 158"/>
                <a:gd name="T4" fmla="*/ 34 w 232"/>
                <a:gd name="T5" fmla="*/ 76 h 158"/>
                <a:gd name="T6" fmla="*/ 40 w 232"/>
                <a:gd name="T7" fmla="*/ 68 h 158"/>
                <a:gd name="T8" fmla="*/ 47 w 232"/>
                <a:gd name="T9" fmla="*/ 62 h 158"/>
                <a:gd name="T10" fmla="*/ 55 w 232"/>
                <a:gd name="T11" fmla="*/ 63 h 158"/>
                <a:gd name="T12" fmla="*/ 49 w 232"/>
                <a:gd name="T13" fmla="*/ 56 h 158"/>
                <a:gd name="T14" fmla="*/ 55 w 232"/>
                <a:gd name="T15" fmla="*/ 46 h 158"/>
                <a:gd name="T16" fmla="*/ 69 w 232"/>
                <a:gd name="T17" fmla="*/ 36 h 158"/>
                <a:gd name="T18" fmla="*/ 64 w 232"/>
                <a:gd name="T19" fmla="*/ 28 h 158"/>
                <a:gd name="T20" fmla="*/ 80 w 232"/>
                <a:gd name="T21" fmla="*/ 17 h 158"/>
                <a:gd name="T22" fmla="*/ 93 w 232"/>
                <a:gd name="T23" fmla="*/ 9 h 158"/>
                <a:gd name="T24" fmla="*/ 98 w 232"/>
                <a:gd name="T25" fmla="*/ 2 h 158"/>
                <a:gd name="T26" fmla="*/ 110 w 232"/>
                <a:gd name="T27" fmla="*/ 3 h 158"/>
                <a:gd name="T28" fmla="*/ 124 w 232"/>
                <a:gd name="T29" fmla="*/ 8 h 158"/>
                <a:gd name="T30" fmla="*/ 136 w 232"/>
                <a:gd name="T31" fmla="*/ 6 h 158"/>
                <a:gd name="T32" fmla="*/ 148 w 232"/>
                <a:gd name="T33" fmla="*/ 9 h 158"/>
                <a:gd name="T34" fmla="*/ 159 w 232"/>
                <a:gd name="T35" fmla="*/ 11 h 158"/>
                <a:gd name="T36" fmla="*/ 176 w 232"/>
                <a:gd name="T37" fmla="*/ 15 h 158"/>
                <a:gd name="T38" fmla="*/ 176 w 232"/>
                <a:gd name="T39" fmla="*/ 26 h 158"/>
                <a:gd name="T40" fmla="*/ 179 w 232"/>
                <a:gd name="T41" fmla="*/ 39 h 158"/>
                <a:gd name="T42" fmla="*/ 188 w 232"/>
                <a:gd name="T43" fmla="*/ 52 h 158"/>
                <a:gd name="T44" fmla="*/ 202 w 232"/>
                <a:gd name="T45" fmla="*/ 63 h 158"/>
                <a:gd name="T46" fmla="*/ 214 w 232"/>
                <a:gd name="T47" fmla="*/ 74 h 158"/>
                <a:gd name="T48" fmla="*/ 225 w 232"/>
                <a:gd name="T49" fmla="*/ 88 h 158"/>
                <a:gd name="T50" fmla="*/ 229 w 232"/>
                <a:gd name="T51" fmla="*/ 93 h 158"/>
                <a:gd name="T52" fmla="*/ 210 w 232"/>
                <a:gd name="T53" fmla="*/ 104 h 158"/>
                <a:gd name="T54" fmla="*/ 200 w 232"/>
                <a:gd name="T55" fmla="*/ 102 h 158"/>
                <a:gd name="T56" fmla="*/ 205 w 232"/>
                <a:gd name="T57" fmla="*/ 117 h 158"/>
                <a:gd name="T58" fmla="*/ 211 w 232"/>
                <a:gd name="T59" fmla="*/ 130 h 158"/>
                <a:gd name="T60" fmla="*/ 211 w 232"/>
                <a:gd name="T61" fmla="*/ 136 h 158"/>
                <a:gd name="T62" fmla="*/ 193 w 232"/>
                <a:gd name="T63" fmla="*/ 140 h 158"/>
                <a:gd name="T64" fmla="*/ 187 w 232"/>
                <a:gd name="T65" fmla="*/ 156 h 158"/>
                <a:gd name="T66" fmla="*/ 176 w 232"/>
                <a:gd name="T67" fmla="*/ 155 h 158"/>
                <a:gd name="T68" fmla="*/ 164 w 232"/>
                <a:gd name="T69" fmla="*/ 153 h 158"/>
                <a:gd name="T70" fmla="*/ 153 w 232"/>
                <a:gd name="T71" fmla="*/ 158 h 158"/>
                <a:gd name="T72" fmla="*/ 147 w 232"/>
                <a:gd name="T73" fmla="*/ 153 h 158"/>
                <a:gd name="T74" fmla="*/ 130 w 232"/>
                <a:gd name="T75" fmla="*/ 156 h 158"/>
                <a:gd name="T76" fmla="*/ 118 w 232"/>
                <a:gd name="T77" fmla="*/ 155 h 158"/>
                <a:gd name="T78" fmla="*/ 112 w 232"/>
                <a:gd name="T79" fmla="*/ 156 h 158"/>
                <a:gd name="T80" fmla="*/ 97 w 232"/>
                <a:gd name="T81" fmla="*/ 156 h 158"/>
                <a:gd name="T82" fmla="*/ 90 w 232"/>
                <a:gd name="T83" fmla="*/ 150 h 158"/>
                <a:gd name="T84" fmla="*/ 66 w 232"/>
                <a:gd name="T85" fmla="*/ 146 h 158"/>
                <a:gd name="T86" fmla="*/ 57 w 232"/>
                <a:gd name="T87" fmla="*/ 149 h 158"/>
                <a:gd name="T88" fmla="*/ 30 w 232"/>
                <a:gd name="T89" fmla="*/ 150 h 158"/>
                <a:gd name="T90" fmla="*/ 15 w 232"/>
                <a:gd name="T91" fmla="*/ 150 h 158"/>
                <a:gd name="T92" fmla="*/ 11 w 232"/>
                <a:gd name="T93" fmla="*/ 147 h 158"/>
                <a:gd name="T94" fmla="*/ 3 w 232"/>
                <a:gd name="T95" fmla="*/ 132 h 158"/>
                <a:gd name="T96" fmla="*/ 12 w 232"/>
                <a:gd name="T97" fmla="*/ 125 h 158"/>
                <a:gd name="T98" fmla="*/ 9 w 232"/>
                <a:gd name="T99" fmla="*/ 108 h 158"/>
                <a:gd name="T100" fmla="*/ 5 w 232"/>
                <a:gd name="T101" fmla="*/ 97 h 158"/>
                <a:gd name="T102" fmla="*/ 0 w 232"/>
                <a:gd name="T103" fmla="*/ 82 h 158"/>
                <a:gd name="T104" fmla="*/ 0 w 232"/>
                <a:gd name="T105" fmla="*/ 8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2" h="158">
                  <a:moveTo>
                    <a:pt x="0" y="82"/>
                  </a:moveTo>
                  <a:lnTo>
                    <a:pt x="5" y="79"/>
                  </a:lnTo>
                  <a:lnTo>
                    <a:pt x="15" y="76"/>
                  </a:lnTo>
                  <a:lnTo>
                    <a:pt x="23" y="80"/>
                  </a:lnTo>
                  <a:lnTo>
                    <a:pt x="30" y="76"/>
                  </a:lnTo>
                  <a:lnTo>
                    <a:pt x="34" y="76"/>
                  </a:lnTo>
                  <a:lnTo>
                    <a:pt x="32" y="68"/>
                  </a:lnTo>
                  <a:lnTo>
                    <a:pt x="40" y="68"/>
                  </a:lnTo>
                  <a:lnTo>
                    <a:pt x="43" y="62"/>
                  </a:lnTo>
                  <a:lnTo>
                    <a:pt x="47" y="62"/>
                  </a:lnTo>
                  <a:lnTo>
                    <a:pt x="49" y="63"/>
                  </a:lnTo>
                  <a:lnTo>
                    <a:pt x="55" y="63"/>
                  </a:lnTo>
                  <a:lnTo>
                    <a:pt x="55" y="57"/>
                  </a:lnTo>
                  <a:lnTo>
                    <a:pt x="49" y="56"/>
                  </a:lnTo>
                  <a:lnTo>
                    <a:pt x="49" y="48"/>
                  </a:lnTo>
                  <a:lnTo>
                    <a:pt x="55" y="46"/>
                  </a:lnTo>
                  <a:lnTo>
                    <a:pt x="58" y="39"/>
                  </a:lnTo>
                  <a:lnTo>
                    <a:pt x="69" y="36"/>
                  </a:lnTo>
                  <a:lnTo>
                    <a:pt x="69" y="30"/>
                  </a:lnTo>
                  <a:lnTo>
                    <a:pt x="64" y="28"/>
                  </a:lnTo>
                  <a:lnTo>
                    <a:pt x="70" y="20"/>
                  </a:lnTo>
                  <a:lnTo>
                    <a:pt x="80" y="17"/>
                  </a:lnTo>
                  <a:lnTo>
                    <a:pt x="92" y="15"/>
                  </a:lnTo>
                  <a:lnTo>
                    <a:pt x="93" y="9"/>
                  </a:lnTo>
                  <a:lnTo>
                    <a:pt x="97" y="8"/>
                  </a:lnTo>
                  <a:lnTo>
                    <a:pt x="98" y="2"/>
                  </a:lnTo>
                  <a:lnTo>
                    <a:pt x="107" y="0"/>
                  </a:lnTo>
                  <a:lnTo>
                    <a:pt x="110" y="3"/>
                  </a:lnTo>
                  <a:lnTo>
                    <a:pt x="118" y="0"/>
                  </a:lnTo>
                  <a:lnTo>
                    <a:pt x="124" y="8"/>
                  </a:lnTo>
                  <a:lnTo>
                    <a:pt x="130" y="6"/>
                  </a:lnTo>
                  <a:lnTo>
                    <a:pt x="136" y="6"/>
                  </a:lnTo>
                  <a:lnTo>
                    <a:pt x="141" y="15"/>
                  </a:lnTo>
                  <a:lnTo>
                    <a:pt x="148" y="9"/>
                  </a:lnTo>
                  <a:lnTo>
                    <a:pt x="156" y="8"/>
                  </a:lnTo>
                  <a:lnTo>
                    <a:pt x="159" y="11"/>
                  </a:lnTo>
                  <a:lnTo>
                    <a:pt x="164" y="11"/>
                  </a:lnTo>
                  <a:lnTo>
                    <a:pt x="176" y="15"/>
                  </a:lnTo>
                  <a:lnTo>
                    <a:pt x="177" y="20"/>
                  </a:lnTo>
                  <a:lnTo>
                    <a:pt x="176" y="26"/>
                  </a:lnTo>
                  <a:lnTo>
                    <a:pt x="179" y="31"/>
                  </a:lnTo>
                  <a:lnTo>
                    <a:pt x="179" y="39"/>
                  </a:lnTo>
                  <a:lnTo>
                    <a:pt x="187" y="45"/>
                  </a:lnTo>
                  <a:lnTo>
                    <a:pt x="188" y="52"/>
                  </a:lnTo>
                  <a:lnTo>
                    <a:pt x="196" y="62"/>
                  </a:lnTo>
                  <a:lnTo>
                    <a:pt x="202" y="63"/>
                  </a:lnTo>
                  <a:lnTo>
                    <a:pt x="204" y="73"/>
                  </a:lnTo>
                  <a:lnTo>
                    <a:pt x="214" y="74"/>
                  </a:lnTo>
                  <a:lnTo>
                    <a:pt x="225" y="82"/>
                  </a:lnTo>
                  <a:lnTo>
                    <a:pt x="225" y="88"/>
                  </a:lnTo>
                  <a:lnTo>
                    <a:pt x="232" y="91"/>
                  </a:lnTo>
                  <a:lnTo>
                    <a:pt x="229" y="93"/>
                  </a:lnTo>
                  <a:lnTo>
                    <a:pt x="223" y="102"/>
                  </a:lnTo>
                  <a:lnTo>
                    <a:pt x="210" y="104"/>
                  </a:lnTo>
                  <a:lnTo>
                    <a:pt x="204" y="99"/>
                  </a:lnTo>
                  <a:lnTo>
                    <a:pt x="200" y="102"/>
                  </a:lnTo>
                  <a:lnTo>
                    <a:pt x="202" y="108"/>
                  </a:lnTo>
                  <a:lnTo>
                    <a:pt x="205" y="117"/>
                  </a:lnTo>
                  <a:lnTo>
                    <a:pt x="205" y="123"/>
                  </a:lnTo>
                  <a:lnTo>
                    <a:pt x="211" y="130"/>
                  </a:lnTo>
                  <a:lnTo>
                    <a:pt x="211" y="136"/>
                  </a:lnTo>
                  <a:lnTo>
                    <a:pt x="211" y="136"/>
                  </a:lnTo>
                  <a:lnTo>
                    <a:pt x="200" y="138"/>
                  </a:lnTo>
                  <a:lnTo>
                    <a:pt x="193" y="140"/>
                  </a:lnTo>
                  <a:lnTo>
                    <a:pt x="187" y="149"/>
                  </a:lnTo>
                  <a:lnTo>
                    <a:pt x="187" y="156"/>
                  </a:lnTo>
                  <a:lnTo>
                    <a:pt x="182" y="158"/>
                  </a:lnTo>
                  <a:lnTo>
                    <a:pt x="176" y="155"/>
                  </a:lnTo>
                  <a:lnTo>
                    <a:pt x="168" y="156"/>
                  </a:lnTo>
                  <a:lnTo>
                    <a:pt x="164" y="153"/>
                  </a:lnTo>
                  <a:lnTo>
                    <a:pt x="158" y="153"/>
                  </a:lnTo>
                  <a:lnTo>
                    <a:pt x="153" y="158"/>
                  </a:lnTo>
                  <a:lnTo>
                    <a:pt x="148" y="158"/>
                  </a:lnTo>
                  <a:lnTo>
                    <a:pt x="147" y="153"/>
                  </a:lnTo>
                  <a:lnTo>
                    <a:pt x="139" y="153"/>
                  </a:lnTo>
                  <a:lnTo>
                    <a:pt x="130" y="156"/>
                  </a:lnTo>
                  <a:lnTo>
                    <a:pt x="125" y="155"/>
                  </a:lnTo>
                  <a:lnTo>
                    <a:pt x="118" y="155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07" y="153"/>
                  </a:lnTo>
                  <a:lnTo>
                    <a:pt x="97" y="156"/>
                  </a:lnTo>
                  <a:lnTo>
                    <a:pt x="97" y="153"/>
                  </a:lnTo>
                  <a:lnTo>
                    <a:pt x="90" y="150"/>
                  </a:lnTo>
                  <a:lnTo>
                    <a:pt x="75" y="149"/>
                  </a:lnTo>
                  <a:lnTo>
                    <a:pt x="66" y="146"/>
                  </a:lnTo>
                  <a:lnTo>
                    <a:pt x="63" y="146"/>
                  </a:lnTo>
                  <a:lnTo>
                    <a:pt x="57" y="149"/>
                  </a:lnTo>
                  <a:lnTo>
                    <a:pt x="49" y="149"/>
                  </a:lnTo>
                  <a:lnTo>
                    <a:pt x="30" y="150"/>
                  </a:lnTo>
                  <a:lnTo>
                    <a:pt x="24" y="155"/>
                  </a:lnTo>
                  <a:lnTo>
                    <a:pt x="15" y="150"/>
                  </a:lnTo>
                  <a:lnTo>
                    <a:pt x="11" y="150"/>
                  </a:lnTo>
                  <a:lnTo>
                    <a:pt x="11" y="147"/>
                  </a:lnTo>
                  <a:lnTo>
                    <a:pt x="5" y="140"/>
                  </a:lnTo>
                  <a:lnTo>
                    <a:pt x="3" y="132"/>
                  </a:lnTo>
                  <a:lnTo>
                    <a:pt x="6" y="127"/>
                  </a:lnTo>
                  <a:lnTo>
                    <a:pt x="12" y="125"/>
                  </a:lnTo>
                  <a:lnTo>
                    <a:pt x="12" y="110"/>
                  </a:lnTo>
                  <a:lnTo>
                    <a:pt x="9" y="108"/>
                  </a:lnTo>
                  <a:lnTo>
                    <a:pt x="9" y="101"/>
                  </a:lnTo>
                  <a:lnTo>
                    <a:pt x="5" y="97"/>
                  </a:lnTo>
                  <a:lnTo>
                    <a:pt x="1" y="84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1" name="Freeform 44"/>
            <p:cNvSpPr>
              <a:spLocks/>
            </p:cNvSpPr>
            <p:nvPr/>
          </p:nvSpPr>
          <p:spPr bwMode="auto">
            <a:xfrm>
              <a:off x="6345238" y="2836863"/>
              <a:ext cx="728663" cy="400050"/>
            </a:xfrm>
            <a:custGeom>
              <a:avLst/>
              <a:gdLst>
                <a:gd name="T0" fmla="*/ 67 w 459"/>
                <a:gd name="T1" fmla="*/ 22 h 252"/>
                <a:gd name="T2" fmla="*/ 107 w 459"/>
                <a:gd name="T3" fmla="*/ 23 h 252"/>
                <a:gd name="T4" fmla="*/ 133 w 459"/>
                <a:gd name="T5" fmla="*/ 29 h 252"/>
                <a:gd name="T6" fmla="*/ 164 w 459"/>
                <a:gd name="T7" fmla="*/ 25 h 252"/>
                <a:gd name="T8" fmla="*/ 185 w 459"/>
                <a:gd name="T9" fmla="*/ 29 h 252"/>
                <a:gd name="T10" fmla="*/ 210 w 459"/>
                <a:gd name="T11" fmla="*/ 13 h 252"/>
                <a:gd name="T12" fmla="*/ 240 w 459"/>
                <a:gd name="T13" fmla="*/ 3 h 252"/>
                <a:gd name="T14" fmla="*/ 286 w 459"/>
                <a:gd name="T15" fmla="*/ 2 h 252"/>
                <a:gd name="T16" fmla="*/ 315 w 459"/>
                <a:gd name="T17" fmla="*/ 29 h 252"/>
                <a:gd name="T18" fmla="*/ 330 w 459"/>
                <a:gd name="T19" fmla="*/ 54 h 252"/>
                <a:gd name="T20" fmla="*/ 368 w 459"/>
                <a:gd name="T21" fmla="*/ 62 h 252"/>
                <a:gd name="T22" fmla="*/ 399 w 459"/>
                <a:gd name="T23" fmla="*/ 79 h 252"/>
                <a:gd name="T24" fmla="*/ 431 w 459"/>
                <a:gd name="T25" fmla="*/ 79 h 252"/>
                <a:gd name="T26" fmla="*/ 459 w 459"/>
                <a:gd name="T27" fmla="*/ 88 h 252"/>
                <a:gd name="T28" fmla="*/ 454 w 459"/>
                <a:gd name="T29" fmla="*/ 118 h 252"/>
                <a:gd name="T30" fmla="*/ 436 w 459"/>
                <a:gd name="T31" fmla="*/ 144 h 252"/>
                <a:gd name="T32" fmla="*/ 418 w 459"/>
                <a:gd name="T33" fmla="*/ 164 h 252"/>
                <a:gd name="T34" fmla="*/ 396 w 459"/>
                <a:gd name="T35" fmla="*/ 172 h 252"/>
                <a:gd name="T36" fmla="*/ 372 w 459"/>
                <a:gd name="T37" fmla="*/ 181 h 252"/>
                <a:gd name="T38" fmla="*/ 347 w 459"/>
                <a:gd name="T39" fmla="*/ 181 h 252"/>
                <a:gd name="T40" fmla="*/ 341 w 459"/>
                <a:gd name="T41" fmla="*/ 198 h 252"/>
                <a:gd name="T42" fmla="*/ 344 w 459"/>
                <a:gd name="T43" fmla="*/ 189 h 252"/>
                <a:gd name="T44" fmla="*/ 326 w 459"/>
                <a:gd name="T45" fmla="*/ 201 h 252"/>
                <a:gd name="T46" fmla="*/ 306 w 459"/>
                <a:gd name="T47" fmla="*/ 201 h 252"/>
                <a:gd name="T48" fmla="*/ 329 w 459"/>
                <a:gd name="T49" fmla="*/ 209 h 252"/>
                <a:gd name="T50" fmla="*/ 332 w 459"/>
                <a:gd name="T51" fmla="*/ 215 h 252"/>
                <a:gd name="T52" fmla="*/ 341 w 459"/>
                <a:gd name="T53" fmla="*/ 226 h 252"/>
                <a:gd name="T54" fmla="*/ 330 w 459"/>
                <a:gd name="T55" fmla="*/ 201 h 252"/>
                <a:gd name="T56" fmla="*/ 355 w 459"/>
                <a:gd name="T57" fmla="*/ 226 h 252"/>
                <a:gd name="T58" fmla="*/ 379 w 459"/>
                <a:gd name="T59" fmla="*/ 218 h 252"/>
                <a:gd name="T60" fmla="*/ 379 w 459"/>
                <a:gd name="T61" fmla="*/ 232 h 252"/>
                <a:gd name="T62" fmla="*/ 340 w 459"/>
                <a:gd name="T63" fmla="*/ 241 h 252"/>
                <a:gd name="T64" fmla="*/ 304 w 459"/>
                <a:gd name="T65" fmla="*/ 246 h 252"/>
                <a:gd name="T66" fmla="*/ 289 w 459"/>
                <a:gd name="T67" fmla="*/ 226 h 252"/>
                <a:gd name="T68" fmla="*/ 304 w 459"/>
                <a:gd name="T69" fmla="*/ 213 h 252"/>
                <a:gd name="T70" fmla="*/ 298 w 459"/>
                <a:gd name="T71" fmla="*/ 205 h 252"/>
                <a:gd name="T72" fmla="*/ 269 w 459"/>
                <a:gd name="T73" fmla="*/ 201 h 252"/>
                <a:gd name="T74" fmla="*/ 258 w 459"/>
                <a:gd name="T75" fmla="*/ 192 h 252"/>
                <a:gd name="T76" fmla="*/ 265 w 459"/>
                <a:gd name="T77" fmla="*/ 189 h 252"/>
                <a:gd name="T78" fmla="*/ 260 w 459"/>
                <a:gd name="T79" fmla="*/ 183 h 252"/>
                <a:gd name="T80" fmla="*/ 249 w 459"/>
                <a:gd name="T81" fmla="*/ 184 h 252"/>
                <a:gd name="T82" fmla="*/ 229 w 459"/>
                <a:gd name="T83" fmla="*/ 198 h 252"/>
                <a:gd name="T84" fmla="*/ 208 w 459"/>
                <a:gd name="T85" fmla="*/ 218 h 252"/>
                <a:gd name="T86" fmla="*/ 206 w 459"/>
                <a:gd name="T87" fmla="*/ 229 h 252"/>
                <a:gd name="T88" fmla="*/ 177 w 459"/>
                <a:gd name="T89" fmla="*/ 229 h 252"/>
                <a:gd name="T90" fmla="*/ 173 w 459"/>
                <a:gd name="T91" fmla="*/ 215 h 252"/>
                <a:gd name="T92" fmla="*/ 189 w 459"/>
                <a:gd name="T93" fmla="*/ 192 h 252"/>
                <a:gd name="T94" fmla="*/ 206 w 459"/>
                <a:gd name="T95" fmla="*/ 184 h 252"/>
                <a:gd name="T96" fmla="*/ 191 w 459"/>
                <a:gd name="T97" fmla="*/ 164 h 252"/>
                <a:gd name="T98" fmla="*/ 168 w 459"/>
                <a:gd name="T99" fmla="*/ 136 h 252"/>
                <a:gd name="T100" fmla="*/ 137 w 459"/>
                <a:gd name="T101" fmla="*/ 130 h 252"/>
                <a:gd name="T102" fmla="*/ 118 w 459"/>
                <a:gd name="T103" fmla="*/ 127 h 252"/>
                <a:gd name="T104" fmla="*/ 115 w 459"/>
                <a:gd name="T105" fmla="*/ 144 h 252"/>
                <a:gd name="T106" fmla="*/ 72 w 459"/>
                <a:gd name="T107" fmla="*/ 155 h 252"/>
                <a:gd name="T108" fmla="*/ 40 w 459"/>
                <a:gd name="T109" fmla="*/ 147 h 252"/>
                <a:gd name="T110" fmla="*/ 14 w 459"/>
                <a:gd name="T111" fmla="*/ 141 h 252"/>
                <a:gd name="T112" fmla="*/ 8 w 459"/>
                <a:gd name="T113" fmla="*/ 112 h 252"/>
                <a:gd name="T114" fmla="*/ 32 w 459"/>
                <a:gd name="T115" fmla="*/ 74 h 252"/>
                <a:gd name="T116" fmla="*/ 40 w 459"/>
                <a:gd name="T117" fmla="*/ 56 h 252"/>
                <a:gd name="T118" fmla="*/ 29 w 459"/>
                <a:gd name="T119" fmla="*/ 2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9" h="252">
                  <a:moveTo>
                    <a:pt x="29" y="23"/>
                  </a:moveTo>
                  <a:lnTo>
                    <a:pt x="32" y="23"/>
                  </a:lnTo>
                  <a:lnTo>
                    <a:pt x="41" y="28"/>
                  </a:lnTo>
                  <a:lnTo>
                    <a:pt x="47" y="23"/>
                  </a:lnTo>
                  <a:lnTo>
                    <a:pt x="67" y="22"/>
                  </a:lnTo>
                  <a:lnTo>
                    <a:pt x="75" y="22"/>
                  </a:lnTo>
                  <a:lnTo>
                    <a:pt x="81" y="19"/>
                  </a:lnTo>
                  <a:lnTo>
                    <a:pt x="84" y="19"/>
                  </a:lnTo>
                  <a:lnTo>
                    <a:pt x="92" y="22"/>
                  </a:lnTo>
                  <a:lnTo>
                    <a:pt x="107" y="23"/>
                  </a:lnTo>
                  <a:lnTo>
                    <a:pt x="115" y="25"/>
                  </a:lnTo>
                  <a:lnTo>
                    <a:pt x="115" y="29"/>
                  </a:lnTo>
                  <a:lnTo>
                    <a:pt x="124" y="25"/>
                  </a:lnTo>
                  <a:lnTo>
                    <a:pt x="130" y="29"/>
                  </a:lnTo>
                  <a:lnTo>
                    <a:pt x="133" y="29"/>
                  </a:lnTo>
                  <a:lnTo>
                    <a:pt x="136" y="28"/>
                  </a:lnTo>
                  <a:lnTo>
                    <a:pt x="143" y="28"/>
                  </a:lnTo>
                  <a:lnTo>
                    <a:pt x="147" y="29"/>
                  </a:lnTo>
                  <a:lnTo>
                    <a:pt x="157" y="25"/>
                  </a:lnTo>
                  <a:lnTo>
                    <a:pt x="164" y="25"/>
                  </a:lnTo>
                  <a:lnTo>
                    <a:pt x="165" y="31"/>
                  </a:lnTo>
                  <a:lnTo>
                    <a:pt x="170" y="31"/>
                  </a:lnTo>
                  <a:lnTo>
                    <a:pt x="176" y="25"/>
                  </a:lnTo>
                  <a:lnTo>
                    <a:pt x="182" y="25"/>
                  </a:lnTo>
                  <a:lnTo>
                    <a:pt x="185" y="29"/>
                  </a:lnTo>
                  <a:lnTo>
                    <a:pt x="193" y="28"/>
                  </a:lnTo>
                  <a:lnTo>
                    <a:pt x="199" y="31"/>
                  </a:lnTo>
                  <a:lnTo>
                    <a:pt x="204" y="29"/>
                  </a:lnTo>
                  <a:lnTo>
                    <a:pt x="204" y="22"/>
                  </a:lnTo>
                  <a:lnTo>
                    <a:pt x="210" y="13"/>
                  </a:lnTo>
                  <a:lnTo>
                    <a:pt x="217" y="11"/>
                  </a:lnTo>
                  <a:lnTo>
                    <a:pt x="229" y="9"/>
                  </a:lnTo>
                  <a:lnTo>
                    <a:pt x="234" y="9"/>
                  </a:lnTo>
                  <a:lnTo>
                    <a:pt x="240" y="9"/>
                  </a:lnTo>
                  <a:lnTo>
                    <a:pt x="240" y="3"/>
                  </a:lnTo>
                  <a:lnTo>
                    <a:pt x="245" y="0"/>
                  </a:lnTo>
                  <a:lnTo>
                    <a:pt x="258" y="3"/>
                  </a:lnTo>
                  <a:lnTo>
                    <a:pt x="272" y="3"/>
                  </a:lnTo>
                  <a:lnTo>
                    <a:pt x="278" y="2"/>
                  </a:lnTo>
                  <a:lnTo>
                    <a:pt x="286" y="2"/>
                  </a:lnTo>
                  <a:lnTo>
                    <a:pt x="290" y="13"/>
                  </a:lnTo>
                  <a:lnTo>
                    <a:pt x="295" y="16"/>
                  </a:lnTo>
                  <a:lnTo>
                    <a:pt x="292" y="22"/>
                  </a:lnTo>
                  <a:lnTo>
                    <a:pt x="300" y="31"/>
                  </a:lnTo>
                  <a:lnTo>
                    <a:pt x="315" y="29"/>
                  </a:lnTo>
                  <a:lnTo>
                    <a:pt x="321" y="33"/>
                  </a:lnTo>
                  <a:lnTo>
                    <a:pt x="323" y="39"/>
                  </a:lnTo>
                  <a:lnTo>
                    <a:pt x="329" y="39"/>
                  </a:lnTo>
                  <a:lnTo>
                    <a:pt x="329" y="46"/>
                  </a:lnTo>
                  <a:lnTo>
                    <a:pt x="330" y="54"/>
                  </a:lnTo>
                  <a:lnTo>
                    <a:pt x="344" y="65"/>
                  </a:lnTo>
                  <a:lnTo>
                    <a:pt x="347" y="59"/>
                  </a:lnTo>
                  <a:lnTo>
                    <a:pt x="355" y="62"/>
                  </a:lnTo>
                  <a:lnTo>
                    <a:pt x="362" y="61"/>
                  </a:lnTo>
                  <a:lnTo>
                    <a:pt x="368" y="62"/>
                  </a:lnTo>
                  <a:lnTo>
                    <a:pt x="378" y="57"/>
                  </a:lnTo>
                  <a:lnTo>
                    <a:pt x="382" y="56"/>
                  </a:lnTo>
                  <a:lnTo>
                    <a:pt x="387" y="68"/>
                  </a:lnTo>
                  <a:lnTo>
                    <a:pt x="397" y="73"/>
                  </a:lnTo>
                  <a:lnTo>
                    <a:pt x="399" y="79"/>
                  </a:lnTo>
                  <a:lnTo>
                    <a:pt x="402" y="74"/>
                  </a:lnTo>
                  <a:lnTo>
                    <a:pt x="414" y="76"/>
                  </a:lnTo>
                  <a:lnTo>
                    <a:pt x="419" y="76"/>
                  </a:lnTo>
                  <a:lnTo>
                    <a:pt x="425" y="80"/>
                  </a:lnTo>
                  <a:lnTo>
                    <a:pt x="431" y="79"/>
                  </a:lnTo>
                  <a:lnTo>
                    <a:pt x="439" y="82"/>
                  </a:lnTo>
                  <a:lnTo>
                    <a:pt x="448" y="84"/>
                  </a:lnTo>
                  <a:lnTo>
                    <a:pt x="453" y="80"/>
                  </a:lnTo>
                  <a:lnTo>
                    <a:pt x="454" y="85"/>
                  </a:lnTo>
                  <a:lnTo>
                    <a:pt x="459" y="88"/>
                  </a:lnTo>
                  <a:lnTo>
                    <a:pt x="459" y="95"/>
                  </a:lnTo>
                  <a:lnTo>
                    <a:pt x="454" y="101"/>
                  </a:lnTo>
                  <a:lnTo>
                    <a:pt x="448" y="101"/>
                  </a:lnTo>
                  <a:lnTo>
                    <a:pt x="447" y="112"/>
                  </a:lnTo>
                  <a:lnTo>
                    <a:pt x="454" y="118"/>
                  </a:lnTo>
                  <a:lnTo>
                    <a:pt x="457" y="123"/>
                  </a:lnTo>
                  <a:lnTo>
                    <a:pt x="453" y="132"/>
                  </a:lnTo>
                  <a:lnTo>
                    <a:pt x="453" y="139"/>
                  </a:lnTo>
                  <a:lnTo>
                    <a:pt x="448" y="141"/>
                  </a:lnTo>
                  <a:lnTo>
                    <a:pt x="436" y="144"/>
                  </a:lnTo>
                  <a:lnTo>
                    <a:pt x="428" y="150"/>
                  </a:lnTo>
                  <a:lnTo>
                    <a:pt x="425" y="153"/>
                  </a:lnTo>
                  <a:lnTo>
                    <a:pt x="424" y="164"/>
                  </a:lnTo>
                  <a:lnTo>
                    <a:pt x="418" y="167"/>
                  </a:lnTo>
                  <a:lnTo>
                    <a:pt x="418" y="164"/>
                  </a:lnTo>
                  <a:lnTo>
                    <a:pt x="414" y="164"/>
                  </a:lnTo>
                  <a:lnTo>
                    <a:pt x="407" y="167"/>
                  </a:lnTo>
                  <a:lnTo>
                    <a:pt x="401" y="167"/>
                  </a:lnTo>
                  <a:lnTo>
                    <a:pt x="397" y="167"/>
                  </a:lnTo>
                  <a:lnTo>
                    <a:pt x="396" y="172"/>
                  </a:lnTo>
                  <a:lnTo>
                    <a:pt x="390" y="172"/>
                  </a:lnTo>
                  <a:lnTo>
                    <a:pt x="385" y="176"/>
                  </a:lnTo>
                  <a:lnTo>
                    <a:pt x="379" y="181"/>
                  </a:lnTo>
                  <a:lnTo>
                    <a:pt x="378" y="181"/>
                  </a:lnTo>
                  <a:lnTo>
                    <a:pt x="372" y="181"/>
                  </a:lnTo>
                  <a:lnTo>
                    <a:pt x="367" y="184"/>
                  </a:lnTo>
                  <a:lnTo>
                    <a:pt x="361" y="183"/>
                  </a:lnTo>
                  <a:lnTo>
                    <a:pt x="355" y="186"/>
                  </a:lnTo>
                  <a:lnTo>
                    <a:pt x="352" y="186"/>
                  </a:lnTo>
                  <a:lnTo>
                    <a:pt x="347" y="181"/>
                  </a:lnTo>
                  <a:lnTo>
                    <a:pt x="346" y="181"/>
                  </a:lnTo>
                  <a:lnTo>
                    <a:pt x="346" y="183"/>
                  </a:lnTo>
                  <a:lnTo>
                    <a:pt x="350" y="186"/>
                  </a:lnTo>
                  <a:lnTo>
                    <a:pt x="347" y="190"/>
                  </a:lnTo>
                  <a:lnTo>
                    <a:pt x="341" y="198"/>
                  </a:lnTo>
                  <a:lnTo>
                    <a:pt x="340" y="200"/>
                  </a:lnTo>
                  <a:lnTo>
                    <a:pt x="338" y="198"/>
                  </a:lnTo>
                  <a:lnTo>
                    <a:pt x="340" y="196"/>
                  </a:lnTo>
                  <a:lnTo>
                    <a:pt x="346" y="190"/>
                  </a:lnTo>
                  <a:lnTo>
                    <a:pt x="344" y="189"/>
                  </a:lnTo>
                  <a:lnTo>
                    <a:pt x="341" y="186"/>
                  </a:lnTo>
                  <a:lnTo>
                    <a:pt x="340" y="190"/>
                  </a:lnTo>
                  <a:lnTo>
                    <a:pt x="332" y="198"/>
                  </a:lnTo>
                  <a:lnTo>
                    <a:pt x="326" y="198"/>
                  </a:lnTo>
                  <a:lnTo>
                    <a:pt x="326" y="201"/>
                  </a:lnTo>
                  <a:lnTo>
                    <a:pt x="321" y="201"/>
                  </a:lnTo>
                  <a:lnTo>
                    <a:pt x="317" y="198"/>
                  </a:lnTo>
                  <a:lnTo>
                    <a:pt x="313" y="201"/>
                  </a:lnTo>
                  <a:lnTo>
                    <a:pt x="307" y="200"/>
                  </a:lnTo>
                  <a:lnTo>
                    <a:pt x="306" y="201"/>
                  </a:lnTo>
                  <a:lnTo>
                    <a:pt x="310" y="205"/>
                  </a:lnTo>
                  <a:lnTo>
                    <a:pt x="318" y="204"/>
                  </a:lnTo>
                  <a:lnTo>
                    <a:pt x="321" y="207"/>
                  </a:lnTo>
                  <a:lnTo>
                    <a:pt x="324" y="209"/>
                  </a:lnTo>
                  <a:lnTo>
                    <a:pt x="329" y="209"/>
                  </a:lnTo>
                  <a:lnTo>
                    <a:pt x="330" y="211"/>
                  </a:lnTo>
                  <a:lnTo>
                    <a:pt x="326" y="213"/>
                  </a:lnTo>
                  <a:lnTo>
                    <a:pt x="329" y="217"/>
                  </a:lnTo>
                  <a:lnTo>
                    <a:pt x="330" y="215"/>
                  </a:lnTo>
                  <a:lnTo>
                    <a:pt x="332" y="215"/>
                  </a:lnTo>
                  <a:lnTo>
                    <a:pt x="332" y="218"/>
                  </a:lnTo>
                  <a:lnTo>
                    <a:pt x="336" y="215"/>
                  </a:lnTo>
                  <a:lnTo>
                    <a:pt x="338" y="217"/>
                  </a:lnTo>
                  <a:lnTo>
                    <a:pt x="340" y="223"/>
                  </a:lnTo>
                  <a:lnTo>
                    <a:pt x="341" y="226"/>
                  </a:lnTo>
                  <a:lnTo>
                    <a:pt x="350" y="228"/>
                  </a:lnTo>
                  <a:lnTo>
                    <a:pt x="352" y="226"/>
                  </a:lnTo>
                  <a:lnTo>
                    <a:pt x="341" y="218"/>
                  </a:lnTo>
                  <a:lnTo>
                    <a:pt x="332" y="207"/>
                  </a:lnTo>
                  <a:lnTo>
                    <a:pt x="330" y="201"/>
                  </a:lnTo>
                  <a:lnTo>
                    <a:pt x="332" y="200"/>
                  </a:lnTo>
                  <a:lnTo>
                    <a:pt x="336" y="205"/>
                  </a:lnTo>
                  <a:lnTo>
                    <a:pt x="338" y="213"/>
                  </a:lnTo>
                  <a:lnTo>
                    <a:pt x="352" y="226"/>
                  </a:lnTo>
                  <a:lnTo>
                    <a:pt x="355" y="226"/>
                  </a:lnTo>
                  <a:lnTo>
                    <a:pt x="359" y="223"/>
                  </a:lnTo>
                  <a:lnTo>
                    <a:pt x="362" y="223"/>
                  </a:lnTo>
                  <a:lnTo>
                    <a:pt x="368" y="224"/>
                  </a:lnTo>
                  <a:lnTo>
                    <a:pt x="370" y="220"/>
                  </a:lnTo>
                  <a:lnTo>
                    <a:pt x="379" y="218"/>
                  </a:lnTo>
                  <a:lnTo>
                    <a:pt x="385" y="218"/>
                  </a:lnTo>
                  <a:lnTo>
                    <a:pt x="384" y="223"/>
                  </a:lnTo>
                  <a:lnTo>
                    <a:pt x="382" y="224"/>
                  </a:lnTo>
                  <a:lnTo>
                    <a:pt x="384" y="228"/>
                  </a:lnTo>
                  <a:lnTo>
                    <a:pt x="379" y="232"/>
                  </a:lnTo>
                  <a:lnTo>
                    <a:pt x="372" y="234"/>
                  </a:lnTo>
                  <a:lnTo>
                    <a:pt x="361" y="232"/>
                  </a:lnTo>
                  <a:lnTo>
                    <a:pt x="353" y="235"/>
                  </a:lnTo>
                  <a:lnTo>
                    <a:pt x="350" y="241"/>
                  </a:lnTo>
                  <a:lnTo>
                    <a:pt x="340" y="241"/>
                  </a:lnTo>
                  <a:lnTo>
                    <a:pt x="326" y="249"/>
                  </a:lnTo>
                  <a:lnTo>
                    <a:pt x="317" y="252"/>
                  </a:lnTo>
                  <a:lnTo>
                    <a:pt x="307" y="252"/>
                  </a:lnTo>
                  <a:lnTo>
                    <a:pt x="304" y="249"/>
                  </a:lnTo>
                  <a:lnTo>
                    <a:pt x="304" y="246"/>
                  </a:lnTo>
                  <a:lnTo>
                    <a:pt x="307" y="240"/>
                  </a:lnTo>
                  <a:lnTo>
                    <a:pt x="307" y="235"/>
                  </a:lnTo>
                  <a:lnTo>
                    <a:pt x="298" y="228"/>
                  </a:lnTo>
                  <a:lnTo>
                    <a:pt x="295" y="229"/>
                  </a:lnTo>
                  <a:lnTo>
                    <a:pt x="289" y="226"/>
                  </a:lnTo>
                  <a:lnTo>
                    <a:pt x="284" y="229"/>
                  </a:lnTo>
                  <a:lnTo>
                    <a:pt x="280" y="228"/>
                  </a:lnTo>
                  <a:lnTo>
                    <a:pt x="286" y="220"/>
                  </a:lnTo>
                  <a:lnTo>
                    <a:pt x="295" y="215"/>
                  </a:lnTo>
                  <a:lnTo>
                    <a:pt x="304" y="213"/>
                  </a:lnTo>
                  <a:lnTo>
                    <a:pt x="307" y="211"/>
                  </a:lnTo>
                  <a:lnTo>
                    <a:pt x="304" y="209"/>
                  </a:lnTo>
                  <a:lnTo>
                    <a:pt x="301" y="201"/>
                  </a:lnTo>
                  <a:lnTo>
                    <a:pt x="300" y="201"/>
                  </a:lnTo>
                  <a:lnTo>
                    <a:pt x="298" y="205"/>
                  </a:lnTo>
                  <a:lnTo>
                    <a:pt x="292" y="201"/>
                  </a:lnTo>
                  <a:lnTo>
                    <a:pt x="286" y="200"/>
                  </a:lnTo>
                  <a:lnTo>
                    <a:pt x="280" y="201"/>
                  </a:lnTo>
                  <a:lnTo>
                    <a:pt x="275" y="204"/>
                  </a:lnTo>
                  <a:lnTo>
                    <a:pt x="269" y="201"/>
                  </a:lnTo>
                  <a:lnTo>
                    <a:pt x="265" y="201"/>
                  </a:lnTo>
                  <a:lnTo>
                    <a:pt x="261" y="198"/>
                  </a:lnTo>
                  <a:lnTo>
                    <a:pt x="264" y="196"/>
                  </a:lnTo>
                  <a:lnTo>
                    <a:pt x="265" y="195"/>
                  </a:lnTo>
                  <a:lnTo>
                    <a:pt x="258" y="192"/>
                  </a:lnTo>
                  <a:lnTo>
                    <a:pt x="246" y="192"/>
                  </a:lnTo>
                  <a:lnTo>
                    <a:pt x="245" y="189"/>
                  </a:lnTo>
                  <a:lnTo>
                    <a:pt x="249" y="189"/>
                  </a:lnTo>
                  <a:lnTo>
                    <a:pt x="260" y="189"/>
                  </a:lnTo>
                  <a:lnTo>
                    <a:pt x="265" y="189"/>
                  </a:lnTo>
                  <a:lnTo>
                    <a:pt x="269" y="186"/>
                  </a:lnTo>
                  <a:lnTo>
                    <a:pt x="275" y="184"/>
                  </a:lnTo>
                  <a:lnTo>
                    <a:pt x="266" y="186"/>
                  </a:lnTo>
                  <a:lnTo>
                    <a:pt x="261" y="184"/>
                  </a:lnTo>
                  <a:lnTo>
                    <a:pt x="260" y="183"/>
                  </a:lnTo>
                  <a:lnTo>
                    <a:pt x="258" y="179"/>
                  </a:lnTo>
                  <a:lnTo>
                    <a:pt x="254" y="183"/>
                  </a:lnTo>
                  <a:lnTo>
                    <a:pt x="252" y="186"/>
                  </a:lnTo>
                  <a:lnTo>
                    <a:pt x="249" y="186"/>
                  </a:lnTo>
                  <a:lnTo>
                    <a:pt x="249" y="184"/>
                  </a:lnTo>
                  <a:lnTo>
                    <a:pt x="245" y="181"/>
                  </a:lnTo>
                  <a:lnTo>
                    <a:pt x="239" y="189"/>
                  </a:lnTo>
                  <a:lnTo>
                    <a:pt x="234" y="189"/>
                  </a:lnTo>
                  <a:lnTo>
                    <a:pt x="229" y="190"/>
                  </a:lnTo>
                  <a:lnTo>
                    <a:pt x="229" y="198"/>
                  </a:lnTo>
                  <a:lnTo>
                    <a:pt x="223" y="204"/>
                  </a:lnTo>
                  <a:lnTo>
                    <a:pt x="219" y="204"/>
                  </a:lnTo>
                  <a:lnTo>
                    <a:pt x="222" y="207"/>
                  </a:lnTo>
                  <a:lnTo>
                    <a:pt x="210" y="218"/>
                  </a:lnTo>
                  <a:lnTo>
                    <a:pt x="208" y="218"/>
                  </a:lnTo>
                  <a:lnTo>
                    <a:pt x="204" y="215"/>
                  </a:lnTo>
                  <a:lnTo>
                    <a:pt x="204" y="218"/>
                  </a:lnTo>
                  <a:lnTo>
                    <a:pt x="204" y="223"/>
                  </a:lnTo>
                  <a:lnTo>
                    <a:pt x="206" y="224"/>
                  </a:lnTo>
                  <a:lnTo>
                    <a:pt x="206" y="229"/>
                  </a:lnTo>
                  <a:lnTo>
                    <a:pt x="206" y="229"/>
                  </a:lnTo>
                  <a:lnTo>
                    <a:pt x="200" y="226"/>
                  </a:lnTo>
                  <a:lnTo>
                    <a:pt x="193" y="226"/>
                  </a:lnTo>
                  <a:lnTo>
                    <a:pt x="188" y="229"/>
                  </a:lnTo>
                  <a:lnTo>
                    <a:pt x="177" y="229"/>
                  </a:lnTo>
                  <a:lnTo>
                    <a:pt x="170" y="228"/>
                  </a:lnTo>
                  <a:lnTo>
                    <a:pt x="165" y="220"/>
                  </a:lnTo>
                  <a:lnTo>
                    <a:pt x="170" y="218"/>
                  </a:lnTo>
                  <a:lnTo>
                    <a:pt x="173" y="218"/>
                  </a:lnTo>
                  <a:lnTo>
                    <a:pt x="173" y="215"/>
                  </a:lnTo>
                  <a:lnTo>
                    <a:pt x="179" y="207"/>
                  </a:lnTo>
                  <a:lnTo>
                    <a:pt x="183" y="207"/>
                  </a:lnTo>
                  <a:lnTo>
                    <a:pt x="182" y="200"/>
                  </a:lnTo>
                  <a:lnTo>
                    <a:pt x="183" y="192"/>
                  </a:lnTo>
                  <a:lnTo>
                    <a:pt x="189" y="192"/>
                  </a:lnTo>
                  <a:lnTo>
                    <a:pt x="194" y="190"/>
                  </a:lnTo>
                  <a:lnTo>
                    <a:pt x="200" y="192"/>
                  </a:lnTo>
                  <a:lnTo>
                    <a:pt x="208" y="192"/>
                  </a:lnTo>
                  <a:lnTo>
                    <a:pt x="210" y="190"/>
                  </a:lnTo>
                  <a:lnTo>
                    <a:pt x="206" y="184"/>
                  </a:lnTo>
                  <a:lnTo>
                    <a:pt x="206" y="181"/>
                  </a:lnTo>
                  <a:lnTo>
                    <a:pt x="206" y="177"/>
                  </a:lnTo>
                  <a:lnTo>
                    <a:pt x="199" y="173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83" y="162"/>
                  </a:lnTo>
                  <a:lnTo>
                    <a:pt x="185" y="156"/>
                  </a:lnTo>
                  <a:lnTo>
                    <a:pt x="183" y="147"/>
                  </a:lnTo>
                  <a:lnTo>
                    <a:pt x="176" y="144"/>
                  </a:lnTo>
                  <a:lnTo>
                    <a:pt x="168" y="136"/>
                  </a:lnTo>
                  <a:lnTo>
                    <a:pt x="164" y="136"/>
                  </a:lnTo>
                  <a:lnTo>
                    <a:pt x="162" y="139"/>
                  </a:lnTo>
                  <a:lnTo>
                    <a:pt x="154" y="138"/>
                  </a:lnTo>
                  <a:lnTo>
                    <a:pt x="145" y="130"/>
                  </a:lnTo>
                  <a:lnTo>
                    <a:pt x="137" y="130"/>
                  </a:lnTo>
                  <a:lnTo>
                    <a:pt x="133" y="125"/>
                  </a:lnTo>
                  <a:lnTo>
                    <a:pt x="131" y="127"/>
                  </a:lnTo>
                  <a:lnTo>
                    <a:pt x="127" y="127"/>
                  </a:lnTo>
                  <a:lnTo>
                    <a:pt x="124" y="130"/>
                  </a:lnTo>
                  <a:lnTo>
                    <a:pt x="118" y="127"/>
                  </a:lnTo>
                  <a:lnTo>
                    <a:pt x="118" y="129"/>
                  </a:lnTo>
                  <a:lnTo>
                    <a:pt x="113" y="127"/>
                  </a:lnTo>
                  <a:lnTo>
                    <a:pt x="115" y="134"/>
                  </a:lnTo>
                  <a:lnTo>
                    <a:pt x="113" y="136"/>
                  </a:lnTo>
                  <a:lnTo>
                    <a:pt x="115" y="144"/>
                  </a:lnTo>
                  <a:lnTo>
                    <a:pt x="109" y="144"/>
                  </a:lnTo>
                  <a:lnTo>
                    <a:pt x="101" y="147"/>
                  </a:lnTo>
                  <a:lnTo>
                    <a:pt x="82" y="150"/>
                  </a:lnTo>
                  <a:lnTo>
                    <a:pt x="78" y="155"/>
                  </a:lnTo>
                  <a:lnTo>
                    <a:pt x="72" y="155"/>
                  </a:lnTo>
                  <a:lnTo>
                    <a:pt x="63" y="158"/>
                  </a:lnTo>
                  <a:lnTo>
                    <a:pt x="57" y="155"/>
                  </a:lnTo>
                  <a:lnTo>
                    <a:pt x="55" y="150"/>
                  </a:lnTo>
                  <a:lnTo>
                    <a:pt x="47" y="149"/>
                  </a:lnTo>
                  <a:lnTo>
                    <a:pt x="40" y="147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1" y="145"/>
                  </a:lnTo>
                  <a:lnTo>
                    <a:pt x="15" y="145"/>
                  </a:lnTo>
                  <a:lnTo>
                    <a:pt x="14" y="141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2" y="132"/>
                  </a:lnTo>
                  <a:lnTo>
                    <a:pt x="2" y="123"/>
                  </a:lnTo>
                  <a:lnTo>
                    <a:pt x="8" y="112"/>
                  </a:lnTo>
                  <a:lnTo>
                    <a:pt x="14" y="112"/>
                  </a:lnTo>
                  <a:lnTo>
                    <a:pt x="14" y="104"/>
                  </a:lnTo>
                  <a:lnTo>
                    <a:pt x="14" y="99"/>
                  </a:lnTo>
                  <a:lnTo>
                    <a:pt x="30" y="82"/>
                  </a:lnTo>
                  <a:lnTo>
                    <a:pt x="32" y="74"/>
                  </a:lnTo>
                  <a:lnTo>
                    <a:pt x="36" y="70"/>
                  </a:lnTo>
                  <a:lnTo>
                    <a:pt x="40" y="70"/>
                  </a:lnTo>
                  <a:lnTo>
                    <a:pt x="41" y="62"/>
                  </a:lnTo>
                  <a:lnTo>
                    <a:pt x="40" y="59"/>
                  </a:lnTo>
                  <a:lnTo>
                    <a:pt x="40" y="56"/>
                  </a:lnTo>
                  <a:lnTo>
                    <a:pt x="41" y="54"/>
                  </a:lnTo>
                  <a:lnTo>
                    <a:pt x="35" y="51"/>
                  </a:lnTo>
                  <a:lnTo>
                    <a:pt x="32" y="42"/>
                  </a:lnTo>
                  <a:lnTo>
                    <a:pt x="29" y="39"/>
                  </a:lnTo>
                  <a:lnTo>
                    <a:pt x="29" y="28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2" name="Freeform 45"/>
            <p:cNvSpPr>
              <a:spLocks/>
            </p:cNvSpPr>
            <p:nvPr/>
          </p:nvSpPr>
          <p:spPr bwMode="auto">
            <a:xfrm>
              <a:off x="6524626" y="3033713"/>
              <a:ext cx="153988" cy="149225"/>
            </a:xfrm>
            <a:custGeom>
              <a:avLst/>
              <a:gdLst>
                <a:gd name="T0" fmla="*/ 2 w 97"/>
                <a:gd name="T1" fmla="*/ 19 h 94"/>
                <a:gd name="T2" fmla="*/ 0 w 97"/>
                <a:gd name="T3" fmla="*/ 11 h 94"/>
                <a:gd name="T4" fmla="*/ 2 w 97"/>
                <a:gd name="T5" fmla="*/ 9 h 94"/>
                <a:gd name="T6" fmla="*/ 0 w 97"/>
                <a:gd name="T7" fmla="*/ 2 h 94"/>
                <a:gd name="T8" fmla="*/ 5 w 97"/>
                <a:gd name="T9" fmla="*/ 5 h 94"/>
                <a:gd name="T10" fmla="*/ 5 w 97"/>
                <a:gd name="T11" fmla="*/ 2 h 94"/>
                <a:gd name="T12" fmla="*/ 11 w 97"/>
                <a:gd name="T13" fmla="*/ 6 h 94"/>
                <a:gd name="T14" fmla="*/ 14 w 97"/>
                <a:gd name="T15" fmla="*/ 2 h 94"/>
                <a:gd name="T16" fmla="*/ 18 w 97"/>
                <a:gd name="T17" fmla="*/ 2 h 94"/>
                <a:gd name="T18" fmla="*/ 20 w 97"/>
                <a:gd name="T19" fmla="*/ 0 h 94"/>
                <a:gd name="T20" fmla="*/ 24 w 97"/>
                <a:gd name="T21" fmla="*/ 6 h 94"/>
                <a:gd name="T22" fmla="*/ 32 w 97"/>
                <a:gd name="T23" fmla="*/ 6 h 94"/>
                <a:gd name="T24" fmla="*/ 41 w 97"/>
                <a:gd name="T25" fmla="*/ 13 h 94"/>
                <a:gd name="T26" fmla="*/ 49 w 97"/>
                <a:gd name="T27" fmla="*/ 14 h 94"/>
                <a:gd name="T28" fmla="*/ 51 w 97"/>
                <a:gd name="T29" fmla="*/ 11 h 94"/>
                <a:gd name="T30" fmla="*/ 55 w 97"/>
                <a:gd name="T31" fmla="*/ 11 h 94"/>
                <a:gd name="T32" fmla="*/ 63 w 97"/>
                <a:gd name="T33" fmla="*/ 19 h 94"/>
                <a:gd name="T34" fmla="*/ 70 w 97"/>
                <a:gd name="T35" fmla="*/ 22 h 94"/>
                <a:gd name="T36" fmla="*/ 72 w 97"/>
                <a:gd name="T37" fmla="*/ 31 h 94"/>
                <a:gd name="T38" fmla="*/ 70 w 97"/>
                <a:gd name="T39" fmla="*/ 37 h 94"/>
                <a:gd name="T40" fmla="*/ 78 w 97"/>
                <a:gd name="T41" fmla="*/ 39 h 94"/>
                <a:gd name="T42" fmla="*/ 78 w 97"/>
                <a:gd name="T43" fmla="*/ 43 h 94"/>
                <a:gd name="T44" fmla="*/ 86 w 97"/>
                <a:gd name="T45" fmla="*/ 48 h 94"/>
                <a:gd name="T46" fmla="*/ 93 w 97"/>
                <a:gd name="T47" fmla="*/ 52 h 94"/>
                <a:gd name="T48" fmla="*/ 93 w 97"/>
                <a:gd name="T49" fmla="*/ 56 h 94"/>
                <a:gd name="T50" fmla="*/ 93 w 97"/>
                <a:gd name="T51" fmla="*/ 59 h 94"/>
                <a:gd name="T52" fmla="*/ 97 w 97"/>
                <a:gd name="T53" fmla="*/ 65 h 94"/>
                <a:gd name="T54" fmla="*/ 96 w 97"/>
                <a:gd name="T55" fmla="*/ 66 h 94"/>
                <a:gd name="T56" fmla="*/ 87 w 97"/>
                <a:gd name="T57" fmla="*/ 66 h 94"/>
                <a:gd name="T58" fmla="*/ 81 w 97"/>
                <a:gd name="T59" fmla="*/ 65 h 94"/>
                <a:gd name="T60" fmla="*/ 76 w 97"/>
                <a:gd name="T61" fmla="*/ 66 h 94"/>
                <a:gd name="T62" fmla="*/ 70 w 97"/>
                <a:gd name="T63" fmla="*/ 66 h 94"/>
                <a:gd name="T64" fmla="*/ 69 w 97"/>
                <a:gd name="T65" fmla="*/ 74 h 94"/>
                <a:gd name="T66" fmla="*/ 70 w 97"/>
                <a:gd name="T67" fmla="*/ 81 h 94"/>
                <a:gd name="T68" fmla="*/ 66 w 97"/>
                <a:gd name="T69" fmla="*/ 81 h 94"/>
                <a:gd name="T70" fmla="*/ 61 w 97"/>
                <a:gd name="T71" fmla="*/ 89 h 94"/>
                <a:gd name="T72" fmla="*/ 61 w 97"/>
                <a:gd name="T73" fmla="*/ 92 h 94"/>
                <a:gd name="T74" fmla="*/ 57 w 97"/>
                <a:gd name="T75" fmla="*/ 92 h 94"/>
                <a:gd name="T76" fmla="*/ 52 w 97"/>
                <a:gd name="T77" fmla="*/ 94 h 94"/>
                <a:gd name="T78" fmla="*/ 52 w 97"/>
                <a:gd name="T79" fmla="*/ 94 h 94"/>
                <a:gd name="T80" fmla="*/ 49 w 97"/>
                <a:gd name="T81" fmla="*/ 87 h 94"/>
                <a:gd name="T82" fmla="*/ 49 w 97"/>
                <a:gd name="T83" fmla="*/ 65 h 94"/>
                <a:gd name="T84" fmla="*/ 46 w 97"/>
                <a:gd name="T85" fmla="*/ 58 h 94"/>
                <a:gd name="T86" fmla="*/ 44 w 97"/>
                <a:gd name="T87" fmla="*/ 52 h 94"/>
                <a:gd name="T88" fmla="*/ 29 w 97"/>
                <a:gd name="T89" fmla="*/ 41 h 94"/>
                <a:gd name="T90" fmla="*/ 26 w 97"/>
                <a:gd name="T91" fmla="*/ 35 h 94"/>
                <a:gd name="T92" fmla="*/ 15 w 97"/>
                <a:gd name="T93" fmla="*/ 28 h 94"/>
                <a:gd name="T94" fmla="*/ 14 w 97"/>
                <a:gd name="T95" fmla="*/ 17 h 94"/>
                <a:gd name="T96" fmla="*/ 2 w 97"/>
                <a:gd name="T97" fmla="*/ 19 h 94"/>
                <a:gd name="T98" fmla="*/ 2 w 97"/>
                <a:gd name="T99" fmla="*/ 19 h 94"/>
                <a:gd name="T100" fmla="*/ 2 w 97"/>
                <a:gd name="T101" fmla="*/ 1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7" h="94">
                  <a:moveTo>
                    <a:pt x="2" y="19"/>
                  </a:moveTo>
                  <a:lnTo>
                    <a:pt x="0" y="11"/>
                  </a:lnTo>
                  <a:lnTo>
                    <a:pt x="2" y="9"/>
                  </a:lnTo>
                  <a:lnTo>
                    <a:pt x="0" y="2"/>
                  </a:lnTo>
                  <a:lnTo>
                    <a:pt x="5" y="5"/>
                  </a:lnTo>
                  <a:lnTo>
                    <a:pt x="5" y="2"/>
                  </a:lnTo>
                  <a:lnTo>
                    <a:pt x="11" y="6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4" y="6"/>
                  </a:lnTo>
                  <a:lnTo>
                    <a:pt x="32" y="6"/>
                  </a:lnTo>
                  <a:lnTo>
                    <a:pt x="41" y="13"/>
                  </a:lnTo>
                  <a:lnTo>
                    <a:pt x="49" y="14"/>
                  </a:lnTo>
                  <a:lnTo>
                    <a:pt x="51" y="11"/>
                  </a:lnTo>
                  <a:lnTo>
                    <a:pt x="55" y="11"/>
                  </a:lnTo>
                  <a:lnTo>
                    <a:pt x="63" y="19"/>
                  </a:lnTo>
                  <a:lnTo>
                    <a:pt x="70" y="22"/>
                  </a:lnTo>
                  <a:lnTo>
                    <a:pt x="72" y="31"/>
                  </a:lnTo>
                  <a:lnTo>
                    <a:pt x="70" y="37"/>
                  </a:lnTo>
                  <a:lnTo>
                    <a:pt x="78" y="39"/>
                  </a:lnTo>
                  <a:lnTo>
                    <a:pt x="78" y="43"/>
                  </a:lnTo>
                  <a:lnTo>
                    <a:pt x="86" y="48"/>
                  </a:lnTo>
                  <a:lnTo>
                    <a:pt x="93" y="52"/>
                  </a:lnTo>
                  <a:lnTo>
                    <a:pt x="93" y="56"/>
                  </a:lnTo>
                  <a:lnTo>
                    <a:pt x="93" y="59"/>
                  </a:lnTo>
                  <a:lnTo>
                    <a:pt x="97" y="65"/>
                  </a:lnTo>
                  <a:lnTo>
                    <a:pt x="96" y="66"/>
                  </a:lnTo>
                  <a:lnTo>
                    <a:pt x="87" y="66"/>
                  </a:lnTo>
                  <a:lnTo>
                    <a:pt x="81" y="65"/>
                  </a:lnTo>
                  <a:lnTo>
                    <a:pt x="76" y="66"/>
                  </a:lnTo>
                  <a:lnTo>
                    <a:pt x="70" y="66"/>
                  </a:lnTo>
                  <a:lnTo>
                    <a:pt x="69" y="74"/>
                  </a:lnTo>
                  <a:lnTo>
                    <a:pt x="70" y="81"/>
                  </a:lnTo>
                  <a:lnTo>
                    <a:pt x="66" y="81"/>
                  </a:lnTo>
                  <a:lnTo>
                    <a:pt x="61" y="89"/>
                  </a:lnTo>
                  <a:lnTo>
                    <a:pt x="61" y="92"/>
                  </a:lnTo>
                  <a:lnTo>
                    <a:pt x="57" y="92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49" y="87"/>
                  </a:lnTo>
                  <a:lnTo>
                    <a:pt x="49" y="65"/>
                  </a:lnTo>
                  <a:lnTo>
                    <a:pt x="46" y="58"/>
                  </a:lnTo>
                  <a:lnTo>
                    <a:pt x="44" y="52"/>
                  </a:lnTo>
                  <a:lnTo>
                    <a:pt x="29" y="41"/>
                  </a:lnTo>
                  <a:lnTo>
                    <a:pt x="26" y="35"/>
                  </a:lnTo>
                  <a:lnTo>
                    <a:pt x="15" y="28"/>
                  </a:lnTo>
                  <a:lnTo>
                    <a:pt x="14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3" name="Freeform 46"/>
            <p:cNvSpPr>
              <a:spLocks/>
            </p:cNvSpPr>
            <p:nvPr/>
          </p:nvSpPr>
          <p:spPr bwMode="auto">
            <a:xfrm>
              <a:off x="6281738" y="3062288"/>
              <a:ext cx="392113" cy="215900"/>
            </a:xfrm>
            <a:custGeom>
              <a:avLst/>
              <a:gdLst>
                <a:gd name="T0" fmla="*/ 61 w 247"/>
                <a:gd name="T1" fmla="*/ 4 h 136"/>
                <a:gd name="T2" fmla="*/ 70 w 247"/>
                <a:gd name="T3" fmla="*/ 2 h 136"/>
                <a:gd name="T4" fmla="*/ 88 w 247"/>
                <a:gd name="T5" fmla="*/ 8 h 136"/>
                <a:gd name="T6" fmla="*/ 98 w 247"/>
                <a:gd name="T7" fmla="*/ 13 h 136"/>
                <a:gd name="T8" fmla="*/ 113 w 247"/>
                <a:gd name="T9" fmla="*/ 13 h 136"/>
                <a:gd name="T10" fmla="*/ 122 w 247"/>
                <a:gd name="T11" fmla="*/ 9 h 136"/>
                <a:gd name="T12" fmla="*/ 150 w 247"/>
                <a:gd name="T13" fmla="*/ 2 h 136"/>
                <a:gd name="T14" fmla="*/ 168 w 247"/>
                <a:gd name="T15" fmla="*/ 11 h 136"/>
                <a:gd name="T16" fmla="*/ 182 w 247"/>
                <a:gd name="T17" fmla="*/ 25 h 136"/>
                <a:gd name="T18" fmla="*/ 200 w 247"/>
                <a:gd name="T19" fmla="*/ 41 h 136"/>
                <a:gd name="T20" fmla="*/ 203 w 247"/>
                <a:gd name="T21" fmla="*/ 70 h 136"/>
                <a:gd name="T22" fmla="*/ 211 w 247"/>
                <a:gd name="T23" fmla="*/ 86 h 136"/>
                <a:gd name="T24" fmla="*/ 228 w 247"/>
                <a:gd name="T25" fmla="*/ 87 h 136"/>
                <a:gd name="T26" fmla="*/ 241 w 247"/>
                <a:gd name="T27" fmla="*/ 83 h 136"/>
                <a:gd name="T28" fmla="*/ 243 w 247"/>
                <a:gd name="T29" fmla="*/ 89 h 136"/>
                <a:gd name="T30" fmla="*/ 247 w 247"/>
                <a:gd name="T31" fmla="*/ 95 h 136"/>
                <a:gd name="T32" fmla="*/ 237 w 247"/>
                <a:gd name="T33" fmla="*/ 101 h 136"/>
                <a:gd name="T34" fmla="*/ 226 w 247"/>
                <a:gd name="T35" fmla="*/ 107 h 136"/>
                <a:gd name="T36" fmla="*/ 223 w 247"/>
                <a:gd name="T37" fmla="*/ 114 h 136"/>
                <a:gd name="T38" fmla="*/ 220 w 247"/>
                <a:gd name="T39" fmla="*/ 126 h 136"/>
                <a:gd name="T40" fmla="*/ 217 w 247"/>
                <a:gd name="T41" fmla="*/ 131 h 136"/>
                <a:gd name="T42" fmla="*/ 208 w 247"/>
                <a:gd name="T43" fmla="*/ 126 h 136"/>
                <a:gd name="T44" fmla="*/ 200 w 247"/>
                <a:gd name="T45" fmla="*/ 126 h 136"/>
                <a:gd name="T46" fmla="*/ 182 w 247"/>
                <a:gd name="T47" fmla="*/ 122 h 136"/>
                <a:gd name="T48" fmla="*/ 159 w 247"/>
                <a:gd name="T49" fmla="*/ 129 h 136"/>
                <a:gd name="T50" fmla="*/ 150 w 247"/>
                <a:gd name="T51" fmla="*/ 135 h 136"/>
                <a:gd name="T52" fmla="*/ 134 w 247"/>
                <a:gd name="T53" fmla="*/ 135 h 136"/>
                <a:gd name="T54" fmla="*/ 125 w 247"/>
                <a:gd name="T55" fmla="*/ 133 h 136"/>
                <a:gd name="T56" fmla="*/ 115 w 247"/>
                <a:gd name="T57" fmla="*/ 133 h 136"/>
                <a:gd name="T58" fmla="*/ 96 w 247"/>
                <a:gd name="T59" fmla="*/ 135 h 136"/>
                <a:gd name="T60" fmla="*/ 90 w 247"/>
                <a:gd name="T61" fmla="*/ 131 h 136"/>
                <a:gd name="T62" fmla="*/ 76 w 247"/>
                <a:gd name="T63" fmla="*/ 135 h 136"/>
                <a:gd name="T64" fmla="*/ 75 w 247"/>
                <a:gd name="T65" fmla="*/ 129 h 136"/>
                <a:gd name="T66" fmla="*/ 73 w 247"/>
                <a:gd name="T67" fmla="*/ 122 h 136"/>
                <a:gd name="T68" fmla="*/ 64 w 247"/>
                <a:gd name="T69" fmla="*/ 117 h 136"/>
                <a:gd name="T70" fmla="*/ 67 w 247"/>
                <a:gd name="T71" fmla="*/ 107 h 136"/>
                <a:gd name="T72" fmla="*/ 52 w 247"/>
                <a:gd name="T73" fmla="*/ 111 h 136"/>
                <a:gd name="T74" fmla="*/ 43 w 247"/>
                <a:gd name="T75" fmla="*/ 111 h 136"/>
                <a:gd name="T76" fmla="*/ 32 w 247"/>
                <a:gd name="T77" fmla="*/ 104 h 136"/>
                <a:gd name="T78" fmla="*/ 33 w 247"/>
                <a:gd name="T79" fmla="*/ 95 h 136"/>
                <a:gd name="T80" fmla="*/ 18 w 247"/>
                <a:gd name="T81" fmla="*/ 87 h 136"/>
                <a:gd name="T82" fmla="*/ 8 w 247"/>
                <a:gd name="T83" fmla="*/ 74 h 136"/>
                <a:gd name="T84" fmla="*/ 0 w 247"/>
                <a:gd name="T85" fmla="*/ 69 h 136"/>
                <a:gd name="T86" fmla="*/ 12 w 247"/>
                <a:gd name="T87" fmla="*/ 63 h 136"/>
                <a:gd name="T88" fmla="*/ 21 w 247"/>
                <a:gd name="T89" fmla="*/ 59 h 136"/>
                <a:gd name="T90" fmla="*/ 26 w 247"/>
                <a:gd name="T91" fmla="*/ 50 h 136"/>
                <a:gd name="T92" fmla="*/ 41 w 247"/>
                <a:gd name="T93" fmla="*/ 22 h 136"/>
                <a:gd name="T94" fmla="*/ 54 w 247"/>
                <a:gd name="T95" fmla="*/ 11 h 136"/>
                <a:gd name="T96" fmla="*/ 55 w 247"/>
                <a:gd name="T97" fmla="*/ 4 h 136"/>
                <a:gd name="T98" fmla="*/ 55 w 247"/>
                <a:gd name="T99" fmla="*/ 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7" h="136">
                  <a:moveTo>
                    <a:pt x="55" y="4"/>
                  </a:moveTo>
                  <a:lnTo>
                    <a:pt x="61" y="4"/>
                  </a:lnTo>
                  <a:lnTo>
                    <a:pt x="65" y="2"/>
                  </a:lnTo>
                  <a:lnTo>
                    <a:pt x="70" y="2"/>
                  </a:lnTo>
                  <a:lnTo>
                    <a:pt x="81" y="5"/>
                  </a:lnTo>
                  <a:lnTo>
                    <a:pt x="88" y="8"/>
                  </a:lnTo>
                  <a:lnTo>
                    <a:pt x="96" y="9"/>
                  </a:lnTo>
                  <a:lnTo>
                    <a:pt x="98" y="13"/>
                  </a:lnTo>
                  <a:lnTo>
                    <a:pt x="104" y="17"/>
                  </a:lnTo>
                  <a:lnTo>
                    <a:pt x="113" y="13"/>
                  </a:lnTo>
                  <a:lnTo>
                    <a:pt x="119" y="13"/>
                  </a:lnTo>
                  <a:lnTo>
                    <a:pt x="122" y="9"/>
                  </a:lnTo>
                  <a:lnTo>
                    <a:pt x="142" y="5"/>
                  </a:lnTo>
                  <a:lnTo>
                    <a:pt x="150" y="2"/>
                  </a:lnTo>
                  <a:lnTo>
                    <a:pt x="167" y="0"/>
                  </a:lnTo>
                  <a:lnTo>
                    <a:pt x="168" y="11"/>
                  </a:lnTo>
                  <a:lnTo>
                    <a:pt x="180" y="19"/>
                  </a:lnTo>
                  <a:lnTo>
                    <a:pt x="182" y="25"/>
                  </a:lnTo>
                  <a:lnTo>
                    <a:pt x="197" y="35"/>
                  </a:lnTo>
                  <a:lnTo>
                    <a:pt x="200" y="41"/>
                  </a:lnTo>
                  <a:lnTo>
                    <a:pt x="203" y="48"/>
                  </a:lnTo>
                  <a:lnTo>
                    <a:pt x="203" y="70"/>
                  </a:lnTo>
                  <a:lnTo>
                    <a:pt x="206" y="78"/>
                  </a:lnTo>
                  <a:lnTo>
                    <a:pt x="211" y="86"/>
                  </a:lnTo>
                  <a:lnTo>
                    <a:pt x="218" y="87"/>
                  </a:lnTo>
                  <a:lnTo>
                    <a:pt x="228" y="87"/>
                  </a:lnTo>
                  <a:lnTo>
                    <a:pt x="234" y="83"/>
                  </a:lnTo>
                  <a:lnTo>
                    <a:pt x="241" y="83"/>
                  </a:lnTo>
                  <a:lnTo>
                    <a:pt x="247" y="87"/>
                  </a:lnTo>
                  <a:lnTo>
                    <a:pt x="243" y="89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100"/>
                  </a:lnTo>
                  <a:lnTo>
                    <a:pt x="237" y="101"/>
                  </a:lnTo>
                  <a:lnTo>
                    <a:pt x="228" y="101"/>
                  </a:lnTo>
                  <a:lnTo>
                    <a:pt x="226" y="107"/>
                  </a:lnTo>
                  <a:lnTo>
                    <a:pt x="222" y="111"/>
                  </a:lnTo>
                  <a:lnTo>
                    <a:pt x="223" y="114"/>
                  </a:lnTo>
                  <a:lnTo>
                    <a:pt x="223" y="122"/>
                  </a:lnTo>
                  <a:lnTo>
                    <a:pt x="220" y="126"/>
                  </a:lnTo>
                  <a:lnTo>
                    <a:pt x="222" y="131"/>
                  </a:lnTo>
                  <a:lnTo>
                    <a:pt x="217" y="131"/>
                  </a:lnTo>
                  <a:lnTo>
                    <a:pt x="214" y="129"/>
                  </a:lnTo>
                  <a:lnTo>
                    <a:pt x="208" y="126"/>
                  </a:lnTo>
                  <a:lnTo>
                    <a:pt x="203" y="128"/>
                  </a:lnTo>
                  <a:lnTo>
                    <a:pt x="200" y="126"/>
                  </a:lnTo>
                  <a:lnTo>
                    <a:pt x="189" y="122"/>
                  </a:lnTo>
                  <a:lnTo>
                    <a:pt x="182" y="122"/>
                  </a:lnTo>
                  <a:lnTo>
                    <a:pt x="174" y="122"/>
                  </a:lnTo>
                  <a:lnTo>
                    <a:pt x="159" y="129"/>
                  </a:lnTo>
                  <a:lnTo>
                    <a:pt x="156" y="133"/>
                  </a:lnTo>
                  <a:lnTo>
                    <a:pt x="150" y="135"/>
                  </a:lnTo>
                  <a:lnTo>
                    <a:pt x="145" y="136"/>
                  </a:lnTo>
                  <a:lnTo>
                    <a:pt x="134" y="135"/>
                  </a:lnTo>
                  <a:lnTo>
                    <a:pt x="130" y="135"/>
                  </a:lnTo>
                  <a:lnTo>
                    <a:pt x="125" y="133"/>
                  </a:lnTo>
                  <a:lnTo>
                    <a:pt x="119" y="135"/>
                  </a:lnTo>
                  <a:lnTo>
                    <a:pt x="115" y="133"/>
                  </a:lnTo>
                  <a:lnTo>
                    <a:pt x="105" y="136"/>
                  </a:lnTo>
                  <a:lnTo>
                    <a:pt x="96" y="135"/>
                  </a:lnTo>
                  <a:lnTo>
                    <a:pt x="94" y="135"/>
                  </a:lnTo>
                  <a:lnTo>
                    <a:pt x="90" y="131"/>
                  </a:lnTo>
                  <a:lnTo>
                    <a:pt x="82" y="131"/>
                  </a:lnTo>
                  <a:lnTo>
                    <a:pt x="76" y="135"/>
                  </a:lnTo>
                  <a:lnTo>
                    <a:pt x="73" y="131"/>
                  </a:lnTo>
                  <a:lnTo>
                    <a:pt x="75" y="129"/>
                  </a:lnTo>
                  <a:lnTo>
                    <a:pt x="76" y="126"/>
                  </a:lnTo>
                  <a:lnTo>
                    <a:pt x="73" y="122"/>
                  </a:lnTo>
                  <a:lnTo>
                    <a:pt x="65" y="122"/>
                  </a:lnTo>
                  <a:lnTo>
                    <a:pt x="64" y="117"/>
                  </a:lnTo>
                  <a:lnTo>
                    <a:pt x="61" y="112"/>
                  </a:lnTo>
                  <a:lnTo>
                    <a:pt x="67" y="107"/>
                  </a:lnTo>
                  <a:lnTo>
                    <a:pt x="58" y="107"/>
                  </a:lnTo>
                  <a:lnTo>
                    <a:pt x="52" y="111"/>
                  </a:lnTo>
                  <a:lnTo>
                    <a:pt x="49" y="109"/>
                  </a:lnTo>
                  <a:lnTo>
                    <a:pt x="43" y="111"/>
                  </a:lnTo>
                  <a:lnTo>
                    <a:pt x="41" y="107"/>
                  </a:lnTo>
                  <a:lnTo>
                    <a:pt x="32" y="104"/>
                  </a:lnTo>
                  <a:lnTo>
                    <a:pt x="29" y="101"/>
                  </a:lnTo>
                  <a:lnTo>
                    <a:pt x="33" y="95"/>
                  </a:lnTo>
                  <a:lnTo>
                    <a:pt x="26" y="91"/>
                  </a:lnTo>
                  <a:lnTo>
                    <a:pt x="18" y="87"/>
                  </a:lnTo>
                  <a:lnTo>
                    <a:pt x="15" y="83"/>
                  </a:lnTo>
                  <a:lnTo>
                    <a:pt x="8" y="74"/>
                  </a:lnTo>
                  <a:lnTo>
                    <a:pt x="6" y="70"/>
                  </a:lnTo>
                  <a:lnTo>
                    <a:pt x="0" y="69"/>
                  </a:lnTo>
                  <a:lnTo>
                    <a:pt x="6" y="63"/>
                  </a:lnTo>
                  <a:lnTo>
                    <a:pt x="12" y="63"/>
                  </a:lnTo>
                  <a:lnTo>
                    <a:pt x="14" y="58"/>
                  </a:lnTo>
                  <a:lnTo>
                    <a:pt x="21" y="59"/>
                  </a:lnTo>
                  <a:lnTo>
                    <a:pt x="26" y="56"/>
                  </a:lnTo>
                  <a:lnTo>
                    <a:pt x="26" y="50"/>
                  </a:lnTo>
                  <a:lnTo>
                    <a:pt x="35" y="37"/>
                  </a:lnTo>
                  <a:lnTo>
                    <a:pt x="41" y="22"/>
                  </a:lnTo>
                  <a:lnTo>
                    <a:pt x="49" y="13"/>
                  </a:lnTo>
                  <a:lnTo>
                    <a:pt x="54" y="11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4" name="Freeform 47"/>
            <p:cNvSpPr>
              <a:spLocks/>
            </p:cNvSpPr>
            <p:nvPr/>
          </p:nvSpPr>
          <p:spPr bwMode="auto">
            <a:xfrm>
              <a:off x="6119813" y="3044826"/>
              <a:ext cx="249238" cy="144463"/>
            </a:xfrm>
            <a:custGeom>
              <a:avLst/>
              <a:gdLst>
                <a:gd name="T0" fmla="*/ 102 w 157"/>
                <a:gd name="T1" fmla="*/ 79 h 91"/>
                <a:gd name="T2" fmla="*/ 108 w 157"/>
                <a:gd name="T3" fmla="*/ 73 h 91"/>
                <a:gd name="T4" fmla="*/ 114 w 157"/>
                <a:gd name="T5" fmla="*/ 73 h 91"/>
                <a:gd name="T6" fmla="*/ 116 w 157"/>
                <a:gd name="T7" fmla="*/ 68 h 91"/>
                <a:gd name="T8" fmla="*/ 123 w 157"/>
                <a:gd name="T9" fmla="*/ 68 h 91"/>
                <a:gd name="T10" fmla="*/ 128 w 157"/>
                <a:gd name="T11" fmla="*/ 65 h 91"/>
                <a:gd name="T12" fmla="*/ 128 w 157"/>
                <a:gd name="T13" fmla="*/ 59 h 91"/>
                <a:gd name="T14" fmla="*/ 137 w 157"/>
                <a:gd name="T15" fmla="*/ 46 h 91"/>
                <a:gd name="T16" fmla="*/ 143 w 157"/>
                <a:gd name="T17" fmla="*/ 31 h 91"/>
                <a:gd name="T18" fmla="*/ 151 w 157"/>
                <a:gd name="T19" fmla="*/ 22 h 91"/>
                <a:gd name="T20" fmla="*/ 157 w 157"/>
                <a:gd name="T21" fmla="*/ 21 h 91"/>
                <a:gd name="T22" fmla="*/ 157 w 157"/>
                <a:gd name="T23" fmla="*/ 15 h 91"/>
                <a:gd name="T24" fmla="*/ 157 w 157"/>
                <a:gd name="T25" fmla="*/ 9 h 91"/>
                <a:gd name="T26" fmla="*/ 149 w 157"/>
                <a:gd name="T27" fmla="*/ 6 h 91"/>
                <a:gd name="T28" fmla="*/ 143 w 157"/>
                <a:gd name="T29" fmla="*/ 0 h 91"/>
                <a:gd name="T30" fmla="*/ 137 w 157"/>
                <a:gd name="T31" fmla="*/ 4 h 91"/>
                <a:gd name="T32" fmla="*/ 128 w 157"/>
                <a:gd name="T33" fmla="*/ 1 h 91"/>
                <a:gd name="T34" fmla="*/ 116 w 157"/>
                <a:gd name="T35" fmla="*/ 1 h 91"/>
                <a:gd name="T36" fmla="*/ 111 w 157"/>
                <a:gd name="T37" fmla="*/ 0 h 91"/>
                <a:gd name="T38" fmla="*/ 101 w 157"/>
                <a:gd name="T39" fmla="*/ 1 h 91"/>
                <a:gd name="T40" fmla="*/ 97 w 157"/>
                <a:gd name="T41" fmla="*/ 7 h 91"/>
                <a:gd name="T42" fmla="*/ 91 w 157"/>
                <a:gd name="T43" fmla="*/ 12 h 91"/>
                <a:gd name="T44" fmla="*/ 91 w 157"/>
                <a:gd name="T45" fmla="*/ 17 h 91"/>
                <a:gd name="T46" fmla="*/ 83 w 157"/>
                <a:gd name="T47" fmla="*/ 9 h 91"/>
                <a:gd name="T48" fmla="*/ 74 w 157"/>
                <a:gd name="T49" fmla="*/ 15 h 91"/>
                <a:gd name="T50" fmla="*/ 66 w 157"/>
                <a:gd name="T51" fmla="*/ 18 h 91"/>
                <a:gd name="T52" fmla="*/ 65 w 157"/>
                <a:gd name="T53" fmla="*/ 22 h 91"/>
                <a:gd name="T54" fmla="*/ 51 w 157"/>
                <a:gd name="T55" fmla="*/ 24 h 91"/>
                <a:gd name="T56" fmla="*/ 42 w 157"/>
                <a:gd name="T57" fmla="*/ 26 h 91"/>
                <a:gd name="T58" fmla="*/ 31 w 157"/>
                <a:gd name="T59" fmla="*/ 24 h 91"/>
                <a:gd name="T60" fmla="*/ 13 w 157"/>
                <a:gd name="T61" fmla="*/ 15 h 91"/>
                <a:gd name="T62" fmla="*/ 13 w 157"/>
                <a:gd name="T63" fmla="*/ 18 h 91"/>
                <a:gd name="T64" fmla="*/ 13 w 157"/>
                <a:gd name="T65" fmla="*/ 24 h 91"/>
                <a:gd name="T66" fmla="*/ 13 w 157"/>
                <a:gd name="T67" fmla="*/ 28 h 91"/>
                <a:gd name="T68" fmla="*/ 2 w 157"/>
                <a:gd name="T69" fmla="*/ 28 h 91"/>
                <a:gd name="T70" fmla="*/ 0 w 157"/>
                <a:gd name="T71" fmla="*/ 30 h 91"/>
                <a:gd name="T72" fmla="*/ 5 w 157"/>
                <a:gd name="T73" fmla="*/ 35 h 91"/>
                <a:gd name="T74" fmla="*/ 2 w 157"/>
                <a:gd name="T75" fmla="*/ 41 h 91"/>
                <a:gd name="T76" fmla="*/ 2 w 157"/>
                <a:gd name="T77" fmla="*/ 46 h 91"/>
                <a:gd name="T78" fmla="*/ 5 w 157"/>
                <a:gd name="T79" fmla="*/ 51 h 91"/>
                <a:gd name="T80" fmla="*/ 0 w 157"/>
                <a:gd name="T81" fmla="*/ 56 h 91"/>
                <a:gd name="T82" fmla="*/ 0 w 157"/>
                <a:gd name="T83" fmla="*/ 56 h 91"/>
                <a:gd name="T84" fmla="*/ 5 w 157"/>
                <a:gd name="T85" fmla="*/ 63 h 91"/>
                <a:gd name="T86" fmla="*/ 7 w 157"/>
                <a:gd name="T87" fmla="*/ 71 h 91"/>
                <a:gd name="T88" fmla="*/ 11 w 157"/>
                <a:gd name="T89" fmla="*/ 73 h 91"/>
                <a:gd name="T90" fmla="*/ 22 w 157"/>
                <a:gd name="T91" fmla="*/ 82 h 91"/>
                <a:gd name="T92" fmla="*/ 28 w 157"/>
                <a:gd name="T93" fmla="*/ 85 h 91"/>
                <a:gd name="T94" fmla="*/ 34 w 157"/>
                <a:gd name="T95" fmla="*/ 86 h 91"/>
                <a:gd name="T96" fmla="*/ 48 w 157"/>
                <a:gd name="T97" fmla="*/ 90 h 91"/>
                <a:gd name="T98" fmla="*/ 59 w 157"/>
                <a:gd name="T99" fmla="*/ 91 h 91"/>
                <a:gd name="T100" fmla="*/ 62 w 157"/>
                <a:gd name="T101" fmla="*/ 88 h 91"/>
                <a:gd name="T102" fmla="*/ 66 w 157"/>
                <a:gd name="T103" fmla="*/ 88 h 91"/>
                <a:gd name="T104" fmla="*/ 71 w 157"/>
                <a:gd name="T105" fmla="*/ 85 h 91"/>
                <a:gd name="T106" fmla="*/ 76 w 157"/>
                <a:gd name="T107" fmla="*/ 82 h 91"/>
                <a:gd name="T108" fmla="*/ 80 w 157"/>
                <a:gd name="T109" fmla="*/ 82 h 91"/>
                <a:gd name="T110" fmla="*/ 82 w 157"/>
                <a:gd name="T111" fmla="*/ 80 h 91"/>
                <a:gd name="T112" fmla="*/ 89 w 157"/>
                <a:gd name="T113" fmla="*/ 74 h 91"/>
                <a:gd name="T114" fmla="*/ 94 w 157"/>
                <a:gd name="T115" fmla="*/ 77 h 91"/>
                <a:gd name="T116" fmla="*/ 100 w 157"/>
                <a:gd name="T117" fmla="*/ 77 h 91"/>
                <a:gd name="T118" fmla="*/ 102 w 157"/>
                <a:gd name="T119" fmla="*/ 79 h 91"/>
                <a:gd name="T120" fmla="*/ 102 w 157"/>
                <a:gd name="T121" fmla="*/ 79 h 91"/>
                <a:gd name="T122" fmla="*/ 102 w 157"/>
                <a:gd name="T123" fmla="*/ 7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7" h="91">
                  <a:moveTo>
                    <a:pt x="102" y="79"/>
                  </a:moveTo>
                  <a:lnTo>
                    <a:pt x="108" y="73"/>
                  </a:lnTo>
                  <a:lnTo>
                    <a:pt x="114" y="73"/>
                  </a:lnTo>
                  <a:lnTo>
                    <a:pt x="116" y="68"/>
                  </a:lnTo>
                  <a:lnTo>
                    <a:pt x="123" y="68"/>
                  </a:lnTo>
                  <a:lnTo>
                    <a:pt x="128" y="65"/>
                  </a:lnTo>
                  <a:lnTo>
                    <a:pt x="128" y="59"/>
                  </a:lnTo>
                  <a:lnTo>
                    <a:pt x="137" y="46"/>
                  </a:lnTo>
                  <a:lnTo>
                    <a:pt x="143" y="31"/>
                  </a:lnTo>
                  <a:lnTo>
                    <a:pt x="151" y="22"/>
                  </a:lnTo>
                  <a:lnTo>
                    <a:pt x="157" y="21"/>
                  </a:lnTo>
                  <a:lnTo>
                    <a:pt x="157" y="15"/>
                  </a:lnTo>
                  <a:lnTo>
                    <a:pt x="157" y="9"/>
                  </a:lnTo>
                  <a:lnTo>
                    <a:pt x="149" y="6"/>
                  </a:lnTo>
                  <a:lnTo>
                    <a:pt x="143" y="0"/>
                  </a:lnTo>
                  <a:lnTo>
                    <a:pt x="137" y="4"/>
                  </a:lnTo>
                  <a:lnTo>
                    <a:pt x="128" y="1"/>
                  </a:lnTo>
                  <a:lnTo>
                    <a:pt x="116" y="1"/>
                  </a:lnTo>
                  <a:lnTo>
                    <a:pt x="111" y="0"/>
                  </a:lnTo>
                  <a:lnTo>
                    <a:pt x="101" y="1"/>
                  </a:lnTo>
                  <a:lnTo>
                    <a:pt x="97" y="7"/>
                  </a:lnTo>
                  <a:lnTo>
                    <a:pt x="91" y="12"/>
                  </a:lnTo>
                  <a:lnTo>
                    <a:pt x="91" y="17"/>
                  </a:lnTo>
                  <a:lnTo>
                    <a:pt x="83" y="9"/>
                  </a:lnTo>
                  <a:lnTo>
                    <a:pt x="74" y="15"/>
                  </a:lnTo>
                  <a:lnTo>
                    <a:pt x="66" y="18"/>
                  </a:lnTo>
                  <a:lnTo>
                    <a:pt x="65" y="22"/>
                  </a:lnTo>
                  <a:lnTo>
                    <a:pt x="51" y="24"/>
                  </a:lnTo>
                  <a:lnTo>
                    <a:pt x="42" y="26"/>
                  </a:lnTo>
                  <a:lnTo>
                    <a:pt x="31" y="24"/>
                  </a:lnTo>
                  <a:lnTo>
                    <a:pt x="13" y="15"/>
                  </a:lnTo>
                  <a:lnTo>
                    <a:pt x="13" y="18"/>
                  </a:lnTo>
                  <a:lnTo>
                    <a:pt x="13" y="24"/>
                  </a:lnTo>
                  <a:lnTo>
                    <a:pt x="13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5" y="35"/>
                  </a:lnTo>
                  <a:lnTo>
                    <a:pt x="2" y="41"/>
                  </a:lnTo>
                  <a:lnTo>
                    <a:pt x="2" y="46"/>
                  </a:lnTo>
                  <a:lnTo>
                    <a:pt x="5" y="51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5" y="63"/>
                  </a:lnTo>
                  <a:lnTo>
                    <a:pt x="7" y="71"/>
                  </a:lnTo>
                  <a:lnTo>
                    <a:pt x="11" y="73"/>
                  </a:lnTo>
                  <a:lnTo>
                    <a:pt x="22" y="82"/>
                  </a:lnTo>
                  <a:lnTo>
                    <a:pt x="28" y="85"/>
                  </a:lnTo>
                  <a:lnTo>
                    <a:pt x="34" y="86"/>
                  </a:lnTo>
                  <a:lnTo>
                    <a:pt x="48" y="90"/>
                  </a:lnTo>
                  <a:lnTo>
                    <a:pt x="59" y="91"/>
                  </a:lnTo>
                  <a:lnTo>
                    <a:pt x="62" y="88"/>
                  </a:lnTo>
                  <a:lnTo>
                    <a:pt x="66" y="88"/>
                  </a:lnTo>
                  <a:lnTo>
                    <a:pt x="71" y="85"/>
                  </a:lnTo>
                  <a:lnTo>
                    <a:pt x="76" y="82"/>
                  </a:lnTo>
                  <a:lnTo>
                    <a:pt x="80" y="82"/>
                  </a:lnTo>
                  <a:lnTo>
                    <a:pt x="82" y="80"/>
                  </a:lnTo>
                  <a:lnTo>
                    <a:pt x="89" y="74"/>
                  </a:lnTo>
                  <a:lnTo>
                    <a:pt x="94" y="77"/>
                  </a:lnTo>
                  <a:lnTo>
                    <a:pt x="100" y="77"/>
                  </a:lnTo>
                  <a:lnTo>
                    <a:pt x="102" y="79"/>
                  </a:lnTo>
                  <a:lnTo>
                    <a:pt x="102" y="79"/>
                  </a:lnTo>
                  <a:lnTo>
                    <a:pt x="102" y="7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5" name="Freeform 48"/>
            <p:cNvSpPr>
              <a:spLocks/>
            </p:cNvSpPr>
            <p:nvPr/>
          </p:nvSpPr>
          <p:spPr bwMode="auto">
            <a:xfrm>
              <a:off x="6138863" y="3006726"/>
              <a:ext cx="220663" cy="80963"/>
            </a:xfrm>
            <a:custGeom>
              <a:avLst/>
              <a:gdLst>
                <a:gd name="T0" fmla="*/ 1 w 139"/>
                <a:gd name="T1" fmla="*/ 40 h 51"/>
                <a:gd name="T2" fmla="*/ 19 w 139"/>
                <a:gd name="T3" fmla="*/ 49 h 51"/>
                <a:gd name="T4" fmla="*/ 30 w 139"/>
                <a:gd name="T5" fmla="*/ 51 h 51"/>
                <a:gd name="T6" fmla="*/ 40 w 139"/>
                <a:gd name="T7" fmla="*/ 49 h 51"/>
                <a:gd name="T8" fmla="*/ 53 w 139"/>
                <a:gd name="T9" fmla="*/ 48 h 51"/>
                <a:gd name="T10" fmla="*/ 54 w 139"/>
                <a:gd name="T11" fmla="*/ 43 h 51"/>
                <a:gd name="T12" fmla="*/ 62 w 139"/>
                <a:gd name="T13" fmla="*/ 40 h 51"/>
                <a:gd name="T14" fmla="*/ 71 w 139"/>
                <a:gd name="T15" fmla="*/ 34 h 51"/>
                <a:gd name="T16" fmla="*/ 79 w 139"/>
                <a:gd name="T17" fmla="*/ 42 h 51"/>
                <a:gd name="T18" fmla="*/ 79 w 139"/>
                <a:gd name="T19" fmla="*/ 36 h 51"/>
                <a:gd name="T20" fmla="*/ 85 w 139"/>
                <a:gd name="T21" fmla="*/ 32 h 51"/>
                <a:gd name="T22" fmla="*/ 89 w 139"/>
                <a:gd name="T23" fmla="*/ 26 h 51"/>
                <a:gd name="T24" fmla="*/ 99 w 139"/>
                <a:gd name="T25" fmla="*/ 25 h 51"/>
                <a:gd name="T26" fmla="*/ 105 w 139"/>
                <a:gd name="T27" fmla="*/ 26 h 51"/>
                <a:gd name="T28" fmla="*/ 116 w 139"/>
                <a:gd name="T29" fmla="*/ 26 h 51"/>
                <a:gd name="T30" fmla="*/ 125 w 139"/>
                <a:gd name="T31" fmla="*/ 28 h 51"/>
                <a:gd name="T32" fmla="*/ 133 w 139"/>
                <a:gd name="T33" fmla="*/ 25 h 51"/>
                <a:gd name="T34" fmla="*/ 133 w 139"/>
                <a:gd name="T35" fmla="*/ 16 h 51"/>
                <a:gd name="T36" fmla="*/ 139 w 139"/>
                <a:gd name="T37" fmla="*/ 5 h 51"/>
                <a:gd name="T38" fmla="*/ 139 w 139"/>
                <a:gd name="T39" fmla="*/ 5 h 51"/>
                <a:gd name="T40" fmla="*/ 128 w 139"/>
                <a:gd name="T41" fmla="*/ 0 h 51"/>
                <a:gd name="T42" fmla="*/ 116 w 139"/>
                <a:gd name="T43" fmla="*/ 0 h 51"/>
                <a:gd name="T44" fmla="*/ 111 w 139"/>
                <a:gd name="T45" fmla="*/ 0 h 51"/>
                <a:gd name="T46" fmla="*/ 108 w 139"/>
                <a:gd name="T47" fmla="*/ 0 h 51"/>
                <a:gd name="T48" fmla="*/ 105 w 139"/>
                <a:gd name="T49" fmla="*/ 0 h 51"/>
                <a:gd name="T50" fmla="*/ 100 w 139"/>
                <a:gd name="T51" fmla="*/ 3 h 51"/>
                <a:gd name="T52" fmla="*/ 96 w 139"/>
                <a:gd name="T53" fmla="*/ 0 h 51"/>
                <a:gd name="T54" fmla="*/ 89 w 139"/>
                <a:gd name="T55" fmla="*/ 0 h 51"/>
                <a:gd name="T56" fmla="*/ 85 w 139"/>
                <a:gd name="T57" fmla="*/ 0 h 51"/>
                <a:gd name="T58" fmla="*/ 82 w 139"/>
                <a:gd name="T59" fmla="*/ 0 h 51"/>
                <a:gd name="T60" fmla="*/ 77 w 139"/>
                <a:gd name="T61" fmla="*/ 5 h 51"/>
                <a:gd name="T62" fmla="*/ 71 w 139"/>
                <a:gd name="T63" fmla="*/ 5 h 51"/>
                <a:gd name="T64" fmla="*/ 71 w 139"/>
                <a:gd name="T65" fmla="*/ 5 h 51"/>
                <a:gd name="T66" fmla="*/ 71 w 139"/>
                <a:gd name="T67" fmla="*/ 5 h 51"/>
                <a:gd name="T68" fmla="*/ 59 w 139"/>
                <a:gd name="T69" fmla="*/ 5 h 51"/>
                <a:gd name="T70" fmla="*/ 53 w 139"/>
                <a:gd name="T71" fmla="*/ 8 h 51"/>
                <a:gd name="T72" fmla="*/ 45 w 139"/>
                <a:gd name="T73" fmla="*/ 8 h 51"/>
                <a:gd name="T74" fmla="*/ 37 w 139"/>
                <a:gd name="T75" fmla="*/ 16 h 51"/>
                <a:gd name="T76" fmla="*/ 28 w 139"/>
                <a:gd name="T77" fmla="*/ 17 h 51"/>
                <a:gd name="T78" fmla="*/ 16 w 139"/>
                <a:gd name="T79" fmla="*/ 22 h 51"/>
                <a:gd name="T80" fmla="*/ 15 w 139"/>
                <a:gd name="T81" fmla="*/ 19 h 51"/>
                <a:gd name="T82" fmla="*/ 7 w 139"/>
                <a:gd name="T83" fmla="*/ 19 h 51"/>
                <a:gd name="T84" fmla="*/ 1 w 139"/>
                <a:gd name="T85" fmla="*/ 23 h 51"/>
                <a:gd name="T86" fmla="*/ 0 w 139"/>
                <a:gd name="T87" fmla="*/ 23 h 51"/>
                <a:gd name="T88" fmla="*/ 0 w 139"/>
                <a:gd name="T89" fmla="*/ 31 h 51"/>
                <a:gd name="T90" fmla="*/ 1 w 139"/>
                <a:gd name="T91" fmla="*/ 40 h 51"/>
                <a:gd name="T92" fmla="*/ 1 w 139"/>
                <a:gd name="T93" fmla="*/ 40 h 51"/>
                <a:gd name="T94" fmla="*/ 1 w 139"/>
                <a:gd name="T95" fmla="*/ 4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9" h="51">
                  <a:moveTo>
                    <a:pt x="1" y="40"/>
                  </a:moveTo>
                  <a:lnTo>
                    <a:pt x="19" y="49"/>
                  </a:lnTo>
                  <a:lnTo>
                    <a:pt x="30" y="51"/>
                  </a:lnTo>
                  <a:lnTo>
                    <a:pt x="40" y="49"/>
                  </a:lnTo>
                  <a:lnTo>
                    <a:pt x="53" y="48"/>
                  </a:lnTo>
                  <a:lnTo>
                    <a:pt x="54" y="43"/>
                  </a:lnTo>
                  <a:lnTo>
                    <a:pt x="62" y="40"/>
                  </a:lnTo>
                  <a:lnTo>
                    <a:pt x="71" y="34"/>
                  </a:lnTo>
                  <a:lnTo>
                    <a:pt x="79" y="42"/>
                  </a:lnTo>
                  <a:lnTo>
                    <a:pt x="79" y="36"/>
                  </a:lnTo>
                  <a:lnTo>
                    <a:pt x="85" y="32"/>
                  </a:lnTo>
                  <a:lnTo>
                    <a:pt x="89" y="26"/>
                  </a:lnTo>
                  <a:lnTo>
                    <a:pt x="99" y="25"/>
                  </a:lnTo>
                  <a:lnTo>
                    <a:pt x="105" y="26"/>
                  </a:lnTo>
                  <a:lnTo>
                    <a:pt x="116" y="26"/>
                  </a:lnTo>
                  <a:lnTo>
                    <a:pt x="125" y="28"/>
                  </a:lnTo>
                  <a:lnTo>
                    <a:pt x="133" y="25"/>
                  </a:lnTo>
                  <a:lnTo>
                    <a:pt x="133" y="16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28" y="0"/>
                  </a:lnTo>
                  <a:lnTo>
                    <a:pt x="116" y="0"/>
                  </a:lnTo>
                  <a:lnTo>
                    <a:pt x="111" y="0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100" y="3"/>
                  </a:lnTo>
                  <a:lnTo>
                    <a:pt x="96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2" y="0"/>
                  </a:lnTo>
                  <a:lnTo>
                    <a:pt x="77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59" y="5"/>
                  </a:lnTo>
                  <a:lnTo>
                    <a:pt x="53" y="8"/>
                  </a:lnTo>
                  <a:lnTo>
                    <a:pt x="45" y="8"/>
                  </a:lnTo>
                  <a:lnTo>
                    <a:pt x="37" y="16"/>
                  </a:lnTo>
                  <a:lnTo>
                    <a:pt x="28" y="17"/>
                  </a:lnTo>
                  <a:lnTo>
                    <a:pt x="16" y="22"/>
                  </a:lnTo>
                  <a:lnTo>
                    <a:pt x="15" y="19"/>
                  </a:lnTo>
                  <a:lnTo>
                    <a:pt x="7" y="19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6" name="Freeform 49"/>
            <p:cNvSpPr>
              <a:spLocks/>
            </p:cNvSpPr>
            <p:nvPr/>
          </p:nvSpPr>
          <p:spPr bwMode="auto">
            <a:xfrm>
              <a:off x="6381751" y="3254376"/>
              <a:ext cx="254000" cy="141288"/>
            </a:xfrm>
            <a:custGeom>
              <a:avLst/>
              <a:gdLst>
                <a:gd name="T0" fmla="*/ 11 w 160"/>
                <a:gd name="T1" fmla="*/ 0 h 89"/>
                <a:gd name="T2" fmla="*/ 13 w 160"/>
                <a:gd name="T3" fmla="*/ 6 h 89"/>
                <a:gd name="T4" fmla="*/ 15 w 160"/>
                <a:gd name="T5" fmla="*/ 12 h 89"/>
                <a:gd name="T6" fmla="*/ 28 w 160"/>
                <a:gd name="T7" fmla="*/ 9 h 89"/>
                <a:gd name="T8" fmla="*/ 34 w 160"/>
                <a:gd name="T9" fmla="*/ 12 h 89"/>
                <a:gd name="T10" fmla="*/ 53 w 160"/>
                <a:gd name="T11" fmla="*/ 11 h 89"/>
                <a:gd name="T12" fmla="*/ 62 w 160"/>
                <a:gd name="T13" fmla="*/ 11 h 89"/>
                <a:gd name="T14" fmla="*/ 71 w 160"/>
                <a:gd name="T15" fmla="*/ 12 h 89"/>
                <a:gd name="T16" fmla="*/ 87 w 160"/>
                <a:gd name="T17" fmla="*/ 12 h 89"/>
                <a:gd name="T18" fmla="*/ 96 w 160"/>
                <a:gd name="T19" fmla="*/ 6 h 89"/>
                <a:gd name="T20" fmla="*/ 119 w 160"/>
                <a:gd name="T21" fmla="*/ 0 h 89"/>
                <a:gd name="T22" fmla="*/ 136 w 160"/>
                <a:gd name="T23" fmla="*/ 3 h 89"/>
                <a:gd name="T24" fmla="*/ 145 w 160"/>
                <a:gd name="T25" fmla="*/ 3 h 89"/>
                <a:gd name="T26" fmla="*/ 153 w 160"/>
                <a:gd name="T27" fmla="*/ 9 h 89"/>
                <a:gd name="T28" fmla="*/ 160 w 160"/>
                <a:gd name="T29" fmla="*/ 11 h 89"/>
                <a:gd name="T30" fmla="*/ 154 w 160"/>
                <a:gd name="T31" fmla="*/ 23 h 89"/>
                <a:gd name="T32" fmla="*/ 143 w 160"/>
                <a:gd name="T33" fmla="*/ 28 h 89"/>
                <a:gd name="T34" fmla="*/ 142 w 160"/>
                <a:gd name="T35" fmla="*/ 45 h 89"/>
                <a:gd name="T36" fmla="*/ 136 w 160"/>
                <a:gd name="T37" fmla="*/ 52 h 89"/>
                <a:gd name="T38" fmla="*/ 145 w 160"/>
                <a:gd name="T39" fmla="*/ 60 h 89"/>
                <a:gd name="T40" fmla="*/ 148 w 160"/>
                <a:gd name="T41" fmla="*/ 65 h 89"/>
                <a:gd name="T42" fmla="*/ 139 w 160"/>
                <a:gd name="T43" fmla="*/ 67 h 89"/>
                <a:gd name="T44" fmla="*/ 125 w 160"/>
                <a:gd name="T45" fmla="*/ 62 h 89"/>
                <a:gd name="T46" fmla="*/ 117 w 160"/>
                <a:gd name="T47" fmla="*/ 65 h 89"/>
                <a:gd name="T48" fmla="*/ 111 w 160"/>
                <a:gd name="T49" fmla="*/ 71 h 89"/>
                <a:gd name="T50" fmla="*/ 102 w 160"/>
                <a:gd name="T51" fmla="*/ 74 h 89"/>
                <a:gd name="T52" fmla="*/ 104 w 160"/>
                <a:gd name="T53" fmla="*/ 84 h 89"/>
                <a:gd name="T54" fmla="*/ 88 w 160"/>
                <a:gd name="T55" fmla="*/ 85 h 89"/>
                <a:gd name="T56" fmla="*/ 79 w 160"/>
                <a:gd name="T57" fmla="*/ 85 h 89"/>
                <a:gd name="T58" fmla="*/ 70 w 160"/>
                <a:gd name="T59" fmla="*/ 89 h 89"/>
                <a:gd name="T60" fmla="*/ 64 w 160"/>
                <a:gd name="T61" fmla="*/ 84 h 89"/>
                <a:gd name="T62" fmla="*/ 49 w 160"/>
                <a:gd name="T63" fmla="*/ 84 h 89"/>
                <a:gd name="T64" fmla="*/ 37 w 160"/>
                <a:gd name="T65" fmla="*/ 89 h 89"/>
                <a:gd name="T66" fmla="*/ 26 w 160"/>
                <a:gd name="T67" fmla="*/ 88 h 89"/>
                <a:gd name="T68" fmla="*/ 25 w 160"/>
                <a:gd name="T69" fmla="*/ 84 h 89"/>
                <a:gd name="T70" fmla="*/ 17 w 160"/>
                <a:gd name="T71" fmla="*/ 65 h 89"/>
                <a:gd name="T72" fmla="*/ 6 w 160"/>
                <a:gd name="T73" fmla="*/ 57 h 89"/>
                <a:gd name="T74" fmla="*/ 3 w 160"/>
                <a:gd name="T75" fmla="*/ 48 h 89"/>
                <a:gd name="T76" fmla="*/ 13 w 160"/>
                <a:gd name="T77" fmla="*/ 37 h 89"/>
                <a:gd name="T78" fmla="*/ 11 w 160"/>
                <a:gd name="T79" fmla="*/ 26 h 89"/>
                <a:gd name="T80" fmla="*/ 0 w 160"/>
                <a:gd name="T81" fmla="*/ 6 h 89"/>
                <a:gd name="T82" fmla="*/ 3 w 160"/>
                <a:gd name="T83" fmla="*/ 0 h 89"/>
                <a:gd name="T84" fmla="*/ 3 w 160"/>
                <a:gd name="T8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0" h="89">
                  <a:moveTo>
                    <a:pt x="3" y="0"/>
                  </a:moveTo>
                  <a:lnTo>
                    <a:pt x="11" y="0"/>
                  </a:lnTo>
                  <a:lnTo>
                    <a:pt x="15" y="3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15" y="12"/>
                  </a:lnTo>
                  <a:lnTo>
                    <a:pt x="20" y="9"/>
                  </a:lnTo>
                  <a:lnTo>
                    <a:pt x="28" y="9"/>
                  </a:lnTo>
                  <a:lnTo>
                    <a:pt x="31" y="12"/>
                  </a:lnTo>
                  <a:lnTo>
                    <a:pt x="34" y="12"/>
                  </a:lnTo>
                  <a:lnTo>
                    <a:pt x="43" y="14"/>
                  </a:lnTo>
                  <a:lnTo>
                    <a:pt x="53" y="11"/>
                  </a:lnTo>
                  <a:lnTo>
                    <a:pt x="56" y="12"/>
                  </a:lnTo>
                  <a:lnTo>
                    <a:pt x="62" y="11"/>
                  </a:lnTo>
                  <a:lnTo>
                    <a:pt x="68" y="12"/>
                  </a:lnTo>
                  <a:lnTo>
                    <a:pt x="71" y="12"/>
                  </a:lnTo>
                  <a:lnTo>
                    <a:pt x="83" y="14"/>
                  </a:lnTo>
                  <a:lnTo>
                    <a:pt x="87" y="12"/>
                  </a:lnTo>
                  <a:lnTo>
                    <a:pt x="93" y="11"/>
                  </a:lnTo>
                  <a:lnTo>
                    <a:pt x="96" y="6"/>
                  </a:lnTo>
                  <a:lnTo>
                    <a:pt x="111" y="0"/>
                  </a:lnTo>
                  <a:lnTo>
                    <a:pt x="119" y="0"/>
                  </a:lnTo>
                  <a:lnTo>
                    <a:pt x="126" y="0"/>
                  </a:lnTo>
                  <a:lnTo>
                    <a:pt x="136" y="3"/>
                  </a:lnTo>
                  <a:lnTo>
                    <a:pt x="139" y="5"/>
                  </a:lnTo>
                  <a:lnTo>
                    <a:pt x="145" y="3"/>
                  </a:lnTo>
                  <a:lnTo>
                    <a:pt x="151" y="6"/>
                  </a:lnTo>
                  <a:lnTo>
                    <a:pt x="153" y="9"/>
                  </a:lnTo>
                  <a:lnTo>
                    <a:pt x="159" y="9"/>
                  </a:lnTo>
                  <a:lnTo>
                    <a:pt x="160" y="11"/>
                  </a:lnTo>
                  <a:lnTo>
                    <a:pt x="159" y="20"/>
                  </a:lnTo>
                  <a:lnTo>
                    <a:pt x="154" y="23"/>
                  </a:lnTo>
                  <a:lnTo>
                    <a:pt x="148" y="23"/>
                  </a:lnTo>
                  <a:lnTo>
                    <a:pt x="143" y="28"/>
                  </a:lnTo>
                  <a:lnTo>
                    <a:pt x="143" y="39"/>
                  </a:lnTo>
                  <a:lnTo>
                    <a:pt x="142" y="45"/>
                  </a:lnTo>
                  <a:lnTo>
                    <a:pt x="134" y="51"/>
                  </a:lnTo>
                  <a:lnTo>
                    <a:pt x="136" y="52"/>
                  </a:lnTo>
                  <a:lnTo>
                    <a:pt x="139" y="52"/>
                  </a:lnTo>
                  <a:lnTo>
                    <a:pt x="145" y="60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3" y="65"/>
                  </a:lnTo>
                  <a:lnTo>
                    <a:pt x="139" y="67"/>
                  </a:lnTo>
                  <a:lnTo>
                    <a:pt x="132" y="62"/>
                  </a:lnTo>
                  <a:lnTo>
                    <a:pt x="125" y="62"/>
                  </a:lnTo>
                  <a:lnTo>
                    <a:pt x="120" y="65"/>
                  </a:lnTo>
                  <a:lnTo>
                    <a:pt x="117" y="65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09" y="71"/>
                  </a:lnTo>
                  <a:lnTo>
                    <a:pt x="102" y="74"/>
                  </a:lnTo>
                  <a:lnTo>
                    <a:pt x="102" y="80"/>
                  </a:lnTo>
                  <a:lnTo>
                    <a:pt x="104" y="84"/>
                  </a:lnTo>
                  <a:lnTo>
                    <a:pt x="99" y="88"/>
                  </a:lnTo>
                  <a:lnTo>
                    <a:pt x="88" y="85"/>
                  </a:lnTo>
                  <a:lnTo>
                    <a:pt x="83" y="89"/>
                  </a:lnTo>
                  <a:lnTo>
                    <a:pt x="79" y="85"/>
                  </a:lnTo>
                  <a:lnTo>
                    <a:pt x="74" y="85"/>
                  </a:lnTo>
                  <a:lnTo>
                    <a:pt x="70" y="89"/>
                  </a:lnTo>
                  <a:lnTo>
                    <a:pt x="64" y="89"/>
                  </a:lnTo>
                  <a:lnTo>
                    <a:pt x="64" y="84"/>
                  </a:lnTo>
                  <a:lnTo>
                    <a:pt x="56" y="84"/>
                  </a:lnTo>
                  <a:lnTo>
                    <a:pt x="49" y="84"/>
                  </a:lnTo>
                  <a:lnTo>
                    <a:pt x="45" y="88"/>
                  </a:lnTo>
                  <a:lnTo>
                    <a:pt x="37" y="89"/>
                  </a:lnTo>
                  <a:lnTo>
                    <a:pt x="28" y="89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5" y="84"/>
                  </a:lnTo>
                  <a:lnTo>
                    <a:pt x="25" y="76"/>
                  </a:lnTo>
                  <a:lnTo>
                    <a:pt x="17" y="65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7" y="54"/>
                  </a:lnTo>
                  <a:lnTo>
                    <a:pt x="3" y="48"/>
                  </a:lnTo>
                  <a:lnTo>
                    <a:pt x="3" y="45"/>
                  </a:lnTo>
                  <a:lnTo>
                    <a:pt x="13" y="37"/>
                  </a:lnTo>
                  <a:lnTo>
                    <a:pt x="15" y="32"/>
                  </a:lnTo>
                  <a:lnTo>
                    <a:pt x="11" y="26"/>
                  </a:lnTo>
                  <a:lnTo>
                    <a:pt x="3" y="18"/>
                  </a:ln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7" name="Freeform 50"/>
            <p:cNvSpPr>
              <a:spLocks/>
            </p:cNvSpPr>
            <p:nvPr/>
          </p:nvSpPr>
          <p:spPr bwMode="auto">
            <a:xfrm>
              <a:off x="6308726" y="3344863"/>
              <a:ext cx="112713" cy="82550"/>
            </a:xfrm>
            <a:custGeom>
              <a:avLst/>
              <a:gdLst>
                <a:gd name="T0" fmla="*/ 50 w 71"/>
                <a:gd name="T1" fmla="*/ 0 h 52"/>
                <a:gd name="T2" fmla="*/ 62 w 71"/>
                <a:gd name="T3" fmla="*/ 8 h 52"/>
                <a:gd name="T4" fmla="*/ 70 w 71"/>
                <a:gd name="T5" fmla="*/ 19 h 52"/>
                <a:gd name="T6" fmla="*/ 70 w 71"/>
                <a:gd name="T7" fmla="*/ 28 h 52"/>
                <a:gd name="T8" fmla="*/ 71 w 71"/>
                <a:gd name="T9" fmla="*/ 31 h 52"/>
                <a:gd name="T10" fmla="*/ 68 w 71"/>
                <a:gd name="T11" fmla="*/ 34 h 52"/>
                <a:gd name="T12" fmla="*/ 62 w 71"/>
                <a:gd name="T13" fmla="*/ 34 h 52"/>
                <a:gd name="T14" fmla="*/ 56 w 71"/>
                <a:gd name="T15" fmla="*/ 38 h 52"/>
                <a:gd name="T16" fmla="*/ 42 w 71"/>
                <a:gd name="T17" fmla="*/ 37 h 52"/>
                <a:gd name="T18" fmla="*/ 37 w 71"/>
                <a:gd name="T19" fmla="*/ 40 h 52"/>
                <a:gd name="T20" fmla="*/ 35 w 71"/>
                <a:gd name="T21" fmla="*/ 43 h 52"/>
                <a:gd name="T22" fmla="*/ 27 w 71"/>
                <a:gd name="T23" fmla="*/ 43 h 52"/>
                <a:gd name="T24" fmla="*/ 15 w 71"/>
                <a:gd name="T25" fmla="*/ 52 h 52"/>
                <a:gd name="T26" fmla="*/ 15 w 71"/>
                <a:gd name="T27" fmla="*/ 52 h 52"/>
                <a:gd name="T28" fmla="*/ 10 w 71"/>
                <a:gd name="T29" fmla="*/ 48 h 52"/>
                <a:gd name="T30" fmla="*/ 9 w 71"/>
                <a:gd name="T31" fmla="*/ 43 h 52"/>
                <a:gd name="T32" fmla="*/ 3 w 71"/>
                <a:gd name="T33" fmla="*/ 34 h 52"/>
                <a:gd name="T34" fmla="*/ 0 w 71"/>
                <a:gd name="T35" fmla="*/ 25 h 52"/>
                <a:gd name="T36" fmla="*/ 3 w 71"/>
                <a:gd name="T37" fmla="*/ 18 h 52"/>
                <a:gd name="T38" fmla="*/ 3 w 71"/>
                <a:gd name="T39" fmla="*/ 18 h 52"/>
                <a:gd name="T40" fmla="*/ 6 w 71"/>
                <a:gd name="T41" fmla="*/ 16 h 52"/>
                <a:gd name="T42" fmla="*/ 4 w 71"/>
                <a:gd name="T43" fmla="*/ 12 h 52"/>
                <a:gd name="T44" fmla="*/ 12 w 71"/>
                <a:gd name="T45" fmla="*/ 8 h 52"/>
                <a:gd name="T46" fmla="*/ 18 w 71"/>
                <a:gd name="T47" fmla="*/ 6 h 52"/>
                <a:gd name="T48" fmla="*/ 21 w 71"/>
                <a:gd name="T49" fmla="*/ 4 h 52"/>
                <a:gd name="T50" fmla="*/ 33 w 71"/>
                <a:gd name="T51" fmla="*/ 3 h 52"/>
                <a:gd name="T52" fmla="*/ 38 w 71"/>
                <a:gd name="T53" fmla="*/ 3 h 52"/>
                <a:gd name="T54" fmla="*/ 47 w 71"/>
                <a:gd name="T55" fmla="*/ 0 h 52"/>
                <a:gd name="T56" fmla="*/ 50 w 71"/>
                <a:gd name="T57" fmla="*/ 0 h 52"/>
                <a:gd name="T58" fmla="*/ 50 w 71"/>
                <a:gd name="T59" fmla="*/ 0 h 52"/>
                <a:gd name="T60" fmla="*/ 50 w 71"/>
                <a:gd name="T6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" h="52">
                  <a:moveTo>
                    <a:pt x="50" y="0"/>
                  </a:moveTo>
                  <a:lnTo>
                    <a:pt x="62" y="8"/>
                  </a:lnTo>
                  <a:lnTo>
                    <a:pt x="70" y="19"/>
                  </a:lnTo>
                  <a:lnTo>
                    <a:pt x="70" y="28"/>
                  </a:lnTo>
                  <a:lnTo>
                    <a:pt x="71" y="31"/>
                  </a:lnTo>
                  <a:lnTo>
                    <a:pt x="68" y="34"/>
                  </a:lnTo>
                  <a:lnTo>
                    <a:pt x="62" y="34"/>
                  </a:lnTo>
                  <a:lnTo>
                    <a:pt x="56" y="38"/>
                  </a:lnTo>
                  <a:lnTo>
                    <a:pt x="42" y="37"/>
                  </a:lnTo>
                  <a:lnTo>
                    <a:pt x="37" y="40"/>
                  </a:lnTo>
                  <a:lnTo>
                    <a:pt x="35" y="43"/>
                  </a:lnTo>
                  <a:lnTo>
                    <a:pt x="27" y="43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0" y="48"/>
                  </a:lnTo>
                  <a:lnTo>
                    <a:pt x="9" y="43"/>
                  </a:lnTo>
                  <a:lnTo>
                    <a:pt x="3" y="34"/>
                  </a:lnTo>
                  <a:lnTo>
                    <a:pt x="0" y="25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4" y="12"/>
                  </a:lnTo>
                  <a:lnTo>
                    <a:pt x="12" y="8"/>
                  </a:lnTo>
                  <a:lnTo>
                    <a:pt x="18" y="6"/>
                  </a:lnTo>
                  <a:lnTo>
                    <a:pt x="21" y="4"/>
                  </a:lnTo>
                  <a:lnTo>
                    <a:pt x="33" y="3"/>
                  </a:lnTo>
                  <a:lnTo>
                    <a:pt x="38" y="3"/>
                  </a:lnTo>
                  <a:lnTo>
                    <a:pt x="47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8" name="Freeform 51"/>
            <p:cNvSpPr>
              <a:spLocks/>
            </p:cNvSpPr>
            <p:nvPr/>
          </p:nvSpPr>
          <p:spPr bwMode="auto">
            <a:xfrm>
              <a:off x="6256338" y="3335338"/>
              <a:ext cx="77788" cy="141288"/>
            </a:xfrm>
            <a:custGeom>
              <a:avLst/>
              <a:gdLst>
                <a:gd name="T0" fmla="*/ 37 w 49"/>
                <a:gd name="T1" fmla="*/ 24 h 89"/>
                <a:gd name="T2" fmla="*/ 34 w 49"/>
                <a:gd name="T3" fmla="*/ 32 h 89"/>
                <a:gd name="T4" fmla="*/ 37 w 49"/>
                <a:gd name="T5" fmla="*/ 41 h 89"/>
                <a:gd name="T6" fmla="*/ 42 w 49"/>
                <a:gd name="T7" fmla="*/ 49 h 89"/>
                <a:gd name="T8" fmla="*/ 43 w 49"/>
                <a:gd name="T9" fmla="*/ 54 h 89"/>
                <a:gd name="T10" fmla="*/ 49 w 49"/>
                <a:gd name="T11" fmla="*/ 58 h 89"/>
                <a:gd name="T12" fmla="*/ 49 w 49"/>
                <a:gd name="T13" fmla="*/ 63 h 89"/>
                <a:gd name="T14" fmla="*/ 46 w 49"/>
                <a:gd name="T15" fmla="*/ 71 h 89"/>
                <a:gd name="T16" fmla="*/ 34 w 49"/>
                <a:gd name="T17" fmla="*/ 74 h 89"/>
                <a:gd name="T18" fmla="*/ 34 w 49"/>
                <a:gd name="T19" fmla="*/ 80 h 89"/>
                <a:gd name="T20" fmla="*/ 31 w 49"/>
                <a:gd name="T21" fmla="*/ 88 h 89"/>
                <a:gd name="T22" fmla="*/ 27 w 49"/>
                <a:gd name="T23" fmla="*/ 89 h 89"/>
                <a:gd name="T24" fmla="*/ 21 w 49"/>
                <a:gd name="T25" fmla="*/ 86 h 89"/>
                <a:gd name="T26" fmla="*/ 15 w 49"/>
                <a:gd name="T27" fmla="*/ 74 h 89"/>
                <a:gd name="T28" fmla="*/ 6 w 49"/>
                <a:gd name="T29" fmla="*/ 74 h 89"/>
                <a:gd name="T30" fmla="*/ 4 w 49"/>
                <a:gd name="T31" fmla="*/ 71 h 89"/>
                <a:gd name="T32" fmla="*/ 6 w 49"/>
                <a:gd name="T33" fmla="*/ 65 h 89"/>
                <a:gd name="T34" fmla="*/ 3 w 49"/>
                <a:gd name="T35" fmla="*/ 61 h 89"/>
                <a:gd name="T36" fmla="*/ 3 w 49"/>
                <a:gd name="T37" fmla="*/ 54 h 89"/>
                <a:gd name="T38" fmla="*/ 4 w 49"/>
                <a:gd name="T39" fmla="*/ 50 h 89"/>
                <a:gd name="T40" fmla="*/ 3 w 49"/>
                <a:gd name="T41" fmla="*/ 43 h 89"/>
                <a:gd name="T42" fmla="*/ 4 w 49"/>
                <a:gd name="T43" fmla="*/ 32 h 89"/>
                <a:gd name="T44" fmla="*/ 6 w 49"/>
                <a:gd name="T45" fmla="*/ 30 h 89"/>
                <a:gd name="T46" fmla="*/ 9 w 49"/>
                <a:gd name="T47" fmla="*/ 26 h 89"/>
                <a:gd name="T48" fmla="*/ 0 w 49"/>
                <a:gd name="T49" fmla="*/ 23 h 89"/>
                <a:gd name="T50" fmla="*/ 0 w 49"/>
                <a:gd name="T51" fmla="*/ 13 h 89"/>
                <a:gd name="T52" fmla="*/ 4 w 49"/>
                <a:gd name="T53" fmla="*/ 7 h 89"/>
                <a:gd name="T54" fmla="*/ 9 w 49"/>
                <a:gd name="T55" fmla="*/ 0 h 89"/>
                <a:gd name="T56" fmla="*/ 12 w 49"/>
                <a:gd name="T57" fmla="*/ 0 h 89"/>
                <a:gd name="T58" fmla="*/ 15 w 49"/>
                <a:gd name="T59" fmla="*/ 6 h 89"/>
                <a:gd name="T60" fmla="*/ 19 w 49"/>
                <a:gd name="T61" fmla="*/ 0 h 89"/>
                <a:gd name="T62" fmla="*/ 19 w 49"/>
                <a:gd name="T63" fmla="*/ 0 h 89"/>
                <a:gd name="T64" fmla="*/ 21 w 49"/>
                <a:gd name="T65" fmla="*/ 1 h 89"/>
                <a:gd name="T66" fmla="*/ 25 w 49"/>
                <a:gd name="T67" fmla="*/ 6 h 89"/>
                <a:gd name="T68" fmla="*/ 28 w 49"/>
                <a:gd name="T69" fmla="*/ 7 h 89"/>
                <a:gd name="T70" fmla="*/ 34 w 49"/>
                <a:gd name="T71" fmla="*/ 12 h 89"/>
                <a:gd name="T72" fmla="*/ 34 w 49"/>
                <a:gd name="T73" fmla="*/ 13 h 89"/>
                <a:gd name="T74" fmla="*/ 34 w 49"/>
                <a:gd name="T75" fmla="*/ 23 h 89"/>
                <a:gd name="T76" fmla="*/ 37 w 49"/>
                <a:gd name="T77" fmla="*/ 24 h 89"/>
                <a:gd name="T78" fmla="*/ 37 w 49"/>
                <a:gd name="T79" fmla="*/ 24 h 89"/>
                <a:gd name="T80" fmla="*/ 37 w 49"/>
                <a:gd name="T81" fmla="*/ 2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" h="89">
                  <a:moveTo>
                    <a:pt x="37" y="24"/>
                  </a:moveTo>
                  <a:lnTo>
                    <a:pt x="34" y="32"/>
                  </a:lnTo>
                  <a:lnTo>
                    <a:pt x="37" y="41"/>
                  </a:lnTo>
                  <a:lnTo>
                    <a:pt x="42" y="49"/>
                  </a:lnTo>
                  <a:lnTo>
                    <a:pt x="43" y="54"/>
                  </a:lnTo>
                  <a:lnTo>
                    <a:pt x="49" y="58"/>
                  </a:lnTo>
                  <a:lnTo>
                    <a:pt x="49" y="63"/>
                  </a:lnTo>
                  <a:lnTo>
                    <a:pt x="46" y="71"/>
                  </a:lnTo>
                  <a:lnTo>
                    <a:pt x="34" y="74"/>
                  </a:lnTo>
                  <a:lnTo>
                    <a:pt x="34" y="80"/>
                  </a:lnTo>
                  <a:lnTo>
                    <a:pt x="31" y="88"/>
                  </a:lnTo>
                  <a:lnTo>
                    <a:pt x="27" y="89"/>
                  </a:lnTo>
                  <a:lnTo>
                    <a:pt x="21" y="86"/>
                  </a:lnTo>
                  <a:lnTo>
                    <a:pt x="15" y="74"/>
                  </a:lnTo>
                  <a:lnTo>
                    <a:pt x="6" y="74"/>
                  </a:lnTo>
                  <a:lnTo>
                    <a:pt x="4" y="71"/>
                  </a:lnTo>
                  <a:lnTo>
                    <a:pt x="6" y="65"/>
                  </a:lnTo>
                  <a:lnTo>
                    <a:pt x="3" y="61"/>
                  </a:lnTo>
                  <a:lnTo>
                    <a:pt x="3" y="54"/>
                  </a:lnTo>
                  <a:lnTo>
                    <a:pt x="4" y="50"/>
                  </a:lnTo>
                  <a:lnTo>
                    <a:pt x="3" y="43"/>
                  </a:lnTo>
                  <a:lnTo>
                    <a:pt x="4" y="32"/>
                  </a:lnTo>
                  <a:lnTo>
                    <a:pt x="6" y="30"/>
                  </a:lnTo>
                  <a:lnTo>
                    <a:pt x="9" y="26"/>
                  </a:lnTo>
                  <a:lnTo>
                    <a:pt x="0" y="23"/>
                  </a:lnTo>
                  <a:lnTo>
                    <a:pt x="0" y="13"/>
                  </a:lnTo>
                  <a:lnTo>
                    <a:pt x="4" y="7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6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5" y="6"/>
                  </a:lnTo>
                  <a:lnTo>
                    <a:pt x="28" y="7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4" y="23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9" name="Freeform 52"/>
            <p:cNvSpPr>
              <a:spLocks/>
            </p:cNvSpPr>
            <p:nvPr/>
          </p:nvSpPr>
          <p:spPr bwMode="auto">
            <a:xfrm>
              <a:off x="6224588" y="3165476"/>
              <a:ext cx="177800" cy="207963"/>
            </a:xfrm>
            <a:custGeom>
              <a:avLst/>
              <a:gdLst>
                <a:gd name="T0" fmla="*/ 4 w 112"/>
                <a:gd name="T1" fmla="*/ 10 h 131"/>
                <a:gd name="T2" fmla="*/ 14 w 112"/>
                <a:gd name="T3" fmla="*/ 8 h 131"/>
                <a:gd name="T4" fmla="*/ 23 w 112"/>
                <a:gd name="T5" fmla="*/ 0 h 131"/>
                <a:gd name="T6" fmla="*/ 33 w 112"/>
                <a:gd name="T7" fmla="*/ 3 h 131"/>
                <a:gd name="T8" fmla="*/ 45 w 112"/>
                <a:gd name="T9" fmla="*/ 10 h 131"/>
                <a:gd name="T10" fmla="*/ 54 w 112"/>
                <a:gd name="T11" fmla="*/ 22 h 131"/>
                <a:gd name="T12" fmla="*/ 69 w 112"/>
                <a:gd name="T13" fmla="*/ 30 h 131"/>
                <a:gd name="T14" fmla="*/ 68 w 112"/>
                <a:gd name="T15" fmla="*/ 39 h 131"/>
                <a:gd name="T16" fmla="*/ 79 w 112"/>
                <a:gd name="T17" fmla="*/ 47 h 131"/>
                <a:gd name="T18" fmla="*/ 88 w 112"/>
                <a:gd name="T19" fmla="*/ 47 h 131"/>
                <a:gd name="T20" fmla="*/ 103 w 112"/>
                <a:gd name="T21" fmla="*/ 43 h 131"/>
                <a:gd name="T22" fmla="*/ 100 w 112"/>
                <a:gd name="T23" fmla="*/ 52 h 131"/>
                <a:gd name="T24" fmla="*/ 97 w 112"/>
                <a:gd name="T25" fmla="*/ 65 h 131"/>
                <a:gd name="T26" fmla="*/ 109 w 112"/>
                <a:gd name="T27" fmla="*/ 83 h 131"/>
                <a:gd name="T28" fmla="*/ 111 w 112"/>
                <a:gd name="T29" fmla="*/ 95 h 131"/>
                <a:gd name="T30" fmla="*/ 101 w 112"/>
                <a:gd name="T31" fmla="*/ 106 h 131"/>
                <a:gd name="T32" fmla="*/ 103 w 112"/>
                <a:gd name="T33" fmla="*/ 114 h 131"/>
                <a:gd name="T34" fmla="*/ 92 w 112"/>
                <a:gd name="T35" fmla="*/ 117 h 131"/>
                <a:gd name="T36" fmla="*/ 75 w 112"/>
                <a:gd name="T37" fmla="*/ 119 h 131"/>
                <a:gd name="T38" fmla="*/ 65 w 112"/>
                <a:gd name="T39" fmla="*/ 122 h 131"/>
                <a:gd name="T40" fmla="*/ 60 w 112"/>
                <a:gd name="T41" fmla="*/ 130 h 131"/>
                <a:gd name="T42" fmla="*/ 54 w 112"/>
                <a:gd name="T43" fmla="*/ 130 h 131"/>
                <a:gd name="T44" fmla="*/ 54 w 112"/>
                <a:gd name="T45" fmla="*/ 119 h 131"/>
                <a:gd name="T46" fmla="*/ 45 w 112"/>
                <a:gd name="T47" fmla="*/ 113 h 131"/>
                <a:gd name="T48" fmla="*/ 39 w 112"/>
                <a:gd name="T49" fmla="*/ 108 h 131"/>
                <a:gd name="T50" fmla="*/ 45 w 112"/>
                <a:gd name="T51" fmla="*/ 103 h 131"/>
                <a:gd name="T52" fmla="*/ 36 w 112"/>
                <a:gd name="T53" fmla="*/ 95 h 131"/>
                <a:gd name="T54" fmla="*/ 25 w 112"/>
                <a:gd name="T55" fmla="*/ 91 h 131"/>
                <a:gd name="T56" fmla="*/ 23 w 112"/>
                <a:gd name="T57" fmla="*/ 86 h 131"/>
                <a:gd name="T58" fmla="*/ 19 w 112"/>
                <a:gd name="T59" fmla="*/ 78 h 131"/>
                <a:gd name="T60" fmla="*/ 14 w 112"/>
                <a:gd name="T61" fmla="*/ 67 h 131"/>
                <a:gd name="T62" fmla="*/ 22 w 112"/>
                <a:gd name="T63" fmla="*/ 67 h 131"/>
                <a:gd name="T64" fmla="*/ 19 w 112"/>
                <a:gd name="T65" fmla="*/ 61 h 131"/>
                <a:gd name="T66" fmla="*/ 5 w 112"/>
                <a:gd name="T67" fmla="*/ 56 h 131"/>
                <a:gd name="T68" fmla="*/ 11 w 112"/>
                <a:gd name="T69" fmla="*/ 44 h 131"/>
                <a:gd name="T70" fmla="*/ 10 w 112"/>
                <a:gd name="T71" fmla="*/ 39 h 131"/>
                <a:gd name="T72" fmla="*/ 5 w 112"/>
                <a:gd name="T73" fmla="*/ 39 h 131"/>
                <a:gd name="T74" fmla="*/ 10 w 112"/>
                <a:gd name="T75" fmla="*/ 34 h 131"/>
                <a:gd name="T76" fmla="*/ 14 w 112"/>
                <a:gd name="T77" fmla="*/ 33 h 131"/>
                <a:gd name="T78" fmla="*/ 5 w 112"/>
                <a:gd name="T79" fmla="*/ 28 h 131"/>
                <a:gd name="T80" fmla="*/ 0 w 112"/>
                <a:gd name="T81" fmla="*/ 16 h 131"/>
                <a:gd name="T82" fmla="*/ 0 w 112"/>
                <a:gd name="T83" fmla="*/ 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131">
                  <a:moveTo>
                    <a:pt x="0" y="13"/>
                  </a:moveTo>
                  <a:lnTo>
                    <a:pt x="4" y="10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23" y="0"/>
                  </a:lnTo>
                  <a:lnTo>
                    <a:pt x="28" y="3"/>
                  </a:lnTo>
                  <a:lnTo>
                    <a:pt x="33" y="3"/>
                  </a:lnTo>
                  <a:lnTo>
                    <a:pt x="42" y="6"/>
                  </a:lnTo>
                  <a:lnTo>
                    <a:pt x="45" y="10"/>
                  </a:lnTo>
                  <a:lnTo>
                    <a:pt x="51" y="19"/>
                  </a:lnTo>
                  <a:lnTo>
                    <a:pt x="54" y="22"/>
                  </a:lnTo>
                  <a:lnTo>
                    <a:pt x="62" y="27"/>
                  </a:lnTo>
                  <a:lnTo>
                    <a:pt x="69" y="30"/>
                  </a:lnTo>
                  <a:lnTo>
                    <a:pt x="65" y="37"/>
                  </a:lnTo>
                  <a:lnTo>
                    <a:pt x="68" y="39"/>
                  </a:lnTo>
                  <a:lnTo>
                    <a:pt x="77" y="43"/>
                  </a:lnTo>
                  <a:lnTo>
                    <a:pt x="79" y="47"/>
                  </a:lnTo>
                  <a:lnTo>
                    <a:pt x="85" y="44"/>
                  </a:lnTo>
                  <a:lnTo>
                    <a:pt x="88" y="47"/>
                  </a:lnTo>
                  <a:lnTo>
                    <a:pt x="94" y="43"/>
                  </a:lnTo>
                  <a:lnTo>
                    <a:pt x="103" y="43"/>
                  </a:lnTo>
                  <a:lnTo>
                    <a:pt x="97" y="48"/>
                  </a:lnTo>
                  <a:lnTo>
                    <a:pt x="100" y="52"/>
                  </a:lnTo>
                  <a:lnTo>
                    <a:pt x="101" y="61"/>
                  </a:lnTo>
                  <a:lnTo>
                    <a:pt x="97" y="65"/>
                  </a:lnTo>
                  <a:lnTo>
                    <a:pt x="101" y="76"/>
                  </a:lnTo>
                  <a:lnTo>
                    <a:pt x="109" y="83"/>
                  </a:lnTo>
                  <a:lnTo>
                    <a:pt x="112" y="89"/>
                  </a:lnTo>
                  <a:lnTo>
                    <a:pt x="111" y="95"/>
                  </a:lnTo>
                  <a:lnTo>
                    <a:pt x="101" y="103"/>
                  </a:lnTo>
                  <a:lnTo>
                    <a:pt x="101" y="106"/>
                  </a:lnTo>
                  <a:lnTo>
                    <a:pt x="106" y="111"/>
                  </a:lnTo>
                  <a:lnTo>
                    <a:pt x="103" y="114"/>
                  </a:lnTo>
                  <a:lnTo>
                    <a:pt x="100" y="114"/>
                  </a:lnTo>
                  <a:lnTo>
                    <a:pt x="92" y="117"/>
                  </a:lnTo>
                  <a:lnTo>
                    <a:pt x="86" y="117"/>
                  </a:lnTo>
                  <a:lnTo>
                    <a:pt x="75" y="119"/>
                  </a:lnTo>
                  <a:lnTo>
                    <a:pt x="71" y="120"/>
                  </a:lnTo>
                  <a:lnTo>
                    <a:pt x="65" y="122"/>
                  </a:lnTo>
                  <a:lnTo>
                    <a:pt x="57" y="125"/>
                  </a:lnTo>
                  <a:lnTo>
                    <a:pt x="60" y="130"/>
                  </a:lnTo>
                  <a:lnTo>
                    <a:pt x="56" y="131"/>
                  </a:lnTo>
                  <a:lnTo>
                    <a:pt x="54" y="130"/>
                  </a:lnTo>
                  <a:lnTo>
                    <a:pt x="54" y="120"/>
                  </a:lnTo>
                  <a:lnTo>
                    <a:pt x="54" y="119"/>
                  </a:lnTo>
                  <a:lnTo>
                    <a:pt x="48" y="114"/>
                  </a:lnTo>
                  <a:lnTo>
                    <a:pt x="45" y="113"/>
                  </a:lnTo>
                  <a:lnTo>
                    <a:pt x="40" y="109"/>
                  </a:lnTo>
                  <a:lnTo>
                    <a:pt x="39" y="108"/>
                  </a:lnTo>
                  <a:lnTo>
                    <a:pt x="40" y="106"/>
                  </a:lnTo>
                  <a:lnTo>
                    <a:pt x="45" y="103"/>
                  </a:lnTo>
                  <a:lnTo>
                    <a:pt x="45" y="97"/>
                  </a:lnTo>
                  <a:lnTo>
                    <a:pt x="36" y="95"/>
                  </a:lnTo>
                  <a:lnTo>
                    <a:pt x="33" y="91"/>
                  </a:lnTo>
                  <a:lnTo>
                    <a:pt x="25" y="91"/>
                  </a:lnTo>
                  <a:lnTo>
                    <a:pt x="23" y="89"/>
                  </a:lnTo>
                  <a:lnTo>
                    <a:pt x="23" y="86"/>
                  </a:lnTo>
                  <a:lnTo>
                    <a:pt x="17" y="80"/>
                  </a:lnTo>
                  <a:lnTo>
                    <a:pt x="19" y="78"/>
                  </a:lnTo>
                  <a:lnTo>
                    <a:pt x="14" y="73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22" y="67"/>
                  </a:lnTo>
                  <a:lnTo>
                    <a:pt x="23" y="65"/>
                  </a:lnTo>
                  <a:lnTo>
                    <a:pt x="19" y="61"/>
                  </a:lnTo>
                  <a:lnTo>
                    <a:pt x="16" y="61"/>
                  </a:lnTo>
                  <a:lnTo>
                    <a:pt x="5" y="56"/>
                  </a:lnTo>
                  <a:lnTo>
                    <a:pt x="5" y="52"/>
                  </a:lnTo>
                  <a:lnTo>
                    <a:pt x="11" y="44"/>
                  </a:lnTo>
                  <a:lnTo>
                    <a:pt x="14" y="39"/>
                  </a:lnTo>
                  <a:lnTo>
                    <a:pt x="10" y="39"/>
                  </a:lnTo>
                  <a:lnTo>
                    <a:pt x="8" y="42"/>
                  </a:lnTo>
                  <a:lnTo>
                    <a:pt x="5" y="39"/>
                  </a:lnTo>
                  <a:lnTo>
                    <a:pt x="5" y="36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4" y="33"/>
                  </a:lnTo>
                  <a:lnTo>
                    <a:pt x="8" y="30"/>
                  </a:lnTo>
                  <a:lnTo>
                    <a:pt x="5" y="28"/>
                  </a:lnTo>
                  <a:lnTo>
                    <a:pt x="4" y="21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0" name="Freeform 53"/>
            <p:cNvSpPr>
              <a:spLocks/>
            </p:cNvSpPr>
            <p:nvPr/>
          </p:nvSpPr>
          <p:spPr bwMode="auto">
            <a:xfrm>
              <a:off x="6218238" y="3286126"/>
              <a:ext cx="74613" cy="84138"/>
            </a:xfrm>
            <a:custGeom>
              <a:avLst/>
              <a:gdLst>
                <a:gd name="T0" fmla="*/ 24 w 47"/>
                <a:gd name="T1" fmla="*/ 53 h 53"/>
                <a:gd name="T2" fmla="*/ 24 w 47"/>
                <a:gd name="T3" fmla="*/ 43 h 53"/>
                <a:gd name="T4" fmla="*/ 27 w 47"/>
                <a:gd name="T5" fmla="*/ 38 h 53"/>
                <a:gd name="T6" fmla="*/ 32 w 47"/>
                <a:gd name="T7" fmla="*/ 31 h 53"/>
                <a:gd name="T8" fmla="*/ 35 w 47"/>
                <a:gd name="T9" fmla="*/ 31 h 53"/>
                <a:gd name="T10" fmla="*/ 38 w 47"/>
                <a:gd name="T11" fmla="*/ 37 h 53"/>
                <a:gd name="T12" fmla="*/ 42 w 47"/>
                <a:gd name="T13" fmla="*/ 31 h 53"/>
                <a:gd name="T14" fmla="*/ 43 w 47"/>
                <a:gd name="T15" fmla="*/ 29 h 53"/>
                <a:gd name="T16" fmla="*/ 47 w 47"/>
                <a:gd name="T17" fmla="*/ 26 h 53"/>
                <a:gd name="T18" fmla="*/ 47 w 47"/>
                <a:gd name="T19" fmla="*/ 21 h 53"/>
                <a:gd name="T20" fmla="*/ 40 w 47"/>
                <a:gd name="T21" fmla="*/ 18 h 53"/>
                <a:gd name="T22" fmla="*/ 36 w 47"/>
                <a:gd name="T23" fmla="*/ 15 h 53"/>
                <a:gd name="T24" fmla="*/ 29 w 47"/>
                <a:gd name="T25" fmla="*/ 15 h 53"/>
                <a:gd name="T26" fmla="*/ 27 w 47"/>
                <a:gd name="T27" fmla="*/ 13 h 53"/>
                <a:gd name="T28" fmla="*/ 27 w 47"/>
                <a:gd name="T29" fmla="*/ 9 h 53"/>
                <a:gd name="T30" fmla="*/ 21 w 47"/>
                <a:gd name="T31" fmla="*/ 4 h 53"/>
                <a:gd name="T32" fmla="*/ 21 w 47"/>
                <a:gd name="T33" fmla="*/ 4 h 53"/>
                <a:gd name="T34" fmla="*/ 16 w 47"/>
                <a:gd name="T35" fmla="*/ 4 h 53"/>
                <a:gd name="T36" fmla="*/ 11 w 47"/>
                <a:gd name="T37" fmla="*/ 0 h 53"/>
                <a:gd name="T38" fmla="*/ 8 w 47"/>
                <a:gd name="T39" fmla="*/ 2 h 53"/>
                <a:gd name="T40" fmla="*/ 9 w 47"/>
                <a:gd name="T41" fmla="*/ 5 h 53"/>
                <a:gd name="T42" fmla="*/ 13 w 47"/>
                <a:gd name="T43" fmla="*/ 7 h 53"/>
                <a:gd name="T44" fmla="*/ 15 w 47"/>
                <a:gd name="T45" fmla="*/ 10 h 53"/>
                <a:gd name="T46" fmla="*/ 11 w 47"/>
                <a:gd name="T47" fmla="*/ 13 h 53"/>
                <a:gd name="T48" fmla="*/ 8 w 47"/>
                <a:gd name="T49" fmla="*/ 15 h 53"/>
                <a:gd name="T50" fmla="*/ 5 w 47"/>
                <a:gd name="T51" fmla="*/ 18 h 53"/>
                <a:gd name="T52" fmla="*/ 5 w 47"/>
                <a:gd name="T53" fmla="*/ 26 h 53"/>
                <a:gd name="T54" fmla="*/ 2 w 47"/>
                <a:gd name="T55" fmla="*/ 31 h 53"/>
                <a:gd name="T56" fmla="*/ 0 w 47"/>
                <a:gd name="T57" fmla="*/ 31 h 53"/>
                <a:gd name="T58" fmla="*/ 2 w 47"/>
                <a:gd name="T59" fmla="*/ 32 h 53"/>
                <a:gd name="T60" fmla="*/ 5 w 47"/>
                <a:gd name="T61" fmla="*/ 37 h 53"/>
                <a:gd name="T62" fmla="*/ 16 w 47"/>
                <a:gd name="T63" fmla="*/ 47 h 53"/>
                <a:gd name="T64" fmla="*/ 16 w 47"/>
                <a:gd name="T65" fmla="*/ 51 h 53"/>
                <a:gd name="T66" fmla="*/ 24 w 47"/>
                <a:gd name="T67" fmla="*/ 53 h 53"/>
                <a:gd name="T68" fmla="*/ 24 w 47"/>
                <a:gd name="T69" fmla="*/ 53 h 53"/>
                <a:gd name="T70" fmla="*/ 24 w 47"/>
                <a:gd name="T7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53">
                  <a:moveTo>
                    <a:pt x="24" y="53"/>
                  </a:moveTo>
                  <a:lnTo>
                    <a:pt x="24" y="43"/>
                  </a:lnTo>
                  <a:lnTo>
                    <a:pt x="27" y="38"/>
                  </a:lnTo>
                  <a:lnTo>
                    <a:pt x="32" y="31"/>
                  </a:lnTo>
                  <a:lnTo>
                    <a:pt x="35" y="31"/>
                  </a:lnTo>
                  <a:lnTo>
                    <a:pt x="38" y="37"/>
                  </a:lnTo>
                  <a:lnTo>
                    <a:pt x="42" y="31"/>
                  </a:lnTo>
                  <a:lnTo>
                    <a:pt x="43" y="29"/>
                  </a:lnTo>
                  <a:lnTo>
                    <a:pt x="47" y="26"/>
                  </a:lnTo>
                  <a:lnTo>
                    <a:pt x="47" y="21"/>
                  </a:lnTo>
                  <a:lnTo>
                    <a:pt x="40" y="18"/>
                  </a:lnTo>
                  <a:lnTo>
                    <a:pt x="36" y="15"/>
                  </a:lnTo>
                  <a:lnTo>
                    <a:pt x="29" y="15"/>
                  </a:lnTo>
                  <a:lnTo>
                    <a:pt x="27" y="13"/>
                  </a:lnTo>
                  <a:lnTo>
                    <a:pt x="27" y="9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6" y="4"/>
                  </a:lnTo>
                  <a:lnTo>
                    <a:pt x="11" y="0"/>
                  </a:lnTo>
                  <a:lnTo>
                    <a:pt x="8" y="2"/>
                  </a:lnTo>
                  <a:lnTo>
                    <a:pt x="9" y="5"/>
                  </a:lnTo>
                  <a:lnTo>
                    <a:pt x="13" y="7"/>
                  </a:lnTo>
                  <a:lnTo>
                    <a:pt x="15" y="10"/>
                  </a:lnTo>
                  <a:lnTo>
                    <a:pt x="11" y="13"/>
                  </a:lnTo>
                  <a:lnTo>
                    <a:pt x="8" y="15"/>
                  </a:lnTo>
                  <a:lnTo>
                    <a:pt x="5" y="18"/>
                  </a:lnTo>
                  <a:lnTo>
                    <a:pt x="5" y="26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2"/>
                  </a:lnTo>
                  <a:lnTo>
                    <a:pt x="5" y="37"/>
                  </a:lnTo>
                  <a:lnTo>
                    <a:pt x="16" y="47"/>
                  </a:lnTo>
                  <a:lnTo>
                    <a:pt x="16" y="51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1" name="Freeform 54"/>
            <p:cNvSpPr>
              <a:spLocks noEditPoints="1"/>
            </p:cNvSpPr>
            <p:nvPr/>
          </p:nvSpPr>
          <p:spPr bwMode="auto">
            <a:xfrm>
              <a:off x="6007101" y="3157538"/>
              <a:ext cx="239713" cy="163513"/>
            </a:xfrm>
            <a:custGeom>
              <a:avLst/>
              <a:gdLst>
                <a:gd name="T0" fmla="*/ 147 w 151"/>
                <a:gd name="T1" fmla="*/ 37 h 103"/>
                <a:gd name="T2" fmla="*/ 145 w 151"/>
                <a:gd name="T3" fmla="*/ 33 h 103"/>
                <a:gd name="T4" fmla="*/ 137 w 151"/>
                <a:gd name="T5" fmla="*/ 19 h 103"/>
                <a:gd name="T6" fmla="*/ 119 w 151"/>
                <a:gd name="T7" fmla="*/ 19 h 103"/>
                <a:gd name="T8" fmla="*/ 94 w 151"/>
                <a:gd name="T9" fmla="*/ 11 h 103"/>
                <a:gd name="T10" fmla="*/ 79 w 151"/>
                <a:gd name="T11" fmla="*/ 3 h 103"/>
                <a:gd name="T12" fmla="*/ 48 w 151"/>
                <a:gd name="T13" fmla="*/ 15 h 103"/>
                <a:gd name="T14" fmla="*/ 34 w 151"/>
                <a:gd name="T15" fmla="*/ 28 h 103"/>
                <a:gd name="T16" fmla="*/ 11 w 151"/>
                <a:gd name="T17" fmla="*/ 30 h 103"/>
                <a:gd name="T18" fmla="*/ 1 w 151"/>
                <a:gd name="T19" fmla="*/ 41 h 103"/>
                <a:gd name="T20" fmla="*/ 11 w 151"/>
                <a:gd name="T21" fmla="*/ 50 h 103"/>
                <a:gd name="T22" fmla="*/ 22 w 151"/>
                <a:gd name="T23" fmla="*/ 30 h 103"/>
                <a:gd name="T24" fmla="*/ 36 w 151"/>
                <a:gd name="T25" fmla="*/ 39 h 103"/>
                <a:gd name="T26" fmla="*/ 48 w 151"/>
                <a:gd name="T27" fmla="*/ 59 h 103"/>
                <a:gd name="T28" fmla="*/ 53 w 151"/>
                <a:gd name="T29" fmla="*/ 63 h 103"/>
                <a:gd name="T30" fmla="*/ 48 w 151"/>
                <a:gd name="T31" fmla="*/ 72 h 103"/>
                <a:gd name="T32" fmla="*/ 65 w 151"/>
                <a:gd name="T33" fmla="*/ 79 h 103"/>
                <a:gd name="T34" fmla="*/ 77 w 151"/>
                <a:gd name="T35" fmla="*/ 85 h 103"/>
                <a:gd name="T36" fmla="*/ 110 w 151"/>
                <a:gd name="T37" fmla="*/ 101 h 103"/>
                <a:gd name="T38" fmla="*/ 104 w 151"/>
                <a:gd name="T39" fmla="*/ 101 h 103"/>
                <a:gd name="T40" fmla="*/ 111 w 151"/>
                <a:gd name="T41" fmla="*/ 100 h 103"/>
                <a:gd name="T42" fmla="*/ 68 w 151"/>
                <a:gd name="T43" fmla="*/ 61 h 103"/>
                <a:gd name="T44" fmla="*/ 65 w 151"/>
                <a:gd name="T45" fmla="*/ 50 h 103"/>
                <a:gd name="T46" fmla="*/ 56 w 151"/>
                <a:gd name="T47" fmla="*/ 41 h 103"/>
                <a:gd name="T48" fmla="*/ 59 w 151"/>
                <a:gd name="T49" fmla="*/ 32 h 103"/>
                <a:gd name="T50" fmla="*/ 73 w 151"/>
                <a:gd name="T51" fmla="*/ 37 h 103"/>
                <a:gd name="T52" fmla="*/ 81 w 151"/>
                <a:gd name="T53" fmla="*/ 33 h 103"/>
                <a:gd name="T54" fmla="*/ 90 w 151"/>
                <a:gd name="T55" fmla="*/ 32 h 103"/>
                <a:gd name="T56" fmla="*/ 102 w 151"/>
                <a:gd name="T57" fmla="*/ 36 h 103"/>
                <a:gd name="T58" fmla="*/ 113 w 151"/>
                <a:gd name="T59" fmla="*/ 37 h 103"/>
                <a:gd name="T60" fmla="*/ 130 w 151"/>
                <a:gd name="T61" fmla="*/ 37 h 103"/>
                <a:gd name="T62" fmla="*/ 142 w 151"/>
                <a:gd name="T63" fmla="*/ 42 h 103"/>
                <a:gd name="T64" fmla="*/ 142 w 151"/>
                <a:gd name="T65" fmla="*/ 42 h 103"/>
                <a:gd name="T66" fmla="*/ 96 w 151"/>
                <a:gd name="T67" fmla="*/ 100 h 103"/>
                <a:gd name="T68" fmla="*/ 87 w 151"/>
                <a:gd name="T69" fmla="*/ 100 h 103"/>
                <a:gd name="T70" fmla="*/ 87 w 151"/>
                <a:gd name="T71" fmla="*/ 100 h 103"/>
                <a:gd name="T72" fmla="*/ 88 w 151"/>
                <a:gd name="T73" fmla="*/ 96 h 103"/>
                <a:gd name="T74" fmla="*/ 79 w 151"/>
                <a:gd name="T75" fmla="*/ 94 h 103"/>
                <a:gd name="T76" fmla="*/ 90 w 151"/>
                <a:gd name="T77" fmla="*/ 89 h 103"/>
                <a:gd name="T78" fmla="*/ 83 w 151"/>
                <a:gd name="T79" fmla="*/ 93 h 103"/>
                <a:gd name="T80" fmla="*/ 79 w 151"/>
                <a:gd name="T81" fmla="*/ 89 h 103"/>
                <a:gd name="T82" fmla="*/ 43 w 151"/>
                <a:gd name="T83" fmla="*/ 59 h 103"/>
                <a:gd name="T84" fmla="*/ 41 w 151"/>
                <a:gd name="T85" fmla="*/ 57 h 103"/>
                <a:gd name="T86" fmla="*/ 41 w 151"/>
                <a:gd name="T87" fmla="*/ 57 h 103"/>
                <a:gd name="T88" fmla="*/ 36 w 151"/>
                <a:gd name="T89" fmla="*/ 55 h 103"/>
                <a:gd name="T90" fmla="*/ 36 w 151"/>
                <a:gd name="T91" fmla="*/ 51 h 103"/>
                <a:gd name="T92" fmla="*/ 43 w 151"/>
                <a:gd name="T93" fmla="*/ 70 h 103"/>
                <a:gd name="T94" fmla="*/ 37 w 151"/>
                <a:gd name="T95" fmla="*/ 67 h 103"/>
                <a:gd name="T96" fmla="*/ 30 w 151"/>
                <a:gd name="T97" fmla="*/ 57 h 103"/>
                <a:gd name="T98" fmla="*/ 30 w 151"/>
                <a:gd name="T99" fmla="*/ 57 h 103"/>
                <a:gd name="T100" fmla="*/ 30 w 151"/>
                <a:gd name="T101" fmla="*/ 57 h 103"/>
                <a:gd name="T102" fmla="*/ 30 w 151"/>
                <a:gd name="T103" fmla="*/ 55 h 103"/>
                <a:gd name="T104" fmla="*/ 24 w 151"/>
                <a:gd name="T105" fmla="*/ 50 h 103"/>
                <a:gd name="T106" fmla="*/ 20 w 151"/>
                <a:gd name="T107" fmla="*/ 45 h 103"/>
                <a:gd name="T108" fmla="*/ 34 w 151"/>
                <a:gd name="T109" fmla="*/ 46 h 103"/>
                <a:gd name="T110" fmla="*/ 22 w 151"/>
                <a:gd name="T111" fmla="*/ 45 h 103"/>
                <a:gd name="T112" fmla="*/ 24 w 151"/>
                <a:gd name="T113" fmla="*/ 36 h 103"/>
                <a:gd name="T114" fmla="*/ 24 w 151"/>
                <a:gd name="T115" fmla="*/ 3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1" h="103">
                  <a:moveTo>
                    <a:pt x="142" y="42"/>
                  </a:moveTo>
                  <a:lnTo>
                    <a:pt x="142" y="39"/>
                  </a:lnTo>
                  <a:lnTo>
                    <a:pt x="147" y="37"/>
                  </a:lnTo>
                  <a:lnTo>
                    <a:pt x="151" y="37"/>
                  </a:lnTo>
                  <a:lnTo>
                    <a:pt x="151" y="36"/>
                  </a:lnTo>
                  <a:lnTo>
                    <a:pt x="145" y="33"/>
                  </a:lnTo>
                  <a:lnTo>
                    <a:pt x="142" y="32"/>
                  </a:lnTo>
                  <a:lnTo>
                    <a:pt x="142" y="25"/>
                  </a:lnTo>
                  <a:lnTo>
                    <a:pt x="137" y="19"/>
                  </a:lnTo>
                  <a:lnTo>
                    <a:pt x="133" y="17"/>
                  </a:lnTo>
                  <a:lnTo>
                    <a:pt x="130" y="20"/>
                  </a:lnTo>
                  <a:lnTo>
                    <a:pt x="119" y="19"/>
                  </a:lnTo>
                  <a:lnTo>
                    <a:pt x="105" y="15"/>
                  </a:lnTo>
                  <a:lnTo>
                    <a:pt x="99" y="14"/>
                  </a:lnTo>
                  <a:lnTo>
                    <a:pt x="94" y="11"/>
                  </a:lnTo>
                  <a:lnTo>
                    <a:pt x="83" y="3"/>
                  </a:lnTo>
                  <a:lnTo>
                    <a:pt x="79" y="0"/>
                  </a:lnTo>
                  <a:lnTo>
                    <a:pt x="79" y="3"/>
                  </a:lnTo>
                  <a:lnTo>
                    <a:pt x="68" y="3"/>
                  </a:lnTo>
                  <a:lnTo>
                    <a:pt x="50" y="9"/>
                  </a:lnTo>
                  <a:lnTo>
                    <a:pt x="48" y="15"/>
                  </a:lnTo>
                  <a:lnTo>
                    <a:pt x="41" y="19"/>
                  </a:lnTo>
                  <a:lnTo>
                    <a:pt x="39" y="28"/>
                  </a:lnTo>
                  <a:lnTo>
                    <a:pt x="34" y="28"/>
                  </a:lnTo>
                  <a:lnTo>
                    <a:pt x="22" y="25"/>
                  </a:lnTo>
                  <a:lnTo>
                    <a:pt x="16" y="26"/>
                  </a:lnTo>
                  <a:lnTo>
                    <a:pt x="11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1" y="41"/>
                  </a:lnTo>
                  <a:lnTo>
                    <a:pt x="9" y="46"/>
                  </a:lnTo>
                  <a:lnTo>
                    <a:pt x="7" y="48"/>
                  </a:lnTo>
                  <a:lnTo>
                    <a:pt x="11" y="50"/>
                  </a:lnTo>
                  <a:lnTo>
                    <a:pt x="16" y="39"/>
                  </a:lnTo>
                  <a:lnTo>
                    <a:pt x="19" y="36"/>
                  </a:lnTo>
                  <a:lnTo>
                    <a:pt x="22" y="30"/>
                  </a:lnTo>
                  <a:lnTo>
                    <a:pt x="28" y="30"/>
                  </a:lnTo>
                  <a:lnTo>
                    <a:pt x="30" y="36"/>
                  </a:lnTo>
                  <a:lnTo>
                    <a:pt x="36" y="39"/>
                  </a:lnTo>
                  <a:lnTo>
                    <a:pt x="37" y="46"/>
                  </a:lnTo>
                  <a:lnTo>
                    <a:pt x="41" y="54"/>
                  </a:lnTo>
                  <a:lnTo>
                    <a:pt x="48" y="59"/>
                  </a:lnTo>
                  <a:lnTo>
                    <a:pt x="53" y="59"/>
                  </a:lnTo>
                  <a:lnTo>
                    <a:pt x="56" y="64"/>
                  </a:lnTo>
                  <a:lnTo>
                    <a:pt x="53" y="63"/>
                  </a:lnTo>
                  <a:lnTo>
                    <a:pt x="47" y="64"/>
                  </a:lnTo>
                  <a:lnTo>
                    <a:pt x="45" y="6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9" y="78"/>
                  </a:lnTo>
                  <a:lnTo>
                    <a:pt x="65" y="79"/>
                  </a:lnTo>
                  <a:lnTo>
                    <a:pt x="68" y="84"/>
                  </a:lnTo>
                  <a:lnTo>
                    <a:pt x="71" y="87"/>
                  </a:lnTo>
                  <a:lnTo>
                    <a:pt x="77" y="85"/>
                  </a:lnTo>
                  <a:lnTo>
                    <a:pt x="90" y="87"/>
                  </a:lnTo>
                  <a:lnTo>
                    <a:pt x="96" y="89"/>
                  </a:lnTo>
                  <a:lnTo>
                    <a:pt x="110" y="101"/>
                  </a:lnTo>
                  <a:lnTo>
                    <a:pt x="105" y="101"/>
                  </a:lnTo>
                  <a:lnTo>
                    <a:pt x="99" y="98"/>
                  </a:lnTo>
                  <a:lnTo>
                    <a:pt x="104" y="101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1" y="100"/>
                  </a:lnTo>
                  <a:lnTo>
                    <a:pt x="90" y="79"/>
                  </a:lnTo>
                  <a:lnTo>
                    <a:pt x="70" y="63"/>
                  </a:lnTo>
                  <a:lnTo>
                    <a:pt x="68" y="61"/>
                  </a:lnTo>
                  <a:lnTo>
                    <a:pt x="70" y="59"/>
                  </a:lnTo>
                  <a:lnTo>
                    <a:pt x="65" y="54"/>
                  </a:lnTo>
                  <a:lnTo>
                    <a:pt x="65" y="50"/>
                  </a:lnTo>
                  <a:lnTo>
                    <a:pt x="59" y="45"/>
                  </a:lnTo>
                  <a:lnTo>
                    <a:pt x="56" y="45"/>
                  </a:lnTo>
                  <a:lnTo>
                    <a:pt x="56" y="41"/>
                  </a:lnTo>
                  <a:lnTo>
                    <a:pt x="59" y="39"/>
                  </a:lnTo>
                  <a:lnTo>
                    <a:pt x="59" y="33"/>
                  </a:lnTo>
                  <a:lnTo>
                    <a:pt x="59" y="32"/>
                  </a:lnTo>
                  <a:lnTo>
                    <a:pt x="68" y="36"/>
                  </a:lnTo>
                  <a:lnTo>
                    <a:pt x="70" y="39"/>
                  </a:lnTo>
                  <a:lnTo>
                    <a:pt x="73" y="37"/>
                  </a:lnTo>
                  <a:lnTo>
                    <a:pt x="73" y="36"/>
                  </a:lnTo>
                  <a:lnTo>
                    <a:pt x="77" y="33"/>
                  </a:lnTo>
                  <a:lnTo>
                    <a:pt x="81" y="33"/>
                  </a:lnTo>
                  <a:lnTo>
                    <a:pt x="84" y="32"/>
                  </a:lnTo>
                  <a:lnTo>
                    <a:pt x="88" y="33"/>
                  </a:lnTo>
                  <a:lnTo>
                    <a:pt x="90" y="32"/>
                  </a:lnTo>
                  <a:lnTo>
                    <a:pt x="96" y="33"/>
                  </a:lnTo>
                  <a:lnTo>
                    <a:pt x="98" y="37"/>
                  </a:lnTo>
                  <a:lnTo>
                    <a:pt x="102" y="36"/>
                  </a:lnTo>
                  <a:lnTo>
                    <a:pt x="107" y="37"/>
                  </a:lnTo>
                  <a:lnTo>
                    <a:pt x="111" y="36"/>
                  </a:lnTo>
                  <a:lnTo>
                    <a:pt x="113" y="37"/>
                  </a:lnTo>
                  <a:lnTo>
                    <a:pt x="120" y="36"/>
                  </a:lnTo>
                  <a:lnTo>
                    <a:pt x="126" y="37"/>
                  </a:lnTo>
                  <a:lnTo>
                    <a:pt x="130" y="37"/>
                  </a:lnTo>
                  <a:lnTo>
                    <a:pt x="133" y="41"/>
                  </a:lnTo>
                  <a:lnTo>
                    <a:pt x="142" y="41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close/>
                  <a:moveTo>
                    <a:pt x="87" y="100"/>
                  </a:moveTo>
                  <a:lnTo>
                    <a:pt x="87" y="100"/>
                  </a:lnTo>
                  <a:lnTo>
                    <a:pt x="96" y="100"/>
                  </a:lnTo>
                  <a:lnTo>
                    <a:pt x="99" y="101"/>
                  </a:lnTo>
                  <a:lnTo>
                    <a:pt x="90" y="101"/>
                  </a:lnTo>
                  <a:lnTo>
                    <a:pt x="87" y="100"/>
                  </a:lnTo>
                  <a:lnTo>
                    <a:pt x="87" y="100"/>
                  </a:lnTo>
                  <a:lnTo>
                    <a:pt x="87" y="100"/>
                  </a:lnTo>
                  <a:lnTo>
                    <a:pt x="87" y="100"/>
                  </a:lnTo>
                  <a:close/>
                  <a:moveTo>
                    <a:pt x="79" y="94"/>
                  </a:moveTo>
                  <a:lnTo>
                    <a:pt x="94" y="94"/>
                  </a:lnTo>
                  <a:lnTo>
                    <a:pt x="88" y="96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9" y="94"/>
                  </a:lnTo>
                  <a:close/>
                  <a:moveTo>
                    <a:pt x="79" y="89"/>
                  </a:moveTo>
                  <a:lnTo>
                    <a:pt x="90" y="89"/>
                  </a:lnTo>
                  <a:lnTo>
                    <a:pt x="93" y="90"/>
                  </a:lnTo>
                  <a:lnTo>
                    <a:pt x="88" y="93"/>
                  </a:lnTo>
                  <a:lnTo>
                    <a:pt x="83" y="93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9" y="89"/>
                  </a:lnTo>
                  <a:close/>
                  <a:moveTo>
                    <a:pt x="41" y="57"/>
                  </a:moveTo>
                  <a:lnTo>
                    <a:pt x="43" y="59"/>
                  </a:lnTo>
                  <a:lnTo>
                    <a:pt x="47" y="63"/>
                  </a:lnTo>
                  <a:lnTo>
                    <a:pt x="45" y="64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close/>
                  <a:moveTo>
                    <a:pt x="36" y="51"/>
                  </a:moveTo>
                  <a:lnTo>
                    <a:pt x="41" y="55"/>
                  </a:lnTo>
                  <a:lnTo>
                    <a:pt x="36" y="55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close/>
                  <a:moveTo>
                    <a:pt x="37" y="67"/>
                  </a:moveTo>
                  <a:lnTo>
                    <a:pt x="43" y="70"/>
                  </a:lnTo>
                  <a:lnTo>
                    <a:pt x="45" y="73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67"/>
                  </a:lnTo>
                  <a:close/>
                  <a:moveTo>
                    <a:pt x="30" y="57"/>
                  </a:moveTo>
                  <a:lnTo>
                    <a:pt x="34" y="59"/>
                  </a:lnTo>
                  <a:lnTo>
                    <a:pt x="36" y="63"/>
                  </a:lnTo>
                  <a:lnTo>
                    <a:pt x="30" y="57"/>
                  </a:lnTo>
                  <a:lnTo>
                    <a:pt x="30" y="57"/>
                  </a:lnTo>
                  <a:lnTo>
                    <a:pt x="30" y="57"/>
                  </a:lnTo>
                  <a:lnTo>
                    <a:pt x="30" y="57"/>
                  </a:lnTo>
                  <a:close/>
                  <a:moveTo>
                    <a:pt x="20" y="45"/>
                  </a:moveTo>
                  <a:lnTo>
                    <a:pt x="28" y="50"/>
                  </a:lnTo>
                  <a:lnTo>
                    <a:pt x="30" y="55"/>
                  </a:lnTo>
                  <a:lnTo>
                    <a:pt x="28" y="55"/>
                  </a:lnTo>
                  <a:lnTo>
                    <a:pt x="22" y="51"/>
                  </a:lnTo>
                  <a:lnTo>
                    <a:pt x="24" y="50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close/>
                  <a:moveTo>
                    <a:pt x="24" y="36"/>
                  </a:moveTo>
                  <a:lnTo>
                    <a:pt x="34" y="46"/>
                  </a:lnTo>
                  <a:lnTo>
                    <a:pt x="30" y="46"/>
                  </a:lnTo>
                  <a:lnTo>
                    <a:pt x="25" y="45"/>
                  </a:lnTo>
                  <a:lnTo>
                    <a:pt x="22" y="45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2" name="Freeform 55"/>
            <p:cNvSpPr>
              <a:spLocks/>
            </p:cNvSpPr>
            <p:nvPr/>
          </p:nvSpPr>
          <p:spPr bwMode="auto">
            <a:xfrm>
              <a:off x="6097588" y="3208338"/>
              <a:ext cx="163513" cy="127000"/>
            </a:xfrm>
            <a:custGeom>
              <a:avLst/>
              <a:gdLst>
                <a:gd name="T0" fmla="*/ 54 w 103"/>
                <a:gd name="T1" fmla="*/ 69 h 80"/>
                <a:gd name="T2" fmla="*/ 13 w 103"/>
                <a:gd name="T3" fmla="*/ 31 h 80"/>
                <a:gd name="T4" fmla="*/ 13 w 103"/>
                <a:gd name="T5" fmla="*/ 28 h 80"/>
                <a:gd name="T6" fmla="*/ 9 w 103"/>
                <a:gd name="T7" fmla="*/ 19 h 80"/>
                <a:gd name="T8" fmla="*/ 0 w 103"/>
                <a:gd name="T9" fmla="*/ 13 h 80"/>
                <a:gd name="T10" fmla="*/ 2 w 103"/>
                <a:gd name="T11" fmla="*/ 8 h 80"/>
                <a:gd name="T12" fmla="*/ 3 w 103"/>
                <a:gd name="T13" fmla="*/ 0 h 80"/>
                <a:gd name="T14" fmla="*/ 13 w 103"/>
                <a:gd name="T15" fmla="*/ 8 h 80"/>
                <a:gd name="T16" fmla="*/ 17 w 103"/>
                <a:gd name="T17" fmla="*/ 4 h 80"/>
                <a:gd name="T18" fmla="*/ 24 w 103"/>
                <a:gd name="T19" fmla="*/ 3 h 80"/>
                <a:gd name="T20" fmla="*/ 32 w 103"/>
                <a:gd name="T21" fmla="*/ 3 h 80"/>
                <a:gd name="T22" fmla="*/ 39 w 103"/>
                <a:gd name="T23" fmla="*/ 3 h 80"/>
                <a:gd name="T24" fmla="*/ 45 w 103"/>
                <a:gd name="T25" fmla="*/ 4 h 80"/>
                <a:gd name="T26" fmla="*/ 54 w 103"/>
                <a:gd name="T27" fmla="*/ 4 h 80"/>
                <a:gd name="T28" fmla="*/ 63 w 103"/>
                <a:gd name="T29" fmla="*/ 4 h 80"/>
                <a:gd name="T30" fmla="*/ 73 w 103"/>
                <a:gd name="T31" fmla="*/ 6 h 80"/>
                <a:gd name="T32" fmla="*/ 85 w 103"/>
                <a:gd name="T33" fmla="*/ 9 h 80"/>
                <a:gd name="T34" fmla="*/ 90 w 103"/>
                <a:gd name="T35" fmla="*/ 12 h 80"/>
                <a:gd name="T36" fmla="*/ 91 w 103"/>
                <a:gd name="T37" fmla="*/ 17 h 80"/>
                <a:gd name="T38" fmla="*/ 85 w 103"/>
                <a:gd name="T39" fmla="*/ 28 h 80"/>
                <a:gd name="T40" fmla="*/ 99 w 103"/>
                <a:gd name="T41" fmla="*/ 34 h 80"/>
                <a:gd name="T42" fmla="*/ 102 w 103"/>
                <a:gd name="T43" fmla="*/ 39 h 80"/>
                <a:gd name="T44" fmla="*/ 94 w 103"/>
                <a:gd name="T45" fmla="*/ 39 h 80"/>
                <a:gd name="T46" fmla="*/ 99 w 103"/>
                <a:gd name="T47" fmla="*/ 50 h 80"/>
                <a:gd name="T48" fmla="*/ 91 w 103"/>
                <a:gd name="T49" fmla="*/ 52 h 80"/>
                <a:gd name="T50" fmla="*/ 82 w 103"/>
                <a:gd name="T51" fmla="*/ 50 h 80"/>
                <a:gd name="T52" fmla="*/ 88 w 103"/>
                <a:gd name="T53" fmla="*/ 56 h 80"/>
                <a:gd name="T54" fmla="*/ 85 w 103"/>
                <a:gd name="T55" fmla="*/ 61 h 80"/>
                <a:gd name="T56" fmla="*/ 80 w 103"/>
                <a:gd name="T57" fmla="*/ 67 h 80"/>
                <a:gd name="T58" fmla="*/ 76 w 103"/>
                <a:gd name="T59" fmla="*/ 80 h 80"/>
                <a:gd name="T60" fmla="*/ 67 w 103"/>
                <a:gd name="T61" fmla="*/ 73 h 80"/>
                <a:gd name="T62" fmla="*/ 54 w 103"/>
                <a:gd name="T63" fmla="*/ 73 h 80"/>
                <a:gd name="T64" fmla="*/ 53 w 103"/>
                <a:gd name="T65" fmla="*/ 73 h 80"/>
                <a:gd name="T66" fmla="*/ 53 w 103"/>
                <a:gd name="T67" fmla="*/ 7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80">
                  <a:moveTo>
                    <a:pt x="53" y="73"/>
                  </a:moveTo>
                  <a:lnTo>
                    <a:pt x="54" y="69"/>
                  </a:lnTo>
                  <a:lnTo>
                    <a:pt x="33" y="48"/>
                  </a:lnTo>
                  <a:lnTo>
                    <a:pt x="13" y="31"/>
                  </a:lnTo>
                  <a:lnTo>
                    <a:pt x="11" y="30"/>
                  </a:lnTo>
                  <a:lnTo>
                    <a:pt x="13" y="28"/>
                  </a:lnTo>
                  <a:lnTo>
                    <a:pt x="9" y="22"/>
                  </a:lnTo>
                  <a:lnTo>
                    <a:pt x="9" y="19"/>
                  </a:lnTo>
                  <a:lnTo>
                    <a:pt x="3" y="13"/>
                  </a:lnTo>
                  <a:lnTo>
                    <a:pt x="0" y="13"/>
                  </a:lnTo>
                  <a:lnTo>
                    <a:pt x="0" y="9"/>
                  </a:lnTo>
                  <a:lnTo>
                    <a:pt x="2" y="8"/>
                  </a:lnTo>
                  <a:lnTo>
                    <a:pt x="2" y="3"/>
                  </a:lnTo>
                  <a:lnTo>
                    <a:pt x="3" y="0"/>
                  </a:lnTo>
                  <a:lnTo>
                    <a:pt x="11" y="4"/>
                  </a:lnTo>
                  <a:lnTo>
                    <a:pt x="13" y="8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8" y="0"/>
                  </a:lnTo>
                  <a:lnTo>
                    <a:pt x="32" y="3"/>
                  </a:lnTo>
                  <a:lnTo>
                    <a:pt x="33" y="0"/>
                  </a:lnTo>
                  <a:lnTo>
                    <a:pt x="39" y="3"/>
                  </a:lnTo>
                  <a:lnTo>
                    <a:pt x="42" y="6"/>
                  </a:lnTo>
                  <a:lnTo>
                    <a:pt x="45" y="4"/>
                  </a:lnTo>
                  <a:lnTo>
                    <a:pt x="51" y="6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63" y="4"/>
                  </a:lnTo>
                  <a:lnTo>
                    <a:pt x="69" y="6"/>
                  </a:lnTo>
                  <a:lnTo>
                    <a:pt x="73" y="6"/>
                  </a:lnTo>
                  <a:lnTo>
                    <a:pt x="76" y="9"/>
                  </a:lnTo>
                  <a:lnTo>
                    <a:pt x="85" y="9"/>
                  </a:lnTo>
                  <a:lnTo>
                    <a:pt x="88" y="13"/>
                  </a:lnTo>
                  <a:lnTo>
                    <a:pt x="90" y="12"/>
                  </a:lnTo>
                  <a:lnTo>
                    <a:pt x="94" y="12"/>
                  </a:lnTo>
                  <a:lnTo>
                    <a:pt x="91" y="17"/>
                  </a:lnTo>
                  <a:lnTo>
                    <a:pt x="85" y="25"/>
                  </a:lnTo>
                  <a:lnTo>
                    <a:pt x="85" y="28"/>
                  </a:lnTo>
                  <a:lnTo>
                    <a:pt x="96" y="34"/>
                  </a:lnTo>
                  <a:lnTo>
                    <a:pt x="99" y="34"/>
                  </a:lnTo>
                  <a:lnTo>
                    <a:pt x="103" y="37"/>
                  </a:lnTo>
                  <a:lnTo>
                    <a:pt x="102" y="39"/>
                  </a:lnTo>
                  <a:lnTo>
                    <a:pt x="96" y="37"/>
                  </a:lnTo>
                  <a:lnTo>
                    <a:pt x="94" y="39"/>
                  </a:lnTo>
                  <a:lnTo>
                    <a:pt x="94" y="44"/>
                  </a:lnTo>
                  <a:lnTo>
                    <a:pt x="99" y="50"/>
                  </a:lnTo>
                  <a:lnTo>
                    <a:pt x="97" y="52"/>
                  </a:lnTo>
                  <a:lnTo>
                    <a:pt x="91" y="52"/>
                  </a:lnTo>
                  <a:lnTo>
                    <a:pt x="85" y="48"/>
                  </a:lnTo>
                  <a:lnTo>
                    <a:pt x="82" y="50"/>
                  </a:lnTo>
                  <a:lnTo>
                    <a:pt x="84" y="53"/>
                  </a:lnTo>
                  <a:lnTo>
                    <a:pt x="88" y="56"/>
                  </a:lnTo>
                  <a:lnTo>
                    <a:pt x="90" y="59"/>
                  </a:lnTo>
                  <a:lnTo>
                    <a:pt x="85" y="61"/>
                  </a:lnTo>
                  <a:lnTo>
                    <a:pt x="82" y="64"/>
                  </a:lnTo>
                  <a:lnTo>
                    <a:pt x="80" y="67"/>
                  </a:lnTo>
                  <a:lnTo>
                    <a:pt x="80" y="75"/>
                  </a:lnTo>
                  <a:lnTo>
                    <a:pt x="76" y="80"/>
                  </a:lnTo>
                  <a:lnTo>
                    <a:pt x="74" y="80"/>
                  </a:lnTo>
                  <a:lnTo>
                    <a:pt x="67" y="73"/>
                  </a:lnTo>
                  <a:lnTo>
                    <a:pt x="65" y="75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53" y="7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3" name="Freeform 56"/>
            <p:cNvSpPr>
              <a:spLocks/>
            </p:cNvSpPr>
            <p:nvPr/>
          </p:nvSpPr>
          <p:spPr bwMode="auto">
            <a:xfrm>
              <a:off x="6002338" y="3133726"/>
              <a:ext cx="127000" cy="69850"/>
            </a:xfrm>
            <a:custGeom>
              <a:avLst/>
              <a:gdLst>
                <a:gd name="T0" fmla="*/ 1 w 80"/>
                <a:gd name="T1" fmla="*/ 44 h 44"/>
                <a:gd name="T2" fmla="*/ 13 w 80"/>
                <a:gd name="T3" fmla="*/ 44 h 44"/>
                <a:gd name="T4" fmla="*/ 19 w 80"/>
                <a:gd name="T5" fmla="*/ 40 h 44"/>
                <a:gd name="T6" fmla="*/ 24 w 80"/>
                <a:gd name="T7" fmla="*/ 39 h 44"/>
                <a:gd name="T8" fmla="*/ 35 w 80"/>
                <a:gd name="T9" fmla="*/ 42 h 44"/>
                <a:gd name="T10" fmla="*/ 41 w 80"/>
                <a:gd name="T11" fmla="*/ 42 h 44"/>
                <a:gd name="T12" fmla="*/ 43 w 80"/>
                <a:gd name="T13" fmla="*/ 33 h 44"/>
                <a:gd name="T14" fmla="*/ 50 w 80"/>
                <a:gd name="T15" fmla="*/ 29 h 44"/>
                <a:gd name="T16" fmla="*/ 52 w 80"/>
                <a:gd name="T17" fmla="*/ 23 h 44"/>
                <a:gd name="T18" fmla="*/ 69 w 80"/>
                <a:gd name="T19" fmla="*/ 16 h 44"/>
                <a:gd name="T20" fmla="*/ 80 w 80"/>
                <a:gd name="T21" fmla="*/ 16 h 44"/>
                <a:gd name="T22" fmla="*/ 78 w 80"/>
                <a:gd name="T23" fmla="*/ 6 h 44"/>
                <a:gd name="T24" fmla="*/ 73 w 80"/>
                <a:gd name="T25" fmla="*/ 0 h 44"/>
                <a:gd name="T26" fmla="*/ 66 w 80"/>
                <a:gd name="T27" fmla="*/ 0 h 44"/>
                <a:gd name="T28" fmla="*/ 55 w 80"/>
                <a:gd name="T29" fmla="*/ 6 h 44"/>
                <a:gd name="T30" fmla="*/ 50 w 80"/>
                <a:gd name="T31" fmla="*/ 6 h 44"/>
                <a:gd name="T32" fmla="*/ 47 w 80"/>
                <a:gd name="T33" fmla="*/ 6 h 44"/>
                <a:gd name="T34" fmla="*/ 41 w 80"/>
                <a:gd name="T35" fmla="*/ 11 h 44"/>
                <a:gd name="T36" fmla="*/ 35 w 80"/>
                <a:gd name="T37" fmla="*/ 11 h 44"/>
                <a:gd name="T38" fmla="*/ 28 w 80"/>
                <a:gd name="T39" fmla="*/ 12 h 44"/>
                <a:gd name="T40" fmla="*/ 24 w 80"/>
                <a:gd name="T41" fmla="*/ 8 h 44"/>
                <a:gd name="T42" fmla="*/ 13 w 80"/>
                <a:gd name="T43" fmla="*/ 8 h 44"/>
                <a:gd name="T44" fmla="*/ 7 w 80"/>
                <a:gd name="T45" fmla="*/ 8 h 44"/>
                <a:gd name="T46" fmla="*/ 1 w 80"/>
                <a:gd name="T47" fmla="*/ 16 h 44"/>
                <a:gd name="T48" fmla="*/ 4 w 80"/>
                <a:gd name="T49" fmla="*/ 20 h 44"/>
                <a:gd name="T50" fmla="*/ 0 w 80"/>
                <a:gd name="T51" fmla="*/ 25 h 44"/>
                <a:gd name="T52" fmla="*/ 1 w 80"/>
                <a:gd name="T53" fmla="*/ 33 h 44"/>
                <a:gd name="T54" fmla="*/ 1 w 80"/>
                <a:gd name="T55" fmla="*/ 33 h 44"/>
                <a:gd name="T56" fmla="*/ 7 w 80"/>
                <a:gd name="T57" fmla="*/ 36 h 44"/>
                <a:gd name="T58" fmla="*/ 7 w 80"/>
                <a:gd name="T59" fmla="*/ 39 h 44"/>
                <a:gd name="T60" fmla="*/ 1 w 80"/>
                <a:gd name="T61" fmla="*/ 40 h 44"/>
                <a:gd name="T62" fmla="*/ 1 w 80"/>
                <a:gd name="T63" fmla="*/ 44 h 44"/>
                <a:gd name="T64" fmla="*/ 1 w 80"/>
                <a:gd name="T65" fmla="*/ 44 h 44"/>
                <a:gd name="T66" fmla="*/ 1 w 80"/>
                <a:gd name="T6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0" h="44">
                  <a:moveTo>
                    <a:pt x="1" y="44"/>
                  </a:moveTo>
                  <a:lnTo>
                    <a:pt x="13" y="44"/>
                  </a:lnTo>
                  <a:lnTo>
                    <a:pt x="19" y="40"/>
                  </a:lnTo>
                  <a:lnTo>
                    <a:pt x="24" y="39"/>
                  </a:lnTo>
                  <a:lnTo>
                    <a:pt x="35" y="42"/>
                  </a:lnTo>
                  <a:lnTo>
                    <a:pt x="41" y="42"/>
                  </a:lnTo>
                  <a:lnTo>
                    <a:pt x="43" y="33"/>
                  </a:lnTo>
                  <a:lnTo>
                    <a:pt x="50" y="29"/>
                  </a:lnTo>
                  <a:lnTo>
                    <a:pt x="52" y="23"/>
                  </a:lnTo>
                  <a:lnTo>
                    <a:pt x="69" y="16"/>
                  </a:lnTo>
                  <a:lnTo>
                    <a:pt x="80" y="16"/>
                  </a:lnTo>
                  <a:lnTo>
                    <a:pt x="78" y="6"/>
                  </a:lnTo>
                  <a:lnTo>
                    <a:pt x="73" y="0"/>
                  </a:lnTo>
                  <a:lnTo>
                    <a:pt x="66" y="0"/>
                  </a:lnTo>
                  <a:lnTo>
                    <a:pt x="55" y="6"/>
                  </a:lnTo>
                  <a:lnTo>
                    <a:pt x="50" y="6"/>
                  </a:lnTo>
                  <a:lnTo>
                    <a:pt x="47" y="6"/>
                  </a:lnTo>
                  <a:lnTo>
                    <a:pt x="41" y="11"/>
                  </a:lnTo>
                  <a:lnTo>
                    <a:pt x="35" y="11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13" y="8"/>
                  </a:lnTo>
                  <a:lnTo>
                    <a:pt x="7" y="8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7" y="36"/>
                  </a:lnTo>
                  <a:lnTo>
                    <a:pt x="7" y="39"/>
                  </a:lnTo>
                  <a:lnTo>
                    <a:pt x="1" y="40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4" name="Freeform 57"/>
            <p:cNvSpPr>
              <a:spLocks/>
            </p:cNvSpPr>
            <p:nvPr/>
          </p:nvSpPr>
          <p:spPr bwMode="auto">
            <a:xfrm>
              <a:off x="5834063" y="3027363"/>
              <a:ext cx="306388" cy="128588"/>
            </a:xfrm>
            <a:custGeom>
              <a:avLst/>
              <a:gdLst>
                <a:gd name="T0" fmla="*/ 119 w 193"/>
                <a:gd name="T1" fmla="*/ 77 h 81"/>
                <a:gd name="T2" fmla="*/ 134 w 193"/>
                <a:gd name="T3" fmla="*/ 81 h 81"/>
                <a:gd name="T4" fmla="*/ 147 w 193"/>
                <a:gd name="T5" fmla="*/ 79 h 81"/>
                <a:gd name="T6" fmla="*/ 156 w 193"/>
                <a:gd name="T7" fmla="*/ 75 h 81"/>
                <a:gd name="T8" fmla="*/ 173 w 193"/>
                <a:gd name="T9" fmla="*/ 69 h 81"/>
                <a:gd name="T10" fmla="*/ 185 w 193"/>
                <a:gd name="T11" fmla="*/ 63 h 81"/>
                <a:gd name="T12" fmla="*/ 182 w 193"/>
                <a:gd name="T13" fmla="*/ 53 h 81"/>
                <a:gd name="T14" fmla="*/ 180 w 193"/>
                <a:gd name="T15" fmla="*/ 42 h 81"/>
                <a:gd name="T16" fmla="*/ 193 w 193"/>
                <a:gd name="T17" fmla="*/ 41 h 81"/>
                <a:gd name="T18" fmla="*/ 193 w 193"/>
                <a:gd name="T19" fmla="*/ 31 h 81"/>
                <a:gd name="T20" fmla="*/ 191 w 193"/>
                <a:gd name="T21" fmla="*/ 11 h 81"/>
                <a:gd name="T22" fmla="*/ 176 w 193"/>
                <a:gd name="T23" fmla="*/ 6 h 81"/>
                <a:gd name="T24" fmla="*/ 161 w 193"/>
                <a:gd name="T25" fmla="*/ 6 h 81"/>
                <a:gd name="T26" fmla="*/ 144 w 193"/>
                <a:gd name="T27" fmla="*/ 2 h 81"/>
                <a:gd name="T28" fmla="*/ 136 w 193"/>
                <a:gd name="T29" fmla="*/ 5 h 81"/>
                <a:gd name="T30" fmla="*/ 132 w 193"/>
                <a:gd name="T31" fmla="*/ 10 h 81"/>
                <a:gd name="T32" fmla="*/ 122 w 193"/>
                <a:gd name="T33" fmla="*/ 14 h 81"/>
                <a:gd name="T34" fmla="*/ 104 w 193"/>
                <a:gd name="T35" fmla="*/ 6 h 81"/>
                <a:gd name="T36" fmla="*/ 104 w 193"/>
                <a:gd name="T37" fmla="*/ 15 h 81"/>
                <a:gd name="T38" fmla="*/ 96 w 193"/>
                <a:gd name="T39" fmla="*/ 20 h 81"/>
                <a:gd name="T40" fmla="*/ 83 w 193"/>
                <a:gd name="T41" fmla="*/ 31 h 81"/>
                <a:gd name="T42" fmla="*/ 89 w 193"/>
                <a:gd name="T43" fmla="*/ 36 h 81"/>
                <a:gd name="T44" fmla="*/ 86 w 193"/>
                <a:gd name="T45" fmla="*/ 42 h 81"/>
                <a:gd name="T46" fmla="*/ 75 w 193"/>
                <a:gd name="T47" fmla="*/ 42 h 81"/>
                <a:gd name="T48" fmla="*/ 64 w 193"/>
                <a:gd name="T49" fmla="*/ 41 h 81"/>
                <a:gd name="T50" fmla="*/ 50 w 193"/>
                <a:gd name="T51" fmla="*/ 47 h 81"/>
                <a:gd name="T52" fmla="*/ 41 w 193"/>
                <a:gd name="T53" fmla="*/ 47 h 81"/>
                <a:gd name="T54" fmla="*/ 29 w 193"/>
                <a:gd name="T55" fmla="*/ 42 h 81"/>
                <a:gd name="T56" fmla="*/ 24 w 193"/>
                <a:gd name="T57" fmla="*/ 48 h 81"/>
                <a:gd name="T58" fmla="*/ 14 w 193"/>
                <a:gd name="T59" fmla="*/ 48 h 81"/>
                <a:gd name="T60" fmla="*/ 4 w 193"/>
                <a:gd name="T61" fmla="*/ 47 h 81"/>
                <a:gd name="T62" fmla="*/ 0 w 193"/>
                <a:gd name="T63" fmla="*/ 47 h 81"/>
                <a:gd name="T64" fmla="*/ 4 w 193"/>
                <a:gd name="T65" fmla="*/ 52 h 81"/>
                <a:gd name="T66" fmla="*/ 6 w 193"/>
                <a:gd name="T67" fmla="*/ 59 h 81"/>
                <a:gd name="T68" fmla="*/ 14 w 193"/>
                <a:gd name="T69" fmla="*/ 57 h 81"/>
                <a:gd name="T70" fmla="*/ 26 w 193"/>
                <a:gd name="T71" fmla="*/ 59 h 81"/>
                <a:gd name="T72" fmla="*/ 31 w 193"/>
                <a:gd name="T73" fmla="*/ 63 h 81"/>
                <a:gd name="T74" fmla="*/ 41 w 193"/>
                <a:gd name="T75" fmla="*/ 66 h 81"/>
                <a:gd name="T76" fmla="*/ 61 w 193"/>
                <a:gd name="T77" fmla="*/ 61 h 81"/>
                <a:gd name="T78" fmla="*/ 70 w 193"/>
                <a:gd name="T79" fmla="*/ 64 h 81"/>
                <a:gd name="T80" fmla="*/ 100 w 193"/>
                <a:gd name="T81" fmla="*/ 74 h 81"/>
                <a:gd name="T82" fmla="*/ 113 w 193"/>
                <a:gd name="T83" fmla="*/ 77 h 81"/>
                <a:gd name="T84" fmla="*/ 113 w 193"/>
                <a:gd name="T85" fmla="*/ 7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3" h="81">
                  <a:moveTo>
                    <a:pt x="113" y="77"/>
                  </a:moveTo>
                  <a:lnTo>
                    <a:pt x="119" y="77"/>
                  </a:lnTo>
                  <a:lnTo>
                    <a:pt x="130" y="77"/>
                  </a:lnTo>
                  <a:lnTo>
                    <a:pt x="134" y="81"/>
                  </a:lnTo>
                  <a:lnTo>
                    <a:pt x="142" y="79"/>
                  </a:lnTo>
                  <a:lnTo>
                    <a:pt x="147" y="79"/>
                  </a:lnTo>
                  <a:lnTo>
                    <a:pt x="153" y="75"/>
                  </a:lnTo>
                  <a:lnTo>
                    <a:pt x="156" y="75"/>
                  </a:lnTo>
                  <a:lnTo>
                    <a:pt x="161" y="75"/>
                  </a:lnTo>
                  <a:lnTo>
                    <a:pt x="173" y="69"/>
                  </a:lnTo>
                  <a:lnTo>
                    <a:pt x="180" y="68"/>
                  </a:lnTo>
                  <a:lnTo>
                    <a:pt x="185" y="63"/>
                  </a:lnTo>
                  <a:lnTo>
                    <a:pt x="182" y="59"/>
                  </a:lnTo>
                  <a:lnTo>
                    <a:pt x="182" y="53"/>
                  </a:lnTo>
                  <a:lnTo>
                    <a:pt x="185" y="48"/>
                  </a:lnTo>
                  <a:lnTo>
                    <a:pt x="180" y="42"/>
                  </a:lnTo>
                  <a:lnTo>
                    <a:pt x="182" y="41"/>
                  </a:lnTo>
                  <a:lnTo>
                    <a:pt x="193" y="41"/>
                  </a:lnTo>
                  <a:lnTo>
                    <a:pt x="193" y="36"/>
                  </a:lnTo>
                  <a:lnTo>
                    <a:pt x="193" y="31"/>
                  </a:lnTo>
                  <a:lnTo>
                    <a:pt x="191" y="19"/>
                  </a:lnTo>
                  <a:lnTo>
                    <a:pt x="191" y="11"/>
                  </a:lnTo>
                  <a:lnTo>
                    <a:pt x="180" y="8"/>
                  </a:lnTo>
                  <a:lnTo>
                    <a:pt x="176" y="6"/>
                  </a:lnTo>
                  <a:lnTo>
                    <a:pt x="168" y="6"/>
                  </a:lnTo>
                  <a:lnTo>
                    <a:pt x="161" y="6"/>
                  </a:lnTo>
                  <a:lnTo>
                    <a:pt x="153" y="2"/>
                  </a:lnTo>
                  <a:lnTo>
                    <a:pt x="144" y="2"/>
                  </a:lnTo>
                  <a:lnTo>
                    <a:pt x="138" y="0"/>
                  </a:lnTo>
                  <a:lnTo>
                    <a:pt x="136" y="5"/>
                  </a:lnTo>
                  <a:lnTo>
                    <a:pt x="132" y="6"/>
                  </a:lnTo>
                  <a:lnTo>
                    <a:pt x="132" y="10"/>
                  </a:lnTo>
                  <a:lnTo>
                    <a:pt x="125" y="11"/>
                  </a:lnTo>
                  <a:lnTo>
                    <a:pt x="122" y="14"/>
                  </a:lnTo>
                  <a:lnTo>
                    <a:pt x="110" y="6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5"/>
                  </a:lnTo>
                  <a:lnTo>
                    <a:pt x="100" y="15"/>
                  </a:lnTo>
                  <a:lnTo>
                    <a:pt x="96" y="20"/>
                  </a:lnTo>
                  <a:lnTo>
                    <a:pt x="90" y="22"/>
                  </a:lnTo>
                  <a:lnTo>
                    <a:pt x="83" y="31"/>
                  </a:lnTo>
                  <a:lnTo>
                    <a:pt x="83" y="33"/>
                  </a:lnTo>
                  <a:lnTo>
                    <a:pt x="89" y="36"/>
                  </a:lnTo>
                  <a:lnTo>
                    <a:pt x="90" y="41"/>
                  </a:lnTo>
                  <a:lnTo>
                    <a:pt x="86" y="42"/>
                  </a:lnTo>
                  <a:lnTo>
                    <a:pt x="81" y="41"/>
                  </a:lnTo>
                  <a:lnTo>
                    <a:pt x="75" y="42"/>
                  </a:lnTo>
                  <a:lnTo>
                    <a:pt x="70" y="41"/>
                  </a:lnTo>
                  <a:lnTo>
                    <a:pt x="64" y="41"/>
                  </a:lnTo>
                  <a:lnTo>
                    <a:pt x="55" y="47"/>
                  </a:lnTo>
                  <a:lnTo>
                    <a:pt x="50" y="47"/>
                  </a:lnTo>
                  <a:lnTo>
                    <a:pt x="46" y="47"/>
                  </a:lnTo>
                  <a:lnTo>
                    <a:pt x="41" y="47"/>
                  </a:lnTo>
                  <a:lnTo>
                    <a:pt x="37" y="44"/>
                  </a:lnTo>
                  <a:lnTo>
                    <a:pt x="29" y="42"/>
                  </a:lnTo>
                  <a:lnTo>
                    <a:pt x="21" y="44"/>
                  </a:lnTo>
                  <a:lnTo>
                    <a:pt x="24" y="48"/>
                  </a:lnTo>
                  <a:lnTo>
                    <a:pt x="21" y="50"/>
                  </a:lnTo>
                  <a:lnTo>
                    <a:pt x="14" y="48"/>
                  </a:lnTo>
                  <a:lnTo>
                    <a:pt x="10" y="44"/>
                  </a:lnTo>
                  <a:lnTo>
                    <a:pt x="4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6" y="55"/>
                  </a:lnTo>
                  <a:lnTo>
                    <a:pt x="6" y="59"/>
                  </a:lnTo>
                  <a:lnTo>
                    <a:pt x="10" y="59"/>
                  </a:lnTo>
                  <a:lnTo>
                    <a:pt x="14" y="57"/>
                  </a:lnTo>
                  <a:lnTo>
                    <a:pt x="20" y="63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41" y="66"/>
                  </a:lnTo>
                  <a:lnTo>
                    <a:pt x="55" y="59"/>
                  </a:lnTo>
                  <a:lnTo>
                    <a:pt x="61" y="61"/>
                  </a:lnTo>
                  <a:lnTo>
                    <a:pt x="72" y="59"/>
                  </a:lnTo>
                  <a:lnTo>
                    <a:pt x="70" y="64"/>
                  </a:lnTo>
                  <a:lnTo>
                    <a:pt x="84" y="72"/>
                  </a:lnTo>
                  <a:lnTo>
                    <a:pt x="100" y="74"/>
                  </a:lnTo>
                  <a:lnTo>
                    <a:pt x="110" y="74"/>
                  </a:lnTo>
                  <a:lnTo>
                    <a:pt x="113" y="77"/>
                  </a:lnTo>
                  <a:lnTo>
                    <a:pt x="113" y="77"/>
                  </a:lnTo>
                  <a:lnTo>
                    <a:pt x="113" y="77"/>
                  </a:lnTo>
                  <a:lnTo>
                    <a:pt x="113" y="7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5" name="Freeform 58"/>
            <p:cNvSpPr>
              <a:spLocks/>
            </p:cNvSpPr>
            <p:nvPr/>
          </p:nvSpPr>
          <p:spPr bwMode="auto">
            <a:xfrm>
              <a:off x="6007101" y="2716213"/>
              <a:ext cx="407988" cy="298450"/>
            </a:xfrm>
            <a:custGeom>
              <a:avLst/>
              <a:gdLst>
                <a:gd name="T0" fmla="*/ 154 w 257"/>
                <a:gd name="T1" fmla="*/ 188 h 188"/>
                <a:gd name="T2" fmla="*/ 165 w 257"/>
                <a:gd name="T3" fmla="*/ 183 h 188"/>
                <a:gd name="T4" fmla="*/ 172 w 257"/>
                <a:gd name="T5" fmla="*/ 182 h 188"/>
                <a:gd name="T6" fmla="*/ 184 w 257"/>
                <a:gd name="T7" fmla="*/ 185 h 188"/>
                <a:gd name="T8" fmla="*/ 191 w 257"/>
                <a:gd name="T9" fmla="*/ 182 h 188"/>
                <a:gd name="T10" fmla="*/ 200 w 257"/>
                <a:gd name="T11" fmla="*/ 182 h 188"/>
                <a:gd name="T12" fmla="*/ 223 w 257"/>
                <a:gd name="T13" fmla="*/ 188 h 188"/>
                <a:gd name="T14" fmla="*/ 228 w 257"/>
                <a:gd name="T15" fmla="*/ 180 h 188"/>
                <a:gd name="T16" fmla="*/ 245 w 257"/>
                <a:gd name="T17" fmla="*/ 158 h 188"/>
                <a:gd name="T18" fmla="*/ 251 w 257"/>
                <a:gd name="T19" fmla="*/ 147 h 188"/>
                <a:gd name="T20" fmla="*/ 257 w 257"/>
                <a:gd name="T21" fmla="*/ 139 h 188"/>
                <a:gd name="T22" fmla="*/ 255 w 257"/>
                <a:gd name="T23" fmla="*/ 132 h 188"/>
                <a:gd name="T24" fmla="*/ 249 w 257"/>
                <a:gd name="T25" fmla="*/ 127 h 188"/>
                <a:gd name="T26" fmla="*/ 243 w 257"/>
                <a:gd name="T27" fmla="*/ 116 h 188"/>
                <a:gd name="T28" fmla="*/ 243 w 257"/>
                <a:gd name="T29" fmla="*/ 97 h 188"/>
                <a:gd name="T30" fmla="*/ 236 w 257"/>
                <a:gd name="T31" fmla="*/ 83 h 188"/>
                <a:gd name="T32" fmla="*/ 245 w 257"/>
                <a:gd name="T33" fmla="*/ 75 h 188"/>
                <a:gd name="T34" fmla="*/ 242 w 257"/>
                <a:gd name="T35" fmla="*/ 59 h 188"/>
                <a:gd name="T36" fmla="*/ 238 w 257"/>
                <a:gd name="T37" fmla="*/ 48 h 188"/>
                <a:gd name="T38" fmla="*/ 228 w 257"/>
                <a:gd name="T39" fmla="*/ 30 h 188"/>
                <a:gd name="T40" fmla="*/ 226 w 257"/>
                <a:gd name="T41" fmla="*/ 15 h 188"/>
                <a:gd name="T42" fmla="*/ 215 w 257"/>
                <a:gd name="T43" fmla="*/ 9 h 188"/>
                <a:gd name="T44" fmla="*/ 143 w 257"/>
                <a:gd name="T45" fmla="*/ 11 h 188"/>
                <a:gd name="T46" fmla="*/ 130 w 257"/>
                <a:gd name="T47" fmla="*/ 20 h 188"/>
                <a:gd name="T48" fmla="*/ 120 w 257"/>
                <a:gd name="T49" fmla="*/ 20 h 188"/>
                <a:gd name="T50" fmla="*/ 136 w 257"/>
                <a:gd name="T51" fmla="*/ 9 h 188"/>
                <a:gd name="T52" fmla="*/ 126 w 257"/>
                <a:gd name="T53" fmla="*/ 15 h 188"/>
                <a:gd name="T54" fmla="*/ 105 w 257"/>
                <a:gd name="T55" fmla="*/ 15 h 188"/>
                <a:gd name="T56" fmla="*/ 104 w 257"/>
                <a:gd name="T57" fmla="*/ 6 h 188"/>
                <a:gd name="T58" fmla="*/ 113 w 257"/>
                <a:gd name="T59" fmla="*/ 8 h 188"/>
                <a:gd name="T60" fmla="*/ 105 w 257"/>
                <a:gd name="T61" fmla="*/ 4 h 188"/>
                <a:gd name="T62" fmla="*/ 80 w 257"/>
                <a:gd name="T63" fmla="*/ 6 h 188"/>
                <a:gd name="T64" fmla="*/ 64 w 257"/>
                <a:gd name="T65" fmla="*/ 8 h 188"/>
                <a:gd name="T66" fmla="*/ 52 w 257"/>
                <a:gd name="T67" fmla="*/ 13 h 188"/>
                <a:gd name="T68" fmla="*/ 46 w 257"/>
                <a:gd name="T69" fmla="*/ 22 h 188"/>
                <a:gd name="T70" fmla="*/ 23 w 257"/>
                <a:gd name="T71" fmla="*/ 30 h 188"/>
                <a:gd name="T72" fmla="*/ 11 w 257"/>
                <a:gd name="T73" fmla="*/ 36 h 188"/>
                <a:gd name="T74" fmla="*/ 6 w 257"/>
                <a:gd name="T75" fmla="*/ 42 h 188"/>
                <a:gd name="T76" fmla="*/ 5 w 257"/>
                <a:gd name="T77" fmla="*/ 45 h 188"/>
                <a:gd name="T78" fmla="*/ 6 w 257"/>
                <a:gd name="T79" fmla="*/ 63 h 188"/>
                <a:gd name="T80" fmla="*/ 0 w 257"/>
                <a:gd name="T81" fmla="*/ 70 h 188"/>
                <a:gd name="T82" fmla="*/ 6 w 257"/>
                <a:gd name="T83" fmla="*/ 83 h 188"/>
                <a:gd name="T84" fmla="*/ 11 w 257"/>
                <a:gd name="T85" fmla="*/ 92 h 188"/>
                <a:gd name="T86" fmla="*/ 11 w 257"/>
                <a:gd name="T87" fmla="*/ 100 h 188"/>
                <a:gd name="T88" fmla="*/ 20 w 257"/>
                <a:gd name="T89" fmla="*/ 112 h 188"/>
                <a:gd name="T90" fmla="*/ 23 w 257"/>
                <a:gd name="T91" fmla="*/ 128 h 188"/>
                <a:gd name="T92" fmla="*/ 23 w 257"/>
                <a:gd name="T93" fmla="*/ 134 h 188"/>
                <a:gd name="T94" fmla="*/ 32 w 257"/>
                <a:gd name="T95" fmla="*/ 132 h 188"/>
                <a:gd name="T96" fmla="*/ 46 w 257"/>
                <a:gd name="T97" fmla="*/ 134 h 188"/>
                <a:gd name="T98" fmla="*/ 52 w 257"/>
                <a:gd name="T99" fmla="*/ 139 h 188"/>
                <a:gd name="T100" fmla="*/ 58 w 257"/>
                <a:gd name="T101" fmla="*/ 143 h 188"/>
                <a:gd name="T102" fmla="*/ 58 w 257"/>
                <a:gd name="T103" fmla="*/ 150 h 188"/>
                <a:gd name="T104" fmla="*/ 61 w 257"/>
                <a:gd name="T105" fmla="*/ 155 h 188"/>
                <a:gd name="T106" fmla="*/ 67 w 257"/>
                <a:gd name="T107" fmla="*/ 155 h 188"/>
                <a:gd name="T108" fmla="*/ 64 w 257"/>
                <a:gd name="T109" fmla="*/ 149 h 188"/>
                <a:gd name="T110" fmla="*/ 80 w 257"/>
                <a:gd name="T111" fmla="*/ 152 h 188"/>
                <a:gd name="T112" fmla="*/ 86 w 257"/>
                <a:gd name="T113" fmla="*/ 155 h 188"/>
                <a:gd name="T114" fmla="*/ 104 w 257"/>
                <a:gd name="T115" fmla="*/ 158 h 188"/>
                <a:gd name="T116" fmla="*/ 128 w 257"/>
                <a:gd name="T117" fmla="*/ 171 h 188"/>
                <a:gd name="T118" fmla="*/ 137 w 257"/>
                <a:gd name="T119" fmla="*/ 180 h 188"/>
                <a:gd name="T120" fmla="*/ 149 w 257"/>
                <a:gd name="T121" fmla="*/ 177 h 188"/>
                <a:gd name="T122" fmla="*/ 154 w 257"/>
                <a:gd name="T123" fmla="*/ 188 h 188"/>
                <a:gd name="T124" fmla="*/ 154 w 257"/>
                <a:gd name="T12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7" h="188">
                  <a:moveTo>
                    <a:pt x="154" y="188"/>
                  </a:moveTo>
                  <a:lnTo>
                    <a:pt x="154" y="188"/>
                  </a:lnTo>
                  <a:lnTo>
                    <a:pt x="160" y="188"/>
                  </a:lnTo>
                  <a:lnTo>
                    <a:pt x="165" y="183"/>
                  </a:lnTo>
                  <a:lnTo>
                    <a:pt x="169" y="182"/>
                  </a:lnTo>
                  <a:lnTo>
                    <a:pt x="172" y="182"/>
                  </a:lnTo>
                  <a:lnTo>
                    <a:pt x="180" y="182"/>
                  </a:lnTo>
                  <a:lnTo>
                    <a:pt x="184" y="185"/>
                  </a:lnTo>
                  <a:lnTo>
                    <a:pt x="188" y="182"/>
                  </a:lnTo>
                  <a:lnTo>
                    <a:pt x="191" y="182"/>
                  </a:lnTo>
                  <a:lnTo>
                    <a:pt x="195" y="183"/>
                  </a:lnTo>
                  <a:lnTo>
                    <a:pt x="200" y="182"/>
                  </a:lnTo>
                  <a:lnTo>
                    <a:pt x="211" y="182"/>
                  </a:lnTo>
                  <a:lnTo>
                    <a:pt x="223" y="188"/>
                  </a:lnTo>
                  <a:lnTo>
                    <a:pt x="228" y="188"/>
                  </a:lnTo>
                  <a:lnTo>
                    <a:pt x="228" y="180"/>
                  </a:lnTo>
                  <a:lnTo>
                    <a:pt x="228" y="174"/>
                  </a:lnTo>
                  <a:lnTo>
                    <a:pt x="245" y="158"/>
                  </a:lnTo>
                  <a:lnTo>
                    <a:pt x="247" y="150"/>
                  </a:lnTo>
                  <a:lnTo>
                    <a:pt x="251" y="147"/>
                  </a:lnTo>
                  <a:lnTo>
                    <a:pt x="255" y="147"/>
                  </a:lnTo>
                  <a:lnTo>
                    <a:pt x="257" y="139"/>
                  </a:lnTo>
                  <a:lnTo>
                    <a:pt x="255" y="135"/>
                  </a:lnTo>
                  <a:lnTo>
                    <a:pt x="255" y="132"/>
                  </a:lnTo>
                  <a:lnTo>
                    <a:pt x="257" y="130"/>
                  </a:lnTo>
                  <a:lnTo>
                    <a:pt x="249" y="127"/>
                  </a:lnTo>
                  <a:lnTo>
                    <a:pt x="247" y="119"/>
                  </a:lnTo>
                  <a:lnTo>
                    <a:pt x="243" y="116"/>
                  </a:lnTo>
                  <a:lnTo>
                    <a:pt x="243" y="105"/>
                  </a:lnTo>
                  <a:lnTo>
                    <a:pt x="243" y="97"/>
                  </a:lnTo>
                  <a:lnTo>
                    <a:pt x="238" y="91"/>
                  </a:lnTo>
                  <a:lnTo>
                    <a:pt x="236" y="83"/>
                  </a:lnTo>
                  <a:lnTo>
                    <a:pt x="239" y="77"/>
                  </a:lnTo>
                  <a:lnTo>
                    <a:pt x="245" y="75"/>
                  </a:lnTo>
                  <a:lnTo>
                    <a:pt x="245" y="61"/>
                  </a:lnTo>
                  <a:lnTo>
                    <a:pt x="242" y="59"/>
                  </a:lnTo>
                  <a:lnTo>
                    <a:pt x="242" y="52"/>
                  </a:lnTo>
                  <a:lnTo>
                    <a:pt x="238" y="48"/>
                  </a:lnTo>
                  <a:lnTo>
                    <a:pt x="233" y="36"/>
                  </a:lnTo>
                  <a:lnTo>
                    <a:pt x="228" y="30"/>
                  </a:lnTo>
                  <a:lnTo>
                    <a:pt x="228" y="25"/>
                  </a:lnTo>
                  <a:lnTo>
                    <a:pt x="226" y="15"/>
                  </a:lnTo>
                  <a:lnTo>
                    <a:pt x="223" y="15"/>
                  </a:lnTo>
                  <a:lnTo>
                    <a:pt x="215" y="9"/>
                  </a:lnTo>
                  <a:lnTo>
                    <a:pt x="178" y="13"/>
                  </a:lnTo>
                  <a:lnTo>
                    <a:pt x="143" y="11"/>
                  </a:lnTo>
                  <a:lnTo>
                    <a:pt x="139" y="13"/>
                  </a:lnTo>
                  <a:lnTo>
                    <a:pt x="130" y="20"/>
                  </a:lnTo>
                  <a:lnTo>
                    <a:pt x="122" y="20"/>
                  </a:lnTo>
                  <a:lnTo>
                    <a:pt x="120" y="20"/>
                  </a:lnTo>
                  <a:lnTo>
                    <a:pt x="128" y="15"/>
                  </a:lnTo>
                  <a:lnTo>
                    <a:pt x="136" y="9"/>
                  </a:lnTo>
                  <a:lnTo>
                    <a:pt x="132" y="9"/>
                  </a:lnTo>
                  <a:lnTo>
                    <a:pt x="126" y="15"/>
                  </a:lnTo>
                  <a:lnTo>
                    <a:pt x="116" y="19"/>
                  </a:lnTo>
                  <a:lnTo>
                    <a:pt x="105" y="15"/>
                  </a:lnTo>
                  <a:lnTo>
                    <a:pt x="101" y="9"/>
                  </a:lnTo>
                  <a:lnTo>
                    <a:pt x="104" y="6"/>
                  </a:lnTo>
                  <a:lnTo>
                    <a:pt x="111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05" y="4"/>
                  </a:lnTo>
                  <a:lnTo>
                    <a:pt x="92" y="0"/>
                  </a:lnTo>
                  <a:lnTo>
                    <a:pt x="80" y="6"/>
                  </a:lnTo>
                  <a:lnTo>
                    <a:pt x="72" y="4"/>
                  </a:lnTo>
                  <a:lnTo>
                    <a:pt x="64" y="8"/>
                  </a:lnTo>
                  <a:lnTo>
                    <a:pt x="58" y="13"/>
                  </a:lnTo>
                  <a:lnTo>
                    <a:pt x="52" y="13"/>
                  </a:lnTo>
                  <a:lnTo>
                    <a:pt x="46" y="19"/>
                  </a:lnTo>
                  <a:lnTo>
                    <a:pt x="46" y="22"/>
                  </a:lnTo>
                  <a:lnTo>
                    <a:pt x="38" y="22"/>
                  </a:lnTo>
                  <a:lnTo>
                    <a:pt x="23" y="30"/>
                  </a:lnTo>
                  <a:lnTo>
                    <a:pt x="15" y="30"/>
                  </a:lnTo>
                  <a:lnTo>
                    <a:pt x="11" y="36"/>
                  </a:lnTo>
                  <a:lnTo>
                    <a:pt x="9" y="41"/>
                  </a:lnTo>
                  <a:lnTo>
                    <a:pt x="6" y="42"/>
                  </a:lnTo>
                  <a:lnTo>
                    <a:pt x="9" y="45"/>
                  </a:lnTo>
                  <a:lnTo>
                    <a:pt x="5" y="45"/>
                  </a:lnTo>
                  <a:lnTo>
                    <a:pt x="9" y="55"/>
                  </a:lnTo>
                  <a:lnTo>
                    <a:pt x="6" y="63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9" y="80"/>
                  </a:lnTo>
                  <a:lnTo>
                    <a:pt x="6" y="83"/>
                  </a:lnTo>
                  <a:lnTo>
                    <a:pt x="11" y="88"/>
                  </a:lnTo>
                  <a:lnTo>
                    <a:pt x="11" y="92"/>
                  </a:lnTo>
                  <a:lnTo>
                    <a:pt x="15" y="96"/>
                  </a:lnTo>
                  <a:lnTo>
                    <a:pt x="11" y="100"/>
                  </a:lnTo>
                  <a:lnTo>
                    <a:pt x="17" y="110"/>
                  </a:lnTo>
                  <a:lnTo>
                    <a:pt x="20" y="112"/>
                  </a:lnTo>
                  <a:lnTo>
                    <a:pt x="23" y="116"/>
                  </a:lnTo>
                  <a:lnTo>
                    <a:pt x="23" y="128"/>
                  </a:lnTo>
                  <a:lnTo>
                    <a:pt x="22" y="130"/>
                  </a:lnTo>
                  <a:lnTo>
                    <a:pt x="23" y="134"/>
                  </a:lnTo>
                  <a:lnTo>
                    <a:pt x="26" y="132"/>
                  </a:lnTo>
                  <a:lnTo>
                    <a:pt x="32" y="132"/>
                  </a:lnTo>
                  <a:lnTo>
                    <a:pt x="34" y="132"/>
                  </a:lnTo>
                  <a:lnTo>
                    <a:pt x="46" y="134"/>
                  </a:lnTo>
                  <a:lnTo>
                    <a:pt x="46" y="135"/>
                  </a:lnTo>
                  <a:lnTo>
                    <a:pt x="52" y="139"/>
                  </a:lnTo>
                  <a:lnTo>
                    <a:pt x="55" y="139"/>
                  </a:lnTo>
                  <a:lnTo>
                    <a:pt x="58" y="143"/>
                  </a:lnTo>
                  <a:lnTo>
                    <a:pt x="58" y="149"/>
                  </a:lnTo>
                  <a:lnTo>
                    <a:pt x="58" y="150"/>
                  </a:lnTo>
                  <a:lnTo>
                    <a:pt x="61" y="152"/>
                  </a:lnTo>
                  <a:lnTo>
                    <a:pt x="61" y="155"/>
                  </a:lnTo>
                  <a:lnTo>
                    <a:pt x="64" y="158"/>
                  </a:lnTo>
                  <a:lnTo>
                    <a:pt x="67" y="155"/>
                  </a:lnTo>
                  <a:lnTo>
                    <a:pt x="70" y="155"/>
                  </a:lnTo>
                  <a:lnTo>
                    <a:pt x="64" y="149"/>
                  </a:lnTo>
                  <a:lnTo>
                    <a:pt x="67" y="147"/>
                  </a:lnTo>
                  <a:lnTo>
                    <a:pt x="80" y="152"/>
                  </a:lnTo>
                  <a:lnTo>
                    <a:pt x="87" y="152"/>
                  </a:lnTo>
                  <a:lnTo>
                    <a:pt x="86" y="155"/>
                  </a:lnTo>
                  <a:lnTo>
                    <a:pt x="93" y="160"/>
                  </a:lnTo>
                  <a:lnTo>
                    <a:pt x="104" y="158"/>
                  </a:lnTo>
                  <a:lnTo>
                    <a:pt x="111" y="161"/>
                  </a:lnTo>
                  <a:lnTo>
                    <a:pt x="128" y="171"/>
                  </a:lnTo>
                  <a:lnTo>
                    <a:pt x="133" y="180"/>
                  </a:lnTo>
                  <a:lnTo>
                    <a:pt x="137" y="180"/>
                  </a:lnTo>
                  <a:lnTo>
                    <a:pt x="142" y="176"/>
                  </a:lnTo>
                  <a:lnTo>
                    <a:pt x="149" y="177"/>
                  </a:lnTo>
                  <a:lnTo>
                    <a:pt x="153" y="182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6" name="Freeform 59"/>
            <p:cNvSpPr>
              <a:spLocks/>
            </p:cNvSpPr>
            <p:nvPr/>
          </p:nvSpPr>
          <p:spPr bwMode="auto">
            <a:xfrm>
              <a:off x="5926138" y="2925763"/>
              <a:ext cx="328613" cy="119063"/>
            </a:xfrm>
            <a:custGeom>
              <a:avLst/>
              <a:gdLst>
                <a:gd name="T0" fmla="*/ 76 w 207"/>
                <a:gd name="T1" fmla="*/ 3 h 75"/>
                <a:gd name="T2" fmla="*/ 84 w 207"/>
                <a:gd name="T3" fmla="*/ 2 h 75"/>
                <a:gd name="T4" fmla="*/ 98 w 207"/>
                <a:gd name="T5" fmla="*/ 3 h 75"/>
                <a:gd name="T6" fmla="*/ 104 w 207"/>
                <a:gd name="T7" fmla="*/ 8 h 75"/>
                <a:gd name="T8" fmla="*/ 111 w 207"/>
                <a:gd name="T9" fmla="*/ 13 h 75"/>
                <a:gd name="T10" fmla="*/ 111 w 207"/>
                <a:gd name="T11" fmla="*/ 19 h 75"/>
                <a:gd name="T12" fmla="*/ 113 w 207"/>
                <a:gd name="T13" fmla="*/ 24 h 75"/>
                <a:gd name="T14" fmla="*/ 119 w 207"/>
                <a:gd name="T15" fmla="*/ 24 h 75"/>
                <a:gd name="T16" fmla="*/ 116 w 207"/>
                <a:gd name="T17" fmla="*/ 18 h 75"/>
                <a:gd name="T18" fmla="*/ 132 w 207"/>
                <a:gd name="T19" fmla="*/ 21 h 75"/>
                <a:gd name="T20" fmla="*/ 138 w 207"/>
                <a:gd name="T21" fmla="*/ 24 h 75"/>
                <a:gd name="T22" fmla="*/ 156 w 207"/>
                <a:gd name="T23" fmla="*/ 27 h 75"/>
                <a:gd name="T24" fmla="*/ 180 w 207"/>
                <a:gd name="T25" fmla="*/ 40 h 75"/>
                <a:gd name="T26" fmla="*/ 189 w 207"/>
                <a:gd name="T27" fmla="*/ 48 h 75"/>
                <a:gd name="T28" fmla="*/ 201 w 207"/>
                <a:gd name="T29" fmla="*/ 46 h 75"/>
                <a:gd name="T30" fmla="*/ 207 w 207"/>
                <a:gd name="T31" fmla="*/ 56 h 75"/>
                <a:gd name="T32" fmla="*/ 188 w 207"/>
                <a:gd name="T33" fmla="*/ 59 h 75"/>
                <a:gd name="T34" fmla="*/ 172 w 207"/>
                <a:gd name="T35" fmla="*/ 66 h 75"/>
                <a:gd name="T36" fmla="*/ 151 w 207"/>
                <a:gd name="T37" fmla="*/ 72 h 75"/>
                <a:gd name="T38" fmla="*/ 142 w 207"/>
                <a:gd name="T39" fmla="*/ 70 h 75"/>
                <a:gd name="T40" fmla="*/ 122 w 207"/>
                <a:gd name="T41" fmla="*/ 70 h 75"/>
                <a:gd name="T42" fmla="*/ 111 w 207"/>
                <a:gd name="T43" fmla="*/ 67 h 75"/>
                <a:gd name="T44" fmla="*/ 96 w 207"/>
                <a:gd name="T45" fmla="*/ 64 h 75"/>
                <a:gd name="T46" fmla="*/ 80 w 207"/>
                <a:gd name="T47" fmla="*/ 62 h 75"/>
                <a:gd name="T48" fmla="*/ 75 w 207"/>
                <a:gd name="T49" fmla="*/ 67 h 75"/>
                <a:gd name="T50" fmla="*/ 67 w 207"/>
                <a:gd name="T51" fmla="*/ 73 h 75"/>
                <a:gd name="T52" fmla="*/ 52 w 207"/>
                <a:gd name="T53" fmla="*/ 67 h 75"/>
                <a:gd name="T54" fmla="*/ 48 w 207"/>
                <a:gd name="T55" fmla="*/ 67 h 75"/>
                <a:gd name="T56" fmla="*/ 31 w 207"/>
                <a:gd name="T57" fmla="*/ 54 h 75"/>
                <a:gd name="T58" fmla="*/ 15 w 207"/>
                <a:gd name="T59" fmla="*/ 46 h 75"/>
                <a:gd name="T60" fmla="*/ 14 w 207"/>
                <a:gd name="T61" fmla="*/ 35 h 75"/>
                <a:gd name="T62" fmla="*/ 0 w 207"/>
                <a:gd name="T63" fmla="*/ 24 h 75"/>
                <a:gd name="T64" fmla="*/ 3 w 207"/>
                <a:gd name="T65" fmla="*/ 19 h 75"/>
                <a:gd name="T66" fmla="*/ 9 w 207"/>
                <a:gd name="T67" fmla="*/ 24 h 75"/>
                <a:gd name="T68" fmla="*/ 25 w 207"/>
                <a:gd name="T69" fmla="*/ 16 h 75"/>
                <a:gd name="T70" fmla="*/ 37 w 207"/>
                <a:gd name="T71" fmla="*/ 11 h 75"/>
                <a:gd name="T72" fmla="*/ 48 w 207"/>
                <a:gd name="T73" fmla="*/ 8 h 75"/>
                <a:gd name="T74" fmla="*/ 58 w 207"/>
                <a:gd name="T75" fmla="*/ 5 h 75"/>
                <a:gd name="T76" fmla="*/ 67 w 207"/>
                <a:gd name="T77" fmla="*/ 2 h 75"/>
                <a:gd name="T78" fmla="*/ 73 w 207"/>
                <a:gd name="T79" fmla="*/ 2 h 75"/>
                <a:gd name="T80" fmla="*/ 75 w 207"/>
                <a:gd name="T8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7" h="75">
                  <a:moveTo>
                    <a:pt x="75" y="0"/>
                  </a:moveTo>
                  <a:lnTo>
                    <a:pt x="76" y="3"/>
                  </a:lnTo>
                  <a:lnTo>
                    <a:pt x="79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4" y="8"/>
                  </a:lnTo>
                  <a:lnTo>
                    <a:pt x="107" y="8"/>
                  </a:lnTo>
                  <a:lnTo>
                    <a:pt x="111" y="13"/>
                  </a:lnTo>
                  <a:lnTo>
                    <a:pt x="110" y="18"/>
                  </a:lnTo>
                  <a:lnTo>
                    <a:pt x="111" y="19"/>
                  </a:lnTo>
                  <a:lnTo>
                    <a:pt x="113" y="21"/>
                  </a:lnTo>
                  <a:lnTo>
                    <a:pt x="113" y="24"/>
                  </a:lnTo>
                  <a:lnTo>
                    <a:pt x="116" y="27"/>
                  </a:lnTo>
                  <a:lnTo>
                    <a:pt x="119" y="24"/>
                  </a:lnTo>
                  <a:lnTo>
                    <a:pt x="122" y="24"/>
                  </a:lnTo>
                  <a:lnTo>
                    <a:pt x="116" y="18"/>
                  </a:lnTo>
                  <a:lnTo>
                    <a:pt x="119" y="16"/>
                  </a:lnTo>
                  <a:lnTo>
                    <a:pt x="132" y="21"/>
                  </a:lnTo>
                  <a:lnTo>
                    <a:pt x="140" y="21"/>
                  </a:lnTo>
                  <a:lnTo>
                    <a:pt x="138" y="24"/>
                  </a:lnTo>
                  <a:lnTo>
                    <a:pt x="146" y="29"/>
                  </a:lnTo>
                  <a:lnTo>
                    <a:pt x="156" y="27"/>
                  </a:lnTo>
                  <a:lnTo>
                    <a:pt x="163" y="30"/>
                  </a:lnTo>
                  <a:lnTo>
                    <a:pt x="180" y="40"/>
                  </a:lnTo>
                  <a:lnTo>
                    <a:pt x="186" y="48"/>
                  </a:lnTo>
                  <a:lnTo>
                    <a:pt x="189" y="48"/>
                  </a:lnTo>
                  <a:lnTo>
                    <a:pt x="194" y="45"/>
                  </a:lnTo>
                  <a:lnTo>
                    <a:pt x="201" y="46"/>
                  </a:lnTo>
                  <a:lnTo>
                    <a:pt x="205" y="51"/>
                  </a:lnTo>
                  <a:lnTo>
                    <a:pt x="207" y="56"/>
                  </a:lnTo>
                  <a:lnTo>
                    <a:pt x="194" y="56"/>
                  </a:lnTo>
                  <a:lnTo>
                    <a:pt x="188" y="59"/>
                  </a:lnTo>
                  <a:lnTo>
                    <a:pt x="180" y="59"/>
                  </a:lnTo>
                  <a:lnTo>
                    <a:pt x="172" y="66"/>
                  </a:lnTo>
                  <a:lnTo>
                    <a:pt x="163" y="67"/>
                  </a:lnTo>
                  <a:lnTo>
                    <a:pt x="151" y="72"/>
                  </a:lnTo>
                  <a:lnTo>
                    <a:pt x="150" y="70"/>
                  </a:lnTo>
                  <a:lnTo>
                    <a:pt x="142" y="70"/>
                  </a:lnTo>
                  <a:lnTo>
                    <a:pt x="136" y="73"/>
                  </a:lnTo>
                  <a:lnTo>
                    <a:pt x="122" y="70"/>
                  </a:lnTo>
                  <a:lnTo>
                    <a:pt x="119" y="67"/>
                  </a:lnTo>
                  <a:lnTo>
                    <a:pt x="111" y="67"/>
                  </a:lnTo>
                  <a:lnTo>
                    <a:pt x="104" y="67"/>
                  </a:lnTo>
                  <a:lnTo>
                    <a:pt x="96" y="64"/>
                  </a:lnTo>
                  <a:lnTo>
                    <a:pt x="86" y="64"/>
                  </a:lnTo>
                  <a:lnTo>
                    <a:pt x="80" y="62"/>
                  </a:lnTo>
                  <a:lnTo>
                    <a:pt x="79" y="66"/>
                  </a:lnTo>
                  <a:lnTo>
                    <a:pt x="75" y="67"/>
                  </a:lnTo>
                  <a:lnTo>
                    <a:pt x="75" y="72"/>
                  </a:lnTo>
                  <a:lnTo>
                    <a:pt x="67" y="73"/>
                  </a:lnTo>
                  <a:lnTo>
                    <a:pt x="64" y="75"/>
                  </a:lnTo>
                  <a:lnTo>
                    <a:pt x="52" y="67"/>
                  </a:lnTo>
                  <a:lnTo>
                    <a:pt x="46" y="67"/>
                  </a:lnTo>
                  <a:lnTo>
                    <a:pt x="48" y="67"/>
                  </a:lnTo>
                  <a:lnTo>
                    <a:pt x="37" y="57"/>
                  </a:lnTo>
                  <a:lnTo>
                    <a:pt x="31" y="54"/>
                  </a:lnTo>
                  <a:lnTo>
                    <a:pt x="21" y="48"/>
                  </a:lnTo>
                  <a:lnTo>
                    <a:pt x="15" y="46"/>
                  </a:lnTo>
                  <a:lnTo>
                    <a:pt x="14" y="43"/>
                  </a:lnTo>
                  <a:lnTo>
                    <a:pt x="14" y="35"/>
                  </a:lnTo>
                  <a:lnTo>
                    <a:pt x="8" y="29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3" y="19"/>
                  </a:lnTo>
                  <a:lnTo>
                    <a:pt x="6" y="21"/>
                  </a:lnTo>
                  <a:lnTo>
                    <a:pt x="9" y="24"/>
                  </a:lnTo>
                  <a:lnTo>
                    <a:pt x="21" y="16"/>
                  </a:lnTo>
                  <a:lnTo>
                    <a:pt x="25" y="16"/>
                  </a:lnTo>
                  <a:lnTo>
                    <a:pt x="31" y="11"/>
                  </a:lnTo>
                  <a:lnTo>
                    <a:pt x="37" y="11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54" y="8"/>
                  </a:lnTo>
                  <a:lnTo>
                    <a:pt x="58" y="5"/>
                  </a:lnTo>
                  <a:lnTo>
                    <a:pt x="58" y="0"/>
                  </a:lnTo>
                  <a:lnTo>
                    <a:pt x="67" y="2"/>
                  </a:lnTo>
                  <a:lnTo>
                    <a:pt x="69" y="0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7" name="Freeform 60"/>
            <p:cNvSpPr>
              <a:spLocks/>
            </p:cNvSpPr>
            <p:nvPr/>
          </p:nvSpPr>
          <p:spPr bwMode="auto">
            <a:xfrm>
              <a:off x="5678488" y="2716213"/>
              <a:ext cx="368300" cy="388938"/>
            </a:xfrm>
            <a:custGeom>
              <a:avLst/>
              <a:gdLst>
                <a:gd name="T0" fmla="*/ 86 w 232"/>
                <a:gd name="T1" fmla="*/ 4 h 245"/>
                <a:gd name="T2" fmla="*/ 97 w 232"/>
                <a:gd name="T3" fmla="*/ 15 h 245"/>
                <a:gd name="T4" fmla="*/ 102 w 232"/>
                <a:gd name="T5" fmla="*/ 24 h 245"/>
                <a:gd name="T6" fmla="*/ 112 w 232"/>
                <a:gd name="T7" fmla="*/ 21 h 245"/>
                <a:gd name="T8" fmla="*/ 128 w 232"/>
                <a:gd name="T9" fmla="*/ 21 h 245"/>
                <a:gd name="T10" fmla="*/ 116 w 232"/>
                <a:gd name="T11" fmla="*/ 31 h 245"/>
                <a:gd name="T12" fmla="*/ 133 w 232"/>
                <a:gd name="T13" fmla="*/ 35 h 245"/>
                <a:gd name="T14" fmla="*/ 153 w 232"/>
                <a:gd name="T15" fmla="*/ 26 h 245"/>
                <a:gd name="T16" fmla="*/ 162 w 232"/>
                <a:gd name="T17" fmla="*/ 17 h 245"/>
                <a:gd name="T18" fmla="*/ 159 w 232"/>
                <a:gd name="T19" fmla="*/ 21 h 245"/>
                <a:gd name="T20" fmla="*/ 171 w 232"/>
                <a:gd name="T21" fmla="*/ 22 h 245"/>
                <a:gd name="T22" fmla="*/ 189 w 232"/>
                <a:gd name="T23" fmla="*/ 30 h 245"/>
                <a:gd name="T24" fmla="*/ 200 w 232"/>
                <a:gd name="T25" fmla="*/ 40 h 245"/>
                <a:gd name="T26" fmla="*/ 217 w 232"/>
                <a:gd name="T27" fmla="*/ 54 h 245"/>
                <a:gd name="T28" fmla="*/ 217 w 232"/>
                <a:gd name="T29" fmla="*/ 79 h 245"/>
                <a:gd name="T30" fmla="*/ 223 w 232"/>
                <a:gd name="T31" fmla="*/ 95 h 245"/>
                <a:gd name="T32" fmla="*/ 232 w 232"/>
                <a:gd name="T33" fmla="*/ 115 h 245"/>
                <a:gd name="T34" fmla="*/ 223 w 232"/>
                <a:gd name="T35" fmla="*/ 132 h 245"/>
                <a:gd name="T36" fmla="*/ 204 w 232"/>
                <a:gd name="T37" fmla="*/ 138 h 245"/>
                <a:gd name="T38" fmla="*/ 181 w 232"/>
                <a:gd name="T39" fmla="*/ 147 h 245"/>
                <a:gd name="T40" fmla="*/ 159 w 232"/>
                <a:gd name="T41" fmla="*/ 150 h 245"/>
                <a:gd name="T42" fmla="*/ 170 w 232"/>
                <a:gd name="T43" fmla="*/ 167 h 245"/>
                <a:gd name="T44" fmla="*/ 187 w 232"/>
                <a:gd name="T45" fmla="*/ 186 h 245"/>
                <a:gd name="T46" fmla="*/ 202 w 232"/>
                <a:gd name="T47" fmla="*/ 209 h 245"/>
                <a:gd name="T48" fmla="*/ 181 w 232"/>
                <a:gd name="T49" fmla="*/ 226 h 245"/>
                <a:gd name="T50" fmla="*/ 185 w 232"/>
                <a:gd name="T51" fmla="*/ 237 h 245"/>
                <a:gd name="T52" fmla="*/ 162 w 232"/>
                <a:gd name="T53" fmla="*/ 236 h 245"/>
                <a:gd name="T54" fmla="*/ 139 w 232"/>
                <a:gd name="T55" fmla="*/ 241 h 245"/>
                <a:gd name="T56" fmla="*/ 122 w 232"/>
                <a:gd name="T57" fmla="*/ 243 h 245"/>
                <a:gd name="T58" fmla="*/ 102 w 232"/>
                <a:gd name="T59" fmla="*/ 241 h 245"/>
                <a:gd name="T60" fmla="*/ 87 w 232"/>
                <a:gd name="T61" fmla="*/ 236 h 245"/>
                <a:gd name="T62" fmla="*/ 76 w 232"/>
                <a:gd name="T63" fmla="*/ 231 h 245"/>
                <a:gd name="T64" fmla="*/ 63 w 232"/>
                <a:gd name="T65" fmla="*/ 237 h 245"/>
                <a:gd name="T66" fmla="*/ 51 w 232"/>
                <a:gd name="T67" fmla="*/ 234 h 245"/>
                <a:gd name="T68" fmla="*/ 51 w 232"/>
                <a:gd name="T69" fmla="*/ 213 h 245"/>
                <a:gd name="T70" fmla="*/ 55 w 232"/>
                <a:gd name="T71" fmla="*/ 194 h 245"/>
                <a:gd name="T72" fmla="*/ 36 w 232"/>
                <a:gd name="T73" fmla="*/ 191 h 245"/>
                <a:gd name="T74" fmla="*/ 21 w 232"/>
                <a:gd name="T75" fmla="*/ 186 h 245"/>
                <a:gd name="T76" fmla="*/ 12 w 232"/>
                <a:gd name="T77" fmla="*/ 171 h 245"/>
                <a:gd name="T78" fmla="*/ 6 w 232"/>
                <a:gd name="T79" fmla="*/ 152 h 245"/>
                <a:gd name="T80" fmla="*/ 1 w 232"/>
                <a:gd name="T81" fmla="*/ 133 h 245"/>
                <a:gd name="T82" fmla="*/ 3 w 232"/>
                <a:gd name="T83" fmla="*/ 113 h 245"/>
                <a:gd name="T84" fmla="*/ 24 w 232"/>
                <a:gd name="T85" fmla="*/ 104 h 245"/>
                <a:gd name="T86" fmla="*/ 30 w 232"/>
                <a:gd name="T87" fmla="*/ 89 h 245"/>
                <a:gd name="T88" fmla="*/ 21 w 232"/>
                <a:gd name="T89" fmla="*/ 82 h 245"/>
                <a:gd name="T90" fmla="*/ 32 w 232"/>
                <a:gd name="T91" fmla="*/ 73 h 245"/>
                <a:gd name="T92" fmla="*/ 37 w 232"/>
                <a:gd name="T93" fmla="*/ 62 h 245"/>
                <a:gd name="T94" fmla="*/ 28 w 232"/>
                <a:gd name="T95" fmla="*/ 52 h 245"/>
                <a:gd name="T96" fmla="*/ 51 w 232"/>
                <a:gd name="T97" fmla="*/ 46 h 245"/>
                <a:gd name="T98" fmla="*/ 55 w 232"/>
                <a:gd name="T99" fmla="*/ 51 h 245"/>
                <a:gd name="T100" fmla="*/ 63 w 232"/>
                <a:gd name="T101" fmla="*/ 54 h 245"/>
                <a:gd name="T102" fmla="*/ 64 w 232"/>
                <a:gd name="T103" fmla="*/ 45 h 245"/>
                <a:gd name="T104" fmla="*/ 82 w 232"/>
                <a:gd name="T105" fmla="*/ 39 h 245"/>
                <a:gd name="T106" fmla="*/ 83 w 232"/>
                <a:gd name="T107" fmla="*/ 37 h 245"/>
                <a:gd name="T108" fmla="*/ 76 w 232"/>
                <a:gd name="T109" fmla="*/ 30 h 245"/>
                <a:gd name="T110" fmla="*/ 67 w 232"/>
                <a:gd name="T111" fmla="*/ 18 h 245"/>
                <a:gd name="T112" fmla="*/ 70 w 232"/>
                <a:gd name="T113" fmla="*/ 7 h 245"/>
                <a:gd name="T114" fmla="*/ 64 w 232"/>
                <a:gd name="T115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2" h="245">
                  <a:moveTo>
                    <a:pt x="64" y="0"/>
                  </a:moveTo>
                  <a:lnTo>
                    <a:pt x="72" y="0"/>
                  </a:lnTo>
                  <a:lnTo>
                    <a:pt x="82" y="1"/>
                  </a:lnTo>
                  <a:lnTo>
                    <a:pt x="86" y="4"/>
                  </a:lnTo>
                  <a:lnTo>
                    <a:pt x="89" y="4"/>
                  </a:lnTo>
                  <a:lnTo>
                    <a:pt x="95" y="7"/>
                  </a:lnTo>
                  <a:lnTo>
                    <a:pt x="101" y="9"/>
                  </a:lnTo>
                  <a:lnTo>
                    <a:pt x="97" y="15"/>
                  </a:lnTo>
                  <a:lnTo>
                    <a:pt x="95" y="17"/>
                  </a:lnTo>
                  <a:lnTo>
                    <a:pt x="97" y="18"/>
                  </a:lnTo>
                  <a:lnTo>
                    <a:pt x="101" y="21"/>
                  </a:lnTo>
                  <a:lnTo>
                    <a:pt x="102" y="24"/>
                  </a:lnTo>
                  <a:lnTo>
                    <a:pt x="107" y="22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2" y="21"/>
                  </a:lnTo>
                  <a:lnTo>
                    <a:pt x="119" y="24"/>
                  </a:lnTo>
                  <a:lnTo>
                    <a:pt x="122" y="22"/>
                  </a:lnTo>
                  <a:lnTo>
                    <a:pt x="125" y="21"/>
                  </a:lnTo>
                  <a:lnTo>
                    <a:pt x="128" y="21"/>
                  </a:lnTo>
                  <a:lnTo>
                    <a:pt x="128" y="26"/>
                  </a:lnTo>
                  <a:lnTo>
                    <a:pt x="124" y="30"/>
                  </a:lnTo>
                  <a:lnTo>
                    <a:pt x="122" y="28"/>
                  </a:lnTo>
                  <a:lnTo>
                    <a:pt x="116" y="31"/>
                  </a:lnTo>
                  <a:lnTo>
                    <a:pt x="124" y="34"/>
                  </a:lnTo>
                  <a:lnTo>
                    <a:pt x="125" y="31"/>
                  </a:lnTo>
                  <a:lnTo>
                    <a:pt x="131" y="34"/>
                  </a:lnTo>
                  <a:lnTo>
                    <a:pt x="133" y="35"/>
                  </a:lnTo>
                  <a:lnTo>
                    <a:pt x="139" y="35"/>
                  </a:lnTo>
                  <a:lnTo>
                    <a:pt x="139" y="31"/>
                  </a:lnTo>
                  <a:lnTo>
                    <a:pt x="143" y="26"/>
                  </a:lnTo>
                  <a:lnTo>
                    <a:pt x="153" y="26"/>
                  </a:lnTo>
                  <a:lnTo>
                    <a:pt x="154" y="24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62" y="17"/>
                  </a:lnTo>
                  <a:lnTo>
                    <a:pt x="170" y="18"/>
                  </a:lnTo>
                  <a:lnTo>
                    <a:pt x="164" y="21"/>
                  </a:lnTo>
                  <a:lnTo>
                    <a:pt x="162" y="22"/>
                  </a:lnTo>
                  <a:lnTo>
                    <a:pt x="159" y="21"/>
                  </a:lnTo>
                  <a:lnTo>
                    <a:pt x="158" y="24"/>
                  </a:lnTo>
                  <a:lnTo>
                    <a:pt x="159" y="26"/>
                  </a:lnTo>
                  <a:lnTo>
                    <a:pt x="165" y="22"/>
                  </a:lnTo>
                  <a:lnTo>
                    <a:pt x="171" y="22"/>
                  </a:lnTo>
                  <a:lnTo>
                    <a:pt x="173" y="21"/>
                  </a:lnTo>
                  <a:lnTo>
                    <a:pt x="176" y="22"/>
                  </a:lnTo>
                  <a:lnTo>
                    <a:pt x="181" y="24"/>
                  </a:lnTo>
                  <a:lnTo>
                    <a:pt x="189" y="30"/>
                  </a:lnTo>
                  <a:lnTo>
                    <a:pt x="194" y="30"/>
                  </a:lnTo>
                  <a:lnTo>
                    <a:pt x="196" y="34"/>
                  </a:lnTo>
                  <a:lnTo>
                    <a:pt x="196" y="37"/>
                  </a:lnTo>
                  <a:lnTo>
                    <a:pt x="200" y="40"/>
                  </a:lnTo>
                  <a:lnTo>
                    <a:pt x="205" y="40"/>
                  </a:lnTo>
                  <a:lnTo>
                    <a:pt x="208" y="43"/>
                  </a:lnTo>
                  <a:lnTo>
                    <a:pt x="214" y="43"/>
                  </a:lnTo>
                  <a:lnTo>
                    <a:pt x="217" y="54"/>
                  </a:lnTo>
                  <a:lnTo>
                    <a:pt x="215" y="62"/>
                  </a:lnTo>
                  <a:lnTo>
                    <a:pt x="208" y="65"/>
                  </a:lnTo>
                  <a:lnTo>
                    <a:pt x="208" y="68"/>
                  </a:lnTo>
                  <a:lnTo>
                    <a:pt x="217" y="79"/>
                  </a:lnTo>
                  <a:lnTo>
                    <a:pt x="215" y="82"/>
                  </a:lnTo>
                  <a:lnTo>
                    <a:pt x="219" y="88"/>
                  </a:lnTo>
                  <a:lnTo>
                    <a:pt x="219" y="91"/>
                  </a:lnTo>
                  <a:lnTo>
                    <a:pt x="223" y="95"/>
                  </a:lnTo>
                  <a:lnTo>
                    <a:pt x="219" y="100"/>
                  </a:lnTo>
                  <a:lnTo>
                    <a:pt x="225" y="110"/>
                  </a:lnTo>
                  <a:lnTo>
                    <a:pt x="229" y="111"/>
                  </a:lnTo>
                  <a:lnTo>
                    <a:pt x="232" y="115"/>
                  </a:lnTo>
                  <a:lnTo>
                    <a:pt x="232" y="128"/>
                  </a:lnTo>
                  <a:lnTo>
                    <a:pt x="229" y="132"/>
                  </a:lnTo>
                  <a:lnTo>
                    <a:pt x="225" y="130"/>
                  </a:lnTo>
                  <a:lnTo>
                    <a:pt x="223" y="132"/>
                  </a:lnTo>
                  <a:lnTo>
                    <a:pt x="214" y="130"/>
                  </a:lnTo>
                  <a:lnTo>
                    <a:pt x="214" y="135"/>
                  </a:lnTo>
                  <a:lnTo>
                    <a:pt x="210" y="138"/>
                  </a:lnTo>
                  <a:lnTo>
                    <a:pt x="204" y="138"/>
                  </a:lnTo>
                  <a:lnTo>
                    <a:pt x="196" y="138"/>
                  </a:lnTo>
                  <a:lnTo>
                    <a:pt x="193" y="141"/>
                  </a:lnTo>
                  <a:lnTo>
                    <a:pt x="187" y="141"/>
                  </a:lnTo>
                  <a:lnTo>
                    <a:pt x="181" y="147"/>
                  </a:lnTo>
                  <a:lnTo>
                    <a:pt x="177" y="147"/>
                  </a:lnTo>
                  <a:lnTo>
                    <a:pt x="165" y="155"/>
                  </a:lnTo>
                  <a:lnTo>
                    <a:pt x="162" y="152"/>
                  </a:lnTo>
                  <a:lnTo>
                    <a:pt x="159" y="150"/>
                  </a:lnTo>
                  <a:lnTo>
                    <a:pt x="156" y="152"/>
                  </a:lnTo>
                  <a:lnTo>
                    <a:pt x="156" y="155"/>
                  </a:lnTo>
                  <a:lnTo>
                    <a:pt x="164" y="160"/>
                  </a:lnTo>
                  <a:lnTo>
                    <a:pt x="170" y="167"/>
                  </a:lnTo>
                  <a:lnTo>
                    <a:pt x="170" y="174"/>
                  </a:lnTo>
                  <a:lnTo>
                    <a:pt x="171" y="178"/>
                  </a:lnTo>
                  <a:lnTo>
                    <a:pt x="177" y="180"/>
                  </a:lnTo>
                  <a:lnTo>
                    <a:pt x="187" y="186"/>
                  </a:lnTo>
                  <a:lnTo>
                    <a:pt x="193" y="189"/>
                  </a:lnTo>
                  <a:lnTo>
                    <a:pt x="204" y="200"/>
                  </a:lnTo>
                  <a:lnTo>
                    <a:pt x="202" y="205"/>
                  </a:lnTo>
                  <a:lnTo>
                    <a:pt x="202" y="209"/>
                  </a:lnTo>
                  <a:lnTo>
                    <a:pt x="199" y="209"/>
                  </a:lnTo>
                  <a:lnTo>
                    <a:pt x="194" y="214"/>
                  </a:lnTo>
                  <a:lnTo>
                    <a:pt x="189" y="217"/>
                  </a:lnTo>
                  <a:lnTo>
                    <a:pt x="181" y="226"/>
                  </a:lnTo>
                  <a:lnTo>
                    <a:pt x="181" y="228"/>
                  </a:lnTo>
                  <a:lnTo>
                    <a:pt x="187" y="231"/>
                  </a:lnTo>
                  <a:lnTo>
                    <a:pt x="189" y="236"/>
                  </a:lnTo>
                  <a:lnTo>
                    <a:pt x="185" y="237"/>
                  </a:lnTo>
                  <a:lnTo>
                    <a:pt x="179" y="236"/>
                  </a:lnTo>
                  <a:lnTo>
                    <a:pt x="173" y="237"/>
                  </a:lnTo>
                  <a:lnTo>
                    <a:pt x="168" y="236"/>
                  </a:lnTo>
                  <a:lnTo>
                    <a:pt x="162" y="236"/>
                  </a:lnTo>
                  <a:lnTo>
                    <a:pt x="154" y="241"/>
                  </a:lnTo>
                  <a:lnTo>
                    <a:pt x="148" y="241"/>
                  </a:lnTo>
                  <a:lnTo>
                    <a:pt x="144" y="241"/>
                  </a:lnTo>
                  <a:lnTo>
                    <a:pt x="139" y="241"/>
                  </a:lnTo>
                  <a:lnTo>
                    <a:pt x="135" y="239"/>
                  </a:lnTo>
                  <a:lnTo>
                    <a:pt x="128" y="237"/>
                  </a:lnTo>
                  <a:lnTo>
                    <a:pt x="119" y="239"/>
                  </a:lnTo>
                  <a:lnTo>
                    <a:pt x="122" y="243"/>
                  </a:lnTo>
                  <a:lnTo>
                    <a:pt x="119" y="245"/>
                  </a:lnTo>
                  <a:lnTo>
                    <a:pt x="112" y="243"/>
                  </a:lnTo>
                  <a:lnTo>
                    <a:pt x="108" y="239"/>
                  </a:lnTo>
                  <a:lnTo>
                    <a:pt x="102" y="241"/>
                  </a:lnTo>
                  <a:lnTo>
                    <a:pt x="101" y="241"/>
                  </a:lnTo>
                  <a:lnTo>
                    <a:pt x="98" y="241"/>
                  </a:lnTo>
                  <a:lnTo>
                    <a:pt x="95" y="241"/>
                  </a:lnTo>
                  <a:lnTo>
                    <a:pt x="87" y="236"/>
                  </a:lnTo>
                  <a:lnTo>
                    <a:pt x="83" y="236"/>
                  </a:lnTo>
                  <a:lnTo>
                    <a:pt x="82" y="237"/>
                  </a:lnTo>
                  <a:lnTo>
                    <a:pt x="78" y="237"/>
                  </a:lnTo>
                  <a:lnTo>
                    <a:pt x="76" y="231"/>
                  </a:lnTo>
                  <a:lnTo>
                    <a:pt x="70" y="234"/>
                  </a:lnTo>
                  <a:lnTo>
                    <a:pt x="72" y="237"/>
                  </a:lnTo>
                  <a:lnTo>
                    <a:pt x="69" y="239"/>
                  </a:lnTo>
                  <a:lnTo>
                    <a:pt x="63" y="237"/>
                  </a:lnTo>
                  <a:lnTo>
                    <a:pt x="57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1" y="234"/>
                  </a:lnTo>
                  <a:lnTo>
                    <a:pt x="46" y="231"/>
                  </a:lnTo>
                  <a:lnTo>
                    <a:pt x="46" y="225"/>
                  </a:lnTo>
                  <a:lnTo>
                    <a:pt x="47" y="214"/>
                  </a:lnTo>
                  <a:lnTo>
                    <a:pt x="51" y="213"/>
                  </a:lnTo>
                  <a:lnTo>
                    <a:pt x="51" y="209"/>
                  </a:lnTo>
                  <a:lnTo>
                    <a:pt x="55" y="202"/>
                  </a:lnTo>
                  <a:lnTo>
                    <a:pt x="61" y="196"/>
                  </a:lnTo>
                  <a:lnTo>
                    <a:pt x="55" y="194"/>
                  </a:lnTo>
                  <a:lnTo>
                    <a:pt x="51" y="194"/>
                  </a:lnTo>
                  <a:lnTo>
                    <a:pt x="43" y="189"/>
                  </a:lnTo>
                  <a:lnTo>
                    <a:pt x="4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26" y="191"/>
                  </a:lnTo>
                  <a:lnTo>
                    <a:pt x="21" y="188"/>
                  </a:lnTo>
                  <a:lnTo>
                    <a:pt x="21" y="186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7" y="174"/>
                  </a:lnTo>
                  <a:lnTo>
                    <a:pt x="12" y="171"/>
                  </a:lnTo>
                  <a:lnTo>
                    <a:pt x="11" y="167"/>
                  </a:lnTo>
                  <a:lnTo>
                    <a:pt x="5" y="160"/>
                  </a:lnTo>
                  <a:lnTo>
                    <a:pt x="3" y="160"/>
                  </a:lnTo>
                  <a:lnTo>
                    <a:pt x="6" y="152"/>
                  </a:lnTo>
                  <a:lnTo>
                    <a:pt x="3" y="149"/>
                  </a:lnTo>
                  <a:lnTo>
                    <a:pt x="3" y="144"/>
                  </a:lnTo>
                  <a:lnTo>
                    <a:pt x="0" y="138"/>
                  </a:lnTo>
                  <a:lnTo>
                    <a:pt x="1" y="133"/>
                  </a:lnTo>
                  <a:lnTo>
                    <a:pt x="0" y="133"/>
                  </a:lnTo>
                  <a:lnTo>
                    <a:pt x="3" y="128"/>
                  </a:lnTo>
                  <a:lnTo>
                    <a:pt x="5" y="121"/>
                  </a:lnTo>
                  <a:lnTo>
                    <a:pt x="3" y="113"/>
                  </a:lnTo>
                  <a:lnTo>
                    <a:pt x="6" y="110"/>
                  </a:lnTo>
                  <a:lnTo>
                    <a:pt x="9" y="104"/>
                  </a:lnTo>
                  <a:lnTo>
                    <a:pt x="17" y="102"/>
                  </a:lnTo>
                  <a:lnTo>
                    <a:pt x="24" y="104"/>
                  </a:lnTo>
                  <a:lnTo>
                    <a:pt x="28" y="102"/>
                  </a:lnTo>
                  <a:lnTo>
                    <a:pt x="24" y="97"/>
                  </a:lnTo>
                  <a:lnTo>
                    <a:pt x="28" y="95"/>
                  </a:lnTo>
                  <a:lnTo>
                    <a:pt x="30" y="89"/>
                  </a:lnTo>
                  <a:lnTo>
                    <a:pt x="32" y="88"/>
                  </a:lnTo>
                  <a:lnTo>
                    <a:pt x="28" y="85"/>
                  </a:lnTo>
                  <a:lnTo>
                    <a:pt x="23" y="85"/>
                  </a:lnTo>
                  <a:lnTo>
                    <a:pt x="21" y="82"/>
                  </a:lnTo>
                  <a:lnTo>
                    <a:pt x="23" y="76"/>
                  </a:lnTo>
                  <a:lnTo>
                    <a:pt x="28" y="80"/>
                  </a:lnTo>
                  <a:lnTo>
                    <a:pt x="32" y="76"/>
                  </a:lnTo>
                  <a:lnTo>
                    <a:pt x="32" y="73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7" y="63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6" y="57"/>
                  </a:lnTo>
                  <a:lnTo>
                    <a:pt x="30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41" y="45"/>
                  </a:lnTo>
                  <a:lnTo>
                    <a:pt x="46" y="43"/>
                  </a:lnTo>
                  <a:lnTo>
                    <a:pt x="51" y="46"/>
                  </a:lnTo>
                  <a:lnTo>
                    <a:pt x="51" y="52"/>
                  </a:lnTo>
                  <a:lnTo>
                    <a:pt x="55" y="57"/>
                  </a:lnTo>
                  <a:lnTo>
                    <a:pt x="58" y="54"/>
                  </a:lnTo>
                  <a:lnTo>
                    <a:pt x="55" y="51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8"/>
                  </a:lnTo>
                  <a:lnTo>
                    <a:pt x="63" y="54"/>
                  </a:lnTo>
                  <a:lnTo>
                    <a:pt x="69" y="62"/>
                  </a:lnTo>
                  <a:lnTo>
                    <a:pt x="64" y="56"/>
                  </a:lnTo>
                  <a:lnTo>
                    <a:pt x="64" y="48"/>
                  </a:lnTo>
                  <a:lnTo>
                    <a:pt x="64" y="45"/>
                  </a:lnTo>
                  <a:lnTo>
                    <a:pt x="69" y="40"/>
                  </a:lnTo>
                  <a:lnTo>
                    <a:pt x="72" y="39"/>
                  </a:lnTo>
                  <a:lnTo>
                    <a:pt x="76" y="40"/>
                  </a:lnTo>
                  <a:lnTo>
                    <a:pt x="82" y="39"/>
                  </a:lnTo>
                  <a:lnTo>
                    <a:pt x="92" y="48"/>
                  </a:lnTo>
                  <a:lnTo>
                    <a:pt x="102" y="51"/>
                  </a:lnTo>
                  <a:lnTo>
                    <a:pt x="92" y="46"/>
                  </a:lnTo>
                  <a:lnTo>
                    <a:pt x="83" y="37"/>
                  </a:lnTo>
                  <a:lnTo>
                    <a:pt x="76" y="37"/>
                  </a:lnTo>
                  <a:lnTo>
                    <a:pt x="72" y="35"/>
                  </a:lnTo>
                  <a:lnTo>
                    <a:pt x="72" y="31"/>
                  </a:lnTo>
                  <a:lnTo>
                    <a:pt x="76" y="30"/>
                  </a:lnTo>
                  <a:lnTo>
                    <a:pt x="72" y="26"/>
                  </a:lnTo>
                  <a:lnTo>
                    <a:pt x="72" y="21"/>
                  </a:lnTo>
                  <a:lnTo>
                    <a:pt x="67" y="22"/>
                  </a:lnTo>
                  <a:lnTo>
                    <a:pt x="67" y="18"/>
                  </a:lnTo>
                  <a:lnTo>
                    <a:pt x="72" y="18"/>
                  </a:lnTo>
                  <a:lnTo>
                    <a:pt x="76" y="17"/>
                  </a:lnTo>
                  <a:lnTo>
                    <a:pt x="70" y="12"/>
                  </a:lnTo>
                  <a:lnTo>
                    <a:pt x="70" y="7"/>
                  </a:lnTo>
                  <a:lnTo>
                    <a:pt x="69" y="7"/>
                  </a:lnTo>
                  <a:lnTo>
                    <a:pt x="64" y="6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8" name="Freeform 61"/>
            <p:cNvSpPr>
              <a:spLocks/>
            </p:cNvSpPr>
            <p:nvPr/>
          </p:nvSpPr>
          <p:spPr bwMode="auto">
            <a:xfrm>
              <a:off x="5838826" y="3109913"/>
              <a:ext cx="7938" cy="9525"/>
            </a:xfrm>
            <a:custGeom>
              <a:avLst/>
              <a:gdLst>
                <a:gd name="T0" fmla="*/ 1 w 5"/>
                <a:gd name="T1" fmla="*/ 0 h 6"/>
                <a:gd name="T2" fmla="*/ 5 w 5"/>
                <a:gd name="T3" fmla="*/ 3 h 6"/>
                <a:gd name="T4" fmla="*/ 5 w 5"/>
                <a:gd name="T5" fmla="*/ 6 h 6"/>
                <a:gd name="T6" fmla="*/ 1 w 5"/>
                <a:gd name="T7" fmla="*/ 6 h 6"/>
                <a:gd name="T8" fmla="*/ 0 w 5"/>
                <a:gd name="T9" fmla="*/ 3 h 6"/>
                <a:gd name="T10" fmla="*/ 1 w 5"/>
                <a:gd name="T11" fmla="*/ 1 h 6"/>
                <a:gd name="T12" fmla="*/ 1 w 5"/>
                <a:gd name="T13" fmla="*/ 0 h 6"/>
                <a:gd name="T14" fmla="*/ 1 w 5"/>
                <a:gd name="T15" fmla="*/ 0 h 6"/>
                <a:gd name="T16" fmla="*/ 1 w 5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">
                  <a:moveTo>
                    <a:pt x="1" y="0"/>
                  </a:moveTo>
                  <a:lnTo>
                    <a:pt x="5" y="3"/>
                  </a:lnTo>
                  <a:lnTo>
                    <a:pt x="5" y="6"/>
                  </a:lnTo>
                  <a:lnTo>
                    <a:pt x="1" y="6"/>
                  </a:lnTo>
                  <a:lnTo>
                    <a:pt x="0" y="3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9" name="Freeform 62"/>
            <p:cNvSpPr>
              <a:spLocks/>
            </p:cNvSpPr>
            <p:nvPr/>
          </p:nvSpPr>
          <p:spPr bwMode="auto">
            <a:xfrm>
              <a:off x="5686426" y="3084513"/>
              <a:ext cx="195263" cy="98425"/>
            </a:xfrm>
            <a:custGeom>
              <a:avLst/>
              <a:gdLst>
                <a:gd name="T0" fmla="*/ 51 w 123"/>
                <a:gd name="T1" fmla="*/ 8 h 62"/>
                <a:gd name="T2" fmla="*/ 62 w 123"/>
                <a:gd name="T3" fmla="*/ 8 h 62"/>
                <a:gd name="T4" fmla="*/ 64 w 123"/>
                <a:gd name="T5" fmla="*/ 2 h 62"/>
                <a:gd name="T6" fmla="*/ 72 w 123"/>
                <a:gd name="T7" fmla="*/ 5 h 62"/>
                <a:gd name="T8" fmla="*/ 77 w 123"/>
                <a:gd name="T9" fmla="*/ 5 h 62"/>
                <a:gd name="T10" fmla="*/ 89 w 123"/>
                <a:gd name="T11" fmla="*/ 10 h 62"/>
                <a:gd name="T12" fmla="*/ 96 w 123"/>
                <a:gd name="T13" fmla="*/ 17 h 62"/>
                <a:gd name="T14" fmla="*/ 96 w 123"/>
                <a:gd name="T15" fmla="*/ 22 h 62"/>
                <a:gd name="T16" fmla="*/ 106 w 123"/>
                <a:gd name="T17" fmla="*/ 21 h 62"/>
                <a:gd name="T18" fmla="*/ 117 w 123"/>
                <a:gd name="T19" fmla="*/ 22 h 62"/>
                <a:gd name="T20" fmla="*/ 123 w 123"/>
                <a:gd name="T21" fmla="*/ 26 h 62"/>
                <a:gd name="T22" fmla="*/ 121 w 123"/>
                <a:gd name="T23" fmla="*/ 40 h 62"/>
                <a:gd name="T24" fmla="*/ 107 w 123"/>
                <a:gd name="T25" fmla="*/ 51 h 62"/>
                <a:gd name="T26" fmla="*/ 98 w 123"/>
                <a:gd name="T27" fmla="*/ 48 h 62"/>
                <a:gd name="T28" fmla="*/ 87 w 123"/>
                <a:gd name="T29" fmla="*/ 51 h 62"/>
                <a:gd name="T30" fmla="*/ 80 w 123"/>
                <a:gd name="T31" fmla="*/ 55 h 62"/>
                <a:gd name="T32" fmla="*/ 72 w 123"/>
                <a:gd name="T33" fmla="*/ 46 h 62"/>
                <a:gd name="T34" fmla="*/ 55 w 123"/>
                <a:gd name="T35" fmla="*/ 57 h 62"/>
                <a:gd name="T36" fmla="*/ 35 w 123"/>
                <a:gd name="T37" fmla="*/ 62 h 62"/>
                <a:gd name="T38" fmla="*/ 29 w 123"/>
                <a:gd name="T39" fmla="*/ 55 h 62"/>
                <a:gd name="T40" fmla="*/ 23 w 123"/>
                <a:gd name="T41" fmla="*/ 48 h 62"/>
                <a:gd name="T42" fmla="*/ 12 w 123"/>
                <a:gd name="T43" fmla="*/ 43 h 62"/>
                <a:gd name="T44" fmla="*/ 12 w 123"/>
                <a:gd name="T45" fmla="*/ 51 h 62"/>
                <a:gd name="T46" fmla="*/ 0 w 123"/>
                <a:gd name="T47" fmla="*/ 54 h 62"/>
                <a:gd name="T48" fmla="*/ 1 w 123"/>
                <a:gd name="T49" fmla="*/ 48 h 62"/>
                <a:gd name="T50" fmla="*/ 6 w 123"/>
                <a:gd name="T51" fmla="*/ 43 h 62"/>
                <a:gd name="T52" fmla="*/ 12 w 123"/>
                <a:gd name="T53" fmla="*/ 26 h 62"/>
                <a:gd name="T54" fmla="*/ 22 w 123"/>
                <a:gd name="T55" fmla="*/ 18 h 62"/>
                <a:gd name="T56" fmla="*/ 28 w 123"/>
                <a:gd name="T57" fmla="*/ 13 h 62"/>
                <a:gd name="T58" fmla="*/ 23 w 123"/>
                <a:gd name="T59" fmla="*/ 5 h 62"/>
                <a:gd name="T60" fmla="*/ 34 w 123"/>
                <a:gd name="T61" fmla="*/ 10 h 62"/>
                <a:gd name="T62" fmla="*/ 47 w 123"/>
                <a:gd name="T63" fmla="*/ 8 h 62"/>
                <a:gd name="T64" fmla="*/ 47 w 123"/>
                <a:gd name="T65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" h="62">
                  <a:moveTo>
                    <a:pt x="47" y="8"/>
                  </a:moveTo>
                  <a:lnTo>
                    <a:pt x="51" y="8"/>
                  </a:lnTo>
                  <a:lnTo>
                    <a:pt x="57" y="5"/>
                  </a:lnTo>
                  <a:lnTo>
                    <a:pt x="62" y="8"/>
                  </a:lnTo>
                  <a:lnTo>
                    <a:pt x="66" y="5"/>
                  </a:lnTo>
                  <a:lnTo>
                    <a:pt x="64" y="2"/>
                  </a:lnTo>
                  <a:lnTo>
                    <a:pt x="70" y="0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81" y="5"/>
                  </a:lnTo>
                  <a:lnTo>
                    <a:pt x="89" y="10"/>
                  </a:lnTo>
                  <a:lnTo>
                    <a:pt x="96" y="11"/>
                  </a:lnTo>
                  <a:lnTo>
                    <a:pt x="96" y="17"/>
                  </a:lnTo>
                  <a:lnTo>
                    <a:pt x="95" y="18"/>
                  </a:lnTo>
                  <a:lnTo>
                    <a:pt x="96" y="22"/>
                  </a:lnTo>
                  <a:lnTo>
                    <a:pt x="102" y="22"/>
                  </a:lnTo>
                  <a:lnTo>
                    <a:pt x="106" y="21"/>
                  </a:lnTo>
                  <a:lnTo>
                    <a:pt x="112" y="26"/>
                  </a:lnTo>
                  <a:lnTo>
                    <a:pt x="117" y="22"/>
                  </a:lnTo>
                  <a:lnTo>
                    <a:pt x="121" y="22"/>
                  </a:lnTo>
                  <a:lnTo>
                    <a:pt x="123" y="26"/>
                  </a:lnTo>
                  <a:lnTo>
                    <a:pt x="117" y="31"/>
                  </a:lnTo>
                  <a:lnTo>
                    <a:pt x="121" y="40"/>
                  </a:lnTo>
                  <a:lnTo>
                    <a:pt x="110" y="43"/>
                  </a:lnTo>
                  <a:lnTo>
                    <a:pt x="107" y="51"/>
                  </a:lnTo>
                  <a:lnTo>
                    <a:pt x="104" y="48"/>
                  </a:lnTo>
                  <a:lnTo>
                    <a:pt x="98" y="48"/>
                  </a:lnTo>
                  <a:lnTo>
                    <a:pt x="87" y="43"/>
                  </a:lnTo>
                  <a:lnTo>
                    <a:pt x="87" y="51"/>
                  </a:lnTo>
                  <a:lnTo>
                    <a:pt x="81" y="60"/>
                  </a:lnTo>
                  <a:lnTo>
                    <a:pt x="80" y="55"/>
                  </a:lnTo>
                  <a:lnTo>
                    <a:pt x="70" y="51"/>
                  </a:lnTo>
                  <a:lnTo>
                    <a:pt x="72" y="46"/>
                  </a:lnTo>
                  <a:lnTo>
                    <a:pt x="64" y="43"/>
                  </a:lnTo>
                  <a:lnTo>
                    <a:pt x="55" y="57"/>
                  </a:lnTo>
                  <a:lnTo>
                    <a:pt x="47" y="55"/>
                  </a:lnTo>
                  <a:lnTo>
                    <a:pt x="35" y="62"/>
                  </a:lnTo>
                  <a:lnTo>
                    <a:pt x="29" y="59"/>
                  </a:lnTo>
                  <a:lnTo>
                    <a:pt x="29" y="55"/>
                  </a:lnTo>
                  <a:lnTo>
                    <a:pt x="26" y="54"/>
                  </a:lnTo>
                  <a:lnTo>
                    <a:pt x="23" y="48"/>
                  </a:lnTo>
                  <a:lnTo>
                    <a:pt x="22" y="43"/>
                  </a:lnTo>
                  <a:lnTo>
                    <a:pt x="12" y="43"/>
                  </a:lnTo>
                  <a:lnTo>
                    <a:pt x="9" y="46"/>
                  </a:lnTo>
                  <a:lnTo>
                    <a:pt x="12" y="51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1" y="48"/>
                  </a:lnTo>
                  <a:lnTo>
                    <a:pt x="6" y="48"/>
                  </a:lnTo>
                  <a:lnTo>
                    <a:pt x="6" y="43"/>
                  </a:lnTo>
                  <a:lnTo>
                    <a:pt x="7" y="37"/>
                  </a:lnTo>
                  <a:lnTo>
                    <a:pt x="12" y="26"/>
                  </a:lnTo>
                  <a:lnTo>
                    <a:pt x="18" y="26"/>
                  </a:lnTo>
                  <a:lnTo>
                    <a:pt x="22" y="18"/>
                  </a:lnTo>
                  <a:lnTo>
                    <a:pt x="28" y="17"/>
                  </a:lnTo>
                  <a:lnTo>
                    <a:pt x="28" y="13"/>
                  </a:lnTo>
                  <a:lnTo>
                    <a:pt x="22" y="10"/>
                  </a:lnTo>
                  <a:lnTo>
                    <a:pt x="23" y="5"/>
                  </a:lnTo>
                  <a:lnTo>
                    <a:pt x="32" y="5"/>
                  </a:lnTo>
                  <a:lnTo>
                    <a:pt x="34" y="10"/>
                  </a:lnTo>
                  <a:lnTo>
                    <a:pt x="37" y="10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0" name="Freeform 63"/>
            <p:cNvSpPr>
              <a:spLocks noEditPoints="1"/>
            </p:cNvSpPr>
            <p:nvPr/>
          </p:nvSpPr>
          <p:spPr bwMode="auto">
            <a:xfrm>
              <a:off x="5580063" y="2801938"/>
              <a:ext cx="160338" cy="127000"/>
            </a:xfrm>
            <a:custGeom>
              <a:avLst/>
              <a:gdLst>
                <a:gd name="T0" fmla="*/ 66 w 101"/>
                <a:gd name="T1" fmla="*/ 74 h 80"/>
                <a:gd name="T2" fmla="*/ 66 w 101"/>
                <a:gd name="T3" fmla="*/ 59 h 80"/>
                <a:gd name="T4" fmla="*/ 72 w 101"/>
                <a:gd name="T5" fmla="*/ 50 h 80"/>
                <a:gd name="T6" fmla="*/ 87 w 101"/>
                <a:gd name="T7" fmla="*/ 50 h 80"/>
                <a:gd name="T8" fmla="*/ 87 w 101"/>
                <a:gd name="T9" fmla="*/ 43 h 80"/>
                <a:gd name="T10" fmla="*/ 93 w 101"/>
                <a:gd name="T11" fmla="*/ 36 h 80"/>
                <a:gd name="T12" fmla="*/ 92 w 101"/>
                <a:gd name="T13" fmla="*/ 31 h 80"/>
                <a:gd name="T14" fmla="*/ 83 w 101"/>
                <a:gd name="T15" fmla="*/ 28 h 80"/>
                <a:gd name="T16" fmla="*/ 92 w 101"/>
                <a:gd name="T17" fmla="*/ 26 h 80"/>
                <a:gd name="T18" fmla="*/ 95 w 101"/>
                <a:gd name="T19" fmla="*/ 19 h 80"/>
                <a:gd name="T20" fmla="*/ 99 w 101"/>
                <a:gd name="T21" fmla="*/ 11 h 80"/>
                <a:gd name="T22" fmla="*/ 101 w 101"/>
                <a:gd name="T23" fmla="*/ 8 h 80"/>
                <a:gd name="T24" fmla="*/ 92 w 101"/>
                <a:gd name="T25" fmla="*/ 3 h 80"/>
                <a:gd name="T26" fmla="*/ 74 w 101"/>
                <a:gd name="T27" fmla="*/ 0 h 80"/>
                <a:gd name="T28" fmla="*/ 64 w 101"/>
                <a:gd name="T29" fmla="*/ 2 h 80"/>
                <a:gd name="T30" fmla="*/ 54 w 101"/>
                <a:gd name="T31" fmla="*/ 3 h 80"/>
                <a:gd name="T32" fmla="*/ 38 w 101"/>
                <a:gd name="T33" fmla="*/ 14 h 80"/>
                <a:gd name="T34" fmla="*/ 29 w 101"/>
                <a:gd name="T35" fmla="*/ 17 h 80"/>
                <a:gd name="T36" fmla="*/ 23 w 101"/>
                <a:gd name="T37" fmla="*/ 26 h 80"/>
                <a:gd name="T38" fmla="*/ 24 w 101"/>
                <a:gd name="T39" fmla="*/ 37 h 80"/>
                <a:gd name="T40" fmla="*/ 18 w 101"/>
                <a:gd name="T41" fmla="*/ 45 h 80"/>
                <a:gd name="T42" fmla="*/ 15 w 101"/>
                <a:gd name="T43" fmla="*/ 50 h 80"/>
                <a:gd name="T44" fmla="*/ 29 w 101"/>
                <a:gd name="T45" fmla="*/ 58 h 80"/>
                <a:gd name="T46" fmla="*/ 18 w 101"/>
                <a:gd name="T47" fmla="*/ 59 h 80"/>
                <a:gd name="T48" fmla="*/ 18 w 101"/>
                <a:gd name="T49" fmla="*/ 63 h 80"/>
                <a:gd name="T50" fmla="*/ 23 w 101"/>
                <a:gd name="T51" fmla="*/ 68 h 80"/>
                <a:gd name="T52" fmla="*/ 12 w 101"/>
                <a:gd name="T53" fmla="*/ 62 h 80"/>
                <a:gd name="T54" fmla="*/ 3 w 101"/>
                <a:gd name="T55" fmla="*/ 62 h 80"/>
                <a:gd name="T56" fmla="*/ 9 w 101"/>
                <a:gd name="T57" fmla="*/ 65 h 80"/>
                <a:gd name="T58" fmla="*/ 15 w 101"/>
                <a:gd name="T59" fmla="*/ 68 h 80"/>
                <a:gd name="T60" fmla="*/ 15 w 101"/>
                <a:gd name="T61" fmla="*/ 69 h 80"/>
                <a:gd name="T62" fmla="*/ 3 w 101"/>
                <a:gd name="T63" fmla="*/ 68 h 80"/>
                <a:gd name="T64" fmla="*/ 0 w 101"/>
                <a:gd name="T65" fmla="*/ 68 h 80"/>
                <a:gd name="T66" fmla="*/ 6 w 101"/>
                <a:gd name="T67" fmla="*/ 73 h 80"/>
                <a:gd name="T68" fmla="*/ 11 w 101"/>
                <a:gd name="T69" fmla="*/ 74 h 80"/>
                <a:gd name="T70" fmla="*/ 21 w 101"/>
                <a:gd name="T71" fmla="*/ 71 h 80"/>
                <a:gd name="T72" fmla="*/ 27 w 101"/>
                <a:gd name="T73" fmla="*/ 69 h 80"/>
                <a:gd name="T74" fmla="*/ 36 w 101"/>
                <a:gd name="T75" fmla="*/ 65 h 80"/>
                <a:gd name="T76" fmla="*/ 44 w 101"/>
                <a:gd name="T77" fmla="*/ 69 h 80"/>
                <a:gd name="T78" fmla="*/ 56 w 101"/>
                <a:gd name="T79" fmla="*/ 71 h 80"/>
                <a:gd name="T80" fmla="*/ 58 w 101"/>
                <a:gd name="T81" fmla="*/ 79 h 80"/>
                <a:gd name="T82" fmla="*/ 62 w 101"/>
                <a:gd name="T83" fmla="*/ 80 h 80"/>
                <a:gd name="T84" fmla="*/ 62 w 101"/>
                <a:gd name="T85" fmla="*/ 80 h 80"/>
                <a:gd name="T86" fmla="*/ 12 w 101"/>
                <a:gd name="T87" fmla="*/ 58 h 80"/>
                <a:gd name="T88" fmla="*/ 12 w 101"/>
                <a:gd name="T89" fmla="*/ 59 h 80"/>
                <a:gd name="T90" fmla="*/ 9 w 101"/>
                <a:gd name="T91" fmla="*/ 59 h 80"/>
                <a:gd name="T92" fmla="*/ 9 w 101"/>
                <a:gd name="T93" fmla="*/ 59 h 80"/>
                <a:gd name="T94" fmla="*/ 11 w 101"/>
                <a:gd name="T95" fmla="*/ 54 h 80"/>
                <a:gd name="T96" fmla="*/ 21 w 101"/>
                <a:gd name="T97" fmla="*/ 56 h 80"/>
                <a:gd name="T98" fmla="*/ 15 w 101"/>
                <a:gd name="T99" fmla="*/ 56 h 80"/>
                <a:gd name="T100" fmla="*/ 11 w 101"/>
                <a:gd name="T101" fmla="*/ 56 h 80"/>
                <a:gd name="T102" fmla="*/ 11 w 101"/>
                <a:gd name="T103" fmla="*/ 5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1" h="80">
                  <a:moveTo>
                    <a:pt x="62" y="80"/>
                  </a:moveTo>
                  <a:lnTo>
                    <a:pt x="66" y="74"/>
                  </a:lnTo>
                  <a:lnTo>
                    <a:pt x="68" y="68"/>
                  </a:lnTo>
                  <a:lnTo>
                    <a:pt x="66" y="59"/>
                  </a:lnTo>
                  <a:lnTo>
                    <a:pt x="70" y="56"/>
                  </a:lnTo>
                  <a:lnTo>
                    <a:pt x="72" y="50"/>
                  </a:lnTo>
                  <a:lnTo>
                    <a:pt x="80" y="49"/>
                  </a:lnTo>
                  <a:lnTo>
                    <a:pt x="87" y="50"/>
                  </a:lnTo>
                  <a:lnTo>
                    <a:pt x="92" y="49"/>
                  </a:lnTo>
                  <a:lnTo>
                    <a:pt x="87" y="43"/>
                  </a:lnTo>
                  <a:lnTo>
                    <a:pt x="92" y="41"/>
                  </a:lnTo>
                  <a:lnTo>
                    <a:pt x="93" y="36"/>
                  </a:lnTo>
                  <a:lnTo>
                    <a:pt x="95" y="34"/>
                  </a:lnTo>
                  <a:lnTo>
                    <a:pt x="92" y="31"/>
                  </a:lnTo>
                  <a:lnTo>
                    <a:pt x="86" y="31"/>
                  </a:lnTo>
                  <a:lnTo>
                    <a:pt x="83" y="28"/>
                  </a:lnTo>
                  <a:lnTo>
                    <a:pt x="86" y="22"/>
                  </a:lnTo>
                  <a:lnTo>
                    <a:pt x="92" y="26"/>
                  </a:lnTo>
                  <a:lnTo>
                    <a:pt x="95" y="22"/>
                  </a:lnTo>
                  <a:lnTo>
                    <a:pt x="95" y="19"/>
                  </a:lnTo>
                  <a:lnTo>
                    <a:pt x="99" y="13"/>
                  </a:lnTo>
                  <a:lnTo>
                    <a:pt x="99" y="11"/>
                  </a:lnTo>
                  <a:lnTo>
                    <a:pt x="101" y="9"/>
                  </a:lnTo>
                  <a:lnTo>
                    <a:pt x="101" y="8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4" y="0"/>
                  </a:lnTo>
                  <a:lnTo>
                    <a:pt x="70" y="3"/>
                  </a:lnTo>
                  <a:lnTo>
                    <a:pt x="64" y="2"/>
                  </a:lnTo>
                  <a:lnTo>
                    <a:pt x="62" y="3"/>
                  </a:lnTo>
                  <a:lnTo>
                    <a:pt x="54" y="3"/>
                  </a:lnTo>
                  <a:lnTo>
                    <a:pt x="48" y="11"/>
                  </a:lnTo>
                  <a:lnTo>
                    <a:pt x="38" y="14"/>
                  </a:lnTo>
                  <a:lnTo>
                    <a:pt x="36" y="14"/>
                  </a:lnTo>
                  <a:lnTo>
                    <a:pt x="29" y="17"/>
                  </a:lnTo>
                  <a:lnTo>
                    <a:pt x="29" y="22"/>
                  </a:lnTo>
                  <a:lnTo>
                    <a:pt x="23" y="26"/>
                  </a:lnTo>
                  <a:lnTo>
                    <a:pt x="24" y="31"/>
                  </a:lnTo>
                  <a:lnTo>
                    <a:pt x="24" y="37"/>
                  </a:lnTo>
                  <a:lnTo>
                    <a:pt x="21" y="41"/>
                  </a:lnTo>
                  <a:lnTo>
                    <a:pt x="18" y="45"/>
                  </a:lnTo>
                  <a:lnTo>
                    <a:pt x="15" y="46"/>
                  </a:lnTo>
                  <a:lnTo>
                    <a:pt x="15" y="50"/>
                  </a:lnTo>
                  <a:lnTo>
                    <a:pt x="23" y="56"/>
                  </a:lnTo>
                  <a:lnTo>
                    <a:pt x="29" y="58"/>
                  </a:lnTo>
                  <a:lnTo>
                    <a:pt x="21" y="58"/>
                  </a:lnTo>
                  <a:lnTo>
                    <a:pt x="18" y="59"/>
                  </a:lnTo>
                  <a:lnTo>
                    <a:pt x="17" y="62"/>
                  </a:lnTo>
                  <a:lnTo>
                    <a:pt x="18" y="63"/>
                  </a:lnTo>
                  <a:lnTo>
                    <a:pt x="23" y="63"/>
                  </a:lnTo>
                  <a:lnTo>
                    <a:pt x="23" y="68"/>
                  </a:lnTo>
                  <a:lnTo>
                    <a:pt x="17" y="68"/>
                  </a:lnTo>
                  <a:lnTo>
                    <a:pt x="12" y="62"/>
                  </a:lnTo>
                  <a:lnTo>
                    <a:pt x="7" y="59"/>
                  </a:lnTo>
                  <a:lnTo>
                    <a:pt x="3" y="62"/>
                  </a:lnTo>
                  <a:lnTo>
                    <a:pt x="6" y="65"/>
                  </a:lnTo>
                  <a:lnTo>
                    <a:pt x="9" y="65"/>
                  </a:lnTo>
                  <a:lnTo>
                    <a:pt x="12" y="68"/>
                  </a:lnTo>
                  <a:lnTo>
                    <a:pt x="15" y="68"/>
                  </a:lnTo>
                  <a:lnTo>
                    <a:pt x="21" y="71"/>
                  </a:lnTo>
                  <a:lnTo>
                    <a:pt x="15" y="69"/>
                  </a:lnTo>
                  <a:lnTo>
                    <a:pt x="11" y="69"/>
                  </a:lnTo>
                  <a:lnTo>
                    <a:pt x="3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1" y="69"/>
                  </a:lnTo>
                  <a:lnTo>
                    <a:pt x="6" y="73"/>
                  </a:lnTo>
                  <a:lnTo>
                    <a:pt x="9" y="73"/>
                  </a:lnTo>
                  <a:lnTo>
                    <a:pt x="11" y="74"/>
                  </a:lnTo>
                  <a:lnTo>
                    <a:pt x="15" y="73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7" y="69"/>
                  </a:lnTo>
                  <a:lnTo>
                    <a:pt x="27" y="65"/>
                  </a:lnTo>
                  <a:lnTo>
                    <a:pt x="36" y="65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8" y="73"/>
                  </a:lnTo>
                  <a:lnTo>
                    <a:pt x="56" y="71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close/>
                  <a:moveTo>
                    <a:pt x="9" y="59"/>
                  </a:moveTo>
                  <a:lnTo>
                    <a:pt x="12" y="58"/>
                  </a:lnTo>
                  <a:lnTo>
                    <a:pt x="15" y="59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close/>
                  <a:moveTo>
                    <a:pt x="11" y="54"/>
                  </a:moveTo>
                  <a:lnTo>
                    <a:pt x="15" y="54"/>
                  </a:lnTo>
                  <a:lnTo>
                    <a:pt x="21" y="56"/>
                  </a:lnTo>
                  <a:lnTo>
                    <a:pt x="18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1" name="Freeform 64"/>
            <p:cNvSpPr>
              <a:spLocks/>
            </p:cNvSpPr>
            <p:nvPr/>
          </p:nvSpPr>
          <p:spPr bwMode="auto">
            <a:xfrm>
              <a:off x="5565776" y="2906713"/>
              <a:ext cx="122238" cy="93663"/>
            </a:xfrm>
            <a:custGeom>
              <a:avLst/>
              <a:gdLst>
                <a:gd name="T0" fmla="*/ 74 w 77"/>
                <a:gd name="T1" fmla="*/ 41 h 59"/>
                <a:gd name="T2" fmla="*/ 77 w 77"/>
                <a:gd name="T3" fmla="*/ 33 h 59"/>
                <a:gd name="T4" fmla="*/ 74 w 77"/>
                <a:gd name="T5" fmla="*/ 30 h 59"/>
                <a:gd name="T6" fmla="*/ 74 w 77"/>
                <a:gd name="T7" fmla="*/ 26 h 59"/>
                <a:gd name="T8" fmla="*/ 71 w 77"/>
                <a:gd name="T9" fmla="*/ 19 h 59"/>
                <a:gd name="T10" fmla="*/ 72 w 77"/>
                <a:gd name="T11" fmla="*/ 14 h 59"/>
                <a:gd name="T12" fmla="*/ 66 w 77"/>
                <a:gd name="T13" fmla="*/ 13 h 59"/>
                <a:gd name="T14" fmla="*/ 66 w 77"/>
                <a:gd name="T15" fmla="*/ 11 h 59"/>
                <a:gd name="T16" fmla="*/ 65 w 77"/>
                <a:gd name="T17" fmla="*/ 5 h 59"/>
                <a:gd name="T18" fmla="*/ 57 w 77"/>
                <a:gd name="T19" fmla="*/ 8 h 59"/>
                <a:gd name="T20" fmla="*/ 53 w 77"/>
                <a:gd name="T21" fmla="*/ 4 h 59"/>
                <a:gd name="T22" fmla="*/ 50 w 77"/>
                <a:gd name="T23" fmla="*/ 4 h 59"/>
                <a:gd name="T24" fmla="*/ 46 w 77"/>
                <a:gd name="T25" fmla="*/ 0 h 59"/>
                <a:gd name="T26" fmla="*/ 36 w 77"/>
                <a:gd name="T27" fmla="*/ 0 h 59"/>
                <a:gd name="T28" fmla="*/ 36 w 77"/>
                <a:gd name="T29" fmla="*/ 4 h 59"/>
                <a:gd name="T30" fmla="*/ 31 w 77"/>
                <a:gd name="T31" fmla="*/ 4 h 59"/>
                <a:gd name="T32" fmla="*/ 31 w 77"/>
                <a:gd name="T33" fmla="*/ 5 h 59"/>
                <a:gd name="T34" fmla="*/ 25 w 77"/>
                <a:gd name="T35" fmla="*/ 8 h 59"/>
                <a:gd name="T36" fmla="*/ 21 w 77"/>
                <a:gd name="T37" fmla="*/ 9 h 59"/>
                <a:gd name="T38" fmla="*/ 19 w 77"/>
                <a:gd name="T39" fmla="*/ 8 h 59"/>
                <a:gd name="T40" fmla="*/ 16 w 77"/>
                <a:gd name="T41" fmla="*/ 8 h 59"/>
                <a:gd name="T42" fmla="*/ 11 w 77"/>
                <a:gd name="T43" fmla="*/ 4 h 59"/>
                <a:gd name="T44" fmla="*/ 10 w 77"/>
                <a:gd name="T45" fmla="*/ 2 h 59"/>
                <a:gd name="T46" fmla="*/ 4 w 77"/>
                <a:gd name="T47" fmla="*/ 5 h 59"/>
                <a:gd name="T48" fmla="*/ 0 w 77"/>
                <a:gd name="T49" fmla="*/ 11 h 59"/>
                <a:gd name="T50" fmla="*/ 2 w 77"/>
                <a:gd name="T51" fmla="*/ 13 h 59"/>
                <a:gd name="T52" fmla="*/ 4 w 77"/>
                <a:gd name="T53" fmla="*/ 22 h 59"/>
                <a:gd name="T54" fmla="*/ 10 w 77"/>
                <a:gd name="T55" fmla="*/ 24 h 59"/>
                <a:gd name="T56" fmla="*/ 11 w 77"/>
                <a:gd name="T57" fmla="*/ 27 h 59"/>
                <a:gd name="T58" fmla="*/ 19 w 77"/>
                <a:gd name="T59" fmla="*/ 33 h 59"/>
                <a:gd name="T60" fmla="*/ 22 w 77"/>
                <a:gd name="T61" fmla="*/ 33 h 59"/>
                <a:gd name="T62" fmla="*/ 27 w 77"/>
                <a:gd name="T63" fmla="*/ 36 h 59"/>
                <a:gd name="T64" fmla="*/ 31 w 77"/>
                <a:gd name="T65" fmla="*/ 36 h 59"/>
                <a:gd name="T66" fmla="*/ 31 w 77"/>
                <a:gd name="T67" fmla="*/ 44 h 59"/>
                <a:gd name="T68" fmla="*/ 36 w 77"/>
                <a:gd name="T69" fmla="*/ 47 h 59"/>
                <a:gd name="T70" fmla="*/ 40 w 77"/>
                <a:gd name="T71" fmla="*/ 47 h 59"/>
                <a:gd name="T72" fmla="*/ 42 w 77"/>
                <a:gd name="T73" fmla="*/ 47 h 59"/>
                <a:gd name="T74" fmla="*/ 46 w 77"/>
                <a:gd name="T75" fmla="*/ 47 h 59"/>
                <a:gd name="T76" fmla="*/ 47 w 77"/>
                <a:gd name="T77" fmla="*/ 47 h 59"/>
                <a:gd name="T78" fmla="*/ 55 w 77"/>
                <a:gd name="T79" fmla="*/ 55 h 59"/>
                <a:gd name="T80" fmla="*/ 61 w 77"/>
                <a:gd name="T81" fmla="*/ 55 h 59"/>
                <a:gd name="T82" fmla="*/ 65 w 77"/>
                <a:gd name="T83" fmla="*/ 59 h 59"/>
                <a:gd name="T84" fmla="*/ 68 w 77"/>
                <a:gd name="T85" fmla="*/ 57 h 59"/>
                <a:gd name="T86" fmla="*/ 72 w 77"/>
                <a:gd name="T87" fmla="*/ 57 h 59"/>
                <a:gd name="T88" fmla="*/ 72 w 77"/>
                <a:gd name="T89" fmla="*/ 55 h 59"/>
                <a:gd name="T90" fmla="*/ 71 w 77"/>
                <a:gd name="T91" fmla="*/ 53 h 59"/>
                <a:gd name="T92" fmla="*/ 71 w 77"/>
                <a:gd name="T93" fmla="*/ 50 h 59"/>
                <a:gd name="T94" fmla="*/ 68 w 77"/>
                <a:gd name="T95" fmla="*/ 47 h 59"/>
                <a:gd name="T96" fmla="*/ 71 w 77"/>
                <a:gd name="T97" fmla="*/ 44 h 59"/>
                <a:gd name="T98" fmla="*/ 72 w 77"/>
                <a:gd name="T99" fmla="*/ 41 h 59"/>
                <a:gd name="T100" fmla="*/ 74 w 77"/>
                <a:gd name="T101" fmla="*/ 41 h 59"/>
                <a:gd name="T102" fmla="*/ 74 w 77"/>
                <a:gd name="T103" fmla="*/ 41 h 59"/>
                <a:gd name="T104" fmla="*/ 74 w 77"/>
                <a:gd name="T105" fmla="*/ 4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59">
                  <a:moveTo>
                    <a:pt x="74" y="41"/>
                  </a:moveTo>
                  <a:lnTo>
                    <a:pt x="77" y="33"/>
                  </a:lnTo>
                  <a:lnTo>
                    <a:pt x="74" y="30"/>
                  </a:lnTo>
                  <a:lnTo>
                    <a:pt x="74" y="26"/>
                  </a:lnTo>
                  <a:lnTo>
                    <a:pt x="71" y="19"/>
                  </a:lnTo>
                  <a:lnTo>
                    <a:pt x="72" y="14"/>
                  </a:lnTo>
                  <a:lnTo>
                    <a:pt x="66" y="13"/>
                  </a:lnTo>
                  <a:lnTo>
                    <a:pt x="66" y="11"/>
                  </a:lnTo>
                  <a:lnTo>
                    <a:pt x="65" y="5"/>
                  </a:lnTo>
                  <a:lnTo>
                    <a:pt x="57" y="8"/>
                  </a:lnTo>
                  <a:lnTo>
                    <a:pt x="53" y="4"/>
                  </a:lnTo>
                  <a:lnTo>
                    <a:pt x="50" y="4"/>
                  </a:lnTo>
                  <a:lnTo>
                    <a:pt x="4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25" y="8"/>
                  </a:lnTo>
                  <a:lnTo>
                    <a:pt x="21" y="9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1" y="4"/>
                  </a:lnTo>
                  <a:lnTo>
                    <a:pt x="10" y="2"/>
                  </a:lnTo>
                  <a:lnTo>
                    <a:pt x="4" y="5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4" y="22"/>
                  </a:lnTo>
                  <a:lnTo>
                    <a:pt x="10" y="24"/>
                  </a:lnTo>
                  <a:lnTo>
                    <a:pt x="11" y="27"/>
                  </a:lnTo>
                  <a:lnTo>
                    <a:pt x="19" y="33"/>
                  </a:lnTo>
                  <a:lnTo>
                    <a:pt x="22" y="33"/>
                  </a:lnTo>
                  <a:lnTo>
                    <a:pt x="27" y="36"/>
                  </a:lnTo>
                  <a:lnTo>
                    <a:pt x="31" y="36"/>
                  </a:lnTo>
                  <a:lnTo>
                    <a:pt x="31" y="44"/>
                  </a:lnTo>
                  <a:lnTo>
                    <a:pt x="36" y="47"/>
                  </a:lnTo>
                  <a:lnTo>
                    <a:pt x="40" y="47"/>
                  </a:lnTo>
                  <a:lnTo>
                    <a:pt x="42" y="47"/>
                  </a:lnTo>
                  <a:lnTo>
                    <a:pt x="46" y="47"/>
                  </a:lnTo>
                  <a:lnTo>
                    <a:pt x="47" y="47"/>
                  </a:lnTo>
                  <a:lnTo>
                    <a:pt x="55" y="55"/>
                  </a:lnTo>
                  <a:lnTo>
                    <a:pt x="61" y="55"/>
                  </a:lnTo>
                  <a:lnTo>
                    <a:pt x="65" y="59"/>
                  </a:lnTo>
                  <a:lnTo>
                    <a:pt x="68" y="57"/>
                  </a:lnTo>
                  <a:lnTo>
                    <a:pt x="72" y="57"/>
                  </a:lnTo>
                  <a:lnTo>
                    <a:pt x="72" y="55"/>
                  </a:lnTo>
                  <a:lnTo>
                    <a:pt x="71" y="53"/>
                  </a:lnTo>
                  <a:lnTo>
                    <a:pt x="71" y="50"/>
                  </a:lnTo>
                  <a:lnTo>
                    <a:pt x="68" y="47"/>
                  </a:lnTo>
                  <a:lnTo>
                    <a:pt x="71" y="44"/>
                  </a:lnTo>
                  <a:lnTo>
                    <a:pt x="72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2" name="Freeform 65"/>
            <p:cNvSpPr>
              <a:spLocks/>
            </p:cNvSpPr>
            <p:nvPr/>
          </p:nvSpPr>
          <p:spPr bwMode="auto">
            <a:xfrm>
              <a:off x="5675313" y="2971801"/>
              <a:ext cx="26988" cy="34925"/>
            </a:xfrm>
            <a:custGeom>
              <a:avLst/>
              <a:gdLst>
                <a:gd name="T0" fmla="*/ 3 w 17"/>
                <a:gd name="T1" fmla="*/ 16 h 22"/>
                <a:gd name="T2" fmla="*/ 3 w 17"/>
                <a:gd name="T3" fmla="*/ 14 h 22"/>
                <a:gd name="T4" fmla="*/ 2 w 17"/>
                <a:gd name="T5" fmla="*/ 12 h 22"/>
                <a:gd name="T6" fmla="*/ 2 w 17"/>
                <a:gd name="T7" fmla="*/ 9 h 22"/>
                <a:gd name="T8" fmla="*/ 0 w 17"/>
                <a:gd name="T9" fmla="*/ 6 h 22"/>
                <a:gd name="T10" fmla="*/ 2 w 17"/>
                <a:gd name="T11" fmla="*/ 3 h 22"/>
                <a:gd name="T12" fmla="*/ 3 w 17"/>
                <a:gd name="T13" fmla="*/ 0 h 22"/>
                <a:gd name="T14" fmla="*/ 7 w 17"/>
                <a:gd name="T15" fmla="*/ 0 h 22"/>
                <a:gd name="T16" fmla="*/ 13 w 17"/>
                <a:gd name="T17" fmla="*/ 6 h 22"/>
                <a:gd name="T18" fmla="*/ 13 w 17"/>
                <a:gd name="T19" fmla="*/ 10 h 22"/>
                <a:gd name="T20" fmla="*/ 17 w 17"/>
                <a:gd name="T21" fmla="*/ 14 h 22"/>
                <a:gd name="T22" fmla="*/ 16 w 17"/>
                <a:gd name="T23" fmla="*/ 22 h 22"/>
                <a:gd name="T24" fmla="*/ 13 w 17"/>
                <a:gd name="T25" fmla="*/ 22 h 22"/>
                <a:gd name="T26" fmla="*/ 7 w 17"/>
                <a:gd name="T27" fmla="*/ 22 h 22"/>
                <a:gd name="T28" fmla="*/ 3 w 17"/>
                <a:gd name="T29" fmla="*/ 16 h 22"/>
                <a:gd name="T30" fmla="*/ 3 w 17"/>
                <a:gd name="T31" fmla="*/ 16 h 22"/>
                <a:gd name="T32" fmla="*/ 3 w 17"/>
                <a:gd name="T33" fmla="*/ 16 h 22"/>
                <a:gd name="T34" fmla="*/ 3 w 17"/>
                <a:gd name="T3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22">
                  <a:moveTo>
                    <a:pt x="3" y="16"/>
                  </a:moveTo>
                  <a:lnTo>
                    <a:pt x="3" y="14"/>
                  </a:lnTo>
                  <a:lnTo>
                    <a:pt x="2" y="12"/>
                  </a:lnTo>
                  <a:lnTo>
                    <a:pt x="2" y="9"/>
                  </a:lnTo>
                  <a:lnTo>
                    <a:pt x="0" y="6"/>
                  </a:lnTo>
                  <a:lnTo>
                    <a:pt x="2" y="3"/>
                  </a:lnTo>
                  <a:lnTo>
                    <a:pt x="3" y="0"/>
                  </a:lnTo>
                  <a:lnTo>
                    <a:pt x="7" y="0"/>
                  </a:lnTo>
                  <a:lnTo>
                    <a:pt x="13" y="6"/>
                  </a:lnTo>
                  <a:lnTo>
                    <a:pt x="13" y="10"/>
                  </a:lnTo>
                  <a:lnTo>
                    <a:pt x="17" y="14"/>
                  </a:lnTo>
                  <a:lnTo>
                    <a:pt x="16" y="22"/>
                  </a:lnTo>
                  <a:lnTo>
                    <a:pt x="13" y="22"/>
                  </a:lnTo>
                  <a:lnTo>
                    <a:pt x="7" y="22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3" name="Freeform 66"/>
            <p:cNvSpPr>
              <a:spLocks/>
            </p:cNvSpPr>
            <p:nvPr/>
          </p:nvSpPr>
          <p:spPr bwMode="auto">
            <a:xfrm>
              <a:off x="5040313" y="2692401"/>
              <a:ext cx="179388" cy="204788"/>
            </a:xfrm>
            <a:custGeom>
              <a:avLst/>
              <a:gdLst>
                <a:gd name="T0" fmla="*/ 47 w 113"/>
                <a:gd name="T1" fmla="*/ 127 h 129"/>
                <a:gd name="T2" fmla="*/ 58 w 113"/>
                <a:gd name="T3" fmla="*/ 118 h 129"/>
                <a:gd name="T4" fmla="*/ 67 w 113"/>
                <a:gd name="T5" fmla="*/ 116 h 129"/>
                <a:gd name="T6" fmla="*/ 87 w 113"/>
                <a:gd name="T7" fmla="*/ 111 h 129"/>
                <a:gd name="T8" fmla="*/ 93 w 113"/>
                <a:gd name="T9" fmla="*/ 109 h 129"/>
                <a:gd name="T10" fmla="*/ 99 w 113"/>
                <a:gd name="T11" fmla="*/ 103 h 129"/>
                <a:gd name="T12" fmla="*/ 107 w 113"/>
                <a:gd name="T13" fmla="*/ 92 h 129"/>
                <a:gd name="T14" fmla="*/ 111 w 113"/>
                <a:gd name="T15" fmla="*/ 73 h 129"/>
                <a:gd name="T16" fmla="*/ 111 w 113"/>
                <a:gd name="T17" fmla="*/ 64 h 129"/>
                <a:gd name="T18" fmla="*/ 105 w 113"/>
                <a:gd name="T19" fmla="*/ 51 h 129"/>
                <a:gd name="T20" fmla="*/ 105 w 113"/>
                <a:gd name="T21" fmla="*/ 45 h 129"/>
                <a:gd name="T22" fmla="*/ 87 w 113"/>
                <a:gd name="T23" fmla="*/ 33 h 129"/>
                <a:gd name="T24" fmla="*/ 78 w 113"/>
                <a:gd name="T25" fmla="*/ 42 h 129"/>
                <a:gd name="T26" fmla="*/ 78 w 113"/>
                <a:gd name="T27" fmla="*/ 19 h 129"/>
                <a:gd name="T28" fmla="*/ 87 w 113"/>
                <a:gd name="T29" fmla="*/ 12 h 129"/>
                <a:gd name="T30" fmla="*/ 93 w 113"/>
                <a:gd name="T31" fmla="*/ 6 h 129"/>
                <a:gd name="T32" fmla="*/ 87 w 113"/>
                <a:gd name="T33" fmla="*/ 3 h 129"/>
                <a:gd name="T34" fmla="*/ 76 w 113"/>
                <a:gd name="T35" fmla="*/ 14 h 129"/>
                <a:gd name="T36" fmla="*/ 76 w 113"/>
                <a:gd name="T37" fmla="*/ 5 h 129"/>
                <a:gd name="T38" fmla="*/ 71 w 113"/>
                <a:gd name="T39" fmla="*/ 6 h 129"/>
                <a:gd name="T40" fmla="*/ 61 w 113"/>
                <a:gd name="T41" fmla="*/ 11 h 129"/>
                <a:gd name="T42" fmla="*/ 61 w 113"/>
                <a:gd name="T43" fmla="*/ 16 h 129"/>
                <a:gd name="T44" fmla="*/ 58 w 113"/>
                <a:gd name="T45" fmla="*/ 19 h 129"/>
                <a:gd name="T46" fmla="*/ 59 w 113"/>
                <a:gd name="T47" fmla="*/ 25 h 129"/>
                <a:gd name="T48" fmla="*/ 65 w 113"/>
                <a:gd name="T49" fmla="*/ 25 h 129"/>
                <a:gd name="T50" fmla="*/ 53 w 113"/>
                <a:gd name="T51" fmla="*/ 36 h 129"/>
                <a:gd name="T52" fmla="*/ 38 w 113"/>
                <a:gd name="T53" fmla="*/ 39 h 129"/>
                <a:gd name="T54" fmla="*/ 26 w 113"/>
                <a:gd name="T55" fmla="*/ 34 h 129"/>
                <a:gd name="T56" fmla="*/ 20 w 113"/>
                <a:gd name="T57" fmla="*/ 36 h 129"/>
                <a:gd name="T58" fmla="*/ 23 w 113"/>
                <a:gd name="T59" fmla="*/ 45 h 129"/>
                <a:gd name="T60" fmla="*/ 14 w 113"/>
                <a:gd name="T61" fmla="*/ 44 h 129"/>
                <a:gd name="T62" fmla="*/ 29 w 113"/>
                <a:gd name="T63" fmla="*/ 51 h 129"/>
                <a:gd name="T64" fmla="*/ 23 w 113"/>
                <a:gd name="T65" fmla="*/ 57 h 129"/>
                <a:gd name="T66" fmla="*/ 14 w 113"/>
                <a:gd name="T67" fmla="*/ 62 h 129"/>
                <a:gd name="T68" fmla="*/ 20 w 113"/>
                <a:gd name="T69" fmla="*/ 67 h 129"/>
                <a:gd name="T70" fmla="*/ 41 w 113"/>
                <a:gd name="T71" fmla="*/ 72 h 129"/>
                <a:gd name="T72" fmla="*/ 29 w 113"/>
                <a:gd name="T73" fmla="*/ 81 h 129"/>
                <a:gd name="T74" fmla="*/ 15 w 113"/>
                <a:gd name="T75" fmla="*/ 92 h 129"/>
                <a:gd name="T76" fmla="*/ 29 w 113"/>
                <a:gd name="T77" fmla="*/ 92 h 129"/>
                <a:gd name="T78" fmla="*/ 41 w 113"/>
                <a:gd name="T79" fmla="*/ 90 h 129"/>
                <a:gd name="T80" fmla="*/ 26 w 113"/>
                <a:gd name="T81" fmla="*/ 94 h 129"/>
                <a:gd name="T82" fmla="*/ 18 w 113"/>
                <a:gd name="T83" fmla="*/ 101 h 129"/>
                <a:gd name="T84" fmla="*/ 15 w 113"/>
                <a:gd name="T85" fmla="*/ 106 h 129"/>
                <a:gd name="T86" fmla="*/ 9 w 113"/>
                <a:gd name="T87" fmla="*/ 101 h 129"/>
                <a:gd name="T88" fmla="*/ 20 w 113"/>
                <a:gd name="T89" fmla="*/ 107 h 129"/>
                <a:gd name="T90" fmla="*/ 4 w 113"/>
                <a:gd name="T91" fmla="*/ 118 h 129"/>
                <a:gd name="T92" fmla="*/ 21 w 113"/>
                <a:gd name="T93" fmla="*/ 116 h 129"/>
                <a:gd name="T94" fmla="*/ 15 w 113"/>
                <a:gd name="T95" fmla="*/ 126 h 129"/>
                <a:gd name="T96" fmla="*/ 15 w 113"/>
                <a:gd name="T97" fmla="*/ 127 h 129"/>
                <a:gd name="T98" fmla="*/ 26 w 113"/>
                <a:gd name="T99" fmla="*/ 127 h 129"/>
                <a:gd name="T100" fmla="*/ 29 w 113"/>
                <a:gd name="T101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" h="129">
                  <a:moveTo>
                    <a:pt x="29" y="129"/>
                  </a:moveTo>
                  <a:lnTo>
                    <a:pt x="38" y="129"/>
                  </a:lnTo>
                  <a:lnTo>
                    <a:pt x="47" y="127"/>
                  </a:lnTo>
                  <a:lnTo>
                    <a:pt x="53" y="121"/>
                  </a:lnTo>
                  <a:lnTo>
                    <a:pt x="52" y="118"/>
                  </a:lnTo>
                  <a:lnTo>
                    <a:pt x="58" y="118"/>
                  </a:lnTo>
                  <a:lnTo>
                    <a:pt x="56" y="121"/>
                  </a:lnTo>
                  <a:lnTo>
                    <a:pt x="61" y="121"/>
                  </a:lnTo>
                  <a:lnTo>
                    <a:pt x="67" y="116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87" y="111"/>
                  </a:lnTo>
                  <a:lnTo>
                    <a:pt x="87" y="107"/>
                  </a:lnTo>
                  <a:lnTo>
                    <a:pt x="90" y="111"/>
                  </a:lnTo>
                  <a:lnTo>
                    <a:pt x="93" y="109"/>
                  </a:lnTo>
                  <a:lnTo>
                    <a:pt x="98" y="109"/>
                  </a:lnTo>
                  <a:lnTo>
                    <a:pt x="105" y="109"/>
                  </a:lnTo>
                  <a:lnTo>
                    <a:pt x="99" y="103"/>
                  </a:lnTo>
                  <a:lnTo>
                    <a:pt x="104" y="101"/>
                  </a:lnTo>
                  <a:lnTo>
                    <a:pt x="110" y="98"/>
                  </a:lnTo>
                  <a:lnTo>
                    <a:pt x="107" y="92"/>
                  </a:lnTo>
                  <a:lnTo>
                    <a:pt x="111" y="89"/>
                  </a:lnTo>
                  <a:lnTo>
                    <a:pt x="113" y="83"/>
                  </a:lnTo>
                  <a:lnTo>
                    <a:pt x="111" y="73"/>
                  </a:lnTo>
                  <a:lnTo>
                    <a:pt x="107" y="72"/>
                  </a:lnTo>
                  <a:lnTo>
                    <a:pt x="111" y="68"/>
                  </a:lnTo>
                  <a:lnTo>
                    <a:pt x="111" y="64"/>
                  </a:lnTo>
                  <a:lnTo>
                    <a:pt x="110" y="59"/>
                  </a:lnTo>
                  <a:lnTo>
                    <a:pt x="110" y="53"/>
                  </a:lnTo>
                  <a:lnTo>
                    <a:pt x="105" y="51"/>
                  </a:lnTo>
                  <a:lnTo>
                    <a:pt x="107" y="48"/>
                  </a:lnTo>
                  <a:lnTo>
                    <a:pt x="111" y="50"/>
                  </a:lnTo>
                  <a:lnTo>
                    <a:pt x="105" y="45"/>
                  </a:lnTo>
                  <a:lnTo>
                    <a:pt x="99" y="44"/>
                  </a:lnTo>
                  <a:lnTo>
                    <a:pt x="96" y="36"/>
                  </a:lnTo>
                  <a:lnTo>
                    <a:pt x="87" y="33"/>
                  </a:lnTo>
                  <a:lnTo>
                    <a:pt x="84" y="34"/>
                  </a:lnTo>
                  <a:lnTo>
                    <a:pt x="82" y="40"/>
                  </a:lnTo>
                  <a:lnTo>
                    <a:pt x="78" y="42"/>
                  </a:lnTo>
                  <a:lnTo>
                    <a:pt x="67" y="33"/>
                  </a:lnTo>
                  <a:lnTo>
                    <a:pt x="72" y="22"/>
                  </a:lnTo>
                  <a:lnTo>
                    <a:pt x="78" y="19"/>
                  </a:lnTo>
                  <a:lnTo>
                    <a:pt x="81" y="16"/>
                  </a:lnTo>
                  <a:lnTo>
                    <a:pt x="84" y="14"/>
                  </a:lnTo>
                  <a:lnTo>
                    <a:pt x="87" y="12"/>
                  </a:lnTo>
                  <a:lnTo>
                    <a:pt x="84" y="12"/>
                  </a:lnTo>
                  <a:lnTo>
                    <a:pt x="90" y="9"/>
                  </a:lnTo>
                  <a:lnTo>
                    <a:pt x="93" y="6"/>
                  </a:lnTo>
                  <a:lnTo>
                    <a:pt x="87" y="3"/>
                  </a:lnTo>
                  <a:lnTo>
                    <a:pt x="84" y="0"/>
                  </a:lnTo>
                  <a:lnTo>
                    <a:pt x="87" y="3"/>
                  </a:lnTo>
                  <a:lnTo>
                    <a:pt x="81" y="3"/>
                  </a:lnTo>
                  <a:lnTo>
                    <a:pt x="82" y="9"/>
                  </a:lnTo>
                  <a:lnTo>
                    <a:pt x="76" y="14"/>
                  </a:lnTo>
                  <a:lnTo>
                    <a:pt x="78" y="11"/>
                  </a:lnTo>
                  <a:lnTo>
                    <a:pt x="81" y="9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6" y="6"/>
                  </a:lnTo>
                  <a:lnTo>
                    <a:pt x="71" y="6"/>
                  </a:lnTo>
                  <a:lnTo>
                    <a:pt x="70" y="5"/>
                  </a:lnTo>
                  <a:lnTo>
                    <a:pt x="61" y="6"/>
                  </a:lnTo>
                  <a:lnTo>
                    <a:pt x="61" y="11"/>
                  </a:lnTo>
                  <a:lnTo>
                    <a:pt x="59" y="11"/>
                  </a:lnTo>
                  <a:lnTo>
                    <a:pt x="58" y="14"/>
                  </a:lnTo>
                  <a:lnTo>
                    <a:pt x="61" y="16"/>
                  </a:lnTo>
                  <a:lnTo>
                    <a:pt x="59" y="18"/>
                  </a:lnTo>
                  <a:lnTo>
                    <a:pt x="56" y="18"/>
                  </a:lnTo>
                  <a:lnTo>
                    <a:pt x="58" y="19"/>
                  </a:lnTo>
                  <a:lnTo>
                    <a:pt x="52" y="22"/>
                  </a:lnTo>
                  <a:lnTo>
                    <a:pt x="52" y="25"/>
                  </a:lnTo>
                  <a:lnTo>
                    <a:pt x="59" y="25"/>
                  </a:lnTo>
                  <a:lnTo>
                    <a:pt x="58" y="27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59" y="31"/>
                  </a:lnTo>
                  <a:lnTo>
                    <a:pt x="52" y="33"/>
                  </a:lnTo>
                  <a:lnTo>
                    <a:pt x="53" y="36"/>
                  </a:lnTo>
                  <a:lnTo>
                    <a:pt x="46" y="36"/>
                  </a:lnTo>
                  <a:lnTo>
                    <a:pt x="41" y="34"/>
                  </a:lnTo>
                  <a:lnTo>
                    <a:pt x="38" y="39"/>
                  </a:lnTo>
                  <a:lnTo>
                    <a:pt x="37" y="34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18" y="33"/>
                  </a:lnTo>
                  <a:lnTo>
                    <a:pt x="15" y="40"/>
                  </a:lnTo>
                  <a:lnTo>
                    <a:pt x="20" y="36"/>
                  </a:lnTo>
                  <a:lnTo>
                    <a:pt x="21" y="40"/>
                  </a:lnTo>
                  <a:lnTo>
                    <a:pt x="21" y="42"/>
                  </a:lnTo>
                  <a:lnTo>
                    <a:pt x="23" y="45"/>
                  </a:lnTo>
                  <a:lnTo>
                    <a:pt x="21" y="45"/>
                  </a:lnTo>
                  <a:lnTo>
                    <a:pt x="20" y="44"/>
                  </a:lnTo>
                  <a:lnTo>
                    <a:pt x="14" y="44"/>
                  </a:lnTo>
                  <a:lnTo>
                    <a:pt x="21" y="50"/>
                  </a:lnTo>
                  <a:lnTo>
                    <a:pt x="26" y="48"/>
                  </a:lnTo>
                  <a:lnTo>
                    <a:pt x="29" y="51"/>
                  </a:lnTo>
                  <a:lnTo>
                    <a:pt x="21" y="53"/>
                  </a:lnTo>
                  <a:lnTo>
                    <a:pt x="21" y="55"/>
                  </a:lnTo>
                  <a:lnTo>
                    <a:pt x="23" y="57"/>
                  </a:lnTo>
                  <a:lnTo>
                    <a:pt x="15" y="57"/>
                  </a:lnTo>
                  <a:lnTo>
                    <a:pt x="15" y="62"/>
                  </a:lnTo>
                  <a:lnTo>
                    <a:pt x="14" y="62"/>
                  </a:lnTo>
                  <a:lnTo>
                    <a:pt x="18" y="64"/>
                  </a:lnTo>
                  <a:lnTo>
                    <a:pt x="21" y="64"/>
                  </a:lnTo>
                  <a:lnTo>
                    <a:pt x="20" y="67"/>
                  </a:lnTo>
                  <a:lnTo>
                    <a:pt x="26" y="64"/>
                  </a:lnTo>
                  <a:lnTo>
                    <a:pt x="26" y="72"/>
                  </a:lnTo>
                  <a:lnTo>
                    <a:pt x="41" y="72"/>
                  </a:lnTo>
                  <a:lnTo>
                    <a:pt x="37" y="76"/>
                  </a:lnTo>
                  <a:lnTo>
                    <a:pt x="35" y="73"/>
                  </a:lnTo>
                  <a:lnTo>
                    <a:pt x="29" y="81"/>
                  </a:lnTo>
                  <a:lnTo>
                    <a:pt x="31" y="81"/>
                  </a:lnTo>
                  <a:lnTo>
                    <a:pt x="26" y="86"/>
                  </a:lnTo>
                  <a:lnTo>
                    <a:pt x="15" y="92"/>
                  </a:lnTo>
                  <a:lnTo>
                    <a:pt x="21" y="92"/>
                  </a:lnTo>
                  <a:lnTo>
                    <a:pt x="26" y="90"/>
                  </a:lnTo>
                  <a:lnTo>
                    <a:pt x="29" y="92"/>
                  </a:lnTo>
                  <a:lnTo>
                    <a:pt x="35" y="92"/>
                  </a:lnTo>
                  <a:lnTo>
                    <a:pt x="41" y="89"/>
                  </a:lnTo>
                  <a:lnTo>
                    <a:pt x="41" y="90"/>
                  </a:lnTo>
                  <a:lnTo>
                    <a:pt x="46" y="90"/>
                  </a:lnTo>
                  <a:lnTo>
                    <a:pt x="32" y="92"/>
                  </a:lnTo>
                  <a:lnTo>
                    <a:pt x="26" y="94"/>
                  </a:lnTo>
                  <a:lnTo>
                    <a:pt x="21" y="95"/>
                  </a:lnTo>
                  <a:lnTo>
                    <a:pt x="15" y="98"/>
                  </a:lnTo>
                  <a:lnTo>
                    <a:pt x="18" y="101"/>
                  </a:lnTo>
                  <a:lnTo>
                    <a:pt x="18" y="103"/>
                  </a:lnTo>
                  <a:lnTo>
                    <a:pt x="20" y="103"/>
                  </a:lnTo>
                  <a:lnTo>
                    <a:pt x="15" y="106"/>
                  </a:lnTo>
                  <a:lnTo>
                    <a:pt x="12" y="101"/>
                  </a:lnTo>
                  <a:lnTo>
                    <a:pt x="10" y="103"/>
                  </a:lnTo>
                  <a:lnTo>
                    <a:pt x="9" y="101"/>
                  </a:lnTo>
                  <a:lnTo>
                    <a:pt x="0" y="106"/>
                  </a:lnTo>
                  <a:lnTo>
                    <a:pt x="3" y="107"/>
                  </a:lnTo>
                  <a:lnTo>
                    <a:pt x="20" y="107"/>
                  </a:lnTo>
                  <a:lnTo>
                    <a:pt x="14" y="111"/>
                  </a:lnTo>
                  <a:lnTo>
                    <a:pt x="6" y="112"/>
                  </a:lnTo>
                  <a:lnTo>
                    <a:pt x="4" y="118"/>
                  </a:lnTo>
                  <a:lnTo>
                    <a:pt x="9" y="118"/>
                  </a:lnTo>
                  <a:lnTo>
                    <a:pt x="10" y="120"/>
                  </a:lnTo>
                  <a:lnTo>
                    <a:pt x="21" y="116"/>
                  </a:lnTo>
                  <a:lnTo>
                    <a:pt x="12" y="121"/>
                  </a:lnTo>
                  <a:lnTo>
                    <a:pt x="9" y="126"/>
                  </a:lnTo>
                  <a:lnTo>
                    <a:pt x="15" y="126"/>
                  </a:lnTo>
                  <a:lnTo>
                    <a:pt x="26" y="120"/>
                  </a:lnTo>
                  <a:lnTo>
                    <a:pt x="23" y="124"/>
                  </a:lnTo>
                  <a:lnTo>
                    <a:pt x="15" y="127"/>
                  </a:lnTo>
                  <a:lnTo>
                    <a:pt x="21" y="127"/>
                  </a:lnTo>
                  <a:lnTo>
                    <a:pt x="20" y="129"/>
                  </a:lnTo>
                  <a:lnTo>
                    <a:pt x="26" y="127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4" name="Freeform 67"/>
            <p:cNvSpPr>
              <a:spLocks noEditPoints="1"/>
            </p:cNvSpPr>
            <p:nvPr/>
          </p:nvSpPr>
          <p:spPr bwMode="auto">
            <a:xfrm>
              <a:off x="5151438" y="2373313"/>
              <a:ext cx="377825" cy="614363"/>
            </a:xfrm>
            <a:custGeom>
              <a:avLst/>
              <a:gdLst>
                <a:gd name="T0" fmla="*/ 13 w 238"/>
                <a:gd name="T1" fmla="*/ 217 h 387"/>
                <a:gd name="T2" fmla="*/ 59 w 238"/>
                <a:gd name="T3" fmla="*/ 228 h 387"/>
                <a:gd name="T4" fmla="*/ 43 w 238"/>
                <a:gd name="T5" fmla="*/ 251 h 387"/>
                <a:gd name="T6" fmla="*/ 168 w 238"/>
                <a:gd name="T7" fmla="*/ 6 h 387"/>
                <a:gd name="T8" fmla="*/ 157 w 238"/>
                <a:gd name="T9" fmla="*/ 17 h 387"/>
                <a:gd name="T10" fmla="*/ 214 w 238"/>
                <a:gd name="T11" fmla="*/ 335 h 387"/>
                <a:gd name="T12" fmla="*/ 157 w 238"/>
                <a:gd name="T13" fmla="*/ 363 h 387"/>
                <a:gd name="T14" fmla="*/ 43 w 238"/>
                <a:gd name="T15" fmla="*/ 182 h 387"/>
                <a:gd name="T16" fmla="*/ 40 w 238"/>
                <a:gd name="T17" fmla="*/ 156 h 387"/>
                <a:gd name="T18" fmla="*/ 45 w 238"/>
                <a:gd name="T19" fmla="*/ 153 h 387"/>
                <a:gd name="T20" fmla="*/ 111 w 238"/>
                <a:gd name="T21" fmla="*/ 73 h 387"/>
                <a:gd name="T22" fmla="*/ 109 w 238"/>
                <a:gd name="T23" fmla="*/ 79 h 387"/>
                <a:gd name="T24" fmla="*/ 105 w 238"/>
                <a:gd name="T25" fmla="*/ 84 h 387"/>
                <a:gd name="T26" fmla="*/ 42 w 238"/>
                <a:gd name="T27" fmla="*/ 110 h 387"/>
                <a:gd name="T28" fmla="*/ 31 w 238"/>
                <a:gd name="T29" fmla="*/ 115 h 387"/>
                <a:gd name="T30" fmla="*/ 25 w 238"/>
                <a:gd name="T31" fmla="*/ 126 h 387"/>
                <a:gd name="T32" fmla="*/ 17 w 238"/>
                <a:gd name="T33" fmla="*/ 145 h 387"/>
                <a:gd name="T34" fmla="*/ 19 w 238"/>
                <a:gd name="T35" fmla="*/ 134 h 387"/>
                <a:gd name="T36" fmla="*/ 40 w 238"/>
                <a:gd name="T37" fmla="*/ 134 h 387"/>
                <a:gd name="T38" fmla="*/ 53 w 238"/>
                <a:gd name="T39" fmla="*/ 140 h 387"/>
                <a:gd name="T40" fmla="*/ 56 w 238"/>
                <a:gd name="T41" fmla="*/ 170 h 387"/>
                <a:gd name="T42" fmla="*/ 49 w 238"/>
                <a:gd name="T43" fmla="*/ 189 h 387"/>
                <a:gd name="T44" fmla="*/ 37 w 238"/>
                <a:gd name="T45" fmla="*/ 193 h 387"/>
                <a:gd name="T46" fmla="*/ 62 w 238"/>
                <a:gd name="T47" fmla="*/ 195 h 387"/>
                <a:gd name="T48" fmla="*/ 81 w 238"/>
                <a:gd name="T49" fmla="*/ 274 h 387"/>
                <a:gd name="T50" fmla="*/ 65 w 238"/>
                <a:gd name="T51" fmla="*/ 387 h 387"/>
                <a:gd name="T52" fmla="*/ 94 w 238"/>
                <a:gd name="T53" fmla="*/ 377 h 387"/>
                <a:gd name="T54" fmla="*/ 129 w 238"/>
                <a:gd name="T55" fmla="*/ 361 h 387"/>
                <a:gd name="T56" fmla="*/ 174 w 238"/>
                <a:gd name="T57" fmla="*/ 357 h 387"/>
                <a:gd name="T58" fmla="*/ 223 w 238"/>
                <a:gd name="T59" fmla="*/ 348 h 387"/>
                <a:gd name="T60" fmla="*/ 214 w 238"/>
                <a:gd name="T61" fmla="*/ 333 h 387"/>
                <a:gd name="T62" fmla="*/ 227 w 238"/>
                <a:gd name="T63" fmla="*/ 321 h 387"/>
                <a:gd name="T64" fmla="*/ 237 w 238"/>
                <a:gd name="T65" fmla="*/ 295 h 387"/>
                <a:gd name="T66" fmla="*/ 191 w 238"/>
                <a:gd name="T67" fmla="*/ 265 h 387"/>
                <a:gd name="T68" fmla="*/ 191 w 238"/>
                <a:gd name="T69" fmla="*/ 260 h 387"/>
                <a:gd name="T70" fmla="*/ 160 w 238"/>
                <a:gd name="T71" fmla="*/ 224 h 387"/>
                <a:gd name="T72" fmla="*/ 115 w 238"/>
                <a:gd name="T73" fmla="*/ 184 h 387"/>
                <a:gd name="T74" fmla="*/ 120 w 238"/>
                <a:gd name="T75" fmla="*/ 167 h 387"/>
                <a:gd name="T76" fmla="*/ 136 w 238"/>
                <a:gd name="T77" fmla="*/ 143 h 387"/>
                <a:gd name="T78" fmla="*/ 103 w 238"/>
                <a:gd name="T79" fmla="*/ 123 h 387"/>
                <a:gd name="T80" fmla="*/ 94 w 238"/>
                <a:gd name="T81" fmla="*/ 115 h 387"/>
                <a:gd name="T82" fmla="*/ 92 w 238"/>
                <a:gd name="T83" fmla="*/ 94 h 387"/>
                <a:gd name="T84" fmla="*/ 68 w 238"/>
                <a:gd name="T85" fmla="*/ 101 h 387"/>
                <a:gd name="T86" fmla="*/ 59 w 238"/>
                <a:gd name="T87" fmla="*/ 119 h 387"/>
                <a:gd name="T88" fmla="*/ 60 w 238"/>
                <a:gd name="T89" fmla="*/ 134 h 387"/>
                <a:gd name="T90" fmla="*/ 54 w 238"/>
                <a:gd name="T91" fmla="*/ 145 h 387"/>
                <a:gd name="T92" fmla="*/ 53 w 238"/>
                <a:gd name="T93" fmla="*/ 158 h 387"/>
                <a:gd name="T94" fmla="*/ 59 w 238"/>
                <a:gd name="T95" fmla="*/ 173 h 387"/>
                <a:gd name="T96" fmla="*/ 59 w 238"/>
                <a:gd name="T97" fmla="*/ 201 h 387"/>
                <a:gd name="T98" fmla="*/ 71 w 238"/>
                <a:gd name="T99" fmla="*/ 186 h 387"/>
                <a:gd name="T100" fmla="*/ 71 w 238"/>
                <a:gd name="T101" fmla="*/ 213 h 387"/>
                <a:gd name="T102" fmla="*/ 98 w 238"/>
                <a:gd name="T103" fmla="*/ 223 h 387"/>
                <a:gd name="T104" fmla="*/ 120 w 238"/>
                <a:gd name="T105" fmla="*/ 249 h 387"/>
                <a:gd name="T106" fmla="*/ 117 w 238"/>
                <a:gd name="T107" fmla="*/ 274 h 387"/>
                <a:gd name="T108" fmla="*/ 83 w 238"/>
                <a:gd name="T109" fmla="*/ 290 h 387"/>
                <a:gd name="T110" fmla="*/ 68 w 238"/>
                <a:gd name="T111" fmla="*/ 319 h 387"/>
                <a:gd name="T112" fmla="*/ 92 w 238"/>
                <a:gd name="T113" fmla="*/ 330 h 387"/>
                <a:gd name="T114" fmla="*/ 130 w 238"/>
                <a:gd name="T115" fmla="*/ 330 h 387"/>
                <a:gd name="T116" fmla="*/ 81 w 238"/>
                <a:gd name="T117" fmla="*/ 352 h 387"/>
                <a:gd name="T118" fmla="*/ 56 w 238"/>
                <a:gd name="T119" fmla="*/ 38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8" h="387">
                  <a:moveTo>
                    <a:pt x="43" y="251"/>
                  </a:moveTo>
                  <a:lnTo>
                    <a:pt x="37" y="246"/>
                  </a:lnTo>
                  <a:lnTo>
                    <a:pt x="31" y="245"/>
                  </a:lnTo>
                  <a:lnTo>
                    <a:pt x="28" y="237"/>
                  </a:lnTo>
                  <a:lnTo>
                    <a:pt x="20" y="234"/>
                  </a:lnTo>
                  <a:lnTo>
                    <a:pt x="17" y="235"/>
                  </a:lnTo>
                  <a:lnTo>
                    <a:pt x="14" y="241"/>
                  </a:lnTo>
                  <a:lnTo>
                    <a:pt x="11" y="243"/>
                  </a:lnTo>
                  <a:lnTo>
                    <a:pt x="0" y="234"/>
                  </a:lnTo>
                  <a:lnTo>
                    <a:pt x="5" y="223"/>
                  </a:lnTo>
                  <a:lnTo>
                    <a:pt x="11" y="220"/>
                  </a:lnTo>
                  <a:lnTo>
                    <a:pt x="13" y="217"/>
                  </a:lnTo>
                  <a:lnTo>
                    <a:pt x="17" y="215"/>
                  </a:lnTo>
                  <a:lnTo>
                    <a:pt x="19" y="213"/>
                  </a:lnTo>
                  <a:lnTo>
                    <a:pt x="25" y="212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34" y="207"/>
                  </a:lnTo>
                  <a:lnTo>
                    <a:pt x="43" y="207"/>
                  </a:lnTo>
                  <a:lnTo>
                    <a:pt x="47" y="210"/>
                  </a:lnTo>
                  <a:lnTo>
                    <a:pt x="47" y="213"/>
                  </a:lnTo>
                  <a:lnTo>
                    <a:pt x="54" y="224"/>
                  </a:lnTo>
                  <a:lnTo>
                    <a:pt x="51" y="226"/>
                  </a:lnTo>
                  <a:lnTo>
                    <a:pt x="59" y="228"/>
                  </a:lnTo>
                  <a:lnTo>
                    <a:pt x="60" y="237"/>
                  </a:lnTo>
                  <a:lnTo>
                    <a:pt x="56" y="229"/>
                  </a:lnTo>
                  <a:lnTo>
                    <a:pt x="54" y="229"/>
                  </a:lnTo>
                  <a:lnTo>
                    <a:pt x="54" y="234"/>
                  </a:lnTo>
                  <a:lnTo>
                    <a:pt x="54" y="237"/>
                  </a:lnTo>
                  <a:lnTo>
                    <a:pt x="59" y="237"/>
                  </a:lnTo>
                  <a:lnTo>
                    <a:pt x="56" y="241"/>
                  </a:lnTo>
                  <a:lnTo>
                    <a:pt x="51" y="241"/>
                  </a:lnTo>
                  <a:lnTo>
                    <a:pt x="51" y="245"/>
                  </a:lnTo>
                  <a:lnTo>
                    <a:pt x="45" y="246"/>
                  </a:lnTo>
                  <a:lnTo>
                    <a:pt x="43" y="246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3" y="251"/>
                  </a:lnTo>
                  <a:close/>
                  <a:moveTo>
                    <a:pt x="159" y="36"/>
                  </a:moveTo>
                  <a:lnTo>
                    <a:pt x="160" y="33"/>
                  </a:lnTo>
                  <a:lnTo>
                    <a:pt x="163" y="34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9" y="36"/>
                  </a:lnTo>
                  <a:close/>
                  <a:moveTo>
                    <a:pt x="168" y="6"/>
                  </a:moveTo>
                  <a:lnTo>
                    <a:pt x="168" y="5"/>
                  </a:lnTo>
                  <a:lnTo>
                    <a:pt x="170" y="0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8" y="6"/>
                  </a:lnTo>
                  <a:close/>
                  <a:moveTo>
                    <a:pt x="157" y="17"/>
                  </a:moveTo>
                  <a:lnTo>
                    <a:pt x="159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close/>
                  <a:moveTo>
                    <a:pt x="214" y="335"/>
                  </a:moveTo>
                  <a:lnTo>
                    <a:pt x="217" y="338"/>
                  </a:lnTo>
                  <a:lnTo>
                    <a:pt x="221" y="335"/>
                  </a:lnTo>
                  <a:lnTo>
                    <a:pt x="219" y="333"/>
                  </a:lnTo>
                  <a:lnTo>
                    <a:pt x="215" y="333"/>
                  </a:lnTo>
                  <a:lnTo>
                    <a:pt x="214" y="335"/>
                  </a:lnTo>
                  <a:lnTo>
                    <a:pt x="214" y="335"/>
                  </a:lnTo>
                  <a:lnTo>
                    <a:pt x="214" y="335"/>
                  </a:lnTo>
                  <a:lnTo>
                    <a:pt x="214" y="335"/>
                  </a:lnTo>
                  <a:close/>
                  <a:moveTo>
                    <a:pt x="157" y="363"/>
                  </a:moveTo>
                  <a:lnTo>
                    <a:pt x="165" y="360"/>
                  </a:lnTo>
                  <a:lnTo>
                    <a:pt x="168" y="361"/>
                  </a:lnTo>
                  <a:lnTo>
                    <a:pt x="170" y="361"/>
                  </a:lnTo>
                  <a:lnTo>
                    <a:pt x="168" y="363"/>
                  </a:lnTo>
                  <a:lnTo>
                    <a:pt x="168" y="365"/>
                  </a:lnTo>
                  <a:lnTo>
                    <a:pt x="165" y="366"/>
                  </a:lnTo>
                  <a:lnTo>
                    <a:pt x="160" y="363"/>
                  </a:lnTo>
                  <a:lnTo>
                    <a:pt x="157" y="363"/>
                  </a:lnTo>
                  <a:lnTo>
                    <a:pt x="157" y="363"/>
                  </a:lnTo>
                  <a:lnTo>
                    <a:pt x="157" y="363"/>
                  </a:lnTo>
                  <a:lnTo>
                    <a:pt x="157" y="363"/>
                  </a:lnTo>
                  <a:close/>
                  <a:moveTo>
                    <a:pt x="68" y="186"/>
                  </a:moveTo>
                  <a:lnTo>
                    <a:pt x="68" y="189"/>
                  </a:lnTo>
                  <a:lnTo>
                    <a:pt x="71" y="192"/>
                  </a:lnTo>
                  <a:lnTo>
                    <a:pt x="70" y="188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8" y="186"/>
                  </a:lnTo>
                  <a:close/>
                  <a:moveTo>
                    <a:pt x="43" y="182"/>
                  </a:moveTo>
                  <a:lnTo>
                    <a:pt x="45" y="176"/>
                  </a:lnTo>
                  <a:lnTo>
                    <a:pt x="45" y="181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close/>
                  <a:moveTo>
                    <a:pt x="28" y="167"/>
                  </a:moveTo>
                  <a:lnTo>
                    <a:pt x="28" y="164"/>
                  </a:lnTo>
                  <a:lnTo>
                    <a:pt x="31" y="164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close/>
                  <a:moveTo>
                    <a:pt x="34" y="162"/>
                  </a:moveTo>
                  <a:lnTo>
                    <a:pt x="40" y="156"/>
                  </a:lnTo>
                  <a:lnTo>
                    <a:pt x="37" y="159"/>
                  </a:lnTo>
                  <a:lnTo>
                    <a:pt x="34" y="162"/>
                  </a:lnTo>
                  <a:lnTo>
                    <a:pt x="34" y="162"/>
                  </a:lnTo>
                  <a:lnTo>
                    <a:pt x="34" y="162"/>
                  </a:lnTo>
                  <a:lnTo>
                    <a:pt x="34" y="162"/>
                  </a:lnTo>
                  <a:close/>
                  <a:moveTo>
                    <a:pt x="45" y="153"/>
                  </a:moveTo>
                  <a:lnTo>
                    <a:pt x="47" y="151"/>
                  </a:lnTo>
                  <a:lnTo>
                    <a:pt x="45" y="151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close/>
                  <a:moveTo>
                    <a:pt x="40" y="145"/>
                  </a:moveTo>
                  <a:lnTo>
                    <a:pt x="42" y="149"/>
                  </a:lnTo>
                  <a:lnTo>
                    <a:pt x="43" y="149"/>
                  </a:lnTo>
                  <a:lnTo>
                    <a:pt x="43" y="145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5"/>
                  </a:lnTo>
                  <a:close/>
                  <a:moveTo>
                    <a:pt x="111" y="73"/>
                  </a:moveTo>
                  <a:lnTo>
                    <a:pt x="114" y="75"/>
                  </a:lnTo>
                  <a:lnTo>
                    <a:pt x="114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1" y="73"/>
                  </a:lnTo>
                  <a:close/>
                  <a:moveTo>
                    <a:pt x="105" y="75"/>
                  </a:moveTo>
                  <a:lnTo>
                    <a:pt x="109" y="75"/>
                  </a:lnTo>
                  <a:lnTo>
                    <a:pt x="114" y="79"/>
                  </a:lnTo>
                  <a:lnTo>
                    <a:pt x="111" y="81"/>
                  </a:lnTo>
                  <a:lnTo>
                    <a:pt x="117" y="79"/>
                  </a:lnTo>
                  <a:lnTo>
                    <a:pt x="117" y="83"/>
                  </a:lnTo>
                  <a:lnTo>
                    <a:pt x="115" y="83"/>
                  </a:lnTo>
                  <a:lnTo>
                    <a:pt x="109" y="83"/>
                  </a:lnTo>
                  <a:lnTo>
                    <a:pt x="109" y="79"/>
                  </a:lnTo>
                  <a:lnTo>
                    <a:pt x="108" y="83"/>
                  </a:lnTo>
                  <a:lnTo>
                    <a:pt x="105" y="81"/>
                  </a:lnTo>
                  <a:lnTo>
                    <a:pt x="105" y="75"/>
                  </a:lnTo>
                  <a:lnTo>
                    <a:pt x="105" y="75"/>
                  </a:lnTo>
                  <a:lnTo>
                    <a:pt x="105" y="75"/>
                  </a:lnTo>
                  <a:lnTo>
                    <a:pt x="105" y="75"/>
                  </a:lnTo>
                  <a:close/>
                  <a:moveTo>
                    <a:pt x="105" y="84"/>
                  </a:moveTo>
                  <a:lnTo>
                    <a:pt x="109" y="88"/>
                  </a:lnTo>
                  <a:lnTo>
                    <a:pt x="109" y="87"/>
                  </a:lnTo>
                  <a:lnTo>
                    <a:pt x="108" y="83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5" y="84"/>
                  </a:lnTo>
                  <a:close/>
                  <a:moveTo>
                    <a:pt x="26" y="112"/>
                  </a:moveTo>
                  <a:lnTo>
                    <a:pt x="31" y="112"/>
                  </a:lnTo>
                  <a:lnTo>
                    <a:pt x="26" y="109"/>
                  </a:lnTo>
                  <a:lnTo>
                    <a:pt x="31" y="104"/>
                  </a:lnTo>
                  <a:lnTo>
                    <a:pt x="36" y="106"/>
                  </a:lnTo>
                  <a:lnTo>
                    <a:pt x="34" y="104"/>
                  </a:lnTo>
                  <a:lnTo>
                    <a:pt x="45" y="95"/>
                  </a:lnTo>
                  <a:lnTo>
                    <a:pt x="47" y="103"/>
                  </a:lnTo>
                  <a:lnTo>
                    <a:pt x="42" y="106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40" y="115"/>
                  </a:lnTo>
                  <a:lnTo>
                    <a:pt x="34" y="114"/>
                  </a:lnTo>
                  <a:lnTo>
                    <a:pt x="31" y="114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6" y="112"/>
                  </a:lnTo>
                  <a:close/>
                  <a:moveTo>
                    <a:pt x="26" y="119"/>
                  </a:moveTo>
                  <a:lnTo>
                    <a:pt x="31" y="121"/>
                  </a:lnTo>
                  <a:lnTo>
                    <a:pt x="36" y="118"/>
                  </a:lnTo>
                  <a:lnTo>
                    <a:pt x="31" y="115"/>
                  </a:lnTo>
                  <a:lnTo>
                    <a:pt x="31" y="118"/>
                  </a:lnTo>
                  <a:lnTo>
                    <a:pt x="28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19"/>
                  </a:lnTo>
                  <a:close/>
                  <a:moveTo>
                    <a:pt x="25" y="126"/>
                  </a:moveTo>
                  <a:lnTo>
                    <a:pt x="20" y="128"/>
                  </a:lnTo>
                  <a:lnTo>
                    <a:pt x="17" y="125"/>
                  </a:lnTo>
                  <a:lnTo>
                    <a:pt x="19" y="125"/>
                  </a:lnTo>
                  <a:lnTo>
                    <a:pt x="26" y="125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close/>
                  <a:moveTo>
                    <a:pt x="22" y="132"/>
                  </a:moveTo>
                  <a:lnTo>
                    <a:pt x="19" y="132"/>
                  </a:lnTo>
                  <a:lnTo>
                    <a:pt x="19" y="131"/>
                  </a:lnTo>
                  <a:lnTo>
                    <a:pt x="25" y="131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2"/>
                  </a:lnTo>
                  <a:close/>
                  <a:moveTo>
                    <a:pt x="17" y="145"/>
                  </a:moveTo>
                  <a:lnTo>
                    <a:pt x="19" y="148"/>
                  </a:lnTo>
                  <a:lnTo>
                    <a:pt x="14" y="149"/>
                  </a:lnTo>
                  <a:lnTo>
                    <a:pt x="14" y="148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7" y="145"/>
                  </a:lnTo>
                  <a:close/>
                  <a:moveTo>
                    <a:pt x="22" y="143"/>
                  </a:moveTo>
                  <a:lnTo>
                    <a:pt x="20" y="140"/>
                  </a:lnTo>
                  <a:lnTo>
                    <a:pt x="22" y="136"/>
                  </a:lnTo>
                  <a:lnTo>
                    <a:pt x="22" y="134"/>
                  </a:lnTo>
                  <a:lnTo>
                    <a:pt x="19" y="134"/>
                  </a:lnTo>
                  <a:lnTo>
                    <a:pt x="19" y="136"/>
                  </a:lnTo>
                  <a:lnTo>
                    <a:pt x="19" y="140"/>
                  </a:lnTo>
                  <a:lnTo>
                    <a:pt x="19" y="143"/>
                  </a:lnTo>
                  <a:lnTo>
                    <a:pt x="22" y="143"/>
                  </a:lnTo>
                  <a:lnTo>
                    <a:pt x="22" y="143"/>
                  </a:lnTo>
                  <a:lnTo>
                    <a:pt x="22" y="143"/>
                  </a:lnTo>
                  <a:lnTo>
                    <a:pt x="22" y="143"/>
                  </a:lnTo>
                  <a:close/>
                  <a:moveTo>
                    <a:pt x="49" y="145"/>
                  </a:moveTo>
                  <a:lnTo>
                    <a:pt x="49" y="142"/>
                  </a:lnTo>
                  <a:lnTo>
                    <a:pt x="43" y="142"/>
                  </a:lnTo>
                  <a:lnTo>
                    <a:pt x="40" y="136"/>
                  </a:lnTo>
                  <a:lnTo>
                    <a:pt x="40" y="134"/>
                  </a:lnTo>
                  <a:lnTo>
                    <a:pt x="37" y="134"/>
                  </a:lnTo>
                  <a:lnTo>
                    <a:pt x="37" y="136"/>
                  </a:lnTo>
                  <a:lnTo>
                    <a:pt x="31" y="132"/>
                  </a:lnTo>
                  <a:lnTo>
                    <a:pt x="34" y="131"/>
                  </a:lnTo>
                  <a:lnTo>
                    <a:pt x="36" y="131"/>
                  </a:lnTo>
                  <a:lnTo>
                    <a:pt x="36" y="126"/>
                  </a:lnTo>
                  <a:lnTo>
                    <a:pt x="42" y="131"/>
                  </a:lnTo>
                  <a:lnTo>
                    <a:pt x="42" y="125"/>
                  </a:lnTo>
                  <a:lnTo>
                    <a:pt x="43" y="123"/>
                  </a:lnTo>
                  <a:lnTo>
                    <a:pt x="47" y="128"/>
                  </a:lnTo>
                  <a:lnTo>
                    <a:pt x="47" y="136"/>
                  </a:lnTo>
                  <a:lnTo>
                    <a:pt x="53" y="140"/>
                  </a:lnTo>
                  <a:lnTo>
                    <a:pt x="54" y="137"/>
                  </a:lnTo>
                  <a:lnTo>
                    <a:pt x="56" y="140"/>
                  </a:lnTo>
                  <a:lnTo>
                    <a:pt x="53" y="142"/>
                  </a:lnTo>
                  <a:lnTo>
                    <a:pt x="51" y="145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49" y="145"/>
                  </a:lnTo>
                  <a:close/>
                  <a:moveTo>
                    <a:pt x="42" y="173"/>
                  </a:moveTo>
                  <a:lnTo>
                    <a:pt x="51" y="170"/>
                  </a:lnTo>
                  <a:lnTo>
                    <a:pt x="51" y="171"/>
                  </a:lnTo>
                  <a:lnTo>
                    <a:pt x="56" y="170"/>
                  </a:lnTo>
                  <a:lnTo>
                    <a:pt x="54" y="164"/>
                  </a:lnTo>
                  <a:lnTo>
                    <a:pt x="51" y="164"/>
                  </a:lnTo>
                  <a:lnTo>
                    <a:pt x="47" y="159"/>
                  </a:lnTo>
                  <a:lnTo>
                    <a:pt x="42" y="162"/>
                  </a:lnTo>
                  <a:lnTo>
                    <a:pt x="49" y="165"/>
                  </a:lnTo>
                  <a:lnTo>
                    <a:pt x="45" y="167"/>
                  </a:lnTo>
                  <a:lnTo>
                    <a:pt x="45" y="170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close/>
                  <a:moveTo>
                    <a:pt x="49" y="189"/>
                  </a:moveTo>
                  <a:lnTo>
                    <a:pt x="47" y="184"/>
                  </a:lnTo>
                  <a:lnTo>
                    <a:pt x="56" y="176"/>
                  </a:lnTo>
                  <a:lnTo>
                    <a:pt x="53" y="186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9"/>
                  </a:lnTo>
                  <a:close/>
                  <a:moveTo>
                    <a:pt x="42" y="195"/>
                  </a:moveTo>
                  <a:lnTo>
                    <a:pt x="47" y="192"/>
                  </a:lnTo>
                  <a:lnTo>
                    <a:pt x="45" y="184"/>
                  </a:lnTo>
                  <a:lnTo>
                    <a:pt x="37" y="188"/>
                  </a:lnTo>
                  <a:lnTo>
                    <a:pt x="37" y="193"/>
                  </a:lnTo>
                  <a:lnTo>
                    <a:pt x="42" y="189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2" y="195"/>
                  </a:lnTo>
                  <a:close/>
                  <a:moveTo>
                    <a:pt x="62" y="195"/>
                  </a:moveTo>
                  <a:lnTo>
                    <a:pt x="65" y="201"/>
                  </a:lnTo>
                  <a:lnTo>
                    <a:pt x="68" y="203"/>
                  </a:lnTo>
                  <a:lnTo>
                    <a:pt x="70" y="198"/>
                  </a:lnTo>
                  <a:lnTo>
                    <a:pt x="66" y="192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close/>
                  <a:moveTo>
                    <a:pt x="81" y="274"/>
                  </a:moveTo>
                  <a:lnTo>
                    <a:pt x="87" y="279"/>
                  </a:lnTo>
                  <a:lnTo>
                    <a:pt x="94" y="273"/>
                  </a:lnTo>
                  <a:lnTo>
                    <a:pt x="89" y="274"/>
                  </a:lnTo>
                  <a:lnTo>
                    <a:pt x="87" y="268"/>
                  </a:lnTo>
                  <a:lnTo>
                    <a:pt x="81" y="271"/>
                  </a:lnTo>
                  <a:lnTo>
                    <a:pt x="81" y="271"/>
                  </a:lnTo>
                  <a:lnTo>
                    <a:pt x="81" y="274"/>
                  </a:lnTo>
                  <a:lnTo>
                    <a:pt x="81" y="274"/>
                  </a:lnTo>
                  <a:lnTo>
                    <a:pt x="81" y="274"/>
                  </a:lnTo>
                  <a:lnTo>
                    <a:pt x="81" y="274"/>
                  </a:lnTo>
                  <a:close/>
                  <a:moveTo>
                    <a:pt x="76" y="249"/>
                  </a:moveTo>
                  <a:lnTo>
                    <a:pt x="77" y="243"/>
                  </a:lnTo>
                  <a:lnTo>
                    <a:pt x="87" y="235"/>
                  </a:lnTo>
                  <a:lnTo>
                    <a:pt x="85" y="240"/>
                  </a:lnTo>
                  <a:lnTo>
                    <a:pt x="87" y="241"/>
                  </a:lnTo>
                  <a:lnTo>
                    <a:pt x="80" y="249"/>
                  </a:lnTo>
                  <a:lnTo>
                    <a:pt x="76" y="249"/>
                  </a:lnTo>
                  <a:lnTo>
                    <a:pt x="76" y="249"/>
                  </a:lnTo>
                  <a:lnTo>
                    <a:pt x="76" y="249"/>
                  </a:lnTo>
                  <a:lnTo>
                    <a:pt x="76" y="249"/>
                  </a:lnTo>
                  <a:close/>
                  <a:moveTo>
                    <a:pt x="65" y="387"/>
                  </a:moveTo>
                  <a:lnTo>
                    <a:pt x="68" y="386"/>
                  </a:lnTo>
                  <a:lnTo>
                    <a:pt x="66" y="383"/>
                  </a:lnTo>
                  <a:lnTo>
                    <a:pt x="70" y="380"/>
                  </a:lnTo>
                  <a:lnTo>
                    <a:pt x="70" y="382"/>
                  </a:lnTo>
                  <a:lnTo>
                    <a:pt x="74" y="378"/>
                  </a:lnTo>
                  <a:lnTo>
                    <a:pt x="76" y="378"/>
                  </a:lnTo>
                  <a:lnTo>
                    <a:pt x="77" y="374"/>
                  </a:lnTo>
                  <a:lnTo>
                    <a:pt x="83" y="377"/>
                  </a:lnTo>
                  <a:lnTo>
                    <a:pt x="87" y="374"/>
                  </a:lnTo>
                  <a:lnTo>
                    <a:pt x="91" y="374"/>
                  </a:lnTo>
                  <a:lnTo>
                    <a:pt x="92" y="374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100" y="378"/>
                  </a:lnTo>
                  <a:lnTo>
                    <a:pt x="105" y="378"/>
                  </a:lnTo>
                  <a:lnTo>
                    <a:pt x="103" y="377"/>
                  </a:lnTo>
                  <a:lnTo>
                    <a:pt x="108" y="374"/>
                  </a:lnTo>
                  <a:lnTo>
                    <a:pt x="109" y="372"/>
                  </a:lnTo>
                  <a:lnTo>
                    <a:pt x="108" y="369"/>
                  </a:lnTo>
                  <a:lnTo>
                    <a:pt x="111" y="365"/>
                  </a:lnTo>
                  <a:lnTo>
                    <a:pt x="114" y="365"/>
                  </a:lnTo>
                  <a:lnTo>
                    <a:pt x="115" y="363"/>
                  </a:lnTo>
                  <a:lnTo>
                    <a:pt x="125" y="361"/>
                  </a:lnTo>
                  <a:lnTo>
                    <a:pt x="129" y="361"/>
                  </a:lnTo>
                  <a:lnTo>
                    <a:pt x="136" y="365"/>
                  </a:lnTo>
                  <a:lnTo>
                    <a:pt x="138" y="365"/>
                  </a:lnTo>
                  <a:lnTo>
                    <a:pt x="143" y="365"/>
                  </a:lnTo>
                  <a:lnTo>
                    <a:pt x="148" y="366"/>
                  </a:lnTo>
                  <a:lnTo>
                    <a:pt x="149" y="363"/>
                  </a:lnTo>
                  <a:lnTo>
                    <a:pt x="154" y="360"/>
                  </a:lnTo>
                  <a:lnTo>
                    <a:pt x="159" y="361"/>
                  </a:lnTo>
                  <a:lnTo>
                    <a:pt x="165" y="357"/>
                  </a:lnTo>
                  <a:lnTo>
                    <a:pt x="168" y="357"/>
                  </a:lnTo>
                  <a:lnTo>
                    <a:pt x="170" y="357"/>
                  </a:lnTo>
                  <a:lnTo>
                    <a:pt x="174" y="355"/>
                  </a:lnTo>
                  <a:lnTo>
                    <a:pt x="174" y="357"/>
                  </a:lnTo>
                  <a:lnTo>
                    <a:pt x="178" y="360"/>
                  </a:lnTo>
                  <a:lnTo>
                    <a:pt x="182" y="357"/>
                  </a:lnTo>
                  <a:lnTo>
                    <a:pt x="191" y="357"/>
                  </a:lnTo>
                  <a:lnTo>
                    <a:pt x="197" y="355"/>
                  </a:lnTo>
                  <a:lnTo>
                    <a:pt x="203" y="357"/>
                  </a:lnTo>
                  <a:lnTo>
                    <a:pt x="203" y="357"/>
                  </a:lnTo>
                  <a:lnTo>
                    <a:pt x="209" y="355"/>
                  </a:lnTo>
                  <a:lnTo>
                    <a:pt x="214" y="354"/>
                  </a:lnTo>
                  <a:lnTo>
                    <a:pt x="217" y="352"/>
                  </a:lnTo>
                  <a:lnTo>
                    <a:pt x="219" y="350"/>
                  </a:lnTo>
                  <a:lnTo>
                    <a:pt x="223" y="352"/>
                  </a:lnTo>
                  <a:lnTo>
                    <a:pt x="223" y="348"/>
                  </a:lnTo>
                  <a:lnTo>
                    <a:pt x="228" y="344"/>
                  </a:lnTo>
                  <a:lnTo>
                    <a:pt x="232" y="344"/>
                  </a:lnTo>
                  <a:lnTo>
                    <a:pt x="232" y="341"/>
                  </a:lnTo>
                  <a:lnTo>
                    <a:pt x="232" y="338"/>
                  </a:lnTo>
                  <a:lnTo>
                    <a:pt x="232" y="335"/>
                  </a:lnTo>
                  <a:lnTo>
                    <a:pt x="225" y="335"/>
                  </a:lnTo>
                  <a:lnTo>
                    <a:pt x="221" y="338"/>
                  </a:lnTo>
                  <a:lnTo>
                    <a:pt x="217" y="338"/>
                  </a:lnTo>
                  <a:lnTo>
                    <a:pt x="214" y="335"/>
                  </a:lnTo>
                  <a:lnTo>
                    <a:pt x="212" y="335"/>
                  </a:lnTo>
                  <a:lnTo>
                    <a:pt x="214" y="333"/>
                  </a:lnTo>
                  <a:lnTo>
                    <a:pt x="214" y="333"/>
                  </a:lnTo>
                  <a:lnTo>
                    <a:pt x="215" y="333"/>
                  </a:lnTo>
                  <a:lnTo>
                    <a:pt x="209" y="332"/>
                  </a:lnTo>
                  <a:lnTo>
                    <a:pt x="206" y="333"/>
                  </a:lnTo>
                  <a:lnTo>
                    <a:pt x="212" y="330"/>
                  </a:lnTo>
                  <a:lnTo>
                    <a:pt x="215" y="330"/>
                  </a:lnTo>
                  <a:lnTo>
                    <a:pt x="219" y="328"/>
                  </a:lnTo>
                  <a:lnTo>
                    <a:pt x="219" y="326"/>
                  </a:lnTo>
                  <a:lnTo>
                    <a:pt x="214" y="326"/>
                  </a:lnTo>
                  <a:lnTo>
                    <a:pt x="217" y="322"/>
                  </a:lnTo>
                  <a:lnTo>
                    <a:pt x="219" y="321"/>
                  </a:lnTo>
                  <a:lnTo>
                    <a:pt x="223" y="322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9"/>
                  </a:lnTo>
                  <a:lnTo>
                    <a:pt x="227" y="316"/>
                  </a:lnTo>
                  <a:lnTo>
                    <a:pt x="223" y="316"/>
                  </a:lnTo>
                  <a:lnTo>
                    <a:pt x="225" y="313"/>
                  </a:lnTo>
                  <a:lnTo>
                    <a:pt x="227" y="313"/>
                  </a:lnTo>
                  <a:lnTo>
                    <a:pt x="228" y="315"/>
                  </a:lnTo>
                  <a:lnTo>
                    <a:pt x="231" y="312"/>
                  </a:lnTo>
                  <a:lnTo>
                    <a:pt x="234" y="312"/>
                  </a:lnTo>
                  <a:lnTo>
                    <a:pt x="234" y="304"/>
                  </a:lnTo>
                  <a:lnTo>
                    <a:pt x="238" y="296"/>
                  </a:lnTo>
                  <a:lnTo>
                    <a:pt x="237" y="295"/>
                  </a:lnTo>
                  <a:lnTo>
                    <a:pt x="234" y="290"/>
                  </a:lnTo>
                  <a:lnTo>
                    <a:pt x="225" y="282"/>
                  </a:lnTo>
                  <a:lnTo>
                    <a:pt x="212" y="282"/>
                  </a:lnTo>
                  <a:lnTo>
                    <a:pt x="203" y="282"/>
                  </a:lnTo>
                  <a:lnTo>
                    <a:pt x="203" y="287"/>
                  </a:lnTo>
                  <a:lnTo>
                    <a:pt x="203" y="291"/>
                  </a:lnTo>
                  <a:lnTo>
                    <a:pt x="197" y="285"/>
                  </a:lnTo>
                  <a:lnTo>
                    <a:pt x="193" y="285"/>
                  </a:lnTo>
                  <a:lnTo>
                    <a:pt x="200" y="279"/>
                  </a:lnTo>
                  <a:lnTo>
                    <a:pt x="200" y="274"/>
                  </a:lnTo>
                  <a:lnTo>
                    <a:pt x="194" y="265"/>
                  </a:lnTo>
                  <a:lnTo>
                    <a:pt x="191" y="265"/>
                  </a:lnTo>
                  <a:lnTo>
                    <a:pt x="185" y="262"/>
                  </a:lnTo>
                  <a:lnTo>
                    <a:pt x="183" y="258"/>
                  </a:lnTo>
                  <a:lnTo>
                    <a:pt x="182" y="258"/>
                  </a:lnTo>
                  <a:lnTo>
                    <a:pt x="179" y="260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8" y="258"/>
                  </a:lnTo>
                  <a:lnTo>
                    <a:pt x="179" y="258"/>
                  </a:lnTo>
                  <a:lnTo>
                    <a:pt x="183" y="258"/>
                  </a:lnTo>
                  <a:lnTo>
                    <a:pt x="188" y="258"/>
                  </a:lnTo>
                  <a:lnTo>
                    <a:pt x="189" y="260"/>
                  </a:lnTo>
                  <a:lnTo>
                    <a:pt x="191" y="260"/>
                  </a:lnTo>
                  <a:lnTo>
                    <a:pt x="194" y="260"/>
                  </a:lnTo>
                  <a:lnTo>
                    <a:pt x="188" y="252"/>
                  </a:lnTo>
                  <a:lnTo>
                    <a:pt x="183" y="249"/>
                  </a:lnTo>
                  <a:lnTo>
                    <a:pt x="185" y="245"/>
                  </a:lnTo>
                  <a:lnTo>
                    <a:pt x="188" y="245"/>
                  </a:lnTo>
                  <a:lnTo>
                    <a:pt x="183" y="243"/>
                  </a:lnTo>
                  <a:lnTo>
                    <a:pt x="182" y="241"/>
                  </a:lnTo>
                  <a:lnTo>
                    <a:pt x="182" y="240"/>
                  </a:lnTo>
                  <a:lnTo>
                    <a:pt x="176" y="234"/>
                  </a:lnTo>
                  <a:lnTo>
                    <a:pt x="170" y="229"/>
                  </a:lnTo>
                  <a:lnTo>
                    <a:pt x="160" y="228"/>
                  </a:lnTo>
                  <a:lnTo>
                    <a:pt x="160" y="224"/>
                  </a:lnTo>
                  <a:lnTo>
                    <a:pt x="159" y="224"/>
                  </a:lnTo>
                  <a:lnTo>
                    <a:pt x="154" y="215"/>
                  </a:lnTo>
                  <a:lnTo>
                    <a:pt x="151" y="210"/>
                  </a:lnTo>
                  <a:lnTo>
                    <a:pt x="149" y="198"/>
                  </a:lnTo>
                  <a:lnTo>
                    <a:pt x="148" y="195"/>
                  </a:lnTo>
                  <a:lnTo>
                    <a:pt x="143" y="195"/>
                  </a:lnTo>
                  <a:lnTo>
                    <a:pt x="136" y="186"/>
                  </a:lnTo>
                  <a:lnTo>
                    <a:pt x="132" y="184"/>
                  </a:lnTo>
                  <a:lnTo>
                    <a:pt x="129" y="182"/>
                  </a:lnTo>
                  <a:lnTo>
                    <a:pt x="123" y="181"/>
                  </a:lnTo>
                  <a:lnTo>
                    <a:pt x="120" y="182"/>
                  </a:lnTo>
                  <a:lnTo>
                    <a:pt x="115" y="184"/>
                  </a:lnTo>
                  <a:lnTo>
                    <a:pt x="109" y="182"/>
                  </a:lnTo>
                  <a:lnTo>
                    <a:pt x="105" y="182"/>
                  </a:lnTo>
                  <a:lnTo>
                    <a:pt x="100" y="182"/>
                  </a:lnTo>
                  <a:lnTo>
                    <a:pt x="100" y="179"/>
                  </a:lnTo>
                  <a:lnTo>
                    <a:pt x="102" y="181"/>
                  </a:lnTo>
                  <a:lnTo>
                    <a:pt x="108" y="181"/>
                  </a:lnTo>
                  <a:lnTo>
                    <a:pt x="114" y="179"/>
                  </a:lnTo>
                  <a:lnTo>
                    <a:pt x="115" y="175"/>
                  </a:lnTo>
                  <a:lnTo>
                    <a:pt x="120" y="175"/>
                  </a:lnTo>
                  <a:lnTo>
                    <a:pt x="125" y="173"/>
                  </a:lnTo>
                  <a:lnTo>
                    <a:pt x="120" y="171"/>
                  </a:lnTo>
                  <a:lnTo>
                    <a:pt x="120" y="167"/>
                  </a:lnTo>
                  <a:lnTo>
                    <a:pt x="119" y="165"/>
                  </a:lnTo>
                  <a:lnTo>
                    <a:pt x="111" y="170"/>
                  </a:lnTo>
                  <a:lnTo>
                    <a:pt x="109" y="170"/>
                  </a:lnTo>
                  <a:lnTo>
                    <a:pt x="115" y="165"/>
                  </a:lnTo>
                  <a:lnTo>
                    <a:pt x="120" y="165"/>
                  </a:lnTo>
                  <a:lnTo>
                    <a:pt x="125" y="162"/>
                  </a:lnTo>
                  <a:lnTo>
                    <a:pt x="126" y="159"/>
                  </a:lnTo>
                  <a:lnTo>
                    <a:pt x="129" y="158"/>
                  </a:lnTo>
                  <a:lnTo>
                    <a:pt x="132" y="153"/>
                  </a:lnTo>
                  <a:lnTo>
                    <a:pt x="134" y="149"/>
                  </a:lnTo>
                  <a:lnTo>
                    <a:pt x="134" y="148"/>
                  </a:lnTo>
                  <a:lnTo>
                    <a:pt x="136" y="143"/>
                  </a:lnTo>
                  <a:lnTo>
                    <a:pt x="136" y="142"/>
                  </a:lnTo>
                  <a:lnTo>
                    <a:pt x="138" y="136"/>
                  </a:lnTo>
                  <a:lnTo>
                    <a:pt x="142" y="132"/>
                  </a:lnTo>
                  <a:lnTo>
                    <a:pt x="142" y="128"/>
                  </a:lnTo>
                  <a:lnTo>
                    <a:pt x="136" y="123"/>
                  </a:lnTo>
                  <a:lnTo>
                    <a:pt x="134" y="125"/>
                  </a:lnTo>
                  <a:lnTo>
                    <a:pt x="123" y="125"/>
                  </a:lnTo>
                  <a:lnTo>
                    <a:pt x="117" y="123"/>
                  </a:lnTo>
                  <a:lnTo>
                    <a:pt x="115" y="125"/>
                  </a:lnTo>
                  <a:lnTo>
                    <a:pt x="111" y="125"/>
                  </a:lnTo>
                  <a:lnTo>
                    <a:pt x="108" y="123"/>
                  </a:lnTo>
                  <a:lnTo>
                    <a:pt x="103" y="123"/>
                  </a:lnTo>
                  <a:lnTo>
                    <a:pt x="103" y="125"/>
                  </a:lnTo>
                  <a:lnTo>
                    <a:pt x="100" y="126"/>
                  </a:lnTo>
                  <a:lnTo>
                    <a:pt x="96" y="128"/>
                  </a:lnTo>
                  <a:lnTo>
                    <a:pt x="94" y="128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94" y="125"/>
                  </a:lnTo>
                  <a:lnTo>
                    <a:pt x="98" y="119"/>
                  </a:lnTo>
                  <a:lnTo>
                    <a:pt x="94" y="121"/>
                  </a:lnTo>
                  <a:lnTo>
                    <a:pt x="91" y="119"/>
                  </a:lnTo>
                  <a:lnTo>
                    <a:pt x="92" y="118"/>
                  </a:lnTo>
                  <a:lnTo>
                    <a:pt x="94" y="115"/>
                  </a:lnTo>
                  <a:lnTo>
                    <a:pt x="105" y="109"/>
                  </a:lnTo>
                  <a:lnTo>
                    <a:pt x="108" y="104"/>
                  </a:lnTo>
                  <a:lnTo>
                    <a:pt x="111" y="103"/>
                  </a:lnTo>
                  <a:lnTo>
                    <a:pt x="114" y="98"/>
                  </a:lnTo>
                  <a:lnTo>
                    <a:pt x="111" y="97"/>
                  </a:lnTo>
                  <a:lnTo>
                    <a:pt x="114" y="94"/>
                  </a:lnTo>
                  <a:lnTo>
                    <a:pt x="114" y="92"/>
                  </a:lnTo>
                  <a:lnTo>
                    <a:pt x="108" y="92"/>
                  </a:lnTo>
                  <a:lnTo>
                    <a:pt x="105" y="94"/>
                  </a:lnTo>
                  <a:lnTo>
                    <a:pt x="102" y="94"/>
                  </a:lnTo>
                  <a:lnTo>
                    <a:pt x="96" y="95"/>
                  </a:lnTo>
                  <a:lnTo>
                    <a:pt x="92" y="94"/>
                  </a:lnTo>
                  <a:lnTo>
                    <a:pt x="89" y="95"/>
                  </a:lnTo>
                  <a:lnTo>
                    <a:pt x="87" y="95"/>
                  </a:lnTo>
                  <a:lnTo>
                    <a:pt x="83" y="97"/>
                  </a:lnTo>
                  <a:lnTo>
                    <a:pt x="85" y="95"/>
                  </a:lnTo>
                  <a:lnTo>
                    <a:pt x="81" y="95"/>
                  </a:lnTo>
                  <a:lnTo>
                    <a:pt x="77" y="98"/>
                  </a:lnTo>
                  <a:lnTo>
                    <a:pt x="80" y="95"/>
                  </a:lnTo>
                  <a:lnTo>
                    <a:pt x="71" y="94"/>
                  </a:lnTo>
                  <a:lnTo>
                    <a:pt x="71" y="95"/>
                  </a:lnTo>
                  <a:lnTo>
                    <a:pt x="70" y="97"/>
                  </a:lnTo>
                  <a:lnTo>
                    <a:pt x="70" y="101"/>
                  </a:lnTo>
                  <a:lnTo>
                    <a:pt x="68" y="101"/>
                  </a:lnTo>
                  <a:lnTo>
                    <a:pt x="70" y="104"/>
                  </a:lnTo>
                  <a:lnTo>
                    <a:pt x="65" y="104"/>
                  </a:lnTo>
                  <a:lnTo>
                    <a:pt x="66" y="109"/>
                  </a:lnTo>
                  <a:lnTo>
                    <a:pt x="65" y="112"/>
                  </a:lnTo>
                  <a:lnTo>
                    <a:pt x="62" y="112"/>
                  </a:lnTo>
                  <a:lnTo>
                    <a:pt x="68" y="115"/>
                  </a:lnTo>
                  <a:lnTo>
                    <a:pt x="70" y="119"/>
                  </a:lnTo>
                  <a:lnTo>
                    <a:pt x="65" y="118"/>
                  </a:lnTo>
                  <a:lnTo>
                    <a:pt x="62" y="118"/>
                  </a:lnTo>
                  <a:lnTo>
                    <a:pt x="59" y="115"/>
                  </a:lnTo>
                  <a:lnTo>
                    <a:pt x="59" y="118"/>
                  </a:lnTo>
                  <a:lnTo>
                    <a:pt x="59" y="119"/>
                  </a:lnTo>
                  <a:lnTo>
                    <a:pt x="59" y="121"/>
                  </a:lnTo>
                  <a:lnTo>
                    <a:pt x="56" y="118"/>
                  </a:lnTo>
                  <a:lnTo>
                    <a:pt x="54" y="121"/>
                  </a:lnTo>
                  <a:lnTo>
                    <a:pt x="56" y="123"/>
                  </a:lnTo>
                  <a:lnTo>
                    <a:pt x="54" y="126"/>
                  </a:lnTo>
                  <a:lnTo>
                    <a:pt x="59" y="128"/>
                  </a:lnTo>
                  <a:lnTo>
                    <a:pt x="60" y="128"/>
                  </a:lnTo>
                  <a:lnTo>
                    <a:pt x="56" y="131"/>
                  </a:lnTo>
                  <a:lnTo>
                    <a:pt x="53" y="128"/>
                  </a:lnTo>
                  <a:lnTo>
                    <a:pt x="54" y="134"/>
                  </a:lnTo>
                  <a:lnTo>
                    <a:pt x="54" y="136"/>
                  </a:lnTo>
                  <a:lnTo>
                    <a:pt x="60" y="134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9" y="137"/>
                  </a:lnTo>
                  <a:lnTo>
                    <a:pt x="62" y="137"/>
                  </a:lnTo>
                  <a:lnTo>
                    <a:pt x="60" y="137"/>
                  </a:lnTo>
                  <a:lnTo>
                    <a:pt x="62" y="140"/>
                  </a:lnTo>
                  <a:lnTo>
                    <a:pt x="60" y="140"/>
                  </a:lnTo>
                  <a:lnTo>
                    <a:pt x="59" y="140"/>
                  </a:lnTo>
                  <a:lnTo>
                    <a:pt x="56" y="142"/>
                  </a:lnTo>
                  <a:lnTo>
                    <a:pt x="59" y="143"/>
                  </a:lnTo>
                  <a:lnTo>
                    <a:pt x="56" y="143"/>
                  </a:lnTo>
                  <a:lnTo>
                    <a:pt x="54" y="145"/>
                  </a:lnTo>
                  <a:lnTo>
                    <a:pt x="59" y="148"/>
                  </a:lnTo>
                  <a:lnTo>
                    <a:pt x="59" y="149"/>
                  </a:lnTo>
                  <a:lnTo>
                    <a:pt x="53" y="148"/>
                  </a:lnTo>
                  <a:lnTo>
                    <a:pt x="53" y="151"/>
                  </a:lnTo>
                  <a:lnTo>
                    <a:pt x="54" y="151"/>
                  </a:lnTo>
                  <a:lnTo>
                    <a:pt x="53" y="153"/>
                  </a:lnTo>
                  <a:lnTo>
                    <a:pt x="51" y="154"/>
                  </a:lnTo>
                  <a:lnTo>
                    <a:pt x="47" y="154"/>
                  </a:lnTo>
                  <a:lnTo>
                    <a:pt x="43" y="156"/>
                  </a:lnTo>
                  <a:lnTo>
                    <a:pt x="45" y="158"/>
                  </a:lnTo>
                  <a:lnTo>
                    <a:pt x="51" y="158"/>
                  </a:lnTo>
                  <a:lnTo>
                    <a:pt x="53" y="158"/>
                  </a:lnTo>
                  <a:lnTo>
                    <a:pt x="53" y="159"/>
                  </a:lnTo>
                  <a:lnTo>
                    <a:pt x="49" y="159"/>
                  </a:lnTo>
                  <a:lnTo>
                    <a:pt x="53" y="164"/>
                  </a:lnTo>
                  <a:lnTo>
                    <a:pt x="54" y="162"/>
                  </a:lnTo>
                  <a:lnTo>
                    <a:pt x="56" y="164"/>
                  </a:lnTo>
                  <a:lnTo>
                    <a:pt x="68" y="154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5" y="159"/>
                  </a:lnTo>
                  <a:lnTo>
                    <a:pt x="62" y="165"/>
                  </a:lnTo>
                  <a:lnTo>
                    <a:pt x="62" y="167"/>
                  </a:lnTo>
                  <a:lnTo>
                    <a:pt x="59" y="173"/>
                  </a:lnTo>
                  <a:lnTo>
                    <a:pt x="60" y="173"/>
                  </a:lnTo>
                  <a:lnTo>
                    <a:pt x="56" y="181"/>
                  </a:lnTo>
                  <a:lnTo>
                    <a:pt x="59" y="184"/>
                  </a:lnTo>
                  <a:lnTo>
                    <a:pt x="56" y="188"/>
                  </a:lnTo>
                  <a:lnTo>
                    <a:pt x="56" y="189"/>
                  </a:lnTo>
                  <a:lnTo>
                    <a:pt x="60" y="189"/>
                  </a:lnTo>
                  <a:lnTo>
                    <a:pt x="56" y="193"/>
                  </a:lnTo>
                  <a:lnTo>
                    <a:pt x="54" y="201"/>
                  </a:lnTo>
                  <a:lnTo>
                    <a:pt x="53" y="203"/>
                  </a:lnTo>
                  <a:lnTo>
                    <a:pt x="53" y="204"/>
                  </a:lnTo>
                  <a:lnTo>
                    <a:pt x="59" y="204"/>
                  </a:lnTo>
                  <a:lnTo>
                    <a:pt x="59" y="201"/>
                  </a:lnTo>
                  <a:lnTo>
                    <a:pt x="60" y="195"/>
                  </a:lnTo>
                  <a:lnTo>
                    <a:pt x="60" y="193"/>
                  </a:lnTo>
                  <a:lnTo>
                    <a:pt x="65" y="189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70" y="173"/>
                  </a:lnTo>
                  <a:lnTo>
                    <a:pt x="65" y="181"/>
                  </a:lnTo>
                  <a:lnTo>
                    <a:pt x="65" y="186"/>
                  </a:lnTo>
                  <a:lnTo>
                    <a:pt x="66" y="186"/>
                  </a:lnTo>
                  <a:lnTo>
                    <a:pt x="66" y="184"/>
                  </a:lnTo>
                  <a:lnTo>
                    <a:pt x="70" y="181"/>
                  </a:lnTo>
                  <a:lnTo>
                    <a:pt x="71" y="186"/>
                  </a:lnTo>
                  <a:lnTo>
                    <a:pt x="74" y="181"/>
                  </a:lnTo>
                  <a:lnTo>
                    <a:pt x="74" y="176"/>
                  </a:lnTo>
                  <a:lnTo>
                    <a:pt x="76" y="175"/>
                  </a:lnTo>
                  <a:lnTo>
                    <a:pt x="76" y="181"/>
                  </a:lnTo>
                  <a:lnTo>
                    <a:pt x="81" y="184"/>
                  </a:lnTo>
                  <a:lnTo>
                    <a:pt x="76" y="182"/>
                  </a:lnTo>
                  <a:lnTo>
                    <a:pt x="74" y="189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0" y="198"/>
                  </a:lnTo>
                  <a:lnTo>
                    <a:pt x="76" y="203"/>
                  </a:lnTo>
                  <a:lnTo>
                    <a:pt x="71" y="213"/>
                  </a:lnTo>
                  <a:lnTo>
                    <a:pt x="71" y="219"/>
                  </a:lnTo>
                  <a:lnTo>
                    <a:pt x="68" y="215"/>
                  </a:lnTo>
                  <a:lnTo>
                    <a:pt x="68" y="220"/>
                  </a:lnTo>
                  <a:lnTo>
                    <a:pt x="74" y="228"/>
                  </a:lnTo>
                  <a:lnTo>
                    <a:pt x="71" y="220"/>
                  </a:lnTo>
                  <a:lnTo>
                    <a:pt x="76" y="220"/>
                  </a:lnTo>
                  <a:lnTo>
                    <a:pt x="85" y="226"/>
                  </a:lnTo>
                  <a:lnTo>
                    <a:pt x="85" y="223"/>
                  </a:lnTo>
                  <a:lnTo>
                    <a:pt x="81" y="219"/>
                  </a:lnTo>
                  <a:lnTo>
                    <a:pt x="85" y="219"/>
                  </a:lnTo>
                  <a:lnTo>
                    <a:pt x="92" y="223"/>
                  </a:lnTo>
                  <a:lnTo>
                    <a:pt x="98" y="223"/>
                  </a:lnTo>
                  <a:lnTo>
                    <a:pt x="98" y="220"/>
                  </a:lnTo>
                  <a:lnTo>
                    <a:pt x="102" y="220"/>
                  </a:lnTo>
                  <a:lnTo>
                    <a:pt x="103" y="215"/>
                  </a:lnTo>
                  <a:lnTo>
                    <a:pt x="117" y="217"/>
                  </a:lnTo>
                  <a:lnTo>
                    <a:pt x="109" y="219"/>
                  </a:lnTo>
                  <a:lnTo>
                    <a:pt x="103" y="232"/>
                  </a:lnTo>
                  <a:lnTo>
                    <a:pt x="109" y="243"/>
                  </a:lnTo>
                  <a:lnTo>
                    <a:pt x="114" y="241"/>
                  </a:lnTo>
                  <a:lnTo>
                    <a:pt x="114" y="246"/>
                  </a:lnTo>
                  <a:lnTo>
                    <a:pt x="117" y="243"/>
                  </a:lnTo>
                  <a:lnTo>
                    <a:pt x="123" y="243"/>
                  </a:lnTo>
                  <a:lnTo>
                    <a:pt x="120" y="249"/>
                  </a:lnTo>
                  <a:lnTo>
                    <a:pt x="123" y="251"/>
                  </a:lnTo>
                  <a:lnTo>
                    <a:pt x="117" y="254"/>
                  </a:lnTo>
                  <a:lnTo>
                    <a:pt x="119" y="260"/>
                  </a:lnTo>
                  <a:lnTo>
                    <a:pt x="115" y="265"/>
                  </a:lnTo>
                  <a:lnTo>
                    <a:pt x="119" y="268"/>
                  </a:lnTo>
                  <a:lnTo>
                    <a:pt x="123" y="273"/>
                  </a:lnTo>
                  <a:lnTo>
                    <a:pt x="126" y="273"/>
                  </a:lnTo>
                  <a:lnTo>
                    <a:pt x="125" y="274"/>
                  </a:lnTo>
                  <a:lnTo>
                    <a:pt x="120" y="274"/>
                  </a:lnTo>
                  <a:lnTo>
                    <a:pt x="117" y="271"/>
                  </a:lnTo>
                  <a:lnTo>
                    <a:pt x="115" y="271"/>
                  </a:lnTo>
                  <a:lnTo>
                    <a:pt x="117" y="274"/>
                  </a:lnTo>
                  <a:lnTo>
                    <a:pt x="119" y="276"/>
                  </a:lnTo>
                  <a:lnTo>
                    <a:pt x="115" y="276"/>
                  </a:lnTo>
                  <a:lnTo>
                    <a:pt x="111" y="273"/>
                  </a:lnTo>
                  <a:lnTo>
                    <a:pt x="103" y="274"/>
                  </a:lnTo>
                  <a:lnTo>
                    <a:pt x="100" y="274"/>
                  </a:lnTo>
                  <a:lnTo>
                    <a:pt x="91" y="279"/>
                  </a:lnTo>
                  <a:lnTo>
                    <a:pt x="85" y="284"/>
                  </a:lnTo>
                  <a:lnTo>
                    <a:pt x="80" y="287"/>
                  </a:lnTo>
                  <a:lnTo>
                    <a:pt x="76" y="291"/>
                  </a:lnTo>
                  <a:lnTo>
                    <a:pt x="81" y="291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92" y="287"/>
                  </a:lnTo>
                  <a:lnTo>
                    <a:pt x="92" y="291"/>
                  </a:lnTo>
                  <a:lnTo>
                    <a:pt x="94" y="295"/>
                  </a:lnTo>
                  <a:lnTo>
                    <a:pt x="91" y="296"/>
                  </a:lnTo>
                  <a:lnTo>
                    <a:pt x="92" y="301"/>
                  </a:lnTo>
                  <a:lnTo>
                    <a:pt x="96" y="301"/>
                  </a:lnTo>
                  <a:lnTo>
                    <a:pt x="89" y="310"/>
                  </a:lnTo>
                  <a:lnTo>
                    <a:pt x="85" y="312"/>
                  </a:lnTo>
                  <a:lnTo>
                    <a:pt x="81" y="315"/>
                  </a:lnTo>
                  <a:lnTo>
                    <a:pt x="80" y="315"/>
                  </a:lnTo>
                  <a:lnTo>
                    <a:pt x="74" y="319"/>
                  </a:lnTo>
                  <a:lnTo>
                    <a:pt x="68" y="319"/>
                  </a:lnTo>
                  <a:lnTo>
                    <a:pt x="62" y="322"/>
                  </a:lnTo>
                  <a:lnTo>
                    <a:pt x="68" y="322"/>
                  </a:lnTo>
                  <a:lnTo>
                    <a:pt x="68" y="326"/>
                  </a:lnTo>
                  <a:lnTo>
                    <a:pt x="65" y="328"/>
                  </a:lnTo>
                  <a:lnTo>
                    <a:pt x="70" y="328"/>
                  </a:lnTo>
                  <a:lnTo>
                    <a:pt x="70" y="330"/>
                  </a:lnTo>
                  <a:lnTo>
                    <a:pt x="71" y="332"/>
                  </a:lnTo>
                  <a:lnTo>
                    <a:pt x="76" y="330"/>
                  </a:lnTo>
                  <a:lnTo>
                    <a:pt x="80" y="328"/>
                  </a:lnTo>
                  <a:lnTo>
                    <a:pt x="87" y="326"/>
                  </a:lnTo>
                  <a:lnTo>
                    <a:pt x="87" y="328"/>
                  </a:lnTo>
                  <a:lnTo>
                    <a:pt x="92" y="330"/>
                  </a:lnTo>
                  <a:lnTo>
                    <a:pt x="89" y="332"/>
                  </a:lnTo>
                  <a:lnTo>
                    <a:pt x="89" y="333"/>
                  </a:lnTo>
                  <a:lnTo>
                    <a:pt x="96" y="333"/>
                  </a:lnTo>
                  <a:lnTo>
                    <a:pt x="96" y="332"/>
                  </a:lnTo>
                  <a:lnTo>
                    <a:pt x="100" y="332"/>
                  </a:lnTo>
                  <a:lnTo>
                    <a:pt x="103" y="335"/>
                  </a:lnTo>
                  <a:lnTo>
                    <a:pt x="108" y="339"/>
                  </a:lnTo>
                  <a:lnTo>
                    <a:pt x="115" y="339"/>
                  </a:lnTo>
                  <a:lnTo>
                    <a:pt x="119" y="335"/>
                  </a:lnTo>
                  <a:lnTo>
                    <a:pt x="123" y="333"/>
                  </a:lnTo>
                  <a:lnTo>
                    <a:pt x="129" y="332"/>
                  </a:lnTo>
                  <a:lnTo>
                    <a:pt x="130" y="330"/>
                  </a:lnTo>
                  <a:lnTo>
                    <a:pt x="134" y="328"/>
                  </a:lnTo>
                  <a:lnTo>
                    <a:pt x="129" y="333"/>
                  </a:lnTo>
                  <a:lnTo>
                    <a:pt x="123" y="339"/>
                  </a:lnTo>
                  <a:lnTo>
                    <a:pt x="120" y="347"/>
                  </a:lnTo>
                  <a:lnTo>
                    <a:pt x="117" y="347"/>
                  </a:lnTo>
                  <a:lnTo>
                    <a:pt x="114" y="347"/>
                  </a:lnTo>
                  <a:lnTo>
                    <a:pt x="109" y="344"/>
                  </a:lnTo>
                  <a:lnTo>
                    <a:pt x="98" y="344"/>
                  </a:lnTo>
                  <a:lnTo>
                    <a:pt x="91" y="347"/>
                  </a:lnTo>
                  <a:lnTo>
                    <a:pt x="91" y="350"/>
                  </a:lnTo>
                  <a:lnTo>
                    <a:pt x="87" y="352"/>
                  </a:lnTo>
                  <a:lnTo>
                    <a:pt x="81" y="352"/>
                  </a:lnTo>
                  <a:lnTo>
                    <a:pt x="81" y="361"/>
                  </a:lnTo>
                  <a:lnTo>
                    <a:pt x="77" y="365"/>
                  </a:lnTo>
                  <a:lnTo>
                    <a:pt x="76" y="366"/>
                  </a:lnTo>
                  <a:lnTo>
                    <a:pt x="70" y="369"/>
                  </a:lnTo>
                  <a:lnTo>
                    <a:pt x="68" y="372"/>
                  </a:lnTo>
                  <a:lnTo>
                    <a:pt x="66" y="372"/>
                  </a:lnTo>
                  <a:lnTo>
                    <a:pt x="65" y="374"/>
                  </a:lnTo>
                  <a:lnTo>
                    <a:pt x="59" y="380"/>
                  </a:lnTo>
                  <a:lnTo>
                    <a:pt x="56" y="378"/>
                  </a:lnTo>
                  <a:lnTo>
                    <a:pt x="51" y="382"/>
                  </a:lnTo>
                  <a:lnTo>
                    <a:pt x="51" y="386"/>
                  </a:lnTo>
                  <a:lnTo>
                    <a:pt x="56" y="386"/>
                  </a:lnTo>
                  <a:lnTo>
                    <a:pt x="56" y="382"/>
                  </a:lnTo>
                  <a:lnTo>
                    <a:pt x="62" y="383"/>
                  </a:lnTo>
                  <a:lnTo>
                    <a:pt x="65" y="387"/>
                  </a:lnTo>
                  <a:lnTo>
                    <a:pt x="65" y="387"/>
                  </a:lnTo>
                  <a:lnTo>
                    <a:pt x="65" y="38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5" name="Freeform 68"/>
            <p:cNvSpPr>
              <a:spLocks noEditPoints="1"/>
            </p:cNvSpPr>
            <p:nvPr/>
          </p:nvSpPr>
          <p:spPr bwMode="auto">
            <a:xfrm>
              <a:off x="5273676" y="2925763"/>
              <a:ext cx="573088" cy="466725"/>
            </a:xfrm>
            <a:custGeom>
              <a:avLst/>
              <a:gdLst>
                <a:gd name="T0" fmla="*/ 283 w 361"/>
                <a:gd name="T1" fmla="*/ 143 h 294"/>
                <a:gd name="T2" fmla="*/ 260 w 361"/>
                <a:gd name="T3" fmla="*/ 155 h 294"/>
                <a:gd name="T4" fmla="*/ 267 w 361"/>
                <a:gd name="T5" fmla="*/ 138 h 294"/>
                <a:gd name="T6" fmla="*/ 289 w 361"/>
                <a:gd name="T7" fmla="*/ 114 h 294"/>
                <a:gd name="T8" fmla="*/ 298 w 361"/>
                <a:gd name="T9" fmla="*/ 111 h 294"/>
                <a:gd name="T10" fmla="*/ 301 w 361"/>
                <a:gd name="T11" fmla="*/ 84 h 294"/>
                <a:gd name="T12" fmla="*/ 309 w 361"/>
                <a:gd name="T13" fmla="*/ 63 h 294"/>
                <a:gd name="T14" fmla="*/ 284 w 361"/>
                <a:gd name="T15" fmla="*/ 61 h 294"/>
                <a:gd name="T16" fmla="*/ 266 w 361"/>
                <a:gd name="T17" fmla="*/ 52 h 294"/>
                <a:gd name="T18" fmla="*/ 244 w 361"/>
                <a:gd name="T19" fmla="*/ 44 h 294"/>
                <a:gd name="T20" fmla="*/ 224 w 361"/>
                <a:gd name="T21" fmla="*/ 35 h 294"/>
                <a:gd name="T22" fmla="*/ 206 w 361"/>
                <a:gd name="T23" fmla="*/ 22 h 294"/>
                <a:gd name="T24" fmla="*/ 186 w 361"/>
                <a:gd name="T25" fmla="*/ 2 h 294"/>
                <a:gd name="T26" fmla="*/ 163 w 361"/>
                <a:gd name="T27" fmla="*/ 8 h 294"/>
                <a:gd name="T28" fmla="*/ 151 w 361"/>
                <a:gd name="T29" fmla="*/ 36 h 294"/>
                <a:gd name="T30" fmla="*/ 122 w 361"/>
                <a:gd name="T31" fmla="*/ 47 h 294"/>
                <a:gd name="T32" fmla="*/ 102 w 361"/>
                <a:gd name="T33" fmla="*/ 55 h 294"/>
                <a:gd name="T34" fmla="*/ 91 w 361"/>
                <a:gd name="T35" fmla="*/ 47 h 294"/>
                <a:gd name="T36" fmla="*/ 74 w 361"/>
                <a:gd name="T37" fmla="*/ 50 h 294"/>
                <a:gd name="T38" fmla="*/ 80 w 361"/>
                <a:gd name="T39" fmla="*/ 69 h 294"/>
                <a:gd name="T40" fmla="*/ 66 w 361"/>
                <a:gd name="T41" fmla="*/ 75 h 294"/>
                <a:gd name="T42" fmla="*/ 42 w 361"/>
                <a:gd name="T43" fmla="*/ 69 h 294"/>
                <a:gd name="T44" fmla="*/ 20 w 361"/>
                <a:gd name="T45" fmla="*/ 74 h 294"/>
                <a:gd name="T46" fmla="*/ 2 w 361"/>
                <a:gd name="T47" fmla="*/ 86 h 294"/>
                <a:gd name="T48" fmla="*/ 4 w 361"/>
                <a:gd name="T49" fmla="*/ 86 h 294"/>
                <a:gd name="T50" fmla="*/ 10 w 361"/>
                <a:gd name="T51" fmla="*/ 94 h 294"/>
                <a:gd name="T52" fmla="*/ 10 w 361"/>
                <a:gd name="T53" fmla="*/ 105 h 294"/>
                <a:gd name="T54" fmla="*/ 34 w 361"/>
                <a:gd name="T55" fmla="*/ 106 h 294"/>
                <a:gd name="T56" fmla="*/ 49 w 361"/>
                <a:gd name="T57" fmla="*/ 111 h 294"/>
                <a:gd name="T58" fmla="*/ 59 w 361"/>
                <a:gd name="T59" fmla="*/ 120 h 294"/>
                <a:gd name="T60" fmla="*/ 71 w 361"/>
                <a:gd name="T61" fmla="*/ 120 h 294"/>
                <a:gd name="T62" fmla="*/ 65 w 361"/>
                <a:gd name="T63" fmla="*/ 134 h 294"/>
                <a:gd name="T64" fmla="*/ 91 w 361"/>
                <a:gd name="T65" fmla="*/ 149 h 294"/>
                <a:gd name="T66" fmla="*/ 89 w 361"/>
                <a:gd name="T67" fmla="*/ 167 h 294"/>
                <a:gd name="T68" fmla="*/ 99 w 361"/>
                <a:gd name="T69" fmla="*/ 175 h 294"/>
                <a:gd name="T70" fmla="*/ 93 w 361"/>
                <a:gd name="T71" fmla="*/ 197 h 294"/>
                <a:gd name="T72" fmla="*/ 82 w 361"/>
                <a:gd name="T73" fmla="*/ 236 h 294"/>
                <a:gd name="T74" fmla="*/ 93 w 361"/>
                <a:gd name="T75" fmla="*/ 246 h 294"/>
                <a:gd name="T76" fmla="*/ 129 w 361"/>
                <a:gd name="T77" fmla="*/ 258 h 294"/>
                <a:gd name="T78" fmla="*/ 163 w 361"/>
                <a:gd name="T79" fmla="*/ 255 h 294"/>
                <a:gd name="T80" fmla="*/ 195 w 361"/>
                <a:gd name="T81" fmla="*/ 263 h 294"/>
                <a:gd name="T82" fmla="*/ 212 w 361"/>
                <a:gd name="T83" fmla="*/ 230 h 294"/>
                <a:gd name="T84" fmla="*/ 235 w 361"/>
                <a:gd name="T85" fmla="*/ 236 h 294"/>
                <a:gd name="T86" fmla="*/ 278 w 361"/>
                <a:gd name="T87" fmla="*/ 246 h 294"/>
                <a:gd name="T88" fmla="*/ 306 w 361"/>
                <a:gd name="T89" fmla="*/ 222 h 294"/>
                <a:gd name="T90" fmla="*/ 289 w 361"/>
                <a:gd name="T91" fmla="*/ 193 h 294"/>
                <a:gd name="T92" fmla="*/ 289 w 361"/>
                <a:gd name="T93" fmla="*/ 169 h 294"/>
                <a:gd name="T94" fmla="*/ 289 w 361"/>
                <a:gd name="T95" fmla="*/ 160 h 294"/>
                <a:gd name="T96" fmla="*/ 341 w 361"/>
                <a:gd name="T97" fmla="*/ 286 h 294"/>
                <a:gd name="T98" fmla="*/ 335 w 361"/>
                <a:gd name="T99" fmla="*/ 279 h 294"/>
                <a:gd name="T100" fmla="*/ 332 w 361"/>
                <a:gd name="T101" fmla="*/ 268 h 294"/>
                <a:gd name="T102" fmla="*/ 346 w 361"/>
                <a:gd name="T103" fmla="*/ 255 h 294"/>
                <a:gd name="T104" fmla="*/ 353 w 361"/>
                <a:gd name="T105" fmla="*/ 248 h 294"/>
                <a:gd name="T106" fmla="*/ 361 w 361"/>
                <a:gd name="T107" fmla="*/ 266 h 294"/>
                <a:gd name="T108" fmla="*/ 349 w 361"/>
                <a:gd name="T109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1" h="294">
                  <a:moveTo>
                    <a:pt x="289" y="160"/>
                  </a:moveTo>
                  <a:lnTo>
                    <a:pt x="289" y="156"/>
                  </a:lnTo>
                  <a:lnTo>
                    <a:pt x="286" y="155"/>
                  </a:lnTo>
                  <a:lnTo>
                    <a:pt x="284" y="149"/>
                  </a:lnTo>
                  <a:lnTo>
                    <a:pt x="283" y="143"/>
                  </a:lnTo>
                  <a:lnTo>
                    <a:pt x="273" y="143"/>
                  </a:lnTo>
                  <a:lnTo>
                    <a:pt x="269" y="147"/>
                  </a:lnTo>
                  <a:lnTo>
                    <a:pt x="273" y="152"/>
                  </a:lnTo>
                  <a:lnTo>
                    <a:pt x="266" y="155"/>
                  </a:lnTo>
                  <a:lnTo>
                    <a:pt x="260" y="155"/>
                  </a:lnTo>
                  <a:lnTo>
                    <a:pt x="260" y="150"/>
                  </a:lnTo>
                  <a:lnTo>
                    <a:pt x="261" y="149"/>
                  </a:lnTo>
                  <a:lnTo>
                    <a:pt x="266" y="149"/>
                  </a:lnTo>
                  <a:lnTo>
                    <a:pt x="266" y="145"/>
                  </a:lnTo>
                  <a:lnTo>
                    <a:pt x="267" y="138"/>
                  </a:lnTo>
                  <a:lnTo>
                    <a:pt x="273" y="127"/>
                  </a:lnTo>
                  <a:lnTo>
                    <a:pt x="278" y="127"/>
                  </a:lnTo>
                  <a:lnTo>
                    <a:pt x="283" y="120"/>
                  </a:lnTo>
                  <a:lnTo>
                    <a:pt x="289" y="117"/>
                  </a:lnTo>
                  <a:lnTo>
                    <a:pt x="289" y="114"/>
                  </a:lnTo>
                  <a:lnTo>
                    <a:pt x="283" y="111"/>
                  </a:lnTo>
                  <a:lnTo>
                    <a:pt x="284" y="106"/>
                  </a:lnTo>
                  <a:lnTo>
                    <a:pt x="292" y="106"/>
                  </a:lnTo>
                  <a:lnTo>
                    <a:pt x="294" y="111"/>
                  </a:lnTo>
                  <a:lnTo>
                    <a:pt x="298" y="111"/>
                  </a:lnTo>
                  <a:lnTo>
                    <a:pt x="307" y="108"/>
                  </a:lnTo>
                  <a:lnTo>
                    <a:pt x="306" y="103"/>
                  </a:lnTo>
                  <a:lnTo>
                    <a:pt x="300" y="100"/>
                  </a:lnTo>
                  <a:lnTo>
                    <a:pt x="300" y="94"/>
                  </a:lnTo>
                  <a:lnTo>
                    <a:pt x="301" y="84"/>
                  </a:lnTo>
                  <a:lnTo>
                    <a:pt x="306" y="83"/>
                  </a:lnTo>
                  <a:lnTo>
                    <a:pt x="306" y="78"/>
                  </a:lnTo>
                  <a:lnTo>
                    <a:pt x="309" y="72"/>
                  </a:lnTo>
                  <a:lnTo>
                    <a:pt x="315" y="66"/>
                  </a:lnTo>
                  <a:lnTo>
                    <a:pt x="309" y="63"/>
                  </a:lnTo>
                  <a:lnTo>
                    <a:pt x="306" y="63"/>
                  </a:lnTo>
                  <a:lnTo>
                    <a:pt x="298" y="59"/>
                  </a:lnTo>
                  <a:lnTo>
                    <a:pt x="294" y="61"/>
                  </a:lnTo>
                  <a:lnTo>
                    <a:pt x="289" y="61"/>
                  </a:lnTo>
                  <a:lnTo>
                    <a:pt x="284" y="61"/>
                  </a:lnTo>
                  <a:lnTo>
                    <a:pt x="280" y="61"/>
                  </a:lnTo>
                  <a:lnTo>
                    <a:pt x="275" y="57"/>
                  </a:lnTo>
                  <a:lnTo>
                    <a:pt x="275" y="55"/>
                  </a:lnTo>
                  <a:lnTo>
                    <a:pt x="269" y="52"/>
                  </a:lnTo>
                  <a:lnTo>
                    <a:pt x="266" y="52"/>
                  </a:lnTo>
                  <a:lnTo>
                    <a:pt x="260" y="52"/>
                  </a:lnTo>
                  <a:lnTo>
                    <a:pt x="255" y="47"/>
                  </a:lnTo>
                  <a:lnTo>
                    <a:pt x="252" y="47"/>
                  </a:lnTo>
                  <a:lnTo>
                    <a:pt x="249" y="48"/>
                  </a:lnTo>
                  <a:lnTo>
                    <a:pt x="244" y="44"/>
                  </a:lnTo>
                  <a:lnTo>
                    <a:pt x="238" y="44"/>
                  </a:lnTo>
                  <a:lnTo>
                    <a:pt x="231" y="36"/>
                  </a:lnTo>
                  <a:lnTo>
                    <a:pt x="229" y="36"/>
                  </a:lnTo>
                  <a:lnTo>
                    <a:pt x="226" y="35"/>
                  </a:lnTo>
                  <a:lnTo>
                    <a:pt x="224" y="35"/>
                  </a:lnTo>
                  <a:lnTo>
                    <a:pt x="220" y="36"/>
                  </a:lnTo>
                  <a:lnTo>
                    <a:pt x="214" y="33"/>
                  </a:lnTo>
                  <a:lnTo>
                    <a:pt x="214" y="26"/>
                  </a:lnTo>
                  <a:lnTo>
                    <a:pt x="211" y="26"/>
                  </a:lnTo>
                  <a:lnTo>
                    <a:pt x="206" y="22"/>
                  </a:lnTo>
                  <a:lnTo>
                    <a:pt x="203" y="22"/>
                  </a:lnTo>
                  <a:lnTo>
                    <a:pt x="195" y="17"/>
                  </a:lnTo>
                  <a:lnTo>
                    <a:pt x="194" y="13"/>
                  </a:lnTo>
                  <a:lnTo>
                    <a:pt x="188" y="11"/>
                  </a:lnTo>
                  <a:lnTo>
                    <a:pt x="186" y="2"/>
                  </a:lnTo>
                  <a:lnTo>
                    <a:pt x="184" y="0"/>
                  </a:lnTo>
                  <a:lnTo>
                    <a:pt x="182" y="2"/>
                  </a:lnTo>
                  <a:lnTo>
                    <a:pt x="172" y="5"/>
                  </a:lnTo>
                  <a:lnTo>
                    <a:pt x="171" y="3"/>
                  </a:lnTo>
                  <a:lnTo>
                    <a:pt x="163" y="8"/>
                  </a:lnTo>
                  <a:lnTo>
                    <a:pt x="160" y="13"/>
                  </a:lnTo>
                  <a:lnTo>
                    <a:pt x="160" y="19"/>
                  </a:lnTo>
                  <a:lnTo>
                    <a:pt x="160" y="27"/>
                  </a:lnTo>
                  <a:lnTo>
                    <a:pt x="151" y="33"/>
                  </a:lnTo>
                  <a:lnTo>
                    <a:pt x="151" y="36"/>
                  </a:lnTo>
                  <a:lnTo>
                    <a:pt x="144" y="39"/>
                  </a:lnTo>
                  <a:lnTo>
                    <a:pt x="138" y="39"/>
                  </a:lnTo>
                  <a:lnTo>
                    <a:pt x="135" y="36"/>
                  </a:lnTo>
                  <a:lnTo>
                    <a:pt x="123" y="42"/>
                  </a:lnTo>
                  <a:lnTo>
                    <a:pt x="122" y="47"/>
                  </a:lnTo>
                  <a:lnTo>
                    <a:pt x="123" y="50"/>
                  </a:lnTo>
                  <a:lnTo>
                    <a:pt x="126" y="52"/>
                  </a:lnTo>
                  <a:lnTo>
                    <a:pt x="122" y="55"/>
                  </a:lnTo>
                  <a:lnTo>
                    <a:pt x="114" y="57"/>
                  </a:lnTo>
                  <a:lnTo>
                    <a:pt x="102" y="55"/>
                  </a:lnTo>
                  <a:lnTo>
                    <a:pt x="99" y="53"/>
                  </a:lnTo>
                  <a:lnTo>
                    <a:pt x="93" y="55"/>
                  </a:lnTo>
                  <a:lnTo>
                    <a:pt x="93" y="52"/>
                  </a:lnTo>
                  <a:lnTo>
                    <a:pt x="89" y="50"/>
                  </a:lnTo>
                  <a:lnTo>
                    <a:pt x="91" y="47"/>
                  </a:lnTo>
                  <a:lnTo>
                    <a:pt x="85" y="44"/>
                  </a:lnTo>
                  <a:lnTo>
                    <a:pt x="82" y="47"/>
                  </a:lnTo>
                  <a:lnTo>
                    <a:pt x="74" y="44"/>
                  </a:lnTo>
                  <a:lnTo>
                    <a:pt x="71" y="44"/>
                  </a:lnTo>
                  <a:lnTo>
                    <a:pt x="74" y="50"/>
                  </a:lnTo>
                  <a:lnTo>
                    <a:pt x="71" y="52"/>
                  </a:lnTo>
                  <a:lnTo>
                    <a:pt x="82" y="59"/>
                  </a:lnTo>
                  <a:lnTo>
                    <a:pt x="80" y="61"/>
                  </a:lnTo>
                  <a:lnTo>
                    <a:pt x="82" y="64"/>
                  </a:lnTo>
                  <a:lnTo>
                    <a:pt x="80" y="69"/>
                  </a:lnTo>
                  <a:lnTo>
                    <a:pt x="83" y="72"/>
                  </a:lnTo>
                  <a:lnTo>
                    <a:pt x="83" y="77"/>
                  </a:lnTo>
                  <a:lnTo>
                    <a:pt x="74" y="75"/>
                  </a:lnTo>
                  <a:lnTo>
                    <a:pt x="71" y="77"/>
                  </a:lnTo>
                  <a:lnTo>
                    <a:pt x="66" y="75"/>
                  </a:lnTo>
                  <a:lnTo>
                    <a:pt x="60" y="77"/>
                  </a:lnTo>
                  <a:lnTo>
                    <a:pt x="59" y="75"/>
                  </a:lnTo>
                  <a:lnTo>
                    <a:pt x="53" y="78"/>
                  </a:lnTo>
                  <a:lnTo>
                    <a:pt x="45" y="69"/>
                  </a:lnTo>
                  <a:lnTo>
                    <a:pt x="42" y="69"/>
                  </a:lnTo>
                  <a:lnTo>
                    <a:pt x="34" y="69"/>
                  </a:lnTo>
                  <a:lnTo>
                    <a:pt x="31" y="75"/>
                  </a:lnTo>
                  <a:lnTo>
                    <a:pt x="26" y="74"/>
                  </a:lnTo>
                  <a:lnTo>
                    <a:pt x="22" y="75"/>
                  </a:lnTo>
                  <a:lnTo>
                    <a:pt x="20" y="74"/>
                  </a:lnTo>
                  <a:lnTo>
                    <a:pt x="15" y="75"/>
                  </a:lnTo>
                  <a:lnTo>
                    <a:pt x="11" y="77"/>
                  </a:lnTo>
                  <a:lnTo>
                    <a:pt x="4" y="78"/>
                  </a:lnTo>
                  <a:lnTo>
                    <a:pt x="0" y="83"/>
                  </a:lnTo>
                  <a:lnTo>
                    <a:pt x="2" y="86"/>
                  </a:lnTo>
                  <a:lnTo>
                    <a:pt x="6" y="84"/>
                  </a:lnTo>
                  <a:lnTo>
                    <a:pt x="11" y="84"/>
                  </a:lnTo>
                  <a:lnTo>
                    <a:pt x="13" y="86"/>
                  </a:lnTo>
                  <a:lnTo>
                    <a:pt x="7" y="86"/>
                  </a:lnTo>
                  <a:lnTo>
                    <a:pt x="4" y="86"/>
                  </a:lnTo>
                  <a:lnTo>
                    <a:pt x="6" y="91"/>
                  </a:lnTo>
                  <a:lnTo>
                    <a:pt x="7" y="88"/>
                  </a:lnTo>
                  <a:lnTo>
                    <a:pt x="11" y="88"/>
                  </a:lnTo>
                  <a:lnTo>
                    <a:pt x="11" y="91"/>
                  </a:lnTo>
                  <a:lnTo>
                    <a:pt x="10" y="94"/>
                  </a:lnTo>
                  <a:lnTo>
                    <a:pt x="4" y="94"/>
                  </a:lnTo>
                  <a:lnTo>
                    <a:pt x="4" y="95"/>
                  </a:lnTo>
                  <a:lnTo>
                    <a:pt x="10" y="95"/>
                  </a:lnTo>
                  <a:lnTo>
                    <a:pt x="11" y="100"/>
                  </a:lnTo>
                  <a:lnTo>
                    <a:pt x="10" y="105"/>
                  </a:lnTo>
                  <a:lnTo>
                    <a:pt x="15" y="100"/>
                  </a:lnTo>
                  <a:lnTo>
                    <a:pt x="19" y="100"/>
                  </a:lnTo>
                  <a:lnTo>
                    <a:pt x="22" y="100"/>
                  </a:lnTo>
                  <a:lnTo>
                    <a:pt x="32" y="105"/>
                  </a:lnTo>
                  <a:lnTo>
                    <a:pt x="34" y="106"/>
                  </a:lnTo>
                  <a:lnTo>
                    <a:pt x="37" y="106"/>
                  </a:lnTo>
                  <a:lnTo>
                    <a:pt x="43" y="111"/>
                  </a:lnTo>
                  <a:lnTo>
                    <a:pt x="47" y="106"/>
                  </a:lnTo>
                  <a:lnTo>
                    <a:pt x="51" y="106"/>
                  </a:lnTo>
                  <a:lnTo>
                    <a:pt x="49" y="111"/>
                  </a:lnTo>
                  <a:lnTo>
                    <a:pt x="51" y="112"/>
                  </a:lnTo>
                  <a:lnTo>
                    <a:pt x="55" y="111"/>
                  </a:lnTo>
                  <a:lnTo>
                    <a:pt x="59" y="112"/>
                  </a:lnTo>
                  <a:lnTo>
                    <a:pt x="57" y="116"/>
                  </a:lnTo>
                  <a:lnTo>
                    <a:pt x="59" y="120"/>
                  </a:lnTo>
                  <a:lnTo>
                    <a:pt x="62" y="120"/>
                  </a:lnTo>
                  <a:lnTo>
                    <a:pt x="68" y="117"/>
                  </a:lnTo>
                  <a:lnTo>
                    <a:pt x="71" y="117"/>
                  </a:lnTo>
                  <a:lnTo>
                    <a:pt x="76" y="121"/>
                  </a:lnTo>
                  <a:lnTo>
                    <a:pt x="71" y="120"/>
                  </a:lnTo>
                  <a:lnTo>
                    <a:pt x="66" y="120"/>
                  </a:lnTo>
                  <a:lnTo>
                    <a:pt x="65" y="123"/>
                  </a:lnTo>
                  <a:lnTo>
                    <a:pt x="66" y="125"/>
                  </a:lnTo>
                  <a:lnTo>
                    <a:pt x="68" y="130"/>
                  </a:lnTo>
                  <a:lnTo>
                    <a:pt x="65" y="134"/>
                  </a:lnTo>
                  <a:lnTo>
                    <a:pt x="66" y="136"/>
                  </a:lnTo>
                  <a:lnTo>
                    <a:pt x="71" y="138"/>
                  </a:lnTo>
                  <a:lnTo>
                    <a:pt x="77" y="145"/>
                  </a:lnTo>
                  <a:lnTo>
                    <a:pt x="85" y="145"/>
                  </a:lnTo>
                  <a:lnTo>
                    <a:pt x="91" y="149"/>
                  </a:lnTo>
                  <a:lnTo>
                    <a:pt x="91" y="152"/>
                  </a:lnTo>
                  <a:lnTo>
                    <a:pt x="93" y="156"/>
                  </a:lnTo>
                  <a:lnTo>
                    <a:pt x="91" y="161"/>
                  </a:lnTo>
                  <a:lnTo>
                    <a:pt x="91" y="161"/>
                  </a:lnTo>
                  <a:lnTo>
                    <a:pt x="89" y="167"/>
                  </a:lnTo>
                  <a:lnTo>
                    <a:pt x="93" y="167"/>
                  </a:lnTo>
                  <a:lnTo>
                    <a:pt x="102" y="172"/>
                  </a:lnTo>
                  <a:lnTo>
                    <a:pt x="108" y="187"/>
                  </a:lnTo>
                  <a:lnTo>
                    <a:pt x="100" y="180"/>
                  </a:lnTo>
                  <a:lnTo>
                    <a:pt x="99" y="175"/>
                  </a:lnTo>
                  <a:lnTo>
                    <a:pt x="93" y="172"/>
                  </a:lnTo>
                  <a:lnTo>
                    <a:pt x="91" y="175"/>
                  </a:lnTo>
                  <a:lnTo>
                    <a:pt x="89" y="185"/>
                  </a:lnTo>
                  <a:lnTo>
                    <a:pt x="89" y="194"/>
                  </a:lnTo>
                  <a:lnTo>
                    <a:pt x="93" y="197"/>
                  </a:lnTo>
                  <a:lnTo>
                    <a:pt x="89" y="200"/>
                  </a:lnTo>
                  <a:lnTo>
                    <a:pt x="87" y="216"/>
                  </a:lnTo>
                  <a:lnTo>
                    <a:pt x="83" y="230"/>
                  </a:lnTo>
                  <a:lnTo>
                    <a:pt x="76" y="233"/>
                  </a:lnTo>
                  <a:lnTo>
                    <a:pt x="82" y="236"/>
                  </a:lnTo>
                  <a:lnTo>
                    <a:pt x="82" y="236"/>
                  </a:lnTo>
                  <a:lnTo>
                    <a:pt x="85" y="236"/>
                  </a:lnTo>
                  <a:lnTo>
                    <a:pt x="85" y="242"/>
                  </a:lnTo>
                  <a:lnTo>
                    <a:pt x="85" y="246"/>
                  </a:lnTo>
                  <a:lnTo>
                    <a:pt x="93" y="246"/>
                  </a:lnTo>
                  <a:lnTo>
                    <a:pt x="105" y="250"/>
                  </a:lnTo>
                  <a:lnTo>
                    <a:pt x="110" y="255"/>
                  </a:lnTo>
                  <a:lnTo>
                    <a:pt x="116" y="252"/>
                  </a:lnTo>
                  <a:lnTo>
                    <a:pt x="122" y="258"/>
                  </a:lnTo>
                  <a:lnTo>
                    <a:pt x="129" y="258"/>
                  </a:lnTo>
                  <a:lnTo>
                    <a:pt x="132" y="258"/>
                  </a:lnTo>
                  <a:lnTo>
                    <a:pt x="138" y="255"/>
                  </a:lnTo>
                  <a:lnTo>
                    <a:pt x="149" y="255"/>
                  </a:lnTo>
                  <a:lnTo>
                    <a:pt x="155" y="258"/>
                  </a:lnTo>
                  <a:lnTo>
                    <a:pt x="163" y="255"/>
                  </a:lnTo>
                  <a:lnTo>
                    <a:pt x="171" y="261"/>
                  </a:lnTo>
                  <a:lnTo>
                    <a:pt x="184" y="258"/>
                  </a:lnTo>
                  <a:lnTo>
                    <a:pt x="194" y="264"/>
                  </a:lnTo>
                  <a:lnTo>
                    <a:pt x="195" y="264"/>
                  </a:lnTo>
                  <a:lnTo>
                    <a:pt x="195" y="263"/>
                  </a:lnTo>
                  <a:lnTo>
                    <a:pt x="194" y="255"/>
                  </a:lnTo>
                  <a:lnTo>
                    <a:pt x="195" y="248"/>
                  </a:lnTo>
                  <a:lnTo>
                    <a:pt x="197" y="242"/>
                  </a:lnTo>
                  <a:lnTo>
                    <a:pt x="203" y="239"/>
                  </a:lnTo>
                  <a:lnTo>
                    <a:pt x="212" y="230"/>
                  </a:lnTo>
                  <a:lnTo>
                    <a:pt x="217" y="230"/>
                  </a:lnTo>
                  <a:lnTo>
                    <a:pt x="218" y="231"/>
                  </a:lnTo>
                  <a:lnTo>
                    <a:pt x="226" y="231"/>
                  </a:lnTo>
                  <a:lnTo>
                    <a:pt x="231" y="236"/>
                  </a:lnTo>
                  <a:lnTo>
                    <a:pt x="235" y="236"/>
                  </a:lnTo>
                  <a:lnTo>
                    <a:pt x="240" y="233"/>
                  </a:lnTo>
                  <a:lnTo>
                    <a:pt x="244" y="231"/>
                  </a:lnTo>
                  <a:lnTo>
                    <a:pt x="261" y="241"/>
                  </a:lnTo>
                  <a:lnTo>
                    <a:pt x="266" y="244"/>
                  </a:lnTo>
                  <a:lnTo>
                    <a:pt x="278" y="246"/>
                  </a:lnTo>
                  <a:lnTo>
                    <a:pt x="283" y="241"/>
                  </a:lnTo>
                  <a:lnTo>
                    <a:pt x="283" y="239"/>
                  </a:lnTo>
                  <a:lnTo>
                    <a:pt x="286" y="233"/>
                  </a:lnTo>
                  <a:lnTo>
                    <a:pt x="303" y="222"/>
                  </a:lnTo>
                  <a:lnTo>
                    <a:pt x="306" y="222"/>
                  </a:lnTo>
                  <a:lnTo>
                    <a:pt x="303" y="216"/>
                  </a:lnTo>
                  <a:lnTo>
                    <a:pt x="307" y="209"/>
                  </a:lnTo>
                  <a:lnTo>
                    <a:pt x="298" y="209"/>
                  </a:lnTo>
                  <a:lnTo>
                    <a:pt x="289" y="203"/>
                  </a:lnTo>
                  <a:lnTo>
                    <a:pt x="289" y="193"/>
                  </a:lnTo>
                  <a:lnTo>
                    <a:pt x="283" y="185"/>
                  </a:lnTo>
                  <a:lnTo>
                    <a:pt x="286" y="182"/>
                  </a:lnTo>
                  <a:lnTo>
                    <a:pt x="292" y="182"/>
                  </a:lnTo>
                  <a:lnTo>
                    <a:pt x="294" y="172"/>
                  </a:lnTo>
                  <a:lnTo>
                    <a:pt x="289" y="169"/>
                  </a:lnTo>
                  <a:lnTo>
                    <a:pt x="289" y="164"/>
                  </a:lnTo>
                  <a:lnTo>
                    <a:pt x="289" y="160"/>
                  </a:lnTo>
                  <a:lnTo>
                    <a:pt x="289" y="160"/>
                  </a:lnTo>
                  <a:lnTo>
                    <a:pt x="289" y="160"/>
                  </a:lnTo>
                  <a:lnTo>
                    <a:pt x="289" y="160"/>
                  </a:lnTo>
                  <a:lnTo>
                    <a:pt x="289" y="160"/>
                  </a:lnTo>
                  <a:close/>
                  <a:moveTo>
                    <a:pt x="349" y="294"/>
                  </a:moveTo>
                  <a:lnTo>
                    <a:pt x="340" y="291"/>
                  </a:lnTo>
                  <a:lnTo>
                    <a:pt x="340" y="288"/>
                  </a:lnTo>
                  <a:lnTo>
                    <a:pt x="341" y="286"/>
                  </a:lnTo>
                  <a:lnTo>
                    <a:pt x="343" y="286"/>
                  </a:lnTo>
                  <a:lnTo>
                    <a:pt x="341" y="285"/>
                  </a:lnTo>
                  <a:lnTo>
                    <a:pt x="340" y="285"/>
                  </a:lnTo>
                  <a:lnTo>
                    <a:pt x="340" y="280"/>
                  </a:lnTo>
                  <a:lnTo>
                    <a:pt x="335" y="279"/>
                  </a:lnTo>
                  <a:lnTo>
                    <a:pt x="334" y="277"/>
                  </a:lnTo>
                  <a:lnTo>
                    <a:pt x="335" y="275"/>
                  </a:lnTo>
                  <a:lnTo>
                    <a:pt x="335" y="274"/>
                  </a:lnTo>
                  <a:lnTo>
                    <a:pt x="332" y="272"/>
                  </a:lnTo>
                  <a:lnTo>
                    <a:pt x="332" y="268"/>
                  </a:lnTo>
                  <a:lnTo>
                    <a:pt x="334" y="268"/>
                  </a:lnTo>
                  <a:lnTo>
                    <a:pt x="335" y="266"/>
                  </a:lnTo>
                  <a:lnTo>
                    <a:pt x="332" y="263"/>
                  </a:lnTo>
                  <a:lnTo>
                    <a:pt x="335" y="258"/>
                  </a:lnTo>
                  <a:lnTo>
                    <a:pt x="346" y="255"/>
                  </a:lnTo>
                  <a:lnTo>
                    <a:pt x="347" y="252"/>
                  </a:lnTo>
                  <a:lnTo>
                    <a:pt x="350" y="255"/>
                  </a:lnTo>
                  <a:lnTo>
                    <a:pt x="353" y="255"/>
                  </a:lnTo>
                  <a:lnTo>
                    <a:pt x="355" y="252"/>
                  </a:lnTo>
                  <a:lnTo>
                    <a:pt x="353" y="248"/>
                  </a:lnTo>
                  <a:lnTo>
                    <a:pt x="353" y="244"/>
                  </a:lnTo>
                  <a:lnTo>
                    <a:pt x="356" y="244"/>
                  </a:lnTo>
                  <a:lnTo>
                    <a:pt x="356" y="250"/>
                  </a:lnTo>
                  <a:lnTo>
                    <a:pt x="356" y="258"/>
                  </a:lnTo>
                  <a:lnTo>
                    <a:pt x="361" y="266"/>
                  </a:lnTo>
                  <a:lnTo>
                    <a:pt x="356" y="277"/>
                  </a:lnTo>
                  <a:lnTo>
                    <a:pt x="356" y="283"/>
                  </a:lnTo>
                  <a:lnTo>
                    <a:pt x="353" y="292"/>
                  </a:lnTo>
                  <a:lnTo>
                    <a:pt x="349" y="294"/>
                  </a:lnTo>
                  <a:lnTo>
                    <a:pt x="349" y="294"/>
                  </a:lnTo>
                  <a:lnTo>
                    <a:pt x="349" y="29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6" name="Freeform 69"/>
            <p:cNvSpPr>
              <a:spLocks/>
            </p:cNvSpPr>
            <p:nvPr/>
          </p:nvSpPr>
          <p:spPr bwMode="auto">
            <a:xfrm>
              <a:off x="6061076" y="3649663"/>
              <a:ext cx="14288" cy="11113"/>
            </a:xfrm>
            <a:custGeom>
              <a:avLst/>
              <a:gdLst>
                <a:gd name="T0" fmla="*/ 0 w 9"/>
                <a:gd name="T1" fmla="*/ 0 h 7"/>
                <a:gd name="T2" fmla="*/ 0 w 9"/>
                <a:gd name="T3" fmla="*/ 4 h 7"/>
                <a:gd name="T4" fmla="*/ 6 w 9"/>
                <a:gd name="T5" fmla="*/ 7 h 7"/>
                <a:gd name="T6" fmla="*/ 9 w 9"/>
                <a:gd name="T7" fmla="*/ 4 h 7"/>
                <a:gd name="T8" fmla="*/ 9 w 9"/>
                <a:gd name="T9" fmla="*/ 0 h 7"/>
                <a:gd name="T10" fmla="*/ 0 w 9"/>
                <a:gd name="T11" fmla="*/ 0 h 7"/>
                <a:gd name="T12" fmla="*/ 0 w 9"/>
                <a:gd name="T13" fmla="*/ 0 h 7"/>
                <a:gd name="T14" fmla="*/ 0 w 9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lnTo>
                    <a:pt x="0" y="4"/>
                  </a:lnTo>
                  <a:lnTo>
                    <a:pt x="6" y="7"/>
                  </a:lnTo>
                  <a:lnTo>
                    <a:pt x="9" y="4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7" name="Freeform 70"/>
            <p:cNvSpPr>
              <a:spLocks noEditPoints="1"/>
            </p:cNvSpPr>
            <p:nvPr/>
          </p:nvSpPr>
          <p:spPr bwMode="auto">
            <a:xfrm>
              <a:off x="5721351" y="3119438"/>
              <a:ext cx="503238" cy="500063"/>
            </a:xfrm>
            <a:custGeom>
              <a:avLst/>
              <a:gdLst>
                <a:gd name="T0" fmla="*/ 7 w 317"/>
                <a:gd name="T1" fmla="*/ 81 h 315"/>
                <a:gd name="T2" fmla="*/ 12 w 317"/>
                <a:gd name="T3" fmla="*/ 50 h 315"/>
                <a:gd name="T4" fmla="*/ 25 w 317"/>
                <a:gd name="T5" fmla="*/ 33 h 315"/>
                <a:gd name="T6" fmla="*/ 58 w 317"/>
                <a:gd name="T7" fmla="*/ 33 h 315"/>
                <a:gd name="T8" fmla="*/ 82 w 317"/>
                <a:gd name="T9" fmla="*/ 27 h 315"/>
                <a:gd name="T10" fmla="*/ 102 w 317"/>
                <a:gd name="T11" fmla="*/ 4 h 315"/>
                <a:gd name="T12" fmla="*/ 140 w 317"/>
                <a:gd name="T13" fmla="*/ 5 h 315"/>
                <a:gd name="T14" fmla="*/ 178 w 317"/>
                <a:gd name="T15" fmla="*/ 27 h 315"/>
                <a:gd name="T16" fmla="*/ 168 w 317"/>
                <a:gd name="T17" fmla="*/ 45 h 315"/>
                <a:gd name="T18" fmla="*/ 143 w 317"/>
                <a:gd name="T19" fmla="*/ 56 h 315"/>
                <a:gd name="T20" fmla="*/ 148 w 317"/>
                <a:gd name="T21" fmla="*/ 80 h 315"/>
                <a:gd name="T22" fmla="*/ 172 w 317"/>
                <a:gd name="T23" fmla="*/ 103 h 315"/>
                <a:gd name="T24" fmla="*/ 197 w 317"/>
                <a:gd name="T25" fmla="*/ 134 h 315"/>
                <a:gd name="T26" fmla="*/ 224 w 317"/>
                <a:gd name="T27" fmla="*/ 154 h 315"/>
                <a:gd name="T28" fmla="*/ 255 w 317"/>
                <a:gd name="T29" fmla="*/ 158 h 315"/>
                <a:gd name="T30" fmla="*/ 255 w 317"/>
                <a:gd name="T31" fmla="*/ 173 h 315"/>
                <a:gd name="T32" fmla="*/ 310 w 317"/>
                <a:gd name="T33" fmla="*/ 197 h 315"/>
                <a:gd name="T34" fmla="*/ 313 w 317"/>
                <a:gd name="T35" fmla="*/ 218 h 315"/>
                <a:gd name="T36" fmla="*/ 302 w 317"/>
                <a:gd name="T37" fmla="*/ 208 h 315"/>
                <a:gd name="T38" fmla="*/ 284 w 317"/>
                <a:gd name="T39" fmla="*/ 199 h 315"/>
                <a:gd name="T40" fmla="*/ 272 w 317"/>
                <a:gd name="T41" fmla="*/ 212 h 315"/>
                <a:gd name="T42" fmla="*/ 273 w 317"/>
                <a:gd name="T43" fmla="*/ 225 h 315"/>
                <a:gd name="T44" fmla="*/ 281 w 317"/>
                <a:gd name="T45" fmla="*/ 247 h 315"/>
                <a:gd name="T46" fmla="*/ 261 w 317"/>
                <a:gd name="T47" fmla="*/ 274 h 315"/>
                <a:gd name="T48" fmla="*/ 244 w 317"/>
                <a:gd name="T49" fmla="*/ 268 h 315"/>
                <a:gd name="T50" fmla="*/ 255 w 317"/>
                <a:gd name="T51" fmla="*/ 253 h 315"/>
                <a:gd name="T52" fmla="*/ 255 w 317"/>
                <a:gd name="T53" fmla="*/ 233 h 315"/>
                <a:gd name="T54" fmla="*/ 239 w 317"/>
                <a:gd name="T55" fmla="*/ 213 h 315"/>
                <a:gd name="T56" fmla="*/ 224 w 317"/>
                <a:gd name="T57" fmla="*/ 202 h 315"/>
                <a:gd name="T58" fmla="*/ 210 w 317"/>
                <a:gd name="T59" fmla="*/ 191 h 315"/>
                <a:gd name="T60" fmla="*/ 187 w 317"/>
                <a:gd name="T61" fmla="*/ 179 h 315"/>
                <a:gd name="T62" fmla="*/ 168 w 317"/>
                <a:gd name="T63" fmla="*/ 173 h 315"/>
                <a:gd name="T64" fmla="*/ 136 w 317"/>
                <a:gd name="T65" fmla="*/ 148 h 315"/>
                <a:gd name="T66" fmla="*/ 111 w 317"/>
                <a:gd name="T67" fmla="*/ 125 h 315"/>
                <a:gd name="T68" fmla="*/ 94 w 317"/>
                <a:gd name="T69" fmla="*/ 103 h 315"/>
                <a:gd name="T70" fmla="*/ 74 w 317"/>
                <a:gd name="T71" fmla="*/ 86 h 315"/>
                <a:gd name="T72" fmla="*/ 24 w 317"/>
                <a:gd name="T73" fmla="*/ 100 h 315"/>
                <a:gd name="T74" fmla="*/ 46 w 317"/>
                <a:gd name="T75" fmla="*/ 182 h 315"/>
                <a:gd name="T76" fmla="*/ 44 w 317"/>
                <a:gd name="T77" fmla="*/ 180 h 315"/>
                <a:gd name="T78" fmla="*/ 114 w 317"/>
                <a:gd name="T79" fmla="*/ 143 h 315"/>
                <a:gd name="T80" fmla="*/ 114 w 317"/>
                <a:gd name="T81" fmla="*/ 143 h 315"/>
                <a:gd name="T82" fmla="*/ 97 w 317"/>
                <a:gd name="T83" fmla="*/ 131 h 315"/>
                <a:gd name="T84" fmla="*/ 91 w 317"/>
                <a:gd name="T85" fmla="*/ 129 h 315"/>
                <a:gd name="T86" fmla="*/ 59 w 317"/>
                <a:gd name="T87" fmla="*/ 247 h 315"/>
                <a:gd name="T88" fmla="*/ 74 w 317"/>
                <a:gd name="T89" fmla="*/ 240 h 315"/>
                <a:gd name="T90" fmla="*/ 85 w 317"/>
                <a:gd name="T91" fmla="*/ 227 h 315"/>
                <a:gd name="T92" fmla="*/ 85 w 317"/>
                <a:gd name="T93" fmla="*/ 196 h 315"/>
                <a:gd name="T94" fmla="*/ 68 w 317"/>
                <a:gd name="T95" fmla="*/ 179 h 315"/>
                <a:gd name="T96" fmla="*/ 44 w 317"/>
                <a:gd name="T97" fmla="*/ 191 h 315"/>
                <a:gd name="T98" fmla="*/ 52 w 317"/>
                <a:gd name="T99" fmla="*/ 210 h 315"/>
                <a:gd name="T100" fmla="*/ 52 w 317"/>
                <a:gd name="T101" fmla="*/ 224 h 315"/>
                <a:gd name="T102" fmla="*/ 58 w 317"/>
                <a:gd name="T103" fmla="*/ 249 h 315"/>
                <a:gd name="T104" fmla="*/ 238 w 317"/>
                <a:gd name="T105" fmla="*/ 306 h 315"/>
                <a:gd name="T106" fmla="*/ 243 w 317"/>
                <a:gd name="T107" fmla="*/ 272 h 315"/>
                <a:gd name="T108" fmla="*/ 215 w 317"/>
                <a:gd name="T109" fmla="*/ 275 h 315"/>
                <a:gd name="T110" fmla="*/ 174 w 317"/>
                <a:gd name="T111" fmla="*/ 274 h 315"/>
                <a:gd name="T112" fmla="*/ 166 w 317"/>
                <a:gd name="T113" fmla="*/ 289 h 315"/>
                <a:gd name="T114" fmla="*/ 206 w 317"/>
                <a:gd name="T115" fmla="*/ 303 h 315"/>
                <a:gd name="T116" fmla="*/ 233 w 317"/>
                <a:gd name="T117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7" h="315">
                  <a:moveTo>
                    <a:pt x="24" y="100"/>
                  </a:moveTo>
                  <a:lnTo>
                    <a:pt x="21" y="95"/>
                  </a:lnTo>
                  <a:lnTo>
                    <a:pt x="25" y="87"/>
                  </a:lnTo>
                  <a:lnTo>
                    <a:pt x="15" y="87"/>
                  </a:lnTo>
                  <a:lnTo>
                    <a:pt x="7" y="81"/>
                  </a:lnTo>
                  <a:lnTo>
                    <a:pt x="6" y="71"/>
                  </a:lnTo>
                  <a:lnTo>
                    <a:pt x="0" y="63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2" y="50"/>
                  </a:lnTo>
                  <a:lnTo>
                    <a:pt x="6" y="47"/>
                  </a:lnTo>
                  <a:lnTo>
                    <a:pt x="6" y="41"/>
                  </a:lnTo>
                  <a:lnTo>
                    <a:pt x="7" y="38"/>
                  </a:lnTo>
                  <a:lnTo>
                    <a:pt x="13" y="41"/>
                  </a:lnTo>
                  <a:lnTo>
                    <a:pt x="25" y="33"/>
                  </a:lnTo>
                  <a:lnTo>
                    <a:pt x="33" y="36"/>
                  </a:lnTo>
                  <a:lnTo>
                    <a:pt x="42" y="21"/>
                  </a:lnTo>
                  <a:lnTo>
                    <a:pt x="50" y="24"/>
                  </a:lnTo>
                  <a:lnTo>
                    <a:pt x="48" y="30"/>
                  </a:lnTo>
                  <a:lnTo>
                    <a:pt x="58" y="33"/>
                  </a:lnTo>
                  <a:lnTo>
                    <a:pt x="59" y="39"/>
                  </a:lnTo>
                  <a:lnTo>
                    <a:pt x="65" y="30"/>
                  </a:lnTo>
                  <a:lnTo>
                    <a:pt x="65" y="22"/>
                  </a:lnTo>
                  <a:lnTo>
                    <a:pt x="76" y="27"/>
                  </a:lnTo>
                  <a:lnTo>
                    <a:pt x="82" y="27"/>
                  </a:lnTo>
                  <a:lnTo>
                    <a:pt x="86" y="30"/>
                  </a:lnTo>
                  <a:lnTo>
                    <a:pt x="88" y="21"/>
                  </a:lnTo>
                  <a:lnTo>
                    <a:pt x="99" y="18"/>
                  </a:lnTo>
                  <a:lnTo>
                    <a:pt x="96" y="9"/>
                  </a:lnTo>
                  <a:lnTo>
                    <a:pt x="102" y="4"/>
                  </a:lnTo>
                  <a:lnTo>
                    <a:pt x="111" y="8"/>
                  </a:lnTo>
                  <a:lnTo>
                    <a:pt x="126" y="0"/>
                  </a:lnTo>
                  <a:lnTo>
                    <a:pt x="132" y="2"/>
                  </a:lnTo>
                  <a:lnTo>
                    <a:pt x="142" y="0"/>
                  </a:lnTo>
                  <a:lnTo>
                    <a:pt x="140" y="5"/>
                  </a:lnTo>
                  <a:lnTo>
                    <a:pt x="154" y="13"/>
                  </a:lnTo>
                  <a:lnTo>
                    <a:pt x="171" y="15"/>
                  </a:lnTo>
                  <a:lnTo>
                    <a:pt x="180" y="15"/>
                  </a:lnTo>
                  <a:lnTo>
                    <a:pt x="183" y="18"/>
                  </a:lnTo>
                  <a:lnTo>
                    <a:pt x="178" y="27"/>
                  </a:lnTo>
                  <a:lnTo>
                    <a:pt x="180" y="30"/>
                  </a:lnTo>
                  <a:lnTo>
                    <a:pt x="177" y="36"/>
                  </a:lnTo>
                  <a:lnTo>
                    <a:pt x="178" y="44"/>
                  </a:lnTo>
                  <a:lnTo>
                    <a:pt x="172" y="44"/>
                  </a:lnTo>
                  <a:lnTo>
                    <a:pt x="168" y="45"/>
                  </a:lnTo>
                  <a:lnTo>
                    <a:pt x="165" y="47"/>
                  </a:lnTo>
                  <a:lnTo>
                    <a:pt x="157" y="47"/>
                  </a:lnTo>
                  <a:lnTo>
                    <a:pt x="151" y="53"/>
                  </a:lnTo>
                  <a:lnTo>
                    <a:pt x="146" y="53"/>
                  </a:lnTo>
                  <a:lnTo>
                    <a:pt x="143" y="56"/>
                  </a:lnTo>
                  <a:lnTo>
                    <a:pt x="148" y="62"/>
                  </a:lnTo>
                  <a:lnTo>
                    <a:pt x="151" y="65"/>
                  </a:lnTo>
                  <a:lnTo>
                    <a:pt x="146" y="71"/>
                  </a:lnTo>
                  <a:lnTo>
                    <a:pt x="143" y="72"/>
                  </a:lnTo>
                  <a:lnTo>
                    <a:pt x="148" y="80"/>
                  </a:lnTo>
                  <a:lnTo>
                    <a:pt x="148" y="86"/>
                  </a:lnTo>
                  <a:lnTo>
                    <a:pt x="151" y="89"/>
                  </a:lnTo>
                  <a:lnTo>
                    <a:pt x="163" y="95"/>
                  </a:lnTo>
                  <a:lnTo>
                    <a:pt x="171" y="98"/>
                  </a:lnTo>
                  <a:lnTo>
                    <a:pt x="172" y="103"/>
                  </a:lnTo>
                  <a:lnTo>
                    <a:pt x="192" y="120"/>
                  </a:lnTo>
                  <a:lnTo>
                    <a:pt x="192" y="123"/>
                  </a:lnTo>
                  <a:lnTo>
                    <a:pt x="193" y="125"/>
                  </a:lnTo>
                  <a:lnTo>
                    <a:pt x="193" y="131"/>
                  </a:lnTo>
                  <a:lnTo>
                    <a:pt x="197" y="134"/>
                  </a:lnTo>
                  <a:lnTo>
                    <a:pt x="203" y="140"/>
                  </a:lnTo>
                  <a:lnTo>
                    <a:pt x="206" y="145"/>
                  </a:lnTo>
                  <a:lnTo>
                    <a:pt x="214" y="151"/>
                  </a:lnTo>
                  <a:lnTo>
                    <a:pt x="218" y="153"/>
                  </a:lnTo>
                  <a:lnTo>
                    <a:pt x="224" y="154"/>
                  </a:lnTo>
                  <a:lnTo>
                    <a:pt x="227" y="157"/>
                  </a:lnTo>
                  <a:lnTo>
                    <a:pt x="239" y="157"/>
                  </a:lnTo>
                  <a:lnTo>
                    <a:pt x="243" y="158"/>
                  </a:lnTo>
                  <a:lnTo>
                    <a:pt x="249" y="157"/>
                  </a:lnTo>
                  <a:lnTo>
                    <a:pt x="255" y="158"/>
                  </a:lnTo>
                  <a:lnTo>
                    <a:pt x="252" y="162"/>
                  </a:lnTo>
                  <a:lnTo>
                    <a:pt x="247" y="166"/>
                  </a:lnTo>
                  <a:lnTo>
                    <a:pt x="247" y="170"/>
                  </a:lnTo>
                  <a:lnTo>
                    <a:pt x="249" y="173"/>
                  </a:lnTo>
                  <a:lnTo>
                    <a:pt x="255" y="173"/>
                  </a:lnTo>
                  <a:lnTo>
                    <a:pt x="266" y="175"/>
                  </a:lnTo>
                  <a:lnTo>
                    <a:pt x="287" y="185"/>
                  </a:lnTo>
                  <a:lnTo>
                    <a:pt x="296" y="190"/>
                  </a:lnTo>
                  <a:lnTo>
                    <a:pt x="300" y="196"/>
                  </a:lnTo>
                  <a:lnTo>
                    <a:pt x="310" y="197"/>
                  </a:lnTo>
                  <a:lnTo>
                    <a:pt x="316" y="201"/>
                  </a:lnTo>
                  <a:lnTo>
                    <a:pt x="317" y="204"/>
                  </a:lnTo>
                  <a:lnTo>
                    <a:pt x="316" y="210"/>
                  </a:lnTo>
                  <a:lnTo>
                    <a:pt x="313" y="213"/>
                  </a:lnTo>
                  <a:lnTo>
                    <a:pt x="313" y="218"/>
                  </a:lnTo>
                  <a:lnTo>
                    <a:pt x="313" y="218"/>
                  </a:lnTo>
                  <a:lnTo>
                    <a:pt x="311" y="219"/>
                  </a:lnTo>
                  <a:lnTo>
                    <a:pt x="307" y="218"/>
                  </a:lnTo>
                  <a:lnTo>
                    <a:pt x="304" y="213"/>
                  </a:lnTo>
                  <a:lnTo>
                    <a:pt x="302" y="208"/>
                  </a:lnTo>
                  <a:lnTo>
                    <a:pt x="302" y="204"/>
                  </a:lnTo>
                  <a:lnTo>
                    <a:pt x="299" y="204"/>
                  </a:lnTo>
                  <a:lnTo>
                    <a:pt x="290" y="202"/>
                  </a:lnTo>
                  <a:lnTo>
                    <a:pt x="289" y="201"/>
                  </a:lnTo>
                  <a:lnTo>
                    <a:pt x="284" y="199"/>
                  </a:lnTo>
                  <a:lnTo>
                    <a:pt x="279" y="199"/>
                  </a:lnTo>
                  <a:lnTo>
                    <a:pt x="278" y="201"/>
                  </a:lnTo>
                  <a:lnTo>
                    <a:pt x="275" y="207"/>
                  </a:lnTo>
                  <a:lnTo>
                    <a:pt x="272" y="210"/>
                  </a:lnTo>
                  <a:lnTo>
                    <a:pt x="272" y="212"/>
                  </a:lnTo>
                  <a:lnTo>
                    <a:pt x="272" y="216"/>
                  </a:lnTo>
                  <a:lnTo>
                    <a:pt x="267" y="219"/>
                  </a:lnTo>
                  <a:lnTo>
                    <a:pt x="267" y="224"/>
                  </a:lnTo>
                  <a:lnTo>
                    <a:pt x="270" y="225"/>
                  </a:lnTo>
                  <a:lnTo>
                    <a:pt x="273" y="225"/>
                  </a:lnTo>
                  <a:lnTo>
                    <a:pt x="281" y="233"/>
                  </a:lnTo>
                  <a:lnTo>
                    <a:pt x="284" y="235"/>
                  </a:lnTo>
                  <a:lnTo>
                    <a:pt x="281" y="242"/>
                  </a:lnTo>
                  <a:lnTo>
                    <a:pt x="284" y="244"/>
                  </a:lnTo>
                  <a:lnTo>
                    <a:pt x="281" y="247"/>
                  </a:lnTo>
                  <a:lnTo>
                    <a:pt x="278" y="247"/>
                  </a:lnTo>
                  <a:lnTo>
                    <a:pt x="272" y="253"/>
                  </a:lnTo>
                  <a:lnTo>
                    <a:pt x="272" y="264"/>
                  </a:lnTo>
                  <a:lnTo>
                    <a:pt x="264" y="270"/>
                  </a:lnTo>
                  <a:lnTo>
                    <a:pt x="261" y="274"/>
                  </a:lnTo>
                  <a:lnTo>
                    <a:pt x="258" y="280"/>
                  </a:lnTo>
                  <a:lnTo>
                    <a:pt x="250" y="280"/>
                  </a:lnTo>
                  <a:lnTo>
                    <a:pt x="244" y="274"/>
                  </a:lnTo>
                  <a:lnTo>
                    <a:pt x="244" y="270"/>
                  </a:lnTo>
                  <a:lnTo>
                    <a:pt x="244" y="268"/>
                  </a:lnTo>
                  <a:lnTo>
                    <a:pt x="249" y="268"/>
                  </a:lnTo>
                  <a:lnTo>
                    <a:pt x="252" y="264"/>
                  </a:lnTo>
                  <a:lnTo>
                    <a:pt x="252" y="258"/>
                  </a:lnTo>
                  <a:lnTo>
                    <a:pt x="252" y="255"/>
                  </a:lnTo>
                  <a:lnTo>
                    <a:pt x="255" y="253"/>
                  </a:lnTo>
                  <a:lnTo>
                    <a:pt x="256" y="253"/>
                  </a:lnTo>
                  <a:lnTo>
                    <a:pt x="260" y="249"/>
                  </a:lnTo>
                  <a:lnTo>
                    <a:pt x="260" y="246"/>
                  </a:lnTo>
                  <a:lnTo>
                    <a:pt x="256" y="242"/>
                  </a:lnTo>
                  <a:lnTo>
                    <a:pt x="255" y="233"/>
                  </a:lnTo>
                  <a:lnTo>
                    <a:pt x="250" y="229"/>
                  </a:lnTo>
                  <a:lnTo>
                    <a:pt x="250" y="221"/>
                  </a:lnTo>
                  <a:lnTo>
                    <a:pt x="247" y="213"/>
                  </a:lnTo>
                  <a:lnTo>
                    <a:pt x="243" y="212"/>
                  </a:lnTo>
                  <a:lnTo>
                    <a:pt x="239" y="213"/>
                  </a:lnTo>
                  <a:lnTo>
                    <a:pt x="233" y="212"/>
                  </a:lnTo>
                  <a:lnTo>
                    <a:pt x="232" y="208"/>
                  </a:lnTo>
                  <a:lnTo>
                    <a:pt x="226" y="208"/>
                  </a:lnTo>
                  <a:lnTo>
                    <a:pt x="221" y="204"/>
                  </a:lnTo>
                  <a:lnTo>
                    <a:pt x="224" y="202"/>
                  </a:lnTo>
                  <a:lnTo>
                    <a:pt x="224" y="199"/>
                  </a:lnTo>
                  <a:lnTo>
                    <a:pt x="220" y="196"/>
                  </a:lnTo>
                  <a:lnTo>
                    <a:pt x="215" y="194"/>
                  </a:lnTo>
                  <a:lnTo>
                    <a:pt x="210" y="194"/>
                  </a:lnTo>
                  <a:lnTo>
                    <a:pt x="210" y="191"/>
                  </a:lnTo>
                  <a:lnTo>
                    <a:pt x="206" y="190"/>
                  </a:lnTo>
                  <a:lnTo>
                    <a:pt x="203" y="190"/>
                  </a:lnTo>
                  <a:lnTo>
                    <a:pt x="198" y="188"/>
                  </a:lnTo>
                  <a:lnTo>
                    <a:pt x="193" y="179"/>
                  </a:lnTo>
                  <a:lnTo>
                    <a:pt x="187" y="179"/>
                  </a:lnTo>
                  <a:lnTo>
                    <a:pt x="182" y="176"/>
                  </a:lnTo>
                  <a:lnTo>
                    <a:pt x="178" y="179"/>
                  </a:lnTo>
                  <a:lnTo>
                    <a:pt x="174" y="179"/>
                  </a:lnTo>
                  <a:lnTo>
                    <a:pt x="172" y="175"/>
                  </a:lnTo>
                  <a:lnTo>
                    <a:pt x="168" y="173"/>
                  </a:lnTo>
                  <a:lnTo>
                    <a:pt x="163" y="171"/>
                  </a:lnTo>
                  <a:lnTo>
                    <a:pt x="151" y="166"/>
                  </a:lnTo>
                  <a:lnTo>
                    <a:pt x="140" y="153"/>
                  </a:lnTo>
                  <a:lnTo>
                    <a:pt x="137" y="151"/>
                  </a:lnTo>
                  <a:lnTo>
                    <a:pt x="136" y="148"/>
                  </a:lnTo>
                  <a:lnTo>
                    <a:pt x="131" y="142"/>
                  </a:lnTo>
                  <a:lnTo>
                    <a:pt x="122" y="142"/>
                  </a:lnTo>
                  <a:lnTo>
                    <a:pt x="122" y="136"/>
                  </a:lnTo>
                  <a:lnTo>
                    <a:pt x="114" y="131"/>
                  </a:lnTo>
                  <a:lnTo>
                    <a:pt x="111" y="125"/>
                  </a:lnTo>
                  <a:lnTo>
                    <a:pt x="103" y="123"/>
                  </a:lnTo>
                  <a:lnTo>
                    <a:pt x="103" y="115"/>
                  </a:lnTo>
                  <a:lnTo>
                    <a:pt x="99" y="114"/>
                  </a:lnTo>
                  <a:lnTo>
                    <a:pt x="99" y="109"/>
                  </a:lnTo>
                  <a:lnTo>
                    <a:pt x="94" y="103"/>
                  </a:lnTo>
                  <a:lnTo>
                    <a:pt x="91" y="98"/>
                  </a:lnTo>
                  <a:lnTo>
                    <a:pt x="90" y="95"/>
                  </a:lnTo>
                  <a:lnTo>
                    <a:pt x="88" y="91"/>
                  </a:lnTo>
                  <a:lnTo>
                    <a:pt x="80" y="89"/>
                  </a:lnTo>
                  <a:lnTo>
                    <a:pt x="74" y="86"/>
                  </a:lnTo>
                  <a:lnTo>
                    <a:pt x="56" y="81"/>
                  </a:lnTo>
                  <a:lnTo>
                    <a:pt x="42" y="89"/>
                  </a:lnTo>
                  <a:lnTo>
                    <a:pt x="42" y="93"/>
                  </a:lnTo>
                  <a:lnTo>
                    <a:pt x="36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close/>
                  <a:moveTo>
                    <a:pt x="44" y="182"/>
                  </a:moveTo>
                  <a:lnTo>
                    <a:pt x="46" y="182"/>
                  </a:lnTo>
                  <a:lnTo>
                    <a:pt x="46" y="180"/>
                  </a:lnTo>
                  <a:lnTo>
                    <a:pt x="48" y="179"/>
                  </a:lnTo>
                  <a:lnTo>
                    <a:pt x="46" y="176"/>
                  </a:lnTo>
                  <a:lnTo>
                    <a:pt x="44" y="179"/>
                  </a:lnTo>
                  <a:lnTo>
                    <a:pt x="44" y="180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4" y="182"/>
                  </a:lnTo>
                  <a:close/>
                  <a:moveTo>
                    <a:pt x="114" y="143"/>
                  </a:moveTo>
                  <a:lnTo>
                    <a:pt x="117" y="145"/>
                  </a:lnTo>
                  <a:lnTo>
                    <a:pt x="117" y="143"/>
                  </a:lnTo>
                  <a:lnTo>
                    <a:pt x="114" y="143"/>
                  </a:lnTo>
                  <a:lnTo>
                    <a:pt x="114" y="143"/>
                  </a:lnTo>
                  <a:lnTo>
                    <a:pt x="114" y="143"/>
                  </a:lnTo>
                  <a:lnTo>
                    <a:pt x="114" y="143"/>
                  </a:lnTo>
                  <a:close/>
                  <a:moveTo>
                    <a:pt x="91" y="129"/>
                  </a:moveTo>
                  <a:lnTo>
                    <a:pt x="90" y="132"/>
                  </a:lnTo>
                  <a:lnTo>
                    <a:pt x="94" y="132"/>
                  </a:lnTo>
                  <a:lnTo>
                    <a:pt x="97" y="131"/>
                  </a:lnTo>
                  <a:lnTo>
                    <a:pt x="103" y="131"/>
                  </a:lnTo>
                  <a:lnTo>
                    <a:pt x="102" y="129"/>
                  </a:lnTo>
                  <a:lnTo>
                    <a:pt x="99" y="125"/>
                  </a:lnTo>
                  <a:lnTo>
                    <a:pt x="97" y="126"/>
                  </a:lnTo>
                  <a:lnTo>
                    <a:pt x="91" y="129"/>
                  </a:lnTo>
                  <a:lnTo>
                    <a:pt x="91" y="129"/>
                  </a:lnTo>
                  <a:lnTo>
                    <a:pt x="91" y="129"/>
                  </a:lnTo>
                  <a:lnTo>
                    <a:pt x="91" y="129"/>
                  </a:lnTo>
                  <a:close/>
                  <a:moveTo>
                    <a:pt x="58" y="249"/>
                  </a:moveTo>
                  <a:lnTo>
                    <a:pt x="59" y="247"/>
                  </a:lnTo>
                  <a:lnTo>
                    <a:pt x="64" y="249"/>
                  </a:lnTo>
                  <a:lnTo>
                    <a:pt x="67" y="247"/>
                  </a:lnTo>
                  <a:lnTo>
                    <a:pt x="67" y="242"/>
                  </a:lnTo>
                  <a:lnTo>
                    <a:pt x="68" y="238"/>
                  </a:lnTo>
                  <a:lnTo>
                    <a:pt x="74" y="240"/>
                  </a:lnTo>
                  <a:lnTo>
                    <a:pt x="76" y="242"/>
                  </a:lnTo>
                  <a:lnTo>
                    <a:pt x="80" y="242"/>
                  </a:lnTo>
                  <a:lnTo>
                    <a:pt x="82" y="238"/>
                  </a:lnTo>
                  <a:lnTo>
                    <a:pt x="82" y="229"/>
                  </a:lnTo>
                  <a:lnTo>
                    <a:pt x="85" y="227"/>
                  </a:lnTo>
                  <a:lnTo>
                    <a:pt x="82" y="218"/>
                  </a:lnTo>
                  <a:lnTo>
                    <a:pt x="85" y="208"/>
                  </a:lnTo>
                  <a:lnTo>
                    <a:pt x="76" y="202"/>
                  </a:lnTo>
                  <a:lnTo>
                    <a:pt x="85" y="199"/>
                  </a:lnTo>
                  <a:lnTo>
                    <a:pt x="85" y="196"/>
                  </a:lnTo>
                  <a:lnTo>
                    <a:pt x="82" y="190"/>
                  </a:lnTo>
                  <a:lnTo>
                    <a:pt x="79" y="185"/>
                  </a:lnTo>
                  <a:lnTo>
                    <a:pt x="74" y="180"/>
                  </a:lnTo>
                  <a:lnTo>
                    <a:pt x="73" y="182"/>
                  </a:lnTo>
                  <a:lnTo>
                    <a:pt x="68" y="179"/>
                  </a:lnTo>
                  <a:lnTo>
                    <a:pt x="65" y="179"/>
                  </a:lnTo>
                  <a:lnTo>
                    <a:pt x="53" y="190"/>
                  </a:lnTo>
                  <a:lnTo>
                    <a:pt x="50" y="190"/>
                  </a:lnTo>
                  <a:lnTo>
                    <a:pt x="44" y="185"/>
                  </a:lnTo>
                  <a:lnTo>
                    <a:pt x="44" y="191"/>
                  </a:lnTo>
                  <a:lnTo>
                    <a:pt x="42" y="196"/>
                  </a:lnTo>
                  <a:lnTo>
                    <a:pt x="46" y="199"/>
                  </a:lnTo>
                  <a:lnTo>
                    <a:pt x="48" y="202"/>
                  </a:lnTo>
                  <a:lnTo>
                    <a:pt x="52" y="204"/>
                  </a:lnTo>
                  <a:lnTo>
                    <a:pt x="52" y="210"/>
                  </a:lnTo>
                  <a:lnTo>
                    <a:pt x="48" y="213"/>
                  </a:lnTo>
                  <a:lnTo>
                    <a:pt x="50" y="218"/>
                  </a:lnTo>
                  <a:lnTo>
                    <a:pt x="53" y="218"/>
                  </a:lnTo>
                  <a:lnTo>
                    <a:pt x="53" y="219"/>
                  </a:lnTo>
                  <a:lnTo>
                    <a:pt x="52" y="224"/>
                  </a:lnTo>
                  <a:lnTo>
                    <a:pt x="48" y="233"/>
                  </a:lnTo>
                  <a:lnTo>
                    <a:pt x="52" y="235"/>
                  </a:lnTo>
                  <a:lnTo>
                    <a:pt x="53" y="246"/>
                  </a:lnTo>
                  <a:lnTo>
                    <a:pt x="58" y="249"/>
                  </a:lnTo>
                  <a:lnTo>
                    <a:pt x="58" y="249"/>
                  </a:lnTo>
                  <a:lnTo>
                    <a:pt x="58" y="249"/>
                  </a:lnTo>
                  <a:lnTo>
                    <a:pt x="58" y="249"/>
                  </a:lnTo>
                  <a:close/>
                  <a:moveTo>
                    <a:pt x="233" y="315"/>
                  </a:moveTo>
                  <a:lnTo>
                    <a:pt x="233" y="307"/>
                  </a:lnTo>
                  <a:lnTo>
                    <a:pt x="238" y="306"/>
                  </a:lnTo>
                  <a:lnTo>
                    <a:pt x="235" y="300"/>
                  </a:lnTo>
                  <a:lnTo>
                    <a:pt x="232" y="294"/>
                  </a:lnTo>
                  <a:lnTo>
                    <a:pt x="235" y="281"/>
                  </a:lnTo>
                  <a:lnTo>
                    <a:pt x="241" y="277"/>
                  </a:lnTo>
                  <a:lnTo>
                    <a:pt x="243" y="272"/>
                  </a:lnTo>
                  <a:lnTo>
                    <a:pt x="238" y="266"/>
                  </a:lnTo>
                  <a:lnTo>
                    <a:pt x="232" y="272"/>
                  </a:lnTo>
                  <a:lnTo>
                    <a:pt x="227" y="272"/>
                  </a:lnTo>
                  <a:lnTo>
                    <a:pt x="221" y="270"/>
                  </a:lnTo>
                  <a:lnTo>
                    <a:pt x="215" y="275"/>
                  </a:lnTo>
                  <a:lnTo>
                    <a:pt x="203" y="274"/>
                  </a:lnTo>
                  <a:lnTo>
                    <a:pt x="193" y="277"/>
                  </a:lnTo>
                  <a:lnTo>
                    <a:pt x="186" y="275"/>
                  </a:lnTo>
                  <a:lnTo>
                    <a:pt x="180" y="272"/>
                  </a:lnTo>
                  <a:lnTo>
                    <a:pt x="174" y="274"/>
                  </a:lnTo>
                  <a:lnTo>
                    <a:pt x="171" y="275"/>
                  </a:lnTo>
                  <a:lnTo>
                    <a:pt x="168" y="274"/>
                  </a:lnTo>
                  <a:lnTo>
                    <a:pt x="163" y="275"/>
                  </a:lnTo>
                  <a:lnTo>
                    <a:pt x="160" y="283"/>
                  </a:lnTo>
                  <a:lnTo>
                    <a:pt x="166" y="289"/>
                  </a:lnTo>
                  <a:lnTo>
                    <a:pt x="174" y="289"/>
                  </a:lnTo>
                  <a:lnTo>
                    <a:pt x="183" y="294"/>
                  </a:lnTo>
                  <a:lnTo>
                    <a:pt x="189" y="295"/>
                  </a:lnTo>
                  <a:lnTo>
                    <a:pt x="195" y="300"/>
                  </a:lnTo>
                  <a:lnTo>
                    <a:pt x="206" y="303"/>
                  </a:lnTo>
                  <a:lnTo>
                    <a:pt x="210" y="303"/>
                  </a:lnTo>
                  <a:lnTo>
                    <a:pt x="214" y="307"/>
                  </a:lnTo>
                  <a:lnTo>
                    <a:pt x="215" y="311"/>
                  </a:lnTo>
                  <a:lnTo>
                    <a:pt x="229" y="315"/>
                  </a:lnTo>
                  <a:lnTo>
                    <a:pt x="233" y="315"/>
                  </a:lnTo>
                  <a:lnTo>
                    <a:pt x="233" y="315"/>
                  </a:lnTo>
                  <a:lnTo>
                    <a:pt x="233" y="31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8" name="Freeform 71"/>
            <p:cNvSpPr>
              <a:spLocks noEditPoints="1"/>
            </p:cNvSpPr>
            <p:nvPr/>
          </p:nvSpPr>
          <p:spPr bwMode="auto">
            <a:xfrm>
              <a:off x="5084763" y="3278188"/>
              <a:ext cx="501650" cy="360363"/>
            </a:xfrm>
            <a:custGeom>
              <a:avLst/>
              <a:gdLst>
                <a:gd name="T0" fmla="*/ 200 w 316"/>
                <a:gd name="T1" fmla="*/ 15 h 227"/>
                <a:gd name="T2" fmla="*/ 204 w 316"/>
                <a:gd name="T3" fmla="*/ 25 h 227"/>
                <a:gd name="T4" fmla="*/ 229 w 316"/>
                <a:gd name="T5" fmla="*/ 34 h 227"/>
                <a:gd name="T6" fmla="*/ 248 w 316"/>
                <a:gd name="T7" fmla="*/ 36 h 227"/>
                <a:gd name="T8" fmla="*/ 268 w 316"/>
                <a:gd name="T9" fmla="*/ 34 h 227"/>
                <a:gd name="T10" fmla="*/ 290 w 316"/>
                <a:gd name="T11" fmla="*/ 39 h 227"/>
                <a:gd name="T12" fmla="*/ 314 w 316"/>
                <a:gd name="T13" fmla="*/ 43 h 227"/>
                <a:gd name="T14" fmla="*/ 313 w 316"/>
                <a:gd name="T15" fmla="*/ 56 h 227"/>
                <a:gd name="T16" fmla="*/ 299 w 316"/>
                <a:gd name="T17" fmla="*/ 73 h 227"/>
                <a:gd name="T18" fmla="*/ 294 w 316"/>
                <a:gd name="T19" fmla="*/ 78 h 227"/>
                <a:gd name="T20" fmla="*/ 267 w 316"/>
                <a:gd name="T21" fmla="*/ 85 h 227"/>
                <a:gd name="T22" fmla="*/ 263 w 316"/>
                <a:gd name="T23" fmla="*/ 95 h 227"/>
                <a:gd name="T24" fmla="*/ 259 w 316"/>
                <a:gd name="T25" fmla="*/ 96 h 227"/>
                <a:gd name="T26" fmla="*/ 242 w 316"/>
                <a:gd name="T27" fmla="*/ 109 h 227"/>
                <a:gd name="T28" fmla="*/ 233 w 316"/>
                <a:gd name="T29" fmla="*/ 135 h 227"/>
                <a:gd name="T30" fmla="*/ 245 w 316"/>
                <a:gd name="T31" fmla="*/ 151 h 227"/>
                <a:gd name="T32" fmla="*/ 230 w 316"/>
                <a:gd name="T33" fmla="*/ 163 h 227"/>
                <a:gd name="T34" fmla="*/ 224 w 316"/>
                <a:gd name="T35" fmla="*/ 183 h 227"/>
                <a:gd name="T36" fmla="*/ 195 w 316"/>
                <a:gd name="T37" fmla="*/ 194 h 227"/>
                <a:gd name="T38" fmla="*/ 183 w 316"/>
                <a:gd name="T39" fmla="*/ 205 h 227"/>
                <a:gd name="T40" fmla="*/ 169 w 316"/>
                <a:gd name="T41" fmla="*/ 209 h 227"/>
                <a:gd name="T42" fmla="*/ 158 w 316"/>
                <a:gd name="T43" fmla="*/ 209 h 227"/>
                <a:gd name="T44" fmla="*/ 135 w 316"/>
                <a:gd name="T45" fmla="*/ 207 h 227"/>
                <a:gd name="T46" fmla="*/ 107 w 316"/>
                <a:gd name="T47" fmla="*/ 216 h 227"/>
                <a:gd name="T48" fmla="*/ 94 w 316"/>
                <a:gd name="T49" fmla="*/ 227 h 227"/>
                <a:gd name="T50" fmla="*/ 71 w 316"/>
                <a:gd name="T51" fmla="*/ 207 h 227"/>
                <a:gd name="T52" fmla="*/ 52 w 316"/>
                <a:gd name="T53" fmla="*/ 196 h 227"/>
                <a:gd name="T54" fmla="*/ 43 w 316"/>
                <a:gd name="T55" fmla="*/ 183 h 227"/>
                <a:gd name="T56" fmla="*/ 57 w 316"/>
                <a:gd name="T57" fmla="*/ 163 h 227"/>
                <a:gd name="T58" fmla="*/ 55 w 316"/>
                <a:gd name="T59" fmla="*/ 148 h 227"/>
                <a:gd name="T60" fmla="*/ 42 w 316"/>
                <a:gd name="T61" fmla="*/ 123 h 227"/>
                <a:gd name="T62" fmla="*/ 61 w 316"/>
                <a:gd name="T63" fmla="*/ 113 h 227"/>
                <a:gd name="T64" fmla="*/ 63 w 316"/>
                <a:gd name="T65" fmla="*/ 87 h 227"/>
                <a:gd name="T66" fmla="*/ 77 w 316"/>
                <a:gd name="T67" fmla="*/ 73 h 227"/>
                <a:gd name="T68" fmla="*/ 71 w 316"/>
                <a:gd name="T69" fmla="*/ 56 h 227"/>
                <a:gd name="T70" fmla="*/ 38 w 316"/>
                <a:gd name="T71" fmla="*/ 56 h 227"/>
                <a:gd name="T72" fmla="*/ 27 w 316"/>
                <a:gd name="T73" fmla="*/ 51 h 227"/>
                <a:gd name="T74" fmla="*/ 10 w 316"/>
                <a:gd name="T75" fmla="*/ 51 h 227"/>
                <a:gd name="T76" fmla="*/ 15 w 316"/>
                <a:gd name="T77" fmla="*/ 42 h 227"/>
                <a:gd name="T78" fmla="*/ 10 w 316"/>
                <a:gd name="T79" fmla="*/ 37 h 227"/>
                <a:gd name="T80" fmla="*/ 6 w 316"/>
                <a:gd name="T81" fmla="*/ 31 h 227"/>
                <a:gd name="T82" fmla="*/ 0 w 316"/>
                <a:gd name="T83" fmla="*/ 23 h 227"/>
                <a:gd name="T84" fmla="*/ 17 w 316"/>
                <a:gd name="T85" fmla="*/ 15 h 227"/>
                <a:gd name="T86" fmla="*/ 27 w 316"/>
                <a:gd name="T87" fmla="*/ 9 h 227"/>
                <a:gd name="T88" fmla="*/ 38 w 316"/>
                <a:gd name="T89" fmla="*/ 4 h 227"/>
                <a:gd name="T90" fmla="*/ 55 w 316"/>
                <a:gd name="T91" fmla="*/ 8 h 227"/>
                <a:gd name="T92" fmla="*/ 72 w 316"/>
                <a:gd name="T93" fmla="*/ 8 h 227"/>
                <a:gd name="T94" fmla="*/ 89 w 316"/>
                <a:gd name="T95" fmla="*/ 4 h 227"/>
                <a:gd name="T96" fmla="*/ 126 w 316"/>
                <a:gd name="T97" fmla="*/ 14 h 227"/>
                <a:gd name="T98" fmla="*/ 150 w 316"/>
                <a:gd name="T99" fmla="*/ 12 h 227"/>
                <a:gd name="T100" fmla="*/ 172 w 316"/>
                <a:gd name="T101" fmla="*/ 9 h 227"/>
                <a:gd name="T102" fmla="*/ 193 w 316"/>
                <a:gd name="T103" fmla="*/ 14 h 227"/>
                <a:gd name="T104" fmla="*/ 195 w 316"/>
                <a:gd name="T105" fmla="*/ 12 h 227"/>
                <a:gd name="T106" fmla="*/ 282 w 316"/>
                <a:gd name="T107" fmla="*/ 146 h 227"/>
                <a:gd name="T108" fmla="*/ 276 w 316"/>
                <a:gd name="T109" fmla="*/ 143 h 227"/>
                <a:gd name="T110" fmla="*/ 280 w 316"/>
                <a:gd name="T111" fmla="*/ 15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6" h="227">
                  <a:moveTo>
                    <a:pt x="195" y="12"/>
                  </a:moveTo>
                  <a:lnTo>
                    <a:pt x="200" y="14"/>
                  </a:lnTo>
                  <a:lnTo>
                    <a:pt x="200" y="15"/>
                  </a:lnTo>
                  <a:lnTo>
                    <a:pt x="204" y="15"/>
                  </a:lnTo>
                  <a:lnTo>
                    <a:pt x="204" y="21"/>
                  </a:lnTo>
                  <a:lnTo>
                    <a:pt x="204" y="25"/>
                  </a:lnTo>
                  <a:lnTo>
                    <a:pt x="212" y="25"/>
                  </a:lnTo>
                  <a:lnTo>
                    <a:pt x="224" y="29"/>
                  </a:lnTo>
                  <a:lnTo>
                    <a:pt x="229" y="34"/>
                  </a:lnTo>
                  <a:lnTo>
                    <a:pt x="235" y="31"/>
                  </a:lnTo>
                  <a:lnTo>
                    <a:pt x="241" y="36"/>
                  </a:lnTo>
                  <a:lnTo>
                    <a:pt x="248" y="36"/>
                  </a:lnTo>
                  <a:lnTo>
                    <a:pt x="251" y="37"/>
                  </a:lnTo>
                  <a:lnTo>
                    <a:pt x="257" y="34"/>
                  </a:lnTo>
                  <a:lnTo>
                    <a:pt x="268" y="34"/>
                  </a:lnTo>
                  <a:lnTo>
                    <a:pt x="274" y="36"/>
                  </a:lnTo>
                  <a:lnTo>
                    <a:pt x="282" y="34"/>
                  </a:lnTo>
                  <a:lnTo>
                    <a:pt x="290" y="39"/>
                  </a:lnTo>
                  <a:lnTo>
                    <a:pt x="303" y="37"/>
                  </a:lnTo>
                  <a:lnTo>
                    <a:pt x="313" y="43"/>
                  </a:lnTo>
                  <a:lnTo>
                    <a:pt x="314" y="43"/>
                  </a:lnTo>
                  <a:lnTo>
                    <a:pt x="316" y="47"/>
                  </a:lnTo>
                  <a:lnTo>
                    <a:pt x="310" y="48"/>
                  </a:lnTo>
                  <a:lnTo>
                    <a:pt x="313" y="56"/>
                  </a:lnTo>
                  <a:lnTo>
                    <a:pt x="313" y="61"/>
                  </a:lnTo>
                  <a:lnTo>
                    <a:pt x="308" y="67"/>
                  </a:lnTo>
                  <a:lnTo>
                    <a:pt x="299" y="73"/>
                  </a:lnTo>
                  <a:lnTo>
                    <a:pt x="299" y="73"/>
                  </a:lnTo>
                  <a:lnTo>
                    <a:pt x="294" y="78"/>
                  </a:lnTo>
                  <a:lnTo>
                    <a:pt x="294" y="78"/>
                  </a:lnTo>
                  <a:lnTo>
                    <a:pt x="285" y="79"/>
                  </a:lnTo>
                  <a:lnTo>
                    <a:pt x="274" y="79"/>
                  </a:lnTo>
                  <a:lnTo>
                    <a:pt x="267" y="85"/>
                  </a:lnTo>
                  <a:lnTo>
                    <a:pt x="261" y="87"/>
                  </a:lnTo>
                  <a:lnTo>
                    <a:pt x="265" y="90"/>
                  </a:lnTo>
                  <a:lnTo>
                    <a:pt x="263" y="95"/>
                  </a:lnTo>
                  <a:lnTo>
                    <a:pt x="259" y="99"/>
                  </a:lnTo>
                  <a:lnTo>
                    <a:pt x="257" y="96"/>
                  </a:lnTo>
                  <a:lnTo>
                    <a:pt x="259" y="96"/>
                  </a:lnTo>
                  <a:lnTo>
                    <a:pt x="255" y="95"/>
                  </a:lnTo>
                  <a:lnTo>
                    <a:pt x="248" y="107"/>
                  </a:lnTo>
                  <a:lnTo>
                    <a:pt x="242" y="109"/>
                  </a:lnTo>
                  <a:lnTo>
                    <a:pt x="233" y="126"/>
                  </a:lnTo>
                  <a:lnTo>
                    <a:pt x="229" y="130"/>
                  </a:lnTo>
                  <a:lnTo>
                    <a:pt x="233" y="135"/>
                  </a:lnTo>
                  <a:lnTo>
                    <a:pt x="235" y="140"/>
                  </a:lnTo>
                  <a:lnTo>
                    <a:pt x="238" y="143"/>
                  </a:lnTo>
                  <a:lnTo>
                    <a:pt x="245" y="151"/>
                  </a:lnTo>
                  <a:lnTo>
                    <a:pt x="241" y="156"/>
                  </a:lnTo>
                  <a:lnTo>
                    <a:pt x="230" y="157"/>
                  </a:lnTo>
                  <a:lnTo>
                    <a:pt x="230" y="163"/>
                  </a:lnTo>
                  <a:lnTo>
                    <a:pt x="221" y="174"/>
                  </a:lnTo>
                  <a:lnTo>
                    <a:pt x="221" y="182"/>
                  </a:lnTo>
                  <a:lnTo>
                    <a:pt x="224" y="183"/>
                  </a:lnTo>
                  <a:lnTo>
                    <a:pt x="221" y="187"/>
                  </a:lnTo>
                  <a:lnTo>
                    <a:pt x="212" y="187"/>
                  </a:lnTo>
                  <a:lnTo>
                    <a:pt x="195" y="194"/>
                  </a:lnTo>
                  <a:lnTo>
                    <a:pt x="195" y="200"/>
                  </a:lnTo>
                  <a:lnTo>
                    <a:pt x="189" y="209"/>
                  </a:lnTo>
                  <a:lnTo>
                    <a:pt x="183" y="205"/>
                  </a:lnTo>
                  <a:lnTo>
                    <a:pt x="178" y="201"/>
                  </a:lnTo>
                  <a:lnTo>
                    <a:pt x="173" y="205"/>
                  </a:lnTo>
                  <a:lnTo>
                    <a:pt x="169" y="209"/>
                  </a:lnTo>
                  <a:lnTo>
                    <a:pt x="166" y="207"/>
                  </a:lnTo>
                  <a:lnTo>
                    <a:pt x="160" y="205"/>
                  </a:lnTo>
                  <a:lnTo>
                    <a:pt x="158" y="209"/>
                  </a:lnTo>
                  <a:lnTo>
                    <a:pt x="150" y="207"/>
                  </a:lnTo>
                  <a:lnTo>
                    <a:pt x="139" y="205"/>
                  </a:lnTo>
                  <a:lnTo>
                    <a:pt x="135" y="207"/>
                  </a:lnTo>
                  <a:lnTo>
                    <a:pt x="124" y="207"/>
                  </a:lnTo>
                  <a:lnTo>
                    <a:pt x="117" y="216"/>
                  </a:lnTo>
                  <a:lnTo>
                    <a:pt x="107" y="216"/>
                  </a:lnTo>
                  <a:lnTo>
                    <a:pt x="101" y="221"/>
                  </a:lnTo>
                  <a:lnTo>
                    <a:pt x="101" y="224"/>
                  </a:lnTo>
                  <a:lnTo>
                    <a:pt x="94" y="227"/>
                  </a:lnTo>
                  <a:lnTo>
                    <a:pt x="84" y="226"/>
                  </a:lnTo>
                  <a:lnTo>
                    <a:pt x="77" y="218"/>
                  </a:lnTo>
                  <a:lnTo>
                    <a:pt x="71" y="207"/>
                  </a:lnTo>
                  <a:lnTo>
                    <a:pt x="71" y="205"/>
                  </a:lnTo>
                  <a:lnTo>
                    <a:pt x="59" y="196"/>
                  </a:lnTo>
                  <a:lnTo>
                    <a:pt x="52" y="196"/>
                  </a:lnTo>
                  <a:lnTo>
                    <a:pt x="48" y="194"/>
                  </a:lnTo>
                  <a:lnTo>
                    <a:pt x="48" y="188"/>
                  </a:lnTo>
                  <a:lnTo>
                    <a:pt x="43" y="183"/>
                  </a:lnTo>
                  <a:lnTo>
                    <a:pt x="49" y="173"/>
                  </a:lnTo>
                  <a:lnTo>
                    <a:pt x="55" y="167"/>
                  </a:lnTo>
                  <a:lnTo>
                    <a:pt x="57" y="163"/>
                  </a:lnTo>
                  <a:lnTo>
                    <a:pt x="52" y="163"/>
                  </a:lnTo>
                  <a:lnTo>
                    <a:pt x="48" y="156"/>
                  </a:lnTo>
                  <a:lnTo>
                    <a:pt x="55" y="148"/>
                  </a:lnTo>
                  <a:lnTo>
                    <a:pt x="55" y="137"/>
                  </a:lnTo>
                  <a:lnTo>
                    <a:pt x="49" y="135"/>
                  </a:lnTo>
                  <a:lnTo>
                    <a:pt x="42" y="123"/>
                  </a:lnTo>
                  <a:lnTo>
                    <a:pt x="48" y="121"/>
                  </a:lnTo>
                  <a:lnTo>
                    <a:pt x="54" y="123"/>
                  </a:lnTo>
                  <a:lnTo>
                    <a:pt x="61" y="113"/>
                  </a:lnTo>
                  <a:lnTo>
                    <a:pt x="55" y="109"/>
                  </a:lnTo>
                  <a:lnTo>
                    <a:pt x="61" y="104"/>
                  </a:lnTo>
                  <a:lnTo>
                    <a:pt x="63" y="87"/>
                  </a:lnTo>
                  <a:lnTo>
                    <a:pt x="61" y="82"/>
                  </a:lnTo>
                  <a:lnTo>
                    <a:pt x="72" y="73"/>
                  </a:lnTo>
                  <a:lnTo>
                    <a:pt x="77" y="73"/>
                  </a:lnTo>
                  <a:lnTo>
                    <a:pt x="78" y="69"/>
                  </a:lnTo>
                  <a:lnTo>
                    <a:pt x="72" y="61"/>
                  </a:lnTo>
                  <a:lnTo>
                    <a:pt x="71" y="56"/>
                  </a:lnTo>
                  <a:lnTo>
                    <a:pt x="57" y="54"/>
                  </a:lnTo>
                  <a:lnTo>
                    <a:pt x="54" y="58"/>
                  </a:lnTo>
                  <a:lnTo>
                    <a:pt x="38" y="56"/>
                  </a:lnTo>
                  <a:lnTo>
                    <a:pt x="28" y="60"/>
                  </a:lnTo>
                  <a:lnTo>
                    <a:pt x="25" y="56"/>
                  </a:lnTo>
                  <a:lnTo>
                    <a:pt x="27" y="51"/>
                  </a:lnTo>
                  <a:lnTo>
                    <a:pt x="21" y="51"/>
                  </a:lnTo>
                  <a:lnTo>
                    <a:pt x="10" y="53"/>
                  </a:lnTo>
                  <a:lnTo>
                    <a:pt x="10" y="51"/>
                  </a:lnTo>
                  <a:lnTo>
                    <a:pt x="15" y="45"/>
                  </a:lnTo>
                  <a:lnTo>
                    <a:pt x="12" y="45"/>
                  </a:lnTo>
                  <a:lnTo>
                    <a:pt x="15" y="42"/>
                  </a:lnTo>
                  <a:lnTo>
                    <a:pt x="12" y="39"/>
                  </a:lnTo>
                  <a:lnTo>
                    <a:pt x="14" y="34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8" y="31"/>
                  </a:lnTo>
                  <a:lnTo>
                    <a:pt x="6" y="31"/>
                  </a:lnTo>
                  <a:lnTo>
                    <a:pt x="6" y="26"/>
                  </a:lnTo>
                  <a:lnTo>
                    <a:pt x="2" y="29"/>
                  </a:lnTo>
                  <a:lnTo>
                    <a:pt x="0" y="23"/>
                  </a:lnTo>
                  <a:lnTo>
                    <a:pt x="4" y="17"/>
                  </a:lnTo>
                  <a:lnTo>
                    <a:pt x="14" y="14"/>
                  </a:lnTo>
                  <a:lnTo>
                    <a:pt x="17" y="15"/>
                  </a:lnTo>
                  <a:lnTo>
                    <a:pt x="27" y="15"/>
                  </a:lnTo>
                  <a:lnTo>
                    <a:pt x="31" y="12"/>
                  </a:lnTo>
                  <a:lnTo>
                    <a:pt x="27" y="9"/>
                  </a:lnTo>
                  <a:lnTo>
                    <a:pt x="27" y="6"/>
                  </a:lnTo>
                  <a:lnTo>
                    <a:pt x="37" y="3"/>
                  </a:lnTo>
                  <a:lnTo>
                    <a:pt x="38" y="4"/>
                  </a:lnTo>
                  <a:lnTo>
                    <a:pt x="42" y="0"/>
                  </a:lnTo>
                  <a:lnTo>
                    <a:pt x="49" y="3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65" y="4"/>
                  </a:lnTo>
                  <a:lnTo>
                    <a:pt x="72" y="8"/>
                  </a:lnTo>
                  <a:lnTo>
                    <a:pt x="80" y="4"/>
                  </a:lnTo>
                  <a:lnTo>
                    <a:pt x="88" y="3"/>
                  </a:lnTo>
                  <a:lnTo>
                    <a:pt x="89" y="4"/>
                  </a:lnTo>
                  <a:lnTo>
                    <a:pt x="98" y="8"/>
                  </a:lnTo>
                  <a:lnTo>
                    <a:pt x="117" y="12"/>
                  </a:lnTo>
                  <a:lnTo>
                    <a:pt x="126" y="14"/>
                  </a:lnTo>
                  <a:lnTo>
                    <a:pt x="139" y="8"/>
                  </a:lnTo>
                  <a:lnTo>
                    <a:pt x="149" y="8"/>
                  </a:lnTo>
                  <a:lnTo>
                    <a:pt x="150" y="12"/>
                  </a:lnTo>
                  <a:lnTo>
                    <a:pt x="162" y="14"/>
                  </a:lnTo>
                  <a:lnTo>
                    <a:pt x="166" y="9"/>
                  </a:lnTo>
                  <a:lnTo>
                    <a:pt x="172" y="9"/>
                  </a:lnTo>
                  <a:lnTo>
                    <a:pt x="187" y="17"/>
                  </a:lnTo>
                  <a:lnTo>
                    <a:pt x="189" y="14"/>
                  </a:lnTo>
                  <a:lnTo>
                    <a:pt x="193" y="14"/>
                  </a:lnTo>
                  <a:lnTo>
                    <a:pt x="195" y="12"/>
                  </a:lnTo>
                  <a:lnTo>
                    <a:pt x="195" y="12"/>
                  </a:lnTo>
                  <a:lnTo>
                    <a:pt x="195" y="12"/>
                  </a:lnTo>
                  <a:lnTo>
                    <a:pt x="195" y="12"/>
                  </a:lnTo>
                  <a:close/>
                  <a:moveTo>
                    <a:pt x="280" y="152"/>
                  </a:moveTo>
                  <a:lnTo>
                    <a:pt x="282" y="146"/>
                  </a:lnTo>
                  <a:lnTo>
                    <a:pt x="285" y="145"/>
                  </a:lnTo>
                  <a:lnTo>
                    <a:pt x="284" y="140"/>
                  </a:lnTo>
                  <a:lnTo>
                    <a:pt x="276" y="143"/>
                  </a:lnTo>
                  <a:lnTo>
                    <a:pt x="274" y="148"/>
                  </a:lnTo>
                  <a:lnTo>
                    <a:pt x="280" y="152"/>
                  </a:lnTo>
                  <a:lnTo>
                    <a:pt x="280" y="152"/>
                  </a:lnTo>
                  <a:lnTo>
                    <a:pt x="280" y="15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9" name="Freeform 72"/>
            <p:cNvSpPr>
              <a:spLocks/>
            </p:cNvSpPr>
            <p:nvPr/>
          </p:nvSpPr>
          <p:spPr bwMode="auto">
            <a:xfrm>
              <a:off x="5070476" y="3355976"/>
              <a:ext cx="138113" cy="241300"/>
            </a:xfrm>
            <a:custGeom>
              <a:avLst/>
              <a:gdLst>
                <a:gd name="T0" fmla="*/ 57 w 87"/>
                <a:gd name="T1" fmla="*/ 140 h 152"/>
                <a:gd name="T2" fmla="*/ 58 w 87"/>
                <a:gd name="T3" fmla="*/ 124 h 152"/>
                <a:gd name="T4" fmla="*/ 67 w 87"/>
                <a:gd name="T5" fmla="*/ 114 h 152"/>
                <a:gd name="T6" fmla="*/ 57 w 87"/>
                <a:gd name="T7" fmla="*/ 108 h 152"/>
                <a:gd name="T8" fmla="*/ 64 w 87"/>
                <a:gd name="T9" fmla="*/ 88 h 152"/>
                <a:gd name="T10" fmla="*/ 52 w 87"/>
                <a:gd name="T11" fmla="*/ 73 h 152"/>
                <a:gd name="T12" fmla="*/ 63 w 87"/>
                <a:gd name="T13" fmla="*/ 73 h 152"/>
                <a:gd name="T14" fmla="*/ 64 w 87"/>
                <a:gd name="T15" fmla="*/ 60 h 152"/>
                <a:gd name="T16" fmla="*/ 72 w 87"/>
                <a:gd name="T17" fmla="*/ 38 h 152"/>
                <a:gd name="T18" fmla="*/ 82 w 87"/>
                <a:gd name="T19" fmla="*/ 23 h 152"/>
                <a:gd name="T20" fmla="*/ 87 w 87"/>
                <a:gd name="T21" fmla="*/ 20 h 152"/>
                <a:gd name="T22" fmla="*/ 80 w 87"/>
                <a:gd name="T23" fmla="*/ 6 h 152"/>
                <a:gd name="T24" fmla="*/ 63 w 87"/>
                <a:gd name="T25" fmla="*/ 8 h 152"/>
                <a:gd name="T26" fmla="*/ 38 w 87"/>
                <a:gd name="T27" fmla="*/ 9 h 152"/>
                <a:gd name="T28" fmla="*/ 36 w 87"/>
                <a:gd name="T29" fmla="*/ 0 h 152"/>
                <a:gd name="T30" fmla="*/ 19 w 87"/>
                <a:gd name="T31" fmla="*/ 2 h 152"/>
                <a:gd name="T32" fmla="*/ 23 w 87"/>
                <a:gd name="T33" fmla="*/ 15 h 152"/>
                <a:gd name="T34" fmla="*/ 23 w 87"/>
                <a:gd name="T35" fmla="*/ 32 h 152"/>
                <a:gd name="T36" fmla="*/ 24 w 87"/>
                <a:gd name="T37" fmla="*/ 43 h 152"/>
                <a:gd name="T38" fmla="*/ 19 w 87"/>
                <a:gd name="T39" fmla="*/ 54 h 152"/>
                <a:gd name="T40" fmla="*/ 12 w 87"/>
                <a:gd name="T41" fmla="*/ 69 h 152"/>
                <a:gd name="T42" fmla="*/ 3 w 87"/>
                <a:gd name="T43" fmla="*/ 85 h 152"/>
                <a:gd name="T44" fmla="*/ 0 w 87"/>
                <a:gd name="T45" fmla="*/ 102 h 152"/>
                <a:gd name="T46" fmla="*/ 9 w 87"/>
                <a:gd name="T47" fmla="*/ 97 h 152"/>
                <a:gd name="T48" fmla="*/ 14 w 87"/>
                <a:gd name="T49" fmla="*/ 97 h 152"/>
                <a:gd name="T50" fmla="*/ 8 w 87"/>
                <a:gd name="T51" fmla="*/ 105 h 152"/>
                <a:gd name="T52" fmla="*/ 9 w 87"/>
                <a:gd name="T53" fmla="*/ 113 h 152"/>
                <a:gd name="T54" fmla="*/ 21 w 87"/>
                <a:gd name="T55" fmla="*/ 109 h 152"/>
                <a:gd name="T56" fmla="*/ 19 w 87"/>
                <a:gd name="T57" fmla="*/ 119 h 152"/>
                <a:gd name="T58" fmla="*/ 17 w 87"/>
                <a:gd name="T59" fmla="*/ 137 h 152"/>
                <a:gd name="T60" fmla="*/ 14 w 87"/>
                <a:gd name="T61" fmla="*/ 151 h 152"/>
                <a:gd name="T62" fmla="*/ 23 w 87"/>
                <a:gd name="T63" fmla="*/ 146 h 152"/>
                <a:gd name="T64" fmla="*/ 40 w 87"/>
                <a:gd name="T65" fmla="*/ 152 h 152"/>
                <a:gd name="T66" fmla="*/ 55 w 87"/>
                <a:gd name="T67" fmla="*/ 148 h 152"/>
                <a:gd name="T68" fmla="*/ 57 w 87"/>
                <a:gd name="T69" fmla="*/ 146 h 152"/>
                <a:gd name="T70" fmla="*/ 57 w 87"/>
                <a:gd name="T71" fmla="*/ 14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" h="152">
                  <a:moveTo>
                    <a:pt x="57" y="146"/>
                  </a:moveTo>
                  <a:lnTo>
                    <a:pt x="57" y="140"/>
                  </a:lnTo>
                  <a:lnTo>
                    <a:pt x="53" y="134"/>
                  </a:lnTo>
                  <a:lnTo>
                    <a:pt x="58" y="124"/>
                  </a:lnTo>
                  <a:lnTo>
                    <a:pt x="64" y="119"/>
                  </a:lnTo>
                  <a:lnTo>
                    <a:pt x="67" y="114"/>
                  </a:lnTo>
                  <a:lnTo>
                    <a:pt x="61" y="114"/>
                  </a:lnTo>
                  <a:lnTo>
                    <a:pt x="57" y="108"/>
                  </a:lnTo>
                  <a:lnTo>
                    <a:pt x="64" y="100"/>
                  </a:lnTo>
                  <a:lnTo>
                    <a:pt x="64" y="88"/>
                  </a:lnTo>
                  <a:lnTo>
                    <a:pt x="58" y="86"/>
                  </a:lnTo>
                  <a:lnTo>
                    <a:pt x="52" y="73"/>
                  </a:lnTo>
                  <a:lnTo>
                    <a:pt x="57" y="71"/>
                  </a:lnTo>
                  <a:lnTo>
                    <a:pt x="63" y="73"/>
                  </a:lnTo>
                  <a:lnTo>
                    <a:pt x="70" y="63"/>
                  </a:lnTo>
                  <a:lnTo>
                    <a:pt x="64" y="60"/>
                  </a:lnTo>
                  <a:lnTo>
                    <a:pt x="70" y="54"/>
                  </a:lnTo>
                  <a:lnTo>
                    <a:pt x="72" y="38"/>
                  </a:lnTo>
                  <a:lnTo>
                    <a:pt x="70" y="32"/>
                  </a:lnTo>
                  <a:lnTo>
                    <a:pt x="82" y="23"/>
                  </a:lnTo>
                  <a:lnTo>
                    <a:pt x="86" y="23"/>
                  </a:lnTo>
                  <a:lnTo>
                    <a:pt x="87" y="20"/>
                  </a:lnTo>
                  <a:lnTo>
                    <a:pt x="82" y="11"/>
                  </a:lnTo>
                  <a:lnTo>
                    <a:pt x="80" y="6"/>
                  </a:lnTo>
                  <a:lnTo>
                    <a:pt x="67" y="3"/>
                  </a:lnTo>
                  <a:lnTo>
                    <a:pt x="63" y="8"/>
                  </a:lnTo>
                  <a:lnTo>
                    <a:pt x="47" y="6"/>
                  </a:lnTo>
                  <a:lnTo>
                    <a:pt x="38" y="9"/>
                  </a:lnTo>
                  <a:lnTo>
                    <a:pt x="34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9" y="2"/>
                  </a:lnTo>
                  <a:lnTo>
                    <a:pt x="19" y="6"/>
                  </a:lnTo>
                  <a:lnTo>
                    <a:pt x="23" y="15"/>
                  </a:lnTo>
                  <a:lnTo>
                    <a:pt x="21" y="30"/>
                  </a:lnTo>
                  <a:lnTo>
                    <a:pt x="23" y="32"/>
                  </a:lnTo>
                  <a:lnTo>
                    <a:pt x="21" y="40"/>
                  </a:lnTo>
                  <a:lnTo>
                    <a:pt x="24" y="43"/>
                  </a:lnTo>
                  <a:lnTo>
                    <a:pt x="21" y="47"/>
                  </a:lnTo>
                  <a:lnTo>
                    <a:pt x="19" y="54"/>
                  </a:lnTo>
                  <a:lnTo>
                    <a:pt x="17" y="62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3" y="85"/>
                  </a:lnTo>
                  <a:lnTo>
                    <a:pt x="0" y="97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9" y="97"/>
                  </a:lnTo>
                  <a:lnTo>
                    <a:pt x="15" y="96"/>
                  </a:lnTo>
                  <a:lnTo>
                    <a:pt x="14" y="97"/>
                  </a:lnTo>
                  <a:lnTo>
                    <a:pt x="15" y="102"/>
                  </a:lnTo>
                  <a:lnTo>
                    <a:pt x="8" y="105"/>
                  </a:lnTo>
                  <a:lnTo>
                    <a:pt x="8" y="109"/>
                  </a:lnTo>
                  <a:lnTo>
                    <a:pt x="9" y="113"/>
                  </a:lnTo>
                  <a:lnTo>
                    <a:pt x="14" y="109"/>
                  </a:lnTo>
                  <a:lnTo>
                    <a:pt x="21" y="109"/>
                  </a:lnTo>
                  <a:lnTo>
                    <a:pt x="17" y="113"/>
                  </a:lnTo>
                  <a:lnTo>
                    <a:pt x="19" y="119"/>
                  </a:lnTo>
                  <a:lnTo>
                    <a:pt x="17" y="124"/>
                  </a:lnTo>
                  <a:lnTo>
                    <a:pt x="17" y="137"/>
                  </a:lnTo>
                  <a:lnTo>
                    <a:pt x="15" y="146"/>
                  </a:lnTo>
                  <a:lnTo>
                    <a:pt x="14" y="151"/>
                  </a:lnTo>
                  <a:lnTo>
                    <a:pt x="15" y="151"/>
                  </a:lnTo>
                  <a:lnTo>
                    <a:pt x="23" y="146"/>
                  </a:lnTo>
                  <a:lnTo>
                    <a:pt x="34" y="151"/>
                  </a:lnTo>
                  <a:lnTo>
                    <a:pt x="40" y="152"/>
                  </a:lnTo>
                  <a:lnTo>
                    <a:pt x="47" y="148"/>
                  </a:lnTo>
                  <a:lnTo>
                    <a:pt x="55" y="148"/>
                  </a:lnTo>
                  <a:lnTo>
                    <a:pt x="57" y="146"/>
                  </a:lnTo>
                  <a:lnTo>
                    <a:pt x="57" y="146"/>
                  </a:lnTo>
                  <a:lnTo>
                    <a:pt x="57" y="146"/>
                  </a:lnTo>
                  <a:lnTo>
                    <a:pt x="57" y="1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0" name="Freeform 73"/>
            <p:cNvSpPr>
              <a:spLocks noEditPoints="1"/>
            </p:cNvSpPr>
            <p:nvPr/>
          </p:nvSpPr>
          <p:spPr bwMode="auto">
            <a:xfrm>
              <a:off x="6275388" y="3367088"/>
              <a:ext cx="379413" cy="300038"/>
            </a:xfrm>
            <a:custGeom>
              <a:avLst/>
              <a:gdLst>
                <a:gd name="T0" fmla="*/ 146 w 239"/>
                <a:gd name="T1" fmla="*/ 14 h 189"/>
                <a:gd name="T2" fmla="*/ 95 w 239"/>
                <a:gd name="T3" fmla="*/ 18 h 189"/>
                <a:gd name="T4" fmla="*/ 38 w 239"/>
                <a:gd name="T5" fmla="*/ 37 h 189"/>
                <a:gd name="T6" fmla="*/ 25 w 239"/>
                <a:gd name="T7" fmla="*/ 81 h 189"/>
                <a:gd name="T8" fmla="*/ 63 w 239"/>
                <a:gd name="T9" fmla="*/ 108 h 189"/>
                <a:gd name="T10" fmla="*/ 89 w 239"/>
                <a:gd name="T11" fmla="*/ 116 h 189"/>
                <a:gd name="T12" fmla="*/ 46 w 239"/>
                <a:gd name="T13" fmla="*/ 116 h 189"/>
                <a:gd name="T14" fmla="*/ 69 w 239"/>
                <a:gd name="T15" fmla="*/ 153 h 189"/>
                <a:gd name="T16" fmla="*/ 83 w 239"/>
                <a:gd name="T17" fmla="*/ 156 h 189"/>
                <a:gd name="T18" fmla="*/ 89 w 239"/>
                <a:gd name="T19" fmla="*/ 134 h 189"/>
                <a:gd name="T20" fmla="*/ 107 w 239"/>
                <a:gd name="T21" fmla="*/ 134 h 189"/>
                <a:gd name="T22" fmla="*/ 114 w 239"/>
                <a:gd name="T23" fmla="*/ 123 h 189"/>
                <a:gd name="T24" fmla="*/ 97 w 239"/>
                <a:gd name="T25" fmla="*/ 98 h 189"/>
                <a:gd name="T26" fmla="*/ 87 w 239"/>
                <a:gd name="T27" fmla="*/ 78 h 189"/>
                <a:gd name="T28" fmla="*/ 86 w 239"/>
                <a:gd name="T29" fmla="*/ 66 h 189"/>
                <a:gd name="T30" fmla="*/ 86 w 239"/>
                <a:gd name="T31" fmla="*/ 42 h 189"/>
                <a:gd name="T32" fmla="*/ 107 w 239"/>
                <a:gd name="T33" fmla="*/ 50 h 189"/>
                <a:gd name="T34" fmla="*/ 123 w 239"/>
                <a:gd name="T35" fmla="*/ 47 h 189"/>
                <a:gd name="T36" fmla="*/ 132 w 239"/>
                <a:gd name="T37" fmla="*/ 31 h 189"/>
                <a:gd name="T38" fmla="*/ 176 w 239"/>
                <a:gd name="T39" fmla="*/ 22 h 189"/>
                <a:gd name="T40" fmla="*/ 6 w 239"/>
                <a:gd name="T41" fmla="*/ 64 h 189"/>
                <a:gd name="T42" fmla="*/ 0 w 239"/>
                <a:gd name="T43" fmla="*/ 68 h 189"/>
                <a:gd name="T44" fmla="*/ 31 w 239"/>
                <a:gd name="T45" fmla="*/ 94 h 189"/>
                <a:gd name="T46" fmla="*/ 29 w 239"/>
                <a:gd name="T47" fmla="*/ 106 h 189"/>
                <a:gd name="T48" fmla="*/ 33 w 239"/>
                <a:gd name="T49" fmla="*/ 116 h 189"/>
                <a:gd name="T50" fmla="*/ 29 w 239"/>
                <a:gd name="T51" fmla="*/ 106 h 189"/>
                <a:gd name="T52" fmla="*/ 31 w 239"/>
                <a:gd name="T53" fmla="*/ 123 h 189"/>
                <a:gd name="T54" fmla="*/ 210 w 239"/>
                <a:gd name="T55" fmla="*/ 176 h 189"/>
                <a:gd name="T56" fmla="*/ 206 w 239"/>
                <a:gd name="T57" fmla="*/ 181 h 189"/>
                <a:gd name="T58" fmla="*/ 224 w 239"/>
                <a:gd name="T59" fmla="*/ 176 h 189"/>
                <a:gd name="T60" fmla="*/ 238 w 239"/>
                <a:gd name="T61" fmla="*/ 163 h 189"/>
                <a:gd name="T62" fmla="*/ 224 w 239"/>
                <a:gd name="T63" fmla="*/ 176 h 189"/>
                <a:gd name="T64" fmla="*/ 186 w 239"/>
                <a:gd name="T65" fmla="*/ 159 h 189"/>
                <a:gd name="T66" fmla="*/ 199 w 239"/>
                <a:gd name="T67" fmla="*/ 125 h 189"/>
                <a:gd name="T68" fmla="*/ 186 w 239"/>
                <a:gd name="T69" fmla="*/ 125 h 189"/>
                <a:gd name="T70" fmla="*/ 172 w 239"/>
                <a:gd name="T71" fmla="*/ 106 h 189"/>
                <a:gd name="T72" fmla="*/ 176 w 239"/>
                <a:gd name="T73" fmla="*/ 99 h 189"/>
                <a:gd name="T74" fmla="*/ 184 w 239"/>
                <a:gd name="T75" fmla="*/ 78 h 189"/>
                <a:gd name="T76" fmla="*/ 175 w 239"/>
                <a:gd name="T77" fmla="*/ 83 h 189"/>
                <a:gd name="T78" fmla="*/ 160 w 239"/>
                <a:gd name="T79" fmla="*/ 39 h 189"/>
                <a:gd name="T80" fmla="*/ 149 w 239"/>
                <a:gd name="T81" fmla="*/ 53 h 189"/>
                <a:gd name="T82" fmla="*/ 143 w 239"/>
                <a:gd name="T83" fmla="*/ 55 h 189"/>
                <a:gd name="T84" fmla="*/ 132 w 239"/>
                <a:gd name="T85" fmla="*/ 39 h 189"/>
                <a:gd name="T86" fmla="*/ 110 w 239"/>
                <a:gd name="T87" fmla="*/ 83 h 189"/>
                <a:gd name="T88" fmla="*/ 103 w 239"/>
                <a:gd name="T89" fmla="*/ 83 h 189"/>
                <a:gd name="T90" fmla="*/ 138 w 239"/>
                <a:gd name="T91" fmla="*/ 90 h 189"/>
                <a:gd name="T92" fmla="*/ 176 w 239"/>
                <a:gd name="T93" fmla="*/ 134 h 189"/>
                <a:gd name="T94" fmla="*/ 132 w 239"/>
                <a:gd name="T95" fmla="*/ 158 h 189"/>
                <a:gd name="T96" fmla="*/ 132 w 239"/>
                <a:gd name="T97" fmla="*/ 142 h 189"/>
                <a:gd name="T98" fmla="*/ 135 w 239"/>
                <a:gd name="T99" fmla="*/ 136 h 189"/>
                <a:gd name="T100" fmla="*/ 132 w 239"/>
                <a:gd name="T101" fmla="*/ 130 h 189"/>
                <a:gd name="T102" fmla="*/ 156 w 239"/>
                <a:gd name="T103" fmla="*/ 142 h 189"/>
                <a:gd name="T104" fmla="*/ 166 w 239"/>
                <a:gd name="T105" fmla="*/ 142 h 189"/>
                <a:gd name="T106" fmla="*/ 161 w 239"/>
                <a:gd name="T107" fmla="*/ 134 h 189"/>
                <a:gd name="T108" fmla="*/ 155 w 239"/>
                <a:gd name="T109" fmla="*/ 132 h 189"/>
                <a:gd name="T110" fmla="*/ 149 w 239"/>
                <a:gd name="T111" fmla="*/ 128 h 189"/>
                <a:gd name="T112" fmla="*/ 92 w 239"/>
                <a:gd name="T113" fmla="*/ 89 h 189"/>
                <a:gd name="T114" fmla="*/ 126 w 239"/>
                <a:gd name="T115" fmla="*/ 105 h 189"/>
                <a:gd name="T116" fmla="*/ 129 w 239"/>
                <a:gd name="T117" fmla="*/ 120 h 189"/>
                <a:gd name="T118" fmla="*/ 107 w 239"/>
                <a:gd name="T119" fmla="*/ 99 h 189"/>
                <a:gd name="T120" fmla="*/ 87 w 239"/>
                <a:gd name="T121" fmla="*/ 90 h 189"/>
                <a:gd name="T122" fmla="*/ 95 w 239"/>
                <a:gd name="T123" fmla="*/ 165 h 189"/>
                <a:gd name="T124" fmla="*/ 95 w 239"/>
                <a:gd name="T125" fmla="*/ 15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9" h="189">
                  <a:moveTo>
                    <a:pt x="178" y="0"/>
                  </a:moveTo>
                  <a:lnTo>
                    <a:pt x="176" y="0"/>
                  </a:lnTo>
                  <a:lnTo>
                    <a:pt x="169" y="4"/>
                  </a:lnTo>
                  <a:lnTo>
                    <a:pt x="169" y="9"/>
                  </a:lnTo>
                  <a:lnTo>
                    <a:pt x="171" y="13"/>
                  </a:lnTo>
                  <a:lnTo>
                    <a:pt x="167" y="17"/>
                  </a:lnTo>
                  <a:lnTo>
                    <a:pt x="156" y="14"/>
                  </a:lnTo>
                  <a:lnTo>
                    <a:pt x="150" y="18"/>
                  </a:lnTo>
                  <a:lnTo>
                    <a:pt x="146" y="14"/>
                  </a:lnTo>
                  <a:lnTo>
                    <a:pt x="141" y="14"/>
                  </a:lnTo>
                  <a:lnTo>
                    <a:pt x="137" y="18"/>
                  </a:lnTo>
                  <a:lnTo>
                    <a:pt x="132" y="18"/>
                  </a:lnTo>
                  <a:lnTo>
                    <a:pt x="132" y="13"/>
                  </a:lnTo>
                  <a:lnTo>
                    <a:pt x="123" y="13"/>
                  </a:lnTo>
                  <a:lnTo>
                    <a:pt x="116" y="13"/>
                  </a:lnTo>
                  <a:lnTo>
                    <a:pt x="112" y="17"/>
                  </a:lnTo>
                  <a:lnTo>
                    <a:pt x="104" y="18"/>
                  </a:lnTo>
                  <a:lnTo>
                    <a:pt x="95" y="18"/>
                  </a:lnTo>
                  <a:lnTo>
                    <a:pt x="93" y="17"/>
                  </a:lnTo>
                  <a:lnTo>
                    <a:pt x="89" y="20"/>
                  </a:lnTo>
                  <a:lnTo>
                    <a:pt x="83" y="20"/>
                  </a:lnTo>
                  <a:lnTo>
                    <a:pt x="78" y="23"/>
                  </a:lnTo>
                  <a:lnTo>
                    <a:pt x="64" y="22"/>
                  </a:lnTo>
                  <a:lnTo>
                    <a:pt x="59" y="26"/>
                  </a:lnTo>
                  <a:lnTo>
                    <a:pt x="58" y="28"/>
                  </a:lnTo>
                  <a:lnTo>
                    <a:pt x="49" y="29"/>
                  </a:lnTo>
                  <a:lnTo>
                    <a:pt x="38" y="37"/>
                  </a:lnTo>
                  <a:lnTo>
                    <a:pt x="38" y="42"/>
                  </a:lnTo>
                  <a:lnTo>
                    <a:pt x="34" y="50"/>
                  </a:lnTo>
                  <a:lnTo>
                    <a:pt x="23" y="53"/>
                  </a:lnTo>
                  <a:lnTo>
                    <a:pt x="23" y="59"/>
                  </a:lnTo>
                  <a:lnTo>
                    <a:pt x="20" y="66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75"/>
                  </a:lnTo>
                  <a:lnTo>
                    <a:pt x="25" y="81"/>
                  </a:lnTo>
                  <a:lnTo>
                    <a:pt x="31" y="89"/>
                  </a:lnTo>
                  <a:lnTo>
                    <a:pt x="34" y="89"/>
                  </a:lnTo>
                  <a:lnTo>
                    <a:pt x="34" y="92"/>
                  </a:lnTo>
                  <a:lnTo>
                    <a:pt x="43" y="101"/>
                  </a:lnTo>
                  <a:lnTo>
                    <a:pt x="44" y="106"/>
                  </a:lnTo>
                  <a:lnTo>
                    <a:pt x="48" y="108"/>
                  </a:lnTo>
                  <a:lnTo>
                    <a:pt x="52" y="103"/>
                  </a:lnTo>
                  <a:lnTo>
                    <a:pt x="55" y="108"/>
                  </a:lnTo>
                  <a:lnTo>
                    <a:pt x="63" y="108"/>
                  </a:lnTo>
                  <a:lnTo>
                    <a:pt x="64" y="105"/>
                  </a:lnTo>
                  <a:lnTo>
                    <a:pt x="69" y="106"/>
                  </a:lnTo>
                  <a:lnTo>
                    <a:pt x="76" y="111"/>
                  </a:lnTo>
                  <a:lnTo>
                    <a:pt x="82" y="108"/>
                  </a:lnTo>
                  <a:lnTo>
                    <a:pt x="82" y="111"/>
                  </a:lnTo>
                  <a:lnTo>
                    <a:pt x="86" y="111"/>
                  </a:lnTo>
                  <a:lnTo>
                    <a:pt x="87" y="112"/>
                  </a:lnTo>
                  <a:lnTo>
                    <a:pt x="95" y="114"/>
                  </a:lnTo>
                  <a:lnTo>
                    <a:pt x="89" y="116"/>
                  </a:lnTo>
                  <a:lnTo>
                    <a:pt x="86" y="120"/>
                  </a:lnTo>
                  <a:lnTo>
                    <a:pt x="82" y="116"/>
                  </a:lnTo>
                  <a:lnTo>
                    <a:pt x="78" y="116"/>
                  </a:lnTo>
                  <a:lnTo>
                    <a:pt x="67" y="108"/>
                  </a:lnTo>
                  <a:lnTo>
                    <a:pt x="61" y="111"/>
                  </a:lnTo>
                  <a:lnTo>
                    <a:pt x="58" y="114"/>
                  </a:lnTo>
                  <a:lnTo>
                    <a:pt x="52" y="111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4" y="121"/>
                  </a:lnTo>
                  <a:lnTo>
                    <a:pt x="49" y="126"/>
                  </a:lnTo>
                  <a:lnTo>
                    <a:pt x="55" y="128"/>
                  </a:lnTo>
                  <a:lnTo>
                    <a:pt x="61" y="134"/>
                  </a:lnTo>
                  <a:lnTo>
                    <a:pt x="63" y="137"/>
                  </a:lnTo>
                  <a:lnTo>
                    <a:pt x="59" y="139"/>
                  </a:lnTo>
                  <a:lnTo>
                    <a:pt x="61" y="142"/>
                  </a:lnTo>
                  <a:lnTo>
                    <a:pt x="64" y="148"/>
                  </a:lnTo>
                  <a:lnTo>
                    <a:pt x="69" y="153"/>
                  </a:lnTo>
                  <a:lnTo>
                    <a:pt x="70" y="150"/>
                  </a:lnTo>
                  <a:lnTo>
                    <a:pt x="69" y="147"/>
                  </a:lnTo>
                  <a:lnTo>
                    <a:pt x="70" y="142"/>
                  </a:lnTo>
                  <a:lnTo>
                    <a:pt x="72" y="148"/>
                  </a:lnTo>
                  <a:lnTo>
                    <a:pt x="80" y="150"/>
                  </a:lnTo>
                  <a:lnTo>
                    <a:pt x="82" y="154"/>
                  </a:lnTo>
                  <a:lnTo>
                    <a:pt x="80" y="158"/>
                  </a:lnTo>
                  <a:lnTo>
                    <a:pt x="83" y="162"/>
                  </a:lnTo>
                  <a:lnTo>
                    <a:pt x="83" y="156"/>
                  </a:lnTo>
                  <a:lnTo>
                    <a:pt x="86" y="150"/>
                  </a:lnTo>
                  <a:lnTo>
                    <a:pt x="92" y="150"/>
                  </a:lnTo>
                  <a:lnTo>
                    <a:pt x="93" y="154"/>
                  </a:lnTo>
                  <a:lnTo>
                    <a:pt x="101" y="159"/>
                  </a:lnTo>
                  <a:lnTo>
                    <a:pt x="98" y="154"/>
                  </a:lnTo>
                  <a:lnTo>
                    <a:pt x="98" y="150"/>
                  </a:lnTo>
                  <a:lnTo>
                    <a:pt x="95" y="145"/>
                  </a:lnTo>
                  <a:lnTo>
                    <a:pt x="92" y="137"/>
                  </a:lnTo>
                  <a:lnTo>
                    <a:pt x="89" y="134"/>
                  </a:lnTo>
                  <a:lnTo>
                    <a:pt x="89" y="132"/>
                  </a:lnTo>
                  <a:lnTo>
                    <a:pt x="93" y="132"/>
                  </a:lnTo>
                  <a:lnTo>
                    <a:pt x="98" y="134"/>
                  </a:lnTo>
                  <a:lnTo>
                    <a:pt x="97" y="136"/>
                  </a:lnTo>
                  <a:lnTo>
                    <a:pt x="98" y="137"/>
                  </a:lnTo>
                  <a:lnTo>
                    <a:pt x="101" y="136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7" y="134"/>
                  </a:lnTo>
                  <a:lnTo>
                    <a:pt x="104" y="130"/>
                  </a:lnTo>
                  <a:lnTo>
                    <a:pt x="103" y="130"/>
                  </a:lnTo>
                  <a:lnTo>
                    <a:pt x="98" y="128"/>
                  </a:lnTo>
                  <a:lnTo>
                    <a:pt x="98" y="126"/>
                  </a:lnTo>
                  <a:lnTo>
                    <a:pt x="93" y="123"/>
                  </a:lnTo>
                  <a:lnTo>
                    <a:pt x="98" y="120"/>
                  </a:lnTo>
                  <a:lnTo>
                    <a:pt x="103" y="121"/>
                  </a:lnTo>
                  <a:lnTo>
                    <a:pt x="107" y="117"/>
                  </a:lnTo>
                  <a:lnTo>
                    <a:pt x="114" y="123"/>
                  </a:lnTo>
                  <a:lnTo>
                    <a:pt x="114" y="125"/>
                  </a:lnTo>
                  <a:lnTo>
                    <a:pt x="120" y="125"/>
                  </a:lnTo>
                  <a:lnTo>
                    <a:pt x="121" y="123"/>
                  </a:lnTo>
                  <a:lnTo>
                    <a:pt x="116" y="117"/>
                  </a:lnTo>
                  <a:lnTo>
                    <a:pt x="118" y="112"/>
                  </a:lnTo>
                  <a:lnTo>
                    <a:pt x="116" y="108"/>
                  </a:lnTo>
                  <a:lnTo>
                    <a:pt x="103" y="101"/>
                  </a:lnTo>
                  <a:lnTo>
                    <a:pt x="98" y="101"/>
                  </a:lnTo>
                  <a:lnTo>
                    <a:pt x="97" y="98"/>
                  </a:lnTo>
                  <a:lnTo>
                    <a:pt x="93" y="98"/>
                  </a:lnTo>
                  <a:lnTo>
                    <a:pt x="92" y="95"/>
                  </a:lnTo>
                  <a:lnTo>
                    <a:pt x="86" y="94"/>
                  </a:lnTo>
                  <a:lnTo>
                    <a:pt x="80" y="90"/>
                  </a:lnTo>
                  <a:lnTo>
                    <a:pt x="86" y="90"/>
                  </a:lnTo>
                  <a:lnTo>
                    <a:pt x="89" y="86"/>
                  </a:lnTo>
                  <a:lnTo>
                    <a:pt x="89" y="83"/>
                  </a:lnTo>
                  <a:lnTo>
                    <a:pt x="83" y="83"/>
                  </a:lnTo>
                  <a:lnTo>
                    <a:pt x="87" y="78"/>
                  </a:lnTo>
                  <a:lnTo>
                    <a:pt x="87" y="75"/>
                  </a:lnTo>
                  <a:lnTo>
                    <a:pt x="92" y="77"/>
                  </a:lnTo>
                  <a:lnTo>
                    <a:pt x="95" y="81"/>
                  </a:lnTo>
                  <a:lnTo>
                    <a:pt x="93" y="83"/>
                  </a:lnTo>
                  <a:lnTo>
                    <a:pt x="93" y="84"/>
                  </a:lnTo>
                  <a:lnTo>
                    <a:pt x="97" y="84"/>
                  </a:lnTo>
                  <a:lnTo>
                    <a:pt x="98" y="78"/>
                  </a:lnTo>
                  <a:lnTo>
                    <a:pt x="95" y="75"/>
                  </a:lnTo>
                  <a:lnTo>
                    <a:pt x="86" y="66"/>
                  </a:lnTo>
                  <a:lnTo>
                    <a:pt x="83" y="64"/>
                  </a:lnTo>
                  <a:lnTo>
                    <a:pt x="82" y="61"/>
                  </a:lnTo>
                  <a:lnTo>
                    <a:pt x="76" y="55"/>
                  </a:lnTo>
                  <a:lnTo>
                    <a:pt x="78" y="53"/>
                  </a:lnTo>
                  <a:lnTo>
                    <a:pt x="76" y="44"/>
                  </a:lnTo>
                  <a:lnTo>
                    <a:pt x="80" y="39"/>
                  </a:lnTo>
                  <a:lnTo>
                    <a:pt x="87" y="37"/>
                  </a:lnTo>
                  <a:lnTo>
                    <a:pt x="87" y="42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93" y="47"/>
                  </a:lnTo>
                  <a:lnTo>
                    <a:pt x="95" y="53"/>
                  </a:lnTo>
                  <a:lnTo>
                    <a:pt x="101" y="59"/>
                  </a:lnTo>
                  <a:lnTo>
                    <a:pt x="107" y="56"/>
                  </a:lnTo>
                  <a:lnTo>
                    <a:pt x="103" y="55"/>
                  </a:lnTo>
                  <a:lnTo>
                    <a:pt x="98" y="51"/>
                  </a:lnTo>
                  <a:lnTo>
                    <a:pt x="101" y="47"/>
                  </a:lnTo>
                  <a:lnTo>
                    <a:pt x="107" y="50"/>
                  </a:lnTo>
                  <a:lnTo>
                    <a:pt x="110" y="55"/>
                  </a:lnTo>
                  <a:lnTo>
                    <a:pt x="114" y="56"/>
                  </a:lnTo>
                  <a:lnTo>
                    <a:pt x="116" y="53"/>
                  </a:lnTo>
                  <a:lnTo>
                    <a:pt x="112" y="51"/>
                  </a:lnTo>
                  <a:lnTo>
                    <a:pt x="108" y="50"/>
                  </a:lnTo>
                  <a:lnTo>
                    <a:pt x="108" y="45"/>
                  </a:lnTo>
                  <a:lnTo>
                    <a:pt x="120" y="47"/>
                  </a:lnTo>
                  <a:lnTo>
                    <a:pt x="123" y="50"/>
                  </a:lnTo>
                  <a:lnTo>
                    <a:pt x="123" y="47"/>
                  </a:lnTo>
                  <a:lnTo>
                    <a:pt x="118" y="44"/>
                  </a:lnTo>
                  <a:lnTo>
                    <a:pt x="112" y="42"/>
                  </a:lnTo>
                  <a:lnTo>
                    <a:pt x="108" y="39"/>
                  </a:lnTo>
                  <a:lnTo>
                    <a:pt x="110" y="34"/>
                  </a:lnTo>
                  <a:lnTo>
                    <a:pt x="116" y="37"/>
                  </a:lnTo>
                  <a:lnTo>
                    <a:pt x="120" y="34"/>
                  </a:lnTo>
                  <a:lnTo>
                    <a:pt x="121" y="28"/>
                  </a:lnTo>
                  <a:lnTo>
                    <a:pt x="126" y="26"/>
                  </a:lnTo>
                  <a:lnTo>
                    <a:pt x="132" y="31"/>
                  </a:lnTo>
                  <a:lnTo>
                    <a:pt x="137" y="31"/>
                  </a:lnTo>
                  <a:lnTo>
                    <a:pt x="143" y="26"/>
                  </a:lnTo>
                  <a:lnTo>
                    <a:pt x="143" y="23"/>
                  </a:lnTo>
                  <a:lnTo>
                    <a:pt x="144" y="23"/>
                  </a:lnTo>
                  <a:lnTo>
                    <a:pt x="149" y="28"/>
                  </a:lnTo>
                  <a:lnTo>
                    <a:pt x="160" y="28"/>
                  </a:lnTo>
                  <a:lnTo>
                    <a:pt x="167" y="29"/>
                  </a:lnTo>
                  <a:lnTo>
                    <a:pt x="175" y="29"/>
                  </a:lnTo>
                  <a:lnTo>
                    <a:pt x="176" y="22"/>
                  </a:lnTo>
                  <a:lnTo>
                    <a:pt x="176" y="18"/>
                  </a:lnTo>
                  <a:lnTo>
                    <a:pt x="182" y="14"/>
                  </a:lnTo>
                  <a:lnTo>
                    <a:pt x="184" y="8"/>
                  </a:lnTo>
                  <a:lnTo>
                    <a:pt x="178" y="5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close/>
                  <a:moveTo>
                    <a:pt x="6" y="64"/>
                  </a:moveTo>
                  <a:lnTo>
                    <a:pt x="6" y="69"/>
                  </a:lnTo>
                  <a:lnTo>
                    <a:pt x="9" y="73"/>
                  </a:lnTo>
                  <a:lnTo>
                    <a:pt x="14" y="73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9" y="75"/>
                  </a:lnTo>
                  <a:lnTo>
                    <a:pt x="3" y="69"/>
                  </a:lnTo>
                  <a:lnTo>
                    <a:pt x="3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close/>
                  <a:moveTo>
                    <a:pt x="29" y="99"/>
                  </a:moveTo>
                  <a:lnTo>
                    <a:pt x="29" y="98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8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close/>
                  <a:moveTo>
                    <a:pt x="29" y="106"/>
                  </a:moveTo>
                  <a:lnTo>
                    <a:pt x="29" y="101"/>
                  </a:lnTo>
                  <a:lnTo>
                    <a:pt x="33" y="105"/>
                  </a:lnTo>
                  <a:lnTo>
                    <a:pt x="34" y="106"/>
                  </a:lnTo>
                  <a:lnTo>
                    <a:pt x="33" y="108"/>
                  </a:lnTo>
                  <a:lnTo>
                    <a:pt x="34" y="112"/>
                  </a:lnTo>
                  <a:lnTo>
                    <a:pt x="37" y="114"/>
                  </a:lnTo>
                  <a:lnTo>
                    <a:pt x="37" y="116"/>
                  </a:lnTo>
                  <a:lnTo>
                    <a:pt x="34" y="117"/>
                  </a:lnTo>
                  <a:lnTo>
                    <a:pt x="33" y="116"/>
                  </a:lnTo>
                  <a:lnTo>
                    <a:pt x="29" y="116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5" y="116"/>
                  </a:lnTo>
                  <a:lnTo>
                    <a:pt x="23" y="112"/>
                  </a:lnTo>
                  <a:lnTo>
                    <a:pt x="23" y="108"/>
                  </a:lnTo>
                  <a:lnTo>
                    <a:pt x="27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6"/>
                  </a:lnTo>
                  <a:close/>
                  <a:moveTo>
                    <a:pt x="38" y="125"/>
                  </a:moveTo>
                  <a:lnTo>
                    <a:pt x="40" y="126"/>
                  </a:lnTo>
                  <a:lnTo>
                    <a:pt x="38" y="126"/>
                  </a:lnTo>
                  <a:lnTo>
                    <a:pt x="37" y="128"/>
                  </a:lnTo>
                  <a:lnTo>
                    <a:pt x="34" y="126"/>
                  </a:lnTo>
                  <a:lnTo>
                    <a:pt x="31" y="123"/>
                  </a:lnTo>
                  <a:lnTo>
                    <a:pt x="31" y="121"/>
                  </a:lnTo>
                  <a:lnTo>
                    <a:pt x="33" y="120"/>
                  </a:lnTo>
                  <a:lnTo>
                    <a:pt x="37" y="121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5"/>
                  </a:lnTo>
                  <a:close/>
                  <a:moveTo>
                    <a:pt x="210" y="178"/>
                  </a:moveTo>
                  <a:lnTo>
                    <a:pt x="210" y="176"/>
                  </a:lnTo>
                  <a:lnTo>
                    <a:pt x="210" y="175"/>
                  </a:lnTo>
                  <a:lnTo>
                    <a:pt x="210" y="176"/>
                  </a:lnTo>
                  <a:lnTo>
                    <a:pt x="210" y="178"/>
                  </a:lnTo>
                  <a:lnTo>
                    <a:pt x="210" y="178"/>
                  </a:lnTo>
                  <a:lnTo>
                    <a:pt x="210" y="178"/>
                  </a:lnTo>
                  <a:lnTo>
                    <a:pt x="210" y="178"/>
                  </a:lnTo>
                  <a:close/>
                  <a:moveTo>
                    <a:pt x="209" y="189"/>
                  </a:moveTo>
                  <a:lnTo>
                    <a:pt x="209" y="185"/>
                  </a:lnTo>
                  <a:lnTo>
                    <a:pt x="206" y="181"/>
                  </a:lnTo>
                  <a:lnTo>
                    <a:pt x="210" y="178"/>
                  </a:lnTo>
                  <a:lnTo>
                    <a:pt x="210" y="181"/>
                  </a:lnTo>
                  <a:lnTo>
                    <a:pt x="212" y="185"/>
                  </a:lnTo>
                  <a:lnTo>
                    <a:pt x="210" y="189"/>
                  </a:lnTo>
                  <a:lnTo>
                    <a:pt x="209" y="189"/>
                  </a:lnTo>
                  <a:lnTo>
                    <a:pt x="209" y="189"/>
                  </a:lnTo>
                  <a:lnTo>
                    <a:pt x="209" y="189"/>
                  </a:lnTo>
                  <a:lnTo>
                    <a:pt x="209" y="189"/>
                  </a:lnTo>
                  <a:close/>
                  <a:moveTo>
                    <a:pt x="224" y="176"/>
                  </a:moveTo>
                  <a:lnTo>
                    <a:pt x="221" y="175"/>
                  </a:lnTo>
                  <a:lnTo>
                    <a:pt x="224" y="171"/>
                  </a:lnTo>
                  <a:lnTo>
                    <a:pt x="221" y="171"/>
                  </a:lnTo>
                  <a:lnTo>
                    <a:pt x="221" y="167"/>
                  </a:lnTo>
                  <a:lnTo>
                    <a:pt x="230" y="163"/>
                  </a:lnTo>
                  <a:lnTo>
                    <a:pt x="235" y="162"/>
                  </a:lnTo>
                  <a:lnTo>
                    <a:pt x="239" y="159"/>
                  </a:lnTo>
                  <a:lnTo>
                    <a:pt x="239" y="162"/>
                  </a:lnTo>
                  <a:lnTo>
                    <a:pt x="238" y="163"/>
                  </a:lnTo>
                  <a:lnTo>
                    <a:pt x="235" y="167"/>
                  </a:lnTo>
                  <a:lnTo>
                    <a:pt x="233" y="169"/>
                  </a:lnTo>
                  <a:lnTo>
                    <a:pt x="233" y="171"/>
                  </a:lnTo>
                  <a:lnTo>
                    <a:pt x="232" y="171"/>
                  </a:lnTo>
                  <a:lnTo>
                    <a:pt x="227" y="172"/>
                  </a:lnTo>
                  <a:lnTo>
                    <a:pt x="226" y="175"/>
                  </a:lnTo>
                  <a:lnTo>
                    <a:pt x="224" y="176"/>
                  </a:lnTo>
                  <a:lnTo>
                    <a:pt x="224" y="176"/>
                  </a:lnTo>
                  <a:lnTo>
                    <a:pt x="224" y="176"/>
                  </a:lnTo>
                  <a:lnTo>
                    <a:pt x="224" y="176"/>
                  </a:lnTo>
                  <a:close/>
                  <a:moveTo>
                    <a:pt x="186" y="159"/>
                  </a:moveTo>
                  <a:lnTo>
                    <a:pt x="184" y="158"/>
                  </a:lnTo>
                  <a:lnTo>
                    <a:pt x="186" y="156"/>
                  </a:lnTo>
                  <a:lnTo>
                    <a:pt x="190" y="154"/>
                  </a:lnTo>
                  <a:lnTo>
                    <a:pt x="192" y="156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86" y="159"/>
                  </a:lnTo>
                  <a:close/>
                  <a:moveTo>
                    <a:pt x="186" y="125"/>
                  </a:moveTo>
                  <a:lnTo>
                    <a:pt x="192" y="121"/>
                  </a:lnTo>
                  <a:lnTo>
                    <a:pt x="193" y="123"/>
                  </a:lnTo>
                  <a:lnTo>
                    <a:pt x="198" y="125"/>
                  </a:lnTo>
                  <a:lnTo>
                    <a:pt x="198" y="123"/>
                  </a:lnTo>
                  <a:lnTo>
                    <a:pt x="199" y="125"/>
                  </a:lnTo>
                  <a:lnTo>
                    <a:pt x="201" y="126"/>
                  </a:lnTo>
                  <a:lnTo>
                    <a:pt x="198" y="126"/>
                  </a:lnTo>
                  <a:lnTo>
                    <a:pt x="195" y="128"/>
                  </a:lnTo>
                  <a:lnTo>
                    <a:pt x="193" y="128"/>
                  </a:lnTo>
                  <a:lnTo>
                    <a:pt x="192" y="126"/>
                  </a:lnTo>
                  <a:lnTo>
                    <a:pt x="187" y="126"/>
                  </a:lnTo>
                  <a:lnTo>
                    <a:pt x="184" y="126"/>
                  </a:lnTo>
                  <a:lnTo>
                    <a:pt x="186" y="125"/>
                  </a:lnTo>
                  <a:lnTo>
                    <a:pt x="186" y="125"/>
                  </a:lnTo>
                  <a:lnTo>
                    <a:pt x="186" y="125"/>
                  </a:lnTo>
                  <a:lnTo>
                    <a:pt x="186" y="125"/>
                  </a:lnTo>
                  <a:close/>
                  <a:moveTo>
                    <a:pt x="176" y="99"/>
                  </a:moveTo>
                  <a:lnTo>
                    <a:pt x="178" y="106"/>
                  </a:lnTo>
                  <a:lnTo>
                    <a:pt x="176" y="111"/>
                  </a:lnTo>
                  <a:lnTo>
                    <a:pt x="172" y="112"/>
                  </a:lnTo>
                  <a:lnTo>
                    <a:pt x="171" y="108"/>
                  </a:lnTo>
                  <a:lnTo>
                    <a:pt x="171" y="106"/>
                  </a:lnTo>
                  <a:lnTo>
                    <a:pt x="172" y="106"/>
                  </a:lnTo>
                  <a:lnTo>
                    <a:pt x="172" y="103"/>
                  </a:lnTo>
                  <a:lnTo>
                    <a:pt x="169" y="101"/>
                  </a:lnTo>
                  <a:lnTo>
                    <a:pt x="169" y="99"/>
                  </a:lnTo>
                  <a:lnTo>
                    <a:pt x="172" y="98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6" y="99"/>
                  </a:lnTo>
                  <a:close/>
                  <a:moveTo>
                    <a:pt x="169" y="86"/>
                  </a:moveTo>
                  <a:lnTo>
                    <a:pt x="166" y="83"/>
                  </a:lnTo>
                  <a:lnTo>
                    <a:pt x="167" y="78"/>
                  </a:lnTo>
                  <a:lnTo>
                    <a:pt x="175" y="77"/>
                  </a:lnTo>
                  <a:lnTo>
                    <a:pt x="176" y="75"/>
                  </a:lnTo>
                  <a:lnTo>
                    <a:pt x="182" y="75"/>
                  </a:lnTo>
                  <a:lnTo>
                    <a:pt x="184" y="75"/>
                  </a:lnTo>
                  <a:lnTo>
                    <a:pt x="182" y="78"/>
                  </a:lnTo>
                  <a:lnTo>
                    <a:pt x="184" y="78"/>
                  </a:lnTo>
                  <a:lnTo>
                    <a:pt x="184" y="83"/>
                  </a:lnTo>
                  <a:lnTo>
                    <a:pt x="184" y="89"/>
                  </a:lnTo>
                  <a:lnTo>
                    <a:pt x="178" y="89"/>
                  </a:lnTo>
                  <a:lnTo>
                    <a:pt x="175" y="86"/>
                  </a:lnTo>
                  <a:lnTo>
                    <a:pt x="176" y="84"/>
                  </a:lnTo>
                  <a:lnTo>
                    <a:pt x="178" y="83"/>
                  </a:lnTo>
                  <a:lnTo>
                    <a:pt x="181" y="78"/>
                  </a:lnTo>
                  <a:lnTo>
                    <a:pt x="176" y="78"/>
                  </a:lnTo>
                  <a:lnTo>
                    <a:pt x="175" y="83"/>
                  </a:lnTo>
                  <a:lnTo>
                    <a:pt x="172" y="86"/>
                  </a:lnTo>
                  <a:lnTo>
                    <a:pt x="171" y="86"/>
                  </a:lnTo>
                  <a:lnTo>
                    <a:pt x="169" y="86"/>
                  </a:lnTo>
                  <a:lnTo>
                    <a:pt x="169" y="86"/>
                  </a:lnTo>
                  <a:lnTo>
                    <a:pt x="169" y="86"/>
                  </a:lnTo>
                  <a:lnTo>
                    <a:pt x="169" y="86"/>
                  </a:lnTo>
                  <a:close/>
                  <a:moveTo>
                    <a:pt x="156" y="42"/>
                  </a:moveTo>
                  <a:lnTo>
                    <a:pt x="156" y="40"/>
                  </a:lnTo>
                  <a:lnTo>
                    <a:pt x="160" y="39"/>
                  </a:lnTo>
                  <a:lnTo>
                    <a:pt x="163" y="40"/>
                  </a:lnTo>
                  <a:lnTo>
                    <a:pt x="163" y="42"/>
                  </a:lnTo>
                  <a:lnTo>
                    <a:pt x="161" y="44"/>
                  </a:lnTo>
                  <a:lnTo>
                    <a:pt x="156" y="42"/>
                  </a:lnTo>
                  <a:lnTo>
                    <a:pt x="156" y="42"/>
                  </a:lnTo>
                  <a:lnTo>
                    <a:pt x="156" y="42"/>
                  </a:lnTo>
                  <a:lnTo>
                    <a:pt x="156" y="42"/>
                  </a:lnTo>
                  <a:close/>
                  <a:moveTo>
                    <a:pt x="144" y="53"/>
                  </a:moveTo>
                  <a:lnTo>
                    <a:pt x="149" y="53"/>
                  </a:lnTo>
                  <a:lnTo>
                    <a:pt x="150" y="55"/>
                  </a:lnTo>
                  <a:lnTo>
                    <a:pt x="152" y="53"/>
                  </a:lnTo>
                  <a:lnTo>
                    <a:pt x="156" y="55"/>
                  </a:lnTo>
                  <a:lnTo>
                    <a:pt x="152" y="56"/>
                  </a:lnTo>
                  <a:lnTo>
                    <a:pt x="152" y="62"/>
                  </a:lnTo>
                  <a:lnTo>
                    <a:pt x="149" y="61"/>
                  </a:lnTo>
                  <a:lnTo>
                    <a:pt x="146" y="61"/>
                  </a:lnTo>
                  <a:lnTo>
                    <a:pt x="144" y="59"/>
                  </a:lnTo>
                  <a:lnTo>
                    <a:pt x="143" y="55"/>
                  </a:lnTo>
                  <a:lnTo>
                    <a:pt x="144" y="53"/>
                  </a:lnTo>
                  <a:lnTo>
                    <a:pt x="144" y="53"/>
                  </a:lnTo>
                  <a:lnTo>
                    <a:pt x="144" y="53"/>
                  </a:lnTo>
                  <a:lnTo>
                    <a:pt x="144" y="53"/>
                  </a:lnTo>
                  <a:close/>
                  <a:moveTo>
                    <a:pt x="132" y="33"/>
                  </a:moveTo>
                  <a:lnTo>
                    <a:pt x="132" y="33"/>
                  </a:lnTo>
                  <a:lnTo>
                    <a:pt x="137" y="34"/>
                  </a:lnTo>
                  <a:lnTo>
                    <a:pt x="137" y="37"/>
                  </a:lnTo>
                  <a:lnTo>
                    <a:pt x="132" y="39"/>
                  </a:lnTo>
                  <a:lnTo>
                    <a:pt x="132" y="37"/>
                  </a:lnTo>
                  <a:lnTo>
                    <a:pt x="129" y="39"/>
                  </a:lnTo>
                  <a:lnTo>
                    <a:pt x="132" y="33"/>
                  </a:lnTo>
                  <a:lnTo>
                    <a:pt x="132" y="33"/>
                  </a:lnTo>
                  <a:lnTo>
                    <a:pt x="132" y="33"/>
                  </a:lnTo>
                  <a:lnTo>
                    <a:pt x="132" y="33"/>
                  </a:lnTo>
                  <a:close/>
                  <a:moveTo>
                    <a:pt x="104" y="83"/>
                  </a:moveTo>
                  <a:lnTo>
                    <a:pt x="107" y="81"/>
                  </a:lnTo>
                  <a:lnTo>
                    <a:pt x="110" y="83"/>
                  </a:lnTo>
                  <a:lnTo>
                    <a:pt x="110" y="86"/>
                  </a:lnTo>
                  <a:lnTo>
                    <a:pt x="110" y="89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4" y="83"/>
                  </a:lnTo>
                  <a:close/>
                  <a:moveTo>
                    <a:pt x="101" y="83"/>
                  </a:moveTo>
                  <a:lnTo>
                    <a:pt x="103" y="81"/>
                  </a:lnTo>
                  <a:lnTo>
                    <a:pt x="103" y="83"/>
                  </a:lnTo>
                  <a:lnTo>
                    <a:pt x="103" y="84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close/>
                  <a:moveTo>
                    <a:pt x="132" y="89"/>
                  </a:moveTo>
                  <a:lnTo>
                    <a:pt x="132" y="86"/>
                  </a:lnTo>
                  <a:lnTo>
                    <a:pt x="137" y="90"/>
                  </a:lnTo>
                  <a:lnTo>
                    <a:pt x="138" y="90"/>
                  </a:lnTo>
                  <a:lnTo>
                    <a:pt x="138" y="94"/>
                  </a:lnTo>
                  <a:lnTo>
                    <a:pt x="137" y="95"/>
                  </a:lnTo>
                  <a:lnTo>
                    <a:pt x="137" y="92"/>
                  </a:lnTo>
                  <a:lnTo>
                    <a:pt x="135" y="92"/>
                  </a:lnTo>
                  <a:lnTo>
                    <a:pt x="132" y="89"/>
                  </a:lnTo>
                  <a:lnTo>
                    <a:pt x="132" y="89"/>
                  </a:lnTo>
                  <a:lnTo>
                    <a:pt x="132" y="89"/>
                  </a:lnTo>
                  <a:lnTo>
                    <a:pt x="132" y="89"/>
                  </a:lnTo>
                  <a:close/>
                  <a:moveTo>
                    <a:pt x="176" y="134"/>
                  </a:moveTo>
                  <a:lnTo>
                    <a:pt x="175" y="132"/>
                  </a:lnTo>
                  <a:lnTo>
                    <a:pt x="175" y="128"/>
                  </a:lnTo>
                  <a:lnTo>
                    <a:pt x="182" y="128"/>
                  </a:lnTo>
                  <a:lnTo>
                    <a:pt x="181" y="130"/>
                  </a:lnTo>
                  <a:lnTo>
                    <a:pt x="176" y="134"/>
                  </a:lnTo>
                  <a:lnTo>
                    <a:pt x="176" y="134"/>
                  </a:lnTo>
                  <a:lnTo>
                    <a:pt x="176" y="134"/>
                  </a:lnTo>
                  <a:lnTo>
                    <a:pt x="176" y="134"/>
                  </a:lnTo>
                  <a:close/>
                  <a:moveTo>
                    <a:pt x="132" y="158"/>
                  </a:moveTo>
                  <a:lnTo>
                    <a:pt x="132" y="154"/>
                  </a:lnTo>
                  <a:lnTo>
                    <a:pt x="137" y="154"/>
                  </a:lnTo>
                  <a:lnTo>
                    <a:pt x="137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2" y="158"/>
                  </a:lnTo>
                  <a:close/>
                  <a:moveTo>
                    <a:pt x="132" y="142"/>
                  </a:moveTo>
                  <a:lnTo>
                    <a:pt x="135" y="142"/>
                  </a:lnTo>
                  <a:lnTo>
                    <a:pt x="135" y="145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close/>
                  <a:moveTo>
                    <a:pt x="132" y="139"/>
                  </a:moveTo>
                  <a:lnTo>
                    <a:pt x="132" y="134"/>
                  </a:lnTo>
                  <a:lnTo>
                    <a:pt x="135" y="136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close/>
                  <a:moveTo>
                    <a:pt x="129" y="132"/>
                  </a:moveTo>
                  <a:lnTo>
                    <a:pt x="129" y="132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29" y="132"/>
                  </a:lnTo>
                  <a:lnTo>
                    <a:pt x="129" y="132"/>
                  </a:lnTo>
                  <a:lnTo>
                    <a:pt x="129" y="132"/>
                  </a:lnTo>
                  <a:lnTo>
                    <a:pt x="129" y="132"/>
                  </a:lnTo>
                  <a:close/>
                  <a:moveTo>
                    <a:pt x="155" y="147"/>
                  </a:moveTo>
                  <a:lnTo>
                    <a:pt x="152" y="145"/>
                  </a:lnTo>
                  <a:lnTo>
                    <a:pt x="155" y="142"/>
                  </a:lnTo>
                  <a:lnTo>
                    <a:pt x="156" y="142"/>
                  </a:lnTo>
                  <a:lnTo>
                    <a:pt x="157" y="145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5" y="147"/>
                  </a:lnTo>
                  <a:close/>
                  <a:moveTo>
                    <a:pt x="161" y="147"/>
                  </a:moveTo>
                  <a:lnTo>
                    <a:pt x="160" y="142"/>
                  </a:lnTo>
                  <a:lnTo>
                    <a:pt x="163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close/>
                  <a:moveTo>
                    <a:pt x="160" y="136"/>
                  </a:moveTo>
                  <a:lnTo>
                    <a:pt x="160" y="134"/>
                  </a:lnTo>
                  <a:lnTo>
                    <a:pt x="161" y="134"/>
                  </a:lnTo>
                  <a:lnTo>
                    <a:pt x="160" y="136"/>
                  </a:lnTo>
                  <a:lnTo>
                    <a:pt x="160" y="136"/>
                  </a:lnTo>
                  <a:lnTo>
                    <a:pt x="160" y="136"/>
                  </a:lnTo>
                  <a:lnTo>
                    <a:pt x="160" y="136"/>
                  </a:lnTo>
                  <a:close/>
                  <a:moveTo>
                    <a:pt x="152" y="130"/>
                  </a:moveTo>
                  <a:lnTo>
                    <a:pt x="155" y="128"/>
                  </a:lnTo>
                  <a:lnTo>
                    <a:pt x="157" y="130"/>
                  </a:lnTo>
                  <a:lnTo>
                    <a:pt x="157" y="134"/>
                  </a:lnTo>
                  <a:lnTo>
                    <a:pt x="155" y="132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close/>
                  <a:moveTo>
                    <a:pt x="138" y="120"/>
                  </a:moveTo>
                  <a:lnTo>
                    <a:pt x="143" y="120"/>
                  </a:lnTo>
                  <a:lnTo>
                    <a:pt x="144" y="123"/>
                  </a:lnTo>
                  <a:lnTo>
                    <a:pt x="149" y="126"/>
                  </a:lnTo>
                  <a:lnTo>
                    <a:pt x="149" y="128"/>
                  </a:lnTo>
                  <a:lnTo>
                    <a:pt x="146" y="128"/>
                  </a:lnTo>
                  <a:lnTo>
                    <a:pt x="141" y="125"/>
                  </a:lnTo>
                  <a:lnTo>
                    <a:pt x="138" y="123"/>
                  </a:lnTo>
                  <a:lnTo>
                    <a:pt x="138" y="120"/>
                  </a:lnTo>
                  <a:lnTo>
                    <a:pt x="138" y="120"/>
                  </a:lnTo>
                  <a:lnTo>
                    <a:pt x="138" y="120"/>
                  </a:lnTo>
                  <a:lnTo>
                    <a:pt x="138" y="120"/>
                  </a:lnTo>
                  <a:close/>
                  <a:moveTo>
                    <a:pt x="87" y="90"/>
                  </a:moveTo>
                  <a:lnTo>
                    <a:pt x="92" y="89"/>
                  </a:lnTo>
                  <a:lnTo>
                    <a:pt x="98" y="86"/>
                  </a:lnTo>
                  <a:lnTo>
                    <a:pt x="103" y="90"/>
                  </a:lnTo>
                  <a:lnTo>
                    <a:pt x="108" y="92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6" y="95"/>
                  </a:lnTo>
                  <a:lnTo>
                    <a:pt x="118" y="95"/>
                  </a:lnTo>
                  <a:lnTo>
                    <a:pt x="123" y="101"/>
                  </a:lnTo>
                  <a:lnTo>
                    <a:pt x="126" y="105"/>
                  </a:lnTo>
                  <a:lnTo>
                    <a:pt x="126" y="106"/>
                  </a:lnTo>
                  <a:lnTo>
                    <a:pt x="127" y="108"/>
                  </a:lnTo>
                  <a:lnTo>
                    <a:pt x="127" y="112"/>
                  </a:lnTo>
                  <a:lnTo>
                    <a:pt x="132" y="116"/>
                  </a:lnTo>
                  <a:lnTo>
                    <a:pt x="132" y="114"/>
                  </a:lnTo>
                  <a:lnTo>
                    <a:pt x="137" y="116"/>
                  </a:lnTo>
                  <a:lnTo>
                    <a:pt x="135" y="120"/>
                  </a:lnTo>
                  <a:lnTo>
                    <a:pt x="132" y="120"/>
                  </a:lnTo>
                  <a:lnTo>
                    <a:pt x="129" y="120"/>
                  </a:lnTo>
                  <a:lnTo>
                    <a:pt x="126" y="117"/>
                  </a:lnTo>
                  <a:lnTo>
                    <a:pt x="123" y="116"/>
                  </a:lnTo>
                  <a:lnTo>
                    <a:pt x="126" y="112"/>
                  </a:lnTo>
                  <a:lnTo>
                    <a:pt x="121" y="111"/>
                  </a:lnTo>
                  <a:lnTo>
                    <a:pt x="120" y="106"/>
                  </a:lnTo>
                  <a:lnTo>
                    <a:pt x="118" y="105"/>
                  </a:lnTo>
                  <a:lnTo>
                    <a:pt x="114" y="105"/>
                  </a:lnTo>
                  <a:lnTo>
                    <a:pt x="108" y="101"/>
                  </a:lnTo>
                  <a:lnTo>
                    <a:pt x="107" y="99"/>
                  </a:lnTo>
                  <a:lnTo>
                    <a:pt x="103" y="98"/>
                  </a:lnTo>
                  <a:lnTo>
                    <a:pt x="101" y="95"/>
                  </a:lnTo>
                  <a:lnTo>
                    <a:pt x="98" y="95"/>
                  </a:lnTo>
                  <a:lnTo>
                    <a:pt x="97" y="94"/>
                  </a:lnTo>
                  <a:lnTo>
                    <a:pt x="95" y="92"/>
                  </a:lnTo>
                  <a:lnTo>
                    <a:pt x="92" y="92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90"/>
                  </a:lnTo>
                  <a:close/>
                  <a:moveTo>
                    <a:pt x="95" y="162"/>
                  </a:moveTo>
                  <a:lnTo>
                    <a:pt x="97" y="162"/>
                  </a:lnTo>
                  <a:lnTo>
                    <a:pt x="97" y="165"/>
                  </a:lnTo>
                  <a:lnTo>
                    <a:pt x="101" y="167"/>
                  </a:lnTo>
                  <a:lnTo>
                    <a:pt x="98" y="171"/>
                  </a:lnTo>
                  <a:lnTo>
                    <a:pt x="95" y="171"/>
                  </a:lnTo>
                  <a:lnTo>
                    <a:pt x="95" y="167"/>
                  </a:lnTo>
                  <a:lnTo>
                    <a:pt x="95" y="165"/>
                  </a:lnTo>
                  <a:lnTo>
                    <a:pt x="95" y="162"/>
                  </a:lnTo>
                  <a:lnTo>
                    <a:pt x="95" y="162"/>
                  </a:lnTo>
                  <a:lnTo>
                    <a:pt x="95" y="162"/>
                  </a:lnTo>
                  <a:lnTo>
                    <a:pt x="95" y="162"/>
                  </a:lnTo>
                  <a:close/>
                  <a:moveTo>
                    <a:pt x="95" y="158"/>
                  </a:moveTo>
                  <a:lnTo>
                    <a:pt x="97" y="159"/>
                  </a:lnTo>
                  <a:lnTo>
                    <a:pt x="95" y="159"/>
                  </a:lnTo>
                  <a:lnTo>
                    <a:pt x="95" y="158"/>
                  </a:lnTo>
                  <a:lnTo>
                    <a:pt x="95" y="158"/>
                  </a:lnTo>
                  <a:lnTo>
                    <a:pt x="95" y="15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1" name="Freeform 74"/>
            <p:cNvSpPr>
              <a:spLocks/>
            </p:cNvSpPr>
            <p:nvPr/>
          </p:nvSpPr>
          <p:spPr bwMode="auto">
            <a:xfrm>
              <a:off x="7262813" y="3378201"/>
              <a:ext cx="155575" cy="115888"/>
            </a:xfrm>
            <a:custGeom>
              <a:avLst/>
              <a:gdLst>
                <a:gd name="T0" fmla="*/ 0 w 98"/>
                <a:gd name="T1" fmla="*/ 6 h 73"/>
                <a:gd name="T2" fmla="*/ 8 w 98"/>
                <a:gd name="T3" fmla="*/ 3 h 73"/>
                <a:gd name="T4" fmla="*/ 21 w 98"/>
                <a:gd name="T5" fmla="*/ 0 h 73"/>
                <a:gd name="T6" fmla="*/ 25 w 98"/>
                <a:gd name="T7" fmla="*/ 1 h 73"/>
                <a:gd name="T8" fmla="*/ 40 w 98"/>
                <a:gd name="T9" fmla="*/ 1 h 73"/>
                <a:gd name="T10" fmla="*/ 45 w 98"/>
                <a:gd name="T11" fmla="*/ 7 h 73"/>
                <a:gd name="T12" fmla="*/ 57 w 98"/>
                <a:gd name="T13" fmla="*/ 7 h 73"/>
                <a:gd name="T14" fmla="*/ 62 w 98"/>
                <a:gd name="T15" fmla="*/ 12 h 73"/>
                <a:gd name="T16" fmla="*/ 60 w 98"/>
                <a:gd name="T17" fmla="*/ 18 h 73"/>
                <a:gd name="T18" fmla="*/ 60 w 98"/>
                <a:gd name="T19" fmla="*/ 21 h 73"/>
                <a:gd name="T20" fmla="*/ 71 w 98"/>
                <a:gd name="T21" fmla="*/ 31 h 73"/>
                <a:gd name="T22" fmla="*/ 71 w 98"/>
                <a:gd name="T23" fmla="*/ 37 h 73"/>
                <a:gd name="T24" fmla="*/ 68 w 98"/>
                <a:gd name="T25" fmla="*/ 38 h 73"/>
                <a:gd name="T26" fmla="*/ 71 w 98"/>
                <a:gd name="T27" fmla="*/ 46 h 73"/>
                <a:gd name="T28" fmla="*/ 82 w 98"/>
                <a:gd name="T29" fmla="*/ 53 h 73"/>
                <a:gd name="T30" fmla="*/ 92 w 98"/>
                <a:gd name="T31" fmla="*/ 53 h 73"/>
                <a:gd name="T32" fmla="*/ 98 w 98"/>
                <a:gd name="T33" fmla="*/ 59 h 73"/>
                <a:gd name="T34" fmla="*/ 90 w 98"/>
                <a:gd name="T35" fmla="*/ 59 h 73"/>
                <a:gd name="T36" fmla="*/ 96 w 98"/>
                <a:gd name="T37" fmla="*/ 65 h 73"/>
                <a:gd name="T38" fmla="*/ 94 w 98"/>
                <a:gd name="T39" fmla="*/ 68 h 73"/>
                <a:gd name="T40" fmla="*/ 94 w 98"/>
                <a:gd name="T41" fmla="*/ 73 h 73"/>
                <a:gd name="T42" fmla="*/ 87 w 98"/>
                <a:gd name="T43" fmla="*/ 73 h 73"/>
                <a:gd name="T44" fmla="*/ 76 w 98"/>
                <a:gd name="T45" fmla="*/ 59 h 73"/>
                <a:gd name="T46" fmla="*/ 68 w 98"/>
                <a:gd name="T47" fmla="*/ 56 h 73"/>
                <a:gd name="T48" fmla="*/ 64 w 98"/>
                <a:gd name="T49" fmla="*/ 47 h 73"/>
                <a:gd name="T50" fmla="*/ 59 w 98"/>
                <a:gd name="T51" fmla="*/ 47 h 73"/>
                <a:gd name="T52" fmla="*/ 57 w 98"/>
                <a:gd name="T53" fmla="*/ 51 h 73"/>
                <a:gd name="T54" fmla="*/ 49 w 98"/>
                <a:gd name="T55" fmla="*/ 43 h 73"/>
                <a:gd name="T56" fmla="*/ 43 w 98"/>
                <a:gd name="T57" fmla="*/ 47 h 73"/>
                <a:gd name="T58" fmla="*/ 40 w 98"/>
                <a:gd name="T59" fmla="*/ 47 h 73"/>
                <a:gd name="T60" fmla="*/ 38 w 98"/>
                <a:gd name="T61" fmla="*/ 43 h 73"/>
                <a:gd name="T62" fmla="*/ 32 w 98"/>
                <a:gd name="T63" fmla="*/ 40 h 73"/>
                <a:gd name="T64" fmla="*/ 26 w 98"/>
                <a:gd name="T65" fmla="*/ 40 h 73"/>
                <a:gd name="T66" fmla="*/ 20 w 98"/>
                <a:gd name="T67" fmla="*/ 40 h 73"/>
                <a:gd name="T68" fmla="*/ 12 w 98"/>
                <a:gd name="T69" fmla="*/ 37 h 73"/>
                <a:gd name="T70" fmla="*/ 12 w 98"/>
                <a:gd name="T71" fmla="*/ 25 h 73"/>
                <a:gd name="T72" fmla="*/ 12 w 98"/>
                <a:gd name="T73" fmla="*/ 18 h 73"/>
                <a:gd name="T74" fmla="*/ 9 w 98"/>
                <a:gd name="T75" fmla="*/ 12 h 73"/>
                <a:gd name="T76" fmla="*/ 5 w 98"/>
                <a:gd name="T77" fmla="*/ 12 h 73"/>
                <a:gd name="T78" fmla="*/ 5 w 98"/>
                <a:gd name="T79" fmla="*/ 9 h 73"/>
                <a:gd name="T80" fmla="*/ 0 w 98"/>
                <a:gd name="T81" fmla="*/ 6 h 73"/>
                <a:gd name="T82" fmla="*/ 0 w 98"/>
                <a:gd name="T83" fmla="*/ 6 h 73"/>
                <a:gd name="T84" fmla="*/ 0 w 98"/>
                <a:gd name="T85" fmla="*/ 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" h="73">
                  <a:moveTo>
                    <a:pt x="0" y="6"/>
                  </a:moveTo>
                  <a:lnTo>
                    <a:pt x="8" y="3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40" y="1"/>
                  </a:lnTo>
                  <a:lnTo>
                    <a:pt x="45" y="7"/>
                  </a:lnTo>
                  <a:lnTo>
                    <a:pt x="57" y="7"/>
                  </a:lnTo>
                  <a:lnTo>
                    <a:pt x="62" y="12"/>
                  </a:lnTo>
                  <a:lnTo>
                    <a:pt x="60" y="18"/>
                  </a:lnTo>
                  <a:lnTo>
                    <a:pt x="60" y="21"/>
                  </a:lnTo>
                  <a:lnTo>
                    <a:pt x="71" y="31"/>
                  </a:lnTo>
                  <a:lnTo>
                    <a:pt x="71" y="37"/>
                  </a:lnTo>
                  <a:lnTo>
                    <a:pt x="68" y="38"/>
                  </a:lnTo>
                  <a:lnTo>
                    <a:pt x="71" y="46"/>
                  </a:lnTo>
                  <a:lnTo>
                    <a:pt x="82" y="53"/>
                  </a:lnTo>
                  <a:lnTo>
                    <a:pt x="92" y="53"/>
                  </a:lnTo>
                  <a:lnTo>
                    <a:pt x="98" y="59"/>
                  </a:lnTo>
                  <a:lnTo>
                    <a:pt x="90" y="59"/>
                  </a:lnTo>
                  <a:lnTo>
                    <a:pt x="96" y="65"/>
                  </a:lnTo>
                  <a:lnTo>
                    <a:pt x="94" y="68"/>
                  </a:lnTo>
                  <a:lnTo>
                    <a:pt x="94" y="73"/>
                  </a:lnTo>
                  <a:lnTo>
                    <a:pt x="87" y="73"/>
                  </a:lnTo>
                  <a:lnTo>
                    <a:pt x="76" y="59"/>
                  </a:lnTo>
                  <a:lnTo>
                    <a:pt x="68" y="56"/>
                  </a:lnTo>
                  <a:lnTo>
                    <a:pt x="64" y="47"/>
                  </a:lnTo>
                  <a:lnTo>
                    <a:pt x="59" y="47"/>
                  </a:lnTo>
                  <a:lnTo>
                    <a:pt x="57" y="51"/>
                  </a:lnTo>
                  <a:lnTo>
                    <a:pt x="49" y="43"/>
                  </a:lnTo>
                  <a:lnTo>
                    <a:pt x="43" y="47"/>
                  </a:lnTo>
                  <a:lnTo>
                    <a:pt x="40" y="47"/>
                  </a:lnTo>
                  <a:lnTo>
                    <a:pt x="38" y="43"/>
                  </a:lnTo>
                  <a:lnTo>
                    <a:pt x="32" y="40"/>
                  </a:lnTo>
                  <a:lnTo>
                    <a:pt x="26" y="40"/>
                  </a:lnTo>
                  <a:lnTo>
                    <a:pt x="20" y="40"/>
                  </a:lnTo>
                  <a:lnTo>
                    <a:pt x="12" y="37"/>
                  </a:lnTo>
                  <a:lnTo>
                    <a:pt x="12" y="25"/>
                  </a:lnTo>
                  <a:lnTo>
                    <a:pt x="12" y="18"/>
                  </a:lnTo>
                  <a:lnTo>
                    <a:pt x="9" y="12"/>
                  </a:lnTo>
                  <a:lnTo>
                    <a:pt x="5" y="12"/>
                  </a:lnTo>
                  <a:lnTo>
                    <a:pt x="5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2" name="Freeform 75"/>
            <p:cNvSpPr>
              <a:spLocks noEditPoints="1"/>
            </p:cNvSpPr>
            <p:nvPr/>
          </p:nvSpPr>
          <p:spPr bwMode="auto">
            <a:xfrm>
              <a:off x="6527801" y="3352801"/>
              <a:ext cx="817563" cy="285750"/>
            </a:xfrm>
            <a:custGeom>
              <a:avLst/>
              <a:gdLst>
                <a:gd name="T0" fmla="*/ 24 w 515"/>
                <a:gd name="T1" fmla="*/ 17 h 180"/>
                <a:gd name="T2" fmla="*/ 39 w 515"/>
                <a:gd name="T3" fmla="*/ 0 h 180"/>
                <a:gd name="T4" fmla="*/ 72 w 515"/>
                <a:gd name="T5" fmla="*/ 20 h 180"/>
                <a:gd name="T6" fmla="*/ 67 w 515"/>
                <a:gd name="T7" fmla="*/ 32 h 180"/>
                <a:gd name="T8" fmla="*/ 27 w 515"/>
                <a:gd name="T9" fmla="*/ 49 h 180"/>
                <a:gd name="T10" fmla="*/ 21 w 515"/>
                <a:gd name="T11" fmla="*/ 46 h 180"/>
                <a:gd name="T12" fmla="*/ 6 w 515"/>
                <a:gd name="T13" fmla="*/ 38 h 180"/>
                <a:gd name="T14" fmla="*/ 403 w 515"/>
                <a:gd name="T15" fmla="*/ 20 h 180"/>
                <a:gd name="T16" fmla="*/ 364 w 515"/>
                <a:gd name="T17" fmla="*/ 27 h 180"/>
                <a:gd name="T18" fmla="*/ 323 w 515"/>
                <a:gd name="T19" fmla="*/ 31 h 180"/>
                <a:gd name="T20" fmla="*/ 285 w 515"/>
                <a:gd name="T21" fmla="*/ 18 h 180"/>
                <a:gd name="T22" fmla="*/ 263 w 515"/>
                <a:gd name="T23" fmla="*/ 5 h 180"/>
                <a:gd name="T24" fmla="*/ 239 w 515"/>
                <a:gd name="T25" fmla="*/ 0 h 180"/>
                <a:gd name="T26" fmla="*/ 193 w 515"/>
                <a:gd name="T27" fmla="*/ 4 h 180"/>
                <a:gd name="T28" fmla="*/ 153 w 515"/>
                <a:gd name="T29" fmla="*/ 18 h 180"/>
                <a:gd name="T30" fmla="*/ 121 w 515"/>
                <a:gd name="T31" fmla="*/ 26 h 180"/>
                <a:gd name="T32" fmla="*/ 87 w 515"/>
                <a:gd name="T33" fmla="*/ 29 h 180"/>
                <a:gd name="T34" fmla="*/ 92 w 515"/>
                <a:gd name="T35" fmla="*/ 44 h 180"/>
                <a:gd name="T36" fmla="*/ 85 w 515"/>
                <a:gd name="T37" fmla="*/ 54 h 180"/>
                <a:gd name="T38" fmla="*/ 49 w 515"/>
                <a:gd name="T39" fmla="*/ 57 h 180"/>
                <a:gd name="T40" fmla="*/ 15 w 515"/>
                <a:gd name="T41" fmla="*/ 68 h 180"/>
                <a:gd name="T42" fmla="*/ 26 w 515"/>
                <a:gd name="T43" fmla="*/ 81 h 180"/>
                <a:gd name="T44" fmla="*/ 33 w 515"/>
                <a:gd name="T45" fmla="*/ 96 h 180"/>
                <a:gd name="T46" fmla="*/ 32 w 515"/>
                <a:gd name="T47" fmla="*/ 105 h 180"/>
                <a:gd name="T48" fmla="*/ 24 w 515"/>
                <a:gd name="T49" fmla="*/ 107 h 180"/>
                <a:gd name="T50" fmla="*/ 26 w 515"/>
                <a:gd name="T51" fmla="*/ 123 h 180"/>
                <a:gd name="T52" fmla="*/ 41 w 515"/>
                <a:gd name="T53" fmla="*/ 136 h 180"/>
                <a:gd name="T54" fmla="*/ 49 w 515"/>
                <a:gd name="T55" fmla="*/ 151 h 180"/>
                <a:gd name="T56" fmla="*/ 67 w 515"/>
                <a:gd name="T57" fmla="*/ 158 h 180"/>
                <a:gd name="T58" fmla="*/ 64 w 515"/>
                <a:gd name="T59" fmla="*/ 162 h 180"/>
                <a:gd name="T60" fmla="*/ 79 w 515"/>
                <a:gd name="T61" fmla="*/ 158 h 180"/>
                <a:gd name="T62" fmla="*/ 98 w 515"/>
                <a:gd name="T63" fmla="*/ 163 h 180"/>
                <a:gd name="T64" fmla="*/ 113 w 515"/>
                <a:gd name="T65" fmla="*/ 177 h 180"/>
                <a:gd name="T66" fmla="*/ 140 w 515"/>
                <a:gd name="T67" fmla="*/ 171 h 180"/>
                <a:gd name="T68" fmla="*/ 174 w 515"/>
                <a:gd name="T69" fmla="*/ 163 h 180"/>
                <a:gd name="T70" fmla="*/ 232 w 515"/>
                <a:gd name="T71" fmla="*/ 174 h 180"/>
                <a:gd name="T72" fmla="*/ 263 w 515"/>
                <a:gd name="T73" fmla="*/ 158 h 180"/>
                <a:gd name="T74" fmla="*/ 291 w 515"/>
                <a:gd name="T75" fmla="*/ 158 h 180"/>
                <a:gd name="T76" fmla="*/ 291 w 515"/>
                <a:gd name="T77" fmla="*/ 180 h 180"/>
                <a:gd name="T78" fmla="*/ 306 w 515"/>
                <a:gd name="T79" fmla="*/ 157 h 180"/>
                <a:gd name="T80" fmla="*/ 355 w 515"/>
                <a:gd name="T81" fmla="*/ 151 h 180"/>
                <a:gd name="T82" fmla="*/ 392 w 515"/>
                <a:gd name="T83" fmla="*/ 153 h 180"/>
                <a:gd name="T84" fmla="*/ 444 w 515"/>
                <a:gd name="T85" fmla="*/ 144 h 180"/>
                <a:gd name="T86" fmla="*/ 483 w 515"/>
                <a:gd name="T87" fmla="*/ 138 h 180"/>
                <a:gd name="T88" fmla="*/ 514 w 515"/>
                <a:gd name="T89" fmla="*/ 146 h 180"/>
                <a:gd name="T90" fmla="*/ 499 w 515"/>
                <a:gd name="T91" fmla="*/ 115 h 180"/>
                <a:gd name="T92" fmla="*/ 493 w 515"/>
                <a:gd name="T93" fmla="*/ 81 h 180"/>
                <a:gd name="T94" fmla="*/ 500 w 515"/>
                <a:gd name="T95" fmla="*/ 60 h 180"/>
                <a:gd name="T96" fmla="*/ 473 w 515"/>
                <a:gd name="T97" fmla="*/ 35 h 180"/>
                <a:gd name="T98" fmla="*/ 444 w 515"/>
                <a:gd name="T99" fmla="*/ 13 h 180"/>
                <a:gd name="T100" fmla="*/ 420 w 515"/>
                <a:gd name="T101" fmla="*/ 14 h 180"/>
                <a:gd name="T102" fmla="*/ 61 w 515"/>
                <a:gd name="T103" fmla="*/ 168 h 180"/>
                <a:gd name="T104" fmla="*/ 61 w 515"/>
                <a:gd name="T105" fmla="*/ 168 h 180"/>
                <a:gd name="T106" fmla="*/ 11 w 515"/>
                <a:gd name="T107" fmla="*/ 54 h 180"/>
                <a:gd name="T108" fmla="*/ 0 w 515"/>
                <a:gd name="T109" fmla="*/ 5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5" h="180">
                  <a:moveTo>
                    <a:pt x="6" y="38"/>
                  </a:moveTo>
                  <a:lnTo>
                    <a:pt x="15" y="38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1" y="23"/>
                  </a:lnTo>
                  <a:lnTo>
                    <a:pt x="24" y="17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32" y="0"/>
                  </a:lnTo>
                  <a:lnTo>
                    <a:pt x="39" y="0"/>
                  </a:lnTo>
                  <a:lnTo>
                    <a:pt x="47" y="5"/>
                  </a:lnTo>
                  <a:lnTo>
                    <a:pt x="50" y="4"/>
                  </a:lnTo>
                  <a:lnTo>
                    <a:pt x="56" y="4"/>
                  </a:lnTo>
                  <a:lnTo>
                    <a:pt x="58" y="13"/>
                  </a:lnTo>
                  <a:lnTo>
                    <a:pt x="66" y="20"/>
                  </a:lnTo>
                  <a:lnTo>
                    <a:pt x="72" y="20"/>
                  </a:lnTo>
                  <a:lnTo>
                    <a:pt x="79" y="26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79" y="37"/>
                  </a:lnTo>
                  <a:lnTo>
                    <a:pt x="72" y="35"/>
                  </a:lnTo>
                  <a:lnTo>
                    <a:pt x="67" y="32"/>
                  </a:lnTo>
                  <a:lnTo>
                    <a:pt x="62" y="32"/>
                  </a:lnTo>
                  <a:lnTo>
                    <a:pt x="61" y="35"/>
                  </a:lnTo>
                  <a:lnTo>
                    <a:pt x="50" y="35"/>
                  </a:lnTo>
                  <a:lnTo>
                    <a:pt x="45" y="37"/>
                  </a:lnTo>
                  <a:lnTo>
                    <a:pt x="41" y="44"/>
                  </a:lnTo>
                  <a:lnTo>
                    <a:pt x="27" y="49"/>
                  </a:lnTo>
                  <a:lnTo>
                    <a:pt x="16" y="59"/>
                  </a:lnTo>
                  <a:lnTo>
                    <a:pt x="15" y="54"/>
                  </a:lnTo>
                  <a:lnTo>
                    <a:pt x="18" y="48"/>
                  </a:lnTo>
                  <a:lnTo>
                    <a:pt x="20" y="48"/>
                  </a:lnTo>
                  <a:lnTo>
                    <a:pt x="26" y="46"/>
                  </a:lnTo>
                  <a:lnTo>
                    <a:pt x="21" y="46"/>
                  </a:lnTo>
                  <a:lnTo>
                    <a:pt x="18" y="44"/>
                  </a:lnTo>
                  <a:lnTo>
                    <a:pt x="15" y="46"/>
                  </a:lnTo>
                  <a:lnTo>
                    <a:pt x="11" y="44"/>
                  </a:lnTo>
                  <a:lnTo>
                    <a:pt x="9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close/>
                  <a:moveTo>
                    <a:pt x="415" y="9"/>
                  </a:moveTo>
                  <a:lnTo>
                    <a:pt x="415" y="11"/>
                  </a:lnTo>
                  <a:lnTo>
                    <a:pt x="410" y="17"/>
                  </a:lnTo>
                  <a:lnTo>
                    <a:pt x="403" y="20"/>
                  </a:lnTo>
                  <a:lnTo>
                    <a:pt x="393" y="26"/>
                  </a:lnTo>
                  <a:lnTo>
                    <a:pt x="392" y="29"/>
                  </a:lnTo>
                  <a:lnTo>
                    <a:pt x="384" y="29"/>
                  </a:lnTo>
                  <a:lnTo>
                    <a:pt x="380" y="31"/>
                  </a:lnTo>
                  <a:lnTo>
                    <a:pt x="369" y="29"/>
                  </a:lnTo>
                  <a:lnTo>
                    <a:pt x="364" y="27"/>
                  </a:lnTo>
                  <a:lnTo>
                    <a:pt x="361" y="27"/>
                  </a:lnTo>
                  <a:lnTo>
                    <a:pt x="359" y="26"/>
                  </a:lnTo>
                  <a:lnTo>
                    <a:pt x="355" y="27"/>
                  </a:lnTo>
                  <a:lnTo>
                    <a:pt x="344" y="29"/>
                  </a:lnTo>
                  <a:lnTo>
                    <a:pt x="332" y="32"/>
                  </a:lnTo>
                  <a:lnTo>
                    <a:pt x="323" y="31"/>
                  </a:lnTo>
                  <a:lnTo>
                    <a:pt x="317" y="27"/>
                  </a:lnTo>
                  <a:lnTo>
                    <a:pt x="314" y="29"/>
                  </a:lnTo>
                  <a:lnTo>
                    <a:pt x="303" y="26"/>
                  </a:lnTo>
                  <a:lnTo>
                    <a:pt x="298" y="23"/>
                  </a:lnTo>
                  <a:lnTo>
                    <a:pt x="287" y="18"/>
                  </a:lnTo>
                  <a:lnTo>
                    <a:pt x="285" y="18"/>
                  </a:lnTo>
                  <a:lnTo>
                    <a:pt x="283" y="22"/>
                  </a:lnTo>
                  <a:lnTo>
                    <a:pt x="277" y="20"/>
                  </a:lnTo>
                  <a:lnTo>
                    <a:pt x="274" y="14"/>
                  </a:lnTo>
                  <a:lnTo>
                    <a:pt x="272" y="9"/>
                  </a:lnTo>
                  <a:lnTo>
                    <a:pt x="268" y="5"/>
                  </a:lnTo>
                  <a:lnTo>
                    <a:pt x="263" y="5"/>
                  </a:lnTo>
                  <a:lnTo>
                    <a:pt x="257" y="13"/>
                  </a:lnTo>
                  <a:lnTo>
                    <a:pt x="254" y="11"/>
                  </a:lnTo>
                  <a:lnTo>
                    <a:pt x="252" y="13"/>
                  </a:lnTo>
                  <a:lnTo>
                    <a:pt x="243" y="5"/>
                  </a:lnTo>
                  <a:lnTo>
                    <a:pt x="242" y="0"/>
                  </a:lnTo>
                  <a:lnTo>
                    <a:pt x="239" y="0"/>
                  </a:lnTo>
                  <a:lnTo>
                    <a:pt x="233" y="1"/>
                  </a:lnTo>
                  <a:lnTo>
                    <a:pt x="224" y="1"/>
                  </a:lnTo>
                  <a:lnTo>
                    <a:pt x="220" y="1"/>
                  </a:lnTo>
                  <a:lnTo>
                    <a:pt x="214" y="1"/>
                  </a:lnTo>
                  <a:lnTo>
                    <a:pt x="202" y="1"/>
                  </a:lnTo>
                  <a:lnTo>
                    <a:pt x="193" y="4"/>
                  </a:lnTo>
                  <a:lnTo>
                    <a:pt x="182" y="7"/>
                  </a:lnTo>
                  <a:lnTo>
                    <a:pt x="176" y="9"/>
                  </a:lnTo>
                  <a:lnTo>
                    <a:pt x="165" y="11"/>
                  </a:lnTo>
                  <a:lnTo>
                    <a:pt x="162" y="13"/>
                  </a:lnTo>
                  <a:lnTo>
                    <a:pt x="157" y="14"/>
                  </a:lnTo>
                  <a:lnTo>
                    <a:pt x="153" y="18"/>
                  </a:lnTo>
                  <a:lnTo>
                    <a:pt x="150" y="20"/>
                  </a:lnTo>
                  <a:lnTo>
                    <a:pt x="147" y="26"/>
                  </a:lnTo>
                  <a:lnTo>
                    <a:pt x="146" y="27"/>
                  </a:lnTo>
                  <a:lnTo>
                    <a:pt x="146" y="29"/>
                  </a:lnTo>
                  <a:lnTo>
                    <a:pt x="136" y="31"/>
                  </a:lnTo>
                  <a:lnTo>
                    <a:pt x="121" y="26"/>
                  </a:lnTo>
                  <a:lnTo>
                    <a:pt x="116" y="26"/>
                  </a:lnTo>
                  <a:lnTo>
                    <a:pt x="113" y="27"/>
                  </a:lnTo>
                  <a:lnTo>
                    <a:pt x="107" y="27"/>
                  </a:lnTo>
                  <a:lnTo>
                    <a:pt x="98" y="29"/>
                  </a:lnTo>
                  <a:lnTo>
                    <a:pt x="95" y="27"/>
                  </a:lnTo>
                  <a:lnTo>
                    <a:pt x="87" y="29"/>
                  </a:lnTo>
                  <a:lnTo>
                    <a:pt x="87" y="32"/>
                  </a:lnTo>
                  <a:lnTo>
                    <a:pt x="90" y="40"/>
                  </a:lnTo>
                  <a:lnTo>
                    <a:pt x="98" y="40"/>
                  </a:lnTo>
                  <a:lnTo>
                    <a:pt x="106" y="40"/>
                  </a:lnTo>
                  <a:lnTo>
                    <a:pt x="104" y="44"/>
                  </a:lnTo>
                  <a:lnTo>
                    <a:pt x="92" y="44"/>
                  </a:lnTo>
                  <a:lnTo>
                    <a:pt x="83" y="46"/>
                  </a:lnTo>
                  <a:lnTo>
                    <a:pt x="79" y="49"/>
                  </a:lnTo>
                  <a:lnTo>
                    <a:pt x="81" y="53"/>
                  </a:lnTo>
                  <a:lnTo>
                    <a:pt x="87" y="52"/>
                  </a:lnTo>
                  <a:lnTo>
                    <a:pt x="89" y="53"/>
                  </a:lnTo>
                  <a:lnTo>
                    <a:pt x="85" y="54"/>
                  </a:lnTo>
                  <a:lnTo>
                    <a:pt x="72" y="54"/>
                  </a:lnTo>
                  <a:lnTo>
                    <a:pt x="66" y="53"/>
                  </a:lnTo>
                  <a:lnTo>
                    <a:pt x="61" y="54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49" y="57"/>
                  </a:lnTo>
                  <a:lnTo>
                    <a:pt x="43" y="57"/>
                  </a:lnTo>
                  <a:lnTo>
                    <a:pt x="37" y="52"/>
                  </a:lnTo>
                  <a:lnTo>
                    <a:pt x="30" y="52"/>
                  </a:lnTo>
                  <a:lnTo>
                    <a:pt x="18" y="60"/>
                  </a:lnTo>
                  <a:lnTo>
                    <a:pt x="16" y="65"/>
                  </a:lnTo>
                  <a:lnTo>
                    <a:pt x="15" y="68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5" y="79"/>
                  </a:lnTo>
                  <a:lnTo>
                    <a:pt x="16" y="81"/>
                  </a:lnTo>
                  <a:lnTo>
                    <a:pt x="24" y="79"/>
                  </a:lnTo>
                  <a:lnTo>
                    <a:pt x="26" y="81"/>
                  </a:lnTo>
                  <a:lnTo>
                    <a:pt x="32" y="79"/>
                  </a:lnTo>
                  <a:lnTo>
                    <a:pt x="37" y="79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3" y="92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7" y="101"/>
                  </a:lnTo>
                  <a:lnTo>
                    <a:pt x="32" y="105"/>
                  </a:lnTo>
                  <a:lnTo>
                    <a:pt x="33" y="107"/>
                  </a:lnTo>
                  <a:lnTo>
                    <a:pt x="37" y="107"/>
                  </a:lnTo>
                  <a:lnTo>
                    <a:pt x="33" y="109"/>
                  </a:lnTo>
                  <a:lnTo>
                    <a:pt x="32" y="113"/>
                  </a:lnTo>
                  <a:lnTo>
                    <a:pt x="27" y="113"/>
                  </a:lnTo>
                  <a:lnTo>
                    <a:pt x="24" y="107"/>
                  </a:lnTo>
                  <a:lnTo>
                    <a:pt x="21" y="105"/>
                  </a:lnTo>
                  <a:lnTo>
                    <a:pt x="21" y="110"/>
                  </a:lnTo>
                  <a:lnTo>
                    <a:pt x="24" y="115"/>
                  </a:lnTo>
                  <a:lnTo>
                    <a:pt x="21" y="116"/>
                  </a:lnTo>
                  <a:lnTo>
                    <a:pt x="21" y="120"/>
                  </a:lnTo>
                  <a:lnTo>
                    <a:pt x="26" y="123"/>
                  </a:lnTo>
                  <a:lnTo>
                    <a:pt x="27" y="121"/>
                  </a:lnTo>
                  <a:lnTo>
                    <a:pt x="33" y="126"/>
                  </a:lnTo>
                  <a:lnTo>
                    <a:pt x="37" y="123"/>
                  </a:lnTo>
                  <a:lnTo>
                    <a:pt x="43" y="127"/>
                  </a:lnTo>
                  <a:lnTo>
                    <a:pt x="45" y="132"/>
                  </a:lnTo>
                  <a:lnTo>
                    <a:pt x="41" y="136"/>
                  </a:lnTo>
                  <a:lnTo>
                    <a:pt x="45" y="140"/>
                  </a:lnTo>
                  <a:lnTo>
                    <a:pt x="45" y="144"/>
                  </a:lnTo>
                  <a:lnTo>
                    <a:pt x="49" y="144"/>
                  </a:lnTo>
                  <a:lnTo>
                    <a:pt x="55" y="149"/>
                  </a:lnTo>
                  <a:lnTo>
                    <a:pt x="52" y="153"/>
                  </a:lnTo>
                  <a:lnTo>
                    <a:pt x="49" y="151"/>
                  </a:lnTo>
                  <a:lnTo>
                    <a:pt x="47" y="154"/>
                  </a:lnTo>
                  <a:lnTo>
                    <a:pt x="50" y="154"/>
                  </a:lnTo>
                  <a:lnTo>
                    <a:pt x="61" y="153"/>
                  </a:lnTo>
                  <a:lnTo>
                    <a:pt x="72" y="153"/>
                  </a:lnTo>
                  <a:lnTo>
                    <a:pt x="70" y="157"/>
                  </a:lnTo>
                  <a:lnTo>
                    <a:pt x="67" y="158"/>
                  </a:lnTo>
                  <a:lnTo>
                    <a:pt x="62" y="160"/>
                  </a:lnTo>
                  <a:lnTo>
                    <a:pt x="52" y="160"/>
                  </a:lnTo>
                  <a:lnTo>
                    <a:pt x="50" y="163"/>
                  </a:lnTo>
                  <a:lnTo>
                    <a:pt x="55" y="163"/>
                  </a:lnTo>
                  <a:lnTo>
                    <a:pt x="58" y="162"/>
                  </a:lnTo>
                  <a:lnTo>
                    <a:pt x="64" y="162"/>
                  </a:lnTo>
                  <a:lnTo>
                    <a:pt x="67" y="160"/>
                  </a:lnTo>
                  <a:lnTo>
                    <a:pt x="67" y="163"/>
                  </a:lnTo>
                  <a:lnTo>
                    <a:pt x="70" y="166"/>
                  </a:lnTo>
                  <a:lnTo>
                    <a:pt x="72" y="162"/>
                  </a:lnTo>
                  <a:lnTo>
                    <a:pt x="76" y="158"/>
                  </a:lnTo>
                  <a:lnTo>
                    <a:pt x="79" y="158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90" y="163"/>
                  </a:lnTo>
                  <a:lnTo>
                    <a:pt x="95" y="160"/>
                  </a:lnTo>
                  <a:lnTo>
                    <a:pt x="98" y="162"/>
                  </a:lnTo>
                  <a:lnTo>
                    <a:pt x="98" y="163"/>
                  </a:lnTo>
                  <a:lnTo>
                    <a:pt x="96" y="163"/>
                  </a:lnTo>
                  <a:lnTo>
                    <a:pt x="98" y="168"/>
                  </a:lnTo>
                  <a:lnTo>
                    <a:pt x="98" y="171"/>
                  </a:lnTo>
                  <a:lnTo>
                    <a:pt x="104" y="175"/>
                  </a:lnTo>
                  <a:lnTo>
                    <a:pt x="106" y="175"/>
                  </a:lnTo>
                  <a:lnTo>
                    <a:pt x="113" y="177"/>
                  </a:lnTo>
                  <a:lnTo>
                    <a:pt x="119" y="177"/>
                  </a:lnTo>
                  <a:lnTo>
                    <a:pt x="123" y="174"/>
                  </a:lnTo>
                  <a:lnTo>
                    <a:pt x="129" y="174"/>
                  </a:lnTo>
                  <a:lnTo>
                    <a:pt x="131" y="171"/>
                  </a:lnTo>
                  <a:lnTo>
                    <a:pt x="136" y="174"/>
                  </a:lnTo>
                  <a:lnTo>
                    <a:pt x="140" y="171"/>
                  </a:lnTo>
                  <a:lnTo>
                    <a:pt x="138" y="166"/>
                  </a:lnTo>
                  <a:lnTo>
                    <a:pt x="140" y="163"/>
                  </a:lnTo>
                  <a:lnTo>
                    <a:pt x="138" y="158"/>
                  </a:lnTo>
                  <a:lnTo>
                    <a:pt x="151" y="157"/>
                  </a:lnTo>
                  <a:lnTo>
                    <a:pt x="161" y="158"/>
                  </a:lnTo>
                  <a:lnTo>
                    <a:pt x="174" y="163"/>
                  </a:lnTo>
                  <a:lnTo>
                    <a:pt x="178" y="163"/>
                  </a:lnTo>
                  <a:lnTo>
                    <a:pt x="188" y="175"/>
                  </a:lnTo>
                  <a:lnTo>
                    <a:pt x="196" y="179"/>
                  </a:lnTo>
                  <a:lnTo>
                    <a:pt x="220" y="175"/>
                  </a:lnTo>
                  <a:lnTo>
                    <a:pt x="228" y="174"/>
                  </a:lnTo>
                  <a:lnTo>
                    <a:pt x="232" y="174"/>
                  </a:lnTo>
                  <a:lnTo>
                    <a:pt x="232" y="174"/>
                  </a:lnTo>
                  <a:lnTo>
                    <a:pt x="236" y="171"/>
                  </a:lnTo>
                  <a:lnTo>
                    <a:pt x="237" y="168"/>
                  </a:lnTo>
                  <a:lnTo>
                    <a:pt x="248" y="157"/>
                  </a:lnTo>
                  <a:lnTo>
                    <a:pt x="252" y="154"/>
                  </a:lnTo>
                  <a:lnTo>
                    <a:pt x="263" y="158"/>
                  </a:lnTo>
                  <a:lnTo>
                    <a:pt x="269" y="162"/>
                  </a:lnTo>
                  <a:lnTo>
                    <a:pt x="279" y="160"/>
                  </a:lnTo>
                  <a:lnTo>
                    <a:pt x="279" y="158"/>
                  </a:lnTo>
                  <a:lnTo>
                    <a:pt x="285" y="154"/>
                  </a:lnTo>
                  <a:lnTo>
                    <a:pt x="291" y="154"/>
                  </a:lnTo>
                  <a:lnTo>
                    <a:pt x="291" y="158"/>
                  </a:lnTo>
                  <a:lnTo>
                    <a:pt x="287" y="163"/>
                  </a:lnTo>
                  <a:lnTo>
                    <a:pt x="281" y="168"/>
                  </a:lnTo>
                  <a:lnTo>
                    <a:pt x="281" y="171"/>
                  </a:lnTo>
                  <a:lnTo>
                    <a:pt x="287" y="177"/>
                  </a:lnTo>
                  <a:lnTo>
                    <a:pt x="285" y="179"/>
                  </a:lnTo>
                  <a:lnTo>
                    <a:pt x="291" y="180"/>
                  </a:lnTo>
                  <a:lnTo>
                    <a:pt x="297" y="179"/>
                  </a:lnTo>
                  <a:lnTo>
                    <a:pt x="303" y="177"/>
                  </a:lnTo>
                  <a:lnTo>
                    <a:pt x="303" y="174"/>
                  </a:lnTo>
                  <a:lnTo>
                    <a:pt x="303" y="169"/>
                  </a:lnTo>
                  <a:lnTo>
                    <a:pt x="306" y="162"/>
                  </a:lnTo>
                  <a:lnTo>
                    <a:pt x="306" y="157"/>
                  </a:lnTo>
                  <a:lnTo>
                    <a:pt x="315" y="158"/>
                  </a:lnTo>
                  <a:lnTo>
                    <a:pt x="319" y="160"/>
                  </a:lnTo>
                  <a:lnTo>
                    <a:pt x="332" y="154"/>
                  </a:lnTo>
                  <a:lnTo>
                    <a:pt x="337" y="154"/>
                  </a:lnTo>
                  <a:lnTo>
                    <a:pt x="340" y="153"/>
                  </a:lnTo>
                  <a:lnTo>
                    <a:pt x="355" y="151"/>
                  </a:lnTo>
                  <a:lnTo>
                    <a:pt x="359" y="153"/>
                  </a:lnTo>
                  <a:lnTo>
                    <a:pt x="363" y="154"/>
                  </a:lnTo>
                  <a:lnTo>
                    <a:pt x="370" y="157"/>
                  </a:lnTo>
                  <a:lnTo>
                    <a:pt x="384" y="157"/>
                  </a:lnTo>
                  <a:lnTo>
                    <a:pt x="386" y="154"/>
                  </a:lnTo>
                  <a:lnTo>
                    <a:pt x="392" y="153"/>
                  </a:lnTo>
                  <a:lnTo>
                    <a:pt x="398" y="149"/>
                  </a:lnTo>
                  <a:lnTo>
                    <a:pt x="407" y="147"/>
                  </a:lnTo>
                  <a:lnTo>
                    <a:pt x="415" y="147"/>
                  </a:lnTo>
                  <a:lnTo>
                    <a:pt x="418" y="146"/>
                  </a:lnTo>
                  <a:lnTo>
                    <a:pt x="433" y="147"/>
                  </a:lnTo>
                  <a:lnTo>
                    <a:pt x="444" y="144"/>
                  </a:lnTo>
                  <a:lnTo>
                    <a:pt x="453" y="144"/>
                  </a:lnTo>
                  <a:lnTo>
                    <a:pt x="455" y="146"/>
                  </a:lnTo>
                  <a:lnTo>
                    <a:pt x="462" y="140"/>
                  </a:lnTo>
                  <a:lnTo>
                    <a:pt x="468" y="140"/>
                  </a:lnTo>
                  <a:lnTo>
                    <a:pt x="471" y="138"/>
                  </a:lnTo>
                  <a:lnTo>
                    <a:pt x="483" y="138"/>
                  </a:lnTo>
                  <a:lnTo>
                    <a:pt x="493" y="140"/>
                  </a:lnTo>
                  <a:lnTo>
                    <a:pt x="499" y="138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8" y="146"/>
                  </a:lnTo>
                  <a:lnTo>
                    <a:pt x="514" y="146"/>
                  </a:lnTo>
                  <a:lnTo>
                    <a:pt x="515" y="140"/>
                  </a:lnTo>
                  <a:lnTo>
                    <a:pt x="511" y="135"/>
                  </a:lnTo>
                  <a:lnTo>
                    <a:pt x="505" y="126"/>
                  </a:lnTo>
                  <a:lnTo>
                    <a:pt x="499" y="123"/>
                  </a:lnTo>
                  <a:lnTo>
                    <a:pt x="500" y="120"/>
                  </a:lnTo>
                  <a:lnTo>
                    <a:pt x="499" y="115"/>
                  </a:lnTo>
                  <a:lnTo>
                    <a:pt x="502" y="107"/>
                  </a:lnTo>
                  <a:lnTo>
                    <a:pt x="500" y="104"/>
                  </a:lnTo>
                  <a:lnTo>
                    <a:pt x="494" y="104"/>
                  </a:lnTo>
                  <a:lnTo>
                    <a:pt x="494" y="96"/>
                  </a:lnTo>
                  <a:lnTo>
                    <a:pt x="494" y="90"/>
                  </a:lnTo>
                  <a:lnTo>
                    <a:pt x="493" y="81"/>
                  </a:lnTo>
                  <a:lnTo>
                    <a:pt x="488" y="77"/>
                  </a:lnTo>
                  <a:lnTo>
                    <a:pt x="488" y="76"/>
                  </a:lnTo>
                  <a:lnTo>
                    <a:pt x="496" y="74"/>
                  </a:lnTo>
                  <a:lnTo>
                    <a:pt x="500" y="68"/>
                  </a:lnTo>
                  <a:lnTo>
                    <a:pt x="502" y="66"/>
                  </a:lnTo>
                  <a:lnTo>
                    <a:pt x="500" y="60"/>
                  </a:lnTo>
                  <a:lnTo>
                    <a:pt x="494" y="57"/>
                  </a:lnTo>
                  <a:lnTo>
                    <a:pt x="488" y="57"/>
                  </a:lnTo>
                  <a:lnTo>
                    <a:pt x="481" y="57"/>
                  </a:lnTo>
                  <a:lnTo>
                    <a:pt x="473" y="53"/>
                  </a:lnTo>
                  <a:lnTo>
                    <a:pt x="473" y="43"/>
                  </a:lnTo>
                  <a:lnTo>
                    <a:pt x="473" y="35"/>
                  </a:lnTo>
                  <a:lnTo>
                    <a:pt x="471" y="29"/>
                  </a:lnTo>
                  <a:lnTo>
                    <a:pt x="466" y="29"/>
                  </a:lnTo>
                  <a:lnTo>
                    <a:pt x="466" y="26"/>
                  </a:lnTo>
                  <a:lnTo>
                    <a:pt x="462" y="22"/>
                  </a:lnTo>
                  <a:lnTo>
                    <a:pt x="456" y="20"/>
                  </a:lnTo>
                  <a:lnTo>
                    <a:pt x="444" y="13"/>
                  </a:lnTo>
                  <a:lnTo>
                    <a:pt x="439" y="11"/>
                  </a:lnTo>
                  <a:lnTo>
                    <a:pt x="435" y="14"/>
                  </a:lnTo>
                  <a:lnTo>
                    <a:pt x="433" y="14"/>
                  </a:lnTo>
                  <a:lnTo>
                    <a:pt x="426" y="13"/>
                  </a:lnTo>
                  <a:lnTo>
                    <a:pt x="422" y="14"/>
                  </a:lnTo>
                  <a:lnTo>
                    <a:pt x="420" y="14"/>
                  </a:lnTo>
                  <a:lnTo>
                    <a:pt x="418" y="9"/>
                  </a:lnTo>
                  <a:lnTo>
                    <a:pt x="415" y="9"/>
                  </a:lnTo>
                  <a:lnTo>
                    <a:pt x="415" y="9"/>
                  </a:lnTo>
                  <a:lnTo>
                    <a:pt x="415" y="9"/>
                  </a:lnTo>
                  <a:lnTo>
                    <a:pt x="415" y="9"/>
                  </a:lnTo>
                  <a:close/>
                  <a:moveTo>
                    <a:pt x="61" y="168"/>
                  </a:moveTo>
                  <a:lnTo>
                    <a:pt x="62" y="166"/>
                  </a:lnTo>
                  <a:lnTo>
                    <a:pt x="66" y="166"/>
                  </a:lnTo>
                  <a:lnTo>
                    <a:pt x="66" y="168"/>
                  </a:lnTo>
                  <a:lnTo>
                    <a:pt x="64" y="168"/>
                  </a:lnTo>
                  <a:lnTo>
                    <a:pt x="61" y="168"/>
                  </a:lnTo>
                  <a:lnTo>
                    <a:pt x="61" y="168"/>
                  </a:lnTo>
                  <a:lnTo>
                    <a:pt x="61" y="168"/>
                  </a:lnTo>
                  <a:lnTo>
                    <a:pt x="61" y="168"/>
                  </a:lnTo>
                  <a:close/>
                  <a:moveTo>
                    <a:pt x="0" y="59"/>
                  </a:moveTo>
                  <a:lnTo>
                    <a:pt x="3" y="59"/>
                  </a:lnTo>
                  <a:lnTo>
                    <a:pt x="9" y="59"/>
                  </a:lnTo>
                  <a:lnTo>
                    <a:pt x="11" y="54"/>
                  </a:lnTo>
                  <a:lnTo>
                    <a:pt x="6" y="54"/>
                  </a:lnTo>
                  <a:lnTo>
                    <a:pt x="5" y="57"/>
                  </a:lnTo>
                  <a:lnTo>
                    <a:pt x="1" y="57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3" name="Freeform 76"/>
            <p:cNvSpPr>
              <a:spLocks noEditPoints="1"/>
            </p:cNvSpPr>
            <p:nvPr/>
          </p:nvSpPr>
          <p:spPr bwMode="auto">
            <a:xfrm>
              <a:off x="4894263" y="2135188"/>
              <a:ext cx="388938" cy="215900"/>
            </a:xfrm>
            <a:custGeom>
              <a:avLst/>
              <a:gdLst>
                <a:gd name="T0" fmla="*/ 89 w 245"/>
                <a:gd name="T1" fmla="*/ 134 h 136"/>
                <a:gd name="T2" fmla="*/ 71 w 245"/>
                <a:gd name="T3" fmla="*/ 115 h 136"/>
                <a:gd name="T4" fmla="*/ 93 w 245"/>
                <a:gd name="T5" fmla="*/ 123 h 136"/>
                <a:gd name="T6" fmla="*/ 131 w 245"/>
                <a:gd name="T7" fmla="*/ 130 h 136"/>
                <a:gd name="T8" fmla="*/ 144 w 245"/>
                <a:gd name="T9" fmla="*/ 120 h 136"/>
                <a:gd name="T10" fmla="*/ 154 w 245"/>
                <a:gd name="T11" fmla="*/ 117 h 136"/>
                <a:gd name="T12" fmla="*/ 172 w 245"/>
                <a:gd name="T13" fmla="*/ 111 h 136"/>
                <a:gd name="T14" fmla="*/ 203 w 245"/>
                <a:gd name="T15" fmla="*/ 95 h 136"/>
                <a:gd name="T16" fmla="*/ 211 w 245"/>
                <a:gd name="T17" fmla="*/ 92 h 136"/>
                <a:gd name="T18" fmla="*/ 221 w 245"/>
                <a:gd name="T19" fmla="*/ 80 h 136"/>
                <a:gd name="T20" fmla="*/ 230 w 245"/>
                <a:gd name="T21" fmla="*/ 79 h 136"/>
                <a:gd name="T22" fmla="*/ 230 w 245"/>
                <a:gd name="T23" fmla="*/ 61 h 136"/>
                <a:gd name="T24" fmla="*/ 245 w 245"/>
                <a:gd name="T25" fmla="*/ 47 h 136"/>
                <a:gd name="T26" fmla="*/ 227 w 245"/>
                <a:gd name="T27" fmla="*/ 37 h 136"/>
                <a:gd name="T28" fmla="*/ 226 w 245"/>
                <a:gd name="T29" fmla="*/ 28 h 136"/>
                <a:gd name="T30" fmla="*/ 211 w 245"/>
                <a:gd name="T31" fmla="*/ 17 h 136"/>
                <a:gd name="T32" fmla="*/ 218 w 245"/>
                <a:gd name="T33" fmla="*/ 6 h 136"/>
                <a:gd name="T34" fmla="*/ 197 w 245"/>
                <a:gd name="T35" fmla="*/ 15 h 136"/>
                <a:gd name="T36" fmla="*/ 186 w 245"/>
                <a:gd name="T37" fmla="*/ 6 h 136"/>
                <a:gd name="T38" fmla="*/ 177 w 245"/>
                <a:gd name="T39" fmla="*/ 17 h 136"/>
                <a:gd name="T40" fmla="*/ 161 w 245"/>
                <a:gd name="T41" fmla="*/ 24 h 136"/>
                <a:gd name="T42" fmla="*/ 141 w 245"/>
                <a:gd name="T43" fmla="*/ 15 h 136"/>
                <a:gd name="T44" fmla="*/ 135 w 245"/>
                <a:gd name="T45" fmla="*/ 25 h 136"/>
                <a:gd name="T46" fmla="*/ 115 w 245"/>
                <a:gd name="T47" fmla="*/ 18 h 136"/>
                <a:gd name="T48" fmla="*/ 108 w 245"/>
                <a:gd name="T49" fmla="*/ 28 h 136"/>
                <a:gd name="T50" fmla="*/ 93 w 245"/>
                <a:gd name="T51" fmla="*/ 29 h 136"/>
                <a:gd name="T52" fmla="*/ 87 w 245"/>
                <a:gd name="T53" fmla="*/ 39 h 136"/>
                <a:gd name="T54" fmla="*/ 71 w 245"/>
                <a:gd name="T55" fmla="*/ 50 h 136"/>
                <a:gd name="T56" fmla="*/ 66 w 245"/>
                <a:gd name="T57" fmla="*/ 37 h 136"/>
                <a:gd name="T58" fmla="*/ 74 w 245"/>
                <a:gd name="T59" fmla="*/ 24 h 136"/>
                <a:gd name="T60" fmla="*/ 62 w 245"/>
                <a:gd name="T61" fmla="*/ 12 h 136"/>
                <a:gd name="T62" fmla="*/ 42 w 245"/>
                <a:gd name="T63" fmla="*/ 0 h 136"/>
                <a:gd name="T64" fmla="*/ 40 w 245"/>
                <a:gd name="T65" fmla="*/ 4 h 136"/>
                <a:gd name="T66" fmla="*/ 43 w 245"/>
                <a:gd name="T67" fmla="*/ 7 h 136"/>
                <a:gd name="T68" fmla="*/ 51 w 245"/>
                <a:gd name="T69" fmla="*/ 22 h 136"/>
                <a:gd name="T70" fmla="*/ 36 w 245"/>
                <a:gd name="T71" fmla="*/ 18 h 136"/>
                <a:gd name="T72" fmla="*/ 28 w 245"/>
                <a:gd name="T73" fmla="*/ 17 h 136"/>
                <a:gd name="T74" fmla="*/ 20 w 245"/>
                <a:gd name="T75" fmla="*/ 20 h 136"/>
                <a:gd name="T76" fmla="*/ 19 w 245"/>
                <a:gd name="T77" fmla="*/ 28 h 136"/>
                <a:gd name="T78" fmla="*/ 20 w 245"/>
                <a:gd name="T79" fmla="*/ 33 h 136"/>
                <a:gd name="T80" fmla="*/ 13 w 245"/>
                <a:gd name="T81" fmla="*/ 39 h 136"/>
                <a:gd name="T82" fmla="*/ 5 w 245"/>
                <a:gd name="T83" fmla="*/ 39 h 136"/>
                <a:gd name="T84" fmla="*/ 28 w 245"/>
                <a:gd name="T85" fmla="*/ 34 h 136"/>
                <a:gd name="T86" fmla="*/ 37 w 245"/>
                <a:gd name="T87" fmla="*/ 42 h 136"/>
                <a:gd name="T88" fmla="*/ 47 w 245"/>
                <a:gd name="T89" fmla="*/ 40 h 136"/>
                <a:gd name="T90" fmla="*/ 57 w 245"/>
                <a:gd name="T91" fmla="*/ 42 h 136"/>
                <a:gd name="T92" fmla="*/ 49 w 245"/>
                <a:gd name="T93" fmla="*/ 50 h 136"/>
                <a:gd name="T94" fmla="*/ 57 w 245"/>
                <a:gd name="T95" fmla="*/ 51 h 136"/>
                <a:gd name="T96" fmla="*/ 43 w 245"/>
                <a:gd name="T97" fmla="*/ 59 h 136"/>
                <a:gd name="T98" fmla="*/ 31 w 245"/>
                <a:gd name="T99" fmla="*/ 56 h 136"/>
                <a:gd name="T100" fmla="*/ 20 w 245"/>
                <a:gd name="T101" fmla="*/ 61 h 136"/>
                <a:gd name="T102" fmla="*/ 7 w 245"/>
                <a:gd name="T103" fmla="*/ 67 h 136"/>
                <a:gd name="T104" fmla="*/ 36 w 245"/>
                <a:gd name="T105" fmla="*/ 72 h 136"/>
                <a:gd name="T106" fmla="*/ 43 w 245"/>
                <a:gd name="T107" fmla="*/ 83 h 136"/>
                <a:gd name="T108" fmla="*/ 49 w 245"/>
                <a:gd name="T109" fmla="*/ 86 h 136"/>
                <a:gd name="T110" fmla="*/ 65 w 245"/>
                <a:gd name="T111" fmla="*/ 92 h 136"/>
                <a:gd name="T112" fmla="*/ 47 w 245"/>
                <a:gd name="T113" fmla="*/ 97 h 136"/>
                <a:gd name="T114" fmla="*/ 31 w 245"/>
                <a:gd name="T115" fmla="*/ 95 h 136"/>
                <a:gd name="T116" fmla="*/ 30 w 245"/>
                <a:gd name="T117" fmla="*/ 106 h 136"/>
                <a:gd name="T118" fmla="*/ 51 w 245"/>
                <a:gd name="T119" fmla="*/ 115 h 136"/>
                <a:gd name="T120" fmla="*/ 71 w 245"/>
                <a:gd name="T121" fmla="*/ 11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5" h="136">
                  <a:moveTo>
                    <a:pt x="85" y="136"/>
                  </a:moveTo>
                  <a:lnTo>
                    <a:pt x="83" y="131"/>
                  </a:lnTo>
                  <a:lnTo>
                    <a:pt x="85" y="130"/>
                  </a:lnTo>
                  <a:lnTo>
                    <a:pt x="87" y="128"/>
                  </a:lnTo>
                  <a:lnTo>
                    <a:pt x="89" y="134"/>
                  </a:lnTo>
                  <a:lnTo>
                    <a:pt x="85" y="136"/>
                  </a:lnTo>
                  <a:lnTo>
                    <a:pt x="85" y="136"/>
                  </a:lnTo>
                  <a:lnTo>
                    <a:pt x="85" y="136"/>
                  </a:lnTo>
                  <a:lnTo>
                    <a:pt x="85" y="136"/>
                  </a:lnTo>
                  <a:close/>
                  <a:moveTo>
                    <a:pt x="71" y="115"/>
                  </a:moveTo>
                  <a:lnTo>
                    <a:pt x="77" y="114"/>
                  </a:lnTo>
                  <a:lnTo>
                    <a:pt x="77" y="117"/>
                  </a:lnTo>
                  <a:lnTo>
                    <a:pt x="83" y="123"/>
                  </a:lnTo>
                  <a:lnTo>
                    <a:pt x="89" y="125"/>
                  </a:lnTo>
                  <a:lnTo>
                    <a:pt x="93" y="123"/>
                  </a:lnTo>
                  <a:lnTo>
                    <a:pt x="99" y="123"/>
                  </a:lnTo>
                  <a:lnTo>
                    <a:pt x="106" y="130"/>
                  </a:lnTo>
                  <a:lnTo>
                    <a:pt x="117" y="130"/>
                  </a:lnTo>
                  <a:lnTo>
                    <a:pt x="123" y="131"/>
                  </a:lnTo>
                  <a:lnTo>
                    <a:pt x="131" y="130"/>
                  </a:lnTo>
                  <a:lnTo>
                    <a:pt x="129" y="125"/>
                  </a:lnTo>
                  <a:lnTo>
                    <a:pt x="131" y="120"/>
                  </a:lnTo>
                  <a:lnTo>
                    <a:pt x="132" y="125"/>
                  </a:lnTo>
                  <a:lnTo>
                    <a:pt x="138" y="126"/>
                  </a:lnTo>
                  <a:lnTo>
                    <a:pt x="144" y="120"/>
                  </a:lnTo>
                  <a:lnTo>
                    <a:pt x="144" y="115"/>
                  </a:lnTo>
                  <a:lnTo>
                    <a:pt x="152" y="114"/>
                  </a:lnTo>
                  <a:lnTo>
                    <a:pt x="150" y="117"/>
                  </a:lnTo>
                  <a:lnTo>
                    <a:pt x="152" y="119"/>
                  </a:lnTo>
                  <a:lnTo>
                    <a:pt x="154" y="117"/>
                  </a:lnTo>
                  <a:lnTo>
                    <a:pt x="157" y="117"/>
                  </a:lnTo>
                  <a:lnTo>
                    <a:pt x="163" y="110"/>
                  </a:lnTo>
                  <a:lnTo>
                    <a:pt x="166" y="111"/>
                  </a:lnTo>
                  <a:lnTo>
                    <a:pt x="167" y="111"/>
                  </a:lnTo>
                  <a:lnTo>
                    <a:pt x="172" y="111"/>
                  </a:lnTo>
                  <a:lnTo>
                    <a:pt x="172" y="114"/>
                  </a:lnTo>
                  <a:lnTo>
                    <a:pt x="175" y="111"/>
                  </a:lnTo>
                  <a:lnTo>
                    <a:pt x="186" y="103"/>
                  </a:lnTo>
                  <a:lnTo>
                    <a:pt x="190" y="97"/>
                  </a:lnTo>
                  <a:lnTo>
                    <a:pt x="203" y="95"/>
                  </a:lnTo>
                  <a:lnTo>
                    <a:pt x="207" y="92"/>
                  </a:lnTo>
                  <a:lnTo>
                    <a:pt x="206" y="89"/>
                  </a:lnTo>
                  <a:lnTo>
                    <a:pt x="207" y="88"/>
                  </a:lnTo>
                  <a:lnTo>
                    <a:pt x="209" y="88"/>
                  </a:lnTo>
                  <a:lnTo>
                    <a:pt x="211" y="92"/>
                  </a:lnTo>
                  <a:lnTo>
                    <a:pt x="217" y="94"/>
                  </a:lnTo>
                  <a:lnTo>
                    <a:pt x="221" y="89"/>
                  </a:lnTo>
                  <a:lnTo>
                    <a:pt x="222" y="86"/>
                  </a:lnTo>
                  <a:lnTo>
                    <a:pt x="221" y="84"/>
                  </a:lnTo>
                  <a:lnTo>
                    <a:pt x="221" y="80"/>
                  </a:lnTo>
                  <a:lnTo>
                    <a:pt x="224" y="80"/>
                  </a:lnTo>
                  <a:lnTo>
                    <a:pt x="222" y="75"/>
                  </a:lnTo>
                  <a:lnTo>
                    <a:pt x="224" y="73"/>
                  </a:lnTo>
                  <a:lnTo>
                    <a:pt x="227" y="75"/>
                  </a:lnTo>
                  <a:lnTo>
                    <a:pt x="230" y="79"/>
                  </a:lnTo>
                  <a:lnTo>
                    <a:pt x="233" y="79"/>
                  </a:lnTo>
                  <a:lnTo>
                    <a:pt x="237" y="73"/>
                  </a:lnTo>
                  <a:lnTo>
                    <a:pt x="236" y="70"/>
                  </a:lnTo>
                  <a:lnTo>
                    <a:pt x="230" y="64"/>
                  </a:lnTo>
                  <a:lnTo>
                    <a:pt x="230" y="61"/>
                  </a:lnTo>
                  <a:lnTo>
                    <a:pt x="233" y="56"/>
                  </a:lnTo>
                  <a:lnTo>
                    <a:pt x="232" y="53"/>
                  </a:lnTo>
                  <a:lnTo>
                    <a:pt x="237" y="51"/>
                  </a:lnTo>
                  <a:lnTo>
                    <a:pt x="241" y="51"/>
                  </a:lnTo>
                  <a:lnTo>
                    <a:pt x="245" y="47"/>
                  </a:lnTo>
                  <a:lnTo>
                    <a:pt x="239" y="44"/>
                  </a:lnTo>
                  <a:lnTo>
                    <a:pt x="227" y="42"/>
                  </a:lnTo>
                  <a:lnTo>
                    <a:pt x="226" y="46"/>
                  </a:lnTo>
                  <a:lnTo>
                    <a:pt x="227" y="40"/>
                  </a:lnTo>
                  <a:lnTo>
                    <a:pt x="227" y="37"/>
                  </a:lnTo>
                  <a:lnTo>
                    <a:pt x="221" y="37"/>
                  </a:lnTo>
                  <a:lnTo>
                    <a:pt x="221" y="39"/>
                  </a:lnTo>
                  <a:lnTo>
                    <a:pt x="218" y="33"/>
                  </a:lnTo>
                  <a:lnTo>
                    <a:pt x="222" y="29"/>
                  </a:lnTo>
                  <a:lnTo>
                    <a:pt x="226" y="28"/>
                  </a:lnTo>
                  <a:lnTo>
                    <a:pt x="224" y="22"/>
                  </a:lnTo>
                  <a:lnTo>
                    <a:pt x="222" y="20"/>
                  </a:lnTo>
                  <a:lnTo>
                    <a:pt x="218" y="24"/>
                  </a:lnTo>
                  <a:lnTo>
                    <a:pt x="215" y="22"/>
                  </a:lnTo>
                  <a:lnTo>
                    <a:pt x="211" y="17"/>
                  </a:lnTo>
                  <a:lnTo>
                    <a:pt x="217" y="15"/>
                  </a:lnTo>
                  <a:lnTo>
                    <a:pt x="217" y="11"/>
                  </a:lnTo>
                  <a:lnTo>
                    <a:pt x="221" y="9"/>
                  </a:lnTo>
                  <a:lnTo>
                    <a:pt x="224" y="9"/>
                  </a:lnTo>
                  <a:lnTo>
                    <a:pt x="218" y="6"/>
                  </a:lnTo>
                  <a:lnTo>
                    <a:pt x="215" y="7"/>
                  </a:lnTo>
                  <a:lnTo>
                    <a:pt x="207" y="15"/>
                  </a:lnTo>
                  <a:lnTo>
                    <a:pt x="206" y="18"/>
                  </a:lnTo>
                  <a:lnTo>
                    <a:pt x="201" y="18"/>
                  </a:lnTo>
                  <a:lnTo>
                    <a:pt x="197" y="15"/>
                  </a:lnTo>
                  <a:lnTo>
                    <a:pt x="200" y="11"/>
                  </a:lnTo>
                  <a:lnTo>
                    <a:pt x="197" y="9"/>
                  </a:lnTo>
                  <a:lnTo>
                    <a:pt x="196" y="6"/>
                  </a:lnTo>
                  <a:lnTo>
                    <a:pt x="192" y="4"/>
                  </a:lnTo>
                  <a:lnTo>
                    <a:pt x="186" y="6"/>
                  </a:lnTo>
                  <a:lnTo>
                    <a:pt x="184" y="4"/>
                  </a:lnTo>
                  <a:lnTo>
                    <a:pt x="181" y="9"/>
                  </a:lnTo>
                  <a:lnTo>
                    <a:pt x="184" y="12"/>
                  </a:lnTo>
                  <a:lnTo>
                    <a:pt x="181" y="17"/>
                  </a:lnTo>
                  <a:lnTo>
                    <a:pt x="177" y="17"/>
                  </a:lnTo>
                  <a:lnTo>
                    <a:pt x="171" y="18"/>
                  </a:lnTo>
                  <a:lnTo>
                    <a:pt x="171" y="15"/>
                  </a:lnTo>
                  <a:lnTo>
                    <a:pt x="167" y="12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5" y="24"/>
                  </a:lnTo>
                  <a:lnTo>
                    <a:pt x="150" y="15"/>
                  </a:lnTo>
                  <a:lnTo>
                    <a:pt x="146" y="17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38" y="24"/>
                  </a:lnTo>
                  <a:lnTo>
                    <a:pt x="144" y="31"/>
                  </a:lnTo>
                  <a:lnTo>
                    <a:pt x="138" y="44"/>
                  </a:lnTo>
                  <a:lnTo>
                    <a:pt x="141" y="33"/>
                  </a:lnTo>
                  <a:lnTo>
                    <a:pt x="135" y="25"/>
                  </a:lnTo>
                  <a:lnTo>
                    <a:pt x="135" y="22"/>
                  </a:lnTo>
                  <a:lnTo>
                    <a:pt x="132" y="20"/>
                  </a:lnTo>
                  <a:lnTo>
                    <a:pt x="132" y="17"/>
                  </a:lnTo>
                  <a:lnTo>
                    <a:pt x="126" y="12"/>
                  </a:lnTo>
                  <a:lnTo>
                    <a:pt x="115" y="18"/>
                  </a:lnTo>
                  <a:lnTo>
                    <a:pt x="115" y="24"/>
                  </a:lnTo>
                  <a:lnTo>
                    <a:pt x="117" y="28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8" y="28"/>
                  </a:lnTo>
                  <a:lnTo>
                    <a:pt x="105" y="25"/>
                  </a:lnTo>
                  <a:lnTo>
                    <a:pt x="102" y="17"/>
                  </a:lnTo>
                  <a:lnTo>
                    <a:pt x="99" y="12"/>
                  </a:lnTo>
                  <a:lnTo>
                    <a:pt x="93" y="18"/>
                  </a:lnTo>
                  <a:lnTo>
                    <a:pt x="93" y="29"/>
                  </a:lnTo>
                  <a:lnTo>
                    <a:pt x="97" y="33"/>
                  </a:lnTo>
                  <a:lnTo>
                    <a:pt x="95" y="40"/>
                  </a:lnTo>
                  <a:lnTo>
                    <a:pt x="93" y="44"/>
                  </a:lnTo>
                  <a:lnTo>
                    <a:pt x="87" y="44"/>
                  </a:lnTo>
                  <a:lnTo>
                    <a:pt x="87" y="39"/>
                  </a:lnTo>
                  <a:lnTo>
                    <a:pt x="82" y="42"/>
                  </a:lnTo>
                  <a:lnTo>
                    <a:pt x="80" y="47"/>
                  </a:lnTo>
                  <a:lnTo>
                    <a:pt x="76" y="50"/>
                  </a:lnTo>
                  <a:lnTo>
                    <a:pt x="76" y="56"/>
                  </a:lnTo>
                  <a:lnTo>
                    <a:pt x="71" y="50"/>
                  </a:lnTo>
                  <a:lnTo>
                    <a:pt x="68" y="50"/>
                  </a:lnTo>
                  <a:lnTo>
                    <a:pt x="68" y="46"/>
                  </a:lnTo>
                  <a:lnTo>
                    <a:pt x="71" y="40"/>
                  </a:lnTo>
                  <a:lnTo>
                    <a:pt x="71" y="37"/>
                  </a:lnTo>
                  <a:lnTo>
                    <a:pt x="66" y="37"/>
                  </a:lnTo>
                  <a:lnTo>
                    <a:pt x="71" y="33"/>
                  </a:lnTo>
                  <a:lnTo>
                    <a:pt x="66" y="28"/>
                  </a:lnTo>
                  <a:lnTo>
                    <a:pt x="71" y="31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68" y="22"/>
                  </a:lnTo>
                  <a:lnTo>
                    <a:pt x="71" y="18"/>
                  </a:lnTo>
                  <a:lnTo>
                    <a:pt x="68" y="15"/>
                  </a:lnTo>
                  <a:lnTo>
                    <a:pt x="66" y="17"/>
                  </a:lnTo>
                  <a:lnTo>
                    <a:pt x="62" y="12"/>
                  </a:lnTo>
                  <a:lnTo>
                    <a:pt x="57" y="9"/>
                  </a:lnTo>
                  <a:lnTo>
                    <a:pt x="57" y="6"/>
                  </a:lnTo>
                  <a:lnTo>
                    <a:pt x="53" y="1"/>
                  </a:lnTo>
                  <a:lnTo>
                    <a:pt x="47" y="1"/>
                  </a:lnTo>
                  <a:lnTo>
                    <a:pt x="42" y="0"/>
                  </a:lnTo>
                  <a:lnTo>
                    <a:pt x="34" y="1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3" y="4"/>
                  </a:lnTo>
                  <a:lnTo>
                    <a:pt x="47" y="6"/>
                  </a:lnTo>
                  <a:lnTo>
                    <a:pt x="51" y="7"/>
                  </a:lnTo>
                  <a:lnTo>
                    <a:pt x="49" y="9"/>
                  </a:lnTo>
                  <a:lnTo>
                    <a:pt x="43" y="7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7" y="15"/>
                  </a:lnTo>
                  <a:lnTo>
                    <a:pt x="53" y="20"/>
                  </a:lnTo>
                  <a:lnTo>
                    <a:pt x="51" y="22"/>
                  </a:lnTo>
                  <a:lnTo>
                    <a:pt x="49" y="24"/>
                  </a:lnTo>
                  <a:lnTo>
                    <a:pt x="49" y="20"/>
                  </a:lnTo>
                  <a:lnTo>
                    <a:pt x="43" y="17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7" y="17"/>
                  </a:lnTo>
                  <a:lnTo>
                    <a:pt x="34" y="11"/>
                  </a:lnTo>
                  <a:lnTo>
                    <a:pt x="28" y="9"/>
                  </a:lnTo>
                  <a:lnTo>
                    <a:pt x="25" y="11"/>
                  </a:lnTo>
                  <a:lnTo>
                    <a:pt x="28" y="17"/>
                  </a:lnTo>
                  <a:lnTo>
                    <a:pt x="26" y="18"/>
                  </a:lnTo>
                  <a:lnTo>
                    <a:pt x="22" y="15"/>
                  </a:lnTo>
                  <a:lnTo>
                    <a:pt x="19" y="12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5" y="20"/>
                  </a:lnTo>
                  <a:lnTo>
                    <a:pt x="26" y="24"/>
                  </a:lnTo>
                  <a:lnTo>
                    <a:pt x="20" y="22"/>
                  </a:lnTo>
                  <a:lnTo>
                    <a:pt x="14" y="24"/>
                  </a:lnTo>
                  <a:lnTo>
                    <a:pt x="19" y="28"/>
                  </a:lnTo>
                  <a:lnTo>
                    <a:pt x="26" y="29"/>
                  </a:lnTo>
                  <a:lnTo>
                    <a:pt x="22" y="29"/>
                  </a:lnTo>
                  <a:lnTo>
                    <a:pt x="20" y="31"/>
                  </a:lnTo>
                  <a:lnTo>
                    <a:pt x="22" y="33"/>
                  </a:lnTo>
                  <a:lnTo>
                    <a:pt x="20" y="33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7" y="29"/>
                  </a:lnTo>
                  <a:lnTo>
                    <a:pt x="11" y="34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7" y="33"/>
                  </a:lnTo>
                  <a:lnTo>
                    <a:pt x="2" y="33"/>
                  </a:lnTo>
                  <a:lnTo>
                    <a:pt x="0" y="37"/>
                  </a:lnTo>
                  <a:lnTo>
                    <a:pt x="5" y="39"/>
                  </a:lnTo>
                  <a:lnTo>
                    <a:pt x="9" y="44"/>
                  </a:lnTo>
                  <a:lnTo>
                    <a:pt x="16" y="44"/>
                  </a:lnTo>
                  <a:lnTo>
                    <a:pt x="19" y="40"/>
                  </a:lnTo>
                  <a:lnTo>
                    <a:pt x="26" y="39"/>
                  </a:lnTo>
                  <a:lnTo>
                    <a:pt x="28" y="34"/>
                  </a:lnTo>
                  <a:lnTo>
                    <a:pt x="30" y="37"/>
                  </a:lnTo>
                  <a:lnTo>
                    <a:pt x="30" y="39"/>
                  </a:lnTo>
                  <a:lnTo>
                    <a:pt x="34" y="39"/>
                  </a:lnTo>
                  <a:lnTo>
                    <a:pt x="36" y="37"/>
                  </a:lnTo>
                  <a:lnTo>
                    <a:pt x="37" y="42"/>
                  </a:lnTo>
                  <a:lnTo>
                    <a:pt x="40" y="42"/>
                  </a:lnTo>
                  <a:lnTo>
                    <a:pt x="43" y="39"/>
                  </a:lnTo>
                  <a:lnTo>
                    <a:pt x="45" y="37"/>
                  </a:lnTo>
                  <a:lnTo>
                    <a:pt x="45" y="40"/>
                  </a:lnTo>
                  <a:lnTo>
                    <a:pt x="47" y="40"/>
                  </a:lnTo>
                  <a:lnTo>
                    <a:pt x="53" y="37"/>
                  </a:lnTo>
                  <a:lnTo>
                    <a:pt x="53" y="39"/>
                  </a:lnTo>
                  <a:lnTo>
                    <a:pt x="51" y="42"/>
                  </a:lnTo>
                  <a:lnTo>
                    <a:pt x="53" y="44"/>
                  </a:lnTo>
                  <a:lnTo>
                    <a:pt x="57" y="42"/>
                  </a:lnTo>
                  <a:lnTo>
                    <a:pt x="62" y="46"/>
                  </a:lnTo>
                  <a:lnTo>
                    <a:pt x="60" y="46"/>
                  </a:lnTo>
                  <a:lnTo>
                    <a:pt x="57" y="46"/>
                  </a:lnTo>
                  <a:lnTo>
                    <a:pt x="53" y="50"/>
                  </a:lnTo>
                  <a:lnTo>
                    <a:pt x="49" y="50"/>
                  </a:lnTo>
                  <a:lnTo>
                    <a:pt x="42" y="51"/>
                  </a:lnTo>
                  <a:lnTo>
                    <a:pt x="42" y="53"/>
                  </a:lnTo>
                  <a:lnTo>
                    <a:pt x="49" y="55"/>
                  </a:lnTo>
                  <a:lnTo>
                    <a:pt x="55" y="55"/>
                  </a:lnTo>
                  <a:lnTo>
                    <a:pt x="57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57" y="59"/>
                  </a:lnTo>
                  <a:lnTo>
                    <a:pt x="47" y="61"/>
                  </a:lnTo>
                  <a:lnTo>
                    <a:pt x="43" y="59"/>
                  </a:lnTo>
                  <a:lnTo>
                    <a:pt x="40" y="62"/>
                  </a:lnTo>
                  <a:lnTo>
                    <a:pt x="37" y="61"/>
                  </a:lnTo>
                  <a:lnTo>
                    <a:pt x="36" y="59"/>
                  </a:lnTo>
                  <a:lnTo>
                    <a:pt x="36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4" y="59"/>
                  </a:lnTo>
                  <a:lnTo>
                    <a:pt x="28" y="62"/>
                  </a:lnTo>
                  <a:lnTo>
                    <a:pt x="26" y="61"/>
                  </a:lnTo>
                  <a:lnTo>
                    <a:pt x="20" y="61"/>
                  </a:lnTo>
                  <a:lnTo>
                    <a:pt x="16" y="62"/>
                  </a:lnTo>
                  <a:lnTo>
                    <a:pt x="11" y="61"/>
                  </a:lnTo>
                  <a:lnTo>
                    <a:pt x="7" y="62"/>
                  </a:lnTo>
                  <a:lnTo>
                    <a:pt x="3" y="62"/>
                  </a:lnTo>
                  <a:lnTo>
                    <a:pt x="7" y="67"/>
                  </a:lnTo>
                  <a:lnTo>
                    <a:pt x="9" y="72"/>
                  </a:lnTo>
                  <a:lnTo>
                    <a:pt x="16" y="72"/>
                  </a:lnTo>
                  <a:lnTo>
                    <a:pt x="16" y="70"/>
                  </a:lnTo>
                  <a:lnTo>
                    <a:pt x="26" y="72"/>
                  </a:lnTo>
                  <a:lnTo>
                    <a:pt x="36" y="72"/>
                  </a:lnTo>
                  <a:lnTo>
                    <a:pt x="43" y="72"/>
                  </a:lnTo>
                  <a:lnTo>
                    <a:pt x="42" y="73"/>
                  </a:lnTo>
                  <a:lnTo>
                    <a:pt x="37" y="77"/>
                  </a:lnTo>
                  <a:lnTo>
                    <a:pt x="37" y="79"/>
                  </a:lnTo>
                  <a:lnTo>
                    <a:pt x="43" y="83"/>
                  </a:lnTo>
                  <a:lnTo>
                    <a:pt x="45" y="84"/>
                  </a:lnTo>
                  <a:lnTo>
                    <a:pt x="47" y="84"/>
                  </a:lnTo>
                  <a:lnTo>
                    <a:pt x="55" y="80"/>
                  </a:lnTo>
                  <a:lnTo>
                    <a:pt x="53" y="83"/>
                  </a:lnTo>
                  <a:lnTo>
                    <a:pt x="49" y="86"/>
                  </a:lnTo>
                  <a:lnTo>
                    <a:pt x="45" y="89"/>
                  </a:lnTo>
                  <a:lnTo>
                    <a:pt x="51" y="94"/>
                  </a:lnTo>
                  <a:lnTo>
                    <a:pt x="57" y="88"/>
                  </a:lnTo>
                  <a:lnTo>
                    <a:pt x="65" y="89"/>
                  </a:lnTo>
                  <a:lnTo>
                    <a:pt x="65" y="92"/>
                  </a:lnTo>
                  <a:lnTo>
                    <a:pt x="60" y="89"/>
                  </a:lnTo>
                  <a:lnTo>
                    <a:pt x="57" y="92"/>
                  </a:lnTo>
                  <a:lnTo>
                    <a:pt x="53" y="95"/>
                  </a:lnTo>
                  <a:lnTo>
                    <a:pt x="47" y="95"/>
                  </a:lnTo>
                  <a:lnTo>
                    <a:pt x="47" y="97"/>
                  </a:lnTo>
                  <a:lnTo>
                    <a:pt x="43" y="101"/>
                  </a:lnTo>
                  <a:lnTo>
                    <a:pt x="42" y="101"/>
                  </a:lnTo>
                  <a:lnTo>
                    <a:pt x="37" y="103"/>
                  </a:lnTo>
                  <a:lnTo>
                    <a:pt x="36" y="100"/>
                  </a:lnTo>
                  <a:lnTo>
                    <a:pt x="31" y="95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30" y="105"/>
                  </a:lnTo>
                  <a:lnTo>
                    <a:pt x="31" y="105"/>
                  </a:lnTo>
                  <a:lnTo>
                    <a:pt x="30" y="106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7" y="111"/>
                  </a:lnTo>
                  <a:lnTo>
                    <a:pt x="43" y="114"/>
                  </a:lnTo>
                  <a:lnTo>
                    <a:pt x="51" y="115"/>
                  </a:lnTo>
                  <a:lnTo>
                    <a:pt x="59" y="111"/>
                  </a:lnTo>
                  <a:lnTo>
                    <a:pt x="65" y="114"/>
                  </a:lnTo>
                  <a:lnTo>
                    <a:pt x="68" y="111"/>
                  </a:lnTo>
                  <a:lnTo>
                    <a:pt x="68" y="114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4" name="Freeform 77"/>
            <p:cNvSpPr>
              <a:spLocks noEditPoints="1"/>
            </p:cNvSpPr>
            <p:nvPr/>
          </p:nvSpPr>
          <p:spPr bwMode="auto">
            <a:xfrm>
              <a:off x="2387601" y="4168776"/>
              <a:ext cx="469900" cy="146050"/>
            </a:xfrm>
            <a:custGeom>
              <a:avLst/>
              <a:gdLst>
                <a:gd name="T0" fmla="*/ 62 w 296"/>
                <a:gd name="T1" fmla="*/ 36 h 92"/>
                <a:gd name="T2" fmla="*/ 59 w 296"/>
                <a:gd name="T3" fmla="*/ 47 h 92"/>
                <a:gd name="T4" fmla="*/ 56 w 296"/>
                <a:gd name="T5" fmla="*/ 45 h 92"/>
                <a:gd name="T6" fmla="*/ 57 w 296"/>
                <a:gd name="T7" fmla="*/ 41 h 92"/>
                <a:gd name="T8" fmla="*/ 56 w 296"/>
                <a:gd name="T9" fmla="*/ 38 h 92"/>
                <a:gd name="T10" fmla="*/ 21 w 296"/>
                <a:gd name="T11" fmla="*/ 30 h 92"/>
                <a:gd name="T12" fmla="*/ 4 w 296"/>
                <a:gd name="T13" fmla="*/ 36 h 92"/>
                <a:gd name="T14" fmla="*/ 6 w 296"/>
                <a:gd name="T15" fmla="*/ 39 h 92"/>
                <a:gd name="T16" fmla="*/ 13 w 296"/>
                <a:gd name="T17" fmla="*/ 39 h 92"/>
                <a:gd name="T18" fmla="*/ 30 w 296"/>
                <a:gd name="T19" fmla="*/ 28 h 92"/>
                <a:gd name="T20" fmla="*/ 44 w 296"/>
                <a:gd name="T21" fmla="*/ 28 h 92"/>
                <a:gd name="T22" fmla="*/ 62 w 296"/>
                <a:gd name="T23" fmla="*/ 20 h 92"/>
                <a:gd name="T24" fmla="*/ 78 w 296"/>
                <a:gd name="T25" fmla="*/ 16 h 92"/>
                <a:gd name="T26" fmla="*/ 91 w 296"/>
                <a:gd name="T27" fmla="*/ 23 h 92"/>
                <a:gd name="T28" fmla="*/ 86 w 296"/>
                <a:gd name="T29" fmla="*/ 27 h 92"/>
                <a:gd name="T30" fmla="*/ 111 w 296"/>
                <a:gd name="T31" fmla="*/ 28 h 92"/>
                <a:gd name="T32" fmla="*/ 126 w 296"/>
                <a:gd name="T33" fmla="*/ 33 h 92"/>
                <a:gd name="T34" fmla="*/ 132 w 296"/>
                <a:gd name="T35" fmla="*/ 36 h 92"/>
                <a:gd name="T36" fmla="*/ 151 w 296"/>
                <a:gd name="T37" fmla="*/ 39 h 92"/>
                <a:gd name="T38" fmla="*/ 166 w 296"/>
                <a:gd name="T39" fmla="*/ 45 h 92"/>
                <a:gd name="T40" fmla="*/ 181 w 296"/>
                <a:gd name="T41" fmla="*/ 58 h 92"/>
                <a:gd name="T42" fmla="*/ 197 w 296"/>
                <a:gd name="T43" fmla="*/ 64 h 92"/>
                <a:gd name="T44" fmla="*/ 214 w 296"/>
                <a:gd name="T45" fmla="*/ 72 h 92"/>
                <a:gd name="T46" fmla="*/ 212 w 296"/>
                <a:gd name="T47" fmla="*/ 79 h 92"/>
                <a:gd name="T48" fmla="*/ 212 w 296"/>
                <a:gd name="T49" fmla="*/ 92 h 92"/>
                <a:gd name="T50" fmla="*/ 237 w 296"/>
                <a:gd name="T51" fmla="*/ 88 h 92"/>
                <a:gd name="T52" fmla="*/ 267 w 296"/>
                <a:gd name="T53" fmla="*/ 91 h 92"/>
                <a:gd name="T54" fmla="*/ 277 w 296"/>
                <a:gd name="T55" fmla="*/ 85 h 92"/>
                <a:gd name="T56" fmla="*/ 296 w 296"/>
                <a:gd name="T57" fmla="*/ 79 h 92"/>
                <a:gd name="T58" fmla="*/ 287 w 296"/>
                <a:gd name="T59" fmla="*/ 70 h 92"/>
                <a:gd name="T60" fmla="*/ 256 w 296"/>
                <a:gd name="T61" fmla="*/ 64 h 92"/>
                <a:gd name="T62" fmla="*/ 258 w 296"/>
                <a:gd name="T63" fmla="*/ 56 h 92"/>
                <a:gd name="T64" fmla="*/ 237 w 296"/>
                <a:gd name="T65" fmla="*/ 50 h 92"/>
                <a:gd name="T66" fmla="*/ 221 w 296"/>
                <a:gd name="T67" fmla="*/ 44 h 92"/>
                <a:gd name="T68" fmla="*/ 218 w 296"/>
                <a:gd name="T69" fmla="*/ 44 h 92"/>
                <a:gd name="T70" fmla="*/ 209 w 296"/>
                <a:gd name="T71" fmla="*/ 41 h 92"/>
                <a:gd name="T72" fmla="*/ 185 w 296"/>
                <a:gd name="T73" fmla="*/ 30 h 92"/>
                <a:gd name="T74" fmla="*/ 157 w 296"/>
                <a:gd name="T75" fmla="*/ 23 h 92"/>
                <a:gd name="T76" fmla="*/ 143 w 296"/>
                <a:gd name="T77" fmla="*/ 12 h 92"/>
                <a:gd name="T78" fmla="*/ 113 w 296"/>
                <a:gd name="T79" fmla="*/ 11 h 92"/>
                <a:gd name="T80" fmla="*/ 86 w 296"/>
                <a:gd name="T81" fmla="*/ 0 h 92"/>
                <a:gd name="T82" fmla="*/ 56 w 296"/>
                <a:gd name="T83" fmla="*/ 6 h 92"/>
                <a:gd name="T84" fmla="*/ 27 w 296"/>
                <a:gd name="T85" fmla="*/ 14 h 92"/>
                <a:gd name="T86" fmla="*/ 17 w 296"/>
                <a:gd name="T87" fmla="*/ 2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6" h="92">
                  <a:moveTo>
                    <a:pt x="56" y="38"/>
                  </a:moveTo>
                  <a:lnTo>
                    <a:pt x="57" y="36"/>
                  </a:lnTo>
                  <a:lnTo>
                    <a:pt x="62" y="36"/>
                  </a:lnTo>
                  <a:lnTo>
                    <a:pt x="68" y="41"/>
                  </a:lnTo>
                  <a:lnTo>
                    <a:pt x="67" y="45"/>
                  </a:lnTo>
                  <a:lnTo>
                    <a:pt x="59" y="47"/>
                  </a:lnTo>
                  <a:lnTo>
                    <a:pt x="53" y="45"/>
                  </a:lnTo>
                  <a:lnTo>
                    <a:pt x="51" y="44"/>
                  </a:lnTo>
                  <a:lnTo>
                    <a:pt x="56" y="45"/>
                  </a:lnTo>
                  <a:lnTo>
                    <a:pt x="57" y="45"/>
                  </a:lnTo>
                  <a:lnTo>
                    <a:pt x="61" y="44"/>
                  </a:lnTo>
                  <a:lnTo>
                    <a:pt x="57" y="41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close/>
                  <a:moveTo>
                    <a:pt x="17" y="27"/>
                  </a:moveTo>
                  <a:lnTo>
                    <a:pt x="21" y="30"/>
                  </a:lnTo>
                  <a:lnTo>
                    <a:pt x="19" y="33"/>
                  </a:lnTo>
                  <a:lnTo>
                    <a:pt x="13" y="30"/>
                  </a:lnTo>
                  <a:lnTo>
                    <a:pt x="4" y="36"/>
                  </a:lnTo>
                  <a:lnTo>
                    <a:pt x="0" y="33"/>
                  </a:lnTo>
                  <a:lnTo>
                    <a:pt x="0" y="38"/>
                  </a:lnTo>
                  <a:lnTo>
                    <a:pt x="6" y="39"/>
                  </a:lnTo>
                  <a:lnTo>
                    <a:pt x="12" y="33"/>
                  </a:lnTo>
                  <a:lnTo>
                    <a:pt x="13" y="36"/>
                  </a:lnTo>
                  <a:lnTo>
                    <a:pt x="13" y="39"/>
                  </a:lnTo>
                  <a:lnTo>
                    <a:pt x="19" y="36"/>
                  </a:lnTo>
                  <a:lnTo>
                    <a:pt x="25" y="36"/>
                  </a:lnTo>
                  <a:lnTo>
                    <a:pt x="30" y="28"/>
                  </a:lnTo>
                  <a:lnTo>
                    <a:pt x="38" y="28"/>
                  </a:lnTo>
                  <a:lnTo>
                    <a:pt x="41" y="27"/>
                  </a:lnTo>
                  <a:lnTo>
                    <a:pt x="44" y="28"/>
                  </a:lnTo>
                  <a:lnTo>
                    <a:pt x="50" y="28"/>
                  </a:lnTo>
                  <a:lnTo>
                    <a:pt x="57" y="20"/>
                  </a:lnTo>
                  <a:lnTo>
                    <a:pt x="62" y="20"/>
                  </a:lnTo>
                  <a:lnTo>
                    <a:pt x="67" y="16"/>
                  </a:lnTo>
                  <a:lnTo>
                    <a:pt x="74" y="16"/>
                  </a:lnTo>
                  <a:lnTo>
                    <a:pt x="78" y="16"/>
                  </a:lnTo>
                  <a:lnTo>
                    <a:pt x="91" y="17"/>
                  </a:lnTo>
                  <a:lnTo>
                    <a:pt x="96" y="20"/>
                  </a:lnTo>
                  <a:lnTo>
                    <a:pt x="91" y="23"/>
                  </a:lnTo>
                  <a:lnTo>
                    <a:pt x="86" y="21"/>
                  </a:lnTo>
                  <a:lnTo>
                    <a:pt x="80" y="25"/>
                  </a:lnTo>
                  <a:lnTo>
                    <a:pt x="86" y="27"/>
                  </a:lnTo>
                  <a:lnTo>
                    <a:pt x="102" y="30"/>
                  </a:lnTo>
                  <a:lnTo>
                    <a:pt x="105" y="28"/>
                  </a:lnTo>
                  <a:lnTo>
                    <a:pt x="111" y="28"/>
                  </a:lnTo>
                  <a:lnTo>
                    <a:pt x="114" y="33"/>
                  </a:lnTo>
                  <a:lnTo>
                    <a:pt x="122" y="33"/>
                  </a:lnTo>
                  <a:lnTo>
                    <a:pt x="126" y="33"/>
                  </a:lnTo>
                  <a:lnTo>
                    <a:pt x="128" y="30"/>
                  </a:lnTo>
                  <a:lnTo>
                    <a:pt x="132" y="33"/>
                  </a:lnTo>
                  <a:lnTo>
                    <a:pt x="132" y="36"/>
                  </a:lnTo>
                  <a:lnTo>
                    <a:pt x="142" y="41"/>
                  </a:lnTo>
                  <a:lnTo>
                    <a:pt x="149" y="41"/>
                  </a:lnTo>
                  <a:lnTo>
                    <a:pt x="151" y="39"/>
                  </a:lnTo>
                  <a:lnTo>
                    <a:pt x="157" y="44"/>
                  </a:lnTo>
                  <a:lnTo>
                    <a:pt x="163" y="44"/>
                  </a:lnTo>
                  <a:lnTo>
                    <a:pt x="166" y="45"/>
                  </a:lnTo>
                  <a:lnTo>
                    <a:pt x="174" y="44"/>
                  </a:lnTo>
                  <a:lnTo>
                    <a:pt x="178" y="44"/>
                  </a:lnTo>
                  <a:lnTo>
                    <a:pt x="181" y="58"/>
                  </a:lnTo>
                  <a:lnTo>
                    <a:pt x="191" y="66"/>
                  </a:lnTo>
                  <a:lnTo>
                    <a:pt x="195" y="66"/>
                  </a:lnTo>
                  <a:lnTo>
                    <a:pt x="197" y="64"/>
                  </a:lnTo>
                  <a:lnTo>
                    <a:pt x="203" y="69"/>
                  </a:lnTo>
                  <a:lnTo>
                    <a:pt x="214" y="69"/>
                  </a:lnTo>
                  <a:lnTo>
                    <a:pt x="214" y="72"/>
                  </a:lnTo>
                  <a:lnTo>
                    <a:pt x="220" y="72"/>
                  </a:lnTo>
                  <a:lnTo>
                    <a:pt x="218" y="78"/>
                  </a:lnTo>
                  <a:lnTo>
                    <a:pt x="212" y="79"/>
                  </a:lnTo>
                  <a:lnTo>
                    <a:pt x="203" y="86"/>
                  </a:lnTo>
                  <a:lnTo>
                    <a:pt x="203" y="91"/>
                  </a:lnTo>
                  <a:lnTo>
                    <a:pt x="212" y="92"/>
                  </a:lnTo>
                  <a:lnTo>
                    <a:pt x="218" y="88"/>
                  </a:lnTo>
                  <a:lnTo>
                    <a:pt x="224" y="91"/>
                  </a:lnTo>
                  <a:lnTo>
                    <a:pt x="237" y="88"/>
                  </a:lnTo>
                  <a:lnTo>
                    <a:pt x="244" y="88"/>
                  </a:lnTo>
                  <a:lnTo>
                    <a:pt x="255" y="92"/>
                  </a:lnTo>
                  <a:lnTo>
                    <a:pt x="267" y="91"/>
                  </a:lnTo>
                  <a:lnTo>
                    <a:pt x="270" y="86"/>
                  </a:lnTo>
                  <a:lnTo>
                    <a:pt x="273" y="86"/>
                  </a:lnTo>
                  <a:lnTo>
                    <a:pt x="277" y="85"/>
                  </a:lnTo>
                  <a:lnTo>
                    <a:pt x="287" y="85"/>
                  </a:lnTo>
                  <a:lnTo>
                    <a:pt x="294" y="85"/>
                  </a:lnTo>
                  <a:lnTo>
                    <a:pt x="296" y="79"/>
                  </a:lnTo>
                  <a:lnTo>
                    <a:pt x="294" y="78"/>
                  </a:lnTo>
                  <a:lnTo>
                    <a:pt x="288" y="75"/>
                  </a:lnTo>
                  <a:lnTo>
                    <a:pt x="287" y="70"/>
                  </a:lnTo>
                  <a:lnTo>
                    <a:pt x="273" y="64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8" y="61"/>
                  </a:lnTo>
                  <a:lnTo>
                    <a:pt x="260" y="56"/>
                  </a:lnTo>
                  <a:lnTo>
                    <a:pt x="258" y="56"/>
                  </a:lnTo>
                  <a:lnTo>
                    <a:pt x="252" y="58"/>
                  </a:lnTo>
                  <a:lnTo>
                    <a:pt x="246" y="56"/>
                  </a:lnTo>
                  <a:lnTo>
                    <a:pt x="237" y="50"/>
                  </a:lnTo>
                  <a:lnTo>
                    <a:pt x="235" y="53"/>
                  </a:lnTo>
                  <a:lnTo>
                    <a:pt x="229" y="49"/>
                  </a:lnTo>
                  <a:lnTo>
                    <a:pt x="221" y="44"/>
                  </a:lnTo>
                  <a:lnTo>
                    <a:pt x="218" y="49"/>
                  </a:lnTo>
                  <a:lnTo>
                    <a:pt x="215" y="45"/>
                  </a:lnTo>
                  <a:lnTo>
                    <a:pt x="218" y="44"/>
                  </a:lnTo>
                  <a:lnTo>
                    <a:pt x="214" y="41"/>
                  </a:lnTo>
                  <a:lnTo>
                    <a:pt x="212" y="45"/>
                  </a:lnTo>
                  <a:lnTo>
                    <a:pt x="209" y="41"/>
                  </a:lnTo>
                  <a:lnTo>
                    <a:pt x="198" y="39"/>
                  </a:lnTo>
                  <a:lnTo>
                    <a:pt x="191" y="33"/>
                  </a:lnTo>
                  <a:lnTo>
                    <a:pt x="185" y="30"/>
                  </a:lnTo>
                  <a:lnTo>
                    <a:pt x="178" y="27"/>
                  </a:lnTo>
                  <a:lnTo>
                    <a:pt x="163" y="25"/>
                  </a:lnTo>
                  <a:lnTo>
                    <a:pt x="157" y="23"/>
                  </a:lnTo>
                  <a:lnTo>
                    <a:pt x="154" y="17"/>
                  </a:lnTo>
                  <a:lnTo>
                    <a:pt x="149" y="12"/>
                  </a:lnTo>
                  <a:lnTo>
                    <a:pt x="143" y="12"/>
                  </a:lnTo>
                  <a:lnTo>
                    <a:pt x="142" y="11"/>
                  </a:lnTo>
                  <a:lnTo>
                    <a:pt x="120" y="6"/>
                  </a:lnTo>
                  <a:lnTo>
                    <a:pt x="113" y="11"/>
                  </a:lnTo>
                  <a:lnTo>
                    <a:pt x="105" y="8"/>
                  </a:lnTo>
                  <a:lnTo>
                    <a:pt x="99" y="3"/>
                  </a:lnTo>
                  <a:lnTo>
                    <a:pt x="86" y="0"/>
                  </a:lnTo>
                  <a:lnTo>
                    <a:pt x="74" y="0"/>
                  </a:lnTo>
                  <a:lnTo>
                    <a:pt x="71" y="5"/>
                  </a:lnTo>
                  <a:lnTo>
                    <a:pt x="56" y="6"/>
                  </a:lnTo>
                  <a:lnTo>
                    <a:pt x="42" y="8"/>
                  </a:lnTo>
                  <a:lnTo>
                    <a:pt x="38" y="12"/>
                  </a:lnTo>
                  <a:lnTo>
                    <a:pt x="27" y="14"/>
                  </a:lnTo>
                  <a:lnTo>
                    <a:pt x="23" y="20"/>
                  </a:lnTo>
                  <a:lnTo>
                    <a:pt x="17" y="2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5" name="Freeform 78"/>
            <p:cNvSpPr>
              <a:spLocks noEditPoints="1"/>
            </p:cNvSpPr>
            <p:nvPr/>
          </p:nvSpPr>
          <p:spPr bwMode="auto">
            <a:xfrm>
              <a:off x="839788" y="2794001"/>
              <a:ext cx="2500313" cy="1290638"/>
            </a:xfrm>
            <a:custGeom>
              <a:avLst/>
              <a:gdLst>
                <a:gd name="T0" fmla="*/ 915 w 1575"/>
                <a:gd name="T1" fmla="*/ 79 h 813"/>
                <a:gd name="T2" fmla="*/ 1108 w 1575"/>
                <a:gd name="T3" fmla="*/ 156 h 813"/>
                <a:gd name="T4" fmla="*/ 1315 w 1575"/>
                <a:gd name="T5" fmla="*/ 248 h 813"/>
                <a:gd name="T6" fmla="*/ 1481 w 1575"/>
                <a:gd name="T7" fmla="*/ 204 h 813"/>
                <a:gd name="T8" fmla="*/ 1556 w 1575"/>
                <a:gd name="T9" fmla="*/ 165 h 813"/>
                <a:gd name="T10" fmla="*/ 1567 w 1575"/>
                <a:gd name="T11" fmla="*/ 243 h 813"/>
                <a:gd name="T12" fmla="*/ 1514 w 1575"/>
                <a:gd name="T13" fmla="*/ 253 h 813"/>
                <a:gd name="T14" fmla="*/ 1472 w 1575"/>
                <a:gd name="T15" fmla="*/ 275 h 813"/>
                <a:gd name="T16" fmla="*/ 1465 w 1575"/>
                <a:gd name="T17" fmla="*/ 322 h 813"/>
                <a:gd name="T18" fmla="*/ 1430 w 1575"/>
                <a:gd name="T19" fmla="*/ 346 h 813"/>
                <a:gd name="T20" fmla="*/ 1352 w 1575"/>
                <a:gd name="T21" fmla="*/ 374 h 813"/>
                <a:gd name="T22" fmla="*/ 1321 w 1575"/>
                <a:gd name="T23" fmla="*/ 417 h 813"/>
                <a:gd name="T24" fmla="*/ 1314 w 1575"/>
                <a:gd name="T25" fmla="*/ 427 h 813"/>
                <a:gd name="T26" fmla="*/ 1287 w 1575"/>
                <a:gd name="T27" fmla="*/ 456 h 813"/>
                <a:gd name="T28" fmla="*/ 1281 w 1575"/>
                <a:gd name="T29" fmla="*/ 408 h 813"/>
                <a:gd name="T30" fmla="*/ 1274 w 1575"/>
                <a:gd name="T31" fmla="*/ 444 h 813"/>
                <a:gd name="T32" fmla="*/ 1274 w 1575"/>
                <a:gd name="T33" fmla="*/ 459 h 813"/>
                <a:gd name="T34" fmla="*/ 1258 w 1575"/>
                <a:gd name="T35" fmla="*/ 473 h 813"/>
                <a:gd name="T36" fmla="*/ 1264 w 1575"/>
                <a:gd name="T37" fmla="*/ 506 h 813"/>
                <a:gd name="T38" fmla="*/ 1281 w 1575"/>
                <a:gd name="T39" fmla="*/ 521 h 813"/>
                <a:gd name="T40" fmla="*/ 1257 w 1575"/>
                <a:gd name="T41" fmla="*/ 536 h 813"/>
                <a:gd name="T42" fmla="*/ 1208 w 1575"/>
                <a:gd name="T43" fmla="*/ 571 h 813"/>
                <a:gd name="T44" fmla="*/ 1144 w 1575"/>
                <a:gd name="T45" fmla="*/ 606 h 813"/>
                <a:gd name="T46" fmla="*/ 1107 w 1575"/>
                <a:gd name="T47" fmla="*/ 671 h 813"/>
                <a:gd name="T48" fmla="*/ 1125 w 1575"/>
                <a:gd name="T49" fmla="*/ 778 h 813"/>
                <a:gd name="T50" fmla="*/ 1081 w 1575"/>
                <a:gd name="T51" fmla="*/ 794 h 813"/>
                <a:gd name="T52" fmla="*/ 1061 w 1575"/>
                <a:gd name="T53" fmla="*/ 758 h 813"/>
                <a:gd name="T54" fmla="*/ 1055 w 1575"/>
                <a:gd name="T55" fmla="*/ 702 h 813"/>
                <a:gd name="T56" fmla="*/ 1007 w 1575"/>
                <a:gd name="T57" fmla="*/ 685 h 813"/>
                <a:gd name="T58" fmla="*/ 980 w 1575"/>
                <a:gd name="T59" fmla="*/ 671 h 813"/>
                <a:gd name="T60" fmla="*/ 932 w 1575"/>
                <a:gd name="T61" fmla="*/ 665 h 813"/>
                <a:gd name="T62" fmla="*/ 870 w 1575"/>
                <a:gd name="T63" fmla="*/ 680 h 813"/>
                <a:gd name="T64" fmla="*/ 876 w 1575"/>
                <a:gd name="T65" fmla="*/ 702 h 813"/>
                <a:gd name="T66" fmla="*/ 828 w 1575"/>
                <a:gd name="T67" fmla="*/ 697 h 813"/>
                <a:gd name="T68" fmla="*/ 784 w 1575"/>
                <a:gd name="T69" fmla="*/ 685 h 813"/>
                <a:gd name="T70" fmla="*/ 729 w 1575"/>
                <a:gd name="T71" fmla="*/ 688 h 813"/>
                <a:gd name="T72" fmla="*/ 678 w 1575"/>
                <a:gd name="T73" fmla="*/ 716 h 813"/>
                <a:gd name="T74" fmla="*/ 649 w 1575"/>
                <a:gd name="T75" fmla="*/ 786 h 813"/>
                <a:gd name="T76" fmla="*/ 599 w 1575"/>
                <a:gd name="T77" fmla="*/ 750 h 813"/>
                <a:gd name="T78" fmla="*/ 567 w 1575"/>
                <a:gd name="T79" fmla="*/ 685 h 813"/>
                <a:gd name="T80" fmla="*/ 517 w 1575"/>
                <a:gd name="T81" fmla="*/ 685 h 813"/>
                <a:gd name="T82" fmla="*/ 479 w 1575"/>
                <a:gd name="T83" fmla="*/ 684 h 813"/>
                <a:gd name="T84" fmla="*/ 458 w 1575"/>
                <a:gd name="T85" fmla="*/ 654 h 813"/>
                <a:gd name="T86" fmla="*/ 422 w 1575"/>
                <a:gd name="T87" fmla="*/ 613 h 813"/>
                <a:gd name="T88" fmla="*/ 112 w 1575"/>
                <a:gd name="T89" fmla="*/ 537 h 813"/>
                <a:gd name="T90" fmla="*/ 58 w 1575"/>
                <a:gd name="T91" fmla="*/ 499 h 813"/>
                <a:gd name="T92" fmla="*/ 38 w 1575"/>
                <a:gd name="T93" fmla="*/ 436 h 813"/>
                <a:gd name="T94" fmla="*/ 37 w 1575"/>
                <a:gd name="T95" fmla="*/ 403 h 813"/>
                <a:gd name="T96" fmla="*/ 27 w 1575"/>
                <a:gd name="T97" fmla="*/ 403 h 813"/>
                <a:gd name="T98" fmla="*/ 6 w 1575"/>
                <a:gd name="T99" fmla="*/ 318 h 813"/>
                <a:gd name="T100" fmla="*/ 20 w 1575"/>
                <a:gd name="T101" fmla="*/ 235 h 813"/>
                <a:gd name="T102" fmla="*/ 69 w 1575"/>
                <a:gd name="T103" fmla="*/ 116 h 813"/>
                <a:gd name="T104" fmla="*/ 73 w 1575"/>
                <a:gd name="T105" fmla="*/ 100 h 813"/>
                <a:gd name="T106" fmla="*/ 80 w 1575"/>
                <a:gd name="T107" fmla="*/ 45 h 813"/>
                <a:gd name="T108" fmla="*/ 116 w 1575"/>
                <a:gd name="T109" fmla="*/ 50 h 813"/>
                <a:gd name="T110" fmla="*/ 121 w 1575"/>
                <a:gd name="T111" fmla="*/ 70 h 813"/>
                <a:gd name="T112" fmla="*/ 145 w 1575"/>
                <a:gd name="T113" fmla="*/ 14 h 813"/>
                <a:gd name="T114" fmla="*/ 1445 w 1575"/>
                <a:gd name="T115" fmla="*/ 346 h 813"/>
                <a:gd name="T116" fmla="*/ 1407 w 1575"/>
                <a:gd name="T117" fmla="*/ 357 h 813"/>
                <a:gd name="T118" fmla="*/ 1360 w 1575"/>
                <a:gd name="T119" fmla="*/ 366 h 813"/>
                <a:gd name="T120" fmla="*/ 674 w 1575"/>
                <a:gd name="T121" fmla="*/ 727 h 813"/>
                <a:gd name="T122" fmla="*/ 654 w 1575"/>
                <a:gd name="T123" fmla="*/ 772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75" h="813">
                  <a:moveTo>
                    <a:pt x="138" y="0"/>
                  </a:moveTo>
                  <a:lnTo>
                    <a:pt x="860" y="62"/>
                  </a:lnTo>
                  <a:lnTo>
                    <a:pt x="866" y="62"/>
                  </a:lnTo>
                  <a:lnTo>
                    <a:pt x="871" y="62"/>
                  </a:lnTo>
                  <a:lnTo>
                    <a:pt x="877" y="68"/>
                  </a:lnTo>
                  <a:lnTo>
                    <a:pt x="877" y="70"/>
                  </a:lnTo>
                  <a:lnTo>
                    <a:pt x="881" y="72"/>
                  </a:lnTo>
                  <a:lnTo>
                    <a:pt x="883" y="73"/>
                  </a:lnTo>
                  <a:lnTo>
                    <a:pt x="889" y="76"/>
                  </a:lnTo>
                  <a:lnTo>
                    <a:pt x="889" y="76"/>
                  </a:lnTo>
                  <a:lnTo>
                    <a:pt x="894" y="78"/>
                  </a:lnTo>
                  <a:lnTo>
                    <a:pt x="899" y="81"/>
                  </a:lnTo>
                  <a:lnTo>
                    <a:pt x="900" y="81"/>
                  </a:lnTo>
                  <a:lnTo>
                    <a:pt x="906" y="79"/>
                  </a:lnTo>
                  <a:lnTo>
                    <a:pt x="910" y="81"/>
                  </a:lnTo>
                  <a:lnTo>
                    <a:pt x="915" y="79"/>
                  </a:lnTo>
                  <a:lnTo>
                    <a:pt x="921" y="85"/>
                  </a:lnTo>
                  <a:lnTo>
                    <a:pt x="925" y="85"/>
                  </a:lnTo>
                  <a:lnTo>
                    <a:pt x="926" y="90"/>
                  </a:lnTo>
                  <a:lnTo>
                    <a:pt x="937" y="92"/>
                  </a:lnTo>
                  <a:lnTo>
                    <a:pt x="942" y="94"/>
                  </a:lnTo>
                  <a:lnTo>
                    <a:pt x="946" y="98"/>
                  </a:lnTo>
                  <a:lnTo>
                    <a:pt x="949" y="100"/>
                  </a:lnTo>
                  <a:lnTo>
                    <a:pt x="960" y="100"/>
                  </a:lnTo>
                  <a:lnTo>
                    <a:pt x="966" y="95"/>
                  </a:lnTo>
                  <a:lnTo>
                    <a:pt x="966" y="100"/>
                  </a:lnTo>
                  <a:lnTo>
                    <a:pt x="969" y="103"/>
                  </a:lnTo>
                  <a:lnTo>
                    <a:pt x="982" y="103"/>
                  </a:lnTo>
                  <a:lnTo>
                    <a:pt x="986" y="106"/>
                  </a:lnTo>
                  <a:lnTo>
                    <a:pt x="992" y="107"/>
                  </a:lnTo>
                  <a:lnTo>
                    <a:pt x="995" y="109"/>
                  </a:lnTo>
                  <a:lnTo>
                    <a:pt x="1108" y="156"/>
                  </a:lnTo>
                  <a:lnTo>
                    <a:pt x="1113" y="162"/>
                  </a:lnTo>
                  <a:lnTo>
                    <a:pt x="1131" y="176"/>
                  </a:lnTo>
                  <a:lnTo>
                    <a:pt x="1150" y="249"/>
                  </a:lnTo>
                  <a:lnTo>
                    <a:pt x="1148" y="283"/>
                  </a:lnTo>
                  <a:lnTo>
                    <a:pt x="1144" y="288"/>
                  </a:lnTo>
                  <a:lnTo>
                    <a:pt x="1140" y="293"/>
                  </a:lnTo>
                  <a:lnTo>
                    <a:pt x="1137" y="299"/>
                  </a:lnTo>
                  <a:lnTo>
                    <a:pt x="1127" y="302"/>
                  </a:lnTo>
                  <a:lnTo>
                    <a:pt x="1122" y="308"/>
                  </a:lnTo>
                  <a:lnTo>
                    <a:pt x="1125" y="316"/>
                  </a:lnTo>
                  <a:lnTo>
                    <a:pt x="1220" y="293"/>
                  </a:lnTo>
                  <a:lnTo>
                    <a:pt x="1234" y="290"/>
                  </a:lnTo>
                  <a:lnTo>
                    <a:pt x="1236" y="279"/>
                  </a:lnTo>
                  <a:lnTo>
                    <a:pt x="1287" y="266"/>
                  </a:lnTo>
                  <a:lnTo>
                    <a:pt x="1312" y="249"/>
                  </a:lnTo>
                  <a:lnTo>
                    <a:pt x="1315" y="248"/>
                  </a:lnTo>
                  <a:lnTo>
                    <a:pt x="1323" y="246"/>
                  </a:lnTo>
                  <a:lnTo>
                    <a:pt x="1337" y="235"/>
                  </a:lnTo>
                  <a:lnTo>
                    <a:pt x="1343" y="231"/>
                  </a:lnTo>
                  <a:lnTo>
                    <a:pt x="1349" y="229"/>
                  </a:lnTo>
                  <a:lnTo>
                    <a:pt x="1354" y="226"/>
                  </a:lnTo>
                  <a:lnTo>
                    <a:pt x="1364" y="223"/>
                  </a:lnTo>
                  <a:lnTo>
                    <a:pt x="1444" y="226"/>
                  </a:lnTo>
                  <a:lnTo>
                    <a:pt x="1451" y="220"/>
                  </a:lnTo>
                  <a:lnTo>
                    <a:pt x="1453" y="220"/>
                  </a:lnTo>
                  <a:lnTo>
                    <a:pt x="1455" y="218"/>
                  </a:lnTo>
                  <a:lnTo>
                    <a:pt x="1459" y="218"/>
                  </a:lnTo>
                  <a:lnTo>
                    <a:pt x="1465" y="218"/>
                  </a:lnTo>
                  <a:lnTo>
                    <a:pt x="1466" y="216"/>
                  </a:lnTo>
                  <a:lnTo>
                    <a:pt x="1468" y="212"/>
                  </a:lnTo>
                  <a:lnTo>
                    <a:pt x="1478" y="204"/>
                  </a:lnTo>
                  <a:lnTo>
                    <a:pt x="1481" y="204"/>
                  </a:lnTo>
                  <a:lnTo>
                    <a:pt x="1487" y="196"/>
                  </a:lnTo>
                  <a:lnTo>
                    <a:pt x="1491" y="190"/>
                  </a:lnTo>
                  <a:lnTo>
                    <a:pt x="1491" y="185"/>
                  </a:lnTo>
                  <a:lnTo>
                    <a:pt x="1499" y="181"/>
                  </a:lnTo>
                  <a:lnTo>
                    <a:pt x="1499" y="177"/>
                  </a:lnTo>
                  <a:lnTo>
                    <a:pt x="1502" y="171"/>
                  </a:lnTo>
                  <a:lnTo>
                    <a:pt x="1511" y="162"/>
                  </a:lnTo>
                  <a:lnTo>
                    <a:pt x="1516" y="159"/>
                  </a:lnTo>
                  <a:lnTo>
                    <a:pt x="1520" y="153"/>
                  </a:lnTo>
                  <a:lnTo>
                    <a:pt x="1522" y="153"/>
                  </a:lnTo>
                  <a:lnTo>
                    <a:pt x="1525" y="156"/>
                  </a:lnTo>
                  <a:lnTo>
                    <a:pt x="1529" y="159"/>
                  </a:lnTo>
                  <a:lnTo>
                    <a:pt x="1535" y="156"/>
                  </a:lnTo>
                  <a:lnTo>
                    <a:pt x="1542" y="159"/>
                  </a:lnTo>
                  <a:lnTo>
                    <a:pt x="1545" y="156"/>
                  </a:lnTo>
                  <a:lnTo>
                    <a:pt x="1556" y="165"/>
                  </a:lnTo>
                  <a:lnTo>
                    <a:pt x="1556" y="173"/>
                  </a:lnTo>
                  <a:lnTo>
                    <a:pt x="1551" y="204"/>
                  </a:lnTo>
                  <a:lnTo>
                    <a:pt x="1548" y="209"/>
                  </a:lnTo>
                  <a:lnTo>
                    <a:pt x="1551" y="209"/>
                  </a:lnTo>
                  <a:lnTo>
                    <a:pt x="1551" y="212"/>
                  </a:lnTo>
                  <a:lnTo>
                    <a:pt x="1554" y="214"/>
                  </a:lnTo>
                  <a:lnTo>
                    <a:pt x="1554" y="218"/>
                  </a:lnTo>
                  <a:lnTo>
                    <a:pt x="1554" y="221"/>
                  </a:lnTo>
                  <a:lnTo>
                    <a:pt x="1554" y="223"/>
                  </a:lnTo>
                  <a:lnTo>
                    <a:pt x="1554" y="226"/>
                  </a:lnTo>
                  <a:lnTo>
                    <a:pt x="1554" y="227"/>
                  </a:lnTo>
                  <a:lnTo>
                    <a:pt x="1554" y="227"/>
                  </a:lnTo>
                  <a:lnTo>
                    <a:pt x="1554" y="227"/>
                  </a:lnTo>
                  <a:lnTo>
                    <a:pt x="1566" y="232"/>
                  </a:lnTo>
                  <a:lnTo>
                    <a:pt x="1563" y="238"/>
                  </a:lnTo>
                  <a:lnTo>
                    <a:pt x="1567" y="243"/>
                  </a:lnTo>
                  <a:lnTo>
                    <a:pt x="1569" y="238"/>
                  </a:lnTo>
                  <a:lnTo>
                    <a:pt x="1575" y="240"/>
                  </a:lnTo>
                  <a:lnTo>
                    <a:pt x="1571" y="246"/>
                  </a:lnTo>
                  <a:lnTo>
                    <a:pt x="1566" y="246"/>
                  </a:lnTo>
                  <a:lnTo>
                    <a:pt x="1563" y="243"/>
                  </a:lnTo>
                  <a:lnTo>
                    <a:pt x="1557" y="246"/>
                  </a:lnTo>
                  <a:lnTo>
                    <a:pt x="1554" y="246"/>
                  </a:lnTo>
                  <a:lnTo>
                    <a:pt x="1548" y="249"/>
                  </a:lnTo>
                  <a:lnTo>
                    <a:pt x="1545" y="249"/>
                  </a:lnTo>
                  <a:lnTo>
                    <a:pt x="1540" y="249"/>
                  </a:lnTo>
                  <a:lnTo>
                    <a:pt x="1537" y="253"/>
                  </a:lnTo>
                  <a:lnTo>
                    <a:pt x="1533" y="253"/>
                  </a:lnTo>
                  <a:lnTo>
                    <a:pt x="1531" y="249"/>
                  </a:lnTo>
                  <a:lnTo>
                    <a:pt x="1525" y="249"/>
                  </a:lnTo>
                  <a:lnTo>
                    <a:pt x="1520" y="253"/>
                  </a:lnTo>
                  <a:lnTo>
                    <a:pt x="1514" y="253"/>
                  </a:lnTo>
                  <a:lnTo>
                    <a:pt x="1514" y="249"/>
                  </a:lnTo>
                  <a:lnTo>
                    <a:pt x="1516" y="246"/>
                  </a:lnTo>
                  <a:lnTo>
                    <a:pt x="1508" y="253"/>
                  </a:lnTo>
                  <a:lnTo>
                    <a:pt x="1502" y="260"/>
                  </a:lnTo>
                  <a:lnTo>
                    <a:pt x="1499" y="262"/>
                  </a:lnTo>
                  <a:lnTo>
                    <a:pt x="1499" y="260"/>
                  </a:lnTo>
                  <a:lnTo>
                    <a:pt x="1494" y="266"/>
                  </a:lnTo>
                  <a:lnTo>
                    <a:pt x="1491" y="266"/>
                  </a:lnTo>
                  <a:lnTo>
                    <a:pt x="1491" y="260"/>
                  </a:lnTo>
                  <a:lnTo>
                    <a:pt x="1487" y="266"/>
                  </a:lnTo>
                  <a:lnTo>
                    <a:pt x="1485" y="268"/>
                  </a:lnTo>
                  <a:lnTo>
                    <a:pt x="1481" y="268"/>
                  </a:lnTo>
                  <a:lnTo>
                    <a:pt x="1481" y="265"/>
                  </a:lnTo>
                  <a:lnTo>
                    <a:pt x="1478" y="268"/>
                  </a:lnTo>
                  <a:lnTo>
                    <a:pt x="1474" y="268"/>
                  </a:lnTo>
                  <a:lnTo>
                    <a:pt x="1472" y="275"/>
                  </a:lnTo>
                  <a:lnTo>
                    <a:pt x="1461" y="283"/>
                  </a:lnTo>
                  <a:lnTo>
                    <a:pt x="1456" y="290"/>
                  </a:lnTo>
                  <a:lnTo>
                    <a:pt x="1455" y="293"/>
                  </a:lnTo>
                  <a:lnTo>
                    <a:pt x="1453" y="297"/>
                  </a:lnTo>
                  <a:lnTo>
                    <a:pt x="1450" y="299"/>
                  </a:lnTo>
                  <a:lnTo>
                    <a:pt x="1450" y="302"/>
                  </a:lnTo>
                  <a:lnTo>
                    <a:pt x="1453" y="302"/>
                  </a:lnTo>
                  <a:lnTo>
                    <a:pt x="1453" y="307"/>
                  </a:lnTo>
                  <a:lnTo>
                    <a:pt x="1444" y="314"/>
                  </a:lnTo>
                  <a:lnTo>
                    <a:pt x="1444" y="316"/>
                  </a:lnTo>
                  <a:lnTo>
                    <a:pt x="1451" y="319"/>
                  </a:lnTo>
                  <a:lnTo>
                    <a:pt x="1453" y="329"/>
                  </a:lnTo>
                  <a:lnTo>
                    <a:pt x="1455" y="332"/>
                  </a:lnTo>
                  <a:lnTo>
                    <a:pt x="1462" y="332"/>
                  </a:lnTo>
                  <a:lnTo>
                    <a:pt x="1465" y="327"/>
                  </a:lnTo>
                  <a:lnTo>
                    <a:pt x="1465" y="322"/>
                  </a:lnTo>
                  <a:lnTo>
                    <a:pt x="1466" y="322"/>
                  </a:lnTo>
                  <a:lnTo>
                    <a:pt x="1470" y="329"/>
                  </a:lnTo>
                  <a:lnTo>
                    <a:pt x="1466" y="335"/>
                  </a:lnTo>
                  <a:lnTo>
                    <a:pt x="1453" y="340"/>
                  </a:lnTo>
                  <a:lnTo>
                    <a:pt x="1450" y="340"/>
                  </a:lnTo>
                  <a:lnTo>
                    <a:pt x="1450" y="336"/>
                  </a:lnTo>
                  <a:lnTo>
                    <a:pt x="1447" y="331"/>
                  </a:lnTo>
                  <a:lnTo>
                    <a:pt x="1441" y="340"/>
                  </a:lnTo>
                  <a:lnTo>
                    <a:pt x="1436" y="344"/>
                  </a:lnTo>
                  <a:lnTo>
                    <a:pt x="1434" y="344"/>
                  </a:lnTo>
                  <a:lnTo>
                    <a:pt x="1434" y="340"/>
                  </a:lnTo>
                  <a:lnTo>
                    <a:pt x="1434" y="336"/>
                  </a:lnTo>
                  <a:lnTo>
                    <a:pt x="1428" y="331"/>
                  </a:lnTo>
                  <a:lnTo>
                    <a:pt x="1428" y="336"/>
                  </a:lnTo>
                  <a:lnTo>
                    <a:pt x="1428" y="344"/>
                  </a:lnTo>
                  <a:lnTo>
                    <a:pt x="1430" y="346"/>
                  </a:lnTo>
                  <a:lnTo>
                    <a:pt x="1426" y="346"/>
                  </a:lnTo>
                  <a:lnTo>
                    <a:pt x="1415" y="347"/>
                  </a:lnTo>
                  <a:lnTo>
                    <a:pt x="1407" y="347"/>
                  </a:lnTo>
                  <a:lnTo>
                    <a:pt x="1404" y="347"/>
                  </a:lnTo>
                  <a:lnTo>
                    <a:pt x="1392" y="347"/>
                  </a:lnTo>
                  <a:lnTo>
                    <a:pt x="1390" y="346"/>
                  </a:lnTo>
                  <a:lnTo>
                    <a:pt x="1386" y="346"/>
                  </a:lnTo>
                  <a:lnTo>
                    <a:pt x="1376" y="351"/>
                  </a:lnTo>
                  <a:lnTo>
                    <a:pt x="1370" y="351"/>
                  </a:lnTo>
                  <a:lnTo>
                    <a:pt x="1364" y="357"/>
                  </a:lnTo>
                  <a:lnTo>
                    <a:pt x="1358" y="357"/>
                  </a:lnTo>
                  <a:lnTo>
                    <a:pt x="1354" y="360"/>
                  </a:lnTo>
                  <a:lnTo>
                    <a:pt x="1354" y="363"/>
                  </a:lnTo>
                  <a:lnTo>
                    <a:pt x="1346" y="368"/>
                  </a:lnTo>
                  <a:lnTo>
                    <a:pt x="1349" y="372"/>
                  </a:lnTo>
                  <a:lnTo>
                    <a:pt x="1352" y="374"/>
                  </a:lnTo>
                  <a:lnTo>
                    <a:pt x="1352" y="377"/>
                  </a:lnTo>
                  <a:lnTo>
                    <a:pt x="1350" y="380"/>
                  </a:lnTo>
                  <a:lnTo>
                    <a:pt x="1350" y="383"/>
                  </a:lnTo>
                  <a:lnTo>
                    <a:pt x="1346" y="386"/>
                  </a:lnTo>
                  <a:lnTo>
                    <a:pt x="1349" y="388"/>
                  </a:lnTo>
                  <a:lnTo>
                    <a:pt x="1346" y="392"/>
                  </a:lnTo>
                  <a:lnTo>
                    <a:pt x="1344" y="397"/>
                  </a:lnTo>
                  <a:lnTo>
                    <a:pt x="1340" y="397"/>
                  </a:lnTo>
                  <a:lnTo>
                    <a:pt x="1338" y="399"/>
                  </a:lnTo>
                  <a:lnTo>
                    <a:pt x="1337" y="406"/>
                  </a:lnTo>
                  <a:lnTo>
                    <a:pt x="1333" y="408"/>
                  </a:lnTo>
                  <a:lnTo>
                    <a:pt x="1329" y="411"/>
                  </a:lnTo>
                  <a:lnTo>
                    <a:pt x="1327" y="411"/>
                  </a:lnTo>
                  <a:lnTo>
                    <a:pt x="1327" y="414"/>
                  </a:lnTo>
                  <a:lnTo>
                    <a:pt x="1323" y="417"/>
                  </a:lnTo>
                  <a:lnTo>
                    <a:pt x="1321" y="417"/>
                  </a:lnTo>
                  <a:lnTo>
                    <a:pt x="1318" y="420"/>
                  </a:lnTo>
                  <a:lnTo>
                    <a:pt x="1321" y="414"/>
                  </a:lnTo>
                  <a:lnTo>
                    <a:pt x="1320" y="411"/>
                  </a:lnTo>
                  <a:lnTo>
                    <a:pt x="1314" y="411"/>
                  </a:lnTo>
                  <a:lnTo>
                    <a:pt x="1309" y="406"/>
                  </a:lnTo>
                  <a:lnTo>
                    <a:pt x="1306" y="403"/>
                  </a:lnTo>
                  <a:lnTo>
                    <a:pt x="1309" y="399"/>
                  </a:lnTo>
                  <a:lnTo>
                    <a:pt x="1315" y="389"/>
                  </a:lnTo>
                  <a:lnTo>
                    <a:pt x="1309" y="394"/>
                  </a:lnTo>
                  <a:lnTo>
                    <a:pt x="1306" y="397"/>
                  </a:lnTo>
                  <a:lnTo>
                    <a:pt x="1303" y="401"/>
                  </a:lnTo>
                  <a:lnTo>
                    <a:pt x="1304" y="406"/>
                  </a:lnTo>
                  <a:lnTo>
                    <a:pt x="1306" y="408"/>
                  </a:lnTo>
                  <a:lnTo>
                    <a:pt x="1306" y="416"/>
                  </a:lnTo>
                  <a:lnTo>
                    <a:pt x="1309" y="417"/>
                  </a:lnTo>
                  <a:lnTo>
                    <a:pt x="1314" y="427"/>
                  </a:lnTo>
                  <a:lnTo>
                    <a:pt x="1314" y="433"/>
                  </a:lnTo>
                  <a:lnTo>
                    <a:pt x="1309" y="442"/>
                  </a:lnTo>
                  <a:lnTo>
                    <a:pt x="1303" y="445"/>
                  </a:lnTo>
                  <a:lnTo>
                    <a:pt x="1298" y="455"/>
                  </a:lnTo>
                  <a:lnTo>
                    <a:pt x="1294" y="460"/>
                  </a:lnTo>
                  <a:lnTo>
                    <a:pt x="1294" y="462"/>
                  </a:lnTo>
                  <a:lnTo>
                    <a:pt x="1293" y="464"/>
                  </a:lnTo>
                  <a:lnTo>
                    <a:pt x="1293" y="462"/>
                  </a:lnTo>
                  <a:lnTo>
                    <a:pt x="1293" y="460"/>
                  </a:lnTo>
                  <a:lnTo>
                    <a:pt x="1287" y="469"/>
                  </a:lnTo>
                  <a:lnTo>
                    <a:pt x="1285" y="472"/>
                  </a:lnTo>
                  <a:lnTo>
                    <a:pt x="1285" y="473"/>
                  </a:lnTo>
                  <a:lnTo>
                    <a:pt x="1283" y="469"/>
                  </a:lnTo>
                  <a:lnTo>
                    <a:pt x="1285" y="464"/>
                  </a:lnTo>
                  <a:lnTo>
                    <a:pt x="1289" y="459"/>
                  </a:lnTo>
                  <a:lnTo>
                    <a:pt x="1287" y="456"/>
                  </a:lnTo>
                  <a:lnTo>
                    <a:pt x="1291" y="453"/>
                  </a:lnTo>
                  <a:lnTo>
                    <a:pt x="1291" y="451"/>
                  </a:lnTo>
                  <a:lnTo>
                    <a:pt x="1294" y="450"/>
                  </a:lnTo>
                  <a:lnTo>
                    <a:pt x="1289" y="450"/>
                  </a:lnTo>
                  <a:lnTo>
                    <a:pt x="1287" y="445"/>
                  </a:lnTo>
                  <a:lnTo>
                    <a:pt x="1287" y="444"/>
                  </a:lnTo>
                  <a:lnTo>
                    <a:pt x="1287" y="442"/>
                  </a:lnTo>
                  <a:lnTo>
                    <a:pt x="1285" y="442"/>
                  </a:lnTo>
                  <a:lnTo>
                    <a:pt x="1285" y="439"/>
                  </a:lnTo>
                  <a:lnTo>
                    <a:pt x="1283" y="442"/>
                  </a:lnTo>
                  <a:lnTo>
                    <a:pt x="1278" y="436"/>
                  </a:lnTo>
                  <a:lnTo>
                    <a:pt x="1278" y="433"/>
                  </a:lnTo>
                  <a:lnTo>
                    <a:pt x="1281" y="427"/>
                  </a:lnTo>
                  <a:lnTo>
                    <a:pt x="1283" y="420"/>
                  </a:lnTo>
                  <a:lnTo>
                    <a:pt x="1280" y="414"/>
                  </a:lnTo>
                  <a:lnTo>
                    <a:pt x="1281" y="408"/>
                  </a:lnTo>
                  <a:lnTo>
                    <a:pt x="1287" y="406"/>
                  </a:lnTo>
                  <a:lnTo>
                    <a:pt x="1285" y="405"/>
                  </a:lnTo>
                  <a:lnTo>
                    <a:pt x="1287" y="399"/>
                  </a:lnTo>
                  <a:lnTo>
                    <a:pt x="1285" y="397"/>
                  </a:lnTo>
                  <a:lnTo>
                    <a:pt x="1285" y="399"/>
                  </a:lnTo>
                  <a:lnTo>
                    <a:pt x="1283" y="405"/>
                  </a:lnTo>
                  <a:lnTo>
                    <a:pt x="1278" y="408"/>
                  </a:lnTo>
                  <a:lnTo>
                    <a:pt x="1274" y="411"/>
                  </a:lnTo>
                  <a:lnTo>
                    <a:pt x="1272" y="411"/>
                  </a:lnTo>
                  <a:lnTo>
                    <a:pt x="1275" y="414"/>
                  </a:lnTo>
                  <a:lnTo>
                    <a:pt x="1274" y="416"/>
                  </a:lnTo>
                  <a:lnTo>
                    <a:pt x="1274" y="423"/>
                  </a:lnTo>
                  <a:lnTo>
                    <a:pt x="1274" y="427"/>
                  </a:lnTo>
                  <a:lnTo>
                    <a:pt x="1274" y="428"/>
                  </a:lnTo>
                  <a:lnTo>
                    <a:pt x="1274" y="434"/>
                  </a:lnTo>
                  <a:lnTo>
                    <a:pt x="1274" y="444"/>
                  </a:lnTo>
                  <a:lnTo>
                    <a:pt x="1272" y="444"/>
                  </a:lnTo>
                  <a:lnTo>
                    <a:pt x="1264" y="438"/>
                  </a:lnTo>
                  <a:lnTo>
                    <a:pt x="1260" y="436"/>
                  </a:lnTo>
                  <a:lnTo>
                    <a:pt x="1257" y="430"/>
                  </a:lnTo>
                  <a:lnTo>
                    <a:pt x="1253" y="430"/>
                  </a:lnTo>
                  <a:lnTo>
                    <a:pt x="1253" y="428"/>
                  </a:lnTo>
                  <a:lnTo>
                    <a:pt x="1254" y="423"/>
                  </a:lnTo>
                  <a:lnTo>
                    <a:pt x="1251" y="428"/>
                  </a:lnTo>
                  <a:lnTo>
                    <a:pt x="1251" y="433"/>
                  </a:lnTo>
                  <a:lnTo>
                    <a:pt x="1254" y="434"/>
                  </a:lnTo>
                  <a:lnTo>
                    <a:pt x="1258" y="438"/>
                  </a:lnTo>
                  <a:lnTo>
                    <a:pt x="1264" y="439"/>
                  </a:lnTo>
                  <a:lnTo>
                    <a:pt x="1269" y="447"/>
                  </a:lnTo>
                  <a:lnTo>
                    <a:pt x="1275" y="450"/>
                  </a:lnTo>
                  <a:lnTo>
                    <a:pt x="1275" y="453"/>
                  </a:lnTo>
                  <a:lnTo>
                    <a:pt x="1274" y="459"/>
                  </a:lnTo>
                  <a:lnTo>
                    <a:pt x="1269" y="459"/>
                  </a:lnTo>
                  <a:lnTo>
                    <a:pt x="1268" y="455"/>
                  </a:lnTo>
                  <a:lnTo>
                    <a:pt x="1266" y="453"/>
                  </a:lnTo>
                  <a:lnTo>
                    <a:pt x="1268" y="459"/>
                  </a:lnTo>
                  <a:lnTo>
                    <a:pt x="1274" y="462"/>
                  </a:lnTo>
                  <a:lnTo>
                    <a:pt x="1275" y="466"/>
                  </a:lnTo>
                  <a:lnTo>
                    <a:pt x="1274" y="467"/>
                  </a:lnTo>
                  <a:lnTo>
                    <a:pt x="1274" y="469"/>
                  </a:lnTo>
                  <a:lnTo>
                    <a:pt x="1268" y="467"/>
                  </a:lnTo>
                  <a:lnTo>
                    <a:pt x="1274" y="473"/>
                  </a:lnTo>
                  <a:lnTo>
                    <a:pt x="1272" y="477"/>
                  </a:lnTo>
                  <a:lnTo>
                    <a:pt x="1268" y="475"/>
                  </a:lnTo>
                  <a:lnTo>
                    <a:pt x="1266" y="472"/>
                  </a:lnTo>
                  <a:lnTo>
                    <a:pt x="1258" y="472"/>
                  </a:lnTo>
                  <a:lnTo>
                    <a:pt x="1254" y="469"/>
                  </a:lnTo>
                  <a:lnTo>
                    <a:pt x="1258" y="473"/>
                  </a:lnTo>
                  <a:lnTo>
                    <a:pt x="1263" y="475"/>
                  </a:lnTo>
                  <a:lnTo>
                    <a:pt x="1266" y="475"/>
                  </a:lnTo>
                  <a:lnTo>
                    <a:pt x="1268" y="481"/>
                  </a:lnTo>
                  <a:lnTo>
                    <a:pt x="1274" y="483"/>
                  </a:lnTo>
                  <a:lnTo>
                    <a:pt x="1278" y="481"/>
                  </a:lnTo>
                  <a:lnTo>
                    <a:pt x="1280" y="483"/>
                  </a:lnTo>
                  <a:lnTo>
                    <a:pt x="1281" y="487"/>
                  </a:lnTo>
                  <a:lnTo>
                    <a:pt x="1280" y="491"/>
                  </a:lnTo>
                  <a:lnTo>
                    <a:pt x="1275" y="490"/>
                  </a:lnTo>
                  <a:lnTo>
                    <a:pt x="1275" y="493"/>
                  </a:lnTo>
                  <a:lnTo>
                    <a:pt x="1278" y="495"/>
                  </a:lnTo>
                  <a:lnTo>
                    <a:pt x="1280" y="500"/>
                  </a:lnTo>
                  <a:lnTo>
                    <a:pt x="1278" y="503"/>
                  </a:lnTo>
                  <a:lnTo>
                    <a:pt x="1274" y="503"/>
                  </a:lnTo>
                  <a:lnTo>
                    <a:pt x="1272" y="504"/>
                  </a:lnTo>
                  <a:lnTo>
                    <a:pt x="1264" y="506"/>
                  </a:lnTo>
                  <a:lnTo>
                    <a:pt x="1263" y="508"/>
                  </a:lnTo>
                  <a:lnTo>
                    <a:pt x="1258" y="506"/>
                  </a:lnTo>
                  <a:lnTo>
                    <a:pt x="1257" y="503"/>
                  </a:lnTo>
                  <a:lnTo>
                    <a:pt x="1254" y="503"/>
                  </a:lnTo>
                  <a:lnTo>
                    <a:pt x="1254" y="509"/>
                  </a:lnTo>
                  <a:lnTo>
                    <a:pt x="1253" y="514"/>
                  </a:lnTo>
                  <a:lnTo>
                    <a:pt x="1258" y="512"/>
                  </a:lnTo>
                  <a:lnTo>
                    <a:pt x="1269" y="509"/>
                  </a:lnTo>
                  <a:lnTo>
                    <a:pt x="1272" y="512"/>
                  </a:lnTo>
                  <a:lnTo>
                    <a:pt x="1272" y="517"/>
                  </a:lnTo>
                  <a:lnTo>
                    <a:pt x="1275" y="520"/>
                  </a:lnTo>
                  <a:lnTo>
                    <a:pt x="1275" y="515"/>
                  </a:lnTo>
                  <a:lnTo>
                    <a:pt x="1280" y="512"/>
                  </a:lnTo>
                  <a:lnTo>
                    <a:pt x="1280" y="512"/>
                  </a:lnTo>
                  <a:lnTo>
                    <a:pt x="1281" y="515"/>
                  </a:lnTo>
                  <a:lnTo>
                    <a:pt x="1281" y="521"/>
                  </a:lnTo>
                  <a:lnTo>
                    <a:pt x="1280" y="521"/>
                  </a:lnTo>
                  <a:lnTo>
                    <a:pt x="1274" y="525"/>
                  </a:lnTo>
                  <a:lnTo>
                    <a:pt x="1272" y="529"/>
                  </a:lnTo>
                  <a:lnTo>
                    <a:pt x="1268" y="531"/>
                  </a:lnTo>
                  <a:lnTo>
                    <a:pt x="1264" y="529"/>
                  </a:lnTo>
                  <a:lnTo>
                    <a:pt x="1260" y="529"/>
                  </a:lnTo>
                  <a:lnTo>
                    <a:pt x="1258" y="523"/>
                  </a:lnTo>
                  <a:lnTo>
                    <a:pt x="1258" y="526"/>
                  </a:lnTo>
                  <a:lnTo>
                    <a:pt x="1254" y="529"/>
                  </a:lnTo>
                  <a:lnTo>
                    <a:pt x="1251" y="526"/>
                  </a:lnTo>
                  <a:lnTo>
                    <a:pt x="1248" y="526"/>
                  </a:lnTo>
                  <a:lnTo>
                    <a:pt x="1251" y="529"/>
                  </a:lnTo>
                  <a:lnTo>
                    <a:pt x="1257" y="531"/>
                  </a:lnTo>
                  <a:lnTo>
                    <a:pt x="1258" y="532"/>
                  </a:lnTo>
                  <a:lnTo>
                    <a:pt x="1257" y="536"/>
                  </a:lnTo>
                  <a:lnTo>
                    <a:pt x="1257" y="536"/>
                  </a:lnTo>
                  <a:lnTo>
                    <a:pt x="1249" y="539"/>
                  </a:lnTo>
                  <a:lnTo>
                    <a:pt x="1245" y="537"/>
                  </a:lnTo>
                  <a:lnTo>
                    <a:pt x="1249" y="542"/>
                  </a:lnTo>
                  <a:lnTo>
                    <a:pt x="1257" y="542"/>
                  </a:lnTo>
                  <a:lnTo>
                    <a:pt x="1260" y="537"/>
                  </a:lnTo>
                  <a:lnTo>
                    <a:pt x="1263" y="539"/>
                  </a:lnTo>
                  <a:lnTo>
                    <a:pt x="1264" y="539"/>
                  </a:lnTo>
                  <a:lnTo>
                    <a:pt x="1258" y="545"/>
                  </a:lnTo>
                  <a:lnTo>
                    <a:pt x="1254" y="545"/>
                  </a:lnTo>
                  <a:lnTo>
                    <a:pt x="1253" y="543"/>
                  </a:lnTo>
                  <a:lnTo>
                    <a:pt x="1249" y="545"/>
                  </a:lnTo>
                  <a:lnTo>
                    <a:pt x="1249" y="545"/>
                  </a:lnTo>
                  <a:lnTo>
                    <a:pt x="1242" y="547"/>
                  </a:lnTo>
                  <a:lnTo>
                    <a:pt x="1228" y="553"/>
                  </a:lnTo>
                  <a:lnTo>
                    <a:pt x="1214" y="564"/>
                  </a:lnTo>
                  <a:lnTo>
                    <a:pt x="1208" y="571"/>
                  </a:lnTo>
                  <a:lnTo>
                    <a:pt x="1208" y="571"/>
                  </a:lnTo>
                  <a:lnTo>
                    <a:pt x="1205" y="570"/>
                  </a:lnTo>
                  <a:lnTo>
                    <a:pt x="1196" y="571"/>
                  </a:lnTo>
                  <a:lnTo>
                    <a:pt x="1192" y="575"/>
                  </a:lnTo>
                  <a:lnTo>
                    <a:pt x="1180" y="587"/>
                  </a:lnTo>
                  <a:lnTo>
                    <a:pt x="1180" y="590"/>
                  </a:lnTo>
                  <a:lnTo>
                    <a:pt x="1177" y="593"/>
                  </a:lnTo>
                  <a:lnTo>
                    <a:pt x="1173" y="593"/>
                  </a:lnTo>
                  <a:lnTo>
                    <a:pt x="1173" y="595"/>
                  </a:lnTo>
                  <a:lnTo>
                    <a:pt x="1168" y="601"/>
                  </a:lnTo>
                  <a:lnTo>
                    <a:pt x="1165" y="599"/>
                  </a:lnTo>
                  <a:lnTo>
                    <a:pt x="1162" y="601"/>
                  </a:lnTo>
                  <a:lnTo>
                    <a:pt x="1162" y="602"/>
                  </a:lnTo>
                  <a:lnTo>
                    <a:pt x="1156" y="602"/>
                  </a:lnTo>
                  <a:lnTo>
                    <a:pt x="1151" y="606"/>
                  </a:lnTo>
                  <a:lnTo>
                    <a:pt x="1144" y="606"/>
                  </a:lnTo>
                  <a:lnTo>
                    <a:pt x="1142" y="607"/>
                  </a:lnTo>
                  <a:lnTo>
                    <a:pt x="1137" y="607"/>
                  </a:lnTo>
                  <a:lnTo>
                    <a:pt x="1135" y="612"/>
                  </a:lnTo>
                  <a:lnTo>
                    <a:pt x="1129" y="612"/>
                  </a:lnTo>
                  <a:lnTo>
                    <a:pt x="1127" y="612"/>
                  </a:lnTo>
                  <a:lnTo>
                    <a:pt x="1129" y="613"/>
                  </a:lnTo>
                  <a:lnTo>
                    <a:pt x="1129" y="618"/>
                  </a:lnTo>
                  <a:lnTo>
                    <a:pt x="1125" y="623"/>
                  </a:lnTo>
                  <a:lnTo>
                    <a:pt x="1123" y="623"/>
                  </a:lnTo>
                  <a:lnTo>
                    <a:pt x="1119" y="627"/>
                  </a:lnTo>
                  <a:lnTo>
                    <a:pt x="1116" y="627"/>
                  </a:lnTo>
                  <a:lnTo>
                    <a:pt x="1110" y="634"/>
                  </a:lnTo>
                  <a:lnTo>
                    <a:pt x="1107" y="641"/>
                  </a:lnTo>
                  <a:lnTo>
                    <a:pt x="1107" y="649"/>
                  </a:lnTo>
                  <a:lnTo>
                    <a:pt x="1107" y="663"/>
                  </a:lnTo>
                  <a:lnTo>
                    <a:pt x="1107" y="671"/>
                  </a:lnTo>
                  <a:lnTo>
                    <a:pt x="1104" y="682"/>
                  </a:lnTo>
                  <a:lnTo>
                    <a:pt x="1108" y="688"/>
                  </a:lnTo>
                  <a:lnTo>
                    <a:pt x="1108" y="698"/>
                  </a:lnTo>
                  <a:lnTo>
                    <a:pt x="1112" y="704"/>
                  </a:lnTo>
                  <a:lnTo>
                    <a:pt x="1113" y="715"/>
                  </a:lnTo>
                  <a:lnTo>
                    <a:pt x="1118" y="719"/>
                  </a:lnTo>
                  <a:lnTo>
                    <a:pt x="1119" y="724"/>
                  </a:lnTo>
                  <a:lnTo>
                    <a:pt x="1118" y="730"/>
                  </a:lnTo>
                  <a:lnTo>
                    <a:pt x="1116" y="738"/>
                  </a:lnTo>
                  <a:lnTo>
                    <a:pt x="1118" y="738"/>
                  </a:lnTo>
                  <a:lnTo>
                    <a:pt x="1122" y="754"/>
                  </a:lnTo>
                  <a:lnTo>
                    <a:pt x="1127" y="758"/>
                  </a:lnTo>
                  <a:lnTo>
                    <a:pt x="1129" y="765"/>
                  </a:lnTo>
                  <a:lnTo>
                    <a:pt x="1125" y="767"/>
                  </a:lnTo>
                  <a:lnTo>
                    <a:pt x="1127" y="769"/>
                  </a:lnTo>
                  <a:lnTo>
                    <a:pt x="1125" y="778"/>
                  </a:lnTo>
                  <a:lnTo>
                    <a:pt x="1125" y="780"/>
                  </a:lnTo>
                  <a:lnTo>
                    <a:pt x="1125" y="786"/>
                  </a:lnTo>
                  <a:lnTo>
                    <a:pt x="1119" y="794"/>
                  </a:lnTo>
                  <a:lnTo>
                    <a:pt x="1118" y="799"/>
                  </a:lnTo>
                  <a:lnTo>
                    <a:pt x="1113" y="804"/>
                  </a:lnTo>
                  <a:lnTo>
                    <a:pt x="1113" y="810"/>
                  </a:lnTo>
                  <a:lnTo>
                    <a:pt x="1110" y="811"/>
                  </a:lnTo>
                  <a:lnTo>
                    <a:pt x="1104" y="813"/>
                  </a:lnTo>
                  <a:lnTo>
                    <a:pt x="1098" y="811"/>
                  </a:lnTo>
                  <a:lnTo>
                    <a:pt x="1096" y="808"/>
                  </a:lnTo>
                  <a:lnTo>
                    <a:pt x="1091" y="808"/>
                  </a:lnTo>
                  <a:lnTo>
                    <a:pt x="1093" y="805"/>
                  </a:lnTo>
                  <a:lnTo>
                    <a:pt x="1087" y="800"/>
                  </a:lnTo>
                  <a:lnTo>
                    <a:pt x="1087" y="796"/>
                  </a:lnTo>
                  <a:lnTo>
                    <a:pt x="1085" y="794"/>
                  </a:lnTo>
                  <a:lnTo>
                    <a:pt x="1081" y="794"/>
                  </a:lnTo>
                  <a:lnTo>
                    <a:pt x="1079" y="791"/>
                  </a:lnTo>
                  <a:lnTo>
                    <a:pt x="1079" y="786"/>
                  </a:lnTo>
                  <a:lnTo>
                    <a:pt x="1078" y="780"/>
                  </a:lnTo>
                  <a:lnTo>
                    <a:pt x="1072" y="777"/>
                  </a:lnTo>
                  <a:lnTo>
                    <a:pt x="1070" y="772"/>
                  </a:lnTo>
                  <a:lnTo>
                    <a:pt x="1073" y="771"/>
                  </a:lnTo>
                  <a:lnTo>
                    <a:pt x="1073" y="767"/>
                  </a:lnTo>
                  <a:lnTo>
                    <a:pt x="1078" y="763"/>
                  </a:lnTo>
                  <a:lnTo>
                    <a:pt x="1073" y="765"/>
                  </a:lnTo>
                  <a:lnTo>
                    <a:pt x="1070" y="763"/>
                  </a:lnTo>
                  <a:lnTo>
                    <a:pt x="1070" y="765"/>
                  </a:lnTo>
                  <a:lnTo>
                    <a:pt x="1067" y="767"/>
                  </a:lnTo>
                  <a:lnTo>
                    <a:pt x="1067" y="763"/>
                  </a:lnTo>
                  <a:lnTo>
                    <a:pt x="1066" y="763"/>
                  </a:lnTo>
                  <a:lnTo>
                    <a:pt x="1064" y="761"/>
                  </a:lnTo>
                  <a:lnTo>
                    <a:pt x="1061" y="758"/>
                  </a:lnTo>
                  <a:lnTo>
                    <a:pt x="1061" y="752"/>
                  </a:lnTo>
                  <a:lnTo>
                    <a:pt x="1058" y="750"/>
                  </a:lnTo>
                  <a:lnTo>
                    <a:pt x="1066" y="741"/>
                  </a:lnTo>
                  <a:lnTo>
                    <a:pt x="1066" y="738"/>
                  </a:lnTo>
                  <a:lnTo>
                    <a:pt x="1062" y="735"/>
                  </a:lnTo>
                  <a:lnTo>
                    <a:pt x="1058" y="738"/>
                  </a:lnTo>
                  <a:lnTo>
                    <a:pt x="1061" y="738"/>
                  </a:lnTo>
                  <a:lnTo>
                    <a:pt x="1056" y="743"/>
                  </a:lnTo>
                  <a:lnTo>
                    <a:pt x="1055" y="743"/>
                  </a:lnTo>
                  <a:lnTo>
                    <a:pt x="1052" y="738"/>
                  </a:lnTo>
                  <a:lnTo>
                    <a:pt x="1052" y="735"/>
                  </a:lnTo>
                  <a:lnTo>
                    <a:pt x="1058" y="727"/>
                  </a:lnTo>
                  <a:lnTo>
                    <a:pt x="1062" y="715"/>
                  </a:lnTo>
                  <a:lnTo>
                    <a:pt x="1062" y="710"/>
                  </a:lnTo>
                  <a:lnTo>
                    <a:pt x="1058" y="704"/>
                  </a:lnTo>
                  <a:lnTo>
                    <a:pt x="1055" y="702"/>
                  </a:lnTo>
                  <a:lnTo>
                    <a:pt x="1050" y="698"/>
                  </a:lnTo>
                  <a:lnTo>
                    <a:pt x="1052" y="697"/>
                  </a:lnTo>
                  <a:lnTo>
                    <a:pt x="1049" y="697"/>
                  </a:lnTo>
                  <a:lnTo>
                    <a:pt x="1044" y="695"/>
                  </a:lnTo>
                  <a:lnTo>
                    <a:pt x="1044" y="690"/>
                  </a:lnTo>
                  <a:lnTo>
                    <a:pt x="1043" y="690"/>
                  </a:lnTo>
                  <a:lnTo>
                    <a:pt x="1039" y="688"/>
                  </a:lnTo>
                  <a:lnTo>
                    <a:pt x="1037" y="679"/>
                  </a:lnTo>
                  <a:lnTo>
                    <a:pt x="1032" y="676"/>
                  </a:lnTo>
                  <a:lnTo>
                    <a:pt x="1027" y="674"/>
                  </a:lnTo>
                  <a:lnTo>
                    <a:pt x="1023" y="674"/>
                  </a:lnTo>
                  <a:lnTo>
                    <a:pt x="1018" y="679"/>
                  </a:lnTo>
                  <a:lnTo>
                    <a:pt x="1018" y="679"/>
                  </a:lnTo>
                  <a:lnTo>
                    <a:pt x="1017" y="680"/>
                  </a:lnTo>
                  <a:lnTo>
                    <a:pt x="1015" y="679"/>
                  </a:lnTo>
                  <a:lnTo>
                    <a:pt x="1007" y="685"/>
                  </a:lnTo>
                  <a:lnTo>
                    <a:pt x="1003" y="685"/>
                  </a:lnTo>
                  <a:lnTo>
                    <a:pt x="994" y="688"/>
                  </a:lnTo>
                  <a:lnTo>
                    <a:pt x="994" y="685"/>
                  </a:lnTo>
                  <a:lnTo>
                    <a:pt x="994" y="684"/>
                  </a:lnTo>
                  <a:lnTo>
                    <a:pt x="995" y="684"/>
                  </a:lnTo>
                  <a:lnTo>
                    <a:pt x="995" y="684"/>
                  </a:lnTo>
                  <a:lnTo>
                    <a:pt x="995" y="682"/>
                  </a:lnTo>
                  <a:lnTo>
                    <a:pt x="992" y="679"/>
                  </a:lnTo>
                  <a:lnTo>
                    <a:pt x="986" y="674"/>
                  </a:lnTo>
                  <a:lnTo>
                    <a:pt x="986" y="674"/>
                  </a:lnTo>
                  <a:lnTo>
                    <a:pt x="990" y="676"/>
                  </a:lnTo>
                  <a:lnTo>
                    <a:pt x="990" y="674"/>
                  </a:lnTo>
                  <a:lnTo>
                    <a:pt x="986" y="671"/>
                  </a:lnTo>
                  <a:lnTo>
                    <a:pt x="984" y="668"/>
                  </a:lnTo>
                  <a:lnTo>
                    <a:pt x="982" y="667"/>
                  </a:lnTo>
                  <a:lnTo>
                    <a:pt x="980" y="671"/>
                  </a:lnTo>
                  <a:lnTo>
                    <a:pt x="984" y="673"/>
                  </a:lnTo>
                  <a:lnTo>
                    <a:pt x="980" y="671"/>
                  </a:lnTo>
                  <a:lnTo>
                    <a:pt x="975" y="667"/>
                  </a:lnTo>
                  <a:lnTo>
                    <a:pt x="969" y="667"/>
                  </a:lnTo>
                  <a:lnTo>
                    <a:pt x="961" y="667"/>
                  </a:lnTo>
                  <a:lnTo>
                    <a:pt x="961" y="665"/>
                  </a:lnTo>
                  <a:lnTo>
                    <a:pt x="969" y="665"/>
                  </a:lnTo>
                  <a:lnTo>
                    <a:pt x="972" y="665"/>
                  </a:lnTo>
                  <a:lnTo>
                    <a:pt x="971" y="663"/>
                  </a:lnTo>
                  <a:lnTo>
                    <a:pt x="966" y="663"/>
                  </a:lnTo>
                  <a:lnTo>
                    <a:pt x="960" y="667"/>
                  </a:lnTo>
                  <a:lnTo>
                    <a:pt x="955" y="665"/>
                  </a:lnTo>
                  <a:lnTo>
                    <a:pt x="948" y="667"/>
                  </a:lnTo>
                  <a:lnTo>
                    <a:pt x="943" y="665"/>
                  </a:lnTo>
                  <a:lnTo>
                    <a:pt x="940" y="667"/>
                  </a:lnTo>
                  <a:lnTo>
                    <a:pt x="932" y="665"/>
                  </a:lnTo>
                  <a:lnTo>
                    <a:pt x="929" y="667"/>
                  </a:lnTo>
                  <a:lnTo>
                    <a:pt x="923" y="663"/>
                  </a:lnTo>
                  <a:lnTo>
                    <a:pt x="923" y="662"/>
                  </a:lnTo>
                  <a:lnTo>
                    <a:pt x="923" y="658"/>
                  </a:lnTo>
                  <a:lnTo>
                    <a:pt x="920" y="658"/>
                  </a:lnTo>
                  <a:lnTo>
                    <a:pt x="917" y="662"/>
                  </a:lnTo>
                  <a:lnTo>
                    <a:pt x="915" y="665"/>
                  </a:lnTo>
                  <a:lnTo>
                    <a:pt x="911" y="665"/>
                  </a:lnTo>
                  <a:lnTo>
                    <a:pt x="908" y="665"/>
                  </a:lnTo>
                  <a:lnTo>
                    <a:pt x="902" y="665"/>
                  </a:lnTo>
                  <a:lnTo>
                    <a:pt x="885" y="667"/>
                  </a:lnTo>
                  <a:lnTo>
                    <a:pt x="881" y="671"/>
                  </a:lnTo>
                  <a:lnTo>
                    <a:pt x="871" y="674"/>
                  </a:lnTo>
                  <a:lnTo>
                    <a:pt x="866" y="679"/>
                  </a:lnTo>
                  <a:lnTo>
                    <a:pt x="866" y="682"/>
                  </a:lnTo>
                  <a:lnTo>
                    <a:pt x="870" y="680"/>
                  </a:lnTo>
                  <a:lnTo>
                    <a:pt x="874" y="679"/>
                  </a:lnTo>
                  <a:lnTo>
                    <a:pt x="876" y="679"/>
                  </a:lnTo>
                  <a:lnTo>
                    <a:pt x="877" y="680"/>
                  </a:lnTo>
                  <a:lnTo>
                    <a:pt x="881" y="682"/>
                  </a:lnTo>
                  <a:lnTo>
                    <a:pt x="880" y="684"/>
                  </a:lnTo>
                  <a:lnTo>
                    <a:pt x="871" y="688"/>
                  </a:lnTo>
                  <a:lnTo>
                    <a:pt x="871" y="691"/>
                  </a:lnTo>
                  <a:lnTo>
                    <a:pt x="874" y="695"/>
                  </a:lnTo>
                  <a:lnTo>
                    <a:pt x="881" y="697"/>
                  </a:lnTo>
                  <a:lnTo>
                    <a:pt x="889" y="702"/>
                  </a:lnTo>
                  <a:lnTo>
                    <a:pt x="887" y="704"/>
                  </a:lnTo>
                  <a:lnTo>
                    <a:pt x="883" y="704"/>
                  </a:lnTo>
                  <a:lnTo>
                    <a:pt x="881" y="707"/>
                  </a:lnTo>
                  <a:lnTo>
                    <a:pt x="881" y="702"/>
                  </a:lnTo>
                  <a:lnTo>
                    <a:pt x="880" y="701"/>
                  </a:lnTo>
                  <a:lnTo>
                    <a:pt x="876" y="702"/>
                  </a:lnTo>
                  <a:lnTo>
                    <a:pt x="874" y="698"/>
                  </a:lnTo>
                  <a:lnTo>
                    <a:pt x="868" y="697"/>
                  </a:lnTo>
                  <a:lnTo>
                    <a:pt x="865" y="691"/>
                  </a:lnTo>
                  <a:lnTo>
                    <a:pt x="860" y="691"/>
                  </a:lnTo>
                  <a:lnTo>
                    <a:pt x="862" y="697"/>
                  </a:lnTo>
                  <a:lnTo>
                    <a:pt x="862" y="702"/>
                  </a:lnTo>
                  <a:lnTo>
                    <a:pt x="859" y="704"/>
                  </a:lnTo>
                  <a:lnTo>
                    <a:pt x="856" y="701"/>
                  </a:lnTo>
                  <a:lnTo>
                    <a:pt x="851" y="698"/>
                  </a:lnTo>
                  <a:lnTo>
                    <a:pt x="847" y="701"/>
                  </a:lnTo>
                  <a:lnTo>
                    <a:pt x="842" y="704"/>
                  </a:lnTo>
                  <a:lnTo>
                    <a:pt x="837" y="702"/>
                  </a:lnTo>
                  <a:lnTo>
                    <a:pt x="834" y="701"/>
                  </a:lnTo>
                  <a:lnTo>
                    <a:pt x="828" y="701"/>
                  </a:lnTo>
                  <a:lnTo>
                    <a:pt x="825" y="698"/>
                  </a:lnTo>
                  <a:lnTo>
                    <a:pt x="828" y="697"/>
                  </a:lnTo>
                  <a:lnTo>
                    <a:pt x="831" y="695"/>
                  </a:lnTo>
                  <a:lnTo>
                    <a:pt x="830" y="691"/>
                  </a:lnTo>
                  <a:lnTo>
                    <a:pt x="824" y="693"/>
                  </a:lnTo>
                  <a:lnTo>
                    <a:pt x="822" y="691"/>
                  </a:lnTo>
                  <a:lnTo>
                    <a:pt x="822" y="688"/>
                  </a:lnTo>
                  <a:lnTo>
                    <a:pt x="820" y="685"/>
                  </a:lnTo>
                  <a:lnTo>
                    <a:pt x="816" y="685"/>
                  </a:lnTo>
                  <a:lnTo>
                    <a:pt x="814" y="685"/>
                  </a:lnTo>
                  <a:lnTo>
                    <a:pt x="816" y="682"/>
                  </a:lnTo>
                  <a:lnTo>
                    <a:pt x="813" y="682"/>
                  </a:lnTo>
                  <a:lnTo>
                    <a:pt x="807" y="684"/>
                  </a:lnTo>
                  <a:lnTo>
                    <a:pt x="807" y="685"/>
                  </a:lnTo>
                  <a:lnTo>
                    <a:pt x="807" y="690"/>
                  </a:lnTo>
                  <a:lnTo>
                    <a:pt x="802" y="690"/>
                  </a:lnTo>
                  <a:lnTo>
                    <a:pt x="786" y="688"/>
                  </a:lnTo>
                  <a:lnTo>
                    <a:pt x="784" y="685"/>
                  </a:lnTo>
                  <a:lnTo>
                    <a:pt x="770" y="682"/>
                  </a:lnTo>
                  <a:lnTo>
                    <a:pt x="765" y="682"/>
                  </a:lnTo>
                  <a:lnTo>
                    <a:pt x="755" y="684"/>
                  </a:lnTo>
                  <a:lnTo>
                    <a:pt x="752" y="688"/>
                  </a:lnTo>
                  <a:lnTo>
                    <a:pt x="747" y="688"/>
                  </a:lnTo>
                  <a:lnTo>
                    <a:pt x="741" y="693"/>
                  </a:lnTo>
                  <a:lnTo>
                    <a:pt x="736" y="693"/>
                  </a:lnTo>
                  <a:lnTo>
                    <a:pt x="738" y="690"/>
                  </a:lnTo>
                  <a:lnTo>
                    <a:pt x="736" y="685"/>
                  </a:lnTo>
                  <a:lnTo>
                    <a:pt x="738" y="682"/>
                  </a:lnTo>
                  <a:lnTo>
                    <a:pt x="736" y="676"/>
                  </a:lnTo>
                  <a:lnTo>
                    <a:pt x="736" y="680"/>
                  </a:lnTo>
                  <a:lnTo>
                    <a:pt x="730" y="684"/>
                  </a:lnTo>
                  <a:lnTo>
                    <a:pt x="729" y="684"/>
                  </a:lnTo>
                  <a:lnTo>
                    <a:pt x="724" y="680"/>
                  </a:lnTo>
                  <a:lnTo>
                    <a:pt x="729" y="688"/>
                  </a:lnTo>
                  <a:lnTo>
                    <a:pt x="729" y="693"/>
                  </a:lnTo>
                  <a:lnTo>
                    <a:pt x="730" y="697"/>
                  </a:lnTo>
                  <a:lnTo>
                    <a:pt x="727" y="701"/>
                  </a:lnTo>
                  <a:lnTo>
                    <a:pt x="723" y="701"/>
                  </a:lnTo>
                  <a:lnTo>
                    <a:pt x="713" y="706"/>
                  </a:lnTo>
                  <a:lnTo>
                    <a:pt x="701" y="711"/>
                  </a:lnTo>
                  <a:lnTo>
                    <a:pt x="698" y="711"/>
                  </a:lnTo>
                  <a:lnTo>
                    <a:pt x="692" y="715"/>
                  </a:lnTo>
                  <a:lnTo>
                    <a:pt x="689" y="715"/>
                  </a:lnTo>
                  <a:lnTo>
                    <a:pt x="694" y="711"/>
                  </a:lnTo>
                  <a:lnTo>
                    <a:pt x="690" y="710"/>
                  </a:lnTo>
                  <a:lnTo>
                    <a:pt x="686" y="711"/>
                  </a:lnTo>
                  <a:lnTo>
                    <a:pt x="684" y="710"/>
                  </a:lnTo>
                  <a:lnTo>
                    <a:pt x="680" y="711"/>
                  </a:lnTo>
                  <a:lnTo>
                    <a:pt x="683" y="715"/>
                  </a:lnTo>
                  <a:lnTo>
                    <a:pt x="678" y="716"/>
                  </a:lnTo>
                  <a:lnTo>
                    <a:pt x="674" y="715"/>
                  </a:lnTo>
                  <a:lnTo>
                    <a:pt x="675" y="721"/>
                  </a:lnTo>
                  <a:lnTo>
                    <a:pt x="669" y="722"/>
                  </a:lnTo>
                  <a:lnTo>
                    <a:pt x="668" y="721"/>
                  </a:lnTo>
                  <a:lnTo>
                    <a:pt x="663" y="727"/>
                  </a:lnTo>
                  <a:lnTo>
                    <a:pt x="666" y="730"/>
                  </a:lnTo>
                  <a:lnTo>
                    <a:pt x="660" y="733"/>
                  </a:lnTo>
                  <a:lnTo>
                    <a:pt x="657" y="735"/>
                  </a:lnTo>
                  <a:lnTo>
                    <a:pt x="658" y="744"/>
                  </a:lnTo>
                  <a:lnTo>
                    <a:pt x="654" y="749"/>
                  </a:lnTo>
                  <a:lnTo>
                    <a:pt x="651" y="755"/>
                  </a:lnTo>
                  <a:lnTo>
                    <a:pt x="649" y="761"/>
                  </a:lnTo>
                  <a:lnTo>
                    <a:pt x="651" y="765"/>
                  </a:lnTo>
                  <a:lnTo>
                    <a:pt x="651" y="777"/>
                  </a:lnTo>
                  <a:lnTo>
                    <a:pt x="651" y="780"/>
                  </a:lnTo>
                  <a:lnTo>
                    <a:pt x="649" y="786"/>
                  </a:lnTo>
                  <a:lnTo>
                    <a:pt x="646" y="794"/>
                  </a:lnTo>
                  <a:lnTo>
                    <a:pt x="645" y="791"/>
                  </a:lnTo>
                  <a:lnTo>
                    <a:pt x="643" y="788"/>
                  </a:lnTo>
                  <a:lnTo>
                    <a:pt x="637" y="788"/>
                  </a:lnTo>
                  <a:lnTo>
                    <a:pt x="632" y="786"/>
                  </a:lnTo>
                  <a:lnTo>
                    <a:pt x="623" y="782"/>
                  </a:lnTo>
                  <a:lnTo>
                    <a:pt x="618" y="778"/>
                  </a:lnTo>
                  <a:lnTo>
                    <a:pt x="614" y="777"/>
                  </a:lnTo>
                  <a:lnTo>
                    <a:pt x="611" y="777"/>
                  </a:lnTo>
                  <a:lnTo>
                    <a:pt x="609" y="777"/>
                  </a:lnTo>
                  <a:lnTo>
                    <a:pt x="606" y="774"/>
                  </a:lnTo>
                  <a:lnTo>
                    <a:pt x="605" y="772"/>
                  </a:lnTo>
                  <a:lnTo>
                    <a:pt x="605" y="767"/>
                  </a:lnTo>
                  <a:lnTo>
                    <a:pt x="599" y="752"/>
                  </a:lnTo>
                  <a:lnTo>
                    <a:pt x="599" y="750"/>
                  </a:lnTo>
                  <a:lnTo>
                    <a:pt x="599" y="750"/>
                  </a:lnTo>
                  <a:lnTo>
                    <a:pt x="599" y="744"/>
                  </a:lnTo>
                  <a:lnTo>
                    <a:pt x="600" y="741"/>
                  </a:lnTo>
                  <a:lnTo>
                    <a:pt x="594" y="735"/>
                  </a:lnTo>
                  <a:lnTo>
                    <a:pt x="594" y="732"/>
                  </a:lnTo>
                  <a:lnTo>
                    <a:pt x="591" y="728"/>
                  </a:lnTo>
                  <a:lnTo>
                    <a:pt x="588" y="727"/>
                  </a:lnTo>
                  <a:lnTo>
                    <a:pt x="585" y="722"/>
                  </a:lnTo>
                  <a:lnTo>
                    <a:pt x="583" y="721"/>
                  </a:lnTo>
                  <a:lnTo>
                    <a:pt x="580" y="711"/>
                  </a:lnTo>
                  <a:lnTo>
                    <a:pt x="578" y="710"/>
                  </a:lnTo>
                  <a:lnTo>
                    <a:pt x="577" y="707"/>
                  </a:lnTo>
                  <a:lnTo>
                    <a:pt x="577" y="702"/>
                  </a:lnTo>
                  <a:lnTo>
                    <a:pt x="574" y="698"/>
                  </a:lnTo>
                  <a:lnTo>
                    <a:pt x="574" y="697"/>
                  </a:lnTo>
                  <a:lnTo>
                    <a:pt x="571" y="691"/>
                  </a:lnTo>
                  <a:lnTo>
                    <a:pt x="567" y="685"/>
                  </a:lnTo>
                  <a:lnTo>
                    <a:pt x="562" y="682"/>
                  </a:lnTo>
                  <a:lnTo>
                    <a:pt x="559" y="679"/>
                  </a:lnTo>
                  <a:lnTo>
                    <a:pt x="556" y="676"/>
                  </a:lnTo>
                  <a:lnTo>
                    <a:pt x="551" y="676"/>
                  </a:lnTo>
                  <a:lnTo>
                    <a:pt x="551" y="674"/>
                  </a:lnTo>
                  <a:lnTo>
                    <a:pt x="548" y="674"/>
                  </a:lnTo>
                  <a:lnTo>
                    <a:pt x="544" y="674"/>
                  </a:lnTo>
                  <a:lnTo>
                    <a:pt x="538" y="674"/>
                  </a:lnTo>
                  <a:lnTo>
                    <a:pt x="534" y="674"/>
                  </a:lnTo>
                  <a:lnTo>
                    <a:pt x="533" y="676"/>
                  </a:lnTo>
                  <a:lnTo>
                    <a:pt x="531" y="676"/>
                  </a:lnTo>
                  <a:lnTo>
                    <a:pt x="528" y="676"/>
                  </a:lnTo>
                  <a:lnTo>
                    <a:pt x="527" y="676"/>
                  </a:lnTo>
                  <a:lnTo>
                    <a:pt x="525" y="676"/>
                  </a:lnTo>
                  <a:lnTo>
                    <a:pt x="522" y="680"/>
                  </a:lnTo>
                  <a:lnTo>
                    <a:pt x="517" y="685"/>
                  </a:lnTo>
                  <a:lnTo>
                    <a:pt x="516" y="690"/>
                  </a:lnTo>
                  <a:lnTo>
                    <a:pt x="516" y="690"/>
                  </a:lnTo>
                  <a:lnTo>
                    <a:pt x="516" y="693"/>
                  </a:lnTo>
                  <a:lnTo>
                    <a:pt x="511" y="693"/>
                  </a:lnTo>
                  <a:lnTo>
                    <a:pt x="508" y="695"/>
                  </a:lnTo>
                  <a:lnTo>
                    <a:pt x="508" y="697"/>
                  </a:lnTo>
                  <a:lnTo>
                    <a:pt x="504" y="698"/>
                  </a:lnTo>
                  <a:lnTo>
                    <a:pt x="502" y="697"/>
                  </a:lnTo>
                  <a:lnTo>
                    <a:pt x="499" y="697"/>
                  </a:lnTo>
                  <a:lnTo>
                    <a:pt x="494" y="693"/>
                  </a:lnTo>
                  <a:lnTo>
                    <a:pt x="490" y="693"/>
                  </a:lnTo>
                  <a:lnTo>
                    <a:pt x="490" y="691"/>
                  </a:lnTo>
                  <a:lnTo>
                    <a:pt x="484" y="688"/>
                  </a:lnTo>
                  <a:lnTo>
                    <a:pt x="481" y="688"/>
                  </a:lnTo>
                  <a:lnTo>
                    <a:pt x="479" y="685"/>
                  </a:lnTo>
                  <a:lnTo>
                    <a:pt x="479" y="684"/>
                  </a:lnTo>
                  <a:lnTo>
                    <a:pt x="477" y="684"/>
                  </a:lnTo>
                  <a:lnTo>
                    <a:pt x="476" y="682"/>
                  </a:lnTo>
                  <a:lnTo>
                    <a:pt x="473" y="682"/>
                  </a:lnTo>
                  <a:lnTo>
                    <a:pt x="471" y="680"/>
                  </a:lnTo>
                  <a:lnTo>
                    <a:pt x="470" y="680"/>
                  </a:lnTo>
                  <a:lnTo>
                    <a:pt x="470" y="679"/>
                  </a:lnTo>
                  <a:lnTo>
                    <a:pt x="467" y="674"/>
                  </a:lnTo>
                  <a:lnTo>
                    <a:pt x="464" y="671"/>
                  </a:lnTo>
                  <a:lnTo>
                    <a:pt x="459" y="667"/>
                  </a:lnTo>
                  <a:lnTo>
                    <a:pt x="459" y="665"/>
                  </a:lnTo>
                  <a:lnTo>
                    <a:pt x="462" y="663"/>
                  </a:lnTo>
                  <a:lnTo>
                    <a:pt x="464" y="663"/>
                  </a:lnTo>
                  <a:lnTo>
                    <a:pt x="464" y="660"/>
                  </a:lnTo>
                  <a:lnTo>
                    <a:pt x="459" y="657"/>
                  </a:lnTo>
                  <a:lnTo>
                    <a:pt x="459" y="654"/>
                  </a:lnTo>
                  <a:lnTo>
                    <a:pt x="458" y="654"/>
                  </a:lnTo>
                  <a:lnTo>
                    <a:pt x="456" y="652"/>
                  </a:lnTo>
                  <a:lnTo>
                    <a:pt x="456" y="646"/>
                  </a:lnTo>
                  <a:lnTo>
                    <a:pt x="455" y="643"/>
                  </a:lnTo>
                  <a:lnTo>
                    <a:pt x="450" y="641"/>
                  </a:lnTo>
                  <a:lnTo>
                    <a:pt x="447" y="641"/>
                  </a:lnTo>
                  <a:lnTo>
                    <a:pt x="447" y="637"/>
                  </a:lnTo>
                  <a:lnTo>
                    <a:pt x="449" y="635"/>
                  </a:lnTo>
                  <a:lnTo>
                    <a:pt x="443" y="634"/>
                  </a:lnTo>
                  <a:lnTo>
                    <a:pt x="438" y="632"/>
                  </a:lnTo>
                  <a:lnTo>
                    <a:pt x="441" y="630"/>
                  </a:lnTo>
                  <a:lnTo>
                    <a:pt x="437" y="627"/>
                  </a:lnTo>
                  <a:lnTo>
                    <a:pt x="435" y="627"/>
                  </a:lnTo>
                  <a:lnTo>
                    <a:pt x="435" y="624"/>
                  </a:lnTo>
                  <a:lnTo>
                    <a:pt x="432" y="621"/>
                  </a:lnTo>
                  <a:lnTo>
                    <a:pt x="427" y="615"/>
                  </a:lnTo>
                  <a:lnTo>
                    <a:pt x="422" y="613"/>
                  </a:lnTo>
                  <a:lnTo>
                    <a:pt x="378" y="612"/>
                  </a:lnTo>
                  <a:lnTo>
                    <a:pt x="376" y="621"/>
                  </a:lnTo>
                  <a:lnTo>
                    <a:pt x="297" y="618"/>
                  </a:lnTo>
                  <a:lnTo>
                    <a:pt x="202" y="581"/>
                  </a:lnTo>
                  <a:lnTo>
                    <a:pt x="205" y="579"/>
                  </a:lnTo>
                  <a:lnTo>
                    <a:pt x="202" y="576"/>
                  </a:lnTo>
                  <a:lnTo>
                    <a:pt x="136" y="579"/>
                  </a:lnTo>
                  <a:lnTo>
                    <a:pt x="136" y="573"/>
                  </a:lnTo>
                  <a:lnTo>
                    <a:pt x="136" y="567"/>
                  </a:lnTo>
                  <a:lnTo>
                    <a:pt x="136" y="560"/>
                  </a:lnTo>
                  <a:lnTo>
                    <a:pt x="127" y="547"/>
                  </a:lnTo>
                  <a:lnTo>
                    <a:pt x="119" y="542"/>
                  </a:lnTo>
                  <a:lnTo>
                    <a:pt x="116" y="543"/>
                  </a:lnTo>
                  <a:lnTo>
                    <a:pt x="113" y="543"/>
                  </a:lnTo>
                  <a:lnTo>
                    <a:pt x="112" y="542"/>
                  </a:lnTo>
                  <a:lnTo>
                    <a:pt x="112" y="537"/>
                  </a:lnTo>
                  <a:lnTo>
                    <a:pt x="112" y="536"/>
                  </a:lnTo>
                  <a:lnTo>
                    <a:pt x="104" y="534"/>
                  </a:lnTo>
                  <a:lnTo>
                    <a:pt x="100" y="532"/>
                  </a:lnTo>
                  <a:lnTo>
                    <a:pt x="92" y="531"/>
                  </a:lnTo>
                  <a:lnTo>
                    <a:pt x="92" y="525"/>
                  </a:lnTo>
                  <a:lnTo>
                    <a:pt x="89" y="523"/>
                  </a:lnTo>
                  <a:lnTo>
                    <a:pt x="80" y="523"/>
                  </a:lnTo>
                  <a:lnTo>
                    <a:pt x="77" y="521"/>
                  </a:lnTo>
                  <a:lnTo>
                    <a:pt x="73" y="520"/>
                  </a:lnTo>
                  <a:lnTo>
                    <a:pt x="67" y="517"/>
                  </a:lnTo>
                  <a:lnTo>
                    <a:pt x="58" y="517"/>
                  </a:lnTo>
                  <a:lnTo>
                    <a:pt x="54" y="515"/>
                  </a:lnTo>
                  <a:lnTo>
                    <a:pt x="52" y="512"/>
                  </a:lnTo>
                  <a:lnTo>
                    <a:pt x="54" y="512"/>
                  </a:lnTo>
                  <a:lnTo>
                    <a:pt x="55" y="506"/>
                  </a:lnTo>
                  <a:lnTo>
                    <a:pt x="58" y="499"/>
                  </a:lnTo>
                  <a:lnTo>
                    <a:pt x="55" y="495"/>
                  </a:lnTo>
                  <a:lnTo>
                    <a:pt x="52" y="490"/>
                  </a:lnTo>
                  <a:lnTo>
                    <a:pt x="50" y="490"/>
                  </a:lnTo>
                  <a:lnTo>
                    <a:pt x="52" y="487"/>
                  </a:lnTo>
                  <a:lnTo>
                    <a:pt x="50" y="486"/>
                  </a:lnTo>
                  <a:lnTo>
                    <a:pt x="44" y="481"/>
                  </a:lnTo>
                  <a:lnTo>
                    <a:pt x="38" y="469"/>
                  </a:lnTo>
                  <a:lnTo>
                    <a:pt x="38" y="462"/>
                  </a:lnTo>
                  <a:lnTo>
                    <a:pt x="33" y="459"/>
                  </a:lnTo>
                  <a:lnTo>
                    <a:pt x="33" y="456"/>
                  </a:lnTo>
                  <a:lnTo>
                    <a:pt x="33" y="451"/>
                  </a:lnTo>
                  <a:lnTo>
                    <a:pt x="33" y="445"/>
                  </a:lnTo>
                  <a:lnTo>
                    <a:pt x="33" y="444"/>
                  </a:lnTo>
                  <a:lnTo>
                    <a:pt x="35" y="444"/>
                  </a:lnTo>
                  <a:lnTo>
                    <a:pt x="38" y="439"/>
                  </a:lnTo>
                  <a:lnTo>
                    <a:pt x="38" y="436"/>
                  </a:lnTo>
                  <a:lnTo>
                    <a:pt x="35" y="434"/>
                  </a:lnTo>
                  <a:lnTo>
                    <a:pt x="31" y="433"/>
                  </a:lnTo>
                  <a:lnTo>
                    <a:pt x="29" y="427"/>
                  </a:lnTo>
                  <a:lnTo>
                    <a:pt x="27" y="425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6"/>
                  </a:lnTo>
                  <a:lnTo>
                    <a:pt x="29" y="414"/>
                  </a:lnTo>
                  <a:lnTo>
                    <a:pt x="29" y="411"/>
                  </a:lnTo>
                  <a:lnTo>
                    <a:pt x="31" y="408"/>
                  </a:lnTo>
                  <a:lnTo>
                    <a:pt x="33" y="408"/>
                  </a:lnTo>
                  <a:lnTo>
                    <a:pt x="37" y="414"/>
                  </a:lnTo>
                  <a:lnTo>
                    <a:pt x="40" y="416"/>
                  </a:lnTo>
                  <a:lnTo>
                    <a:pt x="38" y="414"/>
                  </a:lnTo>
                  <a:lnTo>
                    <a:pt x="37" y="411"/>
                  </a:lnTo>
                  <a:lnTo>
                    <a:pt x="37" y="403"/>
                  </a:lnTo>
                  <a:lnTo>
                    <a:pt x="35" y="403"/>
                  </a:lnTo>
                  <a:lnTo>
                    <a:pt x="35" y="399"/>
                  </a:lnTo>
                  <a:lnTo>
                    <a:pt x="37" y="399"/>
                  </a:lnTo>
                  <a:lnTo>
                    <a:pt x="38" y="401"/>
                  </a:lnTo>
                  <a:lnTo>
                    <a:pt x="44" y="399"/>
                  </a:lnTo>
                  <a:lnTo>
                    <a:pt x="49" y="397"/>
                  </a:lnTo>
                  <a:lnTo>
                    <a:pt x="43" y="397"/>
                  </a:lnTo>
                  <a:lnTo>
                    <a:pt x="40" y="395"/>
                  </a:lnTo>
                  <a:lnTo>
                    <a:pt x="37" y="395"/>
                  </a:lnTo>
                  <a:lnTo>
                    <a:pt x="35" y="394"/>
                  </a:lnTo>
                  <a:lnTo>
                    <a:pt x="33" y="394"/>
                  </a:lnTo>
                  <a:lnTo>
                    <a:pt x="31" y="392"/>
                  </a:lnTo>
                  <a:lnTo>
                    <a:pt x="29" y="397"/>
                  </a:lnTo>
                  <a:lnTo>
                    <a:pt x="29" y="403"/>
                  </a:lnTo>
                  <a:lnTo>
                    <a:pt x="29" y="403"/>
                  </a:lnTo>
                  <a:lnTo>
                    <a:pt x="27" y="403"/>
                  </a:lnTo>
                  <a:lnTo>
                    <a:pt x="26" y="401"/>
                  </a:lnTo>
                  <a:lnTo>
                    <a:pt x="20" y="395"/>
                  </a:lnTo>
                  <a:lnTo>
                    <a:pt x="18" y="392"/>
                  </a:lnTo>
                  <a:lnTo>
                    <a:pt x="20" y="388"/>
                  </a:lnTo>
                  <a:lnTo>
                    <a:pt x="18" y="384"/>
                  </a:lnTo>
                  <a:lnTo>
                    <a:pt x="6" y="368"/>
                  </a:lnTo>
                  <a:lnTo>
                    <a:pt x="6" y="366"/>
                  </a:lnTo>
                  <a:lnTo>
                    <a:pt x="6" y="363"/>
                  </a:lnTo>
                  <a:lnTo>
                    <a:pt x="9" y="358"/>
                  </a:lnTo>
                  <a:lnTo>
                    <a:pt x="9" y="353"/>
                  </a:lnTo>
                  <a:lnTo>
                    <a:pt x="6" y="349"/>
                  </a:lnTo>
                  <a:lnTo>
                    <a:pt x="6" y="347"/>
                  </a:lnTo>
                  <a:lnTo>
                    <a:pt x="9" y="341"/>
                  </a:lnTo>
                  <a:lnTo>
                    <a:pt x="9" y="336"/>
                  </a:lnTo>
                  <a:lnTo>
                    <a:pt x="9" y="327"/>
                  </a:lnTo>
                  <a:lnTo>
                    <a:pt x="6" y="318"/>
                  </a:lnTo>
                  <a:lnTo>
                    <a:pt x="0" y="313"/>
                  </a:lnTo>
                  <a:lnTo>
                    <a:pt x="0" y="307"/>
                  </a:lnTo>
                  <a:lnTo>
                    <a:pt x="4" y="301"/>
                  </a:lnTo>
                  <a:lnTo>
                    <a:pt x="12" y="297"/>
                  </a:lnTo>
                  <a:lnTo>
                    <a:pt x="14" y="290"/>
                  </a:lnTo>
                  <a:lnTo>
                    <a:pt x="12" y="288"/>
                  </a:lnTo>
                  <a:lnTo>
                    <a:pt x="12" y="286"/>
                  </a:lnTo>
                  <a:lnTo>
                    <a:pt x="15" y="283"/>
                  </a:lnTo>
                  <a:lnTo>
                    <a:pt x="18" y="277"/>
                  </a:lnTo>
                  <a:lnTo>
                    <a:pt x="20" y="268"/>
                  </a:lnTo>
                  <a:lnTo>
                    <a:pt x="18" y="262"/>
                  </a:lnTo>
                  <a:lnTo>
                    <a:pt x="18" y="259"/>
                  </a:lnTo>
                  <a:lnTo>
                    <a:pt x="20" y="255"/>
                  </a:lnTo>
                  <a:lnTo>
                    <a:pt x="15" y="249"/>
                  </a:lnTo>
                  <a:lnTo>
                    <a:pt x="15" y="244"/>
                  </a:lnTo>
                  <a:lnTo>
                    <a:pt x="20" y="235"/>
                  </a:lnTo>
                  <a:lnTo>
                    <a:pt x="18" y="226"/>
                  </a:lnTo>
                  <a:lnTo>
                    <a:pt x="20" y="220"/>
                  </a:lnTo>
                  <a:lnTo>
                    <a:pt x="27" y="212"/>
                  </a:lnTo>
                  <a:lnTo>
                    <a:pt x="29" y="207"/>
                  </a:lnTo>
                  <a:lnTo>
                    <a:pt x="33" y="204"/>
                  </a:lnTo>
                  <a:lnTo>
                    <a:pt x="35" y="198"/>
                  </a:lnTo>
                  <a:lnTo>
                    <a:pt x="40" y="192"/>
                  </a:lnTo>
                  <a:lnTo>
                    <a:pt x="44" y="185"/>
                  </a:lnTo>
                  <a:lnTo>
                    <a:pt x="46" y="171"/>
                  </a:lnTo>
                  <a:lnTo>
                    <a:pt x="52" y="160"/>
                  </a:lnTo>
                  <a:lnTo>
                    <a:pt x="54" y="150"/>
                  </a:lnTo>
                  <a:lnTo>
                    <a:pt x="61" y="134"/>
                  </a:lnTo>
                  <a:lnTo>
                    <a:pt x="66" y="129"/>
                  </a:lnTo>
                  <a:lnTo>
                    <a:pt x="69" y="124"/>
                  </a:lnTo>
                  <a:lnTo>
                    <a:pt x="69" y="120"/>
                  </a:lnTo>
                  <a:lnTo>
                    <a:pt x="69" y="116"/>
                  </a:lnTo>
                  <a:lnTo>
                    <a:pt x="73" y="109"/>
                  </a:lnTo>
                  <a:lnTo>
                    <a:pt x="73" y="106"/>
                  </a:lnTo>
                  <a:lnTo>
                    <a:pt x="75" y="106"/>
                  </a:lnTo>
                  <a:lnTo>
                    <a:pt x="79" y="107"/>
                  </a:lnTo>
                  <a:lnTo>
                    <a:pt x="89" y="107"/>
                  </a:lnTo>
                  <a:lnTo>
                    <a:pt x="92" y="109"/>
                  </a:lnTo>
                  <a:lnTo>
                    <a:pt x="95" y="109"/>
                  </a:lnTo>
                  <a:lnTo>
                    <a:pt x="100" y="112"/>
                  </a:lnTo>
                  <a:lnTo>
                    <a:pt x="104" y="116"/>
                  </a:lnTo>
                  <a:lnTo>
                    <a:pt x="101" y="111"/>
                  </a:lnTo>
                  <a:lnTo>
                    <a:pt x="100" y="109"/>
                  </a:lnTo>
                  <a:lnTo>
                    <a:pt x="95" y="107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73" y="101"/>
                  </a:lnTo>
                  <a:lnTo>
                    <a:pt x="73" y="100"/>
                  </a:lnTo>
                  <a:lnTo>
                    <a:pt x="75" y="98"/>
                  </a:lnTo>
                  <a:lnTo>
                    <a:pt x="77" y="98"/>
                  </a:lnTo>
                  <a:lnTo>
                    <a:pt x="80" y="94"/>
                  </a:lnTo>
                  <a:lnTo>
                    <a:pt x="80" y="90"/>
                  </a:lnTo>
                  <a:lnTo>
                    <a:pt x="83" y="86"/>
                  </a:lnTo>
                  <a:lnTo>
                    <a:pt x="77" y="85"/>
                  </a:lnTo>
                  <a:lnTo>
                    <a:pt x="75" y="83"/>
                  </a:lnTo>
                  <a:lnTo>
                    <a:pt x="77" y="78"/>
                  </a:lnTo>
                  <a:lnTo>
                    <a:pt x="80" y="78"/>
                  </a:lnTo>
                  <a:lnTo>
                    <a:pt x="83" y="76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77" y="70"/>
                  </a:lnTo>
                  <a:lnTo>
                    <a:pt x="79" y="64"/>
                  </a:lnTo>
                  <a:lnTo>
                    <a:pt x="77" y="57"/>
                  </a:lnTo>
                  <a:lnTo>
                    <a:pt x="80" y="45"/>
                  </a:lnTo>
                  <a:lnTo>
                    <a:pt x="77" y="36"/>
                  </a:lnTo>
                  <a:lnTo>
                    <a:pt x="77" y="31"/>
                  </a:lnTo>
                  <a:lnTo>
                    <a:pt x="80" y="22"/>
                  </a:lnTo>
                  <a:lnTo>
                    <a:pt x="83" y="19"/>
                  </a:lnTo>
                  <a:lnTo>
                    <a:pt x="84" y="17"/>
                  </a:lnTo>
                  <a:lnTo>
                    <a:pt x="98" y="28"/>
                  </a:lnTo>
                  <a:lnTo>
                    <a:pt x="104" y="31"/>
                  </a:lnTo>
                  <a:lnTo>
                    <a:pt x="116" y="31"/>
                  </a:lnTo>
                  <a:lnTo>
                    <a:pt x="121" y="33"/>
                  </a:lnTo>
                  <a:lnTo>
                    <a:pt x="122" y="39"/>
                  </a:lnTo>
                  <a:lnTo>
                    <a:pt x="127" y="37"/>
                  </a:lnTo>
                  <a:lnTo>
                    <a:pt x="128" y="37"/>
                  </a:lnTo>
                  <a:lnTo>
                    <a:pt x="130" y="41"/>
                  </a:lnTo>
                  <a:lnTo>
                    <a:pt x="128" y="42"/>
                  </a:lnTo>
                  <a:lnTo>
                    <a:pt x="122" y="45"/>
                  </a:lnTo>
                  <a:lnTo>
                    <a:pt x="116" y="50"/>
                  </a:lnTo>
                  <a:lnTo>
                    <a:pt x="116" y="51"/>
                  </a:lnTo>
                  <a:lnTo>
                    <a:pt x="122" y="51"/>
                  </a:lnTo>
                  <a:lnTo>
                    <a:pt x="124" y="48"/>
                  </a:lnTo>
                  <a:lnTo>
                    <a:pt x="130" y="45"/>
                  </a:lnTo>
                  <a:lnTo>
                    <a:pt x="132" y="45"/>
                  </a:lnTo>
                  <a:lnTo>
                    <a:pt x="132" y="48"/>
                  </a:lnTo>
                  <a:lnTo>
                    <a:pt x="128" y="51"/>
                  </a:lnTo>
                  <a:lnTo>
                    <a:pt x="127" y="57"/>
                  </a:lnTo>
                  <a:lnTo>
                    <a:pt x="124" y="62"/>
                  </a:lnTo>
                  <a:lnTo>
                    <a:pt x="124" y="64"/>
                  </a:lnTo>
                  <a:lnTo>
                    <a:pt x="122" y="61"/>
                  </a:lnTo>
                  <a:lnTo>
                    <a:pt x="119" y="62"/>
                  </a:lnTo>
                  <a:lnTo>
                    <a:pt x="119" y="61"/>
                  </a:lnTo>
                  <a:lnTo>
                    <a:pt x="113" y="67"/>
                  </a:lnTo>
                  <a:lnTo>
                    <a:pt x="115" y="68"/>
                  </a:lnTo>
                  <a:lnTo>
                    <a:pt x="121" y="70"/>
                  </a:lnTo>
                  <a:lnTo>
                    <a:pt x="127" y="67"/>
                  </a:lnTo>
                  <a:lnTo>
                    <a:pt x="128" y="62"/>
                  </a:lnTo>
                  <a:lnTo>
                    <a:pt x="130" y="59"/>
                  </a:lnTo>
                  <a:lnTo>
                    <a:pt x="132" y="53"/>
                  </a:lnTo>
                  <a:lnTo>
                    <a:pt x="134" y="51"/>
                  </a:lnTo>
                  <a:lnTo>
                    <a:pt x="136" y="46"/>
                  </a:lnTo>
                  <a:lnTo>
                    <a:pt x="139" y="42"/>
                  </a:lnTo>
                  <a:lnTo>
                    <a:pt x="145" y="39"/>
                  </a:lnTo>
                  <a:lnTo>
                    <a:pt x="144" y="36"/>
                  </a:lnTo>
                  <a:lnTo>
                    <a:pt x="141" y="31"/>
                  </a:lnTo>
                  <a:lnTo>
                    <a:pt x="139" y="31"/>
                  </a:lnTo>
                  <a:lnTo>
                    <a:pt x="144" y="28"/>
                  </a:lnTo>
                  <a:lnTo>
                    <a:pt x="145" y="25"/>
                  </a:lnTo>
                  <a:lnTo>
                    <a:pt x="141" y="22"/>
                  </a:lnTo>
                  <a:lnTo>
                    <a:pt x="139" y="19"/>
                  </a:lnTo>
                  <a:lnTo>
                    <a:pt x="145" y="14"/>
                  </a:lnTo>
                  <a:lnTo>
                    <a:pt x="145" y="11"/>
                  </a:lnTo>
                  <a:lnTo>
                    <a:pt x="139" y="8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close/>
                  <a:moveTo>
                    <a:pt x="1445" y="346"/>
                  </a:moveTo>
                  <a:lnTo>
                    <a:pt x="1445" y="347"/>
                  </a:lnTo>
                  <a:lnTo>
                    <a:pt x="1450" y="347"/>
                  </a:lnTo>
                  <a:lnTo>
                    <a:pt x="1451" y="346"/>
                  </a:lnTo>
                  <a:lnTo>
                    <a:pt x="1455" y="346"/>
                  </a:lnTo>
                  <a:lnTo>
                    <a:pt x="1453" y="344"/>
                  </a:lnTo>
                  <a:lnTo>
                    <a:pt x="1447" y="344"/>
                  </a:lnTo>
                  <a:lnTo>
                    <a:pt x="1447" y="344"/>
                  </a:lnTo>
                  <a:lnTo>
                    <a:pt x="1445" y="346"/>
                  </a:lnTo>
                  <a:lnTo>
                    <a:pt x="1445" y="346"/>
                  </a:lnTo>
                  <a:lnTo>
                    <a:pt x="1445" y="346"/>
                  </a:lnTo>
                  <a:lnTo>
                    <a:pt x="1445" y="346"/>
                  </a:lnTo>
                  <a:close/>
                  <a:moveTo>
                    <a:pt x="1360" y="366"/>
                  </a:moveTo>
                  <a:lnTo>
                    <a:pt x="1358" y="368"/>
                  </a:lnTo>
                  <a:lnTo>
                    <a:pt x="1361" y="366"/>
                  </a:lnTo>
                  <a:lnTo>
                    <a:pt x="1364" y="366"/>
                  </a:lnTo>
                  <a:lnTo>
                    <a:pt x="1369" y="363"/>
                  </a:lnTo>
                  <a:lnTo>
                    <a:pt x="1375" y="363"/>
                  </a:lnTo>
                  <a:lnTo>
                    <a:pt x="1384" y="363"/>
                  </a:lnTo>
                  <a:lnTo>
                    <a:pt x="1388" y="360"/>
                  </a:lnTo>
                  <a:lnTo>
                    <a:pt x="1398" y="360"/>
                  </a:lnTo>
                  <a:lnTo>
                    <a:pt x="1399" y="360"/>
                  </a:lnTo>
                  <a:lnTo>
                    <a:pt x="1401" y="360"/>
                  </a:lnTo>
                  <a:lnTo>
                    <a:pt x="1409" y="358"/>
                  </a:lnTo>
                  <a:lnTo>
                    <a:pt x="1410" y="355"/>
                  </a:lnTo>
                  <a:lnTo>
                    <a:pt x="1407" y="357"/>
                  </a:lnTo>
                  <a:lnTo>
                    <a:pt x="1404" y="355"/>
                  </a:lnTo>
                  <a:lnTo>
                    <a:pt x="1398" y="358"/>
                  </a:lnTo>
                  <a:lnTo>
                    <a:pt x="1401" y="355"/>
                  </a:lnTo>
                  <a:lnTo>
                    <a:pt x="1404" y="353"/>
                  </a:lnTo>
                  <a:lnTo>
                    <a:pt x="1404" y="351"/>
                  </a:lnTo>
                  <a:lnTo>
                    <a:pt x="1394" y="355"/>
                  </a:lnTo>
                  <a:lnTo>
                    <a:pt x="1386" y="355"/>
                  </a:lnTo>
                  <a:lnTo>
                    <a:pt x="1379" y="358"/>
                  </a:lnTo>
                  <a:lnTo>
                    <a:pt x="1373" y="357"/>
                  </a:lnTo>
                  <a:lnTo>
                    <a:pt x="1365" y="358"/>
                  </a:lnTo>
                  <a:lnTo>
                    <a:pt x="1360" y="360"/>
                  </a:lnTo>
                  <a:lnTo>
                    <a:pt x="1355" y="363"/>
                  </a:lnTo>
                  <a:lnTo>
                    <a:pt x="1355" y="366"/>
                  </a:lnTo>
                  <a:lnTo>
                    <a:pt x="1360" y="366"/>
                  </a:lnTo>
                  <a:lnTo>
                    <a:pt x="1360" y="366"/>
                  </a:lnTo>
                  <a:lnTo>
                    <a:pt x="1360" y="366"/>
                  </a:lnTo>
                  <a:lnTo>
                    <a:pt x="1360" y="366"/>
                  </a:lnTo>
                  <a:close/>
                  <a:moveTo>
                    <a:pt x="138" y="24"/>
                  </a:moveTo>
                  <a:lnTo>
                    <a:pt x="132" y="28"/>
                  </a:lnTo>
                  <a:lnTo>
                    <a:pt x="132" y="36"/>
                  </a:lnTo>
                  <a:lnTo>
                    <a:pt x="136" y="42"/>
                  </a:lnTo>
                  <a:lnTo>
                    <a:pt x="138" y="41"/>
                  </a:lnTo>
                  <a:lnTo>
                    <a:pt x="136" y="31"/>
                  </a:lnTo>
                  <a:lnTo>
                    <a:pt x="136" y="28"/>
                  </a:lnTo>
                  <a:lnTo>
                    <a:pt x="139" y="25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8" y="24"/>
                  </a:lnTo>
                  <a:close/>
                  <a:moveTo>
                    <a:pt x="666" y="735"/>
                  </a:moveTo>
                  <a:lnTo>
                    <a:pt x="668" y="733"/>
                  </a:lnTo>
                  <a:lnTo>
                    <a:pt x="674" y="727"/>
                  </a:lnTo>
                  <a:lnTo>
                    <a:pt x="678" y="722"/>
                  </a:lnTo>
                  <a:lnTo>
                    <a:pt x="672" y="727"/>
                  </a:lnTo>
                  <a:lnTo>
                    <a:pt x="666" y="735"/>
                  </a:lnTo>
                  <a:lnTo>
                    <a:pt x="666" y="735"/>
                  </a:lnTo>
                  <a:lnTo>
                    <a:pt x="666" y="735"/>
                  </a:lnTo>
                  <a:lnTo>
                    <a:pt x="666" y="735"/>
                  </a:lnTo>
                  <a:close/>
                  <a:moveTo>
                    <a:pt x="658" y="746"/>
                  </a:moveTo>
                  <a:lnTo>
                    <a:pt x="660" y="746"/>
                  </a:lnTo>
                  <a:lnTo>
                    <a:pt x="664" y="741"/>
                  </a:lnTo>
                  <a:lnTo>
                    <a:pt x="664" y="738"/>
                  </a:lnTo>
                  <a:lnTo>
                    <a:pt x="658" y="746"/>
                  </a:lnTo>
                  <a:lnTo>
                    <a:pt x="658" y="746"/>
                  </a:lnTo>
                  <a:lnTo>
                    <a:pt x="658" y="746"/>
                  </a:lnTo>
                  <a:lnTo>
                    <a:pt x="658" y="746"/>
                  </a:lnTo>
                  <a:close/>
                  <a:moveTo>
                    <a:pt x="657" y="780"/>
                  </a:moveTo>
                  <a:lnTo>
                    <a:pt x="654" y="772"/>
                  </a:lnTo>
                  <a:lnTo>
                    <a:pt x="654" y="761"/>
                  </a:lnTo>
                  <a:lnTo>
                    <a:pt x="658" y="750"/>
                  </a:lnTo>
                  <a:lnTo>
                    <a:pt x="652" y="761"/>
                  </a:lnTo>
                  <a:lnTo>
                    <a:pt x="652" y="772"/>
                  </a:lnTo>
                  <a:lnTo>
                    <a:pt x="652" y="772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57" y="7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6" name="Freeform 79"/>
            <p:cNvSpPr>
              <a:spLocks/>
            </p:cNvSpPr>
            <p:nvPr/>
          </p:nvSpPr>
          <p:spPr bwMode="auto">
            <a:xfrm>
              <a:off x="1055688" y="3709988"/>
              <a:ext cx="822325" cy="573088"/>
            </a:xfrm>
            <a:custGeom>
              <a:avLst/>
              <a:gdLst>
                <a:gd name="T0" fmla="*/ 17 w 518"/>
                <a:gd name="T1" fmla="*/ 48 h 361"/>
                <a:gd name="T2" fmla="*/ 25 w 518"/>
                <a:gd name="T3" fmla="*/ 72 h 361"/>
                <a:gd name="T4" fmla="*/ 48 w 518"/>
                <a:gd name="T5" fmla="*/ 105 h 361"/>
                <a:gd name="T6" fmla="*/ 60 w 518"/>
                <a:gd name="T7" fmla="*/ 135 h 361"/>
                <a:gd name="T8" fmla="*/ 60 w 518"/>
                <a:gd name="T9" fmla="*/ 148 h 361"/>
                <a:gd name="T10" fmla="*/ 40 w 518"/>
                <a:gd name="T11" fmla="*/ 155 h 361"/>
                <a:gd name="T12" fmla="*/ 63 w 518"/>
                <a:gd name="T13" fmla="*/ 172 h 361"/>
                <a:gd name="T14" fmla="*/ 83 w 518"/>
                <a:gd name="T15" fmla="*/ 172 h 361"/>
                <a:gd name="T16" fmla="*/ 104 w 518"/>
                <a:gd name="T17" fmla="*/ 207 h 361"/>
                <a:gd name="T18" fmla="*/ 109 w 518"/>
                <a:gd name="T19" fmla="*/ 242 h 361"/>
                <a:gd name="T20" fmla="*/ 144 w 518"/>
                <a:gd name="T21" fmla="*/ 268 h 361"/>
                <a:gd name="T22" fmla="*/ 166 w 518"/>
                <a:gd name="T23" fmla="*/ 287 h 361"/>
                <a:gd name="T24" fmla="*/ 158 w 518"/>
                <a:gd name="T25" fmla="*/ 259 h 361"/>
                <a:gd name="T26" fmla="*/ 143 w 518"/>
                <a:gd name="T27" fmla="*/ 249 h 361"/>
                <a:gd name="T28" fmla="*/ 138 w 518"/>
                <a:gd name="T29" fmla="*/ 220 h 361"/>
                <a:gd name="T30" fmla="*/ 129 w 518"/>
                <a:gd name="T31" fmla="*/ 194 h 361"/>
                <a:gd name="T32" fmla="*/ 120 w 518"/>
                <a:gd name="T33" fmla="*/ 184 h 361"/>
                <a:gd name="T34" fmla="*/ 104 w 518"/>
                <a:gd name="T35" fmla="*/ 151 h 361"/>
                <a:gd name="T36" fmla="*/ 88 w 518"/>
                <a:gd name="T37" fmla="*/ 126 h 361"/>
                <a:gd name="T38" fmla="*/ 69 w 518"/>
                <a:gd name="T39" fmla="*/ 97 h 361"/>
                <a:gd name="T40" fmla="*/ 59 w 518"/>
                <a:gd name="T41" fmla="*/ 57 h 361"/>
                <a:gd name="T42" fmla="*/ 71 w 518"/>
                <a:gd name="T43" fmla="*/ 31 h 361"/>
                <a:gd name="T44" fmla="*/ 97 w 518"/>
                <a:gd name="T45" fmla="*/ 47 h 361"/>
                <a:gd name="T46" fmla="*/ 106 w 518"/>
                <a:gd name="T47" fmla="*/ 78 h 361"/>
                <a:gd name="T48" fmla="*/ 114 w 518"/>
                <a:gd name="T49" fmla="*/ 108 h 361"/>
                <a:gd name="T50" fmla="*/ 129 w 518"/>
                <a:gd name="T51" fmla="*/ 129 h 361"/>
                <a:gd name="T52" fmla="*/ 149 w 518"/>
                <a:gd name="T53" fmla="*/ 148 h 361"/>
                <a:gd name="T54" fmla="*/ 167 w 518"/>
                <a:gd name="T55" fmla="*/ 170 h 361"/>
                <a:gd name="T56" fmla="*/ 187 w 518"/>
                <a:gd name="T57" fmla="*/ 190 h 361"/>
                <a:gd name="T58" fmla="*/ 187 w 518"/>
                <a:gd name="T59" fmla="*/ 196 h 361"/>
                <a:gd name="T60" fmla="*/ 201 w 518"/>
                <a:gd name="T61" fmla="*/ 225 h 361"/>
                <a:gd name="T62" fmla="*/ 213 w 518"/>
                <a:gd name="T63" fmla="*/ 242 h 361"/>
                <a:gd name="T64" fmla="*/ 244 w 518"/>
                <a:gd name="T65" fmla="*/ 268 h 361"/>
                <a:gd name="T66" fmla="*/ 270 w 518"/>
                <a:gd name="T67" fmla="*/ 316 h 361"/>
                <a:gd name="T68" fmla="*/ 273 w 518"/>
                <a:gd name="T69" fmla="*/ 355 h 361"/>
                <a:gd name="T70" fmla="*/ 500 w 518"/>
                <a:gd name="T71" fmla="*/ 357 h 361"/>
                <a:gd name="T72" fmla="*/ 491 w 518"/>
                <a:gd name="T73" fmla="*/ 322 h 361"/>
                <a:gd name="T74" fmla="*/ 491 w 518"/>
                <a:gd name="T75" fmla="*/ 305 h 361"/>
                <a:gd name="T76" fmla="*/ 499 w 518"/>
                <a:gd name="T77" fmla="*/ 259 h 361"/>
                <a:gd name="T78" fmla="*/ 503 w 518"/>
                <a:gd name="T79" fmla="*/ 233 h 361"/>
                <a:gd name="T80" fmla="*/ 514 w 518"/>
                <a:gd name="T81" fmla="*/ 224 h 361"/>
                <a:gd name="T82" fmla="*/ 509 w 518"/>
                <a:gd name="T83" fmla="*/ 220 h 361"/>
                <a:gd name="T84" fmla="*/ 481 w 518"/>
                <a:gd name="T85" fmla="*/ 202 h 361"/>
                <a:gd name="T86" fmla="*/ 463 w 518"/>
                <a:gd name="T87" fmla="*/ 176 h 361"/>
                <a:gd name="T88" fmla="*/ 451 w 518"/>
                <a:gd name="T89" fmla="*/ 150 h 361"/>
                <a:gd name="T90" fmla="*/ 438 w 518"/>
                <a:gd name="T91" fmla="*/ 122 h 361"/>
                <a:gd name="T92" fmla="*/ 415 w 518"/>
                <a:gd name="T93" fmla="*/ 100 h 361"/>
                <a:gd name="T94" fmla="*/ 394 w 518"/>
                <a:gd name="T95" fmla="*/ 100 h 361"/>
                <a:gd name="T96" fmla="*/ 379 w 518"/>
                <a:gd name="T97" fmla="*/ 117 h 361"/>
                <a:gd name="T98" fmla="*/ 357 w 518"/>
                <a:gd name="T99" fmla="*/ 117 h 361"/>
                <a:gd name="T100" fmla="*/ 340 w 518"/>
                <a:gd name="T101" fmla="*/ 108 h 361"/>
                <a:gd name="T102" fmla="*/ 328 w 518"/>
                <a:gd name="T103" fmla="*/ 94 h 361"/>
                <a:gd name="T104" fmla="*/ 323 w 518"/>
                <a:gd name="T105" fmla="*/ 78 h 361"/>
                <a:gd name="T106" fmla="*/ 310 w 518"/>
                <a:gd name="T107" fmla="*/ 61 h 361"/>
                <a:gd name="T108" fmla="*/ 299 w 518"/>
                <a:gd name="T109" fmla="*/ 48 h 361"/>
                <a:gd name="T110" fmla="*/ 66 w 518"/>
                <a:gd name="T111" fmla="*/ 4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8" h="361">
                  <a:moveTo>
                    <a:pt x="8" y="24"/>
                  </a:moveTo>
                  <a:lnTo>
                    <a:pt x="11" y="27"/>
                  </a:lnTo>
                  <a:lnTo>
                    <a:pt x="8" y="30"/>
                  </a:lnTo>
                  <a:lnTo>
                    <a:pt x="8" y="33"/>
                  </a:lnTo>
                  <a:lnTo>
                    <a:pt x="9" y="39"/>
                  </a:lnTo>
                  <a:lnTo>
                    <a:pt x="17" y="47"/>
                  </a:lnTo>
                  <a:lnTo>
                    <a:pt x="17" y="48"/>
                  </a:lnTo>
                  <a:lnTo>
                    <a:pt x="15" y="50"/>
                  </a:lnTo>
                  <a:lnTo>
                    <a:pt x="15" y="53"/>
                  </a:lnTo>
                  <a:lnTo>
                    <a:pt x="20" y="57"/>
                  </a:lnTo>
                  <a:lnTo>
                    <a:pt x="23" y="63"/>
                  </a:lnTo>
                  <a:lnTo>
                    <a:pt x="20" y="65"/>
                  </a:lnTo>
                  <a:lnTo>
                    <a:pt x="20" y="70"/>
                  </a:lnTo>
                  <a:lnTo>
                    <a:pt x="25" y="72"/>
                  </a:lnTo>
                  <a:lnTo>
                    <a:pt x="25" y="75"/>
                  </a:lnTo>
                  <a:lnTo>
                    <a:pt x="25" y="83"/>
                  </a:lnTo>
                  <a:lnTo>
                    <a:pt x="29" y="91"/>
                  </a:lnTo>
                  <a:lnTo>
                    <a:pt x="32" y="94"/>
                  </a:lnTo>
                  <a:lnTo>
                    <a:pt x="37" y="94"/>
                  </a:lnTo>
                  <a:lnTo>
                    <a:pt x="44" y="100"/>
                  </a:lnTo>
                  <a:lnTo>
                    <a:pt x="48" y="105"/>
                  </a:lnTo>
                  <a:lnTo>
                    <a:pt x="49" y="109"/>
                  </a:lnTo>
                  <a:lnTo>
                    <a:pt x="55" y="114"/>
                  </a:lnTo>
                  <a:lnTo>
                    <a:pt x="59" y="122"/>
                  </a:lnTo>
                  <a:lnTo>
                    <a:pt x="60" y="124"/>
                  </a:lnTo>
                  <a:lnTo>
                    <a:pt x="65" y="129"/>
                  </a:lnTo>
                  <a:lnTo>
                    <a:pt x="60" y="133"/>
                  </a:lnTo>
                  <a:lnTo>
                    <a:pt x="60" y="135"/>
                  </a:lnTo>
                  <a:lnTo>
                    <a:pt x="63" y="139"/>
                  </a:lnTo>
                  <a:lnTo>
                    <a:pt x="63" y="142"/>
                  </a:lnTo>
                  <a:lnTo>
                    <a:pt x="59" y="140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8"/>
                  </a:lnTo>
                  <a:lnTo>
                    <a:pt x="59" y="151"/>
                  </a:lnTo>
                  <a:lnTo>
                    <a:pt x="55" y="148"/>
                  </a:lnTo>
                  <a:lnTo>
                    <a:pt x="48" y="148"/>
                  </a:lnTo>
                  <a:lnTo>
                    <a:pt x="44" y="145"/>
                  </a:lnTo>
                  <a:lnTo>
                    <a:pt x="37" y="145"/>
                  </a:lnTo>
                  <a:lnTo>
                    <a:pt x="34" y="148"/>
                  </a:lnTo>
                  <a:lnTo>
                    <a:pt x="40" y="155"/>
                  </a:lnTo>
                  <a:lnTo>
                    <a:pt x="45" y="157"/>
                  </a:lnTo>
                  <a:lnTo>
                    <a:pt x="45" y="161"/>
                  </a:lnTo>
                  <a:lnTo>
                    <a:pt x="49" y="167"/>
                  </a:lnTo>
                  <a:lnTo>
                    <a:pt x="54" y="167"/>
                  </a:lnTo>
                  <a:lnTo>
                    <a:pt x="60" y="170"/>
                  </a:lnTo>
                  <a:lnTo>
                    <a:pt x="60" y="172"/>
                  </a:lnTo>
                  <a:lnTo>
                    <a:pt x="63" y="172"/>
                  </a:lnTo>
                  <a:lnTo>
                    <a:pt x="66" y="173"/>
                  </a:lnTo>
                  <a:lnTo>
                    <a:pt x="66" y="176"/>
                  </a:lnTo>
                  <a:lnTo>
                    <a:pt x="69" y="179"/>
                  </a:lnTo>
                  <a:lnTo>
                    <a:pt x="72" y="178"/>
                  </a:lnTo>
                  <a:lnTo>
                    <a:pt x="77" y="178"/>
                  </a:lnTo>
                  <a:lnTo>
                    <a:pt x="80" y="172"/>
                  </a:lnTo>
                  <a:lnTo>
                    <a:pt x="83" y="172"/>
                  </a:lnTo>
                  <a:lnTo>
                    <a:pt x="80" y="176"/>
                  </a:lnTo>
                  <a:lnTo>
                    <a:pt x="83" y="185"/>
                  </a:lnTo>
                  <a:lnTo>
                    <a:pt x="92" y="193"/>
                  </a:lnTo>
                  <a:lnTo>
                    <a:pt x="95" y="194"/>
                  </a:lnTo>
                  <a:lnTo>
                    <a:pt x="99" y="194"/>
                  </a:lnTo>
                  <a:lnTo>
                    <a:pt x="100" y="198"/>
                  </a:lnTo>
                  <a:lnTo>
                    <a:pt x="104" y="207"/>
                  </a:lnTo>
                  <a:lnTo>
                    <a:pt x="106" y="217"/>
                  </a:lnTo>
                  <a:lnTo>
                    <a:pt x="104" y="224"/>
                  </a:lnTo>
                  <a:lnTo>
                    <a:pt x="99" y="231"/>
                  </a:lnTo>
                  <a:lnTo>
                    <a:pt x="100" y="234"/>
                  </a:lnTo>
                  <a:lnTo>
                    <a:pt x="104" y="238"/>
                  </a:lnTo>
                  <a:lnTo>
                    <a:pt x="109" y="238"/>
                  </a:lnTo>
                  <a:lnTo>
                    <a:pt x="109" y="242"/>
                  </a:lnTo>
                  <a:lnTo>
                    <a:pt x="114" y="242"/>
                  </a:lnTo>
                  <a:lnTo>
                    <a:pt x="118" y="248"/>
                  </a:lnTo>
                  <a:lnTo>
                    <a:pt x="129" y="259"/>
                  </a:lnTo>
                  <a:lnTo>
                    <a:pt x="133" y="260"/>
                  </a:lnTo>
                  <a:lnTo>
                    <a:pt x="135" y="263"/>
                  </a:lnTo>
                  <a:lnTo>
                    <a:pt x="139" y="268"/>
                  </a:lnTo>
                  <a:lnTo>
                    <a:pt x="144" y="268"/>
                  </a:lnTo>
                  <a:lnTo>
                    <a:pt x="149" y="272"/>
                  </a:lnTo>
                  <a:lnTo>
                    <a:pt x="149" y="277"/>
                  </a:lnTo>
                  <a:lnTo>
                    <a:pt x="152" y="282"/>
                  </a:lnTo>
                  <a:lnTo>
                    <a:pt x="152" y="285"/>
                  </a:lnTo>
                  <a:lnTo>
                    <a:pt x="155" y="288"/>
                  </a:lnTo>
                  <a:lnTo>
                    <a:pt x="158" y="290"/>
                  </a:lnTo>
                  <a:lnTo>
                    <a:pt x="166" y="287"/>
                  </a:lnTo>
                  <a:lnTo>
                    <a:pt x="172" y="279"/>
                  </a:lnTo>
                  <a:lnTo>
                    <a:pt x="172" y="274"/>
                  </a:lnTo>
                  <a:lnTo>
                    <a:pt x="167" y="272"/>
                  </a:lnTo>
                  <a:lnTo>
                    <a:pt x="167" y="268"/>
                  </a:lnTo>
                  <a:lnTo>
                    <a:pt x="164" y="265"/>
                  </a:lnTo>
                  <a:lnTo>
                    <a:pt x="161" y="260"/>
                  </a:lnTo>
                  <a:lnTo>
                    <a:pt x="158" y="259"/>
                  </a:lnTo>
                  <a:lnTo>
                    <a:pt x="155" y="255"/>
                  </a:lnTo>
                  <a:lnTo>
                    <a:pt x="155" y="251"/>
                  </a:lnTo>
                  <a:lnTo>
                    <a:pt x="150" y="251"/>
                  </a:lnTo>
                  <a:lnTo>
                    <a:pt x="150" y="255"/>
                  </a:lnTo>
                  <a:lnTo>
                    <a:pt x="146" y="257"/>
                  </a:lnTo>
                  <a:lnTo>
                    <a:pt x="146" y="254"/>
                  </a:lnTo>
                  <a:lnTo>
                    <a:pt x="143" y="249"/>
                  </a:lnTo>
                  <a:lnTo>
                    <a:pt x="138" y="246"/>
                  </a:lnTo>
                  <a:lnTo>
                    <a:pt x="138" y="242"/>
                  </a:lnTo>
                  <a:lnTo>
                    <a:pt x="139" y="237"/>
                  </a:lnTo>
                  <a:lnTo>
                    <a:pt x="139" y="233"/>
                  </a:lnTo>
                  <a:lnTo>
                    <a:pt x="135" y="228"/>
                  </a:lnTo>
                  <a:lnTo>
                    <a:pt x="138" y="224"/>
                  </a:lnTo>
                  <a:lnTo>
                    <a:pt x="138" y="220"/>
                  </a:lnTo>
                  <a:lnTo>
                    <a:pt x="133" y="218"/>
                  </a:lnTo>
                  <a:lnTo>
                    <a:pt x="133" y="215"/>
                  </a:lnTo>
                  <a:lnTo>
                    <a:pt x="132" y="211"/>
                  </a:lnTo>
                  <a:lnTo>
                    <a:pt x="132" y="207"/>
                  </a:lnTo>
                  <a:lnTo>
                    <a:pt x="129" y="206"/>
                  </a:lnTo>
                  <a:lnTo>
                    <a:pt x="129" y="198"/>
                  </a:lnTo>
                  <a:lnTo>
                    <a:pt x="129" y="194"/>
                  </a:lnTo>
                  <a:lnTo>
                    <a:pt x="127" y="185"/>
                  </a:lnTo>
                  <a:lnTo>
                    <a:pt x="126" y="181"/>
                  </a:lnTo>
                  <a:lnTo>
                    <a:pt x="124" y="178"/>
                  </a:lnTo>
                  <a:lnTo>
                    <a:pt x="121" y="178"/>
                  </a:lnTo>
                  <a:lnTo>
                    <a:pt x="121" y="179"/>
                  </a:lnTo>
                  <a:lnTo>
                    <a:pt x="121" y="181"/>
                  </a:lnTo>
                  <a:lnTo>
                    <a:pt x="120" y="184"/>
                  </a:lnTo>
                  <a:lnTo>
                    <a:pt x="114" y="178"/>
                  </a:lnTo>
                  <a:lnTo>
                    <a:pt x="114" y="173"/>
                  </a:lnTo>
                  <a:lnTo>
                    <a:pt x="115" y="170"/>
                  </a:lnTo>
                  <a:lnTo>
                    <a:pt x="114" y="168"/>
                  </a:lnTo>
                  <a:lnTo>
                    <a:pt x="112" y="168"/>
                  </a:lnTo>
                  <a:lnTo>
                    <a:pt x="110" y="157"/>
                  </a:lnTo>
                  <a:lnTo>
                    <a:pt x="104" y="151"/>
                  </a:lnTo>
                  <a:lnTo>
                    <a:pt x="103" y="150"/>
                  </a:lnTo>
                  <a:lnTo>
                    <a:pt x="97" y="145"/>
                  </a:lnTo>
                  <a:lnTo>
                    <a:pt x="97" y="140"/>
                  </a:lnTo>
                  <a:lnTo>
                    <a:pt x="99" y="135"/>
                  </a:lnTo>
                  <a:lnTo>
                    <a:pt x="93" y="129"/>
                  </a:lnTo>
                  <a:lnTo>
                    <a:pt x="89" y="128"/>
                  </a:lnTo>
                  <a:lnTo>
                    <a:pt x="88" y="126"/>
                  </a:lnTo>
                  <a:lnTo>
                    <a:pt x="88" y="120"/>
                  </a:lnTo>
                  <a:lnTo>
                    <a:pt x="84" y="119"/>
                  </a:lnTo>
                  <a:lnTo>
                    <a:pt x="80" y="117"/>
                  </a:lnTo>
                  <a:lnTo>
                    <a:pt x="78" y="111"/>
                  </a:lnTo>
                  <a:lnTo>
                    <a:pt x="78" y="108"/>
                  </a:lnTo>
                  <a:lnTo>
                    <a:pt x="77" y="102"/>
                  </a:lnTo>
                  <a:lnTo>
                    <a:pt x="69" y="97"/>
                  </a:lnTo>
                  <a:lnTo>
                    <a:pt x="66" y="94"/>
                  </a:lnTo>
                  <a:lnTo>
                    <a:pt x="65" y="92"/>
                  </a:lnTo>
                  <a:lnTo>
                    <a:pt x="65" y="89"/>
                  </a:lnTo>
                  <a:lnTo>
                    <a:pt x="60" y="81"/>
                  </a:lnTo>
                  <a:lnTo>
                    <a:pt x="57" y="80"/>
                  </a:lnTo>
                  <a:lnTo>
                    <a:pt x="59" y="74"/>
                  </a:lnTo>
                  <a:lnTo>
                    <a:pt x="59" y="57"/>
                  </a:lnTo>
                  <a:lnTo>
                    <a:pt x="57" y="48"/>
                  </a:lnTo>
                  <a:lnTo>
                    <a:pt x="59" y="42"/>
                  </a:lnTo>
                  <a:lnTo>
                    <a:pt x="63" y="33"/>
                  </a:lnTo>
                  <a:lnTo>
                    <a:pt x="60" y="30"/>
                  </a:lnTo>
                  <a:lnTo>
                    <a:pt x="59" y="24"/>
                  </a:lnTo>
                  <a:lnTo>
                    <a:pt x="63" y="30"/>
                  </a:lnTo>
                  <a:lnTo>
                    <a:pt x="71" y="31"/>
                  </a:lnTo>
                  <a:lnTo>
                    <a:pt x="77" y="39"/>
                  </a:lnTo>
                  <a:lnTo>
                    <a:pt x="78" y="41"/>
                  </a:lnTo>
                  <a:lnTo>
                    <a:pt x="84" y="41"/>
                  </a:lnTo>
                  <a:lnTo>
                    <a:pt x="86" y="39"/>
                  </a:lnTo>
                  <a:lnTo>
                    <a:pt x="92" y="42"/>
                  </a:lnTo>
                  <a:lnTo>
                    <a:pt x="92" y="47"/>
                  </a:lnTo>
                  <a:lnTo>
                    <a:pt x="97" y="47"/>
                  </a:lnTo>
                  <a:lnTo>
                    <a:pt x="103" y="48"/>
                  </a:lnTo>
                  <a:lnTo>
                    <a:pt x="103" y="50"/>
                  </a:lnTo>
                  <a:lnTo>
                    <a:pt x="99" y="56"/>
                  </a:lnTo>
                  <a:lnTo>
                    <a:pt x="99" y="59"/>
                  </a:lnTo>
                  <a:lnTo>
                    <a:pt x="103" y="65"/>
                  </a:lnTo>
                  <a:lnTo>
                    <a:pt x="104" y="74"/>
                  </a:lnTo>
                  <a:lnTo>
                    <a:pt x="106" y="78"/>
                  </a:lnTo>
                  <a:lnTo>
                    <a:pt x="106" y="83"/>
                  </a:lnTo>
                  <a:lnTo>
                    <a:pt x="106" y="86"/>
                  </a:lnTo>
                  <a:lnTo>
                    <a:pt x="109" y="91"/>
                  </a:lnTo>
                  <a:lnTo>
                    <a:pt x="114" y="97"/>
                  </a:lnTo>
                  <a:lnTo>
                    <a:pt x="114" y="102"/>
                  </a:lnTo>
                  <a:lnTo>
                    <a:pt x="112" y="103"/>
                  </a:lnTo>
                  <a:lnTo>
                    <a:pt x="114" y="108"/>
                  </a:lnTo>
                  <a:lnTo>
                    <a:pt x="115" y="108"/>
                  </a:lnTo>
                  <a:lnTo>
                    <a:pt x="118" y="109"/>
                  </a:lnTo>
                  <a:lnTo>
                    <a:pt x="121" y="117"/>
                  </a:lnTo>
                  <a:lnTo>
                    <a:pt x="126" y="119"/>
                  </a:lnTo>
                  <a:lnTo>
                    <a:pt x="127" y="122"/>
                  </a:lnTo>
                  <a:lnTo>
                    <a:pt x="127" y="128"/>
                  </a:lnTo>
                  <a:lnTo>
                    <a:pt x="129" y="129"/>
                  </a:lnTo>
                  <a:lnTo>
                    <a:pt x="133" y="131"/>
                  </a:lnTo>
                  <a:lnTo>
                    <a:pt x="138" y="137"/>
                  </a:lnTo>
                  <a:lnTo>
                    <a:pt x="139" y="140"/>
                  </a:lnTo>
                  <a:lnTo>
                    <a:pt x="143" y="145"/>
                  </a:lnTo>
                  <a:lnTo>
                    <a:pt x="143" y="145"/>
                  </a:lnTo>
                  <a:lnTo>
                    <a:pt x="146" y="145"/>
                  </a:lnTo>
                  <a:lnTo>
                    <a:pt x="149" y="148"/>
                  </a:lnTo>
                  <a:lnTo>
                    <a:pt x="152" y="145"/>
                  </a:lnTo>
                  <a:lnTo>
                    <a:pt x="155" y="148"/>
                  </a:lnTo>
                  <a:lnTo>
                    <a:pt x="155" y="154"/>
                  </a:lnTo>
                  <a:lnTo>
                    <a:pt x="152" y="157"/>
                  </a:lnTo>
                  <a:lnTo>
                    <a:pt x="155" y="162"/>
                  </a:lnTo>
                  <a:lnTo>
                    <a:pt x="164" y="172"/>
                  </a:lnTo>
                  <a:lnTo>
                    <a:pt x="167" y="170"/>
                  </a:lnTo>
                  <a:lnTo>
                    <a:pt x="172" y="172"/>
                  </a:lnTo>
                  <a:lnTo>
                    <a:pt x="169" y="176"/>
                  </a:lnTo>
                  <a:lnTo>
                    <a:pt x="172" y="179"/>
                  </a:lnTo>
                  <a:lnTo>
                    <a:pt x="178" y="181"/>
                  </a:lnTo>
                  <a:lnTo>
                    <a:pt x="181" y="181"/>
                  </a:lnTo>
                  <a:lnTo>
                    <a:pt x="187" y="187"/>
                  </a:lnTo>
                  <a:lnTo>
                    <a:pt x="187" y="190"/>
                  </a:lnTo>
                  <a:lnTo>
                    <a:pt x="190" y="193"/>
                  </a:lnTo>
                  <a:lnTo>
                    <a:pt x="193" y="190"/>
                  </a:lnTo>
                  <a:lnTo>
                    <a:pt x="195" y="193"/>
                  </a:lnTo>
                  <a:lnTo>
                    <a:pt x="195" y="194"/>
                  </a:lnTo>
                  <a:lnTo>
                    <a:pt x="193" y="198"/>
                  </a:lnTo>
                  <a:lnTo>
                    <a:pt x="189" y="194"/>
                  </a:lnTo>
                  <a:lnTo>
                    <a:pt x="187" y="196"/>
                  </a:lnTo>
                  <a:lnTo>
                    <a:pt x="181" y="200"/>
                  </a:lnTo>
                  <a:lnTo>
                    <a:pt x="179" y="207"/>
                  </a:lnTo>
                  <a:lnTo>
                    <a:pt x="179" y="211"/>
                  </a:lnTo>
                  <a:lnTo>
                    <a:pt x="183" y="215"/>
                  </a:lnTo>
                  <a:lnTo>
                    <a:pt x="189" y="215"/>
                  </a:lnTo>
                  <a:lnTo>
                    <a:pt x="193" y="218"/>
                  </a:lnTo>
                  <a:lnTo>
                    <a:pt x="201" y="225"/>
                  </a:lnTo>
                  <a:lnTo>
                    <a:pt x="210" y="225"/>
                  </a:lnTo>
                  <a:lnTo>
                    <a:pt x="213" y="225"/>
                  </a:lnTo>
                  <a:lnTo>
                    <a:pt x="213" y="229"/>
                  </a:lnTo>
                  <a:lnTo>
                    <a:pt x="215" y="233"/>
                  </a:lnTo>
                  <a:lnTo>
                    <a:pt x="219" y="237"/>
                  </a:lnTo>
                  <a:lnTo>
                    <a:pt x="215" y="240"/>
                  </a:lnTo>
                  <a:lnTo>
                    <a:pt x="213" y="242"/>
                  </a:lnTo>
                  <a:lnTo>
                    <a:pt x="213" y="243"/>
                  </a:lnTo>
                  <a:lnTo>
                    <a:pt x="216" y="246"/>
                  </a:lnTo>
                  <a:lnTo>
                    <a:pt x="227" y="249"/>
                  </a:lnTo>
                  <a:lnTo>
                    <a:pt x="227" y="251"/>
                  </a:lnTo>
                  <a:lnTo>
                    <a:pt x="228" y="254"/>
                  </a:lnTo>
                  <a:lnTo>
                    <a:pt x="236" y="259"/>
                  </a:lnTo>
                  <a:lnTo>
                    <a:pt x="244" y="268"/>
                  </a:lnTo>
                  <a:lnTo>
                    <a:pt x="251" y="279"/>
                  </a:lnTo>
                  <a:lnTo>
                    <a:pt x="259" y="287"/>
                  </a:lnTo>
                  <a:lnTo>
                    <a:pt x="261" y="292"/>
                  </a:lnTo>
                  <a:lnTo>
                    <a:pt x="270" y="304"/>
                  </a:lnTo>
                  <a:lnTo>
                    <a:pt x="270" y="309"/>
                  </a:lnTo>
                  <a:lnTo>
                    <a:pt x="268" y="313"/>
                  </a:lnTo>
                  <a:lnTo>
                    <a:pt x="270" y="316"/>
                  </a:lnTo>
                  <a:lnTo>
                    <a:pt x="274" y="324"/>
                  </a:lnTo>
                  <a:lnTo>
                    <a:pt x="279" y="337"/>
                  </a:lnTo>
                  <a:lnTo>
                    <a:pt x="279" y="343"/>
                  </a:lnTo>
                  <a:lnTo>
                    <a:pt x="279" y="346"/>
                  </a:lnTo>
                  <a:lnTo>
                    <a:pt x="270" y="352"/>
                  </a:lnTo>
                  <a:lnTo>
                    <a:pt x="270" y="353"/>
                  </a:lnTo>
                  <a:lnTo>
                    <a:pt x="273" y="355"/>
                  </a:lnTo>
                  <a:lnTo>
                    <a:pt x="276" y="357"/>
                  </a:lnTo>
                  <a:lnTo>
                    <a:pt x="274" y="358"/>
                  </a:lnTo>
                  <a:lnTo>
                    <a:pt x="268" y="358"/>
                  </a:lnTo>
                  <a:lnTo>
                    <a:pt x="265" y="361"/>
                  </a:lnTo>
                  <a:lnTo>
                    <a:pt x="265" y="361"/>
                  </a:lnTo>
                  <a:lnTo>
                    <a:pt x="504" y="361"/>
                  </a:lnTo>
                  <a:lnTo>
                    <a:pt x="500" y="357"/>
                  </a:lnTo>
                  <a:lnTo>
                    <a:pt x="499" y="352"/>
                  </a:lnTo>
                  <a:lnTo>
                    <a:pt x="497" y="347"/>
                  </a:lnTo>
                  <a:lnTo>
                    <a:pt x="499" y="344"/>
                  </a:lnTo>
                  <a:lnTo>
                    <a:pt x="497" y="343"/>
                  </a:lnTo>
                  <a:lnTo>
                    <a:pt x="493" y="331"/>
                  </a:lnTo>
                  <a:lnTo>
                    <a:pt x="489" y="327"/>
                  </a:lnTo>
                  <a:lnTo>
                    <a:pt x="491" y="322"/>
                  </a:lnTo>
                  <a:lnTo>
                    <a:pt x="497" y="330"/>
                  </a:lnTo>
                  <a:lnTo>
                    <a:pt x="497" y="338"/>
                  </a:lnTo>
                  <a:lnTo>
                    <a:pt x="499" y="337"/>
                  </a:lnTo>
                  <a:lnTo>
                    <a:pt x="499" y="330"/>
                  </a:lnTo>
                  <a:lnTo>
                    <a:pt x="491" y="321"/>
                  </a:lnTo>
                  <a:lnTo>
                    <a:pt x="493" y="315"/>
                  </a:lnTo>
                  <a:lnTo>
                    <a:pt x="491" y="305"/>
                  </a:lnTo>
                  <a:lnTo>
                    <a:pt x="489" y="301"/>
                  </a:lnTo>
                  <a:lnTo>
                    <a:pt x="493" y="296"/>
                  </a:lnTo>
                  <a:lnTo>
                    <a:pt x="495" y="285"/>
                  </a:lnTo>
                  <a:lnTo>
                    <a:pt x="493" y="277"/>
                  </a:lnTo>
                  <a:lnTo>
                    <a:pt x="497" y="265"/>
                  </a:lnTo>
                  <a:lnTo>
                    <a:pt x="497" y="260"/>
                  </a:lnTo>
                  <a:lnTo>
                    <a:pt x="499" y="259"/>
                  </a:lnTo>
                  <a:lnTo>
                    <a:pt x="497" y="255"/>
                  </a:lnTo>
                  <a:lnTo>
                    <a:pt x="497" y="249"/>
                  </a:lnTo>
                  <a:lnTo>
                    <a:pt x="499" y="248"/>
                  </a:lnTo>
                  <a:lnTo>
                    <a:pt x="500" y="240"/>
                  </a:lnTo>
                  <a:lnTo>
                    <a:pt x="503" y="238"/>
                  </a:lnTo>
                  <a:lnTo>
                    <a:pt x="499" y="237"/>
                  </a:lnTo>
                  <a:lnTo>
                    <a:pt x="503" y="233"/>
                  </a:lnTo>
                  <a:lnTo>
                    <a:pt x="503" y="225"/>
                  </a:lnTo>
                  <a:lnTo>
                    <a:pt x="506" y="225"/>
                  </a:lnTo>
                  <a:lnTo>
                    <a:pt x="506" y="231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09" y="228"/>
                  </a:lnTo>
                  <a:lnTo>
                    <a:pt x="514" y="224"/>
                  </a:lnTo>
                  <a:lnTo>
                    <a:pt x="514" y="218"/>
                  </a:lnTo>
                  <a:lnTo>
                    <a:pt x="518" y="215"/>
                  </a:lnTo>
                  <a:lnTo>
                    <a:pt x="518" y="209"/>
                  </a:lnTo>
                  <a:lnTo>
                    <a:pt x="518" y="207"/>
                  </a:lnTo>
                  <a:lnTo>
                    <a:pt x="514" y="209"/>
                  </a:lnTo>
                  <a:lnTo>
                    <a:pt x="514" y="217"/>
                  </a:lnTo>
                  <a:lnTo>
                    <a:pt x="509" y="220"/>
                  </a:lnTo>
                  <a:lnTo>
                    <a:pt x="510" y="217"/>
                  </a:lnTo>
                  <a:lnTo>
                    <a:pt x="509" y="215"/>
                  </a:lnTo>
                  <a:lnTo>
                    <a:pt x="506" y="211"/>
                  </a:lnTo>
                  <a:lnTo>
                    <a:pt x="500" y="211"/>
                  </a:lnTo>
                  <a:lnTo>
                    <a:pt x="495" y="209"/>
                  </a:lnTo>
                  <a:lnTo>
                    <a:pt x="486" y="206"/>
                  </a:lnTo>
                  <a:lnTo>
                    <a:pt x="481" y="202"/>
                  </a:lnTo>
                  <a:lnTo>
                    <a:pt x="478" y="200"/>
                  </a:lnTo>
                  <a:lnTo>
                    <a:pt x="474" y="200"/>
                  </a:lnTo>
                  <a:lnTo>
                    <a:pt x="472" y="200"/>
                  </a:lnTo>
                  <a:lnTo>
                    <a:pt x="470" y="198"/>
                  </a:lnTo>
                  <a:lnTo>
                    <a:pt x="469" y="196"/>
                  </a:lnTo>
                  <a:lnTo>
                    <a:pt x="469" y="190"/>
                  </a:lnTo>
                  <a:lnTo>
                    <a:pt x="463" y="176"/>
                  </a:lnTo>
                  <a:lnTo>
                    <a:pt x="463" y="173"/>
                  </a:lnTo>
                  <a:lnTo>
                    <a:pt x="463" y="168"/>
                  </a:lnTo>
                  <a:lnTo>
                    <a:pt x="464" y="164"/>
                  </a:lnTo>
                  <a:lnTo>
                    <a:pt x="458" y="159"/>
                  </a:lnTo>
                  <a:lnTo>
                    <a:pt x="457" y="155"/>
                  </a:lnTo>
                  <a:lnTo>
                    <a:pt x="455" y="151"/>
                  </a:lnTo>
                  <a:lnTo>
                    <a:pt x="451" y="150"/>
                  </a:lnTo>
                  <a:lnTo>
                    <a:pt x="449" y="145"/>
                  </a:lnTo>
                  <a:lnTo>
                    <a:pt x="447" y="145"/>
                  </a:lnTo>
                  <a:lnTo>
                    <a:pt x="444" y="135"/>
                  </a:lnTo>
                  <a:lnTo>
                    <a:pt x="441" y="133"/>
                  </a:lnTo>
                  <a:lnTo>
                    <a:pt x="440" y="131"/>
                  </a:lnTo>
                  <a:lnTo>
                    <a:pt x="440" y="126"/>
                  </a:lnTo>
                  <a:lnTo>
                    <a:pt x="438" y="122"/>
                  </a:lnTo>
                  <a:lnTo>
                    <a:pt x="438" y="120"/>
                  </a:lnTo>
                  <a:lnTo>
                    <a:pt x="434" y="114"/>
                  </a:lnTo>
                  <a:lnTo>
                    <a:pt x="431" y="109"/>
                  </a:lnTo>
                  <a:lnTo>
                    <a:pt x="425" y="105"/>
                  </a:lnTo>
                  <a:lnTo>
                    <a:pt x="423" y="102"/>
                  </a:lnTo>
                  <a:lnTo>
                    <a:pt x="419" y="100"/>
                  </a:lnTo>
                  <a:lnTo>
                    <a:pt x="415" y="100"/>
                  </a:lnTo>
                  <a:lnTo>
                    <a:pt x="415" y="97"/>
                  </a:lnTo>
                  <a:lnTo>
                    <a:pt x="411" y="97"/>
                  </a:lnTo>
                  <a:lnTo>
                    <a:pt x="408" y="97"/>
                  </a:lnTo>
                  <a:lnTo>
                    <a:pt x="402" y="97"/>
                  </a:lnTo>
                  <a:lnTo>
                    <a:pt x="398" y="97"/>
                  </a:lnTo>
                  <a:lnTo>
                    <a:pt x="396" y="100"/>
                  </a:lnTo>
                  <a:lnTo>
                    <a:pt x="394" y="100"/>
                  </a:lnTo>
                  <a:lnTo>
                    <a:pt x="392" y="100"/>
                  </a:lnTo>
                  <a:lnTo>
                    <a:pt x="390" y="100"/>
                  </a:lnTo>
                  <a:lnTo>
                    <a:pt x="389" y="100"/>
                  </a:lnTo>
                  <a:lnTo>
                    <a:pt x="385" y="103"/>
                  </a:lnTo>
                  <a:lnTo>
                    <a:pt x="380" y="109"/>
                  </a:lnTo>
                  <a:lnTo>
                    <a:pt x="379" y="113"/>
                  </a:lnTo>
                  <a:lnTo>
                    <a:pt x="379" y="117"/>
                  </a:lnTo>
                  <a:lnTo>
                    <a:pt x="375" y="117"/>
                  </a:lnTo>
                  <a:lnTo>
                    <a:pt x="371" y="119"/>
                  </a:lnTo>
                  <a:lnTo>
                    <a:pt x="371" y="120"/>
                  </a:lnTo>
                  <a:lnTo>
                    <a:pt x="368" y="122"/>
                  </a:lnTo>
                  <a:lnTo>
                    <a:pt x="365" y="120"/>
                  </a:lnTo>
                  <a:lnTo>
                    <a:pt x="363" y="120"/>
                  </a:lnTo>
                  <a:lnTo>
                    <a:pt x="357" y="117"/>
                  </a:lnTo>
                  <a:lnTo>
                    <a:pt x="354" y="117"/>
                  </a:lnTo>
                  <a:lnTo>
                    <a:pt x="354" y="114"/>
                  </a:lnTo>
                  <a:lnTo>
                    <a:pt x="348" y="111"/>
                  </a:lnTo>
                  <a:lnTo>
                    <a:pt x="345" y="111"/>
                  </a:lnTo>
                  <a:lnTo>
                    <a:pt x="343" y="109"/>
                  </a:lnTo>
                  <a:lnTo>
                    <a:pt x="343" y="108"/>
                  </a:lnTo>
                  <a:lnTo>
                    <a:pt x="340" y="108"/>
                  </a:lnTo>
                  <a:lnTo>
                    <a:pt x="339" y="105"/>
                  </a:lnTo>
                  <a:lnTo>
                    <a:pt x="337" y="105"/>
                  </a:lnTo>
                  <a:lnTo>
                    <a:pt x="335" y="103"/>
                  </a:lnTo>
                  <a:lnTo>
                    <a:pt x="334" y="103"/>
                  </a:lnTo>
                  <a:lnTo>
                    <a:pt x="334" y="102"/>
                  </a:lnTo>
                  <a:lnTo>
                    <a:pt x="331" y="97"/>
                  </a:lnTo>
                  <a:lnTo>
                    <a:pt x="328" y="94"/>
                  </a:lnTo>
                  <a:lnTo>
                    <a:pt x="323" y="91"/>
                  </a:lnTo>
                  <a:lnTo>
                    <a:pt x="323" y="89"/>
                  </a:lnTo>
                  <a:lnTo>
                    <a:pt x="325" y="87"/>
                  </a:lnTo>
                  <a:lnTo>
                    <a:pt x="328" y="87"/>
                  </a:lnTo>
                  <a:lnTo>
                    <a:pt x="328" y="83"/>
                  </a:lnTo>
                  <a:lnTo>
                    <a:pt x="323" y="80"/>
                  </a:lnTo>
                  <a:lnTo>
                    <a:pt x="323" y="78"/>
                  </a:lnTo>
                  <a:lnTo>
                    <a:pt x="322" y="78"/>
                  </a:lnTo>
                  <a:lnTo>
                    <a:pt x="320" y="75"/>
                  </a:lnTo>
                  <a:lnTo>
                    <a:pt x="320" y="70"/>
                  </a:lnTo>
                  <a:lnTo>
                    <a:pt x="319" y="66"/>
                  </a:lnTo>
                  <a:lnTo>
                    <a:pt x="314" y="65"/>
                  </a:lnTo>
                  <a:lnTo>
                    <a:pt x="310" y="65"/>
                  </a:lnTo>
                  <a:lnTo>
                    <a:pt x="310" y="61"/>
                  </a:lnTo>
                  <a:lnTo>
                    <a:pt x="313" y="59"/>
                  </a:lnTo>
                  <a:lnTo>
                    <a:pt x="307" y="57"/>
                  </a:lnTo>
                  <a:lnTo>
                    <a:pt x="302" y="56"/>
                  </a:lnTo>
                  <a:lnTo>
                    <a:pt x="305" y="53"/>
                  </a:lnTo>
                  <a:lnTo>
                    <a:pt x="301" y="50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5" y="44"/>
                  </a:lnTo>
                  <a:lnTo>
                    <a:pt x="291" y="39"/>
                  </a:lnTo>
                  <a:lnTo>
                    <a:pt x="285" y="36"/>
                  </a:lnTo>
                  <a:lnTo>
                    <a:pt x="242" y="35"/>
                  </a:lnTo>
                  <a:lnTo>
                    <a:pt x="239" y="44"/>
                  </a:lnTo>
                  <a:lnTo>
                    <a:pt x="161" y="42"/>
                  </a:lnTo>
                  <a:lnTo>
                    <a:pt x="66" y="4"/>
                  </a:lnTo>
                  <a:lnTo>
                    <a:pt x="69" y="2"/>
                  </a:lnTo>
                  <a:lnTo>
                    <a:pt x="66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4" y="19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7" name="Rectangle 80"/>
            <p:cNvSpPr>
              <a:spLocks noChangeArrowheads="1"/>
            </p:cNvSpPr>
            <p:nvPr/>
          </p:nvSpPr>
          <p:spPr bwMode="auto">
            <a:xfrm>
              <a:off x="1855788" y="4081463"/>
              <a:ext cx="3175" cy="6350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8" name="Freeform 81"/>
            <p:cNvSpPr>
              <a:spLocks/>
            </p:cNvSpPr>
            <p:nvPr/>
          </p:nvSpPr>
          <p:spPr bwMode="auto">
            <a:xfrm>
              <a:off x="1292226" y="4100513"/>
              <a:ext cx="4763" cy="4763"/>
            </a:xfrm>
            <a:custGeom>
              <a:avLst/>
              <a:gdLst>
                <a:gd name="T0" fmla="*/ 0 w 3"/>
                <a:gd name="T1" fmla="*/ 3 h 3"/>
                <a:gd name="T2" fmla="*/ 1 w 3"/>
                <a:gd name="T3" fmla="*/ 3 h 3"/>
                <a:gd name="T4" fmla="*/ 3 w 3"/>
                <a:gd name="T5" fmla="*/ 0 h 3"/>
                <a:gd name="T6" fmla="*/ 0 w 3"/>
                <a:gd name="T7" fmla="*/ 0 h 3"/>
                <a:gd name="T8" fmla="*/ 0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1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9" name="Freeform 82"/>
            <p:cNvSpPr>
              <a:spLocks/>
            </p:cNvSpPr>
            <p:nvPr/>
          </p:nvSpPr>
          <p:spPr bwMode="auto">
            <a:xfrm>
              <a:off x="1279526" y="4067176"/>
              <a:ext cx="7938" cy="14288"/>
            </a:xfrm>
            <a:custGeom>
              <a:avLst/>
              <a:gdLst>
                <a:gd name="T0" fmla="*/ 5 w 5"/>
                <a:gd name="T1" fmla="*/ 8 h 9"/>
                <a:gd name="T2" fmla="*/ 5 w 5"/>
                <a:gd name="T3" fmla="*/ 4 h 9"/>
                <a:gd name="T4" fmla="*/ 2 w 5"/>
                <a:gd name="T5" fmla="*/ 0 h 9"/>
                <a:gd name="T6" fmla="*/ 0 w 5"/>
                <a:gd name="T7" fmla="*/ 3 h 9"/>
                <a:gd name="T8" fmla="*/ 2 w 5"/>
                <a:gd name="T9" fmla="*/ 4 h 9"/>
                <a:gd name="T10" fmla="*/ 2 w 5"/>
                <a:gd name="T11" fmla="*/ 9 h 9"/>
                <a:gd name="T12" fmla="*/ 5 w 5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">
                  <a:moveTo>
                    <a:pt x="5" y="8"/>
                  </a:moveTo>
                  <a:lnTo>
                    <a:pt x="5" y="4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4"/>
                  </a:lnTo>
                  <a:lnTo>
                    <a:pt x="2" y="9"/>
                  </a:lnTo>
                  <a:lnTo>
                    <a:pt x="5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0" name="Freeform 83"/>
            <p:cNvSpPr>
              <a:spLocks/>
            </p:cNvSpPr>
            <p:nvPr/>
          </p:nvSpPr>
          <p:spPr bwMode="auto">
            <a:xfrm>
              <a:off x="1847851" y="4103688"/>
              <a:ext cx="6350" cy="11113"/>
            </a:xfrm>
            <a:custGeom>
              <a:avLst/>
              <a:gdLst>
                <a:gd name="T0" fmla="*/ 4 w 4"/>
                <a:gd name="T1" fmla="*/ 3 h 7"/>
                <a:gd name="T2" fmla="*/ 4 w 4"/>
                <a:gd name="T3" fmla="*/ 0 h 7"/>
                <a:gd name="T4" fmla="*/ 0 w 4"/>
                <a:gd name="T5" fmla="*/ 7 h 7"/>
                <a:gd name="T6" fmla="*/ 4 w 4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4" y="3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1" name="Freeform 84"/>
            <p:cNvSpPr>
              <a:spLocks/>
            </p:cNvSpPr>
            <p:nvPr/>
          </p:nvSpPr>
          <p:spPr bwMode="auto">
            <a:xfrm>
              <a:off x="1854201" y="4090988"/>
              <a:ext cx="1588" cy="9525"/>
            </a:xfrm>
            <a:custGeom>
              <a:avLst/>
              <a:gdLst>
                <a:gd name="T0" fmla="*/ 0 w 1"/>
                <a:gd name="T1" fmla="*/ 3 h 6"/>
                <a:gd name="T2" fmla="*/ 0 w 1"/>
                <a:gd name="T3" fmla="*/ 6 h 6"/>
                <a:gd name="T4" fmla="*/ 1 w 1"/>
                <a:gd name="T5" fmla="*/ 0 h 6"/>
                <a:gd name="T6" fmla="*/ 0 w 1"/>
                <a:gd name="T7" fmla="*/ 0 h 6"/>
                <a:gd name="T8" fmla="*/ 0 w 1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3"/>
                  </a:moveTo>
                  <a:lnTo>
                    <a:pt x="0" y="6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2" name="Freeform 85"/>
            <p:cNvSpPr>
              <a:spLocks/>
            </p:cNvSpPr>
            <p:nvPr/>
          </p:nvSpPr>
          <p:spPr bwMode="auto">
            <a:xfrm>
              <a:off x="7167563" y="1544638"/>
              <a:ext cx="52388" cy="25400"/>
            </a:xfrm>
            <a:custGeom>
              <a:avLst/>
              <a:gdLst>
                <a:gd name="T0" fmla="*/ 8 w 33"/>
                <a:gd name="T1" fmla="*/ 6 h 16"/>
                <a:gd name="T2" fmla="*/ 8 w 33"/>
                <a:gd name="T3" fmla="*/ 10 h 16"/>
                <a:gd name="T4" fmla="*/ 16 w 33"/>
                <a:gd name="T5" fmla="*/ 14 h 16"/>
                <a:gd name="T6" fmla="*/ 21 w 33"/>
                <a:gd name="T7" fmla="*/ 16 h 16"/>
                <a:gd name="T8" fmla="*/ 23 w 33"/>
                <a:gd name="T9" fmla="*/ 14 h 16"/>
                <a:gd name="T10" fmla="*/ 27 w 33"/>
                <a:gd name="T11" fmla="*/ 14 h 16"/>
                <a:gd name="T12" fmla="*/ 33 w 33"/>
                <a:gd name="T13" fmla="*/ 8 h 16"/>
                <a:gd name="T14" fmla="*/ 32 w 33"/>
                <a:gd name="T15" fmla="*/ 0 h 16"/>
                <a:gd name="T16" fmla="*/ 32 w 33"/>
                <a:gd name="T17" fmla="*/ 0 h 16"/>
                <a:gd name="T18" fmla="*/ 0 w 33"/>
                <a:gd name="T19" fmla="*/ 0 h 16"/>
                <a:gd name="T20" fmla="*/ 1 w 33"/>
                <a:gd name="T21" fmla="*/ 0 h 16"/>
                <a:gd name="T22" fmla="*/ 8 w 33"/>
                <a:gd name="T2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16">
                  <a:moveTo>
                    <a:pt x="8" y="6"/>
                  </a:moveTo>
                  <a:lnTo>
                    <a:pt x="8" y="10"/>
                  </a:lnTo>
                  <a:lnTo>
                    <a:pt x="16" y="14"/>
                  </a:lnTo>
                  <a:lnTo>
                    <a:pt x="21" y="16"/>
                  </a:lnTo>
                  <a:lnTo>
                    <a:pt x="23" y="14"/>
                  </a:lnTo>
                  <a:lnTo>
                    <a:pt x="27" y="14"/>
                  </a:lnTo>
                  <a:lnTo>
                    <a:pt x="33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3" name="Freeform 86"/>
            <p:cNvSpPr>
              <a:spLocks/>
            </p:cNvSpPr>
            <p:nvPr/>
          </p:nvSpPr>
          <p:spPr bwMode="auto">
            <a:xfrm>
              <a:off x="7119938" y="1727201"/>
              <a:ext cx="69850" cy="65088"/>
            </a:xfrm>
            <a:custGeom>
              <a:avLst/>
              <a:gdLst>
                <a:gd name="T0" fmla="*/ 6 w 44"/>
                <a:gd name="T1" fmla="*/ 38 h 41"/>
                <a:gd name="T2" fmla="*/ 8 w 44"/>
                <a:gd name="T3" fmla="*/ 36 h 41"/>
                <a:gd name="T4" fmla="*/ 11 w 44"/>
                <a:gd name="T5" fmla="*/ 39 h 41"/>
                <a:gd name="T6" fmla="*/ 10 w 44"/>
                <a:gd name="T7" fmla="*/ 41 h 41"/>
                <a:gd name="T8" fmla="*/ 13 w 44"/>
                <a:gd name="T9" fmla="*/ 41 h 41"/>
                <a:gd name="T10" fmla="*/ 17 w 44"/>
                <a:gd name="T11" fmla="*/ 39 h 41"/>
                <a:gd name="T12" fmla="*/ 25 w 44"/>
                <a:gd name="T13" fmla="*/ 38 h 41"/>
                <a:gd name="T14" fmla="*/ 31 w 44"/>
                <a:gd name="T15" fmla="*/ 32 h 41"/>
                <a:gd name="T16" fmla="*/ 37 w 44"/>
                <a:gd name="T17" fmla="*/ 28 h 41"/>
                <a:gd name="T18" fmla="*/ 37 w 44"/>
                <a:gd name="T19" fmla="*/ 19 h 41"/>
                <a:gd name="T20" fmla="*/ 40 w 44"/>
                <a:gd name="T21" fmla="*/ 16 h 41"/>
                <a:gd name="T22" fmla="*/ 42 w 44"/>
                <a:gd name="T23" fmla="*/ 21 h 41"/>
                <a:gd name="T24" fmla="*/ 40 w 44"/>
                <a:gd name="T25" fmla="*/ 27 h 41"/>
                <a:gd name="T26" fmla="*/ 44 w 44"/>
                <a:gd name="T27" fmla="*/ 21 h 41"/>
                <a:gd name="T28" fmla="*/ 44 w 44"/>
                <a:gd name="T29" fmla="*/ 16 h 41"/>
                <a:gd name="T30" fmla="*/ 38 w 44"/>
                <a:gd name="T31" fmla="*/ 10 h 41"/>
                <a:gd name="T32" fmla="*/ 19 w 44"/>
                <a:gd name="T33" fmla="*/ 2 h 41"/>
                <a:gd name="T34" fmla="*/ 10 w 44"/>
                <a:gd name="T35" fmla="*/ 0 h 41"/>
                <a:gd name="T36" fmla="*/ 4 w 44"/>
                <a:gd name="T37" fmla="*/ 4 h 41"/>
                <a:gd name="T38" fmla="*/ 0 w 44"/>
                <a:gd name="T39" fmla="*/ 13 h 41"/>
                <a:gd name="T40" fmla="*/ 0 w 44"/>
                <a:gd name="T41" fmla="*/ 27 h 41"/>
                <a:gd name="T42" fmla="*/ 4 w 44"/>
                <a:gd name="T43" fmla="*/ 32 h 41"/>
                <a:gd name="T44" fmla="*/ 6 w 44"/>
                <a:gd name="T45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" h="41">
                  <a:moveTo>
                    <a:pt x="6" y="38"/>
                  </a:moveTo>
                  <a:lnTo>
                    <a:pt x="8" y="36"/>
                  </a:lnTo>
                  <a:lnTo>
                    <a:pt x="11" y="39"/>
                  </a:lnTo>
                  <a:lnTo>
                    <a:pt x="10" y="41"/>
                  </a:lnTo>
                  <a:lnTo>
                    <a:pt x="13" y="41"/>
                  </a:lnTo>
                  <a:lnTo>
                    <a:pt x="17" y="39"/>
                  </a:lnTo>
                  <a:lnTo>
                    <a:pt x="25" y="38"/>
                  </a:lnTo>
                  <a:lnTo>
                    <a:pt x="31" y="32"/>
                  </a:lnTo>
                  <a:lnTo>
                    <a:pt x="37" y="28"/>
                  </a:lnTo>
                  <a:lnTo>
                    <a:pt x="37" y="19"/>
                  </a:lnTo>
                  <a:lnTo>
                    <a:pt x="40" y="16"/>
                  </a:lnTo>
                  <a:lnTo>
                    <a:pt x="42" y="21"/>
                  </a:lnTo>
                  <a:lnTo>
                    <a:pt x="40" y="27"/>
                  </a:lnTo>
                  <a:lnTo>
                    <a:pt x="44" y="21"/>
                  </a:lnTo>
                  <a:lnTo>
                    <a:pt x="44" y="16"/>
                  </a:lnTo>
                  <a:lnTo>
                    <a:pt x="38" y="10"/>
                  </a:lnTo>
                  <a:lnTo>
                    <a:pt x="19" y="2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13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6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4" name="Freeform 87"/>
            <p:cNvSpPr>
              <a:spLocks/>
            </p:cNvSpPr>
            <p:nvPr/>
          </p:nvSpPr>
          <p:spPr bwMode="auto">
            <a:xfrm>
              <a:off x="7832726" y="3160713"/>
              <a:ext cx="65088" cy="9525"/>
            </a:xfrm>
            <a:custGeom>
              <a:avLst/>
              <a:gdLst>
                <a:gd name="T0" fmla="*/ 0 w 41"/>
                <a:gd name="T1" fmla="*/ 6 h 6"/>
                <a:gd name="T2" fmla="*/ 41 w 41"/>
                <a:gd name="T3" fmla="*/ 6 h 6"/>
                <a:gd name="T4" fmla="*/ 35 w 41"/>
                <a:gd name="T5" fmla="*/ 0 h 6"/>
                <a:gd name="T6" fmla="*/ 0 w 4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6">
                  <a:moveTo>
                    <a:pt x="0" y="6"/>
                  </a:moveTo>
                  <a:lnTo>
                    <a:pt x="41" y="6"/>
                  </a:lnTo>
                  <a:lnTo>
                    <a:pt x="35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5" name="Freeform 88"/>
            <p:cNvSpPr>
              <a:spLocks/>
            </p:cNvSpPr>
            <p:nvPr/>
          </p:nvSpPr>
          <p:spPr bwMode="auto">
            <a:xfrm>
              <a:off x="7213601" y="1570038"/>
              <a:ext cx="39688" cy="31750"/>
            </a:xfrm>
            <a:custGeom>
              <a:avLst/>
              <a:gdLst>
                <a:gd name="T0" fmla="*/ 23 w 25"/>
                <a:gd name="T1" fmla="*/ 7 h 20"/>
                <a:gd name="T2" fmla="*/ 15 w 25"/>
                <a:gd name="T3" fmla="*/ 6 h 20"/>
                <a:gd name="T4" fmla="*/ 15 w 25"/>
                <a:gd name="T5" fmla="*/ 1 h 20"/>
                <a:gd name="T6" fmla="*/ 12 w 25"/>
                <a:gd name="T7" fmla="*/ 0 h 20"/>
                <a:gd name="T8" fmla="*/ 4 w 25"/>
                <a:gd name="T9" fmla="*/ 1 h 20"/>
                <a:gd name="T10" fmla="*/ 0 w 25"/>
                <a:gd name="T11" fmla="*/ 3 h 20"/>
                <a:gd name="T12" fmla="*/ 3 w 25"/>
                <a:gd name="T13" fmla="*/ 7 h 20"/>
                <a:gd name="T14" fmla="*/ 6 w 25"/>
                <a:gd name="T15" fmla="*/ 9 h 20"/>
                <a:gd name="T16" fmla="*/ 8 w 25"/>
                <a:gd name="T17" fmla="*/ 7 h 20"/>
                <a:gd name="T18" fmla="*/ 12 w 25"/>
                <a:gd name="T19" fmla="*/ 9 h 20"/>
                <a:gd name="T20" fmla="*/ 14 w 25"/>
                <a:gd name="T21" fmla="*/ 12 h 20"/>
                <a:gd name="T22" fmla="*/ 18 w 25"/>
                <a:gd name="T23" fmla="*/ 15 h 20"/>
                <a:gd name="T24" fmla="*/ 21 w 25"/>
                <a:gd name="T25" fmla="*/ 20 h 20"/>
                <a:gd name="T26" fmla="*/ 23 w 25"/>
                <a:gd name="T27" fmla="*/ 20 h 20"/>
                <a:gd name="T28" fmla="*/ 25 w 25"/>
                <a:gd name="T29" fmla="*/ 18 h 20"/>
                <a:gd name="T30" fmla="*/ 21 w 25"/>
                <a:gd name="T31" fmla="*/ 15 h 20"/>
                <a:gd name="T32" fmla="*/ 25 w 25"/>
                <a:gd name="T33" fmla="*/ 11 h 20"/>
                <a:gd name="T34" fmla="*/ 23 w 25"/>
                <a:gd name="T35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" h="20">
                  <a:moveTo>
                    <a:pt x="23" y="7"/>
                  </a:moveTo>
                  <a:lnTo>
                    <a:pt x="15" y="6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4" y="1"/>
                  </a:lnTo>
                  <a:lnTo>
                    <a:pt x="0" y="3"/>
                  </a:lnTo>
                  <a:lnTo>
                    <a:pt x="3" y="7"/>
                  </a:lnTo>
                  <a:lnTo>
                    <a:pt x="6" y="9"/>
                  </a:lnTo>
                  <a:lnTo>
                    <a:pt x="8" y="7"/>
                  </a:lnTo>
                  <a:lnTo>
                    <a:pt x="12" y="9"/>
                  </a:lnTo>
                  <a:lnTo>
                    <a:pt x="14" y="12"/>
                  </a:lnTo>
                  <a:lnTo>
                    <a:pt x="18" y="15"/>
                  </a:lnTo>
                  <a:lnTo>
                    <a:pt x="21" y="20"/>
                  </a:lnTo>
                  <a:lnTo>
                    <a:pt x="23" y="20"/>
                  </a:lnTo>
                  <a:lnTo>
                    <a:pt x="25" y="18"/>
                  </a:lnTo>
                  <a:lnTo>
                    <a:pt x="21" y="15"/>
                  </a:lnTo>
                  <a:lnTo>
                    <a:pt x="25" y="11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6" name="Freeform 89"/>
            <p:cNvSpPr>
              <a:spLocks/>
            </p:cNvSpPr>
            <p:nvPr/>
          </p:nvSpPr>
          <p:spPr bwMode="auto">
            <a:xfrm>
              <a:off x="7227888" y="1797051"/>
              <a:ext cx="19050" cy="7938"/>
            </a:xfrm>
            <a:custGeom>
              <a:avLst/>
              <a:gdLst>
                <a:gd name="T0" fmla="*/ 3 w 12"/>
                <a:gd name="T1" fmla="*/ 3 h 5"/>
                <a:gd name="T2" fmla="*/ 11 w 12"/>
                <a:gd name="T3" fmla="*/ 0 h 5"/>
                <a:gd name="T4" fmla="*/ 12 w 12"/>
                <a:gd name="T5" fmla="*/ 0 h 5"/>
                <a:gd name="T6" fmla="*/ 6 w 12"/>
                <a:gd name="T7" fmla="*/ 0 h 5"/>
                <a:gd name="T8" fmla="*/ 0 w 12"/>
                <a:gd name="T9" fmla="*/ 0 h 5"/>
                <a:gd name="T10" fmla="*/ 0 w 12"/>
                <a:gd name="T11" fmla="*/ 5 h 5"/>
                <a:gd name="T12" fmla="*/ 3 w 12"/>
                <a:gd name="T13" fmla="*/ 5 h 5"/>
                <a:gd name="T14" fmla="*/ 3 w 12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">
                  <a:moveTo>
                    <a:pt x="3" y="3"/>
                  </a:moveTo>
                  <a:lnTo>
                    <a:pt x="11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7" name="Freeform 90"/>
            <p:cNvSpPr>
              <a:spLocks/>
            </p:cNvSpPr>
            <p:nvPr/>
          </p:nvSpPr>
          <p:spPr bwMode="auto">
            <a:xfrm>
              <a:off x="6434138" y="1544638"/>
              <a:ext cx="2144713" cy="1847850"/>
            </a:xfrm>
            <a:custGeom>
              <a:avLst/>
              <a:gdLst>
                <a:gd name="T0" fmla="*/ 1192 w 1351"/>
                <a:gd name="T1" fmla="*/ 10 h 1164"/>
                <a:gd name="T2" fmla="*/ 1044 w 1351"/>
                <a:gd name="T3" fmla="*/ 61 h 1164"/>
                <a:gd name="T4" fmla="*/ 1118 w 1351"/>
                <a:gd name="T5" fmla="*/ 134 h 1164"/>
                <a:gd name="T6" fmla="*/ 1079 w 1351"/>
                <a:gd name="T7" fmla="*/ 93 h 1164"/>
                <a:gd name="T8" fmla="*/ 1024 w 1351"/>
                <a:gd name="T9" fmla="*/ 195 h 1164"/>
                <a:gd name="T10" fmla="*/ 950 w 1351"/>
                <a:gd name="T11" fmla="*/ 195 h 1164"/>
                <a:gd name="T12" fmla="*/ 996 w 1351"/>
                <a:gd name="T13" fmla="*/ 169 h 1164"/>
                <a:gd name="T14" fmla="*/ 964 w 1351"/>
                <a:gd name="T15" fmla="*/ 62 h 1164"/>
                <a:gd name="T16" fmla="*/ 823 w 1351"/>
                <a:gd name="T17" fmla="*/ 32 h 1164"/>
                <a:gd name="T18" fmla="*/ 892 w 1351"/>
                <a:gd name="T19" fmla="*/ 98 h 1164"/>
                <a:gd name="T20" fmla="*/ 817 w 1351"/>
                <a:gd name="T21" fmla="*/ 95 h 1164"/>
                <a:gd name="T22" fmla="*/ 691 w 1351"/>
                <a:gd name="T23" fmla="*/ 89 h 1164"/>
                <a:gd name="T24" fmla="*/ 702 w 1351"/>
                <a:gd name="T25" fmla="*/ 149 h 1164"/>
                <a:gd name="T26" fmla="*/ 640 w 1351"/>
                <a:gd name="T27" fmla="*/ 145 h 1164"/>
                <a:gd name="T28" fmla="*/ 573 w 1351"/>
                <a:gd name="T29" fmla="*/ 165 h 1164"/>
                <a:gd name="T30" fmla="*/ 550 w 1351"/>
                <a:gd name="T31" fmla="*/ 137 h 1164"/>
                <a:gd name="T32" fmla="*/ 528 w 1351"/>
                <a:gd name="T33" fmla="*/ 159 h 1164"/>
                <a:gd name="T34" fmla="*/ 448 w 1351"/>
                <a:gd name="T35" fmla="*/ 212 h 1164"/>
                <a:gd name="T36" fmla="*/ 399 w 1351"/>
                <a:gd name="T37" fmla="*/ 202 h 1164"/>
                <a:gd name="T38" fmla="*/ 362 w 1351"/>
                <a:gd name="T39" fmla="*/ 201 h 1164"/>
                <a:gd name="T40" fmla="*/ 375 w 1351"/>
                <a:gd name="T41" fmla="*/ 284 h 1164"/>
                <a:gd name="T42" fmla="*/ 304 w 1351"/>
                <a:gd name="T43" fmla="*/ 344 h 1164"/>
                <a:gd name="T44" fmla="*/ 209 w 1351"/>
                <a:gd name="T45" fmla="*/ 344 h 1164"/>
                <a:gd name="T46" fmla="*/ 221 w 1351"/>
                <a:gd name="T47" fmla="*/ 384 h 1164"/>
                <a:gd name="T48" fmla="*/ 168 w 1351"/>
                <a:gd name="T49" fmla="*/ 313 h 1164"/>
                <a:gd name="T50" fmla="*/ 116 w 1351"/>
                <a:gd name="T51" fmla="*/ 280 h 1164"/>
                <a:gd name="T52" fmla="*/ 146 w 1351"/>
                <a:gd name="T53" fmla="*/ 273 h 1164"/>
                <a:gd name="T54" fmla="*/ 261 w 1351"/>
                <a:gd name="T55" fmla="*/ 288 h 1164"/>
                <a:gd name="T56" fmla="*/ 270 w 1351"/>
                <a:gd name="T57" fmla="*/ 207 h 1164"/>
                <a:gd name="T58" fmla="*/ 157 w 1351"/>
                <a:gd name="T59" fmla="*/ 153 h 1164"/>
                <a:gd name="T60" fmla="*/ 101 w 1351"/>
                <a:gd name="T61" fmla="*/ 153 h 1164"/>
                <a:gd name="T62" fmla="*/ 77 w 1351"/>
                <a:gd name="T63" fmla="*/ 140 h 1164"/>
                <a:gd name="T64" fmla="*/ 65 w 1351"/>
                <a:gd name="T65" fmla="*/ 136 h 1164"/>
                <a:gd name="T66" fmla="*/ 4 w 1351"/>
                <a:gd name="T67" fmla="*/ 182 h 1164"/>
                <a:gd name="T68" fmla="*/ 59 w 1351"/>
                <a:gd name="T69" fmla="*/ 341 h 1164"/>
                <a:gd name="T70" fmla="*/ 62 w 1351"/>
                <a:gd name="T71" fmla="*/ 509 h 1164"/>
                <a:gd name="T72" fmla="*/ 74 w 1351"/>
                <a:gd name="T73" fmla="*/ 553 h 1164"/>
                <a:gd name="T74" fmla="*/ 45 w 1351"/>
                <a:gd name="T75" fmla="*/ 649 h 1164"/>
                <a:gd name="T76" fmla="*/ 123 w 1351"/>
                <a:gd name="T77" fmla="*/ 702 h 1164"/>
                <a:gd name="T78" fmla="*/ 166 w 1351"/>
                <a:gd name="T79" fmla="*/ 798 h 1164"/>
                <a:gd name="T80" fmla="*/ 274 w 1351"/>
                <a:gd name="T81" fmla="*/ 862 h 1164"/>
                <a:gd name="T82" fmla="*/ 404 w 1351"/>
                <a:gd name="T83" fmla="*/ 903 h 1164"/>
                <a:gd name="T84" fmla="*/ 371 w 1351"/>
                <a:gd name="T85" fmla="*/ 994 h 1164"/>
                <a:gd name="T86" fmla="*/ 350 w 1351"/>
                <a:gd name="T87" fmla="*/ 1038 h 1164"/>
                <a:gd name="T88" fmla="*/ 425 w 1351"/>
                <a:gd name="T89" fmla="*/ 1094 h 1164"/>
                <a:gd name="T90" fmla="*/ 497 w 1351"/>
                <a:gd name="T91" fmla="*/ 1155 h 1164"/>
                <a:gd name="T92" fmla="*/ 626 w 1351"/>
                <a:gd name="T93" fmla="*/ 1147 h 1164"/>
                <a:gd name="T94" fmla="*/ 617 w 1351"/>
                <a:gd name="T95" fmla="*/ 1075 h 1164"/>
                <a:gd name="T96" fmla="*/ 626 w 1351"/>
                <a:gd name="T97" fmla="*/ 1015 h 1164"/>
                <a:gd name="T98" fmla="*/ 651 w 1351"/>
                <a:gd name="T99" fmla="*/ 994 h 1164"/>
                <a:gd name="T100" fmla="*/ 579 w 1351"/>
                <a:gd name="T101" fmla="*/ 887 h 1164"/>
                <a:gd name="T102" fmla="*/ 661 w 1351"/>
                <a:gd name="T103" fmla="*/ 826 h 1164"/>
                <a:gd name="T104" fmla="*/ 731 w 1351"/>
                <a:gd name="T105" fmla="*/ 831 h 1164"/>
                <a:gd name="T106" fmla="*/ 817 w 1351"/>
                <a:gd name="T107" fmla="*/ 836 h 1164"/>
                <a:gd name="T108" fmla="*/ 904 w 1351"/>
                <a:gd name="T109" fmla="*/ 856 h 1164"/>
                <a:gd name="T110" fmla="*/ 912 w 1351"/>
                <a:gd name="T111" fmla="*/ 791 h 1164"/>
                <a:gd name="T112" fmla="*/ 903 w 1351"/>
                <a:gd name="T113" fmla="*/ 742 h 1164"/>
                <a:gd name="T114" fmla="*/ 981 w 1351"/>
                <a:gd name="T115" fmla="*/ 716 h 1164"/>
                <a:gd name="T116" fmla="*/ 1073 w 1351"/>
                <a:gd name="T117" fmla="*/ 681 h 1164"/>
                <a:gd name="T118" fmla="*/ 1157 w 1351"/>
                <a:gd name="T119" fmla="*/ 687 h 1164"/>
                <a:gd name="T120" fmla="*/ 1203 w 1351"/>
                <a:gd name="T121" fmla="*/ 711 h 1164"/>
                <a:gd name="T122" fmla="*/ 1270 w 1351"/>
                <a:gd name="T123" fmla="*/ 711 h 1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51" h="1164">
                  <a:moveTo>
                    <a:pt x="1192" y="0"/>
                  </a:moveTo>
                  <a:lnTo>
                    <a:pt x="1203" y="8"/>
                  </a:lnTo>
                  <a:lnTo>
                    <a:pt x="1212" y="12"/>
                  </a:lnTo>
                  <a:lnTo>
                    <a:pt x="1214" y="10"/>
                  </a:lnTo>
                  <a:lnTo>
                    <a:pt x="1218" y="12"/>
                  </a:lnTo>
                  <a:lnTo>
                    <a:pt x="1226" y="6"/>
                  </a:lnTo>
                  <a:lnTo>
                    <a:pt x="1235" y="5"/>
                  </a:lnTo>
                  <a:lnTo>
                    <a:pt x="1246" y="10"/>
                  </a:lnTo>
                  <a:lnTo>
                    <a:pt x="1253" y="12"/>
                  </a:lnTo>
                  <a:lnTo>
                    <a:pt x="1259" y="12"/>
                  </a:lnTo>
                  <a:lnTo>
                    <a:pt x="1261" y="19"/>
                  </a:lnTo>
                  <a:lnTo>
                    <a:pt x="1255" y="16"/>
                  </a:lnTo>
                  <a:lnTo>
                    <a:pt x="1247" y="16"/>
                  </a:lnTo>
                  <a:lnTo>
                    <a:pt x="1235" y="6"/>
                  </a:lnTo>
                  <a:lnTo>
                    <a:pt x="1229" y="6"/>
                  </a:lnTo>
                  <a:lnTo>
                    <a:pt x="1221" y="14"/>
                  </a:lnTo>
                  <a:lnTo>
                    <a:pt x="1221" y="22"/>
                  </a:lnTo>
                  <a:lnTo>
                    <a:pt x="1221" y="25"/>
                  </a:lnTo>
                  <a:lnTo>
                    <a:pt x="1212" y="16"/>
                  </a:lnTo>
                  <a:lnTo>
                    <a:pt x="1200" y="14"/>
                  </a:lnTo>
                  <a:lnTo>
                    <a:pt x="1192" y="10"/>
                  </a:lnTo>
                  <a:lnTo>
                    <a:pt x="1194" y="5"/>
                  </a:lnTo>
                  <a:lnTo>
                    <a:pt x="1189" y="0"/>
                  </a:lnTo>
                  <a:lnTo>
                    <a:pt x="974" y="0"/>
                  </a:lnTo>
                  <a:lnTo>
                    <a:pt x="975" y="3"/>
                  </a:lnTo>
                  <a:lnTo>
                    <a:pt x="973" y="17"/>
                  </a:lnTo>
                  <a:lnTo>
                    <a:pt x="972" y="25"/>
                  </a:lnTo>
                  <a:lnTo>
                    <a:pt x="979" y="32"/>
                  </a:lnTo>
                  <a:lnTo>
                    <a:pt x="978" y="44"/>
                  </a:lnTo>
                  <a:lnTo>
                    <a:pt x="981" y="49"/>
                  </a:lnTo>
                  <a:lnTo>
                    <a:pt x="990" y="61"/>
                  </a:lnTo>
                  <a:lnTo>
                    <a:pt x="993" y="64"/>
                  </a:lnTo>
                  <a:lnTo>
                    <a:pt x="990" y="71"/>
                  </a:lnTo>
                  <a:lnTo>
                    <a:pt x="994" y="75"/>
                  </a:lnTo>
                  <a:lnTo>
                    <a:pt x="1002" y="76"/>
                  </a:lnTo>
                  <a:lnTo>
                    <a:pt x="1010" y="71"/>
                  </a:lnTo>
                  <a:lnTo>
                    <a:pt x="1021" y="75"/>
                  </a:lnTo>
                  <a:lnTo>
                    <a:pt x="1024" y="71"/>
                  </a:lnTo>
                  <a:lnTo>
                    <a:pt x="1027" y="66"/>
                  </a:lnTo>
                  <a:lnTo>
                    <a:pt x="1033" y="58"/>
                  </a:lnTo>
                  <a:lnTo>
                    <a:pt x="1039" y="61"/>
                  </a:lnTo>
                  <a:lnTo>
                    <a:pt x="1044" y="61"/>
                  </a:lnTo>
                  <a:lnTo>
                    <a:pt x="1056" y="64"/>
                  </a:lnTo>
                  <a:lnTo>
                    <a:pt x="1062" y="62"/>
                  </a:lnTo>
                  <a:lnTo>
                    <a:pt x="1063" y="67"/>
                  </a:lnTo>
                  <a:lnTo>
                    <a:pt x="1076" y="73"/>
                  </a:lnTo>
                  <a:lnTo>
                    <a:pt x="1085" y="73"/>
                  </a:lnTo>
                  <a:lnTo>
                    <a:pt x="1093" y="80"/>
                  </a:lnTo>
                  <a:lnTo>
                    <a:pt x="1093" y="84"/>
                  </a:lnTo>
                  <a:lnTo>
                    <a:pt x="1102" y="87"/>
                  </a:lnTo>
                  <a:lnTo>
                    <a:pt x="1103" y="92"/>
                  </a:lnTo>
                  <a:lnTo>
                    <a:pt x="1105" y="93"/>
                  </a:lnTo>
                  <a:lnTo>
                    <a:pt x="1106" y="97"/>
                  </a:lnTo>
                  <a:lnTo>
                    <a:pt x="1111" y="98"/>
                  </a:lnTo>
                  <a:lnTo>
                    <a:pt x="1106" y="103"/>
                  </a:lnTo>
                  <a:lnTo>
                    <a:pt x="1102" y="104"/>
                  </a:lnTo>
                  <a:lnTo>
                    <a:pt x="1099" y="111"/>
                  </a:lnTo>
                  <a:lnTo>
                    <a:pt x="1103" y="119"/>
                  </a:lnTo>
                  <a:lnTo>
                    <a:pt x="1106" y="120"/>
                  </a:lnTo>
                  <a:lnTo>
                    <a:pt x="1105" y="125"/>
                  </a:lnTo>
                  <a:lnTo>
                    <a:pt x="1108" y="131"/>
                  </a:lnTo>
                  <a:lnTo>
                    <a:pt x="1114" y="131"/>
                  </a:lnTo>
                  <a:lnTo>
                    <a:pt x="1118" y="134"/>
                  </a:lnTo>
                  <a:lnTo>
                    <a:pt x="1125" y="134"/>
                  </a:lnTo>
                  <a:lnTo>
                    <a:pt x="1131" y="128"/>
                  </a:lnTo>
                  <a:lnTo>
                    <a:pt x="1134" y="132"/>
                  </a:lnTo>
                  <a:lnTo>
                    <a:pt x="1137" y="131"/>
                  </a:lnTo>
                  <a:lnTo>
                    <a:pt x="1140" y="132"/>
                  </a:lnTo>
                  <a:lnTo>
                    <a:pt x="1139" y="132"/>
                  </a:lnTo>
                  <a:lnTo>
                    <a:pt x="1137" y="136"/>
                  </a:lnTo>
                  <a:lnTo>
                    <a:pt x="1128" y="136"/>
                  </a:lnTo>
                  <a:lnTo>
                    <a:pt x="1123" y="137"/>
                  </a:lnTo>
                  <a:lnTo>
                    <a:pt x="1117" y="140"/>
                  </a:lnTo>
                  <a:lnTo>
                    <a:pt x="1108" y="134"/>
                  </a:lnTo>
                  <a:lnTo>
                    <a:pt x="1103" y="134"/>
                  </a:lnTo>
                  <a:lnTo>
                    <a:pt x="1097" y="128"/>
                  </a:lnTo>
                  <a:lnTo>
                    <a:pt x="1102" y="126"/>
                  </a:lnTo>
                  <a:lnTo>
                    <a:pt x="1099" y="120"/>
                  </a:lnTo>
                  <a:lnTo>
                    <a:pt x="1096" y="115"/>
                  </a:lnTo>
                  <a:lnTo>
                    <a:pt x="1093" y="110"/>
                  </a:lnTo>
                  <a:lnTo>
                    <a:pt x="1088" y="106"/>
                  </a:lnTo>
                  <a:lnTo>
                    <a:pt x="1090" y="101"/>
                  </a:lnTo>
                  <a:lnTo>
                    <a:pt x="1082" y="93"/>
                  </a:lnTo>
                  <a:lnTo>
                    <a:pt x="1079" y="93"/>
                  </a:lnTo>
                  <a:lnTo>
                    <a:pt x="1079" y="89"/>
                  </a:lnTo>
                  <a:lnTo>
                    <a:pt x="1068" y="86"/>
                  </a:lnTo>
                  <a:lnTo>
                    <a:pt x="1068" y="79"/>
                  </a:lnTo>
                  <a:lnTo>
                    <a:pt x="1059" y="71"/>
                  </a:lnTo>
                  <a:lnTo>
                    <a:pt x="1051" y="71"/>
                  </a:lnTo>
                  <a:lnTo>
                    <a:pt x="1039" y="80"/>
                  </a:lnTo>
                  <a:lnTo>
                    <a:pt x="1033" y="82"/>
                  </a:lnTo>
                  <a:lnTo>
                    <a:pt x="1028" y="87"/>
                  </a:lnTo>
                  <a:lnTo>
                    <a:pt x="1021" y="93"/>
                  </a:lnTo>
                  <a:lnTo>
                    <a:pt x="1021" y="108"/>
                  </a:lnTo>
                  <a:lnTo>
                    <a:pt x="1024" y="111"/>
                  </a:lnTo>
                  <a:lnTo>
                    <a:pt x="1036" y="117"/>
                  </a:lnTo>
                  <a:lnTo>
                    <a:pt x="1044" y="136"/>
                  </a:lnTo>
                  <a:lnTo>
                    <a:pt x="1044" y="140"/>
                  </a:lnTo>
                  <a:lnTo>
                    <a:pt x="1034" y="154"/>
                  </a:lnTo>
                  <a:lnTo>
                    <a:pt x="1034" y="162"/>
                  </a:lnTo>
                  <a:lnTo>
                    <a:pt x="1038" y="169"/>
                  </a:lnTo>
                  <a:lnTo>
                    <a:pt x="1034" y="180"/>
                  </a:lnTo>
                  <a:lnTo>
                    <a:pt x="1033" y="184"/>
                  </a:lnTo>
                  <a:lnTo>
                    <a:pt x="1024" y="191"/>
                  </a:lnTo>
                  <a:lnTo>
                    <a:pt x="1024" y="195"/>
                  </a:lnTo>
                  <a:lnTo>
                    <a:pt x="1019" y="196"/>
                  </a:lnTo>
                  <a:lnTo>
                    <a:pt x="1016" y="201"/>
                  </a:lnTo>
                  <a:lnTo>
                    <a:pt x="1016" y="208"/>
                  </a:lnTo>
                  <a:lnTo>
                    <a:pt x="1019" y="212"/>
                  </a:lnTo>
                  <a:lnTo>
                    <a:pt x="1019" y="216"/>
                  </a:lnTo>
                  <a:lnTo>
                    <a:pt x="1011" y="221"/>
                  </a:lnTo>
                  <a:lnTo>
                    <a:pt x="999" y="217"/>
                  </a:lnTo>
                  <a:lnTo>
                    <a:pt x="998" y="216"/>
                  </a:lnTo>
                  <a:lnTo>
                    <a:pt x="988" y="216"/>
                  </a:lnTo>
                  <a:lnTo>
                    <a:pt x="979" y="217"/>
                  </a:lnTo>
                  <a:lnTo>
                    <a:pt x="969" y="216"/>
                  </a:lnTo>
                  <a:lnTo>
                    <a:pt x="949" y="212"/>
                  </a:lnTo>
                  <a:lnTo>
                    <a:pt x="941" y="207"/>
                  </a:lnTo>
                  <a:lnTo>
                    <a:pt x="938" y="201"/>
                  </a:lnTo>
                  <a:lnTo>
                    <a:pt x="932" y="202"/>
                  </a:lnTo>
                  <a:lnTo>
                    <a:pt x="927" y="208"/>
                  </a:lnTo>
                  <a:lnTo>
                    <a:pt x="926" y="207"/>
                  </a:lnTo>
                  <a:lnTo>
                    <a:pt x="922" y="204"/>
                  </a:lnTo>
                  <a:lnTo>
                    <a:pt x="926" y="199"/>
                  </a:lnTo>
                  <a:lnTo>
                    <a:pt x="933" y="196"/>
                  </a:lnTo>
                  <a:lnTo>
                    <a:pt x="950" y="195"/>
                  </a:lnTo>
                  <a:lnTo>
                    <a:pt x="952" y="193"/>
                  </a:lnTo>
                  <a:lnTo>
                    <a:pt x="966" y="199"/>
                  </a:lnTo>
                  <a:lnTo>
                    <a:pt x="969" y="199"/>
                  </a:lnTo>
                  <a:lnTo>
                    <a:pt x="969" y="195"/>
                  </a:lnTo>
                  <a:lnTo>
                    <a:pt x="978" y="195"/>
                  </a:lnTo>
                  <a:lnTo>
                    <a:pt x="975" y="199"/>
                  </a:lnTo>
                  <a:lnTo>
                    <a:pt x="967" y="202"/>
                  </a:lnTo>
                  <a:lnTo>
                    <a:pt x="973" y="208"/>
                  </a:lnTo>
                  <a:lnTo>
                    <a:pt x="983" y="207"/>
                  </a:lnTo>
                  <a:lnTo>
                    <a:pt x="987" y="202"/>
                  </a:lnTo>
                  <a:lnTo>
                    <a:pt x="994" y="199"/>
                  </a:lnTo>
                  <a:lnTo>
                    <a:pt x="993" y="195"/>
                  </a:lnTo>
                  <a:lnTo>
                    <a:pt x="987" y="190"/>
                  </a:lnTo>
                  <a:lnTo>
                    <a:pt x="987" y="187"/>
                  </a:lnTo>
                  <a:lnTo>
                    <a:pt x="994" y="190"/>
                  </a:lnTo>
                  <a:lnTo>
                    <a:pt x="996" y="187"/>
                  </a:lnTo>
                  <a:lnTo>
                    <a:pt x="996" y="176"/>
                  </a:lnTo>
                  <a:lnTo>
                    <a:pt x="1004" y="173"/>
                  </a:lnTo>
                  <a:lnTo>
                    <a:pt x="1002" y="171"/>
                  </a:lnTo>
                  <a:lnTo>
                    <a:pt x="998" y="171"/>
                  </a:lnTo>
                  <a:lnTo>
                    <a:pt x="996" y="169"/>
                  </a:lnTo>
                  <a:lnTo>
                    <a:pt x="1004" y="167"/>
                  </a:lnTo>
                  <a:lnTo>
                    <a:pt x="1004" y="156"/>
                  </a:lnTo>
                  <a:lnTo>
                    <a:pt x="1002" y="153"/>
                  </a:lnTo>
                  <a:lnTo>
                    <a:pt x="1005" y="149"/>
                  </a:lnTo>
                  <a:lnTo>
                    <a:pt x="1004" y="147"/>
                  </a:lnTo>
                  <a:lnTo>
                    <a:pt x="1010" y="143"/>
                  </a:lnTo>
                  <a:lnTo>
                    <a:pt x="1010" y="136"/>
                  </a:lnTo>
                  <a:lnTo>
                    <a:pt x="1002" y="131"/>
                  </a:lnTo>
                  <a:lnTo>
                    <a:pt x="998" y="120"/>
                  </a:lnTo>
                  <a:lnTo>
                    <a:pt x="999" y="114"/>
                  </a:lnTo>
                  <a:lnTo>
                    <a:pt x="999" y="108"/>
                  </a:lnTo>
                  <a:lnTo>
                    <a:pt x="1004" y="110"/>
                  </a:lnTo>
                  <a:lnTo>
                    <a:pt x="1004" y="106"/>
                  </a:lnTo>
                  <a:lnTo>
                    <a:pt x="994" y="98"/>
                  </a:lnTo>
                  <a:lnTo>
                    <a:pt x="990" y="97"/>
                  </a:lnTo>
                  <a:lnTo>
                    <a:pt x="987" y="93"/>
                  </a:lnTo>
                  <a:lnTo>
                    <a:pt x="979" y="92"/>
                  </a:lnTo>
                  <a:lnTo>
                    <a:pt x="967" y="79"/>
                  </a:lnTo>
                  <a:lnTo>
                    <a:pt x="964" y="67"/>
                  </a:lnTo>
                  <a:lnTo>
                    <a:pt x="962" y="66"/>
                  </a:lnTo>
                  <a:lnTo>
                    <a:pt x="964" y="62"/>
                  </a:lnTo>
                  <a:lnTo>
                    <a:pt x="958" y="58"/>
                  </a:lnTo>
                  <a:lnTo>
                    <a:pt x="956" y="53"/>
                  </a:lnTo>
                  <a:lnTo>
                    <a:pt x="958" y="47"/>
                  </a:lnTo>
                  <a:lnTo>
                    <a:pt x="949" y="36"/>
                  </a:lnTo>
                  <a:lnTo>
                    <a:pt x="949" y="28"/>
                  </a:lnTo>
                  <a:lnTo>
                    <a:pt x="943" y="23"/>
                  </a:lnTo>
                  <a:lnTo>
                    <a:pt x="944" y="19"/>
                  </a:lnTo>
                  <a:lnTo>
                    <a:pt x="944" y="16"/>
                  </a:lnTo>
                  <a:lnTo>
                    <a:pt x="941" y="12"/>
                  </a:lnTo>
                  <a:lnTo>
                    <a:pt x="938" y="0"/>
                  </a:lnTo>
                  <a:lnTo>
                    <a:pt x="803" y="0"/>
                  </a:lnTo>
                  <a:lnTo>
                    <a:pt x="802" y="0"/>
                  </a:lnTo>
                  <a:lnTo>
                    <a:pt x="802" y="8"/>
                  </a:lnTo>
                  <a:lnTo>
                    <a:pt x="808" y="14"/>
                  </a:lnTo>
                  <a:lnTo>
                    <a:pt x="811" y="12"/>
                  </a:lnTo>
                  <a:lnTo>
                    <a:pt x="815" y="16"/>
                  </a:lnTo>
                  <a:lnTo>
                    <a:pt x="819" y="23"/>
                  </a:lnTo>
                  <a:lnTo>
                    <a:pt x="826" y="25"/>
                  </a:lnTo>
                  <a:lnTo>
                    <a:pt x="831" y="28"/>
                  </a:lnTo>
                  <a:lnTo>
                    <a:pt x="826" y="27"/>
                  </a:lnTo>
                  <a:lnTo>
                    <a:pt x="823" y="32"/>
                  </a:lnTo>
                  <a:lnTo>
                    <a:pt x="823" y="38"/>
                  </a:lnTo>
                  <a:lnTo>
                    <a:pt x="832" y="44"/>
                  </a:lnTo>
                  <a:lnTo>
                    <a:pt x="832" y="49"/>
                  </a:lnTo>
                  <a:lnTo>
                    <a:pt x="828" y="53"/>
                  </a:lnTo>
                  <a:lnTo>
                    <a:pt x="825" y="49"/>
                  </a:lnTo>
                  <a:lnTo>
                    <a:pt x="825" y="53"/>
                  </a:lnTo>
                  <a:lnTo>
                    <a:pt x="828" y="64"/>
                  </a:lnTo>
                  <a:lnTo>
                    <a:pt x="832" y="67"/>
                  </a:lnTo>
                  <a:lnTo>
                    <a:pt x="834" y="75"/>
                  </a:lnTo>
                  <a:lnTo>
                    <a:pt x="838" y="71"/>
                  </a:lnTo>
                  <a:lnTo>
                    <a:pt x="842" y="75"/>
                  </a:lnTo>
                  <a:lnTo>
                    <a:pt x="849" y="75"/>
                  </a:lnTo>
                  <a:lnTo>
                    <a:pt x="855" y="79"/>
                  </a:lnTo>
                  <a:lnTo>
                    <a:pt x="861" y="71"/>
                  </a:lnTo>
                  <a:lnTo>
                    <a:pt x="863" y="75"/>
                  </a:lnTo>
                  <a:lnTo>
                    <a:pt x="863" y="82"/>
                  </a:lnTo>
                  <a:lnTo>
                    <a:pt x="866" y="87"/>
                  </a:lnTo>
                  <a:lnTo>
                    <a:pt x="871" y="87"/>
                  </a:lnTo>
                  <a:lnTo>
                    <a:pt x="881" y="101"/>
                  </a:lnTo>
                  <a:lnTo>
                    <a:pt x="887" y="101"/>
                  </a:lnTo>
                  <a:lnTo>
                    <a:pt x="892" y="98"/>
                  </a:lnTo>
                  <a:lnTo>
                    <a:pt x="897" y="98"/>
                  </a:lnTo>
                  <a:lnTo>
                    <a:pt x="897" y="101"/>
                  </a:lnTo>
                  <a:lnTo>
                    <a:pt x="903" y="101"/>
                  </a:lnTo>
                  <a:lnTo>
                    <a:pt x="897" y="104"/>
                  </a:lnTo>
                  <a:lnTo>
                    <a:pt x="897" y="117"/>
                  </a:lnTo>
                  <a:lnTo>
                    <a:pt x="897" y="120"/>
                  </a:lnTo>
                  <a:lnTo>
                    <a:pt x="901" y="126"/>
                  </a:lnTo>
                  <a:lnTo>
                    <a:pt x="898" y="128"/>
                  </a:lnTo>
                  <a:lnTo>
                    <a:pt x="895" y="128"/>
                  </a:lnTo>
                  <a:lnTo>
                    <a:pt x="897" y="136"/>
                  </a:lnTo>
                  <a:lnTo>
                    <a:pt x="897" y="137"/>
                  </a:lnTo>
                  <a:lnTo>
                    <a:pt x="892" y="137"/>
                  </a:lnTo>
                  <a:lnTo>
                    <a:pt x="883" y="126"/>
                  </a:lnTo>
                  <a:lnTo>
                    <a:pt x="876" y="120"/>
                  </a:lnTo>
                  <a:lnTo>
                    <a:pt x="868" y="119"/>
                  </a:lnTo>
                  <a:lnTo>
                    <a:pt x="866" y="114"/>
                  </a:lnTo>
                  <a:lnTo>
                    <a:pt x="860" y="108"/>
                  </a:lnTo>
                  <a:lnTo>
                    <a:pt x="843" y="108"/>
                  </a:lnTo>
                  <a:lnTo>
                    <a:pt x="828" y="101"/>
                  </a:lnTo>
                  <a:lnTo>
                    <a:pt x="819" y="98"/>
                  </a:lnTo>
                  <a:lnTo>
                    <a:pt x="817" y="95"/>
                  </a:lnTo>
                  <a:lnTo>
                    <a:pt x="814" y="93"/>
                  </a:lnTo>
                  <a:lnTo>
                    <a:pt x="809" y="89"/>
                  </a:lnTo>
                  <a:lnTo>
                    <a:pt x="802" y="93"/>
                  </a:lnTo>
                  <a:lnTo>
                    <a:pt x="796" y="97"/>
                  </a:lnTo>
                  <a:lnTo>
                    <a:pt x="794" y="92"/>
                  </a:lnTo>
                  <a:lnTo>
                    <a:pt x="794" y="89"/>
                  </a:lnTo>
                  <a:lnTo>
                    <a:pt x="794" y="86"/>
                  </a:lnTo>
                  <a:lnTo>
                    <a:pt x="775" y="80"/>
                  </a:lnTo>
                  <a:lnTo>
                    <a:pt x="767" y="75"/>
                  </a:lnTo>
                  <a:lnTo>
                    <a:pt x="741" y="73"/>
                  </a:lnTo>
                  <a:lnTo>
                    <a:pt x="720" y="76"/>
                  </a:lnTo>
                  <a:lnTo>
                    <a:pt x="714" y="75"/>
                  </a:lnTo>
                  <a:lnTo>
                    <a:pt x="710" y="75"/>
                  </a:lnTo>
                  <a:lnTo>
                    <a:pt x="705" y="73"/>
                  </a:lnTo>
                  <a:lnTo>
                    <a:pt x="702" y="75"/>
                  </a:lnTo>
                  <a:lnTo>
                    <a:pt x="699" y="73"/>
                  </a:lnTo>
                  <a:lnTo>
                    <a:pt x="696" y="76"/>
                  </a:lnTo>
                  <a:lnTo>
                    <a:pt x="696" y="80"/>
                  </a:lnTo>
                  <a:lnTo>
                    <a:pt x="696" y="86"/>
                  </a:lnTo>
                  <a:lnTo>
                    <a:pt x="691" y="87"/>
                  </a:lnTo>
                  <a:lnTo>
                    <a:pt x="691" y="89"/>
                  </a:lnTo>
                  <a:lnTo>
                    <a:pt x="696" y="95"/>
                  </a:lnTo>
                  <a:lnTo>
                    <a:pt x="699" y="97"/>
                  </a:lnTo>
                  <a:lnTo>
                    <a:pt x="702" y="104"/>
                  </a:lnTo>
                  <a:lnTo>
                    <a:pt x="705" y="110"/>
                  </a:lnTo>
                  <a:lnTo>
                    <a:pt x="707" y="104"/>
                  </a:lnTo>
                  <a:lnTo>
                    <a:pt x="708" y="106"/>
                  </a:lnTo>
                  <a:lnTo>
                    <a:pt x="714" y="114"/>
                  </a:lnTo>
                  <a:lnTo>
                    <a:pt x="714" y="117"/>
                  </a:lnTo>
                  <a:lnTo>
                    <a:pt x="722" y="119"/>
                  </a:lnTo>
                  <a:lnTo>
                    <a:pt x="730" y="126"/>
                  </a:lnTo>
                  <a:lnTo>
                    <a:pt x="722" y="125"/>
                  </a:lnTo>
                  <a:lnTo>
                    <a:pt x="718" y="123"/>
                  </a:lnTo>
                  <a:lnTo>
                    <a:pt x="714" y="123"/>
                  </a:lnTo>
                  <a:lnTo>
                    <a:pt x="713" y="132"/>
                  </a:lnTo>
                  <a:lnTo>
                    <a:pt x="707" y="134"/>
                  </a:lnTo>
                  <a:lnTo>
                    <a:pt x="699" y="132"/>
                  </a:lnTo>
                  <a:lnTo>
                    <a:pt x="696" y="134"/>
                  </a:lnTo>
                  <a:lnTo>
                    <a:pt x="696" y="137"/>
                  </a:lnTo>
                  <a:lnTo>
                    <a:pt x="701" y="143"/>
                  </a:lnTo>
                  <a:lnTo>
                    <a:pt x="702" y="145"/>
                  </a:lnTo>
                  <a:lnTo>
                    <a:pt x="702" y="149"/>
                  </a:lnTo>
                  <a:lnTo>
                    <a:pt x="701" y="151"/>
                  </a:lnTo>
                  <a:lnTo>
                    <a:pt x="685" y="151"/>
                  </a:lnTo>
                  <a:lnTo>
                    <a:pt x="682" y="147"/>
                  </a:lnTo>
                  <a:lnTo>
                    <a:pt x="684" y="143"/>
                  </a:lnTo>
                  <a:lnTo>
                    <a:pt x="682" y="137"/>
                  </a:lnTo>
                  <a:lnTo>
                    <a:pt x="685" y="134"/>
                  </a:lnTo>
                  <a:lnTo>
                    <a:pt x="685" y="132"/>
                  </a:lnTo>
                  <a:lnTo>
                    <a:pt x="680" y="126"/>
                  </a:lnTo>
                  <a:lnTo>
                    <a:pt x="676" y="126"/>
                  </a:lnTo>
                  <a:lnTo>
                    <a:pt x="680" y="120"/>
                  </a:lnTo>
                  <a:lnTo>
                    <a:pt x="678" y="119"/>
                  </a:lnTo>
                  <a:lnTo>
                    <a:pt x="674" y="120"/>
                  </a:lnTo>
                  <a:lnTo>
                    <a:pt x="672" y="120"/>
                  </a:lnTo>
                  <a:lnTo>
                    <a:pt x="665" y="128"/>
                  </a:lnTo>
                  <a:lnTo>
                    <a:pt x="661" y="128"/>
                  </a:lnTo>
                  <a:lnTo>
                    <a:pt x="655" y="134"/>
                  </a:lnTo>
                  <a:lnTo>
                    <a:pt x="655" y="136"/>
                  </a:lnTo>
                  <a:lnTo>
                    <a:pt x="647" y="136"/>
                  </a:lnTo>
                  <a:lnTo>
                    <a:pt x="644" y="140"/>
                  </a:lnTo>
                  <a:lnTo>
                    <a:pt x="644" y="142"/>
                  </a:lnTo>
                  <a:lnTo>
                    <a:pt x="640" y="145"/>
                  </a:lnTo>
                  <a:lnTo>
                    <a:pt x="629" y="145"/>
                  </a:lnTo>
                  <a:lnTo>
                    <a:pt x="625" y="143"/>
                  </a:lnTo>
                  <a:lnTo>
                    <a:pt x="621" y="145"/>
                  </a:lnTo>
                  <a:lnTo>
                    <a:pt x="617" y="145"/>
                  </a:lnTo>
                  <a:lnTo>
                    <a:pt x="615" y="143"/>
                  </a:lnTo>
                  <a:lnTo>
                    <a:pt x="607" y="147"/>
                  </a:lnTo>
                  <a:lnTo>
                    <a:pt x="606" y="149"/>
                  </a:lnTo>
                  <a:lnTo>
                    <a:pt x="600" y="151"/>
                  </a:lnTo>
                  <a:lnTo>
                    <a:pt x="596" y="154"/>
                  </a:lnTo>
                  <a:lnTo>
                    <a:pt x="596" y="156"/>
                  </a:lnTo>
                  <a:lnTo>
                    <a:pt x="600" y="159"/>
                  </a:lnTo>
                  <a:lnTo>
                    <a:pt x="598" y="162"/>
                  </a:lnTo>
                  <a:lnTo>
                    <a:pt x="600" y="165"/>
                  </a:lnTo>
                  <a:lnTo>
                    <a:pt x="598" y="167"/>
                  </a:lnTo>
                  <a:lnTo>
                    <a:pt x="592" y="164"/>
                  </a:lnTo>
                  <a:lnTo>
                    <a:pt x="590" y="162"/>
                  </a:lnTo>
                  <a:lnTo>
                    <a:pt x="589" y="162"/>
                  </a:lnTo>
                  <a:lnTo>
                    <a:pt x="583" y="167"/>
                  </a:lnTo>
                  <a:lnTo>
                    <a:pt x="579" y="173"/>
                  </a:lnTo>
                  <a:lnTo>
                    <a:pt x="579" y="167"/>
                  </a:lnTo>
                  <a:lnTo>
                    <a:pt x="573" y="165"/>
                  </a:lnTo>
                  <a:lnTo>
                    <a:pt x="569" y="167"/>
                  </a:lnTo>
                  <a:lnTo>
                    <a:pt x="566" y="167"/>
                  </a:lnTo>
                  <a:lnTo>
                    <a:pt x="561" y="169"/>
                  </a:lnTo>
                  <a:lnTo>
                    <a:pt x="558" y="167"/>
                  </a:lnTo>
                  <a:lnTo>
                    <a:pt x="555" y="164"/>
                  </a:lnTo>
                  <a:lnTo>
                    <a:pt x="561" y="159"/>
                  </a:lnTo>
                  <a:lnTo>
                    <a:pt x="567" y="159"/>
                  </a:lnTo>
                  <a:lnTo>
                    <a:pt x="569" y="154"/>
                  </a:lnTo>
                  <a:lnTo>
                    <a:pt x="567" y="151"/>
                  </a:lnTo>
                  <a:lnTo>
                    <a:pt x="567" y="149"/>
                  </a:lnTo>
                  <a:lnTo>
                    <a:pt x="571" y="147"/>
                  </a:lnTo>
                  <a:lnTo>
                    <a:pt x="566" y="142"/>
                  </a:lnTo>
                  <a:lnTo>
                    <a:pt x="561" y="143"/>
                  </a:lnTo>
                  <a:lnTo>
                    <a:pt x="558" y="142"/>
                  </a:lnTo>
                  <a:lnTo>
                    <a:pt x="555" y="140"/>
                  </a:lnTo>
                  <a:lnTo>
                    <a:pt x="566" y="136"/>
                  </a:lnTo>
                  <a:lnTo>
                    <a:pt x="571" y="136"/>
                  </a:lnTo>
                  <a:lnTo>
                    <a:pt x="577" y="132"/>
                  </a:lnTo>
                  <a:lnTo>
                    <a:pt x="575" y="131"/>
                  </a:lnTo>
                  <a:lnTo>
                    <a:pt x="566" y="132"/>
                  </a:lnTo>
                  <a:lnTo>
                    <a:pt x="550" y="137"/>
                  </a:lnTo>
                  <a:lnTo>
                    <a:pt x="546" y="142"/>
                  </a:lnTo>
                  <a:lnTo>
                    <a:pt x="549" y="143"/>
                  </a:lnTo>
                  <a:lnTo>
                    <a:pt x="550" y="147"/>
                  </a:lnTo>
                  <a:lnTo>
                    <a:pt x="552" y="151"/>
                  </a:lnTo>
                  <a:lnTo>
                    <a:pt x="549" y="154"/>
                  </a:lnTo>
                  <a:lnTo>
                    <a:pt x="544" y="154"/>
                  </a:lnTo>
                  <a:lnTo>
                    <a:pt x="540" y="149"/>
                  </a:lnTo>
                  <a:lnTo>
                    <a:pt x="543" y="147"/>
                  </a:lnTo>
                  <a:lnTo>
                    <a:pt x="544" y="147"/>
                  </a:lnTo>
                  <a:lnTo>
                    <a:pt x="543" y="143"/>
                  </a:lnTo>
                  <a:lnTo>
                    <a:pt x="540" y="143"/>
                  </a:lnTo>
                  <a:lnTo>
                    <a:pt x="531" y="153"/>
                  </a:lnTo>
                  <a:lnTo>
                    <a:pt x="531" y="154"/>
                  </a:lnTo>
                  <a:lnTo>
                    <a:pt x="535" y="159"/>
                  </a:lnTo>
                  <a:lnTo>
                    <a:pt x="539" y="159"/>
                  </a:lnTo>
                  <a:lnTo>
                    <a:pt x="539" y="164"/>
                  </a:lnTo>
                  <a:lnTo>
                    <a:pt x="531" y="169"/>
                  </a:lnTo>
                  <a:lnTo>
                    <a:pt x="529" y="167"/>
                  </a:lnTo>
                  <a:lnTo>
                    <a:pt x="531" y="164"/>
                  </a:lnTo>
                  <a:lnTo>
                    <a:pt x="529" y="159"/>
                  </a:lnTo>
                  <a:lnTo>
                    <a:pt x="528" y="159"/>
                  </a:lnTo>
                  <a:lnTo>
                    <a:pt x="528" y="156"/>
                  </a:lnTo>
                  <a:lnTo>
                    <a:pt x="516" y="159"/>
                  </a:lnTo>
                  <a:lnTo>
                    <a:pt x="514" y="162"/>
                  </a:lnTo>
                  <a:lnTo>
                    <a:pt x="506" y="165"/>
                  </a:lnTo>
                  <a:lnTo>
                    <a:pt x="500" y="164"/>
                  </a:lnTo>
                  <a:lnTo>
                    <a:pt x="499" y="165"/>
                  </a:lnTo>
                  <a:lnTo>
                    <a:pt x="499" y="169"/>
                  </a:lnTo>
                  <a:lnTo>
                    <a:pt x="488" y="180"/>
                  </a:lnTo>
                  <a:lnTo>
                    <a:pt x="483" y="182"/>
                  </a:lnTo>
                  <a:lnTo>
                    <a:pt x="474" y="193"/>
                  </a:lnTo>
                  <a:lnTo>
                    <a:pt x="469" y="195"/>
                  </a:lnTo>
                  <a:lnTo>
                    <a:pt x="465" y="191"/>
                  </a:lnTo>
                  <a:lnTo>
                    <a:pt x="460" y="191"/>
                  </a:lnTo>
                  <a:lnTo>
                    <a:pt x="465" y="196"/>
                  </a:lnTo>
                  <a:lnTo>
                    <a:pt x="472" y="201"/>
                  </a:lnTo>
                  <a:lnTo>
                    <a:pt x="472" y="204"/>
                  </a:lnTo>
                  <a:lnTo>
                    <a:pt x="463" y="202"/>
                  </a:lnTo>
                  <a:lnTo>
                    <a:pt x="460" y="204"/>
                  </a:lnTo>
                  <a:lnTo>
                    <a:pt x="445" y="207"/>
                  </a:lnTo>
                  <a:lnTo>
                    <a:pt x="443" y="208"/>
                  </a:lnTo>
                  <a:lnTo>
                    <a:pt x="448" y="212"/>
                  </a:lnTo>
                  <a:lnTo>
                    <a:pt x="448" y="217"/>
                  </a:lnTo>
                  <a:lnTo>
                    <a:pt x="443" y="223"/>
                  </a:lnTo>
                  <a:lnTo>
                    <a:pt x="448" y="230"/>
                  </a:lnTo>
                  <a:lnTo>
                    <a:pt x="445" y="235"/>
                  </a:lnTo>
                  <a:lnTo>
                    <a:pt x="434" y="239"/>
                  </a:lnTo>
                  <a:lnTo>
                    <a:pt x="434" y="241"/>
                  </a:lnTo>
                  <a:lnTo>
                    <a:pt x="428" y="241"/>
                  </a:lnTo>
                  <a:lnTo>
                    <a:pt x="425" y="245"/>
                  </a:lnTo>
                  <a:lnTo>
                    <a:pt x="420" y="239"/>
                  </a:lnTo>
                  <a:lnTo>
                    <a:pt x="415" y="243"/>
                  </a:lnTo>
                  <a:lnTo>
                    <a:pt x="410" y="243"/>
                  </a:lnTo>
                  <a:lnTo>
                    <a:pt x="398" y="230"/>
                  </a:lnTo>
                  <a:lnTo>
                    <a:pt x="387" y="223"/>
                  </a:lnTo>
                  <a:lnTo>
                    <a:pt x="383" y="221"/>
                  </a:lnTo>
                  <a:lnTo>
                    <a:pt x="383" y="213"/>
                  </a:lnTo>
                  <a:lnTo>
                    <a:pt x="384" y="210"/>
                  </a:lnTo>
                  <a:lnTo>
                    <a:pt x="388" y="212"/>
                  </a:lnTo>
                  <a:lnTo>
                    <a:pt x="390" y="208"/>
                  </a:lnTo>
                  <a:lnTo>
                    <a:pt x="388" y="207"/>
                  </a:lnTo>
                  <a:lnTo>
                    <a:pt x="393" y="202"/>
                  </a:lnTo>
                  <a:lnTo>
                    <a:pt x="399" y="202"/>
                  </a:lnTo>
                  <a:lnTo>
                    <a:pt x="404" y="201"/>
                  </a:lnTo>
                  <a:lnTo>
                    <a:pt x="413" y="201"/>
                  </a:lnTo>
                  <a:lnTo>
                    <a:pt x="413" y="196"/>
                  </a:lnTo>
                  <a:lnTo>
                    <a:pt x="405" y="187"/>
                  </a:lnTo>
                  <a:lnTo>
                    <a:pt x="405" y="184"/>
                  </a:lnTo>
                  <a:lnTo>
                    <a:pt x="398" y="184"/>
                  </a:lnTo>
                  <a:lnTo>
                    <a:pt x="393" y="176"/>
                  </a:lnTo>
                  <a:lnTo>
                    <a:pt x="393" y="173"/>
                  </a:lnTo>
                  <a:lnTo>
                    <a:pt x="387" y="169"/>
                  </a:lnTo>
                  <a:lnTo>
                    <a:pt x="371" y="167"/>
                  </a:lnTo>
                  <a:lnTo>
                    <a:pt x="362" y="167"/>
                  </a:lnTo>
                  <a:lnTo>
                    <a:pt x="356" y="171"/>
                  </a:lnTo>
                  <a:lnTo>
                    <a:pt x="350" y="171"/>
                  </a:lnTo>
                  <a:lnTo>
                    <a:pt x="339" y="164"/>
                  </a:lnTo>
                  <a:lnTo>
                    <a:pt x="331" y="164"/>
                  </a:lnTo>
                  <a:lnTo>
                    <a:pt x="333" y="165"/>
                  </a:lnTo>
                  <a:lnTo>
                    <a:pt x="347" y="176"/>
                  </a:lnTo>
                  <a:lnTo>
                    <a:pt x="354" y="180"/>
                  </a:lnTo>
                  <a:lnTo>
                    <a:pt x="358" y="191"/>
                  </a:lnTo>
                  <a:lnTo>
                    <a:pt x="358" y="196"/>
                  </a:lnTo>
                  <a:lnTo>
                    <a:pt x="362" y="201"/>
                  </a:lnTo>
                  <a:lnTo>
                    <a:pt x="358" y="202"/>
                  </a:lnTo>
                  <a:lnTo>
                    <a:pt x="358" y="207"/>
                  </a:lnTo>
                  <a:lnTo>
                    <a:pt x="359" y="210"/>
                  </a:lnTo>
                  <a:lnTo>
                    <a:pt x="358" y="212"/>
                  </a:lnTo>
                  <a:lnTo>
                    <a:pt x="358" y="223"/>
                  </a:lnTo>
                  <a:lnTo>
                    <a:pt x="356" y="229"/>
                  </a:lnTo>
                  <a:lnTo>
                    <a:pt x="358" y="235"/>
                  </a:lnTo>
                  <a:lnTo>
                    <a:pt x="365" y="234"/>
                  </a:lnTo>
                  <a:lnTo>
                    <a:pt x="373" y="238"/>
                  </a:lnTo>
                  <a:lnTo>
                    <a:pt x="377" y="241"/>
                  </a:lnTo>
                  <a:lnTo>
                    <a:pt x="375" y="243"/>
                  </a:lnTo>
                  <a:lnTo>
                    <a:pt x="377" y="247"/>
                  </a:lnTo>
                  <a:lnTo>
                    <a:pt x="375" y="251"/>
                  </a:lnTo>
                  <a:lnTo>
                    <a:pt x="375" y="252"/>
                  </a:lnTo>
                  <a:lnTo>
                    <a:pt x="377" y="254"/>
                  </a:lnTo>
                  <a:lnTo>
                    <a:pt x="377" y="257"/>
                  </a:lnTo>
                  <a:lnTo>
                    <a:pt x="377" y="269"/>
                  </a:lnTo>
                  <a:lnTo>
                    <a:pt x="373" y="271"/>
                  </a:lnTo>
                  <a:lnTo>
                    <a:pt x="377" y="279"/>
                  </a:lnTo>
                  <a:lnTo>
                    <a:pt x="379" y="288"/>
                  </a:lnTo>
                  <a:lnTo>
                    <a:pt x="375" y="284"/>
                  </a:lnTo>
                  <a:lnTo>
                    <a:pt x="373" y="279"/>
                  </a:lnTo>
                  <a:lnTo>
                    <a:pt x="365" y="273"/>
                  </a:lnTo>
                  <a:lnTo>
                    <a:pt x="359" y="279"/>
                  </a:lnTo>
                  <a:lnTo>
                    <a:pt x="359" y="274"/>
                  </a:lnTo>
                  <a:lnTo>
                    <a:pt x="358" y="271"/>
                  </a:lnTo>
                  <a:lnTo>
                    <a:pt x="348" y="269"/>
                  </a:lnTo>
                  <a:lnTo>
                    <a:pt x="341" y="271"/>
                  </a:lnTo>
                  <a:lnTo>
                    <a:pt x="335" y="268"/>
                  </a:lnTo>
                  <a:lnTo>
                    <a:pt x="327" y="265"/>
                  </a:lnTo>
                  <a:lnTo>
                    <a:pt x="324" y="269"/>
                  </a:lnTo>
                  <a:lnTo>
                    <a:pt x="318" y="280"/>
                  </a:lnTo>
                  <a:lnTo>
                    <a:pt x="308" y="285"/>
                  </a:lnTo>
                  <a:lnTo>
                    <a:pt x="303" y="288"/>
                  </a:lnTo>
                  <a:lnTo>
                    <a:pt x="298" y="291"/>
                  </a:lnTo>
                  <a:lnTo>
                    <a:pt x="298" y="299"/>
                  </a:lnTo>
                  <a:lnTo>
                    <a:pt x="289" y="304"/>
                  </a:lnTo>
                  <a:lnTo>
                    <a:pt x="282" y="310"/>
                  </a:lnTo>
                  <a:lnTo>
                    <a:pt x="282" y="315"/>
                  </a:lnTo>
                  <a:lnTo>
                    <a:pt x="286" y="321"/>
                  </a:lnTo>
                  <a:lnTo>
                    <a:pt x="298" y="332"/>
                  </a:lnTo>
                  <a:lnTo>
                    <a:pt x="304" y="344"/>
                  </a:lnTo>
                  <a:lnTo>
                    <a:pt x="301" y="347"/>
                  </a:lnTo>
                  <a:lnTo>
                    <a:pt x="295" y="347"/>
                  </a:lnTo>
                  <a:lnTo>
                    <a:pt x="298" y="352"/>
                  </a:lnTo>
                  <a:lnTo>
                    <a:pt x="292" y="355"/>
                  </a:lnTo>
                  <a:lnTo>
                    <a:pt x="287" y="360"/>
                  </a:lnTo>
                  <a:lnTo>
                    <a:pt x="282" y="354"/>
                  </a:lnTo>
                  <a:lnTo>
                    <a:pt x="263" y="347"/>
                  </a:lnTo>
                  <a:lnTo>
                    <a:pt x="257" y="344"/>
                  </a:lnTo>
                  <a:lnTo>
                    <a:pt x="255" y="344"/>
                  </a:lnTo>
                  <a:lnTo>
                    <a:pt x="246" y="341"/>
                  </a:lnTo>
                  <a:lnTo>
                    <a:pt x="240" y="338"/>
                  </a:lnTo>
                  <a:lnTo>
                    <a:pt x="236" y="333"/>
                  </a:lnTo>
                  <a:lnTo>
                    <a:pt x="228" y="332"/>
                  </a:lnTo>
                  <a:lnTo>
                    <a:pt x="223" y="328"/>
                  </a:lnTo>
                  <a:lnTo>
                    <a:pt x="217" y="328"/>
                  </a:lnTo>
                  <a:lnTo>
                    <a:pt x="215" y="332"/>
                  </a:lnTo>
                  <a:lnTo>
                    <a:pt x="217" y="333"/>
                  </a:lnTo>
                  <a:lnTo>
                    <a:pt x="215" y="338"/>
                  </a:lnTo>
                  <a:lnTo>
                    <a:pt x="217" y="339"/>
                  </a:lnTo>
                  <a:lnTo>
                    <a:pt x="213" y="344"/>
                  </a:lnTo>
                  <a:lnTo>
                    <a:pt x="209" y="344"/>
                  </a:lnTo>
                  <a:lnTo>
                    <a:pt x="213" y="349"/>
                  </a:lnTo>
                  <a:lnTo>
                    <a:pt x="213" y="354"/>
                  </a:lnTo>
                  <a:lnTo>
                    <a:pt x="221" y="358"/>
                  </a:lnTo>
                  <a:lnTo>
                    <a:pt x="227" y="363"/>
                  </a:lnTo>
                  <a:lnTo>
                    <a:pt x="232" y="367"/>
                  </a:lnTo>
                  <a:lnTo>
                    <a:pt x="238" y="366"/>
                  </a:lnTo>
                  <a:lnTo>
                    <a:pt x="242" y="366"/>
                  </a:lnTo>
                  <a:lnTo>
                    <a:pt x="246" y="361"/>
                  </a:lnTo>
                  <a:lnTo>
                    <a:pt x="247" y="366"/>
                  </a:lnTo>
                  <a:lnTo>
                    <a:pt x="253" y="367"/>
                  </a:lnTo>
                  <a:lnTo>
                    <a:pt x="253" y="369"/>
                  </a:lnTo>
                  <a:lnTo>
                    <a:pt x="252" y="372"/>
                  </a:lnTo>
                  <a:lnTo>
                    <a:pt x="255" y="375"/>
                  </a:lnTo>
                  <a:lnTo>
                    <a:pt x="255" y="382"/>
                  </a:lnTo>
                  <a:lnTo>
                    <a:pt x="252" y="384"/>
                  </a:lnTo>
                  <a:lnTo>
                    <a:pt x="247" y="384"/>
                  </a:lnTo>
                  <a:lnTo>
                    <a:pt x="242" y="389"/>
                  </a:lnTo>
                  <a:lnTo>
                    <a:pt x="238" y="389"/>
                  </a:lnTo>
                  <a:lnTo>
                    <a:pt x="232" y="385"/>
                  </a:lnTo>
                  <a:lnTo>
                    <a:pt x="224" y="385"/>
                  </a:lnTo>
                  <a:lnTo>
                    <a:pt x="221" y="384"/>
                  </a:lnTo>
                  <a:lnTo>
                    <a:pt x="213" y="384"/>
                  </a:lnTo>
                  <a:lnTo>
                    <a:pt x="209" y="382"/>
                  </a:lnTo>
                  <a:lnTo>
                    <a:pt x="209" y="375"/>
                  </a:lnTo>
                  <a:lnTo>
                    <a:pt x="206" y="372"/>
                  </a:lnTo>
                  <a:lnTo>
                    <a:pt x="201" y="369"/>
                  </a:lnTo>
                  <a:lnTo>
                    <a:pt x="198" y="367"/>
                  </a:lnTo>
                  <a:lnTo>
                    <a:pt x="194" y="371"/>
                  </a:lnTo>
                  <a:lnTo>
                    <a:pt x="183" y="367"/>
                  </a:lnTo>
                  <a:lnTo>
                    <a:pt x="181" y="363"/>
                  </a:lnTo>
                  <a:lnTo>
                    <a:pt x="177" y="361"/>
                  </a:lnTo>
                  <a:lnTo>
                    <a:pt x="179" y="358"/>
                  </a:lnTo>
                  <a:lnTo>
                    <a:pt x="179" y="352"/>
                  </a:lnTo>
                  <a:lnTo>
                    <a:pt x="179" y="347"/>
                  </a:lnTo>
                  <a:lnTo>
                    <a:pt x="173" y="344"/>
                  </a:lnTo>
                  <a:lnTo>
                    <a:pt x="173" y="339"/>
                  </a:lnTo>
                  <a:lnTo>
                    <a:pt x="166" y="333"/>
                  </a:lnTo>
                  <a:lnTo>
                    <a:pt x="166" y="328"/>
                  </a:lnTo>
                  <a:lnTo>
                    <a:pt x="162" y="327"/>
                  </a:lnTo>
                  <a:lnTo>
                    <a:pt x="162" y="322"/>
                  </a:lnTo>
                  <a:lnTo>
                    <a:pt x="166" y="321"/>
                  </a:lnTo>
                  <a:lnTo>
                    <a:pt x="168" y="313"/>
                  </a:lnTo>
                  <a:lnTo>
                    <a:pt x="168" y="308"/>
                  </a:lnTo>
                  <a:lnTo>
                    <a:pt x="166" y="308"/>
                  </a:lnTo>
                  <a:lnTo>
                    <a:pt x="166" y="304"/>
                  </a:lnTo>
                  <a:lnTo>
                    <a:pt x="168" y="302"/>
                  </a:lnTo>
                  <a:lnTo>
                    <a:pt x="163" y="300"/>
                  </a:lnTo>
                  <a:lnTo>
                    <a:pt x="157" y="293"/>
                  </a:lnTo>
                  <a:lnTo>
                    <a:pt x="145" y="288"/>
                  </a:lnTo>
                  <a:lnTo>
                    <a:pt x="143" y="291"/>
                  </a:lnTo>
                  <a:lnTo>
                    <a:pt x="139" y="288"/>
                  </a:lnTo>
                  <a:lnTo>
                    <a:pt x="135" y="288"/>
                  </a:lnTo>
                  <a:lnTo>
                    <a:pt x="133" y="291"/>
                  </a:lnTo>
                  <a:lnTo>
                    <a:pt x="126" y="288"/>
                  </a:lnTo>
                  <a:lnTo>
                    <a:pt x="129" y="288"/>
                  </a:lnTo>
                  <a:lnTo>
                    <a:pt x="133" y="285"/>
                  </a:lnTo>
                  <a:lnTo>
                    <a:pt x="135" y="282"/>
                  </a:lnTo>
                  <a:lnTo>
                    <a:pt x="129" y="282"/>
                  </a:lnTo>
                  <a:lnTo>
                    <a:pt x="129" y="280"/>
                  </a:lnTo>
                  <a:lnTo>
                    <a:pt x="133" y="279"/>
                  </a:lnTo>
                  <a:lnTo>
                    <a:pt x="129" y="277"/>
                  </a:lnTo>
                  <a:lnTo>
                    <a:pt x="126" y="279"/>
                  </a:lnTo>
                  <a:lnTo>
                    <a:pt x="116" y="280"/>
                  </a:lnTo>
                  <a:lnTo>
                    <a:pt x="117" y="277"/>
                  </a:lnTo>
                  <a:lnTo>
                    <a:pt x="123" y="274"/>
                  </a:lnTo>
                  <a:lnTo>
                    <a:pt x="122" y="273"/>
                  </a:lnTo>
                  <a:lnTo>
                    <a:pt x="114" y="271"/>
                  </a:lnTo>
                  <a:lnTo>
                    <a:pt x="112" y="268"/>
                  </a:lnTo>
                  <a:lnTo>
                    <a:pt x="106" y="263"/>
                  </a:lnTo>
                  <a:lnTo>
                    <a:pt x="105" y="256"/>
                  </a:lnTo>
                  <a:lnTo>
                    <a:pt x="99" y="252"/>
                  </a:lnTo>
                  <a:lnTo>
                    <a:pt x="99" y="251"/>
                  </a:lnTo>
                  <a:lnTo>
                    <a:pt x="105" y="251"/>
                  </a:lnTo>
                  <a:lnTo>
                    <a:pt x="106" y="252"/>
                  </a:lnTo>
                  <a:lnTo>
                    <a:pt x="114" y="252"/>
                  </a:lnTo>
                  <a:lnTo>
                    <a:pt x="114" y="257"/>
                  </a:lnTo>
                  <a:lnTo>
                    <a:pt x="126" y="268"/>
                  </a:lnTo>
                  <a:lnTo>
                    <a:pt x="129" y="268"/>
                  </a:lnTo>
                  <a:lnTo>
                    <a:pt x="131" y="265"/>
                  </a:lnTo>
                  <a:lnTo>
                    <a:pt x="137" y="269"/>
                  </a:lnTo>
                  <a:lnTo>
                    <a:pt x="146" y="269"/>
                  </a:lnTo>
                  <a:lnTo>
                    <a:pt x="146" y="268"/>
                  </a:lnTo>
                  <a:lnTo>
                    <a:pt x="151" y="271"/>
                  </a:lnTo>
                  <a:lnTo>
                    <a:pt x="146" y="273"/>
                  </a:lnTo>
                  <a:lnTo>
                    <a:pt x="148" y="273"/>
                  </a:lnTo>
                  <a:lnTo>
                    <a:pt x="148" y="277"/>
                  </a:lnTo>
                  <a:lnTo>
                    <a:pt x="154" y="277"/>
                  </a:lnTo>
                  <a:lnTo>
                    <a:pt x="157" y="274"/>
                  </a:lnTo>
                  <a:lnTo>
                    <a:pt x="163" y="274"/>
                  </a:lnTo>
                  <a:lnTo>
                    <a:pt x="169" y="277"/>
                  </a:lnTo>
                  <a:lnTo>
                    <a:pt x="173" y="274"/>
                  </a:lnTo>
                  <a:lnTo>
                    <a:pt x="173" y="279"/>
                  </a:lnTo>
                  <a:lnTo>
                    <a:pt x="181" y="284"/>
                  </a:lnTo>
                  <a:lnTo>
                    <a:pt x="185" y="282"/>
                  </a:lnTo>
                  <a:lnTo>
                    <a:pt x="191" y="282"/>
                  </a:lnTo>
                  <a:lnTo>
                    <a:pt x="191" y="285"/>
                  </a:lnTo>
                  <a:lnTo>
                    <a:pt x="198" y="285"/>
                  </a:lnTo>
                  <a:lnTo>
                    <a:pt x="203" y="285"/>
                  </a:lnTo>
                  <a:lnTo>
                    <a:pt x="207" y="284"/>
                  </a:lnTo>
                  <a:lnTo>
                    <a:pt x="213" y="288"/>
                  </a:lnTo>
                  <a:lnTo>
                    <a:pt x="223" y="291"/>
                  </a:lnTo>
                  <a:lnTo>
                    <a:pt x="238" y="291"/>
                  </a:lnTo>
                  <a:lnTo>
                    <a:pt x="252" y="288"/>
                  </a:lnTo>
                  <a:lnTo>
                    <a:pt x="253" y="288"/>
                  </a:lnTo>
                  <a:lnTo>
                    <a:pt x="261" y="288"/>
                  </a:lnTo>
                  <a:lnTo>
                    <a:pt x="264" y="285"/>
                  </a:lnTo>
                  <a:lnTo>
                    <a:pt x="274" y="284"/>
                  </a:lnTo>
                  <a:lnTo>
                    <a:pt x="282" y="280"/>
                  </a:lnTo>
                  <a:lnTo>
                    <a:pt x="293" y="268"/>
                  </a:lnTo>
                  <a:lnTo>
                    <a:pt x="293" y="263"/>
                  </a:lnTo>
                  <a:lnTo>
                    <a:pt x="299" y="257"/>
                  </a:lnTo>
                  <a:lnTo>
                    <a:pt x="299" y="254"/>
                  </a:lnTo>
                  <a:lnTo>
                    <a:pt x="301" y="251"/>
                  </a:lnTo>
                  <a:lnTo>
                    <a:pt x="303" y="243"/>
                  </a:lnTo>
                  <a:lnTo>
                    <a:pt x="303" y="238"/>
                  </a:lnTo>
                  <a:lnTo>
                    <a:pt x="303" y="232"/>
                  </a:lnTo>
                  <a:lnTo>
                    <a:pt x="301" y="230"/>
                  </a:lnTo>
                  <a:lnTo>
                    <a:pt x="299" y="230"/>
                  </a:lnTo>
                  <a:lnTo>
                    <a:pt x="293" y="224"/>
                  </a:lnTo>
                  <a:lnTo>
                    <a:pt x="289" y="223"/>
                  </a:lnTo>
                  <a:lnTo>
                    <a:pt x="287" y="216"/>
                  </a:lnTo>
                  <a:lnTo>
                    <a:pt x="282" y="210"/>
                  </a:lnTo>
                  <a:lnTo>
                    <a:pt x="278" y="210"/>
                  </a:lnTo>
                  <a:lnTo>
                    <a:pt x="276" y="212"/>
                  </a:lnTo>
                  <a:lnTo>
                    <a:pt x="270" y="210"/>
                  </a:lnTo>
                  <a:lnTo>
                    <a:pt x="270" y="207"/>
                  </a:lnTo>
                  <a:lnTo>
                    <a:pt x="258" y="199"/>
                  </a:lnTo>
                  <a:lnTo>
                    <a:pt x="261" y="195"/>
                  </a:lnTo>
                  <a:lnTo>
                    <a:pt x="255" y="190"/>
                  </a:lnTo>
                  <a:lnTo>
                    <a:pt x="252" y="190"/>
                  </a:lnTo>
                  <a:lnTo>
                    <a:pt x="253" y="191"/>
                  </a:lnTo>
                  <a:lnTo>
                    <a:pt x="257" y="196"/>
                  </a:lnTo>
                  <a:lnTo>
                    <a:pt x="253" y="199"/>
                  </a:lnTo>
                  <a:lnTo>
                    <a:pt x="246" y="193"/>
                  </a:lnTo>
                  <a:lnTo>
                    <a:pt x="242" y="193"/>
                  </a:lnTo>
                  <a:lnTo>
                    <a:pt x="234" y="187"/>
                  </a:lnTo>
                  <a:lnTo>
                    <a:pt x="230" y="187"/>
                  </a:lnTo>
                  <a:lnTo>
                    <a:pt x="230" y="190"/>
                  </a:lnTo>
                  <a:lnTo>
                    <a:pt x="232" y="191"/>
                  </a:lnTo>
                  <a:lnTo>
                    <a:pt x="228" y="191"/>
                  </a:lnTo>
                  <a:lnTo>
                    <a:pt x="221" y="182"/>
                  </a:lnTo>
                  <a:lnTo>
                    <a:pt x="215" y="180"/>
                  </a:lnTo>
                  <a:lnTo>
                    <a:pt x="212" y="176"/>
                  </a:lnTo>
                  <a:lnTo>
                    <a:pt x="192" y="165"/>
                  </a:lnTo>
                  <a:lnTo>
                    <a:pt x="163" y="153"/>
                  </a:lnTo>
                  <a:lnTo>
                    <a:pt x="157" y="151"/>
                  </a:lnTo>
                  <a:lnTo>
                    <a:pt x="157" y="153"/>
                  </a:lnTo>
                  <a:lnTo>
                    <a:pt x="151" y="149"/>
                  </a:lnTo>
                  <a:lnTo>
                    <a:pt x="145" y="147"/>
                  </a:lnTo>
                  <a:lnTo>
                    <a:pt x="145" y="151"/>
                  </a:lnTo>
                  <a:lnTo>
                    <a:pt x="141" y="153"/>
                  </a:lnTo>
                  <a:lnTo>
                    <a:pt x="135" y="151"/>
                  </a:lnTo>
                  <a:lnTo>
                    <a:pt x="128" y="151"/>
                  </a:lnTo>
                  <a:lnTo>
                    <a:pt x="123" y="145"/>
                  </a:lnTo>
                  <a:lnTo>
                    <a:pt x="117" y="143"/>
                  </a:lnTo>
                  <a:lnTo>
                    <a:pt x="117" y="145"/>
                  </a:lnTo>
                  <a:lnTo>
                    <a:pt x="122" y="149"/>
                  </a:lnTo>
                  <a:lnTo>
                    <a:pt x="120" y="151"/>
                  </a:lnTo>
                  <a:lnTo>
                    <a:pt x="116" y="149"/>
                  </a:lnTo>
                  <a:lnTo>
                    <a:pt x="111" y="149"/>
                  </a:lnTo>
                  <a:lnTo>
                    <a:pt x="108" y="151"/>
                  </a:lnTo>
                  <a:lnTo>
                    <a:pt x="111" y="154"/>
                  </a:lnTo>
                  <a:lnTo>
                    <a:pt x="106" y="159"/>
                  </a:lnTo>
                  <a:lnTo>
                    <a:pt x="101" y="159"/>
                  </a:lnTo>
                  <a:lnTo>
                    <a:pt x="105" y="156"/>
                  </a:lnTo>
                  <a:lnTo>
                    <a:pt x="106" y="154"/>
                  </a:lnTo>
                  <a:lnTo>
                    <a:pt x="105" y="153"/>
                  </a:lnTo>
                  <a:lnTo>
                    <a:pt x="101" y="153"/>
                  </a:lnTo>
                  <a:lnTo>
                    <a:pt x="102" y="149"/>
                  </a:lnTo>
                  <a:lnTo>
                    <a:pt x="105" y="147"/>
                  </a:lnTo>
                  <a:lnTo>
                    <a:pt x="101" y="145"/>
                  </a:lnTo>
                  <a:lnTo>
                    <a:pt x="99" y="149"/>
                  </a:lnTo>
                  <a:lnTo>
                    <a:pt x="95" y="153"/>
                  </a:lnTo>
                  <a:lnTo>
                    <a:pt x="95" y="151"/>
                  </a:lnTo>
                  <a:lnTo>
                    <a:pt x="95" y="149"/>
                  </a:lnTo>
                  <a:lnTo>
                    <a:pt x="93" y="147"/>
                  </a:lnTo>
                  <a:lnTo>
                    <a:pt x="91" y="151"/>
                  </a:lnTo>
                  <a:lnTo>
                    <a:pt x="89" y="151"/>
                  </a:lnTo>
                  <a:lnTo>
                    <a:pt x="89" y="147"/>
                  </a:lnTo>
                  <a:lnTo>
                    <a:pt x="83" y="145"/>
                  </a:lnTo>
                  <a:lnTo>
                    <a:pt x="80" y="149"/>
                  </a:lnTo>
                  <a:lnTo>
                    <a:pt x="77" y="145"/>
                  </a:lnTo>
                  <a:lnTo>
                    <a:pt x="76" y="143"/>
                  </a:lnTo>
                  <a:lnTo>
                    <a:pt x="72" y="147"/>
                  </a:lnTo>
                  <a:lnTo>
                    <a:pt x="71" y="142"/>
                  </a:lnTo>
                  <a:lnTo>
                    <a:pt x="71" y="136"/>
                  </a:lnTo>
                  <a:lnTo>
                    <a:pt x="74" y="132"/>
                  </a:lnTo>
                  <a:lnTo>
                    <a:pt x="74" y="136"/>
                  </a:lnTo>
                  <a:lnTo>
                    <a:pt x="77" y="140"/>
                  </a:lnTo>
                  <a:lnTo>
                    <a:pt x="86" y="140"/>
                  </a:lnTo>
                  <a:lnTo>
                    <a:pt x="89" y="142"/>
                  </a:lnTo>
                  <a:lnTo>
                    <a:pt x="95" y="137"/>
                  </a:lnTo>
                  <a:lnTo>
                    <a:pt x="93" y="134"/>
                  </a:lnTo>
                  <a:lnTo>
                    <a:pt x="91" y="132"/>
                  </a:lnTo>
                  <a:lnTo>
                    <a:pt x="89" y="132"/>
                  </a:lnTo>
                  <a:lnTo>
                    <a:pt x="86" y="131"/>
                  </a:lnTo>
                  <a:lnTo>
                    <a:pt x="82" y="132"/>
                  </a:lnTo>
                  <a:lnTo>
                    <a:pt x="80" y="131"/>
                  </a:lnTo>
                  <a:lnTo>
                    <a:pt x="76" y="126"/>
                  </a:lnTo>
                  <a:lnTo>
                    <a:pt x="71" y="123"/>
                  </a:lnTo>
                  <a:lnTo>
                    <a:pt x="67" y="123"/>
                  </a:lnTo>
                  <a:lnTo>
                    <a:pt x="65" y="125"/>
                  </a:lnTo>
                  <a:lnTo>
                    <a:pt x="67" y="126"/>
                  </a:lnTo>
                  <a:lnTo>
                    <a:pt x="68" y="128"/>
                  </a:lnTo>
                  <a:lnTo>
                    <a:pt x="68" y="131"/>
                  </a:lnTo>
                  <a:lnTo>
                    <a:pt x="65" y="131"/>
                  </a:lnTo>
                  <a:lnTo>
                    <a:pt x="62" y="131"/>
                  </a:lnTo>
                  <a:lnTo>
                    <a:pt x="62" y="132"/>
                  </a:lnTo>
                  <a:lnTo>
                    <a:pt x="67" y="134"/>
                  </a:lnTo>
                  <a:lnTo>
                    <a:pt x="65" y="136"/>
                  </a:lnTo>
                  <a:lnTo>
                    <a:pt x="61" y="136"/>
                  </a:lnTo>
                  <a:lnTo>
                    <a:pt x="59" y="137"/>
                  </a:lnTo>
                  <a:lnTo>
                    <a:pt x="57" y="145"/>
                  </a:lnTo>
                  <a:lnTo>
                    <a:pt x="56" y="142"/>
                  </a:lnTo>
                  <a:lnTo>
                    <a:pt x="56" y="136"/>
                  </a:lnTo>
                  <a:lnTo>
                    <a:pt x="53" y="134"/>
                  </a:lnTo>
                  <a:lnTo>
                    <a:pt x="47" y="134"/>
                  </a:lnTo>
                  <a:lnTo>
                    <a:pt x="47" y="140"/>
                  </a:lnTo>
                  <a:lnTo>
                    <a:pt x="44" y="143"/>
                  </a:lnTo>
                  <a:lnTo>
                    <a:pt x="38" y="142"/>
                  </a:lnTo>
                  <a:lnTo>
                    <a:pt x="34" y="142"/>
                  </a:lnTo>
                  <a:lnTo>
                    <a:pt x="34" y="149"/>
                  </a:lnTo>
                  <a:lnTo>
                    <a:pt x="30" y="154"/>
                  </a:lnTo>
                  <a:lnTo>
                    <a:pt x="22" y="154"/>
                  </a:lnTo>
                  <a:lnTo>
                    <a:pt x="15" y="159"/>
                  </a:lnTo>
                  <a:lnTo>
                    <a:pt x="15" y="169"/>
                  </a:lnTo>
                  <a:lnTo>
                    <a:pt x="11" y="169"/>
                  </a:lnTo>
                  <a:lnTo>
                    <a:pt x="5" y="173"/>
                  </a:lnTo>
                  <a:lnTo>
                    <a:pt x="0" y="175"/>
                  </a:lnTo>
                  <a:lnTo>
                    <a:pt x="5" y="176"/>
                  </a:lnTo>
                  <a:lnTo>
                    <a:pt x="4" y="182"/>
                  </a:lnTo>
                  <a:lnTo>
                    <a:pt x="1" y="191"/>
                  </a:lnTo>
                  <a:lnTo>
                    <a:pt x="5" y="195"/>
                  </a:lnTo>
                  <a:lnTo>
                    <a:pt x="10" y="207"/>
                  </a:lnTo>
                  <a:lnTo>
                    <a:pt x="13" y="207"/>
                  </a:lnTo>
                  <a:lnTo>
                    <a:pt x="21" y="210"/>
                  </a:lnTo>
                  <a:lnTo>
                    <a:pt x="27" y="216"/>
                  </a:lnTo>
                  <a:lnTo>
                    <a:pt x="28" y="221"/>
                  </a:lnTo>
                  <a:lnTo>
                    <a:pt x="40" y="229"/>
                  </a:lnTo>
                  <a:lnTo>
                    <a:pt x="44" y="230"/>
                  </a:lnTo>
                  <a:lnTo>
                    <a:pt x="42" y="238"/>
                  </a:lnTo>
                  <a:lnTo>
                    <a:pt x="36" y="245"/>
                  </a:lnTo>
                  <a:lnTo>
                    <a:pt x="30" y="257"/>
                  </a:lnTo>
                  <a:lnTo>
                    <a:pt x="38" y="263"/>
                  </a:lnTo>
                  <a:lnTo>
                    <a:pt x="40" y="271"/>
                  </a:lnTo>
                  <a:lnTo>
                    <a:pt x="51" y="288"/>
                  </a:lnTo>
                  <a:lnTo>
                    <a:pt x="65" y="313"/>
                  </a:lnTo>
                  <a:lnTo>
                    <a:pt x="59" y="315"/>
                  </a:lnTo>
                  <a:lnTo>
                    <a:pt x="57" y="332"/>
                  </a:lnTo>
                  <a:lnTo>
                    <a:pt x="57" y="336"/>
                  </a:lnTo>
                  <a:lnTo>
                    <a:pt x="62" y="336"/>
                  </a:lnTo>
                  <a:lnTo>
                    <a:pt x="59" y="341"/>
                  </a:lnTo>
                  <a:lnTo>
                    <a:pt x="59" y="349"/>
                  </a:lnTo>
                  <a:lnTo>
                    <a:pt x="62" y="352"/>
                  </a:lnTo>
                  <a:lnTo>
                    <a:pt x="71" y="354"/>
                  </a:lnTo>
                  <a:lnTo>
                    <a:pt x="72" y="358"/>
                  </a:lnTo>
                  <a:lnTo>
                    <a:pt x="71" y="361"/>
                  </a:lnTo>
                  <a:lnTo>
                    <a:pt x="71" y="371"/>
                  </a:lnTo>
                  <a:lnTo>
                    <a:pt x="74" y="376"/>
                  </a:lnTo>
                  <a:lnTo>
                    <a:pt x="82" y="380"/>
                  </a:lnTo>
                  <a:lnTo>
                    <a:pt x="82" y="388"/>
                  </a:lnTo>
                  <a:lnTo>
                    <a:pt x="77" y="394"/>
                  </a:lnTo>
                  <a:lnTo>
                    <a:pt x="74" y="402"/>
                  </a:lnTo>
                  <a:lnTo>
                    <a:pt x="87" y="416"/>
                  </a:lnTo>
                  <a:lnTo>
                    <a:pt x="95" y="419"/>
                  </a:lnTo>
                  <a:lnTo>
                    <a:pt x="106" y="431"/>
                  </a:lnTo>
                  <a:lnTo>
                    <a:pt x="108" y="439"/>
                  </a:lnTo>
                  <a:lnTo>
                    <a:pt x="101" y="456"/>
                  </a:lnTo>
                  <a:lnTo>
                    <a:pt x="89" y="473"/>
                  </a:lnTo>
                  <a:lnTo>
                    <a:pt x="83" y="486"/>
                  </a:lnTo>
                  <a:lnTo>
                    <a:pt x="76" y="495"/>
                  </a:lnTo>
                  <a:lnTo>
                    <a:pt x="68" y="508"/>
                  </a:lnTo>
                  <a:lnTo>
                    <a:pt x="62" y="509"/>
                  </a:lnTo>
                  <a:lnTo>
                    <a:pt x="50" y="521"/>
                  </a:lnTo>
                  <a:lnTo>
                    <a:pt x="50" y="526"/>
                  </a:lnTo>
                  <a:lnTo>
                    <a:pt x="51" y="526"/>
                  </a:lnTo>
                  <a:lnTo>
                    <a:pt x="59" y="522"/>
                  </a:lnTo>
                  <a:lnTo>
                    <a:pt x="65" y="521"/>
                  </a:lnTo>
                  <a:lnTo>
                    <a:pt x="61" y="524"/>
                  </a:lnTo>
                  <a:lnTo>
                    <a:pt x="62" y="528"/>
                  </a:lnTo>
                  <a:lnTo>
                    <a:pt x="62" y="531"/>
                  </a:lnTo>
                  <a:lnTo>
                    <a:pt x="57" y="526"/>
                  </a:lnTo>
                  <a:lnTo>
                    <a:pt x="57" y="529"/>
                  </a:lnTo>
                  <a:lnTo>
                    <a:pt x="62" y="537"/>
                  </a:lnTo>
                  <a:lnTo>
                    <a:pt x="68" y="537"/>
                  </a:lnTo>
                  <a:lnTo>
                    <a:pt x="72" y="540"/>
                  </a:lnTo>
                  <a:lnTo>
                    <a:pt x="80" y="540"/>
                  </a:lnTo>
                  <a:lnTo>
                    <a:pt x="82" y="540"/>
                  </a:lnTo>
                  <a:lnTo>
                    <a:pt x="86" y="540"/>
                  </a:lnTo>
                  <a:lnTo>
                    <a:pt x="91" y="546"/>
                  </a:lnTo>
                  <a:lnTo>
                    <a:pt x="87" y="550"/>
                  </a:lnTo>
                  <a:lnTo>
                    <a:pt x="80" y="548"/>
                  </a:lnTo>
                  <a:lnTo>
                    <a:pt x="76" y="548"/>
                  </a:lnTo>
                  <a:lnTo>
                    <a:pt x="74" y="553"/>
                  </a:lnTo>
                  <a:lnTo>
                    <a:pt x="68" y="557"/>
                  </a:lnTo>
                  <a:lnTo>
                    <a:pt x="62" y="553"/>
                  </a:lnTo>
                  <a:lnTo>
                    <a:pt x="59" y="557"/>
                  </a:lnTo>
                  <a:lnTo>
                    <a:pt x="59" y="561"/>
                  </a:lnTo>
                  <a:lnTo>
                    <a:pt x="56" y="562"/>
                  </a:lnTo>
                  <a:lnTo>
                    <a:pt x="53" y="559"/>
                  </a:lnTo>
                  <a:lnTo>
                    <a:pt x="50" y="559"/>
                  </a:lnTo>
                  <a:lnTo>
                    <a:pt x="50" y="562"/>
                  </a:lnTo>
                  <a:lnTo>
                    <a:pt x="53" y="567"/>
                  </a:lnTo>
                  <a:lnTo>
                    <a:pt x="51" y="573"/>
                  </a:lnTo>
                  <a:lnTo>
                    <a:pt x="53" y="576"/>
                  </a:lnTo>
                  <a:lnTo>
                    <a:pt x="53" y="578"/>
                  </a:lnTo>
                  <a:lnTo>
                    <a:pt x="47" y="584"/>
                  </a:lnTo>
                  <a:lnTo>
                    <a:pt x="45" y="591"/>
                  </a:lnTo>
                  <a:lnTo>
                    <a:pt x="44" y="593"/>
                  </a:lnTo>
                  <a:lnTo>
                    <a:pt x="42" y="609"/>
                  </a:lnTo>
                  <a:lnTo>
                    <a:pt x="53" y="629"/>
                  </a:lnTo>
                  <a:lnTo>
                    <a:pt x="53" y="635"/>
                  </a:lnTo>
                  <a:lnTo>
                    <a:pt x="50" y="638"/>
                  </a:lnTo>
                  <a:lnTo>
                    <a:pt x="51" y="643"/>
                  </a:lnTo>
                  <a:lnTo>
                    <a:pt x="45" y="649"/>
                  </a:lnTo>
                  <a:lnTo>
                    <a:pt x="51" y="649"/>
                  </a:lnTo>
                  <a:lnTo>
                    <a:pt x="53" y="654"/>
                  </a:lnTo>
                  <a:lnTo>
                    <a:pt x="51" y="655"/>
                  </a:lnTo>
                  <a:lnTo>
                    <a:pt x="53" y="658"/>
                  </a:lnTo>
                  <a:lnTo>
                    <a:pt x="56" y="661"/>
                  </a:lnTo>
                  <a:lnTo>
                    <a:pt x="56" y="665"/>
                  </a:lnTo>
                  <a:lnTo>
                    <a:pt x="59" y="671"/>
                  </a:lnTo>
                  <a:lnTo>
                    <a:pt x="61" y="674"/>
                  </a:lnTo>
                  <a:lnTo>
                    <a:pt x="62" y="680"/>
                  </a:lnTo>
                  <a:lnTo>
                    <a:pt x="67" y="685"/>
                  </a:lnTo>
                  <a:lnTo>
                    <a:pt x="68" y="693"/>
                  </a:lnTo>
                  <a:lnTo>
                    <a:pt x="71" y="690"/>
                  </a:lnTo>
                  <a:lnTo>
                    <a:pt x="74" y="694"/>
                  </a:lnTo>
                  <a:lnTo>
                    <a:pt x="82" y="690"/>
                  </a:lnTo>
                  <a:lnTo>
                    <a:pt x="87" y="698"/>
                  </a:lnTo>
                  <a:lnTo>
                    <a:pt x="93" y="696"/>
                  </a:lnTo>
                  <a:lnTo>
                    <a:pt x="99" y="696"/>
                  </a:lnTo>
                  <a:lnTo>
                    <a:pt x="105" y="705"/>
                  </a:lnTo>
                  <a:lnTo>
                    <a:pt x="112" y="699"/>
                  </a:lnTo>
                  <a:lnTo>
                    <a:pt x="120" y="698"/>
                  </a:lnTo>
                  <a:lnTo>
                    <a:pt x="123" y="702"/>
                  </a:lnTo>
                  <a:lnTo>
                    <a:pt x="128" y="702"/>
                  </a:lnTo>
                  <a:lnTo>
                    <a:pt x="139" y="705"/>
                  </a:lnTo>
                  <a:lnTo>
                    <a:pt x="141" y="711"/>
                  </a:lnTo>
                  <a:lnTo>
                    <a:pt x="139" y="716"/>
                  </a:lnTo>
                  <a:lnTo>
                    <a:pt x="143" y="722"/>
                  </a:lnTo>
                  <a:lnTo>
                    <a:pt x="143" y="730"/>
                  </a:lnTo>
                  <a:lnTo>
                    <a:pt x="151" y="735"/>
                  </a:lnTo>
                  <a:lnTo>
                    <a:pt x="152" y="742"/>
                  </a:lnTo>
                  <a:lnTo>
                    <a:pt x="160" y="752"/>
                  </a:lnTo>
                  <a:lnTo>
                    <a:pt x="166" y="753"/>
                  </a:lnTo>
                  <a:lnTo>
                    <a:pt x="168" y="763"/>
                  </a:lnTo>
                  <a:lnTo>
                    <a:pt x="177" y="764"/>
                  </a:lnTo>
                  <a:lnTo>
                    <a:pt x="188" y="772"/>
                  </a:lnTo>
                  <a:lnTo>
                    <a:pt x="188" y="778"/>
                  </a:lnTo>
                  <a:lnTo>
                    <a:pt x="196" y="781"/>
                  </a:lnTo>
                  <a:lnTo>
                    <a:pt x="192" y="783"/>
                  </a:lnTo>
                  <a:lnTo>
                    <a:pt x="186" y="792"/>
                  </a:lnTo>
                  <a:lnTo>
                    <a:pt x="173" y="794"/>
                  </a:lnTo>
                  <a:lnTo>
                    <a:pt x="168" y="789"/>
                  </a:lnTo>
                  <a:lnTo>
                    <a:pt x="163" y="792"/>
                  </a:lnTo>
                  <a:lnTo>
                    <a:pt x="166" y="798"/>
                  </a:lnTo>
                  <a:lnTo>
                    <a:pt x="169" y="808"/>
                  </a:lnTo>
                  <a:lnTo>
                    <a:pt x="169" y="813"/>
                  </a:lnTo>
                  <a:lnTo>
                    <a:pt x="175" y="820"/>
                  </a:lnTo>
                  <a:lnTo>
                    <a:pt x="175" y="826"/>
                  </a:lnTo>
                  <a:lnTo>
                    <a:pt x="181" y="826"/>
                  </a:lnTo>
                  <a:lnTo>
                    <a:pt x="186" y="826"/>
                  </a:lnTo>
                  <a:lnTo>
                    <a:pt x="186" y="820"/>
                  </a:lnTo>
                  <a:lnTo>
                    <a:pt x="191" y="817"/>
                  </a:lnTo>
                  <a:lnTo>
                    <a:pt x="203" y="820"/>
                  </a:lnTo>
                  <a:lnTo>
                    <a:pt x="218" y="820"/>
                  </a:lnTo>
                  <a:lnTo>
                    <a:pt x="224" y="818"/>
                  </a:lnTo>
                  <a:lnTo>
                    <a:pt x="232" y="818"/>
                  </a:lnTo>
                  <a:lnTo>
                    <a:pt x="236" y="830"/>
                  </a:lnTo>
                  <a:lnTo>
                    <a:pt x="242" y="833"/>
                  </a:lnTo>
                  <a:lnTo>
                    <a:pt x="238" y="839"/>
                  </a:lnTo>
                  <a:lnTo>
                    <a:pt x="246" y="848"/>
                  </a:lnTo>
                  <a:lnTo>
                    <a:pt x="261" y="845"/>
                  </a:lnTo>
                  <a:lnTo>
                    <a:pt x="267" y="850"/>
                  </a:lnTo>
                  <a:lnTo>
                    <a:pt x="269" y="856"/>
                  </a:lnTo>
                  <a:lnTo>
                    <a:pt x="274" y="856"/>
                  </a:lnTo>
                  <a:lnTo>
                    <a:pt x="274" y="862"/>
                  </a:lnTo>
                  <a:lnTo>
                    <a:pt x="276" y="870"/>
                  </a:lnTo>
                  <a:lnTo>
                    <a:pt x="289" y="881"/>
                  </a:lnTo>
                  <a:lnTo>
                    <a:pt x="293" y="875"/>
                  </a:lnTo>
                  <a:lnTo>
                    <a:pt x="301" y="879"/>
                  </a:lnTo>
                  <a:lnTo>
                    <a:pt x="308" y="878"/>
                  </a:lnTo>
                  <a:lnTo>
                    <a:pt x="313" y="879"/>
                  </a:lnTo>
                  <a:lnTo>
                    <a:pt x="324" y="873"/>
                  </a:lnTo>
                  <a:lnTo>
                    <a:pt x="327" y="872"/>
                  </a:lnTo>
                  <a:lnTo>
                    <a:pt x="333" y="884"/>
                  </a:lnTo>
                  <a:lnTo>
                    <a:pt x="342" y="889"/>
                  </a:lnTo>
                  <a:lnTo>
                    <a:pt x="344" y="894"/>
                  </a:lnTo>
                  <a:lnTo>
                    <a:pt x="348" y="890"/>
                  </a:lnTo>
                  <a:lnTo>
                    <a:pt x="359" y="892"/>
                  </a:lnTo>
                  <a:lnTo>
                    <a:pt x="365" y="892"/>
                  </a:lnTo>
                  <a:lnTo>
                    <a:pt x="371" y="896"/>
                  </a:lnTo>
                  <a:lnTo>
                    <a:pt x="377" y="894"/>
                  </a:lnTo>
                  <a:lnTo>
                    <a:pt x="384" y="898"/>
                  </a:lnTo>
                  <a:lnTo>
                    <a:pt x="394" y="900"/>
                  </a:lnTo>
                  <a:lnTo>
                    <a:pt x="398" y="896"/>
                  </a:lnTo>
                  <a:lnTo>
                    <a:pt x="399" y="901"/>
                  </a:lnTo>
                  <a:lnTo>
                    <a:pt x="404" y="903"/>
                  </a:lnTo>
                  <a:lnTo>
                    <a:pt x="404" y="911"/>
                  </a:lnTo>
                  <a:lnTo>
                    <a:pt x="399" y="917"/>
                  </a:lnTo>
                  <a:lnTo>
                    <a:pt x="394" y="917"/>
                  </a:lnTo>
                  <a:lnTo>
                    <a:pt x="393" y="928"/>
                  </a:lnTo>
                  <a:lnTo>
                    <a:pt x="399" y="933"/>
                  </a:lnTo>
                  <a:lnTo>
                    <a:pt x="402" y="939"/>
                  </a:lnTo>
                  <a:lnTo>
                    <a:pt x="398" y="948"/>
                  </a:lnTo>
                  <a:lnTo>
                    <a:pt x="398" y="955"/>
                  </a:lnTo>
                  <a:lnTo>
                    <a:pt x="394" y="957"/>
                  </a:lnTo>
                  <a:lnTo>
                    <a:pt x="381" y="959"/>
                  </a:lnTo>
                  <a:lnTo>
                    <a:pt x="373" y="966"/>
                  </a:lnTo>
                  <a:lnTo>
                    <a:pt x="371" y="968"/>
                  </a:lnTo>
                  <a:lnTo>
                    <a:pt x="370" y="979"/>
                  </a:lnTo>
                  <a:lnTo>
                    <a:pt x="375" y="979"/>
                  </a:lnTo>
                  <a:lnTo>
                    <a:pt x="383" y="976"/>
                  </a:lnTo>
                  <a:lnTo>
                    <a:pt x="388" y="976"/>
                  </a:lnTo>
                  <a:lnTo>
                    <a:pt x="390" y="977"/>
                  </a:lnTo>
                  <a:lnTo>
                    <a:pt x="390" y="981"/>
                  </a:lnTo>
                  <a:lnTo>
                    <a:pt x="375" y="988"/>
                  </a:lnTo>
                  <a:lnTo>
                    <a:pt x="370" y="993"/>
                  </a:lnTo>
                  <a:lnTo>
                    <a:pt x="371" y="994"/>
                  </a:lnTo>
                  <a:lnTo>
                    <a:pt x="375" y="994"/>
                  </a:lnTo>
                  <a:lnTo>
                    <a:pt x="371" y="998"/>
                  </a:lnTo>
                  <a:lnTo>
                    <a:pt x="365" y="998"/>
                  </a:lnTo>
                  <a:lnTo>
                    <a:pt x="356" y="998"/>
                  </a:lnTo>
                  <a:lnTo>
                    <a:pt x="359" y="1004"/>
                  </a:lnTo>
                  <a:lnTo>
                    <a:pt x="364" y="1009"/>
                  </a:lnTo>
                  <a:lnTo>
                    <a:pt x="365" y="1007"/>
                  </a:lnTo>
                  <a:lnTo>
                    <a:pt x="368" y="1009"/>
                  </a:lnTo>
                  <a:lnTo>
                    <a:pt x="373" y="1010"/>
                  </a:lnTo>
                  <a:lnTo>
                    <a:pt x="373" y="1012"/>
                  </a:lnTo>
                  <a:lnTo>
                    <a:pt x="370" y="1012"/>
                  </a:lnTo>
                  <a:lnTo>
                    <a:pt x="368" y="1016"/>
                  </a:lnTo>
                  <a:lnTo>
                    <a:pt x="364" y="1016"/>
                  </a:lnTo>
                  <a:lnTo>
                    <a:pt x="362" y="1018"/>
                  </a:lnTo>
                  <a:lnTo>
                    <a:pt x="362" y="1020"/>
                  </a:lnTo>
                  <a:lnTo>
                    <a:pt x="356" y="1026"/>
                  </a:lnTo>
                  <a:lnTo>
                    <a:pt x="356" y="1029"/>
                  </a:lnTo>
                  <a:lnTo>
                    <a:pt x="358" y="1031"/>
                  </a:lnTo>
                  <a:lnTo>
                    <a:pt x="356" y="1038"/>
                  </a:lnTo>
                  <a:lnTo>
                    <a:pt x="353" y="1038"/>
                  </a:lnTo>
                  <a:lnTo>
                    <a:pt x="350" y="1038"/>
                  </a:lnTo>
                  <a:lnTo>
                    <a:pt x="347" y="1035"/>
                  </a:lnTo>
                  <a:lnTo>
                    <a:pt x="339" y="1035"/>
                  </a:lnTo>
                  <a:lnTo>
                    <a:pt x="339" y="1037"/>
                  </a:lnTo>
                  <a:lnTo>
                    <a:pt x="341" y="1040"/>
                  </a:lnTo>
                  <a:lnTo>
                    <a:pt x="337" y="1043"/>
                  </a:lnTo>
                  <a:lnTo>
                    <a:pt x="333" y="1043"/>
                  </a:lnTo>
                  <a:lnTo>
                    <a:pt x="341" y="1046"/>
                  </a:lnTo>
                  <a:lnTo>
                    <a:pt x="342" y="1043"/>
                  </a:lnTo>
                  <a:lnTo>
                    <a:pt x="350" y="1049"/>
                  </a:lnTo>
                  <a:lnTo>
                    <a:pt x="350" y="1054"/>
                  </a:lnTo>
                  <a:lnTo>
                    <a:pt x="358" y="1058"/>
                  </a:lnTo>
                  <a:lnTo>
                    <a:pt x="368" y="1058"/>
                  </a:lnTo>
                  <a:lnTo>
                    <a:pt x="379" y="1064"/>
                  </a:lnTo>
                  <a:lnTo>
                    <a:pt x="387" y="1066"/>
                  </a:lnTo>
                  <a:lnTo>
                    <a:pt x="404" y="1077"/>
                  </a:lnTo>
                  <a:lnTo>
                    <a:pt x="408" y="1083"/>
                  </a:lnTo>
                  <a:lnTo>
                    <a:pt x="411" y="1085"/>
                  </a:lnTo>
                  <a:lnTo>
                    <a:pt x="413" y="1088"/>
                  </a:lnTo>
                  <a:lnTo>
                    <a:pt x="419" y="1091"/>
                  </a:lnTo>
                  <a:lnTo>
                    <a:pt x="423" y="1091"/>
                  </a:lnTo>
                  <a:lnTo>
                    <a:pt x="425" y="1094"/>
                  </a:lnTo>
                  <a:lnTo>
                    <a:pt x="430" y="1096"/>
                  </a:lnTo>
                  <a:lnTo>
                    <a:pt x="432" y="1096"/>
                  </a:lnTo>
                  <a:lnTo>
                    <a:pt x="436" y="1103"/>
                  </a:lnTo>
                  <a:lnTo>
                    <a:pt x="442" y="1103"/>
                  </a:lnTo>
                  <a:lnTo>
                    <a:pt x="445" y="1105"/>
                  </a:lnTo>
                  <a:lnTo>
                    <a:pt x="448" y="1103"/>
                  </a:lnTo>
                  <a:lnTo>
                    <a:pt x="455" y="1108"/>
                  </a:lnTo>
                  <a:lnTo>
                    <a:pt x="455" y="1110"/>
                  </a:lnTo>
                  <a:lnTo>
                    <a:pt x="463" y="1113"/>
                  </a:lnTo>
                  <a:lnTo>
                    <a:pt x="469" y="1119"/>
                  </a:lnTo>
                  <a:lnTo>
                    <a:pt x="472" y="1124"/>
                  </a:lnTo>
                  <a:lnTo>
                    <a:pt x="472" y="1135"/>
                  </a:lnTo>
                  <a:lnTo>
                    <a:pt x="478" y="1141"/>
                  </a:lnTo>
                  <a:lnTo>
                    <a:pt x="476" y="1144"/>
                  </a:lnTo>
                  <a:lnTo>
                    <a:pt x="478" y="1149"/>
                  </a:lnTo>
                  <a:lnTo>
                    <a:pt x="480" y="1149"/>
                  </a:lnTo>
                  <a:lnTo>
                    <a:pt x="482" y="1155"/>
                  </a:lnTo>
                  <a:lnTo>
                    <a:pt x="483" y="1155"/>
                  </a:lnTo>
                  <a:lnTo>
                    <a:pt x="488" y="1153"/>
                  </a:lnTo>
                  <a:lnTo>
                    <a:pt x="495" y="1155"/>
                  </a:lnTo>
                  <a:lnTo>
                    <a:pt x="497" y="1155"/>
                  </a:lnTo>
                  <a:lnTo>
                    <a:pt x="500" y="1152"/>
                  </a:lnTo>
                  <a:lnTo>
                    <a:pt x="506" y="1153"/>
                  </a:lnTo>
                  <a:lnTo>
                    <a:pt x="518" y="1161"/>
                  </a:lnTo>
                  <a:lnTo>
                    <a:pt x="524" y="1163"/>
                  </a:lnTo>
                  <a:lnTo>
                    <a:pt x="531" y="1161"/>
                  </a:lnTo>
                  <a:lnTo>
                    <a:pt x="544" y="1157"/>
                  </a:lnTo>
                  <a:lnTo>
                    <a:pt x="549" y="1158"/>
                  </a:lnTo>
                  <a:lnTo>
                    <a:pt x="564" y="1158"/>
                  </a:lnTo>
                  <a:lnTo>
                    <a:pt x="569" y="1164"/>
                  </a:lnTo>
                  <a:lnTo>
                    <a:pt x="566" y="1158"/>
                  </a:lnTo>
                  <a:lnTo>
                    <a:pt x="566" y="1155"/>
                  </a:lnTo>
                  <a:lnTo>
                    <a:pt x="575" y="1152"/>
                  </a:lnTo>
                  <a:lnTo>
                    <a:pt x="592" y="1158"/>
                  </a:lnTo>
                  <a:lnTo>
                    <a:pt x="601" y="1158"/>
                  </a:lnTo>
                  <a:lnTo>
                    <a:pt x="612" y="1164"/>
                  </a:lnTo>
                  <a:lnTo>
                    <a:pt x="613" y="1155"/>
                  </a:lnTo>
                  <a:lnTo>
                    <a:pt x="610" y="1149"/>
                  </a:lnTo>
                  <a:lnTo>
                    <a:pt x="601" y="1146"/>
                  </a:lnTo>
                  <a:lnTo>
                    <a:pt x="606" y="1138"/>
                  </a:lnTo>
                  <a:lnTo>
                    <a:pt x="613" y="1138"/>
                  </a:lnTo>
                  <a:lnTo>
                    <a:pt x="626" y="1147"/>
                  </a:lnTo>
                  <a:lnTo>
                    <a:pt x="630" y="1153"/>
                  </a:lnTo>
                  <a:lnTo>
                    <a:pt x="641" y="1155"/>
                  </a:lnTo>
                  <a:lnTo>
                    <a:pt x="646" y="1149"/>
                  </a:lnTo>
                  <a:lnTo>
                    <a:pt x="653" y="1146"/>
                  </a:lnTo>
                  <a:lnTo>
                    <a:pt x="662" y="1136"/>
                  </a:lnTo>
                  <a:lnTo>
                    <a:pt x="661" y="1135"/>
                  </a:lnTo>
                  <a:lnTo>
                    <a:pt x="646" y="1124"/>
                  </a:lnTo>
                  <a:lnTo>
                    <a:pt x="635" y="1113"/>
                  </a:lnTo>
                  <a:lnTo>
                    <a:pt x="632" y="1105"/>
                  </a:lnTo>
                  <a:lnTo>
                    <a:pt x="629" y="1101"/>
                  </a:lnTo>
                  <a:lnTo>
                    <a:pt x="629" y="1094"/>
                  </a:lnTo>
                  <a:lnTo>
                    <a:pt x="626" y="1091"/>
                  </a:lnTo>
                  <a:lnTo>
                    <a:pt x="626" y="1088"/>
                  </a:lnTo>
                  <a:lnTo>
                    <a:pt x="623" y="1088"/>
                  </a:lnTo>
                  <a:lnTo>
                    <a:pt x="623" y="1085"/>
                  </a:lnTo>
                  <a:lnTo>
                    <a:pt x="625" y="1085"/>
                  </a:lnTo>
                  <a:lnTo>
                    <a:pt x="626" y="1080"/>
                  </a:lnTo>
                  <a:lnTo>
                    <a:pt x="629" y="1077"/>
                  </a:lnTo>
                  <a:lnTo>
                    <a:pt x="626" y="1077"/>
                  </a:lnTo>
                  <a:lnTo>
                    <a:pt x="623" y="1079"/>
                  </a:lnTo>
                  <a:lnTo>
                    <a:pt x="617" y="1075"/>
                  </a:lnTo>
                  <a:lnTo>
                    <a:pt x="617" y="1068"/>
                  </a:lnTo>
                  <a:lnTo>
                    <a:pt x="612" y="1066"/>
                  </a:lnTo>
                  <a:lnTo>
                    <a:pt x="607" y="1063"/>
                  </a:lnTo>
                  <a:lnTo>
                    <a:pt x="604" y="1063"/>
                  </a:lnTo>
                  <a:lnTo>
                    <a:pt x="600" y="1063"/>
                  </a:lnTo>
                  <a:lnTo>
                    <a:pt x="598" y="1055"/>
                  </a:lnTo>
                  <a:lnTo>
                    <a:pt x="600" y="1049"/>
                  </a:lnTo>
                  <a:lnTo>
                    <a:pt x="601" y="1048"/>
                  </a:lnTo>
                  <a:lnTo>
                    <a:pt x="601" y="1038"/>
                  </a:lnTo>
                  <a:lnTo>
                    <a:pt x="604" y="1035"/>
                  </a:lnTo>
                  <a:lnTo>
                    <a:pt x="606" y="1029"/>
                  </a:lnTo>
                  <a:lnTo>
                    <a:pt x="610" y="1027"/>
                  </a:lnTo>
                  <a:lnTo>
                    <a:pt x="610" y="1024"/>
                  </a:lnTo>
                  <a:lnTo>
                    <a:pt x="613" y="1018"/>
                  </a:lnTo>
                  <a:lnTo>
                    <a:pt x="613" y="1016"/>
                  </a:lnTo>
                  <a:lnTo>
                    <a:pt x="615" y="1016"/>
                  </a:lnTo>
                  <a:lnTo>
                    <a:pt x="619" y="1018"/>
                  </a:lnTo>
                  <a:lnTo>
                    <a:pt x="621" y="1018"/>
                  </a:lnTo>
                  <a:lnTo>
                    <a:pt x="623" y="1015"/>
                  </a:lnTo>
                  <a:lnTo>
                    <a:pt x="625" y="1016"/>
                  </a:lnTo>
                  <a:lnTo>
                    <a:pt x="626" y="1015"/>
                  </a:lnTo>
                  <a:lnTo>
                    <a:pt x="630" y="1015"/>
                  </a:lnTo>
                  <a:lnTo>
                    <a:pt x="635" y="1012"/>
                  </a:lnTo>
                  <a:lnTo>
                    <a:pt x="635" y="1010"/>
                  </a:lnTo>
                  <a:lnTo>
                    <a:pt x="630" y="1009"/>
                  </a:lnTo>
                  <a:lnTo>
                    <a:pt x="632" y="1009"/>
                  </a:lnTo>
                  <a:lnTo>
                    <a:pt x="635" y="1010"/>
                  </a:lnTo>
                  <a:lnTo>
                    <a:pt x="638" y="1009"/>
                  </a:lnTo>
                  <a:lnTo>
                    <a:pt x="641" y="1010"/>
                  </a:lnTo>
                  <a:lnTo>
                    <a:pt x="644" y="1009"/>
                  </a:lnTo>
                  <a:lnTo>
                    <a:pt x="641" y="1007"/>
                  </a:lnTo>
                  <a:lnTo>
                    <a:pt x="635" y="1003"/>
                  </a:lnTo>
                  <a:lnTo>
                    <a:pt x="638" y="1001"/>
                  </a:lnTo>
                  <a:lnTo>
                    <a:pt x="644" y="1003"/>
                  </a:lnTo>
                  <a:lnTo>
                    <a:pt x="646" y="1003"/>
                  </a:lnTo>
                  <a:lnTo>
                    <a:pt x="650" y="1003"/>
                  </a:lnTo>
                  <a:lnTo>
                    <a:pt x="650" y="1001"/>
                  </a:lnTo>
                  <a:lnTo>
                    <a:pt x="647" y="999"/>
                  </a:lnTo>
                  <a:lnTo>
                    <a:pt x="650" y="999"/>
                  </a:lnTo>
                  <a:lnTo>
                    <a:pt x="650" y="996"/>
                  </a:lnTo>
                  <a:lnTo>
                    <a:pt x="647" y="994"/>
                  </a:lnTo>
                  <a:lnTo>
                    <a:pt x="651" y="994"/>
                  </a:lnTo>
                  <a:lnTo>
                    <a:pt x="651" y="993"/>
                  </a:lnTo>
                  <a:lnTo>
                    <a:pt x="651" y="988"/>
                  </a:lnTo>
                  <a:lnTo>
                    <a:pt x="653" y="988"/>
                  </a:lnTo>
                  <a:lnTo>
                    <a:pt x="646" y="985"/>
                  </a:lnTo>
                  <a:lnTo>
                    <a:pt x="638" y="987"/>
                  </a:lnTo>
                  <a:lnTo>
                    <a:pt x="629" y="981"/>
                  </a:lnTo>
                  <a:lnTo>
                    <a:pt x="629" y="977"/>
                  </a:lnTo>
                  <a:lnTo>
                    <a:pt x="640" y="977"/>
                  </a:lnTo>
                  <a:lnTo>
                    <a:pt x="629" y="960"/>
                  </a:lnTo>
                  <a:lnTo>
                    <a:pt x="615" y="949"/>
                  </a:lnTo>
                  <a:lnTo>
                    <a:pt x="598" y="946"/>
                  </a:lnTo>
                  <a:lnTo>
                    <a:pt x="596" y="949"/>
                  </a:lnTo>
                  <a:lnTo>
                    <a:pt x="586" y="942"/>
                  </a:lnTo>
                  <a:lnTo>
                    <a:pt x="589" y="939"/>
                  </a:lnTo>
                  <a:lnTo>
                    <a:pt x="583" y="933"/>
                  </a:lnTo>
                  <a:lnTo>
                    <a:pt x="571" y="929"/>
                  </a:lnTo>
                  <a:lnTo>
                    <a:pt x="575" y="920"/>
                  </a:lnTo>
                  <a:lnTo>
                    <a:pt x="579" y="906"/>
                  </a:lnTo>
                  <a:lnTo>
                    <a:pt x="575" y="901"/>
                  </a:lnTo>
                  <a:lnTo>
                    <a:pt x="573" y="889"/>
                  </a:lnTo>
                  <a:lnTo>
                    <a:pt x="579" y="887"/>
                  </a:lnTo>
                  <a:lnTo>
                    <a:pt x="584" y="879"/>
                  </a:lnTo>
                  <a:lnTo>
                    <a:pt x="584" y="873"/>
                  </a:lnTo>
                  <a:lnTo>
                    <a:pt x="590" y="868"/>
                  </a:lnTo>
                  <a:lnTo>
                    <a:pt x="604" y="879"/>
                  </a:lnTo>
                  <a:lnTo>
                    <a:pt x="606" y="884"/>
                  </a:lnTo>
                  <a:lnTo>
                    <a:pt x="615" y="889"/>
                  </a:lnTo>
                  <a:lnTo>
                    <a:pt x="623" y="889"/>
                  </a:lnTo>
                  <a:lnTo>
                    <a:pt x="623" y="881"/>
                  </a:lnTo>
                  <a:lnTo>
                    <a:pt x="626" y="879"/>
                  </a:lnTo>
                  <a:lnTo>
                    <a:pt x="619" y="859"/>
                  </a:lnTo>
                  <a:lnTo>
                    <a:pt x="629" y="859"/>
                  </a:lnTo>
                  <a:lnTo>
                    <a:pt x="636" y="859"/>
                  </a:lnTo>
                  <a:lnTo>
                    <a:pt x="636" y="851"/>
                  </a:lnTo>
                  <a:lnTo>
                    <a:pt x="632" y="848"/>
                  </a:lnTo>
                  <a:lnTo>
                    <a:pt x="635" y="842"/>
                  </a:lnTo>
                  <a:lnTo>
                    <a:pt x="644" y="839"/>
                  </a:lnTo>
                  <a:lnTo>
                    <a:pt x="647" y="836"/>
                  </a:lnTo>
                  <a:lnTo>
                    <a:pt x="650" y="831"/>
                  </a:lnTo>
                  <a:lnTo>
                    <a:pt x="653" y="827"/>
                  </a:lnTo>
                  <a:lnTo>
                    <a:pt x="659" y="830"/>
                  </a:lnTo>
                  <a:lnTo>
                    <a:pt x="661" y="826"/>
                  </a:lnTo>
                  <a:lnTo>
                    <a:pt x="659" y="820"/>
                  </a:lnTo>
                  <a:lnTo>
                    <a:pt x="661" y="818"/>
                  </a:lnTo>
                  <a:lnTo>
                    <a:pt x="668" y="822"/>
                  </a:lnTo>
                  <a:lnTo>
                    <a:pt x="674" y="824"/>
                  </a:lnTo>
                  <a:lnTo>
                    <a:pt x="674" y="827"/>
                  </a:lnTo>
                  <a:lnTo>
                    <a:pt x="670" y="831"/>
                  </a:lnTo>
                  <a:lnTo>
                    <a:pt x="672" y="835"/>
                  </a:lnTo>
                  <a:lnTo>
                    <a:pt x="678" y="831"/>
                  </a:lnTo>
                  <a:lnTo>
                    <a:pt x="680" y="827"/>
                  </a:lnTo>
                  <a:lnTo>
                    <a:pt x="684" y="826"/>
                  </a:lnTo>
                  <a:lnTo>
                    <a:pt x="684" y="830"/>
                  </a:lnTo>
                  <a:lnTo>
                    <a:pt x="687" y="826"/>
                  </a:lnTo>
                  <a:lnTo>
                    <a:pt x="687" y="824"/>
                  </a:lnTo>
                  <a:lnTo>
                    <a:pt x="693" y="824"/>
                  </a:lnTo>
                  <a:lnTo>
                    <a:pt x="699" y="820"/>
                  </a:lnTo>
                  <a:lnTo>
                    <a:pt x="705" y="820"/>
                  </a:lnTo>
                  <a:lnTo>
                    <a:pt x="707" y="826"/>
                  </a:lnTo>
                  <a:lnTo>
                    <a:pt x="714" y="830"/>
                  </a:lnTo>
                  <a:lnTo>
                    <a:pt x="724" y="827"/>
                  </a:lnTo>
                  <a:lnTo>
                    <a:pt x="727" y="827"/>
                  </a:lnTo>
                  <a:lnTo>
                    <a:pt x="731" y="831"/>
                  </a:lnTo>
                  <a:lnTo>
                    <a:pt x="733" y="831"/>
                  </a:lnTo>
                  <a:lnTo>
                    <a:pt x="739" y="836"/>
                  </a:lnTo>
                  <a:lnTo>
                    <a:pt x="747" y="836"/>
                  </a:lnTo>
                  <a:lnTo>
                    <a:pt x="751" y="842"/>
                  </a:lnTo>
                  <a:lnTo>
                    <a:pt x="759" y="848"/>
                  </a:lnTo>
                  <a:lnTo>
                    <a:pt x="762" y="848"/>
                  </a:lnTo>
                  <a:lnTo>
                    <a:pt x="763" y="851"/>
                  </a:lnTo>
                  <a:lnTo>
                    <a:pt x="766" y="857"/>
                  </a:lnTo>
                  <a:lnTo>
                    <a:pt x="767" y="857"/>
                  </a:lnTo>
                  <a:lnTo>
                    <a:pt x="771" y="853"/>
                  </a:lnTo>
                  <a:lnTo>
                    <a:pt x="771" y="845"/>
                  </a:lnTo>
                  <a:lnTo>
                    <a:pt x="777" y="844"/>
                  </a:lnTo>
                  <a:lnTo>
                    <a:pt x="781" y="848"/>
                  </a:lnTo>
                  <a:lnTo>
                    <a:pt x="791" y="850"/>
                  </a:lnTo>
                  <a:lnTo>
                    <a:pt x="794" y="856"/>
                  </a:lnTo>
                  <a:lnTo>
                    <a:pt x="797" y="856"/>
                  </a:lnTo>
                  <a:lnTo>
                    <a:pt x="806" y="851"/>
                  </a:lnTo>
                  <a:lnTo>
                    <a:pt x="806" y="842"/>
                  </a:lnTo>
                  <a:lnTo>
                    <a:pt x="811" y="842"/>
                  </a:lnTo>
                  <a:lnTo>
                    <a:pt x="811" y="836"/>
                  </a:lnTo>
                  <a:lnTo>
                    <a:pt x="817" y="836"/>
                  </a:lnTo>
                  <a:lnTo>
                    <a:pt x="819" y="840"/>
                  </a:lnTo>
                  <a:lnTo>
                    <a:pt x="823" y="835"/>
                  </a:lnTo>
                  <a:lnTo>
                    <a:pt x="828" y="835"/>
                  </a:lnTo>
                  <a:lnTo>
                    <a:pt x="837" y="840"/>
                  </a:lnTo>
                  <a:lnTo>
                    <a:pt x="838" y="844"/>
                  </a:lnTo>
                  <a:lnTo>
                    <a:pt x="846" y="844"/>
                  </a:lnTo>
                  <a:lnTo>
                    <a:pt x="846" y="836"/>
                  </a:lnTo>
                  <a:lnTo>
                    <a:pt x="849" y="836"/>
                  </a:lnTo>
                  <a:lnTo>
                    <a:pt x="855" y="836"/>
                  </a:lnTo>
                  <a:lnTo>
                    <a:pt x="860" y="833"/>
                  </a:lnTo>
                  <a:lnTo>
                    <a:pt x="866" y="836"/>
                  </a:lnTo>
                  <a:lnTo>
                    <a:pt x="868" y="839"/>
                  </a:lnTo>
                  <a:lnTo>
                    <a:pt x="866" y="842"/>
                  </a:lnTo>
                  <a:lnTo>
                    <a:pt x="863" y="844"/>
                  </a:lnTo>
                  <a:lnTo>
                    <a:pt x="868" y="850"/>
                  </a:lnTo>
                  <a:lnTo>
                    <a:pt x="874" y="850"/>
                  </a:lnTo>
                  <a:lnTo>
                    <a:pt x="876" y="850"/>
                  </a:lnTo>
                  <a:lnTo>
                    <a:pt x="880" y="851"/>
                  </a:lnTo>
                  <a:lnTo>
                    <a:pt x="887" y="850"/>
                  </a:lnTo>
                  <a:lnTo>
                    <a:pt x="897" y="856"/>
                  </a:lnTo>
                  <a:lnTo>
                    <a:pt x="904" y="856"/>
                  </a:lnTo>
                  <a:lnTo>
                    <a:pt x="907" y="850"/>
                  </a:lnTo>
                  <a:lnTo>
                    <a:pt x="907" y="844"/>
                  </a:lnTo>
                  <a:lnTo>
                    <a:pt x="910" y="842"/>
                  </a:lnTo>
                  <a:lnTo>
                    <a:pt x="918" y="845"/>
                  </a:lnTo>
                  <a:lnTo>
                    <a:pt x="927" y="848"/>
                  </a:lnTo>
                  <a:lnTo>
                    <a:pt x="935" y="844"/>
                  </a:lnTo>
                  <a:lnTo>
                    <a:pt x="938" y="840"/>
                  </a:lnTo>
                  <a:lnTo>
                    <a:pt x="937" y="822"/>
                  </a:lnTo>
                  <a:lnTo>
                    <a:pt x="935" y="820"/>
                  </a:lnTo>
                  <a:lnTo>
                    <a:pt x="926" y="820"/>
                  </a:lnTo>
                  <a:lnTo>
                    <a:pt x="922" y="817"/>
                  </a:lnTo>
                  <a:lnTo>
                    <a:pt x="920" y="813"/>
                  </a:lnTo>
                  <a:lnTo>
                    <a:pt x="915" y="813"/>
                  </a:lnTo>
                  <a:lnTo>
                    <a:pt x="910" y="809"/>
                  </a:lnTo>
                  <a:lnTo>
                    <a:pt x="903" y="809"/>
                  </a:lnTo>
                  <a:lnTo>
                    <a:pt x="903" y="805"/>
                  </a:lnTo>
                  <a:lnTo>
                    <a:pt x="901" y="803"/>
                  </a:lnTo>
                  <a:lnTo>
                    <a:pt x="903" y="800"/>
                  </a:lnTo>
                  <a:lnTo>
                    <a:pt x="907" y="800"/>
                  </a:lnTo>
                  <a:lnTo>
                    <a:pt x="909" y="794"/>
                  </a:lnTo>
                  <a:lnTo>
                    <a:pt x="912" y="791"/>
                  </a:lnTo>
                  <a:lnTo>
                    <a:pt x="910" y="786"/>
                  </a:lnTo>
                  <a:lnTo>
                    <a:pt x="907" y="786"/>
                  </a:lnTo>
                  <a:lnTo>
                    <a:pt x="907" y="780"/>
                  </a:lnTo>
                  <a:lnTo>
                    <a:pt x="912" y="770"/>
                  </a:lnTo>
                  <a:lnTo>
                    <a:pt x="920" y="766"/>
                  </a:lnTo>
                  <a:lnTo>
                    <a:pt x="932" y="764"/>
                  </a:lnTo>
                  <a:lnTo>
                    <a:pt x="935" y="766"/>
                  </a:lnTo>
                  <a:lnTo>
                    <a:pt x="938" y="764"/>
                  </a:lnTo>
                  <a:lnTo>
                    <a:pt x="938" y="759"/>
                  </a:lnTo>
                  <a:lnTo>
                    <a:pt x="933" y="757"/>
                  </a:lnTo>
                  <a:lnTo>
                    <a:pt x="929" y="753"/>
                  </a:lnTo>
                  <a:lnTo>
                    <a:pt x="923" y="753"/>
                  </a:lnTo>
                  <a:lnTo>
                    <a:pt x="922" y="757"/>
                  </a:lnTo>
                  <a:lnTo>
                    <a:pt x="916" y="753"/>
                  </a:lnTo>
                  <a:lnTo>
                    <a:pt x="909" y="753"/>
                  </a:lnTo>
                  <a:lnTo>
                    <a:pt x="909" y="752"/>
                  </a:lnTo>
                  <a:lnTo>
                    <a:pt x="910" y="750"/>
                  </a:lnTo>
                  <a:lnTo>
                    <a:pt x="918" y="750"/>
                  </a:lnTo>
                  <a:lnTo>
                    <a:pt x="916" y="744"/>
                  </a:lnTo>
                  <a:lnTo>
                    <a:pt x="909" y="744"/>
                  </a:lnTo>
                  <a:lnTo>
                    <a:pt x="903" y="742"/>
                  </a:lnTo>
                  <a:lnTo>
                    <a:pt x="907" y="741"/>
                  </a:lnTo>
                  <a:lnTo>
                    <a:pt x="903" y="735"/>
                  </a:lnTo>
                  <a:lnTo>
                    <a:pt x="904" y="733"/>
                  </a:lnTo>
                  <a:lnTo>
                    <a:pt x="910" y="733"/>
                  </a:lnTo>
                  <a:lnTo>
                    <a:pt x="915" y="730"/>
                  </a:lnTo>
                  <a:lnTo>
                    <a:pt x="918" y="730"/>
                  </a:lnTo>
                  <a:lnTo>
                    <a:pt x="920" y="733"/>
                  </a:lnTo>
                  <a:lnTo>
                    <a:pt x="926" y="731"/>
                  </a:lnTo>
                  <a:lnTo>
                    <a:pt x="932" y="735"/>
                  </a:lnTo>
                  <a:lnTo>
                    <a:pt x="933" y="733"/>
                  </a:lnTo>
                  <a:lnTo>
                    <a:pt x="933" y="730"/>
                  </a:lnTo>
                  <a:lnTo>
                    <a:pt x="938" y="728"/>
                  </a:lnTo>
                  <a:lnTo>
                    <a:pt x="943" y="728"/>
                  </a:lnTo>
                  <a:lnTo>
                    <a:pt x="947" y="731"/>
                  </a:lnTo>
                  <a:lnTo>
                    <a:pt x="949" y="730"/>
                  </a:lnTo>
                  <a:lnTo>
                    <a:pt x="950" y="726"/>
                  </a:lnTo>
                  <a:lnTo>
                    <a:pt x="961" y="722"/>
                  </a:lnTo>
                  <a:lnTo>
                    <a:pt x="966" y="722"/>
                  </a:lnTo>
                  <a:lnTo>
                    <a:pt x="973" y="719"/>
                  </a:lnTo>
                  <a:lnTo>
                    <a:pt x="979" y="719"/>
                  </a:lnTo>
                  <a:lnTo>
                    <a:pt x="981" y="716"/>
                  </a:lnTo>
                  <a:lnTo>
                    <a:pt x="988" y="713"/>
                  </a:lnTo>
                  <a:lnTo>
                    <a:pt x="996" y="713"/>
                  </a:lnTo>
                  <a:lnTo>
                    <a:pt x="999" y="710"/>
                  </a:lnTo>
                  <a:lnTo>
                    <a:pt x="1004" y="710"/>
                  </a:lnTo>
                  <a:lnTo>
                    <a:pt x="1008" y="711"/>
                  </a:lnTo>
                  <a:lnTo>
                    <a:pt x="1010" y="710"/>
                  </a:lnTo>
                  <a:lnTo>
                    <a:pt x="1010" y="704"/>
                  </a:lnTo>
                  <a:lnTo>
                    <a:pt x="1013" y="702"/>
                  </a:lnTo>
                  <a:lnTo>
                    <a:pt x="1019" y="702"/>
                  </a:lnTo>
                  <a:lnTo>
                    <a:pt x="1019" y="698"/>
                  </a:lnTo>
                  <a:lnTo>
                    <a:pt x="1022" y="696"/>
                  </a:lnTo>
                  <a:lnTo>
                    <a:pt x="1027" y="698"/>
                  </a:lnTo>
                  <a:lnTo>
                    <a:pt x="1030" y="698"/>
                  </a:lnTo>
                  <a:lnTo>
                    <a:pt x="1036" y="696"/>
                  </a:lnTo>
                  <a:lnTo>
                    <a:pt x="1042" y="694"/>
                  </a:lnTo>
                  <a:lnTo>
                    <a:pt x="1053" y="687"/>
                  </a:lnTo>
                  <a:lnTo>
                    <a:pt x="1057" y="687"/>
                  </a:lnTo>
                  <a:lnTo>
                    <a:pt x="1059" y="685"/>
                  </a:lnTo>
                  <a:lnTo>
                    <a:pt x="1065" y="685"/>
                  </a:lnTo>
                  <a:lnTo>
                    <a:pt x="1068" y="680"/>
                  </a:lnTo>
                  <a:lnTo>
                    <a:pt x="1073" y="681"/>
                  </a:lnTo>
                  <a:lnTo>
                    <a:pt x="1079" y="680"/>
                  </a:lnTo>
                  <a:lnTo>
                    <a:pt x="1079" y="676"/>
                  </a:lnTo>
                  <a:lnTo>
                    <a:pt x="1079" y="672"/>
                  </a:lnTo>
                  <a:lnTo>
                    <a:pt x="1079" y="671"/>
                  </a:lnTo>
                  <a:lnTo>
                    <a:pt x="1088" y="671"/>
                  </a:lnTo>
                  <a:lnTo>
                    <a:pt x="1090" y="666"/>
                  </a:lnTo>
                  <a:lnTo>
                    <a:pt x="1096" y="663"/>
                  </a:lnTo>
                  <a:lnTo>
                    <a:pt x="1097" y="665"/>
                  </a:lnTo>
                  <a:lnTo>
                    <a:pt x="1103" y="663"/>
                  </a:lnTo>
                  <a:lnTo>
                    <a:pt x="1108" y="665"/>
                  </a:lnTo>
                  <a:lnTo>
                    <a:pt x="1117" y="665"/>
                  </a:lnTo>
                  <a:lnTo>
                    <a:pt x="1123" y="668"/>
                  </a:lnTo>
                  <a:lnTo>
                    <a:pt x="1129" y="668"/>
                  </a:lnTo>
                  <a:lnTo>
                    <a:pt x="1135" y="666"/>
                  </a:lnTo>
                  <a:lnTo>
                    <a:pt x="1140" y="666"/>
                  </a:lnTo>
                  <a:lnTo>
                    <a:pt x="1145" y="672"/>
                  </a:lnTo>
                  <a:lnTo>
                    <a:pt x="1146" y="674"/>
                  </a:lnTo>
                  <a:lnTo>
                    <a:pt x="1149" y="680"/>
                  </a:lnTo>
                  <a:lnTo>
                    <a:pt x="1152" y="683"/>
                  </a:lnTo>
                  <a:lnTo>
                    <a:pt x="1157" y="685"/>
                  </a:lnTo>
                  <a:lnTo>
                    <a:pt x="1157" y="687"/>
                  </a:lnTo>
                  <a:lnTo>
                    <a:pt x="1154" y="693"/>
                  </a:lnTo>
                  <a:lnTo>
                    <a:pt x="1157" y="696"/>
                  </a:lnTo>
                  <a:lnTo>
                    <a:pt x="1157" y="698"/>
                  </a:lnTo>
                  <a:lnTo>
                    <a:pt x="1151" y="699"/>
                  </a:lnTo>
                  <a:lnTo>
                    <a:pt x="1154" y="704"/>
                  </a:lnTo>
                  <a:lnTo>
                    <a:pt x="1157" y="705"/>
                  </a:lnTo>
                  <a:lnTo>
                    <a:pt x="1164" y="704"/>
                  </a:lnTo>
                  <a:lnTo>
                    <a:pt x="1168" y="705"/>
                  </a:lnTo>
                  <a:lnTo>
                    <a:pt x="1172" y="705"/>
                  </a:lnTo>
                  <a:lnTo>
                    <a:pt x="1172" y="699"/>
                  </a:lnTo>
                  <a:lnTo>
                    <a:pt x="1175" y="699"/>
                  </a:lnTo>
                  <a:lnTo>
                    <a:pt x="1177" y="704"/>
                  </a:lnTo>
                  <a:lnTo>
                    <a:pt x="1180" y="704"/>
                  </a:lnTo>
                  <a:lnTo>
                    <a:pt x="1180" y="699"/>
                  </a:lnTo>
                  <a:lnTo>
                    <a:pt x="1179" y="696"/>
                  </a:lnTo>
                  <a:lnTo>
                    <a:pt x="1180" y="694"/>
                  </a:lnTo>
                  <a:lnTo>
                    <a:pt x="1191" y="699"/>
                  </a:lnTo>
                  <a:lnTo>
                    <a:pt x="1191" y="710"/>
                  </a:lnTo>
                  <a:lnTo>
                    <a:pt x="1194" y="715"/>
                  </a:lnTo>
                  <a:lnTo>
                    <a:pt x="1198" y="715"/>
                  </a:lnTo>
                  <a:lnTo>
                    <a:pt x="1203" y="711"/>
                  </a:lnTo>
                  <a:lnTo>
                    <a:pt x="1200" y="710"/>
                  </a:lnTo>
                  <a:lnTo>
                    <a:pt x="1198" y="705"/>
                  </a:lnTo>
                  <a:lnTo>
                    <a:pt x="1204" y="705"/>
                  </a:lnTo>
                  <a:lnTo>
                    <a:pt x="1214" y="710"/>
                  </a:lnTo>
                  <a:lnTo>
                    <a:pt x="1218" y="710"/>
                  </a:lnTo>
                  <a:lnTo>
                    <a:pt x="1221" y="707"/>
                  </a:lnTo>
                  <a:lnTo>
                    <a:pt x="1224" y="707"/>
                  </a:lnTo>
                  <a:lnTo>
                    <a:pt x="1223" y="713"/>
                  </a:lnTo>
                  <a:lnTo>
                    <a:pt x="1219" y="715"/>
                  </a:lnTo>
                  <a:lnTo>
                    <a:pt x="1219" y="722"/>
                  </a:lnTo>
                  <a:lnTo>
                    <a:pt x="1223" y="726"/>
                  </a:lnTo>
                  <a:lnTo>
                    <a:pt x="1226" y="726"/>
                  </a:lnTo>
                  <a:lnTo>
                    <a:pt x="1230" y="722"/>
                  </a:lnTo>
                  <a:lnTo>
                    <a:pt x="1235" y="721"/>
                  </a:lnTo>
                  <a:lnTo>
                    <a:pt x="1247" y="724"/>
                  </a:lnTo>
                  <a:lnTo>
                    <a:pt x="1249" y="726"/>
                  </a:lnTo>
                  <a:lnTo>
                    <a:pt x="1253" y="722"/>
                  </a:lnTo>
                  <a:lnTo>
                    <a:pt x="1253" y="716"/>
                  </a:lnTo>
                  <a:lnTo>
                    <a:pt x="1258" y="715"/>
                  </a:lnTo>
                  <a:lnTo>
                    <a:pt x="1267" y="715"/>
                  </a:lnTo>
                  <a:lnTo>
                    <a:pt x="1270" y="711"/>
                  </a:lnTo>
                  <a:lnTo>
                    <a:pt x="1273" y="707"/>
                  </a:lnTo>
                  <a:lnTo>
                    <a:pt x="1278" y="704"/>
                  </a:lnTo>
                  <a:lnTo>
                    <a:pt x="1278" y="699"/>
                  </a:lnTo>
                  <a:lnTo>
                    <a:pt x="1284" y="696"/>
                  </a:lnTo>
                  <a:lnTo>
                    <a:pt x="1287" y="694"/>
                  </a:lnTo>
                  <a:lnTo>
                    <a:pt x="1293" y="690"/>
                  </a:lnTo>
                  <a:lnTo>
                    <a:pt x="1299" y="689"/>
                  </a:lnTo>
                  <a:lnTo>
                    <a:pt x="1307" y="687"/>
                  </a:lnTo>
                  <a:lnTo>
                    <a:pt x="1309" y="689"/>
                  </a:lnTo>
                  <a:lnTo>
                    <a:pt x="1309" y="693"/>
                  </a:lnTo>
                  <a:lnTo>
                    <a:pt x="1305" y="698"/>
                  </a:lnTo>
                  <a:lnTo>
                    <a:pt x="1299" y="698"/>
                  </a:lnTo>
                  <a:lnTo>
                    <a:pt x="1304" y="702"/>
                  </a:lnTo>
                  <a:lnTo>
                    <a:pt x="1351" y="734"/>
                  </a:lnTo>
                  <a:lnTo>
                    <a:pt x="1351" y="0"/>
                  </a:lnTo>
                  <a:lnTo>
                    <a:pt x="119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8" name="Freeform 91"/>
            <p:cNvSpPr>
              <a:spLocks/>
            </p:cNvSpPr>
            <p:nvPr/>
          </p:nvSpPr>
          <p:spPr bwMode="auto">
            <a:xfrm>
              <a:off x="7443788" y="1614488"/>
              <a:ext cx="90488" cy="68263"/>
            </a:xfrm>
            <a:custGeom>
              <a:avLst/>
              <a:gdLst>
                <a:gd name="T0" fmla="*/ 11 w 57"/>
                <a:gd name="T1" fmla="*/ 27 h 43"/>
                <a:gd name="T2" fmla="*/ 17 w 57"/>
                <a:gd name="T3" fmla="*/ 29 h 43"/>
                <a:gd name="T4" fmla="*/ 20 w 57"/>
                <a:gd name="T5" fmla="*/ 32 h 43"/>
                <a:gd name="T6" fmla="*/ 23 w 57"/>
                <a:gd name="T7" fmla="*/ 35 h 43"/>
                <a:gd name="T8" fmla="*/ 23 w 57"/>
                <a:gd name="T9" fmla="*/ 29 h 43"/>
                <a:gd name="T10" fmla="*/ 29 w 57"/>
                <a:gd name="T11" fmla="*/ 31 h 43"/>
                <a:gd name="T12" fmla="*/ 32 w 57"/>
                <a:gd name="T13" fmla="*/ 29 h 43"/>
                <a:gd name="T14" fmla="*/ 34 w 57"/>
                <a:gd name="T15" fmla="*/ 31 h 43"/>
                <a:gd name="T16" fmla="*/ 36 w 57"/>
                <a:gd name="T17" fmla="*/ 36 h 43"/>
                <a:gd name="T18" fmla="*/ 34 w 57"/>
                <a:gd name="T19" fmla="*/ 40 h 43"/>
                <a:gd name="T20" fmla="*/ 38 w 57"/>
                <a:gd name="T21" fmla="*/ 42 h 43"/>
                <a:gd name="T22" fmla="*/ 46 w 57"/>
                <a:gd name="T23" fmla="*/ 43 h 43"/>
                <a:gd name="T24" fmla="*/ 48 w 57"/>
                <a:gd name="T25" fmla="*/ 40 h 43"/>
                <a:gd name="T26" fmla="*/ 54 w 57"/>
                <a:gd name="T27" fmla="*/ 42 h 43"/>
                <a:gd name="T28" fmla="*/ 57 w 57"/>
                <a:gd name="T29" fmla="*/ 36 h 43"/>
                <a:gd name="T30" fmla="*/ 55 w 57"/>
                <a:gd name="T31" fmla="*/ 29 h 43"/>
                <a:gd name="T32" fmla="*/ 46 w 57"/>
                <a:gd name="T33" fmla="*/ 23 h 43"/>
                <a:gd name="T34" fmla="*/ 38 w 57"/>
                <a:gd name="T35" fmla="*/ 17 h 43"/>
                <a:gd name="T36" fmla="*/ 32 w 57"/>
                <a:gd name="T37" fmla="*/ 17 h 43"/>
                <a:gd name="T38" fmla="*/ 26 w 57"/>
                <a:gd name="T39" fmla="*/ 11 h 43"/>
                <a:gd name="T40" fmla="*/ 20 w 57"/>
                <a:gd name="T41" fmla="*/ 9 h 43"/>
                <a:gd name="T42" fmla="*/ 19 w 57"/>
                <a:gd name="T43" fmla="*/ 5 h 43"/>
                <a:gd name="T44" fmla="*/ 14 w 57"/>
                <a:gd name="T45" fmla="*/ 0 h 43"/>
                <a:gd name="T46" fmla="*/ 10 w 57"/>
                <a:gd name="T47" fmla="*/ 0 h 43"/>
                <a:gd name="T48" fmla="*/ 5 w 57"/>
                <a:gd name="T49" fmla="*/ 1 h 43"/>
                <a:gd name="T50" fmla="*/ 5 w 57"/>
                <a:gd name="T51" fmla="*/ 5 h 43"/>
                <a:gd name="T52" fmla="*/ 2 w 57"/>
                <a:gd name="T53" fmla="*/ 6 h 43"/>
                <a:gd name="T54" fmla="*/ 5 w 57"/>
                <a:gd name="T55" fmla="*/ 12 h 43"/>
                <a:gd name="T56" fmla="*/ 10 w 57"/>
                <a:gd name="T57" fmla="*/ 12 h 43"/>
                <a:gd name="T58" fmla="*/ 10 w 57"/>
                <a:gd name="T59" fmla="*/ 14 h 43"/>
                <a:gd name="T60" fmla="*/ 5 w 57"/>
                <a:gd name="T61" fmla="*/ 17 h 43"/>
                <a:gd name="T62" fmla="*/ 2 w 57"/>
                <a:gd name="T63" fmla="*/ 12 h 43"/>
                <a:gd name="T64" fmla="*/ 0 w 57"/>
                <a:gd name="T65" fmla="*/ 12 h 43"/>
                <a:gd name="T66" fmla="*/ 2 w 57"/>
                <a:gd name="T67" fmla="*/ 17 h 43"/>
                <a:gd name="T68" fmla="*/ 11 w 57"/>
                <a:gd name="T69" fmla="*/ 2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7" h="43">
                  <a:moveTo>
                    <a:pt x="11" y="27"/>
                  </a:moveTo>
                  <a:lnTo>
                    <a:pt x="17" y="29"/>
                  </a:lnTo>
                  <a:lnTo>
                    <a:pt x="20" y="32"/>
                  </a:lnTo>
                  <a:lnTo>
                    <a:pt x="23" y="35"/>
                  </a:lnTo>
                  <a:lnTo>
                    <a:pt x="23" y="29"/>
                  </a:lnTo>
                  <a:lnTo>
                    <a:pt x="29" y="31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6"/>
                  </a:lnTo>
                  <a:lnTo>
                    <a:pt x="34" y="40"/>
                  </a:lnTo>
                  <a:lnTo>
                    <a:pt x="38" y="42"/>
                  </a:lnTo>
                  <a:lnTo>
                    <a:pt x="46" y="43"/>
                  </a:lnTo>
                  <a:lnTo>
                    <a:pt x="48" y="40"/>
                  </a:lnTo>
                  <a:lnTo>
                    <a:pt x="54" y="42"/>
                  </a:lnTo>
                  <a:lnTo>
                    <a:pt x="57" y="36"/>
                  </a:lnTo>
                  <a:lnTo>
                    <a:pt x="55" y="29"/>
                  </a:lnTo>
                  <a:lnTo>
                    <a:pt x="46" y="23"/>
                  </a:lnTo>
                  <a:lnTo>
                    <a:pt x="38" y="17"/>
                  </a:lnTo>
                  <a:lnTo>
                    <a:pt x="32" y="17"/>
                  </a:lnTo>
                  <a:lnTo>
                    <a:pt x="26" y="11"/>
                  </a:lnTo>
                  <a:lnTo>
                    <a:pt x="20" y="9"/>
                  </a:lnTo>
                  <a:lnTo>
                    <a:pt x="19" y="5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5" y="1"/>
                  </a:lnTo>
                  <a:lnTo>
                    <a:pt x="5" y="5"/>
                  </a:lnTo>
                  <a:lnTo>
                    <a:pt x="2" y="6"/>
                  </a:lnTo>
                  <a:lnTo>
                    <a:pt x="5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5" y="17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7"/>
                  </a:lnTo>
                  <a:lnTo>
                    <a:pt x="11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9" name="Freeform 92"/>
            <p:cNvSpPr>
              <a:spLocks/>
            </p:cNvSpPr>
            <p:nvPr/>
          </p:nvSpPr>
          <p:spPr bwMode="auto">
            <a:xfrm>
              <a:off x="7513638" y="1720851"/>
              <a:ext cx="6350" cy="6350"/>
            </a:xfrm>
            <a:custGeom>
              <a:avLst/>
              <a:gdLst>
                <a:gd name="T0" fmla="*/ 0 w 4"/>
                <a:gd name="T1" fmla="*/ 4 h 4"/>
                <a:gd name="T2" fmla="*/ 4 w 4"/>
                <a:gd name="T3" fmla="*/ 0 h 4"/>
                <a:gd name="T4" fmla="*/ 0 w 4"/>
                <a:gd name="T5" fmla="*/ 3 h 4"/>
                <a:gd name="T6" fmla="*/ 0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0" name="Freeform 93"/>
            <p:cNvSpPr>
              <a:spLocks/>
            </p:cNvSpPr>
            <p:nvPr/>
          </p:nvSpPr>
          <p:spPr bwMode="auto">
            <a:xfrm>
              <a:off x="7483476" y="1695451"/>
              <a:ext cx="23813" cy="20638"/>
            </a:xfrm>
            <a:custGeom>
              <a:avLst/>
              <a:gdLst>
                <a:gd name="T0" fmla="*/ 6 w 15"/>
                <a:gd name="T1" fmla="*/ 3 h 13"/>
                <a:gd name="T2" fmla="*/ 1 w 15"/>
                <a:gd name="T3" fmla="*/ 0 h 13"/>
                <a:gd name="T4" fmla="*/ 0 w 15"/>
                <a:gd name="T5" fmla="*/ 3 h 13"/>
                <a:gd name="T6" fmla="*/ 6 w 15"/>
                <a:gd name="T7" fmla="*/ 8 h 13"/>
                <a:gd name="T8" fmla="*/ 15 w 15"/>
                <a:gd name="T9" fmla="*/ 13 h 13"/>
                <a:gd name="T10" fmla="*/ 13 w 15"/>
                <a:gd name="T11" fmla="*/ 8 h 13"/>
                <a:gd name="T12" fmla="*/ 6 w 15"/>
                <a:gd name="T1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3">
                  <a:moveTo>
                    <a:pt x="6" y="3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6" y="8"/>
                  </a:lnTo>
                  <a:lnTo>
                    <a:pt x="15" y="13"/>
                  </a:lnTo>
                  <a:lnTo>
                    <a:pt x="13" y="8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1" name="Freeform 94"/>
            <p:cNvSpPr>
              <a:spLocks/>
            </p:cNvSpPr>
            <p:nvPr/>
          </p:nvSpPr>
          <p:spPr bwMode="auto">
            <a:xfrm>
              <a:off x="7470776" y="1685926"/>
              <a:ext cx="4763" cy="12700"/>
            </a:xfrm>
            <a:custGeom>
              <a:avLst/>
              <a:gdLst>
                <a:gd name="T0" fmla="*/ 0 w 3"/>
                <a:gd name="T1" fmla="*/ 8 h 8"/>
                <a:gd name="T2" fmla="*/ 2 w 3"/>
                <a:gd name="T3" fmla="*/ 6 h 8"/>
                <a:gd name="T4" fmla="*/ 3 w 3"/>
                <a:gd name="T5" fmla="*/ 3 h 8"/>
                <a:gd name="T6" fmla="*/ 0 w 3"/>
                <a:gd name="T7" fmla="*/ 0 h 8"/>
                <a:gd name="T8" fmla="*/ 0 w 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0" y="8"/>
                  </a:moveTo>
                  <a:lnTo>
                    <a:pt x="2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2" name="Freeform 95"/>
            <p:cNvSpPr>
              <a:spLocks/>
            </p:cNvSpPr>
            <p:nvPr/>
          </p:nvSpPr>
          <p:spPr bwMode="auto">
            <a:xfrm>
              <a:off x="7219951" y="1544638"/>
              <a:ext cx="187325" cy="88900"/>
            </a:xfrm>
            <a:custGeom>
              <a:avLst/>
              <a:gdLst>
                <a:gd name="T0" fmla="*/ 8 w 118"/>
                <a:gd name="T1" fmla="*/ 12 h 56"/>
                <a:gd name="T2" fmla="*/ 11 w 118"/>
                <a:gd name="T3" fmla="*/ 6 h 56"/>
                <a:gd name="T4" fmla="*/ 16 w 118"/>
                <a:gd name="T5" fmla="*/ 3 h 56"/>
                <a:gd name="T6" fmla="*/ 16 w 118"/>
                <a:gd name="T7" fmla="*/ 10 h 56"/>
                <a:gd name="T8" fmla="*/ 27 w 118"/>
                <a:gd name="T9" fmla="*/ 22 h 56"/>
                <a:gd name="T10" fmla="*/ 34 w 118"/>
                <a:gd name="T11" fmla="*/ 17 h 56"/>
                <a:gd name="T12" fmla="*/ 36 w 118"/>
                <a:gd name="T13" fmla="*/ 22 h 56"/>
                <a:gd name="T14" fmla="*/ 31 w 118"/>
                <a:gd name="T15" fmla="*/ 25 h 56"/>
                <a:gd name="T16" fmla="*/ 27 w 118"/>
                <a:gd name="T17" fmla="*/ 28 h 56"/>
                <a:gd name="T18" fmla="*/ 33 w 118"/>
                <a:gd name="T19" fmla="*/ 36 h 56"/>
                <a:gd name="T20" fmla="*/ 25 w 118"/>
                <a:gd name="T21" fmla="*/ 36 h 56"/>
                <a:gd name="T22" fmla="*/ 29 w 118"/>
                <a:gd name="T23" fmla="*/ 41 h 56"/>
                <a:gd name="T24" fmla="*/ 42 w 118"/>
                <a:gd name="T25" fmla="*/ 45 h 56"/>
                <a:gd name="T26" fmla="*/ 55 w 118"/>
                <a:gd name="T27" fmla="*/ 45 h 56"/>
                <a:gd name="T28" fmla="*/ 57 w 118"/>
                <a:gd name="T29" fmla="*/ 41 h 56"/>
                <a:gd name="T30" fmla="*/ 60 w 118"/>
                <a:gd name="T31" fmla="*/ 53 h 56"/>
                <a:gd name="T32" fmla="*/ 71 w 118"/>
                <a:gd name="T33" fmla="*/ 55 h 56"/>
                <a:gd name="T34" fmla="*/ 72 w 118"/>
                <a:gd name="T35" fmla="*/ 45 h 56"/>
                <a:gd name="T36" fmla="*/ 63 w 118"/>
                <a:gd name="T37" fmla="*/ 41 h 56"/>
                <a:gd name="T38" fmla="*/ 69 w 118"/>
                <a:gd name="T39" fmla="*/ 41 h 56"/>
                <a:gd name="T40" fmla="*/ 76 w 118"/>
                <a:gd name="T41" fmla="*/ 47 h 56"/>
                <a:gd name="T42" fmla="*/ 82 w 118"/>
                <a:gd name="T43" fmla="*/ 53 h 56"/>
                <a:gd name="T44" fmla="*/ 86 w 118"/>
                <a:gd name="T45" fmla="*/ 47 h 56"/>
                <a:gd name="T46" fmla="*/ 95 w 118"/>
                <a:gd name="T47" fmla="*/ 55 h 56"/>
                <a:gd name="T48" fmla="*/ 100 w 118"/>
                <a:gd name="T49" fmla="*/ 50 h 56"/>
                <a:gd name="T50" fmla="*/ 94 w 118"/>
                <a:gd name="T51" fmla="*/ 45 h 56"/>
                <a:gd name="T52" fmla="*/ 101 w 118"/>
                <a:gd name="T53" fmla="*/ 47 h 56"/>
                <a:gd name="T54" fmla="*/ 105 w 118"/>
                <a:gd name="T55" fmla="*/ 49 h 56"/>
                <a:gd name="T56" fmla="*/ 111 w 118"/>
                <a:gd name="T57" fmla="*/ 56 h 56"/>
                <a:gd name="T58" fmla="*/ 115 w 118"/>
                <a:gd name="T59" fmla="*/ 50 h 56"/>
                <a:gd name="T60" fmla="*/ 109 w 118"/>
                <a:gd name="T61" fmla="*/ 47 h 56"/>
                <a:gd name="T62" fmla="*/ 106 w 118"/>
                <a:gd name="T63" fmla="*/ 44 h 56"/>
                <a:gd name="T64" fmla="*/ 112 w 118"/>
                <a:gd name="T65" fmla="*/ 45 h 56"/>
                <a:gd name="T66" fmla="*/ 118 w 118"/>
                <a:gd name="T67" fmla="*/ 38 h 56"/>
                <a:gd name="T68" fmla="*/ 111 w 118"/>
                <a:gd name="T69" fmla="*/ 31 h 56"/>
                <a:gd name="T70" fmla="*/ 103 w 118"/>
                <a:gd name="T71" fmla="*/ 31 h 56"/>
                <a:gd name="T72" fmla="*/ 94 w 118"/>
                <a:gd name="T73" fmla="*/ 25 h 56"/>
                <a:gd name="T74" fmla="*/ 82 w 118"/>
                <a:gd name="T75" fmla="*/ 14 h 56"/>
                <a:gd name="T76" fmla="*/ 69 w 118"/>
                <a:gd name="T77" fmla="*/ 3 h 56"/>
                <a:gd name="T78" fmla="*/ 0 w 118"/>
                <a:gd name="T79" fmla="*/ 0 h 56"/>
                <a:gd name="T80" fmla="*/ 2 w 118"/>
                <a:gd name="T81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8" h="56">
                  <a:moveTo>
                    <a:pt x="4" y="10"/>
                  </a:moveTo>
                  <a:lnTo>
                    <a:pt x="8" y="12"/>
                  </a:lnTo>
                  <a:lnTo>
                    <a:pt x="11" y="10"/>
                  </a:lnTo>
                  <a:lnTo>
                    <a:pt x="11" y="6"/>
                  </a:lnTo>
                  <a:lnTo>
                    <a:pt x="14" y="0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21" y="17"/>
                  </a:lnTo>
                  <a:lnTo>
                    <a:pt x="27" y="22"/>
                  </a:lnTo>
                  <a:lnTo>
                    <a:pt x="31" y="22"/>
                  </a:lnTo>
                  <a:lnTo>
                    <a:pt x="34" y="17"/>
                  </a:lnTo>
                  <a:lnTo>
                    <a:pt x="38" y="19"/>
                  </a:lnTo>
                  <a:lnTo>
                    <a:pt x="36" y="22"/>
                  </a:lnTo>
                  <a:lnTo>
                    <a:pt x="33" y="22"/>
                  </a:lnTo>
                  <a:lnTo>
                    <a:pt x="31" y="25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31" y="32"/>
                  </a:lnTo>
                  <a:lnTo>
                    <a:pt x="33" y="36"/>
                  </a:lnTo>
                  <a:lnTo>
                    <a:pt x="29" y="36"/>
                  </a:lnTo>
                  <a:lnTo>
                    <a:pt x="25" y="36"/>
                  </a:lnTo>
                  <a:lnTo>
                    <a:pt x="25" y="39"/>
                  </a:lnTo>
                  <a:lnTo>
                    <a:pt x="29" y="41"/>
                  </a:lnTo>
                  <a:lnTo>
                    <a:pt x="36" y="41"/>
                  </a:lnTo>
                  <a:lnTo>
                    <a:pt x="42" y="45"/>
                  </a:lnTo>
                  <a:lnTo>
                    <a:pt x="48" y="44"/>
                  </a:lnTo>
                  <a:lnTo>
                    <a:pt x="55" y="45"/>
                  </a:lnTo>
                  <a:lnTo>
                    <a:pt x="55" y="41"/>
                  </a:lnTo>
                  <a:lnTo>
                    <a:pt x="57" y="41"/>
                  </a:lnTo>
                  <a:lnTo>
                    <a:pt x="59" y="45"/>
                  </a:lnTo>
                  <a:lnTo>
                    <a:pt x="60" y="53"/>
                  </a:lnTo>
                  <a:lnTo>
                    <a:pt x="66" y="55"/>
                  </a:lnTo>
                  <a:lnTo>
                    <a:pt x="71" y="55"/>
                  </a:lnTo>
                  <a:lnTo>
                    <a:pt x="74" y="50"/>
                  </a:lnTo>
                  <a:lnTo>
                    <a:pt x="72" y="45"/>
                  </a:lnTo>
                  <a:lnTo>
                    <a:pt x="65" y="44"/>
                  </a:lnTo>
                  <a:lnTo>
                    <a:pt x="63" y="41"/>
                  </a:lnTo>
                  <a:lnTo>
                    <a:pt x="65" y="39"/>
                  </a:lnTo>
                  <a:lnTo>
                    <a:pt x="69" y="41"/>
                  </a:lnTo>
                  <a:lnTo>
                    <a:pt x="74" y="44"/>
                  </a:lnTo>
                  <a:lnTo>
                    <a:pt x="76" y="47"/>
                  </a:lnTo>
                  <a:lnTo>
                    <a:pt x="80" y="53"/>
                  </a:lnTo>
                  <a:lnTo>
                    <a:pt x="82" y="53"/>
                  </a:lnTo>
                  <a:lnTo>
                    <a:pt x="82" y="49"/>
                  </a:lnTo>
                  <a:lnTo>
                    <a:pt x="86" y="47"/>
                  </a:lnTo>
                  <a:lnTo>
                    <a:pt x="88" y="50"/>
                  </a:lnTo>
                  <a:lnTo>
                    <a:pt x="95" y="55"/>
                  </a:lnTo>
                  <a:lnTo>
                    <a:pt x="100" y="53"/>
                  </a:lnTo>
                  <a:lnTo>
                    <a:pt x="100" y="50"/>
                  </a:lnTo>
                  <a:lnTo>
                    <a:pt x="94" y="47"/>
                  </a:lnTo>
                  <a:lnTo>
                    <a:pt x="94" y="45"/>
                  </a:lnTo>
                  <a:lnTo>
                    <a:pt x="95" y="45"/>
                  </a:lnTo>
                  <a:lnTo>
                    <a:pt x="101" y="47"/>
                  </a:lnTo>
                  <a:lnTo>
                    <a:pt x="103" y="49"/>
                  </a:lnTo>
                  <a:lnTo>
                    <a:pt x="105" y="49"/>
                  </a:lnTo>
                  <a:lnTo>
                    <a:pt x="106" y="55"/>
                  </a:lnTo>
                  <a:lnTo>
                    <a:pt x="111" y="56"/>
                  </a:lnTo>
                  <a:lnTo>
                    <a:pt x="112" y="55"/>
                  </a:lnTo>
                  <a:lnTo>
                    <a:pt x="115" y="50"/>
                  </a:lnTo>
                  <a:lnTo>
                    <a:pt x="112" y="47"/>
                  </a:lnTo>
                  <a:lnTo>
                    <a:pt x="109" y="47"/>
                  </a:lnTo>
                  <a:lnTo>
                    <a:pt x="105" y="45"/>
                  </a:lnTo>
                  <a:lnTo>
                    <a:pt x="106" y="44"/>
                  </a:lnTo>
                  <a:lnTo>
                    <a:pt x="109" y="45"/>
                  </a:lnTo>
                  <a:lnTo>
                    <a:pt x="112" y="45"/>
                  </a:lnTo>
                  <a:lnTo>
                    <a:pt x="117" y="39"/>
                  </a:lnTo>
                  <a:lnTo>
                    <a:pt x="118" y="38"/>
                  </a:lnTo>
                  <a:lnTo>
                    <a:pt x="117" y="34"/>
                  </a:lnTo>
                  <a:lnTo>
                    <a:pt x="111" y="31"/>
                  </a:lnTo>
                  <a:lnTo>
                    <a:pt x="109" y="32"/>
                  </a:lnTo>
                  <a:lnTo>
                    <a:pt x="103" y="31"/>
                  </a:lnTo>
                  <a:lnTo>
                    <a:pt x="100" y="25"/>
                  </a:lnTo>
                  <a:lnTo>
                    <a:pt x="94" y="25"/>
                  </a:lnTo>
                  <a:lnTo>
                    <a:pt x="84" y="19"/>
                  </a:lnTo>
                  <a:lnTo>
                    <a:pt x="82" y="14"/>
                  </a:lnTo>
                  <a:lnTo>
                    <a:pt x="76" y="14"/>
                  </a:lnTo>
                  <a:lnTo>
                    <a:pt x="69" y="3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3" name="Freeform 96"/>
            <p:cNvSpPr>
              <a:spLocks/>
            </p:cNvSpPr>
            <p:nvPr/>
          </p:nvSpPr>
          <p:spPr bwMode="auto">
            <a:xfrm>
              <a:off x="7373938" y="1747838"/>
              <a:ext cx="19050" cy="12700"/>
            </a:xfrm>
            <a:custGeom>
              <a:avLst/>
              <a:gdLst>
                <a:gd name="T0" fmla="*/ 4 w 12"/>
                <a:gd name="T1" fmla="*/ 0 h 8"/>
                <a:gd name="T2" fmla="*/ 0 w 12"/>
                <a:gd name="T3" fmla="*/ 4 h 8"/>
                <a:gd name="T4" fmla="*/ 4 w 12"/>
                <a:gd name="T5" fmla="*/ 4 h 8"/>
                <a:gd name="T6" fmla="*/ 6 w 12"/>
                <a:gd name="T7" fmla="*/ 6 h 8"/>
                <a:gd name="T8" fmla="*/ 12 w 12"/>
                <a:gd name="T9" fmla="*/ 8 h 8"/>
                <a:gd name="T10" fmla="*/ 9 w 12"/>
                <a:gd name="T11" fmla="*/ 3 h 8"/>
                <a:gd name="T12" fmla="*/ 4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4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12" y="8"/>
                  </a:lnTo>
                  <a:lnTo>
                    <a:pt x="9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4" name="Freeform 97"/>
            <p:cNvSpPr>
              <a:spLocks/>
            </p:cNvSpPr>
            <p:nvPr/>
          </p:nvSpPr>
          <p:spPr bwMode="auto">
            <a:xfrm>
              <a:off x="7361238" y="1752601"/>
              <a:ext cx="9525" cy="4763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0 h 3"/>
                <a:gd name="T4" fmla="*/ 0 w 6"/>
                <a:gd name="T5" fmla="*/ 1 h 3"/>
                <a:gd name="T6" fmla="*/ 0 w 6"/>
                <a:gd name="T7" fmla="*/ 3 h 3"/>
                <a:gd name="T8" fmla="*/ 5 w 6"/>
                <a:gd name="T9" fmla="*/ 3 h 3"/>
                <a:gd name="T10" fmla="*/ 6 w 6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5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5" name="Freeform 98"/>
            <p:cNvSpPr>
              <a:spLocks/>
            </p:cNvSpPr>
            <p:nvPr/>
          </p:nvSpPr>
          <p:spPr bwMode="auto">
            <a:xfrm>
              <a:off x="7402513" y="1752601"/>
              <a:ext cx="7938" cy="7938"/>
            </a:xfrm>
            <a:custGeom>
              <a:avLst/>
              <a:gdLst>
                <a:gd name="T0" fmla="*/ 0 w 5"/>
                <a:gd name="T1" fmla="*/ 1 h 5"/>
                <a:gd name="T2" fmla="*/ 2 w 5"/>
                <a:gd name="T3" fmla="*/ 5 h 5"/>
                <a:gd name="T4" fmla="*/ 5 w 5"/>
                <a:gd name="T5" fmla="*/ 5 h 5"/>
                <a:gd name="T6" fmla="*/ 5 w 5"/>
                <a:gd name="T7" fmla="*/ 1 h 5"/>
                <a:gd name="T8" fmla="*/ 2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2" y="5"/>
                  </a:lnTo>
                  <a:lnTo>
                    <a:pt x="5" y="5"/>
                  </a:lnTo>
                  <a:lnTo>
                    <a:pt x="5" y="1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6" name="Freeform 99"/>
            <p:cNvSpPr>
              <a:spLocks/>
            </p:cNvSpPr>
            <p:nvPr/>
          </p:nvSpPr>
          <p:spPr bwMode="auto">
            <a:xfrm>
              <a:off x="7356476" y="1789113"/>
              <a:ext cx="7938" cy="15875"/>
            </a:xfrm>
            <a:custGeom>
              <a:avLst/>
              <a:gdLst>
                <a:gd name="T0" fmla="*/ 0 w 5"/>
                <a:gd name="T1" fmla="*/ 5 h 10"/>
                <a:gd name="T2" fmla="*/ 0 w 5"/>
                <a:gd name="T3" fmla="*/ 8 h 10"/>
                <a:gd name="T4" fmla="*/ 2 w 5"/>
                <a:gd name="T5" fmla="*/ 10 h 10"/>
                <a:gd name="T6" fmla="*/ 5 w 5"/>
                <a:gd name="T7" fmla="*/ 5 h 10"/>
                <a:gd name="T8" fmla="*/ 5 w 5"/>
                <a:gd name="T9" fmla="*/ 0 h 10"/>
                <a:gd name="T10" fmla="*/ 2 w 5"/>
                <a:gd name="T11" fmla="*/ 2 h 10"/>
                <a:gd name="T12" fmla="*/ 0 w 5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0">
                  <a:moveTo>
                    <a:pt x="0" y="5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5" y="5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7" name="Freeform 100"/>
            <p:cNvSpPr>
              <a:spLocks/>
            </p:cNvSpPr>
            <p:nvPr/>
          </p:nvSpPr>
          <p:spPr bwMode="auto">
            <a:xfrm>
              <a:off x="7443788" y="1752601"/>
              <a:ext cx="23813" cy="9525"/>
            </a:xfrm>
            <a:custGeom>
              <a:avLst/>
              <a:gdLst>
                <a:gd name="T0" fmla="*/ 5 w 15"/>
                <a:gd name="T1" fmla="*/ 5 h 6"/>
                <a:gd name="T2" fmla="*/ 14 w 15"/>
                <a:gd name="T3" fmla="*/ 3 h 6"/>
                <a:gd name="T4" fmla="*/ 15 w 15"/>
                <a:gd name="T5" fmla="*/ 1 h 6"/>
                <a:gd name="T6" fmla="*/ 10 w 15"/>
                <a:gd name="T7" fmla="*/ 0 h 6"/>
                <a:gd name="T8" fmla="*/ 2 w 15"/>
                <a:gd name="T9" fmla="*/ 3 h 6"/>
                <a:gd name="T10" fmla="*/ 0 w 15"/>
                <a:gd name="T11" fmla="*/ 6 h 6"/>
                <a:gd name="T12" fmla="*/ 2 w 15"/>
                <a:gd name="T13" fmla="*/ 6 h 6"/>
                <a:gd name="T14" fmla="*/ 5 w 15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6">
                  <a:moveTo>
                    <a:pt x="5" y="5"/>
                  </a:moveTo>
                  <a:lnTo>
                    <a:pt x="14" y="3"/>
                  </a:lnTo>
                  <a:lnTo>
                    <a:pt x="15" y="1"/>
                  </a:lnTo>
                  <a:lnTo>
                    <a:pt x="10" y="0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8" name="Freeform 101"/>
            <p:cNvSpPr>
              <a:spLocks/>
            </p:cNvSpPr>
            <p:nvPr/>
          </p:nvSpPr>
          <p:spPr bwMode="auto">
            <a:xfrm>
              <a:off x="7337426" y="1797051"/>
              <a:ext cx="9525" cy="7938"/>
            </a:xfrm>
            <a:custGeom>
              <a:avLst/>
              <a:gdLst>
                <a:gd name="T0" fmla="*/ 0 w 6"/>
                <a:gd name="T1" fmla="*/ 3 h 5"/>
                <a:gd name="T2" fmla="*/ 4 w 6"/>
                <a:gd name="T3" fmla="*/ 5 h 5"/>
                <a:gd name="T4" fmla="*/ 6 w 6"/>
                <a:gd name="T5" fmla="*/ 0 h 5"/>
                <a:gd name="T6" fmla="*/ 4 w 6"/>
                <a:gd name="T7" fmla="*/ 0 h 5"/>
                <a:gd name="T8" fmla="*/ 2 w 6"/>
                <a:gd name="T9" fmla="*/ 0 h 5"/>
                <a:gd name="T10" fmla="*/ 0 w 6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3"/>
                  </a:moveTo>
                  <a:lnTo>
                    <a:pt x="4" y="5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9" name="Freeform 102"/>
            <p:cNvSpPr>
              <a:spLocks/>
            </p:cNvSpPr>
            <p:nvPr/>
          </p:nvSpPr>
          <p:spPr bwMode="auto">
            <a:xfrm>
              <a:off x="7764463" y="1665288"/>
              <a:ext cx="15875" cy="15875"/>
            </a:xfrm>
            <a:custGeom>
              <a:avLst/>
              <a:gdLst>
                <a:gd name="T0" fmla="*/ 10 w 10"/>
                <a:gd name="T1" fmla="*/ 8 h 10"/>
                <a:gd name="T2" fmla="*/ 8 w 10"/>
                <a:gd name="T3" fmla="*/ 4 h 10"/>
                <a:gd name="T4" fmla="*/ 5 w 10"/>
                <a:gd name="T5" fmla="*/ 0 h 10"/>
                <a:gd name="T6" fmla="*/ 2 w 10"/>
                <a:gd name="T7" fmla="*/ 3 h 10"/>
                <a:gd name="T8" fmla="*/ 2 w 10"/>
                <a:gd name="T9" fmla="*/ 4 h 10"/>
                <a:gd name="T10" fmla="*/ 0 w 10"/>
                <a:gd name="T11" fmla="*/ 8 h 10"/>
                <a:gd name="T12" fmla="*/ 2 w 10"/>
                <a:gd name="T13" fmla="*/ 10 h 10"/>
                <a:gd name="T14" fmla="*/ 5 w 10"/>
                <a:gd name="T15" fmla="*/ 10 h 10"/>
                <a:gd name="T16" fmla="*/ 10 w 10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10" y="8"/>
                  </a:moveTo>
                  <a:lnTo>
                    <a:pt x="8" y="4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1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0" name="Freeform 103"/>
            <p:cNvSpPr>
              <a:spLocks/>
            </p:cNvSpPr>
            <p:nvPr/>
          </p:nvSpPr>
          <p:spPr bwMode="auto">
            <a:xfrm>
              <a:off x="6965951" y="1947863"/>
              <a:ext cx="9525" cy="9525"/>
            </a:xfrm>
            <a:custGeom>
              <a:avLst/>
              <a:gdLst>
                <a:gd name="T0" fmla="*/ 6 w 6"/>
                <a:gd name="T1" fmla="*/ 2 h 6"/>
                <a:gd name="T2" fmla="*/ 2 w 6"/>
                <a:gd name="T3" fmla="*/ 0 h 6"/>
                <a:gd name="T4" fmla="*/ 0 w 6"/>
                <a:gd name="T5" fmla="*/ 0 h 6"/>
                <a:gd name="T6" fmla="*/ 0 w 6"/>
                <a:gd name="T7" fmla="*/ 2 h 6"/>
                <a:gd name="T8" fmla="*/ 4 w 6"/>
                <a:gd name="T9" fmla="*/ 6 h 6"/>
                <a:gd name="T10" fmla="*/ 6 w 6"/>
                <a:gd name="T11" fmla="*/ 6 h 6"/>
                <a:gd name="T12" fmla="*/ 6 w 6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1" name="Freeform 104"/>
            <p:cNvSpPr>
              <a:spLocks/>
            </p:cNvSpPr>
            <p:nvPr/>
          </p:nvSpPr>
          <p:spPr bwMode="auto">
            <a:xfrm>
              <a:off x="6729413" y="2068513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5 w 8"/>
                <a:gd name="T3" fmla="*/ 0 h 11"/>
                <a:gd name="T4" fmla="*/ 0 w 8"/>
                <a:gd name="T5" fmla="*/ 3 h 11"/>
                <a:gd name="T6" fmla="*/ 0 w 8"/>
                <a:gd name="T7" fmla="*/ 8 h 11"/>
                <a:gd name="T8" fmla="*/ 5 w 8"/>
                <a:gd name="T9" fmla="*/ 9 h 11"/>
                <a:gd name="T10" fmla="*/ 6 w 8"/>
                <a:gd name="T11" fmla="*/ 11 h 11"/>
                <a:gd name="T12" fmla="*/ 8 w 8"/>
                <a:gd name="T13" fmla="*/ 11 h 11"/>
                <a:gd name="T14" fmla="*/ 8 w 8"/>
                <a:gd name="T15" fmla="*/ 9 h 11"/>
                <a:gd name="T16" fmla="*/ 6 w 8"/>
                <a:gd name="T17" fmla="*/ 6 h 11"/>
                <a:gd name="T18" fmla="*/ 8 w 8"/>
                <a:gd name="T19" fmla="*/ 3 h 11"/>
                <a:gd name="T20" fmla="*/ 8 w 8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1">
                  <a:moveTo>
                    <a:pt x="8" y="0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5" y="9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6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2" name="Freeform 105"/>
            <p:cNvSpPr>
              <a:spLocks/>
            </p:cNvSpPr>
            <p:nvPr/>
          </p:nvSpPr>
          <p:spPr bwMode="auto">
            <a:xfrm>
              <a:off x="6523038" y="2393951"/>
              <a:ext cx="9525" cy="12700"/>
            </a:xfrm>
            <a:custGeom>
              <a:avLst/>
              <a:gdLst>
                <a:gd name="T0" fmla="*/ 6 w 6"/>
                <a:gd name="T1" fmla="*/ 4 h 8"/>
                <a:gd name="T2" fmla="*/ 1 w 6"/>
                <a:gd name="T3" fmla="*/ 0 h 8"/>
                <a:gd name="T4" fmla="*/ 0 w 6"/>
                <a:gd name="T5" fmla="*/ 4 h 8"/>
                <a:gd name="T6" fmla="*/ 5 w 6"/>
                <a:gd name="T7" fmla="*/ 8 h 8"/>
                <a:gd name="T8" fmla="*/ 6 w 6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5" y="8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3" name="Freeform 106"/>
            <p:cNvSpPr>
              <a:spLocks/>
            </p:cNvSpPr>
            <p:nvPr/>
          </p:nvSpPr>
          <p:spPr bwMode="auto">
            <a:xfrm>
              <a:off x="7931151" y="1860551"/>
              <a:ext cx="30163" cy="14288"/>
            </a:xfrm>
            <a:custGeom>
              <a:avLst/>
              <a:gdLst>
                <a:gd name="T0" fmla="*/ 12 w 19"/>
                <a:gd name="T1" fmla="*/ 9 h 9"/>
                <a:gd name="T2" fmla="*/ 18 w 19"/>
                <a:gd name="T3" fmla="*/ 9 h 9"/>
                <a:gd name="T4" fmla="*/ 19 w 19"/>
                <a:gd name="T5" fmla="*/ 5 h 9"/>
                <a:gd name="T6" fmla="*/ 18 w 19"/>
                <a:gd name="T7" fmla="*/ 2 h 9"/>
                <a:gd name="T8" fmla="*/ 12 w 19"/>
                <a:gd name="T9" fmla="*/ 0 h 9"/>
                <a:gd name="T10" fmla="*/ 7 w 19"/>
                <a:gd name="T11" fmla="*/ 2 h 9"/>
                <a:gd name="T12" fmla="*/ 4 w 19"/>
                <a:gd name="T13" fmla="*/ 0 h 9"/>
                <a:gd name="T14" fmla="*/ 0 w 19"/>
                <a:gd name="T15" fmla="*/ 0 h 9"/>
                <a:gd name="T16" fmla="*/ 0 w 19"/>
                <a:gd name="T17" fmla="*/ 2 h 9"/>
                <a:gd name="T18" fmla="*/ 4 w 19"/>
                <a:gd name="T19" fmla="*/ 3 h 9"/>
                <a:gd name="T20" fmla="*/ 4 w 19"/>
                <a:gd name="T21" fmla="*/ 8 h 9"/>
                <a:gd name="T22" fmla="*/ 12 w 19"/>
                <a:gd name="T2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9">
                  <a:moveTo>
                    <a:pt x="12" y="9"/>
                  </a:moveTo>
                  <a:lnTo>
                    <a:pt x="18" y="9"/>
                  </a:lnTo>
                  <a:lnTo>
                    <a:pt x="19" y="5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3"/>
                  </a:lnTo>
                  <a:lnTo>
                    <a:pt x="4" y="8"/>
                  </a:lnTo>
                  <a:lnTo>
                    <a:pt x="12" y="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4" name="Freeform 107"/>
            <p:cNvSpPr>
              <a:spLocks/>
            </p:cNvSpPr>
            <p:nvPr/>
          </p:nvSpPr>
          <p:spPr bwMode="auto">
            <a:xfrm>
              <a:off x="4351338" y="2355851"/>
              <a:ext cx="7938" cy="12700"/>
            </a:xfrm>
            <a:custGeom>
              <a:avLst/>
              <a:gdLst>
                <a:gd name="T0" fmla="*/ 1 w 5"/>
                <a:gd name="T1" fmla="*/ 2 h 8"/>
                <a:gd name="T2" fmla="*/ 0 w 5"/>
                <a:gd name="T3" fmla="*/ 4 h 8"/>
                <a:gd name="T4" fmla="*/ 0 w 5"/>
                <a:gd name="T5" fmla="*/ 8 h 8"/>
                <a:gd name="T6" fmla="*/ 1 w 5"/>
                <a:gd name="T7" fmla="*/ 8 h 8"/>
                <a:gd name="T8" fmla="*/ 3 w 5"/>
                <a:gd name="T9" fmla="*/ 5 h 8"/>
                <a:gd name="T10" fmla="*/ 5 w 5"/>
                <a:gd name="T11" fmla="*/ 4 h 8"/>
                <a:gd name="T12" fmla="*/ 5 w 5"/>
                <a:gd name="T13" fmla="*/ 0 h 8"/>
                <a:gd name="T14" fmla="*/ 3 w 5"/>
                <a:gd name="T15" fmla="*/ 0 h 8"/>
                <a:gd name="T16" fmla="*/ 1 w 5"/>
                <a:gd name="T1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8">
                  <a:moveTo>
                    <a:pt x="1" y="2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1" y="8"/>
                  </a:lnTo>
                  <a:lnTo>
                    <a:pt x="3" y="5"/>
                  </a:lnTo>
                  <a:lnTo>
                    <a:pt x="5" y="4"/>
                  </a:lnTo>
                  <a:lnTo>
                    <a:pt x="5" y="0"/>
                  </a:lnTo>
                  <a:lnTo>
                    <a:pt x="3" y="0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5" name="Freeform 108"/>
            <p:cNvSpPr>
              <a:spLocks/>
            </p:cNvSpPr>
            <p:nvPr/>
          </p:nvSpPr>
          <p:spPr bwMode="auto">
            <a:xfrm>
              <a:off x="4302126" y="2314576"/>
              <a:ext cx="6350" cy="7938"/>
            </a:xfrm>
            <a:custGeom>
              <a:avLst/>
              <a:gdLst>
                <a:gd name="T0" fmla="*/ 0 w 4"/>
                <a:gd name="T1" fmla="*/ 3 h 5"/>
                <a:gd name="T2" fmla="*/ 0 w 4"/>
                <a:gd name="T3" fmla="*/ 5 h 5"/>
                <a:gd name="T4" fmla="*/ 4 w 4"/>
                <a:gd name="T5" fmla="*/ 5 h 5"/>
                <a:gd name="T6" fmla="*/ 4 w 4"/>
                <a:gd name="T7" fmla="*/ 3 h 5"/>
                <a:gd name="T8" fmla="*/ 2 w 4"/>
                <a:gd name="T9" fmla="*/ 0 h 5"/>
                <a:gd name="T10" fmla="*/ 0 w 4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6" name="Rectangle 109"/>
            <p:cNvSpPr>
              <a:spLocks noChangeArrowheads="1"/>
            </p:cNvSpPr>
            <p:nvPr/>
          </p:nvSpPr>
          <p:spPr bwMode="auto">
            <a:xfrm>
              <a:off x="4506913" y="2224088"/>
              <a:ext cx="3175" cy="3175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7" name="Freeform 110"/>
            <p:cNvSpPr>
              <a:spLocks/>
            </p:cNvSpPr>
            <p:nvPr/>
          </p:nvSpPr>
          <p:spPr bwMode="auto">
            <a:xfrm>
              <a:off x="4254501" y="2319338"/>
              <a:ext cx="11113" cy="11113"/>
            </a:xfrm>
            <a:custGeom>
              <a:avLst/>
              <a:gdLst>
                <a:gd name="T0" fmla="*/ 2 w 7"/>
                <a:gd name="T1" fmla="*/ 0 h 7"/>
                <a:gd name="T2" fmla="*/ 0 w 7"/>
                <a:gd name="T3" fmla="*/ 2 h 7"/>
                <a:gd name="T4" fmla="*/ 0 w 7"/>
                <a:gd name="T5" fmla="*/ 3 h 7"/>
                <a:gd name="T6" fmla="*/ 3 w 7"/>
                <a:gd name="T7" fmla="*/ 3 h 7"/>
                <a:gd name="T8" fmla="*/ 3 w 7"/>
                <a:gd name="T9" fmla="*/ 7 h 7"/>
                <a:gd name="T10" fmla="*/ 7 w 7"/>
                <a:gd name="T11" fmla="*/ 5 h 7"/>
                <a:gd name="T12" fmla="*/ 5 w 7"/>
                <a:gd name="T13" fmla="*/ 2 h 7"/>
                <a:gd name="T14" fmla="*/ 2 w 7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7"/>
                  </a:lnTo>
                  <a:lnTo>
                    <a:pt x="7" y="5"/>
                  </a:lnTo>
                  <a:lnTo>
                    <a:pt x="5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8" name="Freeform 111"/>
            <p:cNvSpPr>
              <a:spLocks/>
            </p:cNvSpPr>
            <p:nvPr/>
          </p:nvSpPr>
          <p:spPr bwMode="auto">
            <a:xfrm>
              <a:off x="4152901" y="1995488"/>
              <a:ext cx="9525" cy="4763"/>
            </a:xfrm>
            <a:custGeom>
              <a:avLst/>
              <a:gdLst>
                <a:gd name="T0" fmla="*/ 4 w 6"/>
                <a:gd name="T1" fmla="*/ 2 h 3"/>
                <a:gd name="T2" fmla="*/ 3 w 6"/>
                <a:gd name="T3" fmla="*/ 0 h 3"/>
                <a:gd name="T4" fmla="*/ 3 w 6"/>
                <a:gd name="T5" fmla="*/ 2 h 3"/>
                <a:gd name="T6" fmla="*/ 0 w 6"/>
                <a:gd name="T7" fmla="*/ 3 h 3"/>
                <a:gd name="T8" fmla="*/ 6 w 6"/>
                <a:gd name="T9" fmla="*/ 3 h 3"/>
                <a:gd name="T10" fmla="*/ 4 w 6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4" y="2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3"/>
                  </a:lnTo>
                  <a:lnTo>
                    <a:pt x="6" y="3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9" name="Freeform 112"/>
            <p:cNvSpPr>
              <a:spLocks/>
            </p:cNvSpPr>
            <p:nvPr/>
          </p:nvSpPr>
          <p:spPr bwMode="auto">
            <a:xfrm>
              <a:off x="4318001" y="2314576"/>
              <a:ext cx="14288" cy="7938"/>
            </a:xfrm>
            <a:custGeom>
              <a:avLst/>
              <a:gdLst>
                <a:gd name="T0" fmla="*/ 3 w 9"/>
                <a:gd name="T1" fmla="*/ 0 h 5"/>
                <a:gd name="T2" fmla="*/ 0 w 9"/>
                <a:gd name="T3" fmla="*/ 3 h 5"/>
                <a:gd name="T4" fmla="*/ 1 w 9"/>
                <a:gd name="T5" fmla="*/ 5 h 5"/>
                <a:gd name="T6" fmla="*/ 6 w 9"/>
                <a:gd name="T7" fmla="*/ 5 h 5"/>
                <a:gd name="T8" fmla="*/ 9 w 9"/>
                <a:gd name="T9" fmla="*/ 3 h 5"/>
                <a:gd name="T10" fmla="*/ 7 w 9"/>
                <a:gd name="T11" fmla="*/ 0 h 5"/>
                <a:gd name="T12" fmla="*/ 3 w 9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3" y="0"/>
                  </a:moveTo>
                  <a:lnTo>
                    <a:pt x="0" y="3"/>
                  </a:lnTo>
                  <a:lnTo>
                    <a:pt x="1" y="5"/>
                  </a:lnTo>
                  <a:lnTo>
                    <a:pt x="6" y="5"/>
                  </a:lnTo>
                  <a:lnTo>
                    <a:pt x="9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0" name="Freeform 113"/>
            <p:cNvSpPr>
              <a:spLocks/>
            </p:cNvSpPr>
            <p:nvPr/>
          </p:nvSpPr>
          <p:spPr bwMode="auto">
            <a:xfrm>
              <a:off x="4398963" y="2386013"/>
              <a:ext cx="15875" cy="9525"/>
            </a:xfrm>
            <a:custGeom>
              <a:avLst/>
              <a:gdLst>
                <a:gd name="T0" fmla="*/ 4 w 10"/>
                <a:gd name="T1" fmla="*/ 2 h 6"/>
                <a:gd name="T2" fmla="*/ 0 w 10"/>
                <a:gd name="T3" fmla="*/ 6 h 6"/>
                <a:gd name="T4" fmla="*/ 1 w 10"/>
                <a:gd name="T5" fmla="*/ 6 h 6"/>
                <a:gd name="T6" fmla="*/ 4 w 10"/>
                <a:gd name="T7" fmla="*/ 6 h 6"/>
                <a:gd name="T8" fmla="*/ 7 w 10"/>
                <a:gd name="T9" fmla="*/ 3 h 6"/>
                <a:gd name="T10" fmla="*/ 10 w 10"/>
                <a:gd name="T11" fmla="*/ 2 h 6"/>
                <a:gd name="T12" fmla="*/ 7 w 10"/>
                <a:gd name="T13" fmla="*/ 0 h 6"/>
                <a:gd name="T14" fmla="*/ 4 w 10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">
                  <a:moveTo>
                    <a:pt x="4" y="2"/>
                  </a:moveTo>
                  <a:lnTo>
                    <a:pt x="0" y="6"/>
                  </a:lnTo>
                  <a:lnTo>
                    <a:pt x="1" y="6"/>
                  </a:lnTo>
                  <a:lnTo>
                    <a:pt x="4" y="6"/>
                  </a:lnTo>
                  <a:lnTo>
                    <a:pt x="7" y="3"/>
                  </a:lnTo>
                  <a:lnTo>
                    <a:pt x="10" y="2"/>
                  </a:lnTo>
                  <a:lnTo>
                    <a:pt x="7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1" name="Freeform 114"/>
            <p:cNvSpPr>
              <a:spLocks/>
            </p:cNvSpPr>
            <p:nvPr/>
          </p:nvSpPr>
          <p:spPr bwMode="auto">
            <a:xfrm>
              <a:off x="4505326" y="2235201"/>
              <a:ext cx="1588" cy="7938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5 h 5"/>
                <a:gd name="T4" fmla="*/ 1 w 1"/>
                <a:gd name="T5" fmla="*/ 0 h 5"/>
                <a:gd name="T6" fmla="*/ 0 w 1"/>
                <a:gd name="T7" fmla="*/ 2 h 5"/>
                <a:gd name="T8" fmla="*/ 0 w 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lnTo>
                    <a:pt x="1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2" name="Freeform 115"/>
            <p:cNvSpPr>
              <a:spLocks/>
            </p:cNvSpPr>
            <p:nvPr/>
          </p:nvSpPr>
          <p:spPr bwMode="auto">
            <a:xfrm>
              <a:off x="4497388" y="2247901"/>
              <a:ext cx="4763" cy="3175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3" name="Freeform 116"/>
            <p:cNvSpPr>
              <a:spLocks/>
            </p:cNvSpPr>
            <p:nvPr/>
          </p:nvSpPr>
          <p:spPr bwMode="auto">
            <a:xfrm>
              <a:off x="4456113" y="2324101"/>
              <a:ext cx="7938" cy="6350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2 h 4"/>
                <a:gd name="T4" fmla="*/ 4 w 5"/>
                <a:gd name="T5" fmla="*/ 4 h 4"/>
                <a:gd name="T6" fmla="*/ 5 w 5"/>
                <a:gd name="T7" fmla="*/ 2 h 4"/>
                <a:gd name="T8" fmla="*/ 4 w 5"/>
                <a:gd name="T9" fmla="*/ 0 h 4"/>
                <a:gd name="T10" fmla="*/ 2 w 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2"/>
                  </a:lnTo>
                  <a:lnTo>
                    <a:pt x="4" y="4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4" name="Freeform 117"/>
            <p:cNvSpPr>
              <a:spLocks/>
            </p:cNvSpPr>
            <p:nvPr/>
          </p:nvSpPr>
          <p:spPr bwMode="auto">
            <a:xfrm>
              <a:off x="4405313" y="2368551"/>
              <a:ext cx="22225" cy="12700"/>
            </a:xfrm>
            <a:custGeom>
              <a:avLst/>
              <a:gdLst>
                <a:gd name="T0" fmla="*/ 0 w 14"/>
                <a:gd name="T1" fmla="*/ 0 h 8"/>
                <a:gd name="T2" fmla="*/ 0 w 14"/>
                <a:gd name="T3" fmla="*/ 2 h 8"/>
                <a:gd name="T4" fmla="*/ 6 w 14"/>
                <a:gd name="T5" fmla="*/ 8 h 8"/>
                <a:gd name="T6" fmla="*/ 9 w 14"/>
                <a:gd name="T7" fmla="*/ 8 h 8"/>
                <a:gd name="T8" fmla="*/ 14 w 14"/>
                <a:gd name="T9" fmla="*/ 5 h 8"/>
                <a:gd name="T10" fmla="*/ 3 w 14"/>
                <a:gd name="T11" fmla="*/ 2 h 8"/>
                <a:gd name="T12" fmla="*/ 0 w 1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">
                  <a:moveTo>
                    <a:pt x="0" y="0"/>
                  </a:moveTo>
                  <a:lnTo>
                    <a:pt x="0" y="2"/>
                  </a:lnTo>
                  <a:lnTo>
                    <a:pt x="6" y="8"/>
                  </a:lnTo>
                  <a:lnTo>
                    <a:pt x="9" y="8"/>
                  </a:lnTo>
                  <a:lnTo>
                    <a:pt x="14" y="5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5" name="Freeform 118"/>
            <p:cNvSpPr>
              <a:spLocks/>
            </p:cNvSpPr>
            <p:nvPr/>
          </p:nvSpPr>
          <p:spPr bwMode="auto">
            <a:xfrm>
              <a:off x="4149726" y="1985963"/>
              <a:ext cx="9525" cy="7938"/>
            </a:xfrm>
            <a:custGeom>
              <a:avLst/>
              <a:gdLst>
                <a:gd name="T0" fmla="*/ 6 w 6"/>
                <a:gd name="T1" fmla="*/ 5 h 5"/>
                <a:gd name="T2" fmla="*/ 6 w 6"/>
                <a:gd name="T3" fmla="*/ 0 h 5"/>
                <a:gd name="T4" fmla="*/ 5 w 6"/>
                <a:gd name="T5" fmla="*/ 0 h 5"/>
                <a:gd name="T6" fmla="*/ 0 w 6"/>
                <a:gd name="T7" fmla="*/ 0 h 5"/>
                <a:gd name="T8" fmla="*/ 2 w 6"/>
                <a:gd name="T9" fmla="*/ 5 h 5"/>
                <a:gd name="T10" fmla="*/ 6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6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6" name="Freeform 119"/>
            <p:cNvSpPr>
              <a:spLocks/>
            </p:cNvSpPr>
            <p:nvPr/>
          </p:nvSpPr>
          <p:spPr bwMode="auto">
            <a:xfrm>
              <a:off x="4244976" y="1558926"/>
              <a:ext cx="14288" cy="19050"/>
            </a:xfrm>
            <a:custGeom>
              <a:avLst/>
              <a:gdLst>
                <a:gd name="T0" fmla="*/ 0 w 9"/>
                <a:gd name="T1" fmla="*/ 5 h 12"/>
                <a:gd name="T2" fmla="*/ 2 w 9"/>
                <a:gd name="T3" fmla="*/ 10 h 12"/>
                <a:gd name="T4" fmla="*/ 6 w 9"/>
                <a:gd name="T5" fmla="*/ 12 h 12"/>
                <a:gd name="T6" fmla="*/ 9 w 9"/>
                <a:gd name="T7" fmla="*/ 9 h 12"/>
                <a:gd name="T8" fmla="*/ 9 w 9"/>
                <a:gd name="T9" fmla="*/ 6 h 12"/>
                <a:gd name="T10" fmla="*/ 9 w 9"/>
                <a:gd name="T11" fmla="*/ 0 h 12"/>
                <a:gd name="T12" fmla="*/ 3 w 9"/>
                <a:gd name="T13" fmla="*/ 3 h 12"/>
                <a:gd name="T14" fmla="*/ 0 w 9"/>
                <a:gd name="T1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lnTo>
                    <a:pt x="2" y="10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6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7" name="Freeform 120"/>
            <p:cNvSpPr>
              <a:spLocks/>
            </p:cNvSpPr>
            <p:nvPr/>
          </p:nvSpPr>
          <p:spPr bwMode="auto">
            <a:xfrm>
              <a:off x="4244976" y="1768476"/>
              <a:ext cx="14288" cy="7938"/>
            </a:xfrm>
            <a:custGeom>
              <a:avLst/>
              <a:gdLst>
                <a:gd name="T0" fmla="*/ 6 w 9"/>
                <a:gd name="T1" fmla="*/ 5 h 5"/>
                <a:gd name="T2" fmla="*/ 9 w 9"/>
                <a:gd name="T3" fmla="*/ 2 h 5"/>
                <a:gd name="T4" fmla="*/ 6 w 9"/>
                <a:gd name="T5" fmla="*/ 0 h 5"/>
                <a:gd name="T6" fmla="*/ 0 w 9"/>
                <a:gd name="T7" fmla="*/ 0 h 5"/>
                <a:gd name="T8" fmla="*/ 2 w 9"/>
                <a:gd name="T9" fmla="*/ 5 h 5"/>
                <a:gd name="T10" fmla="*/ 6 w 9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lnTo>
                    <a:pt x="9" y="2"/>
                  </a:lnTo>
                  <a:lnTo>
                    <a:pt x="6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6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8" name="Freeform 121"/>
            <p:cNvSpPr>
              <a:spLocks/>
            </p:cNvSpPr>
            <p:nvPr/>
          </p:nvSpPr>
          <p:spPr bwMode="auto">
            <a:xfrm>
              <a:off x="4216401" y="1544638"/>
              <a:ext cx="36513" cy="6350"/>
            </a:xfrm>
            <a:custGeom>
              <a:avLst/>
              <a:gdLst>
                <a:gd name="T0" fmla="*/ 0 w 23"/>
                <a:gd name="T1" fmla="*/ 3 h 4"/>
                <a:gd name="T2" fmla="*/ 3 w 23"/>
                <a:gd name="T3" fmla="*/ 4 h 4"/>
                <a:gd name="T4" fmla="*/ 10 w 23"/>
                <a:gd name="T5" fmla="*/ 4 h 4"/>
                <a:gd name="T6" fmla="*/ 14 w 23"/>
                <a:gd name="T7" fmla="*/ 3 h 4"/>
                <a:gd name="T8" fmla="*/ 15 w 23"/>
                <a:gd name="T9" fmla="*/ 1 h 4"/>
                <a:gd name="T10" fmla="*/ 18 w 23"/>
                <a:gd name="T11" fmla="*/ 3 h 4"/>
                <a:gd name="T12" fmla="*/ 21 w 23"/>
                <a:gd name="T13" fmla="*/ 1 h 4"/>
                <a:gd name="T14" fmla="*/ 23 w 23"/>
                <a:gd name="T15" fmla="*/ 0 h 4"/>
                <a:gd name="T16" fmla="*/ 0 w 23"/>
                <a:gd name="T17" fmla="*/ 0 h 4"/>
                <a:gd name="T18" fmla="*/ 0 w 23"/>
                <a:gd name="T1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4">
                  <a:moveTo>
                    <a:pt x="0" y="3"/>
                  </a:moveTo>
                  <a:lnTo>
                    <a:pt x="3" y="4"/>
                  </a:lnTo>
                  <a:lnTo>
                    <a:pt x="10" y="4"/>
                  </a:lnTo>
                  <a:lnTo>
                    <a:pt x="14" y="3"/>
                  </a:lnTo>
                  <a:lnTo>
                    <a:pt x="15" y="1"/>
                  </a:lnTo>
                  <a:lnTo>
                    <a:pt x="18" y="3"/>
                  </a:lnTo>
                  <a:lnTo>
                    <a:pt x="21" y="1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9" name="Freeform 122"/>
            <p:cNvSpPr>
              <a:spLocks/>
            </p:cNvSpPr>
            <p:nvPr/>
          </p:nvSpPr>
          <p:spPr bwMode="auto">
            <a:xfrm>
              <a:off x="4225926" y="1758951"/>
              <a:ext cx="22225" cy="9525"/>
            </a:xfrm>
            <a:custGeom>
              <a:avLst/>
              <a:gdLst>
                <a:gd name="T0" fmla="*/ 4 w 14"/>
                <a:gd name="T1" fmla="*/ 0 h 6"/>
                <a:gd name="T2" fmla="*/ 0 w 14"/>
                <a:gd name="T3" fmla="*/ 3 h 6"/>
                <a:gd name="T4" fmla="*/ 0 w 14"/>
                <a:gd name="T5" fmla="*/ 5 h 6"/>
                <a:gd name="T6" fmla="*/ 6 w 14"/>
                <a:gd name="T7" fmla="*/ 6 h 6"/>
                <a:gd name="T8" fmla="*/ 9 w 14"/>
                <a:gd name="T9" fmla="*/ 6 h 6"/>
                <a:gd name="T10" fmla="*/ 14 w 14"/>
                <a:gd name="T11" fmla="*/ 5 h 6"/>
                <a:gd name="T12" fmla="*/ 9 w 14"/>
                <a:gd name="T13" fmla="*/ 3 h 6"/>
                <a:gd name="T14" fmla="*/ 4 w 14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6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9" y="6"/>
                  </a:lnTo>
                  <a:lnTo>
                    <a:pt x="14" y="5"/>
                  </a:lnTo>
                  <a:lnTo>
                    <a:pt x="9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0" name="Freeform 123"/>
            <p:cNvSpPr>
              <a:spLocks/>
            </p:cNvSpPr>
            <p:nvPr/>
          </p:nvSpPr>
          <p:spPr bwMode="auto">
            <a:xfrm>
              <a:off x="4273551" y="1558926"/>
              <a:ext cx="19050" cy="15875"/>
            </a:xfrm>
            <a:custGeom>
              <a:avLst/>
              <a:gdLst>
                <a:gd name="T0" fmla="*/ 0 w 12"/>
                <a:gd name="T1" fmla="*/ 9 h 10"/>
                <a:gd name="T2" fmla="*/ 3 w 12"/>
                <a:gd name="T3" fmla="*/ 10 h 10"/>
                <a:gd name="T4" fmla="*/ 6 w 12"/>
                <a:gd name="T5" fmla="*/ 10 h 10"/>
                <a:gd name="T6" fmla="*/ 12 w 12"/>
                <a:gd name="T7" fmla="*/ 6 h 10"/>
                <a:gd name="T8" fmla="*/ 10 w 12"/>
                <a:gd name="T9" fmla="*/ 1 h 10"/>
                <a:gd name="T10" fmla="*/ 6 w 12"/>
                <a:gd name="T11" fmla="*/ 0 h 10"/>
                <a:gd name="T12" fmla="*/ 3 w 12"/>
                <a:gd name="T13" fmla="*/ 1 h 10"/>
                <a:gd name="T14" fmla="*/ 0 w 12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lnTo>
                    <a:pt x="3" y="10"/>
                  </a:lnTo>
                  <a:lnTo>
                    <a:pt x="6" y="10"/>
                  </a:lnTo>
                  <a:lnTo>
                    <a:pt x="12" y="6"/>
                  </a:lnTo>
                  <a:lnTo>
                    <a:pt x="10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1" name="Freeform 124"/>
            <p:cNvSpPr>
              <a:spLocks/>
            </p:cNvSpPr>
            <p:nvPr/>
          </p:nvSpPr>
          <p:spPr bwMode="auto">
            <a:xfrm>
              <a:off x="4271963" y="1544638"/>
              <a:ext cx="7938" cy="1588"/>
            </a:xfrm>
            <a:custGeom>
              <a:avLst/>
              <a:gdLst>
                <a:gd name="T0" fmla="*/ 0 w 5"/>
                <a:gd name="T1" fmla="*/ 1 h 1"/>
                <a:gd name="T2" fmla="*/ 4 w 5"/>
                <a:gd name="T3" fmla="*/ 1 h 1"/>
                <a:gd name="T4" fmla="*/ 5 w 5"/>
                <a:gd name="T5" fmla="*/ 0 h 1"/>
                <a:gd name="T6" fmla="*/ 0 w 5"/>
                <a:gd name="T7" fmla="*/ 0 h 1"/>
                <a:gd name="T8" fmla="*/ 0 w 5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1"/>
                  </a:moveTo>
                  <a:lnTo>
                    <a:pt x="4" y="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2" name="Freeform 125"/>
            <p:cNvSpPr>
              <a:spLocks/>
            </p:cNvSpPr>
            <p:nvPr/>
          </p:nvSpPr>
          <p:spPr bwMode="auto">
            <a:xfrm>
              <a:off x="4502151" y="2206626"/>
              <a:ext cx="17463" cy="9525"/>
            </a:xfrm>
            <a:custGeom>
              <a:avLst/>
              <a:gdLst>
                <a:gd name="T0" fmla="*/ 3 w 11"/>
                <a:gd name="T1" fmla="*/ 1 h 6"/>
                <a:gd name="T2" fmla="*/ 2 w 11"/>
                <a:gd name="T3" fmla="*/ 0 h 6"/>
                <a:gd name="T4" fmla="*/ 0 w 11"/>
                <a:gd name="T5" fmla="*/ 1 h 6"/>
                <a:gd name="T6" fmla="*/ 0 w 11"/>
                <a:gd name="T7" fmla="*/ 4 h 6"/>
                <a:gd name="T8" fmla="*/ 3 w 11"/>
                <a:gd name="T9" fmla="*/ 6 h 6"/>
                <a:gd name="T10" fmla="*/ 5 w 11"/>
                <a:gd name="T11" fmla="*/ 6 h 6"/>
                <a:gd name="T12" fmla="*/ 11 w 11"/>
                <a:gd name="T13" fmla="*/ 6 h 6"/>
                <a:gd name="T14" fmla="*/ 11 w 11"/>
                <a:gd name="T15" fmla="*/ 4 h 6"/>
                <a:gd name="T16" fmla="*/ 9 w 11"/>
                <a:gd name="T17" fmla="*/ 1 h 6"/>
                <a:gd name="T18" fmla="*/ 3 w 11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6">
                  <a:moveTo>
                    <a:pt x="3" y="1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3" y="6"/>
                  </a:lnTo>
                  <a:lnTo>
                    <a:pt x="5" y="6"/>
                  </a:lnTo>
                  <a:lnTo>
                    <a:pt x="11" y="6"/>
                  </a:lnTo>
                  <a:lnTo>
                    <a:pt x="11" y="4"/>
                  </a:lnTo>
                  <a:lnTo>
                    <a:pt x="9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3" name="Freeform 126"/>
            <p:cNvSpPr>
              <a:spLocks/>
            </p:cNvSpPr>
            <p:nvPr/>
          </p:nvSpPr>
          <p:spPr bwMode="auto">
            <a:xfrm>
              <a:off x="4167188" y="1830388"/>
              <a:ext cx="9525" cy="9525"/>
            </a:xfrm>
            <a:custGeom>
              <a:avLst/>
              <a:gdLst>
                <a:gd name="T0" fmla="*/ 0 w 6"/>
                <a:gd name="T1" fmla="*/ 3 h 6"/>
                <a:gd name="T2" fmla="*/ 1 w 6"/>
                <a:gd name="T3" fmla="*/ 6 h 6"/>
                <a:gd name="T4" fmla="*/ 3 w 6"/>
                <a:gd name="T5" fmla="*/ 6 h 6"/>
                <a:gd name="T6" fmla="*/ 6 w 6"/>
                <a:gd name="T7" fmla="*/ 2 h 6"/>
                <a:gd name="T8" fmla="*/ 6 w 6"/>
                <a:gd name="T9" fmla="*/ 0 h 6"/>
                <a:gd name="T10" fmla="*/ 3 w 6"/>
                <a:gd name="T11" fmla="*/ 0 h 6"/>
                <a:gd name="T12" fmla="*/ 1 w 6"/>
                <a:gd name="T13" fmla="*/ 2 h 6"/>
                <a:gd name="T14" fmla="*/ 0 w 6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lnTo>
                    <a:pt x="1" y="6"/>
                  </a:lnTo>
                  <a:lnTo>
                    <a:pt x="3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4" name="Freeform 127"/>
            <p:cNvSpPr>
              <a:spLocks/>
            </p:cNvSpPr>
            <p:nvPr/>
          </p:nvSpPr>
          <p:spPr bwMode="auto">
            <a:xfrm>
              <a:off x="4144963" y="1900238"/>
              <a:ext cx="4763" cy="4763"/>
            </a:xfrm>
            <a:custGeom>
              <a:avLst/>
              <a:gdLst>
                <a:gd name="T0" fmla="*/ 2 w 3"/>
                <a:gd name="T1" fmla="*/ 3 h 3"/>
                <a:gd name="T2" fmla="*/ 3 w 3"/>
                <a:gd name="T3" fmla="*/ 3 h 3"/>
                <a:gd name="T4" fmla="*/ 3 w 3"/>
                <a:gd name="T5" fmla="*/ 0 h 3"/>
                <a:gd name="T6" fmla="*/ 2 w 3"/>
                <a:gd name="T7" fmla="*/ 0 h 3"/>
                <a:gd name="T8" fmla="*/ 0 w 3"/>
                <a:gd name="T9" fmla="*/ 0 h 3"/>
                <a:gd name="T10" fmla="*/ 2 w 3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5" name="Freeform 128"/>
            <p:cNvSpPr>
              <a:spLocks/>
            </p:cNvSpPr>
            <p:nvPr/>
          </p:nvSpPr>
          <p:spPr bwMode="auto">
            <a:xfrm>
              <a:off x="4176713" y="1630363"/>
              <a:ext cx="101600" cy="92075"/>
            </a:xfrm>
            <a:custGeom>
              <a:avLst/>
              <a:gdLst>
                <a:gd name="T0" fmla="*/ 64 w 64"/>
                <a:gd name="T1" fmla="*/ 47 h 58"/>
                <a:gd name="T2" fmla="*/ 61 w 64"/>
                <a:gd name="T3" fmla="*/ 39 h 58"/>
                <a:gd name="T4" fmla="*/ 58 w 64"/>
                <a:gd name="T5" fmla="*/ 31 h 58"/>
                <a:gd name="T6" fmla="*/ 54 w 64"/>
                <a:gd name="T7" fmla="*/ 31 h 58"/>
                <a:gd name="T8" fmla="*/ 49 w 64"/>
                <a:gd name="T9" fmla="*/ 30 h 58"/>
                <a:gd name="T10" fmla="*/ 45 w 64"/>
                <a:gd name="T11" fmla="*/ 19 h 58"/>
                <a:gd name="T12" fmla="*/ 39 w 64"/>
                <a:gd name="T13" fmla="*/ 11 h 58"/>
                <a:gd name="T14" fmla="*/ 31 w 64"/>
                <a:gd name="T15" fmla="*/ 10 h 58"/>
                <a:gd name="T16" fmla="*/ 25 w 64"/>
                <a:gd name="T17" fmla="*/ 5 h 58"/>
                <a:gd name="T18" fmla="*/ 18 w 64"/>
                <a:gd name="T19" fmla="*/ 5 h 58"/>
                <a:gd name="T20" fmla="*/ 12 w 64"/>
                <a:gd name="T21" fmla="*/ 0 h 58"/>
                <a:gd name="T22" fmla="*/ 10 w 64"/>
                <a:gd name="T23" fmla="*/ 5 h 58"/>
                <a:gd name="T24" fmla="*/ 5 w 64"/>
                <a:gd name="T25" fmla="*/ 10 h 58"/>
                <a:gd name="T26" fmla="*/ 5 w 64"/>
                <a:gd name="T27" fmla="*/ 14 h 58"/>
                <a:gd name="T28" fmla="*/ 10 w 64"/>
                <a:gd name="T29" fmla="*/ 19 h 58"/>
                <a:gd name="T30" fmla="*/ 12 w 64"/>
                <a:gd name="T31" fmla="*/ 22 h 58"/>
                <a:gd name="T32" fmla="*/ 9 w 64"/>
                <a:gd name="T33" fmla="*/ 20 h 58"/>
                <a:gd name="T34" fmla="*/ 3 w 64"/>
                <a:gd name="T35" fmla="*/ 22 h 58"/>
                <a:gd name="T36" fmla="*/ 3 w 64"/>
                <a:gd name="T37" fmla="*/ 26 h 58"/>
                <a:gd name="T38" fmla="*/ 0 w 64"/>
                <a:gd name="T39" fmla="*/ 30 h 58"/>
                <a:gd name="T40" fmla="*/ 9 w 64"/>
                <a:gd name="T41" fmla="*/ 34 h 58"/>
                <a:gd name="T42" fmla="*/ 5 w 64"/>
                <a:gd name="T43" fmla="*/ 34 h 58"/>
                <a:gd name="T44" fmla="*/ 3 w 64"/>
                <a:gd name="T45" fmla="*/ 36 h 58"/>
                <a:gd name="T46" fmla="*/ 5 w 64"/>
                <a:gd name="T47" fmla="*/ 39 h 58"/>
                <a:gd name="T48" fmla="*/ 18 w 64"/>
                <a:gd name="T49" fmla="*/ 42 h 58"/>
                <a:gd name="T50" fmla="*/ 20 w 64"/>
                <a:gd name="T51" fmla="*/ 45 h 58"/>
                <a:gd name="T52" fmla="*/ 24 w 64"/>
                <a:gd name="T53" fmla="*/ 47 h 58"/>
                <a:gd name="T54" fmla="*/ 31 w 64"/>
                <a:gd name="T55" fmla="*/ 41 h 58"/>
                <a:gd name="T56" fmla="*/ 25 w 64"/>
                <a:gd name="T57" fmla="*/ 48 h 58"/>
                <a:gd name="T58" fmla="*/ 22 w 64"/>
                <a:gd name="T59" fmla="*/ 48 h 58"/>
                <a:gd name="T60" fmla="*/ 14 w 64"/>
                <a:gd name="T61" fmla="*/ 47 h 58"/>
                <a:gd name="T62" fmla="*/ 10 w 64"/>
                <a:gd name="T63" fmla="*/ 47 h 58"/>
                <a:gd name="T64" fmla="*/ 10 w 64"/>
                <a:gd name="T65" fmla="*/ 50 h 58"/>
                <a:gd name="T66" fmla="*/ 12 w 64"/>
                <a:gd name="T67" fmla="*/ 53 h 58"/>
                <a:gd name="T68" fmla="*/ 22 w 64"/>
                <a:gd name="T69" fmla="*/ 54 h 58"/>
                <a:gd name="T70" fmla="*/ 22 w 64"/>
                <a:gd name="T71" fmla="*/ 58 h 58"/>
                <a:gd name="T72" fmla="*/ 28 w 64"/>
                <a:gd name="T73" fmla="*/ 58 h 58"/>
                <a:gd name="T74" fmla="*/ 31 w 64"/>
                <a:gd name="T75" fmla="*/ 56 h 58"/>
                <a:gd name="T76" fmla="*/ 45 w 64"/>
                <a:gd name="T77" fmla="*/ 54 h 58"/>
                <a:gd name="T78" fmla="*/ 54 w 64"/>
                <a:gd name="T79" fmla="*/ 54 h 58"/>
                <a:gd name="T80" fmla="*/ 64 w 64"/>
                <a:gd name="T81" fmla="*/ 4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" h="58">
                  <a:moveTo>
                    <a:pt x="64" y="47"/>
                  </a:moveTo>
                  <a:lnTo>
                    <a:pt x="61" y="39"/>
                  </a:lnTo>
                  <a:lnTo>
                    <a:pt x="58" y="31"/>
                  </a:lnTo>
                  <a:lnTo>
                    <a:pt x="54" y="31"/>
                  </a:lnTo>
                  <a:lnTo>
                    <a:pt x="49" y="30"/>
                  </a:lnTo>
                  <a:lnTo>
                    <a:pt x="45" y="19"/>
                  </a:lnTo>
                  <a:lnTo>
                    <a:pt x="39" y="11"/>
                  </a:lnTo>
                  <a:lnTo>
                    <a:pt x="31" y="10"/>
                  </a:lnTo>
                  <a:lnTo>
                    <a:pt x="25" y="5"/>
                  </a:lnTo>
                  <a:lnTo>
                    <a:pt x="18" y="5"/>
                  </a:lnTo>
                  <a:lnTo>
                    <a:pt x="12" y="0"/>
                  </a:lnTo>
                  <a:lnTo>
                    <a:pt x="10" y="5"/>
                  </a:lnTo>
                  <a:lnTo>
                    <a:pt x="5" y="10"/>
                  </a:lnTo>
                  <a:lnTo>
                    <a:pt x="5" y="14"/>
                  </a:lnTo>
                  <a:lnTo>
                    <a:pt x="10" y="19"/>
                  </a:lnTo>
                  <a:lnTo>
                    <a:pt x="12" y="22"/>
                  </a:lnTo>
                  <a:lnTo>
                    <a:pt x="9" y="20"/>
                  </a:lnTo>
                  <a:lnTo>
                    <a:pt x="3" y="22"/>
                  </a:lnTo>
                  <a:lnTo>
                    <a:pt x="3" y="26"/>
                  </a:lnTo>
                  <a:lnTo>
                    <a:pt x="0" y="30"/>
                  </a:lnTo>
                  <a:lnTo>
                    <a:pt x="9" y="34"/>
                  </a:lnTo>
                  <a:lnTo>
                    <a:pt x="5" y="34"/>
                  </a:lnTo>
                  <a:lnTo>
                    <a:pt x="3" y="36"/>
                  </a:lnTo>
                  <a:lnTo>
                    <a:pt x="5" y="39"/>
                  </a:lnTo>
                  <a:lnTo>
                    <a:pt x="18" y="42"/>
                  </a:lnTo>
                  <a:lnTo>
                    <a:pt x="20" y="45"/>
                  </a:lnTo>
                  <a:lnTo>
                    <a:pt x="24" y="47"/>
                  </a:lnTo>
                  <a:lnTo>
                    <a:pt x="31" y="41"/>
                  </a:lnTo>
                  <a:lnTo>
                    <a:pt x="25" y="48"/>
                  </a:lnTo>
                  <a:lnTo>
                    <a:pt x="22" y="48"/>
                  </a:lnTo>
                  <a:lnTo>
                    <a:pt x="14" y="47"/>
                  </a:lnTo>
                  <a:lnTo>
                    <a:pt x="10" y="47"/>
                  </a:lnTo>
                  <a:lnTo>
                    <a:pt x="10" y="50"/>
                  </a:lnTo>
                  <a:lnTo>
                    <a:pt x="12" y="53"/>
                  </a:lnTo>
                  <a:lnTo>
                    <a:pt x="22" y="54"/>
                  </a:lnTo>
                  <a:lnTo>
                    <a:pt x="22" y="58"/>
                  </a:lnTo>
                  <a:lnTo>
                    <a:pt x="28" y="58"/>
                  </a:lnTo>
                  <a:lnTo>
                    <a:pt x="31" y="56"/>
                  </a:lnTo>
                  <a:lnTo>
                    <a:pt x="45" y="54"/>
                  </a:lnTo>
                  <a:lnTo>
                    <a:pt x="54" y="54"/>
                  </a:lnTo>
                  <a:lnTo>
                    <a:pt x="64" y="4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6" name="Freeform 129"/>
            <p:cNvSpPr>
              <a:spLocks/>
            </p:cNvSpPr>
            <p:nvPr/>
          </p:nvSpPr>
          <p:spPr bwMode="auto">
            <a:xfrm>
              <a:off x="4208463" y="1771651"/>
              <a:ext cx="14288" cy="6350"/>
            </a:xfrm>
            <a:custGeom>
              <a:avLst/>
              <a:gdLst>
                <a:gd name="T0" fmla="*/ 2 w 9"/>
                <a:gd name="T1" fmla="*/ 0 h 4"/>
                <a:gd name="T2" fmla="*/ 0 w 9"/>
                <a:gd name="T3" fmla="*/ 3 h 4"/>
                <a:gd name="T4" fmla="*/ 2 w 9"/>
                <a:gd name="T5" fmla="*/ 4 h 4"/>
                <a:gd name="T6" fmla="*/ 9 w 9"/>
                <a:gd name="T7" fmla="*/ 4 h 4"/>
                <a:gd name="T8" fmla="*/ 9 w 9"/>
                <a:gd name="T9" fmla="*/ 0 h 4"/>
                <a:gd name="T10" fmla="*/ 4 w 9"/>
                <a:gd name="T11" fmla="*/ 0 h 4"/>
                <a:gd name="T12" fmla="*/ 2 w 9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2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9" y="4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7" name="Freeform 130"/>
            <p:cNvSpPr>
              <a:spLocks/>
            </p:cNvSpPr>
            <p:nvPr/>
          </p:nvSpPr>
          <p:spPr bwMode="auto">
            <a:xfrm>
              <a:off x="4191001" y="1612901"/>
              <a:ext cx="11113" cy="12700"/>
            </a:xfrm>
            <a:custGeom>
              <a:avLst/>
              <a:gdLst>
                <a:gd name="T0" fmla="*/ 7 w 7"/>
                <a:gd name="T1" fmla="*/ 8 h 8"/>
                <a:gd name="T2" fmla="*/ 7 w 7"/>
                <a:gd name="T3" fmla="*/ 4 h 8"/>
                <a:gd name="T4" fmla="*/ 5 w 7"/>
                <a:gd name="T5" fmla="*/ 0 h 8"/>
                <a:gd name="T6" fmla="*/ 1 w 7"/>
                <a:gd name="T7" fmla="*/ 0 h 8"/>
                <a:gd name="T8" fmla="*/ 0 w 7"/>
                <a:gd name="T9" fmla="*/ 2 h 8"/>
                <a:gd name="T10" fmla="*/ 3 w 7"/>
                <a:gd name="T11" fmla="*/ 6 h 8"/>
                <a:gd name="T12" fmla="*/ 7 w 7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8">
                  <a:moveTo>
                    <a:pt x="7" y="8"/>
                  </a:moveTo>
                  <a:lnTo>
                    <a:pt x="7" y="4"/>
                  </a:lnTo>
                  <a:lnTo>
                    <a:pt x="5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7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8" name="Freeform 131"/>
            <p:cNvSpPr>
              <a:spLocks/>
            </p:cNvSpPr>
            <p:nvPr/>
          </p:nvSpPr>
          <p:spPr bwMode="auto">
            <a:xfrm>
              <a:off x="5292726" y="1544638"/>
              <a:ext cx="41275" cy="22225"/>
            </a:xfrm>
            <a:custGeom>
              <a:avLst/>
              <a:gdLst>
                <a:gd name="T0" fmla="*/ 3 w 26"/>
                <a:gd name="T1" fmla="*/ 3 h 14"/>
                <a:gd name="T2" fmla="*/ 6 w 26"/>
                <a:gd name="T3" fmla="*/ 6 h 14"/>
                <a:gd name="T4" fmla="*/ 12 w 26"/>
                <a:gd name="T5" fmla="*/ 10 h 14"/>
                <a:gd name="T6" fmla="*/ 14 w 26"/>
                <a:gd name="T7" fmla="*/ 10 h 14"/>
                <a:gd name="T8" fmla="*/ 17 w 26"/>
                <a:gd name="T9" fmla="*/ 12 h 14"/>
                <a:gd name="T10" fmla="*/ 22 w 26"/>
                <a:gd name="T11" fmla="*/ 14 h 14"/>
                <a:gd name="T12" fmla="*/ 23 w 26"/>
                <a:gd name="T13" fmla="*/ 12 h 14"/>
                <a:gd name="T14" fmla="*/ 23 w 26"/>
                <a:gd name="T15" fmla="*/ 10 h 14"/>
                <a:gd name="T16" fmla="*/ 26 w 26"/>
                <a:gd name="T17" fmla="*/ 9 h 14"/>
                <a:gd name="T18" fmla="*/ 22 w 26"/>
                <a:gd name="T19" fmla="*/ 3 h 14"/>
                <a:gd name="T20" fmla="*/ 17 w 26"/>
                <a:gd name="T21" fmla="*/ 1 h 14"/>
                <a:gd name="T22" fmla="*/ 14 w 26"/>
                <a:gd name="T23" fmla="*/ 1 h 14"/>
                <a:gd name="T24" fmla="*/ 14 w 26"/>
                <a:gd name="T25" fmla="*/ 0 h 14"/>
                <a:gd name="T26" fmla="*/ 0 w 26"/>
                <a:gd name="T27" fmla="*/ 0 h 14"/>
                <a:gd name="T28" fmla="*/ 3 w 26"/>
                <a:gd name="T2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4">
                  <a:moveTo>
                    <a:pt x="3" y="3"/>
                  </a:moveTo>
                  <a:lnTo>
                    <a:pt x="6" y="6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7" y="12"/>
                  </a:lnTo>
                  <a:lnTo>
                    <a:pt x="22" y="14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6" y="9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9" name="Freeform 132"/>
            <p:cNvSpPr>
              <a:spLocks/>
            </p:cNvSpPr>
            <p:nvPr/>
          </p:nvSpPr>
          <p:spPr bwMode="auto">
            <a:xfrm>
              <a:off x="4198938" y="2071688"/>
              <a:ext cx="12700" cy="9525"/>
            </a:xfrm>
            <a:custGeom>
              <a:avLst/>
              <a:gdLst>
                <a:gd name="T0" fmla="*/ 8 w 8"/>
                <a:gd name="T1" fmla="*/ 0 h 6"/>
                <a:gd name="T2" fmla="*/ 4 w 8"/>
                <a:gd name="T3" fmla="*/ 0 h 6"/>
                <a:gd name="T4" fmla="*/ 2 w 8"/>
                <a:gd name="T5" fmla="*/ 4 h 6"/>
                <a:gd name="T6" fmla="*/ 0 w 8"/>
                <a:gd name="T7" fmla="*/ 6 h 6"/>
                <a:gd name="T8" fmla="*/ 2 w 8"/>
                <a:gd name="T9" fmla="*/ 5 h 6"/>
                <a:gd name="T10" fmla="*/ 8 w 8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8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5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0" name="Freeform 133"/>
            <p:cNvSpPr>
              <a:spLocks/>
            </p:cNvSpPr>
            <p:nvPr/>
          </p:nvSpPr>
          <p:spPr bwMode="auto">
            <a:xfrm>
              <a:off x="4192588" y="2081213"/>
              <a:ext cx="6350" cy="6350"/>
            </a:xfrm>
            <a:custGeom>
              <a:avLst/>
              <a:gdLst>
                <a:gd name="T0" fmla="*/ 4 w 4"/>
                <a:gd name="T1" fmla="*/ 0 h 4"/>
                <a:gd name="T2" fmla="*/ 2 w 4"/>
                <a:gd name="T3" fmla="*/ 1 h 4"/>
                <a:gd name="T4" fmla="*/ 0 w 4"/>
                <a:gd name="T5" fmla="*/ 4 h 4"/>
                <a:gd name="T6" fmla="*/ 4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2" y="1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1" name="Freeform 134"/>
            <p:cNvSpPr>
              <a:spLocks/>
            </p:cNvSpPr>
            <p:nvPr/>
          </p:nvSpPr>
          <p:spPr bwMode="auto">
            <a:xfrm>
              <a:off x="4192588" y="2068513"/>
              <a:ext cx="9525" cy="9525"/>
            </a:xfrm>
            <a:custGeom>
              <a:avLst/>
              <a:gdLst>
                <a:gd name="T0" fmla="*/ 4 w 6"/>
                <a:gd name="T1" fmla="*/ 4 h 6"/>
                <a:gd name="T2" fmla="*/ 6 w 6"/>
                <a:gd name="T3" fmla="*/ 0 h 6"/>
                <a:gd name="T4" fmla="*/ 4 w 6"/>
                <a:gd name="T5" fmla="*/ 0 h 6"/>
                <a:gd name="T6" fmla="*/ 0 w 6"/>
                <a:gd name="T7" fmla="*/ 6 h 6"/>
                <a:gd name="T8" fmla="*/ 2 w 6"/>
                <a:gd name="T9" fmla="*/ 6 h 6"/>
                <a:gd name="T10" fmla="*/ 4 w 6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4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2" name="Freeform 135"/>
            <p:cNvSpPr>
              <a:spLocks/>
            </p:cNvSpPr>
            <p:nvPr/>
          </p:nvSpPr>
          <p:spPr bwMode="auto">
            <a:xfrm>
              <a:off x="5210176" y="1651001"/>
              <a:ext cx="4763" cy="9525"/>
            </a:xfrm>
            <a:custGeom>
              <a:avLst/>
              <a:gdLst>
                <a:gd name="T0" fmla="*/ 3 w 3"/>
                <a:gd name="T1" fmla="*/ 4 h 6"/>
                <a:gd name="T2" fmla="*/ 3 w 3"/>
                <a:gd name="T3" fmla="*/ 1 h 6"/>
                <a:gd name="T4" fmla="*/ 1 w 3"/>
                <a:gd name="T5" fmla="*/ 0 h 6"/>
                <a:gd name="T6" fmla="*/ 1 w 3"/>
                <a:gd name="T7" fmla="*/ 1 h 6"/>
                <a:gd name="T8" fmla="*/ 0 w 3"/>
                <a:gd name="T9" fmla="*/ 4 h 6"/>
                <a:gd name="T10" fmla="*/ 3 w 3"/>
                <a:gd name="T11" fmla="*/ 6 h 6"/>
                <a:gd name="T12" fmla="*/ 3 w 3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3" name="Freeform 136"/>
            <p:cNvSpPr>
              <a:spLocks/>
            </p:cNvSpPr>
            <p:nvPr/>
          </p:nvSpPr>
          <p:spPr bwMode="auto">
            <a:xfrm>
              <a:off x="5132388" y="1670051"/>
              <a:ext cx="9525" cy="4763"/>
            </a:xfrm>
            <a:custGeom>
              <a:avLst/>
              <a:gdLst>
                <a:gd name="T0" fmla="*/ 6 w 6"/>
                <a:gd name="T1" fmla="*/ 1 h 3"/>
                <a:gd name="T2" fmla="*/ 6 w 6"/>
                <a:gd name="T3" fmla="*/ 0 h 3"/>
                <a:gd name="T4" fmla="*/ 3 w 6"/>
                <a:gd name="T5" fmla="*/ 0 h 3"/>
                <a:gd name="T6" fmla="*/ 0 w 6"/>
                <a:gd name="T7" fmla="*/ 1 h 3"/>
                <a:gd name="T8" fmla="*/ 1 w 6"/>
                <a:gd name="T9" fmla="*/ 3 h 3"/>
                <a:gd name="T10" fmla="*/ 6 w 6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6" y="1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4" name="Freeform 137"/>
            <p:cNvSpPr>
              <a:spLocks/>
            </p:cNvSpPr>
            <p:nvPr/>
          </p:nvSpPr>
          <p:spPr bwMode="auto">
            <a:xfrm>
              <a:off x="4157663" y="1909763"/>
              <a:ext cx="11113" cy="3175"/>
            </a:xfrm>
            <a:custGeom>
              <a:avLst/>
              <a:gdLst>
                <a:gd name="T0" fmla="*/ 6 w 7"/>
                <a:gd name="T1" fmla="*/ 2 h 2"/>
                <a:gd name="T2" fmla="*/ 7 w 7"/>
                <a:gd name="T3" fmla="*/ 0 h 2"/>
                <a:gd name="T4" fmla="*/ 3 w 7"/>
                <a:gd name="T5" fmla="*/ 0 h 2"/>
                <a:gd name="T6" fmla="*/ 0 w 7"/>
                <a:gd name="T7" fmla="*/ 2 h 2"/>
                <a:gd name="T8" fmla="*/ 6 w 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5" name="Freeform 138"/>
            <p:cNvSpPr>
              <a:spLocks/>
            </p:cNvSpPr>
            <p:nvPr/>
          </p:nvSpPr>
          <p:spPr bwMode="auto">
            <a:xfrm>
              <a:off x="4159251" y="1900238"/>
              <a:ext cx="15875" cy="6350"/>
            </a:xfrm>
            <a:custGeom>
              <a:avLst/>
              <a:gdLst>
                <a:gd name="T0" fmla="*/ 8 w 10"/>
                <a:gd name="T1" fmla="*/ 4 h 4"/>
                <a:gd name="T2" fmla="*/ 10 w 10"/>
                <a:gd name="T3" fmla="*/ 3 h 4"/>
                <a:gd name="T4" fmla="*/ 6 w 10"/>
                <a:gd name="T5" fmla="*/ 0 h 4"/>
                <a:gd name="T6" fmla="*/ 2 w 10"/>
                <a:gd name="T7" fmla="*/ 0 h 4"/>
                <a:gd name="T8" fmla="*/ 0 w 10"/>
                <a:gd name="T9" fmla="*/ 3 h 4"/>
                <a:gd name="T10" fmla="*/ 5 w 10"/>
                <a:gd name="T11" fmla="*/ 4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lnTo>
                    <a:pt x="10" y="3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6" name="Freeform 139"/>
            <p:cNvSpPr>
              <a:spLocks/>
            </p:cNvSpPr>
            <p:nvPr/>
          </p:nvSpPr>
          <p:spPr bwMode="auto">
            <a:xfrm>
              <a:off x="4295776" y="1595438"/>
              <a:ext cx="12700" cy="7938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4 h 5"/>
                <a:gd name="T4" fmla="*/ 6 w 8"/>
                <a:gd name="T5" fmla="*/ 5 h 5"/>
                <a:gd name="T6" fmla="*/ 8 w 8"/>
                <a:gd name="T7" fmla="*/ 5 h 5"/>
                <a:gd name="T8" fmla="*/ 6 w 8"/>
                <a:gd name="T9" fmla="*/ 2 h 5"/>
                <a:gd name="T10" fmla="*/ 0 w 8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">
                  <a:moveTo>
                    <a:pt x="0" y="0"/>
                  </a:moveTo>
                  <a:lnTo>
                    <a:pt x="0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7" name="Freeform 140"/>
            <p:cNvSpPr>
              <a:spLocks/>
            </p:cNvSpPr>
            <p:nvPr/>
          </p:nvSpPr>
          <p:spPr bwMode="auto">
            <a:xfrm>
              <a:off x="4302126" y="1612901"/>
              <a:ext cx="7938" cy="12700"/>
            </a:xfrm>
            <a:custGeom>
              <a:avLst/>
              <a:gdLst>
                <a:gd name="T0" fmla="*/ 2 w 5"/>
                <a:gd name="T1" fmla="*/ 4 h 8"/>
                <a:gd name="T2" fmla="*/ 4 w 5"/>
                <a:gd name="T3" fmla="*/ 8 h 8"/>
                <a:gd name="T4" fmla="*/ 5 w 5"/>
                <a:gd name="T5" fmla="*/ 4 h 8"/>
                <a:gd name="T6" fmla="*/ 4 w 5"/>
                <a:gd name="T7" fmla="*/ 2 h 8"/>
                <a:gd name="T8" fmla="*/ 0 w 5"/>
                <a:gd name="T9" fmla="*/ 0 h 8"/>
                <a:gd name="T10" fmla="*/ 2 w 5"/>
                <a:gd name="T1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8">
                  <a:moveTo>
                    <a:pt x="2" y="4"/>
                  </a:moveTo>
                  <a:lnTo>
                    <a:pt x="4" y="8"/>
                  </a:lnTo>
                  <a:lnTo>
                    <a:pt x="5" y="4"/>
                  </a:lnTo>
                  <a:lnTo>
                    <a:pt x="4" y="2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8" name="Freeform 141"/>
            <p:cNvSpPr>
              <a:spLocks/>
            </p:cNvSpPr>
            <p:nvPr/>
          </p:nvSpPr>
          <p:spPr bwMode="auto">
            <a:xfrm>
              <a:off x="4238626" y="1803401"/>
              <a:ext cx="19050" cy="7938"/>
            </a:xfrm>
            <a:custGeom>
              <a:avLst/>
              <a:gdLst>
                <a:gd name="T0" fmla="*/ 12 w 12"/>
                <a:gd name="T1" fmla="*/ 5 h 5"/>
                <a:gd name="T2" fmla="*/ 12 w 12"/>
                <a:gd name="T3" fmla="*/ 2 h 5"/>
                <a:gd name="T4" fmla="*/ 4 w 12"/>
                <a:gd name="T5" fmla="*/ 0 h 5"/>
                <a:gd name="T6" fmla="*/ 0 w 12"/>
                <a:gd name="T7" fmla="*/ 0 h 5"/>
                <a:gd name="T8" fmla="*/ 0 w 12"/>
                <a:gd name="T9" fmla="*/ 2 h 5"/>
                <a:gd name="T10" fmla="*/ 4 w 12"/>
                <a:gd name="T11" fmla="*/ 5 h 5"/>
                <a:gd name="T12" fmla="*/ 12 w 1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">
                  <a:moveTo>
                    <a:pt x="12" y="5"/>
                  </a:moveTo>
                  <a:lnTo>
                    <a:pt x="12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9" name="Freeform 142"/>
            <p:cNvSpPr>
              <a:spLocks/>
            </p:cNvSpPr>
            <p:nvPr/>
          </p:nvSpPr>
          <p:spPr bwMode="auto">
            <a:xfrm>
              <a:off x="5168901" y="1701801"/>
              <a:ext cx="14288" cy="4763"/>
            </a:xfrm>
            <a:custGeom>
              <a:avLst/>
              <a:gdLst>
                <a:gd name="T0" fmla="*/ 0 w 9"/>
                <a:gd name="T1" fmla="*/ 2 h 3"/>
                <a:gd name="T2" fmla="*/ 5 w 9"/>
                <a:gd name="T3" fmla="*/ 3 h 3"/>
                <a:gd name="T4" fmla="*/ 9 w 9"/>
                <a:gd name="T5" fmla="*/ 2 h 3"/>
                <a:gd name="T6" fmla="*/ 9 w 9"/>
                <a:gd name="T7" fmla="*/ 0 h 3"/>
                <a:gd name="T8" fmla="*/ 3 w 9"/>
                <a:gd name="T9" fmla="*/ 0 h 3"/>
                <a:gd name="T10" fmla="*/ 0 w 9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lnTo>
                    <a:pt x="5" y="3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0" name="Freeform 143"/>
            <p:cNvSpPr>
              <a:spLocks/>
            </p:cNvSpPr>
            <p:nvPr/>
          </p:nvSpPr>
          <p:spPr bwMode="auto">
            <a:xfrm>
              <a:off x="4295776" y="1679576"/>
              <a:ext cx="22225" cy="25400"/>
            </a:xfrm>
            <a:custGeom>
              <a:avLst/>
              <a:gdLst>
                <a:gd name="T0" fmla="*/ 2 w 14"/>
                <a:gd name="T1" fmla="*/ 11 h 16"/>
                <a:gd name="T2" fmla="*/ 4 w 14"/>
                <a:gd name="T3" fmla="*/ 16 h 16"/>
                <a:gd name="T4" fmla="*/ 8 w 14"/>
                <a:gd name="T5" fmla="*/ 11 h 16"/>
                <a:gd name="T6" fmla="*/ 9 w 14"/>
                <a:gd name="T7" fmla="*/ 6 h 16"/>
                <a:gd name="T8" fmla="*/ 14 w 14"/>
                <a:gd name="T9" fmla="*/ 3 h 16"/>
                <a:gd name="T10" fmla="*/ 11 w 14"/>
                <a:gd name="T11" fmla="*/ 0 h 16"/>
                <a:gd name="T12" fmla="*/ 9 w 14"/>
                <a:gd name="T13" fmla="*/ 0 h 16"/>
                <a:gd name="T14" fmla="*/ 4 w 14"/>
                <a:gd name="T15" fmla="*/ 0 h 16"/>
                <a:gd name="T16" fmla="*/ 0 w 14"/>
                <a:gd name="T17" fmla="*/ 5 h 16"/>
                <a:gd name="T18" fmla="*/ 4 w 14"/>
                <a:gd name="T19" fmla="*/ 5 h 16"/>
                <a:gd name="T20" fmla="*/ 4 w 14"/>
                <a:gd name="T21" fmla="*/ 8 h 16"/>
                <a:gd name="T22" fmla="*/ 2 w 14"/>
                <a:gd name="T2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1"/>
                  </a:moveTo>
                  <a:lnTo>
                    <a:pt x="4" y="16"/>
                  </a:lnTo>
                  <a:lnTo>
                    <a:pt x="8" y="11"/>
                  </a:lnTo>
                  <a:lnTo>
                    <a:pt x="9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8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1" name="Freeform 144"/>
            <p:cNvSpPr>
              <a:spLocks/>
            </p:cNvSpPr>
            <p:nvPr/>
          </p:nvSpPr>
          <p:spPr bwMode="auto">
            <a:xfrm>
              <a:off x="4632326" y="2044701"/>
              <a:ext cx="6350" cy="7938"/>
            </a:xfrm>
            <a:custGeom>
              <a:avLst/>
              <a:gdLst>
                <a:gd name="T0" fmla="*/ 0 w 4"/>
                <a:gd name="T1" fmla="*/ 0 h 5"/>
                <a:gd name="T2" fmla="*/ 0 w 4"/>
                <a:gd name="T3" fmla="*/ 2 h 5"/>
                <a:gd name="T4" fmla="*/ 4 w 4"/>
                <a:gd name="T5" fmla="*/ 5 h 5"/>
                <a:gd name="T6" fmla="*/ 4 w 4"/>
                <a:gd name="T7" fmla="*/ 2 h 5"/>
                <a:gd name="T8" fmla="*/ 1 w 4"/>
                <a:gd name="T9" fmla="*/ 0 h 5"/>
                <a:gd name="T10" fmla="*/ 0 w 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0" y="2"/>
                  </a:lnTo>
                  <a:lnTo>
                    <a:pt x="4" y="5"/>
                  </a:lnTo>
                  <a:lnTo>
                    <a:pt x="4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2" name="Freeform 145"/>
            <p:cNvSpPr>
              <a:spLocks/>
            </p:cNvSpPr>
            <p:nvPr/>
          </p:nvSpPr>
          <p:spPr bwMode="auto">
            <a:xfrm>
              <a:off x="4537076" y="2193926"/>
              <a:ext cx="4763" cy="9525"/>
            </a:xfrm>
            <a:custGeom>
              <a:avLst/>
              <a:gdLst>
                <a:gd name="T0" fmla="*/ 0 w 3"/>
                <a:gd name="T1" fmla="*/ 6 h 6"/>
                <a:gd name="T2" fmla="*/ 3 w 3"/>
                <a:gd name="T3" fmla="*/ 4 h 6"/>
                <a:gd name="T4" fmla="*/ 3 w 3"/>
                <a:gd name="T5" fmla="*/ 0 h 6"/>
                <a:gd name="T6" fmla="*/ 0 w 3"/>
                <a:gd name="T7" fmla="*/ 3 h 6"/>
                <a:gd name="T8" fmla="*/ 0 w 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3" name="Freeform 146"/>
            <p:cNvSpPr>
              <a:spLocks/>
            </p:cNvSpPr>
            <p:nvPr/>
          </p:nvSpPr>
          <p:spPr bwMode="auto">
            <a:xfrm>
              <a:off x="5114926" y="1657351"/>
              <a:ext cx="100013" cy="47625"/>
            </a:xfrm>
            <a:custGeom>
              <a:avLst/>
              <a:gdLst>
                <a:gd name="T0" fmla="*/ 52 w 63"/>
                <a:gd name="T1" fmla="*/ 24 h 30"/>
                <a:gd name="T2" fmla="*/ 55 w 63"/>
                <a:gd name="T3" fmla="*/ 25 h 30"/>
                <a:gd name="T4" fmla="*/ 63 w 63"/>
                <a:gd name="T5" fmla="*/ 20 h 30"/>
                <a:gd name="T6" fmla="*/ 63 w 63"/>
                <a:gd name="T7" fmla="*/ 8 h 30"/>
                <a:gd name="T8" fmla="*/ 60 w 63"/>
                <a:gd name="T9" fmla="*/ 3 h 30"/>
                <a:gd name="T10" fmla="*/ 58 w 63"/>
                <a:gd name="T11" fmla="*/ 0 h 30"/>
                <a:gd name="T12" fmla="*/ 52 w 63"/>
                <a:gd name="T13" fmla="*/ 0 h 30"/>
                <a:gd name="T14" fmla="*/ 37 w 63"/>
                <a:gd name="T15" fmla="*/ 5 h 30"/>
                <a:gd name="T16" fmla="*/ 22 w 63"/>
                <a:gd name="T17" fmla="*/ 8 h 30"/>
                <a:gd name="T18" fmla="*/ 17 w 63"/>
                <a:gd name="T19" fmla="*/ 11 h 30"/>
                <a:gd name="T20" fmla="*/ 12 w 63"/>
                <a:gd name="T21" fmla="*/ 14 h 30"/>
                <a:gd name="T22" fmla="*/ 8 w 63"/>
                <a:gd name="T23" fmla="*/ 19 h 30"/>
                <a:gd name="T24" fmla="*/ 2 w 63"/>
                <a:gd name="T25" fmla="*/ 20 h 30"/>
                <a:gd name="T26" fmla="*/ 2 w 63"/>
                <a:gd name="T27" fmla="*/ 22 h 30"/>
                <a:gd name="T28" fmla="*/ 0 w 63"/>
                <a:gd name="T29" fmla="*/ 25 h 30"/>
                <a:gd name="T30" fmla="*/ 0 w 63"/>
                <a:gd name="T31" fmla="*/ 30 h 30"/>
                <a:gd name="T32" fmla="*/ 8 w 63"/>
                <a:gd name="T33" fmla="*/ 28 h 30"/>
                <a:gd name="T34" fmla="*/ 20 w 63"/>
                <a:gd name="T35" fmla="*/ 25 h 30"/>
                <a:gd name="T36" fmla="*/ 31 w 63"/>
                <a:gd name="T37" fmla="*/ 28 h 30"/>
                <a:gd name="T38" fmla="*/ 34 w 63"/>
                <a:gd name="T39" fmla="*/ 24 h 30"/>
                <a:gd name="T40" fmla="*/ 40 w 63"/>
                <a:gd name="T41" fmla="*/ 24 h 30"/>
                <a:gd name="T42" fmla="*/ 46 w 63"/>
                <a:gd name="T43" fmla="*/ 25 h 30"/>
                <a:gd name="T44" fmla="*/ 52 w 63"/>
                <a:gd name="T45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" h="30">
                  <a:moveTo>
                    <a:pt x="52" y="24"/>
                  </a:moveTo>
                  <a:lnTo>
                    <a:pt x="55" y="25"/>
                  </a:lnTo>
                  <a:lnTo>
                    <a:pt x="63" y="20"/>
                  </a:lnTo>
                  <a:lnTo>
                    <a:pt x="63" y="8"/>
                  </a:lnTo>
                  <a:lnTo>
                    <a:pt x="60" y="3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37" y="5"/>
                  </a:lnTo>
                  <a:lnTo>
                    <a:pt x="22" y="8"/>
                  </a:lnTo>
                  <a:lnTo>
                    <a:pt x="17" y="11"/>
                  </a:lnTo>
                  <a:lnTo>
                    <a:pt x="12" y="14"/>
                  </a:lnTo>
                  <a:lnTo>
                    <a:pt x="8" y="19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8" y="28"/>
                  </a:lnTo>
                  <a:lnTo>
                    <a:pt x="20" y="25"/>
                  </a:lnTo>
                  <a:lnTo>
                    <a:pt x="31" y="28"/>
                  </a:lnTo>
                  <a:lnTo>
                    <a:pt x="34" y="24"/>
                  </a:lnTo>
                  <a:lnTo>
                    <a:pt x="40" y="24"/>
                  </a:lnTo>
                  <a:lnTo>
                    <a:pt x="46" y="25"/>
                  </a:lnTo>
                  <a:lnTo>
                    <a:pt x="52" y="2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4" name="Freeform 147"/>
            <p:cNvSpPr>
              <a:spLocks/>
            </p:cNvSpPr>
            <p:nvPr/>
          </p:nvSpPr>
          <p:spPr bwMode="auto">
            <a:xfrm>
              <a:off x="4703763" y="2006601"/>
              <a:ext cx="25400" cy="23813"/>
            </a:xfrm>
            <a:custGeom>
              <a:avLst/>
              <a:gdLst>
                <a:gd name="T0" fmla="*/ 10 w 16"/>
                <a:gd name="T1" fmla="*/ 4 h 15"/>
                <a:gd name="T2" fmla="*/ 8 w 16"/>
                <a:gd name="T3" fmla="*/ 0 h 15"/>
                <a:gd name="T4" fmla="*/ 5 w 16"/>
                <a:gd name="T5" fmla="*/ 2 h 15"/>
                <a:gd name="T6" fmla="*/ 0 w 16"/>
                <a:gd name="T7" fmla="*/ 4 h 15"/>
                <a:gd name="T8" fmla="*/ 0 w 16"/>
                <a:gd name="T9" fmla="*/ 7 h 15"/>
                <a:gd name="T10" fmla="*/ 0 w 16"/>
                <a:gd name="T11" fmla="*/ 9 h 15"/>
                <a:gd name="T12" fmla="*/ 2 w 16"/>
                <a:gd name="T13" fmla="*/ 12 h 15"/>
                <a:gd name="T14" fmla="*/ 5 w 16"/>
                <a:gd name="T15" fmla="*/ 15 h 15"/>
                <a:gd name="T16" fmla="*/ 5 w 16"/>
                <a:gd name="T17" fmla="*/ 15 h 15"/>
                <a:gd name="T18" fmla="*/ 10 w 16"/>
                <a:gd name="T19" fmla="*/ 12 h 15"/>
                <a:gd name="T20" fmla="*/ 14 w 16"/>
                <a:gd name="T21" fmla="*/ 12 h 15"/>
                <a:gd name="T22" fmla="*/ 16 w 16"/>
                <a:gd name="T23" fmla="*/ 9 h 15"/>
                <a:gd name="T24" fmla="*/ 11 w 16"/>
                <a:gd name="T25" fmla="*/ 4 h 15"/>
                <a:gd name="T26" fmla="*/ 10 w 16"/>
                <a:gd name="T27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5">
                  <a:moveTo>
                    <a:pt x="10" y="4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2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6" y="9"/>
                  </a:lnTo>
                  <a:lnTo>
                    <a:pt x="11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5" name="Freeform 148"/>
            <p:cNvSpPr>
              <a:spLocks/>
            </p:cNvSpPr>
            <p:nvPr/>
          </p:nvSpPr>
          <p:spPr bwMode="auto">
            <a:xfrm>
              <a:off x="4589463" y="2065338"/>
              <a:ext cx="11113" cy="30163"/>
            </a:xfrm>
            <a:custGeom>
              <a:avLst/>
              <a:gdLst>
                <a:gd name="T0" fmla="*/ 4 w 7"/>
                <a:gd name="T1" fmla="*/ 2 h 19"/>
                <a:gd name="T2" fmla="*/ 2 w 7"/>
                <a:gd name="T3" fmla="*/ 0 h 19"/>
                <a:gd name="T4" fmla="*/ 0 w 7"/>
                <a:gd name="T5" fmla="*/ 2 h 19"/>
                <a:gd name="T6" fmla="*/ 2 w 7"/>
                <a:gd name="T7" fmla="*/ 6 h 19"/>
                <a:gd name="T8" fmla="*/ 4 w 7"/>
                <a:gd name="T9" fmla="*/ 9 h 19"/>
                <a:gd name="T10" fmla="*/ 4 w 7"/>
                <a:gd name="T11" fmla="*/ 15 h 19"/>
                <a:gd name="T12" fmla="*/ 6 w 7"/>
                <a:gd name="T13" fmla="*/ 19 h 19"/>
                <a:gd name="T14" fmla="*/ 7 w 7"/>
                <a:gd name="T15" fmla="*/ 19 h 19"/>
                <a:gd name="T16" fmla="*/ 7 w 7"/>
                <a:gd name="T17" fmla="*/ 14 h 19"/>
                <a:gd name="T18" fmla="*/ 7 w 7"/>
                <a:gd name="T19" fmla="*/ 9 h 19"/>
                <a:gd name="T20" fmla="*/ 6 w 7"/>
                <a:gd name="T21" fmla="*/ 6 h 19"/>
                <a:gd name="T22" fmla="*/ 4 w 7"/>
                <a:gd name="T23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19">
                  <a:moveTo>
                    <a:pt x="4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4" y="9"/>
                  </a:lnTo>
                  <a:lnTo>
                    <a:pt x="4" y="15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7" y="9"/>
                  </a:lnTo>
                  <a:lnTo>
                    <a:pt x="6" y="6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6" name="Freeform 149"/>
            <p:cNvSpPr>
              <a:spLocks/>
            </p:cNvSpPr>
            <p:nvPr/>
          </p:nvSpPr>
          <p:spPr bwMode="auto">
            <a:xfrm>
              <a:off x="4533901" y="2157413"/>
              <a:ext cx="19050" cy="14288"/>
            </a:xfrm>
            <a:custGeom>
              <a:avLst/>
              <a:gdLst>
                <a:gd name="T0" fmla="*/ 5 w 12"/>
                <a:gd name="T1" fmla="*/ 1 h 9"/>
                <a:gd name="T2" fmla="*/ 2 w 12"/>
                <a:gd name="T3" fmla="*/ 0 h 9"/>
                <a:gd name="T4" fmla="*/ 0 w 12"/>
                <a:gd name="T5" fmla="*/ 0 h 9"/>
                <a:gd name="T6" fmla="*/ 0 w 12"/>
                <a:gd name="T7" fmla="*/ 1 h 9"/>
                <a:gd name="T8" fmla="*/ 5 w 12"/>
                <a:gd name="T9" fmla="*/ 6 h 9"/>
                <a:gd name="T10" fmla="*/ 11 w 12"/>
                <a:gd name="T11" fmla="*/ 7 h 9"/>
                <a:gd name="T12" fmla="*/ 11 w 12"/>
                <a:gd name="T13" fmla="*/ 9 h 9"/>
                <a:gd name="T14" fmla="*/ 12 w 12"/>
                <a:gd name="T15" fmla="*/ 7 h 9"/>
                <a:gd name="T16" fmla="*/ 11 w 12"/>
                <a:gd name="T17" fmla="*/ 6 h 9"/>
                <a:gd name="T18" fmla="*/ 5 w 12"/>
                <a:gd name="T1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9">
                  <a:moveTo>
                    <a:pt x="5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5" y="6"/>
                  </a:lnTo>
                  <a:lnTo>
                    <a:pt x="11" y="7"/>
                  </a:lnTo>
                  <a:lnTo>
                    <a:pt x="11" y="9"/>
                  </a:lnTo>
                  <a:lnTo>
                    <a:pt x="12" y="7"/>
                  </a:lnTo>
                  <a:lnTo>
                    <a:pt x="11" y="6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7" name="Freeform 150"/>
            <p:cNvSpPr>
              <a:spLocks/>
            </p:cNvSpPr>
            <p:nvPr/>
          </p:nvSpPr>
          <p:spPr bwMode="auto">
            <a:xfrm>
              <a:off x="4643438" y="2033588"/>
              <a:ext cx="3175" cy="4763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3 h 3"/>
                <a:gd name="T4" fmla="*/ 2 w 2"/>
                <a:gd name="T5" fmla="*/ 1 h 3"/>
                <a:gd name="T6" fmla="*/ 0 w 2"/>
                <a:gd name="T7" fmla="*/ 0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8" name="Freeform 151"/>
            <p:cNvSpPr>
              <a:spLocks/>
            </p:cNvSpPr>
            <p:nvPr/>
          </p:nvSpPr>
          <p:spPr bwMode="auto">
            <a:xfrm>
              <a:off x="4144963" y="1544638"/>
              <a:ext cx="1193800" cy="831850"/>
            </a:xfrm>
            <a:custGeom>
              <a:avLst/>
              <a:gdLst>
                <a:gd name="T0" fmla="*/ 740 w 752"/>
                <a:gd name="T1" fmla="*/ 37 h 524"/>
                <a:gd name="T2" fmla="*/ 703 w 752"/>
                <a:gd name="T3" fmla="*/ 1 h 524"/>
                <a:gd name="T4" fmla="*/ 93 w 752"/>
                <a:gd name="T5" fmla="*/ 19 h 524"/>
                <a:gd name="T6" fmla="*/ 101 w 752"/>
                <a:gd name="T7" fmla="*/ 26 h 524"/>
                <a:gd name="T8" fmla="*/ 121 w 752"/>
                <a:gd name="T9" fmla="*/ 62 h 524"/>
                <a:gd name="T10" fmla="*/ 44 w 752"/>
                <a:gd name="T11" fmla="*/ 43 h 524"/>
                <a:gd name="T12" fmla="*/ 118 w 752"/>
                <a:gd name="T13" fmla="*/ 84 h 524"/>
                <a:gd name="T14" fmla="*/ 104 w 752"/>
                <a:gd name="T15" fmla="*/ 117 h 524"/>
                <a:gd name="T16" fmla="*/ 91 w 752"/>
                <a:gd name="T17" fmla="*/ 124 h 524"/>
                <a:gd name="T18" fmla="*/ 48 w 752"/>
                <a:gd name="T19" fmla="*/ 155 h 524"/>
                <a:gd name="T20" fmla="*/ 91 w 752"/>
                <a:gd name="T21" fmla="*/ 180 h 524"/>
                <a:gd name="T22" fmla="*/ 45 w 752"/>
                <a:gd name="T23" fmla="*/ 173 h 524"/>
                <a:gd name="T24" fmla="*/ 45 w 752"/>
                <a:gd name="T25" fmla="*/ 180 h 524"/>
                <a:gd name="T26" fmla="*/ 84 w 752"/>
                <a:gd name="T27" fmla="*/ 183 h 524"/>
                <a:gd name="T28" fmla="*/ 49 w 752"/>
                <a:gd name="T29" fmla="*/ 188 h 524"/>
                <a:gd name="T30" fmla="*/ 49 w 752"/>
                <a:gd name="T31" fmla="*/ 210 h 524"/>
                <a:gd name="T32" fmla="*/ 29 w 752"/>
                <a:gd name="T33" fmla="*/ 228 h 524"/>
                <a:gd name="T34" fmla="*/ 3 w 752"/>
                <a:gd name="T35" fmla="*/ 241 h 524"/>
                <a:gd name="T36" fmla="*/ 14 w 752"/>
                <a:gd name="T37" fmla="*/ 260 h 524"/>
                <a:gd name="T38" fmla="*/ 11 w 752"/>
                <a:gd name="T39" fmla="*/ 277 h 524"/>
                <a:gd name="T40" fmla="*/ 40 w 752"/>
                <a:gd name="T41" fmla="*/ 278 h 524"/>
                <a:gd name="T42" fmla="*/ 40 w 752"/>
                <a:gd name="T43" fmla="*/ 309 h 524"/>
                <a:gd name="T44" fmla="*/ 51 w 752"/>
                <a:gd name="T45" fmla="*/ 320 h 524"/>
                <a:gd name="T46" fmla="*/ 48 w 752"/>
                <a:gd name="T47" fmla="*/ 336 h 524"/>
                <a:gd name="T48" fmla="*/ 20 w 752"/>
                <a:gd name="T49" fmla="*/ 364 h 524"/>
                <a:gd name="T50" fmla="*/ 34 w 752"/>
                <a:gd name="T51" fmla="*/ 376 h 524"/>
                <a:gd name="T52" fmla="*/ 51 w 752"/>
                <a:gd name="T53" fmla="*/ 397 h 524"/>
                <a:gd name="T54" fmla="*/ 54 w 752"/>
                <a:gd name="T55" fmla="*/ 434 h 524"/>
                <a:gd name="T56" fmla="*/ 60 w 752"/>
                <a:gd name="T57" fmla="*/ 462 h 524"/>
                <a:gd name="T58" fmla="*/ 95 w 752"/>
                <a:gd name="T59" fmla="*/ 482 h 524"/>
                <a:gd name="T60" fmla="*/ 143 w 752"/>
                <a:gd name="T61" fmla="*/ 474 h 524"/>
                <a:gd name="T62" fmla="*/ 137 w 752"/>
                <a:gd name="T63" fmla="*/ 501 h 524"/>
                <a:gd name="T64" fmla="*/ 150 w 752"/>
                <a:gd name="T65" fmla="*/ 522 h 524"/>
                <a:gd name="T66" fmla="*/ 183 w 752"/>
                <a:gd name="T67" fmla="*/ 511 h 524"/>
                <a:gd name="T68" fmla="*/ 192 w 752"/>
                <a:gd name="T69" fmla="*/ 495 h 524"/>
                <a:gd name="T70" fmla="*/ 195 w 752"/>
                <a:gd name="T71" fmla="*/ 471 h 524"/>
                <a:gd name="T72" fmla="*/ 219 w 752"/>
                <a:gd name="T73" fmla="*/ 454 h 524"/>
                <a:gd name="T74" fmla="*/ 211 w 752"/>
                <a:gd name="T75" fmla="*/ 417 h 524"/>
                <a:gd name="T76" fmla="*/ 230 w 752"/>
                <a:gd name="T77" fmla="*/ 397 h 524"/>
                <a:gd name="T78" fmla="*/ 247 w 752"/>
                <a:gd name="T79" fmla="*/ 382 h 524"/>
                <a:gd name="T80" fmla="*/ 274 w 752"/>
                <a:gd name="T81" fmla="*/ 370 h 524"/>
                <a:gd name="T82" fmla="*/ 279 w 752"/>
                <a:gd name="T83" fmla="*/ 334 h 524"/>
                <a:gd name="T84" fmla="*/ 307 w 752"/>
                <a:gd name="T85" fmla="*/ 300 h 524"/>
                <a:gd name="T86" fmla="*/ 345 w 752"/>
                <a:gd name="T87" fmla="*/ 284 h 524"/>
                <a:gd name="T88" fmla="*/ 372 w 752"/>
                <a:gd name="T89" fmla="*/ 283 h 524"/>
                <a:gd name="T90" fmla="*/ 408 w 752"/>
                <a:gd name="T91" fmla="*/ 275 h 524"/>
                <a:gd name="T92" fmla="*/ 449 w 752"/>
                <a:gd name="T93" fmla="*/ 260 h 524"/>
                <a:gd name="T94" fmla="*/ 481 w 752"/>
                <a:gd name="T95" fmla="*/ 219 h 524"/>
                <a:gd name="T96" fmla="*/ 503 w 752"/>
                <a:gd name="T97" fmla="*/ 188 h 524"/>
                <a:gd name="T98" fmla="*/ 558 w 752"/>
                <a:gd name="T99" fmla="*/ 202 h 524"/>
                <a:gd name="T100" fmla="*/ 599 w 752"/>
                <a:gd name="T101" fmla="*/ 188 h 524"/>
                <a:gd name="T102" fmla="*/ 657 w 752"/>
                <a:gd name="T103" fmla="*/ 165 h 524"/>
                <a:gd name="T104" fmla="*/ 697 w 752"/>
                <a:gd name="T105" fmla="*/ 146 h 524"/>
                <a:gd name="T106" fmla="*/ 720 w 752"/>
                <a:gd name="T107" fmla="*/ 119 h 524"/>
                <a:gd name="T108" fmla="*/ 625 w 752"/>
                <a:gd name="T109" fmla="*/ 121 h 524"/>
                <a:gd name="T110" fmla="*/ 623 w 752"/>
                <a:gd name="T111" fmla="*/ 101 h 524"/>
                <a:gd name="T112" fmla="*/ 613 w 752"/>
                <a:gd name="T113" fmla="*/ 71 h 524"/>
                <a:gd name="T114" fmla="*/ 648 w 752"/>
                <a:gd name="T115" fmla="*/ 45 h 524"/>
                <a:gd name="T116" fmla="*/ 625 w 752"/>
                <a:gd name="T117" fmla="*/ 19 h 524"/>
                <a:gd name="T118" fmla="*/ 685 w 752"/>
                <a:gd name="T119" fmla="*/ 65 h 524"/>
                <a:gd name="T120" fmla="*/ 729 w 752"/>
                <a:gd name="T121" fmla="*/ 99 h 524"/>
                <a:gd name="T122" fmla="*/ 743 w 752"/>
                <a:gd name="T123" fmla="*/ 73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2" h="524">
                  <a:moveTo>
                    <a:pt x="746" y="62"/>
                  </a:moveTo>
                  <a:lnTo>
                    <a:pt x="749" y="56"/>
                  </a:lnTo>
                  <a:lnTo>
                    <a:pt x="751" y="53"/>
                  </a:lnTo>
                  <a:lnTo>
                    <a:pt x="751" y="51"/>
                  </a:lnTo>
                  <a:lnTo>
                    <a:pt x="749" y="51"/>
                  </a:lnTo>
                  <a:lnTo>
                    <a:pt x="745" y="53"/>
                  </a:lnTo>
                  <a:lnTo>
                    <a:pt x="741" y="59"/>
                  </a:lnTo>
                  <a:lnTo>
                    <a:pt x="740" y="64"/>
                  </a:lnTo>
                  <a:lnTo>
                    <a:pt x="737" y="65"/>
                  </a:lnTo>
                  <a:lnTo>
                    <a:pt x="737" y="64"/>
                  </a:lnTo>
                  <a:lnTo>
                    <a:pt x="740" y="59"/>
                  </a:lnTo>
                  <a:lnTo>
                    <a:pt x="740" y="56"/>
                  </a:lnTo>
                  <a:lnTo>
                    <a:pt x="737" y="54"/>
                  </a:lnTo>
                  <a:lnTo>
                    <a:pt x="737" y="51"/>
                  </a:lnTo>
                  <a:lnTo>
                    <a:pt x="740" y="49"/>
                  </a:lnTo>
                  <a:lnTo>
                    <a:pt x="743" y="45"/>
                  </a:lnTo>
                  <a:lnTo>
                    <a:pt x="746" y="43"/>
                  </a:lnTo>
                  <a:lnTo>
                    <a:pt x="749" y="40"/>
                  </a:lnTo>
                  <a:lnTo>
                    <a:pt x="746" y="37"/>
                  </a:lnTo>
                  <a:lnTo>
                    <a:pt x="743" y="37"/>
                  </a:lnTo>
                  <a:lnTo>
                    <a:pt x="741" y="40"/>
                  </a:lnTo>
                  <a:lnTo>
                    <a:pt x="740" y="42"/>
                  </a:lnTo>
                  <a:lnTo>
                    <a:pt x="737" y="43"/>
                  </a:lnTo>
                  <a:lnTo>
                    <a:pt x="740" y="37"/>
                  </a:lnTo>
                  <a:lnTo>
                    <a:pt x="741" y="36"/>
                  </a:lnTo>
                  <a:lnTo>
                    <a:pt x="740" y="36"/>
                  </a:lnTo>
                  <a:lnTo>
                    <a:pt x="737" y="36"/>
                  </a:lnTo>
                  <a:lnTo>
                    <a:pt x="732" y="40"/>
                  </a:lnTo>
                  <a:lnTo>
                    <a:pt x="728" y="43"/>
                  </a:lnTo>
                  <a:lnTo>
                    <a:pt x="728" y="42"/>
                  </a:lnTo>
                  <a:lnTo>
                    <a:pt x="729" y="40"/>
                  </a:lnTo>
                  <a:lnTo>
                    <a:pt x="732" y="36"/>
                  </a:lnTo>
                  <a:lnTo>
                    <a:pt x="735" y="34"/>
                  </a:lnTo>
                  <a:lnTo>
                    <a:pt x="737" y="28"/>
                  </a:lnTo>
                  <a:lnTo>
                    <a:pt x="735" y="26"/>
                  </a:lnTo>
                  <a:lnTo>
                    <a:pt x="734" y="23"/>
                  </a:lnTo>
                  <a:lnTo>
                    <a:pt x="732" y="23"/>
                  </a:lnTo>
                  <a:lnTo>
                    <a:pt x="729" y="21"/>
                  </a:lnTo>
                  <a:lnTo>
                    <a:pt x="728" y="19"/>
                  </a:lnTo>
                  <a:lnTo>
                    <a:pt x="724" y="18"/>
                  </a:lnTo>
                  <a:lnTo>
                    <a:pt x="720" y="14"/>
                  </a:lnTo>
                  <a:lnTo>
                    <a:pt x="718" y="14"/>
                  </a:lnTo>
                  <a:lnTo>
                    <a:pt x="717" y="12"/>
                  </a:lnTo>
                  <a:lnTo>
                    <a:pt x="714" y="12"/>
                  </a:lnTo>
                  <a:lnTo>
                    <a:pt x="714" y="10"/>
                  </a:lnTo>
                  <a:lnTo>
                    <a:pt x="712" y="9"/>
                  </a:lnTo>
                  <a:lnTo>
                    <a:pt x="705" y="3"/>
                  </a:lnTo>
                  <a:lnTo>
                    <a:pt x="703" y="1"/>
                  </a:lnTo>
                  <a:lnTo>
                    <a:pt x="700" y="0"/>
                  </a:lnTo>
                  <a:lnTo>
                    <a:pt x="690" y="0"/>
                  </a:lnTo>
                  <a:lnTo>
                    <a:pt x="688" y="1"/>
                  </a:lnTo>
                  <a:lnTo>
                    <a:pt x="684" y="4"/>
                  </a:lnTo>
                  <a:lnTo>
                    <a:pt x="684" y="3"/>
                  </a:lnTo>
                  <a:lnTo>
                    <a:pt x="683" y="0"/>
                  </a:lnTo>
                  <a:lnTo>
                    <a:pt x="94" y="0"/>
                  </a:lnTo>
                  <a:lnTo>
                    <a:pt x="93" y="1"/>
                  </a:lnTo>
                  <a:lnTo>
                    <a:pt x="89" y="3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7" y="6"/>
                  </a:lnTo>
                  <a:lnTo>
                    <a:pt x="101" y="9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15" y="4"/>
                  </a:lnTo>
                  <a:lnTo>
                    <a:pt x="112" y="6"/>
                  </a:lnTo>
                  <a:lnTo>
                    <a:pt x="110" y="9"/>
                  </a:lnTo>
                  <a:lnTo>
                    <a:pt x="106" y="10"/>
                  </a:lnTo>
                  <a:lnTo>
                    <a:pt x="103" y="10"/>
                  </a:lnTo>
                  <a:lnTo>
                    <a:pt x="101" y="10"/>
                  </a:lnTo>
                  <a:lnTo>
                    <a:pt x="97" y="14"/>
                  </a:lnTo>
                  <a:lnTo>
                    <a:pt x="95" y="18"/>
                  </a:lnTo>
                  <a:lnTo>
                    <a:pt x="93" y="19"/>
                  </a:lnTo>
                  <a:lnTo>
                    <a:pt x="93" y="21"/>
                  </a:lnTo>
                  <a:lnTo>
                    <a:pt x="95" y="21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2" y="12"/>
                  </a:lnTo>
                  <a:lnTo>
                    <a:pt x="116" y="15"/>
                  </a:lnTo>
                  <a:lnTo>
                    <a:pt x="116" y="19"/>
                  </a:lnTo>
                  <a:lnTo>
                    <a:pt x="115" y="21"/>
                  </a:lnTo>
                  <a:lnTo>
                    <a:pt x="110" y="19"/>
                  </a:lnTo>
                  <a:lnTo>
                    <a:pt x="109" y="18"/>
                  </a:lnTo>
                  <a:lnTo>
                    <a:pt x="103" y="21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6" y="25"/>
                  </a:lnTo>
                  <a:lnTo>
                    <a:pt x="110" y="25"/>
                  </a:lnTo>
                  <a:lnTo>
                    <a:pt x="115" y="23"/>
                  </a:lnTo>
                  <a:lnTo>
                    <a:pt x="116" y="23"/>
                  </a:lnTo>
                  <a:lnTo>
                    <a:pt x="120" y="28"/>
                  </a:lnTo>
                  <a:lnTo>
                    <a:pt x="120" y="31"/>
                  </a:lnTo>
                  <a:lnTo>
                    <a:pt x="118" y="32"/>
                  </a:lnTo>
                  <a:lnTo>
                    <a:pt x="106" y="28"/>
                  </a:lnTo>
                  <a:lnTo>
                    <a:pt x="101" y="26"/>
                  </a:lnTo>
                  <a:lnTo>
                    <a:pt x="101" y="28"/>
                  </a:lnTo>
                  <a:lnTo>
                    <a:pt x="103" y="32"/>
                  </a:lnTo>
                  <a:lnTo>
                    <a:pt x="106" y="34"/>
                  </a:lnTo>
                  <a:lnTo>
                    <a:pt x="112" y="40"/>
                  </a:lnTo>
                  <a:lnTo>
                    <a:pt x="115" y="45"/>
                  </a:lnTo>
                  <a:lnTo>
                    <a:pt x="110" y="43"/>
                  </a:lnTo>
                  <a:lnTo>
                    <a:pt x="109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6" y="43"/>
                  </a:lnTo>
                  <a:lnTo>
                    <a:pt x="112" y="49"/>
                  </a:lnTo>
                  <a:lnTo>
                    <a:pt x="120" y="53"/>
                  </a:lnTo>
                  <a:lnTo>
                    <a:pt x="118" y="54"/>
                  </a:lnTo>
                  <a:lnTo>
                    <a:pt x="116" y="54"/>
                  </a:lnTo>
                  <a:lnTo>
                    <a:pt x="116" y="56"/>
                  </a:lnTo>
                  <a:lnTo>
                    <a:pt x="112" y="56"/>
                  </a:lnTo>
                  <a:lnTo>
                    <a:pt x="109" y="53"/>
                  </a:lnTo>
                  <a:lnTo>
                    <a:pt x="106" y="53"/>
                  </a:lnTo>
                  <a:lnTo>
                    <a:pt x="106" y="54"/>
                  </a:lnTo>
                  <a:lnTo>
                    <a:pt x="112" y="59"/>
                  </a:lnTo>
                  <a:lnTo>
                    <a:pt x="115" y="62"/>
                  </a:lnTo>
                  <a:lnTo>
                    <a:pt x="118" y="62"/>
                  </a:lnTo>
                  <a:lnTo>
                    <a:pt x="120" y="62"/>
                  </a:lnTo>
                  <a:lnTo>
                    <a:pt x="121" y="62"/>
                  </a:lnTo>
                  <a:lnTo>
                    <a:pt x="118" y="65"/>
                  </a:lnTo>
                  <a:lnTo>
                    <a:pt x="116" y="67"/>
                  </a:lnTo>
                  <a:lnTo>
                    <a:pt x="110" y="65"/>
                  </a:lnTo>
                  <a:lnTo>
                    <a:pt x="106" y="62"/>
                  </a:lnTo>
                  <a:lnTo>
                    <a:pt x="103" y="59"/>
                  </a:lnTo>
                  <a:lnTo>
                    <a:pt x="99" y="54"/>
                  </a:lnTo>
                  <a:lnTo>
                    <a:pt x="95" y="45"/>
                  </a:lnTo>
                  <a:lnTo>
                    <a:pt x="91" y="43"/>
                  </a:lnTo>
                  <a:lnTo>
                    <a:pt x="89" y="42"/>
                  </a:lnTo>
                  <a:lnTo>
                    <a:pt x="86" y="40"/>
                  </a:lnTo>
                  <a:lnTo>
                    <a:pt x="81" y="37"/>
                  </a:lnTo>
                  <a:lnTo>
                    <a:pt x="76" y="37"/>
                  </a:lnTo>
                  <a:lnTo>
                    <a:pt x="74" y="37"/>
                  </a:lnTo>
                  <a:lnTo>
                    <a:pt x="71" y="36"/>
                  </a:lnTo>
                  <a:lnTo>
                    <a:pt x="65" y="36"/>
                  </a:lnTo>
                  <a:lnTo>
                    <a:pt x="59" y="32"/>
                  </a:lnTo>
                  <a:lnTo>
                    <a:pt x="55" y="32"/>
                  </a:lnTo>
                  <a:lnTo>
                    <a:pt x="51" y="31"/>
                  </a:lnTo>
                  <a:lnTo>
                    <a:pt x="49" y="31"/>
                  </a:lnTo>
                  <a:lnTo>
                    <a:pt x="44" y="32"/>
                  </a:lnTo>
                  <a:lnTo>
                    <a:pt x="38" y="36"/>
                  </a:lnTo>
                  <a:lnTo>
                    <a:pt x="38" y="37"/>
                  </a:lnTo>
                  <a:lnTo>
                    <a:pt x="40" y="40"/>
                  </a:lnTo>
                  <a:lnTo>
                    <a:pt x="44" y="43"/>
                  </a:lnTo>
                  <a:lnTo>
                    <a:pt x="45" y="51"/>
                  </a:lnTo>
                  <a:lnTo>
                    <a:pt x="45" y="53"/>
                  </a:lnTo>
                  <a:lnTo>
                    <a:pt x="51" y="59"/>
                  </a:lnTo>
                  <a:lnTo>
                    <a:pt x="59" y="59"/>
                  </a:lnTo>
                  <a:lnTo>
                    <a:pt x="69" y="64"/>
                  </a:lnTo>
                  <a:lnTo>
                    <a:pt x="74" y="67"/>
                  </a:lnTo>
                  <a:lnTo>
                    <a:pt x="76" y="71"/>
                  </a:lnTo>
                  <a:lnTo>
                    <a:pt x="76" y="73"/>
                  </a:lnTo>
                  <a:lnTo>
                    <a:pt x="80" y="74"/>
                  </a:lnTo>
                  <a:lnTo>
                    <a:pt x="84" y="74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3" y="79"/>
                  </a:lnTo>
                  <a:lnTo>
                    <a:pt x="97" y="80"/>
                  </a:lnTo>
                  <a:lnTo>
                    <a:pt x="101" y="80"/>
                  </a:lnTo>
                  <a:lnTo>
                    <a:pt x="104" y="80"/>
                  </a:lnTo>
                  <a:lnTo>
                    <a:pt x="106" y="82"/>
                  </a:lnTo>
                  <a:lnTo>
                    <a:pt x="112" y="82"/>
                  </a:lnTo>
                  <a:lnTo>
                    <a:pt x="116" y="80"/>
                  </a:lnTo>
                  <a:lnTo>
                    <a:pt x="121" y="79"/>
                  </a:lnTo>
                  <a:lnTo>
                    <a:pt x="124" y="80"/>
                  </a:lnTo>
                  <a:lnTo>
                    <a:pt x="124" y="84"/>
                  </a:lnTo>
                  <a:lnTo>
                    <a:pt x="121" y="84"/>
                  </a:lnTo>
                  <a:lnTo>
                    <a:pt x="118" y="84"/>
                  </a:lnTo>
                  <a:lnTo>
                    <a:pt x="118" y="85"/>
                  </a:lnTo>
                  <a:lnTo>
                    <a:pt x="120" y="85"/>
                  </a:lnTo>
                  <a:lnTo>
                    <a:pt x="124" y="90"/>
                  </a:lnTo>
                  <a:lnTo>
                    <a:pt x="120" y="91"/>
                  </a:lnTo>
                  <a:lnTo>
                    <a:pt x="120" y="93"/>
                  </a:lnTo>
                  <a:lnTo>
                    <a:pt x="116" y="93"/>
                  </a:lnTo>
                  <a:lnTo>
                    <a:pt x="112" y="96"/>
                  </a:lnTo>
                  <a:lnTo>
                    <a:pt x="109" y="99"/>
                  </a:lnTo>
                  <a:lnTo>
                    <a:pt x="106" y="101"/>
                  </a:lnTo>
                  <a:lnTo>
                    <a:pt x="109" y="102"/>
                  </a:lnTo>
                  <a:lnTo>
                    <a:pt x="112" y="102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0" y="107"/>
                  </a:lnTo>
                  <a:lnTo>
                    <a:pt x="109" y="104"/>
                  </a:lnTo>
                  <a:lnTo>
                    <a:pt x="104" y="107"/>
                  </a:lnTo>
                  <a:lnTo>
                    <a:pt x="101" y="112"/>
                  </a:lnTo>
                  <a:lnTo>
                    <a:pt x="99" y="112"/>
                  </a:lnTo>
                  <a:lnTo>
                    <a:pt x="97" y="116"/>
                  </a:lnTo>
                  <a:lnTo>
                    <a:pt x="97" y="117"/>
                  </a:lnTo>
                  <a:lnTo>
                    <a:pt x="101" y="117"/>
                  </a:lnTo>
                  <a:lnTo>
                    <a:pt x="103" y="117"/>
                  </a:lnTo>
                  <a:lnTo>
                    <a:pt x="104" y="117"/>
                  </a:lnTo>
                  <a:lnTo>
                    <a:pt x="106" y="117"/>
                  </a:lnTo>
                  <a:lnTo>
                    <a:pt x="109" y="119"/>
                  </a:lnTo>
                  <a:lnTo>
                    <a:pt x="110" y="119"/>
                  </a:lnTo>
                  <a:lnTo>
                    <a:pt x="115" y="121"/>
                  </a:lnTo>
                  <a:lnTo>
                    <a:pt x="115" y="123"/>
                  </a:lnTo>
                  <a:lnTo>
                    <a:pt x="109" y="123"/>
                  </a:lnTo>
                  <a:lnTo>
                    <a:pt x="104" y="124"/>
                  </a:lnTo>
                  <a:lnTo>
                    <a:pt x="104" y="126"/>
                  </a:lnTo>
                  <a:lnTo>
                    <a:pt x="110" y="126"/>
                  </a:lnTo>
                  <a:lnTo>
                    <a:pt x="115" y="129"/>
                  </a:lnTo>
                  <a:lnTo>
                    <a:pt x="115" y="130"/>
                  </a:lnTo>
                  <a:lnTo>
                    <a:pt x="112" y="130"/>
                  </a:lnTo>
                  <a:lnTo>
                    <a:pt x="110" y="130"/>
                  </a:lnTo>
                  <a:lnTo>
                    <a:pt x="109" y="130"/>
                  </a:lnTo>
                  <a:lnTo>
                    <a:pt x="106" y="130"/>
                  </a:lnTo>
                  <a:lnTo>
                    <a:pt x="104" y="129"/>
                  </a:lnTo>
                  <a:lnTo>
                    <a:pt x="101" y="129"/>
                  </a:lnTo>
                  <a:lnTo>
                    <a:pt x="95" y="129"/>
                  </a:lnTo>
                  <a:lnTo>
                    <a:pt x="95" y="126"/>
                  </a:lnTo>
                  <a:lnTo>
                    <a:pt x="97" y="124"/>
                  </a:lnTo>
                  <a:lnTo>
                    <a:pt x="95" y="121"/>
                  </a:lnTo>
                  <a:lnTo>
                    <a:pt x="93" y="119"/>
                  </a:lnTo>
                  <a:lnTo>
                    <a:pt x="91" y="121"/>
                  </a:lnTo>
                  <a:lnTo>
                    <a:pt x="91" y="124"/>
                  </a:lnTo>
                  <a:lnTo>
                    <a:pt x="87" y="134"/>
                  </a:lnTo>
                  <a:lnTo>
                    <a:pt x="86" y="138"/>
                  </a:lnTo>
                  <a:lnTo>
                    <a:pt x="86" y="140"/>
                  </a:lnTo>
                  <a:lnTo>
                    <a:pt x="89" y="140"/>
                  </a:lnTo>
                  <a:lnTo>
                    <a:pt x="93" y="135"/>
                  </a:lnTo>
                  <a:lnTo>
                    <a:pt x="93" y="138"/>
                  </a:lnTo>
                  <a:lnTo>
                    <a:pt x="93" y="140"/>
                  </a:lnTo>
                  <a:lnTo>
                    <a:pt x="89" y="141"/>
                  </a:lnTo>
                  <a:lnTo>
                    <a:pt x="87" y="143"/>
                  </a:lnTo>
                  <a:lnTo>
                    <a:pt x="84" y="146"/>
                  </a:lnTo>
                  <a:lnTo>
                    <a:pt x="84" y="147"/>
                  </a:lnTo>
                  <a:lnTo>
                    <a:pt x="78" y="147"/>
                  </a:lnTo>
                  <a:lnTo>
                    <a:pt x="74" y="147"/>
                  </a:lnTo>
                  <a:lnTo>
                    <a:pt x="69" y="147"/>
                  </a:lnTo>
                  <a:lnTo>
                    <a:pt x="66" y="147"/>
                  </a:lnTo>
                  <a:lnTo>
                    <a:pt x="60" y="146"/>
                  </a:lnTo>
                  <a:lnTo>
                    <a:pt x="57" y="147"/>
                  </a:lnTo>
                  <a:lnTo>
                    <a:pt x="49" y="151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9" y="152"/>
                  </a:lnTo>
                  <a:lnTo>
                    <a:pt x="54" y="152"/>
                  </a:lnTo>
                  <a:lnTo>
                    <a:pt x="51" y="155"/>
                  </a:lnTo>
                  <a:lnTo>
                    <a:pt x="48" y="155"/>
                  </a:lnTo>
                  <a:lnTo>
                    <a:pt x="49" y="157"/>
                  </a:lnTo>
                  <a:lnTo>
                    <a:pt x="54" y="157"/>
                  </a:lnTo>
                  <a:lnTo>
                    <a:pt x="55" y="162"/>
                  </a:lnTo>
                  <a:lnTo>
                    <a:pt x="60" y="160"/>
                  </a:lnTo>
                  <a:lnTo>
                    <a:pt x="65" y="162"/>
                  </a:lnTo>
                  <a:lnTo>
                    <a:pt x="66" y="160"/>
                  </a:lnTo>
                  <a:lnTo>
                    <a:pt x="72" y="162"/>
                  </a:lnTo>
                  <a:lnTo>
                    <a:pt x="74" y="160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72" y="152"/>
                  </a:lnTo>
                  <a:lnTo>
                    <a:pt x="80" y="152"/>
                  </a:lnTo>
                  <a:lnTo>
                    <a:pt x="81" y="152"/>
                  </a:lnTo>
                  <a:lnTo>
                    <a:pt x="86" y="152"/>
                  </a:lnTo>
                  <a:lnTo>
                    <a:pt x="86" y="155"/>
                  </a:lnTo>
                  <a:lnTo>
                    <a:pt x="84" y="155"/>
                  </a:lnTo>
                  <a:lnTo>
                    <a:pt x="81" y="157"/>
                  </a:lnTo>
                  <a:lnTo>
                    <a:pt x="81" y="160"/>
                  </a:lnTo>
                  <a:lnTo>
                    <a:pt x="76" y="162"/>
                  </a:lnTo>
                  <a:lnTo>
                    <a:pt x="74" y="163"/>
                  </a:lnTo>
                  <a:lnTo>
                    <a:pt x="76" y="168"/>
                  </a:lnTo>
                  <a:lnTo>
                    <a:pt x="87" y="174"/>
                  </a:lnTo>
                  <a:lnTo>
                    <a:pt x="91" y="178"/>
                  </a:lnTo>
                  <a:lnTo>
                    <a:pt x="91" y="180"/>
                  </a:lnTo>
                  <a:lnTo>
                    <a:pt x="87" y="180"/>
                  </a:lnTo>
                  <a:lnTo>
                    <a:pt x="87" y="178"/>
                  </a:lnTo>
                  <a:lnTo>
                    <a:pt x="81" y="177"/>
                  </a:lnTo>
                  <a:lnTo>
                    <a:pt x="76" y="173"/>
                  </a:lnTo>
                  <a:lnTo>
                    <a:pt x="74" y="171"/>
                  </a:lnTo>
                  <a:lnTo>
                    <a:pt x="69" y="171"/>
                  </a:lnTo>
                  <a:lnTo>
                    <a:pt x="66" y="173"/>
                  </a:lnTo>
                  <a:lnTo>
                    <a:pt x="63" y="173"/>
                  </a:lnTo>
                  <a:lnTo>
                    <a:pt x="54" y="169"/>
                  </a:lnTo>
                  <a:lnTo>
                    <a:pt x="51" y="165"/>
                  </a:lnTo>
                  <a:lnTo>
                    <a:pt x="49" y="162"/>
                  </a:lnTo>
                  <a:lnTo>
                    <a:pt x="48" y="162"/>
                  </a:lnTo>
                  <a:lnTo>
                    <a:pt x="49" y="165"/>
                  </a:lnTo>
                  <a:lnTo>
                    <a:pt x="51" y="169"/>
                  </a:lnTo>
                  <a:lnTo>
                    <a:pt x="49" y="171"/>
                  </a:lnTo>
                  <a:lnTo>
                    <a:pt x="45" y="165"/>
                  </a:lnTo>
                  <a:lnTo>
                    <a:pt x="40" y="160"/>
                  </a:lnTo>
                  <a:lnTo>
                    <a:pt x="34" y="157"/>
                  </a:lnTo>
                  <a:lnTo>
                    <a:pt x="30" y="160"/>
                  </a:lnTo>
                  <a:lnTo>
                    <a:pt x="32" y="162"/>
                  </a:lnTo>
                  <a:lnTo>
                    <a:pt x="34" y="163"/>
                  </a:lnTo>
                  <a:lnTo>
                    <a:pt x="36" y="165"/>
                  </a:lnTo>
                  <a:lnTo>
                    <a:pt x="44" y="171"/>
                  </a:lnTo>
                  <a:lnTo>
                    <a:pt x="45" y="173"/>
                  </a:lnTo>
                  <a:lnTo>
                    <a:pt x="49" y="173"/>
                  </a:lnTo>
                  <a:lnTo>
                    <a:pt x="51" y="174"/>
                  </a:lnTo>
                  <a:lnTo>
                    <a:pt x="54" y="177"/>
                  </a:lnTo>
                  <a:lnTo>
                    <a:pt x="45" y="177"/>
                  </a:lnTo>
                  <a:lnTo>
                    <a:pt x="40" y="174"/>
                  </a:lnTo>
                  <a:lnTo>
                    <a:pt x="36" y="171"/>
                  </a:lnTo>
                  <a:lnTo>
                    <a:pt x="34" y="171"/>
                  </a:lnTo>
                  <a:lnTo>
                    <a:pt x="32" y="174"/>
                  </a:lnTo>
                  <a:lnTo>
                    <a:pt x="32" y="177"/>
                  </a:lnTo>
                  <a:lnTo>
                    <a:pt x="29" y="178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5" y="182"/>
                  </a:lnTo>
                  <a:lnTo>
                    <a:pt x="23" y="183"/>
                  </a:lnTo>
                  <a:lnTo>
                    <a:pt x="17" y="189"/>
                  </a:lnTo>
                  <a:lnTo>
                    <a:pt x="17" y="191"/>
                  </a:lnTo>
                  <a:lnTo>
                    <a:pt x="19" y="193"/>
                  </a:lnTo>
                  <a:lnTo>
                    <a:pt x="23" y="191"/>
                  </a:lnTo>
                  <a:lnTo>
                    <a:pt x="29" y="186"/>
                  </a:lnTo>
                  <a:lnTo>
                    <a:pt x="30" y="183"/>
                  </a:lnTo>
                  <a:lnTo>
                    <a:pt x="36" y="183"/>
                  </a:lnTo>
                  <a:lnTo>
                    <a:pt x="42" y="182"/>
                  </a:lnTo>
                  <a:lnTo>
                    <a:pt x="44" y="180"/>
                  </a:lnTo>
                  <a:lnTo>
                    <a:pt x="45" y="180"/>
                  </a:lnTo>
                  <a:lnTo>
                    <a:pt x="48" y="182"/>
                  </a:lnTo>
                  <a:lnTo>
                    <a:pt x="49" y="183"/>
                  </a:lnTo>
                  <a:lnTo>
                    <a:pt x="54" y="183"/>
                  </a:lnTo>
                  <a:lnTo>
                    <a:pt x="59" y="189"/>
                  </a:lnTo>
                  <a:lnTo>
                    <a:pt x="63" y="191"/>
                  </a:lnTo>
                  <a:lnTo>
                    <a:pt x="66" y="189"/>
                  </a:lnTo>
                  <a:lnTo>
                    <a:pt x="69" y="186"/>
                  </a:lnTo>
                  <a:lnTo>
                    <a:pt x="69" y="182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71" y="178"/>
                  </a:lnTo>
                  <a:lnTo>
                    <a:pt x="72" y="178"/>
                  </a:lnTo>
                  <a:lnTo>
                    <a:pt x="74" y="178"/>
                  </a:lnTo>
                  <a:lnTo>
                    <a:pt x="78" y="178"/>
                  </a:lnTo>
                  <a:lnTo>
                    <a:pt x="80" y="180"/>
                  </a:lnTo>
                  <a:lnTo>
                    <a:pt x="78" y="182"/>
                  </a:lnTo>
                  <a:lnTo>
                    <a:pt x="76" y="182"/>
                  </a:lnTo>
                  <a:lnTo>
                    <a:pt x="72" y="182"/>
                  </a:lnTo>
                  <a:lnTo>
                    <a:pt x="74" y="186"/>
                  </a:lnTo>
                  <a:lnTo>
                    <a:pt x="76" y="188"/>
                  </a:lnTo>
                  <a:lnTo>
                    <a:pt x="84" y="188"/>
                  </a:lnTo>
                  <a:lnTo>
                    <a:pt x="86" y="188"/>
                  </a:lnTo>
                  <a:lnTo>
                    <a:pt x="84" y="186"/>
                  </a:lnTo>
                  <a:lnTo>
                    <a:pt x="84" y="183"/>
                  </a:lnTo>
                  <a:lnTo>
                    <a:pt x="86" y="182"/>
                  </a:lnTo>
                  <a:lnTo>
                    <a:pt x="93" y="183"/>
                  </a:lnTo>
                  <a:lnTo>
                    <a:pt x="95" y="186"/>
                  </a:lnTo>
                  <a:lnTo>
                    <a:pt x="91" y="188"/>
                  </a:lnTo>
                  <a:lnTo>
                    <a:pt x="86" y="191"/>
                  </a:lnTo>
                  <a:lnTo>
                    <a:pt x="76" y="191"/>
                  </a:lnTo>
                  <a:lnTo>
                    <a:pt x="74" y="191"/>
                  </a:lnTo>
                  <a:lnTo>
                    <a:pt x="74" y="193"/>
                  </a:lnTo>
                  <a:lnTo>
                    <a:pt x="78" y="199"/>
                  </a:lnTo>
                  <a:lnTo>
                    <a:pt x="86" y="202"/>
                  </a:lnTo>
                  <a:lnTo>
                    <a:pt x="89" y="202"/>
                  </a:lnTo>
                  <a:lnTo>
                    <a:pt x="91" y="202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5" y="205"/>
                  </a:lnTo>
                  <a:lnTo>
                    <a:pt x="93" y="205"/>
                  </a:lnTo>
                  <a:lnTo>
                    <a:pt x="89" y="205"/>
                  </a:lnTo>
                  <a:lnTo>
                    <a:pt x="81" y="205"/>
                  </a:lnTo>
                  <a:lnTo>
                    <a:pt x="76" y="200"/>
                  </a:lnTo>
                  <a:lnTo>
                    <a:pt x="71" y="195"/>
                  </a:lnTo>
                  <a:lnTo>
                    <a:pt x="65" y="193"/>
                  </a:lnTo>
                  <a:lnTo>
                    <a:pt x="59" y="195"/>
                  </a:lnTo>
                  <a:lnTo>
                    <a:pt x="55" y="189"/>
                  </a:lnTo>
                  <a:lnTo>
                    <a:pt x="49" y="188"/>
                  </a:lnTo>
                  <a:lnTo>
                    <a:pt x="48" y="188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36" y="188"/>
                  </a:lnTo>
                  <a:lnTo>
                    <a:pt x="34" y="188"/>
                  </a:lnTo>
                  <a:lnTo>
                    <a:pt x="32" y="188"/>
                  </a:lnTo>
                  <a:lnTo>
                    <a:pt x="26" y="189"/>
                  </a:lnTo>
                  <a:lnTo>
                    <a:pt x="25" y="195"/>
                  </a:lnTo>
                  <a:lnTo>
                    <a:pt x="20" y="197"/>
                  </a:lnTo>
                  <a:lnTo>
                    <a:pt x="17" y="199"/>
                  </a:lnTo>
                  <a:lnTo>
                    <a:pt x="11" y="200"/>
                  </a:lnTo>
                  <a:lnTo>
                    <a:pt x="9" y="205"/>
                  </a:lnTo>
                  <a:lnTo>
                    <a:pt x="8" y="208"/>
                  </a:lnTo>
                  <a:lnTo>
                    <a:pt x="9" y="208"/>
                  </a:lnTo>
                  <a:lnTo>
                    <a:pt x="14" y="205"/>
                  </a:lnTo>
                  <a:lnTo>
                    <a:pt x="19" y="205"/>
                  </a:lnTo>
                  <a:lnTo>
                    <a:pt x="20" y="205"/>
                  </a:lnTo>
                  <a:lnTo>
                    <a:pt x="23" y="205"/>
                  </a:lnTo>
                  <a:lnTo>
                    <a:pt x="29" y="205"/>
                  </a:lnTo>
                  <a:lnTo>
                    <a:pt x="38" y="205"/>
                  </a:lnTo>
                  <a:lnTo>
                    <a:pt x="45" y="205"/>
                  </a:lnTo>
                  <a:lnTo>
                    <a:pt x="51" y="208"/>
                  </a:lnTo>
                  <a:lnTo>
                    <a:pt x="54" y="210"/>
                  </a:lnTo>
                  <a:lnTo>
                    <a:pt x="49" y="210"/>
                  </a:lnTo>
                  <a:lnTo>
                    <a:pt x="44" y="210"/>
                  </a:lnTo>
                  <a:lnTo>
                    <a:pt x="40" y="210"/>
                  </a:lnTo>
                  <a:lnTo>
                    <a:pt x="23" y="210"/>
                  </a:lnTo>
                  <a:lnTo>
                    <a:pt x="17" y="210"/>
                  </a:lnTo>
                  <a:lnTo>
                    <a:pt x="15" y="211"/>
                  </a:lnTo>
                  <a:lnTo>
                    <a:pt x="8" y="211"/>
                  </a:lnTo>
                  <a:lnTo>
                    <a:pt x="8" y="214"/>
                  </a:lnTo>
                  <a:lnTo>
                    <a:pt x="9" y="216"/>
                  </a:lnTo>
                  <a:lnTo>
                    <a:pt x="14" y="216"/>
                  </a:lnTo>
                  <a:lnTo>
                    <a:pt x="15" y="217"/>
                  </a:lnTo>
                  <a:lnTo>
                    <a:pt x="14" y="217"/>
                  </a:lnTo>
                  <a:lnTo>
                    <a:pt x="9" y="217"/>
                  </a:lnTo>
                  <a:lnTo>
                    <a:pt x="3" y="217"/>
                  </a:lnTo>
                  <a:lnTo>
                    <a:pt x="5" y="221"/>
                  </a:lnTo>
                  <a:lnTo>
                    <a:pt x="11" y="221"/>
                  </a:lnTo>
                  <a:lnTo>
                    <a:pt x="23" y="224"/>
                  </a:lnTo>
                  <a:lnTo>
                    <a:pt x="29" y="222"/>
                  </a:lnTo>
                  <a:lnTo>
                    <a:pt x="30" y="221"/>
                  </a:lnTo>
                  <a:lnTo>
                    <a:pt x="32" y="222"/>
                  </a:lnTo>
                  <a:lnTo>
                    <a:pt x="34" y="222"/>
                  </a:lnTo>
                  <a:lnTo>
                    <a:pt x="34" y="227"/>
                  </a:lnTo>
                  <a:lnTo>
                    <a:pt x="34" y="228"/>
                  </a:lnTo>
                  <a:lnTo>
                    <a:pt x="32" y="230"/>
                  </a:lnTo>
                  <a:lnTo>
                    <a:pt x="29" y="228"/>
                  </a:lnTo>
                  <a:lnTo>
                    <a:pt x="26" y="230"/>
                  </a:lnTo>
                  <a:lnTo>
                    <a:pt x="25" y="228"/>
                  </a:lnTo>
                  <a:lnTo>
                    <a:pt x="20" y="230"/>
                  </a:lnTo>
                  <a:lnTo>
                    <a:pt x="20" y="232"/>
                  </a:lnTo>
                  <a:lnTo>
                    <a:pt x="20" y="233"/>
                  </a:lnTo>
                  <a:lnTo>
                    <a:pt x="23" y="232"/>
                  </a:lnTo>
                  <a:lnTo>
                    <a:pt x="26" y="233"/>
                  </a:lnTo>
                  <a:lnTo>
                    <a:pt x="29" y="236"/>
                  </a:lnTo>
                  <a:lnTo>
                    <a:pt x="23" y="238"/>
                  </a:lnTo>
                  <a:lnTo>
                    <a:pt x="19" y="238"/>
                  </a:lnTo>
                  <a:lnTo>
                    <a:pt x="14" y="233"/>
                  </a:lnTo>
                  <a:lnTo>
                    <a:pt x="9" y="236"/>
                  </a:lnTo>
                  <a:lnTo>
                    <a:pt x="8" y="238"/>
                  </a:lnTo>
                  <a:lnTo>
                    <a:pt x="9" y="241"/>
                  </a:lnTo>
                  <a:lnTo>
                    <a:pt x="14" y="241"/>
                  </a:lnTo>
                  <a:lnTo>
                    <a:pt x="15" y="239"/>
                  </a:lnTo>
                  <a:lnTo>
                    <a:pt x="20" y="239"/>
                  </a:lnTo>
                  <a:lnTo>
                    <a:pt x="25" y="241"/>
                  </a:lnTo>
                  <a:lnTo>
                    <a:pt x="26" y="244"/>
                  </a:lnTo>
                  <a:lnTo>
                    <a:pt x="20" y="244"/>
                  </a:lnTo>
                  <a:lnTo>
                    <a:pt x="15" y="244"/>
                  </a:lnTo>
                  <a:lnTo>
                    <a:pt x="11" y="245"/>
                  </a:lnTo>
                  <a:lnTo>
                    <a:pt x="8" y="241"/>
                  </a:lnTo>
                  <a:lnTo>
                    <a:pt x="3" y="241"/>
                  </a:lnTo>
                  <a:lnTo>
                    <a:pt x="2" y="245"/>
                  </a:lnTo>
                  <a:lnTo>
                    <a:pt x="2" y="254"/>
                  </a:lnTo>
                  <a:lnTo>
                    <a:pt x="0" y="256"/>
                  </a:lnTo>
                  <a:lnTo>
                    <a:pt x="0" y="258"/>
                  </a:lnTo>
                  <a:lnTo>
                    <a:pt x="5" y="258"/>
                  </a:lnTo>
                  <a:lnTo>
                    <a:pt x="15" y="254"/>
                  </a:lnTo>
                  <a:lnTo>
                    <a:pt x="19" y="253"/>
                  </a:lnTo>
                  <a:lnTo>
                    <a:pt x="29" y="250"/>
                  </a:lnTo>
                  <a:lnTo>
                    <a:pt x="32" y="249"/>
                  </a:lnTo>
                  <a:lnTo>
                    <a:pt x="38" y="244"/>
                  </a:lnTo>
                  <a:lnTo>
                    <a:pt x="44" y="238"/>
                  </a:lnTo>
                  <a:lnTo>
                    <a:pt x="57" y="230"/>
                  </a:lnTo>
                  <a:lnTo>
                    <a:pt x="65" y="230"/>
                  </a:lnTo>
                  <a:lnTo>
                    <a:pt x="69" y="230"/>
                  </a:lnTo>
                  <a:lnTo>
                    <a:pt x="69" y="232"/>
                  </a:lnTo>
                  <a:lnTo>
                    <a:pt x="66" y="233"/>
                  </a:lnTo>
                  <a:lnTo>
                    <a:pt x="60" y="233"/>
                  </a:lnTo>
                  <a:lnTo>
                    <a:pt x="55" y="236"/>
                  </a:lnTo>
                  <a:lnTo>
                    <a:pt x="45" y="239"/>
                  </a:lnTo>
                  <a:lnTo>
                    <a:pt x="38" y="249"/>
                  </a:lnTo>
                  <a:lnTo>
                    <a:pt x="32" y="253"/>
                  </a:lnTo>
                  <a:lnTo>
                    <a:pt x="25" y="254"/>
                  </a:lnTo>
                  <a:lnTo>
                    <a:pt x="20" y="256"/>
                  </a:lnTo>
                  <a:lnTo>
                    <a:pt x="14" y="260"/>
                  </a:lnTo>
                  <a:lnTo>
                    <a:pt x="5" y="262"/>
                  </a:lnTo>
                  <a:lnTo>
                    <a:pt x="2" y="263"/>
                  </a:lnTo>
                  <a:lnTo>
                    <a:pt x="5" y="266"/>
                  </a:lnTo>
                  <a:lnTo>
                    <a:pt x="8" y="263"/>
                  </a:lnTo>
                  <a:lnTo>
                    <a:pt x="11" y="266"/>
                  </a:lnTo>
                  <a:lnTo>
                    <a:pt x="15" y="263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3" y="266"/>
                  </a:lnTo>
                  <a:lnTo>
                    <a:pt x="26" y="266"/>
                  </a:lnTo>
                  <a:lnTo>
                    <a:pt x="29" y="263"/>
                  </a:lnTo>
                  <a:lnTo>
                    <a:pt x="34" y="260"/>
                  </a:lnTo>
                  <a:lnTo>
                    <a:pt x="38" y="260"/>
                  </a:lnTo>
                  <a:lnTo>
                    <a:pt x="40" y="262"/>
                  </a:lnTo>
                  <a:lnTo>
                    <a:pt x="38" y="266"/>
                  </a:lnTo>
                  <a:lnTo>
                    <a:pt x="34" y="263"/>
                  </a:lnTo>
                  <a:lnTo>
                    <a:pt x="30" y="267"/>
                  </a:lnTo>
                  <a:lnTo>
                    <a:pt x="26" y="269"/>
                  </a:lnTo>
                  <a:lnTo>
                    <a:pt x="20" y="269"/>
                  </a:lnTo>
                  <a:lnTo>
                    <a:pt x="19" y="266"/>
                  </a:lnTo>
                  <a:lnTo>
                    <a:pt x="17" y="267"/>
                  </a:lnTo>
                  <a:lnTo>
                    <a:pt x="14" y="269"/>
                  </a:lnTo>
                  <a:lnTo>
                    <a:pt x="8" y="272"/>
                  </a:lnTo>
                  <a:lnTo>
                    <a:pt x="11" y="277"/>
                  </a:lnTo>
                  <a:lnTo>
                    <a:pt x="14" y="277"/>
                  </a:lnTo>
                  <a:lnTo>
                    <a:pt x="17" y="278"/>
                  </a:lnTo>
                  <a:lnTo>
                    <a:pt x="14" y="283"/>
                  </a:lnTo>
                  <a:lnTo>
                    <a:pt x="14" y="284"/>
                  </a:lnTo>
                  <a:lnTo>
                    <a:pt x="17" y="284"/>
                  </a:lnTo>
                  <a:lnTo>
                    <a:pt x="17" y="287"/>
                  </a:lnTo>
                  <a:lnTo>
                    <a:pt x="17" y="289"/>
                  </a:lnTo>
                  <a:lnTo>
                    <a:pt x="19" y="289"/>
                  </a:lnTo>
                  <a:lnTo>
                    <a:pt x="23" y="286"/>
                  </a:lnTo>
                  <a:lnTo>
                    <a:pt x="29" y="284"/>
                  </a:lnTo>
                  <a:lnTo>
                    <a:pt x="30" y="283"/>
                  </a:lnTo>
                  <a:lnTo>
                    <a:pt x="32" y="278"/>
                  </a:lnTo>
                  <a:lnTo>
                    <a:pt x="34" y="278"/>
                  </a:lnTo>
                  <a:lnTo>
                    <a:pt x="38" y="278"/>
                  </a:lnTo>
                  <a:lnTo>
                    <a:pt x="48" y="272"/>
                  </a:lnTo>
                  <a:lnTo>
                    <a:pt x="51" y="272"/>
                  </a:lnTo>
                  <a:lnTo>
                    <a:pt x="51" y="277"/>
                  </a:lnTo>
                  <a:lnTo>
                    <a:pt x="57" y="277"/>
                  </a:lnTo>
                  <a:lnTo>
                    <a:pt x="59" y="280"/>
                  </a:lnTo>
                  <a:lnTo>
                    <a:pt x="55" y="280"/>
                  </a:lnTo>
                  <a:lnTo>
                    <a:pt x="51" y="278"/>
                  </a:lnTo>
                  <a:lnTo>
                    <a:pt x="44" y="278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38" y="280"/>
                  </a:lnTo>
                  <a:lnTo>
                    <a:pt x="36" y="284"/>
                  </a:lnTo>
                  <a:lnTo>
                    <a:pt x="32" y="286"/>
                  </a:lnTo>
                  <a:lnTo>
                    <a:pt x="30" y="287"/>
                  </a:lnTo>
                  <a:lnTo>
                    <a:pt x="23" y="289"/>
                  </a:lnTo>
                  <a:lnTo>
                    <a:pt x="20" y="291"/>
                  </a:lnTo>
                  <a:lnTo>
                    <a:pt x="15" y="291"/>
                  </a:lnTo>
                  <a:lnTo>
                    <a:pt x="11" y="295"/>
                  </a:lnTo>
                  <a:lnTo>
                    <a:pt x="11" y="297"/>
                  </a:lnTo>
                  <a:lnTo>
                    <a:pt x="15" y="298"/>
                  </a:lnTo>
                  <a:lnTo>
                    <a:pt x="17" y="295"/>
                  </a:lnTo>
                  <a:lnTo>
                    <a:pt x="19" y="295"/>
                  </a:lnTo>
                  <a:lnTo>
                    <a:pt x="20" y="298"/>
                  </a:lnTo>
                  <a:lnTo>
                    <a:pt x="20" y="303"/>
                  </a:lnTo>
                  <a:lnTo>
                    <a:pt x="17" y="303"/>
                  </a:lnTo>
                  <a:lnTo>
                    <a:pt x="17" y="311"/>
                  </a:lnTo>
                  <a:lnTo>
                    <a:pt x="19" y="314"/>
                  </a:lnTo>
                  <a:lnTo>
                    <a:pt x="23" y="315"/>
                  </a:lnTo>
                  <a:lnTo>
                    <a:pt x="26" y="311"/>
                  </a:lnTo>
                  <a:lnTo>
                    <a:pt x="29" y="309"/>
                  </a:lnTo>
                  <a:lnTo>
                    <a:pt x="32" y="309"/>
                  </a:lnTo>
                  <a:lnTo>
                    <a:pt x="34" y="308"/>
                  </a:lnTo>
                  <a:lnTo>
                    <a:pt x="38" y="308"/>
                  </a:lnTo>
                  <a:lnTo>
                    <a:pt x="40" y="309"/>
                  </a:lnTo>
                  <a:lnTo>
                    <a:pt x="38" y="311"/>
                  </a:lnTo>
                  <a:lnTo>
                    <a:pt x="32" y="315"/>
                  </a:lnTo>
                  <a:lnTo>
                    <a:pt x="29" y="314"/>
                  </a:lnTo>
                  <a:lnTo>
                    <a:pt x="20" y="317"/>
                  </a:lnTo>
                  <a:lnTo>
                    <a:pt x="17" y="320"/>
                  </a:lnTo>
                  <a:lnTo>
                    <a:pt x="17" y="320"/>
                  </a:lnTo>
                  <a:lnTo>
                    <a:pt x="17" y="325"/>
                  </a:lnTo>
                  <a:lnTo>
                    <a:pt x="20" y="326"/>
                  </a:lnTo>
                  <a:lnTo>
                    <a:pt x="17" y="330"/>
                  </a:lnTo>
                  <a:lnTo>
                    <a:pt x="17" y="334"/>
                  </a:lnTo>
                  <a:lnTo>
                    <a:pt x="19" y="339"/>
                  </a:lnTo>
                  <a:lnTo>
                    <a:pt x="20" y="339"/>
                  </a:lnTo>
                  <a:lnTo>
                    <a:pt x="25" y="334"/>
                  </a:lnTo>
                  <a:lnTo>
                    <a:pt x="26" y="332"/>
                  </a:lnTo>
                  <a:lnTo>
                    <a:pt x="34" y="326"/>
                  </a:lnTo>
                  <a:lnTo>
                    <a:pt x="36" y="326"/>
                  </a:lnTo>
                  <a:lnTo>
                    <a:pt x="38" y="323"/>
                  </a:lnTo>
                  <a:lnTo>
                    <a:pt x="42" y="323"/>
                  </a:lnTo>
                  <a:lnTo>
                    <a:pt x="40" y="325"/>
                  </a:lnTo>
                  <a:lnTo>
                    <a:pt x="40" y="326"/>
                  </a:lnTo>
                  <a:lnTo>
                    <a:pt x="40" y="328"/>
                  </a:lnTo>
                  <a:lnTo>
                    <a:pt x="44" y="326"/>
                  </a:lnTo>
                  <a:lnTo>
                    <a:pt x="51" y="320"/>
                  </a:lnTo>
                  <a:lnTo>
                    <a:pt x="51" y="320"/>
                  </a:lnTo>
                  <a:lnTo>
                    <a:pt x="55" y="323"/>
                  </a:lnTo>
                  <a:lnTo>
                    <a:pt x="57" y="320"/>
                  </a:lnTo>
                  <a:lnTo>
                    <a:pt x="60" y="320"/>
                  </a:lnTo>
                  <a:lnTo>
                    <a:pt x="65" y="320"/>
                  </a:lnTo>
                  <a:lnTo>
                    <a:pt x="63" y="320"/>
                  </a:lnTo>
                  <a:lnTo>
                    <a:pt x="60" y="325"/>
                  </a:lnTo>
                  <a:lnTo>
                    <a:pt x="60" y="332"/>
                  </a:lnTo>
                  <a:lnTo>
                    <a:pt x="63" y="334"/>
                  </a:lnTo>
                  <a:lnTo>
                    <a:pt x="65" y="337"/>
                  </a:lnTo>
                  <a:lnTo>
                    <a:pt x="60" y="336"/>
                  </a:lnTo>
                  <a:lnTo>
                    <a:pt x="57" y="332"/>
                  </a:lnTo>
                  <a:lnTo>
                    <a:pt x="54" y="328"/>
                  </a:lnTo>
                  <a:lnTo>
                    <a:pt x="51" y="328"/>
                  </a:lnTo>
                  <a:lnTo>
                    <a:pt x="49" y="330"/>
                  </a:lnTo>
                  <a:lnTo>
                    <a:pt x="48" y="330"/>
                  </a:lnTo>
                  <a:lnTo>
                    <a:pt x="45" y="332"/>
                  </a:lnTo>
                  <a:lnTo>
                    <a:pt x="48" y="334"/>
                  </a:lnTo>
                  <a:lnTo>
                    <a:pt x="49" y="334"/>
                  </a:lnTo>
                  <a:lnTo>
                    <a:pt x="55" y="337"/>
                  </a:lnTo>
                  <a:lnTo>
                    <a:pt x="57" y="337"/>
                  </a:lnTo>
                  <a:lnTo>
                    <a:pt x="55" y="339"/>
                  </a:lnTo>
                  <a:lnTo>
                    <a:pt x="54" y="339"/>
                  </a:lnTo>
                  <a:lnTo>
                    <a:pt x="49" y="337"/>
                  </a:lnTo>
                  <a:lnTo>
                    <a:pt x="48" y="336"/>
                  </a:lnTo>
                  <a:lnTo>
                    <a:pt x="42" y="337"/>
                  </a:lnTo>
                  <a:lnTo>
                    <a:pt x="38" y="343"/>
                  </a:lnTo>
                  <a:lnTo>
                    <a:pt x="34" y="345"/>
                  </a:lnTo>
                  <a:lnTo>
                    <a:pt x="25" y="345"/>
                  </a:lnTo>
                  <a:lnTo>
                    <a:pt x="26" y="347"/>
                  </a:lnTo>
                  <a:lnTo>
                    <a:pt x="30" y="347"/>
                  </a:lnTo>
                  <a:lnTo>
                    <a:pt x="36" y="345"/>
                  </a:lnTo>
                  <a:lnTo>
                    <a:pt x="44" y="345"/>
                  </a:lnTo>
                  <a:lnTo>
                    <a:pt x="48" y="342"/>
                  </a:lnTo>
                  <a:lnTo>
                    <a:pt x="51" y="343"/>
                  </a:lnTo>
                  <a:lnTo>
                    <a:pt x="55" y="343"/>
                  </a:lnTo>
                  <a:lnTo>
                    <a:pt x="51" y="347"/>
                  </a:lnTo>
                  <a:lnTo>
                    <a:pt x="45" y="347"/>
                  </a:lnTo>
                  <a:lnTo>
                    <a:pt x="38" y="348"/>
                  </a:lnTo>
                  <a:lnTo>
                    <a:pt x="29" y="348"/>
                  </a:lnTo>
                  <a:lnTo>
                    <a:pt x="23" y="348"/>
                  </a:lnTo>
                  <a:lnTo>
                    <a:pt x="23" y="352"/>
                  </a:lnTo>
                  <a:lnTo>
                    <a:pt x="23" y="356"/>
                  </a:lnTo>
                  <a:lnTo>
                    <a:pt x="29" y="356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0" y="360"/>
                  </a:lnTo>
                  <a:lnTo>
                    <a:pt x="25" y="360"/>
                  </a:lnTo>
                  <a:lnTo>
                    <a:pt x="20" y="364"/>
                  </a:lnTo>
                  <a:lnTo>
                    <a:pt x="23" y="365"/>
                  </a:lnTo>
                  <a:lnTo>
                    <a:pt x="26" y="369"/>
                  </a:lnTo>
                  <a:lnTo>
                    <a:pt x="29" y="367"/>
                  </a:lnTo>
                  <a:lnTo>
                    <a:pt x="30" y="364"/>
                  </a:lnTo>
                  <a:lnTo>
                    <a:pt x="36" y="364"/>
                  </a:lnTo>
                  <a:lnTo>
                    <a:pt x="38" y="365"/>
                  </a:lnTo>
                  <a:lnTo>
                    <a:pt x="40" y="365"/>
                  </a:lnTo>
                  <a:lnTo>
                    <a:pt x="44" y="364"/>
                  </a:lnTo>
                  <a:lnTo>
                    <a:pt x="45" y="364"/>
                  </a:lnTo>
                  <a:lnTo>
                    <a:pt x="48" y="364"/>
                  </a:lnTo>
                  <a:lnTo>
                    <a:pt x="45" y="365"/>
                  </a:lnTo>
                  <a:lnTo>
                    <a:pt x="40" y="369"/>
                  </a:lnTo>
                  <a:lnTo>
                    <a:pt x="36" y="367"/>
                  </a:lnTo>
                  <a:lnTo>
                    <a:pt x="32" y="367"/>
                  </a:lnTo>
                  <a:lnTo>
                    <a:pt x="30" y="367"/>
                  </a:lnTo>
                  <a:lnTo>
                    <a:pt x="34" y="369"/>
                  </a:lnTo>
                  <a:lnTo>
                    <a:pt x="38" y="369"/>
                  </a:lnTo>
                  <a:lnTo>
                    <a:pt x="40" y="370"/>
                  </a:lnTo>
                  <a:lnTo>
                    <a:pt x="38" y="370"/>
                  </a:lnTo>
                  <a:lnTo>
                    <a:pt x="30" y="373"/>
                  </a:lnTo>
                  <a:lnTo>
                    <a:pt x="26" y="375"/>
                  </a:lnTo>
                  <a:lnTo>
                    <a:pt x="29" y="378"/>
                  </a:lnTo>
                  <a:lnTo>
                    <a:pt x="32" y="378"/>
                  </a:lnTo>
                  <a:lnTo>
                    <a:pt x="34" y="376"/>
                  </a:lnTo>
                  <a:lnTo>
                    <a:pt x="40" y="376"/>
                  </a:lnTo>
                  <a:lnTo>
                    <a:pt x="42" y="378"/>
                  </a:lnTo>
                  <a:lnTo>
                    <a:pt x="45" y="378"/>
                  </a:lnTo>
                  <a:lnTo>
                    <a:pt x="44" y="381"/>
                  </a:lnTo>
                  <a:lnTo>
                    <a:pt x="36" y="381"/>
                  </a:lnTo>
                  <a:lnTo>
                    <a:pt x="32" y="381"/>
                  </a:lnTo>
                  <a:lnTo>
                    <a:pt x="29" y="381"/>
                  </a:lnTo>
                  <a:lnTo>
                    <a:pt x="26" y="384"/>
                  </a:lnTo>
                  <a:lnTo>
                    <a:pt x="29" y="386"/>
                  </a:lnTo>
                  <a:lnTo>
                    <a:pt x="30" y="386"/>
                  </a:lnTo>
                  <a:lnTo>
                    <a:pt x="36" y="384"/>
                  </a:lnTo>
                  <a:lnTo>
                    <a:pt x="40" y="384"/>
                  </a:lnTo>
                  <a:lnTo>
                    <a:pt x="44" y="386"/>
                  </a:lnTo>
                  <a:lnTo>
                    <a:pt x="42" y="387"/>
                  </a:lnTo>
                  <a:lnTo>
                    <a:pt x="36" y="390"/>
                  </a:lnTo>
                  <a:lnTo>
                    <a:pt x="34" y="392"/>
                  </a:lnTo>
                  <a:lnTo>
                    <a:pt x="36" y="397"/>
                  </a:lnTo>
                  <a:lnTo>
                    <a:pt x="38" y="397"/>
                  </a:lnTo>
                  <a:lnTo>
                    <a:pt x="40" y="395"/>
                  </a:lnTo>
                  <a:lnTo>
                    <a:pt x="44" y="395"/>
                  </a:lnTo>
                  <a:lnTo>
                    <a:pt x="45" y="399"/>
                  </a:lnTo>
                  <a:lnTo>
                    <a:pt x="48" y="397"/>
                  </a:lnTo>
                  <a:lnTo>
                    <a:pt x="49" y="395"/>
                  </a:lnTo>
                  <a:lnTo>
                    <a:pt x="51" y="397"/>
                  </a:lnTo>
                  <a:lnTo>
                    <a:pt x="49" y="399"/>
                  </a:lnTo>
                  <a:lnTo>
                    <a:pt x="48" y="401"/>
                  </a:lnTo>
                  <a:lnTo>
                    <a:pt x="51" y="404"/>
                  </a:lnTo>
                  <a:lnTo>
                    <a:pt x="45" y="409"/>
                  </a:lnTo>
                  <a:lnTo>
                    <a:pt x="44" y="409"/>
                  </a:lnTo>
                  <a:lnTo>
                    <a:pt x="42" y="412"/>
                  </a:lnTo>
                  <a:lnTo>
                    <a:pt x="38" y="415"/>
                  </a:lnTo>
                  <a:lnTo>
                    <a:pt x="40" y="417"/>
                  </a:lnTo>
                  <a:lnTo>
                    <a:pt x="44" y="417"/>
                  </a:lnTo>
                  <a:lnTo>
                    <a:pt x="45" y="415"/>
                  </a:lnTo>
                  <a:lnTo>
                    <a:pt x="48" y="417"/>
                  </a:lnTo>
                  <a:lnTo>
                    <a:pt x="49" y="418"/>
                  </a:lnTo>
                  <a:lnTo>
                    <a:pt x="48" y="421"/>
                  </a:lnTo>
                  <a:lnTo>
                    <a:pt x="48" y="423"/>
                  </a:lnTo>
                  <a:lnTo>
                    <a:pt x="51" y="423"/>
                  </a:lnTo>
                  <a:lnTo>
                    <a:pt x="54" y="424"/>
                  </a:lnTo>
                  <a:lnTo>
                    <a:pt x="54" y="426"/>
                  </a:lnTo>
                  <a:lnTo>
                    <a:pt x="51" y="428"/>
                  </a:lnTo>
                  <a:lnTo>
                    <a:pt x="54" y="430"/>
                  </a:lnTo>
                  <a:lnTo>
                    <a:pt x="54" y="432"/>
                  </a:lnTo>
                  <a:lnTo>
                    <a:pt x="49" y="434"/>
                  </a:lnTo>
                  <a:lnTo>
                    <a:pt x="48" y="435"/>
                  </a:lnTo>
                  <a:lnTo>
                    <a:pt x="51" y="435"/>
                  </a:lnTo>
                  <a:lnTo>
                    <a:pt x="54" y="434"/>
                  </a:lnTo>
                  <a:lnTo>
                    <a:pt x="55" y="432"/>
                  </a:lnTo>
                  <a:lnTo>
                    <a:pt x="63" y="430"/>
                  </a:lnTo>
                  <a:lnTo>
                    <a:pt x="65" y="432"/>
                  </a:lnTo>
                  <a:lnTo>
                    <a:pt x="63" y="434"/>
                  </a:lnTo>
                  <a:lnTo>
                    <a:pt x="63" y="435"/>
                  </a:lnTo>
                  <a:lnTo>
                    <a:pt x="59" y="437"/>
                  </a:lnTo>
                  <a:lnTo>
                    <a:pt x="57" y="441"/>
                  </a:lnTo>
                  <a:lnTo>
                    <a:pt x="63" y="443"/>
                  </a:lnTo>
                  <a:lnTo>
                    <a:pt x="65" y="445"/>
                  </a:lnTo>
                  <a:lnTo>
                    <a:pt x="63" y="446"/>
                  </a:lnTo>
                  <a:lnTo>
                    <a:pt x="55" y="449"/>
                  </a:lnTo>
                  <a:lnTo>
                    <a:pt x="57" y="452"/>
                  </a:lnTo>
                  <a:lnTo>
                    <a:pt x="54" y="454"/>
                  </a:lnTo>
                  <a:lnTo>
                    <a:pt x="49" y="457"/>
                  </a:lnTo>
                  <a:lnTo>
                    <a:pt x="49" y="458"/>
                  </a:lnTo>
                  <a:lnTo>
                    <a:pt x="54" y="460"/>
                  </a:lnTo>
                  <a:lnTo>
                    <a:pt x="59" y="458"/>
                  </a:lnTo>
                  <a:lnTo>
                    <a:pt x="63" y="457"/>
                  </a:lnTo>
                  <a:lnTo>
                    <a:pt x="69" y="454"/>
                  </a:lnTo>
                  <a:lnTo>
                    <a:pt x="71" y="454"/>
                  </a:lnTo>
                  <a:lnTo>
                    <a:pt x="72" y="458"/>
                  </a:lnTo>
                  <a:lnTo>
                    <a:pt x="71" y="460"/>
                  </a:lnTo>
                  <a:lnTo>
                    <a:pt x="66" y="460"/>
                  </a:lnTo>
                  <a:lnTo>
                    <a:pt x="60" y="462"/>
                  </a:lnTo>
                  <a:lnTo>
                    <a:pt x="60" y="463"/>
                  </a:lnTo>
                  <a:lnTo>
                    <a:pt x="65" y="463"/>
                  </a:lnTo>
                  <a:lnTo>
                    <a:pt x="66" y="466"/>
                  </a:lnTo>
                  <a:lnTo>
                    <a:pt x="60" y="469"/>
                  </a:lnTo>
                  <a:lnTo>
                    <a:pt x="63" y="473"/>
                  </a:lnTo>
                  <a:lnTo>
                    <a:pt x="66" y="473"/>
                  </a:lnTo>
                  <a:lnTo>
                    <a:pt x="74" y="469"/>
                  </a:lnTo>
                  <a:lnTo>
                    <a:pt x="76" y="467"/>
                  </a:lnTo>
                  <a:lnTo>
                    <a:pt x="78" y="469"/>
                  </a:lnTo>
                  <a:lnTo>
                    <a:pt x="81" y="473"/>
                  </a:lnTo>
                  <a:lnTo>
                    <a:pt x="81" y="476"/>
                  </a:lnTo>
                  <a:lnTo>
                    <a:pt x="86" y="479"/>
                  </a:lnTo>
                  <a:lnTo>
                    <a:pt x="87" y="480"/>
                  </a:lnTo>
                  <a:lnTo>
                    <a:pt x="84" y="482"/>
                  </a:lnTo>
                  <a:lnTo>
                    <a:pt x="80" y="484"/>
                  </a:lnTo>
                  <a:lnTo>
                    <a:pt x="78" y="485"/>
                  </a:lnTo>
                  <a:lnTo>
                    <a:pt x="78" y="490"/>
                  </a:lnTo>
                  <a:lnTo>
                    <a:pt x="86" y="490"/>
                  </a:lnTo>
                  <a:lnTo>
                    <a:pt x="87" y="490"/>
                  </a:lnTo>
                  <a:lnTo>
                    <a:pt x="87" y="488"/>
                  </a:lnTo>
                  <a:lnTo>
                    <a:pt x="87" y="485"/>
                  </a:lnTo>
                  <a:lnTo>
                    <a:pt x="89" y="484"/>
                  </a:lnTo>
                  <a:lnTo>
                    <a:pt x="93" y="485"/>
                  </a:lnTo>
                  <a:lnTo>
                    <a:pt x="95" y="482"/>
                  </a:lnTo>
                  <a:lnTo>
                    <a:pt x="101" y="482"/>
                  </a:lnTo>
                  <a:lnTo>
                    <a:pt x="103" y="484"/>
                  </a:lnTo>
                  <a:lnTo>
                    <a:pt x="104" y="485"/>
                  </a:lnTo>
                  <a:lnTo>
                    <a:pt x="109" y="484"/>
                  </a:lnTo>
                  <a:lnTo>
                    <a:pt x="110" y="480"/>
                  </a:lnTo>
                  <a:lnTo>
                    <a:pt x="115" y="479"/>
                  </a:lnTo>
                  <a:lnTo>
                    <a:pt x="116" y="479"/>
                  </a:lnTo>
                  <a:lnTo>
                    <a:pt x="120" y="479"/>
                  </a:lnTo>
                  <a:lnTo>
                    <a:pt x="124" y="480"/>
                  </a:lnTo>
                  <a:lnTo>
                    <a:pt x="127" y="476"/>
                  </a:lnTo>
                  <a:lnTo>
                    <a:pt x="127" y="474"/>
                  </a:lnTo>
                  <a:lnTo>
                    <a:pt x="126" y="473"/>
                  </a:lnTo>
                  <a:lnTo>
                    <a:pt x="126" y="471"/>
                  </a:lnTo>
                  <a:lnTo>
                    <a:pt x="127" y="469"/>
                  </a:lnTo>
                  <a:lnTo>
                    <a:pt x="131" y="471"/>
                  </a:lnTo>
                  <a:lnTo>
                    <a:pt x="133" y="474"/>
                  </a:lnTo>
                  <a:lnTo>
                    <a:pt x="131" y="479"/>
                  </a:lnTo>
                  <a:lnTo>
                    <a:pt x="127" y="482"/>
                  </a:lnTo>
                  <a:lnTo>
                    <a:pt x="126" y="484"/>
                  </a:lnTo>
                  <a:lnTo>
                    <a:pt x="121" y="485"/>
                  </a:lnTo>
                  <a:lnTo>
                    <a:pt x="124" y="485"/>
                  </a:lnTo>
                  <a:lnTo>
                    <a:pt x="130" y="485"/>
                  </a:lnTo>
                  <a:lnTo>
                    <a:pt x="137" y="480"/>
                  </a:lnTo>
                  <a:lnTo>
                    <a:pt x="143" y="474"/>
                  </a:lnTo>
                  <a:lnTo>
                    <a:pt x="144" y="474"/>
                  </a:lnTo>
                  <a:lnTo>
                    <a:pt x="146" y="476"/>
                  </a:lnTo>
                  <a:lnTo>
                    <a:pt x="146" y="480"/>
                  </a:lnTo>
                  <a:lnTo>
                    <a:pt x="143" y="482"/>
                  </a:lnTo>
                  <a:lnTo>
                    <a:pt x="139" y="484"/>
                  </a:lnTo>
                  <a:lnTo>
                    <a:pt x="133" y="488"/>
                  </a:lnTo>
                  <a:lnTo>
                    <a:pt x="130" y="490"/>
                  </a:lnTo>
                  <a:lnTo>
                    <a:pt x="127" y="490"/>
                  </a:lnTo>
                  <a:lnTo>
                    <a:pt x="130" y="491"/>
                  </a:lnTo>
                  <a:lnTo>
                    <a:pt x="133" y="490"/>
                  </a:lnTo>
                  <a:lnTo>
                    <a:pt x="139" y="485"/>
                  </a:lnTo>
                  <a:lnTo>
                    <a:pt x="141" y="488"/>
                  </a:lnTo>
                  <a:lnTo>
                    <a:pt x="135" y="491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24" y="501"/>
                  </a:lnTo>
                  <a:lnTo>
                    <a:pt x="121" y="502"/>
                  </a:lnTo>
                  <a:lnTo>
                    <a:pt x="126" y="502"/>
                  </a:lnTo>
                  <a:lnTo>
                    <a:pt x="127" y="501"/>
                  </a:lnTo>
                  <a:lnTo>
                    <a:pt x="130" y="501"/>
                  </a:lnTo>
                  <a:lnTo>
                    <a:pt x="130" y="502"/>
                  </a:lnTo>
                  <a:lnTo>
                    <a:pt x="131" y="507"/>
                  </a:lnTo>
                  <a:lnTo>
                    <a:pt x="133" y="502"/>
                  </a:lnTo>
                  <a:lnTo>
                    <a:pt x="137" y="501"/>
                  </a:lnTo>
                  <a:lnTo>
                    <a:pt x="137" y="498"/>
                  </a:lnTo>
                  <a:lnTo>
                    <a:pt x="141" y="498"/>
                  </a:lnTo>
                  <a:lnTo>
                    <a:pt x="137" y="502"/>
                  </a:lnTo>
                  <a:lnTo>
                    <a:pt x="137" y="507"/>
                  </a:lnTo>
                  <a:lnTo>
                    <a:pt x="137" y="507"/>
                  </a:lnTo>
                  <a:lnTo>
                    <a:pt x="141" y="507"/>
                  </a:lnTo>
                  <a:lnTo>
                    <a:pt x="143" y="502"/>
                  </a:lnTo>
                  <a:lnTo>
                    <a:pt x="146" y="502"/>
                  </a:lnTo>
                  <a:lnTo>
                    <a:pt x="149" y="502"/>
                  </a:lnTo>
                  <a:lnTo>
                    <a:pt x="146" y="507"/>
                  </a:lnTo>
                  <a:lnTo>
                    <a:pt x="144" y="511"/>
                  </a:lnTo>
                  <a:lnTo>
                    <a:pt x="141" y="515"/>
                  </a:lnTo>
                  <a:lnTo>
                    <a:pt x="139" y="516"/>
                  </a:lnTo>
                  <a:lnTo>
                    <a:pt x="141" y="519"/>
                  </a:lnTo>
                  <a:lnTo>
                    <a:pt x="146" y="515"/>
                  </a:lnTo>
                  <a:lnTo>
                    <a:pt x="150" y="507"/>
                  </a:lnTo>
                  <a:lnTo>
                    <a:pt x="152" y="504"/>
                  </a:lnTo>
                  <a:lnTo>
                    <a:pt x="155" y="507"/>
                  </a:lnTo>
                  <a:lnTo>
                    <a:pt x="149" y="511"/>
                  </a:lnTo>
                  <a:lnTo>
                    <a:pt x="149" y="515"/>
                  </a:lnTo>
                  <a:lnTo>
                    <a:pt x="146" y="519"/>
                  </a:lnTo>
                  <a:lnTo>
                    <a:pt x="146" y="522"/>
                  </a:lnTo>
                  <a:lnTo>
                    <a:pt x="149" y="524"/>
                  </a:lnTo>
                  <a:lnTo>
                    <a:pt x="150" y="522"/>
                  </a:lnTo>
                  <a:lnTo>
                    <a:pt x="150" y="519"/>
                  </a:lnTo>
                  <a:lnTo>
                    <a:pt x="152" y="516"/>
                  </a:lnTo>
                  <a:lnTo>
                    <a:pt x="155" y="516"/>
                  </a:lnTo>
                  <a:lnTo>
                    <a:pt x="158" y="519"/>
                  </a:lnTo>
                  <a:lnTo>
                    <a:pt x="158" y="511"/>
                  </a:lnTo>
                  <a:lnTo>
                    <a:pt x="160" y="511"/>
                  </a:lnTo>
                  <a:lnTo>
                    <a:pt x="161" y="510"/>
                  </a:lnTo>
                  <a:lnTo>
                    <a:pt x="164" y="510"/>
                  </a:lnTo>
                  <a:lnTo>
                    <a:pt x="166" y="511"/>
                  </a:lnTo>
                  <a:lnTo>
                    <a:pt x="164" y="511"/>
                  </a:lnTo>
                  <a:lnTo>
                    <a:pt x="161" y="515"/>
                  </a:lnTo>
                  <a:lnTo>
                    <a:pt x="164" y="516"/>
                  </a:lnTo>
                  <a:lnTo>
                    <a:pt x="170" y="516"/>
                  </a:lnTo>
                  <a:lnTo>
                    <a:pt x="183" y="522"/>
                  </a:lnTo>
                  <a:lnTo>
                    <a:pt x="185" y="522"/>
                  </a:lnTo>
                  <a:lnTo>
                    <a:pt x="187" y="519"/>
                  </a:lnTo>
                  <a:lnTo>
                    <a:pt x="190" y="519"/>
                  </a:lnTo>
                  <a:lnTo>
                    <a:pt x="190" y="516"/>
                  </a:lnTo>
                  <a:lnTo>
                    <a:pt x="189" y="516"/>
                  </a:lnTo>
                  <a:lnTo>
                    <a:pt x="187" y="515"/>
                  </a:lnTo>
                  <a:lnTo>
                    <a:pt x="183" y="515"/>
                  </a:lnTo>
                  <a:lnTo>
                    <a:pt x="181" y="515"/>
                  </a:lnTo>
                  <a:lnTo>
                    <a:pt x="181" y="513"/>
                  </a:lnTo>
                  <a:lnTo>
                    <a:pt x="183" y="511"/>
                  </a:lnTo>
                  <a:lnTo>
                    <a:pt x="183" y="510"/>
                  </a:lnTo>
                  <a:lnTo>
                    <a:pt x="178" y="507"/>
                  </a:lnTo>
                  <a:lnTo>
                    <a:pt x="170" y="504"/>
                  </a:lnTo>
                  <a:lnTo>
                    <a:pt x="167" y="502"/>
                  </a:lnTo>
                  <a:lnTo>
                    <a:pt x="170" y="501"/>
                  </a:lnTo>
                  <a:lnTo>
                    <a:pt x="173" y="502"/>
                  </a:lnTo>
                  <a:lnTo>
                    <a:pt x="175" y="501"/>
                  </a:lnTo>
                  <a:lnTo>
                    <a:pt x="178" y="501"/>
                  </a:lnTo>
                  <a:lnTo>
                    <a:pt x="178" y="504"/>
                  </a:lnTo>
                  <a:lnTo>
                    <a:pt x="181" y="507"/>
                  </a:lnTo>
                  <a:lnTo>
                    <a:pt x="185" y="510"/>
                  </a:lnTo>
                  <a:lnTo>
                    <a:pt x="189" y="510"/>
                  </a:lnTo>
                  <a:lnTo>
                    <a:pt x="195" y="507"/>
                  </a:lnTo>
                  <a:lnTo>
                    <a:pt x="196" y="504"/>
                  </a:lnTo>
                  <a:lnTo>
                    <a:pt x="198" y="502"/>
                  </a:lnTo>
                  <a:lnTo>
                    <a:pt x="195" y="502"/>
                  </a:lnTo>
                  <a:lnTo>
                    <a:pt x="189" y="502"/>
                  </a:lnTo>
                  <a:lnTo>
                    <a:pt x="187" y="502"/>
                  </a:lnTo>
                  <a:lnTo>
                    <a:pt x="187" y="501"/>
                  </a:lnTo>
                  <a:lnTo>
                    <a:pt x="189" y="501"/>
                  </a:lnTo>
                  <a:lnTo>
                    <a:pt x="192" y="501"/>
                  </a:lnTo>
                  <a:lnTo>
                    <a:pt x="196" y="498"/>
                  </a:lnTo>
                  <a:lnTo>
                    <a:pt x="196" y="497"/>
                  </a:lnTo>
                  <a:lnTo>
                    <a:pt x="192" y="495"/>
                  </a:lnTo>
                  <a:lnTo>
                    <a:pt x="187" y="495"/>
                  </a:lnTo>
                  <a:lnTo>
                    <a:pt x="189" y="493"/>
                  </a:lnTo>
                  <a:lnTo>
                    <a:pt x="190" y="493"/>
                  </a:lnTo>
                  <a:lnTo>
                    <a:pt x="190" y="491"/>
                  </a:lnTo>
                  <a:lnTo>
                    <a:pt x="185" y="490"/>
                  </a:lnTo>
                  <a:lnTo>
                    <a:pt x="183" y="488"/>
                  </a:lnTo>
                  <a:lnTo>
                    <a:pt x="187" y="488"/>
                  </a:lnTo>
                  <a:lnTo>
                    <a:pt x="192" y="490"/>
                  </a:lnTo>
                  <a:lnTo>
                    <a:pt x="200" y="488"/>
                  </a:lnTo>
                  <a:lnTo>
                    <a:pt x="204" y="485"/>
                  </a:lnTo>
                  <a:lnTo>
                    <a:pt x="205" y="485"/>
                  </a:lnTo>
                  <a:lnTo>
                    <a:pt x="204" y="482"/>
                  </a:lnTo>
                  <a:lnTo>
                    <a:pt x="200" y="480"/>
                  </a:lnTo>
                  <a:lnTo>
                    <a:pt x="198" y="480"/>
                  </a:lnTo>
                  <a:lnTo>
                    <a:pt x="190" y="480"/>
                  </a:lnTo>
                  <a:lnTo>
                    <a:pt x="187" y="479"/>
                  </a:lnTo>
                  <a:lnTo>
                    <a:pt x="187" y="476"/>
                  </a:lnTo>
                  <a:lnTo>
                    <a:pt x="189" y="476"/>
                  </a:lnTo>
                  <a:lnTo>
                    <a:pt x="190" y="479"/>
                  </a:lnTo>
                  <a:lnTo>
                    <a:pt x="198" y="480"/>
                  </a:lnTo>
                  <a:lnTo>
                    <a:pt x="201" y="479"/>
                  </a:lnTo>
                  <a:lnTo>
                    <a:pt x="201" y="474"/>
                  </a:lnTo>
                  <a:lnTo>
                    <a:pt x="198" y="473"/>
                  </a:lnTo>
                  <a:lnTo>
                    <a:pt x="195" y="471"/>
                  </a:lnTo>
                  <a:lnTo>
                    <a:pt x="195" y="469"/>
                  </a:lnTo>
                  <a:lnTo>
                    <a:pt x="196" y="469"/>
                  </a:lnTo>
                  <a:lnTo>
                    <a:pt x="200" y="469"/>
                  </a:lnTo>
                  <a:lnTo>
                    <a:pt x="201" y="471"/>
                  </a:lnTo>
                  <a:lnTo>
                    <a:pt x="204" y="471"/>
                  </a:lnTo>
                  <a:lnTo>
                    <a:pt x="207" y="467"/>
                  </a:lnTo>
                  <a:lnTo>
                    <a:pt x="207" y="466"/>
                  </a:lnTo>
                  <a:lnTo>
                    <a:pt x="205" y="463"/>
                  </a:lnTo>
                  <a:lnTo>
                    <a:pt x="201" y="463"/>
                  </a:lnTo>
                  <a:lnTo>
                    <a:pt x="201" y="462"/>
                  </a:lnTo>
                  <a:lnTo>
                    <a:pt x="204" y="460"/>
                  </a:lnTo>
                  <a:lnTo>
                    <a:pt x="205" y="462"/>
                  </a:lnTo>
                  <a:lnTo>
                    <a:pt x="210" y="463"/>
                  </a:lnTo>
                  <a:lnTo>
                    <a:pt x="211" y="460"/>
                  </a:lnTo>
                  <a:lnTo>
                    <a:pt x="211" y="458"/>
                  </a:lnTo>
                  <a:lnTo>
                    <a:pt x="205" y="458"/>
                  </a:lnTo>
                  <a:lnTo>
                    <a:pt x="201" y="457"/>
                  </a:lnTo>
                  <a:lnTo>
                    <a:pt x="201" y="452"/>
                  </a:lnTo>
                  <a:lnTo>
                    <a:pt x="204" y="452"/>
                  </a:lnTo>
                  <a:lnTo>
                    <a:pt x="207" y="454"/>
                  </a:lnTo>
                  <a:lnTo>
                    <a:pt x="211" y="457"/>
                  </a:lnTo>
                  <a:lnTo>
                    <a:pt x="213" y="458"/>
                  </a:lnTo>
                  <a:lnTo>
                    <a:pt x="216" y="458"/>
                  </a:lnTo>
                  <a:lnTo>
                    <a:pt x="219" y="454"/>
                  </a:lnTo>
                  <a:lnTo>
                    <a:pt x="219" y="451"/>
                  </a:lnTo>
                  <a:lnTo>
                    <a:pt x="221" y="449"/>
                  </a:lnTo>
                  <a:lnTo>
                    <a:pt x="221" y="446"/>
                  </a:lnTo>
                  <a:lnTo>
                    <a:pt x="221" y="445"/>
                  </a:lnTo>
                  <a:lnTo>
                    <a:pt x="221" y="441"/>
                  </a:lnTo>
                  <a:lnTo>
                    <a:pt x="222" y="440"/>
                  </a:lnTo>
                  <a:lnTo>
                    <a:pt x="219" y="434"/>
                  </a:lnTo>
                  <a:lnTo>
                    <a:pt x="213" y="430"/>
                  </a:lnTo>
                  <a:lnTo>
                    <a:pt x="207" y="428"/>
                  </a:lnTo>
                  <a:lnTo>
                    <a:pt x="205" y="426"/>
                  </a:lnTo>
                  <a:lnTo>
                    <a:pt x="210" y="424"/>
                  </a:lnTo>
                  <a:lnTo>
                    <a:pt x="211" y="426"/>
                  </a:lnTo>
                  <a:lnTo>
                    <a:pt x="216" y="432"/>
                  </a:lnTo>
                  <a:lnTo>
                    <a:pt x="221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5" y="428"/>
                  </a:lnTo>
                  <a:lnTo>
                    <a:pt x="222" y="424"/>
                  </a:lnTo>
                  <a:lnTo>
                    <a:pt x="215" y="423"/>
                  </a:lnTo>
                  <a:lnTo>
                    <a:pt x="207" y="418"/>
                  </a:lnTo>
                  <a:lnTo>
                    <a:pt x="205" y="417"/>
                  </a:lnTo>
                  <a:lnTo>
                    <a:pt x="205" y="415"/>
                  </a:lnTo>
                  <a:lnTo>
                    <a:pt x="210" y="415"/>
                  </a:lnTo>
                  <a:lnTo>
                    <a:pt x="211" y="417"/>
                  </a:lnTo>
                  <a:lnTo>
                    <a:pt x="213" y="418"/>
                  </a:lnTo>
                  <a:lnTo>
                    <a:pt x="219" y="418"/>
                  </a:lnTo>
                  <a:lnTo>
                    <a:pt x="221" y="415"/>
                  </a:lnTo>
                  <a:lnTo>
                    <a:pt x="221" y="413"/>
                  </a:lnTo>
                  <a:lnTo>
                    <a:pt x="221" y="409"/>
                  </a:lnTo>
                  <a:lnTo>
                    <a:pt x="222" y="409"/>
                  </a:lnTo>
                  <a:lnTo>
                    <a:pt x="227" y="409"/>
                  </a:lnTo>
                  <a:lnTo>
                    <a:pt x="227" y="412"/>
                  </a:lnTo>
                  <a:lnTo>
                    <a:pt x="227" y="413"/>
                  </a:lnTo>
                  <a:lnTo>
                    <a:pt x="230" y="415"/>
                  </a:lnTo>
                  <a:lnTo>
                    <a:pt x="234" y="415"/>
                  </a:lnTo>
                  <a:lnTo>
                    <a:pt x="236" y="417"/>
                  </a:lnTo>
                  <a:lnTo>
                    <a:pt x="240" y="417"/>
                  </a:lnTo>
                  <a:lnTo>
                    <a:pt x="242" y="415"/>
                  </a:lnTo>
                  <a:lnTo>
                    <a:pt x="244" y="413"/>
                  </a:lnTo>
                  <a:lnTo>
                    <a:pt x="245" y="412"/>
                  </a:lnTo>
                  <a:lnTo>
                    <a:pt x="244" y="409"/>
                  </a:lnTo>
                  <a:lnTo>
                    <a:pt x="240" y="408"/>
                  </a:lnTo>
                  <a:lnTo>
                    <a:pt x="232" y="408"/>
                  </a:lnTo>
                  <a:lnTo>
                    <a:pt x="232" y="406"/>
                  </a:lnTo>
                  <a:lnTo>
                    <a:pt x="230" y="402"/>
                  </a:lnTo>
                  <a:lnTo>
                    <a:pt x="228" y="401"/>
                  </a:lnTo>
                  <a:lnTo>
                    <a:pt x="228" y="399"/>
                  </a:lnTo>
                  <a:lnTo>
                    <a:pt x="230" y="397"/>
                  </a:lnTo>
                  <a:lnTo>
                    <a:pt x="232" y="397"/>
                  </a:lnTo>
                  <a:lnTo>
                    <a:pt x="236" y="399"/>
                  </a:lnTo>
                  <a:lnTo>
                    <a:pt x="236" y="402"/>
                  </a:lnTo>
                  <a:lnTo>
                    <a:pt x="238" y="404"/>
                  </a:lnTo>
                  <a:lnTo>
                    <a:pt x="244" y="404"/>
                  </a:lnTo>
                  <a:lnTo>
                    <a:pt x="245" y="404"/>
                  </a:lnTo>
                  <a:lnTo>
                    <a:pt x="245" y="402"/>
                  </a:lnTo>
                  <a:lnTo>
                    <a:pt x="245" y="399"/>
                  </a:lnTo>
                  <a:lnTo>
                    <a:pt x="240" y="397"/>
                  </a:lnTo>
                  <a:lnTo>
                    <a:pt x="236" y="395"/>
                  </a:lnTo>
                  <a:lnTo>
                    <a:pt x="236" y="392"/>
                  </a:lnTo>
                  <a:lnTo>
                    <a:pt x="240" y="393"/>
                  </a:lnTo>
                  <a:lnTo>
                    <a:pt x="244" y="397"/>
                  </a:lnTo>
                  <a:lnTo>
                    <a:pt x="247" y="397"/>
                  </a:lnTo>
                  <a:lnTo>
                    <a:pt x="250" y="399"/>
                  </a:lnTo>
                  <a:lnTo>
                    <a:pt x="251" y="399"/>
                  </a:lnTo>
                  <a:lnTo>
                    <a:pt x="251" y="397"/>
                  </a:lnTo>
                  <a:lnTo>
                    <a:pt x="251" y="393"/>
                  </a:lnTo>
                  <a:lnTo>
                    <a:pt x="245" y="392"/>
                  </a:lnTo>
                  <a:lnTo>
                    <a:pt x="242" y="390"/>
                  </a:lnTo>
                  <a:lnTo>
                    <a:pt x="242" y="386"/>
                  </a:lnTo>
                  <a:lnTo>
                    <a:pt x="244" y="382"/>
                  </a:lnTo>
                  <a:lnTo>
                    <a:pt x="245" y="382"/>
                  </a:lnTo>
                  <a:lnTo>
                    <a:pt x="247" y="382"/>
                  </a:lnTo>
                  <a:lnTo>
                    <a:pt x="250" y="384"/>
                  </a:lnTo>
                  <a:lnTo>
                    <a:pt x="256" y="387"/>
                  </a:lnTo>
                  <a:lnTo>
                    <a:pt x="259" y="390"/>
                  </a:lnTo>
                  <a:lnTo>
                    <a:pt x="261" y="387"/>
                  </a:lnTo>
                  <a:lnTo>
                    <a:pt x="265" y="387"/>
                  </a:lnTo>
                  <a:lnTo>
                    <a:pt x="268" y="386"/>
                  </a:lnTo>
                  <a:lnTo>
                    <a:pt x="271" y="382"/>
                  </a:lnTo>
                  <a:lnTo>
                    <a:pt x="268" y="381"/>
                  </a:lnTo>
                  <a:lnTo>
                    <a:pt x="265" y="381"/>
                  </a:lnTo>
                  <a:lnTo>
                    <a:pt x="261" y="378"/>
                  </a:lnTo>
                  <a:lnTo>
                    <a:pt x="257" y="375"/>
                  </a:lnTo>
                  <a:lnTo>
                    <a:pt x="253" y="375"/>
                  </a:lnTo>
                  <a:lnTo>
                    <a:pt x="250" y="375"/>
                  </a:lnTo>
                  <a:lnTo>
                    <a:pt x="251" y="370"/>
                  </a:lnTo>
                  <a:lnTo>
                    <a:pt x="256" y="370"/>
                  </a:lnTo>
                  <a:lnTo>
                    <a:pt x="259" y="373"/>
                  </a:lnTo>
                  <a:lnTo>
                    <a:pt x="261" y="375"/>
                  </a:lnTo>
                  <a:lnTo>
                    <a:pt x="262" y="375"/>
                  </a:lnTo>
                  <a:lnTo>
                    <a:pt x="267" y="378"/>
                  </a:lnTo>
                  <a:lnTo>
                    <a:pt x="271" y="381"/>
                  </a:lnTo>
                  <a:lnTo>
                    <a:pt x="273" y="378"/>
                  </a:lnTo>
                  <a:lnTo>
                    <a:pt x="273" y="376"/>
                  </a:lnTo>
                  <a:lnTo>
                    <a:pt x="273" y="375"/>
                  </a:lnTo>
                  <a:lnTo>
                    <a:pt x="274" y="370"/>
                  </a:lnTo>
                  <a:lnTo>
                    <a:pt x="273" y="369"/>
                  </a:lnTo>
                  <a:lnTo>
                    <a:pt x="271" y="367"/>
                  </a:lnTo>
                  <a:lnTo>
                    <a:pt x="271" y="365"/>
                  </a:lnTo>
                  <a:lnTo>
                    <a:pt x="273" y="365"/>
                  </a:lnTo>
                  <a:lnTo>
                    <a:pt x="276" y="365"/>
                  </a:lnTo>
                  <a:lnTo>
                    <a:pt x="276" y="361"/>
                  </a:lnTo>
                  <a:lnTo>
                    <a:pt x="276" y="360"/>
                  </a:lnTo>
                  <a:lnTo>
                    <a:pt x="274" y="360"/>
                  </a:lnTo>
                  <a:lnTo>
                    <a:pt x="273" y="360"/>
                  </a:lnTo>
                  <a:lnTo>
                    <a:pt x="271" y="358"/>
                  </a:lnTo>
                  <a:lnTo>
                    <a:pt x="267" y="356"/>
                  </a:lnTo>
                  <a:lnTo>
                    <a:pt x="262" y="356"/>
                  </a:lnTo>
                  <a:lnTo>
                    <a:pt x="257" y="352"/>
                  </a:lnTo>
                  <a:lnTo>
                    <a:pt x="256" y="351"/>
                  </a:lnTo>
                  <a:lnTo>
                    <a:pt x="257" y="348"/>
                  </a:lnTo>
                  <a:lnTo>
                    <a:pt x="262" y="348"/>
                  </a:lnTo>
                  <a:lnTo>
                    <a:pt x="268" y="351"/>
                  </a:lnTo>
                  <a:lnTo>
                    <a:pt x="273" y="348"/>
                  </a:lnTo>
                  <a:lnTo>
                    <a:pt x="274" y="347"/>
                  </a:lnTo>
                  <a:lnTo>
                    <a:pt x="276" y="347"/>
                  </a:lnTo>
                  <a:lnTo>
                    <a:pt x="280" y="348"/>
                  </a:lnTo>
                  <a:lnTo>
                    <a:pt x="280" y="345"/>
                  </a:lnTo>
                  <a:lnTo>
                    <a:pt x="280" y="337"/>
                  </a:lnTo>
                  <a:lnTo>
                    <a:pt x="279" y="334"/>
                  </a:lnTo>
                  <a:lnTo>
                    <a:pt x="274" y="330"/>
                  </a:lnTo>
                  <a:lnTo>
                    <a:pt x="274" y="328"/>
                  </a:lnTo>
                  <a:lnTo>
                    <a:pt x="274" y="326"/>
                  </a:lnTo>
                  <a:lnTo>
                    <a:pt x="276" y="323"/>
                  </a:lnTo>
                  <a:lnTo>
                    <a:pt x="274" y="320"/>
                  </a:lnTo>
                  <a:lnTo>
                    <a:pt x="274" y="317"/>
                  </a:lnTo>
                  <a:lnTo>
                    <a:pt x="274" y="315"/>
                  </a:lnTo>
                  <a:lnTo>
                    <a:pt x="276" y="317"/>
                  </a:lnTo>
                  <a:lnTo>
                    <a:pt x="279" y="320"/>
                  </a:lnTo>
                  <a:lnTo>
                    <a:pt x="282" y="320"/>
                  </a:lnTo>
                  <a:lnTo>
                    <a:pt x="282" y="320"/>
                  </a:lnTo>
                  <a:lnTo>
                    <a:pt x="286" y="317"/>
                  </a:lnTo>
                  <a:lnTo>
                    <a:pt x="287" y="320"/>
                  </a:lnTo>
                  <a:lnTo>
                    <a:pt x="290" y="325"/>
                  </a:lnTo>
                  <a:lnTo>
                    <a:pt x="291" y="325"/>
                  </a:lnTo>
                  <a:lnTo>
                    <a:pt x="296" y="325"/>
                  </a:lnTo>
                  <a:lnTo>
                    <a:pt x="301" y="320"/>
                  </a:lnTo>
                  <a:lnTo>
                    <a:pt x="302" y="314"/>
                  </a:lnTo>
                  <a:lnTo>
                    <a:pt x="302" y="309"/>
                  </a:lnTo>
                  <a:lnTo>
                    <a:pt x="301" y="306"/>
                  </a:lnTo>
                  <a:lnTo>
                    <a:pt x="301" y="303"/>
                  </a:lnTo>
                  <a:lnTo>
                    <a:pt x="302" y="303"/>
                  </a:lnTo>
                  <a:lnTo>
                    <a:pt x="307" y="303"/>
                  </a:lnTo>
                  <a:lnTo>
                    <a:pt x="307" y="300"/>
                  </a:lnTo>
                  <a:lnTo>
                    <a:pt x="308" y="298"/>
                  </a:lnTo>
                  <a:lnTo>
                    <a:pt x="311" y="303"/>
                  </a:lnTo>
                  <a:lnTo>
                    <a:pt x="312" y="306"/>
                  </a:lnTo>
                  <a:lnTo>
                    <a:pt x="316" y="306"/>
                  </a:lnTo>
                  <a:lnTo>
                    <a:pt x="317" y="303"/>
                  </a:lnTo>
                  <a:lnTo>
                    <a:pt x="317" y="300"/>
                  </a:lnTo>
                  <a:lnTo>
                    <a:pt x="320" y="298"/>
                  </a:lnTo>
                  <a:lnTo>
                    <a:pt x="322" y="303"/>
                  </a:lnTo>
                  <a:lnTo>
                    <a:pt x="323" y="306"/>
                  </a:lnTo>
                  <a:lnTo>
                    <a:pt x="326" y="308"/>
                  </a:lnTo>
                  <a:lnTo>
                    <a:pt x="329" y="306"/>
                  </a:lnTo>
                  <a:lnTo>
                    <a:pt x="333" y="303"/>
                  </a:lnTo>
                  <a:lnTo>
                    <a:pt x="335" y="303"/>
                  </a:lnTo>
                  <a:lnTo>
                    <a:pt x="337" y="303"/>
                  </a:lnTo>
                  <a:lnTo>
                    <a:pt x="341" y="303"/>
                  </a:lnTo>
                  <a:lnTo>
                    <a:pt x="345" y="303"/>
                  </a:lnTo>
                  <a:lnTo>
                    <a:pt x="345" y="300"/>
                  </a:lnTo>
                  <a:lnTo>
                    <a:pt x="346" y="298"/>
                  </a:lnTo>
                  <a:lnTo>
                    <a:pt x="346" y="297"/>
                  </a:lnTo>
                  <a:lnTo>
                    <a:pt x="345" y="295"/>
                  </a:lnTo>
                  <a:lnTo>
                    <a:pt x="341" y="289"/>
                  </a:lnTo>
                  <a:lnTo>
                    <a:pt x="341" y="286"/>
                  </a:lnTo>
                  <a:lnTo>
                    <a:pt x="343" y="284"/>
                  </a:lnTo>
                  <a:lnTo>
                    <a:pt x="345" y="284"/>
                  </a:lnTo>
                  <a:lnTo>
                    <a:pt x="346" y="289"/>
                  </a:lnTo>
                  <a:lnTo>
                    <a:pt x="348" y="287"/>
                  </a:lnTo>
                  <a:lnTo>
                    <a:pt x="352" y="286"/>
                  </a:lnTo>
                  <a:lnTo>
                    <a:pt x="354" y="283"/>
                  </a:lnTo>
                  <a:lnTo>
                    <a:pt x="357" y="278"/>
                  </a:lnTo>
                  <a:lnTo>
                    <a:pt x="357" y="277"/>
                  </a:lnTo>
                  <a:lnTo>
                    <a:pt x="352" y="272"/>
                  </a:lnTo>
                  <a:lnTo>
                    <a:pt x="352" y="271"/>
                  </a:lnTo>
                  <a:lnTo>
                    <a:pt x="354" y="269"/>
                  </a:lnTo>
                  <a:lnTo>
                    <a:pt x="357" y="267"/>
                  </a:lnTo>
                  <a:lnTo>
                    <a:pt x="357" y="269"/>
                  </a:lnTo>
                  <a:lnTo>
                    <a:pt x="362" y="272"/>
                  </a:lnTo>
                  <a:lnTo>
                    <a:pt x="366" y="272"/>
                  </a:lnTo>
                  <a:lnTo>
                    <a:pt x="368" y="275"/>
                  </a:lnTo>
                  <a:lnTo>
                    <a:pt x="366" y="277"/>
                  </a:lnTo>
                  <a:lnTo>
                    <a:pt x="362" y="280"/>
                  </a:lnTo>
                  <a:lnTo>
                    <a:pt x="360" y="284"/>
                  </a:lnTo>
                  <a:lnTo>
                    <a:pt x="360" y="287"/>
                  </a:lnTo>
                  <a:lnTo>
                    <a:pt x="366" y="295"/>
                  </a:lnTo>
                  <a:lnTo>
                    <a:pt x="368" y="295"/>
                  </a:lnTo>
                  <a:lnTo>
                    <a:pt x="369" y="293"/>
                  </a:lnTo>
                  <a:lnTo>
                    <a:pt x="369" y="289"/>
                  </a:lnTo>
                  <a:lnTo>
                    <a:pt x="369" y="286"/>
                  </a:lnTo>
                  <a:lnTo>
                    <a:pt x="372" y="283"/>
                  </a:lnTo>
                  <a:lnTo>
                    <a:pt x="374" y="283"/>
                  </a:lnTo>
                  <a:lnTo>
                    <a:pt x="374" y="284"/>
                  </a:lnTo>
                  <a:lnTo>
                    <a:pt x="372" y="287"/>
                  </a:lnTo>
                  <a:lnTo>
                    <a:pt x="372" y="289"/>
                  </a:lnTo>
                  <a:lnTo>
                    <a:pt x="375" y="293"/>
                  </a:lnTo>
                  <a:lnTo>
                    <a:pt x="380" y="295"/>
                  </a:lnTo>
                  <a:lnTo>
                    <a:pt x="383" y="293"/>
                  </a:lnTo>
                  <a:lnTo>
                    <a:pt x="385" y="293"/>
                  </a:lnTo>
                  <a:lnTo>
                    <a:pt x="386" y="291"/>
                  </a:lnTo>
                  <a:lnTo>
                    <a:pt x="386" y="289"/>
                  </a:lnTo>
                  <a:lnTo>
                    <a:pt x="386" y="286"/>
                  </a:lnTo>
                  <a:lnTo>
                    <a:pt x="388" y="286"/>
                  </a:lnTo>
                  <a:lnTo>
                    <a:pt x="391" y="287"/>
                  </a:lnTo>
                  <a:lnTo>
                    <a:pt x="391" y="289"/>
                  </a:lnTo>
                  <a:lnTo>
                    <a:pt x="388" y="291"/>
                  </a:lnTo>
                  <a:lnTo>
                    <a:pt x="392" y="293"/>
                  </a:lnTo>
                  <a:lnTo>
                    <a:pt x="397" y="293"/>
                  </a:lnTo>
                  <a:lnTo>
                    <a:pt x="400" y="289"/>
                  </a:lnTo>
                  <a:lnTo>
                    <a:pt x="408" y="286"/>
                  </a:lnTo>
                  <a:lnTo>
                    <a:pt x="409" y="286"/>
                  </a:lnTo>
                  <a:lnTo>
                    <a:pt x="412" y="284"/>
                  </a:lnTo>
                  <a:lnTo>
                    <a:pt x="412" y="280"/>
                  </a:lnTo>
                  <a:lnTo>
                    <a:pt x="409" y="277"/>
                  </a:lnTo>
                  <a:lnTo>
                    <a:pt x="408" y="275"/>
                  </a:lnTo>
                  <a:lnTo>
                    <a:pt x="406" y="272"/>
                  </a:lnTo>
                  <a:lnTo>
                    <a:pt x="408" y="272"/>
                  </a:lnTo>
                  <a:lnTo>
                    <a:pt x="409" y="272"/>
                  </a:lnTo>
                  <a:lnTo>
                    <a:pt x="412" y="275"/>
                  </a:lnTo>
                  <a:lnTo>
                    <a:pt x="415" y="277"/>
                  </a:lnTo>
                  <a:lnTo>
                    <a:pt x="417" y="277"/>
                  </a:lnTo>
                  <a:lnTo>
                    <a:pt x="420" y="275"/>
                  </a:lnTo>
                  <a:lnTo>
                    <a:pt x="421" y="275"/>
                  </a:lnTo>
                  <a:lnTo>
                    <a:pt x="423" y="277"/>
                  </a:lnTo>
                  <a:lnTo>
                    <a:pt x="423" y="278"/>
                  </a:lnTo>
                  <a:lnTo>
                    <a:pt x="424" y="280"/>
                  </a:lnTo>
                  <a:lnTo>
                    <a:pt x="427" y="278"/>
                  </a:lnTo>
                  <a:lnTo>
                    <a:pt x="434" y="272"/>
                  </a:lnTo>
                  <a:lnTo>
                    <a:pt x="434" y="271"/>
                  </a:lnTo>
                  <a:lnTo>
                    <a:pt x="434" y="269"/>
                  </a:lnTo>
                  <a:lnTo>
                    <a:pt x="434" y="266"/>
                  </a:lnTo>
                  <a:lnTo>
                    <a:pt x="436" y="263"/>
                  </a:lnTo>
                  <a:lnTo>
                    <a:pt x="440" y="263"/>
                  </a:lnTo>
                  <a:lnTo>
                    <a:pt x="438" y="266"/>
                  </a:lnTo>
                  <a:lnTo>
                    <a:pt x="440" y="267"/>
                  </a:lnTo>
                  <a:lnTo>
                    <a:pt x="440" y="269"/>
                  </a:lnTo>
                  <a:lnTo>
                    <a:pt x="443" y="267"/>
                  </a:lnTo>
                  <a:lnTo>
                    <a:pt x="447" y="262"/>
                  </a:lnTo>
                  <a:lnTo>
                    <a:pt x="449" y="260"/>
                  </a:lnTo>
                  <a:lnTo>
                    <a:pt x="447" y="256"/>
                  </a:lnTo>
                  <a:lnTo>
                    <a:pt x="447" y="253"/>
                  </a:lnTo>
                  <a:lnTo>
                    <a:pt x="455" y="247"/>
                  </a:lnTo>
                  <a:lnTo>
                    <a:pt x="458" y="245"/>
                  </a:lnTo>
                  <a:lnTo>
                    <a:pt x="461" y="244"/>
                  </a:lnTo>
                  <a:lnTo>
                    <a:pt x="461" y="241"/>
                  </a:lnTo>
                  <a:lnTo>
                    <a:pt x="458" y="239"/>
                  </a:lnTo>
                  <a:lnTo>
                    <a:pt x="461" y="238"/>
                  </a:lnTo>
                  <a:lnTo>
                    <a:pt x="463" y="238"/>
                  </a:lnTo>
                  <a:lnTo>
                    <a:pt x="464" y="239"/>
                  </a:lnTo>
                  <a:lnTo>
                    <a:pt x="467" y="239"/>
                  </a:lnTo>
                  <a:lnTo>
                    <a:pt x="469" y="236"/>
                  </a:lnTo>
                  <a:lnTo>
                    <a:pt x="467" y="233"/>
                  </a:lnTo>
                  <a:lnTo>
                    <a:pt x="464" y="232"/>
                  </a:lnTo>
                  <a:lnTo>
                    <a:pt x="469" y="233"/>
                  </a:lnTo>
                  <a:lnTo>
                    <a:pt x="470" y="236"/>
                  </a:lnTo>
                  <a:lnTo>
                    <a:pt x="470" y="233"/>
                  </a:lnTo>
                  <a:lnTo>
                    <a:pt x="470" y="230"/>
                  </a:lnTo>
                  <a:lnTo>
                    <a:pt x="472" y="228"/>
                  </a:lnTo>
                  <a:lnTo>
                    <a:pt x="475" y="227"/>
                  </a:lnTo>
                  <a:lnTo>
                    <a:pt x="478" y="224"/>
                  </a:lnTo>
                  <a:lnTo>
                    <a:pt x="478" y="222"/>
                  </a:lnTo>
                  <a:lnTo>
                    <a:pt x="478" y="221"/>
                  </a:lnTo>
                  <a:lnTo>
                    <a:pt x="481" y="219"/>
                  </a:lnTo>
                  <a:lnTo>
                    <a:pt x="484" y="221"/>
                  </a:lnTo>
                  <a:lnTo>
                    <a:pt x="486" y="219"/>
                  </a:lnTo>
                  <a:lnTo>
                    <a:pt x="489" y="216"/>
                  </a:lnTo>
                  <a:lnTo>
                    <a:pt x="493" y="214"/>
                  </a:lnTo>
                  <a:lnTo>
                    <a:pt x="495" y="214"/>
                  </a:lnTo>
                  <a:lnTo>
                    <a:pt x="498" y="214"/>
                  </a:lnTo>
                  <a:lnTo>
                    <a:pt x="501" y="214"/>
                  </a:lnTo>
                  <a:lnTo>
                    <a:pt x="503" y="210"/>
                  </a:lnTo>
                  <a:lnTo>
                    <a:pt x="504" y="205"/>
                  </a:lnTo>
                  <a:lnTo>
                    <a:pt x="503" y="199"/>
                  </a:lnTo>
                  <a:lnTo>
                    <a:pt x="501" y="199"/>
                  </a:lnTo>
                  <a:lnTo>
                    <a:pt x="499" y="199"/>
                  </a:lnTo>
                  <a:lnTo>
                    <a:pt x="501" y="195"/>
                  </a:lnTo>
                  <a:lnTo>
                    <a:pt x="501" y="189"/>
                  </a:lnTo>
                  <a:lnTo>
                    <a:pt x="499" y="188"/>
                  </a:lnTo>
                  <a:lnTo>
                    <a:pt x="498" y="186"/>
                  </a:lnTo>
                  <a:lnTo>
                    <a:pt x="495" y="180"/>
                  </a:lnTo>
                  <a:lnTo>
                    <a:pt x="493" y="178"/>
                  </a:lnTo>
                  <a:lnTo>
                    <a:pt x="493" y="174"/>
                  </a:lnTo>
                  <a:lnTo>
                    <a:pt x="498" y="174"/>
                  </a:lnTo>
                  <a:lnTo>
                    <a:pt x="499" y="177"/>
                  </a:lnTo>
                  <a:lnTo>
                    <a:pt x="499" y="180"/>
                  </a:lnTo>
                  <a:lnTo>
                    <a:pt x="503" y="183"/>
                  </a:lnTo>
                  <a:lnTo>
                    <a:pt x="503" y="188"/>
                  </a:lnTo>
                  <a:lnTo>
                    <a:pt x="504" y="191"/>
                  </a:lnTo>
                  <a:lnTo>
                    <a:pt x="509" y="193"/>
                  </a:lnTo>
                  <a:lnTo>
                    <a:pt x="510" y="195"/>
                  </a:lnTo>
                  <a:lnTo>
                    <a:pt x="509" y="199"/>
                  </a:lnTo>
                  <a:lnTo>
                    <a:pt x="510" y="202"/>
                  </a:lnTo>
                  <a:lnTo>
                    <a:pt x="515" y="205"/>
                  </a:lnTo>
                  <a:lnTo>
                    <a:pt x="518" y="205"/>
                  </a:lnTo>
                  <a:lnTo>
                    <a:pt x="518" y="202"/>
                  </a:lnTo>
                  <a:lnTo>
                    <a:pt x="521" y="200"/>
                  </a:lnTo>
                  <a:lnTo>
                    <a:pt x="522" y="200"/>
                  </a:lnTo>
                  <a:lnTo>
                    <a:pt x="524" y="205"/>
                  </a:lnTo>
                  <a:lnTo>
                    <a:pt x="530" y="205"/>
                  </a:lnTo>
                  <a:lnTo>
                    <a:pt x="533" y="205"/>
                  </a:lnTo>
                  <a:lnTo>
                    <a:pt x="535" y="200"/>
                  </a:lnTo>
                  <a:lnTo>
                    <a:pt x="537" y="202"/>
                  </a:lnTo>
                  <a:lnTo>
                    <a:pt x="539" y="202"/>
                  </a:lnTo>
                  <a:lnTo>
                    <a:pt x="542" y="200"/>
                  </a:lnTo>
                  <a:lnTo>
                    <a:pt x="544" y="197"/>
                  </a:lnTo>
                  <a:lnTo>
                    <a:pt x="547" y="197"/>
                  </a:lnTo>
                  <a:lnTo>
                    <a:pt x="547" y="195"/>
                  </a:lnTo>
                  <a:lnTo>
                    <a:pt x="548" y="193"/>
                  </a:lnTo>
                  <a:lnTo>
                    <a:pt x="553" y="195"/>
                  </a:lnTo>
                  <a:lnTo>
                    <a:pt x="556" y="200"/>
                  </a:lnTo>
                  <a:lnTo>
                    <a:pt x="558" y="202"/>
                  </a:lnTo>
                  <a:lnTo>
                    <a:pt x="562" y="202"/>
                  </a:lnTo>
                  <a:lnTo>
                    <a:pt x="564" y="200"/>
                  </a:lnTo>
                  <a:lnTo>
                    <a:pt x="565" y="199"/>
                  </a:lnTo>
                  <a:lnTo>
                    <a:pt x="565" y="195"/>
                  </a:lnTo>
                  <a:lnTo>
                    <a:pt x="568" y="195"/>
                  </a:lnTo>
                  <a:lnTo>
                    <a:pt x="570" y="197"/>
                  </a:lnTo>
                  <a:lnTo>
                    <a:pt x="571" y="197"/>
                  </a:lnTo>
                  <a:lnTo>
                    <a:pt x="571" y="193"/>
                  </a:lnTo>
                  <a:lnTo>
                    <a:pt x="573" y="193"/>
                  </a:lnTo>
                  <a:lnTo>
                    <a:pt x="576" y="195"/>
                  </a:lnTo>
                  <a:lnTo>
                    <a:pt x="579" y="195"/>
                  </a:lnTo>
                  <a:lnTo>
                    <a:pt x="579" y="193"/>
                  </a:lnTo>
                  <a:lnTo>
                    <a:pt x="579" y="189"/>
                  </a:lnTo>
                  <a:lnTo>
                    <a:pt x="583" y="189"/>
                  </a:lnTo>
                  <a:lnTo>
                    <a:pt x="587" y="189"/>
                  </a:lnTo>
                  <a:lnTo>
                    <a:pt x="588" y="189"/>
                  </a:lnTo>
                  <a:lnTo>
                    <a:pt x="588" y="186"/>
                  </a:lnTo>
                  <a:lnTo>
                    <a:pt x="590" y="186"/>
                  </a:lnTo>
                  <a:lnTo>
                    <a:pt x="590" y="188"/>
                  </a:lnTo>
                  <a:lnTo>
                    <a:pt x="593" y="189"/>
                  </a:lnTo>
                  <a:lnTo>
                    <a:pt x="596" y="188"/>
                  </a:lnTo>
                  <a:lnTo>
                    <a:pt x="596" y="183"/>
                  </a:lnTo>
                  <a:lnTo>
                    <a:pt x="599" y="183"/>
                  </a:lnTo>
                  <a:lnTo>
                    <a:pt x="599" y="188"/>
                  </a:lnTo>
                  <a:lnTo>
                    <a:pt x="602" y="189"/>
                  </a:lnTo>
                  <a:lnTo>
                    <a:pt x="605" y="183"/>
                  </a:lnTo>
                  <a:lnTo>
                    <a:pt x="608" y="183"/>
                  </a:lnTo>
                  <a:lnTo>
                    <a:pt x="610" y="186"/>
                  </a:lnTo>
                  <a:lnTo>
                    <a:pt x="611" y="188"/>
                  </a:lnTo>
                  <a:lnTo>
                    <a:pt x="616" y="186"/>
                  </a:lnTo>
                  <a:lnTo>
                    <a:pt x="617" y="183"/>
                  </a:lnTo>
                  <a:lnTo>
                    <a:pt x="619" y="182"/>
                  </a:lnTo>
                  <a:lnTo>
                    <a:pt x="623" y="182"/>
                  </a:lnTo>
                  <a:lnTo>
                    <a:pt x="628" y="180"/>
                  </a:lnTo>
                  <a:lnTo>
                    <a:pt x="631" y="180"/>
                  </a:lnTo>
                  <a:lnTo>
                    <a:pt x="633" y="182"/>
                  </a:lnTo>
                  <a:lnTo>
                    <a:pt x="634" y="182"/>
                  </a:lnTo>
                  <a:lnTo>
                    <a:pt x="636" y="180"/>
                  </a:lnTo>
                  <a:lnTo>
                    <a:pt x="639" y="177"/>
                  </a:lnTo>
                  <a:lnTo>
                    <a:pt x="644" y="177"/>
                  </a:lnTo>
                  <a:lnTo>
                    <a:pt x="645" y="174"/>
                  </a:lnTo>
                  <a:lnTo>
                    <a:pt x="651" y="173"/>
                  </a:lnTo>
                  <a:lnTo>
                    <a:pt x="654" y="171"/>
                  </a:lnTo>
                  <a:lnTo>
                    <a:pt x="654" y="169"/>
                  </a:lnTo>
                  <a:lnTo>
                    <a:pt x="651" y="165"/>
                  </a:lnTo>
                  <a:lnTo>
                    <a:pt x="651" y="163"/>
                  </a:lnTo>
                  <a:lnTo>
                    <a:pt x="654" y="163"/>
                  </a:lnTo>
                  <a:lnTo>
                    <a:pt x="657" y="165"/>
                  </a:lnTo>
                  <a:lnTo>
                    <a:pt x="659" y="168"/>
                  </a:lnTo>
                  <a:lnTo>
                    <a:pt x="660" y="168"/>
                  </a:lnTo>
                  <a:lnTo>
                    <a:pt x="666" y="165"/>
                  </a:lnTo>
                  <a:lnTo>
                    <a:pt x="666" y="162"/>
                  </a:lnTo>
                  <a:lnTo>
                    <a:pt x="665" y="160"/>
                  </a:lnTo>
                  <a:lnTo>
                    <a:pt x="665" y="157"/>
                  </a:lnTo>
                  <a:lnTo>
                    <a:pt x="669" y="157"/>
                  </a:lnTo>
                  <a:lnTo>
                    <a:pt x="669" y="160"/>
                  </a:lnTo>
                  <a:lnTo>
                    <a:pt x="672" y="162"/>
                  </a:lnTo>
                  <a:lnTo>
                    <a:pt x="674" y="157"/>
                  </a:lnTo>
                  <a:lnTo>
                    <a:pt x="674" y="155"/>
                  </a:lnTo>
                  <a:lnTo>
                    <a:pt x="674" y="151"/>
                  </a:lnTo>
                  <a:lnTo>
                    <a:pt x="677" y="151"/>
                  </a:lnTo>
                  <a:lnTo>
                    <a:pt x="677" y="152"/>
                  </a:lnTo>
                  <a:lnTo>
                    <a:pt x="680" y="155"/>
                  </a:lnTo>
                  <a:lnTo>
                    <a:pt x="684" y="151"/>
                  </a:lnTo>
                  <a:lnTo>
                    <a:pt x="685" y="151"/>
                  </a:lnTo>
                  <a:lnTo>
                    <a:pt x="688" y="151"/>
                  </a:lnTo>
                  <a:lnTo>
                    <a:pt x="689" y="147"/>
                  </a:lnTo>
                  <a:lnTo>
                    <a:pt x="688" y="146"/>
                  </a:lnTo>
                  <a:lnTo>
                    <a:pt x="689" y="143"/>
                  </a:lnTo>
                  <a:lnTo>
                    <a:pt x="691" y="146"/>
                  </a:lnTo>
                  <a:lnTo>
                    <a:pt x="694" y="147"/>
                  </a:lnTo>
                  <a:lnTo>
                    <a:pt x="697" y="146"/>
                  </a:lnTo>
                  <a:lnTo>
                    <a:pt x="699" y="143"/>
                  </a:lnTo>
                  <a:lnTo>
                    <a:pt x="699" y="141"/>
                  </a:lnTo>
                  <a:lnTo>
                    <a:pt x="697" y="140"/>
                  </a:lnTo>
                  <a:lnTo>
                    <a:pt x="697" y="138"/>
                  </a:lnTo>
                  <a:lnTo>
                    <a:pt x="699" y="135"/>
                  </a:lnTo>
                  <a:lnTo>
                    <a:pt x="703" y="135"/>
                  </a:lnTo>
                  <a:lnTo>
                    <a:pt x="706" y="138"/>
                  </a:lnTo>
                  <a:lnTo>
                    <a:pt x="706" y="135"/>
                  </a:lnTo>
                  <a:lnTo>
                    <a:pt x="709" y="134"/>
                  </a:lnTo>
                  <a:lnTo>
                    <a:pt x="711" y="134"/>
                  </a:lnTo>
                  <a:lnTo>
                    <a:pt x="712" y="135"/>
                  </a:lnTo>
                  <a:lnTo>
                    <a:pt x="714" y="135"/>
                  </a:lnTo>
                  <a:lnTo>
                    <a:pt x="717" y="135"/>
                  </a:lnTo>
                  <a:lnTo>
                    <a:pt x="717" y="132"/>
                  </a:lnTo>
                  <a:lnTo>
                    <a:pt x="714" y="132"/>
                  </a:lnTo>
                  <a:lnTo>
                    <a:pt x="714" y="129"/>
                  </a:lnTo>
                  <a:lnTo>
                    <a:pt x="718" y="126"/>
                  </a:lnTo>
                  <a:lnTo>
                    <a:pt x="720" y="126"/>
                  </a:lnTo>
                  <a:lnTo>
                    <a:pt x="726" y="126"/>
                  </a:lnTo>
                  <a:lnTo>
                    <a:pt x="732" y="123"/>
                  </a:lnTo>
                  <a:lnTo>
                    <a:pt x="734" y="119"/>
                  </a:lnTo>
                  <a:lnTo>
                    <a:pt x="734" y="117"/>
                  </a:lnTo>
                  <a:lnTo>
                    <a:pt x="726" y="121"/>
                  </a:lnTo>
                  <a:lnTo>
                    <a:pt x="720" y="119"/>
                  </a:lnTo>
                  <a:lnTo>
                    <a:pt x="718" y="119"/>
                  </a:lnTo>
                  <a:lnTo>
                    <a:pt x="711" y="119"/>
                  </a:lnTo>
                  <a:lnTo>
                    <a:pt x="706" y="119"/>
                  </a:lnTo>
                  <a:lnTo>
                    <a:pt x="699" y="117"/>
                  </a:lnTo>
                  <a:lnTo>
                    <a:pt x="694" y="116"/>
                  </a:lnTo>
                  <a:lnTo>
                    <a:pt x="685" y="113"/>
                  </a:lnTo>
                  <a:lnTo>
                    <a:pt x="678" y="108"/>
                  </a:lnTo>
                  <a:lnTo>
                    <a:pt x="677" y="107"/>
                  </a:lnTo>
                  <a:lnTo>
                    <a:pt x="674" y="107"/>
                  </a:lnTo>
                  <a:lnTo>
                    <a:pt x="672" y="110"/>
                  </a:lnTo>
                  <a:lnTo>
                    <a:pt x="671" y="108"/>
                  </a:lnTo>
                  <a:lnTo>
                    <a:pt x="671" y="107"/>
                  </a:lnTo>
                  <a:lnTo>
                    <a:pt x="671" y="104"/>
                  </a:lnTo>
                  <a:lnTo>
                    <a:pt x="669" y="107"/>
                  </a:lnTo>
                  <a:lnTo>
                    <a:pt x="660" y="112"/>
                  </a:lnTo>
                  <a:lnTo>
                    <a:pt x="657" y="113"/>
                  </a:lnTo>
                  <a:lnTo>
                    <a:pt x="650" y="113"/>
                  </a:lnTo>
                  <a:lnTo>
                    <a:pt x="645" y="113"/>
                  </a:lnTo>
                  <a:lnTo>
                    <a:pt x="644" y="113"/>
                  </a:lnTo>
                  <a:lnTo>
                    <a:pt x="640" y="112"/>
                  </a:lnTo>
                  <a:lnTo>
                    <a:pt x="639" y="113"/>
                  </a:lnTo>
                  <a:lnTo>
                    <a:pt x="633" y="113"/>
                  </a:lnTo>
                  <a:lnTo>
                    <a:pt x="628" y="119"/>
                  </a:lnTo>
                  <a:lnTo>
                    <a:pt x="625" y="121"/>
                  </a:lnTo>
                  <a:lnTo>
                    <a:pt x="623" y="119"/>
                  </a:lnTo>
                  <a:lnTo>
                    <a:pt x="619" y="117"/>
                  </a:lnTo>
                  <a:lnTo>
                    <a:pt x="610" y="117"/>
                  </a:lnTo>
                  <a:lnTo>
                    <a:pt x="608" y="116"/>
                  </a:lnTo>
                  <a:lnTo>
                    <a:pt x="604" y="117"/>
                  </a:lnTo>
                  <a:lnTo>
                    <a:pt x="602" y="116"/>
                  </a:lnTo>
                  <a:lnTo>
                    <a:pt x="605" y="112"/>
                  </a:lnTo>
                  <a:lnTo>
                    <a:pt x="610" y="112"/>
                  </a:lnTo>
                  <a:lnTo>
                    <a:pt x="613" y="113"/>
                  </a:lnTo>
                  <a:lnTo>
                    <a:pt x="617" y="116"/>
                  </a:lnTo>
                  <a:lnTo>
                    <a:pt x="622" y="113"/>
                  </a:lnTo>
                  <a:lnTo>
                    <a:pt x="628" y="112"/>
                  </a:lnTo>
                  <a:lnTo>
                    <a:pt x="631" y="110"/>
                  </a:lnTo>
                  <a:lnTo>
                    <a:pt x="636" y="108"/>
                  </a:lnTo>
                  <a:lnTo>
                    <a:pt x="642" y="110"/>
                  </a:lnTo>
                  <a:lnTo>
                    <a:pt x="645" y="108"/>
                  </a:lnTo>
                  <a:lnTo>
                    <a:pt x="648" y="107"/>
                  </a:lnTo>
                  <a:lnTo>
                    <a:pt x="645" y="104"/>
                  </a:lnTo>
                  <a:lnTo>
                    <a:pt x="644" y="104"/>
                  </a:lnTo>
                  <a:lnTo>
                    <a:pt x="642" y="102"/>
                  </a:lnTo>
                  <a:lnTo>
                    <a:pt x="640" y="102"/>
                  </a:lnTo>
                  <a:lnTo>
                    <a:pt x="634" y="102"/>
                  </a:lnTo>
                  <a:lnTo>
                    <a:pt x="631" y="101"/>
                  </a:lnTo>
                  <a:lnTo>
                    <a:pt x="623" y="101"/>
                  </a:lnTo>
                  <a:lnTo>
                    <a:pt x="617" y="102"/>
                  </a:lnTo>
                  <a:lnTo>
                    <a:pt x="613" y="102"/>
                  </a:lnTo>
                  <a:lnTo>
                    <a:pt x="608" y="102"/>
                  </a:lnTo>
                  <a:lnTo>
                    <a:pt x="605" y="99"/>
                  </a:lnTo>
                  <a:lnTo>
                    <a:pt x="602" y="99"/>
                  </a:lnTo>
                  <a:lnTo>
                    <a:pt x="599" y="101"/>
                  </a:lnTo>
                  <a:lnTo>
                    <a:pt x="593" y="101"/>
                  </a:lnTo>
                  <a:lnTo>
                    <a:pt x="583" y="104"/>
                  </a:lnTo>
                  <a:lnTo>
                    <a:pt x="582" y="102"/>
                  </a:lnTo>
                  <a:lnTo>
                    <a:pt x="583" y="99"/>
                  </a:lnTo>
                  <a:lnTo>
                    <a:pt x="587" y="95"/>
                  </a:lnTo>
                  <a:lnTo>
                    <a:pt x="590" y="96"/>
                  </a:lnTo>
                  <a:lnTo>
                    <a:pt x="596" y="96"/>
                  </a:lnTo>
                  <a:lnTo>
                    <a:pt x="605" y="93"/>
                  </a:lnTo>
                  <a:lnTo>
                    <a:pt x="608" y="91"/>
                  </a:lnTo>
                  <a:lnTo>
                    <a:pt x="608" y="88"/>
                  </a:lnTo>
                  <a:lnTo>
                    <a:pt x="610" y="85"/>
                  </a:lnTo>
                  <a:lnTo>
                    <a:pt x="613" y="85"/>
                  </a:lnTo>
                  <a:lnTo>
                    <a:pt x="616" y="84"/>
                  </a:lnTo>
                  <a:lnTo>
                    <a:pt x="617" y="82"/>
                  </a:lnTo>
                  <a:lnTo>
                    <a:pt x="617" y="79"/>
                  </a:lnTo>
                  <a:lnTo>
                    <a:pt x="616" y="76"/>
                  </a:lnTo>
                  <a:lnTo>
                    <a:pt x="610" y="74"/>
                  </a:lnTo>
                  <a:lnTo>
                    <a:pt x="613" y="71"/>
                  </a:lnTo>
                  <a:lnTo>
                    <a:pt x="616" y="73"/>
                  </a:lnTo>
                  <a:lnTo>
                    <a:pt x="619" y="74"/>
                  </a:lnTo>
                  <a:lnTo>
                    <a:pt x="622" y="73"/>
                  </a:lnTo>
                  <a:lnTo>
                    <a:pt x="622" y="71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65"/>
                  </a:lnTo>
                  <a:lnTo>
                    <a:pt x="625" y="67"/>
                  </a:lnTo>
                  <a:lnTo>
                    <a:pt x="625" y="71"/>
                  </a:lnTo>
                  <a:lnTo>
                    <a:pt x="628" y="74"/>
                  </a:lnTo>
                  <a:lnTo>
                    <a:pt x="631" y="76"/>
                  </a:lnTo>
                  <a:lnTo>
                    <a:pt x="634" y="74"/>
                  </a:lnTo>
                  <a:lnTo>
                    <a:pt x="642" y="74"/>
                  </a:lnTo>
                  <a:lnTo>
                    <a:pt x="655" y="68"/>
                  </a:lnTo>
                  <a:lnTo>
                    <a:pt x="659" y="68"/>
                  </a:lnTo>
                  <a:lnTo>
                    <a:pt x="663" y="67"/>
                  </a:lnTo>
                  <a:lnTo>
                    <a:pt x="665" y="65"/>
                  </a:lnTo>
                  <a:lnTo>
                    <a:pt x="669" y="64"/>
                  </a:lnTo>
                  <a:lnTo>
                    <a:pt x="671" y="59"/>
                  </a:lnTo>
                  <a:lnTo>
                    <a:pt x="669" y="54"/>
                  </a:lnTo>
                  <a:lnTo>
                    <a:pt x="666" y="51"/>
                  </a:lnTo>
                  <a:lnTo>
                    <a:pt x="665" y="51"/>
                  </a:lnTo>
                  <a:lnTo>
                    <a:pt x="659" y="49"/>
                  </a:lnTo>
                  <a:lnTo>
                    <a:pt x="648" y="45"/>
                  </a:lnTo>
                  <a:lnTo>
                    <a:pt x="645" y="45"/>
                  </a:lnTo>
                  <a:lnTo>
                    <a:pt x="640" y="47"/>
                  </a:lnTo>
                  <a:lnTo>
                    <a:pt x="639" y="45"/>
                  </a:lnTo>
                  <a:lnTo>
                    <a:pt x="639" y="43"/>
                  </a:lnTo>
                  <a:lnTo>
                    <a:pt x="636" y="42"/>
                  </a:lnTo>
                  <a:lnTo>
                    <a:pt x="631" y="43"/>
                  </a:lnTo>
                  <a:lnTo>
                    <a:pt x="628" y="43"/>
                  </a:lnTo>
                  <a:lnTo>
                    <a:pt x="623" y="47"/>
                  </a:lnTo>
                  <a:lnTo>
                    <a:pt x="619" y="47"/>
                  </a:lnTo>
                  <a:lnTo>
                    <a:pt x="616" y="45"/>
                  </a:lnTo>
                  <a:lnTo>
                    <a:pt x="616" y="42"/>
                  </a:lnTo>
                  <a:lnTo>
                    <a:pt x="619" y="45"/>
                  </a:lnTo>
                  <a:lnTo>
                    <a:pt x="623" y="43"/>
                  </a:lnTo>
                  <a:lnTo>
                    <a:pt x="625" y="42"/>
                  </a:lnTo>
                  <a:lnTo>
                    <a:pt x="631" y="42"/>
                  </a:lnTo>
                  <a:lnTo>
                    <a:pt x="633" y="40"/>
                  </a:lnTo>
                  <a:lnTo>
                    <a:pt x="628" y="36"/>
                  </a:lnTo>
                  <a:lnTo>
                    <a:pt x="625" y="31"/>
                  </a:lnTo>
                  <a:lnTo>
                    <a:pt x="623" y="31"/>
                  </a:lnTo>
                  <a:lnTo>
                    <a:pt x="617" y="28"/>
                  </a:lnTo>
                  <a:lnTo>
                    <a:pt x="619" y="26"/>
                  </a:lnTo>
                  <a:lnTo>
                    <a:pt x="625" y="25"/>
                  </a:lnTo>
                  <a:lnTo>
                    <a:pt x="625" y="23"/>
                  </a:lnTo>
                  <a:lnTo>
                    <a:pt x="625" y="19"/>
                  </a:lnTo>
                  <a:lnTo>
                    <a:pt x="628" y="18"/>
                  </a:lnTo>
                  <a:lnTo>
                    <a:pt x="628" y="19"/>
                  </a:lnTo>
                  <a:lnTo>
                    <a:pt x="631" y="25"/>
                  </a:lnTo>
                  <a:lnTo>
                    <a:pt x="633" y="28"/>
                  </a:lnTo>
                  <a:lnTo>
                    <a:pt x="633" y="31"/>
                  </a:lnTo>
                  <a:lnTo>
                    <a:pt x="640" y="36"/>
                  </a:lnTo>
                  <a:lnTo>
                    <a:pt x="640" y="37"/>
                  </a:lnTo>
                  <a:lnTo>
                    <a:pt x="644" y="42"/>
                  </a:lnTo>
                  <a:lnTo>
                    <a:pt x="645" y="43"/>
                  </a:lnTo>
                  <a:lnTo>
                    <a:pt x="648" y="42"/>
                  </a:lnTo>
                  <a:lnTo>
                    <a:pt x="651" y="40"/>
                  </a:lnTo>
                  <a:lnTo>
                    <a:pt x="655" y="42"/>
                  </a:lnTo>
                  <a:lnTo>
                    <a:pt x="660" y="42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5"/>
                  </a:lnTo>
                  <a:lnTo>
                    <a:pt x="674" y="56"/>
                  </a:lnTo>
                  <a:lnTo>
                    <a:pt x="678" y="59"/>
                  </a:lnTo>
                  <a:lnTo>
                    <a:pt x="680" y="56"/>
                  </a:lnTo>
                  <a:lnTo>
                    <a:pt x="685" y="54"/>
                  </a:lnTo>
                  <a:lnTo>
                    <a:pt x="688" y="54"/>
                  </a:lnTo>
                  <a:lnTo>
                    <a:pt x="689" y="56"/>
                  </a:lnTo>
                  <a:lnTo>
                    <a:pt x="688" y="59"/>
                  </a:lnTo>
                  <a:lnTo>
                    <a:pt x="685" y="65"/>
                  </a:lnTo>
                  <a:lnTo>
                    <a:pt x="688" y="71"/>
                  </a:lnTo>
                  <a:lnTo>
                    <a:pt x="689" y="73"/>
                  </a:lnTo>
                  <a:lnTo>
                    <a:pt x="694" y="76"/>
                  </a:lnTo>
                  <a:lnTo>
                    <a:pt x="694" y="85"/>
                  </a:lnTo>
                  <a:lnTo>
                    <a:pt x="697" y="88"/>
                  </a:lnTo>
                  <a:lnTo>
                    <a:pt x="700" y="91"/>
                  </a:lnTo>
                  <a:lnTo>
                    <a:pt x="705" y="99"/>
                  </a:lnTo>
                  <a:lnTo>
                    <a:pt x="711" y="104"/>
                  </a:lnTo>
                  <a:lnTo>
                    <a:pt x="714" y="107"/>
                  </a:lnTo>
                  <a:lnTo>
                    <a:pt x="718" y="104"/>
                  </a:lnTo>
                  <a:lnTo>
                    <a:pt x="723" y="104"/>
                  </a:lnTo>
                  <a:lnTo>
                    <a:pt x="724" y="104"/>
                  </a:lnTo>
                  <a:lnTo>
                    <a:pt x="726" y="102"/>
                  </a:lnTo>
                  <a:lnTo>
                    <a:pt x="726" y="101"/>
                  </a:lnTo>
                  <a:lnTo>
                    <a:pt x="728" y="95"/>
                  </a:lnTo>
                  <a:lnTo>
                    <a:pt x="726" y="88"/>
                  </a:lnTo>
                  <a:lnTo>
                    <a:pt x="728" y="84"/>
                  </a:lnTo>
                  <a:lnTo>
                    <a:pt x="729" y="80"/>
                  </a:lnTo>
                  <a:lnTo>
                    <a:pt x="732" y="82"/>
                  </a:lnTo>
                  <a:lnTo>
                    <a:pt x="732" y="84"/>
                  </a:lnTo>
                  <a:lnTo>
                    <a:pt x="732" y="88"/>
                  </a:lnTo>
                  <a:lnTo>
                    <a:pt x="732" y="90"/>
                  </a:lnTo>
                  <a:lnTo>
                    <a:pt x="734" y="95"/>
                  </a:lnTo>
                  <a:lnTo>
                    <a:pt x="729" y="99"/>
                  </a:lnTo>
                  <a:lnTo>
                    <a:pt x="729" y="102"/>
                  </a:lnTo>
                  <a:lnTo>
                    <a:pt x="734" y="102"/>
                  </a:lnTo>
                  <a:lnTo>
                    <a:pt x="735" y="101"/>
                  </a:lnTo>
                  <a:lnTo>
                    <a:pt x="737" y="101"/>
                  </a:lnTo>
                  <a:lnTo>
                    <a:pt x="741" y="101"/>
                  </a:lnTo>
                  <a:lnTo>
                    <a:pt x="741" y="104"/>
                  </a:lnTo>
                  <a:lnTo>
                    <a:pt x="741" y="107"/>
                  </a:lnTo>
                  <a:lnTo>
                    <a:pt x="741" y="108"/>
                  </a:lnTo>
                  <a:lnTo>
                    <a:pt x="743" y="107"/>
                  </a:lnTo>
                  <a:lnTo>
                    <a:pt x="746" y="108"/>
                  </a:lnTo>
                  <a:lnTo>
                    <a:pt x="749" y="107"/>
                  </a:lnTo>
                  <a:lnTo>
                    <a:pt x="749" y="102"/>
                  </a:lnTo>
                  <a:lnTo>
                    <a:pt x="749" y="99"/>
                  </a:lnTo>
                  <a:lnTo>
                    <a:pt x="749" y="91"/>
                  </a:lnTo>
                  <a:lnTo>
                    <a:pt x="751" y="90"/>
                  </a:lnTo>
                  <a:lnTo>
                    <a:pt x="751" y="84"/>
                  </a:lnTo>
                  <a:lnTo>
                    <a:pt x="751" y="82"/>
                  </a:lnTo>
                  <a:lnTo>
                    <a:pt x="749" y="80"/>
                  </a:lnTo>
                  <a:lnTo>
                    <a:pt x="746" y="79"/>
                  </a:lnTo>
                  <a:lnTo>
                    <a:pt x="749" y="76"/>
                  </a:lnTo>
                  <a:lnTo>
                    <a:pt x="749" y="74"/>
                  </a:lnTo>
                  <a:lnTo>
                    <a:pt x="749" y="73"/>
                  </a:lnTo>
                  <a:lnTo>
                    <a:pt x="743" y="74"/>
                  </a:lnTo>
                  <a:lnTo>
                    <a:pt x="743" y="73"/>
                  </a:lnTo>
                  <a:lnTo>
                    <a:pt x="743" y="71"/>
                  </a:lnTo>
                  <a:lnTo>
                    <a:pt x="749" y="68"/>
                  </a:lnTo>
                  <a:lnTo>
                    <a:pt x="751" y="67"/>
                  </a:lnTo>
                  <a:lnTo>
                    <a:pt x="752" y="64"/>
                  </a:lnTo>
                  <a:lnTo>
                    <a:pt x="751" y="62"/>
                  </a:lnTo>
                  <a:lnTo>
                    <a:pt x="746" y="6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9" name="Freeform 152"/>
            <p:cNvSpPr>
              <a:spLocks/>
            </p:cNvSpPr>
            <p:nvPr/>
          </p:nvSpPr>
          <p:spPr bwMode="auto">
            <a:xfrm>
              <a:off x="4159251" y="1966913"/>
              <a:ext cx="3175" cy="1588"/>
            </a:xfrm>
            <a:custGeom>
              <a:avLst/>
              <a:gdLst>
                <a:gd name="T0" fmla="*/ 2 w 2"/>
                <a:gd name="T1" fmla="*/ 0 h 1"/>
                <a:gd name="T2" fmla="*/ 2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0" name="Freeform 153"/>
            <p:cNvSpPr>
              <a:spLocks/>
            </p:cNvSpPr>
            <p:nvPr/>
          </p:nvSpPr>
          <p:spPr bwMode="auto">
            <a:xfrm>
              <a:off x="4221163" y="2243138"/>
              <a:ext cx="14288" cy="7938"/>
            </a:xfrm>
            <a:custGeom>
              <a:avLst/>
              <a:gdLst>
                <a:gd name="T0" fmla="*/ 1 w 9"/>
                <a:gd name="T1" fmla="*/ 1 h 5"/>
                <a:gd name="T2" fmla="*/ 0 w 9"/>
                <a:gd name="T3" fmla="*/ 3 h 5"/>
                <a:gd name="T4" fmla="*/ 3 w 9"/>
                <a:gd name="T5" fmla="*/ 5 h 5"/>
                <a:gd name="T6" fmla="*/ 7 w 9"/>
                <a:gd name="T7" fmla="*/ 3 h 5"/>
                <a:gd name="T8" fmla="*/ 9 w 9"/>
                <a:gd name="T9" fmla="*/ 1 h 5"/>
                <a:gd name="T10" fmla="*/ 6 w 9"/>
                <a:gd name="T11" fmla="*/ 0 h 5"/>
                <a:gd name="T12" fmla="*/ 1 w 9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1" y="1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7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1" name="Freeform 154"/>
            <p:cNvSpPr>
              <a:spLocks/>
            </p:cNvSpPr>
            <p:nvPr/>
          </p:nvSpPr>
          <p:spPr bwMode="auto">
            <a:xfrm>
              <a:off x="4738688" y="2017713"/>
              <a:ext cx="1588" cy="7938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5 h 5"/>
                <a:gd name="T4" fmla="*/ 1 w 1"/>
                <a:gd name="T5" fmla="*/ 2 h 5"/>
                <a:gd name="T6" fmla="*/ 1 w 1"/>
                <a:gd name="T7" fmla="*/ 0 h 5"/>
                <a:gd name="T8" fmla="*/ 0 w 1"/>
                <a:gd name="T9" fmla="*/ 2 h 5"/>
                <a:gd name="T10" fmla="*/ 0 w 1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lnTo>
                    <a:pt x="1" y="5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2" name="Freeform 155"/>
            <p:cNvSpPr>
              <a:spLocks/>
            </p:cNvSpPr>
            <p:nvPr/>
          </p:nvSpPr>
          <p:spPr bwMode="auto">
            <a:xfrm>
              <a:off x="5264151" y="1766888"/>
              <a:ext cx="6350" cy="4763"/>
            </a:xfrm>
            <a:custGeom>
              <a:avLst/>
              <a:gdLst>
                <a:gd name="T0" fmla="*/ 0 w 4"/>
                <a:gd name="T1" fmla="*/ 3 h 3"/>
                <a:gd name="T2" fmla="*/ 1 w 4"/>
                <a:gd name="T3" fmla="*/ 3 h 3"/>
                <a:gd name="T4" fmla="*/ 4 w 4"/>
                <a:gd name="T5" fmla="*/ 1 h 3"/>
                <a:gd name="T6" fmla="*/ 4 w 4"/>
                <a:gd name="T7" fmla="*/ 0 h 3"/>
                <a:gd name="T8" fmla="*/ 0 w 4"/>
                <a:gd name="T9" fmla="*/ 0 h 3"/>
                <a:gd name="T10" fmla="*/ 0 w 4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lnTo>
                    <a:pt x="1" y="3"/>
                  </a:lnTo>
                  <a:lnTo>
                    <a:pt x="4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3" name="Freeform 156"/>
            <p:cNvSpPr>
              <a:spLocks/>
            </p:cNvSpPr>
            <p:nvPr/>
          </p:nvSpPr>
          <p:spPr bwMode="auto">
            <a:xfrm>
              <a:off x="2190751" y="1590676"/>
              <a:ext cx="14288" cy="30163"/>
            </a:xfrm>
            <a:custGeom>
              <a:avLst/>
              <a:gdLst>
                <a:gd name="T0" fmla="*/ 8 w 9"/>
                <a:gd name="T1" fmla="*/ 5 h 19"/>
                <a:gd name="T2" fmla="*/ 8 w 9"/>
                <a:gd name="T3" fmla="*/ 2 h 19"/>
                <a:gd name="T4" fmla="*/ 8 w 9"/>
                <a:gd name="T5" fmla="*/ 0 h 19"/>
                <a:gd name="T6" fmla="*/ 3 w 9"/>
                <a:gd name="T7" fmla="*/ 5 h 19"/>
                <a:gd name="T8" fmla="*/ 3 w 9"/>
                <a:gd name="T9" fmla="*/ 9 h 19"/>
                <a:gd name="T10" fmla="*/ 0 w 9"/>
                <a:gd name="T11" fmla="*/ 11 h 19"/>
                <a:gd name="T12" fmla="*/ 2 w 9"/>
                <a:gd name="T13" fmla="*/ 19 h 19"/>
                <a:gd name="T14" fmla="*/ 3 w 9"/>
                <a:gd name="T15" fmla="*/ 17 h 19"/>
                <a:gd name="T16" fmla="*/ 6 w 9"/>
                <a:gd name="T17" fmla="*/ 14 h 19"/>
                <a:gd name="T18" fmla="*/ 9 w 9"/>
                <a:gd name="T19" fmla="*/ 13 h 19"/>
                <a:gd name="T20" fmla="*/ 8 w 9"/>
                <a:gd name="T21" fmla="*/ 9 h 19"/>
                <a:gd name="T22" fmla="*/ 9 w 9"/>
                <a:gd name="T23" fmla="*/ 8 h 19"/>
                <a:gd name="T24" fmla="*/ 8 w 9"/>
                <a:gd name="T25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9">
                  <a:moveTo>
                    <a:pt x="8" y="5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3" y="5"/>
                  </a:lnTo>
                  <a:lnTo>
                    <a:pt x="3" y="9"/>
                  </a:lnTo>
                  <a:lnTo>
                    <a:pt x="0" y="11"/>
                  </a:lnTo>
                  <a:lnTo>
                    <a:pt x="2" y="19"/>
                  </a:lnTo>
                  <a:lnTo>
                    <a:pt x="3" y="17"/>
                  </a:lnTo>
                  <a:lnTo>
                    <a:pt x="6" y="14"/>
                  </a:lnTo>
                  <a:lnTo>
                    <a:pt x="9" y="13"/>
                  </a:lnTo>
                  <a:lnTo>
                    <a:pt x="8" y="9"/>
                  </a:lnTo>
                  <a:lnTo>
                    <a:pt x="9" y="8"/>
                  </a:lnTo>
                  <a:lnTo>
                    <a:pt x="8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4" name="Freeform 157"/>
            <p:cNvSpPr>
              <a:spLocks/>
            </p:cNvSpPr>
            <p:nvPr/>
          </p:nvSpPr>
          <p:spPr bwMode="auto">
            <a:xfrm>
              <a:off x="2992438" y="1652588"/>
              <a:ext cx="22225" cy="26988"/>
            </a:xfrm>
            <a:custGeom>
              <a:avLst/>
              <a:gdLst>
                <a:gd name="T0" fmla="*/ 11 w 14"/>
                <a:gd name="T1" fmla="*/ 11 h 17"/>
                <a:gd name="T2" fmla="*/ 14 w 14"/>
                <a:gd name="T3" fmla="*/ 6 h 17"/>
                <a:gd name="T4" fmla="*/ 14 w 14"/>
                <a:gd name="T5" fmla="*/ 1 h 17"/>
                <a:gd name="T6" fmla="*/ 14 w 14"/>
                <a:gd name="T7" fmla="*/ 0 h 17"/>
                <a:gd name="T8" fmla="*/ 10 w 14"/>
                <a:gd name="T9" fmla="*/ 3 h 17"/>
                <a:gd name="T10" fmla="*/ 2 w 14"/>
                <a:gd name="T11" fmla="*/ 6 h 17"/>
                <a:gd name="T12" fmla="*/ 2 w 14"/>
                <a:gd name="T13" fmla="*/ 12 h 17"/>
                <a:gd name="T14" fmla="*/ 0 w 14"/>
                <a:gd name="T15" fmla="*/ 17 h 17"/>
                <a:gd name="T16" fmla="*/ 8 w 14"/>
                <a:gd name="T17" fmla="*/ 17 h 17"/>
                <a:gd name="T18" fmla="*/ 11 w 14"/>
                <a:gd name="T19" fmla="*/ 17 h 17"/>
                <a:gd name="T20" fmla="*/ 11 w 14"/>
                <a:gd name="T21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7">
                  <a:moveTo>
                    <a:pt x="11" y="11"/>
                  </a:moveTo>
                  <a:lnTo>
                    <a:pt x="14" y="6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0" y="3"/>
                  </a:lnTo>
                  <a:lnTo>
                    <a:pt x="2" y="6"/>
                  </a:lnTo>
                  <a:lnTo>
                    <a:pt x="2" y="12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11" y="17"/>
                  </a:lnTo>
                  <a:lnTo>
                    <a:pt x="11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5" name="Freeform 158"/>
            <p:cNvSpPr>
              <a:spLocks/>
            </p:cNvSpPr>
            <p:nvPr/>
          </p:nvSpPr>
          <p:spPr bwMode="auto">
            <a:xfrm>
              <a:off x="2190751" y="1546226"/>
              <a:ext cx="3175" cy="4763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0 w 2"/>
                <a:gd name="T5" fmla="*/ 2 h 3"/>
                <a:gd name="T6" fmla="*/ 0 w 2"/>
                <a:gd name="T7" fmla="*/ 3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6" name="Freeform 159"/>
            <p:cNvSpPr>
              <a:spLocks/>
            </p:cNvSpPr>
            <p:nvPr/>
          </p:nvSpPr>
          <p:spPr bwMode="auto">
            <a:xfrm>
              <a:off x="3282951" y="1560513"/>
              <a:ext cx="38100" cy="25400"/>
            </a:xfrm>
            <a:custGeom>
              <a:avLst/>
              <a:gdLst>
                <a:gd name="T0" fmla="*/ 7 w 24"/>
                <a:gd name="T1" fmla="*/ 16 h 16"/>
                <a:gd name="T2" fmla="*/ 12 w 24"/>
                <a:gd name="T3" fmla="*/ 16 h 16"/>
                <a:gd name="T4" fmla="*/ 12 w 24"/>
                <a:gd name="T5" fmla="*/ 11 h 16"/>
                <a:gd name="T6" fmla="*/ 15 w 24"/>
                <a:gd name="T7" fmla="*/ 11 h 16"/>
                <a:gd name="T8" fmla="*/ 18 w 24"/>
                <a:gd name="T9" fmla="*/ 11 h 16"/>
                <a:gd name="T10" fmla="*/ 21 w 24"/>
                <a:gd name="T11" fmla="*/ 11 h 16"/>
                <a:gd name="T12" fmla="*/ 24 w 24"/>
                <a:gd name="T13" fmla="*/ 10 h 16"/>
                <a:gd name="T14" fmla="*/ 21 w 24"/>
                <a:gd name="T15" fmla="*/ 6 h 16"/>
                <a:gd name="T16" fmla="*/ 15 w 24"/>
                <a:gd name="T17" fmla="*/ 5 h 16"/>
                <a:gd name="T18" fmla="*/ 12 w 24"/>
                <a:gd name="T19" fmla="*/ 2 h 16"/>
                <a:gd name="T20" fmla="*/ 6 w 24"/>
                <a:gd name="T21" fmla="*/ 0 h 16"/>
                <a:gd name="T22" fmla="*/ 6 w 24"/>
                <a:gd name="T23" fmla="*/ 5 h 16"/>
                <a:gd name="T24" fmla="*/ 0 w 24"/>
                <a:gd name="T25" fmla="*/ 6 h 16"/>
                <a:gd name="T26" fmla="*/ 6 w 24"/>
                <a:gd name="T27" fmla="*/ 8 h 16"/>
                <a:gd name="T28" fmla="*/ 6 w 24"/>
                <a:gd name="T29" fmla="*/ 10 h 16"/>
                <a:gd name="T30" fmla="*/ 7 w 24"/>
                <a:gd name="T31" fmla="*/ 11 h 16"/>
                <a:gd name="T32" fmla="*/ 6 w 24"/>
                <a:gd name="T33" fmla="*/ 14 h 16"/>
                <a:gd name="T34" fmla="*/ 7 w 24"/>
                <a:gd name="T3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6">
                  <a:moveTo>
                    <a:pt x="7" y="16"/>
                  </a:moveTo>
                  <a:lnTo>
                    <a:pt x="12" y="16"/>
                  </a:lnTo>
                  <a:lnTo>
                    <a:pt x="12" y="11"/>
                  </a:lnTo>
                  <a:lnTo>
                    <a:pt x="15" y="11"/>
                  </a:lnTo>
                  <a:lnTo>
                    <a:pt x="18" y="11"/>
                  </a:lnTo>
                  <a:lnTo>
                    <a:pt x="21" y="11"/>
                  </a:lnTo>
                  <a:lnTo>
                    <a:pt x="24" y="10"/>
                  </a:lnTo>
                  <a:lnTo>
                    <a:pt x="21" y="6"/>
                  </a:lnTo>
                  <a:lnTo>
                    <a:pt x="15" y="5"/>
                  </a:lnTo>
                  <a:lnTo>
                    <a:pt x="12" y="2"/>
                  </a:lnTo>
                  <a:lnTo>
                    <a:pt x="6" y="0"/>
                  </a:lnTo>
                  <a:lnTo>
                    <a:pt x="6" y="5"/>
                  </a:lnTo>
                  <a:lnTo>
                    <a:pt x="0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7" y="11"/>
                  </a:lnTo>
                  <a:lnTo>
                    <a:pt x="6" y="14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7" name="Freeform 160"/>
            <p:cNvSpPr>
              <a:spLocks/>
            </p:cNvSpPr>
            <p:nvPr/>
          </p:nvSpPr>
          <p:spPr bwMode="auto">
            <a:xfrm>
              <a:off x="3306763" y="1662113"/>
              <a:ext cx="9525" cy="17463"/>
            </a:xfrm>
            <a:custGeom>
              <a:avLst/>
              <a:gdLst>
                <a:gd name="T0" fmla="*/ 0 w 6"/>
                <a:gd name="T1" fmla="*/ 11 h 11"/>
                <a:gd name="T2" fmla="*/ 3 w 6"/>
                <a:gd name="T3" fmla="*/ 8 h 11"/>
                <a:gd name="T4" fmla="*/ 3 w 6"/>
                <a:gd name="T5" fmla="*/ 6 h 11"/>
                <a:gd name="T6" fmla="*/ 6 w 6"/>
                <a:gd name="T7" fmla="*/ 3 h 11"/>
                <a:gd name="T8" fmla="*/ 2 w 6"/>
                <a:gd name="T9" fmla="*/ 0 h 11"/>
                <a:gd name="T10" fmla="*/ 0 w 6"/>
                <a:gd name="T11" fmla="*/ 0 h 11"/>
                <a:gd name="T12" fmla="*/ 2 w 6"/>
                <a:gd name="T13" fmla="*/ 5 h 11"/>
                <a:gd name="T14" fmla="*/ 0 w 6"/>
                <a:gd name="T15" fmla="*/ 6 h 11"/>
                <a:gd name="T16" fmla="*/ 0 w 6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0" y="11"/>
                  </a:moveTo>
                  <a:lnTo>
                    <a:pt x="3" y="8"/>
                  </a:lnTo>
                  <a:lnTo>
                    <a:pt x="3" y="6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8" name="Freeform 161"/>
            <p:cNvSpPr>
              <a:spLocks/>
            </p:cNvSpPr>
            <p:nvPr/>
          </p:nvSpPr>
          <p:spPr bwMode="auto">
            <a:xfrm>
              <a:off x="2185988" y="1546226"/>
              <a:ext cx="4763" cy="9525"/>
            </a:xfrm>
            <a:custGeom>
              <a:avLst/>
              <a:gdLst>
                <a:gd name="T0" fmla="*/ 1 w 3"/>
                <a:gd name="T1" fmla="*/ 3 h 6"/>
                <a:gd name="T2" fmla="*/ 3 w 3"/>
                <a:gd name="T3" fmla="*/ 6 h 6"/>
                <a:gd name="T4" fmla="*/ 1 w 3"/>
                <a:gd name="T5" fmla="*/ 0 h 6"/>
                <a:gd name="T6" fmla="*/ 0 w 3"/>
                <a:gd name="T7" fmla="*/ 2 h 6"/>
                <a:gd name="T8" fmla="*/ 1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1" y="3"/>
                  </a:moveTo>
                  <a:lnTo>
                    <a:pt x="3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9" name="Freeform 162"/>
            <p:cNvSpPr>
              <a:spLocks/>
            </p:cNvSpPr>
            <p:nvPr/>
          </p:nvSpPr>
          <p:spPr bwMode="auto">
            <a:xfrm>
              <a:off x="2909888" y="1544638"/>
              <a:ext cx="9525" cy="14288"/>
            </a:xfrm>
            <a:custGeom>
              <a:avLst/>
              <a:gdLst>
                <a:gd name="T0" fmla="*/ 0 w 6"/>
                <a:gd name="T1" fmla="*/ 3 h 9"/>
                <a:gd name="T2" fmla="*/ 5 w 6"/>
                <a:gd name="T3" fmla="*/ 4 h 9"/>
                <a:gd name="T4" fmla="*/ 2 w 6"/>
                <a:gd name="T5" fmla="*/ 9 h 9"/>
                <a:gd name="T6" fmla="*/ 5 w 6"/>
                <a:gd name="T7" fmla="*/ 9 h 9"/>
                <a:gd name="T8" fmla="*/ 6 w 6"/>
                <a:gd name="T9" fmla="*/ 7 h 9"/>
                <a:gd name="T10" fmla="*/ 6 w 6"/>
                <a:gd name="T11" fmla="*/ 1 h 9"/>
                <a:gd name="T12" fmla="*/ 5 w 6"/>
                <a:gd name="T13" fmla="*/ 0 h 9"/>
                <a:gd name="T14" fmla="*/ 2 w 6"/>
                <a:gd name="T15" fmla="*/ 0 h 9"/>
                <a:gd name="T16" fmla="*/ 0 w 6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9">
                  <a:moveTo>
                    <a:pt x="0" y="3"/>
                  </a:moveTo>
                  <a:lnTo>
                    <a:pt x="5" y="4"/>
                  </a:lnTo>
                  <a:lnTo>
                    <a:pt x="2" y="9"/>
                  </a:lnTo>
                  <a:lnTo>
                    <a:pt x="5" y="9"/>
                  </a:lnTo>
                  <a:lnTo>
                    <a:pt x="6" y="7"/>
                  </a:lnTo>
                  <a:lnTo>
                    <a:pt x="6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0" name="Freeform 163"/>
            <p:cNvSpPr>
              <a:spLocks/>
            </p:cNvSpPr>
            <p:nvPr/>
          </p:nvSpPr>
          <p:spPr bwMode="auto">
            <a:xfrm>
              <a:off x="2990851" y="1681163"/>
              <a:ext cx="17463" cy="7938"/>
            </a:xfrm>
            <a:custGeom>
              <a:avLst/>
              <a:gdLst>
                <a:gd name="T0" fmla="*/ 5 w 11"/>
                <a:gd name="T1" fmla="*/ 0 h 5"/>
                <a:gd name="T2" fmla="*/ 0 w 11"/>
                <a:gd name="T3" fmla="*/ 0 h 5"/>
                <a:gd name="T4" fmla="*/ 0 w 11"/>
                <a:gd name="T5" fmla="*/ 5 h 5"/>
                <a:gd name="T6" fmla="*/ 1 w 11"/>
                <a:gd name="T7" fmla="*/ 5 h 5"/>
                <a:gd name="T8" fmla="*/ 6 w 11"/>
                <a:gd name="T9" fmla="*/ 5 h 5"/>
                <a:gd name="T10" fmla="*/ 11 w 11"/>
                <a:gd name="T11" fmla="*/ 4 h 5"/>
                <a:gd name="T12" fmla="*/ 9 w 11"/>
                <a:gd name="T13" fmla="*/ 2 h 5"/>
                <a:gd name="T14" fmla="*/ 5 w 11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5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" y="5"/>
                  </a:lnTo>
                  <a:lnTo>
                    <a:pt x="6" y="5"/>
                  </a:lnTo>
                  <a:lnTo>
                    <a:pt x="11" y="4"/>
                  </a:lnTo>
                  <a:lnTo>
                    <a:pt x="9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1" name="Freeform 164"/>
            <p:cNvSpPr>
              <a:spLocks/>
            </p:cNvSpPr>
            <p:nvPr/>
          </p:nvSpPr>
          <p:spPr bwMode="auto">
            <a:xfrm>
              <a:off x="2633663" y="1544638"/>
              <a:ext cx="106363" cy="41275"/>
            </a:xfrm>
            <a:custGeom>
              <a:avLst/>
              <a:gdLst>
                <a:gd name="T0" fmla="*/ 56 w 67"/>
                <a:gd name="T1" fmla="*/ 0 h 26"/>
                <a:gd name="T2" fmla="*/ 55 w 67"/>
                <a:gd name="T3" fmla="*/ 1 h 26"/>
                <a:gd name="T4" fmla="*/ 55 w 67"/>
                <a:gd name="T5" fmla="*/ 0 h 26"/>
                <a:gd name="T6" fmla="*/ 1 w 67"/>
                <a:gd name="T7" fmla="*/ 0 h 26"/>
                <a:gd name="T8" fmla="*/ 0 w 67"/>
                <a:gd name="T9" fmla="*/ 3 h 26"/>
                <a:gd name="T10" fmla="*/ 5 w 67"/>
                <a:gd name="T11" fmla="*/ 9 h 26"/>
                <a:gd name="T12" fmla="*/ 10 w 67"/>
                <a:gd name="T13" fmla="*/ 10 h 26"/>
                <a:gd name="T14" fmla="*/ 13 w 67"/>
                <a:gd name="T15" fmla="*/ 18 h 26"/>
                <a:gd name="T16" fmla="*/ 16 w 67"/>
                <a:gd name="T17" fmla="*/ 21 h 26"/>
                <a:gd name="T18" fmla="*/ 21 w 67"/>
                <a:gd name="T19" fmla="*/ 16 h 26"/>
                <a:gd name="T20" fmla="*/ 21 w 67"/>
                <a:gd name="T21" fmla="*/ 20 h 26"/>
                <a:gd name="T22" fmla="*/ 30 w 67"/>
                <a:gd name="T23" fmla="*/ 26 h 26"/>
                <a:gd name="T24" fmla="*/ 33 w 67"/>
                <a:gd name="T25" fmla="*/ 26 h 26"/>
                <a:gd name="T26" fmla="*/ 38 w 67"/>
                <a:gd name="T27" fmla="*/ 26 h 26"/>
                <a:gd name="T28" fmla="*/ 44 w 67"/>
                <a:gd name="T29" fmla="*/ 20 h 26"/>
                <a:gd name="T30" fmla="*/ 47 w 67"/>
                <a:gd name="T31" fmla="*/ 20 h 26"/>
                <a:gd name="T32" fmla="*/ 55 w 67"/>
                <a:gd name="T33" fmla="*/ 15 h 26"/>
                <a:gd name="T34" fmla="*/ 56 w 67"/>
                <a:gd name="T35" fmla="*/ 18 h 26"/>
                <a:gd name="T36" fmla="*/ 59 w 67"/>
                <a:gd name="T37" fmla="*/ 16 h 26"/>
                <a:gd name="T38" fmla="*/ 66 w 67"/>
                <a:gd name="T39" fmla="*/ 12 h 26"/>
                <a:gd name="T40" fmla="*/ 67 w 67"/>
                <a:gd name="T41" fmla="*/ 9 h 26"/>
                <a:gd name="T42" fmla="*/ 60 w 67"/>
                <a:gd name="T43" fmla="*/ 10 h 26"/>
                <a:gd name="T44" fmla="*/ 59 w 67"/>
                <a:gd name="T45" fmla="*/ 7 h 26"/>
                <a:gd name="T46" fmla="*/ 62 w 67"/>
                <a:gd name="T47" fmla="*/ 0 h 26"/>
                <a:gd name="T48" fmla="*/ 56 w 67"/>
                <a:gd name="T4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7" h="26">
                  <a:moveTo>
                    <a:pt x="56" y="0"/>
                  </a:moveTo>
                  <a:lnTo>
                    <a:pt x="55" y="1"/>
                  </a:lnTo>
                  <a:lnTo>
                    <a:pt x="55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5" y="9"/>
                  </a:lnTo>
                  <a:lnTo>
                    <a:pt x="10" y="10"/>
                  </a:lnTo>
                  <a:lnTo>
                    <a:pt x="13" y="18"/>
                  </a:lnTo>
                  <a:lnTo>
                    <a:pt x="16" y="21"/>
                  </a:lnTo>
                  <a:lnTo>
                    <a:pt x="21" y="16"/>
                  </a:lnTo>
                  <a:lnTo>
                    <a:pt x="21" y="20"/>
                  </a:lnTo>
                  <a:lnTo>
                    <a:pt x="30" y="26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55" y="15"/>
                  </a:lnTo>
                  <a:lnTo>
                    <a:pt x="56" y="18"/>
                  </a:lnTo>
                  <a:lnTo>
                    <a:pt x="59" y="16"/>
                  </a:lnTo>
                  <a:lnTo>
                    <a:pt x="66" y="12"/>
                  </a:lnTo>
                  <a:lnTo>
                    <a:pt x="67" y="9"/>
                  </a:lnTo>
                  <a:lnTo>
                    <a:pt x="60" y="10"/>
                  </a:lnTo>
                  <a:lnTo>
                    <a:pt x="59" y="7"/>
                  </a:lnTo>
                  <a:lnTo>
                    <a:pt x="62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2" name="Freeform 165"/>
            <p:cNvSpPr>
              <a:spLocks/>
            </p:cNvSpPr>
            <p:nvPr/>
          </p:nvSpPr>
          <p:spPr bwMode="auto">
            <a:xfrm>
              <a:off x="2205038" y="1570038"/>
              <a:ext cx="17463" cy="15875"/>
            </a:xfrm>
            <a:custGeom>
              <a:avLst/>
              <a:gdLst>
                <a:gd name="T0" fmla="*/ 3 w 11"/>
                <a:gd name="T1" fmla="*/ 2 h 10"/>
                <a:gd name="T2" fmla="*/ 0 w 11"/>
                <a:gd name="T3" fmla="*/ 2 h 10"/>
                <a:gd name="T4" fmla="*/ 3 w 11"/>
                <a:gd name="T5" fmla="*/ 10 h 10"/>
                <a:gd name="T6" fmla="*/ 5 w 11"/>
                <a:gd name="T7" fmla="*/ 10 h 10"/>
                <a:gd name="T8" fmla="*/ 8 w 11"/>
                <a:gd name="T9" fmla="*/ 5 h 10"/>
                <a:gd name="T10" fmla="*/ 8 w 11"/>
                <a:gd name="T11" fmla="*/ 4 h 10"/>
                <a:gd name="T12" fmla="*/ 11 w 11"/>
                <a:gd name="T13" fmla="*/ 0 h 10"/>
                <a:gd name="T14" fmla="*/ 6 w 11"/>
                <a:gd name="T15" fmla="*/ 0 h 10"/>
                <a:gd name="T16" fmla="*/ 5 w 11"/>
                <a:gd name="T17" fmla="*/ 4 h 10"/>
                <a:gd name="T18" fmla="*/ 3 w 11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3" y="2"/>
                  </a:moveTo>
                  <a:lnTo>
                    <a:pt x="0" y="2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8" y="5"/>
                  </a:lnTo>
                  <a:lnTo>
                    <a:pt x="8" y="4"/>
                  </a:lnTo>
                  <a:lnTo>
                    <a:pt x="11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3" name="Freeform 166"/>
            <p:cNvSpPr>
              <a:spLocks/>
            </p:cNvSpPr>
            <p:nvPr/>
          </p:nvSpPr>
          <p:spPr bwMode="auto">
            <a:xfrm>
              <a:off x="2566988" y="1593851"/>
              <a:ext cx="7938" cy="9525"/>
            </a:xfrm>
            <a:custGeom>
              <a:avLst/>
              <a:gdLst>
                <a:gd name="T0" fmla="*/ 2 w 5"/>
                <a:gd name="T1" fmla="*/ 6 h 6"/>
                <a:gd name="T2" fmla="*/ 5 w 5"/>
                <a:gd name="T3" fmla="*/ 3 h 6"/>
                <a:gd name="T4" fmla="*/ 5 w 5"/>
                <a:gd name="T5" fmla="*/ 0 h 6"/>
                <a:gd name="T6" fmla="*/ 0 w 5"/>
                <a:gd name="T7" fmla="*/ 0 h 6"/>
                <a:gd name="T8" fmla="*/ 0 w 5"/>
                <a:gd name="T9" fmla="*/ 3 h 6"/>
                <a:gd name="T10" fmla="*/ 2 w 5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lnTo>
                    <a:pt x="5" y="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4" name="Freeform 167"/>
            <p:cNvSpPr>
              <a:spLocks/>
            </p:cNvSpPr>
            <p:nvPr/>
          </p:nvSpPr>
          <p:spPr bwMode="auto">
            <a:xfrm>
              <a:off x="3257551" y="1544638"/>
              <a:ext cx="25400" cy="19050"/>
            </a:xfrm>
            <a:custGeom>
              <a:avLst/>
              <a:gdLst>
                <a:gd name="T0" fmla="*/ 4 w 16"/>
                <a:gd name="T1" fmla="*/ 3 h 12"/>
                <a:gd name="T2" fmla="*/ 8 w 16"/>
                <a:gd name="T3" fmla="*/ 9 h 12"/>
                <a:gd name="T4" fmla="*/ 10 w 16"/>
                <a:gd name="T5" fmla="*/ 12 h 12"/>
                <a:gd name="T6" fmla="*/ 16 w 16"/>
                <a:gd name="T7" fmla="*/ 12 h 12"/>
                <a:gd name="T8" fmla="*/ 14 w 16"/>
                <a:gd name="T9" fmla="*/ 7 h 12"/>
                <a:gd name="T10" fmla="*/ 11 w 16"/>
                <a:gd name="T11" fmla="*/ 0 h 12"/>
                <a:gd name="T12" fmla="*/ 0 w 16"/>
                <a:gd name="T13" fmla="*/ 0 h 12"/>
                <a:gd name="T14" fmla="*/ 3 w 16"/>
                <a:gd name="T15" fmla="*/ 3 h 12"/>
                <a:gd name="T16" fmla="*/ 4 w 16"/>
                <a:gd name="T1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2">
                  <a:moveTo>
                    <a:pt x="4" y="3"/>
                  </a:moveTo>
                  <a:lnTo>
                    <a:pt x="8" y="9"/>
                  </a:lnTo>
                  <a:lnTo>
                    <a:pt x="10" y="12"/>
                  </a:lnTo>
                  <a:lnTo>
                    <a:pt x="16" y="12"/>
                  </a:lnTo>
                  <a:lnTo>
                    <a:pt x="14" y="7"/>
                  </a:lnTo>
                  <a:lnTo>
                    <a:pt x="11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5" name="Freeform 168"/>
            <p:cNvSpPr>
              <a:spLocks/>
            </p:cNvSpPr>
            <p:nvPr/>
          </p:nvSpPr>
          <p:spPr bwMode="auto">
            <a:xfrm>
              <a:off x="3294063" y="1687513"/>
              <a:ext cx="12700" cy="14288"/>
            </a:xfrm>
            <a:custGeom>
              <a:avLst/>
              <a:gdLst>
                <a:gd name="T0" fmla="*/ 5 w 8"/>
                <a:gd name="T1" fmla="*/ 7 h 9"/>
                <a:gd name="T2" fmla="*/ 5 w 8"/>
                <a:gd name="T3" fmla="*/ 3 h 9"/>
                <a:gd name="T4" fmla="*/ 8 w 8"/>
                <a:gd name="T5" fmla="*/ 3 h 9"/>
                <a:gd name="T6" fmla="*/ 8 w 8"/>
                <a:gd name="T7" fmla="*/ 0 h 9"/>
                <a:gd name="T8" fmla="*/ 5 w 8"/>
                <a:gd name="T9" fmla="*/ 0 h 9"/>
                <a:gd name="T10" fmla="*/ 2 w 8"/>
                <a:gd name="T11" fmla="*/ 0 h 9"/>
                <a:gd name="T12" fmla="*/ 0 w 8"/>
                <a:gd name="T13" fmla="*/ 3 h 9"/>
                <a:gd name="T14" fmla="*/ 2 w 8"/>
                <a:gd name="T15" fmla="*/ 9 h 9"/>
                <a:gd name="T16" fmla="*/ 5 w 8"/>
                <a:gd name="T1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5" y="7"/>
                  </a:move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9"/>
                  </a:lnTo>
                  <a:lnTo>
                    <a:pt x="5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6" name="Freeform 169"/>
            <p:cNvSpPr>
              <a:spLocks/>
            </p:cNvSpPr>
            <p:nvPr/>
          </p:nvSpPr>
          <p:spPr bwMode="auto">
            <a:xfrm>
              <a:off x="3219451" y="1577976"/>
              <a:ext cx="4763" cy="7938"/>
            </a:xfrm>
            <a:custGeom>
              <a:avLst/>
              <a:gdLst>
                <a:gd name="T0" fmla="*/ 3 w 3"/>
                <a:gd name="T1" fmla="*/ 3 h 5"/>
                <a:gd name="T2" fmla="*/ 0 w 3"/>
                <a:gd name="T3" fmla="*/ 0 h 5"/>
                <a:gd name="T4" fmla="*/ 3 w 3"/>
                <a:gd name="T5" fmla="*/ 5 h 5"/>
                <a:gd name="T6" fmla="*/ 3 w 3"/>
                <a:gd name="T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3" y="3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7" name="Freeform 170"/>
            <p:cNvSpPr>
              <a:spLocks/>
            </p:cNvSpPr>
            <p:nvPr/>
          </p:nvSpPr>
          <p:spPr bwMode="auto">
            <a:xfrm>
              <a:off x="2922588" y="1544638"/>
              <a:ext cx="9525" cy="6350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0 h 4"/>
                <a:gd name="T4" fmla="*/ 0 w 6"/>
                <a:gd name="T5" fmla="*/ 4 h 4"/>
                <a:gd name="T6" fmla="*/ 4 w 6"/>
                <a:gd name="T7" fmla="*/ 3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8" name="Freeform 171"/>
            <p:cNvSpPr>
              <a:spLocks/>
            </p:cNvSpPr>
            <p:nvPr/>
          </p:nvSpPr>
          <p:spPr bwMode="auto">
            <a:xfrm>
              <a:off x="3200401" y="1550988"/>
              <a:ext cx="19050" cy="9525"/>
            </a:xfrm>
            <a:custGeom>
              <a:avLst/>
              <a:gdLst>
                <a:gd name="T0" fmla="*/ 6 w 12"/>
                <a:gd name="T1" fmla="*/ 5 h 6"/>
                <a:gd name="T2" fmla="*/ 8 w 12"/>
                <a:gd name="T3" fmla="*/ 6 h 6"/>
                <a:gd name="T4" fmla="*/ 12 w 12"/>
                <a:gd name="T5" fmla="*/ 5 h 6"/>
                <a:gd name="T6" fmla="*/ 12 w 12"/>
                <a:gd name="T7" fmla="*/ 3 h 6"/>
                <a:gd name="T8" fmla="*/ 6 w 12"/>
                <a:gd name="T9" fmla="*/ 0 h 6"/>
                <a:gd name="T10" fmla="*/ 2 w 12"/>
                <a:gd name="T11" fmla="*/ 0 h 6"/>
                <a:gd name="T12" fmla="*/ 0 w 12"/>
                <a:gd name="T13" fmla="*/ 3 h 6"/>
                <a:gd name="T14" fmla="*/ 2 w 12"/>
                <a:gd name="T15" fmla="*/ 3 h 6"/>
                <a:gd name="T16" fmla="*/ 6 w 12"/>
                <a:gd name="T1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6">
                  <a:moveTo>
                    <a:pt x="6" y="5"/>
                  </a:moveTo>
                  <a:lnTo>
                    <a:pt x="8" y="6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9" name="Freeform 172"/>
            <p:cNvSpPr>
              <a:spLocks/>
            </p:cNvSpPr>
            <p:nvPr/>
          </p:nvSpPr>
          <p:spPr bwMode="auto">
            <a:xfrm>
              <a:off x="3433763" y="1724026"/>
              <a:ext cx="42863" cy="30163"/>
            </a:xfrm>
            <a:custGeom>
              <a:avLst/>
              <a:gdLst>
                <a:gd name="T0" fmla="*/ 6 w 27"/>
                <a:gd name="T1" fmla="*/ 3 h 19"/>
                <a:gd name="T2" fmla="*/ 4 w 27"/>
                <a:gd name="T3" fmla="*/ 3 h 19"/>
                <a:gd name="T4" fmla="*/ 0 w 27"/>
                <a:gd name="T5" fmla="*/ 3 h 19"/>
                <a:gd name="T6" fmla="*/ 0 w 27"/>
                <a:gd name="T7" fmla="*/ 5 h 19"/>
                <a:gd name="T8" fmla="*/ 0 w 27"/>
                <a:gd name="T9" fmla="*/ 10 h 19"/>
                <a:gd name="T10" fmla="*/ 2 w 27"/>
                <a:gd name="T11" fmla="*/ 16 h 19"/>
                <a:gd name="T12" fmla="*/ 4 w 27"/>
                <a:gd name="T13" fmla="*/ 17 h 19"/>
                <a:gd name="T14" fmla="*/ 7 w 27"/>
                <a:gd name="T15" fmla="*/ 16 h 19"/>
                <a:gd name="T16" fmla="*/ 12 w 27"/>
                <a:gd name="T17" fmla="*/ 17 h 19"/>
                <a:gd name="T18" fmla="*/ 15 w 27"/>
                <a:gd name="T19" fmla="*/ 17 h 19"/>
                <a:gd name="T20" fmla="*/ 19 w 27"/>
                <a:gd name="T21" fmla="*/ 17 h 19"/>
                <a:gd name="T22" fmla="*/ 24 w 27"/>
                <a:gd name="T23" fmla="*/ 19 h 19"/>
                <a:gd name="T24" fmla="*/ 27 w 27"/>
                <a:gd name="T25" fmla="*/ 16 h 19"/>
                <a:gd name="T26" fmla="*/ 24 w 27"/>
                <a:gd name="T27" fmla="*/ 12 h 19"/>
                <a:gd name="T28" fmla="*/ 24 w 27"/>
                <a:gd name="T29" fmla="*/ 9 h 19"/>
                <a:gd name="T30" fmla="*/ 19 w 27"/>
                <a:gd name="T31" fmla="*/ 9 h 19"/>
                <a:gd name="T32" fmla="*/ 18 w 27"/>
                <a:gd name="T33" fmla="*/ 5 h 19"/>
                <a:gd name="T34" fmla="*/ 13 w 27"/>
                <a:gd name="T35" fmla="*/ 3 h 19"/>
                <a:gd name="T36" fmla="*/ 12 w 27"/>
                <a:gd name="T37" fmla="*/ 5 h 19"/>
                <a:gd name="T38" fmla="*/ 12 w 27"/>
                <a:gd name="T39" fmla="*/ 3 h 19"/>
                <a:gd name="T40" fmla="*/ 12 w 27"/>
                <a:gd name="T41" fmla="*/ 0 h 19"/>
                <a:gd name="T42" fmla="*/ 9 w 27"/>
                <a:gd name="T43" fmla="*/ 1 h 19"/>
                <a:gd name="T44" fmla="*/ 6 w 27"/>
                <a:gd name="T4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" h="19">
                  <a:moveTo>
                    <a:pt x="6" y="3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4" y="17"/>
                  </a:lnTo>
                  <a:lnTo>
                    <a:pt x="7" y="16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9" y="17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24" y="12"/>
                  </a:lnTo>
                  <a:lnTo>
                    <a:pt x="24" y="9"/>
                  </a:lnTo>
                  <a:lnTo>
                    <a:pt x="19" y="9"/>
                  </a:lnTo>
                  <a:lnTo>
                    <a:pt x="18" y="5"/>
                  </a:lnTo>
                  <a:lnTo>
                    <a:pt x="13" y="3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0" name="Freeform 173"/>
            <p:cNvSpPr>
              <a:spLocks/>
            </p:cNvSpPr>
            <p:nvPr/>
          </p:nvSpPr>
          <p:spPr bwMode="auto">
            <a:xfrm>
              <a:off x="3448051" y="1681163"/>
              <a:ext cx="9525" cy="17463"/>
            </a:xfrm>
            <a:custGeom>
              <a:avLst/>
              <a:gdLst>
                <a:gd name="T0" fmla="*/ 4 w 6"/>
                <a:gd name="T1" fmla="*/ 11 h 11"/>
                <a:gd name="T2" fmla="*/ 6 w 6"/>
                <a:gd name="T3" fmla="*/ 7 h 11"/>
                <a:gd name="T4" fmla="*/ 4 w 6"/>
                <a:gd name="T5" fmla="*/ 5 h 11"/>
                <a:gd name="T6" fmla="*/ 3 w 6"/>
                <a:gd name="T7" fmla="*/ 0 h 11"/>
                <a:gd name="T8" fmla="*/ 0 w 6"/>
                <a:gd name="T9" fmla="*/ 5 h 11"/>
                <a:gd name="T10" fmla="*/ 3 w 6"/>
                <a:gd name="T11" fmla="*/ 10 h 11"/>
                <a:gd name="T12" fmla="*/ 4 w 6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1">
                  <a:moveTo>
                    <a:pt x="4" y="11"/>
                  </a:moveTo>
                  <a:lnTo>
                    <a:pt x="6" y="7"/>
                  </a:lnTo>
                  <a:lnTo>
                    <a:pt x="4" y="5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10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1" name="Freeform 174"/>
            <p:cNvSpPr>
              <a:spLocks/>
            </p:cNvSpPr>
            <p:nvPr/>
          </p:nvSpPr>
          <p:spPr bwMode="auto">
            <a:xfrm>
              <a:off x="2900363" y="1544638"/>
              <a:ext cx="6350" cy="4763"/>
            </a:xfrm>
            <a:custGeom>
              <a:avLst/>
              <a:gdLst>
                <a:gd name="T0" fmla="*/ 3 w 4"/>
                <a:gd name="T1" fmla="*/ 1 h 3"/>
                <a:gd name="T2" fmla="*/ 4 w 4"/>
                <a:gd name="T3" fmla="*/ 0 h 3"/>
                <a:gd name="T4" fmla="*/ 0 w 4"/>
                <a:gd name="T5" fmla="*/ 0 h 3"/>
                <a:gd name="T6" fmla="*/ 0 w 4"/>
                <a:gd name="T7" fmla="*/ 3 h 3"/>
                <a:gd name="T8" fmla="*/ 3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3" y="1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2" name="Freeform 175"/>
            <p:cNvSpPr>
              <a:spLocks/>
            </p:cNvSpPr>
            <p:nvPr/>
          </p:nvSpPr>
          <p:spPr bwMode="auto">
            <a:xfrm>
              <a:off x="3330576" y="1697038"/>
              <a:ext cx="93663" cy="84138"/>
            </a:xfrm>
            <a:custGeom>
              <a:avLst/>
              <a:gdLst>
                <a:gd name="T0" fmla="*/ 2 w 59"/>
                <a:gd name="T1" fmla="*/ 51 h 53"/>
                <a:gd name="T2" fmla="*/ 4 w 59"/>
                <a:gd name="T3" fmla="*/ 51 h 53"/>
                <a:gd name="T4" fmla="*/ 10 w 59"/>
                <a:gd name="T5" fmla="*/ 51 h 53"/>
                <a:gd name="T6" fmla="*/ 17 w 59"/>
                <a:gd name="T7" fmla="*/ 51 h 53"/>
                <a:gd name="T8" fmla="*/ 19 w 59"/>
                <a:gd name="T9" fmla="*/ 53 h 53"/>
                <a:gd name="T10" fmla="*/ 27 w 59"/>
                <a:gd name="T11" fmla="*/ 50 h 53"/>
                <a:gd name="T12" fmla="*/ 31 w 59"/>
                <a:gd name="T13" fmla="*/ 50 h 53"/>
                <a:gd name="T14" fmla="*/ 31 w 59"/>
                <a:gd name="T15" fmla="*/ 48 h 53"/>
                <a:gd name="T16" fmla="*/ 38 w 59"/>
                <a:gd name="T17" fmla="*/ 45 h 53"/>
                <a:gd name="T18" fmla="*/ 43 w 59"/>
                <a:gd name="T19" fmla="*/ 44 h 53"/>
                <a:gd name="T20" fmla="*/ 46 w 59"/>
                <a:gd name="T21" fmla="*/ 40 h 53"/>
                <a:gd name="T22" fmla="*/ 52 w 59"/>
                <a:gd name="T23" fmla="*/ 31 h 53"/>
                <a:gd name="T24" fmla="*/ 54 w 59"/>
                <a:gd name="T25" fmla="*/ 26 h 53"/>
                <a:gd name="T26" fmla="*/ 55 w 59"/>
                <a:gd name="T27" fmla="*/ 20 h 53"/>
                <a:gd name="T28" fmla="*/ 59 w 59"/>
                <a:gd name="T29" fmla="*/ 18 h 53"/>
                <a:gd name="T30" fmla="*/ 59 w 59"/>
                <a:gd name="T31" fmla="*/ 14 h 53"/>
                <a:gd name="T32" fmla="*/ 57 w 59"/>
                <a:gd name="T33" fmla="*/ 9 h 53"/>
                <a:gd name="T34" fmla="*/ 54 w 59"/>
                <a:gd name="T35" fmla="*/ 5 h 53"/>
                <a:gd name="T36" fmla="*/ 52 w 59"/>
                <a:gd name="T37" fmla="*/ 5 h 53"/>
                <a:gd name="T38" fmla="*/ 48 w 59"/>
                <a:gd name="T39" fmla="*/ 1 h 53"/>
                <a:gd name="T40" fmla="*/ 43 w 59"/>
                <a:gd name="T41" fmla="*/ 0 h 53"/>
                <a:gd name="T42" fmla="*/ 38 w 59"/>
                <a:gd name="T43" fmla="*/ 3 h 53"/>
                <a:gd name="T44" fmla="*/ 34 w 59"/>
                <a:gd name="T45" fmla="*/ 1 h 53"/>
                <a:gd name="T46" fmla="*/ 32 w 59"/>
                <a:gd name="T47" fmla="*/ 3 h 53"/>
                <a:gd name="T48" fmla="*/ 28 w 59"/>
                <a:gd name="T49" fmla="*/ 3 h 53"/>
                <a:gd name="T50" fmla="*/ 25 w 59"/>
                <a:gd name="T51" fmla="*/ 6 h 53"/>
                <a:gd name="T52" fmla="*/ 16 w 59"/>
                <a:gd name="T53" fmla="*/ 17 h 53"/>
                <a:gd name="T54" fmla="*/ 12 w 59"/>
                <a:gd name="T55" fmla="*/ 20 h 53"/>
                <a:gd name="T56" fmla="*/ 10 w 59"/>
                <a:gd name="T57" fmla="*/ 26 h 53"/>
                <a:gd name="T58" fmla="*/ 2 w 59"/>
                <a:gd name="T59" fmla="*/ 31 h 53"/>
                <a:gd name="T60" fmla="*/ 2 w 59"/>
                <a:gd name="T61" fmla="*/ 36 h 53"/>
                <a:gd name="T62" fmla="*/ 0 w 59"/>
                <a:gd name="T63" fmla="*/ 42 h 53"/>
                <a:gd name="T64" fmla="*/ 2 w 59"/>
                <a:gd name="T65" fmla="*/ 44 h 53"/>
                <a:gd name="T66" fmla="*/ 0 w 59"/>
                <a:gd name="T67" fmla="*/ 50 h 53"/>
                <a:gd name="T68" fmla="*/ 2 w 59"/>
                <a:gd name="T69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3">
                  <a:moveTo>
                    <a:pt x="2" y="51"/>
                  </a:moveTo>
                  <a:lnTo>
                    <a:pt x="4" y="51"/>
                  </a:lnTo>
                  <a:lnTo>
                    <a:pt x="10" y="51"/>
                  </a:lnTo>
                  <a:lnTo>
                    <a:pt x="17" y="51"/>
                  </a:lnTo>
                  <a:lnTo>
                    <a:pt x="19" y="53"/>
                  </a:lnTo>
                  <a:lnTo>
                    <a:pt x="27" y="50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8" y="45"/>
                  </a:lnTo>
                  <a:lnTo>
                    <a:pt x="43" y="44"/>
                  </a:lnTo>
                  <a:lnTo>
                    <a:pt x="46" y="40"/>
                  </a:lnTo>
                  <a:lnTo>
                    <a:pt x="52" y="31"/>
                  </a:lnTo>
                  <a:lnTo>
                    <a:pt x="54" y="26"/>
                  </a:lnTo>
                  <a:lnTo>
                    <a:pt x="55" y="20"/>
                  </a:lnTo>
                  <a:lnTo>
                    <a:pt x="59" y="18"/>
                  </a:lnTo>
                  <a:lnTo>
                    <a:pt x="59" y="14"/>
                  </a:lnTo>
                  <a:lnTo>
                    <a:pt x="57" y="9"/>
                  </a:lnTo>
                  <a:lnTo>
                    <a:pt x="54" y="5"/>
                  </a:lnTo>
                  <a:lnTo>
                    <a:pt x="52" y="5"/>
                  </a:lnTo>
                  <a:lnTo>
                    <a:pt x="48" y="1"/>
                  </a:lnTo>
                  <a:lnTo>
                    <a:pt x="43" y="0"/>
                  </a:lnTo>
                  <a:lnTo>
                    <a:pt x="38" y="3"/>
                  </a:lnTo>
                  <a:lnTo>
                    <a:pt x="34" y="1"/>
                  </a:lnTo>
                  <a:lnTo>
                    <a:pt x="32" y="3"/>
                  </a:lnTo>
                  <a:lnTo>
                    <a:pt x="28" y="3"/>
                  </a:lnTo>
                  <a:lnTo>
                    <a:pt x="25" y="6"/>
                  </a:lnTo>
                  <a:lnTo>
                    <a:pt x="16" y="17"/>
                  </a:lnTo>
                  <a:lnTo>
                    <a:pt x="12" y="20"/>
                  </a:lnTo>
                  <a:lnTo>
                    <a:pt x="10" y="26"/>
                  </a:lnTo>
                  <a:lnTo>
                    <a:pt x="2" y="31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2" y="44"/>
                  </a:lnTo>
                  <a:lnTo>
                    <a:pt x="0" y="50"/>
                  </a:lnTo>
                  <a:lnTo>
                    <a:pt x="2" y="5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3" name="Freeform 176"/>
            <p:cNvSpPr>
              <a:spLocks/>
            </p:cNvSpPr>
            <p:nvPr/>
          </p:nvSpPr>
          <p:spPr bwMode="auto">
            <a:xfrm>
              <a:off x="3384551" y="1617663"/>
              <a:ext cx="23813" cy="22225"/>
            </a:xfrm>
            <a:custGeom>
              <a:avLst/>
              <a:gdLst>
                <a:gd name="T0" fmla="*/ 12 w 15"/>
                <a:gd name="T1" fmla="*/ 11 h 14"/>
                <a:gd name="T2" fmla="*/ 15 w 15"/>
                <a:gd name="T3" fmla="*/ 7 h 14"/>
                <a:gd name="T4" fmla="*/ 14 w 15"/>
                <a:gd name="T5" fmla="*/ 2 h 14"/>
                <a:gd name="T6" fmla="*/ 9 w 15"/>
                <a:gd name="T7" fmla="*/ 0 h 14"/>
                <a:gd name="T8" fmla="*/ 4 w 15"/>
                <a:gd name="T9" fmla="*/ 0 h 14"/>
                <a:gd name="T10" fmla="*/ 3 w 15"/>
                <a:gd name="T11" fmla="*/ 5 h 14"/>
                <a:gd name="T12" fmla="*/ 0 w 15"/>
                <a:gd name="T13" fmla="*/ 7 h 14"/>
                <a:gd name="T14" fmla="*/ 3 w 15"/>
                <a:gd name="T15" fmla="*/ 14 h 14"/>
                <a:gd name="T16" fmla="*/ 6 w 15"/>
                <a:gd name="T17" fmla="*/ 14 h 14"/>
                <a:gd name="T18" fmla="*/ 9 w 15"/>
                <a:gd name="T19" fmla="*/ 11 h 14"/>
                <a:gd name="T20" fmla="*/ 12 w 15"/>
                <a:gd name="T21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14">
                  <a:moveTo>
                    <a:pt x="12" y="11"/>
                  </a:moveTo>
                  <a:lnTo>
                    <a:pt x="15" y="7"/>
                  </a:lnTo>
                  <a:lnTo>
                    <a:pt x="14" y="2"/>
                  </a:lnTo>
                  <a:lnTo>
                    <a:pt x="9" y="0"/>
                  </a:lnTo>
                  <a:lnTo>
                    <a:pt x="4" y="0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4"/>
                  </a:lnTo>
                  <a:lnTo>
                    <a:pt x="6" y="14"/>
                  </a:lnTo>
                  <a:lnTo>
                    <a:pt x="9" y="1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4" name="Freeform 177"/>
            <p:cNvSpPr>
              <a:spLocks/>
            </p:cNvSpPr>
            <p:nvPr/>
          </p:nvSpPr>
          <p:spPr bwMode="auto">
            <a:xfrm>
              <a:off x="3349626" y="1582738"/>
              <a:ext cx="25400" cy="15875"/>
            </a:xfrm>
            <a:custGeom>
              <a:avLst/>
              <a:gdLst>
                <a:gd name="T0" fmla="*/ 11 w 16"/>
                <a:gd name="T1" fmla="*/ 7 h 10"/>
                <a:gd name="T2" fmla="*/ 15 w 16"/>
                <a:gd name="T3" fmla="*/ 5 h 10"/>
                <a:gd name="T4" fmla="*/ 16 w 16"/>
                <a:gd name="T5" fmla="*/ 2 h 10"/>
                <a:gd name="T6" fmla="*/ 15 w 16"/>
                <a:gd name="T7" fmla="*/ 0 h 10"/>
                <a:gd name="T8" fmla="*/ 11 w 16"/>
                <a:gd name="T9" fmla="*/ 2 h 10"/>
                <a:gd name="T10" fmla="*/ 10 w 16"/>
                <a:gd name="T11" fmla="*/ 2 h 10"/>
                <a:gd name="T12" fmla="*/ 5 w 16"/>
                <a:gd name="T13" fmla="*/ 2 h 10"/>
                <a:gd name="T14" fmla="*/ 4 w 16"/>
                <a:gd name="T15" fmla="*/ 8 h 10"/>
                <a:gd name="T16" fmla="*/ 0 w 16"/>
                <a:gd name="T17" fmla="*/ 10 h 10"/>
                <a:gd name="T18" fmla="*/ 2 w 16"/>
                <a:gd name="T19" fmla="*/ 10 h 10"/>
                <a:gd name="T20" fmla="*/ 5 w 16"/>
                <a:gd name="T21" fmla="*/ 10 h 10"/>
                <a:gd name="T22" fmla="*/ 11 w 16"/>
                <a:gd name="T2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0">
                  <a:moveTo>
                    <a:pt x="11" y="7"/>
                  </a:moveTo>
                  <a:lnTo>
                    <a:pt x="15" y="5"/>
                  </a:lnTo>
                  <a:lnTo>
                    <a:pt x="16" y="2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5" y="2"/>
                  </a:lnTo>
                  <a:lnTo>
                    <a:pt x="4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5" name="Freeform 178"/>
            <p:cNvSpPr>
              <a:spLocks/>
            </p:cNvSpPr>
            <p:nvPr/>
          </p:nvSpPr>
          <p:spPr bwMode="auto">
            <a:xfrm>
              <a:off x="2624138" y="1544638"/>
              <a:ext cx="3175" cy="158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6" name="Freeform 179"/>
            <p:cNvSpPr>
              <a:spLocks/>
            </p:cNvSpPr>
            <p:nvPr/>
          </p:nvSpPr>
          <p:spPr bwMode="auto">
            <a:xfrm>
              <a:off x="3287713" y="1544638"/>
              <a:ext cx="76200" cy="19050"/>
            </a:xfrm>
            <a:custGeom>
              <a:avLst/>
              <a:gdLst>
                <a:gd name="T0" fmla="*/ 9 w 48"/>
                <a:gd name="T1" fmla="*/ 3 h 12"/>
                <a:gd name="T2" fmla="*/ 15 w 48"/>
                <a:gd name="T3" fmla="*/ 3 h 12"/>
                <a:gd name="T4" fmla="*/ 15 w 48"/>
                <a:gd name="T5" fmla="*/ 7 h 12"/>
                <a:gd name="T6" fmla="*/ 15 w 48"/>
                <a:gd name="T7" fmla="*/ 9 h 12"/>
                <a:gd name="T8" fmla="*/ 21 w 48"/>
                <a:gd name="T9" fmla="*/ 12 h 12"/>
                <a:gd name="T10" fmla="*/ 26 w 48"/>
                <a:gd name="T11" fmla="*/ 12 h 12"/>
                <a:gd name="T12" fmla="*/ 27 w 48"/>
                <a:gd name="T13" fmla="*/ 12 h 12"/>
                <a:gd name="T14" fmla="*/ 39 w 48"/>
                <a:gd name="T15" fmla="*/ 12 h 12"/>
                <a:gd name="T16" fmla="*/ 43 w 48"/>
                <a:gd name="T17" fmla="*/ 10 h 12"/>
                <a:gd name="T18" fmla="*/ 46 w 48"/>
                <a:gd name="T19" fmla="*/ 4 h 12"/>
                <a:gd name="T20" fmla="*/ 46 w 48"/>
                <a:gd name="T21" fmla="*/ 1 h 12"/>
                <a:gd name="T22" fmla="*/ 48 w 48"/>
                <a:gd name="T23" fmla="*/ 0 h 12"/>
                <a:gd name="T24" fmla="*/ 0 w 48"/>
                <a:gd name="T25" fmla="*/ 0 h 12"/>
                <a:gd name="T26" fmla="*/ 9 w 48"/>
                <a:gd name="T2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2">
                  <a:moveTo>
                    <a:pt x="9" y="3"/>
                  </a:moveTo>
                  <a:lnTo>
                    <a:pt x="15" y="3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21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39" y="12"/>
                  </a:lnTo>
                  <a:lnTo>
                    <a:pt x="43" y="10"/>
                  </a:lnTo>
                  <a:lnTo>
                    <a:pt x="46" y="4"/>
                  </a:lnTo>
                  <a:lnTo>
                    <a:pt x="46" y="1"/>
                  </a:lnTo>
                  <a:lnTo>
                    <a:pt x="48" y="0"/>
                  </a:lnTo>
                  <a:lnTo>
                    <a:pt x="0" y="0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7" name="Freeform 180"/>
            <p:cNvSpPr>
              <a:spLocks/>
            </p:cNvSpPr>
            <p:nvPr/>
          </p:nvSpPr>
          <p:spPr bwMode="auto">
            <a:xfrm>
              <a:off x="3381376" y="1558926"/>
              <a:ext cx="7938" cy="4763"/>
            </a:xfrm>
            <a:custGeom>
              <a:avLst/>
              <a:gdLst>
                <a:gd name="T0" fmla="*/ 5 w 5"/>
                <a:gd name="T1" fmla="*/ 0 h 3"/>
                <a:gd name="T2" fmla="*/ 2 w 5"/>
                <a:gd name="T3" fmla="*/ 0 h 3"/>
                <a:gd name="T4" fmla="*/ 0 w 5"/>
                <a:gd name="T5" fmla="*/ 3 h 3"/>
                <a:gd name="T6" fmla="*/ 2 w 5"/>
                <a:gd name="T7" fmla="*/ 3 h 3"/>
                <a:gd name="T8" fmla="*/ 5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8" name="Freeform 181"/>
            <p:cNvSpPr>
              <a:spLocks/>
            </p:cNvSpPr>
            <p:nvPr/>
          </p:nvSpPr>
          <p:spPr bwMode="auto">
            <a:xfrm>
              <a:off x="3233738" y="1582738"/>
              <a:ext cx="4763" cy="3175"/>
            </a:xfrm>
            <a:custGeom>
              <a:avLst/>
              <a:gdLst>
                <a:gd name="T0" fmla="*/ 3 w 3"/>
                <a:gd name="T1" fmla="*/ 0 h 2"/>
                <a:gd name="T2" fmla="*/ 0 w 3"/>
                <a:gd name="T3" fmla="*/ 0 h 2"/>
                <a:gd name="T4" fmla="*/ 3 w 3"/>
                <a:gd name="T5" fmla="*/ 2 h 2"/>
                <a:gd name="T6" fmla="*/ 3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9" name="Freeform 182"/>
            <p:cNvSpPr>
              <a:spLocks/>
            </p:cNvSpPr>
            <p:nvPr/>
          </p:nvSpPr>
          <p:spPr bwMode="auto">
            <a:xfrm>
              <a:off x="3170238" y="1544638"/>
              <a:ext cx="12700" cy="6350"/>
            </a:xfrm>
            <a:custGeom>
              <a:avLst/>
              <a:gdLst>
                <a:gd name="T0" fmla="*/ 3 w 8"/>
                <a:gd name="T1" fmla="*/ 4 h 4"/>
                <a:gd name="T2" fmla="*/ 6 w 8"/>
                <a:gd name="T3" fmla="*/ 4 h 4"/>
                <a:gd name="T4" fmla="*/ 8 w 8"/>
                <a:gd name="T5" fmla="*/ 3 h 4"/>
                <a:gd name="T6" fmla="*/ 6 w 8"/>
                <a:gd name="T7" fmla="*/ 1 h 4"/>
                <a:gd name="T8" fmla="*/ 4 w 8"/>
                <a:gd name="T9" fmla="*/ 1 h 4"/>
                <a:gd name="T10" fmla="*/ 1 w 8"/>
                <a:gd name="T11" fmla="*/ 0 h 4"/>
                <a:gd name="T12" fmla="*/ 0 w 8"/>
                <a:gd name="T13" fmla="*/ 0 h 4"/>
                <a:gd name="T14" fmla="*/ 3 w 8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4">
                  <a:moveTo>
                    <a:pt x="3" y="4"/>
                  </a:moveTo>
                  <a:lnTo>
                    <a:pt x="6" y="4"/>
                  </a:lnTo>
                  <a:lnTo>
                    <a:pt x="8" y="3"/>
                  </a:lnTo>
                  <a:lnTo>
                    <a:pt x="6" y="1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0" name="Freeform 183"/>
            <p:cNvSpPr>
              <a:spLocks/>
            </p:cNvSpPr>
            <p:nvPr/>
          </p:nvSpPr>
          <p:spPr bwMode="auto">
            <a:xfrm>
              <a:off x="3694113" y="2087563"/>
              <a:ext cx="9525" cy="25400"/>
            </a:xfrm>
            <a:custGeom>
              <a:avLst/>
              <a:gdLst>
                <a:gd name="T0" fmla="*/ 1 w 6"/>
                <a:gd name="T1" fmla="*/ 0 h 16"/>
                <a:gd name="T2" fmla="*/ 1 w 6"/>
                <a:gd name="T3" fmla="*/ 6 h 16"/>
                <a:gd name="T4" fmla="*/ 0 w 6"/>
                <a:gd name="T5" fmla="*/ 12 h 16"/>
                <a:gd name="T6" fmla="*/ 1 w 6"/>
                <a:gd name="T7" fmla="*/ 16 h 16"/>
                <a:gd name="T8" fmla="*/ 4 w 6"/>
                <a:gd name="T9" fmla="*/ 14 h 16"/>
                <a:gd name="T10" fmla="*/ 4 w 6"/>
                <a:gd name="T11" fmla="*/ 12 h 16"/>
                <a:gd name="T12" fmla="*/ 6 w 6"/>
                <a:gd name="T13" fmla="*/ 6 h 16"/>
                <a:gd name="T14" fmla="*/ 4 w 6"/>
                <a:gd name="T15" fmla="*/ 1 h 16"/>
                <a:gd name="T16" fmla="*/ 1 w 6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6">
                  <a:moveTo>
                    <a:pt x="1" y="0"/>
                  </a:moveTo>
                  <a:lnTo>
                    <a:pt x="1" y="6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6"/>
                  </a:lnTo>
                  <a:lnTo>
                    <a:pt x="4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1" name="Freeform 184"/>
            <p:cNvSpPr>
              <a:spLocks/>
            </p:cNvSpPr>
            <p:nvPr/>
          </p:nvSpPr>
          <p:spPr bwMode="auto">
            <a:xfrm>
              <a:off x="3676651" y="2009776"/>
              <a:ext cx="14288" cy="11113"/>
            </a:xfrm>
            <a:custGeom>
              <a:avLst/>
              <a:gdLst>
                <a:gd name="T0" fmla="*/ 3 w 9"/>
                <a:gd name="T1" fmla="*/ 2 h 7"/>
                <a:gd name="T2" fmla="*/ 0 w 9"/>
                <a:gd name="T3" fmla="*/ 7 h 7"/>
                <a:gd name="T4" fmla="*/ 1 w 9"/>
                <a:gd name="T5" fmla="*/ 7 h 7"/>
                <a:gd name="T6" fmla="*/ 3 w 9"/>
                <a:gd name="T7" fmla="*/ 6 h 7"/>
                <a:gd name="T8" fmla="*/ 9 w 9"/>
                <a:gd name="T9" fmla="*/ 4 h 7"/>
                <a:gd name="T10" fmla="*/ 7 w 9"/>
                <a:gd name="T11" fmla="*/ 0 h 7"/>
                <a:gd name="T12" fmla="*/ 3 w 9"/>
                <a:gd name="T1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">
                  <a:moveTo>
                    <a:pt x="3" y="2"/>
                  </a:moveTo>
                  <a:lnTo>
                    <a:pt x="0" y="7"/>
                  </a:lnTo>
                  <a:lnTo>
                    <a:pt x="1" y="7"/>
                  </a:lnTo>
                  <a:lnTo>
                    <a:pt x="3" y="6"/>
                  </a:lnTo>
                  <a:lnTo>
                    <a:pt x="9" y="4"/>
                  </a:lnTo>
                  <a:lnTo>
                    <a:pt x="7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2" name="Freeform 185"/>
            <p:cNvSpPr>
              <a:spLocks/>
            </p:cNvSpPr>
            <p:nvPr/>
          </p:nvSpPr>
          <p:spPr bwMode="auto">
            <a:xfrm>
              <a:off x="3614738" y="2222501"/>
              <a:ext cx="30163" cy="22225"/>
            </a:xfrm>
            <a:custGeom>
              <a:avLst/>
              <a:gdLst>
                <a:gd name="T0" fmla="*/ 11 w 19"/>
                <a:gd name="T1" fmla="*/ 14 h 14"/>
                <a:gd name="T2" fmla="*/ 14 w 19"/>
                <a:gd name="T3" fmla="*/ 13 h 14"/>
                <a:gd name="T4" fmla="*/ 16 w 19"/>
                <a:gd name="T5" fmla="*/ 10 h 14"/>
                <a:gd name="T6" fmla="*/ 17 w 19"/>
                <a:gd name="T7" fmla="*/ 9 h 14"/>
                <a:gd name="T8" fmla="*/ 17 w 19"/>
                <a:gd name="T9" fmla="*/ 7 h 14"/>
                <a:gd name="T10" fmla="*/ 19 w 19"/>
                <a:gd name="T11" fmla="*/ 5 h 14"/>
                <a:gd name="T12" fmla="*/ 19 w 19"/>
                <a:gd name="T13" fmla="*/ 3 h 14"/>
                <a:gd name="T14" fmla="*/ 14 w 19"/>
                <a:gd name="T15" fmla="*/ 0 h 14"/>
                <a:gd name="T16" fmla="*/ 5 w 19"/>
                <a:gd name="T17" fmla="*/ 0 h 14"/>
                <a:gd name="T18" fmla="*/ 4 w 19"/>
                <a:gd name="T19" fmla="*/ 0 h 14"/>
                <a:gd name="T20" fmla="*/ 0 w 19"/>
                <a:gd name="T21" fmla="*/ 1 h 14"/>
                <a:gd name="T22" fmla="*/ 0 w 19"/>
                <a:gd name="T23" fmla="*/ 3 h 14"/>
                <a:gd name="T24" fmla="*/ 4 w 19"/>
                <a:gd name="T25" fmla="*/ 7 h 14"/>
                <a:gd name="T26" fmla="*/ 8 w 19"/>
                <a:gd name="T27" fmla="*/ 7 h 14"/>
                <a:gd name="T28" fmla="*/ 10 w 19"/>
                <a:gd name="T29" fmla="*/ 9 h 14"/>
                <a:gd name="T30" fmla="*/ 10 w 19"/>
                <a:gd name="T31" fmla="*/ 13 h 14"/>
                <a:gd name="T32" fmla="*/ 11 w 19"/>
                <a:gd name="T3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14">
                  <a:moveTo>
                    <a:pt x="11" y="14"/>
                  </a:moveTo>
                  <a:lnTo>
                    <a:pt x="14" y="13"/>
                  </a:lnTo>
                  <a:lnTo>
                    <a:pt x="16" y="10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4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4" y="7"/>
                  </a:lnTo>
                  <a:lnTo>
                    <a:pt x="8" y="7"/>
                  </a:lnTo>
                  <a:lnTo>
                    <a:pt x="10" y="9"/>
                  </a:lnTo>
                  <a:lnTo>
                    <a:pt x="10" y="13"/>
                  </a:lnTo>
                  <a:lnTo>
                    <a:pt x="11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3" name="Freeform 186"/>
            <p:cNvSpPr>
              <a:spLocks/>
            </p:cNvSpPr>
            <p:nvPr/>
          </p:nvSpPr>
          <p:spPr bwMode="auto">
            <a:xfrm>
              <a:off x="3630613" y="2200276"/>
              <a:ext cx="14288" cy="22225"/>
            </a:xfrm>
            <a:custGeom>
              <a:avLst/>
              <a:gdLst>
                <a:gd name="T0" fmla="*/ 7 w 9"/>
                <a:gd name="T1" fmla="*/ 8 h 14"/>
                <a:gd name="T2" fmla="*/ 6 w 9"/>
                <a:gd name="T3" fmla="*/ 6 h 14"/>
                <a:gd name="T4" fmla="*/ 6 w 9"/>
                <a:gd name="T5" fmla="*/ 5 h 14"/>
                <a:gd name="T6" fmla="*/ 1 w 9"/>
                <a:gd name="T7" fmla="*/ 0 h 14"/>
                <a:gd name="T8" fmla="*/ 0 w 9"/>
                <a:gd name="T9" fmla="*/ 2 h 14"/>
                <a:gd name="T10" fmla="*/ 0 w 9"/>
                <a:gd name="T11" fmla="*/ 5 h 14"/>
                <a:gd name="T12" fmla="*/ 1 w 9"/>
                <a:gd name="T13" fmla="*/ 6 h 14"/>
                <a:gd name="T14" fmla="*/ 1 w 9"/>
                <a:gd name="T15" fmla="*/ 10 h 14"/>
                <a:gd name="T16" fmla="*/ 7 w 9"/>
                <a:gd name="T17" fmla="*/ 14 h 14"/>
                <a:gd name="T18" fmla="*/ 9 w 9"/>
                <a:gd name="T19" fmla="*/ 11 h 14"/>
                <a:gd name="T20" fmla="*/ 7 w 9"/>
                <a:gd name="T21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4">
                  <a:moveTo>
                    <a:pt x="7" y="8"/>
                  </a:moveTo>
                  <a:lnTo>
                    <a:pt x="6" y="6"/>
                  </a:lnTo>
                  <a:lnTo>
                    <a:pt x="6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" y="6"/>
                  </a:lnTo>
                  <a:lnTo>
                    <a:pt x="1" y="10"/>
                  </a:lnTo>
                  <a:lnTo>
                    <a:pt x="7" y="14"/>
                  </a:lnTo>
                  <a:lnTo>
                    <a:pt x="9" y="11"/>
                  </a:lnTo>
                  <a:lnTo>
                    <a:pt x="7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4" name="Freeform 187"/>
            <p:cNvSpPr>
              <a:spLocks/>
            </p:cNvSpPr>
            <p:nvPr/>
          </p:nvSpPr>
          <p:spPr bwMode="auto">
            <a:xfrm>
              <a:off x="3687763" y="2039938"/>
              <a:ext cx="6350" cy="4763"/>
            </a:xfrm>
            <a:custGeom>
              <a:avLst/>
              <a:gdLst>
                <a:gd name="T0" fmla="*/ 0 w 4"/>
                <a:gd name="T1" fmla="*/ 2 h 3"/>
                <a:gd name="T2" fmla="*/ 0 w 4"/>
                <a:gd name="T3" fmla="*/ 3 h 3"/>
                <a:gd name="T4" fmla="*/ 2 w 4"/>
                <a:gd name="T5" fmla="*/ 3 h 3"/>
                <a:gd name="T6" fmla="*/ 4 w 4"/>
                <a:gd name="T7" fmla="*/ 2 h 3"/>
                <a:gd name="T8" fmla="*/ 2 w 4"/>
                <a:gd name="T9" fmla="*/ 0 h 3"/>
                <a:gd name="T10" fmla="*/ 0 w 4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5" name="Freeform 188"/>
            <p:cNvSpPr>
              <a:spLocks/>
            </p:cNvSpPr>
            <p:nvPr/>
          </p:nvSpPr>
          <p:spPr bwMode="auto">
            <a:xfrm>
              <a:off x="3481388" y="2278063"/>
              <a:ext cx="28575" cy="26988"/>
            </a:xfrm>
            <a:custGeom>
              <a:avLst/>
              <a:gdLst>
                <a:gd name="T0" fmla="*/ 16 w 18"/>
                <a:gd name="T1" fmla="*/ 0 h 17"/>
                <a:gd name="T2" fmla="*/ 10 w 18"/>
                <a:gd name="T3" fmla="*/ 0 h 17"/>
                <a:gd name="T4" fmla="*/ 4 w 18"/>
                <a:gd name="T5" fmla="*/ 4 h 17"/>
                <a:gd name="T6" fmla="*/ 4 w 18"/>
                <a:gd name="T7" fmla="*/ 7 h 17"/>
                <a:gd name="T8" fmla="*/ 3 w 18"/>
                <a:gd name="T9" fmla="*/ 9 h 17"/>
                <a:gd name="T10" fmla="*/ 0 w 18"/>
                <a:gd name="T11" fmla="*/ 13 h 17"/>
                <a:gd name="T12" fmla="*/ 0 w 18"/>
                <a:gd name="T13" fmla="*/ 17 h 17"/>
                <a:gd name="T14" fmla="*/ 3 w 18"/>
                <a:gd name="T15" fmla="*/ 17 h 17"/>
                <a:gd name="T16" fmla="*/ 8 w 18"/>
                <a:gd name="T17" fmla="*/ 13 h 17"/>
                <a:gd name="T18" fmla="*/ 12 w 18"/>
                <a:gd name="T19" fmla="*/ 13 h 17"/>
                <a:gd name="T20" fmla="*/ 14 w 18"/>
                <a:gd name="T21" fmla="*/ 9 h 17"/>
                <a:gd name="T22" fmla="*/ 18 w 18"/>
                <a:gd name="T23" fmla="*/ 7 h 17"/>
                <a:gd name="T24" fmla="*/ 18 w 18"/>
                <a:gd name="T25" fmla="*/ 6 h 17"/>
                <a:gd name="T26" fmla="*/ 16 w 18"/>
                <a:gd name="T27" fmla="*/ 4 h 17"/>
                <a:gd name="T28" fmla="*/ 18 w 18"/>
                <a:gd name="T29" fmla="*/ 1 h 17"/>
                <a:gd name="T30" fmla="*/ 16 w 18"/>
                <a:gd name="T3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17">
                  <a:moveTo>
                    <a:pt x="16" y="0"/>
                  </a:moveTo>
                  <a:lnTo>
                    <a:pt x="10" y="0"/>
                  </a:lnTo>
                  <a:lnTo>
                    <a:pt x="4" y="4"/>
                  </a:lnTo>
                  <a:lnTo>
                    <a:pt x="4" y="7"/>
                  </a:lnTo>
                  <a:lnTo>
                    <a:pt x="3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8" y="13"/>
                  </a:lnTo>
                  <a:lnTo>
                    <a:pt x="12" y="13"/>
                  </a:lnTo>
                  <a:lnTo>
                    <a:pt x="14" y="9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8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6" name="Freeform 189"/>
            <p:cNvSpPr>
              <a:spLocks/>
            </p:cNvSpPr>
            <p:nvPr/>
          </p:nvSpPr>
          <p:spPr bwMode="auto">
            <a:xfrm>
              <a:off x="3721101" y="1631951"/>
              <a:ext cx="14288" cy="11113"/>
            </a:xfrm>
            <a:custGeom>
              <a:avLst/>
              <a:gdLst>
                <a:gd name="T0" fmla="*/ 6 w 9"/>
                <a:gd name="T1" fmla="*/ 2 h 7"/>
                <a:gd name="T2" fmla="*/ 0 w 9"/>
                <a:gd name="T3" fmla="*/ 2 h 7"/>
                <a:gd name="T4" fmla="*/ 0 w 9"/>
                <a:gd name="T5" fmla="*/ 5 h 7"/>
                <a:gd name="T6" fmla="*/ 0 w 9"/>
                <a:gd name="T7" fmla="*/ 7 h 7"/>
                <a:gd name="T8" fmla="*/ 4 w 9"/>
                <a:gd name="T9" fmla="*/ 7 h 7"/>
                <a:gd name="T10" fmla="*/ 9 w 9"/>
                <a:gd name="T11" fmla="*/ 2 h 7"/>
                <a:gd name="T12" fmla="*/ 8 w 9"/>
                <a:gd name="T13" fmla="*/ 0 h 7"/>
                <a:gd name="T14" fmla="*/ 6 w 9"/>
                <a:gd name="T1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6" y="2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4" y="7"/>
                  </a:lnTo>
                  <a:lnTo>
                    <a:pt x="9" y="2"/>
                  </a:lnTo>
                  <a:lnTo>
                    <a:pt x="8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7" name="Freeform 190"/>
            <p:cNvSpPr>
              <a:spLocks/>
            </p:cNvSpPr>
            <p:nvPr/>
          </p:nvSpPr>
          <p:spPr bwMode="auto">
            <a:xfrm>
              <a:off x="3735388" y="1638301"/>
              <a:ext cx="12700" cy="4763"/>
            </a:xfrm>
            <a:custGeom>
              <a:avLst/>
              <a:gdLst>
                <a:gd name="T0" fmla="*/ 4 w 8"/>
                <a:gd name="T1" fmla="*/ 3 h 3"/>
                <a:gd name="T2" fmla="*/ 8 w 8"/>
                <a:gd name="T3" fmla="*/ 1 h 3"/>
                <a:gd name="T4" fmla="*/ 4 w 8"/>
                <a:gd name="T5" fmla="*/ 0 h 3"/>
                <a:gd name="T6" fmla="*/ 0 w 8"/>
                <a:gd name="T7" fmla="*/ 3 h 3"/>
                <a:gd name="T8" fmla="*/ 2 w 8"/>
                <a:gd name="T9" fmla="*/ 3 h 3"/>
                <a:gd name="T10" fmla="*/ 4 w 8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4" y="3"/>
                  </a:moveTo>
                  <a:lnTo>
                    <a:pt x="8" y="1"/>
                  </a:lnTo>
                  <a:lnTo>
                    <a:pt x="4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8" name="Freeform 191"/>
            <p:cNvSpPr>
              <a:spLocks/>
            </p:cNvSpPr>
            <p:nvPr/>
          </p:nvSpPr>
          <p:spPr bwMode="auto">
            <a:xfrm>
              <a:off x="3730626" y="1751013"/>
              <a:ext cx="11113" cy="7938"/>
            </a:xfrm>
            <a:custGeom>
              <a:avLst/>
              <a:gdLst>
                <a:gd name="T0" fmla="*/ 0 w 7"/>
                <a:gd name="T1" fmla="*/ 2 h 5"/>
                <a:gd name="T2" fmla="*/ 5 w 7"/>
                <a:gd name="T3" fmla="*/ 5 h 5"/>
                <a:gd name="T4" fmla="*/ 7 w 7"/>
                <a:gd name="T5" fmla="*/ 5 h 5"/>
                <a:gd name="T6" fmla="*/ 5 w 7"/>
                <a:gd name="T7" fmla="*/ 0 h 5"/>
                <a:gd name="T8" fmla="*/ 3 w 7"/>
                <a:gd name="T9" fmla="*/ 0 h 5"/>
                <a:gd name="T10" fmla="*/ 0 w 7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0" y="2"/>
                  </a:moveTo>
                  <a:lnTo>
                    <a:pt x="5" y="5"/>
                  </a:lnTo>
                  <a:lnTo>
                    <a:pt x="7" y="5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9" name="Freeform 192"/>
            <p:cNvSpPr>
              <a:spLocks/>
            </p:cNvSpPr>
            <p:nvPr/>
          </p:nvSpPr>
          <p:spPr bwMode="auto">
            <a:xfrm>
              <a:off x="3865563" y="2944813"/>
              <a:ext cx="15875" cy="9525"/>
            </a:xfrm>
            <a:custGeom>
              <a:avLst/>
              <a:gdLst>
                <a:gd name="T0" fmla="*/ 8 w 10"/>
                <a:gd name="T1" fmla="*/ 3 h 6"/>
                <a:gd name="T2" fmla="*/ 6 w 10"/>
                <a:gd name="T3" fmla="*/ 3 h 6"/>
                <a:gd name="T4" fmla="*/ 2 w 10"/>
                <a:gd name="T5" fmla="*/ 3 h 6"/>
                <a:gd name="T6" fmla="*/ 0 w 10"/>
                <a:gd name="T7" fmla="*/ 5 h 6"/>
                <a:gd name="T8" fmla="*/ 4 w 10"/>
                <a:gd name="T9" fmla="*/ 6 h 6"/>
                <a:gd name="T10" fmla="*/ 8 w 10"/>
                <a:gd name="T11" fmla="*/ 5 h 6"/>
                <a:gd name="T12" fmla="*/ 10 w 10"/>
                <a:gd name="T13" fmla="*/ 1 h 6"/>
                <a:gd name="T14" fmla="*/ 10 w 10"/>
                <a:gd name="T15" fmla="*/ 0 h 6"/>
                <a:gd name="T16" fmla="*/ 8 w 10"/>
                <a:gd name="T17" fmla="*/ 0 h 6"/>
                <a:gd name="T18" fmla="*/ 8 w 10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6">
                  <a:moveTo>
                    <a:pt x="8" y="3"/>
                  </a:moveTo>
                  <a:lnTo>
                    <a:pt x="6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4" y="6"/>
                  </a:lnTo>
                  <a:lnTo>
                    <a:pt x="8" y="5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0" name="Freeform 193"/>
            <p:cNvSpPr>
              <a:spLocks/>
            </p:cNvSpPr>
            <p:nvPr/>
          </p:nvSpPr>
          <p:spPr bwMode="auto">
            <a:xfrm>
              <a:off x="3694113" y="1719263"/>
              <a:ext cx="9525" cy="4763"/>
            </a:xfrm>
            <a:custGeom>
              <a:avLst/>
              <a:gdLst>
                <a:gd name="T0" fmla="*/ 4 w 6"/>
                <a:gd name="T1" fmla="*/ 3 h 3"/>
                <a:gd name="T2" fmla="*/ 6 w 6"/>
                <a:gd name="T3" fmla="*/ 3 h 3"/>
                <a:gd name="T4" fmla="*/ 4 w 6"/>
                <a:gd name="T5" fmla="*/ 0 h 3"/>
                <a:gd name="T6" fmla="*/ 0 w 6"/>
                <a:gd name="T7" fmla="*/ 0 h 3"/>
                <a:gd name="T8" fmla="*/ 4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4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1" name="Freeform 194"/>
            <p:cNvSpPr>
              <a:spLocks/>
            </p:cNvSpPr>
            <p:nvPr/>
          </p:nvSpPr>
          <p:spPr bwMode="auto">
            <a:xfrm>
              <a:off x="3871913" y="2817813"/>
              <a:ext cx="9525" cy="11113"/>
            </a:xfrm>
            <a:custGeom>
              <a:avLst/>
              <a:gdLst>
                <a:gd name="T0" fmla="*/ 6 w 6"/>
                <a:gd name="T1" fmla="*/ 0 h 7"/>
                <a:gd name="T2" fmla="*/ 2 w 6"/>
                <a:gd name="T3" fmla="*/ 2 h 7"/>
                <a:gd name="T4" fmla="*/ 0 w 6"/>
                <a:gd name="T5" fmla="*/ 7 h 7"/>
                <a:gd name="T6" fmla="*/ 4 w 6"/>
                <a:gd name="T7" fmla="*/ 5 h 7"/>
                <a:gd name="T8" fmla="*/ 6 w 6"/>
                <a:gd name="T9" fmla="*/ 4 h 7"/>
                <a:gd name="T10" fmla="*/ 6 w 6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lnTo>
                    <a:pt x="2" y="2"/>
                  </a:lnTo>
                  <a:lnTo>
                    <a:pt x="0" y="7"/>
                  </a:lnTo>
                  <a:lnTo>
                    <a:pt x="4" y="5"/>
                  </a:lnTo>
                  <a:lnTo>
                    <a:pt x="6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2" name="Freeform 195"/>
            <p:cNvSpPr>
              <a:spLocks/>
            </p:cNvSpPr>
            <p:nvPr/>
          </p:nvSpPr>
          <p:spPr bwMode="auto">
            <a:xfrm>
              <a:off x="3651251" y="2163763"/>
              <a:ext cx="25400" cy="14288"/>
            </a:xfrm>
            <a:custGeom>
              <a:avLst/>
              <a:gdLst>
                <a:gd name="T0" fmla="*/ 8 w 16"/>
                <a:gd name="T1" fmla="*/ 2 h 9"/>
                <a:gd name="T2" fmla="*/ 4 w 16"/>
                <a:gd name="T3" fmla="*/ 2 h 9"/>
                <a:gd name="T4" fmla="*/ 0 w 16"/>
                <a:gd name="T5" fmla="*/ 6 h 9"/>
                <a:gd name="T6" fmla="*/ 6 w 16"/>
                <a:gd name="T7" fmla="*/ 6 h 9"/>
                <a:gd name="T8" fmla="*/ 10 w 16"/>
                <a:gd name="T9" fmla="*/ 9 h 9"/>
                <a:gd name="T10" fmla="*/ 13 w 16"/>
                <a:gd name="T11" fmla="*/ 9 h 9"/>
                <a:gd name="T12" fmla="*/ 13 w 16"/>
                <a:gd name="T13" fmla="*/ 6 h 9"/>
                <a:gd name="T14" fmla="*/ 16 w 16"/>
                <a:gd name="T15" fmla="*/ 3 h 9"/>
                <a:gd name="T16" fmla="*/ 16 w 16"/>
                <a:gd name="T17" fmla="*/ 2 h 9"/>
                <a:gd name="T18" fmla="*/ 11 w 16"/>
                <a:gd name="T19" fmla="*/ 0 h 9"/>
                <a:gd name="T20" fmla="*/ 8 w 16"/>
                <a:gd name="T2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9">
                  <a:moveTo>
                    <a:pt x="8" y="2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6" y="6"/>
                  </a:lnTo>
                  <a:lnTo>
                    <a:pt x="10" y="9"/>
                  </a:lnTo>
                  <a:lnTo>
                    <a:pt x="13" y="9"/>
                  </a:lnTo>
                  <a:lnTo>
                    <a:pt x="13" y="6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3" name="Freeform 196"/>
            <p:cNvSpPr>
              <a:spLocks/>
            </p:cNvSpPr>
            <p:nvPr/>
          </p:nvSpPr>
          <p:spPr bwMode="auto">
            <a:xfrm>
              <a:off x="3797301" y="1798638"/>
              <a:ext cx="11113" cy="14288"/>
            </a:xfrm>
            <a:custGeom>
              <a:avLst/>
              <a:gdLst>
                <a:gd name="T0" fmla="*/ 1 w 7"/>
                <a:gd name="T1" fmla="*/ 9 h 9"/>
                <a:gd name="T2" fmla="*/ 3 w 7"/>
                <a:gd name="T3" fmla="*/ 9 h 9"/>
                <a:gd name="T4" fmla="*/ 7 w 7"/>
                <a:gd name="T5" fmla="*/ 9 h 9"/>
                <a:gd name="T6" fmla="*/ 7 w 7"/>
                <a:gd name="T7" fmla="*/ 3 h 9"/>
                <a:gd name="T8" fmla="*/ 3 w 7"/>
                <a:gd name="T9" fmla="*/ 0 h 9"/>
                <a:gd name="T10" fmla="*/ 0 w 7"/>
                <a:gd name="T11" fmla="*/ 3 h 9"/>
                <a:gd name="T12" fmla="*/ 1 w 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1" y="9"/>
                  </a:move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1" y="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4" name="Freeform 197"/>
            <p:cNvSpPr>
              <a:spLocks/>
            </p:cNvSpPr>
            <p:nvPr/>
          </p:nvSpPr>
          <p:spPr bwMode="auto">
            <a:xfrm>
              <a:off x="3219451" y="1544638"/>
              <a:ext cx="33338" cy="11113"/>
            </a:xfrm>
            <a:custGeom>
              <a:avLst/>
              <a:gdLst>
                <a:gd name="T0" fmla="*/ 15 w 21"/>
                <a:gd name="T1" fmla="*/ 3 h 7"/>
                <a:gd name="T2" fmla="*/ 17 w 21"/>
                <a:gd name="T3" fmla="*/ 4 h 7"/>
                <a:gd name="T4" fmla="*/ 21 w 21"/>
                <a:gd name="T5" fmla="*/ 1 h 7"/>
                <a:gd name="T6" fmla="*/ 19 w 21"/>
                <a:gd name="T7" fmla="*/ 0 h 7"/>
                <a:gd name="T8" fmla="*/ 0 w 21"/>
                <a:gd name="T9" fmla="*/ 0 h 7"/>
                <a:gd name="T10" fmla="*/ 1 w 21"/>
                <a:gd name="T11" fmla="*/ 3 h 7"/>
                <a:gd name="T12" fmla="*/ 6 w 21"/>
                <a:gd name="T13" fmla="*/ 1 h 7"/>
                <a:gd name="T14" fmla="*/ 13 w 21"/>
                <a:gd name="T15" fmla="*/ 7 h 7"/>
                <a:gd name="T16" fmla="*/ 15 w 21"/>
                <a:gd name="T1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">
                  <a:moveTo>
                    <a:pt x="15" y="3"/>
                  </a:moveTo>
                  <a:lnTo>
                    <a:pt x="17" y="4"/>
                  </a:lnTo>
                  <a:lnTo>
                    <a:pt x="21" y="1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6" y="1"/>
                  </a:lnTo>
                  <a:lnTo>
                    <a:pt x="13" y="7"/>
                  </a:lnTo>
                  <a:lnTo>
                    <a:pt x="15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5" name="Freeform 198"/>
            <p:cNvSpPr>
              <a:spLocks/>
            </p:cNvSpPr>
            <p:nvPr/>
          </p:nvSpPr>
          <p:spPr bwMode="auto">
            <a:xfrm>
              <a:off x="3209926" y="1544638"/>
              <a:ext cx="671513" cy="654050"/>
            </a:xfrm>
            <a:custGeom>
              <a:avLst/>
              <a:gdLst>
                <a:gd name="T0" fmla="*/ 271 w 423"/>
                <a:gd name="T1" fmla="*/ 1 h 412"/>
                <a:gd name="T2" fmla="*/ 113 w 423"/>
                <a:gd name="T3" fmla="*/ 26 h 412"/>
                <a:gd name="T4" fmla="*/ 130 w 423"/>
                <a:gd name="T5" fmla="*/ 42 h 412"/>
                <a:gd name="T6" fmla="*/ 122 w 423"/>
                <a:gd name="T7" fmla="*/ 74 h 412"/>
                <a:gd name="T8" fmla="*/ 162 w 423"/>
                <a:gd name="T9" fmla="*/ 68 h 412"/>
                <a:gd name="T10" fmla="*/ 165 w 423"/>
                <a:gd name="T11" fmla="*/ 88 h 412"/>
                <a:gd name="T12" fmla="*/ 187 w 423"/>
                <a:gd name="T13" fmla="*/ 114 h 412"/>
                <a:gd name="T14" fmla="*/ 181 w 423"/>
                <a:gd name="T15" fmla="*/ 160 h 412"/>
                <a:gd name="T16" fmla="*/ 128 w 423"/>
                <a:gd name="T17" fmla="*/ 201 h 412"/>
                <a:gd name="T18" fmla="*/ 104 w 423"/>
                <a:gd name="T19" fmla="*/ 238 h 412"/>
                <a:gd name="T20" fmla="*/ 49 w 423"/>
                <a:gd name="T21" fmla="*/ 239 h 412"/>
                <a:gd name="T22" fmla="*/ 6 w 423"/>
                <a:gd name="T23" fmla="*/ 253 h 412"/>
                <a:gd name="T24" fmla="*/ 52 w 423"/>
                <a:gd name="T25" fmla="*/ 284 h 412"/>
                <a:gd name="T26" fmla="*/ 90 w 423"/>
                <a:gd name="T27" fmla="*/ 286 h 412"/>
                <a:gd name="T28" fmla="*/ 119 w 423"/>
                <a:gd name="T29" fmla="*/ 306 h 412"/>
                <a:gd name="T30" fmla="*/ 135 w 423"/>
                <a:gd name="T31" fmla="*/ 334 h 412"/>
                <a:gd name="T32" fmla="*/ 170 w 423"/>
                <a:gd name="T33" fmla="*/ 367 h 412"/>
                <a:gd name="T34" fmla="*/ 210 w 423"/>
                <a:gd name="T35" fmla="*/ 393 h 412"/>
                <a:gd name="T36" fmla="*/ 249 w 423"/>
                <a:gd name="T37" fmla="*/ 397 h 412"/>
                <a:gd name="T38" fmla="*/ 226 w 423"/>
                <a:gd name="T39" fmla="*/ 360 h 412"/>
                <a:gd name="T40" fmla="*/ 214 w 423"/>
                <a:gd name="T41" fmla="*/ 331 h 412"/>
                <a:gd name="T42" fmla="*/ 244 w 423"/>
                <a:gd name="T43" fmla="*/ 354 h 412"/>
                <a:gd name="T44" fmla="*/ 263 w 423"/>
                <a:gd name="T45" fmla="*/ 364 h 412"/>
                <a:gd name="T46" fmla="*/ 280 w 423"/>
                <a:gd name="T47" fmla="*/ 370 h 412"/>
                <a:gd name="T48" fmla="*/ 301 w 423"/>
                <a:gd name="T49" fmla="*/ 353 h 412"/>
                <a:gd name="T50" fmla="*/ 291 w 423"/>
                <a:gd name="T51" fmla="*/ 304 h 412"/>
                <a:gd name="T52" fmla="*/ 280 w 423"/>
                <a:gd name="T53" fmla="*/ 284 h 412"/>
                <a:gd name="T54" fmla="*/ 269 w 423"/>
                <a:gd name="T55" fmla="*/ 262 h 412"/>
                <a:gd name="T56" fmla="*/ 255 w 423"/>
                <a:gd name="T57" fmla="*/ 239 h 412"/>
                <a:gd name="T58" fmla="*/ 249 w 423"/>
                <a:gd name="T59" fmla="*/ 221 h 412"/>
                <a:gd name="T60" fmla="*/ 272 w 423"/>
                <a:gd name="T61" fmla="*/ 221 h 412"/>
                <a:gd name="T62" fmla="*/ 278 w 423"/>
                <a:gd name="T63" fmla="*/ 206 h 412"/>
                <a:gd name="T64" fmla="*/ 291 w 423"/>
                <a:gd name="T65" fmla="*/ 223 h 412"/>
                <a:gd name="T66" fmla="*/ 306 w 423"/>
                <a:gd name="T67" fmla="*/ 238 h 412"/>
                <a:gd name="T68" fmla="*/ 316 w 423"/>
                <a:gd name="T69" fmla="*/ 239 h 412"/>
                <a:gd name="T70" fmla="*/ 315 w 423"/>
                <a:gd name="T71" fmla="*/ 260 h 412"/>
                <a:gd name="T72" fmla="*/ 328 w 423"/>
                <a:gd name="T73" fmla="*/ 273 h 412"/>
                <a:gd name="T74" fmla="*/ 343 w 423"/>
                <a:gd name="T75" fmla="*/ 291 h 412"/>
                <a:gd name="T76" fmla="*/ 346 w 423"/>
                <a:gd name="T77" fmla="*/ 264 h 412"/>
                <a:gd name="T78" fmla="*/ 366 w 423"/>
                <a:gd name="T79" fmla="*/ 259 h 412"/>
                <a:gd name="T80" fmla="*/ 385 w 423"/>
                <a:gd name="T81" fmla="*/ 245 h 412"/>
                <a:gd name="T82" fmla="*/ 383 w 423"/>
                <a:gd name="T83" fmla="*/ 230 h 412"/>
                <a:gd name="T84" fmla="*/ 413 w 423"/>
                <a:gd name="T85" fmla="*/ 228 h 412"/>
                <a:gd name="T86" fmla="*/ 407 w 423"/>
                <a:gd name="T87" fmla="*/ 214 h 412"/>
                <a:gd name="T88" fmla="*/ 407 w 423"/>
                <a:gd name="T89" fmla="*/ 197 h 412"/>
                <a:gd name="T90" fmla="*/ 389 w 423"/>
                <a:gd name="T91" fmla="*/ 194 h 412"/>
                <a:gd name="T92" fmla="*/ 379 w 423"/>
                <a:gd name="T93" fmla="*/ 188 h 412"/>
                <a:gd name="T94" fmla="*/ 366 w 423"/>
                <a:gd name="T95" fmla="*/ 174 h 412"/>
                <a:gd name="T96" fmla="*/ 358 w 423"/>
                <a:gd name="T97" fmla="*/ 141 h 412"/>
                <a:gd name="T98" fmla="*/ 341 w 423"/>
                <a:gd name="T99" fmla="*/ 149 h 412"/>
                <a:gd name="T100" fmla="*/ 328 w 423"/>
                <a:gd name="T101" fmla="*/ 141 h 412"/>
                <a:gd name="T102" fmla="*/ 320 w 423"/>
                <a:gd name="T103" fmla="*/ 125 h 412"/>
                <a:gd name="T104" fmla="*/ 300 w 423"/>
                <a:gd name="T105" fmla="*/ 116 h 412"/>
                <a:gd name="T106" fmla="*/ 294 w 423"/>
                <a:gd name="T107" fmla="*/ 101 h 412"/>
                <a:gd name="T108" fmla="*/ 315 w 423"/>
                <a:gd name="T109" fmla="*/ 88 h 412"/>
                <a:gd name="T110" fmla="*/ 303 w 423"/>
                <a:gd name="T111" fmla="*/ 74 h 412"/>
                <a:gd name="T112" fmla="*/ 344 w 423"/>
                <a:gd name="T113" fmla="*/ 74 h 412"/>
                <a:gd name="T114" fmla="*/ 316 w 423"/>
                <a:gd name="T115" fmla="*/ 57 h 412"/>
                <a:gd name="T116" fmla="*/ 324 w 423"/>
                <a:gd name="T117" fmla="*/ 31 h 412"/>
                <a:gd name="T118" fmla="*/ 288 w 423"/>
                <a:gd name="T119" fmla="*/ 46 h 412"/>
                <a:gd name="T120" fmla="*/ 274 w 423"/>
                <a:gd name="T121" fmla="*/ 40 h 412"/>
                <a:gd name="T122" fmla="*/ 326 w 423"/>
                <a:gd name="T123" fmla="*/ 2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3" h="412">
                  <a:moveTo>
                    <a:pt x="297" y="1"/>
                  </a:moveTo>
                  <a:lnTo>
                    <a:pt x="291" y="1"/>
                  </a:lnTo>
                  <a:lnTo>
                    <a:pt x="288" y="4"/>
                  </a:lnTo>
                  <a:lnTo>
                    <a:pt x="288" y="0"/>
                  </a:lnTo>
                  <a:lnTo>
                    <a:pt x="279" y="0"/>
                  </a:lnTo>
                  <a:lnTo>
                    <a:pt x="278" y="1"/>
                  </a:lnTo>
                  <a:lnTo>
                    <a:pt x="276" y="10"/>
                  </a:lnTo>
                  <a:lnTo>
                    <a:pt x="266" y="18"/>
                  </a:lnTo>
                  <a:lnTo>
                    <a:pt x="257" y="24"/>
                  </a:lnTo>
                  <a:lnTo>
                    <a:pt x="257" y="21"/>
                  </a:lnTo>
                  <a:lnTo>
                    <a:pt x="260" y="18"/>
                  </a:lnTo>
                  <a:lnTo>
                    <a:pt x="269" y="12"/>
                  </a:lnTo>
                  <a:lnTo>
                    <a:pt x="272" y="7"/>
                  </a:lnTo>
                  <a:lnTo>
                    <a:pt x="274" y="4"/>
                  </a:lnTo>
                  <a:lnTo>
                    <a:pt x="274" y="3"/>
                  </a:lnTo>
                  <a:lnTo>
                    <a:pt x="271" y="1"/>
                  </a:lnTo>
                  <a:lnTo>
                    <a:pt x="266" y="1"/>
                  </a:lnTo>
                  <a:lnTo>
                    <a:pt x="263" y="9"/>
                  </a:lnTo>
                  <a:lnTo>
                    <a:pt x="257" y="15"/>
                  </a:lnTo>
                  <a:lnTo>
                    <a:pt x="254" y="15"/>
                  </a:lnTo>
                  <a:lnTo>
                    <a:pt x="255" y="12"/>
                  </a:lnTo>
                  <a:lnTo>
                    <a:pt x="255" y="9"/>
                  </a:lnTo>
                  <a:lnTo>
                    <a:pt x="260" y="4"/>
                  </a:lnTo>
                  <a:lnTo>
                    <a:pt x="260" y="1"/>
                  </a:lnTo>
                  <a:lnTo>
                    <a:pt x="263" y="0"/>
                  </a:lnTo>
                  <a:lnTo>
                    <a:pt x="122" y="0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4" y="15"/>
                  </a:lnTo>
                  <a:lnTo>
                    <a:pt x="110" y="24"/>
                  </a:lnTo>
                  <a:lnTo>
                    <a:pt x="110" y="26"/>
                  </a:lnTo>
                  <a:lnTo>
                    <a:pt x="113" y="26"/>
                  </a:lnTo>
                  <a:lnTo>
                    <a:pt x="114" y="21"/>
                  </a:lnTo>
                  <a:lnTo>
                    <a:pt x="119" y="21"/>
                  </a:lnTo>
                  <a:lnTo>
                    <a:pt x="119" y="24"/>
                  </a:lnTo>
                  <a:lnTo>
                    <a:pt x="122" y="24"/>
                  </a:lnTo>
                  <a:lnTo>
                    <a:pt x="125" y="26"/>
                  </a:lnTo>
                  <a:lnTo>
                    <a:pt x="133" y="26"/>
                  </a:lnTo>
                  <a:lnTo>
                    <a:pt x="128" y="29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2" y="31"/>
                  </a:lnTo>
                  <a:lnTo>
                    <a:pt x="119" y="32"/>
                  </a:lnTo>
                  <a:lnTo>
                    <a:pt x="119" y="37"/>
                  </a:lnTo>
                  <a:lnTo>
                    <a:pt x="122" y="38"/>
                  </a:lnTo>
                  <a:lnTo>
                    <a:pt x="124" y="38"/>
                  </a:lnTo>
                  <a:lnTo>
                    <a:pt x="130" y="38"/>
                  </a:lnTo>
                  <a:lnTo>
                    <a:pt x="130" y="42"/>
                  </a:lnTo>
                  <a:lnTo>
                    <a:pt x="130" y="43"/>
                  </a:lnTo>
                  <a:lnTo>
                    <a:pt x="131" y="48"/>
                  </a:lnTo>
                  <a:lnTo>
                    <a:pt x="133" y="51"/>
                  </a:lnTo>
                  <a:lnTo>
                    <a:pt x="139" y="53"/>
                  </a:lnTo>
                  <a:lnTo>
                    <a:pt x="141" y="55"/>
                  </a:lnTo>
                  <a:lnTo>
                    <a:pt x="143" y="59"/>
                  </a:lnTo>
                  <a:lnTo>
                    <a:pt x="141" y="62"/>
                  </a:lnTo>
                  <a:lnTo>
                    <a:pt x="137" y="66"/>
                  </a:lnTo>
                  <a:lnTo>
                    <a:pt x="133" y="66"/>
                  </a:lnTo>
                  <a:lnTo>
                    <a:pt x="131" y="68"/>
                  </a:lnTo>
                  <a:lnTo>
                    <a:pt x="128" y="66"/>
                  </a:lnTo>
                  <a:lnTo>
                    <a:pt x="124" y="65"/>
                  </a:lnTo>
                  <a:lnTo>
                    <a:pt x="122" y="66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2" y="74"/>
                  </a:lnTo>
                  <a:lnTo>
                    <a:pt x="119" y="77"/>
                  </a:lnTo>
                  <a:lnTo>
                    <a:pt x="119" y="79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5" y="77"/>
                  </a:lnTo>
                  <a:lnTo>
                    <a:pt x="131" y="77"/>
                  </a:lnTo>
                  <a:lnTo>
                    <a:pt x="135" y="74"/>
                  </a:lnTo>
                  <a:lnTo>
                    <a:pt x="139" y="74"/>
                  </a:lnTo>
                  <a:lnTo>
                    <a:pt x="141" y="69"/>
                  </a:lnTo>
                  <a:lnTo>
                    <a:pt x="145" y="68"/>
                  </a:lnTo>
                  <a:lnTo>
                    <a:pt x="145" y="74"/>
                  </a:lnTo>
                  <a:lnTo>
                    <a:pt x="147" y="74"/>
                  </a:lnTo>
                  <a:lnTo>
                    <a:pt x="150" y="74"/>
                  </a:lnTo>
                  <a:lnTo>
                    <a:pt x="154" y="68"/>
                  </a:lnTo>
                  <a:lnTo>
                    <a:pt x="159" y="66"/>
                  </a:lnTo>
                  <a:lnTo>
                    <a:pt x="162" y="68"/>
                  </a:lnTo>
                  <a:lnTo>
                    <a:pt x="160" y="69"/>
                  </a:lnTo>
                  <a:lnTo>
                    <a:pt x="159" y="71"/>
                  </a:lnTo>
                  <a:lnTo>
                    <a:pt x="154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0" y="77"/>
                  </a:lnTo>
                  <a:lnTo>
                    <a:pt x="150" y="79"/>
                  </a:lnTo>
                  <a:lnTo>
                    <a:pt x="159" y="79"/>
                  </a:lnTo>
                  <a:lnTo>
                    <a:pt x="160" y="80"/>
                  </a:lnTo>
                  <a:lnTo>
                    <a:pt x="154" y="85"/>
                  </a:lnTo>
                  <a:lnTo>
                    <a:pt x="156" y="91"/>
                  </a:lnTo>
                  <a:lnTo>
                    <a:pt x="159" y="91"/>
                  </a:lnTo>
                  <a:lnTo>
                    <a:pt x="160" y="96"/>
                  </a:lnTo>
                  <a:lnTo>
                    <a:pt x="168" y="96"/>
                  </a:lnTo>
                  <a:lnTo>
                    <a:pt x="168" y="91"/>
                  </a:lnTo>
                  <a:lnTo>
                    <a:pt x="165" y="88"/>
                  </a:lnTo>
                  <a:lnTo>
                    <a:pt x="168" y="86"/>
                  </a:lnTo>
                  <a:lnTo>
                    <a:pt x="170" y="85"/>
                  </a:lnTo>
                  <a:lnTo>
                    <a:pt x="175" y="90"/>
                  </a:lnTo>
                  <a:lnTo>
                    <a:pt x="175" y="91"/>
                  </a:lnTo>
                  <a:lnTo>
                    <a:pt x="171" y="97"/>
                  </a:lnTo>
                  <a:lnTo>
                    <a:pt x="177" y="99"/>
                  </a:lnTo>
                  <a:lnTo>
                    <a:pt x="177" y="101"/>
                  </a:lnTo>
                  <a:lnTo>
                    <a:pt x="170" y="102"/>
                  </a:lnTo>
                  <a:lnTo>
                    <a:pt x="168" y="107"/>
                  </a:lnTo>
                  <a:lnTo>
                    <a:pt x="171" y="108"/>
                  </a:lnTo>
                  <a:lnTo>
                    <a:pt x="183" y="110"/>
                  </a:lnTo>
                  <a:lnTo>
                    <a:pt x="185" y="110"/>
                  </a:lnTo>
                  <a:lnTo>
                    <a:pt x="185" y="114"/>
                  </a:lnTo>
                  <a:lnTo>
                    <a:pt x="185" y="118"/>
                  </a:lnTo>
                  <a:lnTo>
                    <a:pt x="187" y="118"/>
                  </a:lnTo>
                  <a:lnTo>
                    <a:pt x="187" y="114"/>
                  </a:lnTo>
                  <a:lnTo>
                    <a:pt x="190" y="113"/>
                  </a:lnTo>
                  <a:lnTo>
                    <a:pt x="193" y="110"/>
                  </a:lnTo>
                  <a:lnTo>
                    <a:pt x="194" y="114"/>
                  </a:lnTo>
                  <a:lnTo>
                    <a:pt x="190" y="118"/>
                  </a:lnTo>
                  <a:lnTo>
                    <a:pt x="190" y="122"/>
                  </a:lnTo>
                  <a:lnTo>
                    <a:pt x="187" y="122"/>
                  </a:lnTo>
                  <a:lnTo>
                    <a:pt x="185" y="129"/>
                  </a:lnTo>
                  <a:lnTo>
                    <a:pt x="185" y="130"/>
                  </a:lnTo>
                  <a:lnTo>
                    <a:pt x="189" y="132"/>
                  </a:lnTo>
                  <a:lnTo>
                    <a:pt x="189" y="136"/>
                  </a:lnTo>
                  <a:lnTo>
                    <a:pt x="185" y="140"/>
                  </a:lnTo>
                  <a:lnTo>
                    <a:pt x="185" y="146"/>
                  </a:lnTo>
                  <a:lnTo>
                    <a:pt x="187" y="146"/>
                  </a:lnTo>
                  <a:lnTo>
                    <a:pt x="185" y="147"/>
                  </a:lnTo>
                  <a:lnTo>
                    <a:pt x="185" y="157"/>
                  </a:lnTo>
                  <a:lnTo>
                    <a:pt x="181" y="160"/>
                  </a:lnTo>
                  <a:lnTo>
                    <a:pt x="185" y="163"/>
                  </a:lnTo>
                  <a:lnTo>
                    <a:pt x="183" y="168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4" y="169"/>
                  </a:lnTo>
                  <a:lnTo>
                    <a:pt x="164" y="174"/>
                  </a:lnTo>
                  <a:lnTo>
                    <a:pt x="153" y="180"/>
                  </a:lnTo>
                  <a:lnTo>
                    <a:pt x="154" y="184"/>
                  </a:lnTo>
                  <a:lnTo>
                    <a:pt x="160" y="188"/>
                  </a:lnTo>
                  <a:lnTo>
                    <a:pt x="159" y="188"/>
                  </a:lnTo>
                  <a:lnTo>
                    <a:pt x="154" y="189"/>
                  </a:lnTo>
                  <a:lnTo>
                    <a:pt x="150" y="186"/>
                  </a:lnTo>
                  <a:lnTo>
                    <a:pt x="148" y="186"/>
                  </a:lnTo>
                  <a:lnTo>
                    <a:pt x="141" y="194"/>
                  </a:lnTo>
                  <a:lnTo>
                    <a:pt x="137" y="195"/>
                  </a:lnTo>
                  <a:lnTo>
                    <a:pt x="128" y="201"/>
                  </a:lnTo>
                  <a:lnTo>
                    <a:pt x="119" y="206"/>
                  </a:lnTo>
                  <a:lnTo>
                    <a:pt x="116" y="206"/>
                  </a:lnTo>
                  <a:lnTo>
                    <a:pt x="114" y="208"/>
                  </a:lnTo>
                  <a:lnTo>
                    <a:pt x="113" y="214"/>
                  </a:lnTo>
                  <a:lnTo>
                    <a:pt x="116" y="217"/>
                  </a:lnTo>
                  <a:lnTo>
                    <a:pt x="116" y="223"/>
                  </a:lnTo>
                  <a:lnTo>
                    <a:pt x="122" y="228"/>
                  </a:lnTo>
                  <a:lnTo>
                    <a:pt x="124" y="239"/>
                  </a:lnTo>
                  <a:lnTo>
                    <a:pt x="119" y="244"/>
                  </a:lnTo>
                  <a:lnTo>
                    <a:pt x="119" y="242"/>
                  </a:lnTo>
                  <a:lnTo>
                    <a:pt x="114" y="244"/>
                  </a:lnTo>
                  <a:lnTo>
                    <a:pt x="114" y="250"/>
                  </a:lnTo>
                  <a:lnTo>
                    <a:pt x="113" y="244"/>
                  </a:lnTo>
                  <a:lnTo>
                    <a:pt x="113" y="238"/>
                  </a:lnTo>
                  <a:lnTo>
                    <a:pt x="110" y="234"/>
                  </a:lnTo>
                  <a:lnTo>
                    <a:pt x="104" y="238"/>
                  </a:lnTo>
                  <a:lnTo>
                    <a:pt x="103" y="242"/>
                  </a:lnTo>
                  <a:lnTo>
                    <a:pt x="98" y="245"/>
                  </a:lnTo>
                  <a:lnTo>
                    <a:pt x="93" y="244"/>
                  </a:lnTo>
                  <a:lnTo>
                    <a:pt x="95" y="242"/>
                  </a:lnTo>
                  <a:lnTo>
                    <a:pt x="95" y="239"/>
                  </a:lnTo>
                  <a:lnTo>
                    <a:pt x="88" y="239"/>
                  </a:lnTo>
                  <a:lnTo>
                    <a:pt x="86" y="245"/>
                  </a:lnTo>
                  <a:lnTo>
                    <a:pt x="82" y="250"/>
                  </a:lnTo>
                  <a:lnTo>
                    <a:pt x="76" y="247"/>
                  </a:lnTo>
                  <a:lnTo>
                    <a:pt x="73" y="247"/>
                  </a:lnTo>
                  <a:lnTo>
                    <a:pt x="70" y="245"/>
                  </a:lnTo>
                  <a:lnTo>
                    <a:pt x="64" y="244"/>
                  </a:lnTo>
                  <a:lnTo>
                    <a:pt x="63" y="247"/>
                  </a:lnTo>
                  <a:lnTo>
                    <a:pt x="55" y="245"/>
                  </a:lnTo>
                  <a:lnTo>
                    <a:pt x="53" y="244"/>
                  </a:lnTo>
                  <a:lnTo>
                    <a:pt x="49" y="239"/>
                  </a:lnTo>
                  <a:lnTo>
                    <a:pt x="44" y="236"/>
                  </a:lnTo>
                  <a:lnTo>
                    <a:pt x="38" y="236"/>
                  </a:lnTo>
                  <a:lnTo>
                    <a:pt x="33" y="228"/>
                  </a:lnTo>
                  <a:lnTo>
                    <a:pt x="30" y="230"/>
                  </a:lnTo>
                  <a:lnTo>
                    <a:pt x="30" y="233"/>
                  </a:lnTo>
                  <a:lnTo>
                    <a:pt x="30" y="234"/>
                  </a:lnTo>
                  <a:lnTo>
                    <a:pt x="27" y="234"/>
                  </a:lnTo>
                  <a:lnTo>
                    <a:pt x="24" y="234"/>
                  </a:lnTo>
                  <a:lnTo>
                    <a:pt x="24" y="238"/>
                  </a:lnTo>
                  <a:lnTo>
                    <a:pt x="29" y="242"/>
                  </a:lnTo>
                  <a:lnTo>
                    <a:pt x="27" y="245"/>
                  </a:lnTo>
                  <a:lnTo>
                    <a:pt x="24" y="245"/>
                  </a:lnTo>
                  <a:lnTo>
                    <a:pt x="19" y="245"/>
                  </a:lnTo>
                  <a:lnTo>
                    <a:pt x="18" y="250"/>
                  </a:lnTo>
                  <a:lnTo>
                    <a:pt x="9" y="250"/>
                  </a:lnTo>
                  <a:lnTo>
                    <a:pt x="6" y="253"/>
                  </a:lnTo>
                  <a:lnTo>
                    <a:pt x="6" y="259"/>
                  </a:lnTo>
                  <a:lnTo>
                    <a:pt x="2" y="260"/>
                  </a:lnTo>
                  <a:lnTo>
                    <a:pt x="0" y="266"/>
                  </a:lnTo>
                  <a:lnTo>
                    <a:pt x="4" y="275"/>
                  </a:lnTo>
                  <a:lnTo>
                    <a:pt x="7" y="278"/>
                  </a:lnTo>
                  <a:lnTo>
                    <a:pt x="12" y="277"/>
                  </a:lnTo>
                  <a:lnTo>
                    <a:pt x="18" y="283"/>
                  </a:lnTo>
                  <a:lnTo>
                    <a:pt x="15" y="286"/>
                  </a:lnTo>
                  <a:lnTo>
                    <a:pt x="24" y="286"/>
                  </a:lnTo>
                  <a:lnTo>
                    <a:pt x="29" y="287"/>
                  </a:lnTo>
                  <a:lnTo>
                    <a:pt x="30" y="286"/>
                  </a:lnTo>
                  <a:lnTo>
                    <a:pt x="36" y="286"/>
                  </a:lnTo>
                  <a:lnTo>
                    <a:pt x="38" y="284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52" y="284"/>
                  </a:lnTo>
                  <a:lnTo>
                    <a:pt x="55" y="281"/>
                  </a:lnTo>
                  <a:lnTo>
                    <a:pt x="55" y="277"/>
                  </a:lnTo>
                  <a:lnTo>
                    <a:pt x="58" y="273"/>
                  </a:lnTo>
                  <a:lnTo>
                    <a:pt x="59" y="273"/>
                  </a:lnTo>
                  <a:lnTo>
                    <a:pt x="64" y="281"/>
                  </a:lnTo>
                  <a:lnTo>
                    <a:pt x="69" y="281"/>
                  </a:lnTo>
                  <a:lnTo>
                    <a:pt x="73" y="284"/>
                  </a:lnTo>
                  <a:lnTo>
                    <a:pt x="78" y="286"/>
                  </a:lnTo>
                  <a:lnTo>
                    <a:pt x="80" y="283"/>
                  </a:lnTo>
                  <a:lnTo>
                    <a:pt x="84" y="278"/>
                  </a:lnTo>
                  <a:lnTo>
                    <a:pt x="86" y="278"/>
                  </a:lnTo>
                  <a:lnTo>
                    <a:pt x="90" y="275"/>
                  </a:lnTo>
                  <a:lnTo>
                    <a:pt x="95" y="273"/>
                  </a:lnTo>
                  <a:lnTo>
                    <a:pt x="93" y="277"/>
                  </a:lnTo>
                  <a:lnTo>
                    <a:pt x="93" y="283"/>
                  </a:lnTo>
                  <a:lnTo>
                    <a:pt x="90" y="286"/>
                  </a:lnTo>
                  <a:lnTo>
                    <a:pt x="92" y="290"/>
                  </a:lnTo>
                  <a:lnTo>
                    <a:pt x="95" y="287"/>
                  </a:lnTo>
                  <a:lnTo>
                    <a:pt x="99" y="281"/>
                  </a:lnTo>
                  <a:lnTo>
                    <a:pt x="103" y="281"/>
                  </a:lnTo>
                  <a:lnTo>
                    <a:pt x="107" y="281"/>
                  </a:lnTo>
                  <a:lnTo>
                    <a:pt x="103" y="286"/>
                  </a:lnTo>
                  <a:lnTo>
                    <a:pt x="104" y="290"/>
                  </a:lnTo>
                  <a:lnTo>
                    <a:pt x="104" y="286"/>
                  </a:lnTo>
                  <a:lnTo>
                    <a:pt x="114" y="278"/>
                  </a:lnTo>
                  <a:lnTo>
                    <a:pt x="116" y="281"/>
                  </a:lnTo>
                  <a:lnTo>
                    <a:pt x="110" y="286"/>
                  </a:lnTo>
                  <a:lnTo>
                    <a:pt x="110" y="290"/>
                  </a:lnTo>
                  <a:lnTo>
                    <a:pt x="114" y="291"/>
                  </a:lnTo>
                  <a:lnTo>
                    <a:pt x="116" y="299"/>
                  </a:lnTo>
                  <a:lnTo>
                    <a:pt x="116" y="303"/>
                  </a:lnTo>
                  <a:lnTo>
                    <a:pt x="119" y="306"/>
                  </a:lnTo>
                  <a:lnTo>
                    <a:pt x="122" y="306"/>
                  </a:lnTo>
                  <a:lnTo>
                    <a:pt x="122" y="312"/>
                  </a:lnTo>
                  <a:lnTo>
                    <a:pt x="124" y="314"/>
                  </a:lnTo>
                  <a:lnTo>
                    <a:pt x="128" y="308"/>
                  </a:lnTo>
                  <a:lnTo>
                    <a:pt x="128" y="315"/>
                  </a:lnTo>
                  <a:lnTo>
                    <a:pt x="124" y="320"/>
                  </a:lnTo>
                  <a:lnTo>
                    <a:pt x="128" y="323"/>
                  </a:lnTo>
                  <a:lnTo>
                    <a:pt x="130" y="320"/>
                  </a:lnTo>
                  <a:lnTo>
                    <a:pt x="131" y="315"/>
                  </a:lnTo>
                  <a:lnTo>
                    <a:pt x="135" y="314"/>
                  </a:lnTo>
                  <a:lnTo>
                    <a:pt x="133" y="315"/>
                  </a:lnTo>
                  <a:lnTo>
                    <a:pt x="135" y="321"/>
                  </a:lnTo>
                  <a:lnTo>
                    <a:pt x="139" y="326"/>
                  </a:lnTo>
                  <a:lnTo>
                    <a:pt x="147" y="325"/>
                  </a:lnTo>
                  <a:lnTo>
                    <a:pt x="145" y="329"/>
                  </a:lnTo>
                  <a:lnTo>
                    <a:pt x="135" y="334"/>
                  </a:lnTo>
                  <a:lnTo>
                    <a:pt x="128" y="334"/>
                  </a:lnTo>
                  <a:lnTo>
                    <a:pt x="125" y="336"/>
                  </a:lnTo>
                  <a:lnTo>
                    <a:pt x="131" y="338"/>
                  </a:lnTo>
                  <a:lnTo>
                    <a:pt x="131" y="343"/>
                  </a:lnTo>
                  <a:lnTo>
                    <a:pt x="135" y="348"/>
                  </a:lnTo>
                  <a:lnTo>
                    <a:pt x="137" y="351"/>
                  </a:lnTo>
                  <a:lnTo>
                    <a:pt x="141" y="351"/>
                  </a:lnTo>
                  <a:lnTo>
                    <a:pt x="141" y="354"/>
                  </a:lnTo>
                  <a:lnTo>
                    <a:pt x="147" y="358"/>
                  </a:lnTo>
                  <a:lnTo>
                    <a:pt x="148" y="360"/>
                  </a:lnTo>
                  <a:lnTo>
                    <a:pt x="153" y="360"/>
                  </a:lnTo>
                  <a:lnTo>
                    <a:pt x="160" y="365"/>
                  </a:lnTo>
                  <a:lnTo>
                    <a:pt x="165" y="365"/>
                  </a:lnTo>
                  <a:lnTo>
                    <a:pt x="165" y="367"/>
                  </a:lnTo>
                  <a:lnTo>
                    <a:pt x="168" y="370"/>
                  </a:lnTo>
                  <a:lnTo>
                    <a:pt x="170" y="367"/>
                  </a:lnTo>
                  <a:lnTo>
                    <a:pt x="171" y="365"/>
                  </a:lnTo>
                  <a:lnTo>
                    <a:pt x="177" y="367"/>
                  </a:lnTo>
                  <a:lnTo>
                    <a:pt x="174" y="370"/>
                  </a:lnTo>
                  <a:lnTo>
                    <a:pt x="171" y="371"/>
                  </a:lnTo>
                  <a:lnTo>
                    <a:pt x="174" y="375"/>
                  </a:lnTo>
                  <a:lnTo>
                    <a:pt x="177" y="376"/>
                  </a:lnTo>
                  <a:lnTo>
                    <a:pt x="179" y="376"/>
                  </a:lnTo>
                  <a:lnTo>
                    <a:pt x="179" y="381"/>
                  </a:lnTo>
                  <a:lnTo>
                    <a:pt x="185" y="387"/>
                  </a:lnTo>
                  <a:lnTo>
                    <a:pt x="189" y="387"/>
                  </a:lnTo>
                  <a:lnTo>
                    <a:pt x="193" y="388"/>
                  </a:lnTo>
                  <a:lnTo>
                    <a:pt x="193" y="392"/>
                  </a:lnTo>
                  <a:lnTo>
                    <a:pt x="202" y="393"/>
                  </a:lnTo>
                  <a:lnTo>
                    <a:pt x="204" y="393"/>
                  </a:lnTo>
                  <a:lnTo>
                    <a:pt x="205" y="393"/>
                  </a:lnTo>
                  <a:lnTo>
                    <a:pt x="210" y="393"/>
                  </a:lnTo>
                  <a:lnTo>
                    <a:pt x="214" y="396"/>
                  </a:lnTo>
                  <a:lnTo>
                    <a:pt x="215" y="399"/>
                  </a:lnTo>
                  <a:lnTo>
                    <a:pt x="223" y="404"/>
                  </a:lnTo>
                  <a:lnTo>
                    <a:pt x="226" y="404"/>
                  </a:lnTo>
                  <a:lnTo>
                    <a:pt x="231" y="406"/>
                  </a:lnTo>
                  <a:lnTo>
                    <a:pt x="238" y="410"/>
                  </a:lnTo>
                  <a:lnTo>
                    <a:pt x="244" y="412"/>
                  </a:lnTo>
                  <a:lnTo>
                    <a:pt x="249" y="412"/>
                  </a:lnTo>
                  <a:lnTo>
                    <a:pt x="249" y="408"/>
                  </a:lnTo>
                  <a:lnTo>
                    <a:pt x="248" y="404"/>
                  </a:lnTo>
                  <a:lnTo>
                    <a:pt x="245" y="402"/>
                  </a:lnTo>
                  <a:lnTo>
                    <a:pt x="248" y="399"/>
                  </a:lnTo>
                  <a:lnTo>
                    <a:pt x="251" y="401"/>
                  </a:lnTo>
                  <a:lnTo>
                    <a:pt x="254" y="397"/>
                  </a:lnTo>
                  <a:lnTo>
                    <a:pt x="251" y="396"/>
                  </a:lnTo>
                  <a:lnTo>
                    <a:pt x="249" y="397"/>
                  </a:lnTo>
                  <a:lnTo>
                    <a:pt x="248" y="396"/>
                  </a:lnTo>
                  <a:lnTo>
                    <a:pt x="248" y="390"/>
                  </a:lnTo>
                  <a:lnTo>
                    <a:pt x="245" y="388"/>
                  </a:lnTo>
                  <a:lnTo>
                    <a:pt x="242" y="392"/>
                  </a:lnTo>
                  <a:lnTo>
                    <a:pt x="242" y="390"/>
                  </a:lnTo>
                  <a:lnTo>
                    <a:pt x="240" y="387"/>
                  </a:lnTo>
                  <a:lnTo>
                    <a:pt x="238" y="387"/>
                  </a:lnTo>
                  <a:lnTo>
                    <a:pt x="242" y="382"/>
                  </a:lnTo>
                  <a:lnTo>
                    <a:pt x="240" y="376"/>
                  </a:lnTo>
                  <a:lnTo>
                    <a:pt x="238" y="376"/>
                  </a:lnTo>
                  <a:lnTo>
                    <a:pt x="232" y="376"/>
                  </a:lnTo>
                  <a:lnTo>
                    <a:pt x="234" y="373"/>
                  </a:lnTo>
                  <a:lnTo>
                    <a:pt x="231" y="367"/>
                  </a:lnTo>
                  <a:lnTo>
                    <a:pt x="231" y="364"/>
                  </a:lnTo>
                  <a:lnTo>
                    <a:pt x="225" y="364"/>
                  </a:lnTo>
                  <a:lnTo>
                    <a:pt x="226" y="360"/>
                  </a:lnTo>
                  <a:lnTo>
                    <a:pt x="225" y="360"/>
                  </a:lnTo>
                  <a:lnTo>
                    <a:pt x="220" y="360"/>
                  </a:lnTo>
                  <a:lnTo>
                    <a:pt x="223" y="358"/>
                  </a:lnTo>
                  <a:lnTo>
                    <a:pt x="219" y="354"/>
                  </a:lnTo>
                  <a:lnTo>
                    <a:pt x="214" y="353"/>
                  </a:lnTo>
                  <a:lnTo>
                    <a:pt x="211" y="353"/>
                  </a:lnTo>
                  <a:lnTo>
                    <a:pt x="210" y="348"/>
                  </a:lnTo>
                  <a:lnTo>
                    <a:pt x="210" y="343"/>
                  </a:lnTo>
                  <a:lnTo>
                    <a:pt x="210" y="342"/>
                  </a:lnTo>
                  <a:lnTo>
                    <a:pt x="202" y="336"/>
                  </a:lnTo>
                  <a:lnTo>
                    <a:pt x="200" y="331"/>
                  </a:lnTo>
                  <a:lnTo>
                    <a:pt x="202" y="326"/>
                  </a:lnTo>
                  <a:lnTo>
                    <a:pt x="205" y="329"/>
                  </a:lnTo>
                  <a:lnTo>
                    <a:pt x="208" y="325"/>
                  </a:lnTo>
                  <a:lnTo>
                    <a:pt x="214" y="325"/>
                  </a:lnTo>
                  <a:lnTo>
                    <a:pt x="214" y="331"/>
                  </a:lnTo>
                  <a:lnTo>
                    <a:pt x="217" y="336"/>
                  </a:lnTo>
                  <a:lnTo>
                    <a:pt x="223" y="339"/>
                  </a:lnTo>
                  <a:lnTo>
                    <a:pt x="225" y="342"/>
                  </a:lnTo>
                  <a:lnTo>
                    <a:pt x="226" y="345"/>
                  </a:lnTo>
                  <a:lnTo>
                    <a:pt x="229" y="348"/>
                  </a:lnTo>
                  <a:lnTo>
                    <a:pt x="229" y="343"/>
                  </a:lnTo>
                  <a:lnTo>
                    <a:pt x="225" y="338"/>
                  </a:lnTo>
                  <a:lnTo>
                    <a:pt x="225" y="334"/>
                  </a:lnTo>
                  <a:lnTo>
                    <a:pt x="229" y="334"/>
                  </a:lnTo>
                  <a:lnTo>
                    <a:pt x="231" y="338"/>
                  </a:lnTo>
                  <a:lnTo>
                    <a:pt x="231" y="339"/>
                  </a:lnTo>
                  <a:lnTo>
                    <a:pt x="232" y="342"/>
                  </a:lnTo>
                  <a:lnTo>
                    <a:pt x="236" y="348"/>
                  </a:lnTo>
                  <a:lnTo>
                    <a:pt x="240" y="348"/>
                  </a:lnTo>
                  <a:lnTo>
                    <a:pt x="240" y="353"/>
                  </a:lnTo>
                  <a:lnTo>
                    <a:pt x="244" y="354"/>
                  </a:lnTo>
                  <a:lnTo>
                    <a:pt x="248" y="364"/>
                  </a:lnTo>
                  <a:lnTo>
                    <a:pt x="249" y="360"/>
                  </a:lnTo>
                  <a:lnTo>
                    <a:pt x="249" y="356"/>
                  </a:lnTo>
                  <a:lnTo>
                    <a:pt x="248" y="348"/>
                  </a:lnTo>
                  <a:lnTo>
                    <a:pt x="249" y="345"/>
                  </a:lnTo>
                  <a:lnTo>
                    <a:pt x="249" y="348"/>
                  </a:lnTo>
                  <a:lnTo>
                    <a:pt x="254" y="354"/>
                  </a:lnTo>
                  <a:lnTo>
                    <a:pt x="251" y="358"/>
                  </a:lnTo>
                  <a:lnTo>
                    <a:pt x="254" y="362"/>
                  </a:lnTo>
                  <a:lnTo>
                    <a:pt x="255" y="364"/>
                  </a:lnTo>
                  <a:lnTo>
                    <a:pt x="259" y="365"/>
                  </a:lnTo>
                  <a:lnTo>
                    <a:pt x="260" y="362"/>
                  </a:lnTo>
                  <a:lnTo>
                    <a:pt x="259" y="360"/>
                  </a:lnTo>
                  <a:lnTo>
                    <a:pt x="259" y="358"/>
                  </a:lnTo>
                  <a:lnTo>
                    <a:pt x="260" y="360"/>
                  </a:lnTo>
                  <a:lnTo>
                    <a:pt x="263" y="364"/>
                  </a:lnTo>
                  <a:lnTo>
                    <a:pt x="263" y="367"/>
                  </a:lnTo>
                  <a:lnTo>
                    <a:pt x="265" y="367"/>
                  </a:lnTo>
                  <a:lnTo>
                    <a:pt x="265" y="365"/>
                  </a:lnTo>
                  <a:lnTo>
                    <a:pt x="269" y="364"/>
                  </a:lnTo>
                  <a:lnTo>
                    <a:pt x="269" y="370"/>
                  </a:lnTo>
                  <a:lnTo>
                    <a:pt x="271" y="373"/>
                  </a:lnTo>
                  <a:lnTo>
                    <a:pt x="274" y="373"/>
                  </a:lnTo>
                  <a:lnTo>
                    <a:pt x="276" y="370"/>
                  </a:lnTo>
                  <a:lnTo>
                    <a:pt x="276" y="375"/>
                  </a:lnTo>
                  <a:lnTo>
                    <a:pt x="274" y="376"/>
                  </a:lnTo>
                  <a:lnTo>
                    <a:pt x="276" y="384"/>
                  </a:lnTo>
                  <a:lnTo>
                    <a:pt x="280" y="388"/>
                  </a:lnTo>
                  <a:lnTo>
                    <a:pt x="284" y="388"/>
                  </a:lnTo>
                  <a:lnTo>
                    <a:pt x="284" y="384"/>
                  </a:lnTo>
                  <a:lnTo>
                    <a:pt x="284" y="376"/>
                  </a:lnTo>
                  <a:lnTo>
                    <a:pt x="280" y="370"/>
                  </a:lnTo>
                  <a:lnTo>
                    <a:pt x="286" y="370"/>
                  </a:lnTo>
                  <a:lnTo>
                    <a:pt x="288" y="373"/>
                  </a:lnTo>
                  <a:lnTo>
                    <a:pt x="291" y="373"/>
                  </a:lnTo>
                  <a:lnTo>
                    <a:pt x="294" y="371"/>
                  </a:lnTo>
                  <a:lnTo>
                    <a:pt x="291" y="367"/>
                  </a:lnTo>
                  <a:lnTo>
                    <a:pt x="294" y="364"/>
                  </a:lnTo>
                  <a:lnTo>
                    <a:pt x="294" y="356"/>
                  </a:lnTo>
                  <a:lnTo>
                    <a:pt x="289" y="348"/>
                  </a:lnTo>
                  <a:lnTo>
                    <a:pt x="291" y="339"/>
                  </a:lnTo>
                  <a:lnTo>
                    <a:pt x="291" y="334"/>
                  </a:lnTo>
                  <a:lnTo>
                    <a:pt x="294" y="342"/>
                  </a:lnTo>
                  <a:lnTo>
                    <a:pt x="291" y="345"/>
                  </a:lnTo>
                  <a:lnTo>
                    <a:pt x="294" y="351"/>
                  </a:lnTo>
                  <a:lnTo>
                    <a:pt x="301" y="358"/>
                  </a:lnTo>
                  <a:lnTo>
                    <a:pt x="303" y="356"/>
                  </a:lnTo>
                  <a:lnTo>
                    <a:pt x="301" y="353"/>
                  </a:lnTo>
                  <a:lnTo>
                    <a:pt x="305" y="348"/>
                  </a:lnTo>
                  <a:lnTo>
                    <a:pt x="305" y="339"/>
                  </a:lnTo>
                  <a:lnTo>
                    <a:pt x="309" y="338"/>
                  </a:lnTo>
                  <a:lnTo>
                    <a:pt x="306" y="338"/>
                  </a:lnTo>
                  <a:lnTo>
                    <a:pt x="301" y="329"/>
                  </a:lnTo>
                  <a:lnTo>
                    <a:pt x="300" y="323"/>
                  </a:lnTo>
                  <a:lnTo>
                    <a:pt x="297" y="323"/>
                  </a:lnTo>
                  <a:lnTo>
                    <a:pt x="297" y="320"/>
                  </a:lnTo>
                  <a:lnTo>
                    <a:pt x="295" y="314"/>
                  </a:lnTo>
                  <a:lnTo>
                    <a:pt x="291" y="309"/>
                  </a:lnTo>
                  <a:lnTo>
                    <a:pt x="297" y="309"/>
                  </a:lnTo>
                  <a:lnTo>
                    <a:pt x="300" y="308"/>
                  </a:lnTo>
                  <a:lnTo>
                    <a:pt x="303" y="304"/>
                  </a:lnTo>
                  <a:lnTo>
                    <a:pt x="301" y="303"/>
                  </a:lnTo>
                  <a:lnTo>
                    <a:pt x="297" y="304"/>
                  </a:lnTo>
                  <a:lnTo>
                    <a:pt x="291" y="304"/>
                  </a:lnTo>
                  <a:lnTo>
                    <a:pt x="288" y="303"/>
                  </a:lnTo>
                  <a:lnTo>
                    <a:pt x="289" y="300"/>
                  </a:lnTo>
                  <a:lnTo>
                    <a:pt x="289" y="299"/>
                  </a:lnTo>
                  <a:lnTo>
                    <a:pt x="294" y="295"/>
                  </a:lnTo>
                  <a:lnTo>
                    <a:pt x="295" y="291"/>
                  </a:lnTo>
                  <a:lnTo>
                    <a:pt x="291" y="287"/>
                  </a:lnTo>
                  <a:lnTo>
                    <a:pt x="289" y="287"/>
                  </a:lnTo>
                  <a:lnTo>
                    <a:pt x="289" y="290"/>
                  </a:lnTo>
                  <a:lnTo>
                    <a:pt x="286" y="293"/>
                  </a:lnTo>
                  <a:lnTo>
                    <a:pt x="286" y="290"/>
                  </a:lnTo>
                  <a:lnTo>
                    <a:pt x="284" y="291"/>
                  </a:lnTo>
                  <a:lnTo>
                    <a:pt x="278" y="291"/>
                  </a:lnTo>
                  <a:lnTo>
                    <a:pt x="276" y="290"/>
                  </a:lnTo>
                  <a:lnTo>
                    <a:pt x="282" y="287"/>
                  </a:lnTo>
                  <a:lnTo>
                    <a:pt x="282" y="286"/>
                  </a:lnTo>
                  <a:lnTo>
                    <a:pt x="280" y="284"/>
                  </a:lnTo>
                  <a:lnTo>
                    <a:pt x="280" y="278"/>
                  </a:lnTo>
                  <a:lnTo>
                    <a:pt x="276" y="277"/>
                  </a:lnTo>
                  <a:lnTo>
                    <a:pt x="274" y="278"/>
                  </a:lnTo>
                  <a:lnTo>
                    <a:pt x="272" y="283"/>
                  </a:lnTo>
                  <a:lnTo>
                    <a:pt x="272" y="286"/>
                  </a:lnTo>
                  <a:lnTo>
                    <a:pt x="271" y="284"/>
                  </a:lnTo>
                  <a:lnTo>
                    <a:pt x="271" y="278"/>
                  </a:lnTo>
                  <a:lnTo>
                    <a:pt x="269" y="275"/>
                  </a:lnTo>
                  <a:lnTo>
                    <a:pt x="266" y="275"/>
                  </a:lnTo>
                  <a:lnTo>
                    <a:pt x="266" y="272"/>
                  </a:lnTo>
                  <a:lnTo>
                    <a:pt x="265" y="272"/>
                  </a:lnTo>
                  <a:lnTo>
                    <a:pt x="265" y="269"/>
                  </a:lnTo>
                  <a:lnTo>
                    <a:pt x="265" y="266"/>
                  </a:lnTo>
                  <a:lnTo>
                    <a:pt x="263" y="266"/>
                  </a:lnTo>
                  <a:lnTo>
                    <a:pt x="263" y="264"/>
                  </a:lnTo>
                  <a:lnTo>
                    <a:pt x="269" y="262"/>
                  </a:lnTo>
                  <a:lnTo>
                    <a:pt x="271" y="262"/>
                  </a:lnTo>
                  <a:lnTo>
                    <a:pt x="269" y="259"/>
                  </a:lnTo>
                  <a:lnTo>
                    <a:pt x="263" y="259"/>
                  </a:lnTo>
                  <a:lnTo>
                    <a:pt x="260" y="256"/>
                  </a:lnTo>
                  <a:lnTo>
                    <a:pt x="265" y="255"/>
                  </a:lnTo>
                  <a:lnTo>
                    <a:pt x="269" y="251"/>
                  </a:lnTo>
                  <a:lnTo>
                    <a:pt x="266" y="247"/>
                  </a:lnTo>
                  <a:lnTo>
                    <a:pt x="259" y="247"/>
                  </a:lnTo>
                  <a:lnTo>
                    <a:pt x="257" y="250"/>
                  </a:lnTo>
                  <a:lnTo>
                    <a:pt x="255" y="253"/>
                  </a:lnTo>
                  <a:lnTo>
                    <a:pt x="245" y="255"/>
                  </a:lnTo>
                  <a:lnTo>
                    <a:pt x="249" y="251"/>
                  </a:lnTo>
                  <a:lnTo>
                    <a:pt x="257" y="245"/>
                  </a:lnTo>
                  <a:lnTo>
                    <a:pt x="259" y="242"/>
                  </a:lnTo>
                  <a:lnTo>
                    <a:pt x="259" y="239"/>
                  </a:lnTo>
                  <a:lnTo>
                    <a:pt x="255" y="239"/>
                  </a:lnTo>
                  <a:lnTo>
                    <a:pt x="254" y="239"/>
                  </a:lnTo>
                  <a:lnTo>
                    <a:pt x="255" y="236"/>
                  </a:lnTo>
                  <a:lnTo>
                    <a:pt x="254" y="234"/>
                  </a:lnTo>
                  <a:lnTo>
                    <a:pt x="249" y="234"/>
                  </a:lnTo>
                  <a:lnTo>
                    <a:pt x="249" y="233"/>
                  </a:lnTo>
                  <a:lnTo>
                    <a:pt x="254" y="228"/>
                  </a:lnTo>
                  <a:lnTo>
                    <a:pt x="254" y="223"/>
                  </a:lnTo>
                  <a:lnTo>
                    <a:pt x="248" y="223"/>
                  </a:lnTo>
                  <a:lnTo>
                    <a:pt x="242" y="221"/>
                  </a:lnTo>
                  <a:lnTo>
                    <a:pt x="236" y="219"/>
                  </a:lnTo>
                  <a:lnTo>
                    <a:pt x="234" y="217"/>
                  </a:lnTo>
                  <a:lnTo>
                    <a:pt x="240" y="217"/>
                  </a:lnTo>
                  <a:lnTo>
                    <a:pt x="244" y="217"/>
                  </a:lnTo>
                  <a:lnTo>
                    <a:pt x="248" y="216"/>
                  </a:lnTo>
                  <a:lnTo>
                    <a:pt x="249" y="219"/>
                  </a:lnTo>
                  <a:lnTo>
                    <a:pt x="249" y="221"/>
                  </a:lnTo>
                  <a:lnTo>
                    <a:pt x="255" y="221"/>
                  </a:lnTo>
                  <a:lnTo>
                    <a:pt x="259" y="223"/>
                  </a:lnTo>
                  <a:lnTo>
                    <a:pt x="259" y="227"/>
                  </a:lnTo>
                  <a:lnTo>
                    <a:pt x="259" y="228"/>
                  </a:lnTo>
                  <a:lnTo>
                    <a:pt x="259" y="233"/>
                  </a:lnTo>
                  <a:lnTo>
                    <a:pt x="265" y="238"/>
                  </a:lnTo>
                  <a:lnTo>
                    <a:pt x="266" y="238"/>
                  </a:lnTo>
                  <a:lnTo>
                    <a:pt x="266" y="233"/>
                  </a:lnTo>
                  <a:lnTo>
                    <a:pt x="271" y="236"/>
                  </a:lnTo>
                  <a:lnTo>
                    <a:pt x="276" y="236"/>
                  </a:lnTo>
                  <a:lnTo>
                    <a:pt x="278" y="236"/>
                  </a:lnTo>
                  <a:lnTo>
                    <a:pt x="278" y="234"/>
                  </a:lnTo>
                  <a:lnTo>
                    <a:pt x="276" y="233"/>
                  </a:lnTo>
                  <a:lnTo>
                    <a:pt x="278" y="230"/>
                  </a:lnTo>
                  <a:lnTo>
                    <a:pt x="276" y="225"/>
                  </a:lnTo>
                  <a:lnTo>
                    <a:pt x="272" y="221"/>
                  </a:lnTo>
                  <a:lnTo>
                    <a:pt x="269" y="221"/>
                  </a:lnTo>
                  <a:lnTo>
                    <a:pt x="271" y="217"/>
                  </a:lnTo>
                  <a:lnTo>
                    <a:pt x="271" y="214"/>
                  </a:lnTo>
                  <a:lnTo>
                    <a:pt x="266" y="211"/>
                  </a:lnTo>
                  <a:lnTo>
                    <a:pt x="269" y="211"/>
                  </a:lnTo>
                  <a:lnTo>
                    <a:pt x="271" y="211"/>
                  </a:lnTo>
                  <a:lnTo>
                    <a:pt x="272" y="217"/>
                  </a:lnTo>
                  <a:lnTo>
                    <a:pt x="274" y="219"/>
                  </a:lnTo>
                  <a:lnTo>
                    <a:pt x="278" y="219"/>
                  </a:lnTo>
                  <a:lnTo>
                    <a:pt x="278" y="217"/>
                  </a:lnTo>
                  <a:lnTo>
                    <a:pt x="278" y="216"/>
                  </a:lnTo>
                  <a:lnTo>
                    <a:pt x="282" y="217"/>
                  </a:lnTo>
                  <a:lnTo>
                    <a:pt x="282" y="214"/>
                  </a:lnTo>
                  <a:lnTo>
                    <a:pt x="278" y="208"/>
                  </a:lnTo>
                  <a:lnTo>
                    <a:pt x="272" y="206"/>
                  </a:lnTo>
                  <a:lnTo>
                    <a:pt x="278" y="206"/>
                  </a:lnTo>
                  <a:lnTo>
                    <a:pt x="280" y="208"/>
                  </a:lnTo>
                  <a:lnTo>
                    <a:pt x="284" y="211"/>
                  </a:lnTo>
                  <a:lnTo>
                    <a:pt x="288" y="208"/>
                  </a:lnTo>
                  <a:lnTo>
                    <a:pt x="286" y="206"/>
                  </a:lnTo>
                  <a:lnTo>
                    <a:pt x="288" y="202"/>
                  </a:lnTo>
                  <a:lnTo>
                    <a:pt x="289" y="205"/>
                  </a:lnTo>
                  <a:lnTo>
                    <a:pt x="294" y="206"/>
                  </a:lnTo>
                  <a:lnTo>
                    <a:pt x="294" y="211"/>
                  </a:lnTo>
                  <a:lnTo>
                    <a:pt x="291" y="211"/>
                  </a:lnTo>
                  <a:lnTo>
                    <a:pt x="289" y="216"/>
                  </a:lnTo>
                  <a:lnTo>
                    <a:pt x="291" y="216"/>
                  </a:lnTo>
                  <a:lnTo>
                    <a:pt x="294" y="216"/>
                  </a:lnTo>
                  <a:lnTo>
                    <a:pt x="295" y="217"/>
                  </a:lnTo>
                  <a:lnTo>
                    <a:pt x="295" y="219"/>
                  </a:lnTo>
                  <a:lnTo>
                    <a:pt x="294" y="221"/>
                  </a:lnTo>
                  <a:lnTo>
                    <a:pt x="291" y="223"/>
                  </a:lnTo>
                  <a:lnTo>
                    <a:pt x="294" y="223"/>
                  </a:lnTo>
                  <a:lnTo>
                    <a:pt x="297" y="223"/>
                  </a:lnTo>
                  <a:lnTo>
                    <a:pt x="300" y="225"/>
                  </a:lnTo>
                  <a:lnTo>
                    <a:pt x="297" y="228"/>
                  </a:lnTo>
                  <a:lnTo>
                    <a:pt x="300" y="230"/>
                  </a:lnTo>
                  <a:lnTo>
                    <a:pt x="301" y="230"/>
                  </a:lnTo>
                  <a:lnTo>
                    <a:pt x="305" y="228"/>
                  </a:lnTo>
                  <a:lnTo>
                    <a:pt x="316" y="223"/>
                  </a:lnTo>
                  <a:lnTo>
                    <a:pt x="320" y="217"/>
                  </a:lnTo>
                  <a:lnTo>
                    <a:pt x="320" y="221"/>
                  </a:lnTo>
                  <a:lnTo>
                    <a:pt x="318" y="223"/>
                  </a:lnTo>
                  <a:lnTo>
                    <a:pt x="316" y="225"/>
                  </a:lnTo>
                  <a:lnTo>
                    <a:pt x="311" y="228"/>
                  </a:lnTo>
                  <a:lnTo>
                    <a:pt x="303" y="236"/>
                  </a:lnTo>
                  <a:lnTo>
                    <a:pt x="303" y="238"/>
                  </a:lnTo>
                  <a:lnTo>
                    <a:pt x="306" y="238"/>
                  </a:lnTo>
                  <a:lnTo>
                    <a:pt x="312" y="238"/>
                  </a:lnTo>
                  <a:lnTo>
                    <a:pt x="318" y="233"/>
                  </a:lnTo>
                  <a:lnTo>
                    <a:pt x="322" y="234"/>
                  </a:lnTo>
                  <a:lnTo>
                    <a:pt x="330" y="230"/>
                  </a:lnTo>
                  <a:lnTo>
                    <a:pt x="331" y="227"/>
                  </a:lnTo>
                  <a:lnTo>
                    <a:pt x="333" y="225"/>
                  </a:lnTo>
                  <a:lnTo>
                    <a:pt x="339" y="223"/>
                  </a:lnTo>
                  <a:lnTo>
                    <a:pt x="341" y="221"/>
                  </a:lnTo>
                  <a:lnTo>
                    <a:pt x="341" y="223"/>
                  </a:lnTo>
                  <a:lnTo>
                    <a:pt x="339" y="225"/>
                  </a:lnTo>
                  <a:lnTo>
                    <a:pt x="335" y="228"/>
                  </a:lnTo>
                  <a:lnTo>
                    <a:pt x="333" y="233"/>
                  </a:lnTo>
                  <a:lnTo>
                    <a:pt x="330" y="234"/>
                  </a:lnTo>
                  <a:lnTo>
                    <a:pt x="326" y="238"/>
                  </a:lnTo>
                  <a:lnTo>
                    <a:pt x="320" y="238"/>
                  </a:lnTo>
                  <a:lnTo>
                    <a:pt x="316" y="239"/>
                  </a:lnTo>
                  <a:lnTo>
                    <a:pt x="312" y="245"/>
                  </a:lnTo>
                  <a:lnTo>
                    <a:pt x="312" y="247"/>
                  </a:lnTo>
                  <a:lnTo>
                    <a:pt x="315" y="247"/>
                  </a:lnTo>
                  <a:lnTo>
                    <a:pt x="316" y="247"/>
                  </a:lnTo>
                  <a:lnTo>
                    <a:pt x="322" y="245"/>
                  </a:lnTo>
                  <a:lnTo>
                    <a:pt x="324" y="247"/>
                  </a:lnTo>
                  <a:lnTo>
                    <a:pt x="320" y="250"/>
                  </a:lnTo>
                  <a:lnTo>
                    <a:pt x="316" y="250"/>
                  </a:lnTo>
                  <a:lnTo>
                    <a:pt x="315" y="251"/>
                  </a:lnTo>
                  <a:lnTo>
                    <a:pt x="315" y="253"/>
                  </a:lnTo>
                  <a:lnTo>
                    <a:pt x="316" y="255"/>
                  </a:lnTo>
                  <a:lnTo>
                    <a:pt x="320" y="253"/>
                  </a:lnTo>
                  <a:lnTo>
                    <a:pt x="322" y="253"/>
                  </a:lnTo>
                  <a:lnTo>
                    <a:pt x="318" y="256"/>
                  </a:lnTo>
                  <a:lnTo>
                    <a:pt x="315" y="256"/>
                  </a:lnTo>
                  <a:lnTo>
                    <a:pt x="315" y="260"/>
                  </a:lnTo>
                  <a:lnTo>
                    <a:pt x="318" y="262"/>
                  </a:lnTo>
                  <a:lnTo>
                    <a:pt x="322" y="260"/>
                  </a:lnTo>
                  <a:lnTo>
                    <a:pt x="326" y="262"/>
                  </a:lnTo>
                  <a:lnTo>
                    <a:pt x="324" y="264"/>
                  </a:lnTo>
                  <a:lnTo>
                    <a:pt x="318" y="266"/>
                  </a:lnTo>
                  <a:lnTo>
                    <a:pt x="316" y="267"/>
                  </a:lnTo>
                  <a:lnTo>
                    <a:pt x="318" y="272"/>
                  </a:lnTo>
                  <a:lnTo>
                    <a:pt x="320" y="273"/>
                  </a:lnTo>
                  <a:lnTo>
                    <a:pt x="320" y="277"/>
                  </a:lnTo>
                  <a:lnTo>
                    <a:pt x="322" y="278"/>
                  </a:lnTo>
                  <a:lnTo>
                    <a:pt x="324" y="275"/>
                  </a:lnTo>
                  <a:lnTo>
                    <a:pt x="326" y="269"/>
                  </a:lnTo>
                  <a:lnTo>
                    <a:pt x="330" y="267"/>
                  </a:lnTo>
                  <a:lnTo>
                    <a:pt x="330" y="269"/>
                  </a:lnTo>
                  <a:lnTo>
                    <a:pt x="330" y="272"/>
                  </a:lnTo>
                  <a:lnTo>
                    <a:pt x="328" y="273"/>
                  </a:lnTo>
                  <a:lnTo>
                    <a:pt x="328" y="275"/>
                  </a:lnTo>
                  <a:lnTo>
                    <a:pt x="330" y="277"/>
                  </a:lnTo>
                  <a:lnTo>
                    <a:pt x="328" y="281"/>
                  </a:lnTo>
                  <a:lnTo>
                    <a:pt x="330" y="283"/>
                  </a:lnTo>
                  <a:lnTo>
                    <a:pt x="331" y="283"/>
                  </a:lnTo>
                  <a:lnTo>
                    <a:pt x="333" y="281"/>
                  </a:lnTo>
                  <a:lnTo>
                    <a:pt x="337" y="278"/>
                  </a:lnTo>
                  <a:lnTo>
                    <a:pt x="339" y="278"/>
                  </a:lnTo>
                  <a:lnTo>
                    <a:pt x="339" y="281"/>
                  </a:lnTo>
                  <a:lnTo>
                    <a:pt x="337" y="283"/>
                  </a:lnTo>
                  <a:lnTo>
                    <a:pt x="337" y="284"/>
                  </a:lnTo>
                  <a:lnTo>
                    <a:pt x="339" y="286"/>
                  </a:lnTo>
                  <a:lnTo>
                    <a:pt x="339" y="287"/>
                  </a:lnTo>
                  <a:lnTo>
                    <a:pt x="341" y="287"/>
                  </a:lnTo>
                  <a:lnTo>
                    <a:pt x="341" y="290"/>
                  </a:lnTo>
                  <a:lnTo>
                    <a:pt x="343" y="291"/>
                  </a:lnTo>
                  <a:lnTo>
                    <a:pt x="344" y="290"/>
                  </a:lnTo>
                  <a:lnTo>
                    <a:pt x="350" y="287"/>
                  </a:lnTo>
                  <a:lnTo>
                    <a:pt x="350" y="284"/>
                  </a:lnTo>
                  <a:lnTo>
                    <a:pt x="350" y="281"/>
                  </a:lnTo>
                  <a:lnTo>
                    <a:pt x="346" y="278"/>
                  </a:lnTo>
                  <a:lnTo>
                    <a:pt x="349" y="277"/>
                  </a:lnTo>
                  <a:lnTo>
                    <a:pt x="350" y="278"/>
                  </a:lnTo>
                  <a:lnTo>
                    <a:pt x="352" y="278"/>
                  </a:lnTo>
                  <a:lnTo>
                    <a:pt x="352" y="277"/>
                  </a:lnTo>
                  <a:lnTo>
                    <a:pt x="350" y="273"/>
                  </a:lnTo>
                  <a:lnTo>
                    <a:pt x="350" y="272"/>
                  </a:lnTo>
                  <a:lnTo>
                    <a:pt x="352" y="269"/>
                  </a:lnTo>
                  <a:lnTo>
                    <a:pt x="355" y="267"/>
                  </a:lnTo>
                  <a:lnTo>
                    <a:pt x="352" y="266"/>
                  </a:lnTo>
                  <a:lnTo>
                    <a:pt x="350" y="266"/>
                  </a:lnTo>
                  <a:lnTo>
                    <a:pt x="346" y="264"/>
                  </a:lnTo>
                  <a:lnTo>
                    <a:pt x="349" y="262"/>
                  </a:lnTo>
                  <a:lnTo>
                    <a:pt x="352" y="264"/>
                  </a:lnTo>
                  <a:lnTo>
                    <a:pt x="355" y="260"/>
                  </a:lnTo>
                  <a:lnTo>
                    <a:pt x="355" y="259"/>
                  </a:lnTo>
                  <a:lnTo>
                    <a:pt x="350" y="259"/>
                  </a:lnTo>
                  <a:lnTo>
                    <a:pt x="350" y="256"/>
                  </a:lnTo>
                  <a:lnTo>
                    <a:pt x="355" y="256"/>
                  </a:lnTo>
                  <a:lnTo>
                    <a:pt x="356" y="255"/>
                  </a:lnTo>
                  <a:lnTo>
                    <a:pt x="356" y="250"/>
                  </a:lnTo>
                  <a:lnTo>
                    <a:pt x="356" y="245"/>
                  </a:lnTo>
                  <a:lnTo>
                    <a:pt x="358" y="247"/>
                  </a:lnTo>
                  <a:lnTo>
                    <a:pt x="358" y="251"/>
                  </a:lnTo>
                  <a:lnTo>
                    <a:pt x="360" y="255"/>
                  </a:lnTo>
                  <a:lnTo>
                    <a:pt x="360" y="259"/>
                  </a:lnTo>
                  <a:lnTo>
                    <a:pt x="361" y="259"/>
                  </a:lnTo>
                  <a:lnTo>
                    <a:pt x="366" y="259"/>
                  </a:lnTo>
                  <a:lnTo>
                    <a:pt x="366" y="255"/>
                  </a:lnTo>
                  <a:lnTo>
                    <a:pt x="367" y="255"/>
                  </a:lnTo>
                  <a:lnTo>
                    <a:pt x="367" y="259"/>
                  </a:lnTo>
                  <a:lnTo>
                    <a:pt x="370" y="260"/>
                  </a:lnTo>
                  <a:lnTo>
                    <a:pt x="371" y="260"/>
                  </a:lnTo>
                  <a:lnTo>
                    <a:pt x="373" y="260"/>
                  </a:lnTo>
                  <a:lnTo>
                    <a:pt x="373" y="255"/>
                  </a:lnTo>
                  <a:lnTo>
                    <a:pt x="373" y="250"/>
                  </a:lnTo>
                  <a:lnTo>
                    <a:pt x="371" y="250"/>
                  </a:lnTo>
                  <a:lnTo>
                    <a:pt x="371" y="247"/>
                  </a:lnTo>
                  <a:lnTo>
                    <a:pt x="375" y="247"/>
                  </a:lnTo>
                  <a:lnTo>
                    <a:pt x="379" y="251"/>
                  </a:lnTo>
                  <a:lnTo>
                    <a:pt x="379" y="253"/>
                  </a:lnTo>
                  <a:lnTo>
                    <a:pt x="383" y="255"/>
                  </a:lnTo>
                  <a:lnTo>
                    <a:pt x="385" y="251"/>
                  </a:lnTo>
                  <a:lnTo>
                    <a:pt x="385" y="245"/>
                  </a:lnTo>
                  <a:lnTo>
                    <a:pt x="383" y="242"/>
                  </a:lnTo>
                  <a:lnTo>
                    <a:pt x="377" y="238"/>
                  </a:lnTo>
                  <a:lnTo>
                    <a:pt x="375" y="236"/>
                  </a:lnTo>
                  <a:lnTo>
                    <a:pt x="377" y="236"/>
                  </a:lnTo>
                  <a:lnTo>
                    <a:pt x="379" y="238"/>
                  </a:lnTo>
                  <a:lnTo>
                    <a:pt x="385" y="242"/>
                  </a:lnTo>
                  <a:lnTo>
                    <a:pt x="386" y="245"/>
                  </a:lnTo>
                  <a:lnTo>
                    <a:pt x="395" y="245"/>
                  </a:lnTo>
                  <a:lnTo>
                    <a:pt x="396" y="242"/>
                  </a:lnTo>
                  <a:lnTo>
                    <a:pt x="395" y="238"/>
                  </a:lnTo>
                  <a:lnTo>
                    <a:pt x="392" y="238"/>
                  </a:lnTo>
                  <a:lnTo>
                    <a:pt x="389" y="236"/>
                  </a:lnTo>
                  <a:lnTo>
                    <a:pt x="383" y="236"/>
                  </a:lnTo>
                  <a:lnTo>
                    <a:pt x="381" y="233"/>
                  </a:lnTo>
                  <a:lnTo>
                    <a:pt x="381" y="228"/>
                  </a:lnTo>
                  <a:lnTo>
                    <a:pt x="383" y="230"/>
                  </a:lnTo>
                  <a:lnTo>
                    <a:pt x="386" y="234"/>
                  </a:lnTo>
                  <a:lnTo>
                    <a:pt x="390" y="233"/>
                  </a:lnTo>
                  <a:lnTo>
                    <a:pt x="390" y="230"/>
                  </a:lnTo>
                  <a:lnTo>
                    <a:pt x="389" y="227"/>
                  </a:lnTo>
                  <a:lnTo>
                    <a:pt x="386" y="225"/>
                  </a:lnTo>
                  <a:lnTo>
                    <a:pt x="386" y="223"/>
                  </a:lnTo>
                  <a:lnTo>
                    <a:pt x="389" y="223"/>
                  </a:lnTo>
                  <a:lnTo>
                    <a:pt x="390" y="225"/>
                  </a:lnTo>
                  <a:lnTo>
                    <a:pt x="395" y="227"/>
                  </a:lnTo>
                  <a:lnTo>
                    <a:pt x="395" y="228"/>
                  </a:lnTo>
                  <a:lnTo>
                    <a:pt x="392" y="233"/>
                  </a:lnTo>
                  <a:lnTo>
                    <a:pt x="398" y="233"/>
                  </a:lnTo>
                  <a:lnTo>
                    <a:pt x="401" y="233"/>
                  </a:lnTo>
                  <a:lnTo>
                    <a:pt x="406" y="233"/>
                  </a:lnTo>
                  <a:lnTo>
                    <a:pt x="412" y="233"/>
                  </a:lnTo>
                  <a:lnTo>
                    <a:pt x="413" y="228"/>
                  </a:lnTo>
                  <a:lnTo>
                    <a:pt x="413" y="227"/>
                  </a:lnTo>
                  <a:lnTo>
                    <a:pt x="410" y="227"/>
                  </a:lnTo>
                  <a:lnTo>
                    <a:pt x="404" y="227"/>
                  </a:lnTo>
                  <a:lnTo>
                    <a:pt x="401" y="227"/>
                  </a:lnTo>
                  <a:lnTo>
                    <a:pt x="406" y="225"/>
                  </a:lnTo>
                  <a:lnTo>
                    <a:pt x="410" y="225"/>
                  </a:lnTo>
                  <a:lnTo>
                    <a:pt x="412" y="225"/>
                  </a:lnTo>
                  <a:lnTo>
                    <a:pt x="410" y="221"/>
                  </a:lnTo>
                  <a:lnTo>
                    <a:pt x="407" y="221"/>
                  </a:lnTo>
                  <a:lnTo>
                    <a:pt x="410" y="219"/>
                  </a:lnTo>
                  <a:lnTo>
                    <a:pt x="407" y="217"/>
                  </a:lnTo>
                  <a:lnTo>
                    <a:pt x="406" y="217"/>
                  </a:lnTo>
                  <a:lnTo>
                    <a:pt x="401" y="219"/>
                  </a:lnTo>
                  <a:lnTo>
                    <a:pt x="404" y="216"/>
                  </a:lnTo>
                  <a:lnTo>
                    <a:pt x="406" y="214"/>
                  </a:lnTo>
                  <a:lnTo>
                    <a:pt x="407" y="214"/>
                  </a:lnTo>
                  <a:lnTo>
                    <a:pt x="412" y="216"/>
                  </a:lnTo>
                  <a:lnTo>
                    <a:pt x="413" y="219"/>
                  </a:lnTo>
                  <a:lnTo>
                    <a:pt x="413" y="221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3" y="219"/>
                  </a:lnTo>
                  <a:lnTo>
                    <a:pt x="423" y="216"/>
                  </a:lnTo>
                  <a:lnTo>
                    <a:pt x="419" y="214"/>
                  </a:lnTo>
                  <a:lnTo>
                    <a:pt x="419" y="211"/>
                  </a:lnTo>
                  <a:lnTo>
                    <a:pt x="417" y="208"/>
                  </a:lnTo>
                  <a:lnTo>
                    <a:pt x="412" y="208"/>
                  </a:lnTo>
                  <a:lnTo>
                    <a:pt x="413" y="205"/>
                  </a:lnTo>
                  <a:lnTo>
                    <a:pt x="412" y="201"/>
                  </a:lnTo>
                  <a:lnTo>
                    <a:pt x="407" y="201"/>
                  </a:lnTo>
                  <a:lnTo>
                    <a:pt x="406" y="201"/>
                  </a:lnTo>
                  <a:lnTo>
                    <a:pt x="407" y="197"/>
                  </a:lnTo>
                  <a:lnTo>
                    <a:pt x="406" y="195"/>
                  </a:lnTo>
                  <a:lnTo>
                    <a:pt x="400" y="199"/>
                  </a:lnTo>
                  <a:lnTo>
                    <a:pt x="398" y="202"/>
                  </a:lnTo>
                  <a:lnTo>
                    <a:pt x="398" y="208"/>
                  </a:lnTo>
                  <a:lnTo>
                    <a:pt x="396" y="208"/>
                  </a:lnTo>
                  <a:lnTo>
                    <a:pt x="395" y="205"/>
                  </a:lnTo>
                  <a:lnTo>
                    <a:pt x="392" y="199"/>
                  </a:lnTo>
                  <a:lnTo>
                    <a:pt x="392" y="197"/>
                  </a:lnTo>
                  <a:lnTo>
                    <a:pt x="389" y="199"/>
                  </a:lnTo>
                  <a:lnTo>
                    <a:pt x="389" y="201"/>
                  </a:lnTo>
                  <a:lnTo>
                    <a:pt x="385" y="208"/>
                  </a:lnTo>
                  <a:lnTo>
                    <a:pt x="383" y="211"/>
                  </a:lnTo>
                  <a:lnTo>
                    <a:pt x="385" y="206"/>
                  </a:lnTo>
                  <a:lnTo>
                    <a:pt x="385" y="201"/>
                  </a:lnTo>
                  <a:lnTo>
                    <a:pt x="389" y="195"/>
                  </a:lnTo>
                  <a:lnTo>
                    <a:pt x="389" y="194"/>
                  </a:lnTo>
                  <a:lnTo>
                    <a:pt x="385" y="194"/>
                  </a:lnTo>
                  <a:lnTo>
                    <a:pt x="379" y="201"/>
                  </a:lnTo>
                  <a:lnTo>
                    <a:pt x="379" y="202"/>
                  </a:lnTo>
                  <a:lnTo>
                    <a:pt x="375" y="206"/>
                  </a:lnTo>
                  <a:lnTo>
                    <a:pt x="371" y="205"/>
                  </a:lnTo>
                  <a:lnTo>
                    <a:pt x="371" y="202"/>
                  </a:lnTo>
                  <a:lnTo>
                    <a:pt x="373" y="197"/>
                  </a:lnTo>
                  <a:lnTo>
                    <a:pt x="379" y="195"/>
                  </a:lnTo>
                  <a:lnTo>
                    <a:pt x="383" y="192"/>
                  </a:lnTo>
                  <a:lnTo>
                    <a:pt x="385" y="188"/>
                  </a:lnTo>
                  <a:lnTo>
                    <a:pt x="386" y="188"/>
                  </a:lnTo>
                  <a:lnTo>
                    <a:pt x="390" y="184"/>
                  </a:lnTo>
                  <a:lnTo>
                    <a:pt x="390" y="183"/>
                  </a:lnTo>
                  <a:lnTo>
                    <a:pt x="386" y="180"/>
                  </a:lnTo>
                  <a:lnTo>
                    <a:pt x="381" y="184"/>
                  </a:lnTo>
                  <a:lnTo>
                    <a:pt x="379" y="188"/>
                  </a:lnTo>
                  <a:lnTo>
                    <a:pt x="375" y="188"/>
                  </a:lnTo>
                  <a:lnTo>
                    <a:pt x="370" y="194"/>
                  </a:lnTo>
                  <a:lnTo>
                    <a:pt x="371" y="188"/>
                  </a:lnTo>
                  <a:lnTo>
                    <a:pt x="375" y="183"/>
                  </a:lnTo>
                  <a:lnTo>
                    <a:pt x="370" y="184"/>
                  </a:lnTo>
                  <a:lnTo>
                    <a:pt x="367" y="186"/>
                  </a:lnTo>
                  <a:lnTo>
                    <a:pt x="360" y="184"/>
                  </a:lnTo>
                  <a:lnTo>
                    <a:pt x="355" y="184"/>
                  </a:lnTo>
                  <a:lnTo>
                    <a:pt x="352" y="183"/>
                  </a:lnTo>
                  <a:lnTo>
                    <a:pt x="358" y="183"/>
                  </a:lnTo>
                  <a:lnTo>
                    <a:pt x="367" y="180"/>
                  </a:lnTo>
                  <a:lnTo>
                    <a:pt x="364" y="178"/>
                  </a:lnTo>
                  <a:lnTo>
                    <a:pt x="360" y="177"/>
                  </a:lnTo>
                  <a:lnTo>
                    <a:pt x="364" y="177"/>
                  </a:lnTo>
                  <a:lnTo>
                    <a:pt x="367" y="177"/>
                  </a:lnTo>
                  <a:lnTo>
                    <a:pt x="366" y="174"/>
                  </a:lnTo>
                  <a:lnTo>
                    <a:pt x="361" y="171"/>
                  </a:lnTo>
                  <a:lnTo>
                    <a:pt x="366" y="169"/>
                  </a:lnTo>
                  <a:lnTo>
                    <a:pt x="366" y="166"/>
                  </a:lnTo>
                  <a:lnTo>
                    <a:pt x="366" y="160"/>
                  </a:lnTo>
                  <a:lnTo>
                    <a:pt x="364" y="158"/>
                  </a:lnTo>
                  <a:lnTo>
                    <a:pt x="356" y="160"/>
                  </a:lnTo>
                  <a:lnTo>
                    <a:pt x="355" y="162"/>
                  </a:lnTo>
                  <a:lnTo>
                    <a:pt x="350" y="160"/>
                  </a:lnTo>
                  <a:lnTo>
                    <a:pt x="350" y="162"/>
                  </a:lnTo>
                  <a:lnTo>
                    <a:pt x="349" y="160"/>
                  </a:lnTo>
                  <a:lnTo>
                    <a:pt x="350" y="157"/>
                  </a:lnTo>
                  <a:lnTo>
                    <a:pt x="350" y="153"/>
                  </a:lnTo>
                  <a:lnTo>
                    <a:pt x="356" y="152"/>
                  </a:lnTo>
                  <a:lnTo>
                    <a:pt x="360" y="149"/>
                  </a:lnTo>
                  <a:lnTo>
                    <a:pt x="360" y="144"/>
                  </a:lnTo>
                  <a:lnTo>
                    <a:pt x="358" y="141"/>
                  </a:lnTo>
                  <a:lnTo>
                    <a:pt x="355" y="146"/>
                  </a:lnTo>
                  <a:lnTo>
                    <a:pt x="349" y="149"/>
                  </a:lnTo>
                  <a:lnTo>
                    <a:pt x="344" y="153"/>
                  </a:lnTo>
                  <a:lnTo>
                    <a:pt x="341" y="157"/>
                  </a:lnTo>
                  <a:lnTo>
                    <a:pt x="341" y="160"/>
                  </a:lnTo>
                  <a:lnTo>
                    <a:pt x="341" y="163"/>
                  </a:lnTo>
                  <a:lnTo>
                    <a:pt x="339" y="163"/>
                  </a:lnTo>
                  <a:lnTo>
                    <a:pt x="339" y="160"/>
                  </a:lnTo>
                  <a:lnTo>
                    <a:pt x="339" y="157"/>
                  </a:lnTo>
                  <a:lnTo>
                    <a:pt x="341" y="153"/>
                  </a:lnTo>
                  <a:lnTo>
                    <a:pt x="346" y="147"/>
                  </a:lnTo>
                  <a:lnTo>
                    <a:pt x="346" y="144"/>
                  </a:lnTo>
                  <a:lnTo>
                    <a:pt x="346" y="141"/>
                  </a:lnTo>
                  <a:lnTo>
                    <a:pt x="343" y="144"/>
                  </a:lnTo>
                  <a:lnTo>
                    <a:pt x="341" y="147"/>
                  </a:lnTo>
                  <a:lnTo>
                    <a:pt x="341" y="149"/>
                  </a:lnTo>
                  <a:lnTo>
                    <a:pt x="335" y="152"/>
                  </a:lnTo>
                  <a:lnTo>
                    <a:pt x="333" y="155"/>
                  </a:lnTo>
                  <a:lnTo>
                    <a:pt x="333" y="157"/>
                  </a:lnTo>
                  <a:lnTo>
                    <a:pt x="330" y="162"/>
                  </a:lnTo>
                  <a:lnTo>
                    <a:pt x="326" y="163"/>
                  </a:lnTo>
                  <a:lnTo>
                    <a:pt x="326" y="160"/>
                  </a:lnTo>
                  <a:lnTo>
                    <a:pt x="330" y="157"/>
                  </a:lnTo>
                  <a:lnTo>
                    <a:pt x="333" y="149"/>
                  </a:lnTo>
                  <a:lnTo>
                    <a:pt x="335" y="146"/>
                  </a:lnTo>
                  <a:lnTo>
                    <a:pt x="335" y="141"/>
                  </a:lnTo>
                  <a:lnTo>
                    <a:pt x="331" y="141"/>
                  </a:lnTo>
                  <a:lnTo>
                    <a:pt x="328" y="146"/>
                  </a:lnTo>
                  <a:lnTo>
                    <a:pt x="328" y="149"/>
                  </a:lnTo>
                  <a:lnTo>
                    <a:pt x="326" y="152"/>
                  </a:lnTo>
                  <a:lnTo>
                    <a:pt x="324" y="147"/>
                  </a:lnTo>
                  <a:lnTo>
                    <a:pt x="328" y="141"/>
                  </a:lnTo>
                  <a:lnTo>
                    <a:pt x="330" y="140"/>
                  </a:lnTo>
                  <a:lnTo>
                    <a:pt x="328" y="136"/>
                  </a:lnTo>
                  <a:lnTo>
                    <a:pt x="322" y="135"/>
                  </a:lnTo>
                  <a:lnTo>
                    <a:pt x="324" y="135"/>
                  </a:lnTo>
                  <a:lnTo>
                    <a:pt x="322" y="132"/>
                  </a:lnTo>
                  <a:lnTo>
                    <a:pt x="315" y="130"/>
                  </a:lnTo>
                  <a:lnTo>
                    <a:pt x="311" y="132"/>
                  </a:lnTo>
                  <a:lnTo>
                    <a:pt x="312" y="130"/>
                  </a:lnTo>
                  <a:lnTo>
                    <a:pt x="316" y="129"/>
                  </a:lnTo>
                  <a:lnTo>
                    <a:pt x="312" y="129"/>
                  </a:lnTo>
                  <a:lnTo>
                    <a:pt x="305" y="129"/>
                  </a:lnTo>
                  <a:lnTo>
                    <a:pt x="303" y="130"/>
                  </a:lnTo>
                  <a:lnTo>
                    <a:pt x="303" y="127"/>
                  </a:lnTo>
                  <a:lnTo>
                    <a:pt x="311" y="125"/>
                  </a:lnTo>
                  <a:lnTo>
                    <a:pt x="316" y="123"/>
                  </a:lnTo>
                  <a:lnTo>
                    <a:pt x="320" y="125"/>
                  </a:lnTo>
                  <a:lnTo>
                    <a:pt x="324" y="127"/>
                  </a:lnTo>
                  <a:lnTo>
                    <a:pt x="326" y="125"/>
                  </a:lnTo>
                  <a:lnTo>
                    <a:pt x="328" y="122"/>
                  </a:lnTo>
                  <a:lnTo>
                    <a:pt x="324" y="122"/>
                  </a:lnTo>
                  <a:lnTo>
                    <a:pt x="318" y="119"/>
                  </a:lnTo>
                  <a:lnTo>
                    <a:pt x="312" y="118"/>
                  </a:lnTo>
                  <a:lnTo>
                    <a:pt x="309" y="118"/>
                  </a:lnTo>
                  <a:lnTo>
                    <a:pt x="309" y="122"/>
                  </a:lnTo>
                  <a:lnTo>
                    <a:pt x="305" y="122"/>
                  </a:lnTo>
                  <a:lnTo>
                    <a:pt x="305" y="119"/>
                  </a:lnTo>
                  <a:lnTo>
                    <a:pt x="306" y="118"/>
                  </a:lnTo>
                  <a:lnTo>
                    <a:pt x="309" y="116"/>
                  </a:lnTo>
                  <a:lnTo>
                    <a:pt x="303" y="116"/>
                  </a:lnTo>
                  <a:lnTo>
                    <a:pt x="303" y="118"/>
                  </a:lnTo>
                  <a:lnTo>
                    <a:pt x="301" y="119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295" y="113"/>
                  </a:lnTo>
                  <a:lnTo>
                    <a:pt x="294" y="113"/>
                  </a:lnTo>
                  <a:lnTo>
                    <a:pt x="291" y="110"/>
                  </a:lnTo>
                  <a:lnTo>
                    <a:pt x="289" y="108"/>
                  </a:lnTo>
                  <a:lnTo>
                    <a:pt x="286" y="110"/>
                  </a:lnTo>
                  <a:lnTo>
                    <a:pt x="289" y="107"/>
                  </a:lnTo>
                  <a:lnTo>
                    <a:pt x="291" y="105"/>
                  </a:lnTo>
                  <a:lnTo>
                    <a:pt x="300" y="110"/>
                  </a:lnTo>
                  <a:lnTo>
                    <a:pt x="301" y="108"/>
                  </a:lnTo>
                  <a:lnTo>
                    <a:pt x="301" y="107"/>
                  </a:lnTo>
                  <a:lnTo>
                    <a:pt x="286" y="101"/>
                  </a:lnTo>
                  <a:lnTo>
                    <a:pt x="280" y="99"/>
                  </a:lnTo>
                  <a:lnTo>
                    <a:pt x="280" y="97"/>
                  </a:lnTo>
                  <a:lnTo>
                    <a:pt x="284" y="97"/>
                  </a:lnTo>
                  <a:lnTo>
                    <a:pt x="294" y="101"/>
                  </a:lnTo>
                  <a:lnTo>
                    <a:pt x="301" y="101"/>
                  </a:lnTo>
                  <a:lnTo>
                    <a:pt x="311" y="102"/>
                  </a:lnTo>
                  <a:lnTo>
                    <a:pt x="315" y="102"/>
                  </a:lnTo>
                  <a:lnTo>
                    <a:pt x="312" y="101"/>
                  </a:lnTo>
                  <a:lnTo>
                    <a:pt x="312" y="97"/>
                  </a:lnTo>
                  <a:lnTo>
                    <a:pt x="311" y="96"/>
                  </a:lnTo>
                  <a:lnTo>
                    <a:pt x="306" y="93"/>
                  </a:lnTo>
                  <a:lnTo>
                    <a:pt x="303" y="91"/>
                  </a:lnTo>
                  <a:lnTo>
                    <a:pt x="303" y="90"/>
                  </a:lnTo>
                  <a:lnTo>
                    <a:pt x="306" y="90"/>
                  </a:lnTo>
                  <a:lnTo>
                    <a:pt x="309" y="91"/>
                  </a:lnTo>
                  <a:lnTo>
                    <a:pt x="311" y="93"/>
                  </a:lnTo>
                  <a:lnTo>
                    <a:pt x="312" y="91"/>
                  </a:lnTo>
                  <a:lnTo>
                    <a:pt x="318" y="91"/>
                  </a:lnTo>
                  <a:lnTo>
                    <a:pt x="318" y="90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2" y="82"/>
                  </a:lnTo>
                  <a:lnTo>
                    <a:pt x="309" y="85"/>
                  </a:lnTo>
                  <a:lnTo>
                    <a:pt x="305" y="86"/>
                  </a:lnTo>
                  <a:lnTo>
                    <a:pt x="297" y="86"/>
                  </a:lnTo>
                  <a:lnTo>
                    <a:pt x="295" y="88"/>
                  </a:lnTo>
                  <a:lnTo>
                    <a:pt x="294" y="88"/>
                  </a:lnTo>
                  <a:lnTo>
                    <a:pt x="291" y="85"/>
                  </a:lnTo>
                  <a:lnTo>
                    <a:pt x="297" y="82"/>
                  </a:lnTo>
                  <a:lnTo>
                    <a:pt x="303" y="82"/>
                  </a:lnTo>
                  <a:lnTo>
                    <a:pt x="305" y="80"/>
                  </a:lnTo>
                  <a:lnTo>
                    <a:pt x="312" y="80"/>
                  </a:lnTo>
                  <a:lnTo>
                    <a:pt x="315" y="79"/>
                  </a:lnTo>
                  <a:lnTo>
                    <a:pt x="309" y="79"/>
                  </a:lnTo>
                  <a:lnTo>
                    <a:pt x="305" y="77"/>
                  </a:lnTo>
                  <a:lnTo>
                    <a:pt x="303" y="74"/>
                  </a:lnTo>
                  <a:lnTo>
                    <a:pt x="306" y="77"/>
                  </a:lnTo>
                  <a:lnTo>
                    <a:pt x="311" y="74"/>
                  </a:lnTo>
                  <a:lnTo>
                    <a:pt x="315" y="74"/>
                  </a:lnTo>
                  <a:lnTo>
                    <a:pt x="318" y="77"/>
                  </a:lnTo>
                  <a:lnTo>
                    <a:pt x="324" y="82"/>
                  </a:lnTo>
                  <a:lnTo>
                    <a:pt x="328" y="82"/>
                  </a:lnTo>
                  <a:lnTo>
                    <a:pt x="330" y="82"/>
                  </a:lnTo>
                  <a:lnTo>
                    <a:pt x="331" y="85"/>
                  </a:lnTo>
                  <a:lnTo>
                    <a:pt x="335" y="86"/>
                  </a:lnTo>
                  <a:lnTo>
                    <a:pt x="337" y="82"/>
                  </a:lnTo>
                  <a:lnTo>
                    <a:pt x="339" y="82"/>
                  </a:lnTo>
                  <a:lnTo>
                    <a:pt x="341" y="86"/>
                  </a:lnTo>
                  <a:lnTo>
                    <a:pt x="344" y="86"/>
                  </a:lnTo>
                  <a:lnTo>
                    <a:pt x="346" y="85"/>
                  </a:lnTo>
                  <a:lnTo>
                    <a:pt x="346" y="80"/>
                  </a:lnTo>
                  <a:lnTo>
                    <a:pt x="344" y="74"/>
                  </a:lnTo>
                  <a:lnTo>
                    <a:pt x="343" y="74"/>
                  </a:lnTo>
                  <a:lnTo>
                    <a:pt x="339" y="71"/>
                  </a:lnTo>
                  <a:lnTo>
                    <a:pt x="333" y="68"/>
                  </a:lnTo>
                  <a:lnTo>
                    <a:pt x="331" y="66"/>
                  </a:lnTo>
                  <a:lnTo>
                    <a:pt x="328" y="68"/>
                  </a:lnTo>
                  <a:lnTo>
                    <a:pt x="326" y="68"/>
                  </a:lnTo>
                  <a:lnTo>
                    <a:pt x="322" y="66"/>
                  </a:lnTo>
                  <a:lnTo>
                    <a:pt x="315" y="60"/>
                  </a:lnTo>
                  <a:lnTo>
                    <a:pt x="309" y="59"/>
                  </a:lnTo>
                  <a:lnTo>
                    <a:pt x="300" y="60"/>
                  </a:lnTo>
                  <a:lnTo>
                    <a:pt x="295" y="59"/>
                  </a:lnTo>
                  <a:lnTo>
                    <a:pt x="305" y="59"/>
                  </a:lnTo>
                  <a:lnTo>
                    <a:pt x="306" y="55"/>
                  </a:lnTo>
                  <a:lnTo>
                    <a:pt x="312" y="55"/>
                  </a:lnTo>
                  <a:lnTo>
                    <a:pt x="315" y="57"/>
                  </a:lnTo>
                  <a:lnTo>
                    <a:pt x="316" y="57"/>
                  </a:lnTo>
                  <a:lnTo>
                    <a:pt x="322" y="53"/>
                  </a:lnTo>
                  <a:lnTo>
                    <a:pt x="326" y="51"/>
                  </a:lnTo>
                  <a:lnTo>
                    <a:pt x="333" y="53"/>
                  </a:lnTo>
                  <a:lnTo>
                    <a:pt x="337" y="55"/>
                  </a:lnTo>
                  <a:lnTo>
                    <a:pt x="343" y="55"/>
                  </a:lnTo>
                  <a:lnTo>
                    <a:pt x="344" y="51"/>
                  </a:lnTo>
                  <a:lnTo>
                    <a:pt x="344" y="48"/>
                  </a:lnTo>
                  <a:lnTo>
                    <a:pt x="343" y="43"/>
                  </a:lnTo>
                  <a:lnTo>
                    <a:pt x="341" y="38"/>
                  </a:lnTo>
                  <a:lnTo>
                    <a:pt x="337" y="29"/>
                  </a:lnTo>
                  <a:lnTo>
                    <a:pt x="335" y="24"/>
                  </a:lnTo>
                  <a:lnTo>
                    <a:pt x="333" y="26"/>
                  </a:lnTo>
                  <a:lnTo>
                    <a:pt x="331" y="24"/>
                  </a:lnTo>
                  <a:lnTo>
                    <a:pt x="328" y="24"/>
                  </a:lnTo>
                  <a:lnTo>
                    <a:pt x="328" y="26"/>
                  </a:lnTo>
                  <a:lnTo>
                    <a:pt x="324" y="31"/>
                  </a:lnTo>
                  <a:lnTo>
                    <a:pt x="326" y="32"/>
                  </a:lnTo>
                  <a:lnTo>
                    <a:pt x="326" y="34"/>
                  </a:lnTo>
                  <a:lnTo>
                    <a:pt x="324" y="37"/>
                  </a:lnTo>
                  <a:lnTo>
                    <a:pt x="318" y="38"/>
                  </a:lnTo>
                  <a:lnTo>
                    <a:pt x="316" y="42"/>
                  </a:lnTo>
                  <a:lnTo>
                    <a:pt x="311" y="42"/>
                  </a:lnTo>
                  <a:lnTo>
                    <a:pt x="306" y="40"/>
                  </a:lnTo>
                  <a:lnTo>
                    <a:pt x="303" y="42"/>
                  </a:lnTo>
                  <a:lnTo>
                    <a:pt x="300" y="46"/>
                  </a:lnTo>
                  <a:lnTo>
                    <a:pt x="294" y="49"/>
                  </a:lnTo>
                  <a:lnTo>
                    <a:pt x="291" y="49"/>
                  </a:lnTo>
                  <a:lnTo>
                    <a:pt x="288" y="48"/>
                  </a:lnTo>
                  <a:lnTo>
                    <a:pt x="282" y="49"/>
                  </a:lnTo>
                  <a:lnTo>
                    <a:pt x="280" y="49"/>
                  </a:lnTo>
                  <a:lnTo>
                    <a:pt x="284" y="46"/>
                  </a:lnTo>
                  <a:lnTo>
                    <a:pt x="288" y="46"/>
                  </a:lnTo>
                  <a:lnTo>
                    <a:pt x="291" y="48"/>
                  </a:lnTo>
                  <a:lnTo>
                    <a:pt x="295" y="46"/>
                  </a:lnTo>
                  <a:lnTo>
                    <a:pt x="300" y="40"/>
                  </a:lnTo>
                  <a:lnTo>
                    <a:pt x="303" y="38"/>
                  </a:lnTo>
                  <a:lnTo>
                    <a:pt x="306" y="40"/>
                  </a:lnTo>
                  <a:lnTo>
                    <a:pt x="311" y="37"/>
                  </a:lnTo>
                  <a:lnTo>
                    <a:pt x="315" y="34"/>
                  </a:lnTo>
                  <a:lnTo>
                    <a:pt x="315" y="29"/>
                  </a:lnTo>
                  <a:lnTo>
                    <a:pt x="315" y="26"/>
                  </a:lnTo>
                  <a:lnTo>
                    <a:pt x="311" y="26"/>
                  </a:lnTo>
                  <a:lnTo>
                    <a:pt x="306" y="29"/>
                  </a:lnTo>
                  <a:lnTo>
                    <a:pt x="303" y="26"/>
                  </a:lnTo>
                  <a:lnTo>
                    <a:pt x="297" y="29"/>
                  </a:lnTo>
                  <a:lnTo>
                    <a:pt x="289" y="34"/>
                  </a:lnTo>
                  <a:lnTo>
                    <a:pt x="284" y="40"/>
                  </a:lnTo>
                  <a:lnTo>
                    <a:pt x="274" y="40"/>
                  </a:lnTo>
                  <a:lnTo>
                    <a:pt x="276" y="38"/>
                  </a:lnTo>
                  <a:lnTo>
                    <a:pt x="284" y="37"/>
                  </a:lnTo>
                  <a:lnTo>
                    <a:pt x="286" y="34"/>
                  </a:lnTo>
                  <a:lnTo>
                    <a:pt x="282" y="32"/>
                  </a:lnTo>
                  <a:lnTo>
                    <a:pt x="278" y="32"/>
                  </a:lnTo>
                  <a:lnTo>
                    <a:pt x="286" y="29"/>
                  </a:lnTo>
                  <a:lnTo>
                    <a:pt x="289" y="29"/>
                  </a:lnTo>
                  <a:lnTo>
                    <a:pt x="297" y="26"/>
                  </a:lnTo>
                  <a:lnTo>
                    <a:pt x="303" y="26"/>
                  </a:lnTo>
                  <a:lnTo>
                    <a:pt x="306" y="24"/>
                  </a:lnTo>
                  <a:lnTo>
                    <a:pt x="316" y="24"/>
                  </a:lnTo>
                  <a:lnTo>
                    <a:pt x="318" y="20"/>
                  </a:lnTo>
                  <a:lnTo>
                    <a:pt x="322" y="18"/>
                  </a:lnTo>
                  <a:lnTo>
                    <a:pt x="322" y="15"/>
                  </a:lnTo>
                  <a:lnTo>
                    <a:pt x="326" y="15"/>
                  </a:lnTo>
                  <a:lnTo>
                    <a:pt x="326" y="20"/>
                  </a:lnTo>
                  <a:lnTo>
                    <a:pt x="328" y="20"/>
                  </a:lnTo>
                  <a:lnTo>
                    <a:pt x="333" y="16"/>
                  </a:lnTo>
                  <a:lnTo>
                    <a:pt x="333" y="12"/>
                  </a:lnTo>
                  <a:lnTo>
                    <a:pt x="333" y="9"/>
                  </a:lnTo>
                  <a:lnTo>
                    <a:pt x="328" y="7"/>
                  </a:lnTo>
                  <a:lnTo>
                    <a:pt x="326" y="3"/>
                  </a:lnTo>
                  <a:lnTo>
                    <a:pt x="322" y="0"/>
                  </a:lnTo>
                  <a:lnTo>
                    <a:pt x="300" y="0"/>
                  </a:lnTo>
                  <a:lnTo>
                    <a:pt x="297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6" name="Freeform 199"/>
            <p:cNvSpPr>
              <a:spLocks/>
            </p:cNvSpPr>
            <p:nvPr/>
          </p:nvSpPr>
          <p:spPr bwMode="auto">
            <a:xfrm>
              <a:off x="3832226" y="1836738"/>
              <a:ext cx="14288" cy="15875"/>
            </a:xfrm>
            <a:custGeom>
              <a:avLst/>
              <a:gdLst>
                <a:gd name="T0" fmla="*/ 0 w 9"/>
                <a:gd name="T1" fmla="*/ 4 h 10"/>
                <a:gd name="T2" fmla="*/ 0 w 9"/>
                <a:gd name="T3" fmla="*/ 10 h 10"/>
                <a:gd name="T4" fmla="*/ 3 w 9"/>
                <a:gd name="T5" fmla="*/ 8 h 10"/>
                <a:gd name="T6" fmla="*/ 6 w 9"/>
                <a:gd name="T7" fmla="*/ 8 h 10"/>
                <a:gd name="T8" fmla="*/ 9 w 9"/>
                <a:gd name="T9" fmla="*/ 2 h 10"/>
                <a:gd name="T10" fmla="*/ 6 w 9"/>
                <a:gd name="T11" fmla="*/ 0 h 10"/>
                <a:gd name="T12" fmla="*/ 4 w 9"/>
                <a:gd name="T13" fmla="*/ 2 h 10"/>
                <a:gd name="T14" fmla="*/ 0 w 9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0" y="4"/>
                  </a:moveTo>
                  <a:lnTo>
                    <a:pt x="0" y="10"/>
                  </a:lnTo>
                  <a:lnTo>
                    <a:pt x="3" y="8"/>
                  </a:lnTo>
                  <a:lnTo>
                    <a:pt x="6" y="8"/>
                  </a:lnTo>
                  <a:lnTo>
                    <a:pt x="9" y="2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7" name="Freeform 200"/>
            <p:cNvSpPr>
              <a:spLocks/>
            </p:cNvSpPr>
            <p:nvPr/>
          </p:nvSpPr>
          <p:spPr bwMode="auto">
            <a:xfrm>
              <a:off x="3427413" y="2119313"/>
              <a:ext cx="30163" cy="20638"/>
            </a:xfrm>
            <a:custGeom>
              <a:avLst/>
              <a:gdLst>
                <a:gd name="T0" fmla="*/ 8 w 19"/>
                <a:gd name="T1" fmla="*/ 8 h 13"/>
                <a:gd name="T2" fmla="*/ 10 w 19"/>
                <a:gd name="T3" fmla="*/ 9 h 13"/>
                <a:gd name="T4" fmla="*/ 11 w 19"/>
                <a:gd name="T5" fmla="*/ 11 h 13"/>
                <a:gd name="T6" fmla="*/ 13 w 19"/>
                <a:gd name="T7" fmla="*/ 13 h 13"/>
                <a:gd name="T8" fmla="*/ 17 w 19"/>
                <a:gd name="T9" fmla="*/ 13 h 13"/>
                <a:gd name="T10" fmla="*/ 19 w 19"/>
                <a:gd name="T11" fmla="*/ 11 h 13"/>
                <a:gd name="T12" fmla="*/ 19 w 19"/>
                <a:gd name="T13" fmla="*/ 8 h 13"/>
                <a:gd name="T14" fmla="*/ 16 w 19"/>
                <a:gd name="T15" fmla="*/ 5 h 13"/>
                <a:gd name="T16" fmla="*/ 11 w 19"/>
                <a:gd name="T17" fmla="*/ 3 h 13"/>
                <a:gd name="T18" fmla="*/ 11 w 19"/>
                <a:gd name="T19" fmla="*/ 2 h 13"/>
                <a:gd name="T20" fmla="*/ 6 w 19"/>
                <a:gd name="T21" fmla="*/ 0 h 13"/>
                <a:gd name="T22" fmla="*/ 2 w 19"/>
                <a:gd name="T23" fmla="*/ 0 h 13"/>
                <a:gd name="T24" fmla="*/ 0 w 19"/>
                <a:gd name="T25" fmla="*/ 0 h 13"/>
                <a:gd name="T26" fmla="*/ 2 w 19"/>
                <a:gd name="T27" fmla="*/ 2 h 13"/>
                <a:gd name="T28" fmla="*/ 8 w 19"/>
                <a:gd name="T29" fmla="*/ 3 h 13"/>
                <a:gd name="T30" fmla="*/ 8 w 19"/>
                <a:gd name="T31" fmla="*/ 5 h 13"/>
                <a:gd name="T32" fmla="*/ 8 w 19"/>
                <a:gd name="T33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13">
                  <a:moveTo>
                    <a:pt x="8" y="8"/>
                  </a:moveTo>
                  <a:lnTo>
                    <a:pt x="10" y="9"/>
                  </a:lnTo>
                  <a:lnTo>
                    <a:pt x="11" y="11"/>
                  </a:lnTo>
                  <a:lnTo>
                    <a:pt x="13" y="13"/>
                  </a:lnTo>
                  <a:lnTo>
                    <a:pt x="17" y="13"/>
                  </a:lnTo>
                  <a:lnTo>
                    <a:pt x="19" y="11"/>
                  </a:lnTo>
                  <a:lnTo>
                    <a:pt x="19" y="8"/>
                  </a:lnTo>
                  <a:lnTo>
                    <a:pt x="16" y="5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8" name="Freeform 201"/>
            <p:cNvSpPr>
              <a:spLocks/>
            </p:cNvSpPr>
            <p:nvPr/>
          </p:nvSpPr>
          <p:spPr bwMode="auto">
            <a:xfrm>
              <a:off x="3887788" y="2940051"/>
              <a:ext cx="12700" cy="9525"/>
            </a:xfrm>
            <a:custGeom>
              <a:avLst/>
              <a:gdLst>
                <a:gd name="T0" fmla="*/ 2 w 8"/>
                <a:gd name="T1" fmla="*/ 0 h 6"/>
                <a:gd name="T2" fmla="*/ 0 w 8"/>
                <a:gd name="T3" fmla="*/ 0 h 6"/>
                <a:gd name="T4" fmla="*/ 2 w 8"/>
                <a:gd name="T5" fmla="*/ 6 h 6"/>
                <a:gd name="T6" fmla="*/ 5 w 8"/>
                <a:gd name="T7" fmla="*/ 6 h 6"/>
                <a:gd name="T8" fmla="*/ 8 w 8"/>
                <a:gd name="T9" fmla="*/ 4 h 6"/>
                <a:gd name="T10" fmla="*/ 8 w 8"/>
                <a:gd name="T11" fmla="*/ 3 h 6"/>
                <a:gd name="T12" fmla="*/ 5 w 8"/>
                <a:gd name="T13" fmla="*/ 0 h 6"/>
                <a:gd name="T14" fmla="*/ 3 w 8"/>
                <a:gd name="T15" fmla="*/ 3 h 6"/>
                <a:gd name="T16" fmla="*/ 2 w 8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2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5" y="6"/>
                  </a:lnTo>
                  <a:lnTo>
                    <a:pt x="8" y="4"/>
                  </a:lnTo>
                  <a:lnTo>
                    <a:pt x="8" y="3"/>
                  </a:lnTo>
                  <a:lnTo>
                    <a:pt x="5" y="0"/>
                  </a:lnTo>
                  <a:lnTo>
                    <a:pt x="3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9" name="Freeform 202"/>
            <p:cNvSpPr>
              <a:spLocks/>
            </p:cNvSpPr>
            <p:nvPr/>
          </p:nvSpPr>
          <p:spPr bwMode="auto">
            <a:xfrm>
              <a:off x="3189288" y="1549401"/>
              <a:ext cx="7938" cy="6350"/>
            </a:xfrm>
            <a:custGeom>
              <a:avLst/>
              <a:gdLst>
                <a:gd name="T0" fmla="*/ 5 w 5"/>
                <a:gd name="T1" fmla="*/ 4 h 4"/>
                <a:gd name="T2" fmla="*/ 3 w 5"/>
                <a:gd name="T3" fmla="*/ 0 h 4"/>
                <a:gd name="T4" fmla="*/ 0 w 5"/>
                <a:gd name="T5" fmla="*/ 1 h 4"/>
                <a:gd name="T6" fmla="*/ 5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0" name="Freeform 203"/>
            <p:cNvSpPr>
              <a:spLocks/>
            </p:cNvSpPr>
            <p:nvPr/>
          </p:nvSpPr>
          <p:spPr bwMode="auto">
            <a:xfrm>
              <a:off x="3292476" y="2109788"/>
              <a:ext cx="26988" cy="14288"/>
            </a:xfrm>
            <a:custGeom>
              <a:avLst/>
              <a:gdLst>
                <a:gd name="T0" fmla="*/ 3 w 17"/>
                <a:gd name="T1" fmla="*/ 2 h 9"/>
                <a:gd name="T2" fmla="*/ 1 w 17"/>
                <a:gd name="T3" fmla="*/ 0 h 9"/>
                <a:gd name="T4" fmla="*/ 0 w 17"/>
                <a:gd name="T5" fmla="*/ 0 h 9"/>
                <a:gd name="T6" fmla="*/ 3 w 17"/>
                <a:gd name="T7" fmla="*/ 4 h 9"/>
                <a:gd name="T8" fmla="*/ 7 w 17"/>
                <a:gd name="T9" fmla="*/ 8 h 9"/>
                <a:gd name="T10" fmla="*/ 11 w 17"/>
                <a:gd name="T11" fmla="*/ 8 h 9"/>
                <a:gd name="T12" fmla="*/ 17 w 17"/>
                <a:gd name="T13" fmla="*/ 9 h 9"/>
                <a:gd name="T14" fmla="*/ 15 w 17"/>
                <a:gd name="T15" fmla="*/ 8 h 9"/>
                <a:gd name="T16" fmla="*/ 11 w 17"/>
                <a:gd name="T17" fmla="*/ 6 h 9"/>
                <a:gd name="T18" fmla="*/ 3 w 17"/>
                <a:gd name="T1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9">
                  <a:moveTo>
                    <a:pt x="3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3" y="4"/>
                  </a:lnTo>
                  <a:lnTo>
                    <a:pt x="7" y="8"/>
                  </a:lnTo>
                  <a:lnTo>
                    <a:pt x="11" y="8"/>
                  </a:lnTo>
                  <a:lnTo>
                    <a:pt x="17" y="9"/>
                  </a:lnTo>
                  <a:lnTo>
                    <a:pt x="15" y="8"/>
                  </a:lnTo>
                  <a:lnTo>
                    <a:pt x="11" y="6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1" name="Freeform 204"/>
            <p:cNvSpPr>
              <a:spLocks/>
            </p:cNvSpPr>
            <p:nvPr/>
          </p:nvSpPr>
          <p:spPr bwMode="auto">
            <a:xfrm>
              <a:off x="3462338" y="1704976"/>
              <a:ext cx="4763" cy="9525"/>
            </a:xfrm>
            <a:custGeom>
              <a:avLst/>
              <a:gdLst>
                <a:gd name="T0" fmla="*/ 3 w 3"/>
                <a:gd name="T1" fmla="*/ 4 h 6"/>
                <a:gd name="T2" fmla="*/ 3 w 3"/>
                <a:gd name="T3" fmla="*/ 0 h 6"/>
                <a:gd name="T4" fmla="*/ 1 w 3"/>
                <a:gd name="T5" fmla="*/ 0 h 6"/>
                <a:gd name="T6" fmla="*/ 0 w 3"/>
                <a:gd name="T7" fmla="*/ 1 h 6"/>
                <a:gd name="T8" fmla="*/ 1 w 3"/>
                <a:gd name="T9" fmla="*/ 6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6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4" name="Freeform 206"/>
            <p:cNvSpPr>
              <a:spLocks/>
            </p:cNvSpPr>
            <p:nvPr/>
          </p:nvSpPr>
          <p:spPr bwMode="auto">
            <a:xfrm>
              <a:off x="3209926" y="2035175"/>
              <a:ext cx="33338" cy="26988"/>
            </a:xfrm>
            <a:custGeom>
              <a:avLst/>
              <a:gdLst>
                <a:gd name="T0" fmla="*/ 15 w 21"/>
                <a:gd name="T1" fmla="*/ 5 h 17"/>
                <a:gd name="T2" fmla="*/ 12 w 21"/>
                <a:gd name="T3" fmla="*/ 5 h 17"/>
                <a:gd name="T4" fmla="*/ 12 w 21"/>
                <a:gd name="T5" fmla="*/ 3 h 17"/>
                <a:gd name="T6" fmla="*/ 9 w 21"/>
                <a:gd name="T7" fmla="*/ 0 h 17"/>
                <a:gd name="T8" fmla="*/ 7 w 21"/>
                <a:gd name="T9" fmla="*/ 0 h 17"/>
                <a:gd name="T10" fmla="*/ 4 w 21"/>
                <a:gd name="T11" fmla="*/ 0 h 17"/>
                <a:gd name="T12" fmla="*/ 0 w 21"/>
                <a:gd name="T13" fmla="*/ 0 h 17"/>
                <a:gd name="T14" fmla="*/ 0 w 21"/>
                <a:gd name="T15" fmla="*/ 3 h 17"/>
                <a:gd name="T16" fmla="*/ 0 w 21"/>
                <a:gd name="T17" fmla="*/ 5 h 17"/>
                <a:gd name="T18" fmla="*/ 2 w 21"/>
                <a:gd name="T19" fmla="*/ 5 h 17"/>
                <a:gd name="T20" fmla="*/ 4 w 21"/>
                <a:gd name="T21" fmla="*/ 6 h 17"/>
                <a:gd name="T22" fmla="*/ 6 w 21"/>
                <a:gd name="T23" fmla="*/ 8 h 17"/>
                <a:gd name="T24" fmla="*/ 9 w 21"/>
                <a:gd name="T25" fmla="*/ 12 h 17"/>
                <a:gd name="T26" fmla="*/ 9 w 21"/>
                <a:gd name="T27" fmla="*/ 16 h 17"/>
                <a:gd name="T28" fmla="*/ 13 w 21"/>
                <a:gd name="T29" fmla="*/ 16 h 17"/>
                <a:gd name="T30" fmla="*/ 15 w 21"/>
                <a:gd name="T31" fmla="*/ 17 h 17"/>
                <a:gd name="T32" fmla="*/ 18 w 21"/>
                <a:gd name="T33" fmla="*/ 17 h 17"/>
                <a:gd name="T34" fmla="*/ 19 w 21"/>
                <a:gd name="T35" fmla="*/ 16 h 17"/>
                <a:gd name="T36" fmla="*/ 21 w 21"/>
                <a:gd name="T37" fmla="*/ 14 h 17"/>
                <a:gd name="T38" fmla="*/ 21 w 21"/>
                <a:gd name="T39" fmla="*/ 12 h 17"/>
                <a:gd name="T40" fmla="*/ 18 w 21"/>
                <a:gd name="T41" fmla="*/ 11 h 17"/>
                <a:gd name="T42" fmla="*/ 21 w 21"/>
                <a:gd name="T43" fmla="*/ 8 h 17"/>
                <a:gd name="T44" fmla="*/ 15 w 21"/>
                <a:gd name="T4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17">
                  <a:moveTo>
                    <a:pt x="15" y="5"/>
                  </a:moveTo>
                  <a:lnTo>
                    <a:pt x="12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6"/>
                  </a:lnTo>
                  <a:lnTo>
                    <a:pt x="6" y="8"/>
                  </a:lnTo>
                  <a:lnTo>
                    <a:pt x="9" y="12"/>
                  </a:lnTo>
                  <a:lnTo>
                    <a:pt x="9" y="16"/>
                  </a:lnTo>
                  <a:lnTo>
                    <a:pt x="13" y="16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19" y="16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21" y="8"/>
                  </a:lnTo>
                  <a:lnTo>
                    <a:pt x="15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5" name="Freeform 207"/>
            <p:cNvSpPr>
              <a:spLocks/>
            </p:cNvSpPr>
            <p:nvPr/>
          </p:nvSpPr>
          <p:spPr bwMode="auto">
            <a:xfrm>
              <a:off x="3203576" y="2006600"/>
              <a:ext cx="12700" cy="6350"/>
            </a:xfrm>
            <a:custGeom>
              <a:avLst/>
              <a:gdLst>
                <a:gd name="T0" fmla="*/ 8 w 8"/>
                <a:gd name="T1" fmla="*/ 4 h 4"/>
                <a:gd name="T2" fmla="*/ 6 w 8"/>
                <a:gd name="T3" fmla="*/ 0 h 4"/>
                <a:gd name="T4" fmla="*/ 2 w 8"/>
                <a:gd name="T5" fmla="*/ 2 h 4"/>
                <a:gd name="T6" fmla="*/ 0 w 8"/>
                <a:gd name="T7" fmla="*/ 4 h 4"/>
                <a:gd name="T8" fmla="*/ 6 w 8"/>
                <a:gd name="T9" fmla="*/ 4 h 4"/>
                <a:gd name="T10" fmla="*/ 8 w 8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6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6" name="Freeform 208"/>
            <p:cNvSpPr>
              <a:spLocks/>
            </p:cNvSpPr>
            <p:nvPr/>
          </p:nvSpPr>
          <p:spPr bwMode="auto">
            <a:xfrm>
              <a:off x="3228976" y="1585913"/>
              <a:ext cx="11113" cy="9525"/>
            </a:xfrm>
            <a:custGeom>
              <a:avLst/>
              <a:gdLst>
                <a:gd name="T0" fmla="*/ 0 w 7"/>
                <a:gd name="T1" fmla="*/ 3 h 6"/>
                <a:gd name="T2" fmla="*/ 1 w 7"/>
                <a:gd name="T3" fmla="*/ 5 h 6"/>
                <a:gd name="T4" fmla="*/ 3 w 7"/>
                <a:gd name="T5" fmla="*/ 5 h 6"/>
                <a:gd name="T6" fmla="*/ 7 w 7"/>
                <a:gd name="T7" fmla="*/ 6 h 6"/>
                <a:gd name="T8" fmla="*/ 7 w 7"/>
                <a:gd name="T9" fmla="*/ 3 h 6"/>
                <a:gd name="T10" fmla="*/ 6 w 7"/>
                <a:gd name="T11" fmla="*/ 0 h 6"/>
                <a:gd name="T12" fmla="*/ 0 w 7"/>
                <a:gd name="T13" fmla="*/ 0 h 6"/>
                <a:gd name="T14" fmla="*/ 0 w 7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0" y="3"/>
                  </a:moveTo>
                  <a:lnTo>
                    <a:pt x="1" y="5"/>
                  </a:lnTo>
                  <a:lnTo>
                    <a:pt x="3" y="5"/>
                  </a:lnTo>
                  <a:lnTo>
                    <a:pt x="7" y="6"/>
                  </a:lnTo>
                  <a:lnTo>
                    <a:pt x="7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7" name="Freeform 209"/>
            <p:cNvSpPr>
              <a:spLocks/>
            </p:cNvSpPr>
            <p:nvPr/>
          </p:nvSpPr>
          <p:spPr bwMode="auto">
            <a:xfrm>
              <a:off x="3297238" y="1608138"/>
              <a:ext cx="58738" cy="41275"/>
            </a:xfrm>
            <a:custGeom>
              <a:avLst/>
              <a:gdLst>
                <a:gd name="T0" fmla="*/ 23 w 37"/>
                <a:gd name="T1" fmla="*/ 17 h 26"/>
                <a:gd name="T2" fmla="*/ 25 w 37"/>
                <a:gd name="T3" fmla="*/ 13 h 26"/>
                <a:gd name="T4" fmla="*/ 27 w 37"/>
                <a:gd name="T5" fmla="*/ 13 h 26"/>
                <a:gd name="T6" fmla="*/ 33 w 37"/>
                <a:gd name="T7" fmla="*/ 9 h 26"/>
                <a:gd name="T8" fmla="*/ 37 w 37"/>
                <a:gd name="T9" fmla="*/ 6 h 26"/>
                <a:gd name="T10" fmla="*/ 37 w 37"/>
                <a:gd name="T11" fmla="*/ 2 h 26"/>
                <a:gd name="T12" fmla="*/ 33 w 37"/>
                <a:gd name="T13" fmla="*/ 0 h 26"/>
                <a:gd name="T14" fmla="*/ 29 w 37"/>
                <a:gd name="T15" fmla="*/ 2 h 26"/>
                <a:gd name="T16" fmla="*/ 29 w 37"/>
                <a:gd name="T17" fmla="*/ 6 h 26"/>
                <a:gd name="T18" fmla="*/ 25 w 37"/>
                <a:gd name="T19" fmla="*/ 6 h 26"/>
                <a:gd name="T20" fmla="*/ 21 w 37"/>
                <a:gd name="T21" fmla="*/ 9 h 26"/>
                <a:gd name="T22" fmla="*/ 18 w 37"/>
                <a:gd name="T23" fmla="*/ 11 h 26"/>
                <a:gd name="T24" fmla="*/ 9 w 37"/>
                <a:gd name="T25" fmla="*/ 11 h 26"/>
                <a:gd name="T26" fmla="*/ 6 w 37"/>
                <a:gd name="T27" fmla="*/ 13 h 26"/>
                <a:gd name="T28" fmla="*/ 4 w 37"/>
                <a:gd name="T29" fmla="*/ 17 h 26"/>
                <a:gd name="T30" fmla="*/ 0 w 37"/>
                <a:gd name="T31" fmla="*/ 20 h 26"/>
                <a:gd name="T32" fmla="*/ 0 w 37"/>
                <a:gd name="T33" fmla="*/ 26 h 26"/>
                <a:gd name="T34" fmla="*/ 3 w 37"/>
                <a:gd name="T35" fmla="*/ 25 h 26"/>
                <a:gd name="T36" fmla="*/ 8 w 37"/>
                <a:gd name="T37" fmla="*/ 25 h 26"/>
                <a:gd name="T38" fmla="*/ 12 w 37"/>
                <a:gd name="T39" fmla="*/ 25 h 26"/>
                <a:gd name="T40" fmla="*/ 23 w 37"/>
                <a:gd name="T4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26">
                  <a:moveTo>
                    <a:pt x="23" y="17"/>
                  </a:moveTo>
                  <a:lnTo>
                    <a:pt x="25" y="13"/>
                  </a:lnTo>
                  <a:lnTo>
                    <a:pt x="27" y="13"/>
                  </a:lnTo>
                  <a:lnTo>
                    <a:pt x="33" y="9"/>
                  </a:lnTo>
                  <a:lnTo>
                    <a:pt x="37" y="6"/>
                  </a:lnTo>
                  <a:lnTo>
                    <a:pt x="37" y="2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9" y="6"/>
                  </a:lnTo>
                  <a:lnTo>
                    <a:pt x="25" y="6"/>
                  </a:lnTo>
                  <a:lnTo>
                    <a:pt x="21" y="9"/>
                  </a:lnTo>
                  <a:lnTo>
                    <a:pt x="18" y="11"/>
                  </a:lnTo>
                  <a:lnTo>
                    <a:pt x="9" y="11"/>
                  </a:lnTo>
                  <a:lnTo>
                    <a:pt x="6" y="13"/>
                  </a:lnTo>
                  <a:lnTo>
                    <a:pt x="4" y="17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3" y="25"/>
                  </a:lnTo>
                  <a:lnTo>
                    <a:pt x="8" y="25"/>
                  </a:lnTo>
                  <a:lnTo>
                    <a:pt x="12" y="25"/>
                  </a:lnTo>
                  <a:lnTo>
                    <a:pt x="23" y="1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8" name="Rectangle 210"/>
            <p:cNvSpPr>
              <a:spLocks noChangeArrowheads="1"/>
            </p:cNvSpPr>
            <p:nvPr/>
          </p:nvSpPr>
          <p:spPr bwMode="auto">
            <a:xfrm>
              <a:off x="2986088" y="2495550"/>
              <a:ext cx="4763" cy="1588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9" name="Freeform 211"/>
            <p:cNvSpPr>
              <a:spLocks/>
            </p:cNvSpPr>
            <p:nvPr/>
          </p:nvSpPr>
          <p:spPr bwMode="auto">
            <a:xfrm>
              <a:off x="2962276" y="2501900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0" name="Freeform 212"/>
            <p:cNvSpPr>
              <a:spLocks/>
            </p:cNvSpPr>
            <p:nvPr/>
          </p:nvSpPr>
          <p:spPr bwMode="auto">
            <a:xfrm>
              <a:off x="927101" y="2562225"/>
              <a:ext cx="33338" cy="23813"/>
            </a:xfrm>
            <a:custGeom>
              <a:avLst/>
              <a:gdLst>
                <a:gd name="T0" fmla="*/ 6 w 21"/>
                <a:gd name="T1" fmla="*/ 7 h 15"/>
                <a:gd name="T2" fmla="*/ 0 w 21"/>
                <a:gd name="T3" fmla="*/ 15 h 15"/>
                <a:gd name="T4" fmla="*/ 2 w 21"/>
                <a:gd name="T5" fmla="*/ 15 h 15"/>
                <a:gd name="T6" fmla="*/ 8 w 21"/>
                <a:gd name="T7" fmla="*/ 9 h 15"/>
                <a:gd name="T8" fmla="*/ 13 w 21"/>
                <a:gd name="T9" fmla="*/ 9 h 15"/>
                <a:gd name="T10" fmla="*/ 21 w 21"/>
                <a:gd name="T11" fmla="*/ 2 h 15"/>
                <a:gd name="T12" fmla="*/ 21 w 21"/>
                <a:gd name="T13" fmla="*/ 0 h 15"/>
                <a:gd name="T14" fmla="*/ 13 w 21"/>
                <a:gd name="T15" fmla="*/ 2 h 15"/>
                <a:gd name="T16" fmla="*/ 10 w 21"/>
                <a:gd name="T17" fmla="*/ 7 h 15"/>
                <a:gd name="T18" fmla="*/ 6 w 21"/>
                <a:gd name="T1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5">
                  <a:moveTo>
                    <a:pt x="6" y="7"/>
                  </a:moveTo>
                  <a:lnTo>
                    <a:pt x="0" y="15"/>
                  </a:lnTo>
                  <a:lnTo>
                    <a:pt x="2" y="15"/>
                  </a:lnTo>
                  <a:lnTo>
                    <a:pt x="8" y="9"/>
                  </a:lnTo>
                  <a:lnTo>
                    <a:pt x="13" y="9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13" y="2"/>
                  </a:lnTo>
                  <a:lnTo>
                    <a:pt x="10" y="7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1" name="Freeform 213"/>
            <p:cNvSpPr>
              <a:spLocks/>
            </p:cNvSpPr>
            <p:nvPr/>
          </p:nvSpPr>
          <p:spPr bwMode="auto">
            <a:xfrm>
              <a:off x="2990851" y="2514600"/>
              <a:ext cx="9525" cy="12700"/>
            </a:xfrm>
            <a:custGeom>
              <a:avLst/>
              <a:gdLst>
                <a:gd name="T0" fmla="*/ 6 w 6"/>
                <a:gd name="T1" fmla="*/ 6 h 8"/>
                <a:gd name="T2" fmla="*/ 6 w 6"/>
                <a:gd name="T3" fmla="*/ 0 h 8"/>
                <a:gd name="T4" fmla="*/ 5 w 6"/>
                <a:gd name="T5" fmla="*/ 0 h 8"/>
                <a:gd name="T6" fmla="*/ 3 w 6"/>
                <a:gd name="T7" fmla="*/ 5 h 8"/>
                <a:gd name="T8" fmla="*/ 0 w 6"/>
                <a:gd name="T9" fmla="*/ 8 h 8"/>
                <a:gd name="T10" fmla="*/ 3 w 6"/>
                <a:gd name="T11" fmla="*/ 8 h 8"/>
                <a:gd name="T12" fmla="*/ 6 w 6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">
                  <a:moveTo>
                    <a:pt x="6" y="6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2" name="Freeform 214"/>
            <p:cNvSpPr>
              <a:spLocks/>
            </p:cNvSpPr>
            <p:nvPr/>
          </p:nvSpPr>
          <p:spPr bwMode="auto">
            <a:xfrm>
              <a:off x="2935288" y="2070100"/>
              <a:ext cx="93663" cy="52388"/>
            </a:xfrm>
            <a:custGeom>
              <a:avLst/>
              <a:gdLst>
                <a:gd name="T0" fmla="*/ 47 w 59"/>
                <a:gd name="T1" fmla="*/ 14 h 33"/>
                <a:gd name="T2" fmla="*/ 53 w 59"/>
                <a:gd name="T3" fmla="*/ 11 h 33"/>
                <a:gd name="T4" fmla="*/ 55 w 59"/>
                <a:gd name="T5" fmla="*/ 7 h 33"/>
                <a:gd name="T6" fmla="*/ 59 w 59"/>
                <a:gd name="T7" fmla="*/ 3 h 33"/>
                <a:gd name="T8" fmla="*/ 56 w 59"/>
                <a:gd name="T9" fmla="*/ 1 h 33"/>
                <a:gd name="T10" fmla="*/ 51 w 59"/>
                <a:gd name="T11" fmla="*/ 1 h 33"/>
                <a:gd name="T12" fmla="*/ 50 w 59"/>
                <a:gd name="T13" fmla="*/ 0 h 33"/>
                <a:gd name="T14" fmla="*/ 46 w 59"/>
                <a:gd name="T15" fmla="*/ 0 h 33"/>
                <a:gd name="T16" fmla="*/ 41 w 59"/>
                <a:gd name="T17" fmla="*/ 1 h 33"/>
                <a:gd name="T18" fmla="*/ 40 w 59"/>
                <a:gd name="T19" fmla="*/ 1 h 33"/>
                <a:gd name="T20" fmla="*/ 36 w 59"/>
                <a:gd name="T21" fmla="*/ 1 h 33"/>
                <a:gd name="T22" fmla="*/ 32 w 59"/>
                <a:gd name="T23" fmla="*/ 5 h 33"/>
                <a:gd name="T24" fmla="*/ 29 w 59"/>
                <a:gd name="T25" fmla="*/ 3 h 33"/>
                <a:gd name="T26" fmla="*/ 26 w 59"/>
                <a:gd name="T27" fmla="*/ 0 h 33"/>
                <a:gd name="T28" fmla="*/ 25 w 59"/>
                <a:gd name="T29" fmla="*/ 0 h 33"/>
                <a:gd name="T30" fmla="*/ 19 w 59"/>
                <a:gd name="T31" fmla="*/ 1 h 33"/>
                <a:gd name="T32" fmla="*/ 13 w 59"/>
                <a:gd name="T33" fmla="*/ 7 h 33"/>
                <a:gd name="T34" fmla="*/ 13 w 59"/>
                <a:gd name="T35" fmla="*/ 8 h 33"/>
                <a:gd name="T36" fmla="*/ 11 w 59"/>
                <a:gd name="T37" fmla="*/ 12 h 33"/>
                <a:gd name="T38" fmla="*/ 1 w 59"/>
                <a:gd name="T39" fmla="*/ 14 h 33"/>
                <a:gd name="T40" fmla="*/ 0 w 59"/>
                <a:gd name="T41" fmla="*/ 17 h 33"/>
                <a:gd name="T42" fmla="*/ 4 w 59"/>
                <a:gd name="T43" fmla="*/ 20 h 33"/>
                <a:gd name="T44" fmla="*/ 4 w 59"/>
                <a:gd name="T45" fmla="*/ 23 h 33"/>
                <a:gd name="T46" fmla="*/ 4 w 59"/>
                <a:gd name="T47" fmla="*/ 27 h 33"/>
                <a:gd name="T48" fmla="*/ 4 w 59"/>
                <a:gd name="T49" fmla="*/ 31 h 33"/>
                <a:gd name="T50" fmla="*/ 4 w 59"/>
                <a:gd name="T51" fmla="*/ 33 h 33"/>
                <a:gd name="T52" fmla="*/ 6 w 59"/>
                <a:gd name="T53" fmla="*/ 33 h 33"/>
                <a:gd name="T54" fmla="*/ 11 w 59"/>
                <a:gd name="T55" fmla="*/ 27 h 33"/>
                <a:gd name="T56" fmla="*/ 15 w 59"/>
                <a:gd name="T57" fmla="*/ 27 h 33"/>
                <a:gd name="T58" fmla="*/ 17 w 59"/>
                <a:gd name="T59" fmla="*/ 27 h 33"/>
                <a:gd name="T60" fmla="*/ 19 w 59"/>
                <a:gd name="T61" fmla="*/ 29 h 33"/>
                <a:gd name="T62" fmla="*/ 23 w 59"/>
                <a:gd name="T63" fmla="*/ 31 h 33"/>
                <a:gd name="T64" fmla="*/ 30 w 59"/>
                <a:gd name="T65" fmla="*/ 25 h 33"/>
                <a:gd name="T66" fmla="*/ 35 w 59"/>
                <a:gd name="T67" fmla="*/ 23 h 33"/>
                <a:gd name="T68" fmla="*/ 38 w 59"/>
                <a:gd name="T69" fmla="*/ 20 h 33"/>
                <a:gd name="T70" fmla="*/ 44 w 59"/>
                <a:gd name="T71" fmla="*/ 14 h 33"/>
                <a:gd name="T72" fmla="*/ 47 w 59"/>
                <a:gd name="T73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33">
                  <a:moveTo>
                    <a:pt x="47" y="14"/>
                  </a:moveTo>
                  <a:lnTo>
                    <a:pt x="53" y="11"/>
                  </a:lnTo>
                  <a:lnTo>
                    <a:pt x="55" y="7"/>
                  </a:lnTo>
                  <a:lnTo>
                    <a:pt x="59" y="3"/>
                  </a:lnTo>
                  <a:lnTo>
                    <a:pt x="56" y="1"/>
                  </a:lnTo>
                  <a:lnTo>
                    <a:pt x="51" y="1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40" y="1"/>
                  </a:lnTo>
                  <a:lnTo>
                    <a:pt x="36" y="1"/>
                  </a:lnTo>
                  <a:lnTo>
                    <a:pt x="32" y="5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19" y="1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1" y="12"/>
                  </a:lnTo>
                  <a:lnTo>
                    <a:pt x="1" y="14"/>
                  </a:lnTo>
                  <a:lnTo>
                    <a:pt x="0" y="17"/>
                  </a:lnTo>
                  <a:lnTo>
                    <a:pt x="4" y="20"/>
                  </a:lnTo>
                  <a:lnTo>
                    <a:pt x="4" y="23"/>
                  </a:lnTo>
                  <a:lnTo>
                    <a:pt x="4" y="27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11" y="27"/>
                  </a:lnTo>
                  <a:lnTo>
                    <a:pt x="15" y="27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3" y="31"/>
                  </a:lnTo>
                  <a:lnTo>
                    <a:pt x="30" y="25"/>
                  </a:lnTo>
                  <a:lnTo>
                    <a:pt x="35" y="23"/>
                  </a:lnTo>
                  <a:lnTo>
                    <a:pt x="38" y="20"/>
                  </a:lnTo>
                  <a:lnTo>
                    <a:pt x="44" y="14"/>
                  </a:lnTo>
                  <a:lnTo>
                    <a:pt x="47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3" name="Freeform 215"/>
            <p:cNvSpPr>
              <a:spLocks/>
            </p:cNvSpPr>
            <p:nvPr/>
          </p:nvSpPr>
          <p:spPr bwMode="auto">
            <a:xfrm>
              <a:off x="2892426" y="2682875"/>
              <a:ext cx="6350" cy="12700"/>
            </a:xfrm>
            <a:custGeom>
              <a:avLst/>
              <a:gdLst>
                <a:gd name="T0" fmla="*/ 4 w 4"/>
                <a:gd name="T1" fmla="*/ 6 h 8"/>
                <a:gd name="T2" fmla="*/ 4 w 4"/>
                <a:gd name="T3" fmla="*/ 0 h 8"/>
                <a:gd name="T4" fmla="*/ 2 w 4"/>
                <a:gd name="T5" fmla="*/ 0 h 8"/>
                <a:gd name="T6" fmla="*/ 0 w 4"/>
                <a:gd name="T7" fmla="*/ 2 h 8"/>
                <a:gd name="T8" fmla="*/ 2 w 4"/>
                <a:gd name="T9" fmla="*/ 6 h 8"/>
                <a:gd name="T10" fmla="*/ 2 w 4"/>
                <a:gd name="T11" fmla="*/ 8 h 8"/>
                <a:gd name="T12" fmla="*/ 4 w 4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4" y="6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2" y="8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4" name="Freeform 216"/>
            <p:cNvSpPr>
              <a:spLocks noEditPoints="1"/>
            </p:cNvSpPr>
            <p:nvPr/>
          </p:nvSpPr>
          <p:spPr bwMode="auto">
            <a:xfrm>
              <a:off x="2944813" y="2501900"/>
              <a:ext cx="50800" cy="39688"/>
            </a:xfrm>
            <a:custGeom>
              <a:avLst/>
              <a:gdLst>
                <a:gd name="T0" fmla="*/ 20 w 32"/>
                <a:gd name="T1" fmla="*/ 17 h 25"/>
                <a:gd name="T2" fmla="*/ 19 w 32"/>
                <a:gd name="T3" fmla="*/ 22 h 25"/>
                <a:gd name="T4" fmla="*/ 23 w 32"/>
                <a:gd name="T5" fmla="*/ 19 h 25"/>
                <a:gd name="T6" fmla="*/ 29 w 32"/>
                <a:gd name="T7" fmla="*/ 13 h 25"/>
                <a:gd name="T8" fmla="*/ 30 w 32"/>
                <a:gd name="T9" fmla="*/ 10 h 25"/>
                <a:gd name="T10" fmla="*/ 32 w 32"/>
                <a:gd name="T11" fmla="*/ 7 h 25"/>
                <a:gd name="T12" fmla="*/ 30 w 32"/>
                <a:gd name="T13" fmla="*/ 3 h 25"/>
                <a:gd name="T14" fmla="*/ 29 w 32"/>
                <a:gd name="T15" fmla="*/ 3 h 25"/>
                <a:gd name="T16" fmla="*/ 29 w 32"/>
                <a:gd name="T17" fmla="*/ 2 h 25"/>
                <a:gd name="T18" fmla="*/ 24 w 32"/>
                <a:gd name="T19" fmla="*/ 0 h 25"/>
                <a:gd name="T20" fmla="*/ 23 w 32"/>
                <a:gd name="T21" fmla="*/ 2 h 25"/>
                <a:gd name="T22" fmla="*/ 19 w 32"/>
                <a:gd name="T23" fmla="*/ 8 h 25"/>
                <a:gd name="T24" fmla="*/ 15 w 32"/>
                <a:gd name="T25" fmla="*/ 10 h 25"/>
                <a:gd name="T26" fmla="*/ 11 w 32"/>
                <a:gd name="T27" fmla="*/ 14 h 25"/>
                <a:gd name="T28" fmla="*/ 13 w 32"/>
                <a:gd name="T29" fmla="*/ 10 h 25"/>
                <a:gd name="T30" fmla="*/ 17 w 32"/>
                <a:gd name="T31" fmla="*/ 7 h 25"/>
                <a:gd name="T32" fmla="*/ 19 w 32"/>
                <a:gd name="T33" fmla="*/ 3 h 25"/>
                <a:gd name="T34" fmla="*/ 17 w 32"/>
                <a:gd name="T35" fmla="*/ 2 h 25"/>
                <a:gd name="T36" fmla="*/ 13 w 32"/>
                <a:gd name="T37" fmla="*/ 3 h 25"/>
                <a:gd name="T38" fmla="*/ 11 w 32"/>
                <a:gd name="T39" fmla="*/ 8 h 25"/>
                <a:gd name="T40" fmla="*/ 5 w 32"/>
                <a:gd name="T41" fmla="*/ 14 h 25"/>
                <a:gd name="T42" fmla="*/ 4 w 32"/>
                <a:gd name="T43" fmla="*/ 17 h 25"/>
                <a:gd name="T44" fmla="*/ 0 w 32"/>
                <a:gd name="T45" fmla="*/ 22 h 25"/>
                <a:gd name="T46" fmla="*/ 1 w 32"/>
                <a:gd name="T47" fmla="*/ 25 h 25"/>
                <a:gd name="T48" fmla="*/ 4 w 32"/>
                <a:gd name="T49" fmla="*/ 23 h 25"/>
                <a:gd name="T50" fmla="*/ 9 w 32"/>
                <a:gd name="T51" fmla="*/ 17 h 25"/>
                <a:gd name="T52" fmla="*/ 11 w 32"/>
                <a:gd name="T53" fmla="*/ 17 h 25"/>
                <a:gd name="T54" fmla="*/ 9 w 32"/>
                <a:gd name="T55" fmla="*/ 19 h 25"/>
                <a:gd name="T56" fmla="*/ 5 w 32"/>
                <a:gd name="T57" fmla="*/ 25 h 25"/>
                <a:gd name="T58" fmla="*/ 7 w 32"/>
                <a:gd name="T59" fmla="*/ 25 h 25"/>
                <a:gd name="T60" fmla="*/ 11 w 32"/>
                <a:gd name="T61" fmla="*/ 23 h 25"/>
                <a:gd name="T62" fmla="*/ 15 w 32"/>
                <a:gd name="T63" fmla="*/ 23 h 25"/>
                <a:gd name="T64" fmla="*/ 19 w 32"/>
                <a:gd name="T65" fmla="*/ 19 h 25"/>
                <a:gd name="T66" fmla="*/ 24 w 32"/>
                <a:gd name="T67" fmla="*/ 10 h 25"/>
                <a:gd name="T68" fmla="*/ 26 w 32"/>
                <a:gd name="T69" fmla="*/ 8 h 25"/>
                <a:gd name="T70" fmla="*/ 29 w 32"/>
                <a:gd name="T71" fmla="*/ 8 h 25"/>
                <a:gd name="T72" fmla="*/ 29 w 32"/>
                <a:gd name="T73" fmla="*/ 10 h 25"/>
                <a:gd name="T74" fmla="*/ 20 w 32"/>
                <a:gd name="T75" fmla="*/ 17 h 25"/>
                <a:gd name="T76" fmla="*/ 19 w 32"/>
                <a:gd name="T77" fmla="*/ 14 h 25"/>
                <a:gd name="T78" fmla="*/ 15 w 32"/>
                <a:gd name="T79" fmla="*/ 19 h 25"/>
                <a:gd name="T80" fmla="*/ 13 w 32"/>
                <a:gd name="T81" fmla="*/ 19 h 25"/>
                <a:gd name="T82" fmla="*/ 15 w 32"/>
                <a:gd name="T83" fmla="*/ 16 h 25"/>
                <a:gd name="T84" fmla="*/ 23 w 32"/>
                <a:gd name="T85" fmla="*/ 8 h 25"/>
                <a:gd name="T86" fmla="*/ 19 w 32"/>
                <a:gd name="T8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25">
                  <a:moveTo>
                    <a:pt x="20" y="17"/>
                  </a:moveTo>
                  <a:lnTo>
                    <a:pt x="19" y="22"/>
                  </a:lnTo>
                  <a:lnTo>
                    <a:pt x="23" y="19"/>
                  </a:lnTo>
                  <a:lnTo>
                    <a:pt x="29" y="13"/>
                  </a:lnTo>
                  <a:lnTo>
                    <a:pt x="30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4" y="0"/>
                  </a:lnTo>
                  <a:lnTo>
                    <a:pt x="23" y="2"/>
                  </a:lnTo>
                  <a:lnTo>
                    <a:pt x="19" y="8"/>
                  </a:lnTo>
                  <a:lnTo>
                    <a:pt x="15" y="10"/>
                  </a:lnTo>
                  <a:lnTo>
                    <a:pt x="11" y="14"/>
                  </a:lnTo>
                  <a:lnTo>
                    <a:pt x="13" y="10"/>
                  </a:lnTo>
                  <a:lnTo>
                    <a:pt x="17" y="7"/>
                  </a:lnTo>
                  <a:lnTo>
                    <a:pt x="19" y="3"/>
                  </a:lnTo>
                  <a:lnTo>
                    <a:pt x="17" y="2"/>
                  </a:lnTo>
                  <a:lnTo>
                    <a:pt x="13" y="3"/>
                  </a:lnTo>
                  <a:lnTo>
                    <a:pt x="11" y="8"/>
                  </a:lnTo>
                  <a:lnTo>
                    <a:pt x="5" y="14"/>
                  </a:lnTo>
                  <a:lnTo>
                    <a:pt x="4" y="17"/>
                  </a:lnTo>
                  <a:lnTo>
                    <a:pt x="0" y="22"/>
                  </a:lnTo>
                  <a:lnTo>
                    <a:pt x="1" y="25"/>
                  </a:lnTo>
                  <a:lnTo>
                    <a:pt x="4" y="23"/>
                  </a:lnTo>
                  <a:lnTo>
                    <a:pt x="9" y="17"/>
                  </a:lnTo>
                  <a:lnTo>
                    <a:pt x="11" y="17"/>
                  </a:lnTo>
                  <a:lnTo>
                    <a:pt x="9" y="19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11" y="23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0" y="17"/>
                  </a:lnTo>
                  <a:close/>
                  <a:moveTo>
                    <a:pt x="19" y="14"/>
                  </a:moveTo>
                  <a:lnTo>
                    <a:pt x="15" y="19"/>
                  </a:lnTo>
                  <a:lnTo>
                    <a:pt x="13" y="19"/>
                  </a:lnTo>
                  <a:lnTo>
                    <a:pt x="15" y="16"/>
                  </a:lnTo>
                  <a:lnTo>
                    <a:pt x="23" y="8"/>
                  </a:lnTo>
                  <a:lnTo>
                    <a:pt x="1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5" name="Freeform 217"/>
            <p:cNvSpPr>
              <a:spLocks/>
            </p:cNvSpPr>
            <p:nvPr/>
          </p:nvSpPr>
          <p:spPr bwMode="auto">
            <a:xfrm>
              <a:off x="3159126" y="2043113"/>
              <a:ext cx="38100" cy="34925"/>
            </a:xfrm>
            <a:custGeom>
              <a:avLst/>
              <a:gdLst>
                <a:gd name="T0" fmla="*/ 13 w 24"/>
                <a:gd name="T1" fmla="*/ 22 h 22"/>
                <a:gd name="T2" fmla="*/ 17 w 24"/>
                <a:gd name="T3" fmla="*/ 22 h 22"/>
                <a:gd name="T4" fmla="*/ 19 w 24"/>
                <a:gd name="T5" fmla="*/ 20 h 22"/>
                <a:gd name="T6" fmla="*/ 22 w 24"/>
                <a:gd name="T7" fmla="*/ 20 h 22"/>
                <a:gd name="T8" fmla="*/ 24 w 24"/>
                <a:gd name="T9" fmla="*/ 18 h 22"/>
                <a:gd name="T10" fmla="*/ 24 w 24"/>
                <a:gd name="T11" fmla="*/ 17 h 22"/>
                <a:gd name="T12" fmla="*/ 24 w 24"/>
                <a:gd name="T13" fmla="*/ 15 h 22"/>
                <a:gd name="T14" fmla="*/ 24 w 24"/>
                <a:gd name="T15" fmla="*/ 7 h 22"/>
                <a:gd name="T16" fmla="*/ 22 w 24"/>
                <a:gd name="T17" fmla="*/ 7 h 22"/>
                <a:gd name="T18" fmla="*/ 17 w 24"/>
                <a:gd name="T19" fmla="*/ 6 h 22"/>
                <a:gd name="T20" fmla="*/ 13 w 24"/>
                <a:gd name="T21" fmla="*/ 3 h 22"/>
                <a:gd name="T22" fmla="*/ 11 w 24"/>
                <a:gd name="T23" fmla="*/ 0 h 22"/>
                <a:gd name="T24" fmla="*/ 10 w 24"/>
                <a:gd name="T25" fmla="*/ 1 h 22"/>
                <a:gd name="T26" fmla="*/ 4 w 24"/>
                <a:gd name="T27" fmla="*/ 1 h 22"/>
                <a:gd name="T28" fmla="*/ 1 w 24"/>
                <a:gd name="T29" fmla="*/ 1 h 22"/>
                <a:gd name="T30" fmla="*/ 0 w 24"/>
                <a:gd name="T31" fmla="*/ 3 h 22"/>
                <a:gd name="T32" fmla="*/ 1 w 24"/>
                <a:gd name="T33" fmla="*/ 7 h 22"/>
                <a:gd name="T34" fmla="*/ 6 w 24"/>
                <a:gd name="T35" fmla="*/ 11 h 22"/>
                <a:gd name="T36" fmla="*/ 7 w 24"/>
                <a:gd name="T37" fmla="*/ 15 h 22"/>
                <a:gd name="T38" fmla="*/ 10 w 24"/>
                <a:gd name="T39" fmla="*/ 17 h 22"/>
                <a:gd name="T40" fmla="*/ 10 w 24"/>
                <a:gd name="T41" fmla="*/ 20 h 22"/>
                <a:gd name="T42" fmla="*/ 13 w 24"/>
                <a:gd name="T4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2">
                  <a:moveTo>
                    <a:pt x="13" y="22"/>
                  </a:moveTo>
                  <a:lnTo>
                    <a:pt x="17" y="22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5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17" y="6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10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7"/>
                  </a:lnTo>
                  <a:lnTo>
                    <a:pt x="6" y="11"/>
                  </a:lnTo>
                  <a:lnTo>
                    <a:pt x="7" y="15"/>
                  </a:lnTo>
                  <a:lnTo>
                    <a:pt x="10" y="17"/>
                  </a:lnTo>
                  <a:lnTo>
                    <a:pt x="10" y="20"/>
                  </a:lnTo>
                  <a:lnTo>
                    <a:pt x="13" y="2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6" name="Freeform 218"/>
            <p:cNvSpPr>
              <a:spLocks/>
            </p:cNvSpPr>
            <p:nvPr/>
          </p:nvSpPr>
          <p:spPr bwMode="auto">
            <a:xfrm>
              <a:off x="3160713" y="2106613"/>
              <a:ext cx="14288" cy="3175"/>
            </a:xfrm>
            <a:custGeom>
              <a:avLst/>
              <a:gdLst>
                <a:gd name="T0" fmla="*/ 0 w 9"/>
                <a:gd name="T1" fmla="*/ 0 h 2"/>
                <a:gd name="T2" fmla="*/ 3 w 9"/>
                <a:gd name="T3" fmla="*/ 2 h 2"/>
                <a:gd name="T4" fmla="*/ 6 w 9"/>
                <a:gd name="T5" fmla="*/ 2 h 2"/>
                <a:gd name="T6" fmla="*/ 9 w 9"/>
                <a:gd name="T7" fmla="*/ 2 h 2"/>
                <a:gd name="T8" fmla="*/ 3 w 9"/>
                <a:gd name="T9" fmla="*/ 0 h 2"/>
                <a:gd name="T10" fmla="*/ 0 w 9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">
                  <a:moveTo>
                    <a:pt x="0" y="0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9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7" name="Freeform 219"/>
            <p:cNvSpPr>
              <a:spLocks noEditPoints="1"/>
            </p:cNvSpPr>
            <p:nvPr/>
          </p:nvSpPr>
          <p:spPr bwMode="auto">
            <a:xfrm>
              <a:off x="669926" y="1544638"/>
              <a:ext cx="3198813" cy="1752600"/>
            </a:xfrm>
            <a:custGeom>
              <a:avLst/>
              <a:gdLst>
                <a:gd name="T0" fmla="*/ 1981 w 2015"/>
                <a:gd name="T1" fmla="*/ 817 h 1104"/>
                <a:gd name="T2" fmla="*/ 2012 w 2015"/>
                <a:gd name="T3" fmla="*/ 754 h 1104"/>
                <a:gd name="T4" fmla="*/ 1920 w 2015"/>
                <a:gd name="T5" fmla="*/ 750 h 1104"/>
                <a:gd name="T6" fmla="*/ 1939 w 2015"/>
                <a:gd name="T7" fmla="*/ 726 h 1104"/>
                <a:gd name="T8" fmla="*/ 1935 w 2015"/>
                <a:gd name="T9" fmla="*/ 687 h 1104"/>
                <a:gd name="T10" fmla="*/ 1900 w 2015"/>
                <a:gd name="T11" fmla="*/ 664 h 1104"/>
                <a:gd name="T12" fmla="*/ 1897 w 2015"/>
                <a:gd name="T13" fmla="*/ 613 h 1104"/>
                <a:gd name="T14" fmla="*/ 1886 w 2015"/>
                <a:gd name="T15" fmla="*/ 560 h 1104"/>
                <a:gd name="T16" fmla="*/ 1871 w 2015"/>
                <a:gd name="T17" fmla="*/ 511 h 1104"/>
                <a:gd name="T18" fmla="*/ 1836 w 2015"/>
                <a:gd name="T19" fmla="*/ 511 h 1104"/>
                <a:gd name="T20" fmla="*/ 1759 w 2015"/>
                <a:gd name="T21" fmla="*/ 564 h 1104"/>
                <a:gd name="T22" fmla="*/ 1704 w 2015"/>
                <a:gd name="T23" fmla="*/ 479 h 1104"/>
                <a:gd name="T24" fmla="*/ 1703 w 2015"/>
                <a:gd name="T25" fmla="*/ 412 h 1104"/>
                <a:gd name="T26" fmla="*/ 1583 w 2015"/>
                <a:gd name="T27" fmla="*/ 358 h 1104"/>
                <a:gd name="T28" fmla="*/ 1549 w 2015"/>
                <a:gd name="T29" fmla="*/ 454 h 1104"/>
                <a:gd name="T30" fmla="*/ 1528 w 2015"/>
                <a:gd name="T31" fmla="*/ 597 h 1104"/>
                <a:gd name="T32" fmla="*/ 1427 w 2015"/>
                <a:gd name="T33" fmla="*/ 692 h 1104"/>
                <a:gd name="T34" fmla="*/ 1416 w 2015"/>
                <a:gd name="T35" fmla="*/ 809 h 1104"/>
                <a:gd name="T36" fmla="*/ 1341 w 2015"/>
                <a:gd name="T37" fmla="*/ 739 h 1104"/>
                <a:gd name="T38" fmla="*/ 1290 w 2015"/>
                <a:gd name="T39" fmla="*/ 630 h 1104"/>
                <a:gd name="T40" fmla="*/ 1140 w 2015"/>
                <a:gd name="T41" fmla="*/ 525 h 1104"/>
                <a:gd name="T42" fmla="*/ 1128 w 2015"/>
                <a:gd name="T43" fmla="*/ 423 h 1104"/>
                <a:gd name="T44" fmla="*/ 1203 w 2015"/>
                <a:gd name="T45" fmla="*/ 342 h 1104"/>
                <a:gd name="T46" fmla="*/ 1241 w 2015"/>
                <a:gd name="T47" fmla="*/ 306 h 1104"/>
                <a:gd name="T48" fmla="*/ 1235 w 2015"/>
                <a:gd name="T49" fmla="*/ 247 h 1104"/>
                <a:gd name="T50" fmla="*/ 1327 w 2015"/>
                <a:gd name="T51" fmla="*/ 262 h 1104"/>
                <a:gd name="T52" fmla="*/ 1362 w 2015"/>
                <a:gd name="T53" fmla="*/ 177 h 1104"/>
                <a:gd name="T54" fmla="*/ 1471 w 2015"/>
                <a:gd name="T55" fmla="*/ 155 h 1104"/>
                <a:gd name="T56" fmla="*/ 1489 w 2015"/>
                <a:gd name="T57" fmla="*/ 136 h 1104"/>
                <a:gd name="T58" fmla="*/ 1581 w 2015"/>
                <a:gd name="T59" fmla="*/ 130 h 1104"/>
                <a:gd name="T60" fmla="*/ 1609 w 2015"/>
                <a:gd name="T61" fmla="*/ 68 h 1104"/>
                <a:gd name="T62" fmla="*/ 1572 w 2015"/>
                <a:gd name="T63" fmla="*/ 3 h 1104"/>
                <a:gd name="T64" fmla="*/ 1512 w 2015"/>
                <a:gd name="T65" fmla="*/ 48 h 1104"/>
                <a:gd name="T66" fmla="*/ 1448 w 2015"/>
                <a:gd name="T67" fmla="*/ 59 h 1104"/>
                <a:gd name="T68" fmla="*/ 1404 w 2015"/>
                <a:gd name="T69" fmla="*/ 32 h 1104"/>
                <a:gd name="T70" fmla="*/ 1316 w 2015"/>
                <a:gd name="T71" fmla="*/ 40 h 1104"/>
                <a:gd name="T72" fmla="*/ 1258 w 2015"/>
                <a:gd name="T73" fmla="*/ 99 h 1104"/>
                <a:gd name="T74" fmla="*/ 1246 w 2015"/>
                <a:gd name="T75" fmla="*/ 77 h 1104"/>
                <a:gd name="T76" fmla="*/ 1241 w 2015"/>
                <a:gd name="T77" fmla="*/ 21 h 1104"/>
                <a:gd name="T78" fmla="*/ 1203 w 2015"/>
                <a:gd name="T79" fmla="*/ 34 h 1104"/>
                <a:gd name="T80" fmla="*/ 1099 w 2015"/>
                <a:gd name="T81" fmla="*/ 21 h 1104"/>
                <a:gd name="T82" fmla="*/ 984 w 2015"/>
                <a:gd name="T83" fmla="*/ 48 h 1104"/>
                <a:gd name="T84" fmla="*/ 958 w 2015"/>
                <a:gd name="T85" fmla="*/ 20 h 1104"/>
                <a:gd name="T86" fmla="*/ 76 w 2015"/>
                <a:gd name="T87" fmla="*/ 312 h 1104"/>
                <a:gd name="T88" fmla="*/ 145 w 2015"/>
                <a:gd name="T89" fmla="*/ 432 h 1104"/>
                <a:gd name="T90" fmla="*/ 177 w 2015"/>
                <a:gd name="T91" fmla="*/ 504 h 1104"/>
                <a:gd name="T92" fmla="*/ 174 w 2015"/>
                <a:gd name="T93" fmla="*/ 571 h 1104"/>
                <a:gd name="T94" fmla="*/ 155 w 2015"/>
                <a:gd name="T95" fmla="*/ 636 h 1104"/>
                <a:gd name="T96" fmla="*/ 183 w 2015"/>
                <a:gd name="T97" fmla="*/ 648 h 1104"/>
                <a:gd name="T98" fmla="*/ 152 w 2015"/>
                <a:gd name="T99" fmla="*/ 689 h 1104"/>
                <a:gd name="T100" fmla="*/ 202 w 2015"/>
                <a:gd name="T101" fmla="*/ 708 h 1104"/>
                <a:gd name="T102" fmla="*/ 214 w 2015"/>
                <a:gd name="T103" fmla="*/ 729 h 1104"/>
                <a:gd name="T104" fmla="*/ 989 w 2015"/>
                <a:gd name="T105" fmla="*/ 860 h 1104"/>
                <a:gd name="T106" fmla="*/ 1244 w 2015"/>
                <a:gd name="T107" fmla="*/ 1087 h 1104"/>
                <a:gd name="T108" fmla="*/ 1609 w 2015"/>
                <a:gd name="T109" fmla="*/ 959 h 1104"/>
                <a:gd name="T110" fmla="*/ 1699 w 2015"/>
                <a:gd name="T111" fmla="*/ 1013 h 1104"/>
                <a:gd name="T112" fmla="*/ 1719 w 2015"/>
                <a:gd name="T113" fmla="*/ 1022 h 1104"/>
                <a:gd name="T114" fmla="*/ 1764 w 2015"/>
                <a:gd name="T115" fmla="*/ 1037 h 1104"/>
                <a:gd name="T116" fmla="*/ 1754 w 2015"/>
                <a:gd name="T117" fmla="*/ 989 h 1104"/>
                <a:gd name="T118" fmla="*/ 1730 w 2015"/>
                <a:gd name="T119" fmla="*/ 927 h 1104"/>
                <a:gd name="T120" fmla="*/ 1579 w 2015"/>
                <a:gd name="T121" fmla="*/ 958 h 1104"/>
                <a:gd name="T122" fmla="*/ 1695 w 2015"/>
                <a:gd name="T123" fmla="*/ 878 h 1104"/>
                <a:gd name="T124" fmla="*/ 1842 w 2015"/>
                <a:gd name="T125" fmla="*/ 857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5" h="1104">
                  <a:moveTo>
                    <a:pt x="1889" y="854"/>
                  </a:moveTo>
                  <a:lnTo>
                    <a:pt x="1895" y="854"/>
                  </a:lnTo>
                  <a:lnTo>
                    <a:pt x="1900" y="852"/>
                  </a:lnTo>
                  <a:lnTo>
                    <a:pt x="1901" y="854"/>
                  </a:lnTo>
                  <a:lnTo>
                    <a:pt x="1905" y="848"/>
                  </a:lnTo>
                  <a:lnTo>
                    <a:pt x="1909" y="847"/>
                  </a:lnTo>
                  <a:lnTo>
                    <a:pt x="1911" y="844"/>
                  </a:lnTo>
                  <a:lnTo>
                    <a:pt x="1915" y="844"/>
                  </a:lnTo>
                  <a:lnTo>
                    <a:pt x="1918" y="838"/>
                  </a:lnTo>
                  <a:lnTo>
                    <a:pt x="1918" y="834"/>
                  </a:lnTo>
                  <a:lnTo>
                    <a:pt x="1922" y="834"/>
                  </a:lnTo>
                  <a:lnTo>
                    <a:pt x="1926" y="830"/>
                  </a:lnTo>
                  <a:lnTo>
                    <a:pt x="1928" y="829"/>
                  </a:lnTo>
                  <a:lnTo>
                    <a:pt x="1926" y="826"/>
                  </a:lnTo>
                  <a:lnTo>
                    <a:pt x="1926" y="824"/>
                  </a:lnTo>
                  <a:lnTo>
                    <a:pt x="1931" y="826"/>
                  </a:lnTo>
                  <a:lnTo>
                    <a:pt x="1937" y="824"/>
                  </a:lnTo>
                  <a:lnTo>
                    <a:pt x="1937" y="821"/>
                  </a:lnTo>
                  <a:lnTo>
                    <a:pt x="1939" y="821"/>
                  </a:lnTo>
                  <a:lnTo>
                    <a:pt x="1941" y="824"/>
                  </a:lnTo>
                  <a:lnTo>
                    <a:pt x="1946" y="824"/>
                  </a:lnTo>
                  <a:lnTo>
                    <a:pt x="1952" y="821"/>
                  </a:lnTo>
                  <a:lnTo>
                    <a:pt x="1955" y="823"/>
                  </a:lnTo>
                  <a:lnTo>
                    <a:pt x="1958" y="823"/>
                  </a:lnTo>
                  <a:lnTo>
                    <a:pt x="1961" y="821"/>
                  </a:lnTo>
                  <a:lnTo>
                    <a:pt x="1966" y="824"/>
                  </a:lnTo>
                  <a:lnTo>
                    <a:pt x="1971" y="823"/>
                  </a:lnTo>
                  <a:lnTo>
                    <a:pt x="1971" y="821"/>
                  </a:lnTo>
                  <a:lnTo>
                    <a:pt x="1975" y="821"/>
                  </a:lnTo>
                  <a:lnTo>
                    <a:pt x="1979" y="817"/>
                  </a:lnTo>
                  <a:lnTo>
                    <a:pt x="1981" y="817"/>
                  </a:lnTo>
                  <a:lnTo>
                    <a:pt x="1986" y="812"/>
                  </a:lnTo>
                  <a:lnTo>
                    <a:pt x="1992" y="812"/>
                  </a:lnTo>
                  <a:lnTo>
                    <a:pt x="2000" y="807"/>
                  </a:lnTo>
                  <a:lnTo>
                    <a:pt x="2001" y="802"/>
                  </a:lnTo>
                  <a:lnTo>
                    <a:pt x="2007" y="802"/>
                  </a:lnTo>
                  <a:lnTo>
                    <a:pt x="2007" y="798"/>
                  </a:lnTo>
                  <a:lnTo>
                    <a:pt x="2010" y="795"/>
                  </a:lnTo>
                  <a:lnTo>
                    <a:pt x="2007" y="793"/>
                  </a:lnTo>
                  <a:lnTo>
                    <a:pt x="2001" y="793"/>
                  </a:lnTo>
                  <a:lnTo>
                    <a:pt x="1998" y="790"/>
                  </a:lnTo>
                  <a:lnTo>
                    <a:pt x="2001" y="790"/>
                  </a:lnTo>
                  <a:lnTo>
                    <a:pt x="2006" y="790"/>
                  </a:lnTo>
                  <a:lnTo>
                    <a:pt x="2010" y="790"/>
                  </a:lnTo>
                  <a:lnTo>
                    <a:pt x="2006" y="785"/>
                  </a:lnTo>
                  <a:lnTo>
                    <a:pt x="2001" y="787"/>
                  </a:lnTo>
                  <a:lnTo>
                    <a:pt x="1995" y="784"/>
                  </a:lnTo>
                  <a:lnTo>
                    <a:pt x="1992" y="780"/>
                  </a:lnTo>
                  <a:lnTo>
                    <a:pt x="1998" y="784"/>
                  </a:lnTo>
                  <a:lnTo>
                    <a:pt x="2001" y="782"/>
                  </a:lnTo>
                  <a:lnTo>
                    <a:pt x="2004" y="778"/>
                  </a:lnTo>
                  <a:lnTo>
                    <a:pt x="2007" y="776"/>
                  </a:lnTo>
                  <a:lnTo>
                    <a:pt x="2010" y="771"/>
                  </a:lnTo>
                  <a:lnTo>
                    <a:pt x="2001" y="768"/>
                  </a:lnTo>
                  <a:lnTo>
                    <a:pt x="2006" y="765"/>
                  </a:lnTo>
                  <a:lnTo>
                    <a:pt x="2012" y="767"/>
                  </a:lnTo>
                  <a:lnTo>
                    <a:pt x="2015" y="763"/>
                  </a:lnTo>
                  <a:lnTo>
                    <a:pt x="2013" y="759"/>
                  </a:lnTo>
                  <a:lnTo>
                    <a:pt x="2006" y="757"/>
                  </a:lnTo>
                  <a:lnTo>
                    <a:pt x="2004" y="754"/>
                  </a:lnTo>
                  <a:lnTo>
                    <a:pt x="2007" y="751"/>
                  </a:lnTo>
                  <a:lnTo>
                    <a:pt x="2012" y="754"/>
                  </a:lnTo>
                  <a:lnTo>
                    <a:pt x="2012" y="751"/>
                  </a:lnTo>
                  <a:lnTo>
                    <a:pt x="2004" y="748"/>
                  </a:lnTo>
                  <a:lnTo>
                    <a:pt x="1996" y="748"/>
                  </a:lnTo>
                  <a:lnTo>
                    <a:pt x="1998" y="746"/>
                  </a:lnTo>
                  <a:lnTo>
                    <a:pt x="2000" y="745"/>
                  </a:lnTo>
                  <a:lnTo>
                    <a:pt x="1998" y="742"/>
                  </a:lnTo>
                  <a:lnTo>
                    <a:pt x="1992" y="742"/>
                  </a:lnTo>
                  <a:lnTo>
                    <a:pt x="1985" y="746"/>
                  </a:lnTo>
                  <a:lnTo>
                    <a:pt x="1983" y="750"/>
                  </a:lnTo>
                  <a:lnTo>
                    <a:pt x="1979" y="754"/>
                  </a:lnTo>
                  <a:lnTo>
                    <a:pt x="1977" y="748"/>
                  </a:lnTo>
                  <a:lnTo>
                    <a:pt x="1971" y="748"/>
                  </a:lnTo>
                  <a:lnTo>
                    <a:pt x="1975" y="745"/>
                  </a:lnTo>
                  <a:lnTo>
                    <a:pt x="1977" y="745"/>
                  </a:lnTo>
                  <a:lnTo>
                    <a:pt x="1985" y="739"/>
                  </a:lnTo>
                  <a:lnTo>
                    <a:pt x="1985" y="735"/>
                  </a:lnTo>
                  <a:lnTo>
                    <a:pt x="1981" y="728"/>
                  </a:lnTo>
                  <a:lnTo>
                    <a:pt x="1971" y="726"/>
                  </a:lnTo>
                  <a:lnTo>
                    <a:pt x="1960" y="726"/>
                  </a:lnTo>
                  <a:lnTo>
                    <a:pt x="1956" y="728"/>
                  </a:lnTo>
                  <a:lnTo>
                    <a:pt x="1958" y="729"/>
                  </a:lnTo>
                  <a:lnTo>
                    <a:pt x="1964" y="729"/>
                  </a:lnTo>
                  <a:lnTo>
                    <a:pt x="1966" y="732"/>
                  </a:lnTo>
                  <a:lnTo>
                    <a:pt x="1960" y="732"/>
                  </a:lnTo>
                  <a:lnTo>
                    <a:pt x="1952" y="729"/>
                  </a:lnTo>
                  <a:lnTo>
                    <a:pt x="1944" y="734"/>
                  </a:lnTo>
                  <a:lnTo>
                    <a:pt x="1937" y="735"/>
                  </a:lnTo>
                  <a:lnTo>
                    <a:pt x="1933" y="739"/>
                  </a:lnTo>
                  <a:lnTo>
                    <a:pt x="1930" y="745"/>
                  </a:lnTo>
                  <a:lnTo>
                    <a:pt x="1926" y="745"/>
                  </a:lnTo>
                  <a:lnTo>
                    <a:pt x="1920" y="750"/>
                  </a:lnTo>
                  <a:lnTo>
                    <a:pt x="1912" y="748"/>
                  </a:lnTo>
                  <a:lnTo>
                    <a:pt x="1906" y="757"/>
                  </a:lnTo>
                  <a:lnTo>
                    <a:pt x="1905" y="757"/>
                  </a:lnTo>
                  <a:lnTo>
                    <a:pt x="1903" y="759"/>
                  </a:lnTo>
                  <a:lnTo>
                    <a:pt x="1900" y="759"/>
                  </a:lnTo>
                  <a:lnTo>
                    <a:pt x="1897" y="756"/>
                  </a:lnTo>
                  <a:lnTo>
                    <a:pt x="1901" y="751"/>
                  </a:lnTo>
                  <a:lnTo>
                    <a:pt x="1903" y="754"/>
                  </a:lnTo>
                  <a:lnTo>
                    <a:pt x="1905" y="750"/>
                  </a:lnTo>
                  <a:lnTo>
                    <a:pt x="1895" y="742"/>
                  </a:lnTo>
                  <a:lnTo>
                    <a:pt x="1894" y="741"/>
                  </a:lnTo>
                  <a:lnTo>
                    <a:pt x="1889" y="739"/>
                  </a:lnTo>
                  <a:lnTo>
                    <a:pt x="1891" y="735"/>
                  </a:lnTo>
                  <a:lnTo>
                    <a:pt x="1889" y="732"/>
                  </a:lnTo>
                  <a:lnTo>
                    <a:pt x="1891" y="735"/>
                  </a:lnTo>
                  <a:lnTo>
                    <a:pt x="1891" y="735"/>
                  </a:lnTo>
                  <a:lnTo>
                    <a:pt x="1895" y="741"/>
                  </a:lnTo>
                  <a:lnTo>
                    <a:pt x="1906" y="746"/>
                  </a:lnTo>
                  <a:lnTo>
                    <a:pt x="1909" y="745"/>
                  </a:lnTo>
                  <a:lnTo>
                    <a:pt x="1909" y="739"/>
                  </a:lnTo>
                  <a:lnTo>
                    <a:pt x="1916" y="739"/>
                  </a:lnTo>
                  <a:lnTo>
                    <a:pt x="1918" y="737"/>
                  </a:lnTo>
                  <a:lnTo>
                    <a:pt x="1928" y="732"/>
                  </a:lnTo>
                  <a:lnTo>
                    <a:pt x="1939" y="729"/>
                  </a:lnTo>
                  <a:lnTo>
                    <a:pt x="1949" y="729"/>
                  </a:lnTo>
                  <a:lnTo>
                    <a:pt x="1949" y="726"/>
                  </a:lnTo>
                  <a:lnTo>
                    <a:pt x="1944" y="726"/>
                  </a:lnTo>
                  <a:lnTo>
                    <a:pt x="1933" y="729"/>
                  </a:lnTo>
                  <a:lnTo>
                    <a:pt x="1924" y="732"/>
                  </a:lnTo>
                  <a:lnTo>
                    <a:pt x="1924" y="728"/>
                  </a:lnTo>
                  <a:lnTo>
                    <a:pt x="1939" y="726"/>
                  </a:lnTo>
                  <a:lnTo>
                    <a:pt x="1949" y="725"/>
                  </a:lnTo>
                  <a:lnTo>
                    <a:pt x="1955" y="720"/>
                  </a:lnTo>
                  <a:lnTo>
                    <a:pt x="1961" y="717"/>
                  </a:lnTo>
                  <a:lnTo>
                    <a:pt x="1964" y="719"/>
                  </a:lnTo>
                  <a:lnTo>
                    <a:pt x="1975" y="717"/>
                  </a:lnTo>
                  <a:lnTo>
                    <a:pt x="1975" y="715"/>
                  </a:lnTo>
                  <a:lnTo>
                    <a:pt x="1985" y="715"/>
                  </a:lnTo>
                  <a:lnTo>
                    <a:pt x="1979" y="711"/>
                  </a:lnTo>
                  <a:lnTo>
                    <a:pt x="1966" y="708"/>
                  </a:lnTo>
                  <a:lnTo>
                    <a:pt x="1967" y="706"/>
                  </a:lnTo>
                  <a:lnTo>
                    <a:pt x="1971" y="706"/>
                  </a:lnTo>
                  <a:lnTo>
                    <a:pt x="1973" y="701"/>
                  </a:lnTo>
                  <a:lnTo>
                    <a:pt x="1970" y="701"/>
                  </a:lnTo>
                  <a:lnTo>
                    <a:pt x="1961" y="702"/>
                  </a:lnTo>
                  <a:lnTo>
                    <a:pt x="1958" y="706"/>
                  </a:lnTo>
                  <a:lnTo>
                    <a:pt x="1952" y="702"/>
                  </a:lnTo>
                  <a:lnTo>
                    <a:pt x="1946" y="704"/>
                  </a:lnTo>
                  <a:lnTo>
                    <a:pt x="1944" y="701"/>
                  </a:lnTo>
                  <a:lnTo>
                    <a:pt x="1949" y="701"/>
                  </a:lnTo>
                  <a:lnTo>
                    <a:pt x="1949" y="692"/>
                  </a:lnTo>
                  <a:lnTo>
                    <a:pt x="1949" y="689"/>
                  </a:lnTo>
                  <a:lnTo>
                    <a:pt x="1941" y="693"/>
                  </a:lnTo>
                  <a:lnTo>
                    <a:pt x="1943" y="692"/>
                  </a:lnTo>
                  <a:lnTo>
                    <a:pt x="1944" y="689"/>
                  </a:lnTo>
                  <a:lnTo>
                    <a:pt x="1943" y="689"/>
                  </a:lnTo>
                  <a:lnTo>
                    <a:pt x="1933" y="697"/>
                  </a:lnTo>
                  <a:lnTo>
                    <a:pt x="1928" y="701"/>
                  </a:lnTo>
                  <a:lnTo>
                    <a:pt x="1926" y="698"/>
                  </a:lnTo>
                  <a:lnTo>
                    <a:pt x="1930" y="695"/>
                  </a:lnTo>
                  <a:lnTo>
                    <a:pt x="1937" y="692"/>
                  </a:lnTo>
                  <a:lnTo>
                    <a:pt x="1935" y="687"/>
                  </a:lnTo>
                  <a:lnTo>
                    <a:pt x="1928" y="692"/>
                  </a:lnTo>
                  <a:lnTo>
                    <a:pt x="1926" y="689"/>
                  </a:lnTo>
                  <a:lnTo>
                    <a:pt x="1928" y="687"/>
                  </a:lnTo>
                  <a:lnTo>
                    <a:pt x="1931" y="686"/>
                  </a:lnTo>
                  <a:lnTo>
                    <a:pt x="1931" y="684"/>
                  </a:lnTo>
                  <a:lnTo>
                    <a:pt x="1926" y="684"/>
                  </a:lnTo>
                  <a:lnTo>
                    <a:pt x="1922" y="689"/>
                  </a:lnTo>
                  <a:lnTo>
                    <a:pt x="1916" y="695"/>
                  </a:lnTo>
                  <a:lnTo>
                    <a:pt x="1912" y="695"/>
                  </a:lnTo>
                  <a:lnTo>
                    <a:pt x="1916" y="689"/>
                  </a:lnTo>
                  <a:lnTo>
                    <a:pt x="1920" y="687"/>
                  </a:lnTo>
                  <a:lnTo>
                    <a:pt x="1920" y="684"/>
                  </a:lnTo>
                  <a:lnTo>
                    <a:pt x="1916" y="684"/>
                  </a:lnTo>
                  <a:lnTo>
                    <a:pt x="1905" y="693"/>
                  </a:lnTo>
                  <a:lnTo>
                    <a:pt x="1901" y="695"/>
                  </a:lnTo>
                  <a:lnTo>
                    <a:pt x="1895" y="692"/>
                  </a:lnTo>
                  <a:lnTo>
                    <a:pt x="1901" y="693"/>
                  </a:lnTo>
                  <a:lnTo>
                    <a:pt x="1906" y="689"/>
                  </a:lnTo>
                  <a:lnTo>
                    <a:pt x="1915" y="680"/>
                  </a:lnTo>
                  <a:lnTo>
                    <a:pt x="1922" y="676"/>
                  </a:lnTo>
                  <a:lnTo>
                    <a:pt x="1918" y="673"/>
                  </a:lnTo>
                  <a:lnTo>
                    <a:pt x="1918" y="670"/>
                  </a:lnTo>
                  <a:lnTo>
                    <a:pt x="1912" y="675"/>
                  </a:lnTo>
                  <a:lnTo>
                    <a:pt x="1909" y="675"/>
                  </a:lnTo>
                  <a:lnTo>
                    <a:pt x="1909" y="673"/>
                  </a:lnTo>
                  <a:lnTo>
                    <a:pt x="1911" y="670"/>
                  </a:lnTo>
                  <a:lnTo>
                    <a:pt x="1912" y="664"/>
                  </a:lnTo>
                  <a:lnTo>
                    <a:pt x="1909" y="664"/>
                  </a:lnTo>
                  <a:lnTo>
                    <a:pt x="1906" y="661"/>
                  </a:lnTo>
                  <a:lnTo>
                    <a:pt x="1901" y="665"/>
                  </a:lnTo>
                  <a:lnTo>
                    <a:pt x="1900" y="664"/>
                  </a:lnTo>
                  <a:lnTo>
                    <a:pt x="1901" y="659"/>
                  </a:lnTo>
                  <a:lnTo>
                    <a:pt x="1900" y="658"/>
                  </a:lnTo>
                  <a:lnTo>
                    <a:pt x="1895" y="658"/>
                  </a:lnTo>
                  <a:lnTo>
                    <a:pt x="1900" y="656"/>
                  </a:lnTo>
                  <a:lnTo>
                    <a:pt x="1897" y="653"/>
                  </a:lnTo>
                  <a:lnTo>
                    <a:pt x="1897" y="650"/>
                  </a:lnTo>
                  <a:lnTo>
                    <a:pt x="1894" y="648"/>
                  </a:lnTo>
                  <a:lnTo>
                    <a:pt x="1886" y="650"/>
                  </a:lnTo>
                  <a:lnTo>
                    <a:pt x="1886" y="653"/>
                  </a:lnTo>
                  <a:lnTo>
                    <a:pt x="1882" y="653"/>
                  </a:lnTo>
                  <a:lnTo>
                    <a:pt x="1872" y="650"/>
                  </a:lnTo>
                  <a:lnTo>
                    <a:pt x="1880" y="653"/>
                  </a:lnTo>
                  <a:lnTo>
                    <a:pt x="1882" y="648"/>
                  </a:lnTo>
                  <a:lnTo>
                    <a:pt x="1888" y="648"/>
                  </a:lnTo>
                  <a:lnTo>
                    <a:pt x="1889" y="645"/>
                  </a:lnTo>
                  <a:lnTo>
                    <a:pt x="1886" y="643"/>
                  </a:lnTo>
                  <a:lnTo>
                    <a:pt x="1880" y="637"/>
                  </a:lnTo>
                  <a:lnTo>
                    <a:pt x="1880" y="634"/>
                  </a:lnTo>
                  <a:lnTo>
                    <a:pt x="1874" y="630"/>
                  </a:lnTo>
                  <a:lnTo>
                    <a:pt x="1882" y="630"/>
                  </a:lnTo>
                  <a:lnTo>
                    <a:pt x="1888" y="634"/>
                  </a:lnTo>
                  <a:lnTo>
                    <a:pt x="1894" y="634"/>
                  </a:lnTo>
                  <a:lnTo>
                    <a:pt x="1894" y="630"/>
                  </a:lnTo>
                  <a:lnTo>
                    <a:pt x="1889" y="628"/>
                  </a:lnTo>
                  <a:lnTo>
                    <a:pt x="1889" y="626"/>
                  </a:lnTo>
                  <a:lnTo>
                    <a:pt x="1895" y="628"/>
                  </a:lnTo>
                  <a:lnTo>
                    <a:pt x="1901" y="622"/>
                  </a:lnTo>
                  <a:lnTo>
                    <a:pt x="1905" y="620"/>
                  </a:lnTo>
                  <a:lnTo>
                    <a:pt x="1906" y="617"/>
                  </a:lnTo>
                  <a:lnTo>
                    <a:pt x="1901" y="611"/>
                  </a:lnTo>
                  <a:lnTo>
                    <a:pt x="1897" y="613"/>
                  </a:lnTo>
                  <a:lnTo>
                    <a:pt x="1894" y="611"/>
                  </a:lnTo>
                  <a:lnTo>
                    <a:pt x="1897" y="610"/>
                  </a:lnTo>
                  <a:lnTo>
                    <a:pt x="1897" y="606"/>
                  </a:lnTo>
                  <a:lnTo>
                    <a:pt x="1895" y="603"/>
                  </a:lnTo>
                  <a:lnTo>
                    <a:pt x="1889" y="603"/>
                  </a:lnTo>
                  <a:lnTo>
                    <a:pt x="1888" y="603"/>
                  </a:lnTo>
                  <a:lnTo>
                    <a:pt x="1884" y="603"/>
                  </a:lnTo>
                  <a:lnTo>
                    <a:pt x="1880" y="599"/>
                  </a:lnTo>
                  <a:lnTo>
                    <a:pt x="1886" y="599"/>
                  </a:lnTo>
                  <a:lnTo>
                    <a:pt x="1888" y="597"/>
                  </a:lnTo>
                  <a:lnTo>
                    <a:pt x="1891" y="599"/>
                  </a:lnTo>
                  <a:lnTo>
                    <a:pt x="1897" y="595"/>
                  </a:lnTo>
                  <a:lnTo>
                    <a:pt x="1895" y="586"/>
                  </a:lnTo>
                  <a:lnTo>
                    <a:pt x="1889" y="582"/>
                  </a:lnTo>
                  <a:lnTo>
                    <a:pt x="1886" y="586"/>
                  </a:lnTo>
                  <a:lnTo>
                    <a:pt x="1880" y="583"/>
                  </a:lnTo>
                  <a:lnTo>
                    <a:pt x="1878" y="586"/>
                  </a:lnTo>
                  <a:lnTo>
                    <a:pt x="1880" y="582"/>
                  </a:lnTo>
                  <a:lnTo>
                    <a:pt x="1886" y="578"/>
                  </a:lnTo>
                  <a:lnTo>
                    <a:pt x="1889" y="578"/>
                  </a:lnTo>
                  <a:lnTo>
                    <a:pt x="1889" y="573"/>
                  </a:lnTo>
                  <a:lnTo>
                    <a:pt x="1884" y="573"/>
                  </a:lnTo>
                  <a:lnTo>
                    <a:pt x="1880" y="574"/>
                  </a:lnTo>
                  <a:lnTo>
                    <a:pt x="1874" y="574"/>
                  </a:lnTo>
                  <a:lnTo>
                    <a:pt x="1865" y="578"/>
                  </a:lnTo>
                  <a:lnTo>
                    <a:pt x="1874" y="569"/>
                  </a:lnTo>
                  <a:lnTo>
                    <a:pt x="1878" y="569"/>
                  </a:lnTo>
                  <a:lnTo>
                    <a:pt x="1884" y="565"/>
                  </a:lnTo>
                  <a:lnTo>
                    <a:pt x="1884" y="564"/>
                  </a:lnTo>
                  <a:lnTo>
                    <a:pt x="1888" y="560"/>
                  </a:lnTo>
                  <a:lnTo>
                    <a:pt x="1886" y="560"/>
                  </a:lnTo>
                  <a:lnTo>
                    <a:pt x="1880" y="561"/>
                  </a:lnTo>
                  <a:lnTo>
                    <a:pt x="1871" y="561"/>
                  </a:lnTo>
                  <a:lnTo>
                    <a:pt x="1863" y="564"/>
                  </a:lnTo>
                  <a:lnTo>
                    <a:pt x="1865" y="560"/>
                  </a:lnTo>
                  <a:lnTo>
                    <a:pt x="1863" y="558"/>
                  </a:lnTo>
                  <a:lnTo>
                    <a:pt x="1866" y="555"/>
                  </a:lnTo>
                  <a:lnTo>
                    <a:pt x="1871" y="556"/>
                  </a:lnTo>
                  <a:lnTo>
                    <a:pt x="1878" y="556"/>
                  </a:lnTo>
                  <a:lnTo>
                    <a:pt x="1884" y="550"/>
                  </a:lnTo>
                  <a:lnTo>
                    <a:pt x="1884" y="545"/>
                  </a:lnTo>
                  <a:lnTo>
                    <a:pt x="1878" y="547"/>
                  </a:lnTo>
                  <a:lnTo>
                    <a:pt x="1874" y="547"/>
                  </a:lnTo>
                  <a:lnTo>
                    <a:pt x="1880" y="541"/>
                  </a:lnTo>
                  <a:lnTo>
                    <a:pt x="1882" y="538"/>
                  </a:lnTo>
                  <a:lnTo>
                    <a:pt x="1876" y="536"/>
                  </a:lnTo>
                  <a:lnTo>
                    <a:pt x="1865" y="539"/>
                  </a:lnTo>
                  <a:lnTo>
                    <a:pt x="1859" y="538"/>
                  </a:lnTo>
                  <a:lnTo>
                    <a:pt x="1863" y="533"/>
                  </a:lnTo>
                  <a:lnTo>
                    <a:pt x="1869" y="536"/>
                  </a:lnTo>
                  <a:lnTo>
                    <a:pt x="1874" y="533"/>
                  </a:lnTo>
                  <a:lnTo>
                    <a:pt x="1878" y="528"/>
                  </a:lnTo>
                  <a:lnTo>
                    <a:pt x="1874" y="527"/>
                  </a:lnTo>
                  <a:lnTo>
                    <a:pt x="1872" y="522"/>
                  </a:lnTo>
                  <a:lnTo>
                    <a:pt x="1871" y="525"/>
                  </a:lnTo>
                  <a:lnTo>
                    <a:pt x="1866" y="525"/>
                  </a:lnTo>
                  <a:lnTo>
                    <a:pt x="1866" y="522"/>
                  </a:lnTo>
                  <a:lnTo>
                    <a:pt x="1863" y="519"/>
                  </a:lnTo>
                  <a:lnTo>
                    <a:pt x="1866" y="519"/>
                  </a:lnTo>
                  <a:lnTo>
                    <a:pt x="1869" y="521"/>
                  </a:lnTo>
                  <a:lnTo>
                    <a:pt x="1871" y="519"/>
                  </a:lnTo>
                  <a:lnTo>
                    <a:pt x="1871" y="511"/>
                  </a:lnTo>
                  <a:lnTo>
                    <a:pt x="1865" y="508"/>
                  </a:lnTo>
                  <a:lnTo>
                    <a:pt x="1865" y="504"/>
                  </a:lnTo>
                  <a:lnTo>
                    <a:pt x="1869" y="501"/>
                  </a:lnTo>
                  <a:lnTo>
                    <a:pt x="1866" y="497"/>
                  </a:lnTo>
                  <a:lnTo>
                    <a:pt x="1863" y="497"/>
                  </a:lnTo>
                  <a:lnTo>
                    <a:pt x="1865" y="495"/>
                  </a:lnTo>
                  <a:lnTo>
                    <a:pt x="1866" y="491"/>
                  </a:lnTo>
                  <a:lnTo>
                    <a:pt x="1863" y="491"/>
                  </a:lnTo>
                  <a:lnTo>
                    <a:pt x="1859" y="490"/>
                  </a:lnTo>
                  <a:lnTo>
                    <a:pt x="1863" y="488"/>
                  </a:lnTo>
                  <a:lnTo>
                    <a:pt x="1866" y="484"/>
                  </a:lnTo>
                  <a:lnTo>
                    <a:pt x="1863" y="482"/>
                  </a:lnTo>
                  <a:lnTo>
                    <a:pt x="1863" y="479"/>
                  </a:lnTo>
                  <a:lnTo>
                    <a:pt x="1866" y="476"/>
                  </a:lnTo>
                  <a:lnTo>
                    <a:pt x="1865" y="475"/>
                  </a:lnTo>
                  <a:lnTo>
                    <a:pt x="1859" y="476"/>
                  </a:lnTo>
                  <a:lnTo>
                    <a:pt x="1865" y="473"/>
                  </a:lnTo>
                  <a:lnTo>
                    <a:pt x="1863" y="471"/>
                  </a:lnTo>
                  <a:lnTo>
                    <a:pt x="1857" y="473"/>
                  </a:lnTo>
                  <a:lnTo>
                    <a:pt x="1851" y="479"/>
                  </a:lnTo>
                  <a:lnTo>
                    <a:pt x="1854" y="482"/>
                  </a:lnTo>
                  <a:lnTo>
                    <a:pt x="1849" y="485"/>
                  </a:lnTo>
                  <a:lnTo>
                    <a:pt x="1844" y="491"/>
                  </a:lnTo>
                  <a:lnTo>
                    <a:pt x="1844" y="495"/>
                  </a:lnTo>
                  <a:lnTo>
                    <a:pt x="1840" y="497"/>
                  </a:lnTo>
                  <a:lnTo>
                    <a:pt x="1840" y="502"/>
                  </a:lnTo>
                  <a:lnTo>
                    <a:pt x="1838" y="499"/>
                  </a:lnTo>
                  <a:lnTo>
                    <a:pt x="1834" y="501"/>
                  </a:lnTo>
                  <a:lnTo>
                    <a:pt x="1831" y="508"/>
                  </a:lnTo>
                  <a:lnTo>
                    <a:pt x="1831" y="511"/>
                  </a:lnTo>
                  <a:lnTo>
                    <a:pt x="1836" y="511"/>
                  </a:lnTo>
                  <a:lnTo>
                    <a:pt x="1838" y="516"/>
                  </a:lnTo>
                  <a:lnTo>
                    <a:pt x="1838" y="516"/>
                  </a:lnTo>
                  <a:lnTo>
                    <a:pt x="1834" y="513"/>
                  </a:lnTo>
                  <a:lnTo>
                    <a:pt x="1831" y="513"/>
                  </a:lnTo>
                  <a:lnTo>
                    <a:pt x="1829" y="516"/>
                  </a:lnTo>
                  <a:lnTo>
                    <a:pt x="1825" y="521"/>
                  </a:lnTo>
                  <a:lnTo>
                    <a:pt x="1820" y="525"/>
                  </a:lnTo>
                  <a:lnTo>
                    <a:pt x="1819" y="530"/>
                  </a:lnTo>
                  <a:lnTo>
                    <a:pt x="1815" y="530"/>
                  </a:lnTo>
                  <a:lnTo>
                    <a:pt x="1811" y="536"/>
                  </a:lnTo>
                  <a:lnTo>
                    <a:pt x="1814" y="538"/>
                  </a:lnTo>
                  <a:lnTo>
                    <a:pt x="1810" y="538"/>
                  </a:lnTo>
                  <a:lnTo>
                    <a:pt x="1811" y="545"/>
                  </a:lnTo>
                  <a:lnTo>
                    <a:pt x="1808" y="552"/>
                  </a:lnTo>
                  <a:lnTo>
                    <a:pt x="1808" y="547"/>
                  </a:lnTo>
                  <a:lnTo>
                    <a:pt x="1805" y="539"/>
                  </a:lnTo>
                  <a:lnTo>
                    <a:pt x="1802" y="538"/>
                  </a:lnTo>
                  <a:lnTo>
                    <a:pt x="1794" y="541"/>
                  </a:lnTo>
                  <a:lnTo>
                    <a:pt x="1793" y="547"/>
                  </a:lnTo>
                  <a:lnTo>
                    <a:pt x="1790" y="550"/>
                  </a:lnTo>
                  <a:lnTo>
                    <a:pt x="1785" y="552"/>
                  </a:lnTo>
                  <a:lnTo>
                    <a:pt x="1783" y="555"/>
                  </a:lnTo>
                  <a:lnTo>
                    <a:pt x="1783" y="552"/>
                  </a:lnTo>
                  <a:lnTo>
                    <a:pt x="1779" y="552"/>
                  </a:lnTo>
                  <a:lnTo>
                    <a:pt x="1774" y="556"/>
                  </a:lnTo>
                  <a:lnTo>
                    <a:pt x="1770" y="556"/>
                  </a:lnTo>
                  <a:lnTo>
                    <a:pt x="1762" y="560"/>
                  </a:lnTo>
                  <a:lnTo>
                    <a:pt x="1762" y="565"/>
                  </a:lnTo>
                  <a:lnTo>
                    <a:pt x="1756" y="573"/>
                  </a:lnTo>
                  <a:lnTo>
                    <a:pt x="1759" y="567"/>
                  </a:lnTo>
                  <a:lnTo>
                    <a:pt x="1759" y="564"/>
                  </a:lnTo>
                  <a:lnTo>
                    <a:pt x="1760" y="561"/>
                  </a:lnTo>
                  <a:lnTo>
                    <a:pt x="1759" y="550"/>
                  </a:lnTo>
                  <a:lnTo>
                    <a:pt x="1760" y="547"/>
                  </a:lnTo>
                  <a:lnTo>
                    <a:pt x="1759" y="547"/>
                  </a:lnTo>
                  <a:lnTo>
                    <a:pt x="1750" y="552"/>
                  </a:lnTo>
                  <a:lnTo>
                    <a:pt x="1743" y="565"/>
                  </a:lnTo>
                  <a:lnTo>
                    <a:pt x="1737" y="567"/>
                  </a:lnTo>
                  <a:lnTo>
                    <a:pt x="1741" y="564"/>
                  </a:lnTo>
                  <a:lnTo>
                    <a:pt x="1743" y="558"/>
                  </a:lnTo>
                  <a:lnTo>
                    <a:pt x="1748" y="550"/>
                  </a:lnTo>
                  <a:lnTo>
                    <a:pt x="1748" y="545"/>
                  </a:lnTo>
                  <a:lnTo>
                    <a:pt x="1748" y="539"/>
                  </a:lnTo>
                  <a:lnTo>
                    <a:pt x="1747" y="533"/>
                  </a:lnTo>
                  <a:lnTo>
                    <a:pt x="1741" y="530"/>
                  </a:lnTo>
                  <a:lnTo>
                    <a:pt x="1735" y="530"/>
                  </a:lnTo>
                  <a:lnTo>
                    <a:pt x="1737" y="536"/>
                  </a:lnTo>
                  <a:lnTo>
                    <a:pt x="1735" y="536"/>
                  </a:lnTo>
                  <a:lnTo>
                    <a:pt x="1731" y="533"/>
                  </a:lnTo>
                  <a:lnTo>
                    <a:pt x="1724" y="525"/>
                  </a:lnTo>
                  <a:lnTo>
                    <a:pt x="1733" y="528"/>
                  </a:lnTo>
                  <a:lnTo>
                    <a:pt x="1737" y="527"/>
                  </a:lnTo>
                  <a:lnTo>
                    <a:pt x="1733" y="525"/>
                  </a:lnTo>
                  <a:lnTo>
                    <a:pt x="1725" y="516"/>
                  </a:lnTo>
                  <a:lnTo>
                    <a:pt x="1724" y="516"/>
                  </a:lnTo>
                  <a:lnTo>
                    <a:pt x="1730" y="508"/>
                  </a:lnTo>
                  <a:lnTo>
                    <a:pt x="1730" y="507"/>
                  </a:lnTo>
                  <a:lnTo>
                    <a:pt x="1735" y="501"/>
                  </a:lnTo>
                  <a:lnTo>
                    <a:pt x="1735" y="491"/>
                  </a:lnTo>
                  <a:lnTo>
                    <a:pt x="1728" y="485"/>
                  </a:lnTo>
                  <a:lnTo>
                    <a:pt x="1719" y="484"/>
                  </a:lnTo>
                  <a:lnTo>
                    <a:pt x="1704" y="479"/>
                  </a:lnTo>
                  <a:lnTo>
                    <a:pt x="1719" y="482"/>
                  </a:lnTo>
                  <a:lnTo>
                    <a:pt x="1731" y="484"/>
                  </a:lnTo>
                  <a:lnTo>
                    <a:pt x="1733" y="476"/>
                  </a:lnTo>
                  <a:lnTo>
                    <a:pt x="1735" y="473"/>
                  </a:lnTo>
                  <a:lnTo>
                    <a:pt x="1737" y="480"/>
                  </a:lnTo>
                  <a:lnTo>
                    <a:pt x="1739" y="475"/>
                  </a:lnTo>
                  <a:lnTo>
                    <a:pt x="1737" y="463"/>
                  </a:lnTo>
                  <a:lnTo>
                    <a:pt x="1743" y="457"/>
                  </a:lnTo>
                  <a:lnTo>
                    <a:pt x="1750" y="454"/>
                  </a:lnTo>
                  <a:lnTo>
                    <a:pt x="1753" y="446"/>
                  </a:lnTo>
                  <a:lnTo>
                    <a:pt x="1753" y="437"/>
                  </a:lnTo>
                  <a:lnTo>
                    <a:pt x="1747" y="440"/>
                  </a:lnTo>
                  <a:lnTo>
                    <a:pt x="1747" y="445"/>
                  </a:lnTo>
                  <a:lnTo>
                    <a:pt x="1739" y="451"/>
                  </a:lnTo>
                  <a:lnTo>
                    <a:pt x="1737" y="446"/>
                  </a:lnTo>
                  <a:lnTo>
                    <a:pt x="1737" y="437"/>
                  </a:lnTo>
                  <a:lnTo>
                    <a:pt x="1731" y="436"/>
                  </a:lnTo>
                  <a:lnTo>
                    <a:pt x="1725" y="437"/>
                  </a:lnTo>
                  <a:lnTo>
                    <a:pt x="1722" y="436"/>
                  </a:lnTo>
                  <a:lnTo>
                    <a:pt x="1719" y="436"/>
                  </a:lnTo>
                  <a:lnTo>
                    <a:pt x="1710" y="430"/>
                  </a:lnTo>
                  <a:lnTo>
                    <a:pt x="1707" y="432"/>
                  </a:lnTo>
                  <a:lnTo>
                    <a:pt x="1707" y="428"/>
                  </a:lnTo>
                  <a:lnTo>
                    <a:pt x="1701" y="432"/>
                  </a:lnTo>
                  <a:lnTo>
                    <a:pt x="1701" y="428"/>
                  </a:lnTo>
                  <a:lnTo>
                    <a:pt x="1695" y="421"/>
                  </a:lnTo>
                  <a:lnTo>
                    <a:pt x="1699" y="421"/>
                  </a:lnTo>
                  <a:lnTo>
                    <a:pt x="1703" y="418"/>
                  </a:lnTo>
                  <a:lnTo>
                    <a:pt x="1707" y="421"/>
                  </a:lnTo>
                  <a:lnTo>
                    <a:pt x="1707" y="418"/>
                  </a:lnTo>
                  <a:lnTo>
                    <a:pt x="1703" y="412"/>
                  </a:lnTo>
                  <a:lnTo>
                    <a:pt x="1699" y="415"/>
                  </a:lnTo>
                  <a:lnTo>
                    <a:pt x="1693" y="412"/>
                  </a:lnTo>
                  <a:lnTo>
                    <a:pt x="1699" y="410"/>
                  </a:lnTo>
                  <a:lnTo>
                    <a:pt x="1695" y="404"/>
                  </a:lnTo>
                  <a:lnTo>
                    <a:pt x="1690" y="401"/>
                  </a:lnTo>
                  <a:lnTo>
                    <a:pt x="1686" y="402"/>
                  </a:lnTo>
                  <a:lnTo>
                    <a:pt x="1686" y="399"/>
                  </a:lnTo>
                  <a:lnTo>
                    <a:pt x="1690" y="396"/>
                  </a:lnTo>
                  <a:lnTo>
                    <a:pt x="1690" y="388"/>
                  </a:lnTo>
                  <a:lnTo>
                    <a:pt x="1684" y="388"/>
                  </a:lnTo>
                  <a:lnTo>
                    <a:pt x="1678" y="382"/>
                  </a:lnTo>
                  <a:lnTo>
                    <a:pt x="1678" y="379"/>
                  </a:lnTo>
                  <a:lnTo>
                    <a:pt x="1669" y="371"/>
                  </a:lnTo>
                  <a:lnTo>
                    <a:pt x="1661" y="375"/>
                  </a:lnTo>
                  <a:lnTo>
                    <a:pt x="1658" y="375"/>
                  </a:lnTo>
                  <a:lnTo>
                    <a:pt x="1653" y="379"/>
                  </a:lnTo>
                  <a:lnTo>
                    <a:pt x="1648" y="375"/>
                  </a:lnTo>
                  <a:lnTo>
                    <a:pt x="1648" y="381"/>
                  </a:lnTo>
                  <a:lnTo>
                    <a:pt x="1644" y="376"/>
                  </a:lnTo>
                  <a:lnTo>
                    <a:pt x="1640" y="376"/>
                  </a:lnTo>
                  <a:lnTo>
                    <a:pt x="1636" y="373"/>
                  </a:lnTo>
                  <a:lnTo>
                    <a:pt x="1630" y="373"/>
                  </a:lnTo>
                  <a:lnTo>
                    <a:pt x="1623" y="379"/>
                  </a:lnTo>
                  <a:lnTo>
                    <a:pt x="1615" y="379"/>
                  </a:lnTo>
                  <a:lnTo>
                    <a:pt x="1621" y="375"/>
                  </a:lnTo>
                  <a:lnTo>
                    <a:pt x="1623" y="371"/>
                  </a:lnTo>
                  <a:lnTo>
                    <a:pt x="1618" y="371"/>
                  </a:lnTo>
                  <a:lnTo>
                    <a:pt x="1604" y="365"/>
                  </a:lnTo>
                  <a:lnTo>
                    <a:pt x="1594" y="360"/>
                  </a:lnTo>
                  <a:lnTo>
                    <a:pt x="1585" y="360"/>
                  </a:lnTo>
                  <a:lnTo>
                    <a:pt x="1583" y="358"/>
                  </a:lnTo>
                  <a:lnTo>
                    <a:pt x="1579" y="360"/>
                  </a:lnTo>
                  <a:lnTo>
                    <a:pt x="1575" y="360"/>
                  </a:lnTo>
                  <a:lnTo>
                    <a:pt x="1572" y="364"/>
                  </a:lnTo>
                  <a:lnTo>
                    <a:pt x="1572" y="365"/>
                  </a:lnTo>
                  <a:lnTo>
                    <a:pt x="1568" y="365"/>
                  </a:lnTo>
                  <a:lnTo>
                    <a:pt x="1566" y="365"/>
                  </a:lnTo>
                  <a:lnTo>
                    <a:pt x="1563" y="367"/>
                  </a:lnTo>
                  <a:lnTo>
                    <a:pt x="1563" y="373"/>
                  </a:lnTo>
                  <a:lnTo>
                    <a:pt x="1558" y="381"/>
                  </a:lnTo>
                  <a:lnTo>
                    <a:pt x="1558" y="390"/>
                  </a:lnTo>
                  <a:lnTo>
                    <a:pt x="1563" y="396"/>
                  </a:lnTo>
                  <a:lnTo>
                    <a:pt x="1564" y="396"/>
                  </a:lnTo>
                  <a:lnTo>
                    <a:pt x="1564" y="397"/>
                  </a:lnTo>
                  <a:lnTo>
                    <a:pt x="1568" y="399"/>
                  </a:lnTo>
                  <a:lnTo>
                    <a:pt x="1568" y="404"/>
                  </a:lnTo>
                  <a:lnTo>
                    <a:pt x="1566" y="406"/>
                  </a:lnTo>
                  <a:lnTo>
                    <a:pt x="1563" y="406"/>
                  </a:lnTo>
                  <a:lnTo>
                    <a:pt x="1560" y="412"/>
                  </a:lnTo>
                  <a:lnTo>
                    <a:pt x="1552" y="421"/>
                  </a:lnTo>
                  <a:lnTo>
                    <a:pt x="1541" y="428"/>
                  </a:lnTo>
                  <a:lnTo>
                    <a:pt x="1541" y="432"/>
                  </a:lnTo>
                  <a:lnTo>
                    <a:pt x="1543" y="434"/>
                  </a:lnTo>
                  <a:lnTo>
                    <a:pt x="1552" y="432"/>
                  </a:lnTo>
                  <a:lnTo>
                    <a:pt x="1557" y="434"/>
                  </a:lnTo>
                  <a:lnTo>
                    <a:pt x="1551" y="436"/>
                  </a:lnTo>
                  <a:lnTo>
                    <a:pt x="1549" y="443"/>
                  </a:lnTo>
                  <a:lnTo>
                    <a:pt x="1549" y="445"/>
                  </a:lnTo>
                  <a:lnTo>
                    <a:pt x="1554" y="446"/>
                  </a:lnTo>
                  <a:lnTo>
                    <a:pt x="1551" y="446"/>
                  </a:lnTo>
                  <a:lnTo>
                    <a:pt x="1547" y="452"/>
                  </a:lnTo>
                  <a:lnTo>
                    <a:pt x="1549" y="454"/>
                  </a:lnTo>
                  <a:lnTo>
                    <a:pt x="1551" y="458"/>
                  </a:lnTo>
                  <a:lnTo>
                    <a:pt x="1547" y="463"/>
                  </a:lnTo>
                  <a:lnTo>
                    <a:pt x="1547" y="466"/>
                  </a:lnTo>
                  <a:lnTo>
                    <a:pt x="1554" y="466"/>
                  </a:lnTo>
                  <a:lnTo>
                    <a:pt x="1554" y="468"/>
                  </a:lnTo>
                  <a:lnTo>
                    <a:pt x="1549" y="476"/>
                  </a:lnTo>
                  <a:lnTo>
                    <a:pt x="1543" y="480"/>
                  </a:lnTo>
                  <a:lnTo>
                    <a:pt x="1543" y="485"/>
                  </a:lnTo>
                  <a:lnTo>
                    <a:pt x="1545" y="488"/>
                  </a:lnTo>
                  <a:lnTo>
                    <a:pt x="1541" y="485"/>
                  </a:lnTo>
                  <a:lnTo>
                    <a:pt x="1537" y="480"/>
                  </a:lnTo>
                  <a:lnTo>
                    <a:pt x="1535" y="480"/>
                  </a:lnTo>
                  <a:lnTo>
                    <a:pt x="1529" y="488"/>
                  </a:lnTo>
                  <a:lnTo>
                    <a:pt x="1529" y="490"/>
                  </a:lnTo>
                  <a:lnTo>
                    <a:pt x="1532" y="490"/>
                  </a:lnTo>
                  <a:lnTo>
                    <a:pt x="1532" y="493"/>
                  </a:lnTo>
                  <a:lnTo>
                    <a:pt x="1528" y="497"/>
                  </a:lnTo>
                  <a:lnTo>
                    <a:pt x="1523" y="499"/>
                  </a:lnTo>
                  <a:lnTo>
                    <a:pt x="1508" y="511"/>
                  </a:lnTo>
                  <a:lnTo>
                    <a:pt x="1503" y="513"/>
                  </a:lnTo>
                  <a:lnTo>
                    <a:pt x="1499" y="522"/>
                  </a:lnTo>
                  <a:lnTo>
                    <a:pt x="1501" y="527"/>
                  </a:lnTo>
                  <a:lnTo>
                    <a:pt x="1506" y="528"/>
                  </a:lnTo>
                  <a:lnTo>
                    <a:pt x="1508" y="533"/>
                  </a:lnTo>
                  <a:lnTo>
                    <a:pt x="1514" y="538"/>
                  </a:lnTo>
                  <a:lnTo>
                    <a:pt x="1523" y="549"/>
                  </a:lnTo>
                  <a:lnTo>
                    <a:pt x="1526" y="561"/>
                  </a:lnTo>
                  <a:lnTo>
                    <a:pt x="1523" y="577"/>
                  </a:lnTo>
                  <a:lnTo>
                    <a:pt x="1529" y="583"/>
                  </a:lnTo>
                  <a:lnTo>
                    <a:pt x="1528" y="589"/>
                  </a:lnTo>
                  <a:lnTo>
                    <a:pt x="1528" y="597"/>
                  </a:lnTo>
                  <a:lnTo>
                    <a:pt x="1526" y="599"/>
                  </a:lnTo>
                  <a:lnTo>
                    <a:pt x="1520" y="611"/>
                  </a:lnTo>
                  <a:lnTo>
                    <a:pt x="1518" y="617"/>
                  </a:lnTo>
                  <a:lnTo>
                    <a:pt x="1522" y="617"/>
                  </a:lnTo>
                  <a:lnTo>
                    <a:pt x="1522" y="611"/>
                  </a:lnTo>
                  <a:lnTo>
                    <a:pt x="1526" y="610"/>
                  </a:lnTo>
                  <a:lnTo>
                    <a:pt x="1526" y="616"/>
                  </a:lnTo>
                  <a:lnTo>
                    <a:pt x="1532" y="620"/>
                  </a:lnTo>
                  <a:lnTo>
                    <a:pt x="1528" y="625"/>
                  </a:lnTo>
                  <a:lnTo>
                    <a:pt x="1522" y="626"/>
                  </a:lnTo>
                  <a:lnTo>
                    <a:pt x="1518" y="622"/>
                  </a:lnTo>
                  <a:lnTo>
                    <a:pt x="1517" y="622"/>
                  </a:lnTo>
                  <a:lnTo>
                    <a:pt x="1508" y="634"/>
                  </a:lnTo>
                  <a:lnTo>
                    <a:pt x="1501" y="636"/>
                  </a:lnTo>
                  <a:lnTo>
                    <a:pt x="1501" y="641"/>
                  </a:lnTo>
                  <a:lnTo>
                    <a:pt x="1488" y="645"/>
                  </a:lnTo>
                  <a:lnTo>
                    <a:pt x="1483" y="648"/>
                  </a:lnTo>
                  <a:lnTo>
                    <a:pt x="1483" y="650"/>
                  </a:lnTo>
                  <a:lnTo>
                    <a:pt x="1467" y="656"/>
                  </a:lnTo>
                  <a:lnTo>
                    <a:pt x="1456" y="659"/>
                  </a:lnTo>
                  <a:lnTo>
                    <a:pt x="1453" y="664"/>
                  </a:lnTo>
                  <a:lnTo>
                    <a:pt x="1446" y="661"/>
                  </a:lnTo>
                  <a:lnTo>
                    <a:pt x="1440" y="667"/>
                  </a:lnTo>
                  <a:lnTo>
                    <a:pt x="1431" y="667"/>
                  </a:lnTo>
                  <a:lnTo>
                    <a:pt x="1423" y="670"/>
                  </a:lnTo>
                  <a:lnTo>
                    <a:pt x="1425" y="673"/>
                  </a:lnTo>
                  <a:lnTo>
                    <a:pt x="1425" y="678"/>
                  </a:lnTo>
                  <a:lnTo>
                    <a:pt x="1427" y="681"/>
                  </a:lnTo>
                  <a:lnTo>
                    <a:pt x="1427" y="687"/>
                  </a:lnTo>
                  <a:lnTo>
                    <a:pt x="1428" y="692"/>
                  </a:lnTo>
                  <a:lnTo>
                    <a:pt x="1427" y="692"/>
                  </a:lnTo>
                  <a:lnTo>
                    <a:pt x="1428" y="695"/>
                  </a:lnTo>
                  <a:lnTo>
                    <a:pt x="1431" y="695"/>
                  </a:lnTo>
                  <a:lnTo>
                    <a:pt x="1428" y="698"/>
                  </a:lnTo>
                  <a:lnTo>
                    <a:pt x="1431" y="702"/>
                  </a:lnTo>
                  <a:lnTo>
                    <a:pt x="1427" y="704"/>
                  </a:lnTo>
                  <a:lnTo>
                    <a:pt x="1428" y="708"/>
                  </a:lnTo>
                  <a:lnTo>
                    <a:pt x="1427" y="710"/>
                  </a:lnTo>
                  <a:lnTo>
                    <a:pt x="1425" y="719"/>
                  </a:lnTo>
                  <a:lnTo>
                    <a:pt x="1427" y="723"/>
                  </a:lnTo>
                  <a:lnTo>
                    <a:pt x="1422" y="735"/>
                  </a:lnTo>
                  <a:lnTo>
                    <a:pt x="1423" y="739"/>
                  </a:lnTo>
                  <a:lnTo>
                    <a:pt x="1425" y="739"/>
                  </a:lnTo>
                  <a:lnTo>
                    <a:pt x="1425" y="742"/>
                  </a:lnTo>
                  <a:lnTo>
                    <a:pt x="1427" y="745"/>
                  </a:lnTo>
                  <a:lnTo>
                    <a:pt x="1422" y="750"/>
                  </a:lnTo>
                  <a:lnTo>
                    <a:pt x="1422" y="756"/>
                  </a:lnTo>
                  <a:lnTo>
                    <a:pt x="1425" y="757"/>
                  </a:lnTo>
                  <a:lnTo>
                    <a:pt x="1425" y="763"/>
                  </a:lnTo>
                  <a:lnTo>
                    <a:pt x="1427" y="767"/>
                  </a:lnTo>
                  <a:lnTo>
                    <a:pt x="1422" y="773"/>
                  </a:lnTo>
                  <a:lnTo>
                    <a:pt x="1419" y="778"/>
                  </a:lnTo>
                  <a:lnTo>
                    <a:pt x="1416" y="780"/>
                  </a:lnTo>
                  <a:lnTo>
                    <a:pt x="1413" y="778"/>
                  </a:lnTo>
                  <a:lnTo>
                    <a:pt x="1413" y="784"/>
                  </a:lnTo>
                  <a:lnTo>
                    <a:pt x="1417" y="785"/>
                  </a:lnTo>
                  <a:lnTo>
                    <a:pt x="1413" y="790"/>
                  </a:lnTo>
                  <a:lnTo>
                    <a:pt x="1411" y="796"/>
                  </a:lnTo>
                  <a:lnTo>
                    <a:pt x="1413" y="802"/>
                  </a:lnTo>
                  <a:lnTo>
                    <a:pt x="1419" y="807"/>
                  </a:lnTo>
                  <a:lnTo>
                    <a:pt x="1425" y="809"/>
                  </a:lnTo>
                  <a:lnTo>
                    <a:pt x="1416" y="809"/>
                  </a:lnTo>
                  <a:lnTo>
                    <a:pt x="1408" y="806"/>
                  </a:lnTo>
                  <a:lnTo>
                    <a:pt x="1410" y="798"/>
                  </a:lnTo>
                  <a:lnTo>
                    <a:pt x="1408" y="790"/>
                  </a:lnTo>
                  <a:lnTo>
                    <a:pt x="1404" y="790"/>
                  </a:lnTo>
                  <a:lnTo>
                    <a:pt x="1404" y="787"/>
                  </a:lnTo>
                  <a:lnTo>
                    <a:pt x="1404" y="782"/>
                  </a:lnTo>
                  <a:lnTo>
                    <a:pt x="1402" y="782"/>
                  </a:lnTo>
                  <a:lnTo>
                    <a:pt x="1393" y="793"/>
                  </a:lnTo>
                  <a:lnTo>
                    <a:pt x="1393" y="796"/>
                  </a:lnTo>
                  <a:lnTo>
                    <a:pt x="1391" y="801"/>
                  </a:lnTo>
                  <a:lnTo>
                    <a:pt x="1387" y="801"/>
                  </a:lnTo>
                  <a:lnTo>
                    <a:pt x="1382" y="796"/>
                  </a:lnTo>
                  <a:lnTo>
                    <a:pt x="1373" y="795"/>
                  </a:lnTo>
                  <a:lnTo>
                    <a:pt x="1367" y="798"/>
                  </a:lnTo>
                  <a:lnTo>
                    <a:pt x="1361" y="802"/>
                  </a:lnTo>
                  <a:lnTo>
                    <a:pt x="1370" y="795"/>
                  </a:lnTo>
                  <a:lnTo>
                    <a:pt x="1371" y="787"/>
                  </a:lnTo>
                  <a:lnTo>
                    <a:pt x="1371" y="784"/>
                  </a:lnTo>
                  <a:lnTo>
                    <a:pt x="1370" y="776"/>
                  </a:lnTo>
                  <a:lnTo>
                    <a:pt x="1365" y="773"/>
                  </a:lnTo>
                  <a:lnTo>
                    <a:pt x="1365" y="768"/>
                  </a:lnTo>
                  <a:lnTo>
                    <a:pt x="1364" y="768"/>
                  </a:lnTo>
                  <a:lnTo>
                    <a:pt x="1358" y="765"/>
                  </a:lnTo>
                  <a:lnTo>
                    <a:pt x="1353" y="763"/>
                  </a:lnTo>
                  <a:lnTo>
                    <a:pt x="1353" y="762"/>
                  </a:lnTo>
                  <a:lnTo>
                    <a:pt x="1353" y="757"/>
                  </a:lnTo>
                  <a:lnTo>
                    <a:pt x="1353" y="754"/>
                  </a:lnTo>
                  <a:lnTo>
                    <a:pt x="1351" y="750"/>
                  </a:lnTo>
                  <a:lnTo>
                    <a:pt x="1347" y="748"/>
                  </a:lnTo>
                  <a:lnTo>
                    <a:pt x="1347" y="742"/>
                  </a:lnTo>
                  <a:lnTo>
                    <a:pt x="1341" y="739"/>
                  </a:lnTo>
                  <a:lnTo>
                    <a:pt x="1338" y="735"/>
                  </a:lnTo>
                  <a:lnTo>
                    <a:pt x="1341" y="725"/>
                  </a:lnTo>
                  <a:lnTo>
                    <a:pt x="1347" y="720"/>
                  </a:lnTo>
                  <a:lnTo>
                    <a:pt x="1349" y="715"/>
                  </a:lnTo>
                  <a:lnTo>
                    <a:pt x="1349" y="710"/>
                  </a:lnTo>
                  <a:lnTo>
                    <a:pt x="1356" y="701"/>
                  </a:lnTo>
                  <a:lnTo>
                    <a:pt x="1356" y="689"/>
                  </a:lnTo>
                  <a:lnTo>
                    <a:pt x="1355" y="689"/>
                  </a:lnTo>
                  <a:lnTo>
                    <a:pt x="1353" y="684"/>
                  </a:lnTo>
                  <a:lnTo>
                    <a:pt x="1356" y="676"/>
                  </a:lnTo>
                  <a:lnTo>
                    <a:pt x="1361" y="673"/>
                  </a:lnTo>
                  <a:lnTo>
                    <a:pt x="1361" y="667"/>
                  </a:lnTo>
                  <a:lnTo>
                    <a:pt x="1367" y="656"/>
                  </a:lnTo>
                  <a:lnTo>
                    <a:pt x="1367" y="648"/>
                  </a:lnTo>
                  <a:lnTo>
                    <a:pt x="1364" y="648"/>
                  </a:lnTo>
                  <a:lnTo>
                    <a:pt x="1362" y="650"/>
                  </a:lnTo>
                  <a:lnTo>
                    <a:pt x="1362" y="648"/>
                  </a:lnTo>
                  <a:lnTo>
                    <a:pt x="1358" y="648"/>
                  </a:lnTo>
                  <a:lnTo>
                    <a:pt x="1353" y="650"/>
                  </a:lnTo>
                  <a:lnTo>
                    <a:pt x="1343" y="648"/>
                  </a:lnTo>
                  <a:lnTo>
                    <a:pt x="1333" y="647"/>
                  </a:lnTo>
                  <a:lnTo>
                    <a:pt x="1332" y="647"/>
                  </a:lnTo>
                  <a:lnTo>
                    <a:pt x="1330" y="643"/>
                  </a:lnTo>
                  <a:lnTo>
                    <a:pt x="1316" y="643"/>
                  </a:lnTo>
                  <a:lnTo>
                    <a:pt x="1310" y="645"/>
                  </a:lnTo>
                  <a:lnTo>
                    <a:pt x="1309" y="643"/>
                  </a:lnTo>
                  <a:lnTo>
                    <a:pt x="1299" y="643"/>
                  </a:lnTo>
                  <a:lnTo>
                    <a:pt x="1297" y="641"/>
                  </a:lnTo>
                  <a:lnTo>
                    <a:pt x="1299" y="639"/>
                  </a:lnTo>
                  <a:lnTo>
                    <a:pt x="1292" y="634"/>
                  </a:lnTo>
                  <a:lnTo>
                    <a:pt x="1290" y="630"/>
                  </a:lnTo>
                  <a:lnTo>
                    <a:pt x="1282" y="622"/>
                  </a:lnTo>
                  <a:lnTo>
                    <a:pt x="1276" y="620"/>
                  </a:lnTo>
                  <a:lnTo>
                    <a:pt x="1269" y="617"/>
                  </a:lnTo>
                  <a:lnTo>
                    <a:pt x="1264" y="616"/>
                  </a:lnTo>
                  <a:lnTo>
                    <a:pt x="1253" y="610"/>
                  </a:lnTo>
                  <a:lnTo>
                    <a:pt x="1252" y="606"/>
                  </a:lnTo>
                  <a:lnTo>
                    <a:pt x="1247" y="608"/>
                  </a:lnTo>
                  <a:lnTo>
                    <a:pt x="1247" y="606"/>
                  </a:lnTo>
                  <a:lnTo>
                    <a:pt x="1244" y="597"/>
                  </a:lnTo>
                  <a:lnTo>
                    <a:pt x="1241" y="594"/>
                  </a:lnTo>
                  <a:lnTo>
                    <a:pt x="1241" y="589"/>
                  </a:lnTo>
                  <a:lnTo>
                    <a:pt x="1235" y="588"/>
                  </a:lnTo>
                  <a:lnTo>
                    <a:pt x="1231" y="580"/>
                  </a:lnTo>
                  <a:lnTo>
                    <a:pt x="1227" y="578"/>
                  </a:lnTo>
                  <a:lnTo>
                    <a:pt x="1217" y="571"/>
                  </a:lnTo>
                  <a:lnTo>
                    <a:pt x="1212" y="569"/>
                  </a:lnTo>
                  <a:lnTo>
                    <a:pt x="1209" y="567"/>
                  </a:lnTo>
                  <a:lnTo>
                    <a:pt x="1197" y="564"/>
                  </a:lnTo>
                  <a:lnTo>
                    <a:pt x="1189" y="556"/>
                  </a:lnTo>
                  <a:lnTo>
                    <a:pt x="1175" y="549"/>
                  </a:lnTo>
                  <a:lnTo>
                    <a:pt x="1166" y="550"/>
                  </a:lnTo>
                  <a:lnTo>
                    <a:pt x="1146" y="556"/>
                  </a:lnTo>
                  <a:lnTo>
                    <a:pt x="1126" y="561"/>
                  </a:lnTo>
                  <a:lnTo>
                    <a:pt x="1119" y="561"/>
                  </a:lnTo>
                  <a:lnTo>
                    <a:pt x="1113" y="560"/>
                  </a:lnTo>
                  <a:lnTo>
                    <a:pt x="1119" y="560"/>
                  </a:lnTo>
                  <a:lnTo>
                    <a:pt x="1126" y="558"/>
                  </a:lnTo>
                  <a:lnTo>
                    <a:pt x="1143" y="543"/>
                  </a:lnTo>
                  <a:lnTo>
                    <a:pt x="1145" y="539"/>
                  </a:lnTo>
                  <a:lnTo>
                    <a:pt x="1143" y="528"/>
                  </a:lnTo>
                  <a:lnTo>
                    <a:pt x="1140" y="525"/>
                  </a:lnTo>
                  <a:lnTo>
                    <a:pt x="1145" y="516"/>
                  </a:lnTo>
                  <a:lnTo>
                    <a:pt x="1145" y="507"/>
                  </a:lnTo>
                  <a:lnTo>
                    <a:pt x="1141" y="499"/>
                  </a:lnTo>
                  <a:lnTo>
                    <a:pt x="1141" y="493"/>
                  </a:lnTo>
                  <a:lnTo>
                    <a:pt x="1143" y="488"/>
                  </a:lnTo>
                  <a:lnTo>
                    <a:pt x="1143" y="484"/>
                  </a:lnTo>
                  <a:lnTo>
                    <a:pt x="1140" y="482"/>
                  </a:lnTo>
                  <a:lnTo>
                    <a:pt x="1122" y="482"/>
                  </a:lnTo>
                  <a:lnTo>
                    <a:pt x="1116" y="495"/>
                  </a:lnTo>
                  <a:lnTo>
                    <a:pt x="1107" y="504"/>
                  </a:lnTo>
                  <a:lnTo>
                    <a:pt x="1094" y="507"/>
                  </a:lnTo>
                  <a:lnTo>
                    <a:pt x="1086" y="511"/>
                  </a:lnTo>
                  <a:lnTo>
                    <a:pt x="1088" y="507"/>
                  </a:lnTo>
                  <a:lnTo>
                    <a:pt x="1102" y="504"/>
                  </a:lnTo>
                  <a:lnTo>
                    <a:pt x="1111" y="497"/>
                  </a:lnTo>
                  <a:lnTo>
                    <a:pt x="1114" y="485"/>
                  </a:lnTo>
                  <a:lnTo>
                    <a:pt x="1113" y="484"/>
                  </a:lnTo>
                  <a:lnTo>
                    <a:pt x="1113" y="479"/>
                  </a:lnTo>
                  <a:lnTo>
                    <a:pt x="1111" y="475"/>
                  </a:lnTo>
                  <a:lnTo>
                    <a:pt x="1113" y="471"/>
                  </a:lnTo>
                  <a:lnTo>
                    <a:pt x="1111" y="468"/>
                  </a:lnTo>
                  <a:lnTo>
                    <a:pt x="1105" y="468"/>
                  </a:lnTo>
                  <a:lnTo>
                    <a:pt x="1107" y="463"/>
                  </a:lnTo>
                  <a:lnTo>
                    <a:pt x="1113" y="463"/>
                  </a:lnTo>
                  <a:lnTo>
                    <a:pt x="1114" y="458"/>
                  </a:lnTo>
                  <a:lnTo>
                    <a:pt x="1119" y="451"/>
                  </a:lnTo>
                  <a:lnTo>
                    <a:pt x="1119" y="443"/>
                  </a:lnTo>
                  <a:lnTo>
                    <a:pt x="1116" y="441"/>
                  </a:lnTo>
                  <a:lnTo>
                    <a:pt x="1120" y="432"/>
                  </a:lnTo>
                  <a:lnTo>
                    <a:pt x="1126" y="430"/>
                  </a:lnTo>
                  <a:lnTo>
                    <a:pt x="1128" y="423"/>
                  </a:lnTo>
                  <a:lnTo>
                    <a:pt x="1131" y="419"/>
                  </a:lnTo>
                  <a:lnTo>
                    <a:pt x="1134" y="410"/>
                  </a:lnTo>
                  <a:lnTo>
                    <a:pt x="1137" y="406"/>
                  </a:lnTo>
                  <a:lnTo>
                    <a:pt x="1135" y="401"/>
                  </a:lnTo>
                  <a:lnTo>
                    <a:pt x="1135" y="397"/>
                  </a:lnTo>
                  <a:lnTo>
                    <a:pt x="1141" y="401"/>
                  </a:lnTo>
                  <a:lnTo>
                    <a:pt x="1146" y="396"/>
                  </a:lnTo>
                  <a:lnTo>
                    <a:pt x="1148" y="392"/>
                  </a:lnTo>
                  <a:lnTo>
                    <a:pt x="1154" y="390"/>
                  </a:lnTo>
                  <a:lnTo>
                    <a:pt x="1162" y="382"/>
                  </a:lnTo>
                  <a:lnTo>
                    <a:pt x="1166" y="381"/>
                  </a:lnTo>
                  <a:lnTo>
                    <a:pt x="1166" y="376"/>
                  </a:lnTo>
                  <a:lnTo>
                    <a:pt x="1169" y="373"/>
                  </a:lnTo>
                  <a:lnTo>
                    <a:pt x="1171" y="373"/>
                  </a:lnTo>
                  <a:lnTo>
                    <a:pt x="1174" y="370"/>
                  </a:lnTo>
                  <a:lnTo>
                    <a:pt x="1171" y="367"/>
                  </a:lnTo>
                  <a:lnTo>
                    <a:pt x="1177" y="364"/>
                  </a:lnTo>
                  <a:lnTo>
                    <a:pt x="1183" y="358"/>
                  </a:lnTo>
                  <a:lnTo>
                    <a:pt x="1186" y="358"/>
                  </a:lnTo>
                  <a:lnTo>
                    <a:pt x="1186" y="354"/>
                  </a:lnTo>
                  <a:lnTo>
                    <a:pt x="1191" y="353"/>
                  </a:lnTo>
                  <a:lnTo>
                    <a:pt x="1183" y="348"/>
                  </a:lnTo>
                  <a:lnTo>
                    <a:pt x="1186" y="348"/>
                  </a:lnTo>
                  <a:lnTo>
                    <a:pt x="1186" y="343"/>
                  </a:lnTo>
                  <a:lnTo>
                    <a:pt x="1191" y="343"/>
                  </a:lnTo>
                  <a:lnTo>
                    <a:pt x="1197" y="348"/>
                  </a:lnTo>
                  <a:lnTo>
                    <a:pt x="1198" y="351"/>
                  </a:lnTo>
                  <a:lnTo>
                    <a:pt x="1200" y="348"/>
                  </a:lnTo>
                  <a:lnTo>
                    <a:pt x="1200" y="345"/>
                  </a:lnTo>
                  <a:lnTo>
                    <a:pt x="1195" y="343"/>
                  </a:lnTo>
                  <a:lnTo>
                    <a:pt x="1203" y="342"/>
                  </a:lnTo>
                  <a:lnTo>
                    <a:pt x="1206" y="338"/>
                  </a:lnTo>
                  <a:lnTo>
                    <a:pt x="1214" y="338"/>
                  </a:lnTo>
                  <a:lnTo>
                    <a:pt x="1215" y="339"/>
                  </a:lnTo>
                  <a:lnTo>
                    <a:pt x="1215" y="336"/>
                  </a:lnTo>
                  <a:lnTo>
                    <a:pt x="1214" y="334"/>
                  </a:lnTo>
                  <a:lnTo>
                    <a:pt x="1217" y="334"/>
                  </a:lnTo>
                  <a:lnTo>
                    <a:pt x="1217" y="339"/>
                  </a:lnTo>
                  <a:lnTo>
                    <a:pt x="1223" y="334"/>
                  </a:lnTo>
                  <a:lnTo>
                    <a:pt x="1223" y="331"/>
                  </a:lnTo>
                  <a:lnTo>
                    <a:pt x="1220" y="329"/>
                  </a:lnTo>
                  <a:lnTo>
                    <a:pt x="1220" y="325"/>
                  </a:lnTo>
                  <a:lnTo>
                    <a:pt x="1221" y="326"/>
                  </a:lnTo>
                  <a:lnTo>
                    <a:pt x="1232" y="329"/>
                  </a:lnTo>
                  <a:lnTo>
                    <a:pt x="1231" y="325"/>
                  </a:lnTo>
                  <a:lnTo>
                    <a:pt x="1226" y="323"/>
                  </a:lnTo>
                  <a:lnTo>
                    <a:pt x="1223" y="321"/>
                  </a:lnTo>
                  <a:lnTo>
                    <a:pt x="1227" y="320"/>
                  </a:lnTo>
                  <a:lnTo>
                    <a:pt x="1227" y="315"/>
                  </a:lnTo>
                  <a:lnTo>
                    <a:pt x="1229" y="323"/>
                  </a:lnTo>
                  <a:lnTo>
                    <a:pt x="1235" y="321"/>
                  </a:lnTo>
                  <a:lnTo>
                    <a:pt x="1237" y="323"/>
                  </a:lnTo>
                  <a:lnTo>
                    <a:pt x="1241" y="321"/>
                  </a:lnTo>
                  <a:lnTo>
                    <a:pt x="1235" y="312"/>
                  </a:lnTo>
                  <a:lnTo>
                    <a:pt x="1231" y="303"/>
                  </a:lnTo>
                  <a:lnTo>
                    <a:pt x="1227" y="297"/>
                  </a:lnTo>
                  <a:lnTo>
                    <a:pt x="1227" y="291"/>
                  </a:lnTo>
                  <a:lnTo>
                    <a:pt x="1226" y="290"/>
                  </a:lnTo>
                  <a:lnTo>
                    <a:pt x="1227" y="287"/>
                  </a:lnTo>
                  <a:lnTo>
                    <a:pt x="1231" y="290"/>
                  </a:lnTo>
                  <a:lnTo>
                    <a:pt x="1232" y="299"/>
                  </a:lnTo>
                  <a:lnTo>
                    <a:pt x="1241" y="306"/>
                  </a:lnTo>
                  <a:lnTo>
                    <a:pt x="1253" y="308"/>
                  </a:lnTo>
                  <a:lnTo>
                    <a:pt x="1257" y="312"/>
                  </a:lnTo>
                  <a:lnTo>
                    <a:pt x="1264" y="312"/>
                  </a:lnTo>
                  <a:lnTo>
                    <a:pt x="1267" y="309"/>
                  </a:lnTo>
                  <a:lnTo>
                    <a:pt x="1272" y="309"/>
                  </a:lnTo>
                  <a:lnTo>
                    <a:pt x="1278" y="303"/>
                  </a:lnTo>
                  <a:lnTo>
                    <a:pt x="1281" y="291"/>
                  </a:lnTo>
                  <a:lnTo>
                    <a:pt x="1269" y="281"/>
                  </a:lnTo>
                  <a:lnTo>
                    <a:pt x="1269" y="275"/>
                  </a:lnTo>
                  <a:lnTo>
                    <a:pt x="1264" y="272"/>
                  </a:lnTo>
                  <a:lnTo>
                    <a:pt x="1263" y="272"/>
                  </a:lnTo>
                  <a:lnTo>
                    <a:pt x="1257" y="277"/>
                  </a:lnTo>
                  <a:lnTo>
                    <a:pt x="1246" y="277"/>
                  </a:lnTo>
                  <a:lnTo>
                    <a:pt x="1242" y="278"/>
                  </a:lnTo>
                  <a:lnTo>
                    <a:pt x="1242" y="277"/>
                  </a:lnTo>
                  <a:lnTo>
                    <a:pt x="1242" y="275"/>
                  </a:lnTo>
                  <a:lnTo>
                    <a:pt x="1246" y="275"/>
                  </a:lnTo>
                  <a:lnTo>
                    <a:pt x="1252" y="275"/>
                  </a:lnTo>
                  <a:lnTo>
                    <a:pt x="1258" y="272"/>
                  </a:lnTo>
                  <a:lnTo>
                    <a:pt x="1257" y="267"/>
                  </a:lnTo>
                  <a:lnTo>
                    <a:pt x="1247" y="262"/>
                  </a:lnTo>
                  <a:lnTo>
                    <a:pt x="1237" y="253"/>
                  </a:lnTo>
                  <a:lnTo>
                    <a:pt x="1235" y="253"/>
                  </a:lnTo>
                  <a:lnTo>
                    <a:pt x="1232" y="255"/>
                  </a:lnTo>
                  <a:lnTo>
                    <a:pt x="1237" y="259"/>
                  </a:lnTo>
                  <a:lnTo>
                    <a:pt x="1235" y="260"/>
                  </a:lnTo>
                  <a:lnTo>
                    <a:pt x="1229" y="256"/>
                  </a:lnTo>
                  <a:lnTo>
                    <a:pt x="1226" y="250"/>
                  </a:lnTo>
                  <a:lnTo>
                    <a:pt x="1231" y="251"/>
                  </a:lnTo>
                  <a:lnTo>
                    <a:pt x="1231" y="244"/>
                  </a:lnTo>
                  <a:lnTo>
                    <a:pt x="1235" y="247"/>
                  </a:lnTo>
                  <a:lnTo>
                    <a:pt x="1242" y="253"/>
                  </a:lnTo>
                  <a:lnTo>
                    <a:pt x="1246" y="253"/>
                  </a:lnTo>
                  <a:lnTo>
                    <a:pt x="1250" y="260"/>
                  </a:lnTo>
                  <a:lnTo>
                    <a:pt x="1258" y="266"/>
                  </a:lnTo>
                  <a:lnTo>
                    <a:pt x="1270" y="269"/>
                  </a:lnTo>
                  <a:lnTo>
                    <a:pt x="1276" y="275"/>
                  </a:lnTo>
                  <a:lnTo>
                    <a:pt x="1281" y="278"/>
                  </a:lnTo>
                  <a:lnTo>
                    <a:pt x="1282" y="283"/>
                  </a:lnTo>
                  <a:lnTo>
                    <a:pt x="1287" y="284"/>
                  </a:lnTo>
                  <a:lnTo>
                    <a:pt x="1290" y="286"/>
                  </a:lnTo>
                  <a:lnTo>
                    <a:pt x="1290" y="281"/>
                  </a:lnTo>
                  <a:lnTo>
                    <a:pt x="1296" y="277"/>
                  </a:lnTo>
                  <a:lnTo>
                    <a:pt x="1292" y="275"/>
                  </a:lnTo>
                  <a:lnTo>
                    <a:pt x="1293" y="272"/>
                  </a:lnTo>
                  <a:lnTo>
                    <a:pt x="1297" y="277"/>
                  </a:lnTo>
                  <a:lnTo>
                    <a:pt x="1297" y="278"/>
                  </a:lnTo>
                  <a:lnTo>
                    <a:pt x="1301" y="281"/>
                  </a:lnTo>
                  <a:lnTo>
                    <a:pt x="1309" y="272"/>
                  </a:lnTo>
                  <a:lnTo>
                    <a:pt x="1309" y="264"/>
                  </a:lnTo>
                  <a:lnTo>
                    <a:pt x="1307" y="260"/>
                  </a:lnTo>
                  <a:lnTo>
                    <a:pt x="1309" y="253"/>
                  </a:lnTo>
                  <a:lnTo>
                    <a:pt x="1312" y="260"/>
                  </a:lnTo>
                  <a:lnTo>
                    <a:pt x="1312" y="266"/>
                  </a:lnTo>
                  <a:lnTo>
                    <a:pt x="1316" y="256"/>
                  </a:lnTo>
                  <a:lnTo>
                    <a:pt x="1322" y="253"/>
                  </a:lnTo>
                  <a:lnTo>
                    <a:pt x="1322" y="255"/>
                  </a:lnTo>
                  <a:lnTo>
                    <a:pt x="1324" y="256"/>
                  </a:lnTo>
                  <a:lnTo>
                    <a:pt x="1321" y="262"/>
                  </a:lnTo>
                  <a:lnTo>
                    <a:pt x="1322" y="262"/>
                  </a:lnTo>
                  <a:lnTo>
                    <a:pt x="1324" y="266"/>
                  </a:lnTo>
                  <a:lnTo>
                    <a:pt x="1327" y="262"/>
                  </a:lnTo>
                  <a:lnTo>
                    <a:pt x="1332" y="264"/>
                  </a:lnTo>
                  <a:lnTo>
                    <a:pt x="1339" y="272"/>
                  </a:lnTo>
                  <a:lnTo>
                    <a:pt x="1339" y="267"/>
                  </a:lnTo>
                  <a:lnTo>
                    <a:pt x="1343" y="267"/>
                  </a:lnTo>
                  <a:lnTo>
                    <a:pt x="1345" y="269"/>
                  </a:lnTo>
                  <a:lnTo>
                    <a:pt x="1351" y="269"/>
                  </a:lnTo>
                  <a:lnTo>
                    <a:pt x="1355" y="262"/>
                  </a:lnTo>
                  <a:lnTo>
                    <a:pt x="1362" y="259"/>
                  </a:lnTo>
                  <a:lnTo>
                    <a:pt x="1379" y="242"/>
                  </a:lnTo>
                  <a:lnTo>
                    <a:pt x="1382" y="239"/>
                  </a:lnTo>
                  <a:lnTo>
                    <a:pt x="1382" y="238"/>
                  </a:lnTo>
                  <a:lnTo>
                    <a:pt x="1385" y="239"/>
                  </a:lnTo>
                  <a:lnTo>
                    <a:pt x="1393" y="230"/>
                  </a:lnTo>
                  <a:lnTo>
                    <a:pt x="1396" y="228"/>
                  </a:lnTo>
                  <a:lnTo>
                    <a:pt x="1404" y="225"/>
                  </a:lnTo>
                  <a:lnTo>
                    <a:pt x="1405" y="223"/>
                  </a:lnTo>
                  <a:lnTo>
                    <a:pt x="1405" y="217"/>
                  </a:lnTo>
                  <a:lnTo>
                    <a:pt x="1385" y="211"/>
                  </a:lnTo>
                  <a:lnTo>
                    <a:pt x="1373" y="211"/>
                  </a:lnTo>
                  <a:lnTo>
                    <a:pt x="1364" y="208"/>
                  </a:lnTo>
                  <a:lnTo>
                    <a:pt x="1361" y="201"/>
                  </a:lnTo>
                  <a:lnTo>
                    <a:pt x="1355" y="189"/>
                  </a:lnTo>
                  <a:lnTo>
                    <a:pt x="1353" y="189"/>
                  </a:lnTo>
                  <a:lnTo>
                    <a:pt x="1351" y="183"/>
                  </a:lnTo>
                  <a:lnTo>
                    <a:pt x="1351" y="180"/>
                  </a:lnTo>
                  <a:lnTo>
                    <a:pt x="1353" y="178"/>
                  </a:lnTo>
                  <a:lnTo>
                    <a:pt x="1355" y="178"/>
                  </a:lnTo>
                  <a:lnTo>
                    <a:pt x="1355" y="175"/>
                  </a:lnTo>
                  <a:lnTo>
                    <a:pt x="1351" y="174"/>
                  </a:lnTo>
                  <a:lnTo>
                    <a:pt x="1356" y="174"/>
                  </a:lnTo>
                  <a:lnTo>
                    <a:pt x="1362" y="177"/>
                  </a:lnTo>
                  <a:lnTo>
                    <a:pt x="1367" y="186"/>
                  </a:lnTo>
                  <a:lnTo>
                    <a:pt x="1373" y="188"/>
                  </a:lnTo>
                  <a:lnTo>
                    <a:pt x="1377" y="189"/>
                  </a:lnTo>
                  <a:lnTo>
                    <a:pt x="1373" y="192"/>
                  </a:lnTo>
                  <a:lnTo>
                    <a:pt x="1371" y="192"/>
                  </a:lnTo>
                  <a:lnTo>
                    <a:pt x="1371" y="195"/>
                  </a:lnTo>
                  <a:lnTo>
                    <a:pt x="1379" y="197"/>
                  </a:lnTo>
                  <a:lnTo>
                    <a:pt x="1382" y="202"/>
                  </a:lnTo>
                  <a:lnTo>
                    <a:pt x="1387" y="208"/>
                  </a:lnTo>
                  <a:lnTo>
                    <a:pt x="1404" y="211"/>
                  </a:lnTo>
                  <a:lnTo>
                    <a:pt x="1408" y="211"/>
                  </a:lnTo>
                  <a:lnTo>
                    <a:pt x="1411" y="205"/>
                  </a:lnTo>
                  <a:lnTo>
                    <a:pt x="1416" y="201"/>
                  </a:lnTo>
                  <a:lnTo>
                    <a:pt x="1419" y="202"/>
                  </a:lnTo>
                  <a:lnTo>
                    <a:pt x="1425" y="195"/>
                  </a:lnTo>
                  <a:lnTo>
                    <a:pt x="1431" y="189"/>
                  </a:lnTo>
                  <a:lnTo>
                    <a:pt x="1444" y="180"/>
                  </a:lnTo>
                  <a:lnTo>
                    <a:pt x="1448" y="180"/>
                  </a:lnTo>
                  <a:lnTo>
                    <a:pt x="1452" y="174"/>
                  </a:lnTo>
                  <a:lnTo>
                    <a:pt x="1450" y="169"/>
                  </a:lnTo>
                  <a:lnTo>
                    <a:pt x="1442" y="168"/>
                  </a:lnTo>
                  <a:lnTo>
                    <a:pt x="1440" y="163"/>
                  </a:lnTo>
                  <a:lnTo>
                    <a:pt x="1440" y="160"/>
                  </a:lnTo>
                  <a:lnTo>
                    <a:pt x="1442" y="158"/>
                  </a:lnTo>
                  <a:lnTo>
                    <a:pt x="1440" y="155"/>
                  </a:lnTo>
                  <a:lnTo>
                    <a:pt x="1442" y="152"/>
                  </a:lnTo>
                  <a:lnTo>
                    <a:pt x="1448" y="155"/>
                  </a:lnTo>
                  <a:lnTo>
                    <a:pt x="1452" y="155"/>
                  </a:lnTo>
                  <a:lnTo>
                    <a:pt x="1457" y="157"/>
                  </a:lnTo>
                  <a:lnTo>
                    <a:pt x="1463" y="157"/>
                  </a:lnTo>
                  <a:lnTo>
                    <a:pt x="1471" y="155"/>
                  </a:lnTo>
                  <a:lnTo>
                    <a:pt x="1471" y="157"/>
                  </a:lnTo>
                  <a:lnTo>
                    <a:pt x="1474" y="158"/>
                  </a:lnTo>
                  <a:lnTo>
                    <a:pt x="1473" y="158"/>
                  </a:lnTo>
                  <a:lnTo>
                    <a:pt x="1471" y="166"/>
                  </a:lnTo>
                  <a:lnTo>
                    <a:pt x="1471" y="169"/>
                  </a:lnTo>
                  <a:lnTo>
                    <a:pt x="1474" y="168"/>
                  </a:lnTo>
                  <a:lnTo>
                    <a:pt x="1474" y="169"/>
                  </a:lnTo>
                  <a:lnTo>
                    <a:pt x="1480" y="171"/>
                  </a:lnTo>
                  <a:lnTo>
                    <a:pt x="1486" y="175"/>
                  </a:lnTo>
                  <a:lnTo>
                    <a:pt x="1488" y="169"/>
                  </a:lnTo>
                  <a:lnTo>
                    <a:pt x="1482" y="166"/>
                  </a:lnTo>
                  <a:lnTo>
                    <a:pt x="1486" y="162"/>
                  </a:lnTo>
                  <a:lnTo>
                    <a:pt x="1486" y="166"/>
                  </a:lnTo>
                  <a:lnTo>
                    <a:pt x="1489" y="168"/>
                  </a:lnTo>
                  <a:lnTo>
                    <a:pt x="1492" y="171"/>
                  </a:lnTo>
                  <a:lnTo>
                    <a:pt x="1499" y="178"/>
                  </a:lnTo>
                  <a:lnTo>
                    <a:pt x="1503" y="177"/>
                  </a:lnTo>
                  <a:lnTo>
                    <a:pt x="1503" y="174"/>
                  </a:lnTo>
                  <a:lnTo>
                    <a:pt x="1501" y="171"/>
                  </a:lnTo>
                  <a:lnTo>
                    <a:pt x="1503" y="169"/>
                  </a:lnTo>
                  <a:lnTo>
                    <a:pt x="1503" y="162"/>
                  </a:lnTo>
                  <a:lnTo>
                    <a:pt x="1499" y="160"/>
                  </a:lnTo>
                  <a:lnTo>
                    <a:pt x="1501" y="155"/>
                  </a:lnTo>
                  <a:lnTo>
                    <a:pt x="1497" y="147"/>
                  </a:lnTo>
                  <a:lnTo>
                    <a:pt x="1494" y="146"/>
                  </a:lnTo>
                  <a:lnTo>
                    <a:pt x="1494" y="140"/>
                  </a:lnTo>
                  <a:lnTo>
                    <a:pt x="1489" y="140"/>
                  </a:lnTo>
                  <a:lnTo>
                    <a:pt x="1483" y="144"/>
                  </a:lnTo>
                  <a:lnTo>
                    <a:pt x="1480" y="144"/>
                  </a:lnTo>
                  <a:lnTo>
                    <a:pt x="1486" y="136"/>
                  </a:lnTo>
                  <a:lnTo>
                    <a:pt x="1489" y="136"/>
                  </a:lnTo>
                  <a:lnTo>
                    <a:pt x="1492" y="138"/>
                  </a:lnTo>
                  <a:lnTo>
                    <a:pt x="1497" y="135"/>
                  </a:lnTo>
                  <a:lnTo>
                    <a:pt x="1501" y="140"/>
                  </a:lnTo>
                  <a:lnTo>
                    <a:pt x="1503" y="140"/>
                  </a:lnTo>
                  <a:lnTo>
                    <a:pt x="1503" y="152"/>
                  </a:lnTo>
                  <a:lnTo>
                    <a:pt x="1505" y="149"/>
                  </a:lnTo>
                  <a:lnTo>
                    <a:pt x="1511" y="146"/>
                  </a:lnTo>
                  <a:lnTo>
                    <a:pt x="1506" y="152"/>
                  </a:lnTo>
                  <a:lnTo>
                    <a:pt x="1506" y="155"/>
                  </a:lnTo>
                  <a:lnTo>
                    <a:pt x="1503" y="157"/>
                  </a:lnTo>
                  <a:lnTo>
                    <a:pt x="1503" y="158"/>
                  </a:lnTo>
                  <a:lnTo>
                    <a:pt x="1506" y="162"/>
                  </a:lnTo>
                  <a:lnTo>
                    <a:pt x="1508" y="169"/>
                  </a:lnTo>
                  <a:lnTo>
                    <a:pt x="1506" y="171"/>
                  </a:lnTo>
                  <a:lnTo>
                    <a:pt x="1511" y="174"/>
                  </a:lnTo>
                  <a:lnTo>
                    <a:pt x="1523" y="171"/>
                  </a:lnTo>
                  <a:lnTo>
                    <a:pt x="1526" y="166"/>
                  </a:lnTo>
                  <a:lnTo>
                    <a:pt x="1532" y="166"/>
                  </a:lnTo>
                  <a:lnTo>
                    <a:pt x="1534" y="166"/>
                  </a:lnTo>
                  <a:lnTo>
                    <a:pt x="1541" y="158"/>
                  </a:lnTo>
                  <a:lnTo>
                    <a:pt x="1545" y="158"/>
                  </a:lnTo>
                  <a:lnTo>
                    <a:pt x="1549" y="157"/>
                  </a:lnTo>
                  <a:lnTo>
                    <a:pt x="1554" y="153"/>
                  </a:lnTo>
                  <a:lnTo>
                    <a:pt x="1554" y="147"/>
                  </a:lnTo>
                  <a:lnTo>
                    <a:pt x="1558" y="146"/>
                  </a:lnTo>
                  <a:lnTo>
                    <a:pt x="1568" y="146"/>
                  </a:lnTo>
                  <a:lnTo>
                    <a:pt x="1572" y="147"/>
                  </a:lnTo>
                  <a:lnTo>
                    <a:pt x="1575" y="144"/>
                  </a:lnTo>
                  <a:lnTo>
                    <a:pt x="1574" y="140"/>
                  </a:lnTo>
                  <a:lnTo>
                    <a:pt x="1581" y="135"/>
                  </a:lnTo>
                  <a:lnTo>
                    <a:pt x="1581" y="130"/>
                  </a:lnTo>
                  <a:lnTo>
                    <a:pt x="1583" y="129"/>
                  </a:lnTo>
                  <a:lnTo>
                    <a:pt x="1585" y="123"/>
                  </a:lnTo>
                  <a:lnTo>
                    <a:pt x="1579" y="113"/>
                  </a:lnTo>
                  <a:lnTo>
                    <a:pt x="1579" y="108"/>
                  </a:lnTo>
                  <a:lnTo>
                    <a:pt x="1574" y="105"/>
                  </a:lnTo>
                  <a:lnTo>
                    <a:pt x="1572" y="99"/>
                  </a:lnTo>
                  <a:lnTo>
                    <a:pt x="1575" y="96"/>
                  </a:lnTo>
                  <a:lnTo>
                    <a:pt x="1581" y="93"/>
                  </a:lnTo>
                  <a:lnTo>
                    <a:pt x="1583" y="90"/>
                  </a:lnTo>
                  <a:lnTo>
                    <a:pt x="1581" y="90"/>
                  </a:lnTo>
                  <a:lnTo>
                    <a:pt x="1578" y="91"/>
                  </a:lnTo>
                  <a:lnTo>
                    <a:pt x="1575" y="91"/>
                  </a:lnTo>
                  <a:lnTo>
                    <a:pt x="1575" y="88"/>
                  </a:lnTo>
                  <a:lnTo>
                    <a:pt x="1579" y="85"/>
                  </a:lnTo>
                  <a:lnTo>
                    <a:pt x="1574" y="85"/>
                  </a:lnTo>
                  <a:lnTo>
                    <a:pt x="1578" y="80"/>
                  </a:lnTo>
                  <a:lnTo>
                    <a:pt x="1579" y="79"/>
                  </a:lnTo>
                  <a:lnTo>
                    <a:pt x="1575" y="74"/>
                  </a:lnTo>
                  <a:lnTo>
                    <a:pt x="1569" y="74"/>
                  </a:lnTo>
                  <a:lnTo>
                    <a:pt x="1574" y="74"/>
                  </a:lnTo>
                  <a:lnTo>
                    <a:pt x="1574" y="69"/>
                  </a:lnTo>
                  <a:lnTo>
                    <a:pt x="1578" y="69"/>
                  </a:lnTo>
                  <a:lnTo>
                    <a:pt x="1578" y="71"/>
                  </a:lnTo>
                  <a:lnTo>
                    <a:pt x="1583" y="71"/>
                  </a:lnTo>
                  <a:lnTo>
                    <a:pt x="1587" y="77"/>
                  </a:lnTo>
                  <a:lnTo>
                    <a:pt x="1592" y="77"/>
                  </a:lnTo>
                  <a:lnTo>
                    <a:pt x="1594" y="74"/>
                  </a:lnTo>
                  <a:lnTo>
                    <a:pt x="1598" y="74"/>
                  </a:lnTo>
                  <a:lnTo>
                    <a:pt x="1606" y="74"/>
                  </a:lnTo>
                  <a:lnTo>
                    <a:pt x="1613" y="69"/>
                  </a:lnTo>
                  <a:lnTo>
                    <a:pt x="1609" y="68"/>
                  </a:lnTo>
                  <a:lnTo>
                    <a:pt x="1613" y="62"/>
                  </a:lnTo>
                  <a:lnTo>
                    <a:pt x="1612" y="60"/>
                  </a:lnTo>
                  <a:lnTo>
                    <a:pt x="1609" y="60"/>
                  </a:lnTo>
                  <a:lnTo>
                    <a:pt x="1609" y="57"/>
                  </a:lnTo>
                  <a:lnTo>
                    <a:pt x="1607" y="57"/>
                  </a:lnTo>
                  <a:lnTo>
                    <a:pt x="1600" y="57"/>
                  </a:lnTo>
                  <a:lnTo>
                    <a:pt x="1604" y="55"/>
                  </a:lnTo>
                  <a:lnTo>
                    <a:pt x="1607" y="53"/>
                  </a:lnTo>
                  <a:lnTo>
                    <a:pt x="1618" y="48"/>
                  </a:lnTo>
                  <a:lnTo>
                    <a:pt x="1621" y="42"/>
                  </a:lnTo>
                  <a:lnTo>
                    <a:pt x="1619" y="40"/>
                  </a:lnTo>
                  <a:lnTo>
                    <a:pt x="1618" y="40"/>
                  </a:lnTo>
                  <a:lnTo>
                    <a:pt x="1615" y="37"/>
                  </a:lnTo>
                  <a:lnTo>
                    <a:pt x="1606" y="34"/>
                  </a:lnTo>
                  <a:lnTo>
                    <a:pt x="1602" y="37"/>
                  </a:lnTo>
                  <a:lnTo>
                    <a:pt x="1598" y="34"/>
                  </a:lnTo>
                  <a:lnTo>
                    <a:pt x="1604" y="32"/>
                  </a:lnTo>
                  <a:lnTo>
                    <a:pt x="1602" y="29"/>
                  </a:lnTo>
                  <a:lnTo>
                    <a:pt x="1590" y="21"/>
                  </a:lnTo>
                  <a:lnTo>
                    <a:pt x="1590" y="20"/>
                  </a:lnTo>
                  <a:lnTo>
                    <a:pt x="1594" y="20"/>
                  </a:lnTo>
                  <a:lnTo>
                    <a:pt x="1598" y="24"/>
                  </a:lnTo>
                  <a:lnTo>
                    <a:pt x="1602" y="21"/>
                  </a:lnTo>
                  <a:lnTo>
                    <a:pt x="1598" y="18"/>
                  </a:lnTo>
                  <a:lnTo>
                    <a:pt x="1602" y="16"/>
                  </a:lnTo>
                  <a:lnTo>
                    <a:pt x="1602" y="15"/>
                  </a:lnTo>
                  <a:lnTo>
                    <a:pt x="1594" y="10"/>
                  </a:lnTo>
                  <a:lnTo>
                    <a:pt x="1589" y="9"/>
                  </a:lnTo>
                  <a:lnTo>
                    <a:pt x="1585" y="10"/>
                  </a:lnTo>
                  <a:lnTo>
                    <a:pt x="1574" y="7"/>
                  </a:lnTo>
                  <a:lnTo>
                    <a:pt x="1572" y="3"/>
                  </a:lnTo>
                  <a:lnTo>
                    <a:pt x="1572" y="1"/>
                  </a:lnTo>
                  <a:lnTo>
                    <a:pt x="1569" y="0"/>
                  </a:lnTo>
                  <a:lnTo>
                    <a:pt x="1544" y="0"/>
                  </a:lnTo>
                  <a:lnTo>
                    <a:pt x="1543" y="1"/>
                  </a:lnTo>
                  <a:lnTo>
                    <a:pt x="1537" y="1"/>
                  </a:lnTo>
                  <a:lnTo>
                    <a:pt x="1537" y="3"/>
                  </a:lnTo>
                  <a:lnTo>
                    <a:pt x="1539" y="4"/>
                  </a:lnTo>
                  <a:lnTo>
                    <a:pt x="1535" y="9"/>
                  </a:lnTo>
                  <a:lnTo>
                    <a:pt x="1535" y="12"/>
                  </a:lnTo>
                  <a:lnTo>
                    <a:pt x="1537" y="16"/>
                  </a:lnTo>
                  <a:lnTo>
                    <a:pt x="1534" y="16"/>
                  </a:lnTo>
                  <a:lnTo>
                    <a:pt x="1534" y="20"/>
                  </a:lnTo>
                  <a:lnTo>
                    <a:pt x="1529" y="24"/>
                  </a:lnTo>
                  <a:lnTo>
                    <a:pt x="1529" y="31"/>
                  </a:lnTo>
                  <a:lnTo>
                    <a:pt x="1534" y="31"/>
                  </a:lnTo>
                  <a:lnTo>
                    <a:pt x="1535" y="34"/>
                  </a:lnTo>
                  <a:lnTo>
                    <a:pt x="1537" y="37"/>
                  </a:lnTo>
                  <a:lnTo>
                    <a:pt x="1541" y="40"/>
                  </a:lnTo>
                  <a:lnTo>
                    <a:pt x="1537" y="42"/>
                  </a:lnTo>
                  <a:lnTo>
                    <a:pt x="1534" y="42"/>
                  </a:lnTo>
                  <a:lnTo>
                    <a:pt x="1532" y="43"/>
                  </a:lnTo>
                  <a:lnTo>
                    <a:pt x="1529" y="40"/>
                  </a:lnTo>
                  <a:lnTo>
                    <a:pt x="1522" y="42"/>
                  </a:lnTo>
                  <a:lnTo>
                    <a:pt x="1520" y="43"/>
                  </a:lnTo>
                  <a:lnTo>
                    <a:pt x="1526" y="48"/>
                  </a:lnTo>
                  <a:lnTo>
                    <a:pt x="1528" y="48"/>
                  </a:lnTo>
                  <a:lnTo>
                    <a:pt x="1528" y="51"/>
                  </a:lnTo>
                  <a:lnTo>
                    <a:pt x="1522" y="51"/>
                  </a:lnTo>
                  <a:lnTo>
                    <a:pt x="1520" y="49"/>
                  </a:lnTo>
                  <a:lnTo>
                    <a:pt x="1517" y="53"/>
                  </a:lnTo>
                  <a:lnTo>
                    <a:pt x="1512" y="48"/>
                  </a:lnTo>
                  <a:lnTo>
                    <a:pt x="1506" y="51"/>
                  </a:lnTo>
                  <a:lnTo>
                    <a:pt x="1503" y="60"/>
                  </a:lnTo>
                  <a:lnTo>
                    <a:pt x="1497" y="69"/>
                  </a:lnTo>
                  <a:lnTo>
                    <a:pt x="1492" y="79"/>
                  </a:lnTo>
                  <a:lnTo>
                    <a:pt x="1482" y="86"/>
                  </a:lnTo>
                  <a:lnTo>
                    <a:pt x="1478" y="90"/>
                  </a:lnTo>
                  <a:lnTo>
                    <a:pt x="1477" y="90"/>
                  </a:lnTo>
                  <a:lnTo>
                    <a:pt x="1471" y="97"/>
                  </a:lnTo>
                  <a:lnTo>
                    <a:pt x="1467" y="99"/>
                  </a:lnTo>
                  <a:lnTo>
                    <a:pt x="1467" y="107"/>
                  </a:lnTo>
                  <a:lnTo>
                    <a:pt x="1463" y="110"/>
                  </a:lnTo>
                  <a:lnTo>
                    <a:pt x="1462" y="116"/>
                  </a:lnTo>
                  <a:lnTo>
                    <a:pt x="1457" y="116"/>
                  </a:lnTo>
                  <a:lnTo>
                    <a:pt x="1456" y="110"/>
                  </a:lnTo>
                  <a:lnTo>
                    <a:pt x="1452" y="110"/>
                  </a:lnTo>
                  <a:lnTo>
                    <a:pt x="1448" y="114"/>
                  </a:lnTo>
                  <a:lnTo>
                    <a:pt x="1450" y="116"/>
                  </a:lnTo>
                  <a:lnTo>
                    <a:pt x="1452" y="122"/>
                  </a:lnTo>
                  <a:lnTo>
                    <a:pt x="1446" y="122"/>
                  </a:lnTo>
                  <a:lnTo>
                    <a:pt x="1442" y="118"/>
                  </a:lnTo>
                  <a:lnTo>
                    <a:pt x="1444" y="114"/>
                  </a:lnTo>
                  <a:lnTo>
                    <a:pt x="1440" y="107"/>
                  </a:lnTo>
                  <a:lnTo>
                    <a:pt x="1437" y="90"/>
                  </a:lnTo>
                  <a:lnTo>
                    <a:pt x="1434" y="80"/>
                  </a:lnTo>
                  <a:lnTo>
                    <a:pt x="1433" y="79"/>
                  </a:lnTo>
                  <a:lnTo>
                    <a:pt x="1437" y="71"/>
                  </a:lnTo>
                  <a:lnTo>
                    <a:pt x="1440" y="68"/>
                  </a:lnTo>
                  <a:lnTo>
                    <a:pt x="1438" y="62"/>
                  </a:lnTo>
                  <a:lnTo>
                    <a:pt x="1440" y="59"/>
                  </a:lnTo>
                  <a:lnTo>
                    <a:pt x="1444" y="57"/>
                  </a:lnTo>
                  <a:lnTo>
                    <a:pt x="1448" y="59"/>
                  </a:lnTo>
                  <a:lnTo>
                    <a:pt x="1452" y="57"/>
                  </a:lnTo>
                  <a:lnTo>
                    <a:pt x="1456" y="53"/>
                  </a:lnTo>
                  <a:lnTo>
                    <a:pt x="1453" y="42"/>
                  </a:lnTo>
                  <a:lnTo>
                    <a:pt x="1456" y="38"/>
                  </a:lnTo>
                  <a:lnTo>
                    <a:pt x="1456" y="32"/>
                  </a:lnTo>
                  <a:lnTo>
                    <a:pt x="1450" y="26"/>
                  </a:lnTo>
                  <a:lnTo>
                    <a:pt x="1450" y="21"/>
                  </a:lnTo>
                  <a:lnTo>
                    <a:pt x="1444" y="12"/>
                  </a:lnTo>
                  <a:lnTo>
                    <a:pt x="1444" y="9"/>
                  </a:lnTo>
                  <a:lnTo>
                    <a:pt x="1442" y="7"/>
                  </a:lnTo>
                  <a:lnTo>
                    <a:pt x="1438" y="7"/>
                  </a:lnTo>
                  <a:lnTo>
                    <a:pt x="1437" y="10"/>
                  </a:lnTo>
                  <a:lnTo>
                    <a:pt x="1431" y="20"/>
                  </a:lnTo>
                  <a:lnTo>
                    <a:pt x="1423" y="26"/>
                  </a:lnTo>
                  <a:lnTo>
                    <a:pt x="1423" y="29"/>
                  </a:lnTo>
                  <a:lnTo>
                    <a:pt x="1423" y="38"/>
                  </a:lnTo>
                  <a:lnTo>
                    <a:pt x="1419" y="40"/>
                  </a:lnTo>
                  <a:lnTo>
                    <a:pt x="1417" y="38"/>
                  </a:lnTo>
                  <a:lnTo>
                    <a:pt x="1413" y="42"/>
                  </a:lnTo>
                  <a:lnTo>
                    <a:pt x="1413" y="43"/>
                  </a:lnTo>
                  <a:lnTo>
                    <a:pt x="1413" y="46"/>
                  </a:lnTo>
                  <a:lnTo>
                    <a:pt x="1405" y="48"/>
                  </a:lnTo>
                  <a:lnTo>
                    <a:pt x="1404" y="51"/>
                  </a:lnTo>
                  <a:lnTo>
                    <a:pt x="1400" y="57"/>
                  </a:lnTo>
                  <a:lnTo>
                    <a:pt x="1396" y="57"/>
                  </a:lnTo>
                  <a:lnTo>
                    <a:pt x="1396" y="53"/>
                  </a:lnTo>
                  <a:lnTo>
                    <a:pt x="1400" y="51"/>
                  </a:lnTo>
                  <a:lnTo>
                    <a:pt x="1398" y="46"/>
                  </a:lnTo>
                  <a:lnTo>
                    <a:pt x="1398" y="43"/>
                  </a:lnTo>
                  <a:lnTo>
                    <a:pt x="1402" y="38"/>
                  </a:lnTo>
                  <a:lnTo>
                    <a:pt x="1404" y="32"/>
                  </a:lnTo>
                  <a:lnTo>
                    <a:pt x="1404" y="29"/>
                  </a:lnTo>
                  <a:lnTo>
                    <a:pt x="1408" y="26"/>
                  </a:lnTo>
                  <a:lnTo>
                    <a:pt x="1408" y="21"/>
                  </a:lnTo>
                  <a:lnTo>
                    <a:pt x="1408" y="20"/>
                  </a:lnTo>
                  <a:lnTo>
                    <a:pt x="1408" y="15"/>
                  </a:lnTo>
                  <a:lnTo>
                    <a:pt x="1404" y="7"/>
                  </a:lnTo>
                  <a:lnTo>
                    <a:pt x="1404" y="3"/>
                  </a:lnTo>
                  <a:lnTo>
                    <a:pt x="1400" y="0"/>
                  </a:lnTo>
                  <a:lnTo>
                    <a:pt x="1331" y="0"/>
                  </a:lnTo>
                  <a:lnTo>
                    <a:pt x="1327" y="1"/>
                  </a:lnTo>
                  <a:lnTo>
                    <a:pt x="1324" y="4"/>
                  </a:lnTo>
                  <a:lnTo>
                    <a:pt x="1321" y="4"/>
                  </a:lnTo>
                  <a:lnTo>
                    <a:pt x="1316" y="10"/>
                  </a:lnTo>
                  <a:lnTo>
                    <a:pt x="1318" y="12"/>
                  </a:lnTo>
                  <a:lnTo>
                    <a:pt x="1322" y="12"/>
                  </a:lnTo>
                  <a:lnTo>
                    <a:pt x="1324" y="15"/>
                  </a:lnTo>
                  <a:lnTo>
                    <a:pt x="1330" y="15"/>
                  </a:lnTo>
                  <a:lnTo>
                    <a:pt x="1333" y="10"/>
                  </a:lnTo>
                  <a:lnTo>
                    <a:pt x="1332" y="9"/>
                  </a:lnTo>
                  <a:lnTo>
                    <a:pt x="1336" y="7"/>
                  </a:lnTo>
                  <a:lnTo>
                    <a:pt x="1339" y="4"/>
                  </a:lnTo>
                  <a:lnTo>
                    <a:pt x="1341" y="7"/>
                  </a:lnTo>
                  <a:lnTo>
                    <a:pt x="1341" y="12"/>
                  </a:lnTo>
                  <a:lnTo>
                    <a:pt x="1338" y="18"/>
                  </a:lnTo>
                  <a:lnTo>
                    <a:pt x="1336" y="24"/>
                  </a:lnTo>
                  <a:lnTo>
                    <a:pt x="1336" y="26"/>
                  </a:lnTo>
                  <a:lnTo>
                    <a:pt x="1332" y="31"/>
                  </a:lnTo>
                  <a:lnTo>
                    <a:pt x="1324" y="31"/>
                  </a:lnTo>
                  <a:lnTo>
                    <a:pt x="1318" y="37"/>
                  </a:lnTo>
                  <a:lnTo>
                    <a:pt x="1315" y="37"/>
                  </a:lnTo>
                  <a:lnTo>
                    <a:pt x="1316" y="40"/>
                  </a:lnTo>
                  <a:lnTo>
                    <a:pt x="1312" y="43"/>
                  </a:lnTo>
                  <a:lnTo>
                    <a:pt x="1301" y="48"/>
                  </a:lnTo>
                  <a:lnTo>
                    <a:pt x="1297" y="53"/>
                  </a:lnTo>
                  <a:lnTo>
                    <a:pt x="1292" y="53"/>
                  </a:lnTo>
                  <a:lnTo>
                    <a:pt x="1290" y="51"/>
                  </a:lnTo>
                  <a:lnTo>
                    <a:pt x="1287" y="51"/>
                  </a:lnTo>
                  <a:lnTo>
                    <a:pt x="1286" y="48"/>
                  </a:lnTo>
                  <a:lnTo>
                    <a:pt x="1284" y="53"/>
                  </a:lnTo>
                  <a:lnTo>
                    <a:pt x="1281" y="53"/>
                  </a:lnTo>
                  <a:lnTo>
                    <a:pt x="1282" y="51"/>
                  </a:lnTo>
                  <a:lnTo>
                    <a:pt x="1281" y="49"/>
                  </a:lnTo>
                  <a:lnTo>
                    <a:pt x="1275" y="53"/>
                  </a:lnTo>
                  <a:lnTo>
                    <a:pt x="1272" y="59"/>
                  </a:lnTo>
                  <a:lnTo>
                    <a:pt x="1269" y="66"/>
                  </a:lnTo>
                  <a:lnTo>
                    <a:pt x="1267" y="68"/>
                  </a:lnTo>
                  <a:lnTo>
                    <a:pt x="1269" y="69"/>
                  </a:lnTo>
                  <a:lnTo>
                    <a:pt x="1269" y="74"/>
                  </a:lnTo>
                  <a:lnTo>
                    <a:pt x="1267" y="80"/>
                  </a:lnTo>
                  <a:lnTo>
                    <a:pt x="1267" y="85"/>
                  </a:lnTo>
                  <a:lnTo>
                    <a:pt x="1269" y="86"/>
                  </a:lnTo>
                  <a:lnTo>
                    <a:pt x="1264" y="90"/>
                  </a:lnTo>
                  <a:lnTo>
                    <a:pt x="1263" y="96"/>
                  </a:lnTo>
                  <a:lnTo>
                    <a:pt x="1264" y="96"/>
                  </a:lnTo>
                  <a:lnTo>
                    <a:pt x="1267" y="93"/>
                  </a:lnTo>
                  <a:lnTo>
                    <a:pt x="1270" y="90"/>
                  </a:lnTo>
                  <a:lnTo>
                    <a:pt x="1276" y="90"/>
                  </a:lnTo>
                  <a:lnTo>
                    <a:pt x="1281" y="88"/>
                  </a:lnTo>
                  <a:lnTo>
                    <a:pt x="1276" y="91"/>
                  </a:lnTo>
                  <a:lnTo>
                    <a:pt x="1270" y="91"/>
                  </a:lnTo>
                  <a:lnTo>
                    <a:pt x="1267" y="97"/>
                  </a:lnTo>
                  <a:lnTo>
                    <a:pt x="1258" y="99"/>
                  </a:lnTo>
                  <a:lnTo>
                    <a:pt x="1258" y="105"/>
                  </a:lnTo>
                  <a:lnTo>
                    <a:pt x="1255" y="107"/>
                  </a:lnTo>
                  <a:lnTo>
                    <a:pt x="1250" y="105"/>
                  </a:lnTo>
                  <a:lnTo>
                    <a:pt x="1244" y="105"/>
                  </a:lnTo>
                  <a:lnTo>
                    <a:pt x="1241" y="101"/>
                  </a:lnTo>
                  <a:lnTo>
                    <a:pt x="1237" y="102"/>
                  </a:lnTo>
                  <a:lnTo>
                    <a:pt x="1238" y="113"/>
                  </a:lnTo>
                  <a:lnTo>
                    <a:pt x="1235" y="122"/>
                  </a:lnTo>
                  <a:lnTo>
                    <a:pt x="1237" y="110"/>
                  </a:lnTo>
                  <a:lnTo>
                    <a:pt x="1235" y="105"/>
                  </a:lnTo>
                  <a:lnTo>
                    <a:pt x="1231" y="99"/>
                  </a:lnTo>
                  <a:lnTo>
                    <a:pt x="1232" y="91"/>
                  </a:lnTo>
                  <a:lnTo>
                    <a:pt x="1235" y="91"/>
                  </a:lnTo>
                  <a:lnTo>
                    <a:pt x="1237" y="99"/>
                  </a:lnTo>
                  <a:lnTo>
                    <a:pt x="1244" y="96"/>
                  </a:lnTo>
                  <a:lnTo>
                    <a:pt x="1246" y="101"/>
                  </a:lnTo>
                  <a:lnTo>
                    <a:pt x="1252" y="102"/>
                  </a:lnTo>
                  <a:lnTo>
                    <a:pt x="1255" y="99"/>
                  </a:lnTo>
                  <a:lnTo>
                    <a:pt x="1255" y="96"/>
                  </a:lnTo>
                  <a:lnTo>
                    <a:pt x="1258" y="90"/>
                  </a:lnTo>
                  <a:lnTo>
                    <a:pt x="1253" y="91"/>
                  </a:lnTo>
                  <a:lnTo>
                    <a:pt x="1252" y="90"/>
                  </a:lnTo>
                  <a:lnTo>
                    <a:pt x="1255" y="88"/>
                  </a:lnTo>
                  <a:lnTo>
                    <a:pt x="1257" y="82"/>
                  </a:lnTo>
                  <a:lnTo>
                    <a:pt x="1253" y="82"/>
                  </a:lnTo>
                  <a:lnTo>
                    <a:pt x="1250" y="86"/>
                  </a:lnTo>
                  <a:lnTo>
                    <a:pt x="1242" y="88"/>
                  </a:lnTo>
                  <a:lnTo>
                    <a:pt x="1244" y="85"/>
                  </a:lnTo>
                  <a:lnTo>
                    <a:pt x="1250" y="82"/>
                  </a:lnTo>
                  <a:lnTo>
                    <a:pt x="1250" y="77"/>
                  </a:lnTo>
                  <a:lnTo>
                    <a:pt x="1246" y="77"/>
                  </a:lnTo>
                  <a:lnTo>
                    <a:pt x="1242" y="79"/>
                  </a:lnTo>
                  <a:lnTo>
                    <a:pt x="1242" y="77"/>
                  </a:lnTo>
                  <a:lnTo>
                    <a:pt x="1244" y="68"/>
                  </a:lnTo>
                  <a:lnTo>
                    <a:pt x="1247" y="65"/>
                  </a:lnTo>
                  <a:lnTo>
                    <a:pt x="1247" y="68"/>
                  </a:lnTo>
                  <a:lnTo>
                    <a:pt x="1250" y="66"/>
                  </a:lnTo>
                  <a:lnTo>
                    <a:pt x="1250" y="62"/>
                  </a:lnTo>
                  <a:lnTo>
                    <a:pt x="1257" y="57"/>
                  </a:lnTo>
                  <a:lnTo>
                    <a:pt x="1258" y="53"/>
                  </a:lnTo>
                  <a:lnTo>
                    <a:pt x="1267" y="49"/>
                  </a:lnTo>
                  <a:lnTo>
                    <a:pt x="1267" y="42"/>
                  </a:lnTo>
                  <a:lnTo>
                    <a:pt x="1270" y="40"/>
                  </a:lnTo>
                  <a:lnTo>
                    <a:pt x="1275" y="38"/>
                  </a:lnTo>
                  <a:lnTo>
                    <a:pt x="1275" y="37"/>
                  </a:lnTo>
                  <a:lnTo>
                    <a:pt x="1269" y="37"/>
                  </a:lnTo>
                  <a:lnTo>
                    <a:pt x="1263" y="38"/>
                  </a:lnTo>
                  <a:lnTo>
                    <a:pt x="1258" y="43"/>
                  </a:lnTo>
                  <a:lnTo>
                    <a:pt x="1253" y="48"/>
                  </a:lnTo>
                  <a:lnTo>
                    <a:pt x="1250" y="46"/>
                  </a:lnTo>
                  <a:lnTo>
                    <a:pt x="1250" y="43"/>
                  </a:lnTo>
                  <a:lnTo>
                    <a:pt x="1257" y="42"/>
                  </a:lnTo>
                  <a:lnTo>
                    <a:pt x="1257" y="37"/>
                  </a:lnTo>
                  <a:lnTo>
                    <a:pt x="1253" y="37"/>
                  </a:lnTo>
                  <a:lnTo>
                    <a:pt x="1250" y="37"/>
                  </a:lnTo>
                  <a:lnTo>
                    <a:pt x="1247" y="32"/>
                  </a:lnTo>
                  <a:lnTo>
                    <a:pt x="1247" y="31"/>
                  </a:lnTo>
                  <a:lnTo>
                    <a:pt x="1250" y="26"/>
                  </a:lnTo>
                  <a:lnTo>
                    <a:pt x="1246" y="21"/>
                  </a:lnTo>
                  <a:lnTo>
                    <a:pt x="1242" y="21"/>
                  </a:lnTo>
                  <a:lnTo>
                    <a:pt x="1241" y="26"/>
                  </a:lnTo>
                  <a:lnTo>
                    <a:pt x="1241" y="21"/>
                  </a:lnTo>
                  <a:lnTo>
                    <a:pt x="1242" y="20"/>
                  </a:lnTo>
                  <a:lnTo>
                    <a:pt x="1241" y="16"/>
                  </a:lnTo>
                  <a:lnTo>
                    <a:pt x="1237" y="16"/>
                  </a:lnTo>
                  <a:lnTo>
                    <a:pt x="1232" y="20"/>
                  </a:lnTo>
                  <a:lnTo>
                    <a:pt x="1227" y="24"/>
                  </a:lnTo>
                  <a:lnTo>
                    <a:pt x="1227" y="26"/>
                  </a:lnTo>
                  <a:lnTo>
                    <a:pt x="1226" y="24"/>
                  </a:lnTo>
                  <a:lnTo>
                    <a:pt x="1226" y="21"/>
                  </a:lnTo>
                  <a:lnTo>
                    <a:pt x="1221" y="18"/>
                  </a:lnTo>
                  <a:lnTo>
                    <a:pt x="1217" y="18"/>
                  </a:lnTo>
                  <a:lnTo>
                    <a:pt x="1217" y="20"/>
                  </a:lnTo>
                  <a:lnTo>
                    <a:pt x="1217" y="24"/>
                  </a:lnTo>
                  <a:lnTo>
                    <a:pt x="1215" y="26"/>
                  </a:lnTo>
                  <a:lnTo>
                    <a:pt x="1220" y="29"/>
                  </a:lnTo>
                  <a:lnTo>
                    <a:pt x="1220" y="32"/>
                  </a:lnTo>
                  <a:lnTo>
                    <a:pt x="1215" y="34"/>
                  </a:lnTo>
                  <a:lnTo>
                    <a:pt x="1214" y="32"/>
                  </a:lnTo>
                  <a:lnTo>
                    <a:pt x="1214" y="29"/>
                  </a:lnTo>
                  <a:lnTo>
                    <a:pt x="1212" y="29"/>
                  </a:lnTo>
                  <a:lnTo>
                    <a:pt x="1209" y="32"/>
                  </a:lnTo>
                  <a:lnTo>
                    <a:pt x="1212" y="42"/>
                  </a:lnTo>
                  <a:lnTo>
                    <a:pt x="1214" y="49"/>
                  </a:lnTo>
                  <a:lnTo>
                    <a:pt x="1221" y="51"/>
                  </a:lnTo>
                  <a:lnTo>
                    <a:pt x="1226" y="55"/>
                  </a:lnTo>
                  <a:lnTo>
                    <a:pt x="1226" y="66"/>
                  </a:lnTo>
                  <a:lnTo>
                    <a:pt x="1223" y="60"/>
                  </a:lnTo>
                  <a:lnTo>
                    <a:pt x="1220" y="57"/>
                  </a:lnTo>
                  <a:lnTo>
                    <a:pt x="1212" y="49"/>
                  </a:lnTo>
                  <a:lnTo>
                    <a:pt x="1209" y="43"/>
                  </a:lnTo>
                  <a:lnTo>
                    <a:pt x="1206" y="34"/>
                  </a:lnTo>
                  <a:lnTo>
                    <a:pt x="1203" y="34"/>
                  </a:lnTo>
                  <a:lnTo>
                    <a:pt x="1202" y="37"/>
                  </a:lnTo>
                  <a:lnTo>
                    <a:pt x="1202" y="43"/>
                  </a:lnTo>
                  <a:lnTo>
                    <a:pt x="1208" y="48"/>
                  </a:lnTo>
                  <a:lnTo>
                    <a:pt x="1208" y="53"/>
                  </a:lnTo>
                  <a:lnTo>
                    <a:pt x="1206" y="55"/>
                  </a:lnTo>
                  <a:lnTo>
                    <a:pt x="1202" y="49"/>
                  </a:lnTo>
                  <a:lnTo>
                    <a:pt x="1191" y="51"/>
                  </a:lnTo>
                  <a:lnTo>
                    <a:pt x="1189" y="53"/>
                  </a:lnTo>
                  <a:lnTo>
                    <a:pt x="1185" y="49"/>
                  </a:lnTo>
                  <a:lnTo>
                    <a:pt x="1181" y="49"/>
                  </a:lnTo>
                  <a:lnTo>
                    <a:pt x="1171" y="43"/>
                  </a:lnTo>
                  <a:lnTo>
                    <a:pt x="1160" y="43"/>
                  </a:lnTo>
                  <a:lnTo>
                    <a:pt x="1157" y="40"/>
                  </a:lnTo>
                  <a:lnTo>
                    <a:pt x="1151" y="43"/>
                  </a:lnTo>
                  <a:lnTo>
                    <a:pt x="1146" y="48"/>
                  </a:lnTo>
                  <a:lnTo>
                    <a:pt x="1137" y="48"/>
                  </a:lnTo>
                  <a:lnTo>
                    <a:pt x="1131" y="51"/>
                  </a:lnTo>
                  <a:lnTo>
                    <a:pt x="1126" y="46"/>
                  </a:lnTo>
                  <a:lnTo>
                    <a:pt x="1125" y="46"/>
                  </a:lnTo>
                  <a:lnTo>
                    <a:pt x="1125" y="42"/>
                  </a:lnTo>
                  <a:lnTo>
                    <a:pt x="1122" y="40"/>
                  </a:lnTo>
                  <a:lnTo>
                    <a:pt x="1116" y="43"/>
                  </a:lnTo>
                  <a:lnTo>
                    <a:pt x="1116" y="40"/>
                  </a:lnTo>
                  <a:lnTo>
                    <a:pt x="1108" y="34"/>
                  </a:lnTo>
                  <a:lnTo>
                    <a:pt x="1107" y="31"/>
                  </a:lnTo>
                  <a:lnTo>
                    <a:pt x="1105" y="31"/>
                  </a:lnTo>
                  <a:lnTo>
                    <a:pt x="1105" y="26"/>
                  </a:lnTo>
                  <a:lnTo>
                    <a:pt x="1107" y="26"/>
                  </a:lnTo>
                  <a:lnTo>
                    <a:pt x="1102" y="21"/>
                  </a:lnTo>
                  <a:lnTo>
                    <a:pt x="1101" y="24"/>
                  </a:lnTo>
                  <a:lnTo>
                    <a:pt x="1099" y="21"/>
                  </a:lnTo>
                  <a:lnTo>
                    <a:pt x="1099" y="18"/>
                  </a:lnTo>
                  <a:lnTo>
                    <a:pt x="1097" y="16"/>
                  </a:lnTo>
                  <a:lnTo>
                    <a:pt x="1094" y="20"/>
                  </a:lnTo>
                  <a:lnTo>
                    <a:pt x="1088" y="20"/>
                  </a:lnTo>
                  <a:lnTo>
                    <a:pt x="1085" y="16"/>
                  </a:lnTo>
                  <a:lnTo>
                    <a:pt x="1082" y="16"/>
                  </a:lnTo>
                  <a:lnTo>
                    <a:pt x="1080" y="15"/>
                  </a:lnTo>
                  <a:lnTo>
                    <a:pt x="1074" y="12"/>
                  </a:lnTo>
                  <a:lnTo>
                    <a:pt x="1071" y="12"/>
                  </a:lnTo>
                  <a:lnTo>
                    <a:pt x="1073" y="9"/>
                  </a:lnTo>
                  <a:lnTo>
                    <a:pt x="1073" y="4"/>
                  </a:lnTo>
                  <a:lnTo>
                    <a:pt x="1076" y="3"/>
                  </a:lnTo>
                  <a:lnTo>
                    <a:pt x="1076" y="1"/>
                  </a:lnTo>
                  <a:lnTo>
                    <a:pt x="1074" y="0"/>
                  </a:lnTo>
                  <a:lnTo>
                    <a:pt x="1012" y="0"/>
                  </a:lnTo>
                  <a:lnTo>
                    <a:pt x="1010" y="1"/>
                  </a:lnTo>
                  <a:lnTo>
                    <a:pt x="1006" y="3"/>
                  </a:lnTo>
                  <a:lnTo>
                    <a:pt x="1004" y="0"/>
                  </a:lnTo>
                  <a:lnTo>
                    <a:pt x="1003" y="0"/>
                  </a:lnTo>
                  <a:lnTo>
                    <a:pt x="1001" y="1"/>
                  </a:lnTo>
                  <a:lnTo>
                    <a:pt x="998" y="3"/>
                  </a:lnTo>
                  <a:lnTo>
                    <a:pt x="998" y="4"/>
                  </a:lnTo>
                  <a:lnTo>
                    <a:pt x="989" y="4"/>
                  </a:lnTo>
                  <a:lnTo>
                    <a:pt x="987" y="9"/>
                  </a:lnTo>
                  <a:lnTo>
                    <a:pt x="987" y="12"/>
                  </a:lnTo>
                  <a:lnTo>
                    <a:pt x="987" y="16"/>
                  </a:lnTo>
                  <a:lnTo>
                    <a:pt x="984" y="29"/>
                  </a:lnTo>
                  <a:lnTo>
                    <a:pt x="979" y="37"/>
                  </a:lnTo>
                  <a:lnTo>
                    <a:pt x="979" y="40"/>
                  </a:lnTo>
                  <a:lnTo>
                    <a:pt x="985" y="43"/>
                  </a:lnTo>
                  <a:lnTo>
                    <a:pt x="984" y="48"/>
                  </a:lnTo>
                  <a:lnTo>
                    <a:pt x="978" y="48"/>
                  </a:lnTo>
                  <a:lnTo>
                    <a:pt x="978" y="51"/>
                  </a:lnTo>
                  <a:lnTo>
                    <a:pt x="981" y="55"/>
                  </a:lnTo>
                  <a:lnTo>
                    <a:pt x="981" y="60"/>
                  </a:lnTo>
                  <a:lnTo>
                    <a:pt x="979" y="62"/>
                  </a:lnTo>
                  <a:lnTo>
                    <a:pt x="978" y="60"/>
                  </a:lnTo>
                  <a:lnTo>
                    <a:pt x="973" y="62"/>
                  </a:lnTo>
                  <a:lnTo>
                    <a:pt x="972" y="60"/>
                  </a:lnTo>
                  <a:lnTo>
                    <a:pt x="973" y="57"/>
                  </a:lnTo>
                  <a:lnTo>
                    <a:pt x="975" y="57"/>
                  </a:lnTo>
                  <a:lnTo>
                    <a:pt x="975" y="53"/>
                  </a:lnTo>
                  <a:lnTo>
                    <a:pt x="972" y="51"/>
                  </a:lnTo>
                  <a:lnTo>
                    <a:pt x="964" y="62"/>
                  </a:lnTo>
                  <a:lnTo>
                    <a:pt x="961" y="74"/>
                  </a:lnTo>
                  <a:lnTo>
                    <a:pt x="966" y="85"/>
                  </a:lnTo>
                  <a:lnTo>
                    <a:pt x="966" y="99"/>
                  </a:lnTo>
                  <a:lnTo>
                    <a:pt x="964" y="85"/>
                  </a:lnTo>
                  <a:lnTo>
                    <a:pt x="961" y="77"/>
                  </a:lnTo>
                  <a:lnTo>
                    <a:pt x="958" y="74"/>
                  </a:lnTo>
                  <a:lnTo>
                    <a:pt x="961" y="71"/>
                  </a:lnTo>
                  <a:lnTo>
                    <a:pt x="961" y="68"/>
                  </a:lnTo>
                  <a:lnTo>
                    <a:pt x="956" y="65"/>
                  </a:lnTo>
                  <a:lnTo>
                    <a:pt x="958" y="59"/>
                  </a:lnTo>
                  <a:lnTo>
                    <a:pt x="958" y="49"/>
                  </a:lnTo>
                  <a:lnTo>
                    <a:pt x="955" y="43"/>
                  </a:lnTo>
                  <a:lnTo>
                    <a:pt x="955" y="37"/>
                  </a:lnTo>
                  <a:lnTo>
                    <a:pt x="958" y="31"/>
                  </a:lnTo>
                  <a:lnTo>
                    <a:pt x="961" y="24"/>
                  </a:lnTo>
                  <a:lnTo>
                    <a:pt x="961" y="16"/>
                  </a:lnTo>
                  <a:lnTo>
                    <a:pt x="960" y="16"/>
                  </a:lnTo>
                  <a:lnTo>
                    <a:pt x="958" y="20"/>
                  </a:lnTo>
                  <a:lnTo>
                    <a:pt x="958" y="26"/>
                  </a:lnTo>
                  <a:lnTo>
                    <a:pt x="955" y="29"/>
                  </a:lnTo>
                  <a:lnTo>
                    <a:pt x="952" y="26"/>
                  </a:lnTo>
                  <a:lnTo>
                    <a:pt x="950" y="24"/>
                  </a:lnTo>
                  <a:lnTo>
                    <a:pt x="955" y="15"/>
                  </a:lnTo>
                  <a:lnTo>
                    <a:pt x="956" y="10"/>
                  </a:lnTo>
                  <a:lnTo>
                    <a:pt x="952" y="9"/>
                  </a:lnTo>
                  <a:lnTo>
                    <a:pt x="949" y="10"/>
                  </a:lnTo>
                  <a:lnTo>
                    <a:pt x="946" y="10"/>
                  </a:lnTo>
                  <a:lnTo>
                    <a:pt x="945" y="7"/>
                  </a:lnTo>
                  <a:lnTo>
                    <a:pt x="946" y="3"/>
                  </a:lnTo>
                  <a:lnTo>
                    <a:pt x="946" y="0"/>
                  </a:lnTo>
                  <a:lnTo>
                    <a:pt x="899" y="0"/>
                  </a:lnTo>
                  <a:lnTo>
                    <a:pt x="894" y="3"/>
                  </a:lnTo>
                  <a:lnTo>
                    <a:pt x="894" y="0"/>
                  </a:lnTo>
                  <a:lnTo>
                    <a:pt x="151" y="0"/>
                  </a:lnTo>
                  <a:lnTo>
                    <a:pt x="0" y="242"/>
                  </a:lnTo>
                  <a:lnTo>
                    <a:pt x="17" y="242"/>
                  </a:lnTo>
                  <a:lnTo>
                    <a:pt x="23" y="245"/>
                  </a:lnTo>
                  <a:lnTo>
                    <a:pt x="34" y="239"/>
                  </a:lnTo>
                  <a:lnTo>
                    <a:pt x="48" y="242"/>
                  </a:lnTo>
                  <a:lnTo>
                    <a:pt x="42" y="251"/>
                  </a:lnTo>
                  <a:lnTo>
                    <a:pt x="45" y="259"/>
                  </a:lnTo>
                  <a:lnTo>
                    <a:pt x="50" y="272"/>
                  </a:lnTo>
                  <a:lnTo>
                    <a:pt x="57" y="299"/>
                  </a:lnTo>
                  <a:lnTo>
                    <a:pt x="60" y="304"/>
                  </a:lnTo>
                  <a:lnTo>
                    <a:pt x="56" y="312"/>
                  </a:lnTo>
                  <a:lnTo>
                    <a:pt x="56" y="315"/>
                  </a:lnTo>
                  <a:lnTo>
                    <a:pt x="57" y="314"/>
                  </a:lnTo>
                  <a:lnTo>
                    <a:pt x="67" y="314"/>
                  </a:lnTo>
                  <a:lnTo>
                    <a:pt x="76" y="312"/>
                  </a:lnTo>
                  <a:lnTo>
                    <a:pt x="85" y="308"/>
                  </a:lnTo>
                  <a:lnTo>
                    <a:pt x="91" y="299"/>
                  </a:lnTo>
                  <a:lnTo>
                    <a:pt x="97" y="293"/>
                  </a:lnTo>
                  <a:lnTo>
                    <a:pt x="107" y="290"/>
                  </a:lnTo>
                  <a:lnTo>
                    <a:pt x="109" y="290"/>
                  </a:lnTo>
                  <a:lnTo>
                    <a:pt x="118" y="286"/>
                  </a:lnTo>
                  <a:lnTo>
                    <a:pt x="128" y="286"/>
                  </a:lnTo>
                  <a:lnTo>
                    <a:pt x="134" y="290"/>
                  </a:lnTo>
                  <a:lnTo>
                    <a:pt x="134" y="295"/>
                  </a:lnTo>
                  <a:lnTo>
                    <a:pt x="135" y="299"/>
                  </a:lnTo>
                  <a:lnTo>
                    <a:pt x="131" y="304"/>
                  </a:lnTo>
                  <a:lnTo>
                    <a:pt x="130" y="308"/>
                  </a:lnTo>
                  <a:lnTo>
                    <a:pt x="135" y="323"/>
                  </a:lnTo>
                  <a:lnTo>
                    <a:pt x="134" y="326"/>
                  </a:lnTo>
                  <a:lnTo>
                    <a:pt x="135" y="336"/>
                  </a:lnTo>
                  <a:lnTo>
                    <a:pt x="141" y="342"/>
                  </a:lnTo>
                  <a:lnTo>
                    <a:pt x="143" y="351"/>
                  </a:lnTo>
                  <a:lnTo>
                    <a:pt x="145" y="354"/>
                  </a:lnTo>
                  <a:lnTo>
                    <a:pt x="146" y="358"/>
                  </a:lnTo>
                  <a:lnTo>
                    <a:pt x="143" y="364"/>
                  </a:lnTo>
                  <a:lnTo>
                    <a:pt x="145" y="367"/>
                  </a:lnTo>
                  <a:lnTo>
                    <a:pt x="146" y="371"/>
                  </a:lnTo>
                  <a:lnTo>
                    <a:pt x="145" y="387"/>
                  </a:lnTo>
                  <a:lnTo>
                    <a:pt x="143" y="402"/>
                  </a:lnTo>
                  <a:lnTo>
                    <a:pt x="145" y="421"/>
                  </a:lnTo>
                  <a:lnTo>
                    <a:pt x="141" y="423"/>
                  </a:lnTo>
                  <a:lnTo>
                    <a:pt x="141" y="427"/>
                  </a:lnTo>
                  <a:lnTo>
                    <a:pt x="143" y="427"/>
                  </a:lnTo>
                  <a:lnTo>
                    <a:pt x="146" y="428"/>
                  </a:lnTo>
                  <a:lnTo>
                    <a:pt x="146" y="430"/>
                  </a:lnTo>
                  <a:lnTo>
                    <a:pt x="145" y="432"/>
                  </a:lnTo>
                  <a:lnTo>
                    <a:pt x="143" y="434"/>
                  </a:lnTo>
                  <a:lnTo>
                    <a:pt x="143" y="436"/>
                  </a:lnTo>
                  <a:lnTo>
                    <a:pt x="145" y="437"/>
                  </a:lnTo>
                  <a:lnTo>
                    <a:pt x="146" y="441"/>
                  </a:lnTo>
                  <a:lnTo>
                    <a:pt x="145" y="445"/>
                  </a:lnTo>
                  <a:lnTo>
                    <a:pt x="145" y="446"/>
                  </a:lnTo>
                  <a:lnTo>
                    <a:pt x="149" y="446"/>
                  </a:lnTo>
                  <a:lnTo>
                    <a:pt x="152" y="446"/>
                  </a:lnTo>
                  <a:lnTo>
                    <a:pt x="158" y="454"/>
                  </a:lnTo>
                  <a:lnTo>
                    <a:pt x="160" y="457"/>
                  </a:lnTo>
                  <a:lnTo>
                    <a:pt x="164" y="460"/>
                  </a:lnTo>
                  <a:lnTo>
                    <a:pt x="170" y="463"/>
                  </a:lnTo>
                  <a:lnTo>
                    <a:pt x="172" y="468"/>
                  </a:lnTo>
                  <a:lnTo>
                    <a:pt x="172" y="473"/>
                  </a:lnTo>
                  <a:lnTo>
                    <a:pt x="175" y="475"/>
                  </a:lnTo>
                  <a:lnTo>
                    <a:pt x="177" y="476"/>
                  </a:lnTo>
                  <a:lnTo>
                    <a:pt x="175" y="479"/>
                  </a:lnTo>
                  <a:lnTo>
                    <a:pt x="175" y="480"/>
                  </a:lnTo>
                  <a:lnTo>
                    <a:pt x="174" y="482"/>
                  </a:lnTo>
                  <a:lnTo>
                    <a:pt x="174" y="485"/>
                  </a:lnTo>
                  <a:lnTo>
                    <a:pt x="174" y="488"/>
                  </a:lnTo>
                  <a:lnTo>
                    <a:pt x="175" y="488"/>
                  </a:lnTo>
                  <a:lnTo>
                    <a:pt x="172" y="493"/>
                  </a:lnTo>
                  <a:lnTo>
                    <a:pt x="166" y="504"/>
                  </a:lnTo>
                  <a:lnTo>
                    <a:pt x="164" y="511"/>
                  </a:lnTo>
                  <a:lnTo>
                    <a:pt x="158" y="519"/>
                  </a:lnTo>
                  <a:lnTo>
                    <a:pt x="158" y="522"/>
                  </a:lnTo>
                  <a:lnTo>
                    <a:pt x="160" y="522"/>
                  </a:lnTo>
                  <a:lnTo>
                    <a:pt x="168" y="513"/>
                  </a:lnTo>
                  <a:lnTo>
                    <a:pt x="170" y="508"/>
                  </a:lnTo>
                  <a:lnTo>
                    <a:pt x="177" y="504"/>
                  </a:lnTo>
                  <a:lnTo>
                    <a:pt x="177" y="507"/>
                  </a:lnTo>
                  <a:lnTo>
                    <a:pt x="181" y="507"/>
                  </a:lnTo>
                  <a:lnTo>
                    <a:pt x="181" y="508"/>
                  </a:lnTo>
                  <a:lnTo>
                    <a:pt x="174" y="513"/>
                  </a:lnTo>
                  <a:lnTo>
                    <a:pt x="170" y="516"/>
                  </a:lnTo>
                  <a:lnTo>
                    <a:pt x="162" y="525"/>
                  </a:lnTo>
                  <a:lnTo>
                    <a:pt x="162" y="527"/>
                  </a:lnTo>
                  <a:lnTo>
                    <a:pt x="166" y="527"/>
                  </a:lnTo>
                  <a:lnTo>
                    <a:pt x="164" y="528"/>
                  </a:lnTo>
                  <a:lnTo>
                    <a:pt x="158" y="528"/>
                  </a:lnTo>
                  <a:lnTo>
                    <a:pt x="152" y="528"/>
                  </a:lnTo>
                  <a:lnTo>
                    <a:pt x="151" y="536"/>
                  </a:lnTo>
                  <a:lnTo>
                    <a:pt x="145" y="539"/>
                  </a:lnTo>
                  <a:lnTo>
                    <a:pt x="146" y="545"/>
                  </a:lnTo>
                  <a:lnTo>
                    <a:pt x="143" y="543"/>
                  </a:lnTo>
                  <a:lnTo>
                    <a:pt x="141" y="541"/>
                  </a:lnTo>
                  <a:lnTo>
                    <a:pt x="137" y="543"/>
                  </a:lnTo>
                  <a:lnTo>
                    <a:pt x="137" y="550"/>
                  </a:lnTo>
                  <a:lnTo>
                    <a:pt x="141" y="550"/>
                  </a:lnTo>
                  <a:lnTo>
                    <a:pt x="143" y="555"/>
                  </a:lnTo>
                  <a:lnTo>
                    <a:pt x="141" y="561"/>
                  </a:lnTo>
                  <a:lnTo>
                    <a:pt x="140" y="574"/>
                  </a:lnTo>
                  <a:lnTo>
                    <a:pt x="141" y="582"/>
                  </a:lnTo>
                  <a:lnTo>
                    <a:pt x="145" y="589"/>
                  </a:lnTo>
                  <a:lnTo>
                    <a:pt x="149" y="589"/>
                  </a:lnTo>
                  <a:lnTo>
                    <a:pt x="149" y="586"/>
                  </a:lnTo>
                  <a:lnTo>
                    <a:pt x="155" y="582"/>
                  </a:lnTo>
                  <a:lnTo>
                    <a:pt x="162" y="580"/>
                  </a:lnTo>
                  <a:lnTo>
                    <a:pt x="168" y="577"/>
                  </a:lnTo>
                  <a:lnTo>
                    <a:pt x="172" y="571"/>
                  </a:lnTo>
                  <a:lnTo>
                    <a:pt x="174" y="571"/>
                  </a:lnTo>
                  <a:lnTo>
                    <a:pt x="175" y="577"/>
                  </a:lnTo>
                  <a:lnTo>
                    <a:pt x="172" y="580"/>
                  </a:lnTo>
                  <a:lnTo>
                    <a:pt x="170" y="582"/>
                  </a:lnTo>
                  <a:lnTo>
                    <a:pt x="166" y="586"/>
                  </a:lnTo>
                  <a:lnTo>
                    <a:pt x="166" y="588"/>
                  </a:lnTo>
                  <a:lnTo>
                    <a:pt x="170" y="591"/>
                  </a:lnTo>
                  <a:lnTo>
                    <a:pt x="174" y="595"/>
                  </a:lnTo>
                  <a:lnTo>
                    <a:pt x="180" y="595"/>
                  </a:lnTo>
                  <a:lnTo>
                    <a:pt x="183" y="597"/>
                  </a:lnTo>
                  <a:lnTo>
                    <a:pt x="186" y="599"/>
                  </a:lnTo>
                  <a:lnTo>
                    <a:pt x="180" y="597"/>
                  </a:lnTo>
                  <a:lnTo>
                    <a:pt x="174" y="597"/>
                  </a:lnTo>
                  <a:lnTo>
                    <a:pt x="168" y="595"/>
                  </a:lnTo>
                  <a:lnTo>
                    <a:pt x="160" y="594"/>
                  </a:lnTo>
                  <a:lnTo>
                    <a:pt x="158" y="597"/>
                  </a:lnTo>
                  <a:lnTo>
                    <a:pt x="160" y="600"/>
                  </a:lnTo>
                  <a:lnTo>
                    <a:pt x="162" y="605"/>
                  </a:lnTo>
                  <a:lnTo>
                    <a:pt x="162" y="616"/>
                  </a:lnTo>
                  <a:lnTo>
                    <a:pt x="164" y="619"/>
                  </a:lnTo>
                  <a:lnTo>
                    <a:pt x="168" y="619"/>
                  </a:lnTo>
                  <a:lnTo>
                    <a:pt x="172" y="617"/>
                  </a:lnTo>
                  <a:lnTo>
                    <a:pt x="174" y="619"/>
                  </a:lnTo>
                  <a:lnTo>
                    <a:pt x="172" y="620"/>
                  </a:lnTo>
                  <a:lnTo>
                    <a:pt x="170" y="622"/>
                  </a:lnTo>
                  <a:lnTo>
                    <a:pt x="174" y="625"/>
                  </a:lnTo>
                  <a:lnTo>
                    <a:pt x="174" y="626"/>
                  </a:lnTo>
                  <a:lnTo>
                    <a:pt x="172" y="628"/>
                  </a:lnTo>
                  <a:lnTo>
                    <a:pt x="168" y="628"/>
                  </a:lnTo>
                  <a:lnTo>
                    <a:pt x="162" y="630"/>
                  </a:lnTo>
                  <a:lnTo>
                    <a:pt x="157" y="634"/>
                  </a:lnTo>
                  <a:lnTo>
                    <a:pt x="155" y="636"/>
                  </a:lnTo>
                  <a:lnTo>
                    <a:pt x="157" y="639"/>
                  </a:lnTo>
                  <a:lnTo>
                    <a:pt x="164" y="636"/>
                  </a:lnTo>
                  <a:lnTo>
                    <a:pt x="170" y="637"/>
                  </a:lnTo>
                  <a:lnTo>
                    <a:pt x="164" y="637"/>
                  </a:lnTo>
                  <a:lnTo>
                    <a:pt x="164" y="641"/>
                  </a:lnTo>
                  <a:lnTo>
                    <a:pt x="168" y="645"/>
                  </a:lnTo>
                  <a:lnTo>
                    <a:pt x="175" y="643"/>
                  </a:lnTo>
                  <a:lnTo>
                    <a:pt x="183" y="637"/>
                  </a:lnTo>
                  <a:lnTo>
                    <a:pt x="189" y="631"/>
                  </a:lnTo>
                  <a:lnTo>
                    <a:pt x="195" y="630"/>
                  </a:lnTo>
                  <a:lnTo>
                    <a:pt x="198" y="626"/>
                  </a:lnTo>
                  <a:lnTo>
                    <a:pt x="201" y="622"/>
                  </a:lnTo>
                  <a:lnTo>
                    <a:pt x="202" y="622"/>
                  </a:lnTo>
                  <a:lnTo>
                    <a:pt x="202" y="625"/>
                  </a:lnTo>
                  <a:lnTo>
                    <a:pt x="198" y="631"/>
                  </a:lnTo>
                  <a:lnTo>
                    <a:pt x="192" y="636"/>
                  </a:lnTo>
                  <a:lnTo>
                    <a:pt x="186" y="637"/>
                  </a:lnTo>
                  <a:lnTo>
                    <a:pt x="186" y="639"/>
                  </a:lnTo>
                  <a:lnTo>
                    <a:pt x="189" y="643"/>
                  </a:lnTo>
                  <a:lnTo>
                    <a:pt x="192" y="641"/>
                  </a:lnTo>
                  <a:lnTo>
                    <a:pt x="198" y="641"/>
                  </a:lnTo>
                  <a:lnTo>
                    <a:pt x="204" y="643"/>
                  </a:lnTo>
                  <a:lnTo>
                    <a:pt x="198" y="643"/>
                  </a:lnTo>
                  <a:lnTo>
                    <a:pt x="192" y="645"/>
                  </a:lnTo>
                  <a:lnTo>
                    <a:pt x="192" y="653"/>
                  </a:lnTo>
                  <a:lnTo>
                    <a:pt x="195" y="658"/>
                  </a:lnTo>
                  <a:lnTo>
                    <a:pt x="192" y="659"/>
                  </a:lnTo>
                  <a:lnTo>
                    <a:pt x="189" y="656"/>
                  </a:lnTo>
                  <a:lnTo>
                    <a:pt x="189" y="648"/>
                  </a:lnTo>
                  <a:lnTo>
                    <a:pt x="186" y="647"/>
                  </a:lnTo>
                  <a:lnTo>
                    <a:pt x="183" y="648"/>
                  </a:lnTo>
                  <a:lnTo>
                    <a:pt x="170" y="656"/>
                  </a:lnTo>
                  <a:lnTo>
                    <a:pt x="168" y="659"/>
                  </a:lnTo>
                  <a:lnTo>
                    <a:pt x="160" y="661"/>
                  </a:lnTo>
                  <a:lnTo>
                    <a:pt x="158" y="667"/>
                  </a:lnTo>
                  <a:lnTo>
                    <a:pt x="158" y="670"/>
                  </a:lnTo>
                  <a:lnTo>
                    <a:pt x="158" y="673"/>
                  </a:lnTo>
                  <a:lnTo>
                    <a:pt x="160" y="675"/>
                  </a:lnTo>
                  <a:lnTo>
                    <a:pt x="164" y="673"/>
                  </a:lnTo>
                  <a:lnTo>
                    <a:pt x="170" y="670"/>
                  </a:lnTo>
                  <a:lnTo>
                    <a:pt x="172" y="667"/>
                  </a:lnTo>
                  <a:lnTo>
                    <a:pt x="175" y="667"/>
                  </a:lnTo>
                  <a:lnTo>
                    <a:pt x="177" y="670"/>
                  </a:lnTo>
                  <a:lnTo>
                    <a:pt x="186" y="670"/>
                  </a:lnTo>
                  <a:lnTo>
                    <a:pt x="186" y="673"/>
                  </a:lnTo>
                  <a:lnTo>
                    <a:pt x="180" y="670"/>
                  </a:lnTo>
                  <a:lnTo>
                    <a:pt x="172" y="670"/>
                  </a:lnTo>
                  <a:lnTo>
                    <a:pt x="170" y="675"/>
                  </a:lnTo>
                  <a:lnTo>
                    <a:pt x="170" y="676"/>
                  </a:lnTo>
                  <a:lnTo>
                    <a:pt x="170" y="678"/>
                  </a:lnTo>
                  <a:lnTo>
                    <a:pt x="166" y="680"/>
                  </a:lnTo>
                  <a:lnTo>
                    <a:pt x="164" y="678"/>
                  </a:lnTo>
                  <a:lnTo>
                    <a:pt x="157" y="680"/>
                  </a:lnTo>
                  <a:lnTo>
                    <a:pt x="155" y="681"/>
                  </a:lnTo>
                  <a:lnTo>
                    <a:pt x="162" y="681"/>
                  </a:lnTo>
                  <a:lnTo>
                    <a:pt x="166" y="684"/>
                  </a:lnTo>
                  <a:lnTo>
                    <a:pt x="172" y="684"/>
                  </a:lnTo>
                  <a:lnTo>
                    <a:pt x="168" y="686"/>
                  </a:lnTo>
                  <a:lnTo>
                    <a:pt x="162" y="686"/>
                  </a:lnTo>
                  <a:lnTo>
                    <a:pt x="160" y="684"/>
                  </a:lnTo>
                  <a:lnTo>
                    <a:pt x="155" y="686"/>
                  </a:lnTo>
                  <a:lnTo>
                    <a:pt x="152" y="689"/>
                  </a:lnTo>
                  <a:lnTo>
                    <a:pt x="157" y="692"/>
                  </a:lnTo>
                  <a:lnTo>
                    <a:pt x="160" y="692"/>
                  </a:lnTo>
                  <a:lnTo>
                    <a:pt x="166" y="689"/>
                  </a:lnTo>
                  <a:lnTo>
                    <a:pt x="170" y="692"/>
                  </a:lnTo>
                  <a:lnTo>
                    <a:pt x="175" y="692"/>
                  </a:lnTo>
                  <a:lnTo>
                    <a:pt x="175" y="693"/>
                  </a:lnTo>
                  <a:lnTo>
                    <a:pt x="170" y="695"/>
                  </a:lnTo>
                  <a:lnTo>
                    <a:pt x="166" y="693"/>
                  </a:lnTo>
                  <a:lnTo>
                    <a:pt x="164" y="695"/>
                  </a:lnTo>
                  <a:lnTo>
                    <a:pt x="166" y="697"/>
                  </a:lnTo>
                  <a:lnTo>
                    <a:pt x="174" y="697"/>
                  </a:lnTo>
                  <a:lnTo>
                    <a:pt x="175" y="697"/>
                  </a:lnTo>
                  <a:lnTo>
                    <a:pt x="175" y="698"/>
                  </a:lnTo>
                  <a:lnTo>
                    <a:pt x="170" y="701"/>
                  </a:lnTo>
                  <a:lnTo>
                    <a:pt x="164" y="698"/>
                  </a:lnTo>
                  <a:lnTo>
                    <a:pt x="160" y="697"/>
                  </a:lnTo>
                  <a:lnTo>
                    <a:pt x="158" y="698"/>
                  </a:lnTo>
                  <a:lnTo>
                    <a:pt x="160" y="702"/>
                  </a:lnTo>
                  <a:lnTo>
                    <a:pt x="166" y="706"/>
                  </a:lnTo>
                  <a:lnTo>
                    <a:pt x="168" y="702"/>
                  </a:lnTo>
                  <a:lnTo>
                    <a:pt x="172" y="702"/>
                  </a:lnTo>
                  <a:lnTo>
                    <a:pt x="175" y="704"/>
                  </a:lnTo>
                  <a:lnTo>
                    <a:pt x="183" y="702"/>
                  </a:lnTo>
                  <a:lnTo>
                    <a:pt x="186" y="704"/>
                  </a:lnTo>
                  <a:lnTo>
                    <a:pt x="181" y="706"/>
                  </a:lnTo>
                  <a:lnTo>
                    <a:pt x="181" y="708"/>
                  </a:lnTo>
                  <a:lnTo>
                    <a:pt x="186" y="708"/>
                  </a:lnTo>
                  <a:lnTo>
                    <a:pt x="186" y="711"/>
                  </a:lnTo>
                  <a:lnTo>
                    <a:pt x="195" y="714"/>
                  </a:lnTo>
                  <a:lnTo>
                    <a:pt x="198" y="711"/>
                  </a:lnTo>
                  <a:lnTo>
                    <a:pt x="202" y="708"/>
                  </a:lnTo>
                  <a:lnTo>
                    <a:pt x="206" y="704"/>
                  </a:lnTo>
                  <a:lnTo>
                    <a:pt x="208" y="701"/>
                  </a:lnTo>
                  <a:lnTo>
                    <a:pt x="208" y="706"/>
                  </a:lnTo>
                  <a:lnTo>
                    <a:pt x="204" y="710"/>
                  </a:lnTo>
                  <a:lnTo>
                    <a:pt x="198" y="715"/>
                  </a:lnTo>
                  <a:lnTo>
                    <a:pt x="191" y="715"/>
                  </a:lnTo>
                  <a:lnTo>
                    <a:pt x="186" y="717"/>
                  </a:lnTo>
                  <a:lnTo>
                    <a:pt x="183" y="720"/>
                  </a:lnTo>
                  <a:lnTo>
                    <a:pt x="186" y="723"/>
                  </a:lnTo>
                  <a:lnTo>
                    <a:pt x="189" y="720"/>
                  </a:lnTo>
                  <a:lnTo>
                    <a:pt x="192" y="720"/>
                  </a:lnTo>
                  <a:lnTo>
                    <a:pt x="195" y="723"/>
                  </a:lnTo>
                  <a:lnTo>
                    <a:pt x="197" y="723"/>
                  </a:lnTo>
                  <a:lnTo>
                    <a:pt x="198" y="720"/>
                  </a:lnTo>
                  <a:lnTo>
                    <a:pt x="202" y="717"/>
                  </a:lnTo>
                  <a:lnTo>
                    <a:pt x="202" y="720"/>
                  </a:lnTo>
                  <a:lnTo>
                    <a:pt x="201" y="723"/>
                  </a:lnTo>
                  <a:lnTo>
                    <a:pt x="201" y="725"/>
                  </a:lnTo>
                  <a:lnTo>
                    <a:pt x="204" y="726"/>
                  </a:lnTo>
                  <a:lnTo>
                    <a:pt x="206" y="728"/>
                  </a:lnTo>
                  <a:lnTo>
                    <a:pt x="210" y="726"/>
                  </a:lnTo>
                  <a:lnTo>
                    <a:pt x="215" y="719"/>
                  </a:lnTo>
                  <a:lnTo>
                    <a:pt x="217" y="711"/>
                  </a:lnTo>
                  <a:lnTo>
                    <a:pt x="220" y="708"/>
                  </a:lnTo>
                  <a:lnTo>
                    <a:pt x="223" y="706"/>
                  </a:lnTo>
                  <a:lnTo>
                    <a:pt x="223" y="710"/>
                  </a:lnTo>
                  <a:lnTo>
                    <a:pt x="221" y="711"/>
                  </a:lnTo>
                  <a:lnTo>
                    <a:pt x="221" y="719"/>
                  </a:lnTo>
                  <a:lnTo>
                    <a:pt x="215" y="725"/>
                  </a:lnTo>
                  <a:lnTo>
                    <a:pt x="212" y="728"/>
                  </a:lnTo>
                  <a:lnTo>
                    <a:pt x="214" y="729"/>
                  </a:lnTo>
                  <a:lnTo>
                    <a:pt x="220" y="729"/>
                  </a:lnTo>
                  <a:lnTo>
                    <a:pt x="225" y="729"/>
                  </a:lnTo>
                  <a:lnTo>
                    <a:pt x="221" y="734"/>
                  </a:lnTo>
                  <a:lnTo>
                    <a:pt x="220" y="739"/>
                  </a:lnTo>
                  <a:lnTo>
                    <a:pt x="212" y="742"/>
                  </a:lnTo>
                  <a:lnTo>
                    <a:pt x="212" y="746"/>
                  </a:lnTo>
                  <a:lnTo>
                    <a:pt x="215" y="751"/>
                  </a:lnTo>
                  <a:lnTo>
                    <a:pt x="221" y="754"/>
                  </a:lnTo>
                  <a:lnTo>
                    <a:pt x="225" y="751"/>
                  </a:lnTo>
                  <a:lnTo>
                    <a:pt x="229" y="751"/>
                  </a:lnTo>
                  <a:lnTo>
                    <a:pt x="230" y="757"/>
                  </a:lnTo>
                  <a:lnTo>
                    <a:pt x="232" y="762"/>
                  </a:lnTo>
                  <a:lnTo>
                    <a:pt x="232" y="763"/>
                  </a:lnTo>
                  <a:lnTo>
                    <a:pt x="230" y="763"/>
                  </a:lnTo>
                  <a:lnTo>
                    <a:pt x="229" y="759"/>
                  </a:lnTo>
                  <a:lnTo>
                    <a:pt x="225" y="757"/>
                  </a:lnTo>
                  <a:lnTo>
                    <a:pt x="225" y="763"/>
                  </a:lnTo>
                  <a:lnTo>
                    <a:pt x="230" y="771"/>
                  </a:lnTo>
                  <a:lnTo>
                    <a:pt x="236" y="767"/>
                  </a:lnTo>
                  <a:lnTo>
                    <a:pt x="244" y="765"/>
                  </a:lnTo>
                  <a:lnTo>
                    <a:pt x="246" y="762"/>
                  </a:lnTo>
                  <a:lnTo>
                    <a:pt x="246" y="767"/>
                  </a:lnTo>
                  <a:lnTo>
                    <a:pt x="241" y="778"/>
                  </a:lnTo>
                  <a:lnTo>
                    <a:pt x="242" y="785"/>
                  </a:lnTo>
                  <a:lnTo>
                    <a:pt x="246" y="787"/>
                  </a:lnTo>
                  <a:lnTo>
                    <a:pt x="967" y="850"/>
                  </a:lnTo>
                  <a:lnTo>
                    <a:pt x="973" y="850"/>
                  </a:lnTo>
                  <a:lnTo>
                    <a:pt x="979" y="850"/>
                  </a:lnTo>
                  <a:lnTo>
                    <a:pt x="985" y="855"/>
                  </a:lnTo>
                  <a:lnTo>
                    <a:pt x="985" y="857"/>
                  </a:lnTo>
                  <a:lnTo>
                    <a:pt x="989" y="860"/>
                  </a:lnTo>
                  <a:lnTo>
                    <a:pt x="990" y="861"/>
                  </a:lnTo>
                  <a:lnTo>
                    <a:pt x="996" y="863"/>
                  </a:lnTo>
                  <a:lnTo>
                    <a:pt x="1001" y="865"/>
                  </a:lnTo>
                  <a:lnTo>
                    <a:pt x="1006" y="869"/>
                  </a:lnTo>
                  <a:lnTo>
                    <a:pt x="1007" y="869"/>
                  </a:lnTo>
                  <a:lnTo>
                    <a:pt x="1013" y="866"/>
                  </a:lnTo>
                  <a:lnTo>
                    <a:pt x="1018" y="869"/>
                  </a:lnTo>
                  <a:lnTo>
                    <a:pt x="1022" y="866"/>
                  </a:lnTo>
                  <a:lnTo>
                    <a:pt x="1028" y="872"/>
                  </a:lnTo>
                  <a:lnTo>
                    <a:pt x="1033" y="872"/>
                  </a:lnTo>
                  <a:lnTo>
                    <a:pt x="1034" y="878"/>
                  </a:lnTo>
                  <a:lnTo>
                    <a:pt x="1044" y="879"/>
                  </a:lnTo>
                  <a:lnTo>
                    <a:pt x="1050" y="882"/>
                  </a:lnTo>
                  <a:lnTo>
                    <a:pt x="1053" y="885"/>
                  </a:lnTo>
                  <a:lnTo>
                    <a:pt x="1057" y="887"/>
                  </a:lnTo>
                  <a:lnTo>
                    <a:pt x="1067" y="887"/>
                  </a:lnTo>
                  <a:lnTo>
                    <a:pt x="1073" y="883"/>
                  </a:lnTo>
                  <a:lnTo>
                    <a:pt x="1074" y="887"/>
                  </a:lnTo>
                  <a:lnTo>
                    <a:pt x="1076" y="891"/>
                  </a:lnTo>
                  <a:lnTo>
                    <a:pt x="1090" y="891"/>
                  </a:lnTo>
                  <a:lnTo>
                    <a:pt x="1094" y="893"/>
                  </a:lnTo>
                  <a:lnTo>
                    <a:pt x="1099" y="894"/>
                  </a:lnTo>
                  <a:lnTo>
                    <a:pt x="1102" y="896"/>
                  </a:lnTo>
                  <a:lnTo>
                    <a:pt x="1215" y="943"/>
                  </a:lnTo>
                  <a:lnTo>
                    <a:pt x="1221" y="950"/>
                  </a:lnTo>
                  <a:lnTo>
                    <a:pt x="1238" y="963"/>
                  </a:lnTo>
                  <a:lnTo>
                    <a:pt x="1257" y="1037"/>
                  </a:lnTo>
                  <a:lnTo>
                    <a:pt x="1255" y="1070"/>
                  </a:lnTo>
                  <a:lnTo>
                    <a:pt x="1252" y="1076"/>
                  </a:lnTo>
                  <a:lnTo>
                    <a:pt x="1247" y="1081"/>
                  </a:lnTo>
                  <a:lnTo>
                    <a:pt x="1244" y="1087"/>
                  </a:lnTo>
                  <a:lnTo>
                    <a:pt x="1235" y="1090"/>
                  </a:lnTo>
                  <a:lnTo>
                    <a:pt x="1229" y="1096"/>
                  </a:lnTo>
                  <a:lnTo>
                    <a:pt x="1232" y="1104"/>
                  </a:lnTo>
                  <a:lnTo>
                    <a:pt x="1327" y="1081"/>
                  </a:lnTo>
                  <a:lnTo>
                    <a:pt x="1341" y="1078"/>
                  </a:lnTo>
                  <a:lnTo>
                    <a:pt x="1343" y="1067"/>
                  </a:lnTo>
                  <a:lnTo>
                    <a:pt x="1394" y="1054"/>
                  </a:lnTo>
                  <a:lnTo>
                    <a:pt x="1419" y="1037"/>
                  </a:lnTo>
                  <a:lnTo>
                    <a:pt x="1423" y="1036"/>
                  </a:lnTo>
                  <a:lnTo>
                    <a:pt x="1431" y="1033"/>
                  </a:lnTo>
                  <a:lnTo>
                    <a:pt x="1444" y="1022"/>
                  </a:lnTo>
                  <a:lnTo>
                    <a:pt x="1450" y="1019"/>
                  </a:lnTo>
                  <a:lnTo>
                    <a:pt x="1456" y="1016"/>
                  </a:lnTo>
                  <a:lnTo>
                    <a:pt x="1462" y="1013"/>
                  </a:lnTo>
                  <a:lnTo>
                    <a:pt x="1471" y="1011"/>
                  </a:lnTo>
                  <a:lnTo>
                    <a:pt x="1551" y="1013"/>
                  </a:lnTo>
                  <a:lnTo>
                    <a:pt x="1558" y="1007"/>
                  </a:lnTo>
                  <a:lnTo>
                    <a:pt x="1560" y="1007"/>
                  </a:lnTo>
                  <a:lnTo>
                    <a:pt x="1563" y="1006"/>
                  </a:lnTo>
                  <a:lnTo>
                    <a:pt x="1566" y="1006"/>
                  </a:lnTo>
                  <a:lnTo>
                    <a:pt x="1572" y="1006"/>
                  </a:lnTo>
                  <a:lnTo>
                    <a:pt x="1574" y="1003"/>
                  </a:lnTo>
                  <a:lnTo>
                    <a:pt x="1575" y="1000"/>
                  </a:lnTo>
                  <a:lnTo>
                    <a:pt x="1585" y="992"/>
                  </a:lnTo>
                  <a:lnTo>
                    <a:pt x="1589" y="991"/>
                  </a:lnTo>
                  <a:lnTo>
                    <a:pt x="1594" y="984"/>
                  </a:lnTo>
                  <a:lnTo>
                    <a:pt x="1598" y="978"/>
                  </a:lnTo>
                  <a:lnTo>
                    <a:pt x="1598" y="972"/>
                  </a:lnTo>
                  <a:lnTo>
                    <a:pt x="1606" y="969"/>
                  </a:lnTo>
                  <a:lnTo>
                    <a:pt x="1606" y="964"/>
                  </a:lnTo>
                  <a:lnTo>
                    <a:pt x="1609" y="959"/>
                  </a:lnTo>
                  <a:lnTo>
                    <a:pt x="1619" y="950"/>
                  </a:lnTo>
                  <a:lnTo>
                    <a:pt x="1623" y="946"/>
                  </a:lnTo>
                  <a:lnTo>
                    <a:pt x="1627" y="941"/>
                  </a:lnTo>
                  <a:lnTo>
                    <a:pt x="1629" y="941"/>
                  </a:lnTo>
                  <a:lnTo>
                    <a:pt x="1633" y="943"/>
                  </a:lnTo>
                  <a:lnTo>
                    <a:pt x="1636" y="946"/>
                  </a:lnTo>
                  <a:lnTo>
                    <a:pt x="1642" y="944"/>
                  </a:lnTo>
                  <a:lnTo>
                    <a:pt x="1649" y="946"/>
                  </a:lnTo>
                  <a:lnTo>
                    <a:pt x="1652" y="944"/>
                  </a:lnTo>
                  <a:lnTo>
                    <a:pt x="1663" y="953"/>
                  </a:lnTo>
                  <a:lnTo>
                    <a:pt x="1663" y="961"/>
                  </a:lnTo>
                  <a:lnTo>
                    <a:pt x="1658" y="992"/>
                  </a:lnTo>
                  <a:lnTo>
                    <a:pt x="1655" y="997"/>
                  </a:lnTo>
                  <a:lnTo>
                    <a:pt x="1658" y="997"/>
                  </a:lnTo>
                  <a:lnTo>
                    <a:pt x="1659" y="1000"/>
                  </a:lnTo>
                  <a:lnTo>
                    <a:pt x="1661" y="1002"/>
                  </a:lnTo>
                  <a:lnTo>
                    <a:pt x="1661" y="1006"/>
                  </a:lnTo>
                  <a:lnTo>
                    <a:pt x="1661" y="1009"/>
                  </a:lnTo>
                  <a:lnTo>
                    <a:pt x="1661" y="1011"/>
                  </a:lnTo>
                  <a:lnTo>
                    <a:pt x="1661" y="1013"/>
                  </a:lnTo>
                  <a:lnTo>
                    <a:pt x="1661" y="1015"/>
                  </a:lnTo>
                  <a:lnTo>
                    <a:pt x="1670" y="1016"/>
                  </a:lnTo>
                  <a:lnTo>
                    <a:pt x="1676" y="1015"/>
                  </a:lnTo>
                  <a:lnTo>
                    <a:pt x="1678" y="1019"/>
                  </a:lnTo>
                  <a:lnTo>
                    <a:pt x="1680" y="1020"/>
                  </a:lnTo>
                  <a:lnTo>
                    <a:pt x="1684" y="1016"/>
                  </a:lnTo>
                  <a:lnTo>
                    <a:pt x="1688" y="1019"/>
                  </a:lnTo>
                  <a:lnTo>
                    <a:pt x="1693" y="1016"/>
                  </a:lnTo>
                  <a:lnTo>
                    <a:pt x="1698" y="1013"/>
                  </a:lnTo>
                  <a:lnTo>
                    <a:pt x="1701" y="1007"/>
                  </a:lnTo>
                  <a:lnTo>
                    <a:pt x="1699" y="1013"/>
                  </a:lnTo>
                  <a:lnTo>
                    <a:pt x="1701" y="1013"/>
                  </a:lnTo>
                  <a:lnTo>
                    <a:pt x="1699" y="1015"/>
                  </a:lnTo>
                  <a:lnTo>
                    <a:pt x="1701" y="1016"/>
                  </a:lnTo>
                  <a:lnTo>
                    <a:pt x="1714" y="1013"/>
                  </a:lnTo>
                  <a:lnTo>
                    <a:pt x="1716" y="1011"/>
                  </a:lnTo>
                  <a:lnTo>
                    <a:pt x="1722" y="1011"/>
                  </a:lnTo>
                  <a:lnTo>
                    <a:pt x="1728" y="1006"/>
                  </a:lnTo>
                  <a:lnTo>
                    <a:pt x="1733" y="1003"/>
                  </a:lnTo>
                  <a:lnTo>
                    <a:pt x="1739" y="997"/>
                  </a:lnTo>
                  <a:lnTo>
                    <a:pt x="1739" y="1000"/>
                  </a:lnTo>
                  <a:lnTo>
                    <a:pt x="1743" y="998"/>
                  </a:lnTo>
                  <a:lnTo>
                    <a:pt x="1743" y="1000"/>
                  </a:lnTo>
                  <a:lnTo>
                    <a:pt x="1737" y="1006"/>
                  </a:lnTo>
                  <a:lnTo>
                    <a:pt x="1731" y="1007"/>
                  </a:lnTo>
                  <a:lnTo>
                    <a:pt x="1725" y="1013"/>
                  </a:lnTo>
                  <a:lnTo>
                    <a:pt x="1733" y="1015"/>
                  </a:lnTo>
                  <a:lnTo>
                    <a:pt x="1735" y="1011"/>
                  </a:lnTo>
                  <a:lnTo>
                    <a:pt x="1741" y="1011"/>
                  </a:lnTo>
                  <a:lnTo>
                    <a:pt x="1745" y="1013"/>
                  </a:lnTo>
                  <a:lnTo>
                    <a:pt x="1756" y="1013"/>
                  </a:lnTo>
                  <a:lnTo>
                    <a:pt x="1765" y="1013"/>
                  </a:lnTo>
                  <a:lnTo>
                    <a:pt x="1760" y="1015"/>
                  </a:lnTo>
                  <a:lnTo>
                    <a:pt x="1753" y="1016"/>
                  </a:lnTo>
                  <a:lnTo>
                    <a:pt x="1747" y="1016"/>
                  </a:lnTo>
                  <a:lnTo>
                    <a:pt x="1745" y="1020"/>
                  </a:lnTo>
                  <a:lnTo>
                    <a:pt x="1747" y="1022"/>
                  </a:lnTo>
                  <a:lnTo>
                    <a:pt x="1743" y="1020"/>
                  </a:lnTo>
                  <a:lnTo>
                    <a:pt x="1741" y="1016"/>
                  </a:lnTo>
                  <a:lnTo>
                    <a:pt x="1737" y="1015"/>
                  </a:lnTo>
                  <a:lnTo>
                    <a:pt x="1730" y="1016"/>
                  </a:lnTo>
                  <a:lnTo>
                    <a:pt x="1719" y="1022"/>
                  </a:lnTo>
                  <a:lnTo>
                    <a:pt x="1708" y="1024"/>
                  </a:lnTo>
                  <a:lnTo>
                    <a:pt x="1698" y="1030"/>
                  </a:lnTo>
                  <a:lnTo>
                    <a:pt x="1698" y="1033"/>
                  </a:lnTo>
                  <a:lnTo>
                    <a:pt x="1690" y="1039"/>
                  </a:lnTo>
                  <a:lnTo>
                    <a:pt x="1686" y="1047"/>
                  </a:lnTo>
                  <a:lnTo>
                    <a:pt x="1686" y="1052"/>
                  </a:lnTo>
                  <a:lnTo>
                    <a:pt x="1688" y="1056"/>
                  </a:lnTo>
                  <a:lnTo>
                    <a:pt x="1688" y="1061"/>
                  </a:lnTo>
                  <a:lnTo>
                    <a:pt x="1692" y="1059"/>
                  </a:lnTo>
                  <a:lnTo>
                    <a:pt x="1693" y="1061"/>
                  </a:lnTo>
                  <a:lnTo>
                    <a:pt x="1695" y="1067"/>
                  </a:lnTo>
                  <a:lnTo>
                    <a:pt x="1699" y="1070"/>
                  </a:lnTo>
                  <a:lnTo>
                    <a:pt x="1701" y="1068"/>
                  </a:lnTo>
                  <a:lnTo>
                    <a:pt x="1704" y="1070"/>
                  </a:lnTo>
                  <a:lnTo>
                    <a:pt x="1707" y="1068"/>
                  </a:lnTo>
                  <a:lnTo>
                    <a:pt x="1708" y="1063"/>
                  </a:lnTo>
                  <a:lnTo>
                    <a:pt x="1710" y="1063"/>
                  </a:lnTo>
                  <a:lnTo>
                    <a:pt x="1713" y="1063"/>
                  </a:lnTo>
                  <a:lnTo>
                    <a:pt x="1719" y="1059"/>
                  </a:lnTo>
                  <a:lnTo>
                    <a:pt x="1724" y="1057"/>
                  </a:lnTo>
                  <a:lnTo>
                    <a:pt x="1731" y="1048"/>
                  </a:lnTo>
                  <a:lnTo>
                    <a:pt x="1741" y="1042"/>
                  </a:lnTo>
                  <a:lnTo>
                    <a:pt x="1739" y="1041"/>
                  </a:lnTo>
                  <a:lnTo>
                    <a:pt x="1743" y="1036"/>
                  </a:lnTo>
                  <a:lnTo>
                    <a:pt x="1747" y="1036"/>
                  </a:lnTo>
                  <a:lnTo>
                    <a:pt x="1748" y="1033"/>
                  </a:lnTo>
                  <a:lnTo>
                    <a:pt x="1750" y="1033"/>
                  </a:lnTo>
                  <a:lnTo>
                    <a:pt x="1753" y="1037"/>
                  </a:lnTo>
                  <a:lnTo>
                    <a:pt x="1760" y="1039"/>
                  </a:lnTo>
                  <a:lnTo>
                    <a:pt x="1760" y="1037"/>
                  </a:lnTo>
                  <a:lnTo>
                    <a:pt x="1764" y="1037"/>
                  </a:lnTo>
                  <a:lnTo>
                    <a:pt x="1774" y="1031"/>
                  </a:lnTo>
                  <a:lnTo>
                    <a:pt x="1781" y="1030"/>
                  </a:lnTo>
                  <a:lnTo>
                    <a:pt x="1790" y="1028"/>
                  </a:lnTo>
                  <a:lnTo>
                    <a:pt x="1796" y="1028"/>
                  </a:lnTo>
                  <a:lnTo>
                    <a:pt x="1808" y="1022"/>
                  </a:lnTo>
                  <a:lnTo>
                    <a:pt x="1817" y="1020"/>
                  </a:lnTo>
                  <a:lnTo>
                    <a:pt x="1820" y="1019"/>
                  </a:lnTo>
                  <a:lnTo>
                    <a:pt x="1825" y="1020"/>
                  </a:lnTo>
                  <a:lnTo>
                    <a:pt x="1831" y="1019"/>
                  </a:lnTo>
                  <a:lnTo>
                    <a:pt x="1826" y="1016"/>
                  </a:lnTo>
                  <a:lnTo>
                    <a:pt x="1820" y="1016"/>
                  </a:lnTo>
                  <a:lnTo>
                    <a:pt x="1817" y="1013"/>
                  </a:lnTo>
                  <a:lnTo>
                    <a:pt x="1819" y="1013"/>
                  </a:lnTo>
                  <a:lnTo>
                    <a:pt x="1823" y="1013"/>
                  </a:lnTo>
                  <a:lnTo>
                    <a:pt x="1823" y="1009"/>
                  </a:lnTo>
                  <a:lnTo>
                    <a:pt x="1814" y="1006"/>
                  </a:lnTo>
                  <a:lnTo>
                    <a:pt x="1805" y="1006"/>
                  </a:lnTo>
                  <a:lnTo>
                    <a:pt x="1808" y="1003"/>
                  </a:lnTo>
                  <a:lnTo>
                    <a:pt x="1808" y="998"/>
                  </a:lnTo>
                  <a:lnTo>
                    <a:pt x="1799" y="1003"/>
                  </a:lnTo>
                  <a:lnTo>
                    <a:pt x="1796" y="1006"/>
                  </a:lnTo>
                  <a:lnTo>
                    <a:pt x="1787" y="1006"/>
                  </a:lnTo>
                  <a:lnTo>
                    <a:pt x="1787" y="1002"/>
                  </a:lnTo>
                  <a:lnTo>
                    <a:pt x="1779" y="1000"/>
                  </a:lnTo>
                  <a:lnTo>
                    <a:pt x="1775" y="1002"/>
                  </a:lnTo>
                  <a:lnTo>
                    <a:pt x="1771" y="998"/>
                  </a:lnTo>
                  <a:lnTo>
                    <a:pt x="1762" y="998"/>
                  </a:lnTo>
                  <a:lnTo>
                    <a:pt x="1754" y="994"/>
                  </a:lnTo>
                  <a:lnTo>
                    <a:pt x="1760" y="992"/>
                  </a:lnTo>
                  <a:lnTo>
                    <a:pt x="1762" y="989"/>
                  </a:lnTo>
                  <a:lnTo>
                    <a:pt x="1754" y="989"/>
                  </a:lnTo>
                  <a:lnTo>
                    <a:pt x="1753" y="987"/>
                  </a:lnTo>
                  <a:lnTo>
                    <a:pt x="1747" y="987"/>
                  </a:lnTo>
                  <a:lnTo>
                    <a:pt x="1743" y="980"/>
                  </a:lnTo>
                  <a:lnTo>
                    <a:pt x="1741" y="980"/>
                  </a:lnTo>
                  <a:lnTo>
                    <a:pt x="1741" y="972"/>
                  </a:lnTo>
                  <a:lnTo>
                    <a:pt x="1741" y="969"/>
                  </a:lnTo>
                  <a:lnTo>
                    <a:pt x="1737" y="964"/>
                  </a:lnTo>
                  <a:lnTo>
                    <a:pt x="1741" y="959"/>
                  </a:lnTo>
                  <a:lnTo>
                    <a:pt x="1741" y="958"/>
                  </a:lnTo>
                  <a:lnTo>
                    <a:pt x="1730" y="958"/>
                  </a:lnTo>
                  <a:lnTo>
                    <a:pt x="1733" y="953"/>
                  </a:lnTo>
                  <a:lnTo>
                    <a:pt x="1737" y="953"/>
                  </a:lnTo>
                  <a:lnTo>
                    <a:pt x="1745" y="941"/>
                  </a:lnTo>
                  <a:lnTo>
                    <a:pt x="1748" y="937"/>
                  </a:lnTo>
                  <a:lnTo>
                    <a:pt x="1748" y="935"/>
                  </a:lnTo>
                  <a:lnTo>
                    <a:pt x="1745" y="935"/>
                  </a:lnTo>
                  <a:lnTo>
                    <a:pt x="1743" y="933"/>
                  </a:lnTo>
                  <a:lnTo>
                    <a:pt x="1737" y="933"/>
                  </a:lnTo>
                  <a:lnTo>
                    <a:pt x="1731" y="935"/>
                  </a:lnTo>
                  <a:lnTo>
                    <a:pt x="1725" y="939"/>
                  </a:lnTo>
                  <a:lnTo>
                    <a:pt x="1724" y="935"/>
                  </a:lnTo>
                  <a:lnTo>
                    <a:pt x="1722" y="932"/>
                  </a:lnTo>
                  <a:lnTo>
                    <a:pt x="1710" y="927"/>
                  </a:lnTo>
                  <a:lnTo>
                    <a:pt x="1703" y="927"/>
                  </a:lnTo>
                  <a:lnTo>
                    <a:pt x="1695" y="927"/>
                  </a:lnTo>
                  <a:lnTo>
                    <a:pt x="1703" y="927"/>
                  </a:lnTo>
                  <a:lnTo>
                    <a:pt x="1708" y="927"/>
                  </a:lnTo>
                  <a:lnTo>
                    <a:pt x="1714" y="927"/>
                  </a:lnTo>
                  <a:lnTo>
                    <a:pt x="1719" y="922"/>
                  </a:lnTo>
                  <a:lnTo>
                    <a:pt x="1725" y="924"/>
                  </a:lnTo>
                  <a:lnTo>
                    <a:pt x="1730" y="927"/>
                  </a:lnTo>
                  <a:lnTo>
                    <a:pt x="1735" y="927"/>
                  </a:lnTo>
                  <a:lnTo>
                    <a:pt x="1743" y="924"/>
                  </a:lnTo>
                  <a:lnTo>
                    <a:pt x="1747" y="924"/>
                  </a:lnTo>
                  <a:lnTo>
                    <a:pt x="1753" y="919"/>
                  </a:lnTo>
                  <a:lnTo>
                    <a:pt x="1759" y="919"/>
                  </a:lnTo>
                  <a:lnTo>
                    <a:pt x="1764" y="910"/>
                  </a:lnTo>
                  <a:lnTo>
                    <a:pt x="1760" y="908"/>
                  </a:lnTo>
                  <a:lnTo>
                    <a:pt x="1764" y="908"/>
                  </a:lnTo>
                  <a:lnTo>
                    <a:pt x="1762" y="904"/>
                  </a:lnTo>
                  <a:lnTo>
                    <a:pt x="1756" y="902"/>
                  </a:lnTo>
                  <a:lnTo>
                    <a:pt x="1750" y="902"/>
                  </a:lnTo>
                  <a:lnTo>
                    <a:pt x="1753" y="900"/>
                  </a:lnTo>
                  <a:lnTo>
                    <a:pt x="1760" y="900"/>
                  </a:lnTo>
                  <a:lnTo>
                    <a:pt x="1760" y="899"/>
                  </a:lnTo>
                  <a:lnTo>
                    <a:pt x="1748" y="893"/>
                  </a:lnTo>
                  <a:lnTo>
                    <a:pt x="1739" y="888"/>
                  </a:lnTo>
                  <a:lnTo>
                    <a:pt x="1719" y="888"/>
                  </a:lnTo>
                  <a:lnTo>
                    <a:pt x="1714" y="891"/>
                  </a:lnTo>
                  <a:lnTo>
                    <a:pt x="1708" y="893"/>
                  </a:lnTo>
                  <a:lnTo>
                    <a:pt x="1692" y="896"/>
                  </a:lnTo>
                  <a:lnTo>
                    <a:pt x="1678" y="900"/>
                  </a:lnTo>
                  <a:lnTo>
                    <a:pt x="1670" y="904"/>
                  </a:lnTo>
                  <a:lnTo>
                    <a:pt x="1663" y="904"/>
                  </a:lnTo>
                  <a:lnTo>
                    <a:pt x="1649" y="911"/>
                  </a:lnTo>
                  <a:lnTo>
                    <a:pt x="1630" y="922"/>
                  </a:lnTo>
                  <a:lnTo>
                    <a:pt x="1618" y="933"/>
                  </a:lnTo>
                  <a:lnTo>
                    <a:pt x="1613" y="935"/>
                  </a:lnTo>
                  <a:lnTo>
                    <a:pt x="1606" y="941"/>
                  </a:lnTo>
                  <a:lnTo>
                    <a:pt x="1598" y="950"/>
                  </a:lnTo>
                  <a:lnTo>
                    <a:pt x="1589" y="953"/>
                  </a:lnTo>
                  <a:lnTo>
                    <a:pt x="1579" y="958"/>
                  </a:lnTo>
                  <a:lnTo>
                    <a:pt x="1579" y="958"/>
                  </a:lnTo>
                  <a:lnTo>
                    <a:pt x="1579" y="958"/>
                  </a:lnTo>
                  <a:lnTo>
                    <a:pt x="1578" y="959"/>
                  </a:lnTo>
                  <a:lnTo>
                    <a:pt x="1563" y="964"/>
                  </a:lnTo>
                  <a:lnTo>
                    <a:pt x="1557" y="964"/>
                  </a:lnTo>
                  <a:lnTo>
                    <a:pt x="1564" y="963"/>
                  </a:lnTo>
                  <a:lnTo>
                    <a:pt x="1579" y="958"/>
                  </a:lnTo>
                  <a:lnTo>
                    <a:pt x="1579" y="958"/>
                  </a:lnTo>
                  <a:lnTo>
                    <a:pt x="1579" y="953"/>
                  </a:lnTo>
                  <a:lnTo>
                    <a:pt x="1592" y="948"/>
                  </a:lnTo>
                  <a:lnTo>
                    <a:pt x="1596" y="943"/>
                  </a:lnTo>
                  <a:lnTo>
                    <a:pt x="1598" y="935"/>
                  </a:lnTo>
                  <a:lnTo>
                    <a:pt x="1604" y="935"/>
                  </a:lnTo>
                  <a:lnTo>
                    <a:pt x="1609" y="930"/>
                  </a:lnTo>
                  <a:lnTo>
                    <a:pt x="1618" y="927"/>
                  </a:lnTo>
                  <a:lnTo>
                    <a:pt x="1621" y="917"/>
                  </a:lnTo>
                  <a:lnTo>
                    <a:pt x="1630" y="913"/>
                  </a:lnTo>
                  <a:lnTo>
                    <a:pt x="1638" y="904"/>
                  </a:lnTo>
                  <a:lnTo>
                    <a:pt x="1642" y="904"/>
                  </a:lnTo>
                  <a:lnTo>
                    <a:pt x="1642" y="900"/>
                  </a:lnTo>
                  <a:lnTo>
                    <a:pt x="1648" y="896"/>
                  </a:lnTo>
                  <a:lnTo>
                    <a:pt x="1653" y="896"/>
                  </a:lnTo>
                  <a:lnTo>
                    <a:pt x="1655" y="891"/>
                  </a:lnTo>
                  <a:lnTo>
                    <a:pt x="1661" y="888"/>
                  </a:lnTo>
                  <a:lnTo>
                    <a:pt x="1663" y="891"/>
                  </a:lnTo>
                  <a:lnTo>
                    <a:pt x="1667" y="888"/>
                  </a:lnTo>
                  <a:lnTo>
                    <a:pt x="1670" y="883"/>
                  </a:lnTo>
                  <a:lnTo>
                    <a:pt x="1680" y="883"/>
                  </a:lnTo>
                  <a:lnTo>
                    <a:pt x="1684" y="882"/>
                  </a:lnTo>
                  <a:lnTo>
                    <a:pt x="1693" y="882"/>
                  </a:lnTo>
                  <a:lnTo>
                    <a:pt x="1695" y="878"/>
                  </a:lnTo>
                  <a:lnTo>
                    <a:pt x="1698" y="872"/>
                  </a:lnTo>
                  <a:lnTo>
                    <a:pt x="1699" y="869"/>
                  </a:lnTo>
                  <a:lnTo>
                    <a:pt x="1699" y="865"/>
                  </a:lnTo>
                  <a:lnTo>
                    <a:pt x="1707" y="863"/>
                  </a:lnTo>
                  <a:lnTo>
                    <a:pt x="1716" y="854"/>
                  </a:lnTo>
                  <a:lnTo>
                    <a:pt x="1722" y="854"/>
                  </a:lnTo>
                  <a:lnTo>
                    <a:pt x="1724" y="852"/>
                  </a:lnTo>
                  <a:lnTo>
                    <a:pt x="1719" y="848"/>
                  </a:lnTo>
                  <a:lnTo>
                    <a:pt x="1724" y="847"/>
                  </a:lnTo>
                  <a:lnTo>
                    <a:pt x="1728" y="844"/>
                  </a:lnTo>
                  <a:lnTo>
                    <a:pt x="1733" y="848"/>
                  </a:lnTo>
                  <a:lnTo>
                    <a:pt x="1739" y="850"/>
                  </a:lnTo>
                  <a:lnTo>
                    <a:pt x="1750" y="848"/>
                  </a:lnTo>
                  <a:lnTo>
                    <a:pt x="1760" y="852"/>
                  </a:lnTo>
                  <a:lnTo>
                    <a:pt x="1764" y="852"/>
                  </a:lnTo>
                  <a:lnTo>
                    <a:pt x="1765" y="852"/>
                  </a:lnTo>
                  <a:lnTo>
                    <a:pt x="1774" y="850"/>
                  </a:lnTo>
                  <a:lnTo>
                    <a:pt x="1777" y="852"/>
                  </a:lnTo>
                  <a:lnTo>
                    <a:pt x="1781" y="852"/>
                  </a:lnTo>
                  <a:lnTo>
                    <a:pt x="1787" y="850"/>
                  </a:lnTo>
                  <a:lnTo>
                    <a:pt x="1793" y="854"/>
                  </a:lnTo>
                  <a:lnTo>
                    <a:pt x="1802" y="854"/>
                  </a:lnTo>
                  <a:lnTo>
                    <a:pt x="1805" y="852"/>
                  </a:lnTo>
                  <a:lnTo>
                    <a:pt x="1808" y="852"/>
                  </a:lnTo>
                  <a:lnTo>
                    <a:pt x="1811" y="854"/>
                  </a:lnTo>
                  <a:lnTo>
                    <a:pt x="1819" y="855"/>
                  </a:lnTo>
                  <a:lnTo>
                    <a:pt x="1820" y="854"/>
                  </a:lnTo>
                  <a:lnTo>
                    <a:pt x="1829" y="857"/>
                  </a:lnTo>
                  <a:lnTo>
                    <a:pt x="1834" y="857"/>
                  </a:lnTo>
                  <a:lnTo>
                    <a:pt x="1838" y="855"/>
                  </a:lnTo>
                  <a:lnTo>
                    <a:pt x="1842" y="857"/>
                  </a:lnTo>
                  <a:lnTo>
                    <a:pt x="1842" y="860"/>
                  </a:lnTo>
                  <a:lnTo>
                    <a:pt x="1845" y="861"/>
                  </a:lnTo>
                  <a:lnTo>
                    <a:pt x="1859" y="857"/>
                  </a:lnTo>
                  <a:lnTo>
                    <a:pt x="1863" y="857"/>
                  </a:lnTo>
                  <a:lnTo>
                    <a:pt x="1869" y="855"/>
                  </a:lnTo>
                  <a:lnTo>
                    <a:pt x="1871" y="857"/>
                  </a:lnTo>
                  <a:lnTo>
                    <a:pt x="1880" y="857"/>
                  </a:lnTo>
                  <a:lnTo>
                    <a:pt x="1884" y="860"/>
                  </a:lnTo>
                  <a:lnTo>
                    <a:pt x="1888" y="857"/>
                  </a:lnTo>
                  <a:lnTo>
                    <a:pt x="1889" y="854"/>
                  </a:lnTo>
                  <a:close/>
                  <a:moveTo>
                    <a:pt x="1318" y="166"/>
                  </a:moveTo>
                  <a:lnTo>
                    <a:pt x="1324" y="168"/>
                  </a:lnTo>
                  <a:lnTo>
                    <a:pt x="1338" y="168"/>
                  </a:lnTo>
                  <a:lnTo>
                    <a:pt x="1345" y="174"/>
                  </a:lnTo>
                  <a:lnTo>
                    <a:pt x="1339" y="174"/>
                  </a:lnTo>
                  <a:lnTo>
                    <a:pt x="1327" y="169"/>
                  </a:lnTo>
                  <a:lnTo>
                    <a:pt x="1324" y="171"/>
                  </a:lnTo>
                  <a:lnTo>
                    <a:pt x="1322" y="174"/>
                  </a:lnTo>
                  <a:lnTo>
                    <a:pt x="1318" y="169"/>
                  </a:lnTo>
                  <a:lnTo>
                    <a:pt x="1318" y="1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8" name="Freeform 220"/>
            <p:cNvSpPr>
              <a:spLocks/>
            </p:cNvSpPr>
            <p:nvPr/>
          </p:nvSpPr>
          <p:spPr bwMode="auto">
            <a:xfrm>
              <a:off x="3059113" y="2106613"/>
              <a:ext cx="47625" cy="66675"/>
            </a:xfrm>
            <a:custGeom>
              <a:avLst/>
              <a:gdLst>
                <a:gd name="T0" fmla="*/ 18 w 30"/>
                <a:gd name="T1" fmla="*/ 27 h 42"/>
                <a:gd name="T2" fmla="*/ 23 w 30"/>
                <a:gd name="T3" fmla="*/ 22 h 42"/>
                <a:gd name="T4" fmla="*/ 27 w 30"/>
                <a:gd name="T5" fmla="*/ 21 h 42"/>
                <a:gd name="T6" fmla="*/ 27 w 30"/>
                <a:gd name="T7" fmla="*/ 19 h 42"/>
                <a:gd name="T8" fmla="*/ 27 w 30"/>
                <a:gd name="T9" fmla="*/ 16 h 42"/>
                <a:gd name="T10" fmla="*/ 29 w 30"/>
                <a:gd name="T11" fmla="*/ 13 h 42"/>
                <a:gd name="T12" fmla="*/ 30 w 30"/>
                <a:gd name="T13" fmla="*/ 10 h 42"/>
                <a:gd name="T14" fmla="*/ 30 w 30"/>
                <a:gd name="T15" fmla="*/ 8 h 42"/>
                <a:gd name="T16" fmla="*/ 30 w 30"/>
                <a:gd name="T17" fmla="*/ 4 h 42"/>
                <a:gd name="T18" fmla="*/ 29 w 30"/>
                <a:gd name="T19" fmla="*/ 2 h 42"/>
                <a:gd name="T20" fmla="*/ 24 w 30"/>
                <a:gd name="T21" fmla="*/ 4 h 42"/>
                <a:gd name="T22" fmla="*/ 23 w 30"/>
                <a:gd name="T23" fmla="*/ 4 h 42"/>
                <a:gd name="T24" fmla="*/ 21 w 30"/>
                <a:gd name="T25" fmla="*/ 2 h 42"/>
                <a:gd name="T26" fmla="*/ 18 w 30"/>
                <a:gd name="T27" fmla="*/ 0 h 42"/>
                <a:gd name="T28" fmla="*/ 15 w 30"/>
                <a:gd name="T29" fmla="*/ 4 h 42"/>
                <a:gd name="T30" fmla="*/ 12 w 30"/>
                <a:gd name="T31" fmla="*/ 8 h 42"/>
                <a:gd name="T32" fmla="*/ 9 w 30"/>
                <a:gd name="T33" fmla="*/ 8 h 42"/>
                <a:gd name="T34" fmla="*/ 6 w 30"/>
                <a:gd name="T35" fmla="*/ 11 h 42"/>
                <a:gd name="T36" fmla="*/ 3 w 30"/>
                <a:gd name="T37" fmla="*/ 16 h 42"/>
                <a:gd name="T38" fmla="*/ 6 w 30"/>
                <a:gd name="T39" fmla="*/ 19 h 42"/>
                <a:gd name="T40" fmla="*/ 1 w 30"/>
                <a:gd name="T41" fmla="*/ 21 h 42"/>
                <a:gd name="T42" fmla="*/ 1 w 30"/>
                <a:gd name="T43" fmla="*/ 25 h 42"/>
                <a:gd name="T44" fmla="*/ 1 w 30"/>
                <a:gd name="T45" fmla="*/ 28 h 42"/>
                <a:gd name="T46" fmla="*/ 0 w 30"/>
                <a:gd name="T47" fmla="*/ 30 h 42"/>
                <a:gd name="T48" fmla="*/ 0 w 30"/>
                <a:gd name="T49" fmla="*/ 33 h 42"/>
                <a:gd name="T50" fmla="*/ 6 w 30"/>
                <a:gd name="T51" fmla="*/ 34 h 42"/>
                <a:gd name="T52" fmla="*/ 6 w 30"/>
                <a:gd name="T53" fmla="*/ 36 h 42"/>
                <a:gd name="T54" fmla="*/ 7 w 30"/>
                <a:gd name="T55" fmla="*/ 38 h 42"/>
                <a:gd name="T56" fmla="*/ 9 w 30"/>
                <a:gd name="T57" fmla="*/ 42 h 42"/>
                <a:gd name="T58" fmla="*/ 12 w 30"/>
                <a:gd name="T59" fmla="*/ 42 h 42"/>
                <a:gd name="T60" fmla="*/ 12 w 30"/>
                <a:gd name="T61" fmla="*/ 39 h 42"/>
                <a:gd name="T62" fmla="*/ 13 w 30"/>
                <a:gd name="T63" fmla="*/ 38 h 42"/>
                <a:gd name="T64" fmla="*/ 15 w 30"/>
                <a:gd name="T65" fmla="*/ 36 h 42"/>
                <a:gd name="T66" fmla="*/ 15 w 30"/>
                <a:gd name="T67" fmla="*/ 33 h 42"/>
                <a:gd name="T68" fmla="*/ 13 w 30"/>
                <a:gd name="T69" fmla="*/ 33 h 42"/>
                <a:gd name="T70" fmla="*/ 15 w 30"/>
                <a:gd name="T71" fmla="*/ 30 h 42"/>
                <a:gd name="T72" fmla="*/ 18 w 30"/>
                <a:gd name="T73" fmla="*/ 2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" h="42">
                  <a:moveTo>
                    <a:pt x="18" y="27"/>
                  </a:moveTo>
                  <a:lnTo>
                    <a:pt x="23" y="22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7" y="16"/>
                  </a:lnTo>
                  <a:lnTo>
                    <a:pt x="29" y="13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29" y="2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4"/>
                  </a:lnTo>
                  <a:lnTo>
                    <a:pt x="12" y="8"/>
                  </a:lnTo>
                  <a:lnTo>
                    <a:pt x="9" y="8"/>
                  </a:lnTo>
                  <a:lnTo>
                    <a:pt x="6" y="11"/>
                  </a:lnTo>
                  <a:lnTo>
                    <a:pt x="3" y="16"/>
                  </a:lnTo>
                  <a:lnTo>
                    <a:pt x="6" y="19"/>
                  </a:lnTo>
                  <a:lnTo>
                    <a:pt x="1" y="21"/>
                  </a:lnTo>
                  <a:lnTo>
                    <a:pt x="1" y="25"/>
                  </a:lnTo>
                  <a:lnTo>
                    <a:pt x="1" y="28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6" y="34"/>
                  </a:lnTo>
                  <a:lnTo>
                    <a:pt x="6" y="36"/>
                  </a:lnTo>
                  <a:lnTo>
                    <a:pt x="7" y="38"/>
                  </a:lnTo>
                  <a:lnTo>
                    <a:pt x="9" y="42"/>
                  </a:lnTo>
                  <a:lnTo>
                    <a:pt x="12" y="42"/>
                  </a:lnTo>
                  <a:lnTo>
                    <a:pt x="12" y="39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5" y="33"/>
                  </a:lnTo>
                  <a:lnTo>
                    <a:pt x="13" y="33"/>
                  </a:lnTo>
                  <a:lnTo>
                    <a:pt x="15" y="30"/>
                  </a:lnTo>
                  <a:lnTo>
                    <a:pt x="18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9" name="Freeform 221"/>
            <p:cNvSpPr>
              <a:spLocks/>
            </p:cNvSpPr>
            <p:nvPr/>
          </p:nvSpPr>
          <p:spPr bwMode="auto">
            <a:xfrm>
              <a:off x="2892426" y="2762250"/>
              <a:ext cx="15875" cy="11113"/>
            </a:xfrm>
            <a:custGeom>
              <a:avLst/>
              <a:gdLst>
                <a:gd name="T0" fmla="*/ 2 w 10"/>
                <a:gd name="T1" fmla="*/ 7 h 7"/>
                <a:gd name="T2" fmla="*/ 10 w 10"/>
                <a:gd name="T3" fmla="*/ 4 h 7"/>
                <a:gd name="T4" fmla="*/ 8 w 10"/>
                <a:gd name="T5" fmla="*/ 0 h 7"/>
                <a:gd name="T6" fmla="*/ 5 w 10"/>
                <a:gd name="T7" fmla="*/ 1 h 7"/>
                <a:gd name="T8" fmla="*/ 2 w 10"/>
                <a:gd name="T9" fmla="*/ 1 h 7"/>
                <a:gd name="T10" fmla="*/ 0 w 10"/>
                <a:gd name="T11" fmla="*/ 6 h 7"/>
                <a:gd name="T12" fmla="*/ 2 w 1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2" y="7"/>
                  </a:moveTo>
                  <a:lnTo>
                    <a:pt x="10" y="4"/>
                  </a:lnTo>
                  <a:lnTo>
                    <a:pt x="8" y="0"/>
                  </a:lnTo>
                  <a:lnTo>
                    <a:pt x="5" y="1"/>
                  </a:lnTo>
                  <a:lnTo>
                    <a:pt x="2" y="1"/>
                  </a:lnTo>
                  <a:lnTo>
                    <a:pt x="0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0" name="Freeform 222"/>
            <p:cNvSpPr>
              <a:spLocks/>
            </p:cNvSpPr>
            <p:nvPr/>
          </p:nvSpPr>
          <p:spPr bwMode="auto">
            <a:xfrm>
              <a:off x="2863851" y="1839913"/>
              <a:ext cx="246063" cy="203200"/>
            </a:xfrm>
            <a:custGeom>
              <a:avLst/>
              <a:gdLst>
                <a:gd name="T0" fmla="*/ 147 w 155"/>
                <a:gd name="T1" fmla="*/ 105 h 128"/>
                <a:gd name="T2" fmla="*/ 150 w 155"/>
                <a:gd name="T3" fmla="*/ 101 h 128"/>
                <a:gd name="T4" fmla="*/ 146 w 155"/>
                <a:gd name="T5" fmla="*/ 101 h 128"/>
                <a:gd name="T6" fmla="*/ 138 w 155"/>
                <a:gd name="T7" fmla="*/ 100 h 128"/>
                <a:gd name="T8" fmla="*/ 130 w 155"/>
                <a:gd name="T9" fmla="*/ 100 h 128"/>
                <a:gd name="T10" fmla="*/ 124 w 155"/>
                <a:gd name="T11" fmla="*/ 95 h 128"/>
                <a:gd name="T12" fmla="*/ 132 w 155"/>
                <a:gd name="T13" fmla="*/ 89 h 128"/>
                <a:gd name="T14" fmla="*/ 130 w 155"/>
                <a:gd name="T15" fmla="*/ 80 h 128"/>
                <a:gd name="T16" fmla="*/ 129 w 155"/>
                <a:gd name="T17" fmla="*/ 73 h 128"/>
                <a:gd name="T18" fmla="*/ 113 w 155"/>
                <a:gd name="T19" fmla="*/ 59 h 128"/>
                <a:gd name="T20" fmla="*/ 107 w 155"/>
                <a:gd name="T21" fmla="*/ 52 h 128"/>
                <a:gd name="T22" fmla="*/ 100 w 155"/>
                <a:gd name="T23" fmla="*/ 42 h 128"/>
                <a:gd name="T24" fmla="*/ 91 w 155"/>
                <a:gd name="T25" fmla="*/ 31 h 128"/>
                <a:gd name="T26" fmla="*/ 85 w 155"/>
                <a:gd name="T27" fmla="*/ 22 h 128"/>
                <a:gd name="T28" fmla="*/ 77 w 155"/>
                <a:gd name="T29" fmla="*/ 31 h 128"/>
                <a:gd name="T30" fmla="*/ 71 w 155"/>
                <a:gd name="T31" fmla="*/ 25 h 128"/>
                <a:gd name="T32" fmla="*/ 74 w 155"/>
                <a:gd name="T33" fmla="*/ 20 h 128"/>
                <a:gd name="T34" fmla="*/ 77 w 155"/>
                <a:gd name="T35" fmla="*/ 13 h 128"/>
                <a:gd name="T36" fmla="*/ 70 w 155"/>
                <a:gd name="T37" fmla="*/ 6 h 128"/>
                <a:gd name="T38" fmla="*/ 62 w 155"/>
                <a:gd name="T39" fmla="*/ 3 h 128"/>
                <a:gd name="T40" fmla="*/ 46 w 155"/>
                <a:gd name="T41" fmla="*/ 25 h 128"/>
                <a:gd name="T42" fmla="*/ 43 w 155"/>
                <a:gd name="T43" fmla="*/ 35 h 128"/>
                <a:gd name="T44" fmla="*/ 35 w 155"/>
                <a:gd name="T45" fmla="*/ 47 h 128"/>
                <a:gd name="T46" fmla="*/ 28 w 155"/>
                <a:gd name="T47" fmla="*/ 61 h 128"/>
                <a:gd name="T48" fmla="*/ 23 w 155"/>
                <a:gd name="T49" fmla="*/ 74 h 128"/>
                <a:gd name="T50" fmla="*/ 14 w 155"/>
                <a:gd name="T51" fmla="*/ 86 h 128"/>
                <a:gd name="T52" fmla="*/ 0 w 155"/>
                <a:gd name="T53" fmla="*/ 100 h 128"/>
                <a:gd name="T54" fmla="*/ 6 w 155"/>
                <a:gd name="T55" fmla="*/ 101 h 128"/>
                <a:gd name="T56" fmla="*/ 14 w 155"/>
                <a:gd name="T57" fmla="*/ 104 h 128"/>
                <a:gd name="T58" fmla="*/ 23 w 155"/>
                <a:gd name="T59" fmla="*/ 101 h 128"/>
                <a:gd name="T60" fmla="*/ 23 w 155"/>
                <a:gd name="T61" fmla="*/ 113 h 128"/>
                <a:gd name="T62" fmla="*/ 20 w 155"/>
                <a:gd name="T63" fmla="*/ 126 h 128"/>
                <a:gd name="T64" fmla="*/ 28 w 155"/>
                <a:gd name="T65" fmla="*/ 128 h 128"/>
                <a:gd name="T66" fmla="*/ 40 w 155"/>
                <a:gd name="T67" fmla="*/ 126 h 128"/>
                <a:gd name="T68" fmla="*/ 49 w 155"/>
                <a:gd name="T69" fmla="*/ 122 h 128"/>
                <a:gd name="T70" fmla="*/ 58 w 155"/>
                <a:gd name="T71" fmla="*/ 111 h 128"/>
                <a:gd name="T72" fmla="*/ 66 w 155"/>
                <a:gd name="T73" fmla="*/ 109 h 128"/>
                <a:gd name="T74" fmla="*/ 75 w 155"/>
                <a:gd name="T75" fmla="*/ 105 h 128"/>
                <a:gd name="T76" fmla="*/ 81 w 155"/>
                <a:gd name="T77" fmla="*/ 91 h 128"/>
                <a:gd name="T78" fmla="*/ 89 w 155"/>
                <a:gd name="T79" fmla="*/ 89 h 128"/>
                <a:gd name="T80" fmla="*/ 98 w 155"/>
                <a:gd name="T81" fmla="*/ 87 h 128"/>
                <a:gd name="T82" fmla="*/ 92 w 155"/>
                <a:gd name="T83" fmla="*/ 97 h 128"/>
                <a:gd name="T84" fmla="*/ 107 w 155"/>
                <a:gd name="T85" fmla="*/ 100 h 128"/>
                <a:gd name="T86" fmla="*/ 101 w 155"/>
                <a:gd name="T87" fmla="*/ 109 h 128"/>
                <a:gd name="T88" fmla="*/ 107 w 155"/>
                <a:gd name="T89" fmla="*/ 114 h 128"/>
                <a:gd name="T90" fmla="*/ 117 w 155"/>
                <a:gd name="T91" fmla="*/ 114 h 128"/>
                <a:gd name="T92" fmla="*/ 126 w 155"/>
                <a:gd name="T93" fmla="*/ 122 h 128"/>
                <a:gd name="T94" fmla="*/ 138 w 155"/>
                <a:gd name="T95" fmla="*/ 123 h 128"/>
                <a:gd name="T96" fmla="*/ 150 w 155"/>
                <a:gd name="T97" fmla="*/ 11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28">
                  <a:moveTo>
                    <a:pt x="155" y="111"/>
                  </a:moveTo>
                  <a:lnTo>
                    <a:pt x="152" y="109"/>
                  </a:lnTo>
                  <a:lnTo>
                    <a:pt x="147" y="105"/>
                  </a:lnTo>
                  <a:lnTo>
                    <a:pt x="152" y="105"/>
                  </a:lnTo>
                  <a:lnTo>
                    <a:pt x="153" y="101"/>
                  </a:lnTo>
                  <a:lnTo>
                    <a:pt x="150" y="101"/>
                  </a:lnTo>
                  <a:lnTo>
                    <a:pt x="147" y="98"/>
                  </a:lnTo>
                  <a:lnTo>
                    <a:pt x="146" y="98"/>
                  </a:lnTo>
                  <a:lnTo>
                    <a:pt x="146" y="101"/>
                  </a:lnTo>
                  <a:lnTo>
                    <a:pt x="144" y="101"/>
                  </a:lnTo>
                  <a:lnTo>
                    <a:pt x="141" y="101"/>
                  </a:lnTo>
                  <a:lnTo>
                    <a:pt x="138" y="100"/>
                  </a:lnTo>
                  <a:lnTo>
                    <a:pt x="136" y="97"/>
                  </a:lnTo>
                  <a:lnTo>
                    <a:pt x="135" y="97"/>
                  </a:lnTo>
                  <a:lnTo>
                    <a:pt x="130" y="100"/>
                  </a:lnTo>
                  <a:lnTo>
                    <a:pt x="123" y="100"/>
                  </a:lnTo>
                  <a:lnTo>
                    <a:pt x="119" y="98"/>
                  </a:lnTo>
                  <a:lnTo>
                    <a:pt x="124" y="95"/>
                  </a:lnTo>
                  <a:lnTo>
                    <a:pt x="129" y="95"/>
                  </a:lnTo>
                  <a:lnTo>
                    <a:pt x="132" y="92"/>
                  </a:lnTo>
                  <a:lnTo>
                    <a:pt x="132" y="89"/>
                  </a:lnTo>
                  <a:lnTo>
                    <a:pt x="130" y="87"/>
                  </a:lnTo>
                  <a:lnTo>
                    <a:pt x="130" y="83"/>
                  </a:lnTo>
                  <a:lnTo>
                    <a:pt x="130" y="80"/>
                  </a:lnTo>
                  <a:lnTo>
                    <a:pt x="130" y="78"/>
                  </a:lnTo>
                  <a:lnTo>
                    <a:pt x="129" y="74"/>
                  </a:lnTo>
                  <a:lnTo>
                    <a:pt x="129" y="73"/>
                  </a:lnTo>
                  <a:lnTo>
                    <a:pt x="121" y="65"/>
                  </a:lnTo>
                  <a:lnTo>
                    <a:pt x="115" y="61"/>
                  </a:lnTo>
                  <a:lnTo>
                    <a:pt x="113" y="59"/>
                  </a:lnTo>
                  <a:lnTo>
                    <a:pt x="112" y="53"/>
                  </a:lnTo>
                  <a:lnTo>
                    <a:pt x="107" y="53"/>
                  </a:lnTo>
                  <a:lnTo>
                    <a:pt x="107" y="52"/>
                  </a:lnTo>
                  <a:lnTo>
                    <a:pt x="107" y="47"/>
                  </a:lnTo>
                  <a:lnTo>
                    <a:pt x="106" y="42"/>
                  </a:lnTo>
                  <a:lnTo>
                    <a:pt x="100" y="42"/>
                  </a:lnTo>
                  <a:lnTo>
                    <a:pt x="91" y="39"/>
                  </a:lnTo>
                  <a:lnTo>
                    <a:pt x="86" y="33"/>
                  </a:lnTo>
                  <a:lnTo>
                    <a:pt x="91" y="31"/>
                  </a:lnTo>
                  <a:lnTo>
                    <a:pt x="91" y="30"/>
                  </a:lnTo>
                  <a:lnTo>
                    <a:pt x="85" y="25"/>
                  </a:lnTo>
                  <a:lnTo>
                    <a:pt x="85" y="22"/>
                  </a:lnTo>
                  <a:lnTo>
                    <a:pt x="83" y="22"/>
                  </a:lnTo>
                  <a:lnTo>
                    <a:pt x="77" y="28"/>
                  </a:lnTo>
                  <a:lnTo>
                    <a:pt x="77" y="31"/>
                  </a:lnTo>
                  <a:lnTo>
                    <a:pt x="74" y="35"/>
                  </a:lnTo>
                  <a:lnTo>
                    <a:pt x="71" y="33"/>
                  </a:lnTo>
                  <a:lnTo>
                    <a:pt x="71" y="25"/>
                  </a:lnTo>
                  <a:lnTo>
                    <a:pt x="70" y="22"/>
                  </a:lnTo>
                  <a:lnTo>
                    <a:pt x="70" y="19"/>
                  </a:lnTo>
                  <a:lnTo>
                    <a:pt x="74" y="20"/>
                  </a:lnTo>
                  <a:lnTo>
                    <a:pt x="77" y="20"/>
                  </a:lnTo>
                  <a:lnTo>
                    <a:pt x="75" y="16"/>
                  </a:lnTo>
                  <a:lnTo>
                    <a:pt x="77" y="13"/>
                  </a:lnTo>
                  <a:lnTo>
                    <a:pt x="75" y="8"/>
                  </a:lnTo>
                  <a:lnTo>
                    <a:pt x="70" y="9"/>
                  </a:lnTo>
                  <a:lnTo>
                    <a:pt x="70" y="6"/>
                  </a:lnTo>
                  <a:lnTo>
                    <a:pt x="75" y="2"/>
                  </a:lnTo>
                  <a:lnTo>
                    <a:pt x="71" y="0"/>
                  </a:lnTo>
                  <a:lnTo>
                    <a:pt x="62" y="3"/>
                  </a:lnTo>
                  <a:lnTo>
                    <a:pt x="56" y="9"/>
                  </a:lnTo>
                  <a:lnTo>
                    <a:pt x="52" y="19"/>
                  </a:lnTo>
                  <a:lnTo>
                    <a:pt x="46" y="25"/>
                  </a:lnTo>
                  <a:lnTo>
                    <a:pt x="46" y="28"/>
                  </a:lnTo>
                  <a:lnTo>
                    <a:pt x="43" y="31"/>
                  </a:lnTo>
                  <a:lnTo>
                    <a:pt x="43" y="35"/>
                  </a:lnTo>
                  <a:lnTo>
                    <a:pt x="37" y="42"/>
                  </a:lnTo>
                  <a:lnTo>
                    <a:pt x="40" y="47"/>
                  </a:lnTo>
                  <a:lnTo>
                    <a:pt x="35" y="47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28" y="61"/>
                  </a:lnTo>
                  <a:lnTo>
                    <a:pt x="26" y="65"/>
                  </a:lnTo>
                  <a:lnTo>
                    <a:pt x="26" y="73"/>
                  </a:lnTo>
                  <a:lnTo>
                    <a:pt x="23" y="74"/>
                  </a:lnTo>
                  <a:lnTo>
                    <a:pt x="23" y="81"/>
                  </a:lnTo>
                  <a:lnTo>
                    <a:pt x="20" y="86"/>
                  </a:lnTo>
                  <a:lnTo>
                    <a:pt x="14" y="86"/>
                  </a:lnTo>
                  <a:lnTo>
                    <a:pt x="5" y="89"/>
                  </a:lnTo>
                  <a:lnTo>
                    <a:pt x="5" y="92"/>
                  </a:lnTo>
                  <a:lnTo>
                    <a:pt x="0" y="100"/>
                  </a:lnTo>
                  <a:lnTo>
                    <a:pt x="3" y="105"/>
                  </a:lnTo>
                  <a:lnTo>
                    <a:pt x="5" y="105"/>
                  </a:lnTo>
                  <a:lnTo>
                    <a:pt x="6" y="101"/>
                  </a:lnTo>
                  <a:lnTo>
                    <a:pt x="9" y="100"/>
                  </a:lnTo>
                  <a:lnTo>
                    <a:pt x="11" y="101"/>
                  </a:lnTo>
                  <a:lnTo>
                    <a:pt x="14" y="104"/>
                  </a:lnTo>
                  <a:lnTo>
                    <a:pt x="18" y="104"/>
                  </a:lnTo>
                  <a:lnTo>
                    <a:pt x="20" y="101"/>
                  </a:lnTo>
                  <a:lnTo>
                    <a:pt x="23" y="101"/>
                  </a:lnTo>
                  <a:lnTo>
                    <a:pt x="26" y="104"/>
                  </a:lnTo>
                  <a:lnTo>
                    <a:pt x="28" y="107"/>
                  </a:lnTo>
                  <a:lnTo>
                    <a:pt x="23" y="113"/>
                  </a:lnTo>
                  <a:lnTo>
                    <a:pt x="23" y="117"/>
                  </a:lnTo>
                  <a:lnTo>
                    <a:pt x="20" y="120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31" y="128"/>
                  </a:lnTo>
                  <a:lnTo>
                    <a:pt x="34" y="126"/>
                  </a:lnTo>
                  <a:lnTo>
                    <a:pt x="40" y="126"/>
                  </a:lnTo>
                  <a:lnTo>
                    <a:pt x="41" y="123"/>
                  </a:lnTo>
                  <a:lnTo>
                    <a:pt x="45" y="122"/>
                  </a:lnTo>
                  <a:lnTo>
                    <a:pt x="49" y="122"/>
                  </a:lnTo>
                  <a:lnTo>
                    <a:pt x="52" y="118"/>
                  </a:lnTo>
                  <a:lnTo>
                    <a:pt x="55" y="114"/>
                  </a:lnTo>
                  <a:lnTo>
                    <a:pt x="58" y="111"/>
                  </a:lnTo>
                  <a:lnTo>
                    <a:pt x="60" y="107"/>
                  </a:lnTo>
                  <a:lnTo>
                    <a:pt x="62" y="107"/>
                  </a:lnTo>
                  <a:lnTo>
                    <a:pt x="66" y="109"/>
                  </a:lnTo>
                  <a:lnTo>
                    <a:pt x="70" y="107"/>
                  </a:lnTo>
                  <a:lnTo>
                    <a:pt x="71" y="105"/>
                  </a:lnTo>
                  <a:lnTo>
                    <a:pt x="75" y="105"/>
                  </a:lnTo>
                  <a:lnTo>
                    <a:pt x="77" y="100"/>
                  </a:lnTo>
                  <a:lnTo>
                    <a:pt x="77" y="95"/>
                  </a:lnTo>
                  <a:lnTo>
                    <a:pt x="81" y="91"/>
                  </a:lnTo>
                  <a:lnTo>
                    <a:pt x="83" y="87"/>
                  </a:lnTo>
                  <a:lnTo>
                    <a:pt x="86" y="87"/>
                  </a:lnTo>
                  <a:lnTo>
                    <a:pt x="89" y="89"/>
                  </a:lnTo>
                  <a:lnTo>
                    <a:pt x="92" y="87"/>
                  </a:lnTo>
                  <a:lnTo>
                    <a:pt x="95" y="86"/>
                  </a:lnTo>
                  <a:lnTo>
                    <a:pt x="98" y="87"/>
                  </a:lnTo>
                  <a:lnTo>
                    <a:pt x="98" y="91"/>
                  </a:lnTo>
                  <a:lnTo>
                    <a:pt x="95" y="95"/>
                  </a:lnTo>
                  <a:lnTo>
                    <a:pt x="92" y="97"/>
                  </a:lnTo>
                  <a:lnTo>
                    <a:pt x="96" y="98"/>
                  </a:lnTo>
                  <a:lnTo>
                    <a:pt x="104" y="98"/>
                  </a:lnTo>
                  <a:lnTo>
                    <a:pt x="107" y="100"/>
                  </a:lnTo>
                  <a:lnTo>
                    <a:pt x="110" y="104"/>
                  </a:lnTo>
                  <a:lnTo>
                    <a:pt x="106" y="107"/>
                  </a:lnTo>
                  <a:lnTo>
                    <a:pt x="101" y="109"/>
                  </a:lnTo>
                  <a:lnTo>
                    <a:pt x="101" y="114"/>
                  </a:lnTo>
                  <a:lnTo>
                    <a:pt x="106" y="117"/>
                  </a:lnTo>
                  <a:lnTo>
                    <a:pt x="107" y="114"/>
                  </a:lnTo>
                  <a:lnTo>
                    <a:pt x="112" y="114"/>
                  </a:lnTo>
                  <a:lnTo>
                    <a:pt x="113" y="117"/>
                  </a:lnTo>
                  <a:lnTo>
                    <a:pt x="117" y="114"/>
                  </a:lnTo>
                  <a:lnTo>
                    <a:pt x="119" y="118"/>
                  </a:lnTo>
                  <a:lnTo>
                    <a:pt x="123" y="118"/>
                  </a:lnTo>
                  <a:lnTo>
                    <a:pt x="126" y="122"/>
                  </a:lnTo>
                  <a:lnTo>
                    <a:pt x="129" y="122"/>
                  </a:lnTo>
                  <a:lnTo>
                    <a:pt x="136" y="123"/>
                  </a:lnTo>
                  <a:lnTo>
                    <a:pt x="138" y="123"/>
                  </a:lnTo>
                  <a:lnTo>
                    <a:pt x="141" y="118"/>
                  </a:lnTo>
                  <a:lnTo>
                    <a:pt x="144" y="117"/>
                  </a:lnTo>
                  <a:lnTo>
                    <a:pt x="150" y="113"/>
                  </a:lnTo>
                  <a:lnTo>
                    <a:pt x="153" y="113"/>
                  </a:lnTo>
                  <a:lnTo>
                    <a:pt x="155" y="1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1" name="Freeform 223"/>
            <p:cNvSpPr>
              <a:spLocks/>
            </p:cNvSpPr>
            <p:nvPr/>
          </p:nvSpPr>
          <p:spPr bwMode="auto">
            <a:xfrm>
              <a:off x="2936876" y="2505075"/>
              <a:ext cx="25400" cy="12700"/>
            </a:xfrm>
            <a:custGeom>
              <a:avLst/>
              <a:gdLst>
                <a:gd name="T0" fmla="*/ 16 w 16"/>
                <a:gd name="T1" fmla="*/ 0 h 8"/>
                <a:gd name="T2" fmla="*/ 10 w 16"/>
                <a:gd name="T3" fmla="*/ 1 h 8"/>
                <a:gd name="T4" fmla="*/ 9 w 16"/>
                <a:gd name="T5" fmla="*/ 1 h 8"/>
                <a:gd name="T6" fmla="*/ 9 w 16"/>
                <a:gd name="T7" fmla="*/ 3 h 8"/>
                <a:gd name="T8" fmla="*/ 5 w 16"/>
                <a:gd name="T9" fmla="*/ 3 h 8"/>
                <a:gd name="T10" fmla="*/ 0 w 16"/>
                <a:gd name="T11" fmla="*/ 8 h 8"/>
                <a:gd name="T12" fmla="*/ 3 w 16"/>
                <a:gd name="T13" fmla="*/ 8 h 8"/>
                <a:gd name="T14" fmla="*/ 6 w 16"/>
                <a:gd name="T15" fmla="*/ 8 h 8"/>
                <a:gd name="T16" fmla="*/ 14 w 16"/>
                <a:gd name="T17" fmla="*/ 3 h 8"/>
                <a:gd name="T18" fmla="*/ 16 w 16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8">
                  <a:moveTo>
                    <a:pt x="16" y="0"/>
                  </a:moveTo>
                  <a:lnTo>
                    <a:pt x="10" y="1"/>
                  </a:lnTo>
                  <a:lnTo>
                    <a:pt x="9" y="1"/>
                  </a:lnTo>
                  <a:lnTo>
                    <a:pt x="9" y="3"/>
                  </a:lnTo>
                  <a:lnTo>
                    <a:pt x="5" y="3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14" y="3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2" name="Freeform 224"/>
            <p:cNvSpPr>
              <a:spLocks/>
            </p:cNvSpPr>
            <p:nvPr/>
          </p:nvSpPr>
          <p:spPr bwMode="auto">
            <a:xfrm>
              <a:off x="3775076" y="3087688"/>
              <a:ext cx="6350" cy="9525"/>
            </a:xfrm>
            <a:custGeom>
              <a:avLst/>
              <a:gdLst>
                <a:gd name="T0" fmla="*/ 2 w 4"/>
                <a:gd name="T1" fmla="*/ 6 h 6"/>
                <a:gd name="T2" fmla="*/ 4 w 4"/>
                <a:gd name="T3" fmla="*/ 6 h 6"/>
                <a:gd name="T4" fmla="*/ 4 w 4"/>
                <a:gd name="T5" fmla="*/ 3 h 6"/>
                <a:gd name="T6" fmla="*/ 4 w 4"/>
                <a:gd name="T7" fmla="*/ 0 h 6"/>
                <a:gd name="T8" fmla="*/ 2 w 4"/>
                <a:gd name="T9" fmla="*/ 0 h 6"/>
                <a:gd name="T10" fmla="*/ 0 w 4"/>
                <a:gd name="T11" fmla="*/ 3 h 6"/>
                <a:gd name="T12" fmla="*/ 2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4" y="6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3" name="Freeform 225"/>
            <p:cNvSpPr>
              <a:spLocks/>
            </p:cNvSpPr>
            <p:nvPr/>
          </p:nvSpPr>
          <p:spPr bwMode="auto">
            <a:xfrm>
              <a:off x="2992438" y="1830388"/>
              <a:ext cx="12700" cy="34925"/>
            </a:xfrm>
            <a:custGeom>
              <a:avLst/>
              <a:gdLst>
                <a:gd name="T0" fmla="*/ 8 w 8"/>
                <a:gd name="T1" fmla="*/ 6 h 22"/>
                <a:gd name="T2" fmla="*/ 8 w 8"/>
                <a:gd name="T3" fmla="*/ 3 h 22"/>
                <a:gd name="T4" fmla="*/ 4 w 8"/>
                <a:gd name="T5" fmla="*/ 0 h 22"/>
                <a:gd name="T6" fmla="*/ 2 w 8"/>
                <a:gd name="T7" fmla="*/ 6 h 22"/>
                <a:gd name="T8" fmla="*/ 2 w 8"/>
                <a:gd name="T9" fmla="*/ 12 h 22"/>
                <a:gd name="T10" fmla="*/ 0 w 8"/>
                <a:gd name="T11" fmla="*/ 15 h 22"/>
                <a:gd name="T12" fmla="*/ 2 w 8"/>
                <a:gd name="T13" fmla="*/ 17 h 22"/>
                <a:gd name="T14" fmla="*/ 2 w 8"/>
                <a:gd name="T15" fmla="*/ 22 h 22"/>
                <a:gd name="T16" fmla="*/ 4 w 8"/>
                <a:gd name="T17" fmla="*/ 21 h 22"/>
                <a:gd name="T18" fmla="*/ 8 w 8"/>
                <a:gd name="T19" fmla="*/ 14 h 22"/>
                <a:gd name="T20" fmla="*/ 5 w 8"/>
                <a:gd name="T21" fmla="*/ 9 h 22"/>
                <a:gd name="T22" fmla="*/ 5 w 8"/>
                <a:gd name="T23" fmla="*/ 8 h 22"/>
                <a:gd name="T24" fmla="*/ 8 w 8"/>
                <a:gd name="T25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2">
                  <a:moveTo>
                    <a:pt x="8" y="6"/>
                  </a:moveTo>
                  <a:lnTo>
                    <a:pt x="8" y="3"/>
                  </a:lnTo>
                  <a:lnTo>
                    <a:pt x="4" y="0"/>
                  </a:lnTo>
                  <a:lnTo>
                    <a:pt x="2" y="6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8" y="14"/>
                  </a:lnTo>
                  <a:lnTo>
                    <a:pt x="5" y="9"/>
                  </a:lnTo>
                  <a:lnTo>
                    <a:pt x="5" y="8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4" name="Freeform 226"/>
            <p:cNvSpPr>
              <a:spLocks/>
            </p:cNvSpPr>
            <p:nvPr/>
          </p:nvSpPr>
          <p:spPr bwMode="auto">
            <a:xfrm>
              <a:off x="3773488" y="3070225"/>
              <a:ext cx="7938" cy="17463"/>
            </a:xfrm>
            <a:custGeom>
              <a:avLst/>
              <a:gdLst>
                <a:gd name="T0" fmla="*/ 3 w 5"/>
                <a:gd name="T1" fmla="*/ 0 h 11"/>
                <a:gd name="T2" fmla="*/ 1 w 5"/>
                <a:gd name="T3" fmla="*/ 2 h 11"/>
                <a:gd name="T4" fmla="*/ 0 w 5"/>
                <a:gd name="T5" fmla="*/ 3 h 11"/>
                <a:gd name="T6" fmla="*/ 1 w 5"/>
                <a:gd name="T7" fmla="*/ 8 h 11"/>
                <a:gd name="T8" fmla="*/ 3 w 5"/>
                <a:gd name="T9" fmla="*/ 11 h 11"/>
                <a:gd name="T10" fmla="*/ 3 w 5"/>
                <a:gd name="T11" fmla="*/ 8 h 11"/>
                <a:gd name="T12" fmla="*/ 5 w 5"/>
                <a:gd name="T13" fmla="*/ 8 h 11"/>
                <a:gd name="T14" fmla="*/ 5 w 5"/>
                <a:gd name="T15" fmla="*/ 3 h 11"/>
                <a:gd name="T16" fmla="*/ 3 w 5"/>
                <a:gd name="T17" fmla="*/ 2 h 11"/>
                <a:gd name="T18" fmla="*/ 3 w 5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11">
                  <a:moveTo>
                    <a:pt x="3" y="0"/>
                  </a:moveTo>
                  <a:lnTo>
                    <a:pt x="1" y="2"/>
                  </a:lnTo>
                  <a:lnTo>
                    <a:pt x="0" y="3"/>
                  </a:lnTo>
                  <a:lnTo>
                    <a:pt x="1" y="8"/>
                  </a:lnTo>
                  <a:lnTo>
                    <a:pt x="3" y="11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3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5" name="Freeform 227"/>
            <p:cNvSpPr>
              <a:spLocks/>
            </p:cNvSpPr>
            <p:nvPr/>
          </p:nvSpPr>
          <p:spPr bwMode="auto">
            <a:xfrm>
              <a:off x="3783013" y="3097213"/>
              <a:ext cx="7938" cy="4763"/>
            </a:xfrm>
            <a:custGeom>
              <a:avLst/>
              <a:gdLst>
                <a:gd name="T0" fmla="*/ 0 w 5"/>
                <a:gd name="T1" fmla="*/ 2 h 3"/>
                <a:gd name="T2" fmla="*/ 3 w 5"/>
                <a:gd name="T3" fmla="*/ 3 h 3"/>
                <a:gd name="T4" fmla="*/ 5 w 5"/>
                <a:gd name="T5" fmla="*/ 2 h 3"/>
                <a:gd name="T6" fmla="*/ 5 w 5"/>
                <a:gd name="T7" fmla="*/ 0 h 3"/>
                <a:gd name="T8" fmla="*/ 3 w 5"/>
                <a:gd name="T9" fmla="*/ 0 h 3"/>
                <a:gd name="T10" fmla="*/ 0 w 5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lnTo>
                    <a:pt x="3" y="3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6" name="Freeform 228"/>
            <p:cNvSpPr>
              <a:spLocks/>
            </p:cNvSpPr>
            <p:nvPr/>
          </p:nvSpPr>
          <p:spPr bwMode="auto">
            <a:xfrm>
              <a:off x="3663951" y="2841625"/>
              <a:ext cx="274638" cy="266700"/>
            </a:xfrm>
            <a:custGeom>
              <a:avLst/>
              <a:gdLst>
                <a:gd name="T0" fmla="*/ 158 w 173"/>
                <a:gd name="T1" fmla="*/ 136 h 168"/>
                <a:gd name="T2" fmla="*/ 170 w 173"/>
                <a:gd name="T3" fmla="*/ 120 h 168"/>
                <a:gd name="T4" fmla="*/ 156 w 173"/>
                <a:gd name="T5" fmla="*/ 127 h 168"/>
                <a:gd name="T6" fmla="*/ 141 w 173"/>
                <a:gd name="T7" fmla="*/ 124 h 168"/>
                <a:gd name="T8" fmla="*/ 143 w 173"/>
                <a:gd name="T9" fmla="*/ 118 h 168"/>
                <a:gd name="T10" fmla="*/ 149 w 173"/>
                <a:gd name="T11" fmla="*/ 115 h 168"/>
                <a:gd name="T12" fmla="*/ 167 w 173"/>
                <a:gd name="T13" fmla="*/ 102 h 168"/>
                <a:gd name="T14" fmla="*/ 156 w 173"/>
                <a:gd name="T15" fmla="*/ 102 h 168"/>
                <a:gd name="T16" fmla="*/ 143 w 173"/>
                <a:gd name="T17" fmla="*/ 113 h 168"/>
                <a:gd name="T18" fmla="*/ 146 w 173"/>
                <a:gd name="T19" fmla="*/ 104 h 168"/>
                <a:gd name="T20" fmla="*/ 144 w 173"/>
                <a:gd name="T21" fmla="*/ 93 h 168"/>
                <a:gd name="T22" fmla="*/ 152 w 173"/>
                <a:gd name="T23" fmla="*/ 87 h 168"/>
                <a:gd name="T24" fmla="*/ 152 w 173"/>
                <a:gd name="T25" fmla="*/ 71 h 168"/>
                <a:gd name="T26" fmla="*/ 137 w 173"/>
                <a:gd name="T27" fmla="*/ 79 h 168"/>
                <a:gd name="T28" fmla="*/ 129 w 173"/>
                <a:gd name="T29" fmla="*/ 77 h 168"/>
                <a:gd name="T30" fmla="*/ 112 w 173"/>
                <a:gd name="T31" fmla="*/ 87 h 168"/>
                <a:gd name="T32" fmla="*/ 110 w 173"/>
                <a:gd name="T33" fmla="*/ 79 h 168"/>
                <a:gd name="T34" fmla="*/ 103 w 173"/>
                <a:gd name="T35" fmla="*/ 76 h 168"/>
                <a:gd name="T36" fmla="*/ 100 w 173"/>
                <a:gd name="T37" fmla="*/ 62 h 168"/>
                <a:gd name="T38" fmla="*/ 106 w 173"/>
                <a:gd name="T39" fmla="*/ 59 h 168"/>
                <a:gd name="T40" fmla="*/ 100 w 173"/>
                <a:gd name="T41" fmla="*/ 52 h 168"/>
                <a:gd name="T42" fmla="*/ 93 w 173"/>
                <a:gd name="T43" fmla="*/ 52 h 168"/>
                <a:gd name="T44" fmla="*/ 75 w 173"/>
                <a:gd name="T45" fmla="*/ 62 h 168"/>
                <a:gd name="T46" fmla="*/ 89 w 173"/>
                <a:gd name="T47" fmla="*/ 43 h 168"/>
                <a:gd name="T48" fmla="*/ 100 w 173"/>
                <a:gd name="T49" fmla="*/ 27 h 168"/>
                <a:gd name="T50" fmla="*/ 114 w 173"/>
                <a:gd name="T51" fmla="*/ 21 h 168"/>
                <a:gd name="T52" fmla="*/ 106 w 173"/>
                <a:gd name="T53" fmla="*/ 9 h 168"/>
                <a:gd name="T54" fmla="*/ 118 w 173"/>
                <a:gd name="T55" fmla="*/ 1 h 168"/>
                <a:gd name="T56" fmla="*/ 109 w 173"/>
                <a:gd name="T57" fmla="*/ 6 h 168"/>
                <a:gd name="T58" fmla="*/ 85 w 173"/>
                <a:gd name="T59" fmla="*/ 18 h 168"/>
                <a:gd name="T60" fmla="*/ 74 w 173"/>
                <a:gd name="T61" fmla="*/ 30 h 168"/>
                <a:gd name="T62" fmla="*/ 69 w 173"/>
                <a:gd name="T63" fmla="*/ 38 h 168"/>
                <a:gd name="T64" fmla="*/ 55 w 173"/>
                <a:gd name="T65" fmla="*/ 52 h 168"/>
                <a:gd name="T66" fmla="*/ 47 w 173"/>
                <a:gd name="T67" fmla="*/ 66 h 168"/>
                <a:gd name="T68" fmla="*/ 44 w 173"/>
                <a:gd name="T69" fmla="*/ 77 h 168"/>
                <a:gd name="T70" fmla="*/ 26 w 173"/>
                <a:gd name="T71" fmla="*/ 93 h 168"/>
                <a:gd name="T72" fmla="*/ 20 w 173"/>
                <a:gd name="T73" fmla="*/ 88 h 168"/>
                <a:gd name="T74" fmla="*/ 14 w 173"/>
                <a:gd name="T75" fmla="*/ 98 h 168"/>
                <a:gd name="T76" fmla="*/ 3 w 173"/>
                <a:gd name="T77" fmla="*/ 118 h 168"/>
                <a:gd name="T78" fmla="*/ 9 w 173"/>
                <a:gd name="T79" fmla="*/ 129 h 168"/>
                <a:gd name="T80" fmla="*/ 36 w 173"/>
                <a:gd name="T81" fmla="*/ 126 h 168"/>
                <a:gd name="T82" fmla="*/ 58 w 173"/>
                <a:gd name="T83" fmla="*/ 131 h 168"/>
                <a:gd name="T84" fmla="*/ 74 w 173"/>
                <a:gd name="T85" fmla="*/ 131 h 168"/>
                <a:gd name="T86" fmla="*/ 84 w 173"/>
                <a:gd name="T87" fmla="*/ 124 h 168"/>
                <a:gd name="T88" fmla="*/ 89 w 173"/>
                <a:gd name="T89" fmla="*/ 122 h 168"/>
                <a:gd name="T90" fmla="*/ 87 w 173"/>
                <a:gd name="T91" fmla="*/ 131 h 168"/>
                <a:gd name="T92" fmla="*/ 95 w 173"/>
                <a:gd name="T93" fmla="*/ 136 h 168"/>
                <a:gd name="T94" fmla="*/ 110 w 173"/>
                <a:gd name="T95" fmla="*/ 133 h 168"/>
                <a:gd name="T96" fmla="*/ 106 w 173"/>
                <a:gd name="T97" fmla="*/ 136 h 168"/>
                <a:gd name="T98" fmla="*/ 95 w 173"/>
                <a:gd name="T99" fmla="*/ 146 h 168"/>
                <a:gd name="T100" fmla="*/ 89 w 173"/>
                <a:gd name="T101" fmla="*/ 155 h 168"/>
                <a:gd name="T102" fmla="*/ 104 w 173"/>
                <a:gd name="T103" fmla="*/ 150 h 168"/>
                <a:gd name="T104" fmla="*/ 121 w 173"/>
                <a:gd name="T105" fmla="*/ 138 h 168"/>
                <a:gd name="T106" fmla="*/ 131 w 173"/>
                <a:gd name="T107" fmla="*/ 124 h 168"/>
                <a:gd name="T108" fmla="*/ 137 w 173"/>
                <a:gd name="T109" fmla="*/ 141 h 168"/>
                <a:gd name="T110" fmla="*/ 131 w 173"/>
                <a:gd name="T111" fmla="*/ 161 h 168"/>
                <a:gd name="T112" fmla="*/ 152 w 173"/>
                <a:gd name="T113" fmla="*/ 147 h 168"/>
                <a:gd name="T114" fmla="*/ 146 w 173"/>
                <a:gd name="T115" fmla="*/ 168 h 168"/>
                <a:gd name="T116" fmla="*/ 161 w 173"/>
                <a:gd name="T117" fmla="*/ 161 h 168"/>
                <a:gd name="T118" fmla="*/ 170 w 173"/>
                <a:gd name="T119" fmla="*/ 14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68">
                  <a:moveTo>
                    <a:pt x="170" y="127"/>
                  </a:moveTo>
                  <a:lnTo>
                    <a:pt x="170" y="129"/>
                  </a:lnTo>
                  <a:lnTo>
                    <a:pt x="167" y="133"/>
                  </a:lnTo>
                  <a:lnTo>
                    <a:pt x="165" y="135"/>
                  </a:lnTo>
                  <a:lnTo>
                    <a:pt x="161" y="138"/>
                  </a:lnTo>
                  <a:lnTo>
                    <a:pt x="159" y="138"/>
                  </a:lnTo>
                  <a:lnTo>
                    <a:pt x="158" y="136"/>
                  </a:lnTo>
                  <a:lnTo>
                    <a:pt x="158" y="133"/>
                  </a:lnTo>
                  <a:lnTo>
                    <a:pt x="158" y="129"/>
                  </a:lnTo>
                  <a:lnTo>
                    <a:pt x="161" y="126"/>
                  </a:lnTo>
                  <a:lnTo>
                    <a:pt x="164" y="124"/>
                  </a:lnTo>
                  <a:lnTo>
                    <a:pt x="167" y="122"/>
                  </a:lnTo>
                  <a:lnTo>
                    <a:pt x="170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67" y="120"/>
                  </a:lnTo>
                  <a:lnTo>
                    <a:pt x="165" y="120"/>
                  </a:lnTo>
                  <a:lnTo>
                    <a:pt x="161" y="122"/>
                  </a:lnTo>
                  <a:lnTo>
                    <a:pt x="159" y="122"/>
                  </a:lnTo>
                  <a:lnTo>
                    <a:pt x="156" y="126"/>
                  </a:lnTo>
                  <a:lnTo>
                    <a:pt x="156" y="127"/>
                  </a:lnTo>
                  <a:lnTo>
                    <a:pt x="150" y="131"/>
                  </a:lnTo>
                  <a:lnTo>
                    <a:pt x="149" y="133"/>
                  </a:lnTo>
                  <a:lnTo>
                    <a:pt x="146" y="135"/>
                  </a:lnTo>
                  <a:lnTo>
                    <a:pt x="143" y="131"/>
                  </a:lnTo>
                  <a:lnTo>
                    <a:pt x="143" y="129"/>
                  </a:lnTo>
                  <a:lnTo>
                    <a:pt x="141" y="126"/>
                  </a:lnTo>
                  <a:lnTo>
                    <a:pt x="141" y="124"/>
                  </a:lnTo>
                  <a:lnTo>
                    <a:pt x="143" y="126"/>
                  </a:lnTo>
                  <a:lnTo>
                    <a:pt x="144" y="126"/>
                  </a:lnTo>
                  <a:lnTo>
                    <a:pt x="149" y="122"/>
                  </a:lnTo>
                  <a:lnTo>
                    <a:pt x="144" y="122"/>
                  </a:lnTo>
                  <a:lnTo>
                    <a:pt x="141" y="120"/>
                  </a:lnTo>
                  <a:lnTo>
                    <a:pt x="144" y="120"/>
                  </a:lnTo>
                  <a:lnTo>
                    <a:pt x="143" y="118"/>
                  </a:lnTo>
                  <a:lnTo>
                    <a:pt x="146" y="118"/>
                  </a:lnTo>
                  <a:lnTo>
                    <a:pt x="150" y="118"/>
                  </a:lnTo>
                  <a:lnTo>
                    <a:pt x="150" y="116"/>
                  </a:lnTo>
                  <a:lnTo>
                    <a:pt x="146" y="116"/>
                  </a:lnTo>
                  <a:lnTo>
                    <a:pt x="143" y="116"/>
                  </a:lnTo>
                  <a:lnTo>
                    <a:pt x="143" y="115"/>
                  </a:lnTo>
                  <a:lnTo>
                    <a:pt x="149" y="115"/>
                  </a:lnTo>
                  <a:lnTo>
                    <a:pt x="150" y="113"/>
                  </a:lnTo>
                  <a:lnTo>
                    <a:pt x="155" y="110"/>
                  </a:lnTo>
                  <a:lnTo>
                    <a:pt x="156" y="107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65" y="105"/>
                  </a:lnTo>
                  <a:lnTo>
                    <a:pt x="167" y="102"/>
                  </a:lnTo>
                  <a:lnTo>
                    <a:pt x="167" y="98"/>
                  </a:lnTo>
                  <a:lnTo>
                    <a:pt x="165" y="96"/>
                  </a:lnTo>
                  <a:lnTo>
                    <a:pt x="161" y="100"/>
                  </a:lnTo>
                  <a:lnTo>
                    <a:pt x="159" y="102"/>
                  </a:lnTo>
                  <a:lnTo>
                    <a:pt x="159" y="100"/>
                  </a:lnTo>
                  <a:lnTo>
                    <a:pt x="156" y="100"/>
                  </a:lnTo>
                  <a:lnTo>
                    <a:pt x="156" y="102"/>
                  </a:lnTo>
                  <a:lnTo>
                    <a:pt x="156" y="104"/>
                  </a:lnTo>
                  <a:lnTo>
                    <a:pt x="155" y="105"/>
                  </a:lnTo>
                  <a:lnTo>
                    <a:pt x="150" y="105"/>
                  </a:lnTo>
                  <a:lnTo>
                    <a:pt x="149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3" y="113"/>
                  </a:lnTo>
                  <a:lnTo>
                    <a:pt x="143" y="110"/>
                  </a:lnTo>
                  <a:lnTo>
                    <a:pt x="144" y="107"/>
                  </a:lnTo>
                  <a:lnTo>
                    <a:pt x="143" y="110"/>
                  </a:lnTo>
                  <a:lnTo>
                    <a:pt x="139" y="110"/>
                  </a:lnTo>
                  <a:lnTo>
                    <a:pt x="143" y="107"/>
                  </a:lnTo>
                  <a:lnTo>
                    <a:pt x="144" y="105"/>
                  </a:lnTo>
                  <a:lnTo>
                    <a:pt x="146" y="104"/>
                  </a:lnTo>
                  <a:lnTo>
                    <a:pt x="144" y="102"/>
                  </a:lnTo>
                  <a:lnTo>
                    <a:pt x="146" y="100"/>
                  </a:lnTo>
                  <a:lnTo>
                    <a:pt x="149" y="96"/>
                  </a:lnTo>
                  <a:lnTo>
                    <a:pt x="146" y="96"/>
                  </a:lnTo>
                  <a:lnTo>
                    <a:pt x="144" y="98"/>
                  </a:lnTo>
                  <a:lnTo>
                    <a:pt x="144" y="96"/>
                  </a:lnTo>
                  <a:lnTo>
                    <a:pt x="144" y="93"/>
                  </a:lnTo>
                  <a:lnTo>
                    <a:pt x="141" y="94"/>
                  </a:lnTo>
                  <a:lnTo>
                    <a:pt x="135" y="93"/>
                  </a:lnTo>
                  <a:lnTo>
                    <a:pt x="141" y="93"/>
                  </a:lnTo>
                  <a:lnTo>
                    <a:pt x="143" y="93"/>
                  </a:lnTo>
                  <a:lnTo>
                    <a:pt x="146" y="91"/>
                  </a:lnTo>
                  <a:lnTo>
                    <a:pt x="150" y="88"/>
                  </a:lnTo>
                  <a:lnTo>
                    <a:pt x="152" y="87"/>
                  </a:lnTo>
                  <a:lnTo>
                    <a:pt x="155" y="87"/>
                  </a:lnTo>
                  <a:lnTo>
                    <a:pt x="158" y="85"/>
                  </a:lnTo>
                  <a:lnTo>
                    <a:pt x="158" y="83"/>
                  </a:lnTo>
                  <a:lnTo>
                    <a:pt x="159" y="82"/>
                  </a:lnTo>
                  <a:lnTo>
                    <a:pt x="159" y="77"/>
                  </a:lnTo>
                  <a:lnTo>
                    <a:pt x="156" y="76"/>
                  </a:lnTo>
                  <a:lnTo>
                    <a:pt x="152" y="71"/>
                  </a:lnTo>
                  <a:lnTo>
                    <a:pt x="149" y="71"/>
                  </a:lnTo>
                  <a:lnTo>
                    <a:pt x="143" y="74"/>
                  </a:lnTo>
                  <a:lnTo>
                    <a:pt x="141" y="74"/>
                  </a:lnTo>
                  <a:lnTo>
                    <a:pt x="141" y="76"/>
                  </a:lnTo>
                  <a:lnTo>
                    <a:pt x="139" y="79"/>
                  </a:lnTo>
                  <a:lnTo>
                    <a:pt x="137" y="83"/>
                  </a:lnTo>
                  <a:lnTo>
                    <a:pt x="137" y="79"/>
                  </a:lnTo>
                  <a:lnTo>
                    <a:pt x="135" y="77"/>
                  </a:lnTo>
                  <a:lnTo>
                    <a:pt x="137" y="76"/>
                  </a:lnTo>
                  <a:lnTo>
                    <a:pt x="139" y="71"/>
                  </a:lnTo>
                  <a:lnTo>
                    <a:pt x="137" y="71"/>
                  </a:lnTo>
                  <a:lnTo>
                    <a:pt x="133" y="74"/>
                  </a:lnTo>
                  <a:lnTo>
                    <a:pt x="131" y="76"/>
                  </a:lnTo>
                  <a:lnTo>
                    <a:pt x="129" y="77"/>
                  </a:lnTo>
                  <a:lnTo>
                    <a:pt x="127" y="76"/>
                  </a:lnTo>
                  <a:lnTo>
                    <a:pt x="126" y="77"/>
                  </a:lnTo>
                  <a:lnTo>
                    <a:pt x="121" y="79"/>
                  </a:lnTo>
                  <a:lnTo>
                    <a:pt x="121" y="77"/>
                  </a:lnTo>
                  <a:lnTo>
                    <a:pt x="118" y="79"/>
                  </a:lnTo>
                  <a:lnTo>
                    <a:pt x="115" y="85"/>
                  </a:lnTo>
                  <a:lnTo>
                    <a:pt x="112" y="87"/>
                  </a:lnTo>
                  <a:lnTo>
                    <a:pt x="115" y="83"/>
                  </a:lnTo>
                  <a:lnTo>
                    <a:pt x="115" y="77"/>
                  </a:lnTo>
                  <a:lnTo>
                    <a:pt x="120" y="74"/>
                  </a:lnTo>
                  <a:lnTo>
                    <a:pt x="118" y="74"/>
                  </a:lnTo>
                  <a:lnTo>
                    <a:pt x="115" y="74"/>
                  </a:lnTo>
                  <a:lnTo>
                    <a:pt x="114" y="76"/>
                  </a:lnTo>
                  <a:lnTo>
                    <a:pt x="110" y="79"/>
                  </a:lnTo>
                  <a:lnTo>
                    <a:pt x="110" y="77"/>
                  </a:lnTo>
                  <a:lnTo>
                    <a:pt x="112" y="76"/>
                  </a:lnTo>
                  <a:lnTo>
                    <a:pt x="112" y="74"/>
                  </a:lnTo>
                  <a:lnTo>
                    <a:pt x="112" y="71"/>
                  </a:lnTo>
                  <a:lnTo>
                    <a:pt x="109" y="74"/>
                  </a:lnTo>
                  <a:lnTo>
                    <a:pt x="104" y="76"/>
                  </a:lnTo>
                  <a:lnTo>
                    <a:pt x="103" y="76"/>
                  </a:lnTo>
                  <a:lnTo>
                    <a:pt x="100" y="71"/>
                  </a:lnTo>
                  <a:lnTo>
                    <a:pt x="99" y="71"/>
                  </a:lnTo>
                  <a:lnTo>
                    <a:pt x="95" y="76"/>
                  </a:lnTo>
                  <a:lnTo>
                    <a:pt x="93" y="74"/>
                  </a:lnTo>
                  <a:lnTo>
                    <a:pt x="97" y="70"/>
                  </a:lnTo>
                  <a:lnTo>
                    <a:pt x="100" y="66"/>
                  </a:lnTo>
                  <a:lnTo>
                    <a:pt x="100" y="62"/>
                  </a:lnTo>
                  <a:lnTo>
                    <a:pt x="99" y="65"/>
                  </a:lnTo>
                  <a:lnTo>
                    <a:pt x="97" y="65"/>
                  </a:lnTo>
                  <a:lnTo>
                    <a:pt x="93" y="66"/>
                  </a:lnTo>
                  <a:lnTo>
                    <a:pt x="95" y="65"/>
                  </a:lnTo>
                  <a:lnTo>
                    <a:pt x="100" y="61"/>
                  </a:lnTo>
                  <a:lnTo>
                    <a:pt x="104" y="61"/>
                  </a:lnTo>
                  <a:lnTo>
                    <a:pt x="106" y="59"/>
                  </a:lnTo>
                  <a:lnTo>
                    <a:pt x="110" y="59"/>
                  </a:lnTo>
                  <a:lnTo>
                    <a:pt x="114" y="55"/>
                  </a:lnTo>
                  <a:lnTo>
                    <a:pt x="114" y="53"/>
                  </a:lnTo>
                  <a:lnTo>
                    <a:pt x="112" y="55"/>
                  </a:lnTo>
                  <a:lnTo>
                    <a:pt x="106" y="55"/>
                  </a:lnTo>
                  <a:lnTo>
                    <a:pt x="104" y="55"/>
                  </a:lnTo>
                  <a:lnTo>
                    <a:pt x="100" y="52"/>
                  </a:lnTo>
                  <a:lnTo>
                    <a:pt x="99" y="53"/>
                  </a:lnTo>
                  <a:lnTo>
                    <a:pt x="95" y="53"/>
                  </a:lnTo>
                  <a:lnTo>
                    <a:pt x="97" y="49"/>
                  </a:lnTo>
                  <a:lnTo>
                    <a:pt x="99" y="49"/>
                  </a:lnTo>
                  <a:lnTo>
                    <a:pt x="99" y="48"/>
                  </a:lnTo>
                  <a:lnTo>
                    <a:pt x="97" y="48"/>
                  </a:lnTo>
                  <a:lnTo>
                    <a:pt x="93" y="52"/>
                  </a:lnTo>
                  <a:lnTo>
                    <a:pt x="91" y="53"/>
                  </a:lnTo>
                  <a:lnTo>
                    <a:pt x="87" y="57"/>
                  </a:lnTo>
                  <a:lnTo>
                    <a:pt x="84" y="59"/>
                  </a:lnTo>
                  <a:lnTo>
                    <a:pt x="84" y="61"/>
                  </a:lnTo>
                  <a:lnTo>
                    <a:pt x="80" y="62"/>
                  </a:lnTo>
                  <a:lnTo>
                    <a:pt x="75" y="66"/>
                  </a:lnTo>
                  <a:lnTo>
                    <a:pt x="75" y="62"/>
                  </a:lnTo>
                  <a:lnTo>
                    <a:pt x="78" y="59"/>
                  </a:lnTo>
                  <a:lnTo>
                    <a:pt x="80" y="55"/>
                  </a:lnTo>
                  <a:lnTo>
                    <a:pt x="80" y="53"/>
                  </a:lnTo>
                  <a:lnTo>
                    <a:pt x="81" y="49"/>
                  </a:lnTo>
                  <a:lnTo>
                    <a:pt x="85" y="46"/>
                  </a:lnTo>
                  <a:lnTo>
                    <a:pt x="85" y="44"/>
                  </a:lnTo>
                  <a:lnTo>
                    <a:pt x="89" y="43"/>
                  </a:lnTo>
                  <a:lnTo>
                    <a:pt x="89" y="40"/>
                  </a:lnTo>
                  <a:lnTo>
                    <a:pt x="93" y="37"/>
                  </a:lnTo>
                  <a:lnTo>
                    <a:pt x="95" y="35"/>
                  </a:lnTo>
                  <a:lnTo>
                    <a:pt x="97" y="31"/>
                  </a:lnTo>
                  <a:lnTo>
                    <a:pt x="100" y="31"/>
                  </a:lnTo>
                  <a:lnTo>
                    <a:pt x="100" y="30"/>
                  </a:lnTo>
                  <a:lnTo>
                    <a:pt x="100" y="27"/>
                  </a:lnTo>
                  <a:lnTo>
                    <a:pt x="103" y="24"/>
                  </a:lnTo>
                  <a:lnTo>
                    <a:pt x="104" y="21"/>
                  </a:lnTo>
                  <a:lnTo>
                    <a:pt x="104" y="24"/>
                  </a:lnTo>
                  <a:lnTo>
                    <a:pt x="103" y="26"/>
                  </a:lnTo>
                  <a:lnTo>
                    <a:pt x="104" y="30"/>
                  </a:lnTo>
                  <a:lnTo>
                    <a:pt x="109" y="24"/>
                  </a:lnTo>
                  <a:lnTo>
                    <a:pt x="114" y="21"/>
                  </a:lnTo>
                  <a:lnTo>
                    <a:pt x="114" y="17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09" y="17"/>
                  </a:lnTo>
                  <a:lnTo>
                    <a:pt x="109" y="13"/>
                  </a:lnTo>
                  <a:lnTo>
                    <a:pt x="106" y="12"/>
                  </a:lnTo>
                  <a:lnTo>
                    <a:pt x="106" y="9"/>
                  </a:lnTo>
                  <a:lnTo>
                    <a:pt x="110" y="9"/>
                  </a:lnTo>
                  <a:lnTo>
                    <a:pt x="114" y="9"/>
                  </a:lnTo>
                  <a:lnTo>
                    <a:pt x="118" y="12"/>
                  </a:lnTo>
                  <a:lnTo>
                    <a:pt x="120" y="12"/>
                  </a:lnTo>
                  <a:lnTo>
                    <a:pt x="121" y="7"/>
                  </a:lnTo>
                  <a:lnTo>
                    <a:pt x="121" y="1"/>
                  </a:lnTo>
                  <a:lnTo>
                    <a:pt x="118" y="1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4" y="6"/>
                  </a:lnTo>
                  <a:lnTo>
                    <a:pt x="114" y="1"/>
                  </a:lnTo>
                  <a:lnTo>
                    <a:pt x="114" y="0"/>
                  </a:lnTo>
                  <a:lnTo>
                    <a:pt x="110" y="1"/>
                  </a:lnTo>
                  <a:lnTo>
                    <a:pt x="109" y="6"/>
                  </a:lnTo>
                  <a:lnTo>
                    <a:pt x="104" y="6"/>
                  </a:lnTo>
                  <a:lnTo>
                    <a:pt x="103" y="7"/>
                  </a:lnTo>
                  <a:lnTo>
                    <a:pt x="99" y="9"/>
                  </a:lnTo>
                  <a:lnTo>
                    <a:pt x="95" y="9"/>
                  </a:lnTo>
                  <a:lnTo>
                    <a:pt x="91" y="12"/>
                  </a:lnTo>
                  <a:lnTo>
                    <a:pt x="85" y="15"/>
                  </a:lnTo>
                  <a:lnTo>
                    <a:pt x="85" y="18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80" y="21"/>
                  </a:lnTo>
                  <a:lnTo>
                    <a:pt x="81" y="21"/>
                  </a:lnTo>
                  <a:lnTo>
                    <a:pt x="81" y="24"/>
                  </a:lnTo>
                  <a:lnTo>
                    <a:pt x="78" y="26"/>
                  </a:lnTo>
                  <a:lnTo>
                    <a:pt x="74" y="30"/>
                  </a:lnTo>
                  <a:lnTo>
                    <a:pt x="70" y="30"/>
                  </a:lnTo>
                  <a:lnTo>
                    <a:pt x="72" y="31"/>
                  </a:lnTo>
                  <a:lnTo>
                    <a:pt x="70" y="33"/>
                  </a:lnTo>
                  <a:lnTo>
                    <a:pt x="69" y="33"/>
                  </a:lnTo>
                  <a:lnTo>
                    <a:pt x="69" y="37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4" y="38"/>
                  </a:lnTo>
                  <a:lnTo>
                    <a:pt x="63" y="43"/>
                  </a:lnTo>
                  <a:lnTo>
                    <a:pt x="63" y="44"/>
                  </a:lnTo>
                  <a:lnTo>
                    <a:pt x="64" y="44"/>
                  </a:lnTo>
                  <a:lnTo>
                    <a:pt x="63" y="46"/>
                  </a:lnTo>
                  <a:lnTo>
                    <a:pt x="58" y="46"/>
                  </a:lnTo>
                  <a:lnTo>
                    <a:pt x="55" y="52"/>
                  </a:lnTo>
                  <a:lnTo>
                    <a:pt x="55" y="53"/>
                  </a:lnTo>
                  <a:lnTo>
                    <a:pt x="49" y="61"/>
                  </a:lnTo>
                  <a:lnTo>
                    <a:pt x="49" y="65"/>
                  </a:lnTo>
                  <a:lnTo>
                    <a:pt x="51" y="66"/>
                  </a:lnTo>
                  <a:lnTo>
                    <a:pt x="51" y="68"/>
                  </a:lnTo>
                  <a:lnTo>
                    <a:pt x="49" y="68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2" y="70"/>
                  </a:lnTo>
                  <a:lnTo>
                    <a:pt x="40" y="71"/>
                  </a:lnTo>
                  <a:lnTo>
                    <a:pt x="40" y="74"/>
                  </a:lnTo>
                  <a:lnTo>
                    <a:pt x="44" y="76"/>
                  </a:lnTo>
                  <a:lnTo>
                    <a:pt x="45" y="77"/>
                  </a:lnTo>
                  <a:lnTo>
                    <a:pt x="44" y="77"/>
                  </a:lnTo>
                  <a:lnTo>
                    <a:pt x="42" y="82"/>
                  </a:lnTo>
                  <a:lnTo>
                    <a:pt x="40" y="83"/>
                  </a:lnTo>
                  <a:lnTo>
                    <a:pt x="34" y="82"/>
                  </a:lnTo>
                  <a:lnTo>
                    <a:pt x="32" y="83"/>
                  </a:lnTo>
                  <a:lnTo>
                    <a:pt x="32" y="85"/>
                  </a:lnTo>
                  <a:lnTo>
                    <a:pt x="29" y="88"/>
                  </a:lnTo>
                  <a:lnTo>
                    <a:pt x="26" y="93"/>
                  </a:lnTo>
                  <a:lnTo>
                    <a:pt x="23" y="96"/>
                  </a:lnTo>
                  <a:lnTo>
                    <a:pt x="20" y="96"/>
                  </a:lnTo>
                  <a:lnTo>
                    <a:pt x="20" y="93"/>
                  </a:lnTo>
                  <a:lnTo>
                    <a:pt x="19" y="96"/>
                  </a:lnTo>
                  <a:lnTo>
                    <a:pt x="17" y="93"/>
                  </a:lnTo>
                  <a:lnTo>
                    <a:pt x="19" y="91"/>
                  </a:lnTo>
                  <a:lnTo>
                    <a:pt x="20" y="88"/>
                  </a:lnTo>
                  <a:lnTo>
                    <a:pt x="23" y="87"/>
                  </a:lnTo>
                  <a:lnTo>
                    <a:pt x="20" y="87"/>
                  </a:lnTo>
                  <a:lnTo>
                    <a:pt x="17" y="91"/>
                  </a:lnTo>
                  <a:lnTo>
                    <a:pt x="11" y="94"/>
                  </a:lnTo>
                  <a:lnTo>
                    <a:pt x="8" y="100"/>
                  </a:lnTo>
                  <a:lnTo>
                    <a:pt x="9" y="100"/>
                  </a:lnTo>
                  <a:lnTo>
                    <a:pt x="14" y="98"/>
                  </a:lnTo>
                  <a:lnTo>
                    <a:pt x="20" y="98"/>
                  </a:lnTo>
                  <a:lnTo>
                    <a:pt x="29" y="98"/>
                  </a:lnTo>
                  <a:lnTo>
                    <a:pt x="25" y="100"/>
                  </a:lnTo>
                  <a:lnTo>
                    <a:pt x="19" y="105"/>
                  </a:lnTo>
                  <a:lnTo>
                    <a:pt x="15" y="110"/>
                  </a:lnTo>
                  <a:lnTo>
                    <a:pt x="9" y="113"/>
                  </a:lnTo>
                  <a:lnTo>
                    <a:pt x="3" y="118"/>
                  </a:lnTo>
                  <a:lnTo>
                    <a:pt x="2" y="118"/>
                  </a:lnTo>
                  <a:lnTo>
                    <a:pt x="0" y="120"/>
                  </a:lnTo>
                  <a:lnTo>
                    <a:pt x="2" y="122"/>
                  </a:lnTo>
                  <a:lnTo>
                    <a:pt x="0" y="126"/>
                  </a:lnTo>
                  <a:lnTo>
                    <a:pt x="2" y="127"/>
                  </a:lnTo>
                  <a:lnTo>
                    <a:pt x="3" y="129"/>
                  </a:lnTo>
                  <a:lnTo>
                    <a:pt x="9" y="129"/>
                  </a:lnTo>
                  <a:lnTo>
                    <a:pt x="15" y="129"/>
                  </a:lnTo>
                  <a:lnTo>
                    <a:pt x="19" y="127"/>
                  </a:lnTo>
                  <a:lnTo>
                    <a:pt x="25" y="126"/>
                  </a:lnTo>
                  <a:lnTo>
                    <a:pt x="29" y="124"/>
                  </a:lnTo>
                  <a:lnTo>
                    <a:pt x="26" y="126"/>
                  </a:lnTo>
                  <a:lnTo>
                    <a:pt x="32" y="127"/>
                  </a:lnTo>
                  <a:lnTo>
                    <a:pt x="36" y="126"/>
                  </a:lnTo>
                  <a:lnTo>
                    <a:pt x="38" y="127"/>
                  </a:lnTo>
                  <a:lnTo>
                    <a:pt x="45" y="129"/>
                  </a:lnTo>
                  <a:lnTo>
                    <a:pt x="49" y="127"/>
                  </a:lnTo>
                  <a:lnTo>
                    <a:pt x="51" y="129"/>
                  </a:lnTo>
                  <a:lnTo>
                    <a:pt x="53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60" y="133"/>
                  </a:lnTo>
                  <a:lnTo>
                    <a:pt x="63" y="133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70" y="129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75" y="129"/>
                  </a:lnTo>
                  <a:lnTo>
                    <a:pt x="78" y="129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1" y="126"/>
                  </a:lnTo>
                  <a:lnTo>
                    <a:pt x="81" y="122"/>
                  </a:lnTo>
                  <a:lnTo>
                    <a:pt x="84" y="124"/>
                  </a:lnTo>
                  <a:lnTo>
                    <a:pt x="85" y="120"/>
                  </a:lnTo>
                  <a:lnTo>
                    <a:pt x="87" y="120"/>
                  </a:lnTo>
                  <a:lnTo>
                    <a:pt x="85" y="122"/>
                  </a:lnTo>
                  <a:lnTo>
                    <a:pt x="84" y="126"/>
                  </a:lnTo>
                  <a:lnTo>
                    <a:pt x="85" y="127"/>
                  </a:lnTo>
                  <a:lnTo>
                    <a:pt x="85" y="126"/>
                  </a:lnTo>
                  <a:lnTo>
                    <a:pt x="89" y="122"/>
                  </a:lnTo>
                  <a:lnTo>
                    <a:pt x="91" y="122"/>
                  </a:lnTo>
                  <a:lnTo>
                    <a:pt x="91" y="124"/>
                  </a:lnTo>
                  <a:lnTo>
                    <a:pt x="89" y="127"/>
                  </a:lnTo>
                  <a:lnTo>
                    <a:pt x="89" y="129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87" y="131"/>
                  </a:lnTo>
                  <a:lnTo>
                    <a:pt x="84" y="133"/>
                  </a:lnTo>
                  <a:lnTo>
                    <a:pt x="84" y="135"/>
                  </a:lnTo>
                  <a:lnTo>
                    <a:pt x="85" y="133"/>
                  </a:lnTo>
                  <a:lnTo>
                    <a:pt x="89" y="133"/>
                  </a:lnTo>
                  <a:lnTo>
                    <a:pt x="89" y="135"/>
                  </a:lnTo>
                  <a:lnTo>
                    <a:pt x="93" y="135"/>
                  </a:lnTo>
                  <a:lnTo>
                    <a:pt x="95" y="136"/>
                  </a:lnTo>
                  <a:lnTo>
                    <a:pt x="97" y="135"/>
                  </a:lnTo>
                  <a:lnTo>
                    <a:pt x="99" y="135"/>
                  </a:lnTo>
                  <a:lnTo>
                    <a:pt x="100" y="131"/>
                  </a:lnTo>
                  <a:lnTo>
                    <a:pt x="100" y="129"/>
                  </a:lnTo>
                  <a:lnTo>
                    <a:pt x="103" y="129"/>
                  </a:lnTo>
                  <a:lnTo>
                    <a:pt x="106" y="131"/>
                  </a:lnTo>
                  <a:lnTo>
                    <a:pt x="110" y="133"/>
                  </a:lnTo>
                  <a:lnTo>
                    <a:pt x="112" y="133"/>
                  </a:lnTo>
                  <a:lnTo>
                    <a:pt x="115" y="131"/>
                  </a:lnTo>
                  <a:lnTo>
                    <a:pt x="120" y="131"/>
                  </a:lnTo>
                  <a:lnTo>
                    <a:pt x="115" y="133"/>
                  </a:lnTo>
                  <a:lnTo>
                    <a:pt x="115" y="135"/>
                  </a:lnTo>
                  <a:lnTo>
                    <a:pt x="110" y="136"/>
                  </a:lnTo>
                  <a:lnTo>
                    <a:pt x="106" y="136"/>
                  </a:lnTo>
                  <a:lnTo>
                    <a:pt x="103" y="138"/>
                  </a:lnTo>
                  <a:lnTo>
                    <a:pt x="103" y="141"/>
                  </a:lnTo>
                  <a:lnTo>
                    <a:pt x="103" y="142"/>
                  </a:lnTo>
                  <a:lnTo>
                    <a:pt x="100" y="144"/>
                  </a:lnTo>
                  <a:lnTo>
                    <a:pt x="97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3" y="147"/>
                  </a:lnTo>
                  <a:lnTo>
                    <a:pt x="87" y="147"/>
                  </a:lnTo>
                  <a:lnTo>
                    <a:pt x="84" y="152"/>
                  </a:lnTo>
                  <a:lnTo>
                    <a:pt x="84" y="153"/>
                  </a:lnTo>
                  <a:lnTo>
                    <a:pt x="84" y="155"/>
                  </a:lnTo>
                  <a:lnTo>
                    <a:pt x="85" y="155"/>
                  </a:lnTo>
                  <a:lnTo>
                    <a:pt x="89" y="155"/>
                  </a:lnTo>
                  <a:lnTo>
                    <a:pt x="91" y="153"/>
                  </a:lnTo>
                  <a:lnTo>
                    <a:pt x="95" y="153"/>
                  </a:lnTo>
                  <a:lnTo>
                    <a:pt x="95" y="155"/>
                  </a:lnTo>
                  <a:lnTo>
                    <a:pt x="97" y="158"/>
                  </a:lnTo>
                  <a:lnTo>
                    <a:pt x="100" y="155"/>
                  </a:lnTo>
                  <a:lnTo>
                    <a:pt x="103" y="153"/>
                  </a:lnTo>
                  <a:lnTo>
                    <a:pt x="104" y="150"/>
                  </a:lnTo>
                  <a:lnTo>
                    <a:pt x="106" y="147"/>
                  </a:lnTo>
                  <a:lnTo>
                    <a:pt x="106" y="144"/>
                  </a:lnTo>
                  <a:lnTo>
                    <a:pt x="109" y="144"/>
                  </a:lnTo>
                  <a:lnTo>
                    <a:pt x="114" y="138"/>
                  </a:lnTo>
                  <a:lnTo>
                    <a:pt x="115" y="138"/>
                  </a:lnTo>
                  <a:lnTo>
                    <a:pt x="118" y="141"/>
                  </a:lnTo>
                  <a:lnTo>
                    <a:pt x="121" y="138"/>
                  </a:lnTo>
                  <a:lnTo>
                    <a:pt x="120" y="141"/>
                  </a:lnTo>
                  <a:lnTo>
                    <a:pt x="121" y="141"/>
                  </a:lnTo>
                  <a:lnTo>
                    <a:pt x="124" y="138"/>
                  </a:lnTo>
                  <a:lnTo>
                    <a:pt x="126" y="133"/>
                  </a:lnTo>
                  <a:lnTo>
                    <a:pt x="129" y="129"/>
                  </a:lnTo>
                  <a:lnTo>
                    <a:pt x="129" y="124"/>
                  </a:lnTo>
                  <a:lnTo>
                    <a:pt x="131" y="124"/>
                  </a:lnTo>
                  <a:lnTo>
                    <a:pt x="133" y="126"/>
                  </a:lnTo>
                  <a:lnTo>
                    <a:pt x="135" y="126"/>
                  </a:lnTo>
                  <a:lnTo>
                    <a:pt x="137" y="127"/>
                  </a:lnTo>
                  <a:lnTo>
                    <a:pt x="139" y="131"/>
                  </a:lnTo>
                  <a:lnTo>
                    <a:pt x="137" y="135"/>
                  </a:lnTo>
                  <a:lnTo>
                    <a:pt x="137" y="138"/>
                  </a:lnTo>
                  <a:lnTo>
                    <a:pt x="137" y="141"/>
                  </a:lnTo>
                  <a:lnTo>
                    <a:pt x="137" y="142"/>
                  </a:lnTo>
                  <a:lnTo>
                    <a:pt x="133" y="146"/>
                  </a:lnTo>
                  <a:lnTo>
                    <a:pt x="129" y="153"/>
                  </a:lnTo>
                  <a:lnTo>
                    <a:pt x="129" y="155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31" y="161"/>
                  </a:lnTo>
                  <a:lnTo>
                    <a:pt x="135" y="158"/>
                  </a:lnTo>
                  <a:lnTo>
                    <a:pt x="139" y="152"/>
                  </a:lnTo>
                  <a:lnTo>
                    <a:pt x="141" y="152"/>
                  </a:lnTo>
                  <a:lnTo>
                    <a:pt x="144" y="147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52" y="147"/>
                  </a:lnTo>
                  <a:lnTo>
                    <a:pt x="149" y="150"/>
                  </a:lnTo>
                  <a:lnTo>
                    <a:pt x="143" y="153"/>
                  </a:lnTo>
                  <a:lnTo>
                    <a:pt x="143" y="158"/>
                  </a:lnTo>
                  <a:lnTo>
                    <a:pt x="143" y="158"/>
                  </a:lnTo>
                  <a:lnTo>
                    <a:pt x="143" y="161"/>
                  </a:lnTo>
                  <a:lnTo>
                    <a:pt x="144" y="167"/>
                  </a:lnTo>
                  <a:lnTo>
                    <a:pt x="146" y="168"/>
                  </a:lnTo>
                  <a:lnTo>
                    <a:pt x="149" y="164"/>
                  </a:lnTo>
                  <a:lnTo>
                    <a:pt x="150" y="163"/>
                  </a:lnTo>
                  <a:lnTo>
                    <a:pt x="152" y="163"/>
                  </a:lnTo>
                  <a:lnTo>
                    <a:pt x="155" y="164"/>
                  </a:lnTo>
                  <a:lnTo>
                    <a:pt x="158" y="167"/>
                  </a:lnTo>
                  <a:lnTo>
                    <a:pt x="161" y="164"/>
                  </a:lnTo>
                  <a:lnTo>
                    <a:pt x="161" y="161"/>
                  </a:lnTo>
                  <a:lnTo>
                    <a:pt x="164" y="158"/>
                  </a:lnTo>
                  <a:lnTo>
                    <a:pt x="164" y="155"/>
                  </a:lnTo>
                  <a:lnTo>
                    <a:pt x="165" y="155"/>
                  </a:lnTo>
                  <a:lnTo>
                    <a:pt x="165" y="153"/>
                  </a:lnTo>
                  <a:lnTo>
                    <a:pt x="164" y="152"/>
                  </a:lnTo>
                  <a:lnTo>
                    <a:pt x="165" y="147"/>
                  </a:lnTo>
                  <a:lnTo>
                    <a:pt x="170" y="142"/>
                  </a:lnTo>
                  <a:lnTo>
                    <a:pt x="173" y="136"/>
                  </a:lnTo>
                  <a:lnTo>
                    <a:pt x="173" y="131"/>
                  </a:lnTo>
                  <a:lnTo>
                    <a:pt x="170" y="127"/>
                  </a:lnTo>
                  <a:lnTo>
                    <a:pt x="170" y="1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7" name="Freeform 229"/>
            <p:cNvSpPr>
              <a:spLocks/>
            </p:cNvSpPr>
            <p:nvPr/>
          </p:nvSpPr>
          <p:spPr bwMode="auto">
            <a:xfrm>
              <a:off x="3844926" y="2884488"/>
              <a:ext cx="6350" cy="6350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1 w 4"/>
                <a:gd name="T5" fmla="*/ 3 h 4"/>
                <a:gd name="T6" fmla="*/ 4 w 4"/>
                <a:gd name="T7" fmla="*/ 3 h 4"/>
                <a:gd name="T8" fmla="*/ 4 w 4"/>
                <a:gd name="T9" fmla="*/ 0 h 4"/>
                <a:gd name="T10" fmla="*/ 1 w 4"/>
                <a:gd name="T11" fmla="*/ 0 h 4"/>
                <a:gd name="T12" fmla="*/ 0 w 4"/>
                <a:gd name="T13" fmla="*/ 0 h 4"/>
                <a:gd name="T14" fmla="*/ 0 w 4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1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8" name="Freeform 230"/>
            <p:cNvSpPr>
              <a:spLocks/>
            </p:cNvSpPr>
            <p:nvPr/>
          </p:nvSpPr>
          <p:spPr bwMode="auto">
            <a:xfrm>
              <a:off x="3798888" y="3043238"/>
              <a:ext cx="3175" cy="6350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4 h 4"/>
                <a:gd name="T4" fmla="*/ 2 w 2"/>
                <a:gd name="T5" fmla="*/ 4 h 4"/>
                <a:gd name="T6" fmla="*/ 2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9" name="Freeform 231"/>
            <p:cNvSpPr>
              <a:spLocks/>
            </p:cNvSpPr>
            <p:nvPr/>
          </p:nvSpPr>
          <p:spPr bwMode="auto">
            <a:xfrm>
              <a:off x="3413126" y="2359025"/>
              <a:ext cx="3175" cy="47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0" name="Freeform 232"/>
            <p:cNvSpPr>
              <a:spLocks/>
            </p:cNvSpPr>
            <p:nvPr/>
          </p:nvSpPr>
          <p:spPr bwMode="auto">
            <a:xfrm>
              <a:off x="3024188" y="1825625"/>
              <a:ext cx="36513" cy="44450"/>
            </a:xfrm>
            <a:custGeom>
              <a:avLst/>
              <a:gdLst>
                <a:gd name="T0" fmla="*/ 5 w 23"/>
                <a:gd name="T1" fmla="*/ 6 h 28"/>
                <a:gd name="T2" fmla="*/ 3 w 23"/>
                <a:gd name="T3" fmla="*/ 0 h 28"/>
                <a:gd name="T4" fmla="*/ 0 w 23"/>
                <a:gd name="T5" fmla="*/ 1 h 28"/>
                <a:gd name="T6" fmla="*/ 0 w 23"/>
                <a:gd name="T7" fmla="*/ 9 h 28"/>
                <a:gd name="T8" fmla="*/ 5 w 23"/>
                <a:gd name="T9" fmla="*/ 11 h 28"/>
                <a:gd name="T10" fmla="*/ 6 w 23"/>
                <a:gd name="T11" fmla="*/ 15 h 28"/>
                <a:gd name="T12" fmla="*/ 5 w 23"/>
                <a:gd name="T13" fmla="*/ 18 h 28"/>
                <a:gd name="T14" fmla="*/ 11 w 23"/>
                <a:gd name="T15" fmla="*/ 20 h 28"/>
                <a:gd name="T16" fmla="*/ 14 w 23"/>
                <a:gd name="T17" fmla="*/ 24 h 28"/>
                <a:gd name="T18" fmla="*/ 14 w 23"/>
                <a:gd name="T19" fmla="*/ 28 h 28"/>
                <a:gd name="T20" fmla="*/ 18 w 23"/>
                <a:gd name="T21" fmla="*/ 25 h 28"/>
                <a:gd name="T22" fmla="*/ 22 w 23"/>
                <a:gd name="T23" fmla="*/ 28 h 28"/>
                <a:gd name="T24" fmla="*/ 23 w 23"/>
                <a:gd name="T25" fmla="*/ 22 h 28"/>
                <a:gd name="T26" fmla="*/ 20 w 23"/>
                <a:gd name="T27" fmla="*/ 22 h 28"/>
                <a:gd name="T28" fmla="*/ 14 w 23"/>
                <a:gd name="T29" fmla="*/ 18 h 28"/>
                <a:gd name="T30" fmla="*/ 14 w 23"/>
                <a:gd name="T31" fmla="*/ 12 h 28"/>
                <a:gd name="T32" fmla="*/ 11 w 23"/>
                <a:gd name="T33" fmla="*/ 11 h 28"/>
                <a:gd name="T34" fmla="*/ 11 w 23"/>
                <a:gd name="T35" fmla="*/ 7 h 28"/>
                <a:gd name="T36" fmla="*/ 5 w 23"/>
                <a:gd name="T3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8">
                  <a:moveTo>
                    <a:pt x="5" y="6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0" y="9"/>
                  </a:lnTo>
                  <a:lnTo>
                    <a:pt x="5" y="11"/>
                  </a:lnTo>
                  <a:lnTo>
                    <a:pt x="6" y="15"/>
                  </a:lnTo>
                  <a:lnTo>
                    <a:pt x="5" y="18"/>
                  </a:lnTo>
                  <a:lnTo>
                    <a:pt x="11" y="20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18" y="25"/>
                  </a:lnTo>
                  <a:lnTo>
                    <a:pt x="22" y="28"/>
                  </a:lnTo>
                  <a:lnTo>
                    <a:pt x="23" y="22"/>
                  </a:lnTo>
                  <a:lnTo>
                    <a:pt x="20" y="22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1" y="11"/>
                  </a:lnTo>
                  <a:lnTo>
                    <a:pt x="11" y="7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1" name="Freeform 233"/>
            <p:cNvSpPr>
              <a:spLocks/>
            </p:cNvSpPr>
            <p:nvPr/>
          </p:nvSpPr>
          <p:spPr bwMode="auto">
            <a:xfrm>
              <a:off x="3073401" y="1822450"/>
              <a:ext cx="12700" cy="7938"/>
            </a:xfrm>
            <a:custGeom>
              <a:avLst/>
              <a:gdLst>
                <a:gd name="T0" fmla="*/ 8 w 8"/>
                <a:gd name="T1" fmla="*/ 5 h 5"/>
                <a:gd name="T2" fmla="*/ 8 w 8"/>
                <a:gd name="T3" fmla="*/ 3 h 5"/>
                <a:gd name="T4" fmla="*/ 4 w 8"/>
                <a:gd name="T5" fmla="*/ 2 h 5"/>
                <a:gd name="T6" fmla="*/ 3 w 8"/>
                <a:gd name="T7" fmla="*/ 0 h 5"/>
                <a:gd name="T8" fmla="*/ 0 w 8"/>
                <a:gd name="T9" fmla="*/ 2 h 5"/>
                <a:gd name="T10" fmla="*/ 4 w 8"/>
                <a:gd name="T11" fmla="*/ 3 h 5"/>
                <a:gd name="T12" fmla="*/ 8 w 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8" y="5"/>
                  </a:moveTo>
                  <a:lnTo>
                    <a:pt x="8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4" y="3"/>
                  </a:lnTo>
                  <a:lnTo>
                    <a:pt x="8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2" name="Freeform 234"/>
            <p:cNvSpPr>
              <a:spLocks/>
            </p:cNvSpPr>
            <p:nvPr/>
          </p:nvSpPr>
          <p:spPr bwMode="auto">
            <a:xfrm>
              <a:off x="2811463" y="2695575"/>
              <a:ext cx="52388" cy="25400"/>
            </a:xfrm>
            <a:custGeom>
              <a:avLst/>
              <a:gdLst>
                <a:gd name="T0" fmla="*/ 13 w 33"/>
                <a:gd name="T1" fmla="*/ 0 h 16"/>
                <a:gd name="T2" fmla="*/ 9 w 33"/>
                <a:gd name="T3" fmla="*/ 1 h 16"/>
                <a:gd name="T4" fmla="*/ 9 w 33"/>
                <a:gd name="T5" fmla="*/ 4 h 16"/>
                <a:gd name="T6" fmla="*/ 6 w 33"/>
                <a:gd name="T7" fmla="*/ 3 h 16"/>
                <a:gd name="T8" fmla="*/ 0 w 33"/>
                <a:gd name="T9" fmla="*/ 9 h 16"/>
                <a:gd name="T10" fmla="*/ 2 w 33"/>
                <a:gd name="T11" fmla="*/ 10 h 16"/>
                <a:gd name="T12" fmla="*/ 6 w 33"/>
                <a:gd name="T13" fmla="*/ 10 h 16"/>
                <a:gd name="T14" fmla="*/ 7 w 33"/>
                <a:gd name="T15" fmla="*/ 12 h 16"/>
                <a:gd name="T16" fmla="*/ 9 w 33"/>
                <a:gd name="T17" fmla="*/ 16 h 16"/>
                <a:gd name="T18" fmla="*/ 9 w 33"/>
                <a:gd name="T19" fmla="*/ 14 h 16"/>
                <a:gd name="T20" fmla="*/ 9 w 33"/>
                <a:gd name="T21" fmla="*/ 10 h 16"/>
                <a:gd name="T22" fmla="*/ 15 w 33"/>
                <a:gd name="T23" fmla="*/ 10 h 16"/>
                <a:gd name="T24" fmla="*/ 18 w 33"/>
                <a:gd name="T25" fmla="*/ 14 h 16"/>
                <a:gd name="T26" fmla="*/ 33 w 33"/>
                <a:gd name="T27" fmla="*/ 16 h 16"/>
                <a:gd name="T28" fmla="*/ 33 w 33"/>
                <a:gd name="T29" fmla="*/ 12 h 16"/>
                <a:gd name="T30" fmla="*/ 33 w 33"/>
                <a:gd name="T31" fmla="*/ 10 h 16"/>
                <a:gd name="T32" fmla="*/ 30 w 33"/>
                <a:gd name="T33" fmla="*/ 4 h 16"/>
                <a:gd name="T34" fmla="*/ 24 w 33"/>
                <a:gd name="T35" fmla="*/ 0 h 16"/>
                <a:gd name="T36" fmla="*/ 18 w 33"/>
                <a:gd name="T37" fmla="*/ 1 h 16"/>
                <a:gd name="T38" fmla="*/ 18 w 33"/>
                <a:gd name="T39" fmla="*/ 0 h 16"/>
                <a:gd name="T40" fmla="*/ 13 w 33"/>
                <a:gd name="T4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16">
                  <a:moveTo>
                    <a:pt x="13" y="0"/>
                  </a:moveTo>
                  <a:lnTo>
                    <a:pt x="9" y="1"/>
                  </a:lnTo>
                  <a:lnTo>
                    <a:pt x="9" y="4"/>
                  </a:lnTo>
                  <a:lnTo>
                    <a:pt x="6" y="3"/>
                  </a:lnTo>
                  <a:lnTo>
                    <a:pt x="0" y="9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7" y="12"/>
                  </a:lnTo>
                  <a:lnTo>
                    <a:pt x="9" y="16"/>
                  </a:lnTo>
                  <a:lnTo>
                    <a:pt x="9" y="14"/>
                  </a:lnTo>
                  <a:lnTo>
                    <a:pt x="9" y="10"/>
                  </a:lnTo>
                  <a:lnTo>
                    <a:pt x="15" y="10"/>
                  </a:lnTo>
                  <a:lnTo>
                    <a:pt x="18" y="14"/>
                  </a:lnTo>
                  <a:lnTo>
                    <a:pt x="33" y="16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0" y="4"/>
                  </a:lnTo>
                  <a:lnTo>
                    <a:pt x="24" y="0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3" name="Freeform 235"/>
            <p:cNvSpPr>
              <a:spLocks/>
            </p:cNvSpPr>
            <p:nvPr/>
          </p:nvSpPr>
          <p:spPr bwMode="auto">
            <a:xfrm>
              <a:off x="3421063" y="2359025"/>
              <a:ext cx="6350" cy="14288"/>
            </a:xfrm>
            <a:custGeom>
              <a:avLst/>
              <a:gdLst>
                <a:gd name="T0" fmla="*/ 4 w 4"/>
                <a:gd name="T1" fmla="*/ 3 h 9"/>
                <a:gd name="T2" fmla="*/ 2 w 4"/>
                <a:gd name="T3" fmla="*/ 0 h 9"/>
                <a:gd name="T4" fmla="*/ 0 w 4"/>
                <a:gd name="T5" fmla="*/ 3 h 9"/>
                <a:gd name="T6" fmla="*/ 2 w 4"/>
                <a:gd name="T7" fmla="*/ 8 h 9"/>
                <a:gd name="T8" fmla="*/ 2 w 4"/>
                <a:gd name="T9" fmla="*/ 9 h 9"/>
                <a:gd name="T10" fmla="*/ 4 w 4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9">
                  <a:moveTo>
                    <a:pt x="4" y="3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2" y="9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4" name="Freeform 236"/>
            <p:cNvSpPr>
              <a:spLocks/>
            </p:cNvSpPr>
            <p:nvPr/>
          </p:nvSpPr>
          <p:spPr bwMode="auto">
            <a:xfrm>
              <a:off x="3554413" y="3046413"/>
              <a:ext cx="12700" cy="11113"/>
            </a:xfrm>
            <a:custGeom>
              <a:avLst/>
              <a:gdLst>
                <a:gd name="T0" fmla="*/ 3 w 8"/>
                <a:gd name="T1" fmla="*/ 4 h 7"/>
                <a:gd name="T2" fmla="*/ 8 w 8"/>
                <a:gd name="T3" fmla="*/ 2 h 7"/>
                <a:gd name="T4" fmla="*/ 8 w 8"/>
                <a:gd name="T5" fmla="*/ 0 h 7"/>
                <a:gd name="T6" fmla="*/ 2 w 8"/>
                <a:gd name="T7" fmla="*/ 4 h 7"/>
                <a:gd name="T8" fmla="*/ 0 w 8"/>
                <a:gd name="T9" fmla="*/ 7 h 7"/>
                <a:gd name="T10" fmla="*/ 2 w 8"/>
                <a:gd name="T11" fmla="*/ 7 h 7"/>
                <a:gd name="T12" fmla="*/ 3 w 8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3" y="4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5" name="Freeform 237"/>
            <p:cNvSpPr>
              <a:spLocks/>
            </p:cNvSpPr>
            <p:nvPr/>
          </p:nvSpPr>
          <p:spPr bwMode="auto">
            <a:xfrm>
              <a:off x="919163" y="2528888"/>
              <a:ext cx="7938" cy="15875"/>
            </a:xfrm>
            <a:custGeom>
              <a:avLst/>
              <a:gdLst>
                <a:gd name="T0" fmla="*/ 0 w 5"/>
                <a:gd name="T1" fmla="*/ 10 h 10"/>
                <a:gd name="T2" fmla="*/ 3 w 5"/>
                <a:gd name="T3" fmla="*/ 8 h 10"/>
                <a:gd name="T4" fmla="*/ 3 w 5"/>
                <a:gd name="T5" fmla="*/ 6 h 10"/>
                <a:gd name="T6" fmla="*/ 5 w 5"/>
                <a:gd name="T7" fmla="*/ 5 h 10"/>
                <a:gd name="T8" fmla="*/ 3 w 5"/>
                <a:gd name="T9" fmla="*/ 0 h 10"/>
                <a:gd name="T10" fmla="*/ 0 w 5"/>
                <a:gd name="T11" fmla="*/ 5 h 10"/>
                <a:gd name="T12" fmla="*/ 0 w 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0">
                  <a:moveTo>
                    <a:pt x="0" y="10"/>
                  </a:moveTo>
                  <a:lnTo>
                    <a:pt x="3" y="8"/>
                  </a:lnTo>
                  <a:lnTo>
                    <a:pt x="3" y="6"/>
                  </a:lnTo>
                  <a:lnTo>
                    <a:pt x="5" y="5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6" name="Freeform 238"/>
            <p:cNvSpPr>
              <a:spLocks/>
            </p:cNvSpPr>
            <p:nvPr/>
          </p:nvSpPr>
          <p:spPr bwMode="auto">
            <a:xfrm>
              <a:off x="906463" y="2603500"/>
              <a:ext cx="4763" cy="17463"/>
            </a:xfrm>
            <a:custGeom>
              <a:avLst/>
              <a:gdLst>
                <a:gd name="T0" fmla="*/ 0 w 3"/>
                <a:gd name="T1" fmla="*/ 8 h 11"/>
                <a:gd name="T2" fmla="*/ 2 w 3"/>
                <a:gd name="T3" fmla="*/ 11 h 11"/>
                <a:gd name="T4" fmla="*/ 3 w 3"/>
                <a:gd name="T5" fmla="*/ 3 h 11"/>
                <a:gd name="T6" fmla="*/ 3 w 3"/>
                <a:gd name="T7" fmla="*/ 0 h 11"/>
                <a:gd name="T8" fmla="*/ 0 w 3"/>
                <a:gd name="T9" fmla="*/ 3 h 11"/>
                <a:gd name="T10" fmla="*/ 0 w 3"/>
                <a:gd name="T1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1">
                  <a:moveTo>
                    <a:pt x="0" y="8"/>
                  </a:moveTo>
                  <a:lnTo>
                    <a:pt x="2" y="11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7" name="Freeform 239"/>
            <p:cNvSpPr>
              <a:spLocks/>
            </p:cNvSpPr>
            <p:nvPr/>
          </p:nvSpPr>
          <p:spPr bwMode="auto">
            <a:xfrm>
              <a:off x="909638" y="2581275"/>
              <a:ext cx="14288" cy="12700"/>
            </a:xfrm>
            <a:custGeom>
              <a:avLst/>
              <a:gdLst>
                <a:gd name="T0" fmla="*/ 6 w 9"/>
                <a:gd name="T1" fmla="*/ 8 h 8"/>
                <a:gd name="T2" fmla="*/ 9 w 9"/>
                <a:gd name="T3" fmla="*/ 3 h 8"/>
                <a:gd name="T4" fmla="*/ 7 w 9"/>
                <a:gd name="T5" fmla="*/ 0 h 8"/>
                <a:gd name="T6" fmla="*/ 0 w 9"/>
                <a:gd name="T7" fmla="*/ 3 h 8"/>
                <a:gd name="T8" fmla="*/ 0 w 9"/>
                <a:gd name="T9" fmla="*/ 8 h 8"/>
                <a:gd name="T10" fmla="*/ 1 w 9"/>
                <a:gd name="T11" fmla="*/ 8 h 8"/>
                <a:gd name="T12" fmla="*/ 6 w 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8">
                  <a:moveTo>
                    <a:pt x="6" y="8"/>
                  </a:moveTo>
                  <a:lnTo>
                    <a:pt x="9" y="3"/>
                  </a:lnTo>
                  <a:lnTo>
                    <a:pt x="7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1" y="8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8" name="Freeform 240"/>
            <p:cNvSpPr>
              <a:spLocks/>
            </p:cNvSpPr>
            <p:nvPr/>
          </p:nvSpPr>
          <p:spPr bwMode="auto">
            <a:xfrm>
              <a:off x="911226" y="2571750"/>
              <a:ext cx="7938" cy="9525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6 h 6"/>
                <a:gd name="T4" fmla="*/ 3 w 5"/>
                <a:gd name="T5" fmla="*/ 6 h 6"/>
                <a:gd name="T6" fmla="*/ 5 w 5"/>
                <a:gd name="T7" fmla="*/ 1 h 6"/>
                <a:gd name="T8" fmla="*/ 3 w 5"/>
                <a:gd name="T9" fmla="*/ 0 h 6"/>
                <a:gd name="T10" fmla="*/ 0 w 5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5" y="1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9" name="Freeform 241"/>
            <p:cNvSpPr>
              <a:spLocks/>
            </p:cNvSpPr>
            <p:nvPr/>
          </p:nvSpPr>
          <p:spPr bwMode="auto">
            <a:xfrm>
              <a:off x="900113" y="2538413"/>
              <a:ext cx="15875" cy="7938"/>
            </a:xfrm>
            <a:custGeom>
              <a:avLst/>
              <a:gdLst>
                <a:gd name="T0" fmla="*/ 7 w 10"/>
                <a:gd name="T1" fmla="*/ 0 h 5"/>
                <a:gd name="T2" fmla="*/ 0 w 10"/>
                <a:gd name="T3" fmla="*/ 2 h 5"/>
                <a:gd name="T4" fmla="*/ 7 w 10"/>
                <a:gd name="T5" fmla="*/ 5 h 5"/>
                <a:gd name="T6" fmla="*/ 10 w 10"/>
                <a:gd name="T7" fmla="*/ 2 h 5"/>
                <a:gd name="T8" fmla="*/ 7 w 10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5">
                  <a:moveTo>
                    <a:pt x="7" y="0"/>
                  </a:moveTo>
                  <a:lnTo>
                    <a:pt x="0" y="2"/>
                  </a:lnTo>
                  <a:lnTo>
                    <a:pt x="7" y="5"/>
                  </a:lnTo>
                  <a:lnTo>
                    <a:pt x="10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0" name="Freeform 242"/>
            <p:cNvSpPr>
              <a:spLocks/>
            </p:cNvSpPr>
            <p:nvPr/>
          </p:nvSpPr>
          <p:spPr bwMode="auto">
            <a:xfrm>
              <a:off x="887413" y="2517775"/>
              <a:ext cx="9525" cy="23813"/>
            </a:xfrm>
            <a:custGeom>
              <a:avLst/>
              <a:gdLst>
                <a:gd name="T0" fmla="*/ 6 w 6"/>
                <a:gd name="T1" fmla="*/ 12 h 15"/>
                <a:gd name="T2" fmla="*/ 4 w 6"/>
                <a:gd name="T3" fmla="*/ 6 h 15"/>
                <a:gd name="T4" fmla="*/ 0 w 6"/>
                <a:gd name="T5" fmla="*/ 0 h 15"/>
                <a:gd name="T6" fmla="*/ 0 w 6"/>
                <a:gd name="T7" fmla="*/ 9 h 15"/>
                <a:gd name="T8" fmla="*/ 4 w 6"/>
                <a:gd name="T9" fmla="*/ 12 h 15"/>
                <a:gd name="T10" fmla="*/ 4 w 6"/>
                <a:gd name="T11" fmla="*/ 15 h 15"/>
                <a:gd name="T12" fmla="*/ 6 w 6"/>
                <a:gd name="T1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">
                  <a:moveTo>
                    <a:pt x="6" y="12"/>
                  </a:moveTo>
                  <a:lnTo>
                    <a:pt x="4" y="6"/>
                  </a:lnTo>
                  <a:lnTo>
                    <a:pt x="0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5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1" name="Freeform 243"/>
            <p:cNvSpPr>
              <a:spLocks/>
            </p:cNvSpPr>
            <p:nvPr/>
          </p:nvSpPr>
          <p:spPr bwMode="auto">
            <a:xfrm>
              <a:off x="760413" y="2413000"/>
              <a:ext cx="73025" cy="142875"/>
            </a:xfrm>
            <a:custGeom>
              <a:avLst/>
              <a:gdLst>
                <a:gd name="T0" fmla="*/ 34 w 46"/>
                <a:gd name="T1" fmla="*/ 11 h 90"/>
                <a:gd name="T2" fmla="*/ 28 w 46"/>
                <a:gd name="T3" fmla="*/ 18 h 90"/>
                <a:gd name="T4" fmla="*/ 23 w 46"/>
                <a:gd name="T5" fmla="*/ 26 h 90"/>
                <a:gd name="T6" fmla="*/ 17 w 46"/>
                <a:gd name="T7" fmla="*/ 27 h 90"/>
                <a:gd name="T8" fmla="*/ 17 w 46"/>
                <a:gd name="T9" fmla="*/ 24 h 90"/>
                <a:gd name="T10" fmla="*/ 14 w 46"/>
                <a:gd name="T11" fmla="*/ 22 h 90"/>
                <a:gd name="T12" fmla="*/ 25 w 46"/>
                <a:gd name="T13" fmla="*/ 18 h 90"/>
                <a:gd name="T14" fmla="*/ 29 w 46"/>
                <a:gd name="T15" fmla="*/ 14 h 90"/>
                <a:gd name="T16" fmla="*/ 29 w 46"/>
                <a:gd name="T17" fmla="*/ 9 h 90"/>
                <a:gd name="T18" fmla="*/ 29 w 46"/>
                <a:gd name="T19" fmla="*/ 5 h 90"/>
                <a:gd name="T20" fmla="*/ 25 w 46"/>
                <a:gd name="T21" fmla="*/ 3 h 90"/>
                <a:gd name="T22" fmla="*/ 22 w 46"/>
                <a:gd name="T23" fmla="*/ 8 h 90"/>
                <a:gd name="T24" fmla="*/ 19 w 46"/>
                <a:gd name="T25" fmla="*/ 9 h 90"/>
                <a:gd name="T26" fmla="*/ 19 w 46"/>
                <a:gd name="T27" fmla="*/ 2 h 90"/>
                <a:gd name="T28" fmla="*/ 12 w 46"/>
                <a:gd name="T29" fmla="*/ 0 h 90"/>
                <a:gd name="T30" fmla="*/ 3 w 46"/>
                <a:gd name="T31" fmla="*/ 13 h 90"/>
                <a:gd name="T32" fmla="*/ 4 w 46"/>
                <a:gd name="T33" fmla="*/ 22 h 90"/>
                <a:gd name="T34" fmla="*/ 0 w 46"/>
                <a:gd name="T35" fmla="*/ 26 h 90"/>
                <a:gd name="T36" fmla="*/ 3 w 46"/>
                <a:gd name="T37" fmla="*/ 31 h 90"/>
                <a:gd name="T38" fmla="*/ 6 w 46"/>
                <a:gd name="T39" fmla="*/ 31 h 90"/>
                <a:gd name="T40" fmla="*/ 10 w 46"/>
                <a:gd name="T41" fmla="*/ 35 h 90"/>
                <a:gd name="T42" fmla="*/ 10 w 46"/>
                <a:gd name="T43" fmla="*/ 39 h 90"/>
                <a:gd name="T44" fmla="*/ 8 w 46"/>
                <a:gd name="T45" fmla="*/ 39 h 90"/>
                <a:gd name="T46" fmla="*/ 3 w 46"/>
                <a:gd name="T47" fmla="*/ 36 h 90"/>
                <a:gd name="T48" fmla="*/ 3 w 46"/>
                <a:gd name="T49" fmla="*/ 41 h 90"/>
                <a:gd name="T50" fmla="*/ 6 w 46"/>
                <a:gd name="T51" fmla="*/ 44 h 90"/>
                <a:gd name="T52" fmla="*/ 3 w 46"/>
                <a:gd name="T53" fmla="*/ 50 h 90"/>
                <a:gd name="T54" fmla="*/ 6 w 46"/>
                <a:gd name="T55" fmla="*/ 50 h 90"/>
                <a:gd name="T56" fmla="*/ 12 w 46"/>
                <a:gd name="T57" fmla="*/ 56 h 90"/>
                <a:gd name="T58" fmla="*/ 4 w 46"/>
                <a:gd name="T59" fmla="*/ 56 h 90"/>
                <a:gd name="T60" fmla="*/ 3 w 46"/>
                <a:gd name="T61" fmla="*/ 59 h 90"/>
                <a:gd name="T62" fmla="*/ 4 w 46"/>
                <a:gd name="T63" fmla="*/ 63 h 90"/>
                <a:gd name="T64" fmla="*/ 10 w 46"/>
                <a:gd name="T65" fmla="*/ 63 h 90"/>
                <a:gd name="T66" fmla="*/ 10 w 46"/>
                <a:gd name="T67" fmla="*/ 66 h 90"/>
                <a:gd name="T68" fmla="*/ 10 w 46"/>
                <a:gd name="T69" fmla="*/ 73 h 90"/>
                <a:gd name="T70" fmla="*/ 17 w 46"/>
                <a:gd name="T71" fmla="*/ 90 h 90"/>
                <a:gd name="T72" fmla="*/ 25 w 46"/>
                <a:gd name="T73" fmla="*/ 90 h 90"/>
                <a:gd name="T74" fmla="*/ 29 w 46"/>
                <a:gd name="T75" fmla="*/ 87 h 90"/>
                <a:gd name="T76" fmla="*/ 25 w 46"/>
                <a:gd name="T77" fmla="*/ 84 h 90"/>
                <a:gd name="T78" fmla="*/ 22 w 46"/>
                <a:gd name="T79" fmla="*/ 84 h 90"/>
                <a:gd name="T80" fmla="*/ 22 w 46"/>
                <a:gd name="T81" fmla="*/ 78 h 90"/>
                <a:gd name="T82" fmla="*/ 17 w 46"/>
                <a:gd name="T83" fmla="*/ 70 h 90"/>
                <a:gd name="T84" fmla="*/ 17 w 46"/>
                <a:gd name="T85" fmla="*/ 63 h 90"/>
                <a:gd name="T86" fmla="*/ 17 w 46"/>
                <a:gd name="T87" fmla="*/ 58 h 90"/>
                <a:gd name="T88" fmla="*/ 19 w 46"/>
                <a:gd name="T89" fmla="*/ 52 h 90"/>
                <a:gd name="T90" fmla="*/ 28 w 46"/>
                <a:gd name="T91" fmla="*/ 52 h 90"/>
                <a:gd name="T92" fmla="*/ 28 w 46"/>
                <a:gd name="T93" fmla="*/ 47 h 90"/>
                <a:gd name="T94" fmla="*/ 22 w 46"/>
                <a:gd name="T95" fmla="*/ 47 h 90"/>
                <a:gd name="T96" fmla="*/ 17 w 46"/>
                <a:gd name="T97" fmla="*/ 48 h 90"/>
                <a:gd name="T98" fmla="*/ 12 w 46"/>
                <a:gd name="T99" fmla="*/ 48 h 90"/>
                <a:gd name="T100" fmla="*/ 17 w 46"/>
                <a:gd name="T101" fmla="*/ 42 h 90"/>
                <a:gd name="T102" fmla="*/ 22 w 46"/>
                <a:gd name="T103" fmla="*/ 42 h 90"/>
                <a:gd name="T104" fmla="*/ 28 w 46"/>
                <a:gd name="T105" fmla="*/ 39 h 90"/>
                <a:gd name="T106" fmla="*/ 29 w 46"/>
                <a:gd name="T107" fmla="*/ 31 h 90"/>
                <a:gd name="T108" fmla="*/ 33 w 46"/>
                <a:gd name="T109" fmla="*/ 26 h 90"/>
                <a:gd name="T110" fmla="*/ 37 w 46"/>
                <a:gd name="T111" fmla="*/ 18 h 90"/>
                <a:gd name="T112" fmla="*/ 46 w 46"/>
                <a:gd name="T113" fmla="*/ 8 h 90"/>
                <a:gd name="T114" fmla="*/ 43 w 46"/>
                <a:gd name="T115" fmla="*/ 8 h 90"/>
                <a:gd name="T116" fmla="*/ 34 w 46"/>
                <a:gd name="T117" fmla="*/ 1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90">
                  <a:moveTo>
                    <a:pt x="34" y="11"/>
                  </a:moveTo>
                  <a:lnTo>
                    <a:pt x="28" y="18"/>
                  </a:lnTo>
                  <a:lnTo>
                    <a:pt x="23" y="26"/>
                  </a:lnTo>
                  <a:lnTo>
                    <a:pt x="17" y="27"/>
                  </a:lnTo>
                  <a:lnTo>
                    <a:pt x="17" y="24"/>
                  </a:lnTo>
                  <a:lnTo>
                    <a:pt x="14" y="22"/>
                  </a:lnTo>
                  <a:lnTo>
                    <a:pt x="25" y="18"/>
                  </a:lnTo>
                  <a:lnTo>
                    <a:pt x="29" y="14"/>
                  </a:lnTo>
                  <a:lnTo>
                    <a:pt x="29" y="9"/>
                  </a:lnTo>
                  <a:lnTo>
                    <a:pt x="29" y="5"/>
                  </a:lnTo>
                  <a:lnTo>
                    <a:pt x="25" y="3"/>
                  </a:lnTo>
                  <a:lnTo>
                    <a:pt x="22" y="8"/>
                  </a:lnTo>
                  <a:lnTo>
                    <a:pt x="19" y="9"/>
                  </a:lnTo>
                  <a:lnTo>
                    <a:pt x="19" y="2"/>
                  </a:lnTo>
                  <a:lnTo>
                    <a:pt x="12" y="0"/>
                  </a:lnTo>
                  <a:lnTo>
                    <a:pt x="3" y="13"/>
                  </a:lnTo>
                  <a:lnTo>
                    <a:pt x="4" y="22"/>
                  </a:lnTo>
                  <a:lnTo>
                    <a:pt x="0" y="26"/>
                  </a:lnTo>
                  <a:lnTo>
                    <a:pt x="3" y="31"/>
                  </a:lnTo>
                  <a:lnTo>
                    <a:pt x="6" y="31"/>
                  </a:lnTo>
                  <a:lnTo>
                    <a:pt x="10" y="35"/>
                  </a:lnTo>
                  <a:lnTo>
                    <a:pt x="10" y="39"/>
                  </a:lnTo>
                  <a:lnTo>
                    <a:pt x="8" y="39"/>
                  </a:lnTo>
                  <a:lnTo>
                    <a:pt x="3" y="36"/>
                  </a:lnTo>
                  <a:lnTo>
                    <a:pt x="3" y="41"/>
                  </a:lnTo>
                  <a:lnTo>
                    <a:pt x="6" y="44"/>
                  </a:lnTo>
                  <a:lnTo>
                    <a:pt x="3" y="50"/>
                  </a:lnTo>
                  <a:lnTo>
                    <a:pt x="6" y="50"/>
                  </a:lnTo>
                  <a:lnTo>
                    <a:pt x="12" y="56"/>
                  </a:lnTo>
                  <a:lnTo>
                    <a:pt x="4" y="56"/>
                  </a:lnTo>
                  <a:lnTo>
                    <a:pt x="3" y="59"/>
                  </a:lnTo>
                  <a:lnTo>
                    <a:pt x="4" y="63"/>
                  </a:lnTo>
                  <a:lnTo>
                    <a:pt x="10" y="63"/>
                  </a:lnTo>
                  <a:lnTo>
                    <a:pt x="10" y="66"/>
                  </a:lnTo>
                  <a:lnTo>
                    <a:pt x="10" y="73"/>
                  </a:lnTo>
                  <a:lnTo>
                    <a:pt x="17" y="90"/>
                  </a:lnTo>
                  <a:lnTo>
                    <a:pt x="25" y="90"/>
                  </a:lnTo>
                  <a:lnTo>
                    <a:pt x="29" y="87"/>
                  </a:lnTo>
                  <a:lnTo>
                    <a:pt x="25" y="84"/>
                  </a:lnTo>
                  <a:lnTo>
                    <a:pt x="22" y="84"/>
                  </a:lnTo>
                  <a:lnTo>
                    <a:pt x="22" y="78"/>
                  </a:lnTo>
                  <a:lnTo>
                    <a:pt x="17" y="70"/>
                  </a:lnTo>
                  <a:lnTo>
                    <a:pt x="17" y="63"/>
                  </a:lnTo>
                  <a:lnTo>
                    <a:pt x="17" y="58"/>
                  </a:lnTo>
                  <a:lnTo>
                    <a:pt x="19" y="52"/>
                  </a:lnTo>
                  <a:lnTo>
                    <a:pt x="28" y="52"/>
                  </a:lnTo>
                  <a:lnTo>
                    <a:pt x="28" y="47"/>
                  </a:lnTo>
                  <a:lnTo>
                    <a:pt x="22" y="47"/>
                  </a:lnTo>
                  <a:lnTo>
                    <a:pt x="17" y="48"/>
                  </a:lnTo>
                  <a:lnTo>
                    <a:pt x="12" y="48"/>
                  </a:lnTo>
                  <a:lnTo>
                    <a:pt x="17" y="42"/>
                  </a:lnTo>
                  <a:lnTo>
                    <a:pt x="22" y="42"/>
                  </a:lnTo>
                  <a:lnTo>
                    <a:pt x="28" y="39"/>
                  </a:lnTo>
                  <a:lnTo>
                    <a:pt x="29" y="31"/>
                  </a:lnTo>
                  <a:lnTo>
                    <a:pt x="33" y="26"/>
                  </a:lnTo>
                  <a:lnTo>
                    <a:pt x="37" y="18"/>
                  </a:lnTo>
                  <a:lnTo>
                    <a:pt x="46" y="8"/>
                  </a:lnTo>
                  <a:lnTo>
                    <a:pt x="43" y="8"/>
                  </a:lnTo>
                  <a:lnTo>
                    <a:pt x="34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2" name="Freeform 244"/>
            <p:cNvSpPr>
              <a:spLocks/>
            </p:cNvSpPr>
            <p:nvPr/>
          </p:nvSpPr>
          <p:spPr bwMode="auto">
            <a:xfrm>
              <a:off x="911226" y="2468563"/>
              <a:ext cx="15875" cy="14288"/>
            </a:xfrm>
            <a:custGeom>
              <a:avLst/>
              <a:gdLst>
                <a:gd name="T0" fmla="*/ 10 w 10"/>
                <a:gd name="T1" fmla="*/ 0 h 9"/>
                <a:gd name="T2" fmla="*/ 8 w 10"/>
                <a:gd name="T3" fmla="*/ 0 h 9"/>
                <a:gd name="T4" fmla="*/ 3 w 10"/>
                <a:gd name="T5" fmla="*/ 4 h 9"/>
                <a:gd name="T6" fmla="*/ 0 w 10"/>
                <a:gd name="T7" fmla="*/ 9 h 9"/>
                <a:gd name="T8" fmla="*/ 5 w 10"/>
                <a:gd name="T9" fmla="*/ 7 h 9"/>
                <a:gd name="T10" fmla="*/ 8 w 10"/>
                <a:gd name="T11" fmla="*/ 6 h 9"/>
                <a:gd name="T12" fmla="*/ 10 w 10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10" y="0"/>
                  </a:moveTo>
                  <a:lnTo>
                    <a:pt x="8" y="0"/>
                  </a:lnTo>
                  <a:lnTo>
                    <a:pt x="3" y="4"/>
                  </a:lnTo>
                  <a:lnTo>
                    <a:pt x="0" y="9"/>
                  </a:lnTo>
                  <a:lnTo>
                    <a:pt x="5" y="7"/>
                  </a:lnTo>
                  <a:lnTo>
                    <a:pt x="8" y="6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3" name="Freeform 245"/>
            <p:cNvSpPr>
              <a:spLocks/>
            </p:cNvSpPr>
            <p:nvPr/>
          </p:nvSpPr>
          <p:spPr bwMode="auto">
            <a:xfrm>
              <a:off x="892176" y="2497138"/>
              <a:ext cx="1588" cy="12700"/>
            </a:xfrm>
            <a:custGeom>
              <a:avLst/>
              <a:gdLst>
                <a:gd name="T0" fmla="*/ 0 w 1"/>
                <a:gd name="T1" fmla="*/ 0 h 8"/>
                <a:gd name="T2" fmla="*/ 0 w 1"/>
                <a:gd name="T3" fmla="*/ 8 h 8"/>
                <a:gd name="T4" fmla="*/ 1 w 1"/>
                <a:gd name="T5" fmla="*/ 5 h 8"/>
                <a:gd name="T6" fmla="*/ 0 w 1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8">
                  <a:moveTo>
                    <a:pt x="0" y="0"/>
                  </a:moveTo>
                  <a:lnTo>
                    <a:pt x="0" y="8"/>
                  </a:lnTo>
                  <a:lnTo>
                    <a:pt x="1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4" name="Freeform 246"/>
            <p:cNvSpPr>
              <a:spLocks/>
            </p:cNvSpPr>
            <p:nvPr/>
          </p:nvSpPr>
          <p:spPr bwMode="auto">
            <a:xfrm>
              <a:off x="860426" y="2433638"/>
              <a:ext cx="23813" cy="11113"/>
            </a:xfrm>
            <a:custGeom>
              <a:avLst/>
              <a:gdLst>
                <a:gd name="T0" fmla="*/ 0 w 15"/>
                <a:gd name="T1" fmla="*/ 5 h 7"/>
                <a:gd name="T2" fmla="*/ 8 w 15"/>
                <a:gd name="T3" fmla="*/ 5 h 7"/>
                <a:gd name="T4" fmla="*/ 8 w 15"/>
                <a:gd name="T5" fmla="*/ 7 h 7"/>
                <a:gd name="T6" fmla="*/ 11 w 15"/>
                <a:gd name="T7" fmla="*/ 7 h 7"/>
                <a:gd name="T8" fmla="*/ 15 w 15"/>
                <a:gd name="T9" fmla="*/ 1 h 7"/>
                <a:gd name="T10" fmla="*/ 10 w 15"/>
                <a:gd name="T11" fmla="*/ 0 h 7"/>
                <a:gd name="T12" fmla="*/ 2 w 15"/>
                <a:gd name="T13" fmla="*/ 1 h 7"/>
                <a:gd name="T14" fmla="*/ 0 w 15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7">
                  <a:moveTo>
                    <a:pt x="0" y="5"/>
                  </a:moveTo>
                  <a:lnTo>
                    <a:pt x="8" y="5"/>
                  </a:lnTo>
                  <a:lnTo>
                    <a:pt x="8" y="7"/>
                  </a:lnTo>
                  <a:lnTo>
                    <a:pt x="11" y="7"/>
                  </a:lnTo>
                  <a:lnTo>
                    <a:pt x="15" y="1"/>
                  </a:lnTo>
                  <a:lnTo>
                    <a:pt x="10" y="0"/>
                  </a:lnTo>
                  <a:lnTo>
                    <a:pt x="2" y="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5" name="Freeform 247"/>
            <p:cNvSpPr>
              <a:spLocks/>
            </p:cNvSpPr>
            <p:nvPr/>
          </p:nvSpPr>
          <p:spPr bwMode="auto">
            <a:xfrm>
              <a:off x="854076" y="2460625"/>
              <a:ext cx="28575" cy="36513"/>
            </a:xfrm>
            <a:custGeom>
              <a:avLst/>
              <a:gdLst>
                <a:gd name="T0" fmla="*/ 12 w 18"/>
                <a:gd name="T1" fmla="*/ 22 h 23"/>
                <a:gd name="T2" fmla="*/ 15 w 18"/>
                <a:gd name="T3" fmla="*/ 23 h 23"/>
                <a:gd name="T4" fmla="*/ 18 w 18"/>
                <a:gd name="T5" fmla="*/ 18 h 23"/>
                <a:gd name="T6" fmla="*/ 14 w 18"/>
                <a:gd name="T7" fmla="*/ 12 h 23"/>
                <a:gd name="T8" fmla="*/ 2 w 18"/>
                <a:gd name="T9" fmla="*/ 0 h 23"/>
                <a:gd name="T10" fmla="*/ 0 w 18"/>
                <a:gd name="T11" fmla="*/ 3 h 23"/>
                <a:gd name="T12" fmla="*/ 4 w 18"/>
                <a:gd name="T13" fmla="*/ 9 h 23"/>
                <a:gd name="T14" fmla="*/ 12 w 18"/>
                <a:gd name="T15" fmla="*/ 17 h 23"/>
                <a:gd name="T16" fmla="*/ 12 w 18"/>
                <a:gd name="T1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3">
                  <a:moveTo>
                    <a:pt x="12" y="22"/>
                  </a:moveTo>
                  <a:lnTo>
                    <a:pt x="15" y="23"/>
                  </a:lnTo>
                  <a:lnTo>
                    <a:pt x="18" y="18"/>
                  </a:lnTo>
                  <a:lnTo>
                    <a:pt x="14" y="12"/>
                  </a:lnTo>
                  <a:lnTo>
                    <a:pt x="2" y="0"/>
                  </a:lnTo>
                  <a:lnTo>
                    <a:pt x="0" y="3"/>
                  </a:lnTo>
                  <a:lnTo>
                    <a:pt x="4" y="9"/>
                  </a:lnTo>
                  <a:lnTo>
                    <a:pt x="12" y="17"/>
                  </a:lnTo>
                  <a:lnTo>
                    <a:pt x="12" y="2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6" name="Freeform 248"/>
            <p:cNvSpPr>
              <a:spLocks/>
            </p:cNvSpPr>
            <p:nvPr/>
          </p:nvSpPr>
          <p:spPr bwMode="auto">
            <a:xfrm>
              <a:off x="893763" y="2505075"/>
              <a:ext cx="30163" cy="26988"/>
            </a:xfrm>
            <a:custGeom>
              <a:avLst/>
              <a:gdLst>
                <a:gd name="T0" fmla="*/ 5 w 19"/>
                <a:gd name="T1" fmla="*/ 0 h 17"/>
                <a:gd name="T2" fmla="*/ 0 w 19"/>
                <a:gd name="T3" fmla="*/ 5 h 17"/>
                <a:gd name="T4" fmla="*/ 5 w 19"/>
                <a:gd name="T5" fmla="*/ 5 h 17"/>
                <a:gd name="T6" fmla="*/ 4 w 19"/>
                <a:gd name="T7" fmla="*/ 8 h 17"/>
                <a:gd name="T8" fmla="*/ 4 w 19"/>
                <a:gd name="T9" fmla="*/ 12 h 17"/>
                <a:gd name="T10" fmla="*/ 8 w 19"/>
                <a:gd name="T11" fmla="*/ 12 h 17"/>
                <a:gd name="T12" fmla="*/ 14 w 19"/>
                <a:gd name="T13" fmla="*/ 8 h 17"/>
                <a:gd name="T14" fmla="*/ 11 w 19"/>
                <a:gd name="T15" fmla="*/ 14 h 17"/>
                <a:gd name="T16" fmla="*/ 11 w 19"/>
                <a:gd name="T17" fmla="*/ 17 h 17"/>
                <a:gd name="T18" fmla="*/ 17 w 19"/>
                <a:gd name="T19" fmla="*/ 14 h 17"/>
                <a:gd name="T20" fmla="*/ 19 w 19"/>
                <a:gd name="T21" fmla="*/ 1 h 17"/>
                <a:gd name="T22" fmla="*/ 11 w 19"/>
                <a:gd name="T23" fmla="*/ 0 h 17"/>
                <a:gd name="T24" fmla="*/ 5 w 19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17">
                  <a:moveTo>
                    <a:pt x="5" y="0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8"/>
                  </a:lnTo>
                  <a:lnTo>
                    <a:pt x="11" y="14"/>
                  </a:lnTo>
                  <a:lnTo>
                    <a:pt x="11" y="17"/>
                  </a:lnTo>
                  <a:lnTo>
                    <a:pt x="17" y="14"/>
                  </a:lnTo>
                  <a:lnTo>
                    <a:pt x="19" y="1"/>
                  </a:lnTo>
                  <a:lnTo>
                    <a:pt x="1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7" name="Freeform 249"/>
            <p:cNvSpPr>
              <a:spLocks/>
            </p:cNvSpPr>
            <p:nvPr/>
          </p:nvSpPr>
          <p:spPr bwMode="auto">
            <a:xfrm>
              <a:off x="873126" y="2395538"/>
              <a:ext cx="4763" cy="11113"/>
            </a:xfrm>
            <a:custGeom>
              <a:avLst/>
              <a:gdLst>
                <a:gd name="T0" fmla="*/ 3 w 3"/>
                <a:gd name="T1" fmla="*/ 0 h 7"/>
                <a:gd name="T2" fmla="*/ 0 w 3"/>
                <a:gd name="T3" fmla="*/ 2 h 7"/>
                <a:gd name="T4" fmla="*/ 0 w 3"/>
                <a:gd name="T5" fmla="*/ 7 h 7"/>
                <a:gd name="T6" fmla="*/ 3 w 3"/>
                <a:gd name="T7" fmla="*/ 3 h 7"/>
                <a:gd name="T8" fmla="*/ 3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2"/>
                  </a:lnTo>
                  <a:lnTo>
                    <a:pt x="0" y="7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8" name="Freeform 250"/>
            <p:cNvSpPr>
              <a:spLocks/>
            </p:cNvSpPr>
            <p:nvPr/>
          </p:nvSpPr>
          <p:spPr bwMode="auto">
            <a:xfrm>
              <a:off x="3430588" y="1674813"/>
              <a:ext cx="14288" cy="31750"/>
            </a:xfrm>
            <a:custGeom>
              <a:avLst/>
              <a:gdLst>
                <a:gd name="T0" fmla="*/ 6 w 9"/>
                <a:gd name="T1" fmla="*/ 0 h 20"/>
                <a:gd name="T2" fmla="*/ 4 w 9"/>
                <a:gd name="T3" fmla="*/ 0 h 20"/>
                <a:gd name="T4" fmla="*/ 2 w 9"/>
                <a:gd name="T5" fmla="*/ 6 h 20"/>
                <a:gd name="T6" fmla="*/ 0 w 9"/>
                <a:gd name="T7" fmla="*/ 9 h 20"/>
                <a:gd name="T8" fmla="*/ 0 w 9"/>
                <a:gd name="T9" fmla="*/ 15 h 20"/>
                <a:gd name="T10" fmla="*/ 2 w 9"/>
                <a:gd name="T11" fmla="*/ 17 h 20"/>
                <a:gd name="T12" fmla="*/ 4 w 9"/>
                <a:gd name="T13" fmla="*/ 20 h 20"/>
                <a:gd name="T14" fmla="*/ 6 w 9"/>
                <a:gd name="T15" fmla="*/ 19 h 20"/>
                <a:gd name="T16" fmla="*/ 9 w 9"/>
                <a:gd name="T17" fmla="*/ 17 h 20"/>
                <a:gd name="T18" fmla="*/ 8 w 9"/>
                <a:gd name="T19" fmla="*/ 11 h 20"/>
                <a:gd name="T20" fmla="*/ 9 w 9"/>
                <a:gd name="T21" fmla="*/ 4 h 20"/>
                <a:gd name="T22" fmla="*/ 6 w 9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20">
                  <a:moveTo>
                    <a:pt x="6" y="0"/>
                  </a:moveTo>
                  <a:lnTo>
                    <a:pt x="4" y="0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4" y="20"/>
                  </a:lnTo>
                  <a:lnTo>
                    <a:pt x="6" y="19"/>
                  </a:lnTo>
                  <a:lnTo>
                    <a:pt x="9" y="17"/>
                  </a:lnTo>
                  <a:lnTo>
                    <a:pt x="8" y="11"/>
                  </a:lnTo>
                  <a:lnTo>
                    <a:pt x="9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9" name="Freeform 251"/>
            <p:cNvSpPr>
              <a:spLocks/>
            </p:cNvSpPr>
            <p:nvPr/>
          </p:nvSpPr>
          <p:spPr bwMode="auto">
            <a:xfrm>
              <a:off x="3554413" y="3074988"/>
              <a:ext cx="77788" cy="77788"/>
            </a:xfrm>
            <a:custGeom>
              <a:avLst/>
              <a:gdLst>
                <a:gd name="T0" fmla="*/ 48 w 49"/>
                <a:gd name="T1" fmla="*/ 27 h 49"/>
                <a:gd name="T2" fmla="*/ 42 w 49"/>
                <a:gd name="T3" fmla="*/ 25 h 49"/>
                <a:gd name="T4" fmla="*/ 38 w 49"/>
                <a:gd name="T5" fmla="*/ 27 h 49"/>
                <a:gd name="T6" fmla="*/ 38 w 49"/>
                <a:gd name="T7" fmla="*/ 30 h 49"/>
                <a:gd name="T8" fmla="*/ 34 w 49"/>
                <a:gd name="T9" fmla="*/ 33 h 49"/>
                <a:gd name="T10" fmla="*/ 32 w 49"/>
                <a:gd name="T11" fmla="*/ 30 h 49"/>
                <a:gd name="T12" fmla="*/ 37 w 49"/>
                <a:gd name="T13" fmla="*/ 27 h 49"/>
                <a:gd name="T14" fmla="*/ 34 w 49"/>
                <a:gd name="T15" fmla="*/ 23 h 49"/>
                <a:gd name="T16" fmla="*/ 28 w 49"/>
                <a:gd name="T17" fmla="*/ 21 h 49"/>
                <a:gd name="T18" fmla="*/ 32 w 49"/>
                <a:gd name="T19" fmla="*/ 20 h 49"/>
                <a:gd name="T20" fmla="*/ 38 w 49"/>
                <a:gd name="T21" fmla="*/ 11 h 49"/>
                <a:gd name="T22" fmla="*/ 38 w 49"/>
                <a:gd name="T23" fmla="*/ 6 h 49"/>
                <a:gd name="T24" fmla="*/ 32 w 49"/>
                <a:gd name="T25" fmla="*/ 6 h 49"/>
                <a:gd name="T26" fmla="*/ 37 w 49"/>
                <a:gd name="T27" fmla="*/ 3 h 49"/>
                <a:gd name="T28" fmla="*/ 34 w 49"/>
                <a:gd name="T29" fmla="*/ 0 h 49"/>
                <a:gd name="T30" fmla="*/ 31 w 49"/>
                <a:gd name="T31" fmla="*/ 0 h 49"/>
                <a:gd name="T32" fmla="*/ 28 w 49"/>
                <a:gd name="T33" fmla="*/ 5 h 49"/>
                <a:gd name="T34" fmla="*/ 21 w 49"/>
                <a:gd name="T35" fmla="*/ 11 h 49"/>
                <a:gd name="T36" fmla="*/ 19 w 49"/>
                <a:gd name="T37" fmla="*/ 14 h 49"/>
                <a:gd name="T38" fmla="*/ 17 w 49"/>
                <a:gd name="T39" fmla="*/ 17 h 49"/>
                <a:gd name="T40" fmla="*/ 12 w 49"/>
                <a:gd name="T41" fmla="*/ 25 h 49"/>
                <a:gd name="T42" fmla="*/ 3 w 49"/>
                <a:gd name="T43" fmla="*/ 28 h 49"/>
                <a:gd name="T44" fmla="*/ 0 w 49"/>
                <a:gd name="T45" fmla="*/ 33 h 49"/>
                <a:gd name="T46" fmla="*/ 2 w 49"/>
                <a:gd name="T47" fmla="*/ 34 h 49"/>
                <a:gd name="T48" fmla="*/ 3 w 49"/>
                <a:gd name="T49" fmla="*/ 42 h 49"/>
                <a:gd name="T50" fmla="*/ 12 w 49"/>
                <a:gd name="T51" fmla="*/ 45 h 49"/>
                <a:gd name="T52" fmla="*/ 14 w 49"/>
                <a:gd name="T53" fmla="*/ 49 h 49"/>
                <a:gd name="T54" fmla="*/ 15 w 49"/>
                <a:gd name="T55" fmla="*/ 47 h 49"/>
                <a:gd name="T56" fmla="*/ 17 w 49"/>
                <a:gd name="T57" fmla="*/ 43 h 49"/>
                <a:gd name="T58" fmla="*/ 19 w 49"/>
                <a:gd name="T59" fmla="*/ 42 h 49"/>
                <a:gd name="T60" fmla="*/ 21 w 49"/>
                <a:gd name="T61" fmla="*/ 45 h 49"/>
                <a:gd name="T62" fmla="*/ 25 w 49"/>
                <a:gd name="T63" fmla="*/ 45 h 49"/>
                <a:gd name="T64" fmla="*/ 34 w 49"/>
                <a:gd name="T65" fmla="*/ 39 h 49"/>
                <a:gd name="T66" fmla="*/ 42 w 49"/>
                <a:gd name="T67" fmla="*/ 38 h 49"/>
                <a:gd name="T68" fmla="*/ 43 w 49"/>
                <a:gd name="T69" fmla="*/ 36 h 49"/>
                <a:gd name="T70" fmla="*/ 49 w 49"/>
                <a:gd name="T71" fmla="*/ 34 h 49"/>
                <a:gd name="T72" fmla="*/ 48 w 49"/>
                <a:gd name="T73" fmla="*/ 33 h 49"/>
                <a:gd name="T74" fmla="*/ 48 w 49"/>
                <a:gd name="T75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" h="49">
                  <a:moveTo>
                    <a:pt x="48" y="27"/>
                  </a:moveTo>
                  <a:lnTo>
                    <a:pt x="42" y="25"/>
                  </a:lnTo>
                  <a:lnTo>
                    <a:pt x="38" y="27"/>
                  </a:lnTo>
                  <a:lnTo>
                    <a:pt x="38" y="30"/>
                  </a:lnTo>
                  <a:lnTo>
                    <a:pt x="34" y="33"/>
                  </a:lnTo>
                  <a:lnTo>
                    <a:pt x="32" y="30"/>
                  </a:lnTo>
                  <a:lnTo>
                    <a:pt x="37" y="27"/>
                  </a:lnTo>
                  <a:lnTo>
                    <a:pt x="34" y="23"/>
                  </a:lnTo>
                  <a:lnTo>
                    <a:pt x="28" y="21"/>
                  </a:lnTo>
                  <a:lnTo>
                    <a:pt x="32" y="20"/>
                  </a:lnTo>
                  <a:lnTo>
                    <a:pt x="38" y="11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8" y="5"/>
                  </a:lnTo>
                  <a:lnTo>
                    <a:pt x="21" y="11"/>
                  </a:lnTo>
                  <a:lnTo>
                    <a:pt x="19" y="14"/>
                  </a:lnTo>
                  <a:lnTo>
                    <a:pt x="17" y="17"/>
                  </a:lnTo>
                  <a:lnTo>
                    <a:pt x="12" y="25"/>
                  </a:lnTo>
                  <a:lnTo>
                    <a:pt x="3" y="28"/>
                  </a:lnTo>
                  <a:lnTo>
                    <a:pt x="0" y="33"/>
                  </a:lnTo>
                  <a:lnTo>
                    <a:pt x="2" y="34"/>
                  </a:lnTo>
                  <a:lnTo>
                    <a:pt x="3" y="42"/>
                  </a:lnTo>
                  <a:lnTo>
                    <a:pt x="12" y="45"/>
                  </a:lnTo>
                  <a:lnTo>
                    <a:pt x="14" y="49"/>
                  </a:lnTo>
                  <a:lnTo>
                    <a:pt x="15" y="47"/>
                  </a:lnTo>
                  <a:lnTo>
                    <a:pt x="17" y="43"/>
                  </a:lnTo>
                  <a:lnTo>
                    <a:pt x="19" y="42"/>
                  </a:lnTo>
                  <a:lnTo>
                    <a:pt x="21" y="45"/>
                  </a:lnTo>
                  <a:lnTo>
                    <a:pt x="25" y="45"/>
                  </a:lnTo>
                  <a:lnTo>
                    <a:pt x="34" y="39"/>
                  </a:lnTo>
                  <a:lnTo>
                    <a:pt x="42" y="38"/>
                  </a:lnTo>
                  <a:lnTo>
                    <a:pt x="43" y="36"/>
                  </a:lnTo>
                  <a:lnTo>
                    <a:pt x="49" y="34"/>
                  </a:lnTo>
                  <a:lnTo>
                    <a:pt x="48" y="33"/>
                  </a:lnTo>
                  <a:lnTo>
                    <a:pt x="48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0" name="Freeform 252"/>
            <p:cNvSpPr>
              <a:spLocks/>
            </p:cNvSpPr>
            <p:nvPr/>
          </p:nvSpPr>
          <p:spPr bwMode="auto">
            <a:xfrm>
              <a:off x="3444876" y="3067050"/>
              <a:ext cx="90488" cy="60325"/>
            </a:xfrm>
            <a:custGeom>
              <a:avLst/>
              <a:gdLst>
                <a:gd name="T0" fmla="*/ 12 w 57"/>
                <a:gd name="T1" fmla="*/ 19 h 38"/>
                <a:gd name="T2" fmla="*/ 14 w 57"/>
                <a:gd name="T3" fmla="*/ 21 h 38"/>
                <a:gd name="T4" fmla="*/ 16 w 57"/>
                <a:gd name="T5" fmla="*/ 21 h 38"/>
                <a:gd name="T6" fmla="*/ 17 w 57"/>
                <a:gd name="T7" fmla="*/ 25 h 38"/>
                <a:gd name="T8" fmla="*/ 20 w 57"/>
                <a:gd name="T9" fmla="*/ 26 h 38"/>
                <a:gd name="T10" fmla="*/ 22 w 57"/>
                <a:gd name="T11" fmla="*/ 28 h 38"/>
                <a:gd name="T12" fmla="*/ 35 w 57"/>
                <a:gd name="T13" fmla="*/ 30 h 38"/>
                <a:gd name="T14" fmla="*/ 37 w 57"/>
                <a:gd name="T15" fmla="*/ 35 h 38"/>
                <a:gd name="T16" fmla="*/ 42 w 57"/>
                <a:gd name="T17" fmla="*/ 38 h 38"/>
                <a:gd name="T18" fmla="*/ 46 w 57"/>
                <a:gd name="T19" fmla="*/ 35 h 38"/>
                <a:gd name="T20" fmla="*/ 48 w 57"/>
                <a:gd name="T21" fmla="*/ 32 h 38"/>
                <a:gd name="T22" fmla="*/ 48 w 57"/>
                <a:gd name="T23" fmla="*/ 28 h 38"/>
                <a:gd name="T24" fmla="*/ 51 w 57"/>
                <a:gd name="T25" fmla="*/ 25 h 38"/>
                <a:gd name="T26" fmla="*/ 56 w 57"/>
                <a:gd name="T27" fmla="*/ 22 h 38"/>
                <a:gd name="T28" fmla="*/ 57 w 57"/>
                <a:gd name="T29" fmla="*/ 21 h 38"/>
                <a:gd name="T30" fmla="*/ 51 w 57"/>
                <a:gd name="T31" fmla="*/ 21 h 38"/>
                <a:gd name="T32" fmla="*/ 46 w 57"/>
                <a:gd name="T33" fmla="*/ 19 h 38"/>
                <a:gd name="T34" fmla="*/ 42 w 57"/>
                <a:gd name="T35" fmla="*/ 22 h 38"/>
                <a:gd name="T36" fmla="*/ 35 w 57"/>
                <a:gd name="T37" fmla="*/ 22 h 38"/>
                <a:gd name="T38" fmla="*/ 33 w 57"/>
                <a:gd name="T39" fmla="*/ 21 h 38"/>
                <a:gd name="T40" fmla="*/ 29 w 57"/>
                <a:gd name="T41" fmla="*/ 21 h 38"/>
                <a:gd name="T42" fmla="*/ 23 w 57"/>
                <a:gd name="T43" fmla="*/ 16 h 38"/>
                <a:gd name="T44" fmla="*/ 17 w 57"/>
                <a:gd name="T45" fmla="*/ 16 h 38"/>
                <a:gd name="T46" fmla="*/ 17 w 57"/>
                <a:gd name="T47" fmla="*/ 19 h 38"/>
                <a:gd name="T48" fmla="*/ 14 w 57"/>
                <a:gd name="T49" fmla="*/ 16 h 38"/>
                <a:gd name="T50" fmla="*/ 14 w 57"/>
                <a:gd name="T51" fmla="*/ 11 h 38"/>
                <a:gd name="T52" fmla="*/ 12 w 57"/>
                <a:gd name="T53" fmla="*/ 10 h 38"/>
                <a:gd name="T54" fmla="*/ 12 w 57"/>
                <a:gd name="T55" fmla="*/ 8 h 38"/>
                <a:gd name="T56" fmla="*/ 14 w 57"/>
                <a:gd name="T57" fmla="*/ 4 h 38"/>
                <a:gd name="T58" fmla="*/ 14 w 57"/>
                <a:gd name="T59" fmla="*/ 0 h 38"/>
                <a:gd name="T60" fmla="*/ 2 w 57"/>
                <a:gd name="T61" fmla="*/ 5 h 38"/>
                <a:gd name="T62" fmla="*/ 0 w 57"/>
                <a:gd name="T63" fmla="*/ 11 h 38"/>
                <a:gd name="T64" fmla="*/ 2 w 57"/>
                <a:gd name="T65" fmla="*/ 11 h 38"/>
                <a:gd name="T66" fmla="*/ 6 w 57"/>
                <a:gd name="T67" fmla="*/ 11 h 38"/>
                <a:gd name="T68" fmla="*/ 8 w 57"/>
                <a:gd name="T69" fmla="*/ 13 h 38"/>
                <a:gd name="T70" fmla="*/ 8 w 57"/>
                <a:gd name="T71" fmla="*/ 16 h 38"/>
                <a:gd name="T72" fmla="*/ 12 w 57"/>
                <a:gd name="T73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" h="38">
                  <a:moveTo>
                    <a:pt x="12" y="19"/>
                  </a:moveTo>
                  <a:lnTo>
                    <a:pt x="14" y="21"/>
                  </a:lnTo>
                  <a:lnTo>
                    <a:pt x="16" y="21"/>
                  </a:lnTo>
                  <a:lnTo>
                    <a:pt x="17" y="25"/>
                  </a:lnTo>
                  <a:lnTo>
                    <a:pt x="20" y="26"/>
                  </a:lnTo>
                  <a:lnTo>
                    <a:pt x="22" y="28"/>
                  </a:lnTo>
                  <a:lnTo>
                    <a:pt x="35" y="30"/>
                  </a:lnTo>
                  <a:lnTo>
                    <a:pt x="37" y="35"/>
                  </a:lnTo>
                  <a:lnTo>
                    <a:pt x="42" y="38"/>
                  </a:lnTo>
                  <a:lnTo>
                    <a:pt x="46" y="35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1" y="25"/>
                  </a:lnTo>
                  <a:lnTo>
                    <a:pt x="56" y="22"/>
                  </a:lnTo>
                  <a:lnTo>
                    <a:pt x="57" y="21"/>
                  </a:lnTo>
                  <a:lnTo>
                    <a:pt x="51" y="21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5" y="22"/>
                  </a:lnTo>
                  <a:lnTo>
                    <a:pt x="33" y="21"/>
                  </a:lnTo>
                  <a:lnTo>
                    <a:pt x="29" y="21"/>
                  </a:lnTo>
                  <a:lnTo>
                    <a:pt x="23" y="16"/>
                  </a:lnTo>
                  <a:lnTo>
                    <a:pt x="17" y="16"/>
                  </a:lnTo>
                  <a:lnTo>
                    <a:pt x="17" y="19"/>
                  </a:lnTo>
                  <a:lnTo>
                    <a:pt x="14" y="16"/>
                  </a:lnTo>
                  <a:lnTo>
                    <a:pt x="14" y="11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2" y="5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6" y="11"/>
                  </a:lnTo>
                  <a:lnTo>
                    <a:pt x="8" y="13"/>
                  </a:lnTo>
                  <a:lnTo>
                    <a:pt x="8" y="16"/>
                  </a:lnTo>
                  <a:lnTo>
                    <a:pt x="12" y="1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1" name="Freeform 253"/>
            <p:cNvSpPr>
              <a:spLocks/>
            </p:cNvSpPr>
            <p:nvPr/>
          </p:nvSpPr>
          <p:spPr bwMode="auto">
            <a:xfrm>
              <a:off x="1006476" y="2741613"/>
              <a:ext cx="17463" cy="20638"/>
            </a:xfrm>
            <a:custGeom>
              <a:avLst/>
              <a:gdLst>
                <a:gd name="T0" fmla="*/ 11 w 11"/>
                <a:gd name="T1" fmla="*/ 11 h 13"/>
                <a:gd name="T2" fmla="*/ 5 w 11"/>
                <a:gd name="T3" fmla="*/ 3 h 13"/>
                <a:gd name="T4" fmla="*/ 0 w 11"/>
                <a:gd name="T5" fmla="*/ 0 h 13"/>
                <a:gd name="T6" fmla="*/ 2 w 11"/>
                <a:gd name="T7" fmla="*/ 5 h 13"/>
                <a:gd name="T8" fmla="*/ 9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2" y="5"/>
                  </a:lnTo>
                  <a:lnTo>
                    <a:pt x="9" y="13"/>
                  </a:lnTo>
                  <a:lnTo>
                    <a:pt x="11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2" name="Freeform 254"/>
            <p:cNvSpPr>
              <a:spLocks/>
            </p:cNvSpPr>
            <p:nvPr/>
          </p:nvSpPr>
          <p:spPr bwMode="auto">
            <a:xfrm>
              <a:off x="3554413" y="3057525"/>
              <a:ext cx="4763" cy="7938"/>
            </a:xfrm>
            <a:custGeom>
              <a:avLst/>
              <a:gdLst>
                <a:gd name="T0" fmla="*/ 2 w 3"/>
                <a:gd name="T1" fmla="*/ 5 h 5"/>
                <a:gd name="T2" fmla="*/ 3 w 3"/>
                <a:gd name="T3" fmla="*/ 2 h 5"/>
                <a:gd name="T4" fmla="*/ 2 w 3"/>
                <a:gd name="T5" fmla="*/ 2 h 5"/>
                <a:gd name="T6" fmla="*/ 0 w 3"/>
                <a:gd name="T7" fmla="*/ 0 h 5"/>
                <a:gd name="T8" fmla="*/ 0 w 3"/>
                <a:gd name="T9" fmla="*/ 5 h 5"/>
                <a:gd name="T10" fmla="*/ 2 w 3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lnTo>
                    <a:pt x="3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3" name="Freeform 255"/>
            <p:cNvSpPr>
              <a:spLocks/>
            </p:cNvSpPr>
            <p:nvPr/>
          </p:nvSpPr>
          <p:spPr bwMode="auto">
            <a:xfrm>
              <a:off x="893763" y="2492375"/>
              <a:ext cx="7938" cy="9525"/>
            </a:xfrm>
            <a:custGeom>
              <a:avLst/>
              <a:gdLst>
                <a:gd name="T0" fmla="*/ 0 w 5"/>
                <a:gd name="T1" fmla="*/ 2 h 6"/>
                <a:gd name="T2" fmla="*/ 4 w 5"/>
                <a:gd name="T3" fmla="*/ 6 h 6"/>
                <a:gd name="T4" fmla="*/ 5 w 5"/>
                <a:gd name="T5" fmla="*/ 3 h 6"/>
                <a:gd name="T6" fmla="*/ 4 w 5"/>
                <a:gd name="T7" fmla="*/ 0 h 6"/>
                <a:gd name="T8" fmla="*/ 0 w 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0" y="2"/>
                  </a:moveTo>
                  <a:lnTo>
                    <a:pt x="4" y="6"/>
                  </a:lnTo>
                  <a:lnTo>
                    <a:pt x="5" y="3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4" name="Freeform 256"/>
            <p:cNvSpPr>
              <a:spLocks/>
            </p:cNvSpPr>
            <p:nvPr/>
          </p:nvSpPr>
          <p:spPr bwMode="auto">
            <a:xfrm>
              <a:off x="989013" y="2711450"/>
              <a:ext cx="4763" cy="11113"/>
            </a:xfrm>
            <a:custGeom>
              <a:avLst/>
              <a:gdLst>
                <a:gd name="T0" fmla="*/ 0 w 3"/>
                <a:gd name="T1" fmla="*/ 0 h 7"/>
                <a:gd name="T2" fmla="*/ 1 w 3"/>
                <a:gd name="T3" fmla="*/ 7 h 7"/>
                <a:gd name="T4" fmla="*/ 3 w 3"/>
                <a:gd name="T5" fmla="*/ 0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lnTo>
                    <a:pt x="1" y="7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5" name="Freeform 257"/>
            <p:cNvSpPr>
              <a:spLocks/>
            </p:cNvSpPr>
            <p:nvPr/>
          </p:nvSpPr>
          <p:spPr bwMode="auto">
            <a:xfrm>
              <a:off x="3479801" y="2914650"/>
              <a:ext cx="104775" cy="57150"/>
            </a:xfrm>
            <a:custGeom>
              <a:avLst/>
              <a:gdLst>
                <a:gd name="T0" fmla="*/ 45 w 66"/>
                <a:gd name="T1" fmla="*/ 30 h 36"/>
                <a:gd name="T2" fmla="*/ 49 w 66"/>
                <a:gd name="T3" fmla="*/ 33 h 36"/>
                <a:gd name="T4" fmla="*/ 53 w 66"/>
                <a:gd name="T5" fmla="*/ 33 h 36"/>
                <a:gd name="T6" fmla="*/ 59 w 66"/>
                <a:gd name="T7" fmla="*/ 36 h 36"/>
                <a:gd name="T8" fmla="*/ 64 w 66"/>
                <a:gd name="T9" fmla="*/ 33 h 36"/>
                <a:gd name="T10" fmla="*/ 66 w 66"/>
                <a:gd name="T11" fmla="*/ 31 h 36"/>
                <a:gd name="T12" fmla="*/ 62 w 66"/>
                <a:gd name="T13" fmla="*/ 28 h 36"/>
                <a:gd name="T14" fmla="*/ 61 w 66"/>
                <a:gd name="T15" fmla="*/ 25 h 36"/>
                <a:gd name="T16" fmla="*/ 59 w 66"/>
                <a:gd name="T17" fmla="*/ 24 h 36"/>
                <a:gd name="T18" fmla="*/ 55 w 66"/>
                <a:gd name="T19" fmla="*/ 22 h 36"/>
                <a:gd name="T20" fmla="*/ 50 w 66"/>
                <a:gd name="T21" fmla="*/ 19 h 36"/>
                <a:gd name="T22" fmla="*/ 44 w 66"/>
                <a:gd name="T23" fmla="*/ 15 h 36"/>
                <a:gd name="T24" fmla="*/ 41 w 66"/>
                <a:gd name="T25" fmla="*/ 13 h 36"/>
                <a:gd name="T26" fmla="*/ 35 w 66"/>
                <a:gd name="T27" fmla="*/ 9 h 36"/>
                <a:gd name="T28" fmla="*/ 30 w 66"/>
                <a:gd name="T29" fmla="*/ 6 h 36"/>
                <a:gd name="T30" fmla="*/ 23 w 66"/>
                <a:gd name="T31" fmla="*/ 6 h 36"/>
                <a:gd name="T32" fmla="*/ 9 w 66"/>
                <a:gd name="T33" fmla="*/ 2 h 36"/>
                <a:gd name="T34" fmla="*/ 5 w 66"/>
                <a:gd name="T35" fmla="*/ 0 h 36"/>
                <a:gd name="T36" fmla="*/ 0 w 66"/>
                <a:gd name="T37" fmla="*/ 3 h 36"/>
                <a:gd name="T38" fmla="*/ 1 w 66"/>
                <a:gd name="T39" fmla="*/ 7 h 36"/>
                <a:gd name="T40" fmla="*/ 7 w 66"/>
                <a:gd name="T41" fmla="*/ 9 h 36"/>
                <a:gd name="T42" fmla="*/ 17 w 66"/>
                <a:gd name="T43" fmla="*/ 15 h 36"/>
                <a:gd name="T44" fmla="*/ 17 w 66"/>
                <a:gd name="T45" fmla="*/ 20 h 36"/>
                <a:gd name="T46" fmla="*/ 19 w 66"/>
                <a:gd name="T47" fmla="*/ 22 h 36"/>
                <a:gd name="T48" fmla="*/ 23 w 66"/>
                <a:gd name="T49" fmla="*/ 22 h 36"/>
                <a:gd name="T50" fmla="*/ 32 w 66"/>
                <a:gd name="T51" fmla="*/ 30 h 36"/>
                <a:gd name="T52" fmla="*/ 40 w 66"/>
                <a:gd name="T53" fmla="*/ 30 h 36"/>
                <a:gd name="T54" fmla="*/ 45 w 66"/>
                <a:gd name="T55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36">
                  <a:moveTo>
                    <a:pt x="45" y="30"/>
                  </a:moveTo>
                  <a:lnTo>
                    <a:pt x="49" y="33"/>
                  </a:lnTo>
                  <a:lnTo>
                    <a:pt x="53" y="33"/>
                  </a:lnTo>
                  <a:lnTo>
                    <a:pt x="59" y="36"/>
                  </a:lnTo>
                  <a:lnTo>
                    <a:pt x="64" y="33"/>
                  </a:lnTo>
                  <a:lnTo>
                    <a:pt x="66" y="31"/>
                  </a:lnTo>
                  <a:lnTo>
                    <a:pt x="62" y="28"/>
                  </a:lnTo>
                  <a:lnTo>
                    <a:pt x="61" y="25"/>
                  </a:lnTo>
                  <a:lnTo>
                    <a:pt x="59" y="24"/>
                  </a:lnTo>
                  <a:lnTo>
                    <a:pt x="55" y="22"/>
                  </a:lnTo>
                  <a:lnTo>
                    <a:pt x="50" y="19"/>
                  </a:lnTo>
                  <a:lnTo>
                    <a:pt x="44" y="15"/>
                  </a:lnTo>
                  <a:lnTo>
                    <a:pt x="41" y="13"/>
                  </a:lnTo>
                  <a:lnTo>
                    <a:pt x="35" y="9"/>
                  </a:lnTo>
                  <a:lnTo>
                    <a:pt x="30" y="6"/>
                  </a:lnTo>
                  <a:lnTo>
                    <a:pt x="23" y="6"/>
                  </a:lnTo>
                  <a:lnTo>
                    <a:pt x="9" y="2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7"/>
                  </a:lnTo>
                  <a:lnTo>
                    <a:pt x="7" y="9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19" y="22"/>
                  </a:lnTo>
                  <a:lnTo>
                    <a:pt x="23" y="22"/>
                  </a:lnTo>
                  <a:lnTo>
                    <a:pt x="32" y="30"/>
                  </a:lnTo>
                  <a:lnTo>
                    <a:pt x="40" y="30"/>
                  </a:lnTo>
                  <a:lnTo>
                    <a:pt x="45" y="3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6" name="Freeform 258"/>
            <p:cNvSpPr>
              <a:spLocks/>
            </p:cNvSpPr>
            <p:nvPr/>
          </p:nvSpPr>
          <p:spPr bwMode="auto">
            <a:xfrm>
              <a:off x="869951" y="2657475"/>
              <a:ext cx="160338" cy="176213"/>
            </a:xfrm>
            <a:custGeom>
              <a:avLst/>
              <a:gdLst>
                <a:gd name="T0" fmla="*/ 95 w 101"/>
                <a:gd name="T1" fmla="*/ 86 h 111"/>
                <a:gd name="T2" fmla="*/ 91 w 101"/>
                <a:gd name="T3" fmla="*/ 72 h 111"/>
                <a:gd name="T4" fmla="*/ 78 w 101"/>
                <a:gd name="T5" fmla="*/ 49 h 111"/>
                <a:gd name="T6" fmla="*/ 71 w 101"/>
                <a:gd name="T7" fmla="*/ 33 h 111"/>
                <a:gd name="T8" fmla="*/ 63 w 101"/>
                <a:gd name="T9" fmla="*/ 28 h 111"/>
                <a:gd name="T10" fmla="*/ 48 w 101"/>
                <a:gd name="T11" fmla="*/ 25 h 111"/>
                <a:gd name="T12" fmla="*/ 38 w 101"/>
                <a:gd name="T13" fmla="*/ 18 h 111"/>
                <a:gd name="T14" fmla="*/ 26 w 101"/>
                <a:gd name="T15" fmla="*/ 10 h 111"/>
                <a:gd name="T16" fmla="*/ 17 w 101"/>
                <a:gd name="T17" fmla="*/ 7 h 111"/>
                <a:gd name="T18" fmla="*/ 9 w 101"/>
                <a:gd name="T19" fmla="*/ 0 h 111"/>
                <a:gd name="T20" fmla="*/ 0 w 101"/>
                <a:gd name="T21" fmla="*/ 1 h 111"/>
                <a:gd name="T22" fmla="*/ 4 w 101"/>
                <a:gd name="T23" fmla="*/ 9 h 111"/>
                <a:gd name="T24" fmla="*/ 19 w 101"/>
                <a:gd name="T25" fmla="*/ 16 h 111"/>
                <a:gd name="T26" fmla="*/ 8 w 101"/>
                <a:gd name="T27" fmla="*/ 18 h 111"/>
                <a:gd name="T28" fmla="*/ 8 w 101"/>
                <a:gd name="T29" fmla="*/ 25 h 111"/>
                <a:gd name="T30" fmla="*/ 5 w 101"/>
                <a:gd name="T31" fmla="*/ 33 h 111"/>
                <a:gd name="T32" fmla="*/ 14 w 101"/>
                <a:gd name="T33" fmla="*/ 34 h 111"/>
                <a:gd name="T34" fmla="*/ 19 w 101"/>
                <a:gd name="T35" fmla="*/ 40 h 111"/>
                <a:gd name="T36" fmla="*/ 31 w 101"/>
                <a:gd name="T37" fmla="*/ 40 h 111"/>
                <a:gd name="T38" fmla="*/ 26 w 101"/>
                <a:gd name="T39" fmla="*/ 53 h 111"/>
                <a:gd name="T40" fmla="*/ 31 w 101"/>
                <a:gd name="T41" fmla="*/ 47 h 111"/>
                <a:gd name="T42" fmla="*/ 36 w 101"/>
                <a:gd name="T43" fmla="*/ 50 h 111"/>
                <a:gd name="T44" fmla="*/ 32 w 101"/>
                <a:gd name="T45" fmla="*/ 58 h 111"/>
                <a:gd name="T46" fmla="*/ 36 w 101"/>
                <a:gd name="T47" fmla="*/ 64 h 111"/>
                <a:gd name="T48" fmla="*/ 46 w 101"/>
                <a:gd name="T49" fmla="*/ 67 h 111"/>
                <a:gd name="T50" fmla="*/ 51 w 101"/>
                <a:gd name="T51" fmla="*/ 73 h 111"/>
                <a:gd name="T52" fmla="*/ 55 w 101"/>
                <a:gd name="T53" fmla="*/ 83 h 111"/>
                <a:gd name="T54" fmla="*/ 63 w 101"/>
                <a:gd name="T55" fmla="*/ 81 h 111"/>
                <a:gd name="T56" fmla="*/ 60 w 101"/>
                <a:gd name="T57" fmla="*/ 89 h 111"/>
                <a:gd name="T58" fmla="*/ 72 w 101"/>
                <a:gd name="T59" fmla="*/ 100 h 111"/>
                <a:gd name="T60" fmla="*/ 94 w 101"/>
                <a:gd name="T61" fmla="*/ 111 h 111"/>
                <a:gd name="T62" fmla="*/ 101 w 101"/>
                <a:gd name="T63" fmla="*/ 111 h 111"/>
                <a:gd name="T64" fmla="*/ 97 w 101"/>
                <a:gd name="T65" fmla="*/ 89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111">
                  <a:moveTo>
                    <a:pt x="97" y="89"/>
                  </a:moveTo>
                  <a:lnTo>
                    <a:pt x="95" y="86"/>
                  </a:lnTo>
                  <a:lnTo>
                    <a:pt x="97" y="77"/>
                  </a:lnTo>
                  <a:lnTo>
                    <a:pt x="91" y="72"/>
                  </a:lnTo>
                  <a:lnTo>
                    <a:pt x="80" y="64"/>
                  </a:lnTo>
                  <a:lnTo>
                    <a:pt x="78" y="49"/>
                  </a:lnTo>
                  <a:lnTo>
                    <a:pt x="72" y="41"/>
                  </a:lnTo>
                  <a:lnTo>
                    <a:pt x="71" y="33"/>
                  </a:lnTo>
                  <a:lnTo>
                    <a:pt x="69" y="31"/>
                  </a:lnTo>
                  <a:lnTo>
                    <a:pt x="63" y="28"/>
                  </a:lnTo>
                  <a:lnTo>
                    <a:pt x="54" y="25"/>
                  </a:lnTo>
                  <a:lnTo>
                    <a:pt x="48" y="25"/>
                  </a:lnTo>
                  <a:lnTo>
                    <a:pt x="42" y="24"/>
                  </a:lnTo>
                  <a:lnTo>
                    <a:pt x="38" y="18"/>
                  </a:lnTo>
                  <a:lnTo>
                    <a:pt x="31" y="14"/>
                  </a:lnTo>
                  <a:lnTo>
                    <a:pt x="26" y="10"/>
                  </a:lnTo>
                  <a:lnTo>
                    <a:pt x="25" y="5"/>
                  </a:lnTo>
                  <a:lnTo>
                    <a:pt x="17" y="7"/>
                  </a:lnTo>
                  <a:lnTo>
                    <a:pt x="15" y="1"/>
                  </a:lnTo>
                  <a:lnTo>
                    <a:pt x="9" y="0"/>
                  </a:lnTo>
                  <a:lnTo>
                    <a:pt x="8" y="1"/>
                  </a:lnTo>
                  <a:lnTo>
                    <a:pt x="0" y="1"/>
                  </a:lnTo>
                  <a:lnTo>
                    <a:pt x="2" y="7"/>
                  </a:lnTo>
                  <a:lnTo>
                    <a:pt x="4" y="9"/>
                  </a:lnTo>
                  <a:lnTo>
                    <a:pt x="5" y="14"/>
                  </a:lnTo>
                  <a:lnTo>
                    <a:pt x="19" y="16"/>
                  </a:lnTo>
                  <a:lnTo>
                    <a:pt x="15" y="18"/>
                  </a:lnTo>
                  <a:lnTo>
                    <a:pt x="8" y="18"/>
                  </a:lnTo>
                  <a:lnTo>
                    <a:pt x="4" y="24"/>
                  </a:lnTo>
                  <a:lnTo>
                    <a:pt x="8" y="25"/>
                  </a:lnTo>
                  <a:lnTo>
                    <a:pt x="4" y="31"/>
                  </a:lnTo>
                  <a:lnTo>
                    <a:pt x="5" y="33"/>
                  </a:lnTo>
                  <a:lnTo>
                    <a:pt x="11" y="31"/>
                  </a:lnTo>
                  <a:lnTo>
                    <a:pt x="14" y="34"/>
                  </a:lnTo>
                  <a:lnTo>
                    <a:pt x="19" y="34"/>
                  </a:lnTo>
                  <a:lnTo>
                    <a:pt x="19" y="40"/>
                  </a:lnTo>
                  <a:lnTo>
                    <a:pt x="25" y="41"/>
                  </a:lnTo>
                  <a:lnTo>
                    <a:pt x="31" y="40"/>
                  </a:lnTo>
                  <a:lnTo>
                    <a:pt x="23" y="47"/>
                  </a:lnTo>
                  <a:lnTo>
                    <a:pt x="26" y="53"/>
                  </a:lnTo>
                  <a:lnTo>
                    <a:pt x="31" y="53"/>
                  </a:lnTo>
                  <a:lnTo>
                    <a:pt x="31" y="47"/>
                  </a:lnTo>
                  <a:lnTo>
                    <a:pt x="38" y="45"/>
                  </a:lnTo>
                  <a:lnTo>
                    <a:pt x="36" y="50"/>
                  </a:lnTo>
                  <a:lnTo>
                    <a:pt x="31" y="55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67"/>
                  </a:lnTo>
                  <a:lnTo>
                    <a:pt x="49" y="67"/>
                  </a:lnTo>
                  <a:lnTo>
                    <a:pt x="51" y="73"/>
                  </a:lnTo>
                  <a:lnTo>
                    <a:pt x="49" y="77"/>
                  </a:lnTo>
                  <a:lnTo>
                    <a:pt x="55" y="83"/>
                  </a:lnTo>
                  <a:lnTo>
                    <a:pt x="60" y="79"/>
                  </a:lnTo>
                  <a:lnTo>
                    <a:pt x="63" y="81"/>
                  </a:lnTo>
                  <a:lnTo>
                    <a:pt x="66" y="81"/>
                  </a:lnTo>
                  <a:lnTo>
                    <a:pt x="60" y="89"/>
                  </a:lnTo>
                  <a:lnTo>
                    <a:pt x="71" y="97"/>
                  </a:lnTo>
                  <a:lnTo>
                    <a:pt x="72" y="100"/>
                  </a:lnTo>
                  <a:lnTo>
                    <a:pt x="76" y="103"/>
                  </a:lnTo>
                  <a:lnTo>
                    <a:pt x="94" y="111"/>
                  </a:lnTo>
                  <a:lnTo>
                    <a:pt x="95" y="108"/>
                  </a:lnTo>
                  <a:lnTo>
                    <a:pt x="101" y="111"/>
                  </a:lnTo>
                  <a:lnTo>
                    <a:pt x="97" y="97"/>
                  </a:lnTo>
                  <a:lnTo>
                    <a:pt x="97" y="8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7" name="Freeform 259"/>
            <p:cNvSpPr>
              <a:spLocks/>
            </p:cNvSpPr>
            <p:nvPr/>
          </p:nvSpPr>
          <p:spPr bwMode="auto">
            <a:xfrm>
              <a:off x="939801" y="2662238"/>
              <a:ext cx="7938" cy="9525"/>
            </a:xfrm>
            <a:custGeom>
              <a:avLst/>
              <a:gdLst>
                <a:gd name="T0" fmla="*/ 0 w 5"/>
                <a:gd name="T1" fmla="*/ 4 h 6"/>
                <a:gd name="T2" fmla="*/ 5 w 5"/>
                <a:gd name="T3" fmla="*/ 6 h 6"/>
                <a:gd name="T4" fmla="*/ 4 w 5"/>
                <a:gd name="T5" fmla="*/ 0 h 6"/>
                <a:gd name="T6" fmla="*/ 0 w 5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lnTo>
                    <a:pt x="5" y="6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8" name="Freeform 260"/>
            <p:cNvSpPr>
              <a:spLocks/>
            </p:cNvSpPr>
            <p:nvPr/>
          </p:nvSpPr>
          <p:spPr bwMode="auto">
            <a:xfrm>
              <a:off x="876301" y="2451100"/>
              <a:ext cx="17463" cy="38100"/>
            </a:xfrm>
            <a:custGeom>
              <a:avLst/>
              <a:gdLst>
                <a:gd name="T0" fmla="*/ 4 w 11"/>
                <a:gd name="T1" fmla="*/ 0 h 24"/>
                <a:gd name="T2" fmla="*/ 1 w 11"/>
                <a:gd name="T3" fmla="*/ 0 h 24"/>
                <a:gd name="T4" fmla="*/ 0 w 11"/>
                <a:gd name="T5" fmla="*/ 2 h 24"/>
                <a:gd name="T6" fmla="*/ 0 w 11"/>
                <a:gd name="T7" fmla="*/ 7 h 24"/>
                <a:gd name="T8" fmla="*/ 4 w 11"/>
                <a:gd name="T9" fmla="*/ 12 h 24"/>
                <a:gd name="T10" fmla="*/ 5 w 11"/>
                <a:gd name="T11" fmla="*/ 20 h 24"/>
                <a:gd name="T12" fmla="*/ 11 w 11"/>
                <a:gd name="T13" fmla="*/ 24 h 24"/>
                <a:gd name="T14" fmla="*/ 11 w 11"/>
                <a:gd name="T15" fmla="*/ 17 h 24"/>
                <a:gd name="T16" fmla="*/ 5 w 11"/>
                <a:gd name="T17" fmla="*/ 7 h 24"/>
                <a:gd name="T18" fmla="*/ 4 w 11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4">
                  <a:moveTo>
                    <a:pt x="4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4" y="12"/>
                  </a:lnTo>
                  <a:lnTo>
                    <a:pt x="5" y="20"/>
                  </a:lnTo>
                  <a:lnTo>
                    <a:pt x="11" y="24"/>
                  </a:lnTo>
                  <a:lnTo>
                    <a:pt x="11" y="17"/>
                  </a:lnTo>
                  <a:lnTo>
                    <a:pt x="5" y="7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9" name="Freeform 261"/>
            <p:cNvSpPr>
              <a:spLocks/>
            </p:cNvSpPr>
            <p:nvPr/>
          </p:nvSpPr>
          <p:spPr bwMode="auto">
            <a:xfrm>
              <a:off x="947738" y="2671763"/>
              <a:ext cx="12700" cy="11113"/>
            </a:xfrm>
            <a:custGeom>
              <a:avLst/>
              <a:gdLst>
                <a:gd name="T0" fmla="*/ 8 w 8"/>
                <a:gd name="T1" fmla="*/ 4 h 7"/>
                <a:gd name="T2" fmla="*/ 6 w 8"/>
                <a:gd name="T3" fmla="*/ 0 h 7"/>
                <a:gd name="T4" fmla="*/ 5 w 8"/>
                <a:gd name="T5" fmla="*/ 1 h 7"/>
                <a:gd name="T6" fmla="*/ 0 w 8"/>
                <a:gd name="T7" fmla="*/ 4 h 7"/>
                <a:gd name="T8" fmla="*/ 0 w 8"/>
                <a:gd name="T9" fmla="*/ 7 h 7"/>
                <a:gd name="T10" fmla="*/ 5 w 8"/>
                <a:gd name="T11" fmla="*/ 5 h 7"/>
                <a:gd name="T12" fmla="*/ 8 w 8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8" y="4"/>
                  </a:moveTo>
                  <a:lnTo>
                    <a:pt x="6" y="0"/>
                  </a:lnTo>
                  <a:lnTo>
                    <a:pt x="5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5" y="5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0" name="Freeform 262"/>
            <p:cNvSpPr>
              <a:spLocks/>
            </p:cNvSpPr>
            <p:nvPr/>
          </p:nvSpPr>
          <p:spPr bwMode="auto">
            <a:xfrm>
              <a:off x="942976" y="2686050"/>
              <a:ext cx="12700" cy="6350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0 h 4"/>
                <a:gd name="T4" fmla="*/ 0 w 8"/>
                <a:gd name="T5" fmla="*/ 0 h 4"/>
                <a:gd name="T6" fmla="*/ 8 w 8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1" name="Freeform 263"/>
            <p:cNvSpPr>
              <a:spLocks/>
            </p:cNvSpPr>
            <p:nvPr/>
          </p:nvSpPr>
          <p:spPr bwMode="auto">
            <a:xfrm>
              <a:off x="760413" y="2116138"/>
              <a:ext cx="60325" cy="63500"/>
            </a:xfrm>
            <a:custGeom>
              <a:avLst/>
              <a:gdLst>
                <a:gd name="T0" fmla="*/ 4 w 38"/>
                <a:gd name="T1" fmla="*/ 14 h 40"/>
                <a:gd name="T2" fmla="*/ 0 w 38"/>
                <a:gd name="T3" fmla="*/ 18 h 40"/>
                <a:gd name="T4" fmla="*/ 4 w 38"/>
                <a:gd name="T5" fmla="*/ 23 h 40"/>
                <a:gd name="T6" fmla="*/ 3 w 38"/>
                <a:gd name="T7" fmla="*/ 29 h 40"/>
                <a:gd name="T8" fmla="*/ 6 w 38"/>
                <a:gd name="T9" fmla="*/ 31 h 40"/>
                <a:gd name="T10" fmla="*/ 3 w 38"/>
                <a:gd name="T11" fmla="*/ 34 h 40"/>
                <a:gd name="T12" fmla="*/ 9 w 38"/>
                <a:gd name="T13" fmla="*/ 40 h 40"/>
                <a:gd name="T14" fmla="*/ 12 w 38"/>
                <a:gd name="T15" fmla="*/ 40 h 40"/>
                <a:gd name="T16" fmla="*/ 15 w 38"/>
                <a:gd name="T17" fmla="*/ 37 h 40"/>
                <a:gd name="T18" fmla="*/ 15 w 38"/>
                <a:gd name="T19" fmla="*/ 31 h 40"/>
                <a:gd name="T20" fmla="*/ 12 w 38"/>
                <a:gd name="T21" fmla="*/ 25 h 40"/>
                <a:gd name="T22" fmla="*/ 14 w 38"/>
                <a:gd name="T23" fmla="*/ 20 h 40"/>
                <a:gd name="T24" fmla="*/ 20 w 38"/>
                <a:gd name="T25" fmla="*/ 31 h 40"/>
                <a:gd name="T26" fmla="*/ 20 w 38"/>
                <a:gd name="T27" fmla="*/ 34 h 40"/>
                <a:gd name="T28" fmla="*/ 25 w 38"/>
                <a:gd name="T29" fmla="*/ 40 h 40"/>
                <a:gd name="T30" fmla="*/ 29 w 38"/>
                <a:gd name="T31" fmla="*/ 40 h 40"/>
                <a:gd name="T32" fmla="*/ 29 w 38"/>
                <a:gd name="T33" fmla="*/ 33 h 40"/>
                <a:gd name="T34" fmla="*/ 32 w 38"/>
                <a:gd name="T35" fmla="*/ 31 h 40"/>
                <a:gd name="T36" fmla="*/ 29 w 38"/>
                <a:gd name="T37" fmla="*/ 28 h 40"/>
                <a:gd name="T38" fmla="*/ 24 w 38"/>
                <a:gd name="T39" fmla="*/ 25 h 40"/>
                <a:gd name="T40" fmla="*/ 24 w 38"/>
                <a:gd name="T41" fmla="*/ 22 h 40"/>
                <a:gd name="T42" fmla="*/ 18 w 38"/>
                <a:gd name="T43" fmla="*/ 12 h 40"/>
                <a:gd name="T44" fmla="*/ 18 w 38"/>
                <a:gd name="T45" fmla="*/ 11 h 40"/>
                <a:gd name="T46" fmla="*/ 24 w 38"/>
                <a:gd name="T47" fmla="*/ 16 h 40"/>
                <a:gd name="T48" fmla="*/ 26 w 38"/>
                <a:gd name="T49" fmla="*/ 22 h 40"/>
                <a:gd name="T50" fmla="*/ 31 w 38"/>
                <a:gd name="T51" fmla="*/ 23 h 40"/>
                <a:gd name="T52" fmla="*/ 35 w 38"/>
                <a:gd name="T53" fmla="*/ 20 h 40"/>
                <a:gd name="T54" fmla="*/ 32 w 38"/>
                <a:gd name="T55" fmla="*/ 18 h 40"/>
                <a:gd name="T56" fmla="*/ 38 w 38"/>
                <a:gd name="T57" fmla="*/ 16 h 40"/>
                <a:gd name="T58" fmla="*/ 38 w 38"/>
                <a:gd name="T59" fmla="*/ 12 h 40"/>
                <a:gd name="T60" fmla="*/ 32 w 38"/>
                <a:gd name="T61" fmla="*/ 9 h 40"/>
                <a:gd name="T62" fmla="*/ 26 w 38"/>
                <a:gd name="T63" fmla="*/ 11 h 40"/>
                <a:gd name="T64" fmla="*/ 25 w 38"/>
                <a:gd name="T65" fmla="*/ 12 h 40"/>
                <a:gd name="T66" fmla="*/ 24 w 38"/>
                <a:gd name="T67" fmla="*/ 9 h 40"/>
                <a:gd name="T68" fmla="*/ 26 w 38"/>
                <a:gd name="T69" fmla="*/ 6 h 40"/>
                <a:gd name="T70" fmla="*/ 26 w 38"/>
                <a:gd name="T71" fmla="*/ 3 h 40"/>
                <a:gd name="T72" fmla="*/ 21 w 38"/>
                <a:gd name="T73" fmla="*/ 0 h 40"/>
                <a:gd name="T74" fmla="*/ 14 w 38"/>
                <a:gd name="T75" fmla="*/ 1 h 40"/>
                <a:gd name="T76" fmla="*/ 12 w 38"/>
                <a:gd name="T77" fmla="*/ 3 h 40"/>
                <a:gd name="T78" fmla="*/ 10 w 38"/>
                <a:gd name="T79" fmla="*/ 6 h 40"/>
                <a:gd name="T80" fmla="*/ 9 w 38"/>
                <a:gd name="T81" fmla="*/ 0 h 40"/>
                <a:gd name="T82" fmla="*/ 4 w 38"/>
                <a:gd name="T83" fmla="*/ 6 h 40"/>
                <a:gd name="T84" fmla="*/ 6 w 38"/>
                <a:gd name="T85" fmla="*/ 11 h 40"/>
                <a:gd name="T86" fmla="*/ 9 w 38"/>
                <a:gd name="T87" fmla="*/ 12 h 40"/>
                <a:gd name="T88" fmla="*/ 6 w 38"/>
                <a:gd name="T89" fmla="*/ 16 h 40"/>
                <a:gd name="T90" fmla="*/ 4 w 38"/>
                <a:gd name="T91" fmla="*/ 1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8" h="40">
                  <a:moveTo>
                    <a:pt x="4" y="14"/>
                  </a:moveTo>
                  <a:lnTo>
                    <a:pt x="0" y="18"/>
                  </a:lnTo>
                  <a:lnTo>
                    <a:pt x="4" y="23"/>
                  </a:lnTo>
                  <a:lnTo>
                    <a:pt x="3" y="29"/>
                  </a:lnTo>
                  <a:lnTo>
                    <a:pt x="6" y="31"/>
                  </a:lnTo>
                  <a:lnTo>
                    <a:pt x="3" y="34"/>
                  </a:lnTo>
                  <a:lnTo>
                    <a:pt x="9" y="40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15" y="31"/>
                  </a:lnTo>
                  <a:lnTo>
                    <a:pt x="12" y="25"/>
                  </a:lnTo>
                  <a:lnTo>
                    <a:pt x="14" y="20"/>
                  </a:lnTo>
                  <a:lnTo>
                    <a:pt x="20" y="31"/>
                  </a:lnTo>
                  <a:lnTo>
                    <a:pt x="20" y="34"/>
                  </a:lnTo>
                  <a:lnTo>
                    <a:pt x="25" y="40"/>
                  </a:lnTo>
                  <a:lnTo>
                    <a:pt x="29" y="40"/>
                  </a:lnTo>
                  <a:lnTo>
                    <a:pt x="29" y="33"/>
                  </a:lnTo>
                  <a:lnTo>
                    <a:pt x="32" y="31"/>
                  </a:lnTo>
                  <a:lnTo>
                    <a:pt x="29" y="28"/>
                  </a:lnTo>
                  <a:lnTo>
                    <a:pt x="24" y="25"/>
                  </a:lnTo>
                  <a:lnTo>
                    <a:pt x="24" y="22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24" y="16"/>
                  </a:lnTo>
                  <a:lnTo>
                    <a:pt x="26" y="22"/>
                  </a:lnTo>
                  <a:lnTo>
                    <a:pt x="31" y="23"/>
                  </a:lnTo>
                  <a:lnTo>
                    <a:pt x="35" y="20"/>
                  </a:lnTo>
                  <a:lnTo>
                    <a:pt x="32" y="18"/>
                  </a:lnTo>
                  <a:lnTo>
                    <a:pt x="38" y="16"/>
                  </a:lnTo>
                  <a:lnTo>
                    <a:pt x="38" y="12"/>
                  </a:lnTo>
                  <a:lnTo>
                    <a:pt x="32" y="9"/>
                  </a:lnTo>
                  <a:lnTo>
                    <a:pt x="26" y="11"/>
                  </a:lnTo>
                  <a:lnTo>
                    <a:pt x="25" y="12"/>
                  </a:lnTo>
                  <a:lnTo>
                    <a:pt x="24" y="9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4" y="1"/>
                  </a:lnTo>
                  <a:lnTo>
                    <a:pt x="12" y="3"/>
                  </a:lnTo>
                  <a:lnTo>
                    <a:pt x="10" y="6"/>
                  </a:lnTo>
                  <a:lnTo>
                    <a:pt x="9" y="0"/>
                  </a:lnTo>
                  <a:lnTo>
                    <a:pt x="4" y="6"/>
                  </a:lnTo>
                  <a:lnTo>
                    <a:pt x="6" y="11"/>
                  </a:lnTo>
                  <a:lnTo>
                    <a:pt x="9" y="12"/>
                  </a:lnTo>
                  <a:lnTo>
                    <a:pt x="6" y="16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2" name="Freeform 264"/>
            <p:cNvSpPr>
              <a:spLocks/>
            </p:cNvSpPr>
            <p:nvPr/>
          </p:nvSpPr>
          <p:spPr bwMode="auto">
            <a:xfrm>
              <a:off x="857251" y="2289175"/>
              <a:ext cx="12700" cy="11113"/>
            </a:xfrm>
            <a:custGeom>
              <a:avLst/>
              <a:gdLst>
                <a:gd name="T0" fmla="*/ 0 w 8"/>
                <a:gd name="T1" fmla="*/ 7 h 7"/>
                <a:gd name="T2" fmla="*/ 4 w 8"/>
                <a:gd name="T3" fmla="*/ 7 h 7"/>
                <a:gd name="T4" fmla="*/ 8 w 8"/>
                <a:gd name="T5" fmla="*/ 6 h 7"/>
                <a:gd name="T6" fmla="*/ 8 w 8"/>
                <a:gd name="T7" fmla="*/ 0 h 7"/>
                <a:gd name="T8" fmla="*/ 4 w 8"/>
                <a:gd name="T9" fmla="*/ 0 h 7"/>
                <a:gd name="T10" fmla="*/ 0 w 8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7">
                  <a:moveTo>
                    <a:pt x="0" y="7"/>
                  </a:moveTo>
                  <a:lnTo>
                    <a:pt x="4" y="7"/>
                  </a:lnTo>
                  <a:lnTo>
                    <a:pt x="8" y="6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3" name="Freeform 265"/>
            <p:cNvSpPr>
              <a:spLocks/>
            </p:cNvSpPr>
            <p:nvPr/>
          </p:nvSpPr>
          <p:spPr bwMode="auto">
            <a:xfrm>
              <a:off x="862013" y="2371725"/>
              <a:ext cx="9525" cy="7938"/>
            </a:xfrm>
            <a:custGeom>
              <a:avLst/>
              <a:gdLst>
                <a:gd name="T0" fmla="*/ 0 w 6"/>
                <a:gd name="T1" fmla="*/ 3 h 5"/>
                <a:gd name="T2" fmla="*/ 3 w 6"/>
                <a:gd name="T3" fmla="*/ 5 h 5"/>
                <a:gd name="T4" fmla="*/ 6 w 6"/>
                <a:gd name="T5" fmla="*/ 1 h 5"/>
                <a:gd name="T6" fmla="*/ 3 w 6"/>
                <a:gd name="T7" fmla="*/ 0 h 5"/>
                <a:gd name="T8" fmla="*/ 0 w 6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0" y="3"/>
                  </a:moveTo>
                  <a:lnTo>
                    <a:pt x="3" y="5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4" name="Freeform 266"/>
            <p:cNvSpPr>
              <a:spLocks/>
            </p:cNvSpPr>
            <p:nvPr/>
          </p:nvSpPr>
          <p:spPr bwMode="auto">
            <a:xfrm>
              <a:off x="857251" y="2338388"/>
              <a:ext cx="9525" cy="14288"/>
            </a:xfrm>
            <a:custGeom>
              <a:avLst/>
              <a:gdLst>
                <a:gd name="T0" fmla="*/ 6 w 6"/>
                <a:gd name="T1" fmla="*/ 6 h 9"/>
                <a:gd name="T2" fmla="*/ 3 w 6"/>
                <a:gd name="T3" fmla="*/ 0 h 9"/>
                <a:gd name="T4" fmla="*/ 0 w 6"/>
                <a:gd name="T5" fmla="*/ 3 h 9"/>
                <a:gd name="T6" fmla="*/ 3 w 6"/>
                <a:gd name="T7" fmla="*/ 4 h 9"/>
                <a:gd name="T8" fmla="*/ 3 w 6"/>
                <a:gd name="T9" fmla="*/ 9 h 9"/>
                <a:gd name="T10" fmla="*/ 6 w 6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">
                  <a:moveTo>
                    <a:pt x="6" y="6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4"/>
                  </a:lnTo>
                  <a:lnTo>
                    <a:pt x="3" y="9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5" name="Freeform 267"/>
            <p:cNvSpPr>
              <a:spLocks/>
            </p:cNvSpPr>
            <p:nvPr/>
          </p:nvSpPr>
          <p:spPr bwMode="auto">
            <a:xfrm>
              <a:off x="852488" y="2276475"/>
              <a:ext cx="14288" cy="14288"/>
            </a:xfrm>
            <a:custGeom>
              <a:avLst/>
              <a:gdLst>
                <a:gd name="T0" fmla="*/ 7 w 9"/>
                <a:gd name="T1" fmla="*/ 6 h 9"/>
                <a:gd name="T2" fmla="*/ 9 w 9"/>
                <a:gd name="T3" fmla="*/ 3 h 9"/>
                <a:gd name="T4" fmla="*/ 9 w 9"/>
                <a:gd name="T5" fmla="*/ 0 h 9"/>
                <a:gd name="T6" fmla="*/ 1 w 9"/>
                <a:gd name="T7" fmla="*/ 6 h 9"/>
                <a:gd name="T8" fmla="*/ 0 w 9"/>
                <a:gd name="T9" fmla="*/ 9 h 9"/>
                <a:gd name="T10" fmla="*/ 3 w 9"/>
                <a:gd name="T11" fmla="*/ 9 h 9"/>
                <a:gd name="T12" fmla="*/ 7 w 9"/>
                <a:gd name="T1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7" y="6"/>
                  </a:moveTo>
                  <a:lnTo>
                    <a:pt x="9" y="3"/>
                  </a:lnTo>
                  <a:lnTo>
                    <a:pt x="9" y="0"/>
                  </a:lnTo>
                  <a:lnTo>
                    <a:pt x="1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6" name="Freeform 268"/>
            <p:cNvSpPr>
              <a:spLocks/>
            </p:cNvSpPr>
            <p:nvPr/>
          </p:nvSpPr>
          <p:spPr bwMode="auto">
            <a:xfrm>
              <a:off x="801688" y="2268538"/>
              <a:ext cx="50800" cy="117475"/>
            </a:xfrm>
            <a:custGeom>
              <a:avLst/>
              <a:gdLst>
                <a:gd name="T0" fmla="*/ 32 w 32"/>
                <a:gd name="T1" fmla="*/ 47 h 74"/>
                <a:gd name="T2" fmla="*/ 27 w 32"/>
                <a:gd name="T3" fmla="*/ 42 h 74"/>
                <a:gd name="T4" fmla="*/ 23 w 32"/>
                <a:gd name="T5" fmla="*/ 39 h 74"/>
                <a:gd name="T6" fmla="*/ 24 w 32"/>
                <a:gd name="T7" fmla="*/ 33 h 74"/>
                <a:gd name="T8" fmla="*/ 26 w 32"/>
                <a:gd name="T9" fmla="*/ 35 h 74"/>
                <a:gd name="T10" fmla="*/ 29 w 32"/>
                <a:gd name="T11" fmla="*/ 35 h 74"/>
                <a:gd name="T12" fmla="*/ 29 w 32"/>
                <a:gd name="T13" fmla="*/ 31 h 74"/>
                <a:gd name="T14" fmla="*/ 24 w 32"/>
                <a:gd name="T15" fmla="*/ 27 h 74"/>
                <a:gd name="T16" fmla="*/ 27 w 32"/>
                <a:gd name="T17" fmla="*/ 25 h 74"/>
                <a:gd name="T18" fmla="*/ 27 w 32"/>
                <a:gd name="T19" fmla="*/ 20 h 74"/>
                <a:gd name="T20" fmla="*/ 23 w 32"/>
                <a:gd name="T21" fmla="*/ 17 h 74"/>
                <a:gd name="T22" fmla="*/ 20 w 32"/>
                <a:gd name="T23" fmla="*/ 17 h 74"/>
                <a:gd name="T24" fmla="*/ 18 w 32"/>
                <a:gd name="T25" fmla="*/ 14 h 74"/>
                <a:gd name="T26" fmla="*/ 18 w 32"/>
                <a:gd name="T27" fmla="*/ 11 h 74"/>
                <a:gd name="T28" fmla="*/ 23 w 32"/>
                <a:gd name="T29" fmla="*/ 8 h 74"/>
                <a:gd name="T30" fmla="*/ 18 w 32"/>
                <a:gd name="T31" fmla="*/ 2 h 74"/>
                <a:gd name="T32" fmla="*/ 14 w 32"/>
                <a:gd name="T33" fmla="*/ 0 h 74"/>
                <a:gd name="T34" fmla="*/ 11 w 32"/>
                <a:gd name="T35" fmla="*/ 3 h 74"/>
                <a:gd name="T36" fmla="*/ 14 w 32"/>
                <a:gd name="T37" fmla="*/ 8 h 74"/>
                <a:gd name="T38" fmla="*/ 17 w 32"/>
                <a:gd name="T39" fmla="*/ 11 h 74"/>
                <a:gd name="T40" fmla="*/ 14 w 32"/>
                <a:gd name="T41" fmla="*/ 19 h 74"/>
                <a:gd name="T42" fmla="*/ 14 w 32"/>
                <a:gd name="T43" fmla="*/ 22 h 74"/>
                <a:gd name="T44" fmla="*/ 12 w 32"/>
                <a:gd name="T45" fmla="*/ 25 h 74"/>
                <a:gd name="T46" fmla="*/ 6 w 32"/>
                <a:gd name="T47" fmla="*/ 27 h 74"/>
                <a:gd name="T48" fmla="*/ 5 w 32"/>
                <a:gd name="T49" fmla="*/ 30 h 74"/>
                <a:gd name="T50" fmla="*/ 6 w 32"/>
                <a:gd name="T51" fmla="*/ 31 h 74"/>
                <a:gd name="T52" fmla="*/ 11 w 32"/>
                <a:gd name="T53" fmla="*/ 31 h 74"/>
                <a:gd name="T54" fmla="*/ 14 w 32"/>
                <a:gd name="T55" fmla="*/ 31 h 74"/>
                <a:gd name="T56" fmla="*/ 14 w 32"/>
                <a:gd name="T57" fmla="*/ 33 h 74"/>
                <a:gd name="T58" fmla="*/ 9 w 32"/>
                <a:gd name="T59" fmla="*/ 36 h 74"/>
                <a:gd name="T60" fmla="*/ 9 w 32"/>
                <a:gd name="T61" fmla="*/ 41 h 74"/>
                <a:gd name="T62" fmla="*/ 6 w 32"/>
                <a:gd name="T63" fmla="*/ 42 h 74"/>
                <a:gd name="T64" fmla="*/ 3 w 32"/>
                <a:gd name="T65" fmla="*/ 42 h 74"/>
                <a:gd name="T66" fmla="*/ 0 w 32"/>
                <a:gd name="T67" fmla="*/ 47 h 74"/>
                <a:gd name="T68" fmla="*/ 3 w 32"/>
                <a:gd name="T69" fmla="*/ 48 h 74"/>
                <a:gd name="T70" fmla="*/ 6 w 32"/>
                <a:gd name="T71" fmla="*/ 48 h 74"/>
                <a:gd name="T72" fmla="*/ 9 w 32"/>
                <a:gd name="T73" fmla="*/ 50 h 74"/>
                <a:gd name="T74" fmla="*/ 11 w 32"/>
                <a:gd name="T75" fmla="*/ 48 h 74"/>
                <a:gd name="T76" fmla="*/ 14 w 32"/>
                <a:gd name="T77" fmla="*/ 48 h 74"/>
                <a:gd name="T78" fmla="*/ 17 w 32"/>
                <a:gd name="T79" fmla="*/ 50 h 74"/>
                <a:gd name="T80" fmla="*/ 12 w 32"/>
                <a:gd name="T81" fmla="*/ 52 h 74"/>
                <a:gd name="T82" fmla="*/ 12 w 32"/>
                <a:gd name="T83" fmla="*/ 53 h 74"/>
                <a:gd name="T84" fmla="*/ 14 w 32"/>
                <a:gd name="T85" fmla="*/ 57 h 74"/>
                <a:gd name="T86" fmla="*/ 11 w 32"/>
                <a:gd name="T87" fmla="*/ 61 h 74"/>
                <a:gd name="T88" fmla="*/ 11 w 32"/>
                <a:gd name="T89" fmla="*/ 65 h 74"/>
                <a:gd name="T90" fmla="*/ 17 w 32"/>
                <a:gd name="T91" fmla="*/ 68 h 74"/>
                <a:gd name="T92" fmla="*/ 14 w 32"/>
                <a:gd name="T93" fmla="*/ 72 h 74"/>
                <a:gd name="T94" fmla="*/ 17 w 32"/>
                <a:gd name="T95" fmla="*/ 74 h 74"/>
                <a:gd name="T96" fmla="*/ 23 w 32"/>
                <a:gd name="T97" fmla="*/ 74 h 74"/>
                <a:gd name="T98" fmla="*/ 24 w 32"/>
                <a:gd name="T99" fmla="*/ 70 h 74"/>
                <a:gd name="T100" fmla="*/ 23 w 32"/>
                <a:gd name="T101" fmla="*/ 68 h 74"/>
                <a:gd name="T102" fmla="*/ 24 w 32"/>
                <a:gd name="T103" fmla="*/ 65 h 74"/>
                <a:gd name="T104" fmla="*/ 23 w 32"/>
                <a:gd name="T105" fmla="*/ 62 h 74"/>
                <a:gd name="T106" fmla="*/ 20 w 32"/>
                <a:gd name="T107" fmla="*/ 62 h 74"/>
                <a:gd name="T108" fmla="*/ 23 w 32"/>
                <a:gd name="T109" fmla="*/ 59 h 74"/>
                <a:gd name="T110" fmla="*/ 26 w 32"/>
                <a:gd name="T111" fmla="*/ 59 h 74"/>
                <a:gd name="T112" fmla="*/ 29 w 32"/>
                <a:gd name="T113" fmla="*/ 56 h 74"/>
                <a:gd name="T114" fmla="*/ 29 w 32"/>
                <a:gd name="T115" fmla="*/ 52 h 74"/>
                <a:gd name="T116" fmla="*/ 27 w 32"/>
                <a:gd name="T117" fmla="*/ 52 h 74"/>
                <a:gd name="T118" fmla="*/ 24 w 32"/>
                <a:gd name="T119" fmla="*/ 52 h 74"/>
                <a:gd name="T120" fmla="*/ 26 w 32"/>
                <a:gd name="T121" fmla="*/ 50 h 74"/>
                <a:gd name="T122" fmla="*/ 32 w 32"/>
                <a:gd name="T123" fmla="*/ 4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" h="74">
                  <a:moveTo>
                    <a:pt x="32" y="47"/>
                  </a:moveTo>
                  <a:lnTo>
                    <a:pt x="27" y="42"/>
                  </a:lnTo>
                  <a:lnTo>
                    <a:pt x="23" y="39"/>
                  </a:lnTo>
                  <a:lnTo>
                    <a:pt x="24" y="33"/>
                  </a:lnTo>
                  <a:lnTo>
                    <a:pt x="26" y="35"/>
                  </a:lnTo>
                  <a:lnTo>
                    <a:pt x="29" y="35"/>
                  </a:lnTo>
                  <a:lnTo>
                    <a:pt x="29" y="31"/>
                  </a:lnTo>
                  <a:lnTo>
                    <a:pt x="24" y="27"/>
                  </a:lnTo>
                  <a:lnTo>
                    <a:pt x="27" y="25"/>
                  </a:lnTo>
                  <a:lnTo>
                    <a:pt x="27" y="20"/>
                  </a:lnTo>
                  <a:lnTo>
                    <a:pt x="23" y="17"/>
                  </a:lnTo>
                  <a:lnTo>
                    <a:pt x="20" y="17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23" y="8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1" y="3"/>
                  </a:lnTo>
                  <a:lnTo>
                    <a:pt x="14" y="8"/>
                  </a:lnTo>
                  <a:lnTo>
                    <a:pt x="17" y="11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2" y="25"/>
                  </a:lnTo>
                  <a:lnTo>
                    <a:pt x="6" y="27"/>
                  </a:lnTo>
                  <a:lnTo>
                    <a:pt x="5" y="30"/>
                  </a:lnTo>
                  <a:lnTo>
                    <a:pt x="6" y="31"/>
                  </a:lnTo>
                  <a:lnTo>
                    <a:pt x="11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9" y="36"/>
                  </a:lnTo>
                  <a:lnTo>
                    <a:pt x="9" y="41"/>
                  </a:lnTo>
                  <a:lnTo>
                    <a:pt x="6" y="42"/>
                  </a:lnTo>
                  <a:lnTo>
                    <a:pt x="3" y="42"/>
                  </a:lnTo>
                  <a:lnTo>
                    <a:pt x="0" y="47"/>
                  </a:lnTo>
                  <a:lnTo>
                    <a:pt x="3" y="48"/>
                  </a:lnTo>
                  <a:lnTo>
                    <a:pt x="6" y="48"/>
                  </a:lnTo>
                  <a:lnTo>
                    <a:pt x="9" y="50"/>
                  </a:lnTo>
                  <a:lnTo>
                    <a:pt x="11" y="48"/>
                  </a:lnTo>
                  <a:lnTo>
                    <a:pt x="14" y="48"/>
                  </a:lnTo>
                  <a:lnTo>
                    <a:pt x="17" y="50"/>
                  </a:lnTo>
                  <a:lnTo>
                    <a:pt x="12" y="52"/>
                  </a:lnTo>
                  <a:lnTo>
                    <a:pt x="12" y="53"/>
                  </a:lnTo>
                  <a:lnTo>
                    <a:pt x="14" y="57"/>
                  </a:lnTo>
                  <a:lnTo>
                    <a:pt x="11" y="61"/>
                  </a:lnTo>
                  <a:lnTo>
                    <a:pt x="11" y="65"/>
                  </a:lnTo>
                  <a:lnTo>
                    <a:pt x="17" y="68"/>
                  </a:lnTo>
                  <a:lnTo>
                    <a:pt x="14" y="72"/>
                  </a:lnTo>
                  <a:lnTo>
                    <a:pt x="17" y="74"/>
                  </a:lnTo>
                  <a:lnTo>
                    <a:pt x="23" y="74"/>
                  </a:lnTo>
                  <a:lnTo>
                    <a:pt x="24" y="70"/>
                  </a:lnTo>
                  <a:lnTo>
                    <a:pt x="23" y="68"/>
                  </a:lnTo>
                  <a:lnTo>
                    <a:pt x="24" y="65"/>
                  </a:lnTo>
                  <a:lnTo>
                    <a:pt x="23" y="62"/>
                  </a:lnTo>
                  <a:lnTo>
                    <a:pt x="20" y="62"/>
                  </a:lnTo>
                  <a:lnTo>
                    <a:pt x="23" y="59"/>
                  </a:lnTo>
                  <a:lnTo>
                    <a:pt x="26" y="59"/>
                  </a:lnTo>
                  <a:lnTo>
                    <a:pt x="29" y="56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32" y="4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7" name="Freeform 269"/>
            <p:cNvSpPr>
              <a:spLocks/>
            </p:cNvSpPr>
            <p:nvPr/>
          </p:nvSpPr>
          <p:spPr bwMode="auto">
            <a:xfrm>
              <a:off x="788988" y="2359025"/>
              <a:ext cx="17463" cy="26988"/>
            </a:xfrm>
            <a:custGeom>
              <a:avLst/>
              <a:gdLst>
                <a:gd name="T0" fmla="*/ 7 w 11"/>
                <a:gd name="T1" fmla="*/ 2 h 17"/>
                <a:gd name="T2" fmla="*/ 3 w 11"/>
                <a:gd name="T3" fmla="*/ 0 h 17"/>
                <a:gd name="T4" fmla="*/ 2 w 11"/>
                <a:gd name="T5" fmla="*/ 2 h 17"/>
                <a:gd name="T6" fmla="*/ 0 w 11"/>
                <a:gd name="T7" fmla="*/ 4 h 17"/>
                <a:gd name="T8" fmla="*/ 6 w 11"/>
                <a:gd name="T9" fmla="*/ 11 h 17"/>
                <a:gd name="T10" fmla="*/ 6 w 11"/>
                <a:gd name="T11" fmla="*/ 15 h 17"/>
                <a:gd name="T12" fmla="*/ 7 w 11"/>
                <a:gd name="T13" fmla="*/ 17 h 17"/>
                <a:gd name="T14" fmla="*/ 11 w 11"/>
                <a:gd name="T15" fmla="*/ 11 h 17"/>
                <a:gd name="T16" fmla="*/ 7 w 11"/>
                <a:gd name="T17" fmla="*/ 5 h 17"/>
                <a:gd name="T18" fmla="*/ 7 w 11"/>
                <a:gd name="T1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7">
                  <a:moveTo>
                    <a:pt x="7" y="2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6" y="11"/>
                  </a:lnTo>
                  <a:lnTo>
                    <a:pt x="6" y="15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7" y="5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8" name="Freeform 270"/>
            <p:cNvSpPr>
              <a:spLocks/>
            </p:cNvSpPr>
            <p:nvPr/>
          </p:nvSpPr>
          <p:spPr bwMode="auto">
            <a:xfrm>
              <a:off x="809626" y="2352675"/>
              <a:ext cx="6350" cy="9525"/>
            </a:xfrm>
            <a:custGeom>
              <a:avLst/>
              <a:gdLst>
                <a:gd name="T0" fmla="*/ 0 w 4"/>
                <a:gd name="T1" fmla="*/ 4 h 6"/>
                <a:gd name="T2" fmla="*/ 1 w 4"/>
                <a:gd name="T3" fmla="*/ 6 h 6"/>
                <a:gd name="T4" fmla="*/ 4 w 4"/>
                <a:gd name="T5" fmla="*/ 4 h 6"/>
                <a:gd name="T6" fmla="*/ 1 w 4"/>
                <a:gd name="T7" fmla="*/ 0 h 6"/>
                <a:gd name="T8" fmla="*/ 0 w 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1" y="6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9" name="Freeform 271"/>
            <p:cNvSpPr>
              <a:spLocks/>
            </p:cNvSpPr>
            <p:nvPr/>
          </p:nvSpPr>
          <p:spPr bwMode="auto">
            <a:xfrm>
              <a:off x="862013" y="2352675"/>
              <a:ext cx="14288" cy="14288"/>
            </a:xfrm>
            <a:custGeom>
              <a:avLst/>
              <a:gdLst>
                <a:gd name="T0" fmla="*/ 1 w 9"/>
                <a:gd name="T1" fmla="*/ 3 h 9"/>
                <a:gd name="T2" fmla="*/ 1 w 9"/>
                <a:gd name="T3" fmla="*/ 4 h 9"/>
                <a:gd name="T4" fmla="*/ 0 w 9"/>
                <a:gd name="T5" fmla="*/ 8 h 9"/>
                <a:gd name="T6" fmla="*/ 3 w 9"/>
                <a:gd name="T7" fmla="*/ 9 h 9"/>
                <a:gd name="T8" fmla="*/ 9 w 9"/>
                <a:gd name="T9" fmla="*/ 6 h 9"/>
                <a:gd name="T10" fmla="*/ 5 w 9"/>
                <a:gd name="T11" fmla="*/ 0 h 9"/>
                <a:gd name="T12" fmla="*/ 1 w 9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1" y="3"/>
                  </a:moveTo>
                  <a:lnTo>
                    <a:pt x="1" y="4"/>
                  </a:lnTo>
                  <a:lnTo>
                    <a:pt x="0" y="8"/>
                  </a:lnTo>
                  <a:lnTo>
                    <a:pt x="3" y="9"/>
                  </a:lnTo>
                  <a:lnTo>
                    <a:pt x="9" y="6"/>
                  </a:lnTo>
                  <a:lnTo>
                    <a:pt x="5" y="0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0" name="Freeform 272"/>
            <p:cNvSpPr>
              <a:spLocks/>
            </p:cNvSpPr>
            <p:nvPr/>
          </p:nvSpPr>
          <p:spPr bwMode="auto">
            <a:xfrm>
              <a:off x="782638" y="2103438"/>
              <a:ext cx="11113" cy="9525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4 w 7"/>
                <a:gd name="T5" fmla="*/ 6 h 6"/>
                <a:gd name="T6" fmla="*/ 7 w 7"/>
                <a:gd name="T7" fmla="*/ 3 h 6"/>
                <a:gd name="T8" fmla="*/ 6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lnTo>
                    <a:pt x="0" y="3"/>
                  </a:lnTo>
                  <a:lnTo>
                    <a:pt x="4" y="6"/>
                  </a:lnTo>
                  <a:lnTo>
                    <a:pt x="7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1" name="Freeform 273"/>
            <p:cNvSpPr>
              <a:spLocks/>
            </p:cNvSpPr>
            <p:nvPr/>
          </p:nvSpPr>
          <p:spPr bwMode="auto">
            <a:xfrm>
              <a:off x="869951" y="2308225"/>
              <a:ext cx="33338" cy="49213"/>
            </a:xfrm>
            <a:custGeom>
              <a:avLst/>
              <a:gdLst>
                <a:gd name="T0" fmla="*/ 18 w 21"/>
                <a:gd name="T1" fmla="*/ 0 h 31"/>
                <a:gd name="T2" fmla="*/ 13 w 21"/>
                <a:gd name="T3" fmla="*/ 0 h 31"/>
                <a:gd name="T4" fmla="*/ 13 w 21"/>
                <a:gd name="T5" fmla="*/ 2 h 31"/>
                <a:gd name="T6" fmla="*/ 7 w 21"/>
                <a:gd name="T7" fmla="*/ 5 h 31"/>
                <a:gd name="T8" fmla="*/ 4 w 21"/>
                <a:gd name="T9" fmla="*/ 11 h 31"/>
                <a:gd name="T10" fmla="*/ 4 w 21"/>
                <a:gd name="T11" fmla="*/ 14 h 31"/>
                <a:gd name="T12" fmla="*/ 0 w 21"/>
                <a:gd name="T13" fmla="*/ 17 h 31"/>
                <a:gd name="T14" fmla="*/ 1 w 21"/>
                <a:gd name="T15" fmla="*/ 22 h 31"/>
                <a:gd name="T16" fmla="*/ 12 w 21"/>
                <a:gd name="T17" fmla="*/ 16 h 31"/>
                <a:gd name="T18" fmla="*/ 12 w 21"/>
                <a:gd name="T19" fmla="*/ 19 h 31"/>
                <a:gd name="T20" fmla="*/ 6 w 21"/>
                <a:gd name="T21" fmla="*/ 23 h 31"/>
                <a:gd name="T22" fmla="*/ 1 w 21"/>
                <a:gd name="T23" fmla="*/ 27 h 31"/>
                <a:gd name="T24" fmla="*/ 6 w 21"/>
                <a:gd name="T25" fmla="*/ 31 h 31"/>
                <a:gd name="T26" fmla="*/ 13 w 21"/>
                <a:gd name="T27" fmla="*/ 25 h 31"/>
                <a:gd name="T28" fmla="*/ 21 w 21"/>
                <a:gd name="T29" fmla="*/ 16 h 31"/>
                <a:gd name="T30" fmla="*/ 18 w 21"/>
                <a:gd name="T31" fmla="*/ 10 h 31"/>
                <a:gd name="T32" fmla="*/ 21 w 21"/>
                <a:gd name="T33" fmla="*/ 5 h 31"/>
                <a:gd name="T34" fmla="*/ 18 w 21"/>
                <a:gd name="T3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31">
                  <a:moveTo>
                    <a:pt x="18" y="0"/>
                  </a:moveTo>
                  <a:lnTo>
                    <a:pt x="13" y="0"/>
                  </a:lnTo>
                  <a:lnTo>
                    <a:pt x="13" y="2"/>
                  </a:lnTo>
                  <a:lnTo>
                    <a:pt x="7" y="5"/>
                  </a:lnTo>
                  <a:lnTo>
                    <a:pt x="4" y="11"/>
                  </a:lnTo>
                  <a:lnTo>
                    <a:pt x="4" y="14"/>
                  </a:lnTo>
                  <a:lnTo>
                    <a:pt x="0" y="17"/>
                  </a:lnTo>
                  <a:lnTo>
                    <a:pt x="1" y="22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6" y="23"/>
                  </a:lnTo>
                  <a:lnTo>
                    <a:pt x="1" y="27"/>
                  </a:lnTo>
                  <a:lnTo>
                    <a:pt x="6" y="31"/>
                  </a:lnTo>
                  <a:lnTo>
                    <a:pt x="13" y="25"/>
                  </a:lnTo>
                  <a:lnTo>
                    <a:pt x="21" y="16"/>
                  </a:lnTo>
                  <a:lnTo>
                    <a:pt x="18" y="10"/>
                  </a:lnTo>
                  <a:lnTo>
                    <a:pt x="21" y="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2" name="Freeform 274"/>
            <p:cNvSpPr>
              <a:spLocks/>
            </p:cNvSpPr>
            <p:nvPr/>
          </p:nvSpPr>
          <p:spPr bwMode="auto">
            <a:xfrm>
              <a:off x="606426" y="1544638"/>
              <a:ext cx="342900" cy="842963"/>
            </a:xfrm>
            <a:custGeom>
              <a:avLst/>
              <a:gdLst>
                <a:gd name="T0" fmla="*/ 202 w 216"/>
                <a:gd name="T1" fmla="*/ 461 h 531"/>
                <a:gd name="T2" fmla="*/ 183 w 216"/>
                <a:gd name="T3" fmla="*/ 448 h 531"/>
                <a:gd name="T4" fmla="*/ 181 w 216"/>
                <a:gd name="T5" fmla="*/ 436 h 531"/>
                <a:gd name="T6" fmla="*/ 179 w 216"/>
                <a:gd name="T7" fmla="*/ 428 h 531"/>
                <a:gd name="T8" fmla="*/ 184 w 216"/>
                <a:gd name="T9" fmla="*/ 372 h 531"/>
                <a:gd name="T10" fmla="*/ 181 w 216"/>
                <a:gd name="T11" fmla="*/ 352 h 531"/>
                <a:gd name="T12" fmla="*/ 167 w 216"/>
                <a:gd name="T13" fmla="*/ 309 h 531"/>
                <a:gd name="T14" fmla="*/ 166 w 216"/>
                <a:gd name="T15" fmla="*/ 287 h 531"/>
                <a:gd name="T16" fmla="*/ 129 w 216"/>
                <a:gd name="T17" fmla="*/ 300 h 531"/>
                <a:gd name="T18" fmla="*/ 94 w 216"/>
                <a:gd name="T19" fmla="*/ 317 h 531"/>
                <a:gd name="T20" fmla="*/ 82 w 216"/>
                <a:gd name="T21" fmla="*/ 259 h 531"/>
                <a:gd name="T22" fmla="*/ 55 w 216"/>
                <a:gd name="T23" fmla="*/ 243 h 531"/>
                <a:gd name="T24" fmla="*/ 2 w 216"/>
                <a:gd name="T25" fmla="*/ 239 h 531"/>
                <a:gd name="T26" fmla="*/ 14 w 216"/>
                <a:gd name="T27" fmla="*/ 251 h 531"/>
                <a:gd name="T28" fmla="*/ 31 w 216"/>
                <a:gd name="T29" fmla="*/ 251 h 531"/>
                <a:gd name="T30" fmla="*/ 33 w 216"/>
                <a:gd name="T31" fmla="*/ 263 h 531"/>
                <a:gd name="T32" fmla="*/ 60 w 216"/>
                <a:gd name="T33" fmla="*/ 268 h 531"/>
                <a:gd name="T34" fmla="*/ 66 w 216"/>
                <a:gd name="T35" fmla="*/ 268 h 531"/>
                <a:gd name="T36" fmla="*/ 51 w 216"/>
                <a:gd name="T37" fmla="*/ 278 h 531"/>
                <a:gd name="T38" fmla="*/ 66 w 216"/>
                <a:gd name="T39" fmla="*/ 291 h 531"/>
                <a:gd name="T40" fmla="*/ 72 w 216"/>
                <a:gd name="T41" fmla="*/ 302 h 531"/>
                <a:gd name="T42" fmla="*/ 86 w 216"/>
                <a:gd name="T43" fmla="*/ 300 h 531"/>
                <a:gd name="T44" fmla="*/ 82 w 216"/>
                <a:gd name="T45" fmla="*/ 315 h 531"/>
                <a:gd name="T46" fmla="*/ 83 w 216"/>
                <a:gd name="T47" fmla="*/ 335 h 531"/>
                <a:gd name="T48" fmla="*/ 101 w 216"/>
                <a:gd name="T49" fmla="*/ 350 h 531"/>
                <a:gd name="T50" fmla="*/ 111 w 216"/>
                <a:gd name="T51" fmla="*/ 350 h 531"/>
                <a:gd name="T52" fmla="*/ 107 w 216"/>
                <a:gd name="T53" fmla="*/ 341 h 531"/>
                <a:gd name="T54" fmla="*/ 103 w 216"/>
                <a:gd name="T55" fmla="*/ 327 h 531"/>
                <a:gd name="T56" fmla="*/ 109 w 216"/>
                <a:gd name="T57" fmla="*/ 322 h 531"/>
                <a:gd name="T58" fmla="*/ 117 w 216"/>
                <a:gd name="T59" fmla="*/ 332 h 531"/>
                <a:gd name="T60" fmla="*/ 126 w 216"/>
                <a:gd name="T61" fmla="*/ 335 h 531"/>
                <a:gd name="T62" fmla="*/ 123 w 216"/>
                <a:gd name="T63" fmla="*/ 354 h 531"/>
                <a:gd name="T64" fmla="*/ 132 w 216"/>
                <a:gd name="T65" fmla="*/ 355 h 531"/>
                <a:gd name="T66" fmla="*/ 146 w 216"/>
                <a:gd name="T67" fmla="*/ 347 h 531"/>
                <a:gd name="T68" fmla="*/ 147 w 216"/>
                <a:gd name="T69" fmla="*/ 302 h 531"/>
                <a:gd name="T70" fmla="*/ 162 w 216"/>
                <a:gd name="T71" fmla="*/ 300 h 531"/>
                <a:gd name="T72" fmla="*/ 152 w 216"/>
                <a:gd name="T73" fmla="*/ 338 h 531"/>
                <a:gd name="T74" fmla="*/ 152 w 216"/>
                <a:gd name="T75" fmla="*/ 360 h 531"/>
                <a:gd name="T76" fmla="*/ 166 w 216"/>
                <a:gd name="T77" fmla="*/ 376 h 531"/>
                <a:gd name="T78" fmla="*/ 183 w 216"/>
                <a:gd name="T79" fmla="*/ 376 h 531"/>
                <a:gd name="T80" fmla="*/ 173 w 216"/>
                <a:gd name="T81" fmla="*/ 388 h 531"/>
                <a:gd name="T82" fmla="*/ 172 w 216"/>
                <a:gd name="T83" fmla="*/ 402 h 531"/>
                <a:gd name="T84" fmla="*/ 162 w 216"/>
                <a:gd name="T85" fmla="*/ 403 h 531"/>
                <a:gd name="T86" fmla="*/ 156 w 216"/>
                <a:gd name="T87" fmla="*/ 416 h 531"/>
                <a:gd name="T88" fmla="*/ 167 w 216"/>
                <a:gd name="T89" fmla="*/ 425 h 531"/>
                <a:gd name="T90" fmla="*/ 167 w 216"/>
                <a:gd name="T91" fmla="*/ 430 h 531"/>
                <a:gd name="T92" fmla="*/ 181 w 216"/>
                <a:gd name="T93" fmla="*/ 442 h 531"/>
                <a:gd name="T94" fmla="*/ 178 w 216"/>
                <a:gd name="T95" fmla="*/ 461 h 531"/>
                <a:gd name="T96" fmla="*/ 179 w 216"/>
                <a:gd name="T97" fmla="*/ 467 h 531"/>
                <a:gd name="T98" fmla="*/ 156 w 216"/>
                <a:gd name="T99" fmla="*/ 491 h 531"/>
                <a:gd name="T100" fmla="*/ 173 w 216"/>
                <a:gd name="T101" fmla="*/ 480 h 531"/>
                <a:gd name="T102" fmla="*/ 189 w 216"/>
                <a:gd name="T103" fmla="*/ 480 h 531"/>
                <a:gd name="T104" fmla="*/ 189 w 216"/>
                <a:gd name="T105" fmla="*/ 492 h 531"/>
                <a:gd name="T106" fmla="*/ 187 w 216"/>
                <a:gd name="T107" fmla="*/ 509 h 531"/>
                <a:gd name="T108" fmla="*/ 179 w 216"/>
                <a:gd name="T109" fmla="*/ 517 h 531"/>
                <a:gd name="T110" fmla="*/ 179 w 216"/>
                <a:gd name="T111" fmla="*/ 518 h 531"/>
                <a:gd name="T112" fmla="*/ 179 w 216"/>
                <a:gd name="T113" fmla="*/ 530 h 531"/>
                <a:gd name="T114" fmla="*/ 201 w 216"/>
                <a:gd name="T115" fmla="*/ 512 h 531"/>
                <a:gd name="T116" fmla="*/ 212 w 216"/>
                <a:gd name="T117" fmla="*/ 483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6" h="531">
                  <a:moveTo>
                    <a:pt x="213" y="476"/>
                  </a:moveTo>
                  <a:lnTo>
                    <a:pt x="210" y="475"/>
                  </a:lnTo>
                  <a:lnTo>
                    <a:pt x="210" y="469"/>
                  </a:lnTo>
                  <a:lnTo>
                    <a:pt x="208" y="464"/>
                  </a:lnTo>
                  <a:lnTo>
                    <a:pt x="202" y="461"/>
                  </a:lnTo>
                  <a:lnTo>
                    <a:pt x="198" y="458"/>
                  </a:lnTo>
                  <a:lnTo>
                    <a:pt x="196" y="456"/>
                  </a:lnTo>
                  <a:lnTo>
                    <a:pt x="190" y="448"/>
                  </a:lnTo>
                  <a:lnTo>
                    <a:pt x="187" y="448"/>
                  </a:lnTo>
                  <a:lnTo>
                    <a:pt x="183" y="448"/>
                  </a:lnTo>
                  <a:lnTo>
                    <a:pt x="183" y="447"/>
                  </a:lnTo>
                  <a:lnTo>
                    <a:pt x="184" y="442"/>
                  </a:lnTo>
                  <a:lnTo>
                    <a:pt x="183" y="439"/>
                  </a:lnTo>
                  <a:lnTo>
                    <a:pt x="181" y="437"/>
                  </a:lnTo>
                  <a:lnTo>
                    <a:pt x="181" y="436"/>
                  </a:lnTo>
                  <a:lnTo>
                    <a:pt x="183" y="433"/>
                  </a:lnTo>
                  <a:lnTo>
                    <a:pt x="184" y="431"/>
                  </a:lnTo>
                  <a:lnTo>
                    <a:pt x="184" y="430"/>
                  </a:lnTo>
                  <a:lnTo>
                    <a:pt x="181" y="428"/>
                  </a:lnTo>
                  <a:lnTo>
                    <a:pt x="179" y="428"/>
                  </a:lnTo>
                  <a:lnTo>
                    <a:pt x="179" y="424"/>
                  </a:lnTo>
                  <a:lnTo>
                    <a:pt x="183" y="422"/>
                  </a:lnTo>
                  <a:lnTo>
                    <a:pt x="181" y="403"/>
                  </a:lnTo>
                  <a:lnTo>
                    <a:pt x="183" y="388"/>
                  </a:lnTo>
                  <a:lnTo>
                    <a:pt x="184" y="372"/>
                  </a:lnTo>
                  <a:lnTo>
                    <a:pt x="183" y="369"/>
                  </a:lnTo>
                  <a:lnTo>
                    <a:pt x="181" y="366"/>
                  </a:lnTo>
                  <a:lnTo>
                    <a:pt x="184" y="360"/>
                  </a:lnTo>
                  <a:lnTo>
                    <a:pt x="183" y="355"/>
                  </a:lnTo>
                  <a:lnTo>
                    <a:pt x="181" y="352"/>
                  </a:lnTo>
                  <a:lnTo>
                    <a:pt x="179" y="343"/>
                  </a:lnTo>
                  <a:lnTo>
                    <a:pt x="173" y="338"/>
                  </a:lnTo>
                  <a:lnTo>
                    <a:pt x="172" y="327"/>
                  </a:lnTo>
                  <a:lnTo>
                    <a:pt x="173" y="324"/>
                  </a:lnTo>
                  <a:lnTo>
                    <a:pt x="167" y="309"/>
                  </a:lnTo>
                  <a:lnTo>
                    <a:pt x="170" y="305"/>
                  </a:lnTo>
                  <a:lnTo>
                    <a:pt x="173" y="300"/>
                  </a:lnTo>
                  <a:lnTo>
                    <a:pt x="172" y="296"/>
                  </a:lnTo>
                  <a:lnTo>
                    <a:pt x="172" y="291"/>
                  </a:lnTo>
                  <a:lnTo>
                    <a:pt x="166" y="287"/>
                  </a:lnTo>
                  <a:lnTo>
                    <a:pt x="156" y="287"/>
                  </a:lnTo>
                  <a:lnTo>
                    <a:pt x="147" y="291"/>
                  </a:lnTo>
                  <a:lnTo>
                    <a:pt x="146" y="291"/>
                  </a:lnTo>
                  <a:lnTo>
                    <a:pt x="135" y="294"/>
                  </a:lnTo>
                  <a:lnTo>
                    <a:pt x="129" y="300"/>
                  </a:lnTo>
                  <a:lnTo>
                    <a:pt x="122" y="309"/>
                  </a:lnTo>
                  <a:lnTo>
                    <a:pt x="115" y="313"/>
                  </a:lnTo>
                  <a:lnTo>
                    <a:pt x="106" y="315"/>
                  </a:lnTo>
                  <a:lnTo>
                    <a:pt x="95" y="315"/>
                  </a:lnTo>
                  <a:lnTo>
                    <a:pt x="94" y="317"/>
                  </a:lnTo>
                  <a:lnTo>
                    <a:pt x="94" y="313"/>
                  </a:lnTo>
                  <a:lnTo>
                    <a:pt x="97" y="305"/>
                  </a:lnTo>
                  <a:lnTo>
                    <a:pt x="95" y="300"/>
                  </a:lnTo>
                  <a:lnTo>
                    <a:pt x="88" y="273"/>
                  </a:lnTo>
                  <a:lnTo>
                    <a:pt x="82" y="259"/>
                  </a:lnTo>
                  <a:lnTo>
                    <a:pt x="80" y="251"/>
                  </a:lnTo>
                  <a:lnTo>
                    <a:pt x="86" y="243"/>
                  </a:lnTo>
                  <a:lnTo>
                    <a:pt x="72" y="241"/>
                  </a:lnTo>
                  <a:lnTo>
                    <a:pt x="61" y="246"/>
                  </a:lnTo>
                  <a:lnTo>
                    <a:pt x="55" y="243"/>
                  </a:lnTo>
                  <a:lnTo>
                    <a:pt x="37" y="243"/>
                  </a:lnTo>
                  <a:lnTo>
                    <a:pt x="189" y="0"/>
                  </a:lnTo>
                  <a:lnTo>
                    <a:pt x="0" y="0"/>
                  </a:lnTo>
                  <a:lnTo>
                    <a:pt x="0" y="238"/>
                  </a:lnTo>
                  <a:lnTo>
                    <a:pt x="2" y="239"/>
                  </a:lnTo>
                  <a:lnTo>
                    <a:pt x="2" y="241"/>
                  </a:lnTo>
                  <a:lnTo>
                    <a:pt x="6" y="243"/>
                  </a:lnTo>
                  <a:lnTo>
                    <a:pt x="10" y="246"/>
                  </a:lnTo>
                  <a:lnTo>
                    <a:pt x="14" y="248"/>
                  </a:lnTo>
                  <a:lnTo>
                    <a:pt x="14" y="251"/>
                  </a:lnTo>
                  <a:lnTo>
                    <a:pt x="20" y="251"/>
                  </a:lnTo>
                  <a:lnTo>
                    <a:pt x="27" y="248"/>
                  </a:lnTo>
                  <a:lnTo>
                    <a:pt x="28" y="246"/>
                  </a:lnTo>
                  <a:lnTo>
                    <a:pt x="31" y="248"/>
                  </a:lnTo>
                  <a:lnTo>
                    <a:pt x="31" y="251"/>
                  </a:lnTo>
                  <a:lnTo>
                    <a:pt x="27" y="254"/>
                  </a:lnTo>
                  <a:lnTo>
                    <a:pt x="22" y="256"/>
                  </a:lnTo>
                  <a:lnTo>
                    <a:pt x="22" y="257"/>
                  </a:lnTo>
                  <a:lnTo>
                    <a:pt x="31" y="259"/>
                  </a:lnTo>
                  <a:lnTo>
                    <a:pt x="33" y="263"/>
                  </a:lnTo>
                  <a:lnTo>
                    <a:pt x="37" y="268"/>
                  </a:lnTo>
                  <a:lnTo>
                    <a:pt x="43" y="268"/>
                  </a:lnTo>
                  <a:lnTo>
                    <a:pt x="54" y="268"/>
                  </a:lnTo>
                  <a:lnTo>
                    <a:pt x="60" y="265"/>
                  </a:lnTo>
                  <a:lnTo>
                    <a:pt x="60" y="268"/>
                  </a:lnTo>
                  <a:lnTo>
                    <a:pt x="63" y="265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1" y="263"/>
                  </a:lnTo>
                  <a:lnTo>
                    <a:pt x="66" y="268"/>
                  </a:lnTo>
                  <a:lnTo>
                    <a:pt x="66" y="274"/>
                  </a:lnTo>
                  <a:lnTo>
                    <a:pt x="61" y="280"/>
                  </a:lnTo>
                  <a:lnTo>
                    <a:pt x="60" y="280"/>
                  </a:lnTo>
                  <a:lnTo>
                    <a:pt x="54" y="278"/>
                  </a:lnTo>
                  <a:lnTo>
                    <a:pt x="51" y="278"/>
                  </a:lnTo>
                  <a:lnTo>
                    <a:pt x="54" y="284"/>
                  </a:lnTo>
                  <a:lnTo>
                    <a:pt x="55" y="288"/>
                  </a:lnTo>
                  <a:lnTo>
                    <a:pt x="60" y="291"/>
                  </a:lnTo>
                  <a:lnTo>
                    <a:pt x="63" y="288"/>
                  </a:lnTo>
                  <a:lnTo>
                    <a:pt x="66" y="291"/>
                  </a:lnTo>
                  <a:lnTo>
                    <a:pt x="66" y="294"/>
                  </a:lnTo>
                  <a:lnTo>
                    <a:pt x="63" y="294"/>
                  </a:lnTo>
                  <a:lnTo>
                    <a:pt x="63" y="296"/>
                  </a:lnTo>
                  <a:lnTo>
                    <a:pt x="71" y="304"/>
                  </a:lnTo>
                  <a:lnTo>
                    <a:pt x="72" y="302"/>
                  </a:lnTo>
                  <a:lnTo>
                    <a:pt x="78" y="302"/>
                  </a:lnTo>
                  <a:lnTo>
                    <a:pt x="82" y="299"/>
                  </a:lnTo>
                  <a:lnTo>
                    <a:pt x="88" y="287"/>
                  </a:lnTo>
                  <a:lnTo>
                    <a:pt x="86" y="294"/>
                  </a:lnTo>
                  <a:lnTo>
                    <a:pt x="86" y="300"/>
                  </a:lnTo>
                  <a:lnTo>
                    <a:pt x="83" y="304"/>
                  </a:lnTo>
                  <a:lnTo>
                    <a:pt x="80" y="305"/>
                  </a:lnTo>
                  <a:lnTo>
                    <a:pt x="77" y="309"/>
                  </a:lnTo>
                  <a:lnTo>
                    <a:pt x="78" y="313"/>
                  </a:lnTo>
                  <a:lnTo>
                    <a:pt x="82" y="315"/>
                  </a:lnTo>
                  <a:lnTo>
                    <a:pt x="80" y="317"/>
                  </a:lnTo>
                  <a:lnTo>
                    <a:pt x="80" y="327"/>
                  </a:lnTo>
                  <a:lnTo>
                    <a:pt x="82" y="332"/>
                  </a:lnTo>
                  <a:lnTo>
                    <a:pt x="86" y="332"/>
                  </a:lnTo>
                  <a:lnTo>
                    <a:pt x="83" y="335"/>
                  </a:lnTo>
                  <a:lnTo>
                    <a:pt x="86" y="339"/>
                  </a:lnTo>
                  <a:lnTo>
                    <a:pt x="95" y="349"/>
                  </a:lnTo>
                  <a:lnTo>
                    <a:pt x="97" y="349"/>
                  </a:lnTo>
                  <a:lnTo>
                    <a:pt x="100" y="352"/>
                  </a:lnTo>
                  <a:lnTo>
                    <a:pt x="101" y="350"/>
                  </a:lnTo>
                  <a:lnTo>
                    <a:pt x="106" y="354"/>
                  </a:lnTo>
                  <a:lnTo>
                    <a:pt x="109" y="352"/>
                  </a:lnTo>
                  <a:lnTo>
                    <a:pt x="107" y="350"/>
                  </a:lnTo>
                  <a:lnTo>
                    <a:pt x="109" y="349"/>
                  </a:lnTo>
                  <a:lnTo>
                    <a:pt x="111" y="350"/>
                  </a:lnTo>
                  <a:lnTo>
                    <a:pt x="112" y="350"/>
                  </a:lnTo>
                  <a:lnTo>
                    <a:pt x="117" y="347"/>
                  </a:lnTo>
                  <a:lnTo>
                    <a:pt x="112" y="339"/>
                  </a:lnTo>
                  <a:lnTo>
                    <a:pt x="109" y="341"/>
                  </a:lnTo>
                  <a:lnTo>
                    <a:pt x="107" y="341"/>
                  </a:lnTo>
                  <a:lnTo>
                    <a:pt x="106" y="339"/>
                  </a:lnTo>
                  <a:lnTo>
                    <a:pt x="109" y="335"/>
                  </a:lnTo>
                  <a:lnTo>
                    <a:pt x="109" y="332"/>
                  </a:lnTo>
                  <a:lnTo>
                    <a:pt x="107" y="327"/>
                  </a:lnTo>
                  <a:lnTo>
                    <a:pt x="103" y="327"/>
                  </a:lnTo>
                  <a:lnTo>
                    <a:pt x="103" y="324"/>
                  </a:lnTo>
                  <a:lnTo>
                    <a:pt x="106" y="322"/>
                  </a:lnTo>
                  <a:lnTo>
                    <a:pt x="107" y="317"/>
                  </a:lnTo>
                  <a:lnTo>
                    <a:pt x="109" y="317"/>
                  </a:lnTo>
                  <a:lnTo>
                    <a:pt x="109" y="322"/>
                  </a:lnTo>
                  <a:lnTo>
                    <a:pt x="111" y="326"/>
                  </a:lnTo>
                  <a:lnTo>
                    <a:pt x="115" y="321"/>
                  </a:lnTo>
                  <a:lnTo>
                    <a:pt x="117" y="324"/>
                  </a:lnTo>
                  <a:lnTo>
                    <a:pt x="118" y="326"/>
                  </a:lnTo>
                  <a:lnTo>
                    <a:pt x="117" y="332"/>
                  </a:lnTo>
                  <a:lnTo>
                    <a:pt x="118" y="335"/>
                  </a:lnTo>
                  <a:lnTo>
                    <a:pt x="121" y="335"/>
                  </a:lnTo>
                  <a:lnTo>
                    <a:pt x="126" y="332"/>
                  </a:lnTo>
                  <a:lnTo>
                    <a:pt x="128" y="332"/>
                  </a:lnTo>
                  <a:lnTo>
                    <a:pt x="126" y="335"/>
                  </a:lnTo>
                  <a:lnTo>
                    <a:pt x="122" y="339"/>
                  </a:lnTo>
                  <a:lnTo>
                    <a:pt x="122" y="343"/>
                  </a:lnTo>
                  <a:lnTo>
                    <a:pt x="123" y="347"/>
                  </a:lnTo>
                  <a:lnTo>
                    <a:pt x="122" y="352"/>
                  </a:lnTo>
                  <a:lnTo>
                    <a:pt x="123" y="354"/>
                  </a:lnTo>
                  <a:lnTo>
                    <a:pt x="129" y="355"/>
                  </a:lnTo>
                  <a:lnTo>
                    <a:pt x="129" y="354"/>
                  </a:lnTo>
                  <a:lnTo>
                    <a:pt x="134" y="350"/>
                  </a:lnTo>
                  <a:lnTo>
                    <a:pt x="134" y="354"/>
                  </a:lnTo>
                  <a:lnTo>
                    <a:pt x="132" y="355"/>
                  </a:lnTo>
                  <a:lnTo>
                    <a:pt x="134" y="361"/>
                  </a:lnTo>
                  <a:lnTo>
                    <a:pt x="137" y="363"/>
                  </a:lnTo>
                  <a:lnTo>
                    <a:pt x="141" y="355"/>
                  </a:lnTo>
                  <a:lnTo>
                    <a:pt x="143" y="349"/>
                  </a:lnTo>
                  <a:lnTo>
                    <a:pt x="146" y="347"/>
                  </a:lnTo>
                  <a:lnTo>
                    <a:pt x="146" y="333"/>
                  </a:lnTo>
                  <a:lnTo>
                    <a:pt x="149" y="324"/>
                  </a:lnTo>
                  <a:lnTo>
                    <a:pt x="149" y="313"/>
                  </a:lnTo>
                  <a:lnTo>
                    <a:pt x="149" y="305"/>
                  </a:lnTo>
                  <a:lnTo>
                    <a:pt x="147" y="302"/>
                  </a:lnTo>
                  <a:lnTo>
                    <a:pt x="149" y="302"/>
                  </a:lnTo>
                  <a:lnTo>
                    <a:pt x="150" y="309"/>
                  </a:lnTo>
                  <a:lnTo>
                    <a:pt x="155" y="309"/>
                  </a:lnTo>
                  <a:lnTo>
                    <a:pt x="156" y="304"/>
                  </a:lnTo>
                  <a:lnTo>
                    <a:pt x="162" y="300"/>
                  </a:lnTo>
                  <a:lnTo>
                    <a:pt x="158" y="308"/>
                  </a:lnTo>
                  <a:lnTo>
                    <a:pt x="156" y="315"/>
                  </a:lnTo>
                  <a:lnTo>
                    <a:pt x="158" y="322"/>
                  </a:lnTo>
                  <a:lnTo>
                    <a:pt x="152" y="332"/>
                  </a:lnTo>
                  <a:lnTo>
                    <a:pt x="152" y="338"/>
                  </a:lnTo>
                  <a:lnTo>
                    <a:pt x="155" y="339"/>
                  </a:lnTo>
                  <a:lnTo>
                    <a:pt x="150" y="343"/>
                  </a:lnTo>
                  <a:lnTo>
                    <a:pt x="150" y="350"/>
                  </a:lnTo>
                  <a:lnTo>
                    <a:pt x="150" y="354"/>
                  </a:lnTo>
                  <a:lnTo>
                    <a:pt x="152" y="360"/>
                  </a:lnTo>
                  <a:lnTo>
                    <a:pt x="156" y="363"/>
                  </a:lnTo>
                  <a:lnTo>
                    <a:pt x="158" y="369"/>
                  </a:lnTo>
                  <a:lnTo>
                    <a:pt x="161" y="369"/>
                  </a:lnTo>
                  <a:lnTo>
                    <a:pt x="161" y="374"/>
                  </a:lnTo>
                  <a:lnTo>
                    <a:pt x="166" y="376"/>
                  </a:lnTo>
                  <a:lnTo>
                    <a:pt x="167" y="374"/>
                  </a:lnTo>
                  <a:lnTo>
                    <a:pt x="172" y="376"/>
                  </a:lnTo>
                  <a:lnTo>
                    <a:pt x="175" y="374"/>
                  </a:lnTo>
                  <a:lnTo>
                    <a:pt x="183" y="374"/>
                  </a:lnTo>
                  <a:lnTo>
                    <a:pt x="183" y="376"/>
                  </a:lnTo>
                  <a:lnTo>
                    <a:pt x="175" y="380"/>
                  </a:lnTo>
                  <a:lnTo>
                    <a:pt x="172" y="382"/>
                  </a:lnTo>
                  <a:lnTo>
                    <a:pt x="172" y="383"/>
                  </a:lnTo>
                  <a:lnTo>
                    <a:pt x="175" y="385"/>
                  </a:lnTo>
                  <a:lnTo>
                    <a:pt x="173" y="388"/>
                  </a:lnTo>
                  <a:lnTo>
                    <a:pt x="170" y="388"/>
                  </a:lnTo>
                  <a:lnTo>
                    <a:pt x="170" y="391"/>
                  </a:lnTo>
                  <a:lnTo>
                    <a:pt x="173" y="397"/>
                  </a:lnTo>
                  <a:lnTo>
                    <a:pt x="173" y="400"/>
                  </a:lnTo>
                  <a:lnTo>
                    <a:pt x="172" y="402"/>
                  </a:lnTo>
                  <a:lnTo>
                    <a:pt x="167" y="399"/>
                  </a:lnTo>
                  <a:lnTo>
                    <a:pt x="166" y="394"/>
                  </a:lnTo>
                  <a:lnTo>
                    <a:pt x="164" y="397"/>
                  </a:lnTo>
                  <a:lnTo>
                    <a:pt x="166" y="400"/>
                  </a:lnTo>
                  <a:lnTo>
                    <a:pt x="162" y="403"/>
                  </a:lnTo>
                  <a:lnTo>
                    <a:pt x="162" y="409"/>
                  </a:lnTo>
                  <a:lnTo>
                    <a:pt x="164" y="411"/>
                  </a:lnTo>
                  <a:lnTo>
                    <a:pt x="162" y="414"/>
                  </a:lnTo>
                  <a:lnTo>
                    <a:pt x="158" y="414"/>
                  </a:lnTo>
                  <a:lnTo>
                    <a:pt x="156" y="416"/>
                  </a:lnTo>
                  <a:lnTo>
                    <a:pt x="156" y="419"/>
                  </a:lnTo>
                  <a:lnTo>
                    <a:pt x="161" y="419"/>
                  </a:lnTo>
                  <a:lnTo>
                    <a:pt x="162" y="419"/>
                  </a:lnTo>
                  <a:lnTo>
                    <a:pt x="164" y="422"/>
                  </a:lnTo>
                  <a:lnTo>
                    <a:pt x="167" y="425"/>
                  </a:lnTo>
                  <a:lnTo>
                    <a:pt x="172" y="425"/>
                  </a:lnTo>
                  <a:lnTo>
                    <a:pt x="173" y="428"/>
                  </a:lnTo>
                  <a:lnTo>
                    <a:pt x="173" y="430"/>
                  </a:lnTo>
                  <a:lnTo>
                    <a:pt x="170" y="430"/>
                  </a:lnTo>
                  <a:lnTo>
                    <a:pt x="167" y="430"/>
                  </a:lnTo>
                  <a:lnTo>
                    <a:pt x="170" y="433"/>
                  </a:lnTo>
                  <a:lnTo>
                    <a:pt x="173" y="436"/>
                  </a:lnTo>
                  <a:lnTo>
                    <a:pt x="175" y="439"/>
                  </a:lnTo>
                  <a:lnTo>
                    <a:pt x="179" y="442"/>
                  </a:lnTo>
                  <a:lnTo>
                    <a:pt x="181" y="442"/>
                  </a:lnTo>
                  <a:lnTo>
                    <a:pt x="179" y="445"/>
                  </a:lnTo>
                  <a:lnTo>
                    <a:pt x="175" y="445"/>
                  </a:lnTo>
                  <a:lnTo>
                    <a:pt x="172" y="448"/>
                  </a:lnTo>
                  <a:lnTo>
                    <a:pt x="173" y="454"/>
                  </a:lnTo>
                  <a:lnTo>
                    <a:pt x="178" y="461"/>
                  </a:lnTo>
                  <a:lnTo>
                    <a:pt x="181" y="464"/>
                  </a:lnTo>
                  <a:lnTo>
                    <a:pt x="187" y="464"/>
                  </a:lnTo>
                  <a:lnTo>
                    <a:pt x="190" y="464"/>
                  </a:lnTo>
                  <a:lnTo>
                    <a:pt x="184" y="467"/>
                  </a:lnTo>
                  <a:lnTo>
                    <a:pt x="179" y="467"/>
                  </a:lnTo>
                  <a:lnTo>
                    <a:pt x="175" y="467"/>
                  </a:lnTo>
                  <a:lnTo>
                    <a:pt x="172" y="473"/>
                  </a:lnTo>
                  <a:lnTo>
                    <a:pt x="164" y="481"/>
                  </a:lnTo>
                  <a:lnTo>
                    <a:pt x="156" y="486"/>
                  </a:lnTo>
                  <a:lnTo>
                    <a:pt x="156" y="491"/>
                  </a:lnTo>
                  <a:lnTo>
                    <a:pt x="161" y="495"/>
                  </a:lnTo>
                  <a:lnTo>
                    <a:pt x="166" y="491"/>
                  </a:lnTo>
                  <a:lnTo>
                    <a:pt x="170" y="483"/>
                  </a:lnTo>
                  <a:lnTo>
                    <a:pt x="170" y="481"/>
                  </a:lnTo>
                  <a:lnTo>
                    <a:pt x="173" y="480"/>
                  </a:lnTo>
                  <a:lnTo>
                    <a:pt x="179" y="475"/>
                  </a:lnTo>
                  <a:lnTo>
                    <a:pt x="181" y="476"/>
                  </a:lnTo>
                  <a:lnTo>
                    <a:pt x="184" y="476"/>
                  </a:lnTo>
                  <a:lnTo>
                    <a:pt x="193" y="476"/>
                  </a:lnTo>
                  <a:lnTo>
                    <a:pt x="189" y="480"/>
                  </a:lnTo>
                  <a:lnTo>
                    <a:pt x="189" y="481"/>
                  </a:lnTo>
                  <a:lnTo>
                    <a:pt x="195" y="481"/>
                  </a:lnTo>
                  <a:lnTo>
                    <a:pt x="195" y="483"/>
                  </a:lnTo>
                  <a:lnTo>
                    <a:pt x="189" y="489"/>
                  </a:lnTo>
                  <a:lnTo>
                    <a:pt x="189" y="492"/>
                  </a:lnTo>
                  <a:lnTo>
                    <a:pt x="190" y="497"/>
                  </a:lnTo>
                  <a:lnTo>
                    <a:pt x="187" y="503"/>
                  </a:lnTo>
                  <a:lnTo>
                    <a:pt x="184" y="506"/>
                  </a:lnTo>
                  <a:lnTo>
                    <a:pt x="187" y="508"/>
                  </a:lnTo>
                  <a:lnTo>
                    <a:pt x="187" y="509"/>
                  </a:lnTo>
                  <a:lnTo>
                    <a:pt x="183" y="509"/>
                  </a:lnTo>
                  <a:lnTo>
                    <a:pt x="179" y="509"/>
                  </a:lnTo>
                  <a:lnTo>
                    <a:pt x="175" y="513"/>
                  </a:lnTo>
                  <a:lnTo>
                    <a:pt x="175" y="515"/>
                  </a:lnTo>
                  <a:lnTo>
                    <a:pt x="179" y="517"/>
                  </a:lnTo>
                  <a:lnTo>
                    <a:pt x="181" y="515"/>
                  </a:lnTo>
                  <a:lnTo>
                    <a:pt x="187" y="515"/>
                  </a:lnTo>
                  <a:lnTo>
                    <a:pt x="187" y="517"/>
                  </a:lnTo>
                  <a:lnTo>
                    <a:pt x="183" y="521"/>
                  </a:lnTo>
                  <a:lnTo>
                    <a:pt x="179" y="518"/>
                  </a:lnTo>
                  <a:lnTo>
                    <a:pt x="178" y="518"/>
                  </a:lnTo>
                  <a:lnTo>
                    <a:pt x="173" y="522"/>
                  </a:lnTo>
                  <a:lnTo>
                    <a:pt x="172" y="528"/>
                  </a:lnTo>
                  <a:lnTo>
                    <a:pt x="175" y="531"/>
                  </a:lnTo>
                  <a:lnTo>
                    <a:pt x="179" y="530"/>
                  </a:lnTo>
                  <a:lnTo>
                    <a:pt x="179" y="528"/>
                  </a:lnTo>
                  <a:lnTo>
                    <a:pt x="183" y="528"/>
                  </a:lnTo>
                  <a:lnTo>
                    <a:pt x="189" y="526"/>
                  </a:lnTo>
                  <a:lnTo>
                    <a:pt x="195" y="518"/>
                  </a:lnTo>
                  <a:lnTo>
                    <a:pt x="201" y="512"/>
                  </a:lnTo>
                  <a:lnTo>
                    <a:pt x="202" y="503"/>
                  </a:lnTo>
                  <a:lnTo>
                    <a:pt x="210" y="489"/>
                  </a:lnTo>
                  <a:lnTo>
                    <a:pt x="212" y="489"/>
                  </a:lnTo>
                  <a:lnTo>
                    <a:pt x="212" y="487"/>
                  </a:lnTo>
                  <a:lnTo>
                    <a:pt x="212" y="483"/>
                  </a:lnTo>
                  <a:lnTo>
                    <a:pt x="213" y="481"/>
                  </a:lnTo>
                  <a:lnTo>
                    <a:pt x="213" y="480"/>
                  </a:lnTo>
                  <a:lnTo>
                    <a:pt x="216" y="478"/>
                  </a:lnTo>
                  <a:lnTo>
                    <a:pt x="213" y="47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3" name="Freeform 275"/>
            <p:cNvSpPr>
              <a:spLocks/>
            </p:cNvSpPr>
            <p:nvPr/>
          </p:nvSpPr>
          <p:spPr bwMode="auto">
            <a:xfrm>
              <a:off x="782638" y="2330450"/>
              <a:ext cx="6350" cy="12700"/>
            </a:xfrm>
            <a:custGeom>
              <a:avLst/>
              <a:gdLst>
                <a:gd name="T0" fmla="*/ 0 w 4"/>
                <a:gd name="T1" fmla="*/ 0 h 8"/>
                <a:gd name="T2" fmla="*/ 0 w 4"/>
                <a:gd name="T3" fmla="*/ 8 h 8"/>
                <a:gd name="T4" fmla="*/ 4 w 4"/>
                <a:gd name="T5" fmla="*/ 2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0" y="8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4" name="Freeform 276"/>
            <p:cNvSpPr>
              <a:spLocks/>
            </p:cNvSpPr>
            <p:nvPr/>
          </p:nvSpPr>
          <p:spPr bwMode="auto">
            <a:xfrm>
              <a:off x="842963" y="2265363"/>
              <a:ext cx="20638" cy="15875"/>
            </a:xfrm>
            <a:custGeom>
              <a:avLst/>
              <a:gdLst>
                <a:gd name="T0" fmla="*/ 0 w 13"/>
                <a:gd name="T1" fmla="*/ 4 h 10"/>
                <a:gd name="T2" fmla="*/ 3 w 13"/>
                <a:gd name="T3" fmla="*/ 7 h 10"/>
                <a:gd name="T4" fmla="*/ 7 w 13"/>
                <a:gd name="T5" fmla="*/ 10 h 10"/>
                <a:gd name="T6" fmla="*/ 13 w 13"/>
                <a:gd name="T7" fmla="*/ 4 h 10"/>
                <a:gd name="T8" fmla="*/ 13 w 13"/>
                <a:gd name="T9" fmla="*/ 0 h 10"/>
                <a:gd name="T10" fmla="*/ 6 w 13"/>
                <a:gd name="T11" fmla="*/ 0 h 10"/>
                <a:gd name="T12" fmla="*/ 0 w 13"/>
                <a:gd name="T1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0">
                  <a:moveTo>
                    <a:pt x="0" y="4"/>
                  </a:moveTo>
                  <a:lnTo>
                    <a:pt x="3" y="7"/>
                  </a:lnTo>
                  <a:lnTo>
                    <a:pt x="7" y="10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5" name="Freeform 277"/>
            <p:cNvSpPr>
              <a:spLocks/>
            </p:cNvSpPr>
            <p:nvPr/>
          </p:nvSpPr>
          <p:spPr bwMode="auto">
            <a:xfrm>
              <a:off x="828676" y="2211388"/>
              <a:ext cx="33338" cy="53975"/>
            </a:xfrm>
            <a:custGeom>
              <a:avLst/>
              <a:gdLst>
                <a:gd name="T0" fmla="*/ 12 w 21"/>
                <a:gd name="T1" fmla="*/ 5 h 34"/>
                <a:gd name="T2" fmla="*/ 7 w 21"/>
                <a:gd name="T3" fmla="*/ 0 h 34"/>
                <a:gd name="T4" fmla="*/ 0 w 21"/>
                <a:gd name="T5" fmla="*/ 0 h 34"/>
                <a:gd name="T6" fmla="*/ 0 w 21"/>
                <a:gd name="T7" fmla="*/ 4 h 34"/>
                <a:gd name="T8" fmla="*/ 1 w 21"/>
                <a:gd name="T9" fmla="*/ 5 h 34"/>
                <a:gd name="T10" fmla="*/ 0 w 21"/>
                <a:gd name="T11" fmla="*/ 10 h 34"/>
                <a:gd name="T12" fmla="*/ 6 w 21"/>
                <a:gd name="T13" fmla="*/ 11 h 34"/>
                <a:gd name="T14" fmla="*/ 3 w 21"/>
                <a:gd name="T15" fmla="*/ 16 h 34"/>
                <a:gd name="T16" fmla="*/ 0 w 21"/>
                <a:gd name="T17" fmla="*/ 27 h 34"/>
                <a:gd name="T18" fmla="*/ 0 w 21"/>
                <a:gd name="T19" fmla="*/ 32 h 34"/>
                <a:gd name="T20" fmla="*/ 3 w 21"/>
                <a:gd name="T21" fmla="*/ 34 h 34"/>
                <a:gd name="T22" fmla="*/ 6 w 21"/>
                <a:gd name="T23" fmla="*/ 30 h 34"/>
                <a:gd name="T24" fmla="*/ 7 w 21"/>
                <a:gd name="T25" fmla="*/ 32 h 34"/>
                <a:gd name="T26" fmla="*/ 10 w 21"/>
                <a:gd name="T27" fmla="*/ 30 h 34"/>
                <a:gd name="T28" fmla="*/ 9 w 21"/>
                <a:gd name="T29" fmla="*/ 25 h 34"/>
                <a:gd name="T30" fmla="*/ 10 w 21"/>
                <a:gd name="T31" fmla="*/ 22 h 34"/>
                <a:gd name="T32" fmla="*/ 10 w 21"/>
                <a:gd name="T33" fmla="*/ 17 h 34"/>
                <a:gd name="T34" fmla="*/ 15 w 21"/>
                <a:gd name="T35" fmla="*/ 17 h 34"/>
                <a:gd name="T36" fmla="*/ 15 w 21"/>
                <a:gd name="T37" fmla="*/ 22 h 34"/>
                <a:gd name="T38" fmla="*/ 16 w 21"/>
                <a:gd name="T39" fmla="*/ 22 h 34"/>
                <a:gd name="T40" fmla="*/ 21 w 21"/>
                <a:gd name="T41" fmla="*/ 17 h 34"/>
                <a:gd name="T42" fmla="*/ 21 w 21"/>
                <a:gd name="T43" fmla="*/ 10 h 34"/>
                <a:gd name="T44" fmla="*/ 16 w 21"/>
                <a:gd name="T45" fmla="*/ 5 h 34"/>
                <a:gd name="T46" fmla="*/ 12 w 21"/>
                <a:gd name="T47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" h="34">
                  <a:moveTo>
                    <a:pt x="12" y="5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5"/>
                  </a:lnTo>
                  <a:lnTo>
                    <a:pt x="0" y="10"/>
                  </a:lnTo>
                  <a:lnTo>
                    <a:pt x="6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3" y="34"/>
                  </a:lnTo>
                  <a:lnTo>
                    <a:pt x="6" y="30"/>
                  </a:lnTo>
                  <a:lnTo>
                    <a:pt x="7" y="32"/>
                  </a:lnTo>
                  <a:lnTo>
                    <a:pt x="10" y="30"/>
                  </a:lnTo>
                  <a:lnTo>
                    <a:pt x="9" y="25"/>
                  </a:lnTo>
                  <a:lnTo>
                    <a:pt x="10" y="22"/>
                  </a:lnTo>
                  <a:lnTo>
                    <a:pt x="10" y="17"/>
                  </a:lnTo>
                  <a:lnTo>
                    <a:pt x="15" y="17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21" y="17"/>
                  </a:lnTo>
                  <a:lnTo>
                    <a:pt x="21" y="10"/>
                  </a:lnTo>
                  <a:lnTo>
                    <a:pt x="16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6" name="Freeform 278"/>
            <p:cNvSpPr>
              <a:spLocks/>
            </p:cNvSpPr>
            <p:nvPr/>
          </p:nvSpPr>
          <p:spPr bwMode="auto">
            <a:xfrm>
              <a:off x="793751" y="2347913"/>
              <a:ext cx="7938" cy="9525"/>
            </a:xfrm>
            <a:custGeom>
              <a:avLst/>
              <a:gdLst>
                <a:gd name="T0" fmla="*/ 5 w 5"/>
                <a:gd name="T1" fmla="*/ 6 h 6"/>
                <a:gd name="T2" fmla="*/ 4 w 5"/>
                <a:gd name="T3" fmla="*/ 2 h 6"/>
                <a:gd name="T4" fmla="*/ 3 w 5"/>
                <a:gd name="T5" fmla="*/ 0 h 6"/>
                <a:gd name="T6" fmla="*/ 0 w 5"/>
                <a:gd name="T7" fmla="*/ 2 h 6"/>
                <a:gd name="T8" fmla="*/ 3 w 5"/>
                <a:gd name="T9" fmla="*/ 6 h 6"/>
                <a:gd name="T10" fmla="*/ 5 w 5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7" name="Freeform 279"/>
            <p:cNvSpPr>
              <a:spLocks/>
            </p:cNvSpPr>
            <p:nvPr/>
          </p:nvSpPr>
          <p:spPr bwMode="auto">
            <a:xfrm>
              <a:off x="801688" y="2116138"/>
              <a:ext cx="55563" cy="95250"/>
            </a:xfrm>
            <a:custGeom>
              <a:avLst/>
              <a:gdLst>
                <a:gd name="T0" fmla="*/ 23 w 35"/>
                <a:gd name="T1" fmla="*/ 0 h 60"/>
                <a:gd name="T2" fmla="*/ 18 w 35"/>
                <a:gd name="T3" fmla="*/ 6 h 60"/>
                <a:gd name="T4" fmla="*/ 17 w 35"/>
                <a:gd name="T5" fmla="*/ 22 h 60"/>
                <a:gd name="T6" fmla="*/ 11 w 35"/>
                <a:gd name="T7" fmla="*/ 28 h 60"/>
                <a:gd name="T8" fmla="*/ 11 w 35"/>
                <a:gd name="T9" fmla="*/ 34 h 60"/>
                <a:gd name="T10" fmla="*/ 14 w 35"/>
                <a:gd name="T11" fmla="*/ 39 h 60"/>
                <a:gd name="T12" fmla="*/ 12 w 35"/>
                <a:gd name="T13" fmla="*/ 40 h 60"/>
                <a:gd name="T14" fmla="*/ 14 w 35"/>
                <a:gd name="T15" fmla="*/ 43 h 60"/>
                <a:gd name="T16" fmla="*/ 9 w 35"/>
                <a:gd name="T17" fmla="*/ 43 h 60"/>
                <a:gd name="T18" fmla="*/ 5 w 35"/>
                <a:gd name="T19" fmla="*/ 46 h 60"/>
                <a:gd name="T20" fmla="*/ 5 w 35"/>
                <a:gd name="T21" fmla="*/ 51 h 60"/>
                <a:gd name="T22" fmla="*/ 0 w 35"/>
                <a:gd name="T23" fmla="*/ 56 h 60"/>
                <a:gd name="T24" fmla="*/ 3 w 35"/>
                <a:gd name="T25" fmla="*/ 60 h 60"/>
                <a:gd name="T26" fmla="*/ 9 w 35"/>
                <a:gd name="T27" fmla="*/ 56 h 60"/>
                <a:gd name="T28" fmla="*/ 17 w 35"/>
                <a:gd name="T29" fmla="*/ 54 h 60"/>
                <a:gd name="T30" fmla="*/ 18 w 35"/>
                <a:gd name="T31" fmla="*/ 46 h 60"/>
                <a:gd name="T32" fmla="*/ 23 w 35"/>
                <a:gd name="T33" fmla="*/ 48 h 60"/>
                <a:gd name="T34" fmla="*/ 24 w 35"/>
                <a:gd name="T35" fmla="*/ 46 h 60"/>
                <a:gd name="T36" fmla="*/ 26 w 35"/>
                <a:gd name="T37" fmla="*/ 40 h 60"/>
                <a:gd name="T38" fmla="*/ 27 w 35"/>
                <a:gd name="T39" fmla="*/ 39 h 60"/>
                <a:gd name="T40" fmla="*/ 27 w 35"/>
                <a:gd name="T41" fmla="*/ 22 h 60"/>
                <a:gd name="T42" fmla="*/ 29 w 35"/>
                <a:gd name="T43" fmla="*/ 16 h 60"/>
                <a:gd name="T44" fmla="*/ 32 w 35"/>
                <a:gd name="T45" fmla="*/ 28 h 60"/>
                <a:gd name="T46" fmla="*/ 29 w 35"/>
                <a:gd name="T47" fmla="*/ 39 h 60"/>
                <a:gd name="T48" fmla="*/ 32 w 35"/>
                <a:gd name="T49" fmla="*/ 39 h 60"/>
                <a:gd name="T50" fmla="*/ 35 w 35"/>
                <a:gd name="T51" fmla="*/ 33 h 60"/>
                <a:gd name="T52" fmla="*/ 33 w 35"/>
                <a:gd name="T53" fmla="*/ 14 h 60"/>
                <a:gd name="T54" fmla="*/ 32 w 35"/>
                <a:gd name="T55" fmla="*/ 11 h 60"/>
                <a:gd name="T56" fmla="*/ 24 w 35"/>
                <a:gd name="T57" fmla="*/ 6 h 60"/>
                <a:gd name="T58" fmla="*/ 24 w 35"/>
                <a:gd name="T59" fmla="*/ 1 h 60"/>
                <a:gd name="T60" fmla="*/ 23 w 35"/>
                <a:gd name="T6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5" h="60">
                  <a:moveTo>
                    <a:pt x="23" y="0"/>
                  </a:moveTo>
                  <a:lnTo>
                    <a:pt x="18" y="6"/>
                  </a:lnTo>
                  <a:lnTo>
                    <a:pt x="17" y="22"/>
                  </a:lnTo>
                  <a:lnTo>
                    <a:pt x="11" y="28"/>
                  </a:lnTo>
                  <a:lnTo>
                    <a:pt x="11" y="34"/>
                  </a:lnTo>
                  <a:lnTo>
                    <a:pt x="14" y="39"/>
                  </a:lnTo>
                  <a:lnTo>
                    <a:pt x="12" y="40"/>
                  </a:lnTo>
                  <a:lnTo>
                    <a:pt x="14" y="43"/>
                  </a:lnTo>
                  <a:lnTo>
                    <a:pt x="9" y="43"/>
                  </a:lnTo>
                  <a:lnTo>
                    <a:pt x="5" y="46"/>
                  </a:lnTo>
                  <a:lnTo>
                    <a:pt x="5" y="51"/>
                  </a:lnTo>
                  <a:lnTo>
                    <a:pt x="0" y="56"/>
                  </a:lnTo>
                  <a:lnTo>
                    <a:pt x="3" y="60"/>
                  </a:lnTo>
                  <a:lnTo>
                    <a:pt x="9" y="56"/>
                  </a:lnTo>
                  <a:lnTo>
                    <a:pt x="17" y="54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24" y="46"/>
                  </a:lnTo>
                  <a:lnTo>
                    <a:pt x="26" y="40"/>
                  </a:lnTo>
                  <a:lnTo>
                    <a:pt x="27" y="39"/>
                  </a:lnTo>
                  <a:lnTo>
                    <a:pt x="27" y="22"/>
                  </a:lnTo>
                  <a:lnTo>
                    <a:pt x="29" y="16"/>
                  </a:lnTo>
                  <a:lnTo>
                    <a:pt x="32" y="28"/>
                  </a:lnTo>
                  <a:lnTo>
                    <a:pt x="29" y="39"/>
                  </a:lnTo>
                  <a:lnTo>
                    <a:pt x="32" y="39"/>
                  </a:lnTo>
                  <a:lnTo>
                    <a:pt x="35" y="33"/>
                  </a:lnTo>
                  <a:lnTo>
                    <a:pt x="33" y="14"/>
                  </a:lnTo>
                  <a:lnTo>
                    <a:pt x="32" y="11"/>
                  </a:lnTo>
                  <a:lnTo>
                    <a:pt x="24" y="6"/>
                  </a:lnTo>
                  <a:lnTo>
                    <a:pt x="24" y="1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8" name="Freeform 280"/>
            <p:cNvSpPr>
              <a:spLocks/>
            </p:cNvSpPr>
            <p:nvPr/>
          </p:nvSpPr>
          <p:spPr bwMode="auto">
            <a:xfrm>
              <a:off x="869951" y="2273300"/>
              <a:ext cx="11113" cy="17463"/>
            </a:xfrm>
            <a:custGeom>
              <a:avLst/>
              <a:gdLst>
                <a:gd name="T0" fmla="*/ 4 w 7"/>
                <a:gd name="T1" fmla="*/ 11 h 11"/>
                <a:gd name="T2" fmla="*/ 7 w 7"/>
                <a:gd name="T3" fmla="*/ 8 h 11"/>
                <a:gd name="T4" fmla="*/ 7 w 7"/>
                <a:gd name="T5" fmla="*/ 2 h 11"/>
                <a:gd name="T6" fmla="*/ 6 w 7"/>
                <a:gd name="T7" fmla="*/ 0 h 11"/>
                <a:gd name="T8" fmla="*/ 4 w 7"/>
                <a:gd name="T9" fmla="*/ 5 h 11"/>
                <a:gd name="T10" fmla="*/ 0 w 7"/>
                <a:gd name="T11" fmla="*/ 8 h 11"/>
                <a:gd name="T12" fmla="*/ 4 w 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1">
                  <a:moveTo>
                    <a:pt x="4" y="11"/>
                  </a:moveTo>
                  <a:lnTo>
                    <a:pt x="7" y="8"/>
                  </a:lnTo>
                  <a:lnTo>
                    <a:pt x="7" y="2"/>
                  </a:lnTo>
                  <a:lnTo>
                    <a:pt x="6" y="0"/>
                  </a:lnTo>
                  <a:lnTo>
                    <a:pt x="4" y="5"/>
                  </a:lnTo>
                  <a:lnTo>
                    <a:pt x="0" y="8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9" name="Freeform 281"/>
            <p:cNvSpPr>
              <a:spLocks/>
            </p:cNvSpPr>
            <p:nvPr/>
          </p:nvSpPr>
          <p:spPr bwMode="auto">
            <a:xfrm>
              <a:off x="776288" y="2289175"/>
              <a:ext cx="6350" cy="6350"/>
            </a:xfrm>
            <a:custGeom>
              <a:avLst/>
              <a:gdLst>
                <a:gd name="T0" fmla="*/ 0 w 4"/>
                <a:gd name="T1" fmla="*/ 0 h 4"/>
                <a:gd name="T2" fmla="*/ 2 w 4"/>
                <a:gd name="T3" fmla="*/ 4 h 4"/>
                <a:gd name="T4" fmla="*/ 4 w 4"/>
                <a:gd name="T5" fmla="*/ 1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0" name="Freeform 282"/>
            <p:cNvSpPr>
              <a:spLocks/>
            </p:cNvSpPr>
            <p:nvPr/>
          </p:nvSpPr>
          <p:spPr bwMode="auto">
            <a:xfrm>
              <a:off x="854076" y="2238375"/>
              <a:ext cx="22225" cy="23813"/>
            </a:xfrm>
            <a:custGeom>
              <a:avLst/>
              <a:gdLst>
                <a:gd name="T0" fmla="*/ 6 w 14"/>
                <a:gd name="T1" fmla="*/ 2 h 15"/>
                <a:gd name="T2" fmla="*/ 0 w 14"/>
                <a:gd name="T3" fmla="*/ 10 h 15"/>
                <a:gd name="T4" fmla="*/ 0 w 14"/>
                <a:gd name="T5" fmla="*/ 11 h 15"/>
                <a:gd name="T6" fmla="*/ 2 w 14"/>
                <a:gd name="T7" fmla="*/ 15 h 15"/>
                <a:gd name="T8" fmla="*/ 10 w 14"/>
                <a:gd name="T9" fmla="*/ 13 h 15"/>
                <a:gd name="T10" fmla="*/ 14 w 14"/>
                <a:gd name="T11" fmla="*/ 8 h 15"/>
                <a:gd name="T12" fmla="*/ 10 w 14"/>
                <a:gd name="T13" fmla="*/ 0 h 15"/>
                <a:gd name="T14" fmla="*/ 6 w 14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6" y="2"/>
                  </a:moveTo>
                  <a:lnTo>
                    <a:pt x="0" y="10"/>
                  </a:lnTo>
                  <a:lnTo>
                    <a:pt x="0" y="11"/>
                  </a:lnTo>
                  <a:lnTo>
                    <a:pt x="2" y="15"/>
                  </a:lnTo>
                  <a:lnTo>
                    <a:pt x="10" y="13"/>
                  </a:lnTo>
                  <a:lnTo>
                    <a:pt x="14" y="8"/>
                  </a:lnTo>
                  <a:lnTo>
                    <a:pt x="10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1" name="Freeform 283"/>
            <p:cNvSpPr>
              <a:spLocks/>
            </p:cNvSpPr>
            <p:nvPr/>
          </p:nvSpPr>
          <p:spPr bwMode="auto">
            <a:xfrm>
              <a:off x="788988" y="2335213"/>
              <a:ext cx="4763" cy="9525"/>
            </a:xfrm>
            <a:custGeom>
              <a:avLst/>
              <a:gdLst>
                <a:gd name="T0" fmla="*/ 0 w 3"/>
                <a:gd name="T1" fmla="*/ 5 h 6"/>
                <a:gd name="T2" fmla="*/ 3 w 3"/>
                <a:gd name="T3" fmla="*/ 6 h 6"/>
                <a:gd name="T4" fmla="*/ 3 w 3"/>
                <a:gd name="T5" fmla="*/ 0 h 6"/>
                <a:gd name="T6" fmla="*/ 0 w 3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5"/>
                  </a:moveTo>
                  <a:lnTo>
                    <a:pt x="3" y="6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2" name="Freeform 284"/>
            <p:cNvSpPr>
              <a:spLocks/>
            </p:cNvSpPr>
            <p:nvPr/>
          </p:nvSpPr>
          <p:spPr bwMode="auto">
            <a:xfrm>
              <a:off x="757238" y="2184400"/>
              <a:ext cx="12700" cy="20638"/>
            </a:xfrm>
            <a:custGeom>
              <a:avLst/>
              <a:gdLst>
                <a:gd name="T0" fmla="*/ 2 w 8"/>
                <a:gd name="T1" fmla="*/ 6 h 13"/>
                <a:gd name="T2" fmla="*/ 2 w 8"/>
                <a:gd name="T3" fmla="*/ 8 h 13"/>
                <a:gd name="T4" fmla="*/ 0 w 8"/>
                <a:gd name="T5" fmla="*/ 11 h 13"/>
                <a:gd name="T6" fmla="*/ 0 w 8"/>
                <a:gd name="T7" fmla="*/ 13 h 13"/>
                <a:gd name="T8" fmla="*/ 6 w 8"/>
                <a:gd name="T9" fmla="*/ 12 h 13"/>
                <a:gd name="T10" fmla="*/ 6 w 8"/>
                <a:gd name="T11" fmla="*/ 6 h 13"/>
                <a:gd name="T12" fmla="*/ 8 w 8"/>
                <a:gd name="T13" fmla="*/ 3 h 13"/>
                <a:gd name="T14" fmla="*/ 6 w 8"/>
                <a:gd name="T15" fmla="*/ 0 h 13"/>
                <a:gd name="T16" fmla="*/ 2 w 8"/>
                <a:gd name="T17" fmla="*/ 3 h 13"/>
                <a:gd name="T18" fmla="*/ 2 w 8"/>
                <a:gd name="T1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3">
                  <a:moveTo>
                    <a:pt x="2" y="6"/>
                  </a:moveTo>
                  <a:lnTo>
                    <a:pt x="2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6" y="12"/>
                  </a:lnTo>
                  <a:lnTo>
                    <a:pt x="6" y="6"/>
                  </a:lnTo>
                  <a:lnTo>
                    <a:pt x="8" y="3"/>
                  </a:lnTo>
                  <a:lnTo>
                    <a:pt x="6" y="0"/>
                  </a:lnTo>
                  <a:lnTo>
                    <a:pt x="2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3" name="Freeform 285"/>
            <p:cNvSpPr>
              <a:spLocks/>
            </p:cNvSpPr>
            <p:nvPr/>
          </p:nvSpPr>
          <p:spPr bwMode="auto">
            <a:xfrm>
              <a:off x="800101" y="2300288"/>
              <a:ext cx="9525" cy="7938"/>
            </a:xfrm>
            <a:custGeom>
              <a:avLst/>
              <a:gdLst>
                <a:gd name="T0" fmla="*/ 6 w 6"/>
                <a:gd name="T1" fmla="*/ 4 h 5"/>
                <a:gd name="T2" fmla="*/ 4 w 6"/>
                <a:gd name="T3" fmla="*/ 0 h 5"/>
                <a:gd name="T4" fmla="*/ 0 w 6"/>
                <a:gd name="T5" fmla="*/ 2 h 5"/>
                <a:gd name="T6" fmla="*/ 4 w 6"/>
                <a:gd name="T7" fmla="*/ 5 h 5"/>
                <a:gd name="T8" fmla="*/ 6 w 6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4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5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4" name="Freeform 286"/>
            <p:cNvSpPr>
              <a:spLocks/>
            </p:cNvSpPr>
            <p:nvPr/>
          </p:nvSpPr>
          <p:spPr bwMode="auto">
            <a:xfrm>
              <a:off x="766763" y="2179638"/>
              <a:ext cx="31750" cy="88900"/>
            </a:xfrm>
            <a:custGeom>
              <a:avLst/>
              <a:gdLst>
                <a:gd name="T0" fmla="*/ 5 w 20"/>
                <a:gd name="T1" fmla="*/ 56 h 56"/>
                <a:gd name="T2" fmla="*/ 6 w 20"/>
                <a:gd name="T3" fmla="*/ 54 h 56"/>
                <a:gd name="T4" fmla="*/ 8 w 20"/>
                <a:gd name="T5" fmla="*/ 50 h 56"/>
                <a:gd name="T6" fmla="*/ 10 w 20"/>
                <a:gd name="T7" fmla="*/ 45 h 56"/>
                <a:gd name="T8" fmla="*/ 11 w 20"/>
                <a:gd name="T9" fmla="*/ 37 h 56"/>
                <a:gd name="T10" fmla="*/ 14 w 20"/>
                <a:gd name="T11" fmla="*/ 36 h 56"/>
                <a:gd name="T12" fmla="*/ 16 w 20"/>
                <a:gd name="T13" fmla="*/ 25 h 56"/>
                <a:gd name="T14" fmla="*/ 20 w 20"/>
                <a:gd name="T15" fmla="*/ 24 h 56"/>
                <a:gd name="T16" fmla="*/ 20 w 20"/>
                <a:gd name="T17" fmla="*/ 16 h 56"/>
                <a:gd name="T18" fmla="*/ 20 w 20"/>
                <a:gd name="T19" fmla="*/ 8 h 56"/>
                <a:gd name="T20" fmla="*/ 17 w 20"/>
                <a:gd name="T21" fmla="*/ 2 h 56"/>
                <a:gd name="T22" fmla="*/ 14 w 20"/>
                <a:gd name="T23" fmla="*/ 0 h 56"/>
                <a:gd name="T24" fmla="*/ 11 w 20"/>
                <a:gd name="T25" fmla="*/ 2 h 56"/>
                <a:gd name="T26" fmla="*/ 6 w 20"/>
                <a:gd name="T27" fmla="*/ 3 h 56"/>
                <a:gd name="T28" fmla="*/ 8 w 20"/>
                <a:gd name="T29" fmla="*/ 8 h 56"/>
                <a:gd name="T30" fmla="*/ 11 w 20"/>
                <a:gd name="T31" fmla="*/ 11 h 56"/>
                <a:gd name="T32" fmla="*/ 8 w 20"/>
                <a:gd name="T33" fmla="*/ 14 h 56"/>
                <a:gd name="T34" fmla="*/ 8 w 20"/>
                <a:gd name="T35" fmla="*/ 19 h 56"/>
                <a:gd name="T36" fmla="*/ 6 w 20"/>
                <a:gd name="T37" fmla="*/ 22 h 56"/>
                <a:gd name="T38" fmla="*/ 0 w 20"/>
                <a:gd name="T39" fmla="*/ 22 h 56"/>
                <a:gd name="T40" fmla="*/ 0 w 20"/>
                <a:gd name="T41" fmla="*/ 24 h 56"/>
                <a:gd name="T42" fmla="*/ 6 w 20"/>
                <a:gd name="T43" fmla="*/ 25 h 56"/>
                <a:gd name="T44" fmla="*/ 5 w 20"/>
                <a:gd name="T45" fmla="*/ 28 h 56"/>
                <a:gd name="T46" fmla="*/ 2 w 20"/>
                <a:gd name="T47" fmla="*/ 30 h 56"/>
                <a:gd name="T48" fmla="*/ 2 w 20"/>
                <a:gd name="T49" fmla="*/ 33 h 56"/>
                <a:gd name="T50" fmla="*/ 6 w 20"/>
                <a:gd name="T51" fmla="*/ 33 h 56"/>
                <a:gd name="T52" fmla="*/ 8 w 20"/>
                <a:gd name="T53" fmla="*/ 31 h 56"/>
                <a:gd name="T54" fmla="*/ 10 w 20"/>
                <a:gd name="T55" fmla="*/ 33 h 56"/>
                <a:gd name="T56" fmla="*/ 6 w 20"/>
                <a:gd name="T57" fmla="*/ 36 h 56"/>
                <a:gd name="T58" fmla="*/ 2 w 20"/>
                <a:gd name="T59" fmla="*/ 36 h 56"/>
                <a:gd name="T60" fmla="*/ 0 w 20"/>
                <a:gd name="T61" fmla="*/ 39 h 56"/>
                <a:gd name="T62" fmla="*/ 2 w 20"/>
                <a:gd name="T63" fmla="*/ 47 h 56"/>
                <a:gd name="T64" fmla="*/ 5 w 20"/>
                <a:gd name="T65" fmla="*/ 48 h 56"/>
                <a:gd name="T66" fmla="*/ 5 w 20"/>
                <a:gd name="T67" fmla="*/ 52 h 56"/>
                <a:gd name="T68" fmla="*/ 5 w 20"/>
                <a:gd name="T6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" h="56">
                  <a:moveTo>
                    <a:pt x="5" y="56"/>
                  </a:moveTo>
                  <a:lnTo>
                    <a:pt x="6" y="54"/>
                  </a:lnTo>
                  <a:lnTo>
                    <a:pt x="8" y="50"/>
                  </a:lnTo>
                  <a:lnTo>
                    <a:pt x="10" y="45"/>
                  </a:lnTo>
                  <a:lnTo>
                    <a:pt x="11" y="37"/>
                  </a:lnTo>
                  <a:lnTo>
                    <a:pt x="14" y="36"/>
                  </a:lnTo>
                  <a:lnTo>
                    <a:pt x="16" y="25"/>
                  </a:lnTo>
                  <a:lnTo>
                    <a:pt x="20" y="24"/>
                  </a:lnTo>
                  <a:lnTo>
                    <a:pt x="20" y="16"/>
                  </a:lnTo>
                  <a:lnTo>
                    <a:pt x="20" y="8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6" y="3"/>
                  </a:lnTo>
                  <a:lnTo>
                    <a:pt x="8" y="8"/>
                  </a:lnTo>
                  <a:lnTo>
                    <a:pt x="11" y="11"/>
                  </a:lnTo>
                  <a:lnTo>
                    <a:pt x="8" y="14"/>
                  </a:lnTo>
                  <a:lnTo>
                    <a:pt x="8" y="19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6" y="25"/>
                  </a:lnTo>
                  <a:lnTo>
                    <a:pt x="5" y="28"/>
                  </a:lnTo>
                  <a:lnTo>
                    <a:pt x="2" y="30"/>
                  </a:lnTo>
                  <a:lnTo>
                    <a:pt x="2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10" y="33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0" y="39"/>
                  </a:lnTo>
                  <a:lnTo>
                    <a:pt x="2" y="47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5" y="5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5" name="Freeform 287"/>
            <p:cNvSpPr>
              <a:spLocks/>
            </p:cNvSpPr>
            <p:nvPr/>
          </p:nvSpPr>
          <p:spPr bwMode="auto">
            <a:xfrm>
              <a:off x="798513" y="2184400"/>
              <a:ext cx="7938" cy="7938"/>
            </a:xfrm>
            <a:custGeom>
              <a:avLst/>
              <a:gdLst>
                <a:gd name="T0" fmla="*/ 5 w 5"/>
                <a:gd name="T1" fmla="*/ 0 h 5"/>
                <a:gd name="T2" fmla="*/ 0 w 5"/>
                <a:gd name="T3" fmla="*/ 0 h 5"/>
                <a:gd name="T4" fmla="*/ 2 w 5"/>
                <a:gd name="T5" fmla="*/ 5 h 5"/>
                <a:gd name="T6" fmla="*/ 5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6" name="Freeform 288"/>
            <p:cNvSpPr>
              <a:spLocks/>
            </p:cNvSpPr>
            <p:nvPr/>
          </p:nvSpPr>
          <p:spPr bwMode="auto">
            <a:xfrm>
              <a:off x="788988" y="2217738"/>
              <a:ext cx="39688" cy="63500"/>
            </a:xfrm>
            <a:custGeom>
              <a:avLst/>
              <a:gdLst>
                <a:gd name="T0" fmla="*/ 25 w 25"/>
                <a:gd name="T1" fmla="*/ 13 h 40"/>
                <a:gd name="T2" fmla="*/ 22 w 25"/>
                <a:gd name="T3" fmla="*/ 12 h 40"/>
                <a:gd name="T4" fmla="*/ 20 w 25"/>
                <a:gd name="T5" fmla="*/ 13 h 40"/>
                <a:gd name="T6" fmla="*/ 19 w 25"/>
                <a:gd name="T7" fmla="*/ 9 h 40"/>
                <a:gd name="T8" fmla="*/ 20 w 25"/>
                <a:gd name="T9" fmla="*/ 6 h 40"/>
                <a:gd name="T10" fmla="*/ 17 w 25"/>
                <a:gd name="T11" fmla="*/ 0 h 40"/>
                <a:gd name="T12" fmla="*/ 14 w 25"/>
                <a:gd name="T13" fmla="*/ 0 h 40"/>
                <a:gd name="T14" fmla="*/ 14 w 25"/>
                <a:gd name="T15" fmla="*/ 6 h 40"/>
                <a:gd name="T16" fmla="*/ 8 w 25"/>
                <a:gd name="T17" fmla="*/ 4 h 40"/>
                <a:gd name="T18" fmla="*/ 7 w 25"/>
                <a:gd name="T19" fmla="*/ 7 h 40"/>
                <a:gd name="T20" fmla="*/ 7 w 25"/>
                <a:gd name="T21" fmla="*/ 12 h 40"/>
                <a:gd name="T22" fmla="*/ 8 w 25"/>
                <a:gd name="T23" fmla="*/ 13 h 40"/>
                <a:gd name="T24" fmla="*/ 6 w 25"/>
                <a:gd name="T25" fmla="*/ 18 h 40"/>
                <a:gd name="T26" fmla="*/ 8 w 25"/>
                <a:gd name="T27" fmla="*/ 23 h 40"/>
                <a:gd name="T28" fmla="*/ 8 w 25"/>
                <a:gd name="T29" fmla="*/ 24 h 40"/>
                <a:gd name="T30" fmla="*/ 7 w 25"/>
                <a:gd name="T31" fmla="*/ 28 h 40"/>
                <a:gd name="T32" fmla="*/ 3 w 25"/>
                <a:gd name="T33" fmla="*/ 24 h 40"/>
                <a:gd name="T34" fmla="*/ 2 w 25"/>
                <a:gd name="T35" fmla="*/ 28 h 40"/>
                <a:gd name="T36" fmla="*/ 2 w 25"/>
                <a:gd name="T37" fmla="*/ 32 h 40"/>
                <a:gd name="T38" fmla="*/ 0 w 25"/>
                <a:gd name="T39" fmla="*/ 35 h 40"/>
                <a:gd name="T40" fmla="*/ 0 w 25"/>
                <a:gd name="T41" fmla="*/ 40 h 40"/>
                <a:gd name="T42" fmla="*/ 2 w 25"/>
                <a:gd name="T43" fmla="*/ 40 h 40"/>
                <a:gd name="T44" fmla="*/ 3 w 25"/>
                <a:gd name="T45" fmla="*/ 32 h 40"/>
                <a:gd name="T46" fmla="*/ 6 w 25"/>
                <a:gd name="T47" fmla="*/ 35 h 40"/>
                <a:gd name="T48" fmla="*/ 3 w 25"/>
                <a:gd name="T49" fmla="*/ 40 h 40"/>
                <a:gd name="T50" fmla="*/ 8 w 25"/>
                <a:gd name="T51" fmla="*/ 37 h 40"/>
                <a:gd name="T52" fmla="*/ 13 w 25"/>
                <a:gd name="T53" fmla="*/ 34 h 40"/>
                <a:gd name="T54" fmla="*/ 13 w 25"/>
                <a:gd name="T55" fmla="*/ 30 h 40"/>
                <a:gd name="T56" fmla="*/ 20 w 25"/>
                <a:gd name="T57" fmla="*/ 23 h 40"/>
                <a:gd name="T58" fmla="*/ 25 w 25"/>
                <a:gd name="T59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40">
                  <a:moveTo>
                    <a:pt x="25" y="13"/>
                  </a:moveTo>
                  <a:lnTo>
                    <a:pt x="22" y="12"/>
                  </a:lnTo>
                  <a:lnTo>
                    <a:pt x="20" y="13"/>
                  </a:lnTo>
                  <a:lnTo>
                    <a:pt x="19" y="9"/>
                  </a:lnTo>
                  <a:lnTo>
                    <a:pt x="20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6"/>
                  </a:lnTo>
                  <a:lnTo>
                    <a:pt x="8" y="4"/>
                  </a:lnTo>
                  <a:lnTo>
                    <a:pt x="7" y="7"/>
                  </a:lnTo>
                  <a:lnTo>
                    <a:pt x="7" y="12"/>
                  </a:lnTo>
                  <a:lnTo>
                    <a:pt x="8" y="13"/>
                  </a:lnTo>
                  <a:lnTo>
                    <a:pt x="6" y="18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7" y="28"/>
                  </a:lnTo>
                  <a:lnTo>
                    <a:pt x="3" y="24"/>
                  </a:lnTo>
                  <a:lnTo>
                    <a:pt x="2" y="28"/>
                  </a:lnTo>
                  <a:lnTo>
                    <a:pt x="2" y="32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2" y="40"/>
                  </a:lnTo>
                  <a:lnTo>
                    <a:pt x="3" y="32"/>
                  </a:lnTo>
                  <a:lnTo>
                    <a:pt x="6" y="35"/>
                  </a:lnTo>
                  <a:lnTo>
                    <a:pt x="3" y="40"/>
                  </a:lnTo>
                  <a:lnTo>
                    <a:pt x="8" y="37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20" y="23"/>
                  </a:lnTo>
                  <a:lnTo>
                    <a:pt x="25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7" name="Freeform 289"/>
            <p:cNvSpPr>
              <a:spLocks/>
            </p:cNvSpPr>
            <p:nvPr/>
          </p:nvSpPr>
          <p:spPr bwMode="auto">
            <a:xfrm>
              <a:off x="801688" y="2281238"/>
              <a:ext cx="22225" cy="14288"/>
            </a:xfrm>
            <a:custGeom>
              <a:avLst/>
              <a:gdLst>
                <a:gd name="T0" fmla="*/ 11 w 14"/>
                <a:gd name="T1" fmla="*/ 5 h 9"/>
                <a:gd name="T2" fmla="*/ 14 w 14"/>
                <a:gd name="T3" fmla="*/ 3 h 9"/>
                <a:gd name="T4" fmla="*/ 11 w 14"/>
                <a:gd name="T5" fmla="*/ 0 h 9"/>
                <a:gd name="T6" fmla="*/ 5 w 14"/>
                <a:gd name="T7" fmla="*/ 0 h 9"/>
                <a:gd name="T8" fmla="*/ 0 w 14"/>
                <a:gd name="T9" fmla="*/ 6 h 9"/>
                <a:gd name="T10" fmla="*/ 3 w 14"/>
                <a:gd name="T11" fmla="*/ 9 h 9"/>
                <a:gd name="T12" fmla="*/ 6 w 14"/>
                <a:gd name="T13" fmla="*/ 5 h 9"/>
                <a:gd name="T14" fmla="*/ 11 w 14"/>
                <a:gd name="T1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11" y="5"/>
                  </a:moveTo>
                  <a:lnTo>
                    <a:pt x="14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5"/>
                  </a:lnTo>
                  <a:lnTo>
                    <a:pt x="11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8" name="Freeform 290"/>
            <p:cNvSpPr>
              <a:spLocks/>
            </p:cNvSpPr>
            <p:nvPr/>
          </p:nvSpPr>
          <p:spPr bwMode="auto">
            <a:xfrm>
              <a:off x="6959601" y="3797300"/>
              <a:ext cx="919163" cy="485775"/>
            </a:xfrm>
            <a:custGeom>
              <a:avLst/>
              <a:gdLst>
                <a:gd name="T0" fmla="*/ 573 w 579"/>
                <a:gd name="T1" fmla="*/ 249 h 306"/>
                <a:gd name="T2" fmla="*/ 483 w 579"/>
                <a:gd name="T3" fmla="*/ 245 h 306"/>
                <a:gd name="T4" fmla="*/ 471 w 579"/>
                <a:gd name="T5" fmla="*/ 220 h 306"/>
                <a:gd name="T6" fmla="*/ 469 w 579"/>
                <a:gd name="T7" fmla="*/ 212 h 306"/>
                <a:gd name="T8" fmla="*/ 466 w 579"/>
                <a:gd name="T9" fmla="*/ 205 h 306"/>
                <a:gd name="T10" fmla="*/ 463 w 579"/>
                <a:gd name="T11" fmla="*/ 203 h 306"/>
                <a:gd name="T12" fmla="*/ 459 w 579"/>
                <a:gd name="T13" fmla="*/ 200 h 306"/>
                <a:gd name="T14" fmla="*/ 448 w 579"/>
                <a:gd name="T15" fmla="*/ 195 h 306"/>
                <a:gd name="T16" fmla="*/ 439 w 579"/>
                <a:gd name="T17" fmla="*/ 184 h 306"/>
                <a:gd name="T18" fmla="*/ 423 w 579"/>
                <a:gd name="T19" fmla="*/ 162 h 306"/>
                <a:gd name="T20" fmla="*/ 427 w 579"/>
                <a:gd name="T21" fmla="*/ 160 h 306"/>
                <a:gd name="T22" fmla="*/ 422 w 579"/>
                <a:gd name="T23" fmla="*/ 145 h 306"/>
                <a:gd name="T24" fmla="*/ 416 w 579"/>
                <a:gd name="T25" fmla="*/ 141 h 306"/>
                <a:gd name="T26" fmla="*/ 402 w 579"/>
                <a:gd name="T27" fmla="*/ 129 h 306"/>
                <a:gd name="T28" fmla="*/ 399 w 579"/>
                <a:gd name="T29" fmla="*/ 123 h 306"/>
                <a:gd name="T30" fmla="*/ 404 w 579"/>
                <a:gd name="T31" fmla="*/ 124 h 306"/>
                <a:gd name="T32" fmla="*/ 396 w 579"/>
                <a:gd name="T33" fmla="*/ 121 h 306"/>
                <a:gd name="T34" fmla="*/ 381 w 579"/>
                <a:gd name="T35" fmla="*/ 106 h 306"/>
                <a:gd name="T36" fmla="*/ 376 w 579"/>
                <a:gd name="T37" fmla="*/ 99 h 306"/>
                <a:gd name="T38" fmla="*/ 373 w 579"/>
                <a:gd name="T39" fmla="*/ 95 h 306"/>
                <a:gd name="T40" fmla="*/ 353 w 579"/>
                <a:gd name="T41" fmla="*/ 101 h 306"/>
                <a:gd name="T42" fmla="*/ 327 w 579"/>
                <a:gd name="T43" fmla="*/ 84 h 306"/>
                <a:gd name="T44" fmla="*/ 139 w 579"/>
                <a:gd name="T45" fmla="*/ 4 h 306"/>
                <a:gd name="T46" fmla="*/ 104 w 579"/>
                <a:gd name="T47" fmla="*/ 9 h 306"/>
                <a:gd name="T48" fmla="*/ 93 w 579"/>
                <a:gd name="T49" fmla="*/ 53 h 306"/>
                <a:gd name="T50" fmla="*/ 81 w 579"/>
                <a:gd name="T51" fmla="*/ 71 h 306"/>
                <a:gd name="T52" fmla="*/ 41 w 579"/>
                <a:gd name="T53" fmla="*/ 91 h 306"/>
                <a:gd name="T54" fmla="*/ 3 w 579"/>
                <a:gd name="T55" fmla="*/ 84 h 306"/>
                <a:gd name="T56" fmla="*/ 3 w 579"/>
                <a:gd name="T57" fmla="*/ 104 h 306"/>
                <a:gd name="T58" fmla="*/ 0 w 579"/>
                <a:gd name="T59" fmla="*/ 113 h 306"/>
                <a:gd name="T60" fmla="*/ 6 w 579"/>
                <a:gd name="T61" fmla="*/ 113 h 306"/>
                <a:gd name="T62" fmla="*/ 16 w 579"/>
                <a:gd name="T63" fmla="*/ 115 h 306"/>
                <a:gd name="T64" fmla="*/ 27 w 579"/>
                <a:gd name="T65" fmla="*/ 129 h 306"/>
                <a:gd name="T66" fmla="*/ 31 w 579"/>
                <a:gd name="T67" fmla="*/ 135 h 306"/>
                <a:gd name="T68" fmla="*/ 37 w 579"/>
                <a:gd name="T69" fmla="*/ 144 h 306"/>
                <a:gd name="T70" fmla="*/ 49 w 579"/>
                <a:gd name="T71" fmla="*/ 157 h 306"/>
                <a:gd name="T72" fmla="*/ 50 w 579"/>
                <a:gd name="T73" fmla="*/ 163 h 306"/>
                <a:gd name="T74" fmla="*/ 56 w 579"/>
                <a:gd name="T75" fmla="*/ 171 h 306"/>
                <a:gd name="T76" fmla="*/ 66 w 579"/>
                <a:gd name="T77" fmla="*/ 177 h 306"/>
                <a:gd name="T78" fmla="*/ 76 w 579"/>
                <a:gd name="T79" fmla="*/ 191 h 306"/>
                <a:gd name="T80" fmla="*/ 76 w 579"/>
                <a:gd name="T81" fmla="*/ 200 h 306"/>
                <a:gd name="T82" fmla="*/ 81 w 579"/>
                <a:gd name="T83" fmla="*/ 208 h 306"/>
                <a:gd name="T84" fmla="*/ 84 w 579"/>
                <a:gd name="T85" fmla="*/ 216 h 306"/>
                <a:gd name="T86" fmla="*/ 93 w 579"/>
                <a:gd name="T87" fmla="*/ 216 h 306"/>
                <a:gd name="T88" fmla="*/ 111 w 579"/>
                <a:gd name="T89" fmla="*/ 225 h 306"/>
                <a:gd name="T90" fmla="*/ 116 w 579"/>
                <a:gd name="T91" fmla="*/ 230 h 306"/>
                <a:gd name="T92" fmla="*/ 119 w 579"/>
                <a:gd name="T93" fmla="*/ 239 h 306"/>
                <a:gd name="T94" fmla="*/ 127 w 579"/>
                <a:gd name="T95" fmla="*/ 251 h 306"/>
                <a:gd name="T96" fmla="*/ 128 w 579"/>
                <a:gd name="T97" fmla="*/ 262 h 306"/>
                <a:gd name="T98" fmla="*/ 125 w 579"/>
                <a:gd name="T99" fmla="*/ 273 h 306"/>
                <a:gd name="T100" fmla="*/ 131 w 579"/>
                <a:gd name="T101" fmla="*/ 284 h 306"/>
                <a:gd name="T102" fmla="*/ 136 w 579"/>
                <a:gd name="T103" fmla="*/ 298 h 306"/>
                <a:gd name="T104" fmla="*/ 141 w 579"/>
                <a:gd name="T105" fmla="*/ 306 h 306"/>
                <a:gd name="T106" fmla="*/ 579 w 579"/>
                <a:gd name="T107" fmla="*/ 267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9" h="306">
                  <a:moveTo>
                    <a:pt x="579" y="267"/>
                  </a:moveTo>
                  <a:lnTo>
                    <a:pt x="573" y="249"/>
                  </a:lnTo>
                  <a:lnTo>
                    <a:pt x="564" y="256"/>
                  </a:lnTo>
                  <a:lnTo>
                    <a:pt x="483" y="245"/>
                  </a:lnTo>
                  <a:lnTo>
                    <a:pt x="477" y="227"/>
                  </a:lnTo>
                  <a:lnTo>
                    <a:pt x="471" y="220"/>
                  </a:lnTo>
                  <a:lnTo>
                    <a:pt x="471" y="211"/>
                  </a:lnTo>
                  <a:lnTo>
                    <a:pt x="469" y="212"/>
                  </a:lnTo>
                  <a:lnTo>
                    <a:pt x="465" y="206"/>
                  </a:lnTo>
                  <a:lnTo>
                    <a:pt x="466" y="205"/>
                  </a:lnTo>
                  <a:lnTo>
                    <a:pt x="469" y="203"/>
                  </a:lnTo>
                  <a:lnTo>
                    <a:pt x="463" y="203"/>
                  </a:lnTo>
                  <a:lnTo>
                    <a:pt x="463" y="200"/>
                  </a:lnTo>
                  <a:lnTo>
                    <a:pt x="459" y="200"/>
                  </a:lnTo>
                  <a:lnTo>
                    <a:pt x="449" y="197"/>
                  </a:lnTo>
                  <a:lnTo>
                    <a:pt x="448" y="195"/>
                  </a:lnTo>
                  <a:lnTo>
                    <a:pt x="442" y="189"/>
                  </a:lnTo>
                  <a:lnTo>
                    <a:pt x="439" y="184"/>
                  </a:lnTo>
                  <a:lnTo>
                    <a:pt x="427" y="168"/>
                  </a:lnTo>
                  <a:lnTo>
                    <a:pt x="423" y="162"/>
                  </a:lnTo>
                  <a:lnTo>
                    <a:pt x="427" y="162"/>
                  </a:lnTo>
                  <a:lnTo>
                    <a:pt x="427" y="160"/>
                  </a:lnTo>
                  <a:lnTo>
                    <a:pt x="422" y="149"/>
                  </a:lnTo>
                  <a:lnTo>
                    <a:pt x="422" y="145"/>
                  </a:lnTo>
                  <a:lnTo>
                    <a:pt x="417" y="141"/>
                  </a:lnTo>
                  <a:lnTo>
                    <a:pt x="416" y="141"/>
                  </a:lnTo>
                  <a:lnTo>
                    <a:pt x="405" y="129"/>
                  </a:lnTo>
                  <a:lnTo>
                    <a:pt x="402" y="129"/>
                  </a:lnTo>
                  <a:lnTo>
                    <a:pt x="398" y="124"/>
                  </a:lnTo>
                  <a:lnTo>
                    <a:pt x="399" y="123"/>
                  </a:lnTo>
                  <a:lnTo>
                    <a:pt x="402" y="123"/>
                  </a:lnTo>
                  <a:lnTo>
                    <a:pt x="404" y="124"/>
                  </a:lnTo>
                  <a:lnTo>
                    <a:pt x="402" y="121"/>
                  </a:lnTo>
                  <a:lnTo>
                    <a:pt x="396" y="121"/>
                  </a:lnTo>
                  <a:lnTo>
                    <a:pt x="387" y="118"/>
                  </a:lnTo>
                  <a:lnTo>
                    <a:pt x="381" y="106"/>
                  </a:lnTo>
                  <a:lnTo>
                    <a:pt x="379" y="101"/>
                  </a:lnTo>
                  <a:lnTo>
                    <a:pt x="376" y="99"/>
                  </a:lnTo>
                  <a:lnTo>
                    <a:pt x="376" y="95"/>
                  </a:lnTo>
                  <a:lnTo>
                    <a:pt x="373" y="95"/>
                  </a:lnTo>
                  <a:lnTo>
                    <a:pt x="371" y="93"/>
                  </a:lnTo>
                  <a:lnTo>
                    <a:pt x="353" y="101"/>
                  </a:lnTo>
                  <a:lnTo>
                    <a:pt x="352" y="91"/>
                  </a:lnTo>
                  <a:lnTo>
                    <a:pt x="327" y="84"/>
                  </a:lnTo>
                  <a:lnTo>
                    <a:pt x="270" y="84"/>
                  </a:lnTo>
                  <a:lnTo>
                    <a:pt x="139" y="4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64" y="20"/>
                  </a:lnTo>
                  <a:lnTo>
                    <a:pt x="93" y="53"/>
                  </a:lnTo>
                  <a:lnTo>
                    <a:pt x="83" y="64"/>
                  </a:lnTo>
                  <a:lnTo>
                    <a:pt x="81" y="71"/>
                  </a:lnTo>
                  <a:lnTo>
                    <a:pt x="61" y="74"/>
                  </a:lnTo>
                  <a:lnTo>
                    <a:pt x="41" y="91"/>
                  </a:lnTo>
                  <a:lnTo>
                    <a:pt x="12" y="84"/>
                  </a:lnTo>
                  <a:lnTo>
                    <a:pt x="3" y="84"/>
                  </a:lnTo>
                  <a:lnTo>
                    <a:pt x="3" y="93"/>
                  </a:lnTo>
                  <a:lnTo>
                    <a:pt x="3" y="104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4" y="112"/>
                  </a:lnTo>
                  <a:lnTo>
                    <a:pt x="6" y="113"/>
                  </a:lnTo>
                  <a:lnTo>
                    <a:pt x="10" y="112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27" y="129"/>
                  </a:lnTo>
                  <a:lnTo>
                    <a:pt x="27" y="132"/>
                  </a:lnTo>
                  <a:lnTo>
                    <a:pt x="31" y="135"/>
                  </a:lnTo>
                  <a:lnTo>
                    <a:pt x="31" y="140"/>
                  </a:lnTo>
                  <a:lnTo>
                    <a:pt x="37" y="144"/>
                  </a:lnTo>
                  <a:lnTo>
                    <a:pt x="41" y="144"/>
                  </a:lnTo>
                  <a:lnTo>
                    <a:pt x="49" y="157"/>
                  </a:lnTo>
                  <a:lnTo>
                    <a:pt x="49" y="160"/>
                  </a:lnTo>
                  <a:lnTo>
                    <a:pt x="50" y="163"/>
                  </a:lnTo>
                  <a:lnTo>
                    <a:pt x="56" y="166"/>
                  </a:lnTo>
                  <a:lnTo>
                    <a:pt x="56" y="171"/>
                  </a:lnTo>
                  <a:lnTo>
                    <a:pt x="61" y="175"/>
                  </a:lnTo>
                  <a:lnTo>
                    <a:pt x="66" y="177"/>
                  </a:lnTo>
                  <a:lnTo>
                    <a:pt x="72" y="188"/>
                  </a:lnTo>
                  <a:lnTo>
                    <a:pt x="76" y="191"/>
                  </a:lnTo>
                  <a:lnTo>
                    <a:pt x="77" y="199"/>
                  </a:lnTo>
                  <a:lnTo>
                    <a:pt x="76" y="200"/>
                  </a:lnTo>
                  <a:lnTo>
                    <a:pt x="76" y="205"/>
                  </a:lnTo>
                  <a:lnTo>
                    <a:pt x="81" y="208"/>
                  </a:lnTo>
                  <a:lnTo>
                    <a:pt x="81" y="212"/>
                  </a:lnTo>
                  <a:lnTo>
                    <a:pt x="84" y="216"/>
                  </a:lnTo>
                  <a:lnTo>
                    <a:pt x="88" y="212"/>
                  </a:lnTo>
                  <a:lnTo>
                    <a:pt x="93" y="216"/>
                  </a:lnTo>
                  <a:lnTo>
                    <a:pt x="104" y="220"/>
                  </a:lnTo>
                  <a:lnTo>
                    <a:pt x="111" y="225"/>
                  </a:lnTo>
                  <a:lnTo>
                    <a:pt x="113" y="230"/>
                  </a:lnTo>
                  <a:lnTo>
                    <a:pt x="116" y="230"/>
                  </a:lnTo>
                  <a:lnTo>
                    <a:pt x="116" y="236"/>
                  </a:lnTo>
                  <a:lnTo>
                    <a:pt x="119" y="239"/>
                  </a:lnTo>
                  <a:lnTo>
                    <a:pt x="122" y="247"/>
                  </a:lnTo>
                  <a:lnTo>
                    <a:pt x="127" y="251"/>
                  </a:lnTo>
                  <a:lnTo>
                    <a:pt x="128" y="261"/>
                  </a:lnTo>
                  <a:lnTo>
                    <a:pt x="128" y="262"/>
                  </a:lnTo>
                  <a:lnTo>
                    <a:pt x="127" y="272"/>
                  </a:lnTo>
                  <a:lnTo>
                    <a:pt x="125" y="273"/>
                  </a:lnTo>
                  <a:lnTo>
                    <a:pt x="127" y="278"/>
                  </a:lnTo>
                  <a:lnTo>
                    <a:pt x="131" y="284"/>
                  </a:lnTo>
                  <a:lnTo>
                    <a:pt x="131" y="293"/>
                  </a:lnTo>
                  <a:lnTo>
                    <a:pt x="136" y="298"/>
                  </a:lnTo>
                  <a:lnTo>
                    <a:pt x="136" y="301"/>
                  </a:lnTo>
                  <a:lnTo>
                    <a:pt x="141" y="306"/>
                  </a:lnTo>
                  <a:lnTo>
                    <a:pt x="576" y="306"/>
                  </a:lnTo>
                  <a:lnTo>
                    <a:pt x="579" y="26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9" name="Freeform 291"/>
            <p:cNvSpPr>
              <a:spLocks/>
            </p:cNvSpPr>
            <p:nvPr/>
          </p:nvSpPr>
          <p:spPr bwMode="auto">
            <a:xfrm>
              <a:off x="5199063" y="4110038"/>
              <a:ext cx="342900" cy="173038"/>
            </a:xfrm>
            <a:custGeom>
              <a:avLst/>
              <a:gdLst>
                <a:gd name="T0" fmla="*/ 215 w 216"/>
                <a:gd name="T1" fmla="*/ 106 h 109"/>
                <a:gd name="T2" fmla="*/ 34 w 216"/>
                <a:gd name="T3" fmla="*/ 0 h 109"/>
                <a:gd name="T4" fmla="*/ 0 w 216"/>
                <a:gd name="T5" fmla="*/ 0 h 109"/>
                <a:gd name="T6" fmla="*/ 11 w 216"/>
                <a:gd name="T7" fmla="*/ 109 h 109"/>
                <a:gd name="T8" fmla="*/ 216 w 216"/>
                <a:gd name="T9" fmla="*/ 109 h 109"/>
                <a:gd name="T10" fmla="*/ 215 w 216"/>
                <a:gd name="T11" fmla="*/ 10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6" h="109">
                  <a:moveTo>
                    <a:pt x="215" y="106"/>
                  </a:moveTo>
                  <a:lnTo>
                    <a:pt x="34" y="0"/>
                  </a:lnTo>
                  <a:lnTo>
                    <a:pt x="0" y="0"/>
                  </a:lnTo>
                  <a:lnTo>
                    <a:pt x="11" y="109"/>
                  </a:lnTo>
                  <a:lnTo>
                    <a:pt x="216" y="109"/>
                  </a:lnTo>
                  <a:lnTo>
                    <a:pt x="215" y="10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0" name="Freeform 292"/>
            <p:cNvSpPr>
              <a:spLocks/>
            </p:cNvSpPr>
            <p:nvPr/>
          </p:nvSpPr>
          <p:spPr bwMode="auto">
            <a:xfrm>
              <a:off x="5095876" y="3600450"/>
              <a:ext cx="884238" cy="682625"/>
            </a:xfrm>
            <a:custGeom>
              <a:avLst/>
              <a:gdLst>
                <a:gd name="T0" fmla="*/ 550 w 557"/>
                <a:gd name="T1" fmla="*/ 358 h 430"/>
                <a:gd name="T2" fmla="*/ 538 w 557"/>
                <a:gd name="T3" fmla="*/ 340 h 430"/>
                <a:gd name="T4" fmla="*/ 512 w 557"/>
                <a:gd name="T5" fmla="*/ 338 h 430"/>
                <a:gd name="T6" fmla="*/ 504 w 557"/>
                <a:gd name="T7" fmla="*/ 327 h 430"/>
                <a:gd name="T8" fmla="*/ 502 w 557"/>
                <a:gd name="T9" fmla="*/ 310 h 430"/>
                <a:gd name="T10" fmla="*/ 489 w 557"/>
                <a:gd name="T11" fmla="*/ 292 h 430"/>
                <a:gd name="T12" fmla="*/ 489 w 557"/>
                <a:gd name="T13" fmla="*/ 284 h 430"/>
                <a:gd name="T14" fmla="*/ 497 w 557"/>
                <a:gd name="T15" fmla="*/ 268 h 430"/>
                <a:gd name="T16" fmla="*/ 498 w 557"/>
                <a:gd name="T17" fmla="*/ 248 h 430"/>
                <a:gd name="T18" fmla="*/ 495 w 557"/>
                <a:gd name="T19" fmla="*/ 226 h 430"/>
                <a:gd name="T20" fmla="*/ 489 w 557"/>
                <a:gd name="T21" fmla="*/ 194 h 430"/>
                <a:gd name="T22" fmla="*/ 489 w 557"/>
                <a:gd name="T23" fmla="*/ 183 h 430"/>
                <a:gd name="T24" fmla="*/ 460 w 557"/>
                <a:gd name="T25" fmla="*/ 125 h 430"/>
                <a:gd name="T26" fmla="*/ 449 w 557"/>
                <a:gd name="T27" fmla="*/ 114 h 430"/>
                <a:gd name="T28" fmla="*/ 436 w 557"/>
                <a:gd name="T29" fmla="*/ 103 h 430"/>
                <a:gd name="T30" fmla="*/ 431 w 557"/>
                <a:gd name="T31" fmla="*/ 94 h 430"/>
                <a:gd name="T32" fmla="*/ 445 w 557"/>
                <a:gd name="T33" fmla="*/ 74 h 430"/>
                <a:gd name="T34" fmla="*/ 453 w 557"/>
                <a:gd name="T35" fmla="*/ 61 h 430"/>
                <a:gd name="T36" fmla="*/ 455 w 557"/>
                <a:gd name="T37" fmla="*/ 52 h 430"/>
                <a:gd name="T38" fmla="*/ 453 w 557"/>
                <a:gd name="T39" fmla="*/ 44 h 430"/>
                <a:gd name="T40" fmla="*/ 455 w 557"/>
                <a:gd name="T41" fmla="*/ 18 h 430"/>
                <a:gd name="T42" fmla="*/ 457 w 557"/>
                <a:gd name="T43" fmla="*/ 5 h 430"/>
                <a:gd name="T44" fmla="*/ 443 w 557"/>
                <a:gd name="T45" fmla="*/ 3 h 430"/>
                <a:gd name="T46" fmla="*/ 417 w 557"/>
                <a:gd name="T47" fmla="*/ 0 h 430"/>
                <a:gd name="T48" fmla="*/ 403 w 557"/>
                <a:gd name="T49" fmla="*/ 5 h 430"/>
                <a:gd name="T50" fmla="*/ 391 w 557"/>
                <a:gd name="T51" fmla="*/ 0 h 430"/>
                <a:gd name="T52" fmla="*/ 382 w 557"/>
                <a:gd name="T53" fmla="*/ 9 h 430"/>
                <a:gd name="T54" fmla="*/ 369 w 557"/>
                <a:gd name="T55" fmla="*/ 10 h 430"/>
                <a:gd name="T56" fmla="*/ 351 w 557"/>
                <a:gd name="T57" fmla="*/ 5 h 430"/>
                <a:gd name="T58" fmla="*/ 335 w 557"/>
                <a:gd name="T59" fmla="*/ 5 h 430"/>
                <a:gd name="T60" fmla="*/ 324 w 557"/>
                <a:gd name="T61" fmla="*/ 5 h 430"/>
                <a:gd name="T62" fmla="*/ 310 w 557"/>
                <a:gd name="T63" fmla="*/ 7 h 430"/>
                <a:gd name="T64" fmla="*/ 293 w 557"/>
                <a:gd name="T65" fmla="*/ 10 h 430"/>
                <a:gd name="T66" fmla="*/ 270 w 557"/>
                <a:gd name="T67" fmla="*/ 13 h 430"/>
                <a:gd name="T68" fmla="*/ 245 w 557"/>
                <a:gd name="T69" fmla="*/ 22 h 430"/>
                <a:gd name="T70" fmla="*/ 235 w 557"/>
                <a:gd name="T71" fmla="*/ 33 h 430"/>
                <a:gd name="T72" fmla="*/ 226 w 557"/>
                <a:gd name="T73" fmla="*/ 31 h 430"/>
                <a:gd name="T74" fmla="*/ 213 w 557"/>
                <a:gd name="T75" fmla="*/ 36 h 430"/>
                <a:gd name="T76" fmla="*/ 201 w 557"/>
                <a:gd name="T77" fmla="*/ 44 h 430"/>
                <a:gd name="T78" fmla="*/ 181 w 557"/>
                <a:gd name="T79" fmla="*/ 53 h 430"/>
                <a:gd name="T80" fmla="*/ 189 w 557"/>
                <a:gd name="T81" fmla="*/ 63 h 430"/>
                <a:gd name="T82" fmla="*/ 190 w 557"/>
                <a:gd name="T83" fmla="*/ 75 h 430"/>
                <a:gd name="T84" fmla="*/ 192 w 557"/>
                <a:gd name="T85" fmla="*/ 106 h 430"/>
                <a:gd name="T86" fmla="*/ 201 w 557"/>
                <a:gd name="T87" fmla="*/ 120 h 430"/>
                <a:gd name="T88" fmla="*/ 212 w 557"/>
                <a:gd name="T89" fmla="*/ 123 h 430"/>
                <a:gd name="T90" fmla="*/ 204 w 557"/>
                <a:gd name="T91" fmla="*/ 137 h 430"/>
                <a:gd name="T92" fmla="*/ 158 w 557"/>
                <a:gd name="T93" fmla="*/ 147 h 430"/>
                <a:gd name="T94" fmla="*/ 150 w 557"/>
                <a:gd name="T95" fmla="*/ 166 h 430"/>
                <a:gd name="T96" fmla="*/ 100 w 557"/>
                <a:gd name="T97" fmla="*/ 198 h 430"/>
                <a:gd name="T98" fmla="*/ 55 w 557"/>
                <a:gd name="T99" fmla="*/ 210 h 430"/>
                <a:gd name="T100" fmla="*/ 26 w 557"/>
                <a:gd name="T101" fmla="*/ 214 h 430"/>
                <a:gd name="T102" fmla="*/ 0 w 557"/>
                <a:gd name="T103" fmla="*/ 234 h 430"/>
                <a:gd name="T104" fmla="*/ 101 w 557"/>
                <a:gd name="T105" fmla="*/ 321 h 430"/>
                <a:gd name="T106" fmla="*/ 436 w 557"/>
                <a:gd name="T107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57" h="430">
                  <a:moveTo>
                    <a:pt x="557" y="363"/>
                  </a:moveTo>
                  <a:lnTo>
                    <a:pt x="554" y="362"/>
                  </a:lnTo>
                  <a:lnTo>
                    <a:pt x="550" y="358"/>
                  </a:lnTo>
                  <a:lnTo>
                    <a:pt x="548" y="357"/>
                  </a:lnTo>
                  <a:lnTo>
                    <a:pt x="543" y="346"/>
                  </a:lnTo>
                  <a:lnTo>
                    <a:pt x="538" y="340"/>
                  </a:lnTo>
                  <a:lnTo>
                    <a:pt x="532" y="338"/>
                  </a:lnTo>
                  <a:lnTo>
                    <a:pt x="523" y="338"/>
                  </a:lnTo>
                  <a:lnTo>
                    <a:pt x="512" y="338"/>
                  </a:lnTo>
                  <a:lnTo>
                    <a:pt x="508" y="335"/>
                  </a:lnTo>
                  <a:lnTo>
                    <a:pt x="508" y="330"/>
                  </a:lnTo>
                  <a:lnTo>
                    <a:pt x="504" y="327"/>
                  </a:lnTo>
                  <a:lnTo>
                    <a:pt x="504" y="319"/>
                  </a:lnTo>
                  <a:lnTo>
                    <a:pt x="504" y="318"/>
                  </a:lnTo>
                  <a:lnTo>
                    <a:pt x="502" y="310"/>
                  </a:lnTo>
                  <a:lnTo>
                    <a:pt x="500" y="310"/>
                  </a:lnTo>
                  <a:lnTo>
                    <a:pt x="497" y="299"/>
                  </a:lnTo>
                  <a:lnTo>
                    <a:pt x="489" y="292"/>
                  </a:lnTo>
                  <a:lnTo>
                    <a:pt x="485" y="288"/>
                  </a:lnTo>
                  <a:lnTo>
                    <a:pt x="486" y="287"/>
                  </a:lnTo>
                  <a:lnTo>
                    <a:pt x="489" y="284"/>
                  </a:lnTo>
                  <a:lnTo>
                    <a:pt x="497" y="281"/>
                  </a:lnTo>
                  <a:lnTo>
                    <a:pt x="498" y="277"/>
                  </a:lnTo>
                  <a:lnTo>
                    <a:pt x="497" y="268"/>
                  </a:lnTo>
                  <a:lnTo>
                    <a:pt x="495" y="262"/>
                  </a:lnTo>
                  <a:lnTo>
                    <a:pt x="495" y="260"/>
                  </a:lnTo>
                  <a:lnTo>
                    <a:pt x="498" y="248"/>
                  </a:lnTo>
                  <a:lnTo>
                    <a:pt x="495" y="240"/>
                  </a:lnTo>
                  <a:lnTo>
                    <a:pt x="492" y="226"/>
                  </a:lnTo>
                  <a:lnTo>
                    <a:pt x="495" y="226"/>
                  </a:lnTo>
                  <a:lnTo>
                    <a:pt x="492" y="216"/>
                  </a:lnTo>
                  <a:lnTo>
                    <a:pt x="492" y="199"/>
                  </a:lnTo>
                  <a:lnTo>
                    <a:pt x="489" y="194"/>
                  </a:lnTo>
                  <a:lnTo>
                    <a:pt x="486" y="192"/>
                  </a:lnTo>
                  <a:lnTo>
                    <a:pt x="486" y="184"/>
                  </a:lnTo>
                  <a:lnTo>
                    <a:pt x="489" y="183"/>
                  </a:lnTo>
                  <a:lnTo>
                    <a:pt x="471" y="133"/>
                  </a:lnTo>
                  <a:lnTo>
                    <a:pt x="464" y="128"/>
                  </a:lnTo>
                  <a:lnTo>
                    <a:pt x="460" y="125"/>
                  </a:lnTo>
                  <a:lnTo>
                    <a:pt x="459" y="123"/>
                  </a:lnTo>
                  <a:lnTo>
                    <a:pt x="451" y="122"/>
                  </a:lnTo>
                  <a:lnTo>
                    <a:pt x="449" y="114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6" y="103"/>
                  </a:lnTo>
                  <a:lnTo>
                    <a:pt x="437" y="101"/>
                  </a:lnTo>
                  <a:lnTo>
                    <a:pt x="434" y="94"/>
                  </a:lnTo>
                  <a:lnTo>
                    <a:pt x="431" y="94"/>
                  </a:lnTo>
                  <a:lnTo>
                    <a:pt x="436" y="81"/>
                  </a:lnTo>
                  <a:lnTo>
                    <a:pt x="442" y="75"/>
                  </a:lnTo>
                  <a:lnTo>
                    <a:pt x="445" y="74"/>
                  </a:lnTo>
                  <a:lnTo>
                    <a:pt x="447" y="70"/>
                  </a:lnTo>
                  <a:lnTo>
                    <a:pt x="451" y="68"/>
                  </a:lnTo>
                  <a:lnTo>
                    <a:pt x="453" y="61"/>
                  </a:lnTo>
                  <a:lnTo>
                    <a:pt x="455" y="58"/>
                  </a:lnTo>
                  <a:lnTo>
                    <a:pt x="451" y="55"/>
                  </a:lnTo>
                  <a:lnTo>
                    <a:pt x="455" y="52"/>
                  </a:lnTo>
                  <a:lnTo>
                    <a:pt x="457" y="50"/>
                  </a:lnTo>
                  <a:lnTo>
                    <a:pt x="457" y="47"/>
                  </a:lnTo>
                  <a:lnTo>
                    <a:pt x="453" y="44"/>
                  </a:lnTo>
                  <a:lnTo>
                    <a:pt x="451" y="36"/>
                  </a:lnTo>
                  <a:lnTo>
                    <a:pt x="455" y="25"/>
                  </a:lnTo>
                  <a:lnTo>
                    <a:pt x="455" y="18"/>
                  </a:lnTo>
                  <a:lnTo>
                    <a:pt x="457" y="10"/>
                  </a:lnTo>
                  <a:lnTo>
                    <a:pt x="455" y="9"/>
                  </a:lnTo>
                  <a:lnTo>
                    <a:pt x="457" y="5"/>
                  </a:lnTo>
                  <a:lnTo>
                    <a:pt x="455" y="3"/>
                  </a:lnTo>
                  <a:lnTo>
                    <a:pt x="447" y="5"/>
                  </a:lnTo>
                  <a:lnTo>
                    <a:pt x="443" y="3"/>
                  </a:lnTo>
                  <a:lnTo>
                    <a:pt x="431" y="7"/>
                  </a:lnTo>
                  <a:lnTo>
                    <a:pt x="425" y="2"/>
                  </a:lnTo>
                  <a:lnTo>
                    <a:pt x="417" y="0"/>
                  </a:lnTo>
                  <a:lnTo>
                    <a:pt x="417" y="2"/>
                  </a:lnTo>
                  <a:lnTo>
                    <a:pt x="413" y="7"/>
                  </a:lnTo>
                  <a:lnTo>
                    <a:pt x="403" y="5"/>
                  </a:lnTo>
                  <a:lnTo>
                    <a:pt x="402" y="2"/>
                  </a:lnTo>
                  <a:lnTo>
                    <a:pt x="397" y="0"/>
                  </a:lnTo>
                  <a:lnTo>
                    <a:pt x="391" y="0"/>
                  </a:lnTo>
                  <a:lnTo>
                    <a:pt x="391" y="3"/>
                  </a:lnTo>
                  <a:lnTo>
                    <a:pt x="386" y="5"/>
                  </a:lnTo>
                  <a:lnTo>
                    <a:pt x="382" y="9"/>
                  </a:lnTo>
                  <a:lnTo>
                    <a:pt x="379" y="7"/>
                  </a:lnTo>
                  <a:lnTo>
                    <a:pt x="375" y="7"/>
                  </a:lnTo>
                  <a:lnTo>
                    <a:pt x="369" y="10"/>
                  </a:lnTo>
                  <a:lnTo>
                    <a:pt x="363" y="10"/>
                  </a:lnTo>
                  <a:lnTo>
                    <a:pt x="360" y="5"/>
                  </a:lnTo>
                  <a:lnTo>
                    <a:pt x="351" y="5"/>
                  </a:lnTo>
                  <a:lnTo>
                    <a:pt x="348" y="5"/>
                  </a:lnTo>
                  <a:lnTo>
                    <a:pt x="341" y="5"/>
                  </a:lnTo>
                  <a:lnTo>
                    <a:pt x="335" y="5"/>
                  </a:lnTo>
                  <a:lnTo>
                    <a:pt x="333" y="5"/>
                  </a:lnTo>
                  <a:lnTo>
                    <a:pt x="327" y="3"/>
                  </a:lnTo>
                  <a:lnTo>
                    <a:pt x="324" y="5"/>
                  </a:lnTo>
                  <a:lnTo>
                    <a:pt x="321" y="9"/>
                  </a:lnTo>
                  <a:lnTo>
                    <a:pt x="316" y="9"/>
                  </a:lnTo>
                  <a:lnTo>
                    <a:pt x="310" y="7"/>
                  </a:lnTo>
                  <a:lnTo>
                    <a:pt x="302" y="14"/>
                  </a:lnTo>
                  <a:lnTo>
                    <a:pt x="299" y="14"/>
                  </a:lnTo>
                  <a:lnTo>
                    <a:pt x="293" y="10"/>
                  </a:lnTo>
                  <a:lnTo>
                    <a:pt x="287" y="13"/>
                  </a:lnTo>
                  <a:lnTo>
                    <a:pt x="276" y="13"/>
                  </a:lnTo>
                  <a:lnTo>
                    <a:pt x="270" y="13"/>
                  </a:lnTo>
                  <a:lnTo>
                    <a:pt x="256" y="22"/>
                  </a:lnTo>
                  <a:lnTo>
                    <a:pt x="250" y="22"/>
                  </a:lnTo>
                  <a:lnTo>
                    <a:pt x="245" y="22"/>
                  </a:lnTo>
                  <a:lnTo>
                    <a:pt x="238" y="25"/>
                  </a:lnTo>
                  <a:lnTo>
                    <a:pt x="238" y="29"/>
                  </a:lnTo>
                  <a:lnTo>
                    <a:pt x="235" y="33"/>
                  </a:lnTo>
                  <a:lnTo>
                    <a:pt x="232" y="33"/>
                  </a:lnTo>
                  <a:lnTo>
                    <a:pt x="230" y="31"/>
                  </a:lnTo>
                  <a:lnTo>
                    <a:pt x="226" y="31"/>
                  </a:lnTo>
                  <a:lnTo>
                    <a:pt x="223" y="33"/>
                  </a:lnTo>
                  <a:lnTo>
                    <a:pt x="221" y="36"/>
                  </a:lnTo>
                  <a:lnTo>
                    <a:pt x="213" y="36"/>
                  </a:lnTo>
                  <a:lnTo>
                    <a:pt x="207" y="38"/>
                  </a:lnTo>
                  <a:lnTo>
                    <a:pt x="204" y="42"/>
                  </a:lnTo>
                  <a:lnTo>
                    <a:pt x="201" y="44"/>
                  </a:lnTo>
                  <a:lnTo>
                    <a:pt x="198" y="50"/>
                  </a:lnTo>
                  <a:lnTo>
                    <a:pt x="189" y="52"/>
                  </a:lnTo>
                  <a:lnTo>
                    <a:pt x="181" y="53"/>
                  </a:lnTo>
                  <a:lnTo>
                    <a:pt x="183" y="55"/>
                  </a:lnTo>
                  <a:lnTo>
                    <a:pt x="185" y="58"/>
                  </a:lnTo>
                  <a:lnTo>
                    <a:pt x="189" y="63"/>
                  </a:lnTo>
                  <a:lnTo>
                    <a:pt x="189" y="66"/>
                  </a:lnTo>
                  <a:lnTo>
                    <a:pt x="189" y="68"/>
                  </a:lnTo>
                  <a:lnTo>
                    <a:pt x="190" y="75"/>
                  </a:lnTo>
                  <a:lnTo>
                    <a:pt x="190" y="85"/>
                  </a:lnTo>
                  <a:lnTo>
                    <a:pt x="190" y="89"/>
                  </a:lnTo>
                  <a:lnTo>
                    <a:pt x="192" y="106"/>
                  </a:lnTo>
                  <a:lnTo>
                    <a:pt x="196" y="114"/>
                  </a:lnTo>
                  <a:lnTo>
                    <a:pt x="198" y="120"/>
                  </a:lnTo>
                  <a:lnTo>
                    <a:pt x="201" y="120"/>
                  </a:lnTo>
                  <a:lnTo>
                    <a:pt x="206" y="122"/>
                  </a:lnTo>
                  <a:lnTo>
                    <a:pt x="207" y="122"/>
                  </a:lnTo>
                  <a:lnTo>
                    <a:pt x="212" y="123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4" y="137"/>
                  </a:lnTo>
                  <a:lnTo>
                    <a:pt x="171" y="137"/>
                  </a:lnTo>
                  <a:lnTo>
                    <a:pt x="166" y="138"/>
                  </a:lnTo>
                  <a:lnTo>
                    <a:pt x="158" y="147"/>
                  </a:lnTo>
                  <a:lnTo>
                    <a:pt x="152" y="151"/>
                  </a:lnTo>
                  <a:lnTo>
                    <a:pt x="150" y="156"/>
                  </a:lnTo>
                  <a:lnTo>
                    <a:pt x="150" y="166"/>
                  </a:lnTo>
                  <a:lnTo>
                    <a:pt x="149" y="170"/>
                  </a:lnTo>
                  <a:lnTo>
                    <a:pt x="130" y="181"/>
                  </a:lnTo>
                  <a:lnTo>
                    <a:pt x="100" y="198"/>
                  </a:lnTo>
                  <a:lnTo>
                    <a:pt x="76" y="209"/>
                  </a:lnTo>
                  <a:lnTo>
                    <a:pt x="65" y="210"/>
                  </a:lnTo>
                  <a:lnTo>
                    <a:pt x="55" y="210"/>
                  </a:lnTo>
                  <a:lnTo>
                    <a:pt x="49" y="212"/>
                  </a:lnTo>
                  <a:lnTo>
                    <a:pt x="42" y="212"/>
                  </a:lnTo>
                  <a:lnTo>
                    <a:pt x="26" y="214"/>
                  </a:lnTo>
                  <a:lnTo>
                    <a:pt x="20" y="220"/>
                  </a:lnTo>
                  <a:lnTo>
                    <a:pt x="14" y="226"/>
                  </a:lnTo>
                  <a:lnTo>
                    <a:pt x="0" y="234"/>
                  </a:lnTo>
                  <a:lnTo>
                    <a:pt x="0" y="254"/>
                  </a:lnTo>
                  <a:lnTo>
                    <a:pt x="0" y="262"/>
                  </a:lnTo>
                  <a:lnTo>
                    <a:pt x="101" y="321"/>
                  </a:lnTo>
                  <a:lnTo>
                    <a:pt x="281" y="427"/>
                  </a:lnTo>
                  <a:lnTo>
                    <a:pt x="283" y="430"/>
                  </a:lnTo>
                  <a:lnTo>
                    <a:pt x="436" y="430"/>
                  </a:lnTo>
                  <a:lnTo>
                    <a:pt x="557" y="36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1" name="Freeform 293"/>
            <p:cNvSpPr>
              <a:spLocks/>
            </p:cNvSpPr>
            <p:nvPr/>
          </p:nvSpPr>
          <p:spPr bwMode="auto">
            <a:xfrm>
              <a:off x="5862638" y="3770313"/>
              <a:ext cx="688975" cy="512763"/>
            </a:xfrm>
            <a:custGeom>
              <a:avLst/>
              <a:gdLst>
                <a:gd name="T0" fmla="*/ 434 w 434"/>
                <a:gd name="T1" fmla="*/ 323 h 323"/>
                <a:gd name="T2" fmla="*/ 419 w 434"/>
                <a:gd name="T3" fmla="*/ 87 h 323"/>
                <a:gd name="T4" fmla="*/ 419 w 434"/>
                <a:gd name="T5" fmla="*/ 74 h 323"/>
                <a:gd name="T6" fmla="*/ 423 w 434"/>
                <a:gd name="T7" fmla="*/ 59 h 323"/>
                <a:gd name="T8" fmla="*/ 420 w 434"/>
                <a:gd name="T9" fmla="*/ 43 h 323"/>
                <a:gd name="T10" fmla="*/ 420 w 434"/>
                <a:gd name="T11" fmla="*/ 31 h 323"/>
                <a:gd name="T12" fmla="*/ 412 w 434"/>
                <a:gd name="T13" fmla="*/ 27 h 323"/>
                <a:gd name="T14" fmla="*/ 388 w 434"/>
                <a:gd name="T15" fmla="*/ 26 h 323"/>
                <a:gd name="T16" fmla="*/ 377 w 434"/>
                <a:gd name="T17" fmla="*/ 22 h 323"/>
                <a:gd name="T18" fmla="*/ 365 w 434"/>
                <a:gd name="T19" fmla="*/ 16 h 323"/>
                <a:gd name="T20" fmla="*/ 368 w 434"/>
                <a:gd name="T21" fmla="*/ 13 h 323"/>
                <a:gd name="T22" fmla="*/ 348 w 434"/>
                <a:gd name="T23" fmla="*/ 7 h 323"/>
                <a:gd name="T24" fmla="*/ 337 w 434"/>
                <a:gd name="T25" fmla="*/ 4 h 323"/>
                <a:gd name="T26" fmla="*/ 327 w 434"/>
                <a:gd name="T27" fmla="*/ 4 h 323"/>
                <a:gd name="T28" fmla="*/ 318 w 434"/>
                <a:gd name="T29" fmla="*/ 7 h 323"/>
                <a:gd name="T30" fmla="*/ 291 w 434"/>
                <a:gd name="T31" fmla="*/ 15 h 323"/>
                <a:gd name="T32" fmla="*/ 284 w 434"/>
                <a:gd name="T33" fmla="*/ 26 h 323"/>
                <a:gd name="T34" fmla="*/ 279 w 434"/>
                <a:gd name="T35" fmla="*/ 40 h 323"/>
                <a:gd name="T36" fmla="*/ 287 w 434"/>
                <a:gd name="T37" fmla="*/ 57 h 323"/>
                <a:gd name="T38" fmla="*/ 278 w 434"/>
                <a:gd name="T39" fmla="*/ 70 h 323"/>
                <a:gd name="T40" fmla="*/ 267 w 434"/>
                <a:gd name="T41" fmla="*/ 79 h 323"/>
                <a:gd name="T42" fmla="*/ 249 w 434"/>
                <a:gd name="T43" fmla="*/ 77 h 323"/>
                <a:gd name="T44" fmla="*/ 229 w 434"/>
                <a:gd name="T45" fmla="*/ 62 h 323"/>
                <a:gd name="T46" fmla="*/ 198 w 434"/>
                <a:gd name="T47" fmla="*/ 49 h 323"/>
                <a:gd name="T48" fmla="*/ 183 w 434"/>
                <a:gd name="T49" fmla="*/ 49 h 323"/>
                <a:gd name="T50" fmla="*/ 165 w 434"/>
                <a:gd name="T51" fmla="*/ 46 h 323"/>
                <a:gd name="T52" fmla="*/ 155 w 434"/>
                <a:gd name="T53" fmla="*/ 24 h 323"/>
                <a:gd name="T54" fmla="*/ 131 w 434"/>
                <a:gd name="T55" fmla="*/ 13 h 323"/>
                <a:gd name="T56" fmla="*/ 105 w 434"/>
                <a:gd name="T57" fmla="*/ 7 h 323"/>
                <a:gd name="T58" fmla="*/ 79 w 434"/>
                <a:gd name="T59" fmla="*/ 7 h 323"/>
                <a:gd name="T60" fmla="*/ 59 w 434"/>
                <a:gd name="T61" fmla="*/ 1 h 323"/>
                <a:gd name="T62" fmla="*/ 52 w 434"/>
                <a:gd name="T63" fmla="*/ 1 h 323"/>
                <a:gd name="T64" fmla="*/ 56 w 434"/>
                <a:gd name="T65" fmla="*/ 13 h 323"/>
                <a:gd name="T66" fmla="*/ 33 w 434"/>
                <a:gd name="T67" fmla="*/ 31 h 323"/>
                <a:gd name="T68" fmla="*/ 29 w 434"/>
                <a:gd name="T69" fmla="*/ 38 h 323"/>
                <a:gd name="T70" fmla="*/ 18 w 434"/>
                <a:gd name="T71" fmla="*/ 43 h 323"/>
                <a:gd name="T72" fmla="*/ 18 w 434"/>
                <a:gd name="T73" fmla="*/ 48 h 323"/>
                <a:gd name="T74" fmla="*/ 19 w 434"/>
                <a:gd name="T75" fmla="*/ 60 h 323"/>
                <a:gd name="T76" fmla="*/ 19 w 434"/>
                <a:gd name="T77" fmla="*/ 65 h 323"/>
                <a:gd name="T78" fmla="*/ 13 w 434"/>
                <a:gd name="T79" fmla="*/ 71 h 323"/>
                <a:gd name="T80" fmla="*/ 8 w 434"/>
                <a:gd name="T81" fmla="*/ 76 h 323"/>
                <a:gd name="T82" fmla="*/ 2 w 434"/>
                <a:gd name="T83" fmla="*/ 77 h 323"/>
                <a:gd name="T84" fmla="*/ 4 w 434"/>
                <a:gd name="T85" fmla="*/ 87 h 323"/>
                <a:gd name="T86" fmla="*/ 8 w 434"/>
                <a:gd name="T87" fmla="*/ 108 h 323"/>
                <a:gd name="T88" fmla="*/ 8 w 434"/>
                <a:gd name="T89" fmla="*/ 119 h 323"/>
                <a:gd name="T90" fmla="*/ 13 w 434"/>
                <a:gd name="T91" fmla="*/ 140 h 323"/>
                <a:gd name="T92" fmla="*/ 10 w 434"/>
                <a:gd name="T93" fmla="*/ 155 h 323"/>
                <a:gd name="T94" fmla="*/ 13 w 434"/>
                <a:gd name="T95" fmla="*/ 169 h 323"/>
                <a:gd name="T96" fmla="*/ 4 w 434"/>
                <a:gd name="T97" fmla="*/ 177 h 323"/>
                <a:gd name="T98" fmla="*/ 0 w 434"/>
                <a:gd name="T99" fmla="*/ 180 h 323"/>
                <a:gd name="T100" fmla="*/ 12 w 434"/>
                <a:gd name="T101" fmla="*/ 191 h 323"/>
                <a:gd name="T102" fmla="*/ 18 w 434"/>
                <a:gd name="T103" fmla="*/ 202 h 323"/>
                <a:gd name="T104" fmla="*/ 19 w 434"/>
                <a:gd name="T105" fmla="*/ 211 h 323"/>
                <a:gd name="T106" fmla="*/ 24 w 434"/>
                <a:gd name="T107" fmla="*/ 222 h 323"/>
                <a:gd name="T108" fmla="*/ 27 w 434"/>
                <a:gd name="T109" fmla="*/ 230 h 323"/>
                <a:gd name="T110" fmla="*/ 48 w 434"/>
                <a:gd name="T111" fmla="*/ 230 h 323"/>
                <a:gd name="T112" fmla="*/ 58 w 434"/>
                <a:gd name="T113" fmla="*/ 238 h 323"/>
                <a:gd name="T114" fmla="*/ 65 w 434"/>
                <a:gd name="T115" fmla="*/ 250 h 323"/>
                <a:gd name="T116" fmla="*/ 73 w 434"/>
                <a:gd name="T117" fmla="*/ 255 h 323"/>
                <a:gd name="T118" fmla="*/ 126 w 434"/>
                <a:gd name="T119" fmla="*/ 272 h 323"/>
                <a:gd name="T120" fmla="*/ 348 w 434"/>
                <a:gd name="T121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" h="323">
                  <a:moveTo>
                    <a:pt x="348" y="323"/>
                  </a:moveTo>
                  <a:lnTo>
                    <a:pt x="434" y="323"/>
                  </a:lnTo>
                  <a:lnTo>
                    <a:pt x="420" y="99"/>
                  </a:lnTo>
                  <a:lnTo>
                    <a:pt x="419" y="87"/>
                  </a:lnTo>
                  <a:lnTo>
                    <a:pt x="415" y="82"/>
                  </a:lnTo>
                  <a:lnTo>
                    <a:pt x="419" y="74"/>
                  </a:lnTo>
                  <a:lnTo>
                    <a:pt x="423" y="65"/>
                  </a:lnTo>
                  <a:lnTo>
                    <a:pt x="423" y="59"/>
                  </a:lnTo>
                  <a:lnTo>
                    <a:pt x="419" y="53"/>
                  </a:lnTo>
                  <a:lnTo>
                    <a:pt x="420" y="43"/>
                  </a:lnTo>
                  <a:lnTo>
                    <a:pt x="423" y="38"/>
                  </a:lnTo>
                  <a:lnTo>
                    <a:pt x="420" y="31"/>
                  </a:lnTo>
                  <a:lnTo>
                    <a:pt x="417" y="27"/>
                  </a:lnTo>
                  <a:lnTo>
                    <a:pt x="412" y="27"/>
                  </a:lnTo>
                  <a:lnTo>
                    <a:pt x="408" y="27"/>
                  </a:lnTo>
                  <a:lnTo>
                    <a:pt x="388" y="26"/>
                  </a:lnTo>
                  <a:lnTo>
                    <a:pt x="385" y="22"/>
                  </a:lnTo>
                  <a:lnTo>
                    <a:pt x="377" y="22"/>
                  </a:lnTo>
                  <a:lnTo>
                    <a:pt x="368" y="21"/>
                  </a:lnTo>
                  <a:lnTo>
                    <a:pt x="365" y="16"/>
                  </a:lnTo>
                  <a:lnTo>
                    <a:pt x="368" y="16"/>
                  </a:lnTo>
                  <a:lnTo>
                    <a:pt x="368" y="13"/>
                  </a:lnTo>
                  <a:lnTo>
                    <a:pt x="354" y="7"/>
                  </a:lnTo>
                  <a:lnTo>
                    <a:pt x="348" y="7"/>
                  </a:lnTo>
                  <a:lnTo>
                    <a:pt x="339" y="5"/>
                  </a:lnTo>
                  <a:lnTo>
                    <a:pt x="337" y="4"/>
                  </a:lnTo>
                  <a:lnTo>
                    <a:pt x="333" y="7"/>
                  </a:lnTo>
                  <a:lnTo>
                    <a:pt x="327" y="4"/>
                  </a:lnTo>
                  <a:lnTo>
                    <a:pt x="325" y="4"/>
                  </a:lnTo>
                  <a:lnTo>
                    <a:pt x="318" y="7"/>
                  </a:lnTo>
                  <a:lnTo>
                    <a:pt x="305" y="9"/>
                  </a:lnTo>
                  <a:lnTo>
                    <a:pt x="291" y="15"/>
                  </a:lnTo>
                  <a:lnTo>
                    <a:pt x="285" y="21"/>
                  </a:lnTo>
                  <a:lnTo>
                    <a:pt x="284" y="26"/>
                  </a:lnTo>
                  <a:lnTo>
                    <a:pt x="279" y="30"/>
                  </a:lnTo>
                  <a:lnTo>
                    <a:pt x="279" y="40"/>
                  </a:lnTo>
                  <a:lnTo>
                    <a:pt x="284" y="48"/>
                  </a:lnTo>
                  <a:lnTo>
                    <a:pt x="287" y="57"/>
                  </a:lnTo>
                  <a:lnTo>
                    <a:pt x="285" y="62"/>
                  </a:lnTo>
                  <a:lnTo>
                    <a:pt x="278" y="70"/>
                  </a:lnTo>
                  <a:lnTo>
                    <a:pt x="278" y="71"/>
                  </a:lnTo>
                  <a:lnTo>
                    <a:pt x="267" y="79"/>
                  </a:lnTo>
                  <a:lnTo>
                    <a:pt x="262" y="82"/>
                  </a:lnTo>
                  <a:lnTo>
                    <a:pt x="249" y="77"/>
                  </a:lnTo>
                  <a:lnTo>
                    <a:pt x="239" y="68"/>
                  </a:lnTo>
                  <a:lnTo>
                    <a:pt x="229" y="62"/>
                  </a:lnTo>
                  <a:lnTo>
                    <a:pt x="215" y="57"/>
                  </a:lnTo>
                  <a:lnTo>
                    <a:pt x="198" y="49"/>
                  </a:lnTo>
                  <a:lnTo>
                    <a:pt x="188" y="48"/>
                  </a:lnTo>
                  <a:lnTo>
                    <a:pt x="183" y="49"/>
                  </a:lnTo>
                  <a:lnTo>
                    <a:pt x="174" y="49"/>
                  </a:lnTo>
                  <a:lnTo>
                    <a:pt x="165" y="46"/>
                  </a:lnTo>
                  <a:lnTo>
                    <a:pt x="155" y="31"/>
                  </a:lnTo>
                  <a:lnTo>
                    <a:pt x="155" y="24"/>
                  </a:lnTo>
                  <a:lnTo>
                    <a:pt x="149" y="16"/>
                  </a:lnTo>
                  <a:lnTo>
                    <a:pt x="131" y="13"/>
                  </a:lnTo>
                  <a:lnTo>
                    <a:pt x="120" y="9"/>
                  </a:lnTo>
                  <a:lnTo>
                    <a:pt x="105" y="7"/>
                  </a:lnTo>
                  <a:lnTo>
                    <a:pt x="97" y="5"/>
                  </a:lnTo>
                  <a:lnTo>
                    <a:pt x="79" y="7"/>
                  </a:lnTo>
                  <a:lnTo>
                    <a:pt x="64" y="5"/>
                  </a:lnTo>
                  <a:lnTo>
                    <a:pt x="59" y="1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0"/>
                  </a:lnTo>
                  <a:lnTo>
                    <a:pt x="56" y="13"/>
                  </a:lnTo>
                  <a:lnTo>
                    <a:pt x="50" y="22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29" y="38"/>
                  </a:lnTo>
                  <a:lnTo>
                    <a:pt x="21" y="38"/>
                  </a:lnTo>
                  <a:lnTo>
                    <a:pt x="18" y="43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9" y="55"/>
                  </a:lnTo>
                  <a:lnTo>
                    <a:pt x="19" y="60"/>
                  </a:lnTo>
                  <a:lnTo>
                    <a:pt x="18" y="62"/>
                  </a:lnTo>
                  <a:lnTo>
                    <a:pt x="19" y="65"/>
                  </a:lnTo>
                  <a:lnTo>
                    <a:pt x="18" y="66"/>
                  </a:lnTo>
                  <a:lnTo>
                    <a:pt x="13" y="71"/>
                  </a:lnTo>
                  <a:lnTo>
                    <a:pt x="10" y="74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2" y="77"/>
                  </a:lnTo>
                  <a:lnTo>
                    <a:pt x="2" y="85"/>
                  </a:lnTo>
                  <a:lnTo>
                    <a:pt x="4" y="87"/>
                  </a:lnTo>
                  <a:lnTo>
                    <a:pt x="8" y="91"/>
                  </a:lnTo>
                  <a:lnTo>
                    <a:pt x="8" y="108"/>
                  </a:lnTo>
                  <a:lnTo>
                    <a:pt x="10" y="118"/>
                  </a:lnTo>
                  <a:lnTo>
                    <a:pt x="8" y="119"/>
                  </a:lnTo>
                  <a:lnTo>
                    <a:pt x="10" y="132"/>
                  </a:lnTo>
                  <a:lnTo>
                    <a:pt x="13" y="140"/>
                  </a:lnTo>
                  <a:lnTo>
                    <a:pt x="10" y="152"/>
                  </a:lnTo>
                  <a:lnTo>
                    <a:pt x="10" y="155"/>
                  </a:lnTo>
                  <a:lnTo>
                    <a:pt x="12" y="160"/>
                  </a:lnTo>
                  <a:lnTo>
                    <a:pt x="13" y="169"/>
                  </a:lnTo>
                  <a:lnTo>
                    <a:pt x="12" y="173"/>
                  </a:lnTo>
                  <a:lnTo>
                    <a:pt x="4" y="177"/>
                  </a:lnTo>
                  <a:lnTo>
                    <a:pt x="2" y="179"/>
                  </a:lnTo>
                  <a:lnTo>
                    <a:pt x="0" y="180"/>
                  </a:lnTo>
                  <a:lnTo>
                    <a:pt x="4" y="184"/>
                  </a:lnTo>
                  <a:lnTo>
                    <a:pt x="12" y="191"/>
                  </a:lnTo>
                  <a:lnTo>
                    <a:pt x="15" y="202"/>
                  </a:lnTo>
                  <a:lnTo>
                    <a:pt x="18" y="202"/>
                  </a:lnTo>
                  <a:lnTo>
                    <a:pt x="19" y="210"/>
                  </a:lnTo>
                  <a:lnTo>
                    <a:pt x="19" y="211"/>
                  </a:lnTo>
                  <a:lnTo>
                    <a:pt x="19" y="219"/>
                  </a:lnTo>
                  <a:lnTo>
                    <a:pt x="24" y="222"/>
                  </a:lnTo>
                  <a:lnTo>
                    <a:pt x="24" y="226"/>
                  </a:lnTo>
                  <a:lnTo>
                    <a:pt x="27" y="230"/>
                  </a:lnTo>
                  <a:lnTo>
                    <a:pt x="39" y="230"/>
                  </a:lnTo>
                  <a:lnTo>
                    <a:pt x="48" y="230"/>
                  </a:lnTo>
                  <a:lnTo>
                    <a:pt x="54" y="232"/>
                  </a:lnTo>
                  <a:lnTo>
                    <a:pt x="58" y="238"/>
                  </a:lnTo>
                  <a:lnTo>
                    <a:pt x="64" y="248"/>
                  </a:lnTo>
                  <a:lnTo>
                    <a:pt x="65" y="250"/>
                  </a:lnTo>
                  <a:lnTo>
                    <a:pt x="70" y="254"/>
                  </a:lnTo>
                  <a:lnTo>
                    <a:pt x="73" y="255"/>
                  </a:lnTo>
                  <a:lnTo>
                    <a:pt x="120" y="266"/>
                  </a:lnTo>
                  <a:lnTo>
                    <a:pt x="126" y="272"/>
                  </a:lnTo>
                  <a:lnTo>
                    <a:pt x="182" y="250"/>
                  </a:lnTo>
                  <a:lnTo>
                    <a:pt x="348" y="3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ompany </a:t>
            </a:r>
            <a:r>
              <a:rPr lang="en-US">
                <a:solidFill>
                  <a:schemeClr val="accent2"/>
                </a:solidFill>
              </a:rPr>
              <a:t>distribution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7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2" name="Rectangle 17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3" name="Rectangle 17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4" name="Rectangle 17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5" name="Rectangle 18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6" name="Rectangle 18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7" name="Rectangle 18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8" name="Rectangle 18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9" name="Rectangle 18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0" name="Rectangle 18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1" name="Rectangle 18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2" name="Rectangle 18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3" name="Rectangle 18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4" name="Rectangle 18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5" name="Rectangle 19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6" name="Rectangle 19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7" name="Rectangle 19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8" name="Rectangle 19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9" name="Rectangle 19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0" name="Rectangle 19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1" name="Rectangle 19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2" name="Rectangle 19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3" name="Rectangle 19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4" name="Rectangle 19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5" name="Rectangle 20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6" name="Rectangle 20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7" name="Rectangle 20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8" name="Rectangle 20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9" name="Rectangle 20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0" name="Rectangle 20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1" name="Rectangle 20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2" name="Rectangle 20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3" name="Rectangle 20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4" name="Rectangle 21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5" name="Rectangle 21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6" name="Rectangle 21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7" name="Rectangle 21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8" name="Rectangle 21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9" name="Rectangle 21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0" name="Rectangle 21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1" name="Rectangle 21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2" name="Rectangle 21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3" name="Rectangle 21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4" name="Rectangle 22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5" name="Rectangle 22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6" name="Rectangle 22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7" name="Rectangle 22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8" name="Rectangle 22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9" name="Rectangle 22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0" name="Rectangle 22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1" name="Rectangle 22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2" name="Rectangle 22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3" name="Rectangle 22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4" name="Rectangle 23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5" name="Rectangle 23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6" name="Rectangle 23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7" name="Rectangle 23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8" name="Rectangle 23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9" name="Rectangle 23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0" name="Rectangle 23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1" name="Rectangle 23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2" name="Rectangle 23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3" name="Rectangle 23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4" name="Rectangle 24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45" name="Oval 544"/>
          <p:cNvSpPr/>
          <p:nvPr/>
        </p:nvSpPr>
        <p:spPr>
          <a:xfrm>
            <a:off x="2171033" y="2549003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46" name="Oval 545"/>
          <p:cNvSpPr/>
          <p:nvPr/>
        </p:nvSpPr>
        <p:spPr>
          <a:xfrm>
            <a:off x="5287615" y="2650154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47" name="Oval 546"/>
          <p:cNvSpPr/>
          <p:nvPr/>
        </p:nvSpPr>
        <p:spPr>
          <a:xfrm>
            <a:off x="6176396" y="2881313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50" name="Oval 549"/>
          <p:cNvSpPr/>
          <p:nvPr/>
        </p:nvSpPr>
        <p:spPr>
          <a:xfrm>
            <a:off x="6879448" y="2551113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51" name="Oval 550"/>
          <p:cNvSpPr/>
          <p:nvPr/>
        </p:nvSpPr>
        <p:spPr>
          <a:xfrm>
            <a:off x="7780552" y="4168776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52" name="Oval 551"/>
          <p:cNvSpPr/>
          <p:nvPr/>
        </p:nvSpPr>
        <p:spPr>
          <a:xfrm>
            <a:off x="5552548" y="3790951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53" name="Oval 552"/>
          <p:cNvSpPr/>
          <p:nvPr/>
        </p:nvSpPr>
        <p:spPr>
          <a:xfrm>
            <a:off x="1944746" y="3409158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55" name="Oval 554"/>
          <p:cNvSpPr/>
          <p:nvPr/>
        </p:nvSpPr>
        <p:spPr>
          <a:xfrm>
            <a:off x="5773893" y="2833401"/>
            <a:ext cx="64932" cy="6493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556" name="Oval 555"/>
          <p:cNvSpPr/>
          <p:nvPr/>
        </p:nvSpPr>
        <p:spPr>
          <a:xfrm>
            <a:off x="5298777" y="3361355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cxnSp>
        <p:nvCxnSpPr>
          <p:cNvPr id="86" name="Straight Arrow Connector 85"/>
          <p:cNvCxnSpPr>
            <a:stCxn id="555" idx="2"/>
            <a:endCxn id="553" idx="6"/>
          </p:cNvCxnSpPr>
          <p:nvPr/>
        </p:nvCxnSpPr>
        <p:spPr>
          <a:xfrm flipH="1">
            <a:off x="2041940" y="2865866"/>
            <a:ext cx="3731953" cy="591888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>
            <a:stCxn id="555" idx="2"/>
            <a:endCxn id="545" idx="6"/>
          </p:cNvCxnSpPr>
          <p:nvPr/>
        </p:nvCxnSpPr>
        <p:spPr>
          <a:xfrm flipH="1" flipV="1">
            <a:off x="2268227" y="2597599"/>
            <a:ext cx="3505666" cy="268267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>
            <a:stCxn id="555" idx="1"/>
            <a:endCxn id="546" idx="6"/>
          </p:cNvCxnSpPr>
          <p:nvPr/>
        </p:nvCxnSpPr>
        <p:spPr>
          <a:xfrm flipH="1" flipV="1">
            <a:off x="5384809" y="2698750"/>
            <a:ext cx="398593" cy="144160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Arrow Connector 997"/>
          <p:cNvCxnSpPr>
            <a:stCxn id="555" idx="0"/>
          </p:cNvCxnSpPr>
          <p:nvPr/>
        </p:nvCxnSpPr>
        <p:spPr>
          <a:xfrm flipV="1">
            <a:off x="5806359" y="2283956"/>
            <a:ext cx="170203" cy="549445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0" name="Straight Arrow Connector 999"/>
          <p:cNvCxnSpPr>
            <a:stCxn id="555" idx="6"/>
            <a:endCxn id="547" idx="2"/>
          </p:cNvCxnSpPr>
          <p:nvPr/>
        </p:nvCxnSpPr>
        <p:spPr>
          <a:xfrm>
            <a:off x="5838825" y="2865866"/>
            <a:ext cx="337571" cy="64043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2" name="Straight Arrow Connector 1001"/>
          <p:cNvCxnSpPr>
            <a:stCxn id="555" idx="7"/>
            <a:endCxn id="550" idx="2"/>
          </p:cNvCxnSpPr>
          <p:nvPr/>
        </p:nvCxnSpPr>
        <p:spPr>
          <a:xfrm flipV="1">
            <a:off x="5829316" y="2599709"/>
            <a:ext cx="1050132" cy="243201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4" name="Straight Arrow Connector 1003"/>
          <p:cNvCxnSpPr>
            <a:stCxn id="555" idx="3"/>
            <a:endCxn id="556" idx="7"/>
          </p:cNvCxnSpPr>
          <p:nvPr/>
        </p:nvCxnSpPr>
        <p:spPr>
          <a:xfrm flipH="1">
            <a:off x="5381737" y="2888822"/>
            <a:ext cx="401665" cy="486766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7" name="Straight Arrow Connector 1006"/>
          <p:cNvCxnSpPr>
            <a:stCxn id="555" idx="5"/>
            <a:endCxn id="551" idx="1"/>
          </p:cNvCxnSpPr>
          <p:nvPr/>
        </p:nvCxnSpPr>
        <p:spPr>
          <a:xfrm>
            <a:off x="5829316" y="2888822"/>
            <a:ext cx="1965470" cy="1294187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7" name="Oval 556"/>
          <p:cNvSpPr/>
          <p:nvPr/>
        </p:nvSpPr>
        <p:spPr>
          <a:xfrm>
            <a:off x="7157983" y="4041420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cxnSp>
        <p:nvCxnSpPr>
          <p:cNvPr id="1011" name="Straight Arrow Connector 1010"/>
          <p:cNvCxnSpPr>
            <a:stCxn id="555" idx="5"/>
            <a:endCxn id="557" idx="1"/>
          </p:cNvCxnSpPr>
          <p:nvPr/>
        </p:nvCxnSpPr>
        <p:spPr>
          <a:xfrm>
            <a:off x="5829316" y="2888822"/>
            <a:ext cx="1342901" cy="1166831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3" name="Straight Arrow Connector 1012"/>
          <p:cNvCxnSpPr>
            <a:stCxn id="555" idx="4"/>
            <a:endCxn id="552" idx="0"/>
          </p:cNvCxnSpPr>
          <p:nvPr/>
        </p:nvCxnSpPr>
        <p:spPr>
          <a:xfrm flipH="1">
            <a:off x="5601145" y="2898331"/>
            <a:ext cx="205214" cy="892620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8" name="Oval 557"/>
          <p:cNvSpPr/>
          <p:nvPr/>
        </p:nvSpPr>
        <p:spPr>
          <a:xfrm>
            <a:off x="7107475" y="3445493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cxnSp>
        <p:nvCxnSpPr>
          <p:cNvPr id="1016" name="Straight Arrow Connector 1015"/>
          <p:cNvCxnSpPr>
            <a:stCxn id="555" idx="6"/>
            <a:endCxn id="558" idx="1"/>
          </p:cNvCxnSpPr>
          <p:nvPr/>
        </p:nvCxnSpPr>
        <p:spPr>
          <a:xfrm>
            <a:off x="5838825" y="2865866"/>
            <a:ext cx="1282884" cy="593860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1" name="TextBox 560"/>
          <p:cNvSpPr txBox="1"/>
          <p:nvPr/>
        </p:nvSpPr>
        <p:spPr>
          <a:xfrm>
            <a:off x="1787060" y="3250946"/>
            <a:ext cx="39138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usa</a:t>
            </a:r>
            <a:endParaRPr lang="en-US" sz="1000" b="1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62" name="TextBox 561"/>
          <p:cNvSpPr txBox="1"/>
          <p:nvPr/>
        </p:nvSpPr>
        <p:spPr>
          <a:xfrm>
            <a:off x="1689567" y="2361398"/>
            <a:ext cx="9777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Canada</a:t>
            </a:r>
          </a:p>
        </p:txBody>
      </p:sp>
      <p:sp>
        <p:nvSpPr>
          <p:cNvPr id="563" name="TextBox 562"/>
          <p:cNvSpPr txBox="1"/>
          <p:nvPr/>
        </p:nvSpPr>
        <p:spPr>
          <a:xfrm>
            <a:off x="5086691" y="3917395"/>
            <a:ext cx="9777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Algeria</a:t>
            </a:r>
          </a:p>
        </p:txBody>
      </p:sp>
      <p:sp>
        <p:nvSpPr>
          <p:cNvPr id="564" name="TextBox 563"/>
          <p:cNvSpPr txBox="1"/>
          <p:nvPr/>
        </p:nvSpPr>
        <p:spPr>
          <a:xfrm>
            <a:off x="4961502" y="3469362"/>
            <a:ext cx="4963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pain</a:t>
            </a:r>
          </a:p>
        </p:txBody>
      </p:sp>
      <p:sp>
        <p:nvSpPr>
          <p:cNvPr id="565" name="TextBox 564"/>
          <p:cNvSpPr txBox="1"/>
          <p:nvPr/>
        </p:nvSpPr>
        <p:spPr>
          <a:xfrm>
            <a:off x="5154744" y="2495419"/>
            <a:ext cx="362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uk</a:t>
            </a:r>
            <a:endParaRPr lang="en-US" sz="1000" b="1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66" name="TextBox 565"/>
          <p:cNvSpPr txBox="1"/>
          <p:nvPr/>
        </p:nvSpPr>
        <p:spPr>
          <a:xfrm>
            <a:off x="5509371" y="2018846"/>
            <a:ext cx="9481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sweden</a:t>
            </a:r>
            <a:endParaRPr lang="en-US" sz="1000" b="1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67" name="TextBox 566"/>
          <p:cNvSpPr txBox="1"/>
          <p:nvPr/>
        </p:nvSpPr>
        <p:spPr>
          <a:xfrm>
            <a:off x="6518434" y="2367241"/>
            <a:ext cx="9481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russia</a:t>
            </a:r>
            <a:endParaRPr lang="en-US" sz="1000" b="1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68" name="TextBox 567"/>
          <p:cNvSpPr txBox="1"/>
          <p:nvPr/>
        </p:nvSpPr>
        <p:spPr>
          <a:xfrm>
            <a:off x="6666668" y="3211870"/>
            <a:ext cx="9481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turkey</a:t>
            </a:r>
          </a:p>
        </p:txBody>
      </p:sp>
      <p:sp>
        <p:nvSpPr>
          <p:cNvPr id="569" name="TextBox 568"/>
          <p:cNvSpPr txBox="1"/>
          <p:nvPr/>
        </p:nvSpPr>
        <p:spPr>
          <a:xfrm>
            <a:off x="7681876" y="4002447"/>
            <a:ext cx="3478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uae</a:t>
            </a:r>
            <a:endParaRPr lang="en-US" sz="1000" b="1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64" name="TextBox 863"/>
          <p:cNvSpPr txBox="1"/>
          <p:nvPr/>
        </p:nvSpPr>
        <p:spPr>
          <a:xfrm>
            <a:off x="7112506" y="4142857"/>
            <a:ext cx="3617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ksa</a:t>
            </a:r>
            <a:endParaRPr lang="en-US" sz="1000" b="1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42" name="TextBox 541"/>
          <p:cNvSpPr txBox="1"/>
          <p:nvPr/>
        </p:nvSpPr>
        <p:spPr>
          <a:xfrm>
            <a:off x="6317164" y="2887995"/>
            <a:ext cx="62939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Poland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738174" y="2797683"/>
            <a:ext cx="136370" cy="136366"/>
            <a:chOff x="5738174" y="2797683"/>
            <a:chExt cx="136370" cy="136366"/>
          </a:xfrm>
        </p:grpSpPr>
        <p:sp>
          <p:nvSpPr>
            <p:cNvPr id="554" name="Oval 553"/>
            <p:cNvSpPr/>
            <p:nvPr/>
          </p:nvSpPr>
          <p:spPr>
            <a:xfrm>
              <a:off x="5738174" y="2797683"/>
              <a:ext cx="136370" cy="136366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sp>
          <p:nvSpPr>
            <p:cNvPr id="559" name="Oval 558"/>
            <p:cNvSpPr/>
            <p:nvPr/>
          </p:nvSpPr>
          <p:spPr>
            <a:xfrm>
              <a:off x="5775235" y="2834541"/>
              <a:ext cx="64932" cy="649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</p:grpSp>
      <p:sp>
        <p:nvSpPr>
          <p:cNvPr id="544" name="Oval 543"/>
          <p:cNvSpPr/>
          <p:nvPr/>
        </p:nvSpPr>
        <p:spPr>
          <a:xfrm>
            <a:off x="5939870" y="2186764"/>
            <a:ext cx="97194" cy="97192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1278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4B62EF-6311-B030-07DF-3C62F4C21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6FC14A-0A48-7DCE-2567-E7153AB886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Results of the </a:t>
            </a:r>
            <a:r>
              <a:rPr lang="en-US" dirty="0">
                <a:solidFill>
                  <a:schemeClr val="accent2"/>
                </a:solidFill>
              </a:rPr>
              <a:t>DCGA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1BE39F-9695-E3E6-CD5A-E9B7F1754B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CGAN</a:t>
            </a:r>
          </a:p>
        </p:txBody>
      </p:sp>
      <p:pic>
        <p:nvPicPr>
          <p:cNvPr id="6" name="Content Placeholder 5" descr="A blurry image of a fire&#10;&#10;Description automatically generated">
            <a:extLst>
              <a:ext uri="{FF2B5EF4-FFF2-40B4-BE49-F238E27FC236}">
                <a16:creationId xmlns:a16="http://schemas.microsoft.com/office/drawing/2014/main" id="{04D7E509-8435-9A42-62D3-E9F2C6736FD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27" y="2049345"/>
            <a:ext cx="2160000" cy="2160000"/>
          </a:xfr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185C4AD-24EB-C431-BA58-76E092A476B3}"/>
              </a:ext>
            </a:extLst>
          </p:cNvPr>
          <p:cNvSpPr txBox="1"/>
          <p:nvPr/>
        </p:nvSpPr>
        <p:spPr>
          <a:xfrm>
            <a:off x="888538" y="1654233"/>
            <a:ext cx="144641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86F146-8425-56AE-EEE7-4DCDE9FBA4AE}"/>
              </a:ext>
            </a:extLst>
          </p:cNvPr>
          <p:cNvGrpSpPr/>
          <p:nvPr/>
        </p:nvGrpSpPr>
        <p:grpSpPr>
          <a:xfrm>
            <a:off x="3395749" y="1648691"/>
            <a:ext cx="2160000" cy="2560654"/>
            <a:chOff x="3429144" y="1648691"/>
            <a:chExt cx="2160000" cy="2560654"/>
          </a:xfrm>
        </p:grpSpPr>
        <p:pic>
          <p:nvPicPr>
            <p:cNvPr id="9" name="Picture 8" descr="A blurry image of a person walking&#10;&#10;Description automatically generated">
              <a:extLst>
                <a:ext uri="{FF2B5EF4-FFF2-40B4-BE49-F238E27FC236}">
                  <a16:creationId xmlns:a16="http://schemas.microsoft.com/office/drawing/2014/main" id="{353A061D-9D69-DD16-D33F-4EA70BC4E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9144" y="2049345"/>
              <a:ext cx="2160000" cy="216000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A8E567A-208F-42E4-D3BB-66087BC78006}"/>
                </a:ext>
              </a:extLst>
            </p:cNvPr>
            <p:cNvSpPr txBox="1"/>
            <p:nvPr/>
          </p:nvSpPr>
          <p:spPr>
            <a:xfrm>
              <a:off x="3777355" y="1648691"/>
              <a:ext cx="1446415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erator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7803A7A-6DB4-9A84-28FD-0145A76E16D8}"/>
              </a:ext>
            </a:extLst>
          </p:cNvPr>
          <p:cNvGrpSpPr/>
          <p:nvPr/>
        </p:nvGrpSpPr>
        <p:grpSpPr>
          <a:xfrm>
            <a:off x="6251171" y="1648691"/>
            <a:ext cx="2160000" cy="2560654"/>
            <a:chOff x="6251171" y="1648691"/>
            <a:chExt cx="2160000" cy="2560654"/>
          </a:xfrm>
        </p:grpSpPr>
        <p:pic>
          <p:nvPicPr>
            <p:cNvPr id="11" name="Picture 10" descr="A large rock formation on a beach&#10;&#10;Description automatically generated">
              <a:extLst>
                <a:ext uri="{FF2B5EF4-FFF2-40B4-BE49-F238E27FC236}">
                  <a16:creationId xmlns:a16="http://schemas.microsoft.com/office/drawing/2014/main" id="{2F5CFAC9-5D54-08AE-E4DA-FDE5DCEAA5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171" y="2049345"/>
              <a:ext cx="2160000" cy="216000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7CB99F5-02BD-4773-8156-6F7003DD4317}"/>
                </a:ext>
              </a:extLst>
            </p:cNvPr>
            <p:cNvSpPr txBox="1"/>
            <p:nvPr/>
          </p:nvSpPr>
          <p:spPr>
            <a:xfrm>
              <a:off x="6599381" y="1648691"/>
              <a:ext cx="1446415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225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Apps </a:t>
            </a:r>
            <a:r>
              <a:rPr lang="en-US">
                <a:solidFill>
                  <a:schemeClr val="accent2"/>
                </a:solidFill>
              </a:rPr>
              <a:t>Users Worldw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2148840" y="1277054"/>
            <a:ext cx="4846320" cy="2703100"/>
            <a:chOff x="4480005" y="1824354"/>
            <a:chExt cx="3928882" cy="2191386"/>
          </a:xfrm>
          <a:solidFill>
            <a:schemeClr val="accent6"/>
          </a:solidFill>
        </p:grpSpPr>
        <p:grpSp>
          <p:nvGrpSpPr>
            <p:cNvPr id="5" name="Group 4"/>
            <p:cNvGrpSpPr/>
            <p:nvPr/>
          </p:nvGrpSpPr>
          <p:grpSpPr>
            <a:xfrm>
              <a:off x="6817428" y="2506050"/>
              <a:ext cx="1436274" cy="896476"/>
              <a:chOff x="6817428" y="2506050"/>
              <a:chExt cx="1436274" cy="896476"/>
            </a:xfrm>
            <a:grpFill/>
          </p:grpSpPr>
          <p:sp>
            <p:nvSpPr>
              <p:cNvPr id="200" name="Freeform 5"/>
              <p:cNvSpPr>
                <a:spLocks noEditPoints="1"/>
              </p:cNvSpPr>
              <p:nvPr/>
            </p:nvSpPr>
            <p:spPr bwMode="auto">
              <a:xfrm>
                <a:off x="7612622" y="3110963"/>
                <a:ext cx="27826" cy="81970"/>
              </a:xfrm>
              <a:custGeom>
                <a:avLst/>
                <a:gdLst/>
                <a:ahLst/>
                <a:cxnLst>
                  <a:cxn ang="0">
                    <a:pos x="20" y="25"/>
                  </a:cxn>
                  <a:cxn ang="0">
                    <a:pos x="16" y="17"/>
                  </a:cxn>
                  <a:cxn ang="0">
                    <a:pos x="21" y="7"/>
                  </a:cxn>
                  <a:cxn ang="0">
                    <a:pos x="21" y="2"/>
                  </a:cxn>
                  <a:cxn ang="0">
                    <a:pos x="15" y="5"/>
                  </a:cxn>
                  <a:cxn ang="0">
                    <a:pos x="15" y="15"/>
                  </a:cxn>
                  <a:cxn ang="0">
                    <a:pos x="13" y="26"/>
                  </a:cxn>
                  <a:cxn ang="0">
                    <a:pos x="15" y="28"/>
                  </a:cxn>
                  <a:cxn ang="0">
                    <a:pos x="16" y="48"/>
                  </a:cxn>
                  <a:cxn ang="0">
                    <a:pos x="13" y="40"/>
                  </a:cxn>
                  <a:cxn ang="0">
                    <a:pos x="18" y="33"/>
                  </a:cxn>
                  <a:cxn ang="0">
                    <a:pos x="11" y="33"/>
                  </a:cxn>
                  <a:cxn ang="0">
                    <a:pos x="10" y="43"/>
                  </a:cxn>
                  <a:cxn ang="0">
                    <a:pos x="11" y="51"/>
                  </a:cxn>
                  <a:cxn ang="0">
                    <a:pos x="11" y="55"/>
                  </a:cxn>
                  <a:cxn ang="0">
                    <a:pos x="5" y="51"/>
                  </a:cxn>
                  <a:cxn ang="0">
                    <a:pos x="0" y="50"/>
                  </a:cxn>
                  <a:cxn ang="0">
                    <a:pos x="8" y="75"/>
                  </a:cxn>
                  <a:cxn ang="0">
                    <a:pos x="15" y="68"/>
                  </a:cxn>
                  <a:cxn ang="0">
                    <a:pos x="8" y="66"/>
                  </a:cxn>
                  <a:cxn ang="0">
                    <a:pos x="8" y="71"/>
                  </a:cxn>
                  <a:cxn ang="0">
                    <a:pos x="8" y="75"/>
                  </a:cxn>
                  <a:cxn ang="0">
                    <a:pos x="18" y="103"/>
                  </a:cxn>
                  <a:cxn ang="0">
                    <a:pos x="21" y="101"/>
                  </a:cxn>
                  <a:cxn ang="0">
                    <a:pos x="28" y="118"/>
                  </a:cxn>
                  <a:cxn ang="0">
                    <a:pos x="33" y="124"/>
                  </a:cxn>
                  <a:cxn ang="0">
                    <a:pos x="30" y="121"/>
                  </a:cxn>
                  <a:cxn ang="0">
                    <a:pos x="28" y="118"/>
                  </a:cxn>
                  <a:cxn ang="0">
                    <a:pos x="38" y="124"/>
                  </a:cxn>
                  <a:cxn ang="0">
                    <a:pos x="43" y="126"/>
                  </a:cxn>
                  <a:cxn ang="0">
                    <a:pos x="41" y="121"/>
                  </a:cxn>
                  <a:cxn ang="0">
                    <a:pos x="35" y="133"/>
                  </a:cxn>
                  <a:cxn ang="0">
                    <a:pos x="40" y="133"/>
                  </a:cxn>
                  <a:cxn ang="0">
                    <a:pos x="33" y="129"/>
                  </a:cxn>
                  <a:cxn ang="0">
                    <a:pos x="35" y="133"/>
                  </a:cxn>
                  <a:cxn ang="0">
                    <a:pos x="46" y="139"/>
                  </a:cxn>
                  <a:cxn ang="0">
                    <a:pos x="41" y="143"/>
                  </a:cxn>
                  <a:cxn ang="0">
                    <a:pos x="43" y="144"/>
                  </a:cxn>
                  <a:cxn ang="0">
                    <a:pos x="43" y="148"/>
                  </a:cxn>
                  <a:cxn ang="0">
                    <a:pos x="43" y="153"/>
                  </a:cxn>
                  <a:cxn ang="0">
                    <a:pos x="46" y="154"/>
                  </a:cxn>
                  <a:cxn ang="0">
                    <a:pos x="51" y="156"/>
                  </a:cxn>
                  <a:cxn ang="0">
                    <a:pos x="49" y="148"/>
                  </a:cxn>
                </a:cxnLst>
                <a:rect l="0" t="0" r="r" b="b"/>
                <a:pathLst>
                  <a:path w="51" h="158">
                    <a:moveTo>
                      <a:pt x="15" y="28"/>
                    </a:moveTo>
                    <a:lnTo>
                      <a:pt x="20" y="25"/>
                    </a:lnTo>
                    <a:lnTo>
                      <a:pt x="20" y="18"/>
                    </a:lnTo>
                    <a:lnTo>
                      <a:pt x="16" y="17"/>
                    </a:lnTo>
                    <a:lnTo>
                      <a:pt x="21" y="12"/>
                    </a:lnTo>
                    <a:lnTo>
                      <a:pt x="21" y="7"/>
                    </a:lnTo>
                    <a:lnTo>
                      <a:pt x="20" y="7"/>
                    </a:lnTo>
                    <a:lnTo>
                      <a:pt x="21" y="2"/>
                    </a:lnTo>
                    <a:lnTo>
                      <a:pt x="20" y="0"/>
                    </a:lnTo>
                    <a:lnTo>
                      <a:pt x="15" y="5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3" y="26"/>
                    </a:lnTo>
                    <a:lnTo>
                      <a:pt x="15" y="28"/>
                    </a:lnTo>
                    <a:lnTo>
                      <a:pt x="15" y="28"/>
                    </a:lnTo>
                    <a:close/>
                    <a:moveTo>
                      <a:pt x="11" y="55"/>
                    </a:moveTo>
                    <a:lnTo>
                      <a:pt x="16" y="48"/>
                    </a:lnTo>
                    <a:lnTo>
                      <a:pt x="15" y="43"/>
                    </a:lnTo>
                    <a:lnTo>
                      <a:pt x="13" y="40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1"/>
                    </a:lnTo>
                    <a:lnTo>
                      <a:pt x="11" y="33"/>
                    </a:lnTo>
                    <a:lnTo>
                      <a:pt x="11" y="40"/>
                    </a:lnTo>
                    <a:lnTo>
                      <a:pt x="10" y="43"/>
                    </a:lnTo>
                    <a:lnTo>
                      <a:pt x="11" y="48"/>
                    </a:lnTo>
                    <a:lnTo>
                      <a:pt x="11" y="51"/>
                    </a:lnTo>
                    <a:lnTo>
                      <a:pt x="11" y="55"/>
                    </a:lnTo>
                    <a:lnTo>
                      <a:pt x="11" y="55"/>
                    </a:lnTo>
                    <a:close/>
                    <a:moveTo>
                      <a:pt x="0" y="50"/>
                    </a:moveTo>
                    <a:lnTo>
                      <a:pt x="5" y="51"/>
                    </a:lnTo>
                    <a:lnTo>
                      <a:pt x="3" y="48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  <a:moveTo>
                      <a:pt x="8" y="75"/>
                    </a:moveTo>
                    <a:lnTo>
                      <a:pt x="13" y="75"/>
                    </a:lnTo>
                    <a:lnTo>
                      <a:pt x="15" y="68"/>
                    </a:lnTo>
                    <a:lnTo>
                      <a:pt x="13" y="63"/>
                    </a:lnTo>
                    <a:lnTo>
                      <a:pt x="8" y="66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8" y="75"/>
                    </a:lnTo>
                    <a:lnTo>
                      <a:pt x="8" y="75"/>
                    </a:lnTo>
                    <a:close/>
                    <a:moveTo>
                      <a:pt x="21" y="101"/>
                    </a:moveTo>
                    <a:lnTo>
                      <a:pt x="18" y="103"/>
                    </a:lnTo>
                    <a:lnTo>
                      <a:pt x="20" y="105"/>
                    </a:lnTo>
                    <a:lnTo>
                      <a:pt x="21" y="101"/>
                    </a:lnTo>
                    <a:lnTo>
                      <a:pt x="21" y="101"/>
                    </a:lnTo>
                    <a:close/>
                    <a:moveTo>
                      <a:pt x="28" y="118"/>
                    </a:moveTo>
                    <a:lnTo>
                      <a:pt x="31" y="120"/>
                    </a:lnTo>
                    <a:lnTo>
                      <a:pt x="33" y="124"/>
                    </a:lnTo>
                    <a:lnTo>
                      <a:pt x="30" y="121"/>
                    </a:lnTo>
                    <a:lnTo>
                      <a:pt x="30" y="121"/>
                    </a:lnTo>
                    <a:lnTo>
                      <a:pt x="28" y="118"/>
                    </a:lnTo>
                    <a:lnTo>
                      <a:pt x="28" y="118"/>
                    </a:lnTo>
                    <a:close/>
                    <a:moveTo>
                      <a:pt x="41" y="121"/>
                    </a:moveTo>
                    <a:lnTo>
                      <a:pt x="38" y="124"/>
                    </a:lnTo>
                    <a:lnTo>
                      <a:pt x="41" y="128"/>
                    </a:lnTo>
                    <a:lnTo>
                      <a:pt x="43" y="126"/>
                    </a:lnTo>
                    <a:lnTo>
                      <a:pt x="43" y="123"/>
                    </a:lnTo>
                    <a:lnTo>
                      <a:pt x="41" y="121"/>
                    </a:lnTo>
                    <a:lnTo>
                      <a:pt x="41" y="121"/>
                    </a:lnTo>
                    <a:close/>
                    <a:moveTo>
                      <a:pt x="35" y="133"/>
                    </a:moveTo>
                    <a:lnTo>
                      <a:pt x="38" y="134"/>
                    </a:lnTo>
                    <a:lnTo>
                      <a:pt x="40" y="133"/>
                    </a:lnTo>
                    <a:lnTo>
                      <a:pt x="38" y="129"/>
                    </a:lnTo>
                    <a:lnTo>
                      <a:pt x="33" y="129"/>
                    </a:lnTo>
                    <a:lnTo>
                      <a:pt x="35" y="133"/>
                    </a:lnTo>
                    <a:lnTo>
                      <a:pt x="35" y="133"/>
                    </a:lnTo>
                    <a:close/>
                    <a:moveTo>
                      <a:pt x="43" y="144"/>
                    </a:moveTo>
                    <a:lnTo>
                      <a:pt x="46" y="139"/>
                    </a:lnTo>
                    <a:lnTo>
                      <a:pt x="45" y="139"/>
                    </a:lnTo>
                    <a:lnTo>
                      <a:pt x="41" y="143"/>
                    </a:lnTo>
                    <a:lnTo>
                      <a:pt x="43" y="144"/>
                    </a:lnTo>
                    <a:lnTo>
                      <a:pt x="43" y="144"/>
                    </a:lnTo>
                    <a:close/>
                    <a:moveTo>
                      <a:pt x="46" y="144"/>
                    </a:moveTo>
                    <a:lnTo>
                      <a:pt x="43" y="148"/>
                    </a:lnTo>
                    <a:lnTo>
                      <a:pt x="43" y="153"/>
                    </a:lnTo>
                    <a:lnTo>
                      <a:pt x="43" y="153"/>
                    </a:lnTo>
                    <a:lnTo>
                      <a:pt x="46" y="154"/>
                    </a:lnTo>
                    <a:lnTo>
                      <a:pt x="46" y="154"/>
                    </a:lnTo>
                    <a:lnTo>
                      <a:pt x="48" y="158"/>
                    </a:lnTo>
                    <a:lnTo>
                      <a:pt x="51" y="156"/>
                    </a:lnTo>
                    <a:lnTo>
                      <a:pt x="49" y="151"/>
                    </a:lnTo>
                    <a:lnTo>
                      <a:pt x="49" y="148"/>
                    </a:lnTo>
                    <a:lnTo>
                      <a:pt x="46" y="1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1" name="Freeform 7"/>
              <p:cNvSpPr>
                <a:spLocks noEditPoints="1"/>
              </p:cNvSpPr>
              <p:nvPr/>
            </p:nvSpPr>
            <p:spPr bwMode="auto">
              <a:xfrm>
                <a:off x="8006474" y="2629522"/>
                <a:ext cx="205488" cy="344479"/>
              </a:xfrm>
              <a:custGeom>
                <a:avLst/>
                <a:gdLst/>
                <a:ahLst/>
                <a:cxnLst>
                  <a:cxn ang="0">
                    <a:pos x="161" y="318"/>
                  </a:cxn>
                  <a:cxn ang="0">
                    <a:pos x="240" y="120"/>
                  </a:cxn>
                  <a:cxn ang="0">
                    <a:pos x="264" y="135"/>
                  </a:cxn>
                  <a:cxn ang="0">
                    <a:pos x="254" y="95"/>
                  </a:cxn>
                  <a:cxn ang="0">
                    <a:pos x="265" y="78"/>
                  </a:cxn>
                  <a:cxn ang="0">
                    <a:pos x="275" y="55"/>
                  </a:cxn>
                  <a:cxn ang="0">
                    <a:pos x="262" y="5"/>
                  </a:cxn>
                  <a:cxn ang="0">
                    <a:pos x="313" y="34"/>
                  </a:cxn>
                  <a:cxn ang="0">
                    <a:pos x="360" y="32"/>
                  </a:cxn>
                  <a:cxn ang="0">
                    <a:pos x="377" y="62"/>
                  </a:cxn>
                  <a:cxn ang="0">
                    <a:pos x="363" y="75"/>
                  </a:cxn>
                  <a:cxn ang="0">
                    <a:pos x="337" y="115"/>
                  </a:cxn>
                  <a:cxn ang="0">
                    <a:pos x="285" y="98"/>
                  </a:cxn>
                  <a:cxn ang="0">
                    <a:pos x="287" y="120"/>
                  </a:cxn>
                  <a:cxn ang="0">
                    <a:pos x="270" y="142"/>
                  </a:cxn>
                  <a:cxn ang="0">
                    <a:pos x="267" y="253"/>
                  </a:cxn>
                  <a:cxn ang="0">
                    <a:pos x="84" y="411"/>
                  </a:cxn>
                  <a:cxn ang="0">
                    <a:pos x="79" y="416"/>
                  </a:cxn>
                  <a:cxn ang="0">
                    <a:pos x="78" y="424"/>
                  </a:cxn>
                  <a:cxn ang="0">
                    <a:pos x="111" y="432"/>
                  </a:cxn>
                  <a:cxn ang="0">
                    <a:pos x="107" y="437"/>
                  </a:cxn>
                  <a:cxn ang="0">
                    <a:pos x="212" y="367"/>
                  </a:cxn>
                  <a:cxn ang="0">
                    <a:pos x="191" y="371"/>
                  </a:cxn>
                  <a:cxn ang="0">
                    <a:pos x="184" y="396"/>
                  </a:cxn>
                  <a:cxn ang="0">
                    <a:pos x="202" y="376"/>
                  </a:cxn>
                  <a:cxn ang="0">
                    <a:pos x="166" y="381"/>
                  </a:cxn>
                  <a:cxn ang="0">
                    <a:pos x="169" y="417"/>
                  </a:cxn>
                  <a:cxn ang="0">
                    <a:pos x="142" y="485"/>
                  </a:cxn>
                  <a:cxn ang="0">
                    <a:pos x="137" y="462"/>
                  </a:cxn>
                  <a:cxn ang="0">
                    <a:pos x="152" y="419"/>
                  </a:cxn>
                  <a:cxn ang="0">
                    <a:pos x="139" y="394"/>
                  </a:cxn>
                  <a:cxn ang="0">
                    <a:pos x="149" y="386"/>
                  </a:cxn>
                  <a:cxn ang="0">
                    <a:pos x="182" y="371"/>
                  </a:cxn>
                  <a:cxn ang="0">
                    <a:pos x="219" y="363"/>
                  </a:cxn>
                  <a:cxn ang="0">
                    <a:pos x="237" y="394"/>
                  </a:cxn>
                  <a:cxn ang="0">
                    <a:pos x="254" y="363"/>
                  </a:cxn>
                  <a:cxn ang="0">
                    <a:pos x="259" y="354"/>
                  </a:cxn>
                  <a:cxn ang="0">
                    <a:pos x="290" y="356"/>
                  </a:cxn>
                  <a:cxn ang="0">
                    <a:pos x="304" y="343"/>
                  </a:cxn>
                  <a:cxn ang="0">
                    <a:pos x="318" y="334"/>
                  </a:cxn>
                  <a:cxn ang="0">
                    <a:pos x="338" y="319"/>
                  </a:cxn>
                  <a:cxn ang="0">
                    <a:pos x="333" y="236"/>
                  </a:cxn>
                  <a:cxn ang="0">
                    <a:pos x="335" y="211"/>
                  </a:cxn>
                  <a:cxn ang="0">
                    <a:pos x="307" y="158"/>
                  </a:cxn>
                  <a:cxn ang="0">
                    <a:pos x="287" y="143"/>
                  </a:cxn>
                  <a:cxn ang="0">
                    <a:pos x="289" y="160"/>
                  </a:cxn>
                  <a:cxn ang="0">
                    <a:pos x="272" y="167"/>
                  </a:cxn>
                  <a:cxn ang="0">
                    <a:pos x="285" y="196"/>
                  </a:cxn>
                  <a:cxn ang="0">
                    <a:pos x="270" y="276"/>
                  </a:cxn>
                  <a:cxn ang="0">
                    <a:pos x="242" y="271"/>
                  </a:cxn>
                  <a:cxn ang="0">
                    <a:pos x="222" y="311"/>
                  </a:cxn>
                  <a:cxn ang="0">
                    <a:pos x="210" y="334"/>
                  </a:cxn>
                  <a:cxn ang="0">
                    <a:pos x="166" y="338"/>
                  </a:cxn>
                  <a:cxn ang="0">
                    <a:pos x="124" y="372"/>
                  </a:cxn>
                  <a:cxn ang="0">
                    <a:pos x="101" y="402"/>
                  </a:cxn>
                  <a:cxn ang="0">
                    <a:pos x="94" y="416"/>
                  </a:cxn>
                  <a:cxn ang="0">
                    <a:pos x="111" y="424"/>
                  </a:cxn>
                  <a:cxn ang="0">
                    <a:pos x="116" y="424"/>
                  </a:cxn>
                  <a:cxn ang="0">
                    <a:pos x="124" y="469"/>
                  </a:cxn>
                  <a:cxn ang="0">
                    <a:pos x="134" y="467"/>
                  </a:cxn>
                </a:cxnLst>
                <a:rect l="0" t="0" r="r" b="b"/>
                <a:pathLst>
                  <a:path w="383" h="665">
                    <a:moveTo>
                      <a:pt x="152" y="319"/>
                    </a:moveTo>
                    <a:lnTo>
                      <a:pt x="156" y="321"/>
                    </a:lnTo>
                    <a:lnTo>
                      <a:pt x="154" y="323"/>
                    </a:lnTo>
                    <a:lnTo>
                      <a:pt x="152" y="323"/>
                    </a:lnTo>
                    <a:lnTo>
                      <a:pt x="152" y="319"/>
                    </a:lnTo>
                    <a:lnTo>
                      <a:pt x="152" y="319"/>
                    </a:lnTo>
                    <a:close/>
                    <a:moveTo>
                      <a:pt x="157" y="319"/>
                    </a:moveTo>
                    <a:lnTo>
                      <a:pt x="156" y="318"/>
                    </a:lnTo>
                    <a:lnTo>
                      <a:pt x="157" y="316"/>
                    </a:lnTo>
                    <a:lnTo>
                      <a:pt x="161" y="314"/>
                    </a:lnTo>
                    <a:lnTo>
                      <a:pt x="161" y="318"/>
                    </a:lnTo>
                    <a:lnTo>
                      <a:pt x="159" y="319"/>
                    </a:lnTo>
                    <a:lnTo>
                      <a:pt x="157" y="319"/>
                    </a:lnTo>
                    <a:lnTo>
                      <a:pt x="157" y="319"/>
                    </a:lnTo>
                    <a:close/>
                    <a:moveTo>
                      <a:pt x="5" y="665"/>
                    </a:moveTo>
                    <a:lnTo>
                      <a:pt x="5" y="661"/>
                    </a:lnTo>
                    <a:lnTo>
                      <a:pt x="1" y="661"/>
                    </a:lnTo>
                    <a:lnTo>
                      <a:pt x="0" y="665"/>
                    </a:lnTo>
                    <a:lnTo>
                      <a:pt x="3" y="665"/>
                    </a:lnTo>
                    <a:lnTo>
                      <a:pt x="5" y="665"/>
                    </a:lnTo>
                    <a:lnTo>
                      <a:pt x="5" y="665"/>
                    </a:lnTo>
                    <a:close/>
                    <a:moveTo>
                      <a:pt x="240" y="120"/>
                    </a:moveTo>
                    <a:lnTo>
                      <a:pt x="239" y="117"/>
                    </a:lnTo>
                    <a:lnTo>
                      <a:pt x="239" y="113"/>
                    </a:lnTo>
                    <a:lnTo>
                      <a:pt x="242" y="112"/>
                    </a:lnTo>
                    <a:lnTo>
                      <a:pt x="245" y="110"/>
                    </a:lnTo>
                    <a:lnTo>
                      <a:pt x="244" y="113"/>
                    </a:lnTo>
                    <a:lnTo>
                      <a:pt x="244" y="118"/>
                    </a:lnTo>
                    <a:lnTo>
                      <a:pt x="240" y="120"/>
                    </a:lnTo>
                    <a:lnTo>
                      <a:pt x="240" y="120"/>
                    </a:lnTo>
                    <a:close/>
                    <a:moveTo>
                      <a:pt x="270" y="142"/>
                    </a:moveTo>
                    <a:lnTo>
                      <a:pt x="267" y="138"/>
                    </a:lnTo>
                    <a:lnTo>
                      <a:pt x="264" y="135"/>
                    </a:lnTo>
                    <a:lnTo>
                      <a:pt x="265" y="135"/>
                    </a:lnTo>
                    <a:lnTo>
                      <a:pt x="264" y="127"/>
                    </a:lnTo>
                    <a:lnTo>
                      <a:pt x="262" y="118"/>
                    </a:lnTo>
                    <a:lnTo>
                      <a:pt x="257" y="117"/>
                    </a:lnTo>
                    <a:lnTo>
                      <a:pt x="254" y="113"/>
                    </a:lnTo>
                    <a:lnTo>
                      <a:pt x="250" y="113"/>
                    </a:lnTo>
                    <a:lnTo>
                      <a:pt x="250" y="110"/>
                    </a:lnTo>
                    <a:lnTo>
                      <a:pt x="250" y="105"/>
                    </a:lnTo>
                    <a:lnTo>
                      <a:pt x="249" y="100"/>
                    </a:lnTo>
                    <a:lnTo>
                      <a:pt x="252" y="97"/>
                    </a:lnTo>
                    <a:lnTo>
                      <a:pt x="254" y="95"/>
                    </a:lnTo>
                    <a:lnTo>
                      <a:pt x="255" y="93"/>
                    </a:lnTo>
                    <a:lnTo>
                      <a:pt x="259" y="92"/>
                    </a:lnTo>
                    <a:lnTo>
                      <a:pt x="260" y="88"/>
                    </a:lnTo>
                    <a:lnTo>
                      <a:pt x="262" y="87"/>
                    </a:lnTo>
                    <a:lnTo>
                      <a:pt x="262" y="83"/>
                    </a:lnTo>
                    <a:lnTo>
                      <a:pt x="257" y="80"/>
                    </a:lnTo>
                    <a:lnTo>
                      <a:pt x="255" y="80"/>
                    </a:lnTo>
                    <a:lnTo>
                      <a:pt x="254" y="78"/>
                    </a:lnTo>
                    <a:lnTo>
                      <a:pt x="255" y="75"/>
                    </a:lnTo>
                    <a:lnTo>
                      <a:pt x="259" y="75"/>
                    </a:lnTo>
                    <a:lnTo>
                      <a:pt x="265" y="78"/>
                    </a:lnTo>
                    <a:lnTo>
                      <a:pt x="274" y="80"/>
                    </a:lnTo>
                    <a:lnTo>
                      <a:pt x="277" y="78"/>
                    </a:lnTo>
                    <a:lnTo>
                      <a:pt x="277" y="75"/>
                    </a:lnTo>
                    <a:lnTo>
                      <a:pt x="279" y="73"/>
                    </a:lnTo>
                    <a:lnTo>
                      <a:pt x="277" y="70"/>
                    </a:lnTo>
                    <a:lnTo>
                      <a:pt x="275" y="69"/>
                    </a:lnTo>
                    <a:lnTo>
                      <a:pt x="274" y="67"/>
                    </a:lnTo>
                    <a:lnTo>
                      <a:pt x="272" y="64"/>
                    </a:lnTo>
                    <a:lnTo>
                      <a:pt x="270" y="59"/>
                    </a:lnTo>
                    <a:lnTo>
                      <a:pt x="274" y="55"/>
                    </a:lnTo>
                    <a:lnTo>
                      <a:pt x="275" y="55"/>
                    </a:lnTo>
                    <a:lnTo>
                      <a:pt x="277" y="54"/>
                    </a:lnTo>
                    <a:lnTo>
                      <a:pt x="275" y="49"/>
                    </a:lnTo>
                    <a:lnTo>
                      <a:pt x="272" y="42"/>
                    </a:lnTo>
                    <a:lnTo>
                      <a:pt x="274" y="39"/>
                    </a:lnTo>
                    <a:lnTo>
                      <a:pt x="272" y="30"/>
                    </a:lnTo>
                    <a:lnTo>
                      <a:pt x="270" y="25"/>
                    </a:lnTo>
                    <a:lnTo>
                      <a:pt x="262" y="14"/>
                    </a:lnTo>
                    <a:lnTo>
                      <a:pt x="260" y="9"/>
                    </a:lnTo>
                    <a:lnTo>
                      <a:pt x="259" y="7"/>
                    </a:lnTo>
                    <a:lnTo>
                      <a:pt x="260" y="5"/>
                    </a:lnTo>
                    <a:lnTo>
                      <a:pt x="262" y="5"/>
                    </a:lnTo>
                    <a:lnTo>
                      <a:pt x="265" y="2"/>
                    </a:lnTo>
                    <a:lnTo>
                      <a:pt x="264" y="0"/>
                    </a:lnTo>
                    <a:lnTo>
                      <a:pt x="269" y="0"/>
                    </a:lnTo>
                    <a:lnTo>
                      <a:pt x="272" y="4"/>
                    </a:lnTo>
                    <a:lnTo>
                      <a:pt x="279" y="9"/>
                    </a:lnTo>
                    <a:lnTo>
                      <a:pt x="285" y="10"/>
                    </a:lnTo>
                    <a:lnTo>
                      <a:pt x="289" y="17"/>
                    </a:lnTo>
                    <a:lnTo>
                      <a:pt x="300" y="27"/>
                    </a:lnTo>
                    <a:lnTo>
                      <a:pt x="307" y="30"/>
                    </a:lnTo>
                    <a:lnTo>
                      <a:pt x="308" y="34"/>
                    </a:lnTo>
                    <a:lnTo>
                      <a:pt x="313" y="34"/>
                    </a:lnTo>
                    <a:lnTo>
                      <a:pt x="317" y="39"/>
                    </a:lnTo>
                    <a:lnTo>
                      <a:pt x="323" y="42"/>
                    </a:lnTo>
                    <a:lnTo>
                      <a:pt x="330" y="42"/>
                    </a:lnTo>
                    <a:lnTo>
                      <a:pt x="335" y="47"/>
                    </a:lnTo>
                    <a:lnTo>
                      <a:pt x="338" y="45"/>
                    </a:lnTo>
                    <a:lnTo>
                      <a:pt x="340" y="47"/>
                    </a:lnTo>
                    <a:lnTo>
                      <a:pt x="347" y="45"/>
                    </a:lnTo>
                    <a:lnTo>
                      <a:pt x="353" y="42"/>
                    </a:lnTo>
                    <a:lnTo>
                      <a:pt x="358" y="37"/>
                    </a:lnTo>
                    <a:lnTo>
                      <a:pt x="358" y="32"/>
                    </a:lnTo>
                    <a:lnTo>
                      <a:pt x="360" y="32"/>
                    </a:lnTo>
                    <a:lnTo>
                      <a:pt x="362" y="34"/>
                    </a:lnTo>
                    <a:lnTo>
                      <a:pt x="362" y="37"/>
                    </a:lnTo>
                    <a:lnTo>
                      <a:pt x="358" y="44"/>
                    </a:lnTo>
                    <a:lnTo>
                      <a:pt x="358" y="49"/>
                    </a:lnTo>
                    <a:lnTo>
                      <a:pt x="360" y="52"/>
                    </a:lnTo>
                    <a:lnTo>
                      <a:pt x="367" y="55"/>
                    </a:lnTo>
                    <a:lnTo>
                      <a:pt x="370" y="59"/>
                    </a:lnTo>
                    <a:lnTo>
                      <a:pt x="370" y="62"/>
                    </a:lnTo>
                    <a:lnTo>
                      <a:pt x="370" y="65"/>
                    </a:lnTo>
                    <a:lnTo>
                      <a:pt x="373" y="65"/>
                    </a:lnTo>
                    <a:lnTo>
                      <a:pt x="377" y="62"/>
                    </a:lnTo>
                    <a:lnTo>
                      <a:pt x="380" y="59"/>
                    </a:lnTo>
                    <a:lnTo>
                      <a:pt x="383" y="59"/>
                    </a:lnTo>
                    <a:lnTo>
                      <a:pt x="382" y="62"/>
                    </a:lnTo>
                    <a:lnTo>
                      <a:pt x="378" y="62"/>
                    </a:lnTo>
                    <a:lnTo>
                      <a:pt x="378" y="67"/>
                    </a:lnTo>
                    <a:lnTo>
                      <a:pt x="375" y="69"/>
                    </a:lnTo>
                    <a:lnTo>
                      <a:pt x="372" y="70"/>
                    </a:lnTo>
                    <a:lnTo>
                      <a:pt x="370" y="73"/>
                    </a:lnTo>
                    <a:lnTo>
                      <a:pt x="368" y="77"/>
                    </a:lnTo>
                    <a:lnTo>
                      <a:pt x="365" y="77"/>
                    </a:lnTo>
                    <a:lnTo>
                      <a:pt x="363" y="75"/>
                    </a:lnTo>
                    <a:lnTo>
                      <a:pt x="360" y="77"/>
                    </a:lnTo>
                    <a:lnTo>
                      <a:pt x="360" y="80"/>
                    </a:lnTo>
                    <a:lnTo>
                      <a:pt x="355" y="80"/>
                    </a:lnTo>
                    <a:lnTo>
                      <a:pt x="350" y="78"/>
                    </a:lnTo>
                    <a:lnTo>
                      <a:pt x="345" y="80"/>
                    </a:lnTo>
                    <a:lnTo>
                      <a:pt x="338" y="88"/>
                    </a:lnTo>
                    <a:lnTo>
                      <a:pt x="337" y="97"/>
                    </a:lnTo>
                    <a:lnTo>
                      <a:pt x="335" y="103"/>
                    </a:lnTo>
                    <a:lnTo>
                      <a:pt x="337" y="108"/>
                    </a:lnTo>
                    <a:lnTo>
                      <a:pt x="337" y="112"/>
                    </a:lnTo>
                    <a:lnTo>
                      <a:pt x="337" y="115"/>
                    </a:lnTo>
                    <a:lnTo>
                      <a:pt x="332" y="113"/>
                    </a:lnTo>
                    <a:lnTo>
                      <a:pt x="330" y="112"/>
                    </a:lnTo>
                    <a:lnTo>
                      <a:pt x="322" y="110"/>
                    </a:lnTo>
                    <a:lnTo>
                      <a:pt x="315" y="107"/>
                    </a:lnTo>
                    <a:lnTo>
                      <a:pt x="308" y="100"/>
                    </a:lnTo>
                    <a:lnTo>
                      <a:pt x="305" y="97"/>
                    </a:lnTo>
                    <a:lnTo>
                      <a:pt x="300" y="97"/>
                    </a:lnTo>
                    <a:lnTo>
                      <a:pt x="297" y="97"/>
                    </a:lnTo>
                    <a:lnTo>
                      <a:pt x="295" y="95"/>
                    </a:lnTo>
                    <a:lnTo>
                      <a:pt x="290" y="95"/>
                    </a:lnTo>
                    <a:lnTo>
                      <a:pt x="285" y="98"/>
                    </a:lnTo>
                    <a:lnTo>
                      <a:pt x="279" y="105"/>
                    </a:lnTo>
                    <a:lnTo>
                      <a:pt x="277" y="103"/>
                    </a:lnTo>
                    <a:lnTo>
                      <a:pt x="270" y="100"/>
                    </a:lnTo>
                    <a:lnTo>
                      <a:pt x="267" y="100"/>
                    </a:lnTo>
                    <a:lnTo>
                      <a:pt x="264" y="103"/>
                    </a:lnTo>
                    <a:lnTo>
                      <a:pt x="264" y="107"/>
                    </a:lnTo>
                    <a:lnTo>
                      <a:pt x="265" y="110"/>
                    </a:lnTo>
                    <a:lnTo>
                      <a:pt x="270" y="113"/>
                    </a:lnTo>
                    <a:lnTo>
                      <a:pt x="275" y="112"/>
                    </a:lnTo>
                    <a:lnTo>
                      <a:pt x="282" y="118"/>
                    </a:lnTo>
                    <a:lnTo>
                      <a:pt x="287" y="120"/>
                    </a:lnTo>
                    <a:lnTo>
                      <a:pt x="292" y="120"/>
                    </a:lnTo>
                    <a:lnTo>
                      <a:pt x="295" y="122"/>
                    </a:lnTo>
                    <a:lnTo>
                      <a:pt x="290" y="127"/>
                    </a:lnTo>
                    <a:lnTo>
                      <a:pt x="290" y="130"/>
                    </a:lnTo>
                    <a:lnTo>
                      <a:pt x="287" y="127"/>
                    </a:lnTo>
                    <a:lnTo>
                      <a:pt x="280" y="127"/>
                    </a:lnTo>
                    <a:lnTo>
                      <a:pt x="277" y="128"/>
                    </a:lnTo>
                    <a:lnTo>
                      <a:pt x="279" y="132"/>
                    </a:lnTo>
                    <a:lnTo>
                      <a:pt x="275" y="135"/>
                    </a:lnTo>
                    <a:lnTo>
                      <a:pt x="270" y="142"/>
                    </a:lnTo>
                    <a:lnTo>
                      <a:pt x="270" y="142"/>
                    </a:lnTo>
                    <a:close/>
                    <a:moveTo>
                      <a:pt x="262" y="263"/>
                    </a:moveTo>
                    <a:lnTo>
                      <a:pt x="262" y="258"/>
                    </a:lnTo>
                    <a:lnTo>
                      <a:pt x="264" y="256"/>
                    </a:lnTo>
                    <a:lnTo>
                      <a:pt x="264" y="255"/>
                    </a:lnTo>
                    <a:lnTo>
                      <a:pt x="260" y="256"/>
                    </a:lnTo>
                    <a:lnTo>
                      <a:pt x="260" y="255"/>
                    </a:lnTo>
                    <a:lnTo>
                      <a:pt x="262" y="246"/>
                    </a:lnTo>
                    <a:lnTo>
                      <a:pt x="264" y="245"/>
                    </a:lnTo>
                    <a:lnTo>
                      <a:pt x="264" y="248"/>
                    </a:lnTo>
                    <a:lnTo>
                      <a:pt x="264" y="251"/>
                    </a:lnTo>
                    <a:lnTo>
                      <a:pt x="267" y="253"/>
                    </a:lnTo>
                    <a:lnTo>
                      <a:pt x="269" y="255"/>
                    </a:lnTo>
                    <a:lnTo>
                      <a:pt x="267" y="260"/>
                    </a:lnTo>
                    <a:lnTo>
                      <a:pt x="264" y="261"/>
                    </a:lnTo>
                    <a:lnTo>
                      <a:pt x="262" y="263"/>
                    </a:lnTo>
                    <a:lnTo>
                      <a:pt x="262" y="263"/>
                    </a:lnTo>
                    <a:close/>
                    <a:moveTo>
                      <a:pt x="84" y="411"/>
                    </a:moveTo>
                    <a:lnTo>
                      <a:pt x="86" y="412"/>
                    </a:lnTo>
                    <a:lnTo>
                      <a:pt x="88" y="412"/>
                    </a:lnTo>
                    <a:lnTo>
                      <a:pt x="86" y="409"/>
                    </a:lnTo>
                    <a:lnTo>
                      <a:pt x="84" y="409"/>
                    </a:lnTo>
                    <a:lnTo>
                      <a:pt x="84" y="411"/>
                    </a:lnTo>
                    <a:lnTo>
                      <a:pt x="84" y="411"/>
                    </a:lnTo>
                    <a:close/>
                    <a:moveTo>
                      <a:pt x="83" y="414"/>
                    </a:moveTo>
                    <a:lnTo>
                      <a:pt x="84" y="414"/>
                    </a:lnTo>
                    <a:lnTo>
                      <a:pt x="84" y="414"/>
                    </a:lnTo>
                    <a:lnTo>
                      <a:pt x="83" y="414"/>
                    </a:lnTo>
                    <a:lnTo>
                      <a:pt x="83" y="414"/>
                    </a:lnTo>
                    <a:close/>
                    <a:moveTo>
                      <a:pt x="79" y="416"/>
                    </a:moveTo>
                    <a:lnTo>
                      <a:pt x="83" y="417"/>
                    </a:lnTo>
                    <a:lnTo>
                      <a:pt x="83" y="416"/>
                    </a:lnTo>
                    <a:lnTo>
                      <a:pt x="79" y="416"/>
                    </a:lnTo>
                    <a:lnTo>
                      <a:pt x="79" y="416"/>
                    </a:lnTo>
                    <a:close/>
                    <a:moveTo>
                      <a:pt x="78" y="419"/>
                    </a:moveTo>
                    <a:lnTo>
                      <a:pt x="78" y="421"/>
                    </a:lnTo>
                    <a:lnTo>
                      <a:pt x="81" y="419"/>
                    </a:lnTo>
                    <a:lnTo>
                      <a:pt x="78" y="419"/>
                    </a:lnTo>
                    <a:lnTo>
                      <a:pt x="78" y="419"/>
                    </a:lnTo>
                    <a:close/>
                    <a:moveTo>
                      <a:pt x="73" y="429"/>
                    </a:moveTo>
                    <a:lnTo>
                      <a:pt x="71" y="424"/>
                    </a:lnTo>
                    <a:lnTo>
                      <a:pt x="73" y="422"/>
                    </a:lnTo>
                    <a:lnTo>
                      <a:pt x="74" y="421"/>
                    </a:lnTo>
                    <a:lnTo>
                      <a:pt x="74" y="424"/>
                    </a:lnTo>
                    <a:lnTo>
                      <a:pt x="78" y="424"/>
                    </a:lnTo>
                    <a:lnTo>
                      <a:pt x="79" y="427"/>
                    </a:lnTo>
                    <a:lnTo>
                      <a:pt x="76" y="429"/>
                    </a:lnTo>
                    <a:lnTo>
                      <a:pt x="73" y="429"/>
                    </a:lnTo>
                    <a:lnTo>
                      <a:pt x="73" y="429"/>
                    </a:lnTo>
                    <a:close/>
                    <a:moveTo>
                      <a:pt x="111" y="432"/>
                    </a:moveTo>
                    <a:lnTo>
                      <a:pt x="109" y="429"/>
                    </a:lnTo>
                    <a:lnTo>
                      <a:pt x="111" y="429"/>
                    </a:lnTo>
                    <a:lnTo>
                      <a:pt x="112" y="429"/>
                    </a:lnTo>
                    <a:lnTo>
                      <a:pt x="112" y="432"/>
                    </a:lnTo>
                    <a:lnTo>
                      <a:pt x="111" y="432"/>
                    </a:lnTo>
                    <a:lnTo>
                      <a:pt x="111" y="432"/>
                    </a:lnTo>
                    <a:close/>
                    <a:moveTo>
                      <a:pt x="106" y="439"/>
                    </a:moveTo>
                    <a:lnTo>
                      <a:pt x="107" y="437"/>
                    </a:lnTo>
                    <a:lnTo>
                      <a:pt x="109" y="437"/>
                    </a:lnTo>
                    <a:lnTo>
                      <a:pt x="107" y="441"/>
                    </a:lnTo>
                    <a:lnTo>
                      <a:pt x="106" y="439"/>
                    </a:lnTo>
                    <a:lnTo>
                      <a:pt x="106" y="439"/>
                    </a:lnTo>
                    <a:close/>
                    <a:moveTo>
                      <a:pt x="104" y="427"/>
                    </a:moveTo>
                    <a:lnTo>
                      <a:pt x="103" y="429"/>
                    </a:lnTo>
                    <a:lnTo>
                      <a:pt x="103" y="434"/>
                    </a:lnTo>
                    <a:lnTo>
                      <a:pt x="104" y="437"/>
                    </a:lnTo>
                    <a:lnTo>
                      <a:pt x="107" y="437"/>
                    </a:lnTo>
                    <a:lnTo>
                      <a:pt x="107" y="434"/>
                    </a:lnTo>
                    <a:lnTo>
                      <a:pt x="106" y="429"/>
                    </a:lnTo>
                    <a:lnTo>
                      <a:pt x="106" y="427"/>
                    </a:lnTo>
                    <a:lnTo>
                      <a:pt x="104" y="427"/>
                    </a:lnTo>
                    <a:lnTo>
                      <a:pt x="104" y="427"/>
                    </a:lnTo>
                    <a:close/>
                    <a:moveTo>
                      <a:pt x="209" y="374"/>
                    </a:moveTo>
                    <a:lnTo>
                      <a:pt x="206" y="371"/>
                    </a:lnTo>
                    <a:lnTo>
                      <a:pt x="207" y="367"/>
                    </a:lnTo>
                    <a:lnTo>
                      <a:pt x="209" y="364"/>
                    </a:lnTo>
                    <a:lnTo>
                      <a:pt x="210" y="364"/>
                    </a:lnTo>
                    <a:lnTo>
                      <a:pt x="212" y="367"/>
                    </a:lnTo>
                    <a:lnTo>
                      <a:pt x="210" y="369"/>
                    </a:lnTo>
                    <a:lnTo>
                      <a:pt x="212" y="372"/>
                    </a:lnTo>
                    <a:lnTo>
                      <a:pt x="210" y="374"/>
                    </a:lnTo>
                    <a:lnTo>
                      <a:pt x="209" y="374"/>
                    </a:lnTo>
                    <a:lnTo>
                      <a:pt x="209" y="374"/>
                    </a:lnTo>
                    <a:close/>
                    <a:moveTo>
                      <a:pt x="191" y="371"/>
                    </a:moveTo>
                    <a:lnTo>
                      <a:pt x="196" y="367"/>
                    </a:lnTo>
                    <a:lnTo>
                      <a:pt x="199" y="367"/>
                    </a:lnTo>
                    <a:lnTo>
                      <a:pt x="197" y="371"/>
                    </a:lnTo>
                    <a:lnTo>
                      <a:pt x="196" y="371"/>
                    </a:lnTo>
                    <a:lnTo>
                      <a:pt x="191" y="371"/>
                    </a:lnTo>
                    <a:lnTo>
                      <a:pt x="191" y="371"/>
                    </a:lnTo>
                    <a:close/>
                    <a:moveTo>
                      <a:pt x="169" y="417"/>
                    </a:moveTo>
                    <a:lnTo>
                      <a:pt x="171" y="417"/>
                    </a:lnTo>
                    <a:lnTo>
                      <a:pt x="172" y="416"/>
                    </a:lnTo>
                    <a:lnTo>
                      <a:pt x="176" y="417"/>
                    </a:lnTo>
                    <a:lnTo>
                      <a:pt x="177" y="416"/>
                    </a:lnTo>
                    <a:lnTo>
                      <a:pt x="177" y="414"/>
                    </a:lnTo>
                    <a:lnTo>
                      <a:pt x="174" y="409"/>
                    </a:lnTo>
                    <a:lnTo>
                      <a:pt x="176" y="406"/>
                    </a:lnTo>
                    <a:lnTo>
                      <a:pt x="177" y="399"/>
                    </a:lnTo>
                    <a:lnTo>
                      <a:pt x="184" y="396"/>
                    </a:lnTo>
                    <a:lnTo>
                      <a:pt x="186" y="394"/>
                    </a:lnTo>
                    <a:lnTo>
                      <a:pt x="191" y="394"/>
                    </a:lnTo>
                    <a:lnTo>
                      <a:pt x="197" y="399"/>
                    </a:lnTo>
                    <a:lnTo>
                      <a:pt x="199" y="401"/>
                    </a:lnTo>
                    <a:lnTo>
                      <a:pt x="202" y="401"/>
                    </a:lnTo>
                    <a:lnTo>
                      <a:pt x="204" y="392"/>
                    </a:lnTo>
                    <a:lnTo>
                      <a:pt x="209" y="387"/>
                    </a:lnTo>
                    <a:lnTo>
                      <a:pt x="210" y="384"/>
                    </a:lnTo>
                    <a:lnTo>
                      <a:pt x="209" y="384"/>
                    </a:lnTo>
                    <a:lnTo>
                      <a:pt x="207" y="381"/>
                    </a:lnTo>
                    <a:lnTo>
                      <a:pt x="202" y="376"/>
                    </a:lnTo>
                    <a:lnTo>
                      <a:pt x="199" y="376"/>
                    </a:lnTo>
                    <a:lnTo>
                      <a:pt x="196" y="374"/>
                    </a:lnTo>
                    <a:lnTo>
                      <a:pt x="189" y="374"/>
                    </a:lnTo>
                    <a:lnTo>
                      <a:pt x="182" y="377"/>
                    </a:lnTo>
                    <a:lnTo>
                      <a:pt x="182" y="381"/>
                    </a:lnTo>
                    <a:lnTo>
                      <a:pt x="181" y="384"/>
                    </a:lnTo>
                    <a:lnTo>
                      <a:pt x="176" y="386"/>
                    </a:lnTo>
                    <a:lnTo>
                      <a:pt x="172" y="387"/>
                    </a:lnTo>
                    <a:lnTo>
                      <a:pt x="171" y="387"/>
                    </a:lnTo>
                    <a:lnTo>
                      <a:pt x="167" y="381"/>
                    </a:lnTo>
                    <a:lnTo>
                      <a:pt x="166" y="381"/>
                    </a:lnTo>
                    <a:lnTo>
                      <a:pt x="159" y="387"/>
                    </a:lnTo>
                    <a:lnTo>
                      <a:pt x="159" y="392"/>
                    </a:lnTo>
                    <a:lnTo>
                      <a:pt x="154" y="394"/>
                    </a:lnTo>
                    <a:lnTo>
                      <a:pt x="154" y="399"/>
                    </a:lnTo>
                    <a:lnTo>
                      <a:pt x="161" y="401"/>
                    </a:lnTo>
                    <a:lnTo>
                      <a:pt x="161" y="404"/>
                    </a:lnTo>
                    <a:lnTo>
                      <a:pt x="159" y="406"/>
                    </a:lnTo>
                    <a:lnTo>
                      <a:pt x="159" y="409"/>
                    </a:lnTo>
                    <a:lnTo>
                      <a:pt x="164" y="414"/>
                    </a:lnTo>
                    <a:lnTo>
                      <a:pt x="169" y="414"/>
                    </a:lnTo>
                    <a:lnTo>
                      <a:pt x="169" y="417"/>
                    </a:lnTo>
                    <a:lnTo>
                      <a:pt x="169" y="417"/>
                    </a:lnTo>
                    <a:close/>
                    <a:moveTo>
                      <a:pt x="137" y="490"/>
                    </a:moveTo>
                    <a:lnTo>
                      <a:pt x="134" y="487"/>
                    </a:lnTo>
                    <a:lnTo>
                      <a:pt x="132" y="489"/>
                    </a:lnTo>
                    <a:lnTo>
                      <a:pt x="131" y="490"/>
                    </a:lnTo>
                    <a:lnTo>
                      <a:pt x="134" y="495"/>
                    </a:lnTo>
                    <a:lnTo>
                      <a:pt x="137" y="495"/>
                    </a:lnTo>
                    <a:lnTo>
                      <a:pt x="139" y="494"/>
                    </a:lnTo>
                    <a:lnTo>
                      <a:pt x="137" y="490"/>
                    </a:lnTo>
                    <a:lnTo>
                      <a:pt x="137" y="490"/>
                    </a:lnTo>
                    <a:close/>
                    <a:moveTo>
                      <a:pt x="142" y="485"/>
                    </a:moveTo>
                    <a:lnTo>
                      <a:pt x="141" y="479"/>
                    </a:lnTo>
                    <a:lnTo>
                      <a:pt x="141" y="475"/>
                    </a:lnTo>
                    <a:lnTo>
                      <a:pt x="144" y="479"/>
                    </a:lnTo>
                    <a:lnTo>
                      <a:pt x="144" y="482"/>
                    </a:lnTo>
                    <a:lnTo>
                      <a:pt x="142" y="485"/>
                    </a:lnTo>
                    <a:lnTo>
                      <a:pt x="142" y="485"/>
                    </a:lnTo>
                    <a:lnTo>
                      <a:pt x="142" y="485"/>
                    </a:lnTo>
                    <a:close/>
                    <a:moveTo>
                      <a:pt x="132" y="474"/>
                    </a:moveTo>
                    <a:lnTo>
                      <a:pt x="137" y="470"/>
                    </a:lnTo>
                    <a:lnTo>
                      <a:pt x="142" y="465"/>
                    </a:lnTo>
                    <a:lnTo>
                      <a:pt x="137" y="462"/>
                    </a:lnTo>
                    <a:lnTo>
                      <a:pt x="137" y="459"/>
                    </a:lnTo>
                    <a:lnTo>
                      <a:pt x="141" y="459"/>
                    </a:lnTo>
                    <a:lnTo>
                      <a:pt x="144" y="459"/>
                    </a:lnTo>
                    <a:lnTo>
                      <a:pt x="146" y="461"/>
                    </a:lnTo>
                    <a:lnTo>
                      <a:pt x="147" y="456"/>
                    </a:lnTo>
                    <a:lnTo>
                      <a:pt x="147" y="449"/>
                    </a:lnTo>
                    <a:lnTo>
                      <a:pt x="146" y="446"/>
                    </a:lnTo>
                    <a:lnTo>
                      <a:pt x="146" y="434"/>
                    </a:lnTo>
                    <a:lnTo>
                      <a:pt x="146" y="427"/>
                    </a:lnTo>
                    <a:lnTo>
                      <a:pt x="147" y="422"/>
                    </a:lnTo>
                    <a:lnTo>
                      <a:pt x="152" y="419"/>
                    </a:lnTo>
                    <a:lnTo>
                      <a:pt x="151" y="416"/>
                    </a:lnTo>
                    <a:lnTo>
                      <a:pt x="149" y="414"/>
                    </a:lnTo>
                    <a:lnTo>
                      <a:pt x="149" y="411"/>
                    </a:lnTo>
                    <a:lnTo>
                      <a:pt x="146" y="411"/>
                    </a:lnTo>
                    <a:lnTo>
                      <a:pt x="147" y="407"/>
                    </a:lnTo>
                    <a:lnTo>
                      <a:pt x="139" y="407"/>
                    </a:lnTo>
                    <a:lnTo>
                      <a:pt x="137" y="406"/>
                    </a:lnTo>
                    <a:lnTo>
                      <a:pt x="142" y="404"/>
                    </a:lnTo>
                    <a:lnTo>
                      <a:pt x="142" y="401"/>
                    </a:lnTo>
                    <a:lnTo>
                      <a:pt x="142" y="396"/>
                    </a:lnTo>
                    <a:lnTo>
                      <a:pt x="139" y="394"/>
                    </a:lnTo>
                    <a:lnTo>
                      <a:pt x="134" y="394"/>
                    </a:lnTo>
                    <a:lnTo>
                      <a:pt x="134" y="396"/>
                    </a:lnTo>
                    <a:lnTo>
                      <a:pt x="131" y="397"/>
                    </a:lnTo>
                    <a:lnTo>
                      <a:pt x="127" y="397"/>
                    </a:lnTo>
                    <a:lnTo>
                      <a:pt x="122" y="392"/>
                    </a:lnTo>
                    <a:lnTo>
                      <a:pt x="124" y="389"/>
                    </a:lnTo>
                    <a:lnTo>
                      <a:pt x="131" y="386"/>
                    </a:lnTo>
                    <a:lnTo>
                      <a:pt x="137" y="384"/>
                    </a:lnTo>
                    <a:lnTo>
                      <a:pt x="144" y="386"/>
                    </a:lnTo>
                    <a:lnTo>
                      <a:pt x="149" y="387"/>
                    </a:lnTo>
                    <a:lnTo>
                      <a:pt x="149" y="386"/>
                    </a:lnTo>
                    <a:lnTo>
                      <a:pt x="149" y="382"/>
                    </a:lnTo>
                    <a:lnTo>
                      <a:pt x="149" y="379"/>
                    </a:lnTo>
                    <a:lnTo>
                      <a:pt x="149" y="376"/>
                    </a:lnTo>
                    <a:lnTo>
                      <a:pt x="151" y="374"/>
                    </a:lnTo>
                    <a:lnTo>
                      <a:pt x="154" y="372"/>
                    </a:lnTo>
                    <a:lnTo>
                      <a:pt x="156" y="376"/>
                    </a:lnTo>
                    <a:lnTo>
                      <a:pt x="159" y="376"/>
                    </a:lnTo>
                    <a:lnTo>
                      <a:pt x="162" y="374"/>
                    </a:lnTo>
                    <a:lnTo>
                      <a:pt x="171" y="372"/>
                    </a:lnTo>
                    <a:lnTo>
                      <a:pt x="177" y="371"/>
                    </a:lnTo>
                    <a:lnTo>
                      <a:pt x="182" y="371"/>
                    </a:lnTo>
                    <a:lnTo>
                      <a:pt x="186" y="371"/>
                    </a:lnTo>
                    <a:lnTo>
                      <a:pt x="187" y="369"/>
                    </a:lnTo>
                    <a:lnTo>
                      <a:pt x="187" y="369"/>
                    </a:lnTo>
                    <a:lnTo>
                      <a:pt x="192" y="366"/>
                    </a:lnTo>
                    <a:lnTo>
                      <a:pt x="194" y="364"/>
                    </a:lnTo>
                    <a:lnTo>
                      <a:pt x="199" y="359"/>
                    </a:lnTo>
                    <a:lnTo>
                      <a:pt x="206" y="358"/>
                    </a:lnTo>
                    <a:lnTo>
                      <a:pt x="212" y="359"/>
                    </a:lnTo>
                    <a:lnTo>
                      <a:pt x="217" y="358"/>
                    </a:lnTo>
                    <a:lnTo>
                      <a:pt x="219" y="359"/>
                    </a:lnTo>
                    <a:lnTo>
                      <a:pt x="219" y="363"/>
                    </a:lnTo>
                    <a:lnTo>
                      <a:pt x="215" y="367"/>
                    </a:lnTo>
                    <a:lnTo>
                      <a:pt x="214" y="371"/>
                    </a:lnTo>
                    <a:lnTo>
                      <a:pt x="215" y="372"/>
                    </a:lnTo>
                    <a:lnTo>
                      <a:pt x="217" y="376"/>
                    </a:lnTo>
                    <a:lnTo>
                      <a:pt x="217" y="381"/>
                    </a:lnTo>
                    <a:lnTo>
                      <a:pt x="217" y="382"/>
                    </a:lnTo>
                    <a:lnTo>
                      <a:pt x="217" y="386"/>
                    </a:lnTo>
                    <a:lnTo>
                      <a:pt x="222" y="389"/>
                    </a:lnTo>
                    <a:lnTo>
                      <a:pt x="229" y="394"/>
                    </a:lnTo>
                    <a:lnTo>
                      <a:pt x="234" y="396"/>
                    </a:lnTo>
                    <a:lnTo>
                      <a:pt x="237" y="394"/>
                    </a:lnTo>
                    <a:lnTo>
                      <a:pt x="242" y="387"/>
                    </a:lnTo>
                    <a:lnTo>
                      <a:pt x="242" y="384"/>
                    </a:lnTo>
                    <a:lnTo>
                      <a:pt x="244" y="382"/>
                    </a:lnTo>
                    <a:lnTo>
                      <a:pt x="245" y="379"/>
                    </a:lnTo>
                    <a:lnTo>
                      <a:pt x="244" y="377"/>
                    </a:lnTo>
                    <a:lnTo>
                      <a:pt x="247" y="371"/>
                    </a:lnTo>
                    <a:lnTo>
                      <a:pt x="252" y="371"/>
                    </a:lnTo>
                    <a:lnTo>
                      <a:pt x="255" y="371"/>
                    </a:lnTo>
                    <a:lnTo>
                      <a:pt x="257" y="369"/>
                    </a:lnTo>
                    <a:lnTo>
                      <a:pt x="255" y="367"/>
                    </a:lnTo>
                    <a:lnTo>
                      <a:pt x="254" y="363"/>
                    </a:lnTo>
                    <a:lnTo>
                      <a:pt x="245" y="359"/>
                    </a:lnTo>
                    <a:lnTo>
                      <a:pt x="245" y="358"/>
                    </a:lnTo>
                    <a:lnTo>
                      <a:pt x="247" y="351"/>
                    </a:lnTo>
                    <a:lnTo>
                      <a:pt x="249" y="349"/>
                    </a:lnTo>
                    <a:lnTo>
                      <a:pt x="252" y="348"/>
                    </a:lnTo>
                    <a:lnTo>
                      <a:pt x="250" y="351"/>
                    </a:lnTo>
                    <a:lnTo>
                      <a:pt x="250" y="354"/>
                    </a:lnTo>
                    <a:lnTo>
                      <a:pt x="252" y="356"/>
                    </a:lnTo>
                    <a:lnTo>
                      <a:pt x="255" y="354"/>
                    </a:lnTo>
                    <a:lnTo>
                      <a:pt x="255" y="354"/>
                    </a:lnTo>
                    <a:lnTo>
                      <a:pt x="259" y="354"/>
                    </a:lnTo>
                    <a:lnTo>
                      <a:pt x="262" y="356"/>
                    </a:lnTo>
                    <a:lnTo>
                      <a:pt x="264" y="356"/>
                    </a:lnTo>
                    <a:lnTo>
                      <a:pt x="265" y="356"/>
                    </a:lnTo>
                    <a:lnTo>
                      <a:pt x="265" y="358"/>
                    </a:lnTo>
                    <a:lnTo>
                      <a:pt x="260" y="358"/>
                    </a:lnTo>
                    <a:lnTo>
                      <a:pt x="260" y="359"/>
                    </a:lnTo>
                    <a:lnTo>
                      <a:pt x="262" y="361"/>
                    </a:lnTo>
                    <a:lnTo>
                      <a:pt x="265" y="359"/>
                    </a:lnTo>
                    <a:lnTo>
                      <a:pt x="270" y="356"/>
                    </a:lnTo>
                    <a:lnTo>
                      <a:pt x="284" y="358"/>
                    </a:lnTo>
                    <a:lnTo>
                      <a:pt x="290" y="356"/>
                    </a:lnTo>
                    <a:lnTo>
                      <a:pt x="289" y="356"/>
                    </a:lnTo>
                    <a:lnTo>
                      <a:pt x="287" y="351"/>
                    </a:lnTo>
                    <a:lnTo>
                      <a:pt x="289" y="346"/>
                    </a:lnTo>
                    <a:lnTo>
                      <a:pt x="294" y="343"/>
                    </a:lnTo>
                    <a:lnTo>
                      <a:pt x="297" y="344"/>
                    </a:lnTo>
                    <a:lnTo>
                      <a:pt x="299" y="349"/>
                    </a:lnTo>
                    <a:lnTo>
                      <a:pt x="297" y="353"/>
                    </a:lnTo>
                    <a:lnTo>
                      <a:pt x="299" y="356"/>
                    </a:lnTo>
                    <a:lnTo>
                      <a:pt x="302" y="356"/>
                    </a:lnTo>
                    <a:lnTo>
                      <a:pt x="305" y="351"/>
                    </a:lnTo>
                    <a:lnTo>
                      <a:pt x="304" y="343"/>
                    </a:lnTo>
                    <a:lnTo>
                      <a:pt x="304" y="339"/>
                    </a:lnTo>
                    <a:lnTo>
                      <a:pt x="310" y="334"/>
                    </a:lnTo>
                    <a:lnTo>
                      <a:pt x="313" y="334"/>
                    </a:lnTo>
                    <a:lnTo>
                      <a:pt x="315" y="333"/>
                    </a:lnTo>
                    <a:lnTo>
                      <a:pt x="312" y="329"/>
                    </a:lnTo>
                    <a:lnTo>
                      <a:pt x="313" y="324"/>
                    </a:lnTo>
                    <a:lnTo>
                      <a:pt x="317" y="323"/>
                    </a:lnTo>
                    <a:lnTo>
                      <a:pt x="322" y="324"/>
                    </a:lnTo>
                    <a:lnTo>
                      <a:pt x="322" y="326"/>
                    </a:lnTo>
                    <a:lnTo>
                      <a:pt x="320" y="329"/>
                    </a:lnTo>
                    <a:lnTo>
                      <a:pt x="318" y="334"/>
                    </a:lnTo>
                    <a:lnTo>
                      <a:pt x="320" y="348"/>
                    </a:lnTo>
                    <a:lnTo>
                      <a:pt x="322" y="348"/>
                    </a:lnTo>
                    <a:lnTo>
                      <a:pt x="325" y="346"/>
                    </a:lnTo>
                    <a:lnTo>
                      <a:pt x="327" y="343"/>
                    </a:lnTo>
                    <a:lnTo>
                      <a:pt x="332" y="343"/>
                    </a:lnTo>
                    <a:lnTo>
                      <a:pt x="337" y="338"/>
                    </a:lnTo>
                    <a:lnTo>
                      <a:pt x="338" y="333"/>
                    </a:lnTo>
                    <a:lnTo>
                      <a:pt x="337" y="328"/>
                    </a:lnTo>
                    <a:lnTo>
                      <a:pt x="342" y="324"/>
                    </a:lnTo>
                    <a:lnTo>
                      <a:pt x="342" y="321"/>
                    </a:lnTo>
                    <a:lnTo>
                      <a:pt x="338" y="319"/>
                    </a:lnTo>
                    <a:lnTo>
                      <a:pt x="333" y="311"/>
                    </a:lnTo>
                    <a:lnTo>
                      <a:pt x="332" y="306"/>
                    </a:lnTo>
                    <a:lnTo>
                      <a:pt x="330" y="296"/>
                    </a:lnTo>
                    <a:lnTo>
                      <a:pt x="332" y="284"/>
                    </a:lnTo>
                    <a:lnTo>
                      <a:pt x="332" y="276"/>
                    </a:lnTo>
                    <a:lnTo>
                      <a:pt x="327" y="260"/>
                    </a:lnTo>
                    <a:lnTo>
                      <a:pt x="322" y="253"/>
                    </a:lnTo>
                    <a:lnTo>
                      <a:pt x="322" y="248"/>
                    </a:lnTo>
                    <a:lnTo>
                      <a:pt x="322" y="240"/>
                    </a:lnTo>
                    <a:lnTo>
                      <a:pt x="330" y="236"/>
                    </a:lnTo>
                    <a:lnTo>
                      <a:pt x="333" y="236"/>
                    </a:lnTo>
                    <a:lnTo>
                      <a:pt x="335" y="240"/>
                    </a:lnTo>
                    <a:lnTo>
                      <a:pt x="337" y="238"/>
                    </a:lnTo>
                    <a:lnTo>
                      <a:pt x="335" y="233"/>
                    </a:lnTo>
                    <a:lnTo>
                      <a:pt x="335" y="230"/>
                    </a:lnTo>
                    <a:lnTo>
                      <a:pt x="333" y="228"/>
                    </a:lnTo>
                    <a:lnTo>
                      <a:pt x="332" y="225"/>
                    </a:lnTo>
                    <a:lnTo>
                      <a:pt x="332" y="221"/>
                    </a:lnTo>
                    <a:lnTo>
                      <a:pt x="332" y="218"/>
                    </a:lnTo>
                    <a:lnTo>
                      <a:pt x="333" y="216"/>
                    </a:lnTo>
                    <a:lnTo>
                      <a:pt x="333" y="215"/>
                    </a:lnTo>
                    <a:lnTo>
                      <a:pt x="335" y="211"/>
                    </a:lnTo>
                    <a:lnTo>
                      <a:pt x="333" y="210"/>
                    </a:lnTo>
                    <a:lnTo>
                      <a:pt x="333" y="203"/>
                    </a:lnTo>
                    <a:lnTo>
                      <a:pt x="333" y="201"/>
                    </a:lnTo>
                    <a:lnTo>
                      <a:pt x="332" y="198"/>
                    </a:lnTo>
                    <a:lnTo>
                      <a:pt x="330" y="190"/>
                    </a:lnTo>
                    <a:lnTo>
                      <a:pt x="327" y="181"/>
                    </a:lnTo>
                    <a:lnTo>
                      <a:pt x="323" y="181"/>
                    </a:lnTo>
                    <a:lnTo>
                      <a:pt x="322" y="181"/>
                    </a:lnTo>
                    <a:lnTo>
                      <a:pt x="320" y="171"/>
                    </a:lnTo>
                    <a:lnTo>
                      <a:pt x="317" y="168"/>
                    </a:lnTo>
                    <a:lnTo>
                      <a:pt x="307" y="158"/>
                    </a:lnTo>
                    <a:lnTo>
                      <a:pt x="304" y="153"/>
                    </a:lnTo>
                    <a:lnTo>
                      <a:pt x="302" y="147"/>
                    </a:lnTo>
                    <a:lnTo>
                      <a:pt x="302" y="140"/>
                    </a:lnTo>
                    <a:lnTo>
                      <a:pt x="302" y="138"/>
                    </a:lnTo>
                    <a:lnTo>
                      <a:pt x="299" y="140"/>
                    </a:lnTo>
                    <a:lnTo>
                      <a:pt x="297" y="140"/>
                    </a:lnTo>
                    <a:lnTo>
                      <a:pt x="295" y="138"/>
                    </a:lnTo>
                    <a:lnTo>
                      <a:pt x="290" y="137"/>
                    </a:lnTo>
                    <a:lnTo>
                      <a:pt x="289" y="137"/>
                    </a:lnTo>
                    <a:lnTo>
                      <a:pt x="289" y="138"/>
                    </a:lnTo>
                    <a:lnTo>
                      <a:pt x="287" y="143"/>
                    </a:lnTo>
                    <a:lnTo>
                      <a:pt x="287" y="147"/>
                    </a:lnTo>
                    <a:lnTo>
                      <a:pt x="289" y="148"/>
                    </a:lnTo>
                    <a:lnTo>
                      <a:pt x="292" y="148"/>
                    </a:lnTo>
                    <a:lnTo>
                      <a:pt x="297" y="143"/>
                    </a:lnTo>
                    <a:lnTo>
                      <a:pt x="299" y="148"/>
                    </a:lnTo>
                    <a:lnTo>
                      <a:pt x="297" y="153"/>
                    </a:lnTo>
                    <a:lnTo>
                      <a:pt x="294" y="155"/>
                    </a:lnTo>
                    <a:lnTo>
                      <a:pt x="292" y="152"/>
                    </a:lnTo>
                    <a:lnTo>
                      <a:pt x="290" y="152"/>
                    </a:lnTo>
                    <a:lnTo>
                      <a:pt x="292" y="158"/>
                    </a:lnTo>
                    <a:lnTo>
                      <a:pt x="289" y="160"/>
                    </a:lnTo>
                    <a:lnTo>
                      <a:pt x="285" y="158"/>
                    </a:lnTo>
                    <a:lnTo>
                      <a:pt x="285" y="155"/>
                    </a:lnTo>
                    <a:lnTo>
                      <a:pt x="284" y="150"/>
                    </a:lnTo>
                    <a:lnTo>
                      <a:pt x="284" y="148"/>
                    </a:lnTo>
                    <a:lnTo>
                      <a:pt x="280" y="148"/>
                    </a:lnTo>
                    <a:lnTo>
                      <a:pt x="277" y="148"/>
                    </a:lnTo>
                    <a:lnTo>
                      <a:pt x="277" y="152"/>
                    </a:lnTo>
                    <a:lnTo>
                      <a:pt x="279" y="157"/>
                    </a:lnTo>
                    <a:lnTo>
                      <a:pt x="279" y="162"/>
                    </a:lnTo>
                    <a:lnTo>
                      <a:pt x="275" y="163"/>
                    </a:lnTo>
                    <a:lnTo>
                      <a:pt x="272" y="167"/>
                    </a:lnTo>
                    <a:lnTo>
                      <a:pt x="272" y="170"/>
                    </a:lnTo>
                    <a:lnTo>
                      <a:pt x="279" y="175"/>
                    </a:lnTo>
                    <a:lnTo>
                      <a:pt x="280" y="178"/>
                    </a:lnTo>
                    <a:lnTo>
                      <a:pt x="279" y="183"/>
                    </a:lnTo>
                    <a:lnTo>
                      <a:pt x="275" y="186"/>
                    </a:lnTo>
                    <a:lnTo>
                      <a:pt x="272" y="185"/>
                    </a:lnTo>
                    <a:lnTo>
                      <a:pt x="270" y="188"/>
                    </a:lnTo>
                    <a:lnTo>
                      <a:pt x="274" y="191"/>
                    </a:lnTo>
                    <a:lnTo>
                      <a:pt x="279" y="191"/>
                    </a:lnTo>
                    <a:lnTo>
                      <a:pt x="280" y="188"/>
                    </a:lnTo>
                    <a:lnTo>
                      <a:pt x="285" y="196"/>
                    </a:lnTo>
                    <a:lnTo>
                      <a:pt x="287" y="208"/>
                    </a:lnTo>
                    <a:lnTo>
                      <a:pt x="287" y="213"/>
                    </a:lnTo>
                    <a:lnTo>
                      <a:pt x="287" y="225"/>
                    </a:lnTo>
                    <a:lnTo>
                      <a:pt x="282" y="240"/>
                    </a:lnTo>
                    <a:lnTo>
                      <a:pt x="284" y="245"/>
                    </a:lnTo>
                    <a:lnTo>
                      <a:pt x="282" y="251"/>
                    </a:lnTo>
                    <a:lnTo>
                      <a:pt x="275" y="255"/>
                    </a:lnTo>
                    <a:lnTo>
                      <a:pt x="274" y="261"/>
                    </a:lnTo>
                    <a:lnTo>
                      <a:pt x="274" y="268"/>
                    </a:lnTo>
                    <a:lnTo>
                      <a:pt x="270" y="273"/>
                    </a:lnTo>
                    <a:lnTo>
                      <a:pt x="270" y="276"/>
                    </a:lnTo>
                    <a:lnTo>
                      <a:pt x="264" y="281"/>
                    </a:lnTo>
                    <a:lnTo>
                      <a:pt x="252" y="288"/>
                    </a:lnTo>
                    <a:lnTo>
                      <a:pt x="249" y="289"/>
                    </a:lnTo>
                    <a:lnTo>
                      <a:pt x="245" y="293"/>
                    </a:lnTo>
                    <a:lnTo>
                      <a:pt x="240" y="291"/>
                    </a:lnTo>
                    <a:lnTo>
                      <a:pt x="234" y="284"/>
                    </a:lnTo>
                    <a:lnTo>
                      <a:pt x="234" y="281"/>
                    </a:lnTo>
                    <a:lnTo>
                      <a:pt x="237" y="281"/>
                    </a:lnTo>
                    <a:lnTo>
                      <a:pt x="239" y="276"/>
                    </a:lnTo>
                    <a:lnTo>
                      <a:pt x="239" y="274"/>
                    </a:lnTo>
                    <a:lnTo>
                      <a:pt x="242" y="271"/>
                    </a:lnTo>
                    <a:lnTo>
                      <a:pt x="242" y="269"/>
                    </a:lnTo>
                    <a:lnTo>
                      <a:pt x="235" y="271"/>
                    </a:lnTo>
                    <a:lnTo>
                      <a:pt x="232" y="274"/>
                    </a:lnTo>
                    <a:lnTo>
                      <a:pt x="227" y="276"/>
                    </a:lnTo>
                    <a:lnTo>
                      <a:pt x="225" y="281"/>
                    </a:lnTo>
                    <a:lnTo>
                      <a:pt x="229" y="286"/>
                    </a:lnTo>
                    <a:lnTo>
                      <a:pt x="230" y="296"/>
                    </a:lnTo>
                    <a:lnTo>
                      <a:pt x="229" y="301"/>
                    </a:lnTo>
                    <a:lnTo>
                      <a:pt x="224" y="306"/>
                    </a:lnTo>
                    <a:lnTo>
                      <a:pt x="224" y="309"/>
                    </a:lnTo>
                    <a:lnTo>
                      <a:pt x="222" y="311"/>
                    </a:lnTo>
                    <a:lnTo>
                      <a:pt x="220" y="319"/>
                    </a:lnTo>
                    <a:lnTo>
                      <a:pt x="224" y="321"/>
                    </a:lnTo>
                    <a:lnTo>
                      <a:pt x="224" y="324"/>
                    </a:lnTo>
                    <a:lnTo>
                      <a:pt x="222" y="326"/>
                    </a:lnTo>
                    <a:lnTo>
                      <a:pt x="222" y="328"/>
                    </a:lnTo>
                    <a:lnTo>
                      <a:pt x="222" y="329"/>
                    </a:lnTo>
                    <a:lnTo>
                      <a:pt x="219" y="331"/>
                    </a:lnTo>
                    <a:lnTo>
                      <a:pt x="220" y="333"/>
                    </a:lnTo>
                    <a:lnTo>
                      <a:pt x="217" y="333"/>
                    </a:lnTo>
                    <a:lnTo>
                      <a:pt x="215" y="331"/>
                    </a:lnTo>
                    <a:lnTo>
                      <a:pt x="210" y="334"/>
                    </a:lnTo>
                    <a:lnTo>
                      <a:pt x="209" y="333"/>
                    </a:lnTo>
                    <a:lnTo>
                      <a:pt x="209" y="329"/>
                    </a:lnTo>
                    <a:lnTo>
                      <a:pt x="207" y="328"/>
                    </a:lnTo>
                    <a:lnTo>
                      <a:pt x="204" y="331"/>
                    </a:lnTo>
                    <a:lnTo>
                      <a:pt x="201" y="331"/>
                    </a:lnTo>
                    <a:lnTo>
                      <a:pt x="199" y="329"/>
                    </a:lnTo>
                    <a:lnTo>
                      <a:pt x="189" y="333"/>
                    </a:lnTo>
                    <a:lnTo>
                      <a:pt x="184" y="334"/>
                    </a:lnTo>
                    <a:lnTo>
                      <a:pt x="177" y="336"/>
                    </a:lnTo>
                    <a:lnTo>
                      <a:pt x="172" y="336"/>
                    </a:lnTo>
                    <a:lnTo>
                      <a:pt x="166" y="338"/>
                    </a:lnTo>
                    <a:lnTo>
                      <a:pt x="164" y="338"/>
                    </a:lnTo>
                    <a:lnTo>
                      <a:pt x="159" y="338"/>
                    </a:lnTo>
                    <a:lnTo>
                      <a:pt x="149" y="344"/>
                    </a:lnTo>
                    <a:lnTo>
                      <a:pt x="147" y="349"/>
                    </a:lnTo>
                    <a:lnTo>
                      <a:pt x="144" y="351"/>
                    </a:lnTo>
                    <a:lnTo>
                      <a:pt x="144" y="354"/>
                    </a:lnTo>
                    <a:lnTo>
                      <a:pt x="137" y="361"/>
                    </a:lnTo>
                    <a:lnTo>
                      <a:pt x="132" y="363"/>
                    </a:lnTo>
                    <a:lnTo>
                      <a:pt x="129" y="366"/>
                    </a:lnTo>
                    <a:lnTo>
                      <a:pt x="127" y="369"/>
                    </a:lnTo>
                    <a:lnTo>
                      <a:pt x="124" y="372"/>
                    </a:lnTo>
                    <a:lnTo>
                      <a:pt x="117" y="374"/>
                    </a:lnTo>
                    <a:lnTo>
                      <a:pt x="116" y="377"/>
                    </a:lnTo>
                    <a:lnTo>
                      <a:pt x="117" y="384"/>
                    </a:lnTo>
                    <a:lnTo>
                      <a:pt x="119" y="384"/>
                    </a:lnTo>
                    <a:lnTo>
                      <a:pt x="121" y="387"/>
                    </a:lnTo>
                    <a:lnTo>
                      <a:pt x="119" y="389"/>
                    </a:lnTo>
                    <a:lnTo>
                      <a:pt x="116" y="389"/>
                    </a:lnTo>
                    <a:lnTo>
                      <a:pt x="111" y="394"/>
                    </a:lnTo>
                    <a:lnTo>
                      <a:pt x="109" y="396"/>
                    </a:lnTo>
                    <a:lnTo>
                      <a:pt x="106" y="397"/>
                    </a:lnTo>
                    <a:lnTo>
                      <a:pt x="101" y="402"/>
                    </a:lnTo>
                    <a:lnTo>
                      <a:pt x="99" y="406"/>
                    </a:lnTo>
                    <a:lnTo>
                      <a:pt x="96" y="406"/>
                    </a:lnTo>
                    <a:lnTo>
                      <a:pt x="91" y="409"/>
                    </a:lnTo>
                    <a:lnTo>
                      <a:pt x="93" y="409"/>
                    </a:lnTo>
                    <a:lnTo>
                      <a:pt x="96" y="409"/>
                    </a:lnTo>
                    <a:lnTo>
                      <a:pt x="98" y="412"/>
                    </a:lnTo>
                    <a:lnTo>
                      <a:pt x="99" y="417"/>
                    </a:lnTo>
                    <a:lnTo>
                      <a:pt x="98" y="419"/>
                    </a:lnTo>
                    <a:lnTo>
                      <a:pt x="98" y="416"/>
                    </a:lnTo>
                    <a:lnTo>
                      <a:pt x="94" y="412"/>
                    </a:lnTo>
                    <a:lnTo>
                      <a:pt x="94" y="416"/>
                    </a:lnTo>
                    <a:lnTo>
                      <a:pt x="94" y="421"/>
                    </a:lnTo>
                    <a:lnTo>
                      <a:pt x="98" y="422"/>
                    </a:lnTo>
                    <a:lnTo>
                      <a:pt x="99" y="424"/>
                    </a:lnTo>
                    <a:lnTo>
                      <a:pt x="98" y="427"/>
                    </a:lnTo>
                    <a:lnTo>
                      <a:pt x="99" y="426"/>
                    </a:lnTo>
                    <a:lnTo>
                      <a:pt x="101" y="422"/>
                    </a:lnTo>
                    <a:lnTo>
                      <a:pt x="104" y="422"/>
                    </a:lnTo>
                    <a:lnTo>
                      <a:pt x="107" y="422"/>
                    </a:lnTo>
                    <a:lnTo>
                      <a:pt x="106" y="424"/>
                    </a:lnTo>
                    <a:lnTo>
                      <a:pt x="107" y="426"/>
                    </a:lnTo>
                    <a:lnTo>
                      <a:pt x="111" y="424"/>
                    </a:lnTo>
                    <a:lnTo>
                      <a:pt x="111" y="421"/>
                    </a:lnTo>
                    <a:lnTo>
                      <a:pt x="107" y="417"/>
                    </a:lnTo>
                    <a:lnTo>
                      <a:pt x="103" y="419"/>
                    </a:lnTo>
                    <a:lnTo>
                      <a:pt x="104" y="417"/>
                    </a:lnTo>
                    <a:lnTo>
                      <a:pt x="104" y="416"/>
                    </a:lnTo>
                    <a:lnTo>
                      <a:pt x="104" y="412"/>
                    </a:lnTo>
                    <a:lnTo>
                      <a:pt x="106" y="409"/>
                    </a:lnTo>
                    <a:lnTo>
                      <a:pt x="109" y="411"/>
                    </a:lnTo>
                    <a:lnTo>
                      <a:pt x="114" y="417"/>
                    </a:lnTo>
                    <a:lnTo>
                      <a:pt x="114" y="422"/>
                    </a:lnTo>
                    <a:lnTo>
                      <a:pt x="116" y="424"/>
                    </a:lnTo>
                    <a:lnTo>
                      <a:pt x="117" y="432"/>
                    </a:lnTo>
                    <a:lnTo>
                      <a:pt x="114" y="439"/>
                    </a:lnTo>
                    <a:lnTo>
                      <a:pt x="109" y="439"/>
                    </a:lnTo>
                    <a:lnTo>
                      <a:pt x="111" y="442"/>
                    </a:lnTo>
                    <a:lnTo>
                      <a:pt x="114" y="447"/>
                    </a:lnTo>
                    <a:lnTo>
                      <a:pt x="116" y="456"/>
                    </a:lnTo>
                    <a:lnTo>
                      <a:pt x="119" y="459"/>
                    </a:lnTo>
                    <a:lnTo>
                      <a:pt x="119" y="464"/>
                    </a:lnTo>
                    <a:lnTo>
                      <a:pt x="117" y="465"/>
                    </a:lnTo>
                    <a:lnTo>
                      <a:pt x="121" y="469"/>
                    </a:lnTo>
                    <a:lnTo>
                      <a:pt x="124" y="469"/>
                    </a:lnTo>
                    <a:lnTo>
                      <a:pt x="127" y="470"/>
                    </a:lnTo>
                    <a:lnTo>
                      <a:pt x="129" y="469"/>
                    </a:lnTo>
                    <a:lnTo>
                      <a:pt x="129" y="467"/>
                    </a:lnTo>
                    <a:lnTo>
                      <a:pt x="126" y="462"/>
                    </a:lnTo>
                    <a:lnTo>
                      <a:pt x="126" y="454"/>
                    </a:lnTo>
                    <a:lnTo>
                      <a:pt x="127" y="452"/>
                    </a:lnTo>
                    <a:lnTo>
                      <a:pt x="131" y="454"/>
                    </a:lnTo>
                    <a:lnTo>
                      <a:pt x="129" y="456"/>
                    </a:lnTo>
                    <a:lnTo>
                      <a:pt x="129" y="457"/>
                    </a:lnTo>
                    <a:lnTo>
                      <a:pt x="132" y="462"/>
                    </a:lnTo>
                    <a:lnTo>
                      <a:pt x="134" y="467"/>
                    </a:lnTo>
                    <a:lnTo>
                      <a:pt x="132" y="470"/>
                    </a:lnTo>
                    <a:lnTo>
                      <a:pt x="132" y="4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2" name="Freeform 8"/>
              <p:cNvSpPr>
                <a:spLocks noEditPoints="1"/>
              </p:cNvSpPr>
              <p:nvPr/>
            </p:nvSpPr>
            <p:spPr bwMode="auto">
              <a:xfrm>
                <a:off x="7990420" y="2760258"/>
                <a:ext cx="58863" cy="81970"/>
              </a:xfrm>
              <a:custGeom>
                <a:avLst/>
                <a:gdLst/>
                <a:ahLst/>
                <a:cxnLst>
                  <a:cxn ang="0">
                    <a:pos x="69" y="111"/>
                  </a:cxn>
                  <a:cxn ang="0">
                    <a:pos x="68" y="114"/>
                  </a:cxn>
                  <a:cxn ang="0">
                    <a:pos x="68" y="113"/>
                  </a:cxn>
                  <a:cxn ang="0">
                    <a:pos x="31" y="126"/>
                  </a:cxn>
                  <a:cxn ang="0">
                    <a:pos x="33" y="124"/>
                  </a:cxn>
                  <a:cxn ang="0">
                    <a:pos x="36" y="124"/>
                  </a:cxn>
                  <a:cxn ang="0">
                    <a:pos x="35" y="128"/>
                  </a:cxn>
                  <a:cxn ang="0">
                    <a:pos x="33" y="129"/>
                  </a:cxn>
                  <a:cxn ang="0">
                    <a:pos x="84" y="108"/>
                  </a:cxn>
                  <a:cxn ang="0">
                    <a:pos x="86" y="113"/>
                  </a:cxn>
                  <a:cxn ang="0">
                    <a:pos x="89" y="111"/>
                  </a:cxn>
                  <a:cxn ang="0">
                    <a:pos x="88" y="106"/>
                  </a:cxn>
                  <a:cxn ang="0">
                    <a:pos x="104" y="134"/>
                  </a:cxn>
                  <a:cxn ang="0">
                    <a:pos x="106" y="129"/>
                  </a:cxn>
                  <a:cxn ang="0">
                    <a:pos x="108" y="133"/>
                  </a:cxn>
                  <a:cxn ang="0">
                    <a:pos x="104" y="134"/>
                  </a:cxn>
                  <a:cxn ang="0">
                    <a:pos x="108" y="124"/>
                  </a:cxn>
                  <a:cxn ang="0">
                    <a:pos x="106" y="123"/>
                  </a:cxn>
                  <a:cxn ang="0">
                    <a:pos x="106" y="118"/>
                  </a:cxn>
                  <a:cxn ang="0">
                    <a:pos x="109" y="118"/>
                  </a:cxn>
                  <a:cxn ang="0">
                    <a:pos x="108" y="124"/>
                  </a:cxn>
                  <a:cxn ang="0">
                    <a:pos x="39" y="158"/>
                  </a:cxn>
                  <a:cxn ang="0">
                    <a:pos x="39" y="151"/>
                  </a:cxn>
                  <a:cxn ang="0">
                    <a:pos x="56" y="149"/>
                  </a:cxn>
                  <a:cxn ang="0">
                    <a:pos x="53" y="158"/>
                  </a:cxn>
                  <a:cxn ang="0">
                    <a:pos x="39" y="158"/>
                  </a:cxn>
                  <a:cxn ang="0">
                    <a:pos x="0" y="26"/>
                  </a:cxn>
                  <a:cxn ang="0">
                    <a:pos x="5" y="25"/>
                  </a:cxn>
                  <a:cxn ang="0">
                    <a:pos x="10" y="26"/>
                  </a:cxn>
                  <a:cxn ang="0">
                    <a:pos x="25" y="41"/>
                  </a:cxn>
                  <a:cxn ang="0">
                    <a:pos x="26" y="45"/>
                  </a:cxn>
                  <a:cxn ang="0">
                    <a:pos x="31" y="53"/>
                  </a:cxn>
                  <a:cxn ang="0">
                    <a:pos x="21" y="48"/>
                  </a:cxn>
                  <a:cxn ang="0">
                    <a:pos x="16" y="51"/>
                  </a:cxn>
                  <a:cxn ang="0">
                    <a:pos x="23" y="61"/>
                  </a:cxn>
                  <a:cxn ang="0">
                    <a:pos x="28" y="66"/>
                  </a:cxn>
                  <a:cxn ang="0">
                    <a:pos x="31" y="76"/>
                  </a:cxn>
                  <a:cxn ang="0">
                    <a:pos x="36" y="83"/>
                  </a:cxn>
                  <a:cxn ang="0">
                    <a:pos x="28" y="90"/>
                  </a:cxn>
                  <a:cxn ang="0">
                    <a:pos x="33" y="96"/>
                  </a:cxn>
                  <a:cxn ang="0">
                    <a:pos x="30" y="101"/>
                  </a:cxn>
                  <a:cxn ang="0">
                    <a:pos x="28" y="106"/>
                  </a:cxn>
                  <a:cxn ang="0">
                    <a:pos x="38" y="116"/>
                  </a:cxn>
                  <a:cxn ang="0">
                    <a:pos x="41" y="123"/>
                  </a:cxn>
                  <a:cxn ang="0">
                    <a:pos x="44" y="124"/>
                  </a:cxn>
                  <a:cxn ang="0">
                    <a:pos x="46" y="121"/>
                  </a:cxn>
                  <a:cxn ang="0">
                    <a:pos x="61" y="110"/>
                  </a:cxn>
                  <a:cxn ang="0">
                    <a:pos x="66" y="110"/>
                  </a:cxn>
                  <a:cxn ang="0">
                    <a:pos x="73" y="106"/>
                  </a:cxn>
                  <a:cxn ang="0">
                    <a:pos x="79" y="110"/>
                  </a:cxn>
                  <a:cxn ang="0">
                    <a:pos x="83" y="110"/>
                  </a:cxn>
                  <a:cxn ang="0">
                    <a:pos x="88" y="103"/>
                  </a:cxn>
                  <a:cxn ang="0">
                    <a:pos x="99" y="96"/>
                  </a:cxn>
                  <a:cxn ang="0">
                    <a:pos x="101" y="91"/>
                  </a:cxn>
                  <a:cxn ang="0">
                    <a:pos x="98" y="75"/>
                  </a:cxn>
                  <a:cxn ang="0">
                    <a:pos x="96" y="71"/>
                  </a:cxn>
                  <a:cxn ang="0">
                    <a:pos x="89" y="51"/>
                  </a:cxn>
                  <a:cxn ang="0">
                    <a:pos x="74" y="26"/>
                  </a:cxn>
                  <a:cxn ang="0">
                    <a:pos x="53" y="0"/>
                  </a:cxn>
                  <a:cxn ang="0">
                    <a:pos x="26" y="7"/>
                  </a:cxn>
                  <a:cxn ang="0">
                    <a:pos x="10" y="15"/>
                  </a:cxn>
                  <a:cxn ang="0">
                    <a:pos x="0" y="26"/>
                  </a:cxn>
                </a:cxnLst>
                <a:rect l="0" t="0" r="r" b="b"/>
                <a:pathLst>
                  <a:path w="111" h="158">
                    <a:moveTo>
                      <a:pt x="68" y="113"/>
                    </a:moveTo>
                    <a:lnTo>
                      <a:pt x="69" y="111"/>
                    </a:lnTo>
                    <a:lnTo>
                      <a:pt x="73" y="113"/>
                    </a:lnTo>
                    <a:lnTo>
                      <a:pt x="68" y="114"/>
                    </a:lnTo>
                    <a:lnTo>
                      <a:pt x="68" y="113"/>
                    </a:lnTo>
                    <a:lnTo>
                      <a:pt x="68" y="113"/>
                    </a:lnTo>
                    <a:close/>
                    <a:moveTo>
                      <a:pt x="33" y="129"/>
                    </a:moveTo>
                    <a:lnTo>
                      <a:pt x="31" y="126"/>
                    </a:lnTo>
                    <a:lnTo>
                      <a:pt x="31" y="124"/>
                    </a:lnTo>
                    <a:lnTo>
                      <a:pt x="33" y="124"/>
                    </a:lnTo>
                    <a:lnTo>
                      <a:pt x="35" y="121"/>
                    </a:lnTo>
                    <a:lnTo>
                      <a:pt x="36" y="124"/>
                    </a:lnTo>
                    <a:lnTo>
                      <a:pt x="36" y="128"/>
                    </a:lnTo>
                    <a:lnTo>
                      <a:pt x="35" y="128"/>
                    </a:lnTo>
                    <a:lnTo>
                      <a:pt x="33" y="129"/>
                    </a:lnTo>
                    <a:lnTo>
                      <a:pt x="33" y="129"/>
                    </a:lnTo>
                    <a:close/>
                    <a:moveTo>
                      <a:pt x="88" y="106"/>
                    </a:moveTo>
                    <a:lnTo>
                      <a:pt x="84" y="108"/>
                    </a:lnTo>
                    <a:lnTo>
                      <a:pt x="84" y="111"/>
                    </a:lnTo>
                    <a:lnTo>
                      <a:pt x="86" y="113"/>
                    </a:lnTo>
                    <a:lnTo>
                      <a:pt x="89" y="113"/>
                    </a:lnTo>
                    <a:lnTo>
                      <a:pt x="89" y="111"/>
                    </a:lnTo>
                    <a:lnTo>
                      <a:pt x="89" y="106"/>
                    </a:lnTo>
                    <a:lnTo>
                      <a:pt x="88" y="106"/>
                    </a:lnTo>
                    <a:lnTo>
                      <a:pt x="88" y="106"/>
                    </a:lnTo>
                    <a:close/>
                    <a:moveTo>
                      <a:pt x="104" y="134"/>
                    </a:moveTo>
                    <a:lnTo>
                      <a:pt x="104" y="131"/>
                    </a:lnTo>
                    <a:lnTo>
                      <a:pt x="106" y="129"/>
                    </a:lnTo>
                    <a:lnTo>
                      <a:pt x="109" y="129"/>
                    </a:lnTo>
                    <a:lnTo>
                      <a:pt x="108" y="133"/>
                    </a:lnTo>
                    <a:lnTo>
                      <a:pt x="106" y="134"/>
                    </a:lnTo>
                    <a:lnTo>
                      <a:pt x="104" y="134"/>
                    </a:lnTo>
                    <a:lnTo>
                      <a:pt x="104" y="134"/>
                    </a:lnTo>
                    <a:close/>
                    <a:moveTo>
                      <a:pt x="108" y="124"/>
                    </a:moveTo>
                    <a:lnTo>
                      <a:pt x="106" y="126"/>
                    </a:lnTo>
                    <a:lnTo>
                      <a:pt x="106" y="123"/>
                    </a:lnTo>
                    <a:lnTo>
                      <a:pt x="106" y="119"/>
                    </a:lnTo>
                    <a:lnTo>
                      <a:pt x="106" y="118"/>
                    </a:lnTo>
                    <a:lnTo>
                      <a:pt x="109" y="116"/>
                    </a:lnTo>
                    <a:lnTo>
                      <a:pt x="109" y="118"/>
                    </a:lnTo>
                    <a:lnTo>
                      <a:pt x="111" y="121"/>
                    </a:lnTo>
                    <a:lnTo>
                      <a:pt x="108" y="124"/>
                    </a:lnTo>
                    <a:lnTo>
                      <a:pt x="108" y="124"/>
                    </a:lnTo>
                    <a:close/>
                    <a:moveTo>
                      <a:pt x="39" y="158"/>
                    </a:moveTo>
                    <a:lnTo>
                      <a:pt x="38" y="154"/>
                    </a:lnTo>
                    <a:lnTo>
                      <a:pt x="39" y="151"/>
                    </a:lnTo>
                    <a:lnTo>
                      <a:pt x="51" y="148"/>
                    </a:lnTo>
                    <a:lnTo>
                      <a:pt x="56" y="149"/>
                    </a:lnTo>
                    <a:lnTo>
                      <a:pt x="56" y="153"/>
                    </a:lnTo>
                    <a:lnTo>
                      <a:pt x="53" y="158"/>
                    </a:lnTo>
                    <a:lnTo>
                      <a:pt x="44" y="158"/>
                    </a:lnTo>
                    <a:lnTo>
                      <a:pt x="39" y="158"/>
                    </a:lnTo>
                    <a:lnTo>
                      <a:pt x="39" y="158"/>
                    </a:lnTo>
                    <a:close/>
                    <a:moveTo>
                      <a:pt x="0" y="26"/>
                    </a:moveTo>
                    <a:lnTo>
                      <a:pt x="1" y="26"/>
                    </a:lnTo>
                    <a:lnTo>
                      <a:pt x="5" y="25"/>
                    </a:lnTo>
                    <a:lnTo>
                      <a:pt x="13" y="25"/>
                    </a:lnTo>
                    <a:lnTo>
                      <a:pt x="10" y="26"/>
                    </a:lnTo>
                    <a:lnTo>
                      <a:pt x="18" y="33"/>
                    </a:lnTo>
                    <a:lnTo>
                      <a:pt x="25" y="41"/>
                    </a:lnTo>
                    <a:lnTo>
                      <a:pt x="28" y="43"/>
                    </a:lnTo>
                    <a:lnTo>
                      <a:pt x="26" y="45"/>
                    </a:lnTo>
                    <a:lnTo>
                      <a:pt x="30" y="50"/>
                    </a:lnTo>
                    <a:lnTo>
                      <a:pt x="31" y="53"/>
                    </a:lnTo>
                    <a:lnTo>
                      <a:pt x="23" y="50"/>
                    </a:lnTo>
                    <a:lnTo>
                      <a:pt x="21" y="48"/>
                    </a:lnTo>
                    <a:lnTo>
                      <a:pt x="20" y="51"/>
                    </a:lnTo>
                    <a:lnTo>
                      <a:pt x="16" y="51"/>
                    </a:lnTo>
                    <a:lnTo>
                      <a:pt x="11" y="58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8" y="66"/>
                    </a:lnTo>
                    <a:lnTo>
                      <a:pt x="28" y="75"/>
                    </a:lnTo>
                    <a:lnTo>
                      <a:pt x="31" y="76"/>
                    </a:lnTo>
                    <a:lnTo>
                      <a:pt x="33" y="75"/>
                    </a:lnTo>
                    <a:lnTo>
                      <a:pt x="36" y="83"/>
                    </a:lnTo>
                    <a:lnTo>
                      <a:pt x="30" y="88"/>
                    </a:lnTo>
                    <a:lnTo>
                      <a:pt x="28" y="90"/>
                    </a:lnTo>
                    <a:lnTo>
                      <a:pt x="31" y="93"/>
                    </a:lnTo>
                    <a:lnTo>
                      <a:pt x="33" y="96"/>
                    </a:lnTo>
                    <a:lnTo>
                      <a:pt x="30" y="98"/>
                    </a:lnTo>
                    <a:lnTo>
                      <a:pt x="30" y="101"/>
                    </a:lnTo>
                    <a:lnTo>
                      <a:pt x="31" y="106"/>
                    </a:lnTo>
                    <a:lnTo>
                      <a:pt x="28" y="106"/>
                    </a:lnTo>
                    <a:lnTo>
                      <a:pt x="35" y="116"/>
                    </a:lnTo>
                    <a:lnTo>
                      <a:pt x="38" y="116"/>
                    </a:lnTo>
                    <a:lnTo>
                      <a:pt x="39" y="121"/>
                    </a:lnTo>
                    <a:lnTo>
                      <a:pt x="41" y="123"/>
                    </a:lnTo>
                    <a:lnTo>
                      <a:pt x="41" y="126"/>
                    </a:lnTo>
                    <a:lnTo>
                      <a:pt x="44" y="124"/>
                    </a:lnTo>
                    <a:lnTo>
                      <a:pt x="44" y="119"/>
                    </a:lnTo>
                    <a:lnTo>
                      <a:pt x="46" y="121"/>
                    </a:lnTo>
                    <a:lnTo>
                      <a:pt x="49" y="118"/>
                    </a:lnTo>
                    <a:lnTo>
                      <a:pt x="61" y="110"/>
                    </a:lnTo>
                    <a:lnTo>
                      <a:pt x="66" y="108"/>
                    </a:lnTo>
                    <a:lnTo>
                      <a:pt x="66" y="110"/>
                    </a:lnTo>
                    <a:lnTo>
                      <a:pt x="69" y="106"/>
                    </a:lnTo>
                    <a:lnTo>
                      <a:pt x="73" y="106"/>
                    </a:lnTo>
                    <a:lnTo>
                      <a:pt x="74" y="111"/>
                    </a:lnTo>
                    <a:lnTo>
                      <a:pt x="79" y="110"/>
                    </a:lnTo>
                    <a:lnTo>
                      <a:pt x="81" y="111"/>
                    </a:lnTo>
                    <a:lnTo>
                      <a:pt x="83" y="110"/>
                    </a:lnTo>
                    <a:lnTo>
                      <a:pt x="81" y="106"/>
                    </a:lnTo>
                    <a:lnTo>
                      <a:pt x="88" y="103"/>
                    </a:lnTo>
                    <a:lnTo>
                      <a:pt x="93" y="103"/>
                    </a:lnTo>
                    <a:lnTo>
                      <a:pt x="99" y="96"/>
                    </a:lnTo>
                    <a:lnTo>
                      <a:pt x="98" y="93"/>
                    </a:lnTo>
                    <a:lnTo>
                      <a:pt x="101" y="91"/>
                    </a:lnTo>
                    <a:lnTo>
                      <a:pt x="99" y="75"/>
                    </a:lnTo>
                    <a:lnTo>
                      <a:pt x="98" y="75"/>
                    </a:lnTo>
                    <a:lnTo>
                      <a:pt x="96" y="76"/>
                    </a:lnTo>
                    <a:lnTo>
                      <a:pt x="96" y="71"/>
                    </a:lnTo>
                    <a:lnTo>
                      <a:pt x="93" y="56"/>
                    </a:lnTo>
                    <a:lnTo>
                      <a:pt x="89" y="51"/>
                    </a:lnTo>
                    <a:lnTo>
                      <a:pt x="89" y="43"/>
                    </a:lnTo>
                    <a:lnTo>
                      <a:pt x="74" y="26"/>
                    </a:lnTo>
                    <a:lnTo>
                      <a:pt x="61" y="13"/>
                    </a:lnTo>
                    <a:lnTo>
                      <a:pt x="53" y="0"/>
                    </a:lnTo>
                    <a:lnTo>
                      <a:pt x="43" y="5"/>
                    </a:lnTo>
                    <a:lnTo>
                      <a:pt x="26" y="7"/>
                    </a:lnTo>
                    <a:lnTo>
                      <a:pt x="18" y="13"/>
                    </a:lnTo>
                    <a:lnTo>
                      <a:pt x="10" y="15"/>
                    </a:lnTo>
                    <a:lnTo>
                      <a:pt x="1" y="21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3" name="Freeform 9"/>
              <p:cNvSpPr>
                <a:spLocks/>
              </p:cNvSpPr>
              <p:nvPr/>
            </p:nvSpPr>
            <p:spPr bwMode="auto">
              <a:xfrm>
                <a:off x="7964734" y="2684515"/>
                <a:ext cx="61004" cy="92346"/>
              </a:xfrm>
              <a:custGeom>
                <a:avLst/>
                <a:gdLst/>
                <a:ahLst/>
                <a:cxnLst>
                  <a:cxn ang="0">
                    <a:pos x="0" y="99"/>
                  </a:cxn>
                  <a:cxn ang="0">
                    <a:pos x="9" y="88"/>
                  </a:cxn>
                  <a:cxn ang="0">
                    <a:pos x="15" y="81"/>
                  </a:cxn>
                  <a:cxn ang="0">
                    <a:pos x="24" y="71"/>
                  </a:cxn>
                  <a:cxn ang="0">
                    <a:pos x="30" y="58"/>
                  </a:cxn>
                  <a:cxn ang="0">
                    <a:pos x="30" y="48"/>
                  </a:cxn>
                  <a:cxn ang="0">
                    <a:pos x="39" y="50"/>
                  </a:cxn>
                  <a:cxn ang="0">
                    <a:pos x="47" y="55"/>
                  </a:cxn>
                  <a:cxn ang="0">
                    <a:pos x="55" y="55"/>
                  </a:cxn>
                  <a:cxn ang="0">
                    <a:pos x="72" y="55"/>
                  </a:cxn>
                  <a:cxn ang="0">
                    <a:pos x="75" y="45"/>
                  </a:cxn>
                  <a:cxn ang="0">
                    <a:pos x="64" y="36"/>
                  </a:cxn>
                  <a:cxn ang="0">
                    <a:pos x="74" y="35"/>
                  </a:cxn>
                  <a:cxn ang="0">
                    <a:pos x="84" y="23"/>
                  </a:cxn>
                  <a:cxn ang="0">
                    <a:pos x="92" y="16"/>
                  </a:cxn>
                  <a:cxn ang="0">
                    <a:pos x="92" y="10"/>
                  </a:cxn>
                  <a:cxn ang="0">
                    <a:pos x="92" y="0"/>
                  </a:cxn>
                  <a:cxn ang="0">
                    <a:pos x="100" y="3"/>
                  </a:cxn>
                  <a:cxn ang="0">
                    <a:pos x="102" y="10"/>
                  </a:cxn>
                  <a:cxn ang="0">
                    <a:pos x="115" y="18"/>
                  </a:cxn>
                  <a:cxn ang="0">
                    <a:pos x="107" y="25"/>
                  </a:cxn>
                  <a:cxn ang="0">
                    <a:pos x="103" y="30"/>
                  </a:cxn>
                  <a:cxn ang="0">
                    <a:pos x="100" y="48"/>
                  </a:cxn>
                  <a:cxn ang="0">
                    <a:pos x="105" y="63"/>
                  </a:cxn>
                  <a:cxn ang="0">
                    <a:pos x="107" y="69"/>
                  </a:cxn>
                  <a:cxn ang="0">
                    <a:pos x="102" y="76"/>
                  </a:cxn>
                  <a:cxn ang="0">
                    <a:pos x="92" y="91"/>
                  </a:cxn>
                  <a:cxn ang="0">
                    <a:pos x="87" y="96"/>
                  </a:cxn>
                  <a:cxn ang="0">
                    <a:pos x="77" y="99"/>
                  </a:cxn>
                  <a:cxn ang="0">
                    <a:pos x="69" y="108"/>
                  </a:cxn>
                  <a:cxn ang="0">
                    <a:pos x="70" y="118"/>
                  </a:cxn>
                  <a:cxn ang="0">
                    <a:pos x="70" y="126"/>
                  </a:cxn>
                  <a:cxn ang="0">
                    <a:pos x="82" y="131"/>
                  </a:cxn>
                  <a:cxn ang="0">
                    <a:pos x="102" y="146"/>
                  </a:cxn>
                  <a:cxn ang="0">
                    <a:pos x="75" y="153"/>
                  </a:cxn>
                  <a:cxn ang="0">
                    <a:pos x="59" y="161"/>
                  </a:cxn>
                  <a:cxn ang="0">
                    <a:pos x="49" y="172"/>
                  </a:cxn>
                  <a:cxn ang="0">
                    <a:pos x="40" y="169"/>
                  </a:cxn>
                  <a:cxn ang="0">
                    <a:pos x="39" y="176"/>
                  </a:cxn>
                  <a:cxn ang="0">
                    <a:pos x="30" y="177"/>
                  </a:cxn>
                  <a:cxn ang="0">
                    <a:pos x="32" y="169"/>
                  </a:cxn>
                  <a:cxn ang="0">
                    <a:pos x="24" y="169"/>
                  </a:cxn>
                  <a:cxn ang="0">
                    <a:pos x="22" y="164"/>
                  </a:cxn>
                  <a:cxn ang="0">
                    <a:pos x="25" y="149"/>
                  </a:cxn>
                  <a:cxn ang="0">
                    <a:pos x="37" y="144"/>
                  </a:cxn>
                  <a:cxn ang="0">
                    <a:pos x="24" y="148"/>
                  </a:cxn>
                  <a:cxn ang="0">
                    <a:pos x="22" y="134"/>
                  </a:cxn>
                  <a:cxn ang="0">
                    <a:pos x="24" y="123"/>
                  </a:cxn>
                  <a:cxn ang="0">
                    <a:pos x="29" y="116"/>
                  </a:cxn>
                  <a:cxn ang="0">
                    <a:pos x="24" y="119"/>
                  </a:cxn>
                  <a:cxn ang="0">
                    <a:pos x="14" y="118"/>
                  </a:cxn>
                  <a:cxn ang="0">
                    <a:pos x="7" y="118"/>
                  </a:cxn>
                  <a:cxn ang="0">
                    <a:pos x="2" y="113"/>
                  </a:cxn>
                  <a:cxn ang="0">
                    <a:pos x="0" y="111"/>
                  </a:cxn>
                </a:cxnLst>
                <a:rect l="0" t="0" r="r" b="b"/>
                <a:pathLst>
                  <a:path w="115" h="177">
                    <a:moveTo>
                      <a:pt x="0" y="111"/>
                    </a:moveTo>
                    <a:lnTo>
                      <a:pt x="0" y="99"/>
                    </a:lnTo>
                    <a:lnTo>
                      <a:pt x="5" y="94"/>
                    </a:lnTo>
                    <a:lnTo>
                      <a:pt x="9" y="88"/>
                    </a:lnTo>
                    <a:lnTo>
                      <a:pt x="9" y="84"/>
                    </a:lnTo>
                    <a:lnTo>
                      <a:pt x="15" y="81"/>
                    </a:lnTo>
                    <a:lnTo>
                      <a:pt x="19" y="74"/>
                    </a:lnTo>
                    <a:lnTo>
                      <a:pt x="24" y="71"/>
                    </a:lnTo>
                    <a:lnTo>
                      <a:pt x="29" y="61"/>
                    </a:lnTo>
                    <a:lnTo>
                      <a:pt x="30" y="58"/>
                    </a:lnTo>
                    <a:lnTo>
                      <a:pt x="30" y="55"/>
                    </a:lnTo>
                    <a:lnTo>
                      <a:pt x="30" y="48"/>
                    </a:lnTo>
                    <a:lnTo>
                      <a:pt x="35" y="43"/>
                    </a:lnTo>
                    <a:lnTo>
                      <a:pt x="39" y="50"/>
                    </a:lnTo>
                    <a:lnTo>
                      <a:pt x="44" y="51"/>
                    </a:lnTo>
                    <a:lnTo>
                      <a:pt x="47" y="55"/>
                    </a:lnTo>
                    <a:lnTo>
                      <a:pt x="50" y="53"/>
                    </a:lnTo>
                    <a:lnTo>
                      <a:pt x="55" y="55"/>
                    </a:lnTo>
                    <a:lnTo>
                      <a:pt x="65" y="53"/>
                    </a:lnTo>
                    <a:lnTo>
                      <a:pt x="72" y="55"/>
                    </a:lnTo>
                    <a:lnTo>
                      <a:pt x="75" y="48"/>
                    </a:lnTo>
                    <a:lnTo>
                      <a:pt x="75" y="45"/>
                    </a:lnTo>
                    <a:lnTo>
                      <a:pt x="70" y="40"/>
                    </a:lnTo>
                    <a:lnTo>
                      <a:pt x="64" y="36"/>
                    </a:lnTo>
                    <a:lnTo>
                      <a:pt x="69" y="35"/>
                    </a:lnTo>
                    <a:lnTo>
                      <a:pt x="74" y="35"/>
                    </a:lnTo>
                    <a:lnTo>
                      <a:pt x="84" y="26"/>
                    </a:lnTo>
                    <a:lnTo>
                      <a:pt x="84" y="23"/>
                    </a:lnTo>
                    <a:lnTo>
                      <a:pt x="87" y="18"/>
                    </a:lnTo>
                    <a:lnTo>
                      <a:pt x="92" y="16"/>
                    </a:lnTo>
                    <a:lnTo>
                      <a:pt x="93" y="13"/>
                    </a:lnTo>
                    <a:lnTo>
                      <a:pt x="92" y="10"/>
                    </a:lnTo>
                    <a:lnTo>
                      <a:pt x="92" y="5"/>
                    </a:lnTo>
                    <a:lnTo>
                      <a:pt x="92" y="0"/>
                    </a:lnTo>
                    <a:lnTo>
                      <a:pt x="95" y="0"/>
                    </a:lnTo>
                    <a:lnTo>
                      <a:pt x="100" y="3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10" y="10"/>
                    </a:lnTo>
                    <a:lnTo>
                      <a:pt x="115" y="18"/>
                    </a:lnTo>
                    <a:lnTo>
                      <a:pt x="113" y="18"/>
                    </a:lnTo>
                    <a:lnTo>
                      <a:pt x="107" y="25"/>
                    </a:lnTo>
                    <a:lnTo>
                      <a:pt x="103" y="25"/>
                    </a:lnTo>
                    <a:lnTo>
                      <a:pt x="103" y="30"/>
                    </a:lnTo>
                    <a:lnTo>
                      <a:pt x="100" y="41"/>
                    </a:lnTo>
                    <a:lnTo>
                      <a:pt x="100" y="48"/>
                    </a:lnTo>
                    <a:lnTo>
                      <a:pt x="105" y="51"/>
                    </a:lnTo>
                    <a:lnTo>
                      <a:pt x="105" y="63"/>
                    </a:lnTo>
                    <a:lnTo>
                      <a:pt x="108" y="64"/>
                    </a:lnTo>
                    <a:lnTo>
                      <a:pt x="107" y="69"/>
                    </a:lnTo>
                    <a:lnTo>
                      <a:pt x="102" y="74"/>
                    </a:lnTo>
                    <a:lnTo>
                      <a:pt x="102" y="76"/>
                    </a:lnTo>
                    <a:lnTo>
                      <a:pt x="90" y="88"/>
                    </a:lnTo>
                    <a:lnTo>
                      <a:pt x="92" y="91"/>
                    </a:lnTo>
                    <a:lnTo>
                      <a:pt x="88" y="94"/>
                    </a:lnTo>
                    <a:lnTo>
                      <a:pt x="87" y="96"/>
                    </a:lnTo>
                    <a:lnTo>
                      <a:pt x="82" y="96"/>
                    </a:lnTo>
                    <a:lnTo>
                      <a:pt x="77" y="99"/>
                    </a:lnTo>
                    <a:lnTo>
                      <a:pt x="75" y="104"/>
                    </a:lnTo>
                    <a:lnTo>
                      <a:pt x="69" y="108"/>
                    </a:lnTo>
                    <a:lnTo>
                      <a:pt x="69" y="113"/>
                    </a:lnTo>
                    <a:lnTo>
                      <a:pt x="70" y="118"/>
                    </a:lnTo>
                    <a:lnTo>
                      <a:pt x="69" y="121"/>
                    </a:lnTo>
                    <a:lnTo>
                      <a:pt x="70" y="126"/>
                    </a:lnTo>
                    <a:lnTo>
                      <a:pt x="79" y="128"/>
                    </a:lnTo>
                    <a:lnTo>
                      <a:pt x="82" y="131"/>
                    </a:lnTo>
                    <a:lnTo>
                      <a:pt x="98" y="141"/>
                    </a:lnTo>
                    <a:lnTo>
                      <a:pt x="102" y="146"/>
                    </a:lnTo>
                    <a:lnTo>
                      <a:pt x="92" y="151"/>
                    </a:lnTo>
                    <a:lnTo>
                      <a:pt x="75" y="153"/>
                    </a:lnTo>
                    <a:lnTo>
                      <a:pt x="67" y="159"/>
                    </a:lnTo>
                    <a:lnTo>
                      <a:pt x="59" y="161"/>
                    </a:lnTo>
                    <a:lnTo>
                      <a:pt x="50" y="167"/>
                    </a:lnTo>
                    <a:lnTo>
                      <a:pt x="49" y="172"/>
                    </a:lnTo>
                    <a:lnTo>
                      <a:pt x="44" y="167"/>
                    </a:lnTo>
                    <a:lnTo>
                      <a:pt x="40" y="169"/>
                    </a:lnTo>
                    <a:lnTo>
                      <a:pt x="42" y="171"/>
                    </a:lnTo>
                    <a:lnTo>
                      <a:pt x="39" y="176"/>
                    </a:lnTo>
                    <a:lnTo>
                      <a:pt x="35" y="174"/>
                    </a:lnTo>
                    <a:lnTo>
                      <a:pt x="30" y="177"/>
                    </a:lnTo>
                    <a:lnTo>
                      <a:pt x="29" y="176"/>
                    </a:lnTo>
                    <a:lnTo>
                      <a:pt x="32" y="169"/>
                    </a:lnTo>
                    <a:lnTo>
                      <a:pt x="27" y="167"/>
                    </a:lnTo>
                    <a:lnTo>
                      <a:pt x="24" y="169"/>
                    </a:lnTo>
                    <a:lnTo>
                      <a:pt x="20" y="169"/>
                    </a:lnTo>
                    <a:lnTo>
                      <a:pt x="22" y="164"/>
                    </a:lnTo>
                    <a:lnTo>
                      <a:pt x="22" y="156"/>
                    </a:lnTo>
                    <a:lnTo>
                      <a:pt x="25" y="149"/>
                    </a:lnTo>
                    <a:lnTo>
                      <a:pt x="32" y="149"/>
                    </a:lnTo>
                    <a:lnTo>
                      <a:pt x="37" y="144"/>
                    </a:lnTo>
                    <a:lnTo>
                      <a:pt x="32" y="148"/>
                    </a:lnTo>
                    <a:lnTo>
                      <a:pt x="24" y="148"/>
                    </a:lnTo>
                    <a:lnTo>
                      <a:pt x="22" y="144"/>
                    </a:lnTo>
                    <a:lnTo>
                      <a:pt x="22" y="134"/>
                    </a:lnTo>
                    <a:lnTo>
                      <a:pt x="27" y="126"/>
                    </a:lnTo>
                    <a:lnTo>
                      <a:pt x="24" y="123"/>
                    </a:lnTo>
                    <a:lnTo>
                      <a:pt x="27" y="119"/>
                    </a:lnTo>
                    <a:lnTo>
                      <a:pt x="29" y="116"/>
                    </a:lnTo>
                    <a:lnTo>
                      <a:pt x="25" y="116"/>
                    </a:lnTo>
                    <a:lnTo>
                      <a:pt x="24" y="119"/>
                    </a:lnTo>
                    <a:lnTo>
                      <a:pt x="15" y="121"/>
                    </a:lnTo>
                    <a:lnTo>
                      <a:pt x="14" y="118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4" y="121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0" y="1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4" name="Freeform 10"/>
              <p:cNvSpPr>
                <a:spLocks/>
              </p:cNvSpPr>
              <p:nvPr/>
            </p:nvSpPr>
            <p:spPr bwMode="auto">
              <a:xfrm>
                <a:off x="7464928" y="2564155"/>
                <a:ext cx="400273" cy="164977"/>
              </a:xfrm>
              <a:custGeom>
                <a:avLst/>
                <a:gdLst/>
                <a:ahLst/>
                <a:cxnLst>
                  <a:cxn ang="0">
                    <a:pos x="25" y="98"/>
                  </a:cxn>
                  <a:cxn ang="0">
                    <a:pos x="45" y="77"/>
                  </a:cxn>
                  <a:cxn ang="0">
                    <a:pos x="53" y="63"/>
                  </a:cxn>
                  <a:cxn ang="0">
                    <a:pos x="85" y="55"/>
                  </a:cxn>
                  <a:cxn ang="0">
                    <a:pos x="103" y="58"/>
                  </a:cxn>
                  <a:cxn ang="0">
                    <a:pos x="129" y="58"/>
                  </a:cxn>
                  <a:cxn ang="0">
                    <a:pos x="158" y="82"/>
                  </a:cxn>
                  <a:cxn ang="0">
                    <a:pos x="183" y="78"/>
                  </a:cxn>
                  <a:cxn ang="0">
                    <a:pos x="213" y="78"/>
                  </a:cxn>
                  <a:cxn ang="0">
                    <a:pos x="219" y="50"/>
                  </a:cxn>
                  <a:cxn ang="0">
                    <a:pos x="203" y="25"/>
                  </a:cxn>
                  <a:cxn ang="0">
                    <a:pos x="218" y="10"/>
                  </a:cxn>
                  <a:cxn ang="0">
                    <a:pos x="234" y="3"/>
                  </a:cxn>
                  <a:cxn ang="0">
                    <a:pos x="266" y="12"/>
                  </a:cxn>
                  <a:cxn ang="0">
                    <a:pos x="296" y="18"/>
                  </a:cxn>
                  <a:cxn ang="0">
                    <a:pos x="304" y="37"/>
                  </a:cxn>
                  <a:cxn ang="0">
                    <a:pos x="324" y="52"/>
                  </a:cxn>
                  <a:cxn ang="0">
                    <a:pos x="350" y="52"/>
                  </a:cxn>
                  <a:cxn ang="0">
                    <a:pos x="382" y="43"/>
                  </a:cxn>
                  <a:cxn ang="0">
                    <a:pos x="422" y="52"/>
                  </a:cxn>
                  <a:cxn ang="0">
                    <a:pos x="452" y="65"/>
                  </a:cxn>
                  <a:cxn ang="0">
                    <a:pos x="487" y="73"/>
                  </a:cxn>
                  <a:cxn ang="0">
                    <a:pos x="522" y="72"/>
                  </a:cxn>
                  <a:cxn ang="0">
                    <a:pos x="560" y="57"/>
                  </a:cxn>
                  <a:cxn ang="0">
                    <a:pos x="578" y="38"/>
                  </a:cxn>
                  <a:cxn ang="0">
                    <a:pos x="601" y="30"/>
                  </a:cxn>
                  <a:cxn ang="0">
                    <a:pos x="624" y="38"/>
                  </a:cxn>
                  <a:cxn ang="0">
                    <a:pos x="644" y="70"/>
                  </a:cxn>
                  <a:cxn ang="0">
                    <a:pos x="656" y="110"/>
                  </a:cxn>
                  <a:cxn ang="0">
                    <a:pos x="694" y="98"/>
                  </a:cxn>
                  <a:cxn ang="0">
                    <a:pos x="729" y="106"/>
                  </a:cxn>
                  <a:cxn ang="0">
                    <a:pos x="746" y="133"/>
                  </a:cxn>
                  <a:cxn ang="0">
                    <a:pos x="729" y="138"/>
                  </a:cxn>
                  <a:cxn ang="0">
                    <a:pos x="699" y="146"/>
                  </a:cxn>
                  <a:cxn ang="0">
                    <a:pos x="688" y="156"/>
                  </a:cxn>
                  <a:cxn ang="0">
                    <a:pos x="664" y="183"/>
                  </a:cxn>
                  <a:cxn ang="0">
                    <a:pos x="636" y="199"/>
                  </a:cxn>
                  <a:cxn ang="0">
                    <a:pos x="610" y="201"/>
                  </a:cxn>
                  <a:cxn ang="0">
                    <a:pos x="580" y="216"/>
                  </a:cxn>
                  <a:cxn ang="0">
                    <a:pos x="598" y="243"/>
                  </a:cxn>
                  <a:cxn ang="0">
                    <a:pos x="563" y="278"/>
                  </a:cxn>
                  <a:cxn ang="0">
                    <a:pos x="520" y="289"/>
                  </a:cxn>
                  <a:cxn ang="0">
                    <a:pos x="460" y="319"/>
                  </a:cxn>
                  <a:cxn ang="0">
                    <a:pos x="427" y="314"/>
                  </a:cxn>
                  <a:cxn ang="0">
                    <a:pos x="367" y="291"/>
                  </a:cxn>
                  <a:cxn ang="0">
                    <a:pos x="319" y="296"/>
                  </a:cxn>
                  <a:cxn ang="0">
                    <a:pos x="246" y="297"/>
                  </a:cxn>
                  <a:cxn ang="0">
                    <a:pos x="223" y="264"/>
                  </a:cxn>
                  <a:cxn ang="0">
                    <a:pos x="211" y="249"/>
                  </a:cxn>
                  <a:cxn ang="0">
                    <a:pos x="183" y="239"/>
                  </a:cxn>
                  <a:cxn ang="0">
                    <a:pos x="149" y="229"/>
                  </a:cxn>
                  <a:cxn ang="0">
                    <a:pos x="95" y="218"/>
                  </a:cxn>
                  <a:cxn ang="0">
                    <a:pos x="98" y="199"/>
                  </a:cxn>
                  <a:cxn ang="0">
                    <a:pos x="90" y="178"/>
                  </a:cxn>
                  <a:cxn ang="0">
                    <a:pos x="76" y="156"/>
                  </a:cxn>
                  <a:cxn ang="0">
                    <a:pos x="56" y="151"/>
                  </a:cxn>
                  <a:cxn ang="0">
                    <a:pos x="38" y="148"/>
                  </a:cxn>
                  <a:cxn ang="0">
                    <a:pos x="27" y="145"/>
                  </a:cxn>
                  <a:cxn ang="0">
                    <a:pos x="8" y="128"/>
                  </a:cxn>
                  <a:cxn ang="0">
                    <a:pos x="2" y="121"/>
                  </a:cxn>
                </a:cxnLst>
                <a:rect l="0" t="0" r="r" b="b"/>
                <a:pathLst>
                  <a:path w="747" h="319">
                    <a:moveTo>
                      <a:pt x="0" y="113"/>
                    </a:moveTo>
                    <a:lnTo>
                      <a:pt x="3" y="105"/>
                    </a:lnTo>
                    <a:lnTo>
                      <a:pt x="8" y="103"/>
                    </a:lnTo>
                    <a:lnTo>
                      <a:pt x="20" y="103"/>
                    </a:lnTo>
                    <a:lnTo>
                      <a:pt x="22" y="101"/>
                    </a:lnTo>
                    <a:lnTo>
                      <a:pt x="25" y="98"/>
                    </a:lnTo>
                    <a:lnTo>
                      <a:pt x="33" y="95"/>
                    </a:lnTo>
                    <a:lnTo>
                      <a:pt x="33" y="90"/>
                    </a:lnTo>
                    <a:lnTo>
                      <a:pt x="35" y="87"/>
                    </a:lnTo>
                    <a:lnTo>
                      <a:pt x="41" y="83"/>
                    </a:lnTo>
                    <a:lnTo>
                      <a:pt x="41" y="80"/>
                    </a:lnTo>
                    <a:lnTo>
                      <a:pt x="45" y="77"/>
                    </a:lnTo>
                    <a:lnTo>
                      <a:pt x="50" y="77"/>
                    </a:lnTo>
                    <a:lnTo>
                      <a:pt x="53" y="72"/>
                    </a:lnTo>
                    <a:lnTo>
                      <a:pt x="55" y="70"/>
                    </a:lnTo>
                    <a:lnTo>
                      <a:pt x="53" y="68"/>
                    </a:lnTo>
                    <a:lnTo>
                      <a:pt x="51" y="65"/>
                    </a:lnTo>
                    <a:lnTo>
                      <a:pt x="53" y="63"/>
                    </a:lnTo>
                    <a:lnTo>
                      <a:pt x="61" y="65"/>
                    </a:lnTo>
                    <a:lnTo>
                      <a:pt x="65" y="63"/>
                    </a:lnTo>
                    <a:lnTo>
                      <a:pt x="68" y="58"/>
                    </a:lnTo>
                    <a:lnTo>
                      <a:pt x="71" y="57"/>
                    </a:lnTo>
                    <a:lnTo>
                      <a:pt x="80" y="55"/>
                    </a:lnTo>
                    <a:lnTo>
                      <a:pt x="85" y="55"/>
                    </a:lnTo>
                    <a:lnTo>
                      <a:pt x="88" y="55"/>
                    </a:lnTo>
                    <a:lnTo>
                      <a:pt x="95" y="55"/>
                    </a:lnTo>
                    <a:lnTo>
                      <a:pt x="98" y="53"/>
                    </a:lnTo>
                    <a:lnTo>
                      <a:pt x="100" y="53"/>
                    </a:lnTo>
                    <a:lnTo>
                      <a:pt x="101" y="57"/>
                    </a:lnTo>
                    <a:lnTo>
                      <a:pt x="103" y="58"/>
                    </a:lnTo>
                    <a:lnTo>
                      <a:pt x="105" y="62"/>
                    </a:lnTo>
                    <a:lnTo>
                      <a:pt x="111" y="62"/>
                    </a:lnTo>
                    <a:lnTo>
                      <a:pt x="113" y="60"/>
                    </a:lnTo>
                    <a:lnTo>
                      <a:pt x="118" y="60"/>
                    </a:lnTo>
                    <a:lnTo>
                      <a:pt x="121" y="58"/>
                    </a:lnTo>
                    <a:lnTo>
                      <a:pt x="129" y="58"/>
                    </a:lnTo>
                    <a:lnTo>
                      <a:pt x="129" y="62"/>
                    </a:lnTo>
                    <a:lnTo>
                      <a:pt x="131" y="65"/>
                    </a:lnTo>
                    <a:lnTo>
                      <a:pt x="133" y="68"/>
                    </a:lnTo>
                    <a:lnTo>
                      <a:pt x="144" y="75"/>
                    </a:lnTo>
                    <a:lnTo>
                      <a:pt x="149" y="78"/>
                    </a:lnTo>
                    <a:lnTo>
                      <a:pt x="158" y="82"/>
                    </a:lnTo>
                    <a:lnTo>
                      <a:pt x="161" y="80"/>
                    </a:lnTo>
                    <a:lnTo>
                      <a:pt x="166" y="78"/>
                    </a:lnTo>
                    <a:lnTo>
                      <a:pt x="171" y="75"/>
                    </a:lnTo>
                    <a:lnTo>
                      <a:pt x="176" y="73"/>
                    </a:lnTo>
                    <a:lnTo>
                      <a:pt x="179" y="75"/>
                    </a:lnTo>
                    <a:lnTo>
                      <a:pt x="183" y="78"/>
                    </a:lnTo>
                    <a:lnTo>
                      <a:pt x="188" y="77"/>
                    </a:lnTo>
                    <a:lnTo>
                      <a:pt x="198" y="77"/>
                    </a:lnTo>
                    <a:lnTo>
                      <a:pt x="201" y="78"/>
                    </a:lnTo>
                    <a:lnTo>
                      <a:pt x="206" y="78"/>
                    </a:lnTo>
                    <a:lnTo>
                      <a:pt x="208" y="77"/>
                    </a:lnTo>
                    <a:lnTo>
                      <a:pt x="213" y="78"/>
                    </a:lnTo>
                    <a:lnTo>
                      <a:pt x="219" y="77"/>
                    </a:lnTo>
                    <a:lnTo>
                      <a:pt x="224" y="70"/>
                    </a:lnTo>
                    <a:lnTo>
                      <a:pt x="223" y="67"/>
                    </a:lnTo>
                    <a:lnTo>
                      <a:pt x="218" y="65"/>
                    </a:lnTo>
                    <a:lnTo>
                      <a:pt x="218" y="58"/>
                    </a:lnTo>
                    <a:lnTo>
                      <a:pt x="219" y="50"/>
                    </a:lnTo>
                    <a:lnTo>
                      <a:pt x="218" y="48"/>
                    </a:lnTo>
                    <a:lnTo>
                      <a:pt x="213" y="47"/>
                    </a:lnTo>
                    <a:lnTo>
                      <a:pt x="211" y="43"/>
                    </a:lnTo>
                    <a:lnTo>
                      <a:pt x="204" y="42"/>
                    </a:lnTo>
                    <a:lnTo>
                      <a:pt x="203" y="37"/>
                    </a:lnTo>
                    <a:lnTo>
                      <a:pt x="203" y="25"/>
                    </a:lnTo>
                    <a:lnTo>
                      <a:pt x="208" y="20"/>
                    </a:lnTo>
                    <a:lnTo>
                      <a:pt x="208" y="17"/>
                    </a:lnTo>
                    <a:lnTo>
                      <a:pt x="209" y="13"/>
                    </a:lnTo>
                    <a:lnTo>
                      <a:pt x="214" y="12"/>
                    </a:lnTo>
                    <a:lnTo>
                      <a:pt x="216" y="13"/>
                    </a:lnTo>
                    <a:lnTo>
                      <a:pt x="218" y="10"/>
                    </a:lnTo>
                    <a:lnTo>
                      <a:pt x="216" y="5"/>
                    </a:lnTo>
                    <a:lnTo>
                      <a:pt x="218" y="2"/>
                    </a:lnTo>
                    <a:lnTo>
                      <a:pt x="219" y="0"/>
                    </a:lnTo>
                    <a:lnTo>
                      <a:pt x="224" y="0"/>
                    </a:lnTo>
                    <a:lnTo>
                      <a:pt x="227" y="2"/>
                    </a:lnTo>
                    <a:lnTo>
                      <a:pt x="234" y="3"/>
                    </a:lnTo>
                    <a:lnTo>
                      <a:pt x="241" y="7"/>
                    </a:lnTo>
                    <a:lnTo>
                      <a:pt x="241" y="8"/>
                    </a:lnTo>
                    <a:lnTo>
                      <a:pt x="247" y="10"/>
                    </a:lnTo>
                    <a:lnTo>
                      <a:pt x="252" y="10"/>
                    </a:lnTo>
                    <a:lnTo>
                      <a:pt x="262" y="10"/>
                    </a:lnTo>
                    <a:lnTo>
                      <a:pt x="266" y="12"/>
                    </a:lnTo>
                    <a:lnTo>
                      <a:pt x="267" y="13"/>
                    </a:lnTo>
                    <a:lnTo>
                      <a:pt x="274" y="15"/>
                    </a:lnTo>
                    <a:lnTo>
                      <a:pt x="277" y="17"/>
                    </a:lnTo>
                    <a:lnTo>
                      <a:pt x="281" y="17"/>
                    </a:lnTo>
                    <a:lnTo>
                      <a:pt x="292" y="17"/>
                    </a:lnTo>
                    <a:lnTo>
                      <a:pt x="296" y="18"/>
                    </a:lnTo>
                    <a:lnTo>
                      <a:pt x="297" y="22"/>
                    </a:lnTo>
                    <a:lnTo>
                      <a:pt x="297" y="23"/>
                    </a:lnTo>
                    <a:lnTo>
                      <a:pt x="299" y="27"/>
                    </a:lnTo>
                    <a:lnTo>
                      <a:pt x="299" y="30"/>
                    </a:lnTo>
                    <a:lnTo>
                      <a:pt x="302" y="32"/>
                    </a:lnTo>
                    <a:lnTo>
                      <a:pt x="304" y="37"/>
                    </a:lnTo>
                    <a:lnTo>
                      <a:pt x="304" y="42"/>
                    </a:lnTo>
                    <a:lnTo>
                      <a:pt x="307" y="43"/>
                    </a:lnTo>
                    <a:lnTo>
                      <a:pt x="311" y="43"/>
                    </a:lnTo>
                    <a:lnTo>
                      <a:pt x="316" y="48"/>
                    </a:lnTo>
                    <a:lnTo>
                      <a:pt x="316" y="50"/>
                    </a:lnTo>
                    <a:lnTo>
                      <a:pt x="324" y="52"/>
                    </a:lnTo>
                    <a:lnTo>
                      <a:pt x="330" y="55"/>
                    </a:lnTo>
                    <a:lnTo>
                      <a:pt x="334" y="55"/>
                    </a:lnTo>
                    <a:lnTo>
                      <a:pt x="335" y="53"/>
                    </a:lnTo>
                    <a:lnTo>
                      <a:pt x="344" y="55"/>
                    </a:lnTo>
                    <a:lnTo>
                      <a:pt x="347" y="52"/>
                    </a:lnTo>
                    <a:lnTo>
                      <a:pt x="350" y="52"/>
                    </a:lnTo>
                    <a:lnTo>
                      <a:pt x="354" y="53"/>
                    </a:lnTo>
                    <a:lnTo>
                      <a:pt x="357" y="53"/>
                    </a:lnTo>
                    <a:lnTo>
                      <a:pt x="360" y="48"/>
                    </a:lnTo>
                    <a:lnTo>
                      <a:pt x="367" y="47"/>
                    </a:lnTo>
                    <a:lnTo>
                      <a:pt x="377" y="45"/>
                    </a:lnTo>
                    <a:lnTo>
                      <a:pt x="382" y="43"/>
                    </a:lnTo>
                    <a:lnTo>
                      <a:pt x="389" y="43"/>
                    </a:lnTo>
                    <a:lnTo>
                      <a:pt x="395" y="42"/>
                    </a:lnTo>
                    <a:lnTo>
                      <a:pt x="400" y="43"/>
                    </a:lnTo>
                    <a:lnTo>
                      <a:pt x="407" y="45"/>
                    </a:lnTo>
                    <a:lnTo>
                      <a:pt x="417" y="45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7" y="53"/>
                    </a:lnTo>
                    <a:lnTo>
                      <a:pt x="442" y="53"/>
                    </a:lnTo>
                    <a:lnTo>
                      <a:pt x="445" y="55"/>
                    </a:lnTo>
                    <a:lnTo>
                      <a:pt x="447" y="62"/>
                    </a:lnTo>
                    <a:lnTo>
                      <a:pt x="452" y="65"/>
                    </a:lnTo>
                    <a:lnTo>
                      <a:pt x="455" y="67"/>
                    </a:lnTo>
                    <a:lnTo>
                      <a:pt x="458" y="67"/>
                    </a:lnTo>
                    <a:lnTo>
                      <a:pt x="462" y="72"/>
                    </a:lnTo>
                    <a:lnTo>
                      <a:pt x="467" y="72"/>
                    </a:lnTo>
                    <a:lnTo>
                      <a:pt x="477" y="70"/>
                    </a:lnTo>
                    <a:lnTo>
                      <a:pt x="487" y="73"/>
                    </a:lnTo>
                    <a:lnTo>
                      <a:pt x="502" y="73"/>
                    </a:lnTo>
                    <a:lnTo>
                      <a:pt x="507" y="72"/>
                    </a:lnTo>
                    <a:lnTo>
                      <a:pt x="510" y="70"/>
                    </a:lnTo>
                    <a:lnTo>
                      <a:pt x="515" y="70"/>
                    </a:lnTo>
                    <a:lnTo>
                      <a:pt x="520" y="72"/>
                    </a:lnTo>
                    <a:lnTo>
                      <a:pt x="522" y="72"/>
                    </a:lnTo>
                    <a:lnTo>
                      <a:pt x="526" y="67"/>
                    </a:lnTo>
                    <a:lnTo>
                      <a:pt x="535" y="62"/>
                    </a:lnTo>
                    <a:lnTo>
                      <a:pt x="541" y="62"/>
                    </a:lnTo>
                    <a:lnTo>
                      <a:pt x="545" y="58"/>
                    </a:lnTo>
                    <a:lnTo>
                      <a:pt x="548" y="57"/>
                    </a:lnTo>
                    <a:lnTo>
                      <a:pt x="560" y="57"/>
                    </a:lnTo>
                    <a:lnTo>
                      <a:pt x="565" y="53"/>
                    </a:lnTo>
                    <a:lnTo>
                      <a:pt x="566" y="50"/>
                    </a:lnTo>
                    <a:lnTo>
                      <a:pt x="566" y="47"/>
                    </a:lnTo>
                    <a:lnTo>
                      <a:pt x="570" y="43"/>
                    </a:lnTo>
                    <a:lnTo>
                      <a:pt x="575" y="42"/>
                    </a:lnTo>
                    <a:lnTo>
                      <a:pt x="578" y="38"/>
                    </a:lnTo>
                    <a:lnTo>
                      <a:pt x="580" y="33"/>
                    </a:lnTo>
                    <a:lnTo>
                      <a:pt x="583" y="30"/>
                    </a:lnTo>
                    <a:lnTo>
                      <a:pt x="588" y="30"/>
                    </a:lnTo>
                    <a:lnTo>
                      <a:pt x="590" y="32"/>
                    </a:lnTo>
                    <a:lnTo>
                      <a:pt x="596" y="30"/>
                    </a:lnTo>
                    <a:lnTo>
                      <a:pt x="601" y="30"/>
                    </a:lnTo>
                    <a:lnTo>
                      <a:pt x="606" y="33"/>
                    </a:lnTo>
                    <a:lnTo>
                      <a:pt x="610" y="37"/>
                    </a:lnTo>
                    <a:lnTo>
                      <a:pt x="613" y="38"/>
                    </a:lnTo>
                    <a:lnTo>
                      <a:pt x="618" y="37"/>
                    </a:lnTo>
                    <a:lnTo>
                      <a:pt x="620" y="38"/>
                    </a:lnTo>
                    <a:lnTo>
                      <a:pt x="624" y="38"/>
                    </a:lnTo>
                    <a:lnTo>
                      <a:pt x="629" y="35"/>
                    </a:lnTo>
                    <a:lnTo>
                      <a:pt x="629" y="32"/>
                    </a:lnTo>
                    <a:lnTo>
                      <a:pt x="638" y="32"/>
                    </a:lnTo>
                    <a:lnTo>
                      <a:pt x="646" y="33"/>
                    </a:lnTo>
                    <a:lnTo>
                      <a:pt x="649" y="37"/>
                    </a:lnTo>
                    <a:lnTo>
                      <a:pt x="644" y="70"/>
                    </a:lnTo>
                    <a:lnTo>
                      <a:pt x="646" y="78"/>
                    </a:lnTo>
                    <a:lnTo>
                      <a:pt x="643" y="83"/>
                    </a:lnTo>
                    <a:lnTo>
                      <a:pt x="644" y="88"/>
                    </a:lnTo>
                    <a:lnTo>
                      <a:pt x="641" y="98"/>
                    </a:lnTo>
                    <a:lnTo>
                      <a:pt x="644" y="105"/>
                    </a:lnTo>
                    <a:lnTo>
                      <a:pt x="656" y="110"/>
                    </a:lnTo>
                    <a:lnTo>
                      <a:pt x="664" y="105"/>
                    </a:lnTo>
                    <a:lnTo>
                      <a:pt x="674" y="105"/>
                    </a:lnTo>
                    <a:lnTo>
                      <a:pt x="684" y="106"/>
                    </a:lnTo>
                    <a:lnTo>
                      <a:pt x="689" y="110"/>
                    </a:lnTo>
                    <a:lnTo>
                      <a:pt x="694" y="101"/>
                    </a:lnTo>
                    <a:lnTo>
                      <a:pt x="694" y="98"/>
                    </a:lnTo>
                    <a:lnTo>
                      <a:pt x="694" y="93"/>
                    </a:lnTo>
                    <a:lnTo>
                      <a:pt x="701" y="92"/>
                    </a:lnTo>
                    <a:lnTo>
                      <a:pt x="704" y="90"/>
                    </a:lnTo>
                    <a:lnTo>
                      <a:pt x="714" y="92"/>
                    </a:lnTo>
                    <a:lnTo>
                      <a:pt x="721" y="100"/>
                    </a:lnTo>
                    <a:lnTo>
                      <a:pt x="729" y="106"/>
                    </a:lnTo>
                    <a:lnTo>
                      <a:pt x="736" y="115"/>
                    </a:lnTo>
                    <a:lnTo>
                      <a:pt x="746" y="120"/>
                    </a:lnTo>
                    <a:lnTo>
                      <a:pt x="746" y="123"/>
                    </a:lnTo>
                    <a:lnTo>
                      <a:pt x="747" y="126"/>
                    </a:lnTo>
                    <a:lnTo>
                      <a:pt x="747" y="131"/>
                    </a:lnTo>
                    <a:lnTo>
                      <a:pt x="746" y="133"/>
                    </a:lnTo>
                    <a:lnTo>
                      <a:pt x="746" y="136"/>
                    </a:lnTo>
                    <a:lnTo>
                      <a:pt x="744" y="138"/>
                    </a:lnTo>
                    <a:lnTo>
                      <a:pt x="739" y="138"/>
                    </a:lnTo>
                    <a:lnTo>
                      <a:pt x="737" y="136"/>
                    </a:lnTo>
                    <a:lnTo>
                      <a:pt x="732" y="136"/>
                    </a:lnTo>
                    <a:lnTo>
                      <a:pt x="729" y="138"/>
                    </a:lnTo>
                    <a:lnTo>
                      <a:pt x="722" y="136"/>
                    </a:lnTo>
                    <a:lnTo>
                      <a:pt x="719" y="136"/>
                    </a:lnTo>
                    <a:lnTo>
                      <a:pt x="714" y="141"/>
                    </a:lnTo>
                    <a:lnTo>
                      <a:pt x="708" y="146"/>
                    </a:lnTo>
                    <a:lnTo>
                      <a:pt x="704" y="150"/>
                    </a:lnTo>
                    <a:lnTo>
                      <a:pt x="699" y="146"/>
                    </a:lnTo>
                    <a:lnTo>
                      <a:pt x="698" y="146"/>
                    </a:lnTo>
                    <a:lnTo>
                      <a:pt x="698" y="151"/>
                    </a:lnTo>
                    <a:lnTo>
                      <a:pt x="696" y="153"/>
                    </a:lnTo>
                    <a:lnTo>
                      <a:pt x="693" y="153"/>
                    </a:lnTo>
                    <a:lnTo>
                      <a:pt x="689" y="153"/>
                    </a:lnTo>
                    <a:lnTo>
                      <a:pt x="688" y="156"/>
                    </a:lnTo>
                    <a:lnTo>
                      <a:pt x="684" y="161"/>
                    </a:lnTo>
                    <a:lnTo>
                      <a:pt x="683" y="168"/>
                    </a:lnTo>
                    <a:lnTo>
                      <a:pt x="683" y="173"/>
                    </a:lnTo>
                    <a:lnTo>
                      <a:pt x="681" y="176"/>
                    </a:lnTo>
                    <a:lnTo>
                      <a:pt x="674" y="176"/>
                    </a:lnTo>
                    <a:lnTo>
                      <a:pt x="664" y="183"/>
                    </a:lnTo>
                    <a:lnTo>
                      <a:pt x="659" y="183"/>
                    </a:lnTo>
                    <a:lnTo>
                      <a:pt x="653" y="183"/>
                    </a:lnTo>
                    <a:lnTo>
                      <a:pt x="649" y="185"/>
                    </a:lnTo>
                    <a:lnTo>
                      <a:pt x="646" y="193"/>
                    </a:lnTo>
                    <a:lnTo>
                      <a:pt x="641" y="196"/>
                    </a:lnTo>
                    <a:lnTo>
                      <a:pt x="636" y="199"/>
                    </a:lnTo>
                    <a:lnTo>
                      <a:pt x="633" y="203"/>
                    </a:lnTo>
                    <a:lnTo>
                      <a:pt x="631" y="206"/>
                    </a:lnTo>
                    <a:lnTo>
                      <a:pt x="628" y="206"/>
                    </a:lnTo>
                    <a:lnTo>
                      <a:pt x="623" y="204"/>
                    </a:lnTo>
                    <a:lnTo>
                      <a:pt x="618" y="203"/>
                    </a:lnTo>
                    <a:lnTo>
                      <a:pt x="610" y="201"/>
                    </a:lnTo>
                    <a:lnTo>
                      <a:pt x="605" y="198"/>
                    </a:lnTo>
                    <a:lnTo>
                      <a:pt x="598" y="196"/>
                    </a:lnTo>
                    <a:lnTo>
                      <a:pt x="588" y="199"/>
                    </a:lnTo>
                    <a:lnTo>
                      <a:pt x="583" y="203"/>
                    </a:lnTo>
                    <a:lnTo>
                      <a:pt x="580" y="208"/>
                    </a:lnTo>
                    <a:lnTo>
                      <a:pt x="580" y="216"/>
                    </a:lnTo>
                    <a:lnTo>
                      <a:pt x="580" y="221"/>
                    </a:lnTo>
                    <a:lnTo>
                      <a:pt x="580" y="224"/>
                    </a:lnTo>
                    <a:lnTo>
                      <a:pt x="590" y="231"/>
                    </a:lnTo>
                    <a:lnTo>
                      <a:pt x="600" y="236"/>
                    </a:lnTo>
                    <a:lnTo>
                      <a:pt x="600" y="239"/>
                    </a:lnTo>
                    <a:lnTo>
                      <a:pt x="598" y="243"/>
                    </a:lnTo>
                    <a:lnTo>
                      <a:pt x="595" y="248"/>
                    </a:lnTo>
                    <a:lnTo>
                      <a:pt x="585" y="258"/>
                    </a:lnTo>
                    <a:lnTo>
                      <a:pt x="578" y="268"/>
                    </a:lnTo>
                    <a:lnTo>
                      <a:pt x="575" y="274"/>
                    </a:lnTo>
                    <a:lnTo>
                      <a:pt x="570" y="274"/>
                    </a:lnTo>
                    <a:lnTo>
                      <a:pt x="563" y="278"/>
                    </a:lnTo>
                    <a:lnTo>
                      <a:pt x="556" y="278"/>
                    </a:lnTo>
                    <a:lnTo>
                      <a:pt x="550" y="281"/>
                    </a:lnTo>
                    <a:lnTo>
                      <a:pt x="543" y="286"/>
                    </a:lnTo>
                    <a:lnTo>
                      <a:pt x="536" y="286"/>
                    </a:lnTo>
                    <a:lnTo>
                      <a:pt x="526" y="288"/>
                    </a:lnTo>
                    <a:lnTo>
                      <a:pt x="520" y="289"/>
                    </a:lnTo>
                    <a:lnTo>
                      <a:pt x="512" y="291"/>
                    </a:lnTo>
                    <a:lnTo>
                      <a:pt x="495" y="296"/>
                    </a:lnTo>
                    <a:lnTo>
                      <a:pt x="482" y="301"/>
                    </a:lnTo>
                    <a:lnTo>
                      <a:pt x="475" y="307"/>
                    </a:lnTo>
                    <a:lnTo>
                      <a:pt x="463" y="316"/>
                    </a:lnTo>
                    <a:lnTo>
                      <a:pt x="460" y="319"/>
                    </a:lnTo>
                    <a:lnTo>
                      <a:pt x="453" y="319"/>
                    </a:lnTo>
                    <a:lnTo>
                      <a:pt x="447" y="317"/>
                    </a:lnTo>
                    <a:lnTo>
                      <a:pt x="447" y="314"/>
                    </a:lnTo>
                    <a:lnTo>
                      <a:pt x="445" y="311"/>
                    </a:lnTo>
                    <a:lnTo>
                      <a:pt x="435" y="314"/>
                    </a:lnTo>
                    <a:lnTo>
                      <a:pt x="427" y="314"/>
                    </a:lnTo>
                    <a:lnTo>
                      <a:pt x="419" y="311"/>
                    </a:lnTo>
                    <a:lnTo>
                      <a:pt x="412" y="311"/>
                    </a:lnTo>
                    <a:lnTo>
                      <a:pt x="397" y="304"/>
                    </a:lnTo>
                    <a:lnTo>
                      <a:pt x="380" y="299"/>
                    </a:lnTo>
                    <a:lnTo>
                      <a:pt x="374" y="291"/>
                    </a:lnTo>
                    <a:lnTo>
                      <a:pt x="367" y="291"/>
                    </a:lnTo>
                    <a:lnTo>
                      <a:pt x="349" y="289"/>
                    </a:lnTo>
                    <a:lnTo>
                      <a:pt x="334" y="289"/>
                    </a:lnTo>
                    <a:lnTo>
                      <a:pt x="330" y="289"/>
                    </a:lnTo>
                    <a:lnTo>
                      <a:pt x="327" y="291"/>
                    </a:lnTo>
                    <a:lnTo>
                      <a:pt x="327" y="293"/>
                    </a:lnTo>
                    <a:lnTo>
                      <a:pt x="319" y="296"/>
                    </a:lnTo>
                    <a:lnTo>
                      <a:pt x="307" y="297"/>
                    </a:lnTo>
                    <a:lnTo>
                      <a:pt x="287" y="296"/>
                    </a:lnTo>
                    <a:lnTo>
                      <a:pt x="272" y="296"/>
                    </a:lnTo>
                    <a:lnTo>
                      <a:pt x="261" y="296"/>
                    </a:lnTo>
                    <a:lnTo>
                      <a:pt x="251" y="296"/>
                    </a:lnTo>
                    <a:lnTo>
                      <a:pt x="246" y="297"/>
                    </a:lnTo>
                    <a:lnTo>
                      <a:pt x="242" y="296"/>
                    </a:lnTo>
                    <a:lnTo>
                      <a:pt x="237" y="286"/>
                    </a:lnTo>
                    <a:lnTo>
                      <a:pt x="234" y="281"/>
                    </a:lnTo>
                    <a:lnTo>
                      <a:pt x="229" y="274"/>
                    </a:lnTo>
                    <a:lnTo>
                      <a:pt x="226" y="269"/>
                    </a:lnTo>
                    <a:lnTo>
                      <a:pt x="223" y="264"/>
                    </a:lnTo>
                    <a:lnTo>
                      <a:pt x="223" y="261"/>
                    </a:lnTo>
                    <a:lnTo>
                      <a:pt x="219" y="258"/>
                    </a:lnTo>
                    <a:lnTo>
                      <a:pt x="216" y="256"/>
                    </a:lnTo>
                    <a:lnTo>
                      <a:pt x="213" y="256"/>
                    </a:lnTo>
                    <a:lnTo>
                      <a:pt x="213" y="254"/>
                    </a:lnTo>
                    <a:lnTo>
                      <a:pt x="211" y="249"/>
                    </a:lnTo>
                    <a:lnTo>
                      <a:pt x="209" y="249"/>
                    </a:lnTo>
                    <a:lnTo>
                      <a:pt x="208" y="249"/>
                    </a:lnTo>
                    <a:lnTo>
                      <a:pt x="201" y="249"/>
                    </a:lnTo>
                    <a:lnTo>
                      <a:pt x="194" y="246"/>
                    </a:lnTo>
                    <a:lnTo>
                      <a:pt x="186" y="241"/>
                    </a:lnTo>
                    <a:lnTo>
                      <a:pt x="183" y="239"/>
                    </a:lnTo>
                    <a:lnTo>
                      <a:pt x="181" y="239"/>
                    </a:lnTo>
                    <a:lnTo>
                      <a:pt x="176" y="239"/>
                    </a:lnTo>
                    <a:lnTo>
                      <a:pt x="174" y="238"/>
                    </a:lnTo>
                    <a:lnTo>
                      <a:pt x="166" y="233"/>
                    </a:lnTo>
                    <a:lnTo>
                      <a:pt x="151" y="229"/>
                    </a:lnTo>
                    <a:lnTo>
                      <a:pt x="149" y="229"/>
                    </a:lnTo>
                    <a:lnTo>
                      <a:pt x="146" y="231"/>
                    </a:lnTo>
                    <a:lnTo>
                      <a:pt x="139" y="231"/>
                    </a:lnTo>
                    <a:lnTo>
                      <a:pt x="129" y="233"/>
                    </a:lnTo>
                    <a:lnTo>
                      <a:pt x="106" y="228"/>
                    </a:lnTo>
                    <a:lnTo>
                      <a:pt x="101" y="224"/>
                    </a:lnTo>
                    <a:lnTo>
                      <a:pt x="95" y="218"/>
                    </a:lnTo>
                    <a:lnTo>
                      <a:pt x="95" y="214"/>
                    </a:lnTo>
                    <a:lnTo>
                      <a:pt x="95" y="211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1" y="201"/>
                    </a:lnTo>
                    <a:lnTo>
                      <a:pt x="98" y="199"/>
                    </a:lnTo>
                    <a:lnTo>
                      <a:pt x="96" y="193"/>
                    </a:lnTo>
                    <a:lnTo>
                      <a:pt x="98" y="191"/>
                    </a:lnTo>
                    <a:lnTo>
                      <a:pt x="98" y="186"/>
                    </a:lnTo>
                    <a:lnTo>
                      <a:pt x="96" y="183"/>
                    </a:lnTo>
                    <a:lnTo>
                      <a:pt x="93" y="180"/>
                    </a:lnTo>
                    <a:lnTo>
                      <a:pt x="90" y="178"/>
                    </a:lnTo>
                    <a:lnTo>
                      <a:pt x="85" y="175"/>
                    </a:lnTo>
                    <a:lnTo>
                      <a:pt x="83" y="171"/>
                    </a:lnTo>
                    <a:lnTo>
                      <a:pt x="81" y="168"/>
                    </a:lnTo>
                    <a:lnTo>
                      <a:pt x="80" y="163"/>
                    </a:lnTo>
                    <a:lnTo>
                      <a:pt x="80" y="160"/>
                    </a:lnTo>
                    <a:lnTo>
                      <a:pt x="76" y="156"/>
                    </a:lnTo>
                    <a:lnTo>
                      <a:pt x="73" y="153"/>
                    </a:lnTo>
                    <a:lnTo>
                      <a:pt x="70" y="153"/>
                    </a:lnTo>
                    <a:lnTo>
                      <a:pt x="66" y="150"/>
                    </a:lnTo>
                    <a:lnTo>
                      <a:pt x="63" y="148"/>
                    </a:lnTo>
                    <a:lnTo>
                      <a:pt x="60" y="148"/>
                    </a:lnTo>
                    <a:lnTo>
                      <a:pt x="56" y="151"/>
                    </a:lnTo>
                    <a:lnTo>
                      <a:pt x="55" y="151"/>
                    </a:lnTo>
                    <a:lnTo>
                      <a:pt x="51" y="151"/>
                    </a:lnTo>
                    <a:lnTo>
                      <a:pt x="48" y="146"/>
                    </a:lnTo>
                    <a:lnTo>
                      <a:pt x="46" y="145"/>
                    </a:lnTo>
                    <a:lnTo>
                      <a:pt x="41" y="145"/>
                    </a:lnTo>
                    <a:lnTo>
                      <a:pt x="38" y="148"/>
                    </a:lnTo>
                    <a:lnTo>
                      <a:pt x="35" y="150"/>
                    </a:lnTo>
                    <a:lnTo>
                      <a:pt x="35" y="151"/>
                    </a:lnTo>
                    <a:lnTo>
                      <a:pt x="33" y="151"/>
                    </a:lnTo>
                    <a:lnTo>
                      <a:pt x="28" y="150"/>
                    </a:lnTo>
                    <a:lnTo>
                      <a:pt x="27" y="146"/>
                    </a:lnTo>
                    <a:lnTo>
                      <a:pt x="27" y="145"/>
                    </a:lnTo>
                    <a:lnTo>
                      <a:pt x="23" y="140"/>
                    </a:lnTo>
                    <a:lnTo>
                      <a:pt x="18" y="138"/>
                    </a:lnTo>
                    <a:lnTo>
                      <a:pt x="15" y="135"/>
                    </a:lnTo>
                    <a:lnTo>
                      <a:pt x="12" y="133"/>
                    </a:lnTo>
                    <a:lnTo>
                      <a:pt x="10" y="131"/>
                    </a:lnTo>
                    <a:lnTo>
                      <a:pt x="8" y="128"/>
                    </a:lnTo>
                    <a:lnTo>
                      <a:pt x="8" y="125"/>
                    </a:lnTo>
                    <a:lnTo>
                      <a:pt x="7" y="123"/>
                    </a:lnTo>
                    <a:lnTo>
                      <a:pt x="5" y="123"/>
                    </a:lnTo>
                    <a:lnTo>
                      <a:pt x="5" y="125"/>
                    </a:lnTo>
                    <a:lnTo>
                      <a:pt x="3" y="125"/>
                    </a:lnTo>
                    <a:lnTo>
                      <a:pt x="2" y="121"/>
                    </a:lnTo>
                    <a:lnTo>
                      <a:pt x="0" y="121"/>
                    </a:lnTo>
                    <a:lnTo>
                      <a:pt x="0" y="116"/>
                    </a:lnTo>
                    <a:lnTo>
                      <a:pt x="0" y="1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5" name="Freeform 11"/>
              <p:cNvSpPr>
                <a:spLocks/>
              </p:cNvSpPr>
              <p:nvPr/>
            </p:nvSpPr>
            <p:spPr bwMode="auto">
              <a:xfrm>
                <a:off x="6967263" y="2534064"/>
                <a:ext cx="493384" cy="226194"/>
              </a:xfrm>
              <a:custGeom>
                <a:avLst/>
                <a:gdLst/>
                <a:ahLst/>
                <a:cxnLst>
                  <a:cxn ang="0">
                    <a:pos x="23" y="254"/>
                  </a:cxn>
                  <a:cxn ang="0">
                    <a:pos x="1" y="203"/>
                  </a:cxn>
                  <a:cxn ang="0">
                    <a:pos x="45" y="196"/>
                  </a:cxn>
                  <a:cxn ang="0">
                    <a:pos x="66" y="156"/>
                  </a:cxn>
                  <a:cxn ang="0">
                    <a:pos x="89" y="148"/>
                  </a:cxn>
                  <a:cxn ang="0">
                    <a:pos x="106" y="145"/>
                  </a:cxn>
                  <a:cxn ang="0">
                    <a:pos x="146" y="156"/>
                  </a:cxn>
                  <a:cxn ang="0">
                    <a:pos x="174" y="164"/>
                  </a:cxn>
                  <a:cxn ang="0">
                    <a:pos x="209" y="156"/>
                  </a:cxn>
                  <a:cxn ang="0">
                    <a:pos x="242" y="156"/>
                  </a:cxn>
                  <a:cxn ang="0">
                    <a:pos x="265" y="168"/>
                  </a:cxn>
                  <a:cxn ang="0">
                    <a:pos x="310" y="166"/>
                  </a:cxn>
                  <a:cxn ang="0">
                    <a:pos x="295" y="131"/>
                  </a:cxn>
                  <a:cxn ang="0">
                    <a:pos x="292" y="110"/>
                  </a:cxn>
                  <a:cxn ang="0">
                    <a:pos x="312" y="81"/>
                  </a:cxn>
                  <a:cxn ang="0">
                    <a:pos x="294" y="73"/>
                  </a:cxn>
                  <a:cxn ang="0">
                    <a:pos x="309" y="61"/>
                  </a:cxn>
                  <a:cxn ang="0">
                    <a:pos x="339" y="53"/>
                  </a:cxn>
                  <a:cxn ang="0">
                    <a:pos x="380" y="43"/>
                  </a:cxn>
                  <a:cxn ang="0">
                    <a:pos x="405" y="30"/>
                  </a:cxn>
                  <a:cxn ang="0">
                    <a:pos x="443" y="12"/>
                  </a:cxn>
                  <a:cxn ang="0">
                    <a:pos x="475" y="2"/>
                  </a:cxn>
                  <a:cxn ang="0">
                    <a:pos x="510" y="20"/>
                  </a:cxn>
                  <a:cxn ang="0">
                    <a:pos x="520" y="38"/>
                  </a:cxn>
                  <a:cxn ang="0">
                    <a:pos x="540" y="33"/>
                  </a:cxn>
                  <a:cxn ang="0">
                    <a:pos x="563" y="42"/>
                  </a:cxn>
                  <a:cxn ang="0">
                    <a:pos x="579" y="52"/>
                  </a:cxn>
                  <a:cxn ang="0">
                    <a:pos x="616" y="37"/>
                  </a:cxn>
                  <a:cxn ang="0">
                    <a:pos x="639" y="32"/>
                  </a:cxn>
                  <a:cxn ang="0">
                    <a:pos x="749" y="120"/>
                  </a:cxn>
                  <a:cxn ang="0">
                    <a:pos x="780" y="130"/>
                  </a:cxn>
                  <a:cxn ang="0">
                    <a:pos x="819" y="121"/>
                  </a:cxn>
                  <a:cxn ang="0">
                    <a:pos x="857" y="146"/>
                  </a:cxn>
                  <a:cxn ang="0">
                    <a:pos x="872" y="164"/>
                  </a:cxn>
                  <a:cxn ang="0">
                    <a:pos x="903" y="161"/>
                  </a:cxn>
                  <a:cxn ang="0">
                    <a:pos x="907" y="189"/>
                  </a:cxn>
                  <a:cxn ang="0">
                    <a:pos x="895" y="236"/>
                  </a:cxn>
                  <a:cxn ang="0">
                    <a:pos x="849" y="239"/>
                  </a:cxn>
                  <a:cxn ang="0">
                    <a:pos x="835" y="287"/>
                  </a:cxn>
                  <a:cxn ang="0">
                    <a:pos x="817" y="299"/>
                  </a:cxn>
                  <a:cxn ang="0">
                    <a:pos x="794" y="314"/>
                  </a:cxn>
                  <a:cxn ang="0">
                    <a:pos x="807" y="347"/>
                  </a:cxn>
                  <a:cxn ang="0">
                    <a:pos x="807" y="382"/>
                  </a:cxn>
                  <a:cxn ang="0">
                    <a:pos x="721" y="369"/>
                  </a:cxn>
                  <a:cxn ang="0">
                    <a:pos x="662" y="369"/>
                  </a:cxn>
                  <a:cxn ang="0">
                    <a:pos x="611" y="384"/>
                  </a:cxn>
                  <a:cxn ang="0">
                    <a:pos x="579" y="400"/>
                  </a:cxn>
                  <a:cxn ang="0">
                    <a:pos x="520" y="429"/>
                  </a:cxn>
                  <a:cxn ang="0">
                    <a:pos x="410" y="357"/>
                  </a:cxn>
                  <a:cxn ang="0">
                    <a:pos x="226" y="420"/>
                  </a:cxn>
                  <a:cxn ang="0">
                    <a:pos x="167" y="400"/>
                  </a:cxn>
                  <a:cxn ang="0">
                    <a:pos x="144" y="390"/>
                  </a:cxn>
                  <a:cxn ang="0">
                    <a:pos x="124" y="369"/>
                  </a:cxn>
                  <a:cxn ang="0">
                    <a:pos x="108" y="349"/>
                  </a:cxn>
                  <a:cxn ang="0">
                    <a:pos x="134" y="349"/>
                  </a:cxn>
                  <a:cxn ang="0">
                    <a:pos x="123" y="329"/>
                  </a:cxn>
                  <a:cxn ang="0">
                    <a:pos x="154" y="324"/>
                  </a:cxn>
                  <a:cxn ang="0">
                    <a:pos x="161" y="309"/>
                  </a:cxn>
                  <a:cxn ang="0">
                    <a:pos x="159" y="286"/>
                  </a:cxn>
                  <a:cxn ang="0">
                    <a:pos x="136" y="281"/>
                  </a:cxn>
                  <a:cxn ang="0">
                    <a:pos x="123" y="276"/>
                  </a:cxn>
                  <a:cxn ang="0">
                    <a:pos x="99" y="282"/>
                  </a:cxn>
                  <a:cxn ang="0">
                    <a:pos x="78" y="292"/>
                  </a:cxn>
                </a:cxnLst>
                <a:rect l="0" t="0" r="r" b="b"/>
                <a:pathLst>
                  <a:path w="922" h="437">
                    <a:moveTo>
                      <a:pt x="71" y="294"/>
                    </a:moveTo>
                    <a:lnTo>
                      <a:pt x="65" y="289"/>
                    </a:lnTo>
                    <a:lnTo>
                      <a:pt x="58" y="291"/>
                    </a:lnTo>
                    <a:lnTo>
                      <a:pt x="50" y="286"/>
                    </a:lnTo>
                    <a:lnTo>
                      <a:pt x="50" y="282"/>
                    </a:lnTo>
                    <a:lnTo>
                      <a:pt x="60" y="282"/>
                    </a:lnTo>
                    <a:lnTo>
                      <a:pt x="50" y="267"/>
                    </a:lnTo>
                    <a:lnTo>
                      <a:pt x="38" y="257"/>
                    </a:lnTo>
                    <a:lnTo>
                      <a:pt x="23" y="254"/>
                    </a:lnTo>
                    <a:lnTo>
                      <a:pt x="21" y="257"/>
                    </a:lnTo>
                    <a:lnTo>
                      <a:pt x="13" y="251"/>
                    </a:lnTo>
                    <a:lnTo>
                      <a:pt x="15" y="248"/>
                    </a:lnTo>
                    <a:lnTo>
                      <a:pt x="10" y="243"/>
                    </a:lnTo>
                    <a:lnTo>
                      <a:pt x="0" y="239"/>
                    </a:lnTo>
                    <a:lnTo>
                      <a:pt x="3" y="231"/>
                    </a:lnTo>
                    <a:lnTo>
                      <a:pt x="6" y="218"/>
                    </a:lnTo>
                    <a:lnTo>
                      <a:pt x="3" y="214"/>
                    </a:lnTo>
                    <a:lnTo>
                      <a:pt x="1" y="203"/>
                    </a:lnTo>
                    <a:lnTo>
                      <a:pt x="6" y="201"/>
                    </a:lnTo>
                    <a:lnTo>
                      <a:pt x="11" y="194"/>
                    </a:lnTo>
                    <a:lnTo>
                      <a:pt x="11" y="189"/>
                    </a:lnTo>
                    <a:lnTo>
                      <a:pt x="16" y="184"/>
                    </a:lnTo>
                    <a:lnTo>
                      <a:pt x="28" y="194"/>
                    </a:lnTo>
                    <a:lnTo>
                      <a:pt x="30" y="199"/>
                    </a:lnTo>
                    <a:lnTo>
                      <a:pt x="38" y="203"/>
                    </a:lnTo>
                    <a:lnTo>
                      <a:pt x="45" y="203"/>
                    </a:lnTo>
                    <a:lnTo>
                      <a:pt x="45" y="196"/>
                    </a:lnTo>
                    <a:lnTo>
                      <a:pt x="48" y="194"/>
                    </a:lnTo>
                    <a:lnTo>
                      <a:pt x="41" y="176"/>
                    </a:lnTo>
                    <a:lnTo>
                      <a:pt x="50" y="176"/>
                    </a:lnTo>
                    <a:lnTo>
                      <a:pt x="56" y="176"/>
                    </a:lnTo>
                    <a:lnTo>
                      <a:pt x="56" y="169"/>
                    </a:lnTo>
                    <a:lnTo>
                      <a:pt x="53" y="166"/>
                    </a:lnTo>
                    <a:lnTo>
                      <a:pt x="55" y="161"/>
                    </a:lnTo>
                    <a:lnTo>
                      <a:pt x="63" y="158"/>
                    </a:lnTo>
                    <a:lnTo>
                      <a:pt x="66" y="156"/>
                    </a:lnTo>
                    <a:lnTo>
                      <a:pt x="68" y="151"/>
                    </a:lnTo>
                    <a:lnTo>
                      <a:pt x="71" y="148"/>
                    </a:lnTo>
                    <a:lnTo>
                      <a:pt x="76" y="150"/>
                    </a:lnTo>
                    <a:lnTo>
                      <a:pt x="78" y="146"/>
                    </a:lnTo>
                    <a:lnTo>
                      <a:pt x="76" y="141"/>
                    </a:lnTo>
                    <a:lnTo>
                      <a:pt x="78" y="140"/>
                    </a:lnTo>
                    <a:lnTo>
                      <a:pt x="84" y="143"/>
                    </a:lnTo>
                    <a:lnTo>
                      <a:pt x="89" y="145"/>
                    </a:lnTo>
                    <a:lnTo>
                      <a:pt x="89" y="148"/>
                    </a:lnTo>
                    <a:lnTo>
                      <a:pt x="86" y="151"/>
                    </a:lnTo>
                    <a:lnTo>
                      <a:pt x="88" y="155"/>
                    </a:lnTo>
                    <a:lnTo>
                      <a:pt x="93" y="151"/>
                    </a:lnTo>
                    <a:lnTo>
                      <a:pt x="94" y="148"/>
                    </a:lnTo>
                    <a:lnTo>
                      <a:pt x="98" y="146"/>
                    </a:lnTo>
                    <a:lnTo>
                      <a:pt x="98" y="150"/>
                    </a:lnTo>
                    <a:lnTo>
                      <a:pt x="101" y="146"/>
                    </a:lnTo>
                    <a:lnTo>
                      <a:pt x="101" y="145"/>
                    </a:lnTo>
                    <a:lnTo>
                      <a:pt x="106" y="145"/>
                    </a:lnTo>
                    <a:lnTo>
                      <a:pt x="111" y="141"/>
                    </a:lnTo>
                    <a:lnTo>
                      <a:pt x="116" y="141"/>
                    </a:lnTo>
                    <a:lnTo>
                      <a:pt x="118" y="146"/>
                    </a:lnTo>
                    <a:lnTo>
                      <a:pt x="124" y="150"/>
                    </a:lnTo>
                    <a:lnTo>
                      <a:pt x="133" y="148"/>
                    </a:lnTo>
                    <a:lnTo>
                      <a:pt x="136" y="148"/>
                    </a:lnTo>
                    <a:lnTo>
                      <a:pt x="139" y="151"/>
                    </a:lnTo>
                    <a:lnTo>
                      <a:pt x="141" y="151"/>
                    </a:lnTo>
                    <a:lnTo>
                      <a:pt x="146" y="156"/>
                    </a:lnTo>
                    <a:lnTo>
                      <a:pt x="153" y="156"/>
                    </a:lnTo>
                    <a:lnTo>
                      <a:pt x="156" y="161"/>
                    </a:lnTo>
                    <a:lnTo>
                      <a:pt x="163" y="166"/>
                    </a:lnTo>
                    <a:lnTo>
                      <a:pt x="166" y="166"/>
                    </a:lnTo>
                    <a:lnTo>
                      <a:pt x="167" y="169"/>
                    </a:lnTo>
                    <a:lnTo>
                      <a:pt x="169" y="174"/>
                    </a:lnTo>
                    <a:lnTo>
                      <a:pt x="171" y="174"/>
                    </a:lnTo>
                    <a:lnTo>
                      <a:pt x="174" y="171"/>
                    </a:lnTo>
                    <a:lnTo>
                      <a:pt x="174" y="164"/>
                    </a:lnTo>
                    <a:lnTo>
                      <a:pt x="179" y="163"/>
                    </a:lnTo>
                    <a:lnTo>
                      <a:pt x="182" y="166"/>
                    </a:lnTo>
                    <a:lnTo>
                      <a:pt x="191" y="168"/>
                    </a:lnTo>
                    <a:lnTo>
                      <a:pt x="194" y="173"/>
                    </a:lnTo>
                    <a:lnTo>
                      <a:pt x="197" y="173"/>
                    </a:lnTo>
                    <a:lnTo>
                      <a:pt x="204" y="169"/>
                    </a:lnTo>
                    <a:lnTo>
                      <a:pt x="204" y="161"/>
                    </a:lnTo>
                    <a:lnTo>
                      <a:pt x="209" y="161"/>
                    </a:lnTo>
                    <a:lnTo>
                      <a:pt x="209" y="156"/>
                    </a:lnTo>
                    <a:lnTo>
                      <a:pt x="214" y="156"/>
                    </a:lnTo>
                    <a:lnTo>
                      <a:pt x="216" y="159"/>
                    </a:lnTo>
                    <a:lnTo>
                      <a:pt x="219" y="155"/>
                    </a:lnTo>
                    <a:lnTo>
                      <a:pt x="224" y="155"/>
                    </a:lnTo>
                    <a:lnTo>
                      <a:pt x="231" y="159"/>
                    </a:lnTo>
                    <a:lnTo>
                      <a:pt x="232" y="163"/>
                    </a:lnTo>
                    <a:lnTo>
                      <a:pt x="239" y="163"/>
                    </a:lnTo>
                    <a:lnTo>
                      <a:pt x="239" y="156"/>
                    </a:lnTo>
                    <a:lnTo>
                      <a:pt x="242" y="156"/>
                    </a:lnTo>
                    <a:lnTo>
                      <a:pt x="247" y="156"/>
                    </a:lnTo>
                    <a:lnTo>
                      <a:pt x="251" y="153"/>
                    </a:lnTo>
                    <a:lnTo>
                      <a:pt x="256" y="156"/>
                    </a:lnTo>
                    <a:lnTo>
                      <a:pt x="259" y="158"/>
                    </a:lnTo>
                    <a:lnTo>
                      <a:pt x="257" y="161"/>
                    </a:lnTo>
                    <a:lnTo>
                      <a:pt x="254" y="163"/>
                    </a:lnTo>
                    <a:lnTo>
                      <a:pt x="259" y="168"/>
                    </a:lnTo>
                    <a:lnTo>
                      <a:pt x="264" y="168"/>
                    </a:lnTo>
                    <a:lnTo>
                      <a:pt x="265" y="168"/>
                    </a:lnTo>
                    <a:lnTo>
                      <a:pt x="269" y="169"/>
                    </a:lnTo>
                    <a:lnTo>
                      <a:pt x="275" y="168"/>
                    </a:lnTo>
                    <a:lnTo>
                      <a:pt x="284" y="173"/>
                    </a:lnTo>
                    <a:lnTo>
                      <a:pt x="290" y="173"/>
                    </a:lnTo>
                    <a:lnTo>
                      <a:pt x="292" y="168"/>
                    </a:lnTo>
                    <a:lnTo>
                      <a:pt x="292" y="163"/>
                    </a:lnTo>
                    <a:lnTo>
                      <a:pt x="295" y="161"/>
                    </a:lnTo>
                    <a:lnTo>
                      <a:pt x="302" y="164"/>
                    </a:lnTo>
                    <a:lnTo>
                      <a:pt x="310" y="166"/>
                    </a:lnTo>
                    <a:lnTo>
                      <a:pt x="317" y="163"/>
                    </a:lnTo>
                    <a:lnTo>
                      <a:pt x="320" y="159"/>
                    </a:lnTo>
                    <a:lnTo>
                      <a:pt x="319" y="143"/>
                    </a:lnTo>
                    <a:lnTo>
                      <a:pt x="317" y="141"/>
                    </a:lnTo>
                    <a:lnTo>
                      <a:pt x="309" y="141"/>
                    </a:lnTo>
                    <a:lnTo>
                      <a:pt x="305" y="138"/>
                    </a:lnTo>
                    <a:lnTo>
                      <a:pt x="304" y="135"/>
                    </a:lnTo>
                    <a:lnTo>
                      <a:pt x="299" y="135"/>
                    </a:lnTo>
                    <a:lnTo>
                      <a:pt x="295" y="131"/>
                    </a:lnTo>
                    <a:lnTo>
                      <a:pt x="289" y="131"/>
                    </a:lnTo>
                    <a:lnTo>
                      <a:pt x="289" y="128"/>
                    </a:lnTo>
                    <a:lnTo>
                      <a:pt x="287" y="126"/>
                    </a:lnTo>
                    <a:lnTo>
                      <a:pt x="289" y="123"/>
                    </a:lnTo>
                    <a:lnTo>
                      <a:pt x="292" y="123"/>
                    </a:lnTo>
                    <a:lnTo>
                      <a:pt x="294" y="118"/>
                    </a:lnTo>
                    <a:lnTo>
                      <a:pt x="297" y="115"/>
                    </a:lnTo>
                    <a:lnTo>
                      <a:pt x="295" y="110"/>
                    </a:lnTo>
                    <a:lnTo>
                      <a:pt x="292" y="110"/>
                    </a:lnTo>
                    <a:lnTo>
                      <a:pt x="292" y="105"/>
                    </a:lnTo>
                    <a:lnTo>
                      <a:pt x="297" y="96"/>
                    </a:lnTo>
                    <a:lnTo>
                      <a:pt x="304" y="93"/>
                    </a:lnTo>
                    <a:lnTo>
                      <a:pt x="314" y="91"/>
                    </a:lnTo>
                    <a:lnTo>
                      <a:pt x="317" y="93"/>
                    </a:lnTo>
                    <a:lnTo>
                      <a:pt x="320" y="91"/>
                    </a:lnTo>
                    <a:lnTo>
                      <a:pt x="320" y="86"/>
                    </a:lnTo>
                    <a:lnTo>
                      <a:pt x="315" y="85"/>
                    </a:lnTo>
                    <a:lnTo>
                      <a:pt x="312" y="81"/>
                    </a:lnTo>
                    <a:lnTo>
                      <a:pt x="307" y="81"/>
                    </a:lnTo>
                    <a:lnTo>
                      <a:pt x="305" y="85"/>
                    </a:lnTo>
                    <a:lnTo>
                      <a:pt x="300" y="81"/>
                    </a:lnTo>
                    <a:lnTo>
                      <a:pt x="294" y="81"/>
                    </a:lnTo>
                    <a:lnTo>
                      <a:pt x="294" y="80"/>
                    </a:lnTo>
                    <a:lnTo>
                      <a:pt x="295" y="78"/>
                    </a:lnTo>
                    <a:lnTo>
                      <a:pt x="302" y="78"/>
                    </a:lnTo>
                    <a:lnTo>
                      <a:pt x="300" y="73"/>
                    </a:lnTo>
                    <a:lnTo>
                      <a:pt x="294" y="73"/>
                    </a:lnTo>
                    <a:lnTo>
                      <a:pt x="289" y="71"/>
                    </a:lnTo>
                    <a:lnTo>
                      <a:pt x="292" y="70"/>
                    </a:lnTo>
                    <a:lnTo>
                      <a:pt x="289" y="65"/>
                    </a:lnTo>
                    <a:lnTo>
                      <a:pt x="290" y="63"/>
                    </a:lnTo>
                    <a:lnTo>
                      <a:pt x="295" y="63"/>
                    </a:lnTo>
                    <a:lnTo>
                      <a:pt x="299" y="60"/>
                    </a:lnTo>
                    <a:lnTo>
                      <a:pt x="302" y="60"/>
                    </a:lnTo>
                    <a:lnTo>
                      <a:pt x="304" y="63"/>
                    </a:lnTo>
                    <a:lnTo>
                      <a:pt x="309" y="61"/>
                    </a:lnTo>
                    <a:lnTo>
                      <a:pt x="314" y="65"/>
                    </a:lnTo>
                    <a:lnTo>
                      <a:pt x="315" y="63"/>
                    </a:lnTo>
                    <a:lnTo>
                      <a:pt x="315" y="60"/>
                    </a:lnTo>
                    <a:lnTo>
                      <a:pt x="320" y="58"/>
                    </a:lnTo>
                    <a:lnTo>
                      <a:pt x="324" y="58"/>
                    </a:lnTo>
                    <a:lnTo>
                      <a:pt x="327" y="61"/>
                    </a:lnTo>
                    <a:lnTo>
                      <a:pt x="329" y="60"/>
                    </a:lnTo>
                    <a:lnTo>
                      <a:pt x="330" y="57"/>
                    </a:lnTo>
                    <a:lnTo>
                      <a:pt x="339" y="53"/>
                    </a:lnTo>
                    <a:lnTo>
                      <a:pt x="344" y="53"/>
                    </a:lnTo>
                    <a:lnTo>
                      <a:pt x="350" y="50"/>
                    </a:lnTo>
                    <a:lnTo>
                      <a:pt x="355" y="50"/>
                    </a:lnTo>
                    <a:lnTo>
                      <a:pt x="357" y="48"/>
                    </a:lnTo>
                    <a:lnTo>
                      <a:pt x="363" y="45"/>
                    </a:lnTo>
                    <a:lnTo>
                      <a:pt x="370" y="45"/>
                    </a:lnTo>
                    <a:lnTo>
                      <a:pt x="373" y="42"/>
                    </a:lnTo>
                    <a:lnTo>
                      <a:pt x="377" y="42"/>
                    </a:lnTo>
                    <a:lnTo>
                      <a:pt x="380" y="43"/>
                    </a:lnTo>
                    <a:lnTo>
                      <a:pt x="382" y="42"/>
                    </a:lnTo>
                    <a:lnTo>
                      <a:pt x="382" y="37"/>
                    </a:lnTo>
                    <a:lnTo>
                      <a:pt x="385" y="35"/>
                    </a:lnTo>
                    <a:lnTo>
                      <a:pt x="390" y="35"/>
                    </a:lnTo>
                    <a:lnTo>
                      <a:pt x="390" y="32"/>
                    </a:lnTo>
                    <a:lnTo>
                      <a:pt x="393" y="30"/>
                    </a:lnTo>
                    <a:lnTo>
                      <a:pt x="397" y="32"/>
                    </a:lnTo>
                    <a:lnTo>
                      <a:pt x="400" y="32"/>
                    </a:lnTo>
                    <a:lnTo>
                      <a:pt x="405" y="30"/>
                    </a:lnTo>
                    <a:lnTo>
                      <a:pt x="410" y="28"/>
                    </a:lnTo>
                    <a:lnTo>
                      <a:pt x="420" y="22"/>
                    </a:lnTo>
                    <a:lnTo>
                      <a:pt x="423" y="22"/>
                    </a:lnTo>
                    <a:lnTo>
                      <a:pt x="425" y="20"/>
                    </a:lnTo>
                    <a:lnTo>
                      <a:pt x="430" y="20"/>
                    </a:lnTo>
                    <a:lnTo>
                      <a:pt x="433" y="15"/>
                    </a:lnTo>
                    <a:lnTo>
                      <a:pt x="437" y="17"/>
                    </a:lnTo>
                    <a:lnTo>
                      <a:pt x="443" y="15"/>
                    </a:lnTo>
                    <a:lnTo>
                      <a:pt x="443" y="12"/>
                    </a:lnTo>
                    <a:lnTo>
                      <a:pt x="442" y="8"/>
                    </a:lnTo>
                    <a:lnTo>
                      <a:pt x="443" y="7"/>
                    </a:lnTo>
                    <a:lnTo>
                      <a:pt x="450" y="7"/>
                    </a:lnTo>
                    <a:lnTo>
                      <a:pt x="452" y="3"/>
                    </a:lnTo>
                    <a:lnTo>
                      <a:pt x="457" y="0"/>
                    </a:lnTo>
                    <a:lnTo>
                      <a:pt x="458" y="2"/>
                    </a:lnTo>
                    <a:lnTo>
                      <a:pt x="463" y="0"/>
                    </a:lnTo>
                    <a:lnTo>
                      <a:pt x="468" y="2"/>
                    </a:lnTo>
                    <a:lnTo>
                      <a:pt x="475" y="2"/>
                    </a:lnTo>
                    <a:lnTo>
                      <a:pt x="481" y="5"/>
                    </a:lnTo>
                    <a:lnTo>
                      <a:pt x="486" y="5"/>
                    </a:lnTo>
                    <a:lnTo>
                      <a:pt x="491" y="3"/>
                    </a:lnTo>
                    <a:lnTo>
                      <a:pt x="496" y="3"/>
                    </a:lnTo>
                    <a:lnTo>
                      <a:pt x="500" y="8"/>
                    </a:lnTo>
                    <a:lnTo>
                      <a:pt x="501" y="10"/>
                    </a:lnTo>
                    <a:lnTo>
                      <a:pt x="503" y="15"/>
                    </a:lnTo>
                    <a:lnTo>
                      <a:pt x="506" y="18"/>
                    </a:lnTo>
                    <a:lnTo>
                      <a:pt x="510" y="20"/>
                    </a:lnTo>
                    <a:lnTo>
                      <a:pt x="510" y="22"/>
                    </a:lnTo>
                    <a:lnTo>
                      <a:pt x="508" y="27"/>
                    </a:lnTo>
                    <a:lnTo>
                      <a:pt x="510" y="30"/>
                    </a:lnTo>
                    <a:lnTo>
                      <a:pt x="510" y="32"/>
                    </a:lnTo>
                    <a:lnTo>
                      <a:pt x="505" y="33"/>
                    </a:lnTo>
                    <a:lnTo>
                      <a:pt x="508" y="37"/>
                    </a:lnTo>
                    <a:lnTo>
                      <a:pt x="510" y="38"/>
                    </a:lnTo>
                    <a:lnTo>
                      <a:pt x="516" y="37"/>
                    </a:lnTo>
                    <a:lnTo>
                      <a:pt x="520" y="38"/>
                    </a:lnTo>
                    <a:lnTo>
                      <a:pt x="523" y="38"/>
                    </a:lnTo>
                    <a:lnTo>
                      <a:pt x="523" y="33"/>
                    </a:lnTo>
                    <a:lnTo>
                      <a:pt x="526" y="33"/>
                    </a:lnTo>
                    <a:lnTo>
                      <a:pt x="528" y="37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0" y="30"/>
                    </a:lnTo>
                    <a:lnTo>
                      <a:pt x="531" y="28"/>
                    </a:lnTo>
                    <a:lnTo>
                      <a:pt x="540" y="33"/>
                    </a:lnTo>
                    <a:lnTo>
                      <a:pt x="540" y="42"/>
                    </a:lnTo>
                    <a:lnTo>
                      <a:pt x="543" y="47"/>
                    </a:lnTo>
                    <a:lnTo>
                      <a:pt x="546" y="47"/>
                    </a:lnTo>
                    <a:lnTo>
                      <a:pt x="550" y="43"/>
                    </a:lnTo>
                    <a:lnTo>
                      <a:pt x="548" y="42"/>
                    </a:lnTo>
                    <a:lnTo>
                      <a:pt x="546" y="38"/>
                    </a:lnTo>
                    <a:lnTo>
                      <a:pt x="551" y="38"/>
                    </a:lnTo>
                    <a:lnTo>
                      <a:pt x="560" y="42"/>
                    </a:lnTo>
                    <a:lnTo>
                      <a:pt x="563" y="42"/>
                    </a:lnTo>
                    <a:lnTo>
                      <a:pt x="566" y="40"/>
                    </a:lnTo>
                    <a:lnTo>
                      <a:pt x="569" y="40"/>
                    </a:lnTo>
                    <a:lnTo>
                      <a:pt x="568" y="45"/>
                    </a:lnTo>
                    <a:lnTo>
                      <a:pt x="564" y="47"/>
                    </a:lnTo>
                    <a:lnTo>
                      <a:pt x="564" y="53"/>
                    </a:lnTo>
                    <a:lnTo>
                      <a:pt x="568" y="57"/>
                    </a:lnTo>
                    <a:lnTo>
                      <a:pt x="571" y="57"/>
                    </a:lnTo>
                    <a:lnTo>
                      <a:pt x="574" y="53"/>
                    </a:lnTo>
                    <a:lnTo>
                      <a:pt x="579" y="52"/>
                    </a:lnTo>
                    <a:lnTo>
                      <a:pt x="589" y="55"/>
                    </a:lnTo>
                    <a:lnTo>
                      <a:pt x="591" y="57"/>
                    </a:lnTo>
                    <a:lnTo>
                      <a:pt x="594" y="53"/>
                    </a:lnTo>
                    <a:lnTo>
                      <a:pt x="594" y="48"/>
                    </a:lnTo>
                    <a:lnTo>
                      <a:pt x="598" y="47"/>
                    </a:lnTo>
                    <a:lnTo>
                      <a:pt x="606" y="47"/>
                    </a:lnTo>
                    <a:lnTo>
                      <a:pt x="609" y="43"/>
                    </a:lnTo>
                    <a:lnTo>
                      <a:pt x="611" y="40"/>
                    </a:lnTo>
                    <a:lnTo>
                      <a:pt x="616" y="37"/>
                    </a:lnTo>
                    <a:lnTo>
                      <a:pt x="616" y="33"/>
                    </a:lnTo>
                    <a:lnTo>
                      <a:pt x="621" y="30"/>
                    </a:lnTo>
                    <a:lnTo>
                      <a:pt x="624" y="28"/>
                    </a:lnTo>
                    <a:lnTo>
                      <a:pt x="629" y="25"/>
                    </a:lnTo>
                    <a:lnTo>
                      <a:pt x="634" y="23"/>
                    </a:lnTo>
                    <a:lnTo>
                      <a:pt x="641" y="22"/>
                    </a:lnTo>
                    <a:lnTo>
                      <a:pt x="643" y="23"/>
                    </a:lnTo>
                    <a:lnTo>
                      <a:pt x="643" y="27"/>
                    </a:lnTo>
                    <a:lnTo>
                      <a:pt x="639" y="32"/>
                    </a:lnTo>
                    <a:lnTo>
                      <a:pt x="634" y="32"/>
                    </a:lnTo>
                    <a:lnTo>
                      <a:pt x="638" y="35"/>
                    </a:lnTo>
                    <a:lnTo>
                      <a:pt x="681" y="65"/>
                    </a:lnTo>
                    <a:lnTo>
                      <a:pt x="741" y="131"/>
                    </a:lnTo>
                    <a:lnTo>
                      <a:pt x="746" y="131"/>
                    </a:lnTo>
                    <a:lnTo>
                      <a:pt x="751" y="128"/>
                    </a:lnTo>
                    <a:lnTo>
                      <a:pt x="751" y="126"/>
                    </a:lnTo>
                    <a:lnTo>
                      <a:pt x="749" y="125"/>
                    </a:lnTo>
                    <a:lnTo>
                      <a:pt x="749" y="120"/>
                    </a:lnTo>
                    <a:lnTo>
                      <a:pt x="754" y="118"/>
                    </a:lnTo>
                    <a:lnTo>
                      <a:pt x="760" y="121"/>
                    </a:lnTo>
                    <a:lnTo>
                      <a:pt x="759" y="125"/>
                    </a:lnTo>
                    <a:lnTo>
                      <a:pt x="760" y="128"/>
                    </a:lnTo>
                    <a:lnTo>
                      <a:pt x="765" y="130"/>
                    </a:lnTo>
                    <a:lnTo>
                      <a:pt x="769" y="133"/>
                    </a:lnTo>
                    <a:lnTo>
                      <a:pt x="774" y="133"/>
                    </a:lnTo>
                    <a:lnTo>
                      <a:pt x="777" y="130"/>
                    </a:lnTo>
                    <a:lnTo>
                      <a:pt x="780" y="130"/>
                    </a:lnTo>
                    <a:lnTo>
                      <a:pt x="787" y="133"/>
                    </a:lnTo>
                    <a:lnTo>
                      <a:pt x="792" y="131"/>
                    </a:lnTo>
                    <a:lnTo>
                      <a:pt x="795" y="131"/>
                    </a:lnTo>
                    <a:lnTo>
                      <a:pt x="800" y="130"/>
                    </a:lnTo>
                    <a:lnTo>
                      <a:pt x="802" y="128"/>
                    </a:lnTo>
                    <a:lnTo>
                      <a:pt x="800" y="125"/>
                    </a:lnTo>
                    <a:lnTo>
                      <a:pt x="802" y="123"/>
                    </a:lnTo>
                    <a:lnTo>
                      <a:pt x="809" y="121"/>
                    </a:lnTo>
                    <a:lnTo>
                      <a:pt x="819" y="121"/>
                    </a:lnTo>
                    <a:lnTo>
                      <a:pt x="825" y="125"/>
                    </a:lnTo>
                    <a:lnTo>
                      <a:pt x="832" y="128"/>
                    </a:lnTo>
                    <a:lnTo>
                      <a:pt x="837" y="135"/>
                    </a:lnTo>
                    <a:lnTo>
                      <a:pt x="839" y="140"/>
                    </a:lnTo>
                    <a:lnTo>
                      <a:pt x="842" y="140"/>
                    </a:lnTo>
                    <a:lnTo>
                      <a:pt x="847" y="141"/>
                    </a:lnTo>
                    <a:lnTo>
                      <a:pt x="852" y="145"/>
                    </a:lnTo>
                    <a:lnTo>
                      <a:pt x="854" y="145"/>
                    </a:lnTo>
                    <a:lnTo>
                      <a:pt x="857" y="146"/>
                    </a:lnTo>
                    <a:lnTo>
                      <a:pt x="857" y="150"/>
                    </a:lnTo>
                    <a:lnTo>
                      <a:pt x="857" y="151"/>
                    </a:lnTo>
                    <a:lnTo>
                      <a:pt x="857" y="155"/>
                    </a:lnTo>
                    <a:lnTo>
                      <a:pt x="859" y="158"/>
                    </a:lnTo>
                    <a:lnTo>
                      <a:pt x="860" y="159"/>
                    </a:lnTo>
                    <a:lnTo>
                      <a:pt x="862" y="161"/>
                    </a:lnTo>
                    <a:lnTo>
                      <a:pt x="863" y="161"/>
                    </a:lnTo>
                    <a:lnTo>
                      <a:pt x="868" y="163"/>
                    </a:lnTo>
                    <a:lnTo>
                      <a:pt x="872" y="164"/>
                    </a:lnTo>
                    <a:lnTo>
                      <a:pt x="873" y="161"/>
                    </a:lnTo>
                    <a:lnTo>
                      <a:pt x="877" y="159"/>
                    </a:lnTo>
                    <a:lnTo>
                      <a:pt x="888" y="159"/>
                    </a:lnTo>
                    <a:lnTo>
                      <a:pt x="893" y="158"/>
                    </a:lnTo>
                    <a:lnTo>
                      <a:pt x="897" y="155"/>
                    </a:lnTo>
                    <a:lnTo>
                      <a:pt x="902" y="151"/>
                    </a:lnTo>
                    <a:lnTo>
                      <a:pt x="903" y="153"/>
                    </a:lnTo>
                    <a:lnTo>
                      <a:pt x="902" y="158"/>
                    </a:lnTo>
                    <a:lnTo>
                      <a:pt x="903" y="161"/>
                    </a:lnTo>
                    <a:lnTo>
                      <a:pt x="907" y="163"/>
                    </a:lnTo>
                    <a:lnTo>
                      <a:pt x="912" y="166"/>
                    </a:lnTo>
                    <a:lnTo>
                      <a:pt x="918" y="169"/>
                    </a:lnTo>
                    <a:lnTo>
                      <a:pt x="922" y="171"/>
                    </a:lnTo>
                    <a:lnTo>
                      <a:pt x="917" y="174"/>
                    </a:lnTo>
                    <a:lnTo>
                      <a:pt x="913" y="178"/>
                    </a:lnTo>
                    <a:lnTo>
                      <a:pt x="907" y="183"/>
                    </a:lnTo>
                    <a:lnTo>
                      <a:pt x="907" y="186"/>
                    </a:lnTo>
                    <a:lnTo>
                      <a:pt x="907" y="189"/>
                    </a:lnTo>
                    <a:lnTo>
                      <a:pt x="905" y="194"/>
                    </a:lnTo>
                    <a:lnTo>
                      <a:pt x="897" y="196"/>
                    </a:lnTo>
                    <a:lnTo>
                      <a:pt x="893" y="199"/>
                    </a:lnTo>
                    <a:lnTo>
                      <a:pt x="892" y="204"/>
                    </a:lnTo>
                    <a:lnTo>
                      <a:pt x="892" y="213"/>
                    </a:lnTo>
                    <a:lnTo>
                      <a:pt x="897" y="223"/>
                    </a:lnTo>
                    <a:lnTo>
                      <a:pt x="902" y="228"/>
                    </a:lnTo>
                    <a:lnTo>
                      <a:pt x="902" y="231"/>
                    </a:lnTo>
                    <a:lnTo>
                      <a:pt x="895" y="236"/>
                    </a:lnTo>
                    <a:lnTo>
                      <a:pt x="890" y="238"/>
                    </a:lnTo>
                    <a:lnTo>
                      <a:pt x="885" y="243"/>
                    </a:lnTo>
                    <a:lnTo>
                      <a:pt x="882" y="244"/>
                    </a:lnTo>
                    <a:lnTo>
                      <a:pt x="880" y="243"/>
                    </a:lnTo>
                    <a:lnTo>
                      <a:pt x="878" y="241"/>
                    </a:lnTo>
                    <a:lnTo>
                      <a:pt x="875" y="241"/>
                    </a:lnTo>
                    <a:lnTo>
                      <a:pt x="865" y="243"/>
                    </a:lnTo>
                    <a:lnTo>
                      <a:pt x="859" y="243"/>
                    </a:lnTo>
                    <a:lnTo>
                      <a:pt x="849" y="239"/>
                    </a:lnTo>
                    <a:lnTo>
                      <a:pt x="844" y="238"/>
                    </a:lnTo>
                    <a:lnTo>
                      <a:pt x="840" y="239"/>
                    </a:lnTo>
                    <a:lnTo>
                      <a:pt x="839" y="249"/>
                    </a:lnTo>
                    <a:lnTo>
                      <a:pt x="837" y="254"/>
                    </a:lnTo>
                    <a:lnTo>
                      <a:pt x="835" y="259"/>
                    </a:lnTo>
                    <a:lnTo>
                      <a:pt x="834" y="272"/>
                    </a:lnTo>
                    <a:lnTo>
                      <a:pt x="834" y="282"/>
                    </a:lnTo>
                    <a:lnTo>
                      <a:pt x="832" y="286"/>
                    </a:lnTo>
                    <a:lnTo>
                      <a:pt x="835" y="287"/>
                    </a:lnTo>
                    <a:lnTo>
                      <a:pt x="840" y="289"/>
                    </a:lnTo>
                    <a:lnTo>
                      <a:pt x="839" y="294"/>
                    </a:lnTo>
                    <a:lnTo>
                      <a:pt x="839" y="297"/>
                    </a:lnTo>
                    <a:lnTo>
                      <a:pt x="835" y="297"/>
                    </a:lnTo>
                    <a:lnTo>
                      <a:pt x="832" y="299"/>
                    </a:lnTo>
                    <a:lnTo>
                      <a:pt x="829" y="299"/>
                    </a:lnTo>
                    <a:lnTo>
                      <a:pt x="825" y="297"/>
                    </a:lnTo>
                    <a:lnTo>
                      <a:pt x="822" y="297"/>
                    </a:lnTo>
                    <a:lnTo>
                      <a:pt x="817" y="299"/>
                    </a:lnTo>
                    <a:lnTo>
                      <a:pt x="805" y="301"/>
                    </a:lnTo>
                    <a:lnTo>
                      <a:pt x="799" y="304"/>
                    </a:lnTo>
                    <a:lnTo>
                      <a:pt x="795" y="304"/>
                    </a:lnTo>
                    <a:lnTo>
                      <a:pt x="792" y="302"/>
                    </a:lnTo>
                    <a:lnTo>
                      <a:pt x="789" y="304"/>
                    </a:lnTo>
                    <a:lnTo>
                      <a:pt x="784" y="307"/>
                    </a:lnTo>
                    <a:lnTo>
                      <a:pt x="784" y="311"/>
                    </a:lnTo>
                    <a:lnTo>
                      <a:pt x="787" y="314"/>
                    </a:lnTo>
                    <a:lnTo>
                      <a:pt x="794" y="314"/>
                    </a:lnTo>
                    <a:lnTo>
                      <a:pt x="800" y="314"/>
                    </a:lnTo>
                    <a:lnTo>
                      <a:pt x="800" y="316"/>
                    </a:lnTo>
                    <a:lnTo>
                      <a:pt x="797" y="319"/>
                    </a:lnTo>
                    <a:lnTo>
                      <a:pt x="799" y="326"/>
                    </a:lnTo>
                    <a:lnTo>
                      <a:pt x="799" y="329"/>
                    </a:lnTo>
                    <a:lnTo>
                      <a:pt x="802" y="332"/>
                    </a:lnTo>
                    <a:lnTo>
                      <a:pt x="802" y="336"/>
                    </a:lnTo>
                    <a:lnTo>
                      <a:pt x="807" y="342"/>
                    </a:lnTo>
                    <a:lnTo>
                      <a:pt x="807" y="347"/>
                    </a:lnTo>
                    <a:lnTo>
                      <a:pt x="814" y="351"/>
                    </a:lnTo>
                    <a:lnTo>
                      <a:pt x="815" y="359"/>
                    </a:lnTo>
                    <a:lnTo>
                      <a:pt x="812" y="362"/>
                    </a:lnTo>
                    <a:lnTo>
                      <a:pt x="810" y="365"/>
                    </a:lnTo>
                    <a:lnTo>
                      <a:pt x="815" y="370"/>
                    </a:lnTo>
                    <a:lnTo>
                      <a:pt x="812" y="370"/>
                    </a:lnTo>
                    <a:lnTo>
                      <a:pt x="812" y="374"/>
                    </a:lnTo>
                    <a:lnTo>
                      <a:pt x="807" y="375"/>
                    </a:lnTo>
                    <a:lnTo>
                      <a:pt x="807" y="382"/>
                    </a:lnTo>
                    <a:lnTo>
                      <a:pt x="802" y="384"/>
                    </a:lnTo>
                    <a:lnTo>
                      <a:pt x="792" y="382"/>
                    </a:lnTo>
                    <a:lnTo>
                      <a:pt x="782" y="370"/>
                    </a:lnTo>
                    <a:lnTo>
                      <a:pt x="777" y="372"/>
                    </a:lnTo>
                    <a:lnTo>
                      <a:pt x="767" y="369"/>
                    </a:lnTo>
                    <a:lnTo>
                      <a:pt x="752" y="367"/>
                    </a:lnTo>
                    <a:lnTo>
                      <a:pt x="746" y="370"/>
                    </a:lnTo>
                    <a:lnTo>
                      <a:pt x="732" y="367"/>
                    </a:lnTo>
                    <a:lnTo>
                      <a:pt x="721" y="369"/>
                    </a:lnTo>
                    <a:lnTo>
                      <a:pt x="716" y="370"/>
                    </a:lnTo>
                    <a:lnTo>
                      <a:pt x="709" y="369"/>
                    </a:lnTo>
                    <a:lnTo>
                      <a:pt x="706" y="372"/>
                    </a:lnTo>
                    <a:lnTo>
                      <a:pt x="701" y="374"/>
                    </a:lnTo>
                    <a:lnTo>
                      <a:pt x="687" y="372"/>
                    </a:lnTo>
                    <a:lnTo>
                      <a:pt x="677" y="370"/>
                    </a:lnTo>
                    <a:lnTo>
                      <a:pt x="672" y="367"/>
                    </a:lnTo>
                    <a:lnTo>
                      <a:pt x="664" y="367"/>
                    </a:lnTo>
                    <a:lnTo>
                      <a:pt x="662" y="369"/>
                    </a:lnTo>
                    <a:lnTo>
                      <a:pt x="656" y="369"/>
                    </a:lnTo>
                    <a:lnTo>
                      <a:pt x="653" y="367"/>
                    </a:lnTo>
                    <a:lnTo>
                      <a:pt x="649" y="369"/>
                    </a:lnTo>
                    <a:lnTo>
                      <a:pt x="649" y="374"/>
                    </a:lnTo>
                    <a:lnTo>
                      <a:pt x="651" y="379"/>
                    </a:lnTo>
                    <a:lnTo>
                      <a:pt x="651" y="384"/>
                    </a:lnTo>
                    <a:lnTo>
                      <a:pt x="644" y="385"/>
                    </a:lnTo>
                    <a:lnTo>
                      <a:pt x="629" y="385"/>
                    </a:lnTo>
                    <a:lnTo>
                      <a:pt x="611" y="384"/>
                    </a:lnTo>
                    <a:lnTo>
                      <a:pt x="606" y="382"/>
                    </a:lnTo>
                    <a:lnTo>
                      <a:pt x="599" y="380"/>
                    </a:lnTo>
                    <a:lnTo>
                      <a:pt x="594" y="385"/>
                    </a:lnTo>
                    <a:lnTo>
                      <a:pt x="596" y="387"/>
                    </a:lnTo>
                    <a:lnTo>
                      <a:pt x="591" y="390"/>
                    </a:lnTo>
                    <a:lnTo>
                      <a:pt x="589" y="392"/>
                    </a:lnTo>
                    <a:lnTo>
                      <a:pt x="588" y="392"/>
                    </a:lnTo>
                    <a:lnTo>
                      <a:pt x="583" y="399"/>
                    </a:lnTo>
                    <a:lnTo>
                      <a:pt x="579" y="400"/>
                    </a:lnTo>
                    <a:lnTo>
                      <a:pt x="569" y="410"/>
                    </a:lnTo>
                    <a:lnTo>
                      <a:pt x="566" y="417"/>
                    </a:lnTo>
                    <a:lnTo>
                      <a:pt x="563" y="419"/>
                    </a:lnTo>
                    <a:lnTo>
                      <a:pt x="560" y="427"/>
                    </a:lnTo>
                    <a:lnTo>
                      <a:pt x="550" y="435"/>
                    </a:lnTo>
                    <a:lnTo>
                      <a:pt x="546" y="434"/>
                    </a:lnTo>
                    <a:lnTo>
                      <a:pt x="536" y="429"/>
                    </a:lnTo>
                    <a:lnTo>
                      <a:pt x="528" y="429"/>
                    </a:lnTo>
                    <a:lnTo>
                      <a:pt x="520" y="429"/>
                    </a:lnTo>
                    <a:lnTo>
                      <a:pt x="510" y="435"/>
                    </a:lnTo>
                    <a:lnTo>
                      <a:pt x="505" y="434"/>
                    </a:lnTo>
                    <a:lnTo>
                      <a:pt x="495" y="409"/>
                    </a:lnTo>
                    <a:lnTo>
                      <a:pt x="476" y="407"/>
                    </a:lnTo>
                    <a:lnTo>
                      <a:pt x="476" y="375"/>
                    </a:lnTo>
                    <a:lnTo>
                      <a:pt x="468" y="379"/>
                    </a:lnTo>
                    <a:lnTo>
                      <a:pt x="462" y="365"/>
                    </a:lnTo>
                    <a:lnTo>
                      <a:pt x="450" y="357"/>
                    </a:lnTo>
                    <a:lnTo>
                      <a:pt x="410" y="357"/>
                    </a:lnTo>
                    <a:lnTo>
                      <a:pt x="373" y="360"/>
                    </a:lnTo>
                    <a:lnTo>
                      <a:pt x="354" y="349"/>
                    </a:lnTo>
                    <a:lnTo>
                      <a:pt x="339" y="344"/>
                    </a:lnTo>
                    <a:lnTo>
                      <a:pt x="300" y="319"/>
                    </a:lnTo>
                    <a:lnTo>
                      <a:pt x="236" y="331"/>
                    </a:lnTo>
                    <a:lnTo>
                      <a:pt x="256" y="435"/>
                    </a:lnTo>
                    <a:lnTo>
                      <a:pt x="252" y="435"/>
                    </a:lnTo>
                    <a:lnTo>
                      <a:pt x="242" y="437"/>
                    </a:lnTo>
                    <a:lnTo>
                      <a:pt x="226" y="420"/>
                    </a:lnTo>
                    <a:lnTo>
                      <a:pt x="209" y="412"/>
                    </a:lnTo>
                    <a:lnTo>
                      <a:pt x="194" y="410"/>
                    </a:lnTo>
                    <a:lnTo>
                      <a:pt x="182" y="414"/>
                    </a:lnTo>
                    <a:lnTo>
                      <a:pt x="167" y="425"/>
                    </a:lnTo>
                    <a:lnTo>
                      <a:pt x="166" y="420"/>
                    </a:lnTo>
                    <a:lnTo>
                      <a:pt x="164" y="415"/>
                    </a:lnTo>
                    <a:lnTo>
                      <a:pt x="167" y="409"/>
                    </a:lnTo>
                    <a:lnTo>
                      <a:pt x="169" y="402"/>
                    </a:lnTo>
                    <a:lnTo>
                      <a:pt x="167" y="400"/>
                    </a:lnTo>
                    <a:lnTo>
                      <a:pt x="169" y="399"/>
                    </a:lnTo>
                    <a:lnTo>
                      <a:pt x="167" y="397"/>
                    </a:lnTo>
                    <a:lnTo>
                      <a:pt x="163" y="399"/>
                    </a:lnTo>
                    <a:lnTo>
                      <a:pt x="158" y="397"/>
                    </a:lnTo>
                    <a:lnTo>
                      <a:pt x="154" y="395"/>
                    </a:lnTo>
                    <a:lnTo>
                      <a:pt x="151" y="397"/>
                    </a:lnTo>
                    <a:lnTo>
                      <a:pt x="148" y="397"/>
                    </a:lnTo>
                    <a:lnTo>
                      <a:pt x="146" y="392"/>
                    </a:lnTo>
                    <a:lnTo>
                      <a:pt x="144" y="390"/>
                    </a:lnTo>
                    <a:lnTo>
                      <a:pt x="143" y="387"/>
                    </a:lnTo>
                    <a:lnTo>
                      <a:pt x="139" y="385"/>
                    </a:lnTo>
                    <a:lnTo>
                      <a:pt x="138" y="387"/>
                    </a:lnTo>
                    <a:lnTo>
                      <a:pt x="134" y="389"/>
                    </a:lnTo>
                    <a:lnTo>
                      <a:pt x="131" y="387"/>
                    </a:lnTo>
                    <a:lnTo>
                      <a:pt x="133" y="382"/>
                    </a:lnTo>
                    <a:lnTo>
                      <a:pt x="131" y="379"/>
                    </a:lnTo>
                    <a:lnTo>
                      <a:pt x="124" y="370"/>
                    </a:lnTo>
                    <a:lnTo>
                      <a:pt x="124" y="369"/>
                    </a:lnTo>
                    <a:lnTo>
                      <a:pt x="121" y="367"/>
                    </a:lnTo>
                    <a:lnTo>
                      <a:pt x="119" y="364"/>
                    </a:lnTo>
                    <a:lnTo>
                      <a:pt x="118" y="362"/>
                    </a:lnTo>
                    <a:lnTo>
                      <a:pt x="116" y="359"/>
                    </a:lnTo>
                    <a:lnTo>
                      <a:pt x="111" y="357"/>
                    </a:lnTo>
                    <a:lnTo>
                      <a:pt x="108" y="357"/>
                    </a:lnTo>
                    <a:lnTo>
                      <a:pt x="104" y="354"/>
                    </a:lnTo>
                    <a:lnTo>
                      <a:pt x="104" y="351"/>
                    </a:lnTo>
                    <a:lnTo>
                      <a:pt x="108" y="349"/>
                    </a:lnTo>
                    <a:lnTo>
                      <a:pt x="109" y="351"/>
                    </a:lnTo>
                    <a:lnTo>
                      <a:pt x="116" y="349"/>
                    </a:lnTo>
                    <a:lnTo>
                      <a:pt x="119" y="351"/>
                    </a:lnTo>
                    <a:lnTo>
                      <a:pt x="121" y="351"/>
                    </a:lnTo>
                    <a:lnTo>
                      <a:pt x="123" y="351"/>
                    </a:lnTo>
                    <a:lnTo>
                      <a:pt x="126" y="349"/>
                    </a:lnTo>
                    <a:lnTo>
                      <a:pt x="128" y="349"/>
                    </a:lnTo>
                    <a:lnTo>
                      <a:pt x="133" y="349"/>
                    </a:lnTo>
                    <a:lnTo>
                      <a:pt x="134" y="349"/>
                    </a:lnTo>
                    <a:lnTo>
                      <a:pt x="133" y="347"/>
                    </a:lnTo>
                    <a:lnTo>
                      <a:pt x="128" y="347"/>
                    </a:lnTo>
                    <a:lnTo>
                      <a:pt x="126" y="346"/>
                    </a:lnTo>
                    <a:lnTo>
                      <a:pt x="126" y="342"/>
                    </a:lnTo>
                    <a:lnTo>
                      <a:pt x="121" y="337"/>
                    </a:lnTo>
                    <a:lnTo>
                      <a:pt x="121" y="336"/>
                    </a:lnTo>
                    <a:lnTo>
                      <a:pt x="123" y="334"/>
                    </a:lnTo>
                    <a:lnTo>
                      <a:pt x="123" y="331"/>
                    </a:lnTo>
                    <a:lnTo>
                      <a:pt x="123" y="329"/>
                    </a:lnTo>
                    <a:lnTo>
                      <a:pt x="126" y="326"/>
                    </a:lnTo>
                    <a:lnTo>
                      <a:pt x="131" y="324"/>
                    </a:lnTo>
                    <a:lnTo>
                      <a:pt x="134" y="322"/>
                    </a:lnTo>
                    <a:lnTo>
                      <a:pt x="139" y="324"/>
                    </a:lnTo>
                    <a:lnTo>
                      <a:pt x="144" y="324"/>
                    </a:lnTo>
                    <a:lnTo>
                      <a:pt x="148" y="322"/>
                    </a:lnTo>
                    <a:lnTo>
                      <a:pt x="149" y="324"/>
                    </a:lnTo>
                    <a:lnTo>
                      <a:pt x="151" y="324"/>
                    </a:lnTo>
                    <a:lnTo>
                      <a:pt x="154" y="324"/>
                    </a:lnTo>
                    <a:lnTo>
                      <a:pt x="159" y="327"/>
                    </a:lnTo>
                    <a:lnTo>
                      <a:pt x="163" y="327"/>
                    </a:lnTo>
                    <a:lnTo>
                      <a:pt x="167" y="326"/>
                    </a:lnTo>
                    <a:lnTo>
                      <a:pt x="169" y="324"/>
                    </a:lnTo>
                    <a:lnTo>
                      <a:pt x="166" y="322"/>
                    </a:lnTo>
                    <a:lnTo>
                      <a:pt x="161" y="321"/>
                    </a:lnTo>
                    <a:lnTo>
                      <a:pt x="158" y="316"/>
                    </a:lnTo>
                    <a:lnTo>
                      <a:pt x="158" y="311"/>
                    </a:lnTo>
                    <a:lnTo>
                      <a:pt x="161" y="309"/>
                    </a:lnTo>
                    <a:lnTo>
                      <a:pt x="163" y="307"/>
                    </a:lnTo>
                    <a:lnTo>
                      <a:pt x="161" y="306"/>
                    </a:lnTo>
                    <a:lnTo>
                      <a:pt x="159" y="304"/>
                    </a:lnTo>
                    <a:lnTo>
                      <a:pt x="159" y="302"/>
                    </a:lnTo>
                    <a:lnTo>
                      <a:pt x="163" y="297"/>
                    </a:lnTo>
                    <a:lnTo>
                      <a:pt x="163" y="294"/>
                    </a:lnTo>
                    <a:lnTo>
                      <a:pt x="159" y="291"/>
                    </a:lnTo>
                    <a:lnTo>
                      <a:pt x="158" y="287"/>
                    </a:lnTo>
                    <a:lnTo>
                      <a:pt x="159" y="286"/>
                    </a:lnTo>
                    <a:lnTo>
                      <a:pt x="159" y="284"/>
                    </a:lnTo>
                    <a:lnTo>
                      <a:pt x="156" y="284"/>
                    </a:lnTo>
                    <a:lnTo>
                      <a:pt x="154" y="281"/>
                    </a:lnTo>
                    <a:lnTo>
                      <a:pt x="154" y="279"/>
                    </a:lnTo>
                    <a:lnTo>
                      <a:pt x="146" y="279"/>
                    </a:lnTo>
                    <a:lnTo>
                      <a:pt x="143" y="277"/>
                    </a:lnTo>
                    <a:lnTo>
                      <a:pt x="139" y="279"/>
                    </a:lnTo>
                    <a:lnTo>
                      <a:pt x="138" y="281"/>
                    </a:lnTo>
                    <a:lnTo>
                      <a:pt x="136" y="281"/>
                    </a:lnTo>
                    <a:lnTo>
                      <a:pt x="136" y="284"/>
                    </a:lnTo>
                    <a:lnTo>
                      <a:pt x="133" y="284"/>
                    </a:lnTo>
                    <a:lnTo>
                      <a:pt x="129" y="284"/>
                    </a:lnTo>
                    <a:lnTo>
                      <a:pt x="129" y="282"/>
                    </a:lnTo>
                    <a:lnTo>
                      <a:pt x="126" y="282"/>
                    </a:lnTo>
                    <a:lnTo>
                      <a:pt x="124" y="282"/>
                    </a:lnTo>
                    <a:lnTo>
                      <a:pt x="123" y="281"/>
                    </a:lnTo>
                    <a:lnTo>
                      <a:pt x="123" y="277"/>
                    </a:lnTo>
                    <a:lnTo>
                      <a:pt x="123" y="276"/>
                    </a:lnTo>
                    <a:lnTo>
                      <a:pt x="119" y="277"/>
                    </a:lnTo>
                    <a:lnTo>
                      <a:pt x="118" y="277"/>
                    </a:lnTo>
                    <a:lnTo>
                      <a:pt x="114" y="276"/>
                    </a:lnTo>
                    <a:lnTo>
                      <a:pt x="108" y="276"/>
                    </a:lnTo>
                    <a:lnTo>
                      <a:pt x="104" y="279"/>
                    </a:lnTo>
                    <a:lnTo>
                      <a:pt x="104" y="282"/>
                    </a:lnTo>
                    <a:lnTo>
                      <a:pt x="103" y="284"/>
                    </a:lnTo>
                    <a:lnTo>
                      <a:pt x="101" y="282"/>
                    </a:lnTo>
                    <a:lnTo>
                      <a:pt x="99" y="282"/>
                    </a:lnTo>
                    <a:lnTo>
                      <a:pt x="96" y="286"/>
                    </a:lnTo>
                    <a:lnTo>
                      <a:pt x="93" y="286"/>
                    </a:lnTo>
                    <a:lnTo>
                      <a:pt x="91" y="287"/>
                    </a:lnTo>
                    <a:lnTo>
                      <a:pt x="88" y="291"/>
                    </a:lnTo>
                    <a:lnTo>
                      <a:pt x="84" y="291"/>
                    </a:lnTo>
                    <a:lnTo>
                      <a:pt x="84" y="294"/>
                    </a:lnTo>
                    <a:lnTo>
                      <a:pt x="83" y="296"/>
                    </a:lnTo>
                    <a:lnTo>
                      <a:pt x="81" y="294"/>
                    </a:lnTo>
                    <a:lnTo>
                      <a:pt x="78" y="292"/>
                    </a:lnTo>
                    <a:lnTo>
                      <a:pt x="76" y="296"/>
                    </a:lnTo>
                    <a:lnTo>
                      <a:pt x="73" y="296"/>
                    </a:lnTo>
                    <a:lnTo>
                      <a:pt x="73" y="292"/>
                    </a:lnTo>
                    <a:lnTo>
                      <a:pt x="71" y="2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6" name="Freeform 12"/>
              <p:cNvSpPr>
                <a:spLocks/>
              </p:cNvSpPr>
              <p:nvPr/>
            </p:nvSpPr>
            <p:spPr bwMode="auto">
              <a:xfrm>
                <a:off x="7093552" y="2699041"/>
                <a:ext cx="208698" cy="114135"/>
              </a:xfrm>
              <a:custGeom>
                <a:avLst/>
                <a:gdLst/>
                <a:ahLst/>
                <a:cxnLst>
                  <a:cxn ang="0">
                    <a:pos x="310" y="206"/>
                  </a:cxn>
                  <a:cxn ang="0">
                    <a:pos x="317" y="193"/>
                  </a:cxn>
                  <a:cxn ang="0">
                    <a:pos x="312" y="184"/>
                  </a:cxn>
                  <a:cxn ang="0">
                    <a:pos x="312" y="174"/>
                  </a:cxn>
                  <a:cxn ang="0">
                    <a:pos x="304" y="169"/>
                  </a:cxn>
                  <a:cxn ang="0">
                    <a:pos x="294" y="163"/>
                  </a:cxn>
                  <a:cxn ang="0">
                    <a:pos x="299" y="153"/>
                  </a:cxn>
                  <a:cxn ang="0">
                    <a:pos x="314" y="153"/>
                  </a:cxn>
                  <a:cxn ang="0">
                    <a:pos x="324" y="146"/>
                  </a:cxn>
                  <a:cxn ang="0">
                    <a:pos x="320" y="139"/>
                  </a:cxn>
                  <a:cxn ang="0">
                    <a:pos x="338" y="134"/>
                  </a:cxn>
                  <a:cxn ang="0">
                    <a:pos x="330" y="128"/>
                  </a:cxn>
                  <a:cxn ang="0">
                    <a:pos x="337" y="120"/>
                  </a:cxn>
                  <a:cxn ang="0">
                    <a:pos x="348" y="116"/>
                  </a:cxn>
                  <a:cxn ang="0">
                    <a:pos x="362" y="115"/>
                  </a:cxn>
                  <a:cxn ang="0">
                    <a:pos x="375" y="115"/>
                  </a:cxn>
                  <a:cxn ang="0">
                    <a:pos x="390" y="108"/>
                  </a:cxn>
                  <a:cxn ang="0">
                    <a:pos x="377" y="96"/>
                  </a:cxn>
                  <a:cxn ang="0">
                    <a:pos x="373" y="101"/>
                  </a:cxn>
                  <a:cxn ang="0">
                    <a:pos x="365" y="105"/>
                  </a:cxn>
                  <a:cxn ang="0">
                    <a:pos x="350" y="98"/>
                  </a:cxn>
                  <a:cxn ang="0">
                    <a:pos x="348" y="90"/>
                  </a:cxn>
                  <a:cxn ang="0">
                    <a:pos x="357" y="75"/>
                  </a:cxn>
                  <a:cxn ang="0">
                    <a:pos x="347" y="80"/>
                  </a:cxn>
                  <a:cxn ang="0">
                    <a:pos x="333" y="91"/>
                  </a:cxn>
                  <a:cxn ang="0">
                    <a:pos x="327" y="100"/>
                  </a:cxn>
                  <a:cxn ang="0">
                    <a:pos x="314" y="116"/>
                  </a:cxn>
                  <a:cxn ang="0">
                    <a:pos x="300" y="110"/>
                  </a:cxn>
                  <a:cxn ang="0">
                    <a:pos x="284" y="110"/>
                  </a:cxn>
                  <a:cxn ang="0">
                    <a:pos x="269" y="115"/>
                  </a:cxn>
                  <a:cxn ang="0">
                    <a:pos x="240" y="88"/>
                  </a:cxn>
                  <a:cxn ang="0">
                    <a:pos x="232" y="60"/>
                  </a:cxn>
                  <a:cxn ang="0">
                    <a:pos x="214" y="38"/>
                  </a:cxn>
                  <a:cxn ang="0">
                    <a:pos x="137" y="41"/>
                  </a:cxn>
                  <a:cxn ang="0">
                    <a:pos x="103" y="25"/>
                  </a:cxn>
                  <a:cxn ang="0">
                    <a:pos x="0" y="12"/>
                  </a:cxn>
                  <a:cxn ang="0">
                    <a:pos x="31" y="115"/>
                  </a:cxn>
                  <a:cxn ang="0">
                    <a:pos x="43" y="111"/>
                  </a:cxn>
                  <a:cxn ang="0">
                    <a:pos x="38" y="100"/>
                  </a:cxn>
                  <a:cxn ang="0">
                    <a:pos x="49" y="90"/>
                  </a:cxn>
                  <a:cxn ang="0">
                    <a:pos x="59" y="81"/>
                  </a:cxn>
                  <a:cxn ang="0">
                    <a:pos x="68" y="83"/>
                  </a:cxn>
                  <a:cxn ang="0">
                    <a:pos x="74" y="78"/>
                  </a:cxn>
                  <a:cxn ang="0">
                    <a:pos x="106" y="93"/>
                  </a:cxn>
                  <a:cxn ang="0">
                    <a:pos x="126" y="106"/>
                  </a:cxn>
                  <a:cxn ang="0">
                    <a:pos x="144" y="111"/>
                  </a:cxn>
                  <a:cxn ang="0">
                    <a:pos x="159" y="118"/>
                  </a:cxn>
                  <a:cxn ang="0">
                    <a:pos x="167" y="134"/>
                  </a:cxn>
                  <a:cxn ang="0">
                    <a:pos x="176" y="149"/>
                  </a:cxn>
                  <a:cxn ang="0">
                    <a:pos x="199" y="163"/>
                  </a:cxn>
                  <a:cxn ang="0">
                    <a:pos x="234" y="181"/>
                  </a:cxn>
                  <a:cxn ang="0">
                    <a:pos x="264" y="193"/>
                  </a:cxn>
                  <a:cxn ang="0">
                    <a:pos x="270" y="194"/>
                  </a:cxn>
                  <a:cxn ang="0">
                    <a:pos x="279" y="206"/>
                  </a:cxn>
                  <a:cxn ang="0">
                    <a:pos x="287" y="214"/>
                  </a:cxn>
                  <a:cxn ang="0">
                    <a:pos x="295" y="221"/>
                  </a:cxn>
                  <a:cxn ang="0">
                    <a:pos x="302" y="218"/>
                  </a:cxn>
                  <a:cxn ang="0">
                    <a:pos x="309" y="219"/>
                  </a:cxn>
                </a:cxnLst>
                <a:rect l="0" t="0" r="r" b="b"/>
                <a:pathLst>
                  <a:path w="390" h="221">
                    <a:moveTo>
                      <a:pt x="309" y="219"/>
                    </a:moveTo>
                    <a:lnTo>
                      <a:pt x="310" y="206"/>
                    </a:lnTo>
                    <a:lnTo>
                      <a:pt x="315" y="196"/>
                    </a:lnTo>
                    <a:lnTo>
                      <a:pt x="317" y="193"/>
                    </a:lnTo>
                    <a:lnTo>
                      <a:pt x="317" y="186"/>
                    </a:lnTo>
                    <a:lnTo>
                      <a:pt x="312" y="184"/>
                    </a:lnTo>
                    <a:lnTo>
                      <a:pt x="309" y="179"/>
                    </a:lnTo>
                    <a:lnTo>
                      <a:pt x="312" y="174"/>
                    </a:lnTo>
                    <a:lnTo>
                      <a:pt x="310" y="169"/>
                    </a:lnTo>
                    <a:lnTo>
                      <a:pt x="304" y="169"/>
                    </a:lnTo>
                    <a:lnTo>
                      <a:pt x="299" y="171"/>
                    </a:lnTo>
                    <a:lnTo>
                      <a:pt x="294" y="163"/>
                    </a:lnTo>
                    <a:lnTo>
                      <a:pt x="294" y="156"/>
                    </a:lnTo>
                    <a:lnTo>
                      <a:pt x="299" y="153"/>
                    </a:lnTo>
                    <a:lnTo>
                      <a:pt x="309" y="154"/>
                    </a:lnTo>
                    <a:lnTo>
                      <a:pt x="314" y="153"/>
                    </a:lnTo>
                    <a:lnTo>
                      <a:pt x="314" y="148"/>
                    </a:lnTo>
                    <a:lnTo>
                      <a:pt x="324" y="146"/>
                    </a:lnTo>
                    <a:lnTo>
                      <a:pt x="322" y="143"/>
                    </a:lnTo>
                    <a:lnTo>
                      <a:pt x="320" y="139"/>
                    </a:lnTo>
                    <a:lnTo>
                      <a:pt x="330" y="138"/>
                    </a:lnTo>
                    <a:lnTo>
                      <a:pt x="338" y="134"/>
                    </a:lnTo>
                    <a:lnTo>
                      <a:pt x="338" y="131"/>
                    </a:lnTo>
                    <a:lnTo>
                      <a:pt x="330" y="128"/>
                    </a:lnTo>
                    <a:lnTo>
                      <a:pt x="332" y="121"/>
                    </a:lnTo>
                    <a:lnTo>
                      <a:pt x="337" y="120"/>
                    </a:lnTo>
                    <a:lnTo>
                      <a:pt x="343" y="116"/>
                    </a:lnTo>
                    <a:lnTo>
                      <a:pt x="348" y="116"/>
                    </a:lnTo>
                    <a:lnTo>
                      <a:pt x="357" y="110"/>
                    </a:lnTo>
                    <a:lnTo>
                      <a:pt x="362" y="115"/>
                    </a:lnTo>
                    <a:lnTo>
                      <a:pt x="363" y="116"/>
                    </a:lnTo>
                    <a:lnTo>
                      <a:pt x="375" y="115"/>
                    </a:lnTo>
                    <a:lnTo>
                      <a:pt x="383" y="116"/>
                    </a:lnTo>
                    <a:lnTo>
                      <a:pt x="390" y="108"/>
                    </a:lnTo>
                    <a:lnTo>
                      <a:pt x="390" y="105"/>
                    </a:lnTo>
                    <a:lnTo>
                      <a:pt x="377" y="96"/>
                    </a:lnTo>
                    <a:lnTo>
                      <a:pt x="375" y="95"/>
                    </a:lnTo>
                    <a:lnTo>
                      <a:pt x="373" y="101"/>
                    </a:lnTo>
                    <a:lnTo>
                      <a:pt x="370" y="106"/>
                    </a:lnTo>
                    <a:lnTo>
                      <a:pt x="365" y="105"/>
                    </a:lnTo>
                    <a:lnTo>
                      <a:pt x="360" y="100"/>
                    </a:lnTo>
                    <a:lnTo>
                      <a:pt x="350" y="98"/>
                    </a:lnTo>
                    <a:lnTo>
                      <a:pt x="345" y="95"/>
                    </a:lnTo>
                    <a:lnTo>
                      <a:pt x="348" y="90"/>
                    </a:lnTo>
                    <a:lnTo>
                      <a:pt x="357" y="78"/>
                    </a:lnTo>
                    <a:lnTo>
                      <a:pt x="357" y="75"/>
                    </a:lnTo>
                    <a:lnTo>
                      <a:pt x="352" y="73"/>
                    </a:lnTo>
                    <a:lnTo>
                      <a:pt x="347" y="80"/>
                    </a:lnTo>
                    <a:lnTo>
                      <a:pt x="343" y="81"/>
                    </a:lnTo>
                    <a:lnTo>
                      <a:pt x="333" y="91"/>
                    </a:lnTo>
                    <a:lnTo>
                      <a:pt x="330" y="98"/>
                    </a:lnTo>
                    <a:lnTo>
                      <a:pt x="327" y="100"/>
                    </a:lnTo>
                    <a:lnTo>
                      <a:pt x="324" y="108"/>
                    </a:lnTo>
                    <a:lnTo>
                      <a:pt x="314" y="116"/>
                    </a:lnTo>
                    <a:lnTo>
                      <a:pt x="310" y="115"/>
                    </a:lnTo>
                    <a:lnTo>
                      <a:pt x="300" y="110"/>
                    </a:lnTo>
                    <a:lnTo>
                      <a:pt x="292" y="110"/>
                    </a:lnTo>
                    <a:lnTo>
                      <a:pt x="284" y="110"/>
                    </a:lnTo>
                    <a:lnTo>
                      <a:pt x="274" y="116"/>
                    </a:lnTo>
                    <a:lnTo>
                      <a:pt x="269" y="115"/>
                    </a:lnTo>
                    <a:lnTo>
                      <a:pt x="259" y="90"/>
                    </a:lnTo>
                    <a:lnTo>
                      <a:pt x="240" y="88"/>
                    </a:lnTo>
                    <a:lnTo>
                      <a:pt x="240" y="56"/>
                    </a:lnTo>
                    <a:lnTo>
                      <a:pt x="232" y="60"/>
                    </a:lnTo>
                    <a:lnTo>
                      <a:pt x="226" y="46"/>
                    </a:lnTo>
                    <a:lnTo>
                      <a:pt x="214" y="38"/>
                    </a:lnTo>
                    <a:lnTo>
                      <a:pt x="174" y="38"/>
                    </a:lnTo>
                    <a:lnTo>
                      <a:pt x="137" y="41"/>
                    </a:lnTo>
                    <a:lnTo>
                      <a:pt x="118" y="30"/>
                    </a:lnTo>
                    <a:lnTo>
                      <a:pt x="103" y="25"/>
                    </a:lnTo>
                    <a:lnTo>
                      <a:pt x="64" y="0"/>
                    </a:lnTo>
                    <a:lnTo>
                      <a:pt x="0" y="12"/>
                    </a:lnTo>
                    <a:lnTo>
                      <a:pt x="20" y="116"/>
                    </a:lnTo>
                    <a:lnTo>
                      <a:pt x="31" y="115"/>
                    </a:lnTo>
                    <a:lnTo>
                      <a:pt x="41" y="116"/>
                    </a:lnTo>
                    <a:lnTo>
                      <a:pt x="43" y="111"/>
                    </a:lnTo>
                    <a:lnTo>
                      <a:pt x="39" y="108"/>
                    </a:lnTo>
                    <a:lnTo>
                      <a:pt x="38" y="100"/>
                    </a:lnTo>
                    <a:lnTo>
                      <a:pt x="43" y="90"/>
                    </a:lnTo>
                    <a:lnTo>
                      <a:pt x="49" y="90"/>
                    </a:lnTo>
                    <a:lnTo>
                      <a:pt x="54" y="85"/>
                    </a:lnTo>
                    <a:lnTo>
                      <a:pt x="59" y="81"/>
                    </a:lnTo>
                    <a:lnTo>
                      <a:pt x="64" y="85"/>
                    </a:lnTo>
                    <a:lnTo>
                      <a:pt x="68" y="83"/>
                    </a:lnTo>
                    <a:lnTo>
                      <a:pt x="64" y="78"/>
                    </a:lnTo>
                    <a:lnTo>
                      <a:pt x="74" y="78"/>
                    </a:lnTo>
                    <a:lnTo>
                      <a:pt x="91" y="86"/>
                    </a:lnTo>
                    <a:lnTo>
                      <a:pt x="106" y="93"/>
                    </a:lnTo>
                    <a:lnTo>
                      <a:pt x="108" y="98"/>
                    </a:lnTo>
                    <a:lnTo>
                      <a:pt x="126" y="106"/>
                    </a:lnTo>
                    <a:lnTo>
                      <a:pt x="139" y="113"/>
                    </a:lnTo>
                    <a:lnTo>
                      <a:pt x="144" y="111"/>
                    </a:lnTo>
                    <a:lnTo>
                      <a:pt x="149" y="111"/>
                    </a:lnTo>
                    <a:lnTo>
                      <a:pt x="159" y="118"/>
                    </a:lnTo>
                    <a:lnTo>
                      <a:pt x="162" y="131"/>
                    </a:lnTo>
                    <a:lnTo>
                      <a:pt x="167" y="134"/>
                    </a:lnTo>
                    <a:lnTo>
                      <a:pt x="169" y="141"/>
                    </a:lnTo>
                    <a:lnTo>
                      <a:pt x="176" y="149"/>
                    </a:lnTo>
                    <a:lnTo>
                      <a:pt x="184" y="153"/>
                    </a:lnTo>
                    <a:lnTo>
                      <a:pt x="199" y="163"/>
                    </a:lnTo>
                    <a:lnTo>
                      <a:pt x="216" y="173"/>
                    </a:lnTo>
                    <a:lnTo>
                      <a:pt x="234" y="181"/>
                    </a:lnTo>
                    <a:lnTo>
                      <a:pt x="250" y="191"/>
                    </a:lnTo>
                    <a:lnTo>
                      <a:pt x="264" y="193"/>
                    </a:lnTo>
                    <a:lnTo>
                      <a:pt x="265" y="196"/>
                    </a:lnTo>
                    <a:lnTo>
                      <a:pt x="270" y="194"/>
                    </a:lnTo>
                    <a:lnTo>
                      <a:pt x="279" y="201"/>
                    </a:lnTo>
                    <a:lnTo>
                      <a:pt x="279" y="206"/>
                    </a:lnTo>
                    <a:lnTo>
                      <a:pt x="280" y="216"/>
                    </a:lnTo>
                    <a:lnTo>
                      <a:pt x="287" y="214"/>
                    </a:lnTo>
                    <a:lnTo>
                      <a:pt x="292" y="216"/>
                    </a:lnTo>
                    <a:lnTo>
                      <a:pt x="295" y="221"/>
                    </a:lnTo>
                    <a:lnTo>
                      <a:pt x="299" y="221"/>
                    </a:lnTo>
                    <a:lnTo>
                      <a:pt x="302" y="218"/>
                    </a:lnTo>
                    <a:lnTo>
                      <a:pt x="307" y="218"/>
                    </a:lnTo>
                    <a:lnTo>
                      <a:pt x="309" y="2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7057163" y="2739507"/>
                <a:ext cx="186223" cy="102722"/>
              </a:xfrm>
              <a:custGeom>
                <a:avLst/>
                <a:gdLst/>
                <a:ahLst/>
                <a:cxnLst>
                  <a:cxn ang="0">
                    <a:pos x="348" y="123"/>
                  </a:cxn>
                  <a:cxn ang="0">
                    <a:pos x="333" y="115"/>
                  </a:cxn>
                  <a:cxn ang="0">
                    <a:pos x="285" y="95"/>
                  </a:cxn>
                  <a:cxn ang="0">
                    <a:pos x="245" y="71"/>
                  </a:cxn>
                  <a:cxn ang="0">
                    <a:pos x="231" y="53"/>
                  </a:cxn>
                  <a:cxn ang="0">
                    <a:pos x="213" y="33"/>
                  </a:cxn>
                  <a:cxn ang="0">
                    <a:pos x="177" y="20"/>
                  </a:cxn>
                  <a:cxn ang="0">
                    <a:pos x="143" y="0"/>
                  </a:cxn>
                  <a:cxn ang="0">
                    <a:pos x="133" y="7"/>
                  </a:cxn>
                  <a:cxn ang="0">
                    <a:pos x="118" y="12"/>
                  </a:cxn>
                  <a:cxn ang="0">
                    <a:pos x="108" y="30"/>
                  </a:cxn>
                  <a:cxn ang="0">
                    <a:pos x="100" y="37"/>
                  </a:cxn>
                  <a:cxn ang="0">
                    <a:pos x="59" y="23"/>
                  </a:cxn>
                  <a:cxn ang="0">
                    <a:pos x="15" y="17"/>
                  </a:cxn>
                  <a:cxn ang="0">
                    <a:pos x="4" y="33"/>
                  </a:cxn>
                  <a:cxn ang="0">
                    <a:pos x="10" y="43"/>
                  </a:cxn>
                  <a:cxn ang="0">
                    <a:pos x="12" y="61"/>
                  </a:cxn>
                  <a:cxn ang="0">
                    <a:pos x="17" y="80"/>
                  </a:cxn>
                  <a:cxn ang="0">
                    <a:pos x="22" y="81"/>
                  </a:cxn>
                  <a:cxn ang="0">
                    <a:pos x="34" y="78"/>
                  </a:cxn>
                  <a:cxn ang="0">
                    <a:pos x="35" y="90"/>
                  </a:cxn>
                  <a:cxn ang="0">
                    <a:pos x="40" y="93"/>
                  </a:cxn>
                  <a:cxn ang="0">
                    <a:pos x="32" y="91"/>
                  </a:cxn>
                  <a:cxn ang="0">
                    <a:pos x="30" y="103"/>
                  </a:cxn>
                  <a:cxn ang="0">
                    <a:pos x="35" y="98"/>
                  </a:cxn>
                  <a:cxn ang="0">
                    <a:pos x="47" y="106"/>
                  </a:cxn>
                  <a:cxn ang="0">
                    <a:pos x="50" y="120"/>
                  </a:cxn>
                  <a:cxn ang="0">
                    <a:pos x="55" y="150"/>
                  </a:cxn>
                  <a:cxn ang="0">
                    <a:pos x="75" y="141"/>
                  </a:cxn>
                  <a:cxn ang="0">
                    <a:pos x="92" y="130"/>
                  </a:cxn>
                  <a:cxn ang="0">
                    <a:pos x="113" y="125"/>
                  </a:cxn>
                  <a:cxn ang="0">
                    <a:pos x="128" y="125"/>
                  </a:cxn>
                  <a:cxn ang="0">
                    <a:pos x="158" y="141"/>
                  </a:cxn>
                  <a:cxn ang="0">
                    <a:pos x="177" y="141"/>
                  </a:cxn>
                  <a:cxn ang="0">
                    <a:pos x="185" y="151"/>
                  </a:cxn>
                  <a:cxn ang="0">
                    <a:pos x="208" y="163"/>
                  </a:cxn>
                  <a:cxn ang="0">
                    <a:pos x="230" y="173"/>
                  </a:cxn>
                  <a:cxn ang="0">
                    <a:pos x="230" y="184"/>
                  </a:cxn>
                  <a:cxn ang="0">
                    <a:pos x="240" y="189"/>
                  </a:cxn>
                  <a:cxn ang="0">
                    <a:pos x="250" y="189"/>
                  </a:cxn>
                  <a:cxn ang="0">
                    <a:pos x="261" y="196"/>
                  </a:cxn>
                  <a:cxn ang="0">
                    <a:pos x="273" y="194"/>
                  </a:cxn>
                  <a:cxn ang="0">
                    <a:pos x="280" y="184"/>
                  </a:cxn>
                  <a:cxn ang="0">
                    <a:pos x="296" y="176"/>
                  </a:cxn>
                  <a:cxn ang="0">
                    <a:pos x="304" y="171"/>
                  </a:cxn>
                  <a:cxn ang="0">
                    <a:pos x="311" y="154"/>
                  </a:cxn>
                  <a:cxn ang="0">
                    <a:pos x="309" y="145"/>
                  </a:cxn>
                  <a:cxn ang="0">
                    <a:pos x="321" y="141"/>
                  </a:cxn>
                  <a:cxn ang="0">
                    <a:pos x="336" y="135"/>
                  </a:cxn>
                  <a:cxn ang="0">
                    <a:pos x="348" y="138"/>
                  </a:cxn>
                </a:cxnLst>
                <a:rect l="0" t="0" r="r" b="b"/>
                <a:pathLst>
                  <a:path w="349" h="198">
                    <a:moveTo>
                      <a:pt x="349" y="138"/>
                    </a:moveTo>
                    <a:lnTo>
                      <a:pt x="348" y="128"/>
                    </a:lnTo>
                    <a:lnTo>
                      <a:pt x="348" y="123"/>
                    </a:lnTo>
                    <a:lnTo>
                      <a:pt x="339" y="116"/>
                    </a:lnTo>
                    <a:lnTo>
                      <a:pt x="334" y="118"/>
                    </a:lnTo>
                    <a:lnTo>
                      <a:pt x="333" y="115"/>
                    </a:lnTo>
                    <a:lnTo>
                      <a:pt x="319" y="113"/>
                    </a:lnTo>
                    <a:lnTo>
                      <a:pt x="303" y="103"/>
                    </a:lnTo>
                    <a:lnTo>
                      <a:pt x="285" y="95"/>
                    </a:lnTo>
                    <a:lnTo>
                      <a:pt x="268" y="85"/>
                    </a:lnTo>
                    <a:lnTo>
                      <a:pt x="253" y="75"/>
                    </a:lnTo>
                    <a:lnTo>
                      <a:pt x="245" y="71"/>
                    </a:lnTo>
                    <a:lnTo>
                      <a:pt x="238" y="63"/>
                    </a:lnTo>
                    <a:lnTo>
                      <a:pt x="236" y="56"/>
                    </a:lnTo>
                    <a:lnTo>
                      <a:pt x="231" y="53"/>
                    </a:lnTo>
                    <a:lnTo>
                      <a:pt x="228" y="40"/>
                    </a:lnTo>
                    <a:lnTo>
                      <a:pt x="218" y="33"/>
                    </a:lnTo>
                    <a:lnTo>
                      <a:pt x="213" y="33"/>
                    </a:lnTo>
                    <a:lnTo>
                      <a:pt x="208" y="35"/>
                    </a:lnTo>
                    <a:lnTo>
                      <a:pt x="195" y="28"/>
                    </a:lnTo>
                    <a:lnTo>
                      <a:pt x="177" y="20"/>
                    </a:lnTo>
                    <a:lnTo>
                      <a:pt x="175" y="15"/>
                    </a:lnTo>
                    <a:lnTo>
                      <a:pt x="160" y="8"/>
                    </a:lnTo>
                    <a:lnTo>
                      <a:pt x="143" y="0"/>
                    </a:lnTo>
                    <a:lnTo>
                      <a:pt x="133" y="0"/>
                    </a:lnTo>
                    <a:lnTo>
                      <a:pt x="137" y="5"/>
                    </a:lnTo>
                    <a:lnTo>
                      <a:pt x="133" y="7"/>
                    </a:lnTo>
                    <a:lnTo>
                      <a:pt x="128" y="3"/>
                    </a:lnTo>
                    <a:lnTo>
                      <a:pt x="123" y="7"/>
                    </a:lnTo>
                    <a:lnTo>
                      <a:pt x="118" y="12"/>
                    </a:lnTo>
                    <a:lnTo>
                      <a:pt x="112" y="12"/>
                    </a:lnTo>
                    <a:lnTo>
                      <a:pt x="107" y="22"/>
                    </a:lnTo>
                    <a:lnTo>
                      <a:pt x="108" y="30"/>
                    </a:lnTo>
                    <a:lnTo>
                      <a:pt x="112" y="33"/>
                    </a:lnTo>
                    <a:lnTo>
                      <a:pt x="110" y="38"/>
                    </a:lnTo>
                    <a:lnTo>
                      <a:pt x="100" y="37"/>
                    </a:lnTo>
                    <a:lnTo>
                      <a:pt x="85" y="38"/>
                    </a:lnTo>
                    <a:lnTo>
                      <a:pt x="75" y="40"/>
                    </a:lnTo>
                    <a:lnTo>
                      <a:pt x="59" y="23"/>
                    </a:lnTo>
                    <a:lnTo>
                      <a:pt x="42" y="15"/>
                    </a:lnTo>
                    <a:lnTo>
                      <a:pt x="27" y="13"/>
                    </a:lnTo>
                    <a:lnTo>
                      <a:pt x="15" y="17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4" y="33"/>
                    </a:lnTo>
                    <a:lnTo>
                      <a:pt x="5" y="37"/>
                    </a:lnTo>
                    <a:lnTo>
                      <a:pt x="9" y="40"/>
                    </a:lnTo>
                    <a:lnTo>
                      <a:pt x="10" y="43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2" y="61"/>
                    </a:lnTo>
                    <a:lnTo>
                      <a:pt x="12" y="73"/>
                    </a:lnTo>
                    <a:lnTo>
                      <a:pt x="15" y="76"/>
                    </a:lnTo>
                    <a:lnTo>
                      <a:pt x="17" y="80"/>
                    </a:lnTo>
                    <a:lnTo>
                      <a:pt x="25" y="86"/>
                    </a:lnTo>
                    <a:lnTo>
                      <a:pt x="25" y="83"/>
                    </a:lnTo>
                    <a:lnTo>
                      <a:pt x="22" y="81"/>
                    </a:lnTo>
                    <a:lnTo>
                      <a:pt x="24" y="80"/>
                    </a:lnTo>
                    <a:lnTo>
                      <a:pt x="30" y="81"/>
                    </a:lnTo>
                    <a:lnTo>
                      <a:pt x="34" y="78"/>
                    </a:lnTo>
                    <a:lnTo>
                      <a:pt x="35" y="80"/>
                    </a:lnTo>
                    <a:lnTo>
                      <a:pt x="35" y="85"/>
                    </a:lnTo>
                    <a:lnTo>
                      <a:pt x="35" y="90"/>
                    </a:lnTo>
                    <a:lnTo>
                      <a:pt x="39" y="88"/>
                    </a:lnTo>
                    <a:lnTo>
                      <a:pt x="42" y="91"/>
                    </a:lnTo>
                    <a:lnTo>
                      <a:pt x="40" y="93"/>
                    </a:lnTo>
                    <a:lnTo>
                      <a:pt x="37" y="93"/>
                    </a:lnTo>
                    <a:lnTo>
                      <a:pt x="34" y="93"/>
                    </a:lnTo>
                    <a:lnTo>
                      <a:pt x="32" y="91"/>
                    </a:lnTo>
                    <a:lnTo>
                      <a:pt x="27" y="95"/>
                    </a:lnTo>
                    <a:lnTo>
                      <a:pt x="27" y="98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32" y="96"/>
                    </a:lnTo>
                    <a:lnTo>
                      <a:pt x="35" y="98"/>
                    </a:lnTo>
                    <a:lnTo>
                      <a:pt x="39" y="98"/>
                    </a:lnTo>
                    <a:lnTo>
                      <a:pt x="40" y="103"/>
                    </a:lnTo>
                    <a:lnTo>
                      <a:pt x="47" y="106"/>
                    </a:lnTo>
                    <a:lnTo>
                      <a:pt x="49" y="110"/>
                    </a:lnTo>
                    <a:lnTo>
                      <a:pt x="49" y="116"/>
                    </a:lnTo>
                    <a:lnTo>
                      <a:pt x="50" y="120"/>
                    </a:lnTo>
                    <a:lnTo>
                      <a:pt x="49" y="131"/>
                    </a:lnTo>
                    <a:lnTo>
                      <a:pt x="52" y="140"/>
                    </a:lnTo>
                    <a:lnTo>
                      <a:pt x="55" y="150"/>
                    </a:lnTo>
                    <a:lnTo>
                      <a:pt x="60" y="148"/>
                    </a:lnTo>
                    <a:lnTo>
                      <a:pt x="72" y="146"/>
                    </a:lnTo>
                    <a:lnTo>
                      <a:pt x="75" y="141"/>
                    </a:lnTo>
                    <a:lnTo>
                      <a:pt x="79" y="136"/>
                    </a:lnTo>
                    <a:lnTo>
                      <a:pt x="82" y="136"/>
                    </a:lnTo>
                    <a:lnTo>
                      <a:pt x="92" y="130"/>
                    </a:lnTo>
                    <a:lnTo>
                      <a:pt x="102" y="128"/>
                    </a:lnTo>
                    <a:lnTo>
                      <a:pt x="112" y="130"/>
                    </a:lnTo>
                    <a:lnTo>
                      <a:pt x="113" y="125"/>
                    </a:lnTo>
                    <a:lnTo>
                      <a:pt x="118" y="123"/>
                    </a:lnTo>
                    <a:lnTo>
                      <a:pt x="123" y="125"/>
                    </a:lnTo>
                    <a:lnTo>
                      <a:pt x="128" y="125"/>
                    </a:lnTo>
                    <a:lnTo>
                      <a:pt x="137" y="131"/>
                    </a:lnTo>
                    <a:lnTo>
                      <a:pt x="145" y="133"/>
                    </a:lnTo>
                    <a:lnTo>
                      <a:pt x="158" y="141"/>
                    </a:lnTo>
                    <a:lnTo>
                      <a:pt x="163" y="140"/>
                    </a:lnTo>
                    <a:lnTo>
                      <a:pt x="167" y="138"/>
                    </a:lnTo>
                    <a:lnTo>
                      <a:pt x="177" y="141"/>
                    </a:lnTo>
                    <a:lnTo>
                      <a:pt x="182" y="143"/>
                    </a:lnTo>
                    <a:lnTo>
                      <a:pt x="183" y="150"/>
                    </a:lnTo>
                    <a:lnTo>
                      <a:pt x="185" y="151"/>
                    </a:lnTo>
                    <a:lnTo>
                      <a:pt x="190" y="150"/>
                    </a:lnTo>
                    <a:lnTo>
                      <a:pt x="198" y="151"/>
                    </a:lnTo>
                    <a:lnTo>
                      <a:pt x="208" y="163"/>
                    </a:lnTo>
                    <a:lnTo>
                      <a:pt x="220" y="164"/>
                    </a:lnTo>
                    <a:lnTo>
                      <a:pt x="225" y="166"/>
                    </a:lnTo>
                    <a:lnTo>
                      <a:pt x="230" y="173"/>
                    </a:lnTo>
                    <a:lnTo>
                      <a:pt x="228" y="176"/>
                    </a:lnTo>
                    <a:lnTo>
                      <a:pt x="230" y="181"/>
                    </a:lnTo>
                    <a:lnTo>
                      <a:pt x="230" y="184"/>
                    </a:lnTo>
                    <a:lnTo>
                      <a:pt x="231" y="188"/>
                    </a:lnTo>
                    <a:lnTo>
                      <a:pt x="233" y="188"/>
                    </a:lnTo>
                    <a:lnTo>
                      <a:pt x="240" y="189"/>
                    </a:lnTo>
                    <a:lnTo>
                      <a:pt x="243" y="191"/>
                    </a:lnTo>
                    <a:lnTo>
                      <a:pt x="246" y="191"/>
                    </a:lnTo>
                    <a:lnTo>
                      <a:pt x="250" y="189"/>
                    </a:lnTo>
                    <a:lnTo>
                      <a:pt x="255" y="189"/>
                    </a:lnTo>
                    <a:lnTo>
                      <a:pt x="260" y="193"/>
                    </a:lnTo>
                    <a:lnTo>
                      <a:pt x="261" y="196"/>
                    </a:lnTo>
                    <a:lnTo>
                      <a:pt x="263" y="198"/>
                    </a:lnTo>
                    <a:lnTo>
                      <a:pt x="266" y="194"/>
                    </a:lnTo>
                    <a:lnTo>
                      <a:pt x="273" y="194"/>
                    </a:lnTo>
                    <a:lnTo>
                      <a:pt x="276" y="191"/>
                    </a:lnTo>
                    <a:lnTo>
                      <a:pt x="276" y="188"/>
                    </a:lnTo>
                    <a:lnTo>
                      <a:pt x="280" y="184"/>
                    </a:lnTo>
                    <a:lnTo>
                      <a:pt x="280" y="183"/>
                    </a:lnTo>
                    <a:lnTo>
                      <a:pt x="286" y="178"/>
                    </a:lnTo>
                    <a:lnTo>
                      <a:pt x="296" y="176"/>
                    </a:lnTo>
                    <a:lnTo>
                      <a:pt x="296" y="174"/>
                    </a:lnTo>
                    <a:lnTo>
                      <a:pt x="301" y="171"/>
                    </a:lnTo>
                    <a:lnTo>
                      <a:pt x="304" y="171"/>
                    </a:lnTo>
                    <a:lnTo>
                      <a:pt x="306" y="164"/>
                    </a:lnTo>
                    <a:lnTo>
                      <a:pt x="306" y="159"/>
                    </a:lnTo>
                    <a:lnTo>
                      <a:pt x="311" y="154"/>
                    </a:lnTo>
                    <a:lnTo>
                      <a:pt x="311" y="150"/>
                    </a:lnTo>
                    <a:lnTo>
                      <a:pt x="309" y="148"/>
                    </a:lnTo>
                    <a:lnTo>
                      <a:pt x="309" y="145"/>
                    </a:lnTo>
                    <a:lnTo>
                      <a:pt x="313" y="145"/>
                    </a:lnTo>
                    <a:lnTo>
                      <a:pt x="314" y="143"/>
                    </a:lnTo>
                    <a:lnTo>
                      <a:pt x="321" y="141"/>
                    </a:lnTo>
                    <a:lnTo>
                      <a:pt x="323" y="141"/>
                    </a:lnTo>
                    <a:lnTo>
                      <a:pt x="331" y="136"/>
                    </a:lnTo>
                    <a:lnTo>
                      <a:pt x="336" y="135"/>
                    </a:lnTo>
                    <a:lnTo>
                      <a:pt x="341" y="138"/>
                    </a:lnTo>
                    <a:lnTo>
                      <a:pt x="346" y="136"/>
                    </a:lnTo>
                    <a:lnTo>
                      <a:pt x="348" y="138"/>
                    </a:lnTo>
                    <a:lnTo>
                      <a:pt x="349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8" name="Freeform 14"/>
              <p:cNvSpPr>
                <a:spLocks noEditPoints="1"/>
              </p:cNvSpPr>
              <p:nvPr/>
            </p:nvSpPr>
            <p:spPr bwMode="auto">
              <a:xfrm>
                <a:off x="7936908" y="3036257"/>
                <a:ext cx="128430" cy="170164"/>
              </a:xfrm>
              <a:custGeom>
                <a:avLst/>
                <a:gdLst/>
                <a:ahLst/>
                <a:cxnLst>
                  <a:cxn ang="0">
                    <a:pos x="90" y="2"/>
                  </a:cxn>
                  <a:cxn ang="0">
                    <a:pos x="110" y="125"/>
                  </a:cxn>
                  <a:cxn ang="0">
                    <a:pos x="148" y="132"/>
                  </a:cxn>
                  <a:cxn ang="0">
                    <a:pos x="164" y="153"/>
                  </a:cxn>
                  <a:cxn ang="0">
                    <a:pos x="163" y="160"/>
                  </a:cxn>
                  <a:cxn ang="0">
                    <a:pos x="133" y="143"/>
                  </a:cxn>
                  <a:cxn ang="0">
                    <a:pos x="91" y="140"/>
                  </a:cxn>
                  <a:cxn ang="0">
                    <a:pos x="78" y="113"/>
                  </a:cxn>
                  <a:cxn ang="0">
                    <a:pos x="58" y="90"/>
                  </a:cxn>
                  <a:cxn ang="0">
                    <a:pos x="68" y="52"/>
                  </a:cxn>
                  <a:cxn ang="0">
                    <a:pos x="108" y="24"/>
                  </a:cxn>
                  <a:cxn ang="0">
                    <a:pos x="116" y="78"/>
                  </a:cxn>
                  <a:cxn ang="0">
                    <a:pos x="106" y="115"/>
                  </a:cxn>
                  <a:cxn ang="0">
                    <a:pos x="111" y="115"/>
                  </a:cxn>
                  <a:cxn ang="0">
                    <a:pos x="70" y="135"/>
                  </a:cxn>
                  <a:cxn ang="0">
                    <a:pos x="96" y="175"/>
                  </a:cxn>
                  <a:cxn ang="0">
                    <a:pos x="80" y="143"/>
                  </a:cxn>
                  <a:cxn ang="0">
                    <a:pos x="171" y="130"/>
                  </a:cxn>
                  <a:cxn ang="0">
                    <a:pos x="120" y="168"/>
                  </a:cxn>
                  <a:cxn ang="0">
                    <a:pos x="136" y="171"/>
                  </a:cxn>
                  <a:cxn ang="0">
                    <a:pos x="158" y="165"/>
                  </a:cxn>
                  <a:cxn ang="0">
                    <a:pos x="173" y="181"/>
                  </a:cxn>
                  <a:cxn ang="0">
                    <a:pos x="148" y="178"/>
                  </a:cxn>
                  <a:cxn ang="0">
                    <a:pos x="116" y="185"/>
                  </a:cxn>
                  <a:cxn ang="0">
                    <a:pos x="151" y="190"/>
                  </a:cxn>
                  <a:cxn ang="0">
                    <a:pos x="135" y="211"/>
                  </a:cxn>
                  <a:cxn ang="0">
                    <a:pos x="158" y="238"/>
                  </a:cxn>
                  <a:cxn ang="0">
                    <a:pos x="161" y="225"/>
                  </a:cxn>
                  <a:cxn ang="0">
                    <a:pos x="151" y="205"/>
                  </a:cxn>
                  <a:cxn ang="0">
                    <a:pos x="148" y="246"/>
                  </a:cxn>
                  <a:cxn ang="0">
                    <a:pos x="164" y="243"/>
                  </a:cxn>
                  <a:cxn ang="0">
                    <a:pos x="179" y="223"/>
                  </a:cxn>
                  <a:cxn ang="0">
                    <a:pos x="188" y="243"/>
                  </a:cxn>
                  <a:cxn ang="0">
                    <a:pos x="201" y="200"/>
                  </a:cxn>
                  <a:cxn ang="0">
                    <a:pos x="201" y="168"/>
                  </a:cxn>
                  <a:cxn ang="0">
                    <a:pos x="186" y="180"/>
                  </a:cxn>
                  <a:cxn ang="0">
                    <a:pos x="181" y="195"/>
                  </a:cxn>
                  <a:cxn ang="0">
                    <a:pos x="198" y="221"/>
                  </a:cxn>
                  <a:cxn ang="0">
                    <a:pos x="214" y="205"/>
                  </a:cxn>
                  <a:cxn ang="0">
                    <a:pos x="213" y="218"/>
                  </a:cxn>
                  <a:cxn ang="0">
                    <a:pos x="221" y="236"/>
                  </a:cxn>
                  <a:cxn ang="0">
                    <a:pos x="130" y="299"/>
                  </a:cxn>
                  <a:cxn ang="0">
                    <a:pos x="156" y="260"/>
                  </a:cxn>
                  <a:cxn ang="0">
                    <a:pos x="193" y="261"/>
                  </a:cxn>
                  <a:cxn ang="0">
                    <a:pos x="208" y="231"/>
                  </a:cxn>
                  <a:cxn ang="0">
                    <a:pos x="229" y="261"/>
                  </a:cxn>
                  <a:cxn ang="0">
                    <a:pos x="236" y="299"/>
                  </a:cxn>
                  <a:cxn ang="0">
                    <a:pos x="221" y="288"/>
                  </a:cxn>
                  <a:cxn ang="0">
                    <a:pos x="209" y="321"/>
                  </a:cxn>
                  <a:cxn ang="0">
                    <a:pos x="178" y="301"/>
                  </a:cxn>
                  <a:cxn ang="0">
                    <a:pos x="161" y="281"/>
                  </a:cxn>
                  <a:cxn ang="0">
                    <a:pos x="146" y="288"/>
                  </a:cxn>
                  <a:cxn ang="0">
                    <a:pos x="125" y="311"/>
                  </a:cxn>
                  <a:cxn ang="0">
                    <a:pos x="65" y="171"/>
                  </a:cxn>
                  <a:cxn ang="0">
                    <a:pos x="68" y="186"/>
                  </a:cxn>
                  <a:cxn ang="0">
                    <a:pos x="68" y="216"/>
                  </a:cxn>
                  <a:cxn ang="0">
                    <a:pos x="38" y="240"/>
                  </a:cxn>
                  <a:cxn ang="0">
                    <a:pos x="56" y="195"/>
                  </a:cxn>
                  <a:cxn ang="0">
                    <a:pos x="32" y="238"/>
                  </a:cxn>
                  <a:cxn ang="0">
                    <a:pos x="8" y="265"/>
                  </a:cxn>
                  <a:cxn ang="0">
                    <a:pos x="5" y="273"/>
                  </a:cxn>
                </a:cxnLst>
                <a:rect l="0" t="0" r="r" b="b"/>
                <a:pathLst>
                  <a:path w="241" h="329">
                    <a:moveTo>
                      <a:pt x="85" y="15"/>
                    </a:moveTo>
                    <a:lnTo>
                      <a:pt x="91" y="15"/>
                    </a:lnTo>
                    <a:lnTo>
                      <a:pt x="88" y="17"/>
                    </a:lnTo>
                    <a:lnTo>
                      <a:pt x="85" y="15"/>
                    </a:lnTo>
                    <a:lnTo>
                      <a:pt x="85" y="15"/>
                    </a:lnTo>
                    <a:close/>
                    <a:moveTo>
                      <a:pt x="83" y="5"/>
                    </a:moveTo>
                    <a:lnTo>
                      <a:pt x="86" y="9"/>
                    </a:lnTo>
                    <a:lnTo>
                      <a:pt x="81" y="10"/>
                    </a:lnTo>
                    <a:lnTo>
                      <a:pt x="83" y="5"/>
                    </a:lnTo>
                    <a:lnTo>
                      <a:pt x="83" y="5"/>
                    </a:lnTo>
                    <a:close/>
                    <a:moveTo>
                      <a:pt x="93" y="0"/>
                    </a:moveTo>
                    <a:lnTo>
                      <a:pt x="90" y="2"/>
                    </a:lnTo>
                    <a:lnTo>
                      <a:pt x="91" y="5"/>
                    </a:lnTo>
                    <a:lnTo>
                      <a:pt x="93" y="0"/>
                    </a:lnTo>
                    <a:lnTo>
                      <a:pt x="93" y="0"/>
                    </a:lnTo>
                    <a:close/>
                    <a:moveTo>
                      <a:pt x="103" y="10"/>
                    </a:moveTo>
                    <a:lnTo>
                      <a:pt x="100" y="14"/>
                    </a:lnTo>
                    <a:lnTo>
                      <a:pt x="103" y="17"/>
                    </a:lnTo>
                    <a:lnTo>
                      <a:pt x="105" y="14"/>
                    </a:lnTo>
                    <a:lnTo>
                      <a:pt x="105" y="14"/>
                    </a:lnTo>
                    <a:lnTo>
                      <a:pt x="103" y="10"/>
                    </a:lnTo>
                    <a:lnTo>
                      <a:pt x="103" y="10"/>
                    </a:lnTo>
                    <a:close/>
                    <a:moveTo>
                      <a:pt x="105" y="122"/>
                    </a:moveTo>
                    <a:lnTo>
                      <a:pt x="110" y="125"/>
                    </a:lnTo>
                    <a:lnTo>
                      <a:pt x="111" y="130"/>
                    </a:lnTo>
                    <a:lnTo>
                      <a:pt x="116" y="132"/>
                    </a:lnTo>
                    <a:lnTo>
                      <a:pt x="121" y="130"/>
                    </a:lnTo>
                    <a:lnTo>
                      <a:pt x="121" y="127"/>
                    </a:lnTo>
                    <a:lnTo>
                      <a:pt x="128" y="122"/>
                    </a:lnTo>
                    <a:lnTo>
                      <a:pt x="133" y="122"/>
                    </a:lnTo>
                    <a:lnTo>
                      <a:pt x="139" y="125"/>
                    </a:lnTo>
                    <a:lnTo>
                      <a:pt x="143" y="132"/>
                    </a:lnTo>
                    <a:lnTo>
                      <a:pt x="143" y="135"/>
                    </a:lnTo>
                    <a:lnTo>
                      <a:pt x="144" y="138"/>
                    </a:lnTo>
                    <a:lnTo>
                      <a:pt x="148" y="135"/>
                    </a:lnTo>
                    <a:lnTo>
                      <a:pt x="148" y="132"/>
                    </a:lnTo>
                    <a:lnTo>
                      <a:pt x="149" y="130"/>
                    </a:lnTo>
                    <a:lnTo>
                      <a:pt x="153" y="133"/>
                    </a:lnTo>
                    <a:lnTo>
                      <a:pt x="158" y="135"/>
                    </a:lnTo>
                    <a:lnTo>
                      <a:pt x="163" y="137"/>
                    </a:lnTo>
                    <a:lnTo>
                      <a:pt x="164" y="138"/>
                    </a:lnTo>
                    <a:lnTo>
                      <a:pt x="161" y="138"/>
                    </a:lnTo>
                    <a:lnTo>
                      <a:pt x="158" y="138"/>
                    </a:lnTo>
                    <a:lnTo>
                      <a:pt x="156" y="140"/>
                    </a:lnTo>
                    <a:lnTo>
                      <a:pt x="156" y="143"/>
                    </a:lnTo>
                    <a:lnTo>
                      <a:pt x="159" y="150"/>
                    </a:lnTo>
                    <a:lnTo>
                      <a:pt x="159" y="153"/>
                    </a:lnTo>
                    <a:lnTo>
                      <a:pt x="164" y="153"/>
                    </a:lnTo>
                    <a:lnTo>
                      <a:pt x="168" y="155"/>
                    </a:lnTo>
                    <a:lnTo>
                      <a:pt x="173" y="155"/>
                    </a:lnTo>
                    <a:lnTo>
                      <a:pt x="174" y="158"/>
                    </a:lnTo>
                    <a:lnTo>
                      <a:pt x="171" y="160"/>
                    </a:lnTo>
                    <a:lnTo>
                      <a:pt x="173" y="162"/>
                    </a:lnTo>
                    <a:lnTo>
                      <a:pt x="171" y="168"/>
                    </a:lnTo>
                    <a:lnTo>
                      <a:pt x="166" y="167"/>
                    </a:lnTo>
                    <a:lnTo>
                      <a:pt x="163" y="163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3" y="158"/>
                    </a:lnTo>
                    <a:lnTo>
                      <a:pt x="163" y="160"/>
                    </a:lnTo>
                    <a:lnTo>
                      <a:pt x="158" y="160"/>
                    </a:lnTo>
                    <a:lnTo>
                      <a:pt x="153" y="155"/>
                    </a:lnTo>
                    <a:lnTo>
                      <a:pt x="149" y="153"/>
                    </a:lnTo>
                    <a:lnTo>
                      <a:pt x="149" y="148"/>
                    </a:lnTo>
                    <a:lnTo>
                      <a:pt x="148" y="145"/>
                    </a:lnTo>
                    <a:lnTo>
                      <a:pt x="141" y="142"/>
                    </a:lnTo>
                    <a:lnTo>
                      <a:pt x="138" y="137"/>
                    </a:lnTo>
                    <a:lnTo>
                      <a:pt x="135" y="137"/>
                    </a:lnTo>
                    <a:lnTo>
                      <a:pt x="131" y="133"/>
                    </a:lnTo>
                    <a:lnTo>
                      <a:pt x="130" y="133"/>
                    </a:lnTo>
                    <a:lnTo>
                      <a:pt x="128" y="135"/>
                    </a:lnTo>
                    <a:lnTo>
                      <a:pt x="133" y="143"/>
                    </a:lnTo>
                    <a:lnTo>
                      <a:pt x="135" y="150"/>
                    </a:lnTo>
                    <a:lnTo>
                      <a:pt x="133" y="150"/>
                    </a:lnTo>
                    <a:lnTo>
                      <a:pt x="128" y="143"/>
                    </a:lnTo>
                    <a:lnTo>
                      <a:pt x="123" y="140"/>
                    </a:lnTo>
                    <a:lnTo>
                      <a:pt x="121" y="137"/>
                    </a:lnTo>
                    <a:lnTo>
                      <a:pt x="111" y="133"/>
                    </a:lnTo>
                    <a:lnTo>
                      <a:pt x="105" y="133"/>
                    </a:lnTo>
                    <a:lnTo>
                      <a:pt x="103" y="137"/>
                    </a:lnTo>
                    <a:lnTo>
                      <a:pt x="105" y="140"/>
                    </a:lnTo>
                    <a:lnTo>
                      <a:pt x="100" y="142"/>
                    </a:lnTo>
                    <a:lnTo>
                      <a:pt x="95" y="137"/>
                    </a:lnTo>
                    <a:lnTo>
                      <a:pt x="91" y="140"/>
                    </a:lnTo>
                    <a:lnTo>
                      <a:pt x="86" y="140"/>
                    </a:lnTo>
                    <a:lnTo>
                      <a:pt x="90" y="137"/>
                    </a:lnTo>
                    <a:lnTo>
                      <a:pt x="88" y="133"/>
                    </a:lnTo>
                    <a:lnTo>
                      <a:pt x="85" y="133"/>
                    </a:lnTo>
                    <a:lnTo>
                      <a:pt x="83" y="138"/>
                    </a:lnTo>
                    <a:lnTo>
                      <a:pt x="80" y="133"/>
                    </a:lnTo>
                    <a:lnTo>
                      <a:pt x="80" y="128"/>
                    </a:lnTo>
                    <a:lnTo>
                      <a:pt x="80" y="125"/>
                    </a:lnTo>
                    <a:lnTo>
                      <a:pt x="83" y="123"/>
                    </a:lnTo>
                    <a:lnTo>
                      <a:pt x="88" y="117"/>
                    </a:lnTo>
                    <a:lnTo>
                      <a:pt x="83" y="113"/>
                    </a:lnTo>
                    <a:lnTo>
                      <a:pt x="78" y="113"/>
                    </a:lnTo>
                    <a:lnTo>
                      <a:pt x="78" y="117"/>
                    </a:lnTo>
                    <a:lnTo>
                      <a:pt x="81" y="118"/>
                    </a:lnTo>
                    <a:lnTo>
                      <a:pt x="78" y="122"/>
                    </a:lnTo>
                    <a:lnTo>
                      <a:pt x="75" y="122"/>
                    </a:lnTo>
                    <a:lnTo>
                      <a:pt x="70" y="117"/>
                    </a:lnTo>
                    <a:lnTo>
                      <a:pt x="70" y="112"/>
                    </a:lnTo>
                    <a:lnTo>
                      <a:pt x="68" y="112"/>
                    </a:lnTo>
                    <a:lnTo>
                      <a:pt x="66" y="112"/>
                    </a:lnTo>
                    <a:lnTo>
                      <a:pt x="65" y="112"/>
                    </a:lnTo>
                    <a:lnTo>
                      <a:pt x="65" y="103"/>
                    </a:lnTo>
                    <a:lnTo>
                      <a:pt x="60" y="97"/>
                    </a:lnTo>
                    <a:lnTo>
                      <a:pt x="58" y="90"/>
                    </a:lnTo>
                    <a:lnTo>
                      <a:pt x="60" y="88"/>
                    </a:lnTo>
                    <a:lnTo>
                      <a:pt x="60" y="87"/>
                    </a:lnTo>
                    <a:lnTo>
                      <a:pt x="56" y="87"/>
                    </a:lnTo>
                    <a:lnTo>
                      <a:pt x="55" y="82"/>
                    </a:lnTo>
                    <a:lnTo>
                      <a:pt x="56" y="75"/>
                    </a:lnTo>
                    <a:lnTo>
                      <a:pt x="60" y="80"/>
                    </a:lnTo>
                    <a:lnTo>
                      <a:pt x="63" y="80"/>
                    </a:lnTo>
                    <a:lnTo>
                      <a:pt x="66" y="78"/>
                    </a:lnTo>
                    <a:lnTo>
                      <a:pt x="66" y="75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8" y="52"/>
                    </a:lnTo>
                    <a:lnTo>
                      <a:pt x="68" y="44"/>
                    </a:lnTo>
                    <a:lnTo>
                      <a:pt x="66" y="39"/>
                    </a:lnTo>
                    <a:lnTo>
                      <a:pt x="71" y="29"/>
                    </a:lnTo>
                    <a:lnTo>
                      <a:pt x="73" y="24"/>
                    </a:lnTo>
                    <a:lnTo>
                      <a:pt x="80" y="22"/>
                    </a:lnTo>
                    <a:lnTo>
                      <a:pt x="90" y="24"/>
                    </a:lnTo>
                    <a:lnTo>
                      <a:pt x="93" y="27"/>
                    </a:lnTo>
                    <a:lnTo>
                      <a:pt x="96" y="30"/>
                    </a:lnTo>
                    <a:lnTo>
                      <a:pt x="98" y="27"/>
                    </a:lnTo>
                    <a:lnTo>
                      <a:pt x="105" y="27"/>
                    </a:lnTo>
                    <a:lnTo>
                      <a:pt x="108" y="25"/>
                    </a:lnTo>
                    <a:lnTo>
                      <a:pt x="108" y="24"/>
                    </a:lnTo>
                    <a:lnTo>
                      <a:pt x="110" y="22"/>
                    </a:lnTo>
                    <a:lnTo>
                      <a:pt x="113" y="25"/>
                    </a:lnTo>
                    <a:lnTo>
                      <a:pt x="113" y="29"/>
                    </a:lnTo>
                    <a:lnTo>
                      <a:pt x="110" y="32"/>
                    </a:lnTo>
                    <a:lnTo>
                      <a:pt x="110" y="40"/>
                    </a:lnTo>
                    <a:lnTo>
                      <a:pt x="113" y="47"/>
                    </a:lnTo>
                    <a:lnTo>
                      <a:pt x="116" y="49"/>
                    </a:lnTo>
                    <a:lnTo>
                      <a:pt x="118" y="54"/>
                    </a:lnTo>
                    <a:lnTo>
                      <a:pt x="121" y="57"/>
                    </a:lnTo>
                    <a:lnTo>
                      <a:pt x="118" y="67"/>
                    </a:lnTo>
                    <a:lnTo>
                      <a:pt x="115" y="73"/>
                    </a:lnTo>
                    <a:lnTo>
                      <a:pt x="116" y="78"/>
                    </a:lnTo>
                    <a:lnTo>
                      <a:pt x="113" y="83"/>
                    </a:lnTo>
                    <a:lnTo>
                      <a:pt x="113" y="82"/>
                    </a:lnTo>
                    <a:lnTo>
                      <a:pt x="115" y="78"/>
                    </a:lnTo>
                    <a:lnTo>
                      <a:pt x="111" y="80"/>
                    </a:lnTo>
                    <a:lnTo>
                      <a:pt x="103" y="87"/>
                    </a:lnTo>
                    <a:lnTo>
                      <a:pt x="101" y="90"/>
                    </a:lnTo>
                    <a:lnTo>
                      <a:pt x="103" y="95"/>
                    </a:lnTo>
                    <a:lnTo>
                      <a:pt x="100" y="98"/>
                    </a:lnTo>
                    <a:lnTo>
                      <a:pt x="100" y="105"/>
                    </a:lnTo>
                    <a:lnTo>
                      <a:pt x="101" y="107"/>
                    </a:lnTo>
                    <a:lnTo>
                      <a:pt x="105" y="112"/>
                    </a:lnTo>
                    <a:lnTo>
                      <a:pt x="106" y="115"/>
                    </a:lnTo>
                    <a:lnTo>
                      <a:pt x="105" y="118"/>
                    </a:lnTo>
                    <a:lnTo>
                      <a:pt x="105" y="122"/>
                    </a:lnTo>
                    <a:lnTo>
                      <a:pt x="105" y="122"/>
                    </a:lnTo>
                    <a:close/>
                    <a:moveTo>
                      <a:pt x="115" y="123"/>
                    </a:moveTo>
                    <a:lnTo>
                      <a:pt x="115" y="128"/>
                    </a:lnTo>
                    <a:lnTo>
                      <a:pt x="118" y="130"/>
                    </a:lnTo>
                    <a:lnTo>
                      <a:pt x="118" y="127"/>
                    </a:lnTo>
                    <a:lnTo>
                      <a:pt x="115" y="123"/>
                    </a:lnTo>
                    <a:lnTo>
                      <a:pt x="115" y="123"/>
                    </a:lnTo>
                    <a:close/>
                    <a:moveTo>
                      <a:pt x="110" y="107"/>
                    </a:moveTo>
                    <a:lnTo>
                      <a:pt x="113" y="113"/>
                    </a:lnTo>
                    <a:lnTo>
                      <a:pt x="111" y="115"/>
                    </a:lnTo>
                    <a:lnTo>
                      <a:pt x="113" y="118"/>
                    </a:lnTo>
                    <a:lnTo>
                      <a:pt x="116" y="115"/>
                    </a:lnTo>
                    <a:lnTo>
                      <a:pt x="116" y="108"/>
                    </a:lnTo>
                    <a:lnTo>
                      <a:pt x="120" y="107"/>
                    </a:lnTo>
                    <a:lnTo>
                      <a:pt x="116" y="105"/>
                    </a:lnTo>
                    <a:lnTo>
                      <a:pt x="110" y="107"/>
                    </a:lnTo>
                    <a:lnTo>
                      <a:pt x="110" y="107"/>
                    </a:lnTo>
                    <a:close/>
                    <a:moveTo>
                      <a:pt x="66" y="135"/>
                    </a:moveTo>
                    <a:lnTo>
                      <a:pt x="68" y="138"/>
                    </a:lnTo>
                    <a:lnTo>
                      <a:pt x="73" y="140"/>
                    </a:lnTo>
                    <a:lnTo>
                      <a:pt x="75" y="140"/>
                    </a:lnTo>
                    <a:lnTo>
                      <a:pt x="70" y="135"/>
                    </a:lnTo>
                    <a:lnTo>
                      <a:pt x="66" y="135"/>
                    </a:lnTo>
                    <a:lnTo>
                      <a:pt x="66" y="135"/>
                    </a:lnTo>
                    <a:close/>
                    <a:moveTo>
                      <a:pt x="75" y="145"/>
                    </a:moveTo>
                    <a:lnTo>
                      <a:pt x="76" y="147"/>
                    </a:lnTo>
                    <a:lnTo>
                      <a:pt x="80" y="147"/>
                    </a:lnTo>
                    <a:lnTo>
                      <a:pt x="81" y="152"/>
                    </a:lnTo>
                    <a:lnTo>
                      <a:pt x="85" y="153"/>
                    </a:lnTo>
                    <a:lnTo>
                      <a:pt x="88" y="157"/>
                    </a:lnTo>
                    <a:lnTo>
                      <a:pt x="88" y="163"/>
                    </a:lnTo>
                    <a:lnTo>
                      <a:pt x="91" y="165"/>
                    </a:lnTo>
                    <a:lnTo>
                      <a:pt x="91" y="170"/>
                    </a:lnTo>
                    <a:lnTo>
                      <a:pt x="96" y="175"/>
                    </a:lnTo>
                    <a:lnTo>
                      <a:pt x="100" y="175"/>
                    </a:lnTo>
                    <a:lnTo>
                      <a:pt x="105" y="171"/>
                    </a:lnTo>
                    <a:lnTo>
                      <a:pt x="105" y="168"/>
                    </a:lnTo>
                    <a:lnTo>
                      <a:pt x="106" y="167"/>
                    </a:lnTo>
                    <a:lnTo>
                      <a:pt x="106" y="163"/>
                    </a:lnTo>
                    <a:lnTo>
                      <a:pt x="105" y="160"/>
                    </a:lnTo>
                    <a:lnTo>
                      <a:pt x="106" y="157"/>
                    </a:lnTo>
                    <a:lnTo>
                      <a:pt x="106" y="153"/>
                    </a:lnTo>
                    <a:lnTo>
                      <a:pt x="101" y="152"/>
                    </a:lnTo>
                    <a:lnTo>
                      <a:pt x="91" y="143"/>
                    </a:lnTo>
                    <a:lnTo>
                      <a:pt x="85" y="145"/>
                    </a:lnTo>
                    <a:lnTo>
                      <a:pt x="80" y="143"/>
                    </a:lnTo>
                    <a:lnTo>
                      <a:pt x="75" y="145"/>
                    </a:lnTo>
                    <a:lnTo>
                      <a:pt x="75" y="145"/>
                    </a:lnTo>
                    <a:close/>
                    <a:moveTo>
                      <a:pt x="171" y="130"/>
                    </a:moveTo>
                    <a:lnTo>
                      <a:pt x="169" y="132"/>
                    </a:lnTo>
                    <a:lnTo>
                      <a:pt x="169" y="137"/>
                    </a:lnTo>
                    <a:lnTo>
                      <a:pt x="168" y="140"/>
                    </a:lnTo>
                    <a:lnTo>
                      <a:pt x="166" y="140"/>
                    </a:lnTo>
                    <a:lnTo>
                      <a:pt x="169" y="143"/>
                    </a:lnTo>
                    <a:lnTo>
                      <a:pt x="176" y="142"/>
                    </a:lnTo>
                    <a:lnTo>
                      <a:pt x="178" y="137"/>
                    </a:lnTo>
                    <a:lnTo>
                      <a:pt x="174" y="133"/>
                    </a:lnTo>
                    <a:lnTo>
                      <a:pt x="171" y="130"/>
                    </a:lnTo>
                    <a:lnTo>
                      <a:pt x="171" y="130"/>
                    </a:lnTo>
                    <a:close/>
                    <a:moveTo>
                      <a:pt x="113" y="147"/>
                    </a:moveTo>
                    <a:lnTo>
                      <a:pt x="118" y="150"/>
                    </a:lnTo>
                    <a:lnTo>
                      <a:pt x="120" y="148"/>
                    </a:lnTo>
                    <a:lnTo>
                      <a:pt x="121" y="147"/>
                    </a:lnTo>
                    <a:lnTo>
                      <a:pt x="120" y="142"/>
                    </a:lnTo>
                    <a:lnTo>
                      <a:pt x="115" y="140"/>
                    </a:lnTo>
                    <a:lnTo>
                      <a:pt x="111" y="143"/>
                    </a:lnTo>
                    <a:lnTo>
                      <a:pt x="113" y="147"/>
                    </a:lnTo>
                    <a:lnTo>
                      <a:pt x="113" y="147"/>
                    </a:lnTo>
                    <a:close/>
                    <a:moveTo>
                      <a:pt x="123" y="163"/>
                    </a:moveTo>
                    <a:lnTo>
                      <a:pt x="120" y="168"/>
                    </a:lnTo>
                    <a:lnTo>
                      <a:pt x="118" y="171"/>
                    </a:lnTo>
                    <a:lnTo>
                      <a:pt x="120" y="178"/>
                    </a:lnTo>
                    <a:lnTo>
                      <a:pt x="123" y="176"/>
                    </a:lnTo>
                    <a:lnTo>
                      <a:pt x="125" y="171"/>
                    </a:lnTo>
                    <a:lnTo>
                      <a:pt x="123" y="167"/>
                    </a:lnTo>
                    <a:lnTo>
                      <a:pt x="125" y="162"/>
                    </a:lnTo>
                    <a:lnTo>
                      <a:pt x="123" y="163"/>
                    </a:lnTo>
                    <a:lnTo>
                      <a:pt x="123" y="163"/>
                    </a:lnTo>
                    <a:close/>
                    <a:moveTo>
                      <a:pt x="133" y="167"/>
                    </a:moveTo>
                    <a:lnTo>
                      <a:pt x="131" y="168"/>
                    </a:lnTo>
                    <a:lnTo>
                      <a:pt x="131" y="171"/>
                    </a:lnTo>
                    <a:lnTo>
                      <a:pt x="136" y="171"/>
                    </a:lnTo>
                    <a:lnTo>
                      <a:pt x="136" y="168"/>
                    </a:lnTo>
                    <a:lnTo>
                      <a:pt x="133" y="167"/>
                    </a:lnTo>
                    <a:lnTo>
                      <a:pt x="133" y="167"/>
                    </a:lnTo>
                    <a:close/>
                    <a:moveTo>
                      <a:pt x="148" y="157"/>
                    </a:moveTo>
                    <a:lnTo>
                      <a:pt x="143" y="152"/>
                    </a:lnTo>
                    <a:lnTo>
                      <a:pt x="141" y="152"/>
                    </a:lnTo>
                    <a:lnTo>
                      <a:pt x="141" y="155"/>
                    </a:lnTo>
                    <a:lnTo>
                      <a:pt x="148" y="162"/>
                    </a:lnTo>
                    <a:lnTo>
                      <a:pt x="149" y="158"/>
                    </a:lnTo>
                    <a:lnTo>
                      <a:pt x="148" y="157"/>
                    </a:lnTo>
                    <a:lnTo>
                      <a:pt x="148" y="157"/>
                    </a:lnTo>
                    <a:close/>
                    <a:moveTo>
                      <a:pt x="158" y="165"/>
                    </a:moveTo>
                    <a:lnTo>
                      <a:pt x="159" y="167"/>
                    </a:lnTo>
                    <a:lnTo>
                      <a:pt x="163" y="170"/>
                    </a:lnTo>
                    <a:lnTo>
                      <a:pt x="164" y="170"/>
                    </a:lnTo>
                    <a:lnTo>
                      <a:pt x="161" y="167"/>
                    </a:lnTo>
                    <a:lnTo>
                      <a:pt x="158" y="165"/>
                    </a:lnTo>
                    <a:lnTo>
                      <a:pt x="158" y="165"/>
                    </a:lnTo>
                    <a:close/>
                    <a:moveTo>
                      <a:pt x="149" y="180"/>
                    </a:moveTo>
                    <a:lnTo>
                      <a:pt x="153" y="175"/>
                    </a:lnTo>
                    <a:lnTo>
                      <a:pt x="158" y="175"/>
                    </a:lnTo>
                    <a:lnTo>
                      <a:pt x="163" y="180"/>
                    </a:lnTo>
                    <a:lnTo>
                      <a:pt x="168" y="183"/>
                    </a:lnTo>
                    <a:lnTo>
                      <a:pt x="173" y="181"/>
                    </a:lnTo>
                    <a:lnTo>
                      <a:pt x="173" y="180"/>
                    </a:lnTo>
                    <a:lnTo>
                      <a:pt x="169" y="176"/>
                    </a:lnTo>
                    <a:lnTo>
                      <a:pt x="161" y="171"/>
                    </a:lnTo>
                    <a:lnTo>
                      <a:pt x="158" y="171"/>
                    </a:lnTo>
                    <a:lnTo>
                      <a:pt x="154" y="168"/>
                    </a:lnTo>
                    <a:lnTo>
                      <a:pt x="153" y="168"/>
                    </a:lnTo>
                    <a:lnTo>
                      <a:pt x="153" y="167"/>
                    </a:lnTo>
                    <a:lnTo>
                      <a:pt x="149" y="165"/>
                    </a:lnTo>
                    <a:lnTo>
                      <a:pt x="149" y="170"/>
                    </a:lnTo>
                    <a:lnTo>
                      <a:pt x="151" y="173"/>
                    </a:lnTo>
                    <a:lnTo>
                      <a:pt x="149" y="175"/>
                    </a:lnTo>
                    <a:lnTo>
                      <a:pt x="148" y="178"/>
                    </a:lnTo>
                    <a:lnTo>
                      <a:pt x="149" y="180"/>
                    </a:lnTo>
                    <a:lnTo>
                      <a:pt x="149" y="180"/>
                    </a:lnTo>
                    <a:close/>
                    <a:moveTo>
                      <a:pt x="126" y="213"/>
                    </a:moveTo>
                    <a:lnTo>
                      <a:pt x="125" y="215"/>
                    </a:lnTo>
                    <a:lnTo>
                      <a:pt x="123" y="215"/>
                    </a:lnTo>
                    <a:lnTo>
                      <a:pt x="120" y="208"/>
                    </a:lnTo>
                    <a:lnTo>
                      <a:pt x="123" y="203"/>
                    </a:lnTo>
                    <a:lnTo>
                      <a:pt x="121" y="195"/>
                    </a:lnTo>
                    <a:lnTo>
                      <a:pt x="123" y="191"/>
                    </a:lnTo>
                    <a:lnTo>
                      <a:pt x="123" y="186"/>
                    </a:lnTo>
                    <a:lnTo>
                      <a:pt x="121" y="186"/>
                    </a:lnTo>
                    <a:lnTo>
                      <a:pt x="116" y="185"/>
                    </a:lnTo>
                    <a:lnTo>
                      <a:pt x="116" y="181"/>
                    </a:lnTo>
                    <a:lnTo>
                      <a:pt x="121" y="180"/>
                    </a:lnTo>
                    <a:lnTo>
                      <a:pt x="126" y="185"/>
                    </a:lnTo>
                    <a:lnTo>
                      <a:pt x="130" y="186"/>
                    </a:lnTo>
                    <a:lnTo>
                      <a:pt x="130" y="188"/>
                    </a:lnTo>
                    <a:lnTo>
                      <a:pt x="131" y="188"/>
                    </a:lnTo>
                    <a:lnTo>
                      <a:pt x="136" y="188"/>
                    </a:lnTo>
                    <a:lnTo>
                      <a:pt x="139" y="188"/>
                    </a:lnTo>
                    <a:lnTo>
                      <a:pt x="143" y="193"/>
                    </a:lnTo>
                    <a:lnTo>
                      <a:pt x="146" y="190"/>
                    </a:lnTo>
                    <a:lnTo>
                      <a:pt x="149" y="188"/>
                    </a:lnTo>
                    <a:lnTo>
                      <a:pt x="151" y="190"/>
                    </a:lnTo>
                    <a:lnTo>
                      <a:pt x="151" y="195"/>
                    </a:lnTo>
                    <a:lnTo>
                      <a:pt x="148" y="196"/>
                    </a:lnTo>
                    <a:lnTo>
                      <a:pt x="146" y="201"/>
                    </a:lnTo>
                    <a:lnTo>
                      <a:pt x="139" y="205"/>
                    </a:lnTo>
                    <a:lnTo>
                      <a:pt x="138" y="208"/>
                    </a:lnTo>
                    <a:lnTo>
                      <a:pt x="135" y="208"/>
                    </a:lnTo>
                    <a:lnTo>
                      <a:pt x="135" y="210"/>
                    </a:lnTo>
                    <a:lnTo>
                      <a:pt x="131" y="210"/>
                    </a:lnTo>
                    <a:lnTo>
                      <a:pt x="126" y="213"/>
                    </a:lnTo>
                    <a:lnTo>
                      <a:pt x="126" y="213"/>
                    </a:lnTo>
                    <a:close/>
                    <a:moveTo>
                      <a:pt x="138" y="210"/>
                    </a:moveTo>
                    <a:lnTo>
                      <a:pt x="135" y="211"/>
                    </a:lnTo>
                    <a:lnTo>
                      <a:pt x="133" y="215"/>
                    </a:lnTo>
                    <a:lnTo>
                      <a:pt x="136" y="218"/>
                    </a:lnTo>
                    <a:lnTo>
                      <a:pt x="139" y="213"/>
                    </a:lnTo>
                    <a:lnTo>
                      <a:pt x="139" y="210"/>
                    </a:lnTo>
                    <a:lnTo>
                      <a:pt x="138" y="210"/>
                    </a:lnTo>
                    <a:lnTo>
                      <a:pt x="138" y="210"/>
                    </a:lnTo>
                    <a:close/>
                    <a:moveTo>
                      <a:pt x="179" y="208"/>
                    </a:moveTo>
                    <a:lnTo>
                      <a:pt x="179" y="213"/>
                    </a:lnTo>
                    <a:lnTo>
                      <a:pt x="178" y="210"/>
                    </a:lnTo>
                    <a:lnTo>
                      <a:pt x="179" y="208"/>
                    </a:lnTo>
                    <a:lnTo>
                      <a:pt x="179" y="208"/>
                    </a:lnTo>
                    <a:close/>
                    <a:moveTo>
                      <a:pt x="158" y="238"/>
                    </a:moveTo>
                    <a:lnTo>
                      <a:pt x="161" y="235"/>
                    </a:lnTo>
                    <a:lnTo>
                      <a:pt x="163" y="225"/>
                    </a:lnTo>
                    <a:lnTo>
                      <a:pt x="169" y="218"/>
                    </a:lnTo>
                    <a:lnTo>
                      <a:pt x="171" y="213"/>
                    </a:lnTo>
                    <a:lnTo>
                      <a:pt x="171" y="210"/>
                    </a:lnTo>
                    <a:lnTo>
                      <a:pt x="173" y="206"/>
                    </a:lnTo>
                    <a:lnTo>
                      <a:pt x="173" y="198"/>
                    </a:lnTo>
                    <a:lnTo>
                      <a:pt x="169" y="200"/>
                    </a:lnTo>
                    <a:lnTo>
                      <a:pt x="168" y="208"/>
                    </a:lnTo>
                    <a:lnTo>
                      <a:pt x="163" y="215"/>
                    </a:lnTo>
                    <a:lnTo>
                      <a:pt x="163" y="220"/>
                    </a:lnTo>
                    <a:lnTo>
                      <a:pt x="161" y="225"/>
                    </a:lnTo>
                    <a:lnTo>
                      <a:pt x="158" y="230"/>
                    </a:lnTo>
                    <a:lnTo>
                      <a:pt x="156" y="235"/>
                    </a:lnTo>
                    <a:lnTo>
                      <a:pt x="158" y="238"/>
                    </a:lnTo>
                    <a:lnTo>
                      <a:pt x="158" y="238"/>
                    </a:lnTo>
                    <a:close/>
                    <a:moveTo>
                      <a:pt x="153" y="236"/>
                    </a:moveTo>
                    <a:lnTo>
                      <a:pt x="153" y="226"/>
                    </a:lnTo>
                    <a:lnTo>
                      <a:pt x="154" y="215"/>
                    </a:lnTo>
                    <a:lnTo>
                      <a:pt x="159" y="210"/>
                    </a:lnTo>
                    <a:lnTo>
                      <a:pt x="159" y="206"/>
                    </a:lnTo>
                    <a:lnTo>
                      <a:pt x="156" y="205"/>
                    </a:lnTo>
                    <a:lnTo>
                      <a:pt x="153" y="206"/>
                    </a:lnTo>
                    <a:lnTo>
                      <a:pt x="151" y="205"/>
                    </a:lnTo>
                    <a:lnTo>
                      <a:pt x="146" y="206"/>
                    </a:lnTo>
                    <a:lnTo>
                      <a:pt x="146" y="211"/>
                    </a:lnTo>
                    <a:lnTo>
                      <a:pt x="144" y="215"/>
                    </a:lnTo>
                    <a:lnTo>
                      <a:pt x="144" y="220"/>
                    </a:lnTo>
                    <a:lnTo>
                      <a:pt x="143" y="225"/>
                    </a:lnTo>
                    <a:lnTo>
                      <a:pt x="135" y="228"/>
                    </a:lnTo>
                    <a:lnTo>
                      <a:pt x="133" y="230"/>
                    </a:lnTo>
                    <a:lnTo>
                      <a:pt x="135" y="236"/>
                    </a:lnTo>
                    <a:lnTo>
                      <a:pt x="138" y="238"/>
                    </a:lnTo>
                    <a:lnTo>
                      <a:pt x="143" y="240"/>
                    </a:lnTo>
                    <a:lnTo>
                      <a:pt x="148" y="241"/>
                    </a:lnTo>
                    <a:lnTo>
                      <a:pt x="148" y="246"/>
                    </a:lnTo>
                    <a:lnTo>
                      <a:pt x="151" y="248"/>
                    </a:lnTo>
                    <a:lnTo>
                      <a:pt x="156" y="245"/>
                    </a:lnTo>
                    <a:lnTo>
                      <a:pt x="156" y="241"/>
                    </a:lnTo>
                    <a:lnTo>
                      <a:pt x="153" y="236"/>
                    </a:lnTo>
                    <a:lnTo>
                      <a:pt x="153" y="236"/>
                    </a:lnTo>
                    <a:close/>
                    <a:moveTo>
                      <a:pt x="164" y="243"/>
                    </a:moveTo>
                    <a:lnTo>
                      <a:pt x="166" y="243"/>
                    </a:lnTo>
                    <a:lnTo>
                      <a:pt x="166" y="246"/>
                    </a:lnTo>
                    <a:lnTo>
                      <a:pt x="163" y="248"/>
                    </a:lnTo>
                    <a:lnTo>
                      <a:pt x="159" y="246"/>
                    </a:lnTo>
                    <a:lnTo>
                      <a:pt x="161" y="243"/>
                    </a:lnTo>
                    <a:lnTo>
                      <a:pt x="164" y="243"/>
                    </a:lnTo>
                    <a:lnTo>
                      <a:pt x="164" y="243"/>
                    </a:lnTo>
                    <a:close/>
                    <a:moveTo>
                      <a:pt x="179" y="223"/>
                    </a:moveTo>
                    <a:lnTo>
                      <a:pt x="183" y="223"/>
                    </a:lnTo>
                    <a:lnTo>
                      <a:pt x="186" y="225"/>
                    </a:lnTo>
                    <a:lnTo>
                      <a:pt x="186" y="230"/>
                    </a:lnTo>
                    <a:lnTo>
                      <a:pt x="184" y="233"/>
                    </a:lnTo>
                    <a:lnTo>
                      <a:pt x="176" y="235"/>
                    </a:lnTo>
                    <a:lnTo>
                      <a:pt x="171" y="236"/>
                    </a:lnTo>
                    <a:lnTo>
                      <a:pt x="171" y="233"/>
                    </a:lnTo>
                    <a:lnTo>
                      <a:pt x="169" y="231"/>
                    </a:lnTo>
                    <a:lnTo>
                      <a:pt x="171" y="226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03" y="223"/>
                    </a:moveTo>
                    <a:lnTo>
                      <a:pt x="204" y="226"/>
                    </a:lnTo>
                    <a:lnTo>
                      <a:pt x="204" y="230"/>
                    </a:lnTo>
                    <a:lnTo>
                      <a:pt x="201" y="226"/>
                    </a:lnTo>
                    <a:lnTo>
                      <a:pt x="203" y="223"/>
                    </a:lnTo>
                    <a:lnTo>
                      <a:pt x="203" y="223"/>
                    </a:lnTo>
                    <a:close/>
                    <a:moveTo>
                      <a:pt x="188" y="241"/>
                    </a:moveTo>
                    <a:lnTo>
                      <a:pt x="193" y="243"/>
                    </a:lnTo>
                    <a:lnTo>
                      <a:pt x="193" y="248"/>
                    </a:lnTo>
                    <a:lnTo>
                      <a:pt x="188" y="245"/>
                    </a:lnTo>
                    <a:lnTo>
                      <a:pt x="188" y="243"/>
                    </a:lnTo>
                    <a:lnTo>
                      <a:pt x="188" y="241"/>
                    </a:lnTo>
                    <a:lnTo>
                      <a:pt x="188" y="241"/>
                    </a:lnTo>
                    <a:close/>
                    <a:moveTo>
                      <a:pt x="184" y="188"/>
                    </a:moveTo>
                    <a:lnTo>
                      <a:pt x="184" y="193"/>
                    </a:lnTo>
                    <a:lnTo>
                      <a:pt x="181" y="193"/>
                    </a:lnTo>
                    <a:lnTo>
                      <a:pt x="176" y="190"/>
                    </a:lnTo>
                    <a:lnTo>
                      <a:pt x="179" y="188"/>
                    </a:lnTo>
                    <a:lnTo>
                      <a:pt x="184" y="188"/>
                    </a:lnTo>
                    <a:lnTo>
                      <a:pt x="184" y="188"/>
                    </a:lnTo>
                    <a:close/>
                    <a:moveTo>
                      <a:pt x="194" y="195"/>
                    </a:moveTo>
                    <a:lnTo>
                      <a:pt x="199" y="196"/>
                    </a:lnTo>
                    <a:lnTo>
                      <a:pt x="201" y="200"/>
                    </a:lnTo>
                    <a:lnTo>
                      <a:pt x="208" y="200"/>
                    </a:lnTo>
                    <a:lnTo>
                      <a:pt x="209" y="200"/>
                    </a:lnTo>
                    <a:lnTo>
                      <a:pt x="211" y="200"/>
                    </a:lnTo>
                    <a:lnTo>
                      <a:pt x="213" y="200"/>
                    </a:lnTo>
                    <a:lnTo>
                      <a:pt x="211" y="198"/>
                    </a:lnTo>
                    <a:lnTo>
                      <a:pt x="209" y="193"/>
                    </a:lnTo>
                    <a:lnTo>
                      <a:pt x="206" y="191"/>
                    </a:lnTo>
                    <a:lnTo>
                      <a:pt x="206" y="185"/>
                    </a:lnTo>
                    <a:lnTo>
                      <a:pt x="206" y="178"/>
                    </a:lnTo>
                    <a:lnTo>
                      <a:pt x="206" y="175"/>
                    </a:lnTo>
                    <a:lnTo>
                      <a:pt x="204" y="173"/>
                    </a:lnTo>
                    <a:lnTo>
                      <a:pt x="201" y="168"/>
                    </a:lnTo>
                    <a:lnTo>
                      <a:pt x="198" y="165"/>
                    </a:lnTo>
                    <a:lnTo>
                      <a:pt x="194" y="165"/>
                    </a:lnTo>
                    <a:lnTo>
                      <a:pt x="193" y="165"/>
                    </a:lnTo>
                    <a:lnTo>
                      <a:pt x="191" y="165"/>
                    </a:lnTo>
                    <a:lnTo>
                      <a:pt x="188" y="165"/>
                    </a:lnTo>
                    <a:lnTo>
                      <a:pt x="186" y="167"/>
                    </a:lnTo>
                    <a:lnTo>
                      <a:pt x="183" y="167"/>
                    </a:lnTo>
                    <a:lnTo>
                      <a:pt x="178" y="167"/>
                    </a:lnTo>
                    <a:lnTo>
                      <a:pt x="176" y="165"/>
                    </a:lnTo>
                    <a:lnTo>
                      <a:pt x="176" y="168"/>
                    </a:lnTo>
                    <a:lnTo>
                      <a:pt x="179" y="175"/>
                    </a:lnTo>
                    <a:lnTo>
                      <a:pt x="186" y="180"/>
                    </a:lnTo>
                    <a:lnTo>
                      <a:pt x="191" y="185"/>
                    </a:lnTo>
                    <a:lnTo>
                      <a:pt x="194" y="186"/>
                    </a:lnTo>
                    <a:lnTo>
                      <a:pt x="193" y="190"/>
                    </a:lnTo>
                    <a:lnTo>
                      <a:pt x="191" y="191"/>
                    </a:lnTo>
                    <a:lnTo>
                      <a:pt x="191" y="193"/>
                    </a:lnTo>
                    <a:lnTo>
                      <a:pt x="193" y="191"/>
                    </a:lnTo>
                    <a:lnTo>
                      <a:pt x="193" y="193"/>
                    </a:lnTo>
                    <a:lnTo>
                      <a:pt x="194" y="195"/>
                    </a:lnTo>
                    <a:lnTo>
                      <a:pt x="194" y="195"/>
                    </a:lnTo>
                    <a:close/>
                    <a:moveTo>
                      <a:pt x="191" y="195"/>
                    </a:moveTo>
                    <a:lnTo>
                      <a:pt x="186" y="196"/>
                    </a:lnTo>
                    <a:lnTo>
                      <a:pt x="181" y="195"/>
                    </a:lnTo>
                    <a:lnTo>
                      <a:pt x="178" y="195"/>
                    </a:lnTo>
                    <a:lnTo>
                      <a:pt x="181" y="200"/>
                    </a:lnTo>
                    <a:lnTo>
                      <a:pt x="181" y="203"/>
                    </a:lnTo>
                    <a:lnTo>
                      <a:pt x="183" y="206"/>
                    </a:lnTo>
                    <a:lnTo>
                      <a:pt x="186" y="203"/>
                    </a:lnTo>
                    <a:lnTo>
                      <a:pt x="189" y="206"/>
                    </a:lnTo>
                    <a:lnTo>
                      <a:pt x="188" y="211"/>
                    </a:lnTo>
                    <a:lnTo>
                      <a:pt x="191" y="216"/>
                    </a:lnTo>
                    <a:lnTo>
                      <a:pt x="191" y="223"/>
                    </a:lnTo>
                    <a:lnTo>
                      <a:pt x="196" y="225"/>
                    </a:lnTo>
                    <a:lnTo>
                      <a:pt x="196" y="218"/>
                    </a:lnTo>
                    <a:lnTo>
                      <a:pt x="198" y="221"/>
                    </a:lnTo>
                    <a:lnTo>
                      <a:pt x="203" y="221"/>
                    </a:lnTo>
                    <a:lnTo>
                      <a:pt x="203" y="218"/>
                    </a:lnTo>
                    <a:lnTo>
                      <a:pt x="199" y="211"/>
                    </a:lnTo>
                    <a:lnTo>
                      <a:pt x="196" y="208"/>
                    </a:lnTo>
                    <a:lnTo>
                      <a:pt x="194" y="201"/>
                    </a:lnTo>
                    <a:lnTo>
                      <a:pt x="193" y="196"/>
                    </a:lnTo>
                    <a:lnTo>
                      <a:pt x="191" y="195"/>
                    </a:lnTo>
                    <a:lnTo>
                      <a:pt x="191" y="195"/>
                    </a:lnTo>
                    <a:close/>
                    <a:moveTo>
                      <a:pt x="214" y="206"/>
                    </a:moveTo>
                    <a:lnTo>
                      <a:pt x="218" y="205"/>
                    </a:lnTo>
                    <a:lnTo>
                      <a:pt x="216" y="203"/>
                    </a:lnTo>
                    <a:lnTo>
                      <a:pt x="214" y="205"/>
                    </a:lnTo>
                    <a:lnTo>
                      <a:pt x="214" y="206"/>
                    </a:lnTo>
                    <a:lnTo>
                      <a:pt x="214" y="206"/>
                    </a:lnTo>
                    <a:close/>
                    <a:moveTo>
                      <a:pt x="216" y="210"/>
                    </a:moveTo>
                    <a:lnTo>
                      <a:pt x="213" y="208"/>
                    </a:lnTo>
                    <a:lnTo>
                      <a:pt x="213" y="211"/>
                    </a:lnTo>
                    <a:lnTo>
                      <a:pt x="214" y="211"/>
                    </a:lnTo>
                    <a:lnTo>
                      <a:pt x="216" y="210"/>
                    </a:lnTo>
                    <a:lnTo>
                      <a:pt x="216" y="210"/>
                    </a:lnTo>
                    <a:close/>
                    <a:moveTo>
                      <a:pt x="214" y="231"/>
                    </a:moveTo>
                    <a:lnTo>
                      <a:pt x="216" y="226"/>
                    </a:lnTo>
                    <a:lnTo>
                      <a:pt x="213" y="223"/>
                    </a:lnTo>
                    <a:lnTo>
                      <a:pt x="213" y="218"/>
                    </a:lnTo>
                    <a:lnTo>
                      <a:pt x="214" y="218"/>
                    </a:lnTo>
                    <a:lnTo>
                      <a:pt x="213" y="215"/>
                    </a:lnTo>
                    <a:lnTo>
                      <a:pt x="211" y="216"/>
                    </a:lnTo>
                    <a:lnTo>
                      <a:pt x="209" y="221"/>
                    </a:lnTo>
                    <a:lnTo>
                      <a:pt x="213" y="226"/>
                    </a:lnTo>
                    <a:lnTo>
                      <a:pt x="213" y="228"/>
                    </a:lnTo>
                    <a:lnTo>
                      <a:pt x="213" y="231"/>
                    </a:lnTo>
                    <a:lnTo>
                      <a:pt x="214" y="231"/>
                    </a:lnTo>
                    <a:lnTo>
                      <a:pt x="214" y="231"/>
                    </a:lnTo>
                    <a:close/>
                    <a:moveTo>
                      <a:pt x="219" y="233"/>
                    </a:moveTo>
                    <a:lnTo>
                      <a:pt x="219" y="235"/>
                    </a:lnTo>
                    <a:lnTo>
                      <a:pt x="221" y="236"/>
                    </a:lnTo>
                    <a:lnTo>
                      <a:pt x="223" y="235"/>
                    </a:lnTo>
                    <a:lnTo>
                      <a:pt x="219" y="233"/>
                    </a:lnTo>
                    <a:lnTo>
                      <a:pt x="219" y="233"/>
                    </a:lnTo>
                    <a:close/>
                    <a:moveTo>
                      <a:pt x="224" y="223"/>
                    </a:moveTo>
                    <a:lnTo>
                      <a:pt x="223" y="228"/>
                    </a:lnTo>
                    <a:lnTo>
                      <a:pt x="221" y="230"/>
                    </a:lnTo>
                    <a:lnTo>
                      <a:pt x="224" y="233"/>
                    </a:lnTo>
                    <a:lnTo>
                      <a:pt x="228" y="231"/>
                    </a:lnTo>
                    <a:lnTo>
                      <a:pt x="226" y="226"/>
                    </a:lnTo>
                    <a:lnTo>
                      <a:pt x="224" y="223"/>
                    </a:lnTo>
                    <a:lnTo>
                      <a:pt x="224" y="223"/>
                    </a:lnTo>
                    <a:close/>
                    <a:moveTo>
                      <a:pt x="130" y="299"/>
                    </a:moveTo>
                    <a:lnTo>
                      <a:pt x="125" y="294"/>
                    </a:lnTo>
                    <a:lnTo>
                      <a:pt x="128" y="288"/>
                    </a:lnTo>
                    <a:lnTo>
                      <a:pt x="128" y="283"/>
                    </a:lnTo>
                    <a:lnTo>
                      <a:pt x="128" y="279"/>
                    </a:lnTo>
                    <a:lnTo>
                      <a:pt x="131" y="274"/>
                    </a:lnTo>
                    <a:lnTo>
                      <a:pt x="136" y="273"/>
                    </a:lnTo>
                    <a:lnTo>
                      <a:pt x="139" y="269"/>
                    </a:lnTo>
                    <a:lnTo>
                      <a:pt x="144" y="271"/>
                    </a:lnTo>
                    <a:lnTo>
                      <a:pt x="151" y="269"/>
                    </a:lnTo>
                    <a:lnTo>
                      <a:pt x="149" y="266"/>
                    </a:lnTo>
                    <a:lnTo>
                      <a:pt x="151" y="263"/>
                    </a:lnTo>
                    <a:lnTo>
                      <a:pt x="156" y="260"/>
                    </a:lnTo>
                    <a:lnTo>
                      <a:pt x="159" y="256"/>
                    </a:lnTo>
                    <a:lnTo>
                      <a:pt x="163" y="256"/>
                    </a:lnTo>
                    <a:lnTo>
                      <a:pt x="169" y="261"/>
                    </a:lnTo>
                    <a:lnTo>
                      <a:pt x="169" y="268"/>
                    </a:lnTo>
                    <a:lnTo>
                      <a:pt x="164" y="274"/>
                    </a:lnTo>
                    <a:lnTo>
                      <a:pt x="169" y="271"/>
                    </a:lnTo>
                    <a:lnTo>
                      <a:pt x="174" y="269"/>
                    </a:lnTo>
                    <a:lnTo>
                      <a:pt x="179" y="268"/>
                    </a:lnTo>
                    <a:lnTo>
                      <a:pt x="183" y="260"/>
                    </a:lnTo>
                    <a:lnTo>
                      <a:pt x="188" y="258"/>
                    </a:lnTo>
                    <a:lnTo>
                      <a:pt x="189" y="263"/>
                    </a:lnTo>
                    <a:lnTo>
                      <a:pt x="193" y="261"/>
                    </a:lnTo>
                    <a:lnTo>
                      <a:pt x="193" y="258"/>
                    </a:lnTo>
                    <a:lnTo>
                      <a:pt x="191" y="258"/>
                    </a:lnTo>
                    <a:lnTo>
                      <a:pt x="194" y="248"/>
                    </a:lnTo>
                    <a:lnTo>
                      <a:pt x="199" y="251"/>
                    </a:lnTo>
                    <a:lnTo>
                      <a:pt x="203" y="253"/>
                    </a:lnTo>
                    <a:lnTo>
                      <a:pt x="203" y="251"/>
                    </a:lnTo>
                    <a:lnTo>
                      <a:pt x="203" y="245"/>
                    </a:lnTo>
                    <a:lnTo>
                      <a:pt x="204" y="245"/>
                    </a:lnTo>
                    <a:lnTo>
                      <a:pt x="209" y="248"/>
                    </a:lnTo>
                    <a:lnTo>
                      <a:pt x="209" y="245"/>
                    </a:lnTo>
                    <a:lnTo>
                      <a:pt x="206" y="236"/>
                    </a:lnTo>
                    <a:lnTo>
                      <a:pt x="208" y="231"/>
                    </a:lnTo>
                    <a:lnTo>
                      <a:pt x="211" y="233"/>
                    </a:lnTo>
                    <a:lnTo>
                      <a:pt x="213" y="231"/>
                    </a:lnTo>
                    <a:lnTo>
                      <a:pt x="213" y="236"/>
                    </a:lnTo>
                    <a:lnTo>
                      <a:pt x="219" y="241"/>
                    </a:lnTo>
                    <a:lnTo>
                      <a:pt x="224" y="245"/>
                    </a:lnTo>
                    <a:lnTo>
                      <a:pt x="228" y="243"/>
                    </a:lnTo>
                    <a:lnTo>
                      <a:pt x="228" y="246"/>
                    </a:lnTo>
                    <a:lnTo>
                      <a:pt x="231" y="250"/>
                    </a:lnTo>
                    <a:lnTo>
                      <a:pt x="231" y="256"/>
                    </a:lnTo>
                    <a:lnTo>
                      <a:pt x="228" y="255"/>
                    </a:lnTo>
                    <a:lnTo>
                      <a:pt x="228" y="258"/>
                    </a:lnTo>
                    <a:lnTo>
                      <a:pt x="229" y="261"/>
                    </a:lnTo>
                    <a:lnTo>
                      <a:pt x="233" y="261"/>
                    </a:lnTo>
                    <a:lnTo>
                      <a:pt x="231" y="263"/>
                    </a:lnTo>
                    <a:lnTo>
                      <a:pt x="231" y="269"/>
                    </a:lnTo>
                    <a:lnTo>
                      <a:pt x="233" y="266"/>
                    </a:lnTo>
                    <a:lnTo>
                      <a:pt x="234" y="271"/>
                    </a:lnTo>
                    <a:lnTo>
                      <a:pt x="234" y="276"/>
                    </a:lnTo>
                    <a:lnTo>
                      <a:pt x="237" y="279"/>
                    </a:lnTo>
                    <a:lnTo>
                      <a:pt x="239" y="284"/>
                    </a:lnTo>
                    <a:lnTo>
                      <a:pt x="241" y="291"/>
                    </a:lnTo>
                    <a:lnTo>
                      <a:pt x="237" y="296"/>
                    </a:lnTo>
                    <a:lnTo>
                      <a:pt x="236" y="296"/>
                    </a:lnTo>
                    <a:lnTo>
                      <a:pt x="236" y="299"/>
                    </a:lnTo>
                    <a:lnTo>
                      <a:pt x="234" y="296"/>
                    </a:lnTo>
                    <a:lnTo>
                      <a:pt x="231" y="298"/>
                    </a:lnTo>
                    <a:lnTo>
                      <a:pt x="231" y="299"/>
                    </a:lnTo>
                    <a:lnTo>
                      <a:pt x="233" y="306"/>
                    </a:lnTo>
                    <a:lnTo>
                      <a:pt x="233" y="311"/>
                    </a:lnTo>
                    <a:lnTo>
                      <a:pt x="233" y="314"/>
                    </a:lnTo>
                    <a:lnTo>
                      <a:pt x="231" y="311"/>
                    </a:lnTo>
                    <a:lnTo>
                      <a:pt x="228" y="304"/>
                    </a:lnTo>
                    <a:lnTo>
                      <a:pt x="228" y="301"/>
                    </a:lnTo>
                    <a:lnTo>
                      <a:pt x="226" y="298"/>
                    </a:lnTo>
                    <a:lnTo>
                      <a:pt x="224" y="293"/>
                    </a:lnTo>
                    <a:lnTo>
                      <a:pt x="221" y="288"/>
                    </a:lnTo>
                    <a:lnTo>
                      <a:pt x="218" y="289"/>
                    </a:lnTo>
                    <a:lnTo>
                      <a:pt x="213" y="299"/>
                    </a:lnTo>
                    <a:lnTo>
                      <a:pt x="211" y="303"/>
                    </a:lnTo>
                    <a:lnTo>
                      <a:pt x="216" y="306"/>
                    </a:lnTo>
                    <a:lnTo>
                      <a:pt x="218" y="311"/>
                    </a:lnTo>
                    <a:lnTo>
                      <a:pt x="221" y="314"/>
                    </a:lnTo>
                    <a:lnTo>
                      <a:pt x="219" y="319"/>
                    </a:lnTo>
                    <a:lnTo>
                      <a:pt x="213" y="326"/>
                    </a:lnTo>
                    <a:lnTo>
                      <a:pt x="209" y="329"/>
                    </a:lnTo>
                    <a:lnTo>
                      <a:pt x="208" y="328"/>
                    </a:lnTo>
                    <a:lnTo>
                      <a:pt x="206" y="323"/>
                    </a:lnTo>
                    <a:lnTo>
                      <a:pt x="209" y="321"/>
                    </a:lnTo>
                    <a:lnTo>
                      <a:pt x="208" y="319"/>
                    </a:lnTo>
                    <a:lnTo>
                      <a:pt x="204" y="321"/>
                    </a:lnTo>
                    <a:lnTo>
                      <a:pt x="204" y="323"/>
                    </a:lnTo>
                    <a:lnTo>
                      <a:pt x="199" y="324"/>
                    </a:lnTo>
                    <a:lnTo>
                      <a:pt x="194" y="323"/>
                    </a:lnTo>
                    <a:lnTo>
                      <a:pt x="191" y="319"/>
                    </a:lnTo>
                    <a:lnTo>
                      <a:pt x="186" y="319"/>
                    </a:lnTo>
                    <a:lnTo>
                      <a:pt x="181" y="314"/>
                    </a:lnTo>
                    <a:lnTo>
                      <a:pt x="179" y="311"/>
                    </a:lnTo>
                    <a:lnTo>
                      <a:pt x="176" y="308"/>
                    </a:lnTo>
                    <a:lnTo>
                      <a:pt x="178" y="304"/>
                    </a:lnTo>
                    <a:lnTo>
                      <a:pt x="178" y="301"/>
                    </a:lnTo>
                    <a:lnTo>
                      <a:pt x="174" y="298"/>
                    </a:lnTo>
                    <a:lnTo>
                      <a:pt x="178" y="296"/>
                    </a:lnTo>
                    <a:lnTo>
                      <a:pt x="176" y="293"/>
                    </a:lnTo>
                    <a:lnTo>
                      <a:pt x="179" y="293"/>
                    </a:lnTo>
                    <a:lnTo>
                      <a:pt x="183" y="294"/>
                    </a:lnTo>
                    <a:lnTo>
                      <a:pt x="179" y="291"/>
                    </a:lnTo>
                    <a:lnTo>
                      <a:pt x="178" y="288"/>
                    </a:lnTo>
                    <a:lnTo>
                      <a:pt x="173" y="283"/>
                    </a:lnTo>
                    <a:lnTo>
                      <a:pt x="169" y="283"/>
                    </a:lnTo>
                    <a:lnTo>
                      <a:pt x="164" y="279"/>
                    </a:lnTo>
                    <a:lnTo>
                      <a:pt x="163" y="279"/>
                    </a:lnTo>
                    <a:lnTo>
                      <a:pt x="161" y="281"/>
                    </a:lnTo>
                    <a:lnTo>
                      <a:pt x="161" y="283"/>
                    </a:lnTo>
                    <a:lnTo>
                      <a:pt x="159" y="284"/>
                    </a:lnTo>
                    <a:lnTo>
                      <a:pt x="163" y="288"/>
                    </a:lnTo>
                    <a:lnTo>
                      <a:pt x="161" y="288"/>
                    </a:lnTo>
                    <a:lnTo>
                      <a:pt x="156" y="286"/>
                    </a:lnTo>
                    <a:lnTo>
                      <a:pt x="154" y="286"/>
                    </a:lnTo>
                    <a:lnTo>
                      <a:pt x="156" y="283"/>
                    </a:lnTo>
                    <a:lnTo>
                      <a:pt x="153" y="283"/>
                    </a:lnTo>
                    <a:lnTo>
                      <a:pt x="151" y="283"/>
                    </a:lnTo>
                    <a:lnTo>
                      <a:pt x="151" y="288"/>
                    </a:lnTo>
                    <a:lnTo>
                      <a:pt x="148" y="286"/>
                    </a:lnTo>
                    <a:lnTo>
                      <a:pt x="146" y="288"/>
                    </a:lnTo>
                    <a:lnTo>
                      <a:pt x="144" y="286"/>
                    </a:lnTo>
                    <a:lnTo>
                      <a:pt x="146" y="281"/>
                    </a:lnTo>
                    <a:lnTo>
                      <a:pt x="143" y="279"/>
                    </a:lnTo>
                    <a:lnTo>
                      <a:pt x="139" y="279"/>
                    </a:lnTo>
                    <a:lnTo>
                      <a:pt x="138" y="284"/>
                    </a:lnTo>
                    <a:lnTo>
                      <a:pt x="135" y="288"/>
                    </a:lnTo>
                    <a:lnTo>
                      <a:pt x="131" y="296"/>
                    </a:lnTo>
                    <a:lnTo>
                      <a:pt x="130" y="299"/>
                    </a:lnTo>
                    <a:lnTo>
                      <a:pt x="130" y="299"/>
                    </a:lnTo>
                    <a:close/>
                    <a:moveTo>
                      <a:pt x="121" y="304"/>
                    </a:moveTo>
                    <a:lnTo>
                      <a:pt x="121" y="308"/>
                    </a:lnTo>
                    <a:lnTo>
                      <a:pt x="125" y="311"/>
                    </a:lnTo>
                    <a:lnTo>
                      <a:pt x="128" y="311"/>
                    </a:lnTo>
                    <a:lnTo>
                      <a:pt x="133" y="306"/>
                    </a:lnTo>
                    <a:lnTo>
                      <a:pt x="135" y="306"/>
                    </a:lnTo>
                    <a:lnTo>
                      <a:pt x="131" y="304"/>
                    </a:lnTo>
                    <a:lnTo>
                      <a:pt x="128" y="303"/>
                    </a:lnTo>
                    <a:lnTo>
                      <a:pt x="126" y="304"/>
                    </a:lnTo>
                    <a:lnTo>
                      <a:pt x="121" y="304"/>
                    </a:lnTo>
                    <a:lnTo>
                      <a:pt x="121" y="304"/>
                    </a:lnTo>
                    <a:close/>
                    <a:moveTo>
                      <a:pt x="66" y="178"/>
                    </a:moveTo>
                    <a:lnTo>
                      <a:pt x="65" y="176"/>
                    </a:lnTo>
                    <a:lnTo>
                      <a:pt x="63" y="173"/>
                    </a:lnTo>
                    <a:lnTo>
                      <a:pt x="65" y="171"/>
                    </a:lnTo>
                    <a:lnTo>
                      <a:pt x="68" y="171"/>
                    </a:lnTo>
                    <a:lnTo>
                      <a:pt x="71" y="175"/>
                    </a:lnTo>
                    <a:lnTo>
                      <a:pt x="76" y="176"/>
                    </a:lnTo>
                    <a:lnTo>
                      <a:pt x="76" y="178"/>
                    </a:lnTo>
                    <a:lnTo>
                      <a:pt x="75" y="180"/>
                    </a:lnTo>
                    <a:lnTo>
                      <a:pt x="71" y="180"/>
                    </a:lnTo>
                    <a:lnTo>
                      <a:pt x="66" y="178"/>
                    </a:lnTo>
                    <a:lnTo>
                      <a:pt x="66" y="178"/>
                    </a:lnTo>
                    <a:close/>
                    <a:moveTo>
                      <a:pt x="63" y="181"/>
                    </a:moveTo>
                    <a:lnTo>
                      <a:pt x="68" y="181"/>
                    </a:lnTo>
                    <a:lnTo>
                      <a:pt x="70" y="185"/>
                    </a:lnTo>
                    <a:lnTo>
                      <a:pt x="68" y="186"/>
                    </a:lnTo>
                    <a:lnTo>
                      <a:pt x="66" y="188"/>
                    </a:lnTo>
                    <a:lnTo>
                      <a:pt x="65" y="188"/>
                    </a:lnTo>
                    <a:lnTo>
                      <a:pt x="63" y="183"/>
                    </a:lnTo>
                    <a:lnTo>
                      <a:pt x="63" y="181"/>
                    </a:lnTo>
                    <a:lnTo>
                      <a:pt x="63" y="181"/>
                    </a:lnTo>
                    <a:close/>
                    <a:moveTo>
                      <a:pt x="66" y="213"/>
                    </a:moveTo>
                    <a:lnTo>
                      <a:pt x="68" y="213"/>
                    </a:lnTo>
                    <a:lnTo>
                      <a:pt x="70" y="211"/>
                    </a:lnTo>
                    <a:lnTo>
                      <a:pt x="70" y="213"/>
                    </a:lnTo>
                    <a:lnTo>
                      <a:pt x="73" y="215"/>
                    </a:lnTo>
                    <a:lnTo>
                      <a:pt x="71" y="216"/>
                    </a:lnTo>
                    <a:lnTo>
                      <a:pt x="68" y="216"/>
                    </a:lnTo>
                    <a:lnTo>
                      <a:pt x="65" y="216"/>
                    </a:lnTo>
                    <a:lnTo>
                      <a:pt x="66" y="213"/>
                    </a:lnTo>
                    <a:lnTo>
                      <a:pt x="66" y="213"/>
                    </a:lnTo>
                    <a:close/>
                    <a:moveTo>
                      <a:pt x="7" y="263"/>
                    </a:moveTo>
                    <a:lnTo>
                      <a:pt x="12" y="260"/>
                    </a:lnTo>
                    <a:lnTo>
                      <a:pt x="15" y="258"/>
                    </a:lnTo>
                    <a:lnTo>
                      <a:pt x="18" y="256"/>
                    </a:lnTo>
                    <a:lnTo>
                      <a:pt x="23" y="255"/>
                    </a:lnTo>
                    <a:lnTo>
                      <a:pt x="28" y="246"/>
                    </a:lnTo>
                    <a:lnTo>
                      <a:pt x="35" y="245"/>
                    </a:lnTo>
                    <a:lnTo>
                      <a:pt x="38" y="241"/>
                    </a:lnTo>
                    <a:lnTo>
                      <a:pt x="38" y="240"/>
                    </a:lnTo>
                    <a:lnTo>
                      <a:pt x="41" y="236"/>
                    </a:lnTo>
                    <a:lnTo>
                      <a:pt x="41" y="230"/>
                    </a:lnTo>
                    <a:lnTo>
                      <a:pt x="45" y="226"/>
                    </a:lnTo>
                    <a:lnTo>
                      <a:pt x="51" y="226"/>
                    </a:lnTo>
                    <a:lnTo>
                      <a:pt x="53" y="221"/>
                    </a:lnTo>
                    <a:lnTo>
                      <a:pt x="56" y="218"/>
                    </a:lnTo>
                    <a:lnTo>
                      <a:pt x="61" y="218"/>
                    </a:lnTo>
                    <a:lnTo>
                      <a:pt x="63" y="215"/>
                    </a:lnTo>
                    <a:lnTo>
                      <a:pt x="61" y="208"/>
                    </a:lnTo>
                    <a:lnTo>
                      <a:pt x="56" y="205"/>
                    </a:lnTo>
                    <a:lnTo>
                      <a:pt x="58" y="200"/>
                    </a:lnTo>
                    <a:lnTo>
                      <a:pt x="56" y="195"/>
                    </a:lnTo>
                    <a:lnTo>
                      <a:pt x="55" y="195"/>
                    </a:lnTo>
                    <a:lnTo>
                      <a:pt x="53" y="201"/>
                    </a:lnTo>
                    <a:lnTo>
                      <a:pt x="55" y="208"/>
                    </a:lnTo>
                    <a:lnTo>
                      <a:pt x="51" y="206"/>
                    </a:lnTo>
                    <a:lnTo>
                      <a:pt x="53" y="210"/>
                    </a:lnTo>
                    <a:lnTo>
                      <a:pt x="53" y="213"/>
                    </a:lnTo>
                    <a:lnTo>
                      <a:pt x="50" y="218"/>
                    </a:lnTo>
                    <a:lnTo>
                      <a:pt x="46" y="218"/>
                    </a:lnTo>
                    <a:lnTo>
                      <a:pt x="41" y="221"/>
                    </a:lnTo>
                    <a:lnTo>
                      <a:pt x="41" y="225"/>
                    </a:lnTo>
                    <a:lnTo>
                      <a:pt x="37" y="228"/>
                    </a:lnTo>
                    <a:lnTo>
                      <a:pt x="32" y="238"/>
                    </a:lnTo>
                    <a:lnTo>
                      <a:pt x="25" y="243"/>
                    </a:lnTo>
                    <a:lnTo>
                      <a:pt x="22" y="243"/>
                    </a:lnTo>
                    <a:lnTo>
                      <a:pt x="18" y="250"/>
                    </a:lnTo>
                    <a:lnTo>
                      <a:pt x="15" y="251"/>
                    </a:lnTo>
                    <a:lnTo>
                      <a:pt x="8" y="260"/>
                    </a:lnTo>
                    <a:lnTo>
                      <a:pt x="7" y="261"/>
                    </a:lnTo>
                    <a:lnTo>
                      <a:pt x="7" y="263"/>
                    </a:lnTo>
                    <a:lnTo>
                      <a:pt x="7" y="263"/>
                    </a:lnTo>
                    <a:close/>
                    <a:moveTo>
                      <a:pt x="8" y="265"/>
                    </a:moveTo>
                    <a:lnTo>
                      <a:pt x="5" y="266"/>
                    </a:lnTo>
                    <a:lnTo>
                      <a:pt x="8" y="266"/>
                    </a:lnTo>
                    <a:lnTo>
                      <a:pt x="8" y="265"/>
                    </a:lnTo>
                    <a:lnTo>
                      <a:pt x="8" y="265"/>
                    </a:lnTo>
                    <a:close/>
                    <a:moveTo>
                      <a:pt x="10" y="266"/>
                    </a:moveTo>
                    <a:lnTo>
                      <a:pt x="8" y="268"/>
                    </a:lnTo>
                    <a:lnTo>
                      <a:pt x="12" y="268"/>
                    </a:lnTo>
                    <a:lnTo>
                      <a:pt x="10" y="266"/>
                    </a:lnTo>
                    <a:lnTo>
                      <a:pt x="10" y="266"/>
                    </a:lnTo>
                    <a:close/>
                    <a:moveTo>
                      <a:pt x="3" y="271"/>
                    </a:moveTo>
                    <a:lnTo>
                      <a:pt x="0" y="273"/>
                    </a:lnTo>
                    <a:lnTo>
                      <a:pt x="0" y="274"/>
                    </a:lnTo>
                    <a:lnTo>
                      <a:pt x="2" y="279"/>
                    </a:lnTo>
                    <a:lnTo>
                      <a:pt x="5" y="279"/>
                    </a:lnTo>
                    <a:lnTo>
                      <a:pt x="5" y="273"/>
                    </a:lnTo>
                    <a:lnTo>
                      <a:pt x="5" y="271"/>
                    </a:lnTo>
                    <a:lnTo>
                      <a:pt x="3" y="2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09" name="Freeform 15"/>
              <p:cNvSpPr>
                <a:spLocks noEditPoints="1"/>
              </p:cNvSpPr>
              <p:nvPr/>
            </p:nvSpPr>
            <p:spPr bwMode="auto">
              <a:xfrm>
                <a:off x="7656503" y="3195008"/>
                <a:ext cx="597199" cy="207518"/>
              </a:xfrm>
              <a:custGeom>
                <a:avLst/>
                <a:gdLst/>
                <a:ahLst/>
                <a:cxnLst>
                  <a:cxn ang="0">
                    <a:pos x="1071" y="312"/>
                  </a:cxn>
                  <a:cxn ang="0">
                    <a:pos x="966" y="247"/>
                  </a:cxn>
                  <a:cxn ang="0">
                    <a:pos x="915" y="229"/>
                  </a:cxn>
                  <a:cxn ang="0">
                    <a:pos x="895" y="191"/>
                  </a:cxn>
                  <a:cxn ang="0">
                    <a:pos x="958" y="207"/>
                  </a:cxn>
                  <a:cxn ang="0">
                    <a:pos x="1091" y="201"/>
                  </a:cxn>
                  <a:cxn ang="0">
                    <a:pos x="875" y="157"/>
                  </a:cxn>
                  <a:cxn ang="0">
                    <a:pos x="767" y="46"/>
                  </a:cxn>
                  <a:cxn ang="0">
                    <a:pos x="787" y="136"/>
                  </a:cxn>
                  <a:cxn ang="0">
                    <a:pos x="815" y="143"/>
                  </a:cxn>
                  <a:cxn ang="0">
                    <a:pos x="784" y="161"/>
                  </a:cxn>
                  <a:cxn ang="0">
                    <a:pos x="799" y="232"/>
                  </a:cxn>
                  <a:cxn ang="0">
                    <a:pos x="865" y="226"/>
                  </a:cxn>
                  <a:cxn ang="0">
                    <a:pos x="616" y="312"/>
                  </a:cxn>
                  <a:cxn ang="0">
                    <a:pos x="732" y="191"/>
                  </a:cxn>
                  <a:cxn ang="0">
                    <a:pos x="677" y="270"/>
                  </a:cxn>
                  <a:cxn ang="0">
                    <a:pos x="676" y="194"/>
                  </a:cxn>
                  <a:cxn ang="0">
                    <a:pos x="649" y="159"/>
                  </a:cxn>
                  <a:cxn ang="0">
                    <a:pos x="729" y="114"/>
                  </a:cxn>
                  <a:cxn ang="0">
                    <a:pos x="596" y="161"/>
                  </a:cxn>
                  <a:cxn ang="0">
                    <a:pos x="591" y="277"/>
                  </a:cxn>
                  <a:cxn ang="0">
                    <a:pos x="638" y="259"/>
                  </a:cxn>
                  <a:cxn ang="0">
                    <a:pos x="656" y="219"/>
                  </a:cxn>
                  <a:cxn ang="0">
                    <a:pos x="633" y="174"/>
                  </a:cxn>
                  <a:cxn ang="0">
                    <a:pos x="594" y="33"/>
                  </a:cxn>
                  <a:cxn ang="0">
                    <a:pos x="511" y="231"/>
                  </a:cxn>
                  <a:cxn ang="0">
                    <a:pos x="350" y="184"/>
                  </a:cxn>
                  <a:cxn ang="0">
                    <a:pos x="498" y="59"/>
                  </a:cxn>
                  <a:cxn ang="0">
                    <a:pos x="566" y="119"/>
                  </a:cxn>
                  <a:cxn ang="0">
                    <a:pos x="515" y="199"/>
                  </a:cxn>
                  <a:cxn ang="0">
                    <a:pos x="445" y="222"/>
                  </a:cxn>
                  <a:cxn ang="0">
                    <a:pos x="363" y="181"/>
                  </a:cxn>
                  <a:cxn ang="0">
                    <a:pos x="973" y="186"/>
                  </a:cxn>
                  <a:cxn ang="0">
                    <a:pos x="910" y="279"/>
                  </a:cxn>
                  <a:cxn ang="0">
                    <a:pos x="947" y="292"/>
                  </a:cxn>
                  <a:cxn ang="0">
                    <a:pos x="945" y="280"/>
                  </a:cxn>
                  <a:cxn ang="0">
                    <a:pos x="887" y="310"/>
                  </a:cxn>
                  <a:cxn ang="0">
                    <a:pos x="882" y="312"/>
                  </a:cxn>
                  <a:cxn ang="0">
                    <a:pos x="817" y="337"/>
                  </a:cxn>
                  <a:cxn ang="0">
                    <a:pos x="699" y="382"/>
                  </a:cxn>
                  <a:cxn ang="0">
                    <a:pos x="661" y="398"/>
                  </a:cxn>
                  <a:cxn ang="0">
                    <a:pos x="569" y="365"/>
                  </a:cxn>
                  <a:cxn ang="0">
                    <a:pos x="732" y="335"/>
                  </a:cxn>
                  <a:cxn ang="0">
                    <a:pos x="686" y="345"/>
                  </a:cxn>
                  <a:cxn ang="0">
                    <a:pos x="672" y="339"/>
                  </a:cxn>
                  <a:cxn ang="0">
                    <a:pos x="586" y="344"/>
                  </a:cxn>
                  <a:cxn ang="0">
                    <a:pos x="555" y="347"/>
                  </a:cxn>
                  <a:cxn ang="0">
                    <a:pos x="471" y="342"/>
                  </a:cxn>
                  <a:cxn ang="0">
                    <a:pos x="1061" y="320"/>
                  </a:cxn>
                  <a:cxn ang="0">
                    <a:pos x="261" y="292"/>
                  </a:cxn>
                  <a:cxn ang="0">
                    <a:pos x="428" y="324"/>
                  </a:cxn>
                  <a:cxn ang="0">
                    <a:pos x="329" y="327"/>
                  </a:cxn>
                  <a:cxn ang="0">
                    <a:pos x="270" y="86"/>
                  </a:cxn>
                  <a:cxn ang="0">
                    <a:pos x="232" y="121"/>
                  </a:cxn>
                  <a:cxn ang="0">
                    <a:pos x="285" y="217"/>
                  </a:cxn>
                  <a:cxn ang="0">
                    <a:pos x="227" y="162"/>
                  </a:cxn>
                  <a:cxn ang="0">
                    <a:pos x="153" y="106"/>
                  </a:cxn>
                  <a:cxn ang="0">
                    <a:pos x="83" y="177"/>
                  </a:cxn>
                  <a:cxn ang="0">
                    <a:pos x="13" y="84"/>
                  </a:cxn>
                  <a:cxn ang="0">
                    <a:pos x="99" y="146"/>
                  </a:cxn>
                  <a:cxn ang="0">
                    <a:pos x="249" y="274"/>
                  </a:cxn>
                  <a:cxn ang="0">
                    <a:pos x="204" y="161"/>
                  </a:cxn>
                  <a:cxn ang="0">
                    <a:pos x="116" y="79"/>
                  </a:cxn>
                </a:cxnLst>
                <a:rect l="0" t="0" r="r" b="b"/>
                <a:pathLst>
                  <a:path w="1116" h="398">
                    <a:moveTo>
                      <a:pt x="1116" y="209"/>
                    </a:moveTo>
                    <a:lnTo>
                      <a:pt x="1113" y="292"/>
                    </a:lnTo>
                    <a:lnTo>
                      <a:pt x="1111" y="297"/>
                    </a:lnTo>
                    <a:lnTo>
                      <a:pt x="1111" y="302"/>
                    </a:lnTo>
                    <a:lnTo>
                      <a:pt x="1113" y="304"/>
                    </a:lnTo>
                    <a:lnTo>
                      <a:pt x="1109" y="357"/>
                    </a:lnTo>
                    <a:lnTo>
                      <a:pt x="1109" y="357"/>
                    </a:lnTo>
                    <a:lnTo>
                      <a:pt x="1103" y="353"/>
                    </a:lnTo>
                    <a:lnTo>
                      <a:pt x="1096" y="349"/>
                    </a:lnTo>
                    <a:lnTo>
                      <a:pt x="1094" y="345"/>
                    </a:lnTo>
                    <a:lnTo>
                      <a:pt x="1094" y="344"/>
                    </a:lnTo>
                    <a:lnTo>
                      <a:pt x="1089" y="339"/>
                    </a:lnTo>
                    <a:lnTo>
                      <a:pt x="1088" y="339"/>
                    </a:lnTo>
                    <a:lnTo>
                      <a:pt x="1086" y="335"/>
                    </a:lnTo>
                    <a:lnTo>
                      <a:pt x="1089" y="332"/>
                    </a:lnTo>
                    <a:lnTo>
                      <a:pt x="1088" y="327"/>
                    </a:lnTo>
                    <a:lnTo>
                      <a:pt x="1088" y="332"/>
                    </a:lnTo>
                    <a:lnTo>
                      <a:pt x="1084" y="334"/>
                    </a:lnTo>
                    <a:lnTo>
                      <a:pt x="1076" y="332"/>
                    </a:lnTo>
                    <a:lnTo>
                      <a:pt x="1073" y="335"/>
                    </a:lnTo>
                    <a:lnTo>
                      <a:pt x="1069" y="335"/>
                    </a:lnTo>
                    <a:lnTo>
                      <a:pt x="1068" y="332"/>
                    </a:lnTo>
                    <a:lnTo>
                      <a:pt x="1061" y="335"/>
                    </a:lnTo>
                    <a:lnTo>
                      <a:pt x="1058" y="332"/>
                    </a:lnTo>
                    <a:lnTo>
                      <a:pt x="1061" y="330"/>
                    </a:lnTo>
                    <a:lnTo>
                      <a:pt x="1063" y="327"/>
                    </a:lnTo>
                    <a:lnTo>
                      <a:pt x="1063" y="325"/>
                    </a:lnTo>
                    <a:lnTo>
                      <a:pt x="1063" y="324"/>
                    </a:lnTo>
                    <a:lnTo>
                      <a:pt x="1064" y="319"/>
                    </a:lnTo>
                    <a:lnTo>
                      <a:pt x="1061" y="317"/>
                    </a:lnTo>
                    <a:lnTo>
                      <a:pt x="1058" y="314"/>
                    </a:lnTo>
                    <a:lnTo>
                      <a:pt x="1061" y="314"/>
                    </a:lnTo>
                    <a:lnTo>
                      <a:pt x="1063" y="314"/>
                    </a:lnTo>
                    <a:lnTo>
                      <a:pt x="1068" y="312"/>
                    </a:lnTo>
                    <a:lnTo>
                      <a:pt x="1071" y="312"/>
                    </a:lnTo>
                    <a:lnTo>
                      <a:pt x="1068" y="310"/>
                    </a:lnTo>
                    <a:lnTo>
                      <a:pt x="1063" y="312"/>
                    </a:lnTo>
                    <a:lnTo>
                      <a:pt x="1058" y="310"/>
                    </a:lnTo>
                    <a:lnTo>
                      <a:pt x="1055" y="307"/>
                    </a:lnTo>
                    <a:lnTo>
                      <a:pt x="1055" y="304"/>
                    </a:lnTo>
                    <a:lnTo>
                      <a:pt x="1058" y="304"/>
                    </a:lnTo>
                    <a:lnTo>
                      <a:pt x="1061" y="304"/>
                    </a:lnTo>
                    <a:lnTo>
                      <a:pt x="1059" y="302"/>
                    </a:lnTo>
                    <a:lnTo>
                      <a:pt x="1053" y="299"/>
                    </a:lnTo>
                    <a:lnTo>
                      <a:pt x="1050" y="295"/>
                    </a:lnTo>
                    <a:lnTo>
                      <a:pt x="1048" y="292"/>
                    </a:lnTo>
                    <a:lnTo>
                      <a:pt x="1048" y="289"/>
                    </a:lnTo>
                    <a:lnTo>
                      <a:pt x="1043" y="284"/>
                    </a:lnTo>
                    <a:lnTo>
                      <a:pt x="1043" y="280"/>
                    </a:lnTo>
                    <a:lnTo>
                      <a:pt x="1048" y="277"/>
                    </a:lnTo>
                    <a:lnTo>
                      <a:pt x="1043" y="277"/>
                    </a:lnTo>
                    <a:lnTo>
                      <a:pt x="1041" y="275"/>
                    </a:lnTo>
                    <a:lnTo>
                      <a:pt x="1041" y="274"/>
                    </a:lnTo>
                    <a:lnTo>
                      <a:pt x="1040" y="272"/>
                    </a:lnTo>
                    <a:lnTo>
                      <a:pt x="1043" y="270"/>
                    </a:lnTo>
                    <a:lnTo>
                      <a:pt x="1038" y="270"/>
                    </a:lnTo>
                    <a:lnTo>
                      <a:pt x="1036" y="269"/>
                    </a:lnTo>
                    <a:lnTo>
                      <a:pt x="1033" y="270"/>
                    </a:lnTo>
                    <a:lnTo>
                      <a:pt x="1031" y="269"/>
                    </a:lnTo>
                    <a:lnTo>
                      <a:pt x="1036" y="264"/>
                    </a:lnTo>
                    <a:lnTo>
                      <a:pt x="1033" y="267"/>
                    </a:lnTo>
                    <a:lnTo>
                      <a:pt x="1028" y="267"/>
                    </a:lnTo>
                    <a:lnTo>
                      <a:pt x="1021" y="264"/>
                    </a:lnTo>
                    <a:lnTo>
                      <a:pt x="1020" y="260"/>
                    </a:lnTo>
                    <a:lnTo>
                      <a:pt x="1013" y="259"/>
                    </a:lnTo>
                    <a:lnTo>
                      <a:pt x="1010" y="259"/>
                    </a:lnTo>
                    <a:lnTo>
                      <a:pt x="995" y="254"/>
                    </a:lnTo>
                    <a:lnTo>
                      <a:pt x="980" y="251"/>
                    </a:lnTo>
                    <a:lnTo>
                      <a:pt x="973" y="251"/>
                    </a:lnTo>
                    <a:lnTo>
                      <a:pt x="966" y="247"/>
                    </a:lnTo>
                    <a:lnTo>
                      <a:pt x="965" y="246"/>
                    </a:lnTo>
                    <a:lnTo>
                      <a:pt x="965" y="244"/>
                    </a:lnTo>
                    <a:lnTo>
                      <a:pt x="960" y="242"/>
                    </a:lnTo>
                    <a:lnTo>
                      <a:pt x="960" y="241"/>
                    </a:lnTo>
                    <a:lnTo>
                      <a:pt x="963" y="239"/>
                    </a:lnTo>
                    <a:lnTo>
                      <a:pt x="965" y="241"/>
                    </a:lnTo>
                    <a:lnTo>
                      <a:pt x="965" y="239"/>
                    </a:lnTo>
                    <a:lnTo>
                      <a:pt x="961" y="239"/>
                    </a:lnTo>
                    <a:lnTo>
                      <a:pt x="958" y="241"/>
                    </a:lnTo>
                    <a:lnTo>
                      <a:pt x="955" y="239"/>
                    </a:lnTo>
                    <a:lnTo>
                      <a:pt x="953" y="237"/>
                    </a:lnTo>
                    <a:lnTo>
                      <a:pt x="952" y="236"/>
                    </a:lnTo>
                    <a:lnTo>
                      <a:pt x="950" y="239"/>
                    </a:lnTo>
                    <a:lnTo>
                      <a:pt x="948" y="234"/>
                    </a:lnTo>
                    <a:lnTo>
                      <a:pt x="947" y="234"/>
                    </a:lnTo>
                    <a:lnTo>
                      <a:pt x="945" y="234"/>
                    </a:lnTo>
                    <a:lnTo>
                      <a:pt x="943" y="236"/>
                    </a:lnTo>
                    <a:lnTo>
                      <a:pt x="940" y="232"/>
                    </a:lnTo>
                    <a:lnTo>
                      <a:pt x="940" y="227"/>
                    </a:lnTo>
                    <a:lnTo>
                      <a:pt x="937" y="222"/>
                    </a:lnTo>
                    <a:lnTo>
                      <a:pt x="940" y="219"/>
                    </a:lnTo>
                    <a:lnTo>
                      <a:pt x="940" y="214"/>
                    </a:lnTo>
                    <a:lnTo>
                      <a:pt x="938" y="219"/>
                    </a:lnTo>
                    <a:lnTo>
                      <a:pt x="935" y="224"/>
                    </a:lnTo>
                    <a:lnTo>
                      <a:pt x="935" y="227"/>
                    </a:lnTo>
                    <a:lnTo>
                      <a:pt x="933" y="227"/>
                    </a:lnTo>
                    <a:lnTo>
                      <a:pt x="930" y="234"/>
                    </a:lnTo>
                    <a:lnTo>
                      <a:pt x="930" y="237"/>
                    </a:lnTo>
                    <a:lnTo>
                      <a:pt x="925" y="242"/>
                    </a:lnTo>
                    <a:lnTo>
                      <a:pt x="920" y="244"/>
                    </a:lnTo>
                    <a:lnTo>
                      <a:pt x="915" y="242"/>
                    </a:lnTo>
                    <a:lnTo>
                      <a:pt x="912" y="236"/>
                    </a:lnTo>
                    <a:lnTo>
                      <a:pt x="912" y="232"/>
                    </a:lnTo>
                    <a:lnTo>
                      <a:pt x="913" y="232"/>
                    </a:lnTo>
                    <a:lnTo>
                      <a:pt x="915" y="229"/>
                    </a:lnTo>
                    <a:lnTo>
                      <a:pt x="913" y="226"/>
                    </a:lnTo>
                    <a:lnTo>
                      <a:pt x="912" y="227"/>
                    </a:lnTo>
                    <a:lnTo>
                      <a:pt x="910" y="226"/>
                    </a:lnTo>
                    <a:lnTo>
                      <a:pt x="907" y="219"/>
                    </a:lnTo>
                    <a:lnTo>
                      <a:pt x="902" y="217"/>
                    </a:lnTo>
                    <a:lnTo>
                      <a:pt x="897" y="217"/>
                    </a:lnTo>
                    <a:lnTo>
                      <a:pt x="895" y="214"/>
                    </a:lnTo>
                    <a:lnTo>
                      <a:pt x="898" y="211"/>
                    </a:lnTo>
                    <a:lnTo>
                      <a:pt x="903" y="211"/>
                    </a:lnTo>
                    <a:lnTo>
                      <a:pt x="905" y="212"/>
                    </a:lnTo>
                    <a:lnTo>
                      <a:pt x="910" y="212"/>
                    </a:lnTo>
                    <a:lnTo>
                      <a:pt x="915" y="214"/>
                    </a:lnTo>
                    <a:lnTo>
                      <a:pt x="920" y="212"/>
                    </a:lnTo>
                    <a:lnTo>
                      <a:pt x="920" y="207"/>
                    </a:lnTo>
                    <a:lnTo>
                      <a:pt x="925" y="206"/>
                    </a:lnTo>
                    <a:lnTo>
                      <a:pt x="932" y="209"/>
                    </a:lnTo>
                    <a:lnTo>
                      <a:pt x="935" y="212"/>
                    </a:lnTo>
                    <a:lnTo>
                      <a:pt x="937" y="209"/>
                    </a:lnTo>
                    <a:lnTo>
                      <a:pt x="940" y="206"/>
                    </a:lnTo>
                    <a:lnTo>
                      <a:pt x="942" y="206"/>
                    </a:lnTo>
                    <a:lnTo>
                      <a:pt x="943" y="202"/>
                    </a:lnTo>
                    <a:lnTo>
                      <a:pt x="942" y="199"/>
                    </a:lnTo>
                    <a:lnTo>
                      <a:pt x="930" y="197"/>
                    </a:lnTo>
                    <a:lnTo>
                      <a:pt x="932" y="199"/>
                    </a:lnTo>
                    <a:lnTo>
                      <a:pt x="928" y="201"/>
                    </a:lnTo>
                    <a:lnTo>
                      <a:pt x="925" y="199"/>
                    </a:lnTo>
                    <a:lnTo>
                      <a:pt x="918" y="201"/>
                    </a:lnTo>
                    <a:lnTo>
                      <a:pt x="915" y="201"/>
                    </a:lnTo>
                    <a:lnTo>
                      <a:pt x="912" y="201"/>
                    </a:lnTo>
                    <a:lnTo>
                      <a:pt x="910" y="201"/>
                    </a:lnTo>
                    <a:lnTo>
                      <a:pt x="905" y="201"/>
                    </a:lnTo>
                    <a:lnTo>
                      <a:pt x="900" y="201"/>
                    </a:lnTo>
                    <a:lnTo>
                      <a:pt x="895" y="196"/>
                    </a:lnTo>
                    <a:lnTo>
                      <a:pt x="893" y="191"/>
                    </a:lnTo>
                    <a:lnTo>
                      <a:pt x="895" y="191"/>
                    </a:lnTo>
                    <a:lnTo>
                      <a:pt x="892" y="186"/>
                    </a:lnTo>
                    <a:lnTo>
                      <a:pt x="885" y="182"/>
                    </a:lnTo>
                    <a:lnTo>
                      <a:pt x="883" y="181"/>
                    </a:lnTo>
                    <a:lnTo>
                      <a:pt x="882" y="182"/>
                    </a:lnTo>
                    <a:lnTo>
                      <a:pt x="878" y="184"/>
                    </a:lnTo>
                    <a:lnTo>
                      <a:pt x="872" y="182"/>
                    </a:lnTo>
                    <a:lnTo>
                      <a:pt x="873" y="181"/>
                    </a:lnTo>
                    <a:lnTo>
                      <a:pt x="878" y="177"/>
                    </a:lnTo>
                    <a:lnTo>
                      <a:pt x="878" y="174"/>
                    </a:lnTo>
                    <a:lnTo>
                      <a:pt x="877" y="171"/>
                    </a:lnTo>
                    <a:lnTo>
                      <a:pt x="882" y="167"/>
                    </a:lnTo>
                    <a:lnTo>
                      <a:pt x="888" y="167"/>
                    </a:lnTo>
                    <a:lnTo>
                      <a:pt x="892" y="166"/>
                    </a:lnTo>
                    <a:lnTo>
                      <a:pt x="895" y="164"/>
                    </a:lnTo>
                    <a:lnTo>
                      <a:pt x="902" y="159"/>
                    </a:lnTo>
                    <a:lnTo>
                      <a:pt x="903" y="157"/>
                    </a:lnTo>
                    <a:lnTo>
                      <a:pt x="910" y="156"/>
                    </a:lnTo>
                    <a:lnTo>
                      <a:pt x="923" y="161"/>
                    </a:lnTo>
                    <a:lnTo>
                      <a:pt x="932" y="166"/>
                    </a:lnTo>
                    <a:lnTo>
                      <a:pt x="938" y="166"/>
                    </a:lnTo>
                    <a:lnTo>
                      <a:pt x="947" y="166"/>
                    </a:lnTo>
                    <a:lnTo>
                      <a:pt x="948" y="167"/>
                    </a:lnTo>
                    <a:lnTo>
                      <a:pt x="947" y="171"/>
                    </a:lnTo>
                    <a:lnTo>
                      <a:pt x="947" y="176"/>
                    </a:lnTo>
                    <a:lnTo>
                      <a:pt x="952" y="179"/>
                    </a:lnTo>
                    <a:lnTo>
                      <a:pt x="953" y="182"/>
                    </a:lnTo>
                    <a:lnTo>
                      <a:pt x="950" y="187"/>
                    </a:lnTo>
                    <a:lnTo>
                      <a:pt x="947" y="191"/>
                    </a:lnTo>
                    <a:lnTo>
                      <a:pt x="948" y="197"/>
                    </a:lnTo>
                    <a:lnTo>
                      <a:pt x="950" y="207"/>
                    </a:lnTo>
                    <a:lnTo>
                      <a:pt x="953" y="212"/>
                    </a:lnTo>
                    <a:lnTo>
                      <a:pt x="955" y="214"/>
                    </a:lnTo>
                    <a:lnTo>
                      <a:pt x="957" y="216"/>
                    </a:lnTo>
                    <a:lnTo>
                      <a:pt x="957" y="209"/>
                    </a:lnTo>
                    <a:lnTo>
                      <a:pt x="958" y="207"/>
                    </a:lnTo>
                    <a:lnTo>
                      <a:pt x="961" y="209"/>
                    </a:lnTo>
                    <a:lnTo>
                      <a:pt x="961" y="212"/>
                    </a:lnTo>
                    <a:lnTo>
                      <a:pt x="963" y="217"/>
                    </a:lnTo>
                    <a:lnTo>
                      <a:pt x="965" y="216"/>
                    </a:lnTo>
                    <a:lnTo>
                      <a:pt x="966" y="221"/>
                    </a:lnTo>
                    <a:lnTo>
                      <a:pt x="971" y="224"/>
                    </a:lnTo>
                    <a:lnTo>
                      <a:pt x="975" y="227"/>
                    </a:lnTo>
                    <a:lnTo>
                      <a:pt x="978" y="227"/>
                    </a:lnTo>
                    <a:lnTo>
                      <a:pt x="983" y="226"/>
                    </a:lnTo>
                    <a:lnTo>
                      <a:pt x="985" y="221"/>
                    </a:lnTo>
                    <a:lnTo>
                      <a:pt x="986" y="219"/>
                    </a:lnTo>
                    <a:lnTo>
                      <a:pt x="990" y="219"/>
                    </a:lnTo>
                    <a:lnTo>
                      <a:pt x="990" y="212"/>
                    </a:lnTo>
                    <a:lnTo>
                      <a:pt x="993" y="209"/>
                    </a:lnTo>
                    <a:lnTo>
                      <a:pt x="998" y="207"/>
                    </a:lnTo>
                    <a:lnTo>
                      <a:pt x="1003" y="206"/>
                    </a:lnTo>
                    <a:lnTo>
                      <a:pt x="1003" y="201"/>
                    </a:lnTo>
                    <a:lnTo>
                      <a:pt x="1005" y="199"/>
                    </a:lnTo>
                    <a:lnTo>
                      <a:pt x="1006" y="201"/>
                    </a:lnTo>
                    <a:lnTo>
                      <a:pt x="1010" y="201"/>
                    </a:lnTo>
                    <a:lnTo>
                      <a:pt x="1015" y="199"/>
                    </a:lnTo>
                    <a:lnTo>
                      <a:pt x="1021" y="197"/>
                    </a:lnTo>
                    <a:lnTo>
                      <a:pt x="1021" y="194"/>
                    </a:lnTo>
                    <a:lnTo>
                      <a:pt x="1020" y="191"/>
                    </a:lnTo>
                    <a:lnTo>
                      <a:pt x="1021" y="189"/>
                    </a:lnTo>
                    <a:lnTo>
                      <a:pt x="1033" y="182"/>
                    </a:lnTo>
                    <a:lnTo>
                      <a:pt x="1038" y="182"/>
                    </a:lnTo>
                    <a:lnTo>
                      <a:pt x="1043" y="186"/>
                    </a:lnTo>
                    <a:lnTo>
                      <a:pt x="1050" y="189"/>
                    </a:lnTo>
                    <a:lnTo>
                      <a:pt x="1058" y="191"/>
                    </a:lnTo>
                    <a:lnTo>
                      <a:pt x="1063" y="194"/>
                    </a:lnTo>
                    <a:lnTo>
                      <a:pt x="1068" y="194"/>
                    </a:lnTo>
                    <a:lnTo>
                      <a:pt x="1074" y="196"/>
                    </a:lnTo>
                    <a:lnTo>
                      <a:pt x="1088" y="202"/>
                    </a:lnTo>
                    <a:lnTo>
                      <a:pt x="1091" y="201"/>
                    </a:lnTo>
                    <a:lnTo>
                      <a:pt x="1094" y="202"/>
                    </a:lnTo>
                    <a:lnTo>
                      <a:pt x="1101" y="202"/>
                    </a:lnTo>
                    <a:lnTo>
                      <a:pt x="1106" y="202"/>
                    </a:lnTo>
                    <a:lnTo>
                      <a:pt x="1109" y="206"/>
                    </a:lnTo>
                    <a:lnTo>
                      <a:pt x="1108" y="207"/>
                    </a:lnTo>
                    <a:lnTo>
                      <a:pt x="1108" y="209"/>
                    </a:lnTo>
                    <a:lnTo>
                      <a:pt x="1111" y="211"/>
                    </a:lnTo>
                    <a:lnTo>
                      <a:pt x="1116" y="209"/>
                    </a:lnTo>
                    <a:lnTo>
                      <a:pt x="1116" y="209"/>
                    </a:lnTo>
                    <a:lnTo>
                      <a:pt x="1116" y="209"/>
                    </a:lnTo>
                    <a:close/>
                    <a:moveTo>
                      <a:pt x="827" y="149"/>
                    </a:moveTo>
                    <a:lnTo>
                      <a:pt x="837" y="153"/>
                    </a:lnTo>
                    <a:lnTo>
                      <a:pt x="837" y="154"/>
                    </a:lnTo>
                    <a:lnTo>
                      <a:pt x="830" y="151"/>
                    </a:lnTo>
                    <a:lnTo>
                      <a:pt x="827" y="149"/>
                    </a:lnTo>
                    <a:lnTo>
                      <a:pt x="827" y="149"/>
                    </a:lnTo>
                    <a:close/>
                    <a:moveTo>
                      <a:pt x="875" y="157"/>
                    </a:moveTo>
                    <a:lnTo>
                      <a:pt x="878" y="157"/>
                    </a:lnTo>
                    <a:lnTo>
                      <a:pt x="882" y="157"/>
                    </a:lnTo>
                    <a:lnTo>
                      <a:pt x="882" y="154"/>
                    </a:lnTo>
                    <a:lnTo>
                      <a:pt x="875" y="151"/>
                    </a:lnTo>
                    <a:lnTo>
                      <a:pt x="867" y="151"/>
                    </a:lnTo>
                    <a:lnTo>
                      <a:pt x="863" y="153"/>
                    </a:lnTo>
                    <a:lnTo>
                      <a:pt x="859" y="154"/>
                    </a:lnTo>
                    <a:lnTo>
                      <a:pt x="857" y="154"/>
                    </a:lnTo>
                    <a:lnTo>
                      <a:pt x="859" y="156"/>
                    </a:lnTo>
                    <a:lnTo>
                      <a:pt x="855" y="156"/>
                    </a:lnTo>
                    <a:lnTo>
                      <a:pt x="863" y="157"/>
                    </a:lnTo>
                    <a:lnTo>
                      <a:pt x="867" y="159"/>
                    </a:lnTo>
                    <a:lnTo>
                      <a:pt x="872" y="159"/>
                    </a:lnTo>
                    <a:lnTo>
                      <a:pt x="872" y="157"/>
                    </a:lnTo>
                    <a:lnTo>
                      <a:pt x="867" y="156"/>
                    </a:lnTo>
                    <a:lnTo>
                      <a:pt x="867" y="154"/>
                    </a:lnTo>
                    <a:lnTo>
                      <a:pt x="868" y="154"/>
                    </a:lnTo>
                    <a:lnTo>
                      <a:pt x="875" y="157"/>
                    </a:lnTo>
                    <a:lnTo>
                      <a:pt x="875" y="157"/>
                    </a:lnTo>
                    <a:close/>
                    <a:moveTo>
                      <a:pt x="867" y="171"/>
                    </a:moveTo>
                    <a:lnTo>
                      <a:pt x="862" y="169"/>
                    </a:lnTo>
                    <a:lnTo>
                      <a:pt x="859" y="169"/>
                    </a:lnTo>
                    <a:lnTo>
                      <a:pt x="862" y="171"/>
                    </a:lnTo>
                    <a:lnTo>
                      <a:pt x="867" y="171"/>
                    </a:lnTo>
                    <a:lnTo>
                      <a:pt x="867" y="171"/>
                    </a:lnTo>
                    <a:close/>
                    <a:moveTo>
                      <a:pt x="872" y="167"/>
                    </a:moveTo>
                    <a:lnTo>
                      <a:pt x="868" y="169"/>
                    </a:lnTo>
                    <a:lnTo>
                      <a:pt x="867" y="167"/>
                    </a:lnTo>
                    <a:lnTo>
                      <a:pt x="872" y="167"/>
                    </a:lnTo>
                    <a:lnTo>
                      <a:pt x="872" y="167"/>
                    </a:lnTo>
                    <a:close/>
                    <a:moveTo>
                      <a:pt x="870" y="171"/>
                    </a:moveTo>
                    <a:lnTo>
                      <a:pt x="865" y="174"/>
                    </a:lnTo>
                    <a:lnTo>
                      <a:pt x="865" y="179"/>
                    </a:lnTo>
                    <a:lnTo>
                      <a:pt x="870" y="181"/>
                    </a:lnTo>
                    <a:lnTo>
                      <a:pt x="873" y="179"/>
                    </a:lnTo>
                    <a:lnTo>
                      <a:pt x="873" y="172"/>
                    </a:lnTo>
                    <a:lnTo>
                      <a:pt x="870" y="171"/>
                    </a:lnTo>
                    <a:lnTo>
                      <a:pt x="870" y="171"/>
                    </a:lnTo>
                    <a:close/>
                    <a:moveTo>
                      <a:pt x="736" y="63"/>
                    </a:moveTo>
                    <a:lnTo>
                      <a:pt x="741" y="68"/>
                    </a:lnTo>
                    <a:lnTo>
                      <a:pt x="742" y="73"/>
                    </a:lnTo>
                    <a:lnTo>
                      <a:pt x="739" y="76"/>
                    </a:lnTo>
                    <a:lnTo>
                      <a:pt x="736" y="71"/>
                    </a:lnTo>
                    <a:lnTo>
                      <a:pt x="734" y="66"/>
                    </a:lnTo>
                    <a:lnTo>
                      <a:pt x="736" y="63"/>
                    </a:lnTo>
                    <a:lnTo>
                      <a:pt x="736" y="63"/>
                    </a:lnTo>
                    <a:close/>
                    <a:moveTo>
                      <a:pt x="764" y="48"/>
                    </a:moveTo>
                    <a:lnTo>
                      <a:pt x="767" y="53"/>
                    </a:lnTo>
                    <a:lnTo>
                      <a:pt x="767" y="58"/>
                    </a:lnTo>
                    <a:lnTo>
                      <a:pt x="769" y="56"/>
                    </a:lnTo>
                    <a:lnTo>
                      <a:pt x="770" y="53"/>
                    </a:lnTo>
                    <a:lnTo>
                      <a:pt x="770" y="48"/>
                    </a:lnTo>
                    <a:lnTo>
                      <a:pt x="767" y="46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64" y="58"/>
                    </a:moveTo>
                    <a:lnTo>
                      <a:pt x="767" y="59"/>
                    </a:lnTo>
                    <a:lnTo>
                      <a:pt x="769" y="63"/>
                    </a:lnTo>
                    <a:lnTo>
                      <a:pt x="767" y="63"/>
                    </a:lnTo>
                    <a:lnTo>
                      <a:pt x="767" y="63"/>
                    </a:lnTo>
                    <a:lnTo>
                      <a:pt x="764" y="58"/>
                    </a:lnTo>
                    <a:lnTo>
                      <a:pt x="764" y="58"/>
                    </a:lnTo>
                    <a:close/>
                    <a:moveTo>
                      <a:pt x="804" y="99"/>
                    </a:moveTo>
                    <a:lnTo>
                      <a:pt x="805" y="106"/>
                    </a:lnTo>
                    <a:lnTo>
                      <a:pt x="807" y="104"/>
                    </a:lnTo>
                    <a:lnTo>
                      <a:pt x="812" y="104"/>
                    </a:lnTo>
                    <a:lnTo>
                      <a:pt x="815" y="101"/>
                    </a:lnTo>
                    <a:lnTo>
                      <a:pt x="814" y="98"/>
                    </a:lnTo>
                    <a:lnTo>
                      <a:pt x="810" y="96"/>
                    </a:lnTo>
                    <a:lnTo>
                      <a:pt x="807" y="98"/>
                    </a:lnTo>
                    <a:lnTo>
                      <a:pt x="804" y="99"/>
                    </a:lnTo>
                    <a:lnTo>
                      <a:pt x="804" y="99"/>
                    </a:lnTo>
                    <a:close/>
                    <a:moveTo>
                      <a:pt x="799" y="157"/>
                    </a:moveTo>
                    <a:lnTo>
                      <a:pt x="800" y="164"/>
                    </a:lnTo>
                    <a:lnTo>
                      <a:pt x="807" y="169"/>
                    </a:lnTo>
                    <a:lnTo>
                      <a:pt x="809" y="171"/>
                    </a:lnTo>
                    <a:lnTo>
                      <a:pt x="807" y="171"/>
                    </a:lnTo>
                    <a:lnTo>
                      <a:pt x="807" y="174"/>
                    </a:lnTo>
                    <a:lnTo>
                      <a:pt x="805" y="171"/>
                    </a:lnTo>
                    <a:lnTo>
                      <a:pt x="800" y="169"/>
                    </a:lnTo>
                    <a:lnTo>
                      <a:pt x="797" y="162"/>
                    </a:lnTo>
                    <a:lnTo>
                      <a:pt x="792" y="159"/>
                    </a:lnTo>
                    <a:lnTo>
                      <a:pt x="789" y="154"/>
                    </a:lnTo>
                    <a:lnTo>
                      <a:pt x="790" y="149"/>
                    </a:lnTo>
                    <a:lnTo>
                      <a:pt x="790" y="148"/>
                    </a:lnTo>
                    <a:lnTo>
                      <a:pt x="790" y="144"/>
                    </a:lnTo>
                    <a:lnTo>
                      <a:pt x="785" y="141"/>
                    </a:lnTo>
                    <a:lnTo>
                      <a:pt x="787" y="136"/>
                    </a:lnTo>
                    <a:lnTo>
                      <a:pt x="789" y="134"/>
                    </a:lnTo>
                    <a:lnTo>
                      <a:pt x="785" y="129"/>
                    </a:lnTo>
                    <a:lnTo>
                      <a:pt x="784" y="126"/>
                    </a:lnTo>
                    <a:lnTo>
                      <a:pt x="785" y="121"/>
                    </a:lnTo>
                    <a:lnTo>
                      <a:pt x="789" y="119"/>
                    </a:lnTo>
                    <a:lnTo>
                      <a:pt x="787" y="113"/>
                    </a:lnTo>
                    <a:lnTo>
                      <a:pt x="789" y="108"/>
                    </a:lnTo>
                    <a:lnTo>
                      <a:pt x="797" y="101"/>
                    </a:lnTo>
                    <a:lnTo>
                      <a:pt x="799" y="99"/>
                    </a:lnTo>
                    <a:lnTo>
                      <a:pt x="799" y="103"/>
                    </a:lnTo>
                    <a:lnTo>
                      <a:pt x="795" y="108"/>
                    </a:lnTo>
                    <a:lnTo>
                      <a:pt x="795" y="109"/>
                    </a:lnTo>
                    <a:lnTo>
                      <a:pt x="800" y="111"/>
                    </a:lnTo>
                    <a:lnTo>
                      <a:pt x="800" y="118"/>
                    </a:lnTo>
                    <a:lnTo>
                      <a:pt x="799" y="123"/>
                    </a:lnTo>
                    <a:lnTo>
                      <a:pt x="794" y="123"/>
                    </a:lnTo>
                    <a:lnTo>
                      <a:pt x="790" y="126"/>
                    </a:lnTo>
                    <a:lnTo>
                      <a:pt x="792" y="131"/>
                    </a:lnTo>
                    <a:lnTo>
                      <a:pt x="795" y="129"/>
                    </a:lnTo>
                    <a:lnTo>
                      <a:pt x="797" y="126"/>
                    </a:lnTo>
                    <a:lnTo>
                      <a:pt x="802" y="124"/>
                    </a:lnTo>
                    <a:lnTo>
                      <a:pt x="804" y="123"/>
                    </a:lnTo>
                    <a:lnTo>
                      <a:pt x="800" y="123"/>
                    </a:lnTo>
                    <a:lnTo>
                      <a:pt x="802" y="119"/>
                    </a:lnTo>
                    <a:lnTo>
                      <a:pt x="809" y="116"/>
                    </a:lnTo>
                    <a:lnTo>
                      <a:pt x="817" y="113"/>
                    </a:lnTo>
                    <a:lnTo>
                      <a:pt x="819" y="116"/>
                    </a:lnTo>
                    <a:lnTo>
                      <a:pt x="820" y="119"/>
                    </a:lnTo>
                    <a:lnTo>
                      <a:pt x="815" y="128"/>
                    </a:lnTo>
                    <a:lnTo>
                      <a:pt x="807" y="129"/>
                    </a:lnTo>
                    <a:lnTo>
                      <a:pt x="804" y="133"/>
                    </a:lnTo>
                    <a:lnTo>
                      <a:pt x="805" y="136"/>
                    </a:lnTo>
                    <a:lnTo>
                      <a:pt x="809" y="136"/>
                    </a:lnTo>
                    <a:lnTo>
                      <a:pt x="815" y="141"/>
                    </a:lnTo>
                    <a:lnTo>
                      <a:pt x="815" y="143"/>
                    </a:lnTo>
                    <a:lnTo>
                      <a:pt x="819" y="144"/>
                    </a:lnTo>
                    <a:lnTo>
                      <a:pt x="814" y="146"/>
                    </a:lnTo>
                    <a:lnTo>
                      <a:pt x="810" y="143"/>
                    </a:lnTo>
                    <a:lnTo>
                      <a:pt x="804" y="143"/>
                    </a:lnTo>
                    <a:lnTo>
                      <a:pt x="799" y="141"/>
                    </a:lnTo>
                    <a:lnTo>
                      <a:pt x="795" y="143"/>
                    </a:lnTo>
                    <a:lnTo>
                      <a:pt x="795" y="151"/>
                    </a:lnTo>
                    <a:lnTo>
                      <a:pt x="799" y="157"/>
                    </a:lnTo>
                    <a:lnTo>
                      <a:pt x="799" y="157"/>
                    </a:lnTo>
                    <a:close/>
                    <a:moveTo>
                      <a:pt x="779" y="167"/>
                    </a:moveTo>
                    <a:lnTo>
                      <a:pt x="780" y="171"/>
                    </a:lnTo>
                    <a:lnTo>
                      <a:pt x="775" y="169"/>
                    </a:lnTo>
                    <a:lnTo>
                      <a:pt x="779" y="166"/>
                    </a:lnTo>
                    <a:lnTo>
                      <a:pt x="779" y="167"/>
                    </a:lnTo>
                    <a:lnTo>
                      <a:pt x="779" y="167"/>
                    </a:lnTo>
                    <a:close/>
                    <a:moveTo>
                      <a:pt x="779" y="159"/>
                    </a:moveTo>
                    <a:lnTo>
                      <a:pt x="777" y="159"/>
                    </a:lnTo>
                    <a:lnTo>
                      <a:pt x="775" y="162"/>
                    </a:lnTo>
                    <a:lnTo>
                      <a:pt x="779" y="164"/>
                    </a:lnTo>
                    <a:lnTo>
                      <a:pt x="779" y="161"/>
                    </a:lnTo>
                    <a:lnTo>
                      <a:pt x="779" y="159"/>
                    </a:lnTo>
                    <a:lnTo>
                      <a:pt x="779" y="159"/>
                    </a:lnTo>
                    <a:close/>
                    <a:moveTo>
                      <a:pt x="784" y="161"/>
                    </a:moveTo>
                    <a:lnTo>
                      <a:pt x="782" y="162"/>
                    </a:lnTo>
                    <a:lnTo>
                      <a:pt x="782" y="164"/>
                    </a:lnTo>
                    <a:lnTo>
                      <a:pt x="785" y="169"/>
                    </a:lnTo>
                    <a:lnTo>
                      <a:pt x="789" y="169"/>
                    </a:lnTo>
                    <a:lnTo>
                      <a:pt x="792" y="171"/>
                    </a:lnTo>
                    <a:lnTo>
                      <a:pt x="794" y="169"/>
                    </a:lnTo>
                    <a:lnTo>
                      <a:pt x="792" y="167"/>
                    </a:lnTo>
                    <a:lnTo>
                      <a:pt x="789" y="166"/>
                    </a:lnTo>
                    <a:lnTo>
                      <a:pt x="789" y="162"/>
                    </a:lnTo>
                    <a:lnTo>
                      <a:pt x="787" y="161"/>
                    </a:lnTo>
                    <a:lnTo>
                      <a:pt x="784" y="161"/>
                    </a:lnTo>
                    <a:lnTo>
                      <a:pt x="784" y="161"/>
                    </a:lnTo>
                    <a:close/>
                    <a:moveTo>
                      <a:pt x="782" y="186"/>
                    </a:moveTo>
                    <a:lnTo>
                      <a:pt x="789" y="182"/>
                    </a:lnTo>
                    <a:lnTo>
                      <a:pt x="795" y="182"/>
                    </a:lnTo>
                    <a:lnTo>
                      <a:pt x="800" y="187"/>
                    </a:lnTo>
                    <a:lnTo>
                      <a:pt x="800" y="191"/>
                    </a:lnTo>
                    <a:lnTo>
                      <a:pt x="797" y="191"/>
                    </a:lnTo>
                    <a:lnTo>
                      <a:pt x="792" y="191"/>
                    </a:lnTo>
                    <a:lnTo>
                      <a:pt x="789" y="191"/>
                    </a:lnTo>
                    <a:lnTo>
                      <a:pt x="785" y="189"/>
                    </a:lnTo>
                    <a:lnTo>
                      <a:pt x="782" y="186"/>
                    </a:lnTo>
                    <a:lnTo>
                      <a:pt x="782" y="186"/>
                    </a:lnTo>
                    <a:close/>
                    <a:moveTo>
                      <a:pt x="852" y="189"/>
                    </a:moveTo>
                    <a:lnTo>
                      <a:pt x="844" y="191"/>
                    </a:lnTo>
                    <a:lnTo>
                      <a:pt x="840" y="192"/>
                    </a:lnTo>
                    <a:lnTo>
                      <a:pt x="842" y="194"/>
                    </a:lnTo>
                    <a:lnTo>
                      <a:pt x="850" y="196"/>
                    </a:lnTo>
                    <a:lnTo>
                      <a:pt x="857" y="194"/>
                    </a:lnTo>
                    <a:lnTo>
                      <a:pt x="855" y="194"/>
                    </a:lnTo>
                    <a:lnTo>
                      <a:pt x="855" y="191"/>
                    </a:lnTo>
                    <a:lnTo>
                      <a:pt x="852" y="189"/>
                    </a:lnTo>
                    <a:lnTo>
                      <a:pt x="852" y="189"/>
                    </a:lnTo>
                    <a:close/>
                    <a:moveTo>
                      <a:pt x="810" y="231"/>
                    </a:moveTo>
                    <a:lnTo>
                      <a:pt x="814" y="231"/>
                    </a:lnTo>
                    <a:lnTo>
                      <a:pt x="814" y="232"/>
                    </a:lnTo>
                    <a:lnTo>
                      <a:pt x="812" y="232"/>
                    </a:lnTo>
                    <a:lnTo>
                      <a:pt x="810" y="231"/>
                    </a:lnTo>
                    <a:lnTo>
                      <a:pt x="810" y="231"/>
                    </a:lnTo>
                    <a:close/>
                    <a:moveTo>
                      <a:pt x="807" y="232"/>
                    </a:moveTo>
                    <a:lnTo>
                      <a:pt x="809" y="232"/>
                    </a:lnTo>
                    <a:lnTo>
                      <a:pt x="809" y="234"/>
                    </a:lnTo>
                    <a:lnTo>
                      <a:pt x="807" y="234"/>
                    </a:lnTo>
                    <a:lnTo>
                      <a:pt x="807" y="232"/>
                    </a:lnTo>
                    <a:lnTo>
                      <a:pt x="807" y="232"/>
                    </a:lnTo>
                    <a:close/>
                    <a:moveTo>
                      <a:pt x="794" y="234"/>
                    </a:moveTo>
                    <a:lnTo>
                      <a:pt x="799" y="232"/>
                    </a:lnTo>
                    <a:lnTo>
                      <a:pt x="802" y="231"/>
                    </a:lnTo>
                    <a:lnTo>
                      <a:pt x="804" y="232"/>
                    </a:lnTo>
                    <a:lnTo>
                      <a:pt x="802" y="236"/>
                    </a:lnTo>
                    <a:lnTo>
                      <a:pt x="800" y="234"/>
                    </a:lnTo>
                    <a:lnTo>
                      <a:pt x="797" y="236"/>
                    </a:lnTo>
                    <a:lnTo>
                      <a:pt x="794" y="234"/>
                    </a:lnTo>
                    <a:lnTo>
                      <a:pt x="794" y="234"/>
                    </a:lnTo>
                    <a:close/>
                    <a:moveTo>
                      <a:pt x="792" y="221"/>
                    </a:moveTo>
                    <a:lnTo>
                      <a:pt x="789" y="222"/>
                    </a:lnTo>
                    <a:lnTo>
                      <a:pt x="792" y="224"/>
                    </a:lnTo>
                    <a:lnTo>
                      <a:pt x="792" y="221"/>
                    </a:lnTo>
                    <a:lnTo>
                      <a:pt x="792" y="221"/>
                    </a:lnTo>
                    <a:close/>
                    <a:moveTo>
                      <a:pt x="797" y="216"/>
                    </a:moveTo>
                    <a:lnTo>
                      <a:pt x="794" y="216"/>
                    </a:lnTo>
                    <a:lnTo>
                      <a:pt x="794" y="217"/>
                    </a:lnTo>
                    <a:lnTo>
                      <a:pt x="797" y="217"/>
                    </a:lnTo>
                    <a:lnTo>
                      <a:pt x="797" y="216"/>
                    </a:lnTo>
                    <a:lnTo>
                      <a:pt x="797" y="216"/>
                    </a:lnTo>
                    <a:close/>
                    <a:moveTo>
                      <a:pt x="799" y="229"/>
                    </a:moveTo>
                    <a:lnTo>
                      <a:pt x="802" y="222"/>
                    </a:lnTo>
                    <a:lnTo>
                      <a:pt x="807" y="226"/>
                    </a:lnTo>
                    <a:lnTo>
                      <a:pt x="809" y="229"/>
                    </a:lnTo>
                    <a:lnTo>
                      <a:pt x="814" y="227"/>
                    </a:lnTo>
                    <a:lnTo>
                      <a:pt x="817" y="224"/>
                    </a:lnTo>
                    <a:lnTo>
                      <a:pt x="820" y="224"/>
                    </a:lnTo>
                    <a:lnTo>
                      <a:pt x="824" y="227"/>
                    </a:lnTo>
                    <a:lnTo>
                      <a:pt x="834" y="229"/>
                    </a:lnTo>
                    <a:lnTo>
                      <a:pt x="835" y="226"/>
                    </a:lnTo>
                    <a:lnTo>
                      <a:pt x="840" y="226"/>
                    </a:lnTo>
                    <a:lnTo>
                      <a:pt x="850" y="232"/>
                    </a:lnTo>
                    <a:lnTo>
                      <a:pt x="855" y="232"/>
                    </a:lnTo>
                    <a:lnTo>
                      <a:pt x="860" y="237"/>
                    </a:lnTo>
                    <a:lnTo>
                      <a:pt x="865" y="237"/>
                    </a:lnTo>
                    <a:lnTo>
                      <a:pt x="867" y="234"/>
                    </a:lnTo>
                    <a:lnTo>
                      <a:pt x="865" y="226"/>
                    </a:lnTo>
                    <a:lnTo>
                      <a:pt x="852" y="219"/>
                    </a:lnTo>
                    <a:lnTo>
                      <a:pt x="842" y="217"/>
                    </a:lnTo>
                    <a:lnTo>
                      <a:pt x="837" y="214"/>
                    </a:lnTo>
                    <a:lnTo>
                      <a:pt x="832" y="214"/>
                    </a:lnTo>
                    <a:lnTo>
                      <a:pt x="829" y="217"/>
                    </a:lnTo>
                    <a:lnTo>
                      <a:pt x="824" y="216"/>
                    </a:lnTo>
                    <a:lnTo>
                      <a:pt x="820" y="216"/>
                    </a:lnTo>
                    <a:lnTo>
                      <a:pt x="812" y="216"/>
                    </a:lnTo>
                    <a:lnTo>
                      <a:pt x="802" y="216"/>
                    </a:lnTo>
                    <a:lnTo>
                      <a:pt x="800" y="217"/>
                    </a:lnTo>
                    <a:lnTo>
                      <a:pt x="800" y="221"/>
                    </a:lnTo>
                    <a:lnTo>
                      <a:pt x="795" y="222"/>
                    </a:lnTo>
                    <a:lnTo>
                      <a:pt x="794" y="226"/>
                    </a:lnTo>
                    <a:lnTo>
                      <a:pt x="795" y="229"/>
                    </a:lnTo>
                    <a:lnTo>
                      <a:pt x="799" y="229"/>
                    </a:lnTo>
                    <a:lnTo>
                      <a:pt x="799" y="229"/>
                    </a:lnTo>
                    <a:close/>
                    <a:moveTo>
                      <a:pt x="751" y="221"/>
                    </a:moveTo>
                    <a:lnTo>
                      <a:pt x="756" y="222"/>
                    </a:lnTo>
                    <a:lnTo>
                      <a:pt x="759" y="221"/>
                    </a:lnTo>
                    <a:lnTo>
                      <a:pt x="769" y="221"/>
                    </a:lnTo>
                    <a:lnTo>
                      <a:pt x="775" y="222"/>
                    </a:lnTo>
                    <a:lnTo>
                      <a:pt x="775" y="226"/>
                    </a:lnTo>
                    <a:lnTo>
                      <a:pt x="779" y="231"/>
                    </a:lnTo>
                    <a:lnTo>
                      <a:pt x="779" y="234"/>
                    </a:lnTo>
                    <a:lnTo>
                      <a:pt x="775" y="234"/>
                    </a:lnTo>
                    <a:lnTo>
                      <a:pt x="770" y="237"/>
                    </a:lnTo>
                    <a:lnTo>
                      <a:pt x="765" y="237"/>
                    </a:lnTo>
                    <a:lnTo>
                      <a:pt x="759" y="237"/>
                    </a:lnTo>
                    <a:lnTo>
                      <a:pt x="757" y="236"/>
                    </a:lnTo>
                    <a:lnTo>
                      <a:pt x="751" y="234"/>
                    </a:lnTo>
                    <a:lnTo>
                      <a:pt x="746" y="229"/>
                    </a:lnTo>
                    <a:lnTo>
                      <a:pt x="747" y="224"/>
                    </a:lnTo>
                    <a:lnTo>
                      <a:pt x="751" y="221"/>
                    </a:lnTo>
                    <a:lnTo>
                      <a:pt x="751" y="221"/>
                    </a:lnTo>
                    <a:close/>
                    <a:moveTo>
                      <a:pt x="616" y="312"/>
                    </a:moveTo>
                    <a:lnTo>
                      <a:pt x="613" y="310"/>
                    </a:lnTo>
                    <a:lnTo>
                      <a:pt x="611" y="312"/>
                    </a:lnTo>
                    <a:lnTo>
                      <a:pt x="614" y="314"/>
                    </a:lnTo>
                    <a:lnTo>
                      <a:pt x="616" y="312"/>
                    </a:lnTo>
                    <a:lnTo>
                      <a:pt x="616" y="312"/>
                    </a:lnTo>
                    <a:close/>
                    <a:moveTo>
                      <a:pt x="611" y="280"/>
                    </a:moveTo>
                    <a:lnTo>
                      <a:pt x="616" y="289"/>
                    </a:lnTo>
                    <a:lnTo>
                      <a:pt x="614" y="292"/>
                    </a:lnTo>
                    <a:lnTo>
                      <a:pt x="611" y="295"/>
                    </a:lnTo>
                    <a:lnTo>
                      <a:pt x="611" y="292"/>
                    </a:lnTo>
                    <a:lnTo>
                      <a:pt x="609" y="290"/>
                    </a:lnTo>
                    <a:lnTo>
                      <a:pt x="611" y="287"/>
                    </a:lnTo>
                    <a:lnTo>
                      <a:pt x="611" y="284"/>
                    </a:lnTo>
                    <a:lnTo>
                      <a:pt x="611" y="280"/>
                    </a:lnTo>
                    <a:lnTo>
                      <a:pt x="611" y="280"/>
                    </a:lnTo>
                    <a:close/>
                    <a:moveTo>
                      <a:pt x="746" y="197"/>
                    </a:moveTo>
                    <a:lnTo>
                      <a:pt x="746" y="201"/>
                    </a:lnTo>
                    <a:lnTo>
                      <a:pt x="749" y="206"/>
                    </a:lnTo>
                    <a:lnTo>
                      <a:pt x="749" y="207"/>
                    </a:lnTo>
                    <a:lnTo>
                      <a:pt x="747" y="206"/>
                    </a:lnTo>
                    <a:lnTo>
                      <a:pt x="746" y="201"/>
                    </a:lnTo>
                    <a:lnTo>
                      <a:pt x="744" y="197"/>
                    </a:lnTo>
                    <a:lnTo>
                      <a:pt x="746" y="197"/>
                    </a:lnTo>
                    <a:lnTo>
                      <a:pt x="746" y="197"/>
                    </a:lnTo>
                    <a:close/>
                    <a:moveTo>
                      <a:pt x="732" y="191"/>
                    </a:moveTo>
                    <a:lnTo>
                      <a:pt x="736" y="191"/>
                    </a:lnTo>
                    <a:lnTo>
                      <a:pt x="739" y="191"/>
                    </a:lnTo>
                    <a:lnTo>
                      <a:pt x="742" y="191"/>
                    </a:lnTo>
                    <a:lnTo>
                      <a:pt x="752" y="191"/>
                    </a:lnTo>
                    <a:lnTo>
                      <a:pt x="757" y="192"/>
                    </a:lnTo>
                    <a:lnTo>
                      <a:pt x="751" y="194"/>
                    </a:lnTo>
                    <a:lnTo>
                      <a:pt x="741" y="196"/>
                    </a:lnTo>
                    <a:lnTo>
                      <a:pt x="736" y="194"/>
                    </a:lnTo>
                    <a:lnTo>
                      <a:pt x="734" y="192"/>
                    </a:lnTo>
                    <a:lnTo>
                      <a:pt x="732" y="191"/>
                    </a:lnTo>
                    <a:lnTo>
                      <a:pt x="732" y="191"/>
                    </a:lnTo>
                    <a:close/>
                    <a:moveTo>
                      <a:pt x="709" y="192"/>
                    </a:moveTo>
                    <a:lnTo>
                      <a:pt x="712" y="189"/>
                    </a:lnTo>
                    <a:lnTo>
                      <a:pt x="714" y="189"/>
                    </a:lnTo>
                    <a:lnTo>
                      <a:pt x="717" y="189"/>
                    </a:lnTo>
                    <a:lnTo>
                      <a:pt x="722" y="189"/>
                    </a:lnTo>
                    <a:lnTo>
                      <a:pt x="726" y="191"/>
                    </a:lnTo>
                    <a:lnTo>
                      <a:pt x="729" y="189"/>
                    </a:lnTo>
                    <a:lnTo>
                      <a:pt x="731" y="191"/>
                    </a:lnTo>
                    <a:lnTo>
                      <a:pt x="731" y="194"/>
                    </a:lnTo>
                    <a:lnTo>
                      <a:pt x="727" y="194"/>
                    </a:lnTo>
                    <a:lnTo>
                      <a:pt x="724" y="196"/>
                    </a:lnTo>
                    <a:lnTo>
                      <a:pt x="721" y="194"/>
                    </a:lnTo>
                    <a:lnTo>
                      <a:pt x="714" y="197"/>
                    </a:lnTo>
                    <a:lnTo>
                      <a:pt x="711" y="196"/>
                    </a:lnTo>
                    <a:lnTo>
                      <a:pt x="709" y="194"/>
                    </a:lnTo>
                    <a:lnTo>
                      <a:pt x="709" y="192"/>
                    </a:lnTo>
                    <a:lnTo>
                      <a:pt x="709" y="192"/>
                    </a:lnTo>
                    <a:close/>
                    <a:moveTo>
                      <a:pt x="666" y="272"/>
                    </a:moveTo>
                    <a:lnTo>
                      <a:pt x="671" y="265"/>
                    </a:lnTo>
                    <a:lnTo>
                      <a:pt x="672" y="259"/>
                    </a:lnTo>
                    <a:lnTo>
                      <a:pt x="672" y="252"/>
                    </a:lnTo>
                    <a:lnTo>
                      <a:pt x="674" y="251"/>
                    </a:lnTo>
                    <a:lnTo>
                      <a:pt x="677" y="252"/>
                    </a:lnTo>
                    <a:lnTo>
                      <a:pt x="679" y="254"/>
                    </a:lnTo>
                    <a:lnTo>
                      <a:pt x="679" y="257"/>
                    </a:lnTo>
                    <a:lnTo>
                      <a:pt x="679" y="259"/>
                    </a:lnTo>
                    <a:lnTo>
                      <a:pt x="679" y="257"/>
                    </a:lnTo>
                    <a:lnTo>
                      <a:pt x="677" y="259"/>
                    </a:lnTo>
                    <a:lnTo>
                      <a:pt x="674" y="262"/>
                    </a:lnTo>
                    <a:lnTo>
                      <a:pt x="674" y="264"/>
                    </a:lnTo>
                    <a:lnTo>
                      <a:pt x="674" y="267"/>
                    </a:lnTo>
                    <a:lnTo>
                      <a:pt x="677" y="267"/>
                    </a:lnTo>
                    <a:lnTo>
                      <a:pt x="679" y="269"/>
                    </a:lnTo>
                    <a:lnTo>
                      <a:pt x="677" y="270"/>
                    </a:lnTo>
                    <a:lnTo>
                      <a:pt x="674" y="272"/>
                    </a:lnTo>
                    <a:lnTo>
                      <a:pt x="672" y="275"/>
                    </a:lnTo>
                    <a:lnTo>
                      <a:pt x="669" y="277"/>
                    </a:lnTo>
                    <a:lnTo>
                      <a:pt x="666" y="275"/>
                    </a:lnTo>
                    <a:lnTo>
                      <a:pt x="666" y="272"/>
                    </a:lnTo>
                    <a:lnTo>
                      <a:pt x="666" y="272"/>
                    </a:lnTo>
                    <a:close/>
                    <a:moveTo>
                      <a:pt x="654" y="269"/>
                    </a:moveTo>
                    <a:lnTo>
                      <a:pt x="654" y="269"/>
                    </a:lnTo>
                    <a:lnTo>
                      <a:pt x="656" y="270"/>
                    </a:lnTo>
                    <a:lnTo>
                      <a:pt x="658" y="272"/>
                    </a:lnTo>
                    <a:lnTo>
                      <a:pt x="661" y="270"/>
                    </a:lnTo>
                    <a:lnTo>
                      <a:pt x="662" y="269"/>
                    </a:lnTo>
                    <a:lnTo>
                      <a:pt x="664" y="269"/>
                    </a:lnTo>
                    <a:lnTo>
                      <a:pt x="664" y="265"/>
                    </a:lnTo>
                    <a:lnTo>
                      <a:pt x="667" y="262"/>
                    </a:lnTo>
                    <a:lnTo>
                      <a:pt x="667" y="260"/>
                    </a:lnTo>
                    <a:lnTo>
                      <a:pt x="666" y="255"/>
                    </a:lnTo>
                    <a:lnTo>
                      <a:pt x="661" y="259"/>
                    </a:lnTo>
                    <a:lnTo>
                      <a:pt x="658" y="260"/>
                    </a:lnTo>
                    <a:lnTo>
                      <a:pt x="659" y="264"/>
                    </a:lnTo>
                    <a:lnTo>
                      <a:pt x="654" y="269"/>
                    </a:lnTo>
                    <a:lnTo>
                      <a:pt x="654" y="269"/>
                    </a:lnTo>
                    <a:close/>
                    <a:moveTo>
                      <a:pt x="644" y="265"/>
                    </a:moveTo>
                    <a:lnTo>
                      <a:pt x="644" y="267"/>
                    </a:lnTo>
                    <a:lnTo>
                      <a:pt x="643" y="269"/>
                    </a:lnTo>
                    <a:lnTo>
                      <a:pt x="644" y="274"/>
                    </a:lnTo>
                    <a:lnTo>
                      <a:pt x="646" y="275"/>
                    </a:lnTo>
                    <a:lnTo>
                      <a:pt x="651" y="272"/>
                    </a:lnTo>
                    <a:lnTo>
                      <a:pt x="649" y="269"/>
                    </a:lnTo>
                    <a:lnTo>
                      <a:pt x="646" y="264"/>
                    </a:lnTo>
                    <a:lnTo>
                      <a:pt x="646" y="264"/>
                    </a:lnTo>
                    <a:lnTo>
                      <a:pt x="644" y="265"/>
                    </a:lnTo>
                    <a:lnTo>
                      <a:pt x="644" y="265"/>
                    </a:lnTo>
                    <a:close/>
                    <a:moveTo>
                      <a:pt x="679" y="194"/>
                    </a:moveTo>
                    <a:lnTo>
                      <a:pt x="676" y="194"/>
                    </a:lnTo>
                    <a:lnTo>
                      <a:pt x="679" y="196"/>
                    </a:lnTo>
                    <a:lnTo>
                      <a:pt x="679" y="196"/>
                    </a:lnTo>
                    <a:lnTo>
                      <a:pt x="679" y="194"/>
                    </a:lnTo>
                    <a:lnTo>
                      <a:pt x="679" y="194"/>
                    </a:lnTo>
                    <a:close/>
                    <a:moveTo>
                      <a:pt x="684" y="191"/>
                    </a:moveTo>
                    <a:lnTo>
                      <a:pt x="682" y="192"/>
                    </a:lnTo>
                    <a:lnTo>
                      <a:pt x="686" y="192"/>
                    </a:lnTo>
                    <a:lnTo>
                      <a:pt x="684" y="191"/>
                    </a:lnTo>
                    <a:lnTo>
                      <a:pt x="684" y="191"/>
                    </a:lnTo>
                    <a:close/>
                    <a:moveTo>
                      <a:pt x="691" y="186"/>
                    </a:moveTo>
                    <a:lnTo>
                      <a:pt x="689" y="187"/>
                    </a:lnTo>
                    <a:lnTo>
                      <a:pt x="692" y="189"/>
                    </a:lnTo>
                    <a:lnTo>
                      <a:pt x="691" y="186"/>
                    </a:lnTo>
                    <a:lnTo>
                      <a:pt x="691" y="186"/>
                    </a:lnTo>
                    <a:close/>
                    <a:moveTo>
                      <a:pt x="671" y="181"/>
                    </a:moveTo>
                    <a:lnTo>
                      <a:pt x="676" y="177"/>
                    </a:lnTo>
                    <a:lnTo>
                      <a:pt x="682" y="179"/>
                    </a:lnTo>
                    <a:lnTo>
                      <a:pt x="684" y="181"/>
                    </a:lnTo>
                    <a:lnTo>
                      <a:pt x="682" y="182"/>
                    </a:lnTo>
                    <a:lnTo>
                      <a:pt x="686" y="182"/>
                    </a:lnTo>
                    <a:lnTo>
                      <a:pt x="687" y="179"/>
                    </a:lnTo>
                    <a:lnTo>
                      <a:pt x="691" y="182"/>
                    </a:lnTo>
                    <a:lnTo>
                      <a:pt x="689" y="186"/>
                    </a:lnTo>
                    <a:lnTo>
                      <a:pt x="686" y="186"/>
                    </a:lnTo>
                    <a:lnTo>
                      <a:pt x="684" y="184"/>
                    </a:lnTo>
                    <a:lnTo>
                      <a:pt x="682" y="187"/>
                    </a:lnTo>
                    <a:lnTo>
                      <a:pt x="677" y="184"/>
                    </a:lnTo>
                    <a:lnTo>
                      <a:pt x="674" y="187"/>
                    </a:lnTo>
                    <a:lnTo>
                      <a:pt x="671" y="186"/>
                    </a:lnTo>
                    <a:lnTo>
                      <a:pt x="671" y="181"/>
                    </a:lnTo>
                    <a:lnTo>
                      <a:pt x="671" y="181"/>
                    </a:lnTo>
                    <a:close/>
                    <a:moveTo>
                      <a:pt x="646" y="159"/>
                    </a:moveTo>
                    <a:lnTo>
                      <a:pt x="649" y="161"/>
                    </a:lnTo>
                    <a:lnTo>
                      <a:pt x="649" y="159"/>
                    </a:lnTo>
                    <a:lnTo>
                      <a:pt x="649" y="159"/>
                    </a:lnTo>
                    <a:lnTo>
                      <a:pt x="646" y="159"/>
                    </a:lnTo>
                    <a:lnTo>
                      <a:pt x="646" y="159"/>
                    </a:lnTo>
                    <a:close/>
                    <a:moveTo>
                      <a:pt x="643" y="161"/>
                    </a:moveTo>
                    <a:lnTo>
                      <a:pt x="644" y="161"/>
                    </a:lnTo>
                    <a:lnTo>
                      <a:pt x="648" y="162"/>
                    </a:lnTo>
                    <a:lnTo>
                      <a:pt x="644" y="162"/>
                    </a:lnTo>
                    <a:lnTo>
                      <a:pt x="643" y="161"/>
                    </a:lnTo>
                    <a:lnTo>
                      <a:pt x="643" y="161"/>
                    </a:lnTo>
                    <a:close/>
                    <a:moveTo>
                      <a:pt x="611" y="141"/>
                    </a:moveTo>
                    <a:lnTo>
                      <a:pt x="618" y="139"/>
                    </a:lnTo>
                    <a:lnTo>
                      <a:pt x="624" y="143"/>
                    </a:lnTo>
                    <a:lnTo>
                      <a:pt x="631" y="143"/>
                    </a:lnTo>
                    <a:lnTo>
                      <a:pt x="641" y="139"/>
                    </a:lnTo>
                    <a:lnTo>
                      <a:pt x="646" y="139"/>
                    </a:lnTo>
                    <a:lnTo>
                      <a:pt x="648" y="143"/>
                    </a:lnTo>
                    <a:lnTo>
                      <a:pt x="653" y="143"/>
                    </a:lnTo>
                    <a:lnTo>
                      <a:pt x="656" y="141"/>
                    </a:lnTo>
                    <a:lnTo>
                      <a:pt x="666" y="141"/>
                    </a:lnTo>
                    <a:lnTo>
                      <a:pt x="672" y="141"/>
                    </a:lnTo>
                    <a:lnTo>
                      <a:pt x="672" y="139"/>
                    </a:lnTo>
                    <a:lnTo>
                      <a:pt x="679" y="141"/>
                    </a:lnTo>
                    <a:lnTo>
                      <a:pt x="682" y="143"/>
                    </a:lnTo>
                    <a:lnTo>
                      <a:pt x="684" y="144"/>
                    </a:lnTo>
                    <a:lnTo>
                      <a:pt x="689" y="146"/>
                    </a:lnTo>
                    <a:lnTo>
                      <a:pt x="707" y="143"/>
                    </a:lnTo>
                    <a:lnTo>
                      <a:pt x="714" y="138"/>
                    </a:lnTo>
                    <a:lnTo>
                      <a:pt x="717" y="134"/>
                    </a:lnTo>
                    <a:lnTo>
                      <a:pt x="721" y="133"/>
                    </a:lnTo>
                    <a:lnTo>
                      <a:pt x="722" y="131"/>
                    </a:lnTo>
                    <a:lnTo>
                      <a:pt x="726" y="128"/>
                    </a:lnTo>
                    <a:lnTo>
                      <a:pt x="727" y="124"/>
                    </a:lnTo>
                    <a:lnTo>
                      <a:pt x="729" y="121"/>
                    </a:lnTo>
                    <a:lnTo>
                      <a:pt x="732" y="119"/>
                    </a:lnTo>
                    <a:lnTo>
                      <a:pt x="729" y="118"/>
                    </a:lnTo>
                    <a:lnTo>
                      <a:pt x="729" y="114"/>
                    </a:lnTo>
                    <a:lnTo>
                      <a:pt x="722" y="114"/>
                    </a:lnTo>
                    <a:lnTo>
                      <a:pt x="717" y="114"/>
                    </a:lnTo>
                    <a:lnTo>
                      <a:pt x="717" y="119"/>
                    </a:lnTo>
                    <a:lnTo>
                      <a:pt x="712" y="121"/>
                    </a:lnTo>
                    <a:lnTo>
                      <a:pt x="712" y="124"/>
                    </a:lnTo>
                    <a:lnTo>
                      <a:pt x="707" y="128"/>
                    </a:lnTo>
                    <a:lnTo>
                      <a:pt x="704" y="128"/>
                    </a:lnTo>
                    <a:lnTo>
                      <a:pt x="701" y="131"/>
                    </a:lnTo>
                    <a:lnTo>
                      <a:pt x="696" y="133"/>
                    </a:lnTo>
                    <a:lnTo>
                      <a:pt x="684" y="131"/>
                    </a:lnTo>
                    <a:lnTo>
                      <a:pt x="674" y="129"/>
                    </a:lnTo>
                    <a:lnTo>
                      <a:pt x="672" y="133"/>
                    </a:lnTo>
                    <a:lnTo>
                      <a:pt x="671" y="133"/>
                    </a:lnTo>
                    <a:lnTo>
                      <a:pt x="666" y="128"/>
                    </a:lnTo>
                    <a:lnTo>
                      <a:pt x="662" y="128"/>
                    </a:lnTo>
                    <a:lnTo>
                      <a:pt x="658" y="128"/>
                    </a:lnTo>
                    <a:lnTo>
                      <a:pt x="653" y="128"/>
                    </a:lnTo>
                    <a:lnTo>
                      <a:pt x="648" y="126"/>
                    </a:lnTo>
                    <a:lnTo>
                      <a:pt x="644" y="128"/>
                    </a:lnTo>
                    <a:lnTo>
                      <a:pt x="639" y="126"/>
                    </a:lnTo>
                    <a:lnTo>
                      <a:pt x="634" y="123"/>
                    </a:lnTo>
                    <a:lnTo>
                      <a:pt x="628" y="121"/>
                    </a:lnTo>
                    <a:lnTo>
                      <a:pt x="624" y="121"/>
                    </a:lnTo>
                    <a:lnTo>
                      <a:pt x="624" y="126"/>
                    </a:lnTo>
                    <a:lnTo>
                      <a:pt x="619" y="128"/>
                    </a:lnTo>
                    <a:lnTo>
                      <a:pt x="618" y="133"/>
                    </a:lnTo>
                    <a:lnTo>
                      <a:pt x="614" y="134"/>
                    </a:lnTo>
                    <a:lnTo>
                      <a:pt x="608" y="133"/>
                    </a:lnTo>
                    <a:lnTo>
                      <a:pt x="603" y="134"/>
                    </a:lnTo>
                    <a:lnTo>
                      <a:pt x="601" y="136"/>
                    </a:lnTo>
                    <a:lnTo>
                      <a:pt x="601" y="138"/>
                    </a:lnTo>
                    <a:lnTo>
                      <a:pt x="594" y="143"/>
                    </a:lnTo>
                    <a:lnTo>
                      <a:pt x="594" y="149"/>
                    </a:lnTo>
                    <a:lnTo>
                      <a:pt x="596" y="153"/>
                    </a:lnTo>
                    <a:lnTo>
                      <a:pt x="596" y="161"/>
                    </a:lnTo>
                    <a:lnTo>
                      <a:pt x="594" y="162"/>
                    </a:lnTo>
                    <a:lnTo>
                      <a:pt x="596" y="167"/>
                    </a:lnTo>
                    <a:lnTo>
                      <a:pt x="598" y="172"/>
                    </a:lnTo>
                    <a:lnTo>
                      <a:pt x="596" y="171"/>
                    </a:lnTo>
                    <a:lnTo>
                      <a:pt x="594" y="167"/>
                    </a:lnTo>
                    <a:lnTo>
                      <a:pt x="591" y="167"/>
                    </a:lnTo>
                    <a:lnTo>
                      <a:pt x="588" y="171"/>
                    </a:lnTo>
                    <a:lnTo>
                      <a:pt x="584" y="172"/>
                    </a:lnTo>
                    <a:lnTo>
                      <a:pt x="583" y="177"/>
                    </a:lnTo>
                    <a:lnTo>
                      <a:pt x="584" y="182"/>
                    </a:lnTo>
                    <a:lnTo>
                      <a:pt x="583" y="186"/>
                    </a:lnTo>
                    <a:lnTo>
                      <a:pt x="583" y="194"/>
                    </a:lnTo>
                    <a:lnTo>
                      <a:pt x="583" y="197"/>
                    </a:lnTo>
                    <a:lnTo>
                      <a:pt x="581" y="201"/>
                    </a:lnTo>
                    <a:lnTo>
                      <a:pt x="578" y="202"/>
                    </a:lnTo>
                    <a:lnTo>
                      <a:pt x="578" y="207"/>
                    </a:lnTo>
                    <a:lnTo>
                      <a:pt x="573" y="211"/>
                    </a:lnTo>
                    <a:lnTo>
                      <a:pt x="571" y="217"/>
                    </a:lnTo>
                    <a:lnTo>
                      <a:pt x="573" y="219"/>
                    </a:lnTo>
                    <a:lnTo>
                      <a:pt x="569" y="221"/>
                    </a:lnTo>
                    <a:lnTo>
                      <a:pt x="573" y="229"/>
                    </a:lnTo>
                    <a:lnTo>
                      <a:pt x="576" y="232"/>
                    </a:lnTo>
                    <a:lnTo>
                      <a:pt x="578" y="231"/>
                    </a:lnTo>
                    <a:lnTo>
                      <a:pt x="581" y="231"/>
                    </a:lnTo>
                    <a:lnTo>
                      <a:pt x="583" y="229"/>
                    </a:lnTo>
                    <a:lnTo>
                      <a:pt x="586" y="231"/>
                    </a:lnTo>
                    <a:lnTo>
                      <a:pt x="588" y="236"/>
                    </a:lnTo>
                    <a:lnTo>
                      <a:pt x="591" y="246"/>
                    </a:lnTo>
                    <a:lnTo>
                      <a:pt x="589" y="249"/>
                    </a:lnTo>
                    <a:lnTo>
                      <a:pt x="588" y="254"/>
                    </a:lnTo>
                    <a:lnTo>
                      <a:pt x="584" y="259"/>
                    </a:lnTo>
                    <a:lnTo>
                      <a:pt x="584" y="269"/>
                    </a:lnTo>
                    <a:lnTo>
                      <a:pt x="584" y="275"/>
                    </a:lnTo>
                    <a:lnTo>
                      <a:pt x="588" y="275"/>
                    </a:lnTo>
                    <a:lnTo>
                      <a:pt x="591" y="277"/>
                    </a:lnTo>
                    <a:lnTo>
                      <a:pt x="596" y="277"/>
                    </a:lnTo>
                    <a:lnTo>
                      <a:pt x="598" y="275"/>
                    </a:lnTo>
                    <a:lnTo>
                      <a:pt x="603" y="275"/>
                    </a:lnTo>
                    <a:lnTo>
                      <a:pt x="608" y="275"/>
                    </a:lnTo>
                    <a:lnTo>
                      <a:pt x="609" y="277"/>
                    </a:lnTo>
                    <a:lnTo>
                      <a:pt x="611" y="274"/>
                    </a:lnTo>
                    <a:lnTo>
                      <a:pt x="611" y="269"/>
                    </a:lnTo>
                    <a:lnTo>
                      <a:pt x="608" y="267"/>
                    </a:lnTo>
                    <a:lnTo>
                      <a:pt x="606" y="262"/>
                    </a:lnTo>
                    <a:lnTo>
                      <a:pt x="609" y="257"/>
                    </a:lnTo>
                    <a:lnTo>
                      <a:pt x="609" y="251"/>
                    </a:lnTo>
                    <a:lnTo>
                      <a:pt x="609" y="244"/>
                    </a:lnTo>
                    <a:lnTo>
                      <a:pt x="608" y="242"/>
                    </a:lnTo>
                    <a:lnTo>
                      <a:pt x="613" y="236"/>
                    </a:lnTo>
                    <a:lnTo>
                      <a:pt x="613" y="231"/>
                    </a:lnTo>
                    <a:lnTo>
                      <a:pt x="613" y="224"/>
                    </a:lnTo>
                    <a:lnTo>
                      <a:pt x="609" y="221"/>
                    </a:lnTo>
                    <a:lnTo>
                      <a:pt x="609" y="219"/>
                    </a:lnTo>
                    <a:lnTo>
                      <a:pt x="614" y="216"/>
                    </a:lnTo>
                    <a:lnTo>
                      <a:pt x="616" y="212"/>
                    </a:lnTo>
                    <a:lnTo>
                      <a:pt x="621" y="212"/>
                    </a:lnTo>
                    <a:lnTo>
                      <a:pt x="626" y="214"/>
                    </a:lnTo>
                    <a:lnTo>
                      <a:pt x="626" y="216"/>
                    </a:lnTo>
                    <a:lnTo>
                      <a:pt x="628" y="219"/>
                    </a:lnTo>
                    <a:lnTo>
                      <a:pt x="628" y="224"/>
                    </a:lnTo>
                    <a:lnTo>
                      <a:pt x="624" y="227"/>
                    </a:lnTo>
                    <a:lnTo>
                      <a:pt x="623" y="232"/>
                    </a:lnTo>
                    <a:lnTo>
                      <a:pt x="626" y="236"/>
                    </a:lnTo>
                    <a:lnTo>
                      <a:pt x="629" y="236"/>
                    </a:lnTo>
                    <a:lnTo>
                      <a:pt x="633" y="239"/>
                    </a:lnTo>
                    <a:lnTo>
                      <a:pt x="638" y="242"/>
                    </a:lnTo>
                    <a:lnTo>
                      <a:pt x="638" y="247"/>
                    </a:lnTo>
                    <a:lnTo>
                      <a:pt x="636" y="247"/>
                    </a:lnTo>
                    <a:lnTo>
                      <a:pt x="634" y="254"/>
                    </a:lnTo>
                    <a:lnTo>
                      <a:pt x="638" y="259"/>
                    </a:lnTo>
                    <a:lnTo>
                      <a:pt x="641" y="260"/>
                    </a:lnTo>
                    <a:lnTo>
                      <a:pt x="643" y="259"/>
                    </a:lnTo>
                    <a:lnTo>
                      <a:pt x="648" y="260"/>
                    </a:lnTo>
                    <a:lnTo>
                      <a:pt x="653" y="260"/>
                    </a:lnTo>
                    <a:lnTo>
                      <a:pt x="653" y="259"/>
                    </a:lnTo>
                    <a:lnTo>
                      <a:pt x="651" y="255"/>
                    </a:lnTo>
                    <a:lnTo>
                      <a:pt x="654" y="252"/>
                    </a:lnTo>
                    <a:lnTo>
                      <a:pt x="659" y="252"/>
                    </a:lnTo>
                    <a:lnTo>
                      <a:pt x="664" y="249"/>
                    </a:lnTo>
                    <a:lnTo>
                      <a:pt x="672" y="249"/>
                    </a:lnTo>
                    <a:lnTo>
                      <a:pt x="674" y="247"/>
                    </a:lnTo>
                    <a:lnTo>
                      <a:pt x="676" y="247"/>
                    </a:lnTo>
                    <a:lnTo>
                      <a:pt x="681" y="247"/>
                    </a:lnTo>
                    <a:lnTo>
                      <a:pt x="682" y="244"/>
                    </a:lnTo>
                    <a:lnTo>
                      <a:pt x="681" y="242"/>
                    </a:lnTo>
                    <a:lnTo>
                      <a:pt x="676" y="242"/>
                    </a:lnTo>
                    <a:lnTo>
                      <a:pt x="672" y="242"/>
                    </a:lnTo>
                    <a:lnTo>
                      <a:pt x="671" y="242"/>
                    </a:lnTo>
                    <a:lnTo>
                      <a:pt x="666" y="242"/>
                    </a:lnTo>
                    <a:lnTo>
                      <a:pt x="666" y="239"/>
                    </a:lnTo>
                    <a:lnTo>
                      <a:pt x="664" y="239"/>
                    </a:lnTo>
                    <a:lnTo>
                      <a:pt x="664" y="237"/>
                    </a:lnTo>
                    <a:lnTo>
                      <a:pt x="662" y="237"/>
                    </a:lnTo>
                    <a:lnTo>
                      <a:pt x="659" y="237"/>
                    </a:lnTo>
                    <a:lnTo>
                      <a:pt x="659" y="236"/>
                    </a:lnTo>
                    <a:lnTo>
                      <a:pt x="656" y="234"/>
                    </a:lnTo>
                    <a:lnTo>
                      <a:pt x="654" y="232"/>
                    </a:lnTo>
                    <a:lnTo>
                      <a:pt x="658" y="229"/>
                    </a:lnTo>
                    <a:lnTo>
                      <a:pt x="658" y="227"/>
                    </a:lnTo>
                    <a:lnTo>
                      <a:pt x="659" y="227"/>
                    </a:lnTo>
                    <a:lnTo>
                      <a:pt x="658" y="226"/>
                    </a:lnTo>
                    <a:lnTo>
                      <a:pt x="661" y="224"/>
                    </a:lnTo>
                    <a:lnTo>
                      <a:pt x="661" y="222"/>
                    </a:lnTo>
                    <a:lnTo>
                      <a:pt x="659" y="221"/>
                    </a:lnTo>
                    <a:lnTo>
                      <a:pt x="656" y="219"/>
                    </a:lnTo>
                    <a:lnTo>
                      <a:pt x="658" y="217"/>
                    </a:lnTo>
                    <a:lnTo>
                      <a:pt x="658" y="216"/>
                    </a:lnTo>
                    <a:lnTo>
                      <a:pt x="653" y="212"/>
                    </a:lnTo>
                    <a:lnTo>
                      <a:pt x="649" y="212"/>
                    </a:lnTo>
                    <a:lnTo>
                      <a:pt x="649" y="207"/>
                    </a:lnTo>
                    <a:lnTo>
                      <a:pt x="643" y="201"/>
                    </a:lnTo>
                    <a:lnTo>
                      <a:pt x="638" y="199"/>
                    </a:lnTo>
                    <a:lnTo>
                      <a:pt x="636" y="194"/>
                    </a:lnTo>
                    <a:lnTo>
                      <a:pt x="636" y="192"/>
                    </a:lnTo>
                    <a:lnTo>
                      <a:pt x="638" y="194"/>
                    </a:lnTo>
                    <a:lnTo>
                      <a:pt x="639" y="196"/>
                    </a:lnTo>
                    <a:lnTo>
                      <a:pt x="643" y="196"/>
                    </a:lnTo>
                    <a:lnTo>
                      <a:pt x="648" y="192"/>
                    </a:lnTo>
                    <a:lnTo>
                      <a:pt x="648" y="191"/>
                    </a:lnTo>
                    <a:lnTo>
                      <a:pt x="658" y="187"/>
                    </a:lnTo>
                    <a:lnTo>
                      <a:pt x="664" y="182"/>
                    </a:lnTo>
                    <a:lnTo>
                      <a:pt x="667" y="177"/>
                    </a:lnTo>
                    <a:lnTo>
                      <a:pt x="672" y="176"/>
                    </a:lnTo>
                    <a:lnTo>
                      <a:pt x="672" y="172"/>
                    </a:lnTo>
                    <a:lnTo>
                      <a:pt x="677" y="171"/>
                    </a:lnTo>
                    <a:lnTo>
                      <a:pt x="682" y="172"/>
                    </a:lnTo>
                    <a:lnTo>
                      <a:pt x="686" y="174"/>
                    </a:lnTo>
                    <a:lnTo>
                      <a:pt x="689" y="167"/>
                    </a:lnTo>
                    <a:lnTo>
                      <a:pt x="689" y="164"/>
                    </a:lnTo>
                    <a:lnTo>
                      <a:pt x="684" y="162"/>
                    </a:lnTo>
                    <a:lnTo>
                      <a:pt x="674" y="164"/>
                    </a:lnTo>
                    <a:lnTo>
                      <a:pt x="669" y="167"/>
                    </a:lnTo>
                    <a:lnTo>
                      <a:pt x="662" y="167"/>
                    </a:lnTo>
                    <a:lnTo>
                      <a:pt x="659" y="167"/>
                    </a:lnTo>
                    <a:lnTo>
                      <a:pt x="654" y="172"/>
                    </a:lnTo>
                    <a:lnTo>
                      <a:pt x="649" y="171"/>
                    </a:lnTo>
                    <a:lnTo>
                      <a:pt x="646" y="172"/>
                    </a:lnTo>
                    <a:lnTo>
                      <a:pt x="643" y="169"/>
                    </a:lnTo>
                    <a:lnTo>
                      <a:pt x="638" y="169"/>
                    </a:lnTo>
                    <a:lnTo>
                      <a:pt x="633" y="174"/>
                    </a:lnTo>
                    <a:lnTo>
                      <a:pt x="629" y="181"/>
                    </a:lnTo>
                    <a:lnTo>
                      <a:pt x="624" y="184"/>
                    </a:lnTo>
                    <a:lnTo>
                      <a:pt x="619" y="182"/>
                    </a:lnTo>
                    <a:lnTo>
                      <a:pt x="619" y="181"/>
                    </a:lnTo>
                    <a:lnTo>
                      <a:pt x="613" y="174"/>
                    </a:lnTo>
                    <a:lnTo>
                      <a:pt x="606" y="169"/>
                    </a:lnTo>
                    <a:lnTo>
                      <a:pt x="603" y="162"/>
                    </a:lnTo>
                    <a:lnTo>
                      <a:pt x="603" y="154"/>
                    </a:lnTo>
                    <a:lnTo>
                      <a:pt x="608" y="146"/>
                    </a:lnTo>
                    <a:lnTo>
                      <a:pt x="611" y="141"/>
                    </a:lnTo>
                    <a:lnTo>
                      <a:pt x="611" y="141"/>
                    </a:lnTo>
                    <a:close/>
                    <a:moveTo>
                      <a:pt x="616" y="0"/>
                    </a:moveTo>
                    <a:lnTo>
                      <a:pt x="613" y="3"/>
                    </a:lnTo>
                    <a:lnTo>
                      <a:pt x="616" y="5"/>
                    </a:lnTo>
                    <a:lnTo>
                      <a:pt x="618" y="1"/>
                    </a:lnTo>
                    <a:lnTo>
                      <a:pt x="616" y="0"/>
                    </a:lnTo>
                    <a:lnTo>
                      <a:pt x="616" y="0"/>
                    </a:lnTo>
                    <a:close/>
                    <a:moveTo>
                      <a:pt x="623" y="15"/>
                    </a:moveTo>
                    <a:lnTo>
                      <a:pt x="626" y="15"/>
                    </a:lnTo>
                    <a:lnTo>
                      <a:pt x="629" y="13"/>
                    </a:lnTo>
                    <a:lnTo>
                      <a:pt x="631" y="15"/>
                    </a:lnTo>
                    <a:lnTo>
                      <a:pt x="634" y="13"/>
                    </a:lnTo>
                    <a:lnTo>
                      <a:pt x="634" y="11"/>
                    </a:lnTo>
                    <a:lnTo>
                      <a:pt x="629" y="10"/>
                    </a:lnTo>
                    <a:lnTo>
                      <a:pt x="623" y="11"/>
                    </a:lnTo>
                    <a:lnTo>
                      <a:pt x="621" y="13"/>
                    </a:lnTo>
                    <a:lnTo>
                      <a:pt x="623" y="15"/>
                    </a:lnTo>
                    <a:lnTo>
                      <a:pt x="623" y="15"/>
                    </a:lnTo>
                    <a:close/>
                    <a:moveTo>
                      <a:pt x="586" y="36"/>
                    </a:moveTo>
                    <a:lnTo>
                      <a:pt x="584" y="40"/>
                    </a:lnTo>
                    <a:lnTo>
                      <a:pt x="586" y="43"/>
                    </a:lnTo>
                    <a:lnTo>
                      <a:pt x="586" y="40"/>
                    </a:lnTo>
                    <a:lnTo>
                      <a:pt x="586" y="36"/>
                    </a:lnTo>
                    <a:lnTo>
                      <a:pt x="586" y="36"/>
                    </a:lnTo>
                    <a:close/>
                    <a:moveTo>
                      <a:pt x="594" y="33"/>
                    </a:moveTo>
                    <a:lnTo>
                      <a:pt x="603" y="26"/>
                    </a:lnTo>
                    <a:lnTo>
                      <a:pt x="606" y="26"/>
                    </a:lnTo>
                    <a:lnTo>
                      <a:pt x="606" y="30"/>
                    </a:lnTo>
                    <a:lnTo>
                      <a:pt x="601" y="33"/>
                    </a:lnTo>
                    <a:lnTo>
                      <a:pt x="596" y="33"/>
                    </a:lnTo>
                    <a:lnTo>
                      <a:pt x="594" y="33"/>
                    </a:lnTo>
                    <a:lnTo>
                      <a:pt x="594" y="33"/>
                    </a:lnTo>
                    <a:close/>
                    <a:moveTo>
                      <a:pt x="545" y="56"/>
                    </a:moveTo>
                    <a:lnTo>
                      <a:pt x="546" y="58"/>
                    </a:lnTo>
                    <a:lnTo>
                      <a:pt x="543" y="58"/>
                    </a:lnTo>
                    <a:lnTo>
                      <a:pt x="545" y="56"/>
                    </a:lnTo>
                    <a:lnTo>
                      <a:pt x="545" y="56"/>
                    </a:lnTo>
                    <a:close/>
                    <a:moveTo>
                      <a:pt x="545" y="55"/>
                    </a:moveTo>
                    <a:lnTo>
                      <a:pt x="545" y="55"/>
                    </a:lnTo>
                    <a:lnTo>
                      <a:pt x="546" y="56"/>
                    </a:lnTo>
                    <a:lnTo>
                      <a:pt x="550" y="56"/>
                    </a:lnTo>
                    <a:lnTo>
                      <a:pt x="550" y="56"/>
                    </a:lnTo>
                    <a:lnTo>
                      <a:pt x="545" y="55"/>
                    </a:lnTo>
                    <a:lnTo>
                      <a:pt x="545" y="55"/>
                    </a:lnTo>
                    <a:close/>
                    <a:moveTo>
                      <a:pt x="548" y="66"/>
                    </a:moveTo>
                    <a:lnTo>
                      <a:pt x="543" y="68"/>
                    </a:lnTo>
                    <a:lnTo>
                      <a:pt x="546" y="68"/>
                    </a:lnTo>
                    <a:lnTo>
                      <a:pt x="548" y="66"/>
                    </a:lnTo>
                    <a:lnTo>
                      <a:pt x="548" y="66"/>
                    </a:lnTo>
                    <a:close/>
                    <a:moveTo>
                      <a:pt x="541" y="71"/>
                    </a:moveTo>
                    <a:lnTo>
                      <a:pt x="545" y="71"/>
                    </a:lnTo>
                    <a:lnTo>
                      <a:pt x="545" y="76"/>
                    </a:lnTo>
                    <a:lnTo>
                      <a:pt x="543" y="74"/>
                    </a:lnTo>
                    <a:lnTo>
                      <a:pt x="541" y="71"/>
                    </a:lnTo>
                    <a:lnTo>
                      <a:pt x="541" y="71"/>
                    </a:lnTo>
                    <a:close/>
                    <a:moveTo>
                      <a:pt x="511" y="229"/>
                    </a:moveTo>
                    <a:lnTo>
                      <a:pt x="513" y="229"/>
                    </a:lnTo>
                    <a:lnTo>
                      <a:pt x="513" y="236"/>
                    </a:lnTo>
                    <a:lnTo>
                      <a:pt x="511" y="236"/>
                    </a:lnTo>
                    <a:lnTo>
                      <a:pt x="511" y="231"/>
                    </a:lnTo>
                    <a:lnTo>
                      <a:pt x="511" y="229"/>
                    </a:lnTo>
                    <a:lnTo>
                      <a:pt x="511" y="229"/>
                    </a:lnTo>
                    <a:close/>
                    <a:moveTo>
                      <a:pt x="510" y="229"/>
                    </a:moveTo>
                    <a:lnTo>
                      <a:pt x="510" y="236"/>
                    </a:lnTo>
                    <a:lnTo>
                      <a:pt x="508" y="241"/>
                    </a:lnTo>
                    <a:lnTo>
                      <a:pt x="505" y="242"/>
                    </a:lnTo>
                    <a:lnTo>
                      <a:pt x="503" y="241"/>
                    </a:lnTo>
                    <a:lnTo>
                      <a:pt x="503" y="234"/>
                    </a:lnTo>
                    <a:lnTo>
                      <a:pt x="506" y="229"/>
                    </a:lnTo>
                    <a:lnTo>
                      <a:pt x="508" y="227"/>
                    </a:lnTo>
                    <a:lnTo>
                      <a:pt x="510" y="229"/>
                    </a:lnTo>
                    <a:lnTo>
                      <a:pt x="510" y="229"/>
                    </a:lnTo>
                    <a:close/>
                    <a:moveTo>
                      <a:pt x="342" y="159"/>
                    </a:moveTo>
                    <a:lnTo>
                      <a:pt x="347" y="161"/>
                    </a:lnTo>
                    <a:lnTo>
                      <a:pt x="349" y="162"/>
                    </a:lnTo>
                    <a:lnTo>
                      <a:pt x="347" y="164"/>
                    </a:lnTo>
                    <a:lnTo>
                      <a:pt x="342" y="162"/>
                    </a:lnTo>
                    <a:lnTo>
                      <a:pt x="340" y="161"/>
                    </a:lnTo>
                    <a:lnTo>
                      <a:pt x="342" y="159"/>
                    </a:lnTo>
                    <a:lnTo>
                      <a:pt x="342" y="159"/>
                    </a:lnTo>
                    <a:close/>
                    <a:moveTo>
                      <a:pt x="344" y="169"/>
                    </a:moveTo>
                    <a:lnTo>
                      <a:pt x="350" y="169"/>
                    </a:lnTo>
                    <a:lnTo>
                      <a:pt x="354" y="172"/>
                    </a:lnTo>
                    <a:lnTo>
                      <a:pt x="355" y="172"/>
                    </a:lnTo>
                    <a:lnTo>
                      <a:pt x="355" y="174"/>
                    </a:lnTo>
                    <a:lnTo>
                      <a:pt x="350" y="174"/>
                    </a:lnTo>
                    <a:lnTo>
                      <a:pt x="347" y="174"/>
                    </a:lnTo>
                    <a:lnTo>
                      <a:pt x="344" y="171"/>
                    </a:lnTo>
                    <a:lnTo>
                      <a:pt x="344" y="169"/>
                    </a:lnTo>
                    <a:lnTo>
                      <a:pt x="344" y="169"/>
                    </a:lnTo>
                    <a:close/>
                    <a:moveTo>
                      <a:pt x="349" y="176"/>
                    </a:moveTo>
                    <a:lnTo>
                      <a:pt x="355" y="176"/>
                    </a:lnTo>
                    <a:lnTo>
                      <a:pt x="359" y="179"/>
                    </a:lnTo>
                    <a:lnTo>
                      <a:pt x="354" y="182"/>
                    </a:lnTo>
                    <a:lnTo>
                      <a:pt x="350" y="184"/>
                    </a:lnTo>
                    <a:lnTo>
                      <a:pt x="349" y="181"/>
                    </a:lnTo>
                    <a:lnTo>
                      <a:pt x="350" y="179"/>
                    </a:lnTo>
                    <a:lnTo>
                      <a:pt x="350" y="179"/>
                    </a:lnTo>
                    <a:lnTo>
                      <a:pt x="349" y="176"/>
                    </a:lnTo>
                    <a:lnTo>
                      <a:pt x="349" y="176"/>
                    </a:lnTo>
                    <a:close/>
                    <a:moveTo>
                      <a:pt x="337" y="124"/>
                    </a:moveTo>
                    <a:lnTo>
                      <a:pt x="342" y="118"/>
                    </a:lnTo>
                    <a:lnTo>
                      <a:pt x="347" y="111"/>
                    </a:lnTo>
                    <a:lnTo>
                      <a:pt x="350" y="108"/>
                    </a:lnTo>
                    <a:lnTo>
                      <a:pt x="354" y="106"/>
                    </a:lnTo>
                    <a:lnTo>
                      <a:pt x="359" y="114"/>
                    </a:lnTo>
                    <a:lnTo>
                      <a:pt x="367" y="119"/>
                    </a:lnTo>
                    <a:lnTo>
                      <a:pt x="367" y="121"/>
                    </a:lnTo>
                    <a:lnTo>
                      <a:pt x="372" y="126"/>
                    </a:lnTo>
                    <a:lnTo>
                      <a:pt x="375" y="129"/>
                    </a:lnTo>
                    <a:lnTo>
                      <a:pt x="378" y="129"/>
                    </a:lnTo>
                    <a:lnTo>
                      <a:pt x="385" y="128"/>
                    </a:lnTo>
                    <a:lnTo>
                      <a:pt x="385" y="126"/>
                    </a:lnTo>
                    <a:lnTo>
                      <a:pt x="392" y="126"/>
                    </a:lnTo>
                    <a:lnTo>
                      <a:pt x="395" y="124"/>
                    </a:lnTo>
                    <a:lnTo>
                      <a:pt x="408" y="124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37" y="116"/>
                    </a:lnTo>
                    <a:lnTo>
                      <a:pt x="443" y="119"/>
                    </a:lnTo>
                    <a:lnTo>
                      <a:pt x="445" y="123"/>
                    </a:lnTo>
                    <a:lnTo>
                      <a:pt x="452" y="123"/>
                    </a:lnTo>
                    <a:lnTo>
                      <a:pt x="462" y="118"/>
                    </a:lnTo>
                    <a:lnTo>
                      <a:pt x="473" y="116"/>
                    </a:lnTo>
                    <a:lnTo>
                      <a:pt x="471" y="113"/>
                    </a:lnTo>
                    <a:lnTo>
                      <a:pt x="481" y="99"/>
                    </a:lnTo>
                    <a:lnTo>
                      <a:pt x="485" y="89"/>
                    </a:lnTo>
                    <a:lnTo>
                      <a:pt x="493" y="79"/>
                    </a:lnTo>
                    <a:lnTo>
                      <a:pt x="498" y="63"/>
                    </a:lnTo>
                    <a:lnTo>
                      <a:pt x="498" y="59"/>
                    </a:lnTo>
                    <a:lnTo>
                      <a:pt x="500" y="56"/>
                    </a:lnTo>
                    <a:lnTo>
                      <a:pt x="500" y="53"/>
                    </a:lnTo>
                    <a:lnTo>
                      <a:pt x="505" y="48"/>
                    </a:lnTo>
                    <a:lnTo>
                      <a:pt x="510" y="50"/>
                    </a:lnTo>
                    <a:lnTo>
                      <a:pt x="516" y="48"/>
                    </a:lnTo>
                    <a:lnTo>
                      <a:pt x="528" y="48"/>
                    </a:lnTo>
                    <a:lnTo>
                      <a:pt x="530" y="51"/>
                    </a:lnTo>
                    <a:lnTo>
                      <a:pt x="536" y="50"/>
                    </a:lnTo>
                    <a:lnTo>
                      <a:pt x="541" y="51"/>
                    </a:lnTo>
                    <a:lnTo>
                      <a:pt x="541" y="53"/>
                    </a:lnTo>
                    <a:lnTo>
                      <a:pt x="540" y="53"/>
                    </a:lnTo>
                    <a:lnTo>
                      <a:pt x="540" y="56"/>
                    </a:lnTo>
                    <a:lnTo>
                      <a:pt x="538" y="58"/>
                    </a:lnTo>
                    <a:lnTo>
                      <a:pt x="543" y="59"/>
                    </a:lnTo>
                    <a:lnTo>
                      <a:pt x="548" y="64"/>
                    </a:lnTo>
                    <a:lnTo>
                      <a:pt x="543" y="66"/>
                    </a:lnTo>
                    <a:lnTo>
                      <a:pt x="536" y="64"/>
                    </a:lnTo>
                    <a:lnTo>
                      <a:pt x="535" y="66"/>
                    </a:lnTo>
                    <a:lnTo>
                      <a:pt x="538" y="69"/>
                    </a:lnTo>
                    <a:lnTo>
                      <a:pt x="541" y="71"/>
                    </a:lnTo>
                    <a:lnTo>
                      <a:pt x="541" y="73"/>
                    </a:lnTo>
                    <a:lnTo>
                      <a:pt x="540" y="74"/>
                    </a:lnTo>
                    <a:lnTo>
                      <a:pt x="538" y="78"/>
                    </a:lnTo>
                    <a:lnTo>
                      <a:pt x="541" y="81"/>
                    </a:lnTo>
                    <a:lnTo>
                      <a:pt x="543" y="84"/>
                    </a:lnTo>
                    <a:lnTo>
                      <a:pt x="551" y="93"/>
                    </a:lnTo>
                    <a:lnTo>
                      <a:pt x="555" y="96"/>
                    </a:lnTo>
                    <a:lnTo>
                      <a:pt x="553" y="99"/>
                    </a:lnTo>
                    <a:lnTo>
                      <a:pt x="546" y="101"/>
                    </a:lnTo>
                    <a:lnTo>
                      <a:pt x="545" y="104"/>
                    </a:lnTo>
                    <a:lnTo>
                      <a:pt x="548" y="106"/>
                    </a:lnTo>
                    <a:lnTo>
                      <a:pt x="548" y="109"/>
                    </a:lnTo>
                    <a:lnTo>
                      <a:pt x="551" y="111"/>
                    </a:lnTo>
                    <a:lnTo>
                      <a:pt x="563" y="119"/>
                    </a:lnTo>
                    <a:lnTo>
                      <a:pt x="566" y="119"/>
                    </a:lnTo>
                    <a:lnTo>
                      <a:pt x="569" y="124"/>
                    </a:lnTo>
                    <a:lnTo>
                      <a:pt x="571" y="126"/>
                    </a:lnTo>
                    <a:lnTo>
                      <a:pt x="574" y="128"/>
                    </a:lnTo>
                    <a:lnTo>
                      <a:pt x="573" y="131"/>
                    </a:lnTo>
                    <a:lnTo>
                      <a:pt x="571" y="133"/>
                    </a:lnTo>
                    <a:lnTo>
                      <a:pt x="568" y="131"/>
                    </a:lnTo>
                    <a:lnTo>
                      <a:pt x="564" y="134"/>
                    </a:lnTo>
                    <a:lnTo>
                      <a:pt x="558" y="133"/>
                    </a:lnTo>
                    <a:lnTo>
                      <a:pt x="551" y="126"/>
                    </a:lnTo>
                    <a:lnTo>
                      <a:pt x="553" y="133"/>
                    </a:lnTo>
                    <a:lnTo>
                      <a:pt x="551" y="134"/>
                    </a:lnTo>
                    <a:lnTo>
                      <a:pt x="548" y="131"/>
                    </a:lnTo>
                    <a:lnTo>
                      <a:pt x="543" y="136"/>
                    </a:lnTo>
                    <a:lnTo>
                      <a:pt x="543" y="139"/>
                    </a:lnTo>
                    <a:lnTo>
                      <a:pt x="541" y="141"/>
                    </a:lnTo>
                    <a:lnTo>
                      <a:pt x="540" y="149"/>
                    </a:lnTo>
                    <a:lnTo>
                      <a:pt x="538" y="153"/>
                    </a:lnTo>
                    <a:lnTo>
                      <a:pt x="536" y="161"/>
                    </a:lnTo>
                    <a:lnTo>
                      <a:pt x="530" y="166"/>
                    </a:lnTo>
                    <a:lnTo>
                      <a:pt x="533" y="171"/>
                    </a:lnTo>
                    <a:lnTo>
                      <a:pt x="530" y="174"/>
                    </a:lnTo>
                    <a:lnTo>
                      <a:pt x="525" y="179"/>
                    </a:lnTo>
                    <a:lnTo>
                      <a:pt x="523" y="174"/>
                    </a:lnTo>
                    <a:lnTo>
                      <a:pt x="521" y="174"/>
                    </a:lnTo>
                    <a:lnTo>
                      <a:pt x="521" y="176"/>
                    </a:lnTo>
                    <a:lnTo>
                      <a:pt x="521" y="181"/>
                    </a:lnTo>
                    <a:lnTo>
                      <a:pt x="518" y="186"/>
                    </a:lnTo>
                    <a:lnTo>
                      <a:pt x="516" y="189"/>
                    </a:lnTo>
                    <a:lnTo>
                      <a:pt x="513" y="191"/>
                    </a:lnTo>
                    <a:lnTo>
                      <a:pt x="510" y="191"/>
                    </a:lnTo>
                    <a:lnTo>
                      <a:pt x="510" y="192"/>
                    </a:lnTo>
                    <a:lnTo>
                      <a:pt x="508" y="194"/>
                    </a:lnTo>
                    <a:lnTo>
                      <a:pt x="515" y="194"/>
                    </a:lnTo>
                    <a:lnTo>
                      <a:pt x="515" y="196"/>
                    </a:lnTo>
                    <a:lnTo>
                      <a:pt x="515" y="199"/>
                    </a:lnTo>
                    <a:lnTo>
                      <a:pt x="511" y="201"/>
                    </a:lnTo>
                    <a:lnTo>
                      <a:pt x="513" y="202"/>
                    </a:lnTo>
                    <a:lnTo>
                      <a:pt x="516" y="202"/>
                    </a:lnTo>
                    <a:lnTo>
                      <a:pt x="516" y="204"/>
                    </a:lnTo>
                    <a:lnTo>
                      <a:pt x="515" y="207"/>
                    </a:lnTo>
                    <a:lnTo>
                      <a:pt x="511" y="207"/>
                    </a:lnTo>
                    <a:lnTo>
                      <a:pt x="510" y="206"/>
                    </a:lnTo>
                    <a:lnTo>
                      <a:pt x="510" y="207"/>
                    </a:lnTo>
                    <a:lnTo>
                      <a:pt x="513" y="209"/>
                    </a:lnTo>
                    <a:lnTo>
                      <a:pt x="513" y="211"/>
                    </a:lnTo>
                    <a:lnTo>
                      <a:pt x="510" y="217"/>
                    </a:lnTo>
                    <a:lnTo>
                      <a:pt x="508" y="217"/>
                    </a:lnTo>
                    <a:lnTo>
                      <a:pt x="506" y="216"/>
                    </a:lnTo>
                    <a:lnTo>
                      <a:pt x="505" y="222"/>
                    </a:lnTo>
                    <a:lnTo>
                      <a:pt x="505" y="226"/>
                    </a:lnTo>
                    <a:lnTo>
                      <a:pt x="500" y="234"/>
                    </a:lnTo>
                    <a:lnTo>
                      <a:pt x="491" y="239"/>
                    </a:lnTo>
                    <a:lnTo>
                      <a:pt x="485" y="239"/>
                    </a:lnTo>
                    <a:lnTo>
                      <a:pt x="475" y="244"/>
                    </a:lnTo>
                    <a:lnTo>
                      <a:pt x="470" y="244"/>
                    </a:lnTo>
                    <a:lnTo>
                      <a:pt x="468" y="239"/>
                    </a:lnTo>
                    <a:lnTo>
                      <a:pt x="470" y="236"/>
                    </a:lnTo>
                    <a:lnTo>
                      <a:pt x="466" y="232"/>
                    </a:lnTo>
                    <a:lnTo>
                      <a:pt x="466" y="231"/>
                    </a:lnTo>
                    <a:lnTo>
                      <a:pt x="465" y="231"/>
                    </a:lnTo>
                    <a:lnTo>
                      <a:pt x="462" y="227"/>
                    </a:lnTo>
                    <a:lnTo>
                      <a:pt x="460" y="229"/>
                    </a:lnTo>
                    <a:lnTo>
                      <a:pt x="455" y="227"/>
                    </a:lnTo>
                    <a:lnTo>
                      <a:pt x="453" y="224"/>
                    </a:lnTo>
                    <a:lnTo>
                      <a:pt x="452" y="227"/>
                    </a:lnTo>
                    <a:lnTo>
                      <a:pt x="453" y="231"/>
                    </a:lnTo>
                    <a:lnTo>
                      <a:pt x="448" y="229"/>
                    </a:lnTo>
                    <a:lnTo>
                      <a:pt x="447" y="227"/>
                    </a:lnTo>
                    <a:lnTo>
                      <a:pt x="447" y="224"/>
                    </a:lnTo>
                    <a:lnTo>
                      <a:pt x="445" y="222"/>
                    </a:lnTo>
                    <a:lnTo>
                      <a:pt x="442" y="224"/>
                    </a:lnTo>
                    <a:lnTo>
                      <a:pt x="437" y="221"/>
                    </a:lnTo>
                    <a:lnTo>
                      <a:pt x="435" y="222"/>
                    </a:lnTo>
                    <a:lnTo>
                      <a:pt x="430" y="226"/>
                    </a:lnTo>
                    <a:lnTo>
                      <a:pt x="425" y="226"/>
                    </a:lnTo>
                    <a:lnTo>
                      <a:pt x="423" y="227"/>
                    </a:lnTo>
                    <a:lnTo>
                      <a:pt x="420" y="229"/>
                    </a:lnTo>
                    <a:lnTo>
                      <a:pt x="418" y="227"/>
                    </a:lnTo>
                    <a:lnTo>
                      <a:pt x="415" y="227"/>
                    </a:lnTo>
                    <a:lnTo>
                      <a:pt x="410" y="234"/>
                    </a:lnTo>
                    <a:lnTo>
                      <a:pt x="405" y="234"/>
                    </a:lnTo>
                    <a:lnTo>
                      <a:pt x="407" y="231"/>
                    </a:lnTo>
                    <a:lnTo>
                      <a:pt x="405" y="222"/>
                    </a:lnTo>
                    <a:lnTo>
                      <a:pt x="403" y="217"/>
                    </a:lnTo>
                    <a:lnTo>
                      <a:pt x="405" y="214"/>
                    </a:lnTo>
                    <a:lnTo>
                      <a:pt x="403" y="211"/>
                    </a:lnTo>
                    <a:lnTo>
                      <a:pt x="403" y="212"/>
                    </a:lnTo>
                    <a:lnTo>
                      <a:pt x="402" y="217"/>
                    </a:lnTo>
                    <a:lnTo>
                      <a:pt x="398" y="219"/>
                    </a:lnTo>
                    <a:lnTo>
                      <a:pt x="395" y="217"/>
                    </a:lnTo>
                    <a:lnTo>
                      <a:pt x="392" y="219"/>
                    </a:lnTo>
                    <a:lnTo>
                      <a:pt x="385" y="221"/>
                    </a:lnTo>
                    <a:lnTo>
                      <a:pt x="382" y="219"/>
                    </a:lnTo>
                    <a:lnTo>
                      <a:pt x="377" y="219"/>
                    </a:lnTo>
                    <a:lnTo>
                      <a:pt x="375" y="216"/>
                    </a:lnTo>
                    <a:lnTo>
                      <a:pt x="372" y="219"/>
                    </a:lnTo>
                    <a:lnTo>
                      <a:pt x="368" y="219"/>
                    </a:lnTo>
                    <a:lnTo>
                      <a:pt x="365" y="212"/>
                    </a:lnTo>
                    <a:lnTo>
                      <a:pt x="365" y="207"/>
                    </a:lnTo>
                    <a:lnTo>
                      <a:pt x="363" y="197"/>
                    </a:lnTo>
                    <a:lnTo>
                      <a:pt x="360" y="196"/>
                    </a:lnTo>
                    <a:lnTo>
                      <a:pt x="359" y="192"/>
                    </a:lnTo>
                    <a:lnTo>
                      <a:pt x="362" y="189"/>
                    </a:lnTo>
                    <a:lnTo>
                      <a:pt x="365" y="186"/>
                    </a:lnTo>
                    <a:lnTo>
                      <a:pt x="363" y="181"/>
                    </a:lnTo>
                    <a:lnTo>
                      <a:pt x="362" y="177"/>
                    </a:lnTo>
                    <a:lnTo>
                      <a:pt x="355" y="171"/>
                    </a:lnTo>
                    <a:lnTo>
                      <a:pt x="349" y="167"/>
                    </a:lnTo>
                    <a:lnTo>
                      <a:pt x="344" y="167"/>
                    </a:lnTo>
                    <a:lnTo>
                      <a:pt x="344" y="166"/>
                    </a:lnTo>
                    <a:lnTo>
                      <a:pt x="347" y="164"/>
                    </a:lnTo>
                    <a:lnTo>
                      <a:pt x="352" y="161"/>
                    </a:lnTo>
                    <a:lnTo>
                      <a:pt x="360" y="159"/>
                    </a:lnTo>
                    <a:lnTo>
                      <a:pt x="365" y="156"/>
                    </a:lnTo>
                    <a:lnTo>
                      <a:pt x="370" y="156"/>
                    </a:lnTo>
                    <a:lnTo>
                      <a:pt x="365" y="154"/>
                    </a:lnTo>
                    <a:lnTo>
                      <a:pt x="359" y="159"/>
                    </a:lnTo>
                    <a:lnTo>
                      <a:pt x="352" y="159"/>
                    </a:lnTo>
                    <a:lnTo>
                      <a:pt x="349" y="161"/>
                    </a:lnTo>
                    <a:lnTo>
                      <a:pt x="344" y="159"/>
                    </a:lnTo>
                    <a:lnTo>
                      <a:pt x="340" y="154"/>
                    </a:lnTo>
                    <a:lnTo>
                      <a:pt x="342" y="153"/>
                    </a:lnTo>
                    <a:lnTo>
                      <a:pt x="345" y="154"/>
                    </a:lnTo>
                    <a:lnTo>
                      <a:pt x="342" y="151"/>
                    </a:lnTo>
                    <a:lnTo>
                      <a:pt x="335" y="143"/>
                    </a:lnTo>
                    <a:lnTo>
                      <a:pt x="335" y="134"/>
                    </a:lnTo>
                    <a:lnTo>
                      <a:pt x="339" y="133"/>
                    </a:lnTo>
                    <a:lnTo>
                      <a:pt x="339" y="129"/>
                    </a:lnTo>
                    <a:lnTo>
                      <a:pt x="337" y="126"/>
                    </a:lnTo>
                    <a:lnTo>
                      <a:pt x="337" y="124"/>
                    </a:lnTo>
                    <a:lnTo>
                      <a:pt x="337" y="124"/>
                    </a:lnTo>
                    <a:close/>
                    <a:moveTo>
                      <a:pt x="965" y="171"/>
                    </a:moveTo>
                    <a:lnTo>
                      <a:pt x="961" y="171"/>
                    </a:lnTo>
                    <a:lnTo>
                      <a:pt x="965" y="174"/>
                    </a:lnTo>
                    <a:lnTo>
                      <a:pt x="968" y="174"/>
                    </a:lnTo>
                    <a:lnTo>
                      <a:pt x="965" y="171"/>
                    </a:lnTo>
                    <a:lnTo>
                      <a:pt x="965" y="171"/>
                    </a:lnTo>
                    <a:close/>
                    <a:moveTo>
                      <a:pt x="975" y="184"/>
                    </a:moveTo>
                    <a:lnTo>
                      <a:pt x="970" y="184"/>
                    </a:lnTo>
                    <a:lnTo>
                      <a:pt x="973" y="186"/>
                    </a:lnTo>
                    <a:lnTo>
                      <a:pt x="975" y="184"/>
                    </a:lnTo>
                    <a:lnTo>
                      <a:pt x="975" y="184"/>
                    </a:lnTo>
                    <a:close/>
                    <a:moveTo>
                      <a:pt x="980" y="186"/>
                    </a:moveTo>
                    <a:lnTo>
                      <a:pt x="980" y="186"/>
                    </a:lnTo>
                    <a:lnTo>
                      <a:pt x="981" y="187"/>
                    </a:lnTo>
                    <a:lnTo>
                      <a:pt x="988" y="191"/>
                    </a:lnTo>
                    <a:lnTo>
                      <a:pt x="1000" y="192"/>
                    </a:lnTo>
                    <a:lnTo>
                      <a:pt x="1010" y="191"/>
                    </a:lnTo>
                    <a:lnTo>
                      <a:pt x="1013" y="189"/>
                    </a:lnTo>
                    <a:lnTo>
                      <a:pt x="1005" y="187"/>
                    </a:lnTo>
                    <a:lnTo>
                      <a:pt x="1000" y="189"/>
                    </a:lnTo>
                    <a:lnTo>
                      <a:pt x="993" y="187"/>
                    </a:lnTo>
                    <a:lnTo>
                      <a:pt x="988" y="189"/>
                    </a:lnTo>
                    <a:lnTo>
                      <a:pt x="980" y="186"/>
                    </a:lnTo>
                    <a:lnTo>
                      <a:pt x="980" y="186"/>
                    </a:lnTo>
                    <a:close/>
                    <a:moveTo>
                      <a:pt x="980" y="166"/>
                    </a:moveTo>
                    <a:lnTo>
                      <a:pt x="983" y="169"/>
                    </a:lnTo>
                    <a:lnTo>
                      <a:pt x="983" y="166"/>
                    </a:lnTo>
                    <a:lnTo>
                      <a:pt x="985" y="166"/>
                    </a:lnTo>
                    <a:lnTo>
                      <a:pt x="990" y="171"/>
                    </a:lnTo>
                    <a:lnTo>
                      <a:pt x="990" y="174"/>
                    </a:lnTo>
                    <a:lnTo>
                      <a:pt x="993" y="174"/>
                    </a:lnTo>
                    <a:lnTo>
                      <a:pt x="995" y="174"/>
                    </a:lnTo>
                    <a:lnTo>
                      <a:pt x="996" y="176"/>
                    </a:lnTo>
                    <a:lnTo>
                      <a:pt x="1001" y="174"/>
                    </a:lnTo>
                    <a:lnTo>
                      <a:pt x="1000" y="172"/>
                    </a:lnTo>
                    <a:lnTo>
                      <a:pt x="996" y="171"/>
                    </a:lnTo>
                    <a:lnTo>
                      <a:pt x="993" y="167"/>
                    </a:lnTo>
                    <a:lnTo>
                      <a:pt x="990" y="164"/>
                    </a:lnTo>
                    <a:lnTo>
                      <a:pt x="985" y="164"/>
                    </a:lnTo>
                    <a:lnTo>
                      <a:pt x="978" y="162"/>
                    </a:lnTo>
                    <a:lnTo>
                      <a:pt x="980" y="166"/>
                    </a:lnTo>
                    <a:lnTo>
                      <a:pt x="980" y="166"/>
                    </a:lnTo>
                    <a:close/>
                    <a:moveTo>
                      <a:pt x="908" y="274"/>
                    </a:moveTo>
                    <a:lnTo>
                      <a:pt x="910" y="279"/>
                    </a:lnTo>
                    <a:lnTo>
                      <a:pt x="910" y="282"/>
                    </a:lnTo>
                    <a:lnTo>
                      <a:pt x="912" y="284"/>
                    </a:lnTo>
                    <a:lnTo>
                      <a:pt x="912" y="279"/>
                    </a:lnTo>
                    <a:lnTo>
                      <a:pt x="908" y="274"/>
                    </a:lnTo>
                    <a:lnTo>
                      <a:pt x="908" y="274"/>
                    </a:lnTo>
                    <a:close/>
                    <a:moveTo>
                      <a:pt x="922" y="270"/>
                    </a:moveTo>
                    <a:lnTo>
                      <a:pt x="917" y="272"/>
                    </a:lnTo>
                    <a:lnTo>
                      <a:pt x="915" y="282"/>
                    </a:lnTo>
                    <a:lnTo>
                      <a:pt x="913" y="284"/>
                    </a:lnTo>
                    <a:lnTo>
                      <a:pt x="917" y="284"/>
                    </a:lnTo>
                    <a:lnTo>
                      <a:pt x="920" y="274"/>
                    </a:lnTo>
                    <a:lnTo>
                      <a:pt x="922" y="270"/>
                    </a:lnTo>
                    <a:lnTo>
                      <a:pt x="922" y="270"/>
                    </a:lnTo>
                    <a:close/>
                    <a:moveTo>
                      <a:pt x="960" y="300"/>
                    </a:moveTo>
                    <a:lnTo>
                      <a:pt x="958" y="302"/>
                    </a:lnTo>
                    <a:lnTo>
                      <a:pt x="960" y="302"/>
                    </a:lnTo>
                    <a:lnTo>
                      <a:pt x="960" y="302"/>
                    </a:lnTo>
                    <a:lnTo>
                      <a:pt x="960" y="300"/>
                    </a:lnTo>
                    <a:lnTo>
                      <a:pt x="960" y="300"/>
                    </a:lnTo>
                    <a:close/>
                    <a:moveTo>
                      <a:pt x="947" y="292"/>
                    </a:moveTo>
                    <a:lnTo>
                      <a:pt x="943" y="290"/>
                    </a:lnTo>
                    <a:lnTo>
                      <a:pt x="945" y="292"/>
                    </a:lnTo>
                    <a:lnTo>
                      <a:pt x="945" y="297"/>
                    </a:lnTo>
                    <a:lnTo>
                      <a:pt x="947" y="299"/>
                    </a:lnTo>
                    <a:lnTo>
                      <a:pt x="948" y="300"/>
                    </a:lnTo>
                    <a:lnTo>
                      <a:pt x="947" y="299"/>
                    </a:lnTo>
                    <a:lnTo>
                      <a:pt x="945" y="299"/>
                    </a:lnTo>
                    <a:lnTo>
                      <a:pt x="943" y="304"/>
                    </a:lnTo>
                    <a:lnTo>
                      <a:pt x="947" y="305"/>
                    </a:lnTo>
                    <a:lnTo>
                      <a:pt x="948" y="305"/>
                    </a:lnTo>
                    <a:lnTo>
                      <a:pt x="953" y="302"/>
                    </a:lnTo>
                    <a:lnTo>
                      <a:pt x="953" y="299"/>
                    </a:lnTo>
                    <a:lnTo>
                      <a:pt x="952" y="299"/>
                    </a:lnTo>
                    <a:lnTo>
                      <a:pt x="950" y="295"/>
                    </a:lnTo>
                    <a:lnTo>
                      <a:pt x="947" y="292"/>
                    </a:lnTo>
                    <a:lnTo>
                      <a:pt x="947" y="292"/>
                    </a:lnTo>
                    <a:close/>
                    <a:moveTo>
                      <a:pt x="955" y="294"/>
                    </a:moveTo>
                    <a:lnTo>
                      <a:pt x="955" y="294"/>
                    </a:lnTo>
                    <a:lnTo>
                      <a:pt x="953" y="294"/>
                    </a:lnTo>
                    <a:lnTo>
                      <a:pt x="953" y="297"/>
                    </a:lnTo>
                    <a:lnTo>
                      <a:pt x="955" y="297"/>
                    </a:lnTo>
                    <a:lnTo>
                      <a:pt x="958" y="297"/>
                    </a:lnTo>
                    <a:lnTo>
                      <a:pt x="957" y="295"/>
                    </a:lnTo>
                    <a:lnTo>
                      <a:pt x="955" y="294"/>
                    </a:lnTo>
                    <a:lnTo>
                      <a:pt x="955" y="294"/>
                    </a:lnTo>
                    <a:close/>
                    <a:moveTo>
                      <a:pt x="948" y="287"/>
                    </a:moveTo>
                    <a:lnTo>
                      <a:pt x="945" y="285"/>
                    </a:lnTo>
                    <a:lnTo>
                      <a:pt x="945" y="289"/>
                    </a:lnTo>
                    <a:lnTo>
                      <a:pt x="948" y="292"/>
                    </a:lnTo>
                    <a:lnTo>
                      <a:pt x="952" y="294"/>
                    </a:lnTo>
                    <a:lnTo>
                      <a:pt x="953" y="292"/>
                    </a:lnTo>
                    <a:lnTo>
                      <a:pt x="948" y="289"/>
                    </a:lnTo>
                    <a:lnTo>
                      <a:pt x="948" y="287"/>
                    </a:lnTo>
                    <a:lnTo>
                      <a:pt x="948" y="287"/>
                    </a:lnTo>
                    <a:close/>
                    <a:moveTo>
                      <a:pt x="957" y="284"/>
                    </a:moveTo>
                    <a:lnTo>
                      <a:pt x="953" y="285"/>
                    </a:lnTo>
                    <a:lnTo>
                      <a:pt x="950" y="287"/>
                    </a:lnTo>
                    <a:lnTo>
                      <a:pt x="950" y="289"/>
                    </a:lnTo>
                    <a:lnTo>
                      <a:pt x="955" y="292"/>
                    </a:lnTo>
                    <a:lnTo>
                      <a:pt x="957" y="292"/>
                    </a:lnTo>
                    <a:lnTo>
                      <a:pt x="960" y="290"/>
                    </a:lnTo>
                    <a:lnTo>
                      <a:pt x="960" y="287"/>
                    </a:lnTo>
                    <a:lnTo>
                      <a:pt x="960" y="287"/>
                    </a:lnTo>
                    <a:lnTo>
                      <a:pt x="960" y="285"/>
                    </a:lnTo>
                    <a:lnTo>
                      <a:pt x="958" y="284"/>
                    </a:lnTo>
                    <a:lnTo>
                      <a:pt x="957" y="284"/>
                    </a:lnTo>
                    <a:lnTo>
                      <a:pt x="957" y="284"/>
                    </a:lnTo>
                    <a:close/>
                    <a:moveTo>
                      <a:pt x="948" y="279"/>
                    </a:moveTo>
                    <a:lnTo>
                      <a:pt x="947" y="279"/>
                    </a:lnTo>
                    <a:lnTo>
                      <a:pt x="945" y="280"/>
                    </a:lnTo>
                    <a:lnTo>
                      <a:pt x="948" y="280"/>
                    </a:lnTo>
                    <a:lnTo>
                      <a:pt x="948" y="279"/>
                    </a:lnTo>
                    <a:lnTo>
                      <a:pt x="948" y="279"/>
                    </a:lnTo>
                    <a:close/>
                    <a:moveTo>
                      <a:pt x="955" y="272"/>
                    </a:moveTo>
                    <a:lnTo>
                      <a:pt x="957" y="275"/>
                    </a:lnTo>
                    <a:lnTo>
                      <a:pt x="960" y="275"/>
                    </a:lnTo>
                    <a:lnTo>
                      <a:pt x="957" y="272"/>
                    </a:lnTo>
                    <a:lnTo>
                      <a:pt x="955" y="272"/>
                    </a:lnTo>
                    <a:lnTo>
                      <a:pt x="955" y="272"/>
                    </a:lnTo>
                    <a:close/>
                    <a:moveTo>
                      <a:pt x="955" y="274"/>
                    </a:moveTo>
                    <a:lnTo>
                      <a:pt x="952" y="274"/>
                    </a:lnTo>
                    <a:lnTo>
                      <a:pt x="950" y="277"/>
                    </a:lnTo>
                    <a:lnTo>
                      <a:pt x="948" y="277"/>
                    </a:lnTo>
                    <a:lnTo>
                      <a:pt x="950" y="279"/>
                    </a:lnTo>
                    <a:lnTo>
                      <a:pt x="950" y="280"/>
                    </a:lnTo>
                    <a:lnTo>
                      <a:pt x="953" y="279"/>
                    </a:lnTo>
                    <a:lnTo>
                      <a:pt x="950" y="282"/>
                    </a:lnTo>
                    <a:lnTo>
                      <a:pt x="950" y="284"/>
                    </a:lnTo>
                    <a:lnTo>
                      <a:pt x="952" y="284"/>
                    </a:lnTo>
                    <a:lnTo>
                      <a:pt x="955" y="282"/>
                    </a:lnTo>
                    <a:lnTo>
                      <a:pt x="958" y="282"/>
                    </a:lnTo>
                    <a:lnTo>
                      <a:pt x="960" y="280"/>
                    </a:lnTo>
                    <a:lnTo>
                      <a:pt x="958" y="275"/>
                    </a:lnTo>
                    <a:lnTo>
                      <a:pt x="957" y="275"/>
                    </a:lnTo>
                    <a:lnTo>
                      <a:pt x="955" y="274"/>
                    </a:lnTo>
                    <a:lnTo>
                      <a:pt x="955" y="274"/>
                    </a:lnTo>
                    <a:close/>
                    <a:moveTo>
                      <a:pt x="890" y="309"/>
                    </a:moveTo>
                    <a:lnTo>
                      <a:pt x="895" y="307"/>
                    </a:lnTo>
                    <a:lnTo>
                      <a:pt x="893" y="305"/>
                    </a:lnTo>
                    <a:lnTo>
                      <a:pt x="890" y="309"/>
                    </a:lnTo>
                    <a:lnTo>
                      <a:pt x="890" y="309"/>
                    </a:lnTo>
                    <a:close/>
                    <a:moveTo>
                      <a:pt x="887" y="310"/>
                    </a:moveTo>
                    <a:lnTo>
                      <a:pt x="892" y="314"/>
                    </a:lnTo>
                    <a:lnTo>
                      <a:pt x="890" y="310"/>
                    </a:lnTo>
                    <a:lnTo>
                      <a:pt x="887" y="310"/>
                    </a:lnTo>
                    <a:lnTo>
                      <a:pt x="887" y="310"/>
                    </a:lnTo>
                    <a:close/>
                    <a:moveTo>
                      <a:pt x="865" y="319"/>
                    </a:moveTo>
                    <a:lnTo>
                      <a:pt x="863" y="320"/>
                    </a:lnTo>
                    <a:lnTo>
                      <a:pt x="865" y="320"/>
                    </a:lnTo>
                    <a:lnTo>
                      <a:pt x="865" y="320"/>
                    </a:lnTo>
                    <a:lnTo>
                      <a:pt x="865" y="319"/>
                    </a:lnTo>
                    <a:lnTo>
                      <a:pt x="865" y="319"/>
                    </a:lnTo>
                    <a:close/>
                    <a:moveTo>
                      <a:pt x="872" y="317"/>
                    </a:moveTo>
                    <a:lnTo>
                      <a:pt x="865" y="317"/>
                    </a:lnTo>
                    <a:lnTo>
                      <a:pt x="868" y="319"/>
                    </a:lnTo>
                    <a:lnTo>
                      <a:pt x="872" y="319"/>
                    </a:lnTo>
                    <a:lnTo>
                      <a:pt x="872" y="317"/>
                    </a:lnTo>
                    <a:lnTo>
                      <a:pt x="872" y="317"/>
                    </a:lnTo>
                    <a:close/>
                    <a:moveTo>
                      <a:pt x="872" y="334"/>
                    </a:moveTo>
                    <a:lnTo>
                      <a:pt x="870" y="332"/>
                    </a:lnTo>
                    <a:lnTo>
                      <a:pt x="865" y="335"/>
                    </a:lnTo>
                    <a:lnTo>
                      <a:pt x="865" y="337"/>
                    </a:lnTo>
                    <a:lnTo>
                      <a:pt x="868" y="337"/>
                    </a:lnTo>
                    <a:lnTo>
                      <a:pt x="872" y="334"/>
                    </a:lnTo>
                    <a:lnTo>
                      <a:pt x="872" y="334"/>
                    </a:lnTo>
                    <a:lnTo>
                      <a:pt x="872" y="334"/>
                    </a:lnTo>
                    <a:close/>
                    <a:moveTo>
                      <a:pt x="880" y="315"/>
                    </a:moveTo>
                    <a:lnTo>
                      <a:pt x="873" y="320"/>
                    </a:lnTo>
                    <a:lnTo>
                      <a:pt x="873" y="322"/>
                    </a:lnTo>
                    <a:lnTo>
                      <a:pt x="873" y="324"/>
                    </a:lnTo>
                    <a:lnTo>
                      <a:pt x="872" y="325"/>
                    </a:lnTo>
                    <a:lnTo>
                      <a:pt x="872" y="329"/>
                    </a:lnTo>
                    <a:lnTo>
                      <a:pt x="875" y="332"/>
                    </a:lnTo>
                    <a:lnTo>
                      <a:pt x="878" y="330"/>
                    </a:lnTo>
                    <a:lnTo>
                      <a:pt x="883" y="325"/>
                    </a:lnTo>
                    <a:lnTo>
                      <a:pt x="885" y="319"/>
                    </a:lnTo>
                    <a:lnTo>
                      <a:pt x="883" y="315"/>
                    </a:lnTo>
                    <a:lnTo>
                      <a:pt x="885" y="314"/>
                    </a:lnTo>
                    <a:lnTo>
                      <a:pt x="885" y="312"/>
                    </a:lnTo>
                    <a:lnTo>
                      <a:pt x="882" y="312"/>
                    </a:lnTo>
                    <a:lnTo>
                      <a:pt x="880" y="314"/>
                    </a:lnTo>
                    <a:lnTo>
                      <a:pt x="880" y="315"/>
                    </a:lnTo>
                    <a:lnTo>
                      <a:pt x="880" y="315"/>
                    </a:lnTo>
                    <a:close/>
                    <a:moveTo>
                      <a:pt x="844" y="294"/>
                    </a:moveTo>
                    <a:lnTo>
                      <a:pt x="847" y="292"/>
                    </a:lnTo>
                    <a:lnTo>
                      <a:pt x="844" y="290"/>
                    </a:lnTo>
                    <a:lnTo>
                      <a:pt x="844" y="294"/>
                    </a:lnTo>
                    <a:lnTo>
                      <a:pt x="844" y="294"/>
                    </a:lnTo>
                    <a:close/>
                    <a:moveTo>
                      <a:pt x="832" y="300"/>
                    </a:moveTo>
                    <a:lnTo>
                      <a:pt x="830" y="302"/>
                    </a:lnTo>
                    <a:lnTo>
                      <a:pt x="834" y="302"/>
                    </a:lnTo>
                    <a:lnTo>
                      <a:pt x="832" y="300"/>
                    </a:lnTo>
                    <a:lnTo>
                      <a:pt x="832" y="300"/>
                    </a:lnTo>
                    <a:close/>
                    <a:moveTo>
                      <a:pt x="840" y="334"/>
                    </a:moveTo>
                    <a:lnTo>
                      <a:pt x="835" y="335"/>
                    </a:lnTo>
                    <a:lnTo>
                      <a:pt x="839" y="335"/>
                    </a:lnTo>
                    <a:lnTo>
                      <a:pt x="840" y="334"/>
                    </a:lnTo>
                    <a:lnTo>
                      <a:pt x="840" y="334"/>
                    </a:lnTo>
                    <a:close/>
                    <a:moveTo>
                      <a:pt x="834" y="327"/>
                    </a:moveTo>
                    <a:lnTo>
                      <a:pt x="835" y="325"/>
                    </a:lnTo>
                    <a:lnTo>
                      <a:pt x="839" y="327"/>
                    </a:lnTo>
                    <a:lnTo>
                      <a:pt x="840" y="330"/>
                    </a:lnTo>
                    <a:lnTo>
                      <a:pt x="837" y="332"/>
                    </a:lnTo>
                    <a:lnTo>
                      <a:pt x="834" y="329"/>
                    </a:lnTo>
                    <a:lnTo>
                      <a:pt x="834" y="327"/>
                    </a:lnTo>
                    <a:lnTo>
                      <a:pt x="834" y="327"/>
                    </a:lnTo>
                    <a:close/>
                    <a:moveTo>
                      <a:pt x="807" y="312"/>
                    </a:moveTo>
                    <a:lnTo>
                      <a:pt x="809" y="310"/>
                    </a:lnTo>
                    <a:lnTo>
                      <a:pt x="812" y="312"/>
                    </a:lnTo>
                    <a:lnTo>
                      <a:pt x="810" y="314"/>
                    </a:lnTo>
                    <a:lnTo>
                      <a:pt x="807" y="314"/>
                    </a:lnTo>
                    <a:lnTo>
                      <a:pt x="807" y="312"/>
                    </a:lnTo>
                    <a:lnTo>
                      <a:pt x="807" y="312"/>
                    </a:lnTo>
                    <a:close/>
                    <a:moveTo>
                      <a:pt x="812" y="337"/>
                    </a:moveTo>
                    <a:lnTo>
                      <a:pt x="817" y="337"/>
                    </a:lnTo>
                    <a:lnTo>
                      <a:pt x="819" y="339"/>
                    </a:lnTo>
                    <a:lnTo>
                      <a:pt x="815" y="339"/>
                    </a:lnTo>
                    <a:lnTo>
                      <a:pt x="812" y="337"/>
                    </a:lnTo>
                    <a:lnTo>
                      <a:pt x="812" y="337"/>
                    </a:lnTo>
                    <a:close/>
                    <a:moveTo>
                      <a:pt x="775" y="322"/>
                    </a:moveTo>
                    <a:lnTo>
                      <a:pt x="780" y="319"/>
                    </a:lnTo>
                    <a:lnTo>
                      <a:pt x="777" y="319"/>
                    </a:lnTo>
                    <a:lnTo>
                      <a:pt x="775" y="320"/>
                    </a:lnTo>
                    <a:lnTo>
                      <a:pt x="775" y="322"/>
                    </a:lnTo>
                    <a:lnTo>
                      <a:pt x="775" y="322"/>
                    </a:lnTo>
                    <a:close/>
                    <a:moveTo>
                      <a:pt x="789" y="335"/>
                    </a:moveTo>
                    <a:lnTo>
                      <a:pt x="795" y="335"/>
                    </a:lnTo>
                    <a:lnTo>
                      <a:pt x="799" y="334"/>
                    </a:lnTo>
                    <a:lnTo>
                      <a:pt x="799" y="337"/>
                    </a:lnTo>
                    <a:lnTo>
                      <a:pt x="794" y="339"/>
                    </a:lnTo>
                    <a:lnTo>
                      <a:pt x="789" y="337"/>
                    </a:lnTo>
                    <a:lnTo>
                      <a:pt x="789" y="335"/>
                    </a:lnTo>
                    <a:lnTo>
                      <a:pt x="789" y="335"/>
                    </a:lnTo>
                    <a:close/>
                    <a:moveTo>
                      <a:pt x="780" y="337"/>
                    </a:moveTo>
                    <a:lnTo>
                      <a:pt x="784" y="335"/>
                    </a:lnTo>
                    <a:lnTo>
                      <a:pt x="784" y="339"/>
                    </a:lnTo>
                    <a:lnTo>
                      <a:pt x="780" y="337"/>
                    </a:lnTo>
                    <a:lnTo>
                      <a:pt x="780" y="337"/>
                    </a:lnTo>
                    <a:close/>
                    <a:moveTo>
                      <a:pt x="770" y="335"/>
                    </a:moveTo>
                    <a:lnTo>
                      <a:pt x="774" y="334"/>
                    </a:lnTo>
                    <a:lnTo>
                      <a:pt x="775" y="335"/>
                    </a:lnTo>
                    <a:lnTo>
                      <a:pt x="772" y="337"/>
                    </a:lnTo>
                    <a:lnTo>
                      <a:pt x="770" y="335"/>
                    </a:lnTo>
                    <a:lnTo>
                      <a:pt x="770" y="335"/>
                    </a:lnTo>
                    <a:close/>
                    <a:moveTo>
                      <a:pt x="679" y="382"/>
                    </a:moveTo>
                    <a:lnTo>
                      <a:pt x="677" y="385"/>
                    </a:lnTo>
                    <a:lnTo>
                      <a:pt x="681" y="387"/>
                    </a:lnTo>
                    <a:lnTo>
                      <a:pt x="689" y="387"/>
                    </a:lnTo>
                    <a:lnTo>
                      <a:pt x="696" y="383"/>
                    </a:lnTo>
                    <a:lnTo>
                      <a:pt x="699" y="382"/>
                    </a:lnTo>
                    <a:lnTo>
                      <a:pt x="704" y="382"/>
                    </a:lnTo>
                    <a:lnTo>
                      <a:pt x="709" y="378"/>
                    </a:lnTo>
                    <a:lnTo>
                      <a:pt x="711" y="375"/>
                    </a:lnTo>
                    <a:lnTo>
                      <a:pt x="721" y="368"/>
                    </a:lnTo>
                    <a:lnTo>
                      <a:pt x="722" y="367"/>
                    </a:lnTo>
                    <a:lnTo>
                      <a:pt x="726" y="365"/>
                    </a:lnTo>
                    <a:lnTo>
                      <a:pt x="719" y="360"/>
                    </a:lnTo>
                    <a:lnTo>
                      <a:pt x="714" y="355"/>
                    </a:lnTo>
                    <a:lnTo>
                      <a:pt x="712" y="357"/>
                    </a:lnTo>
                    <a:lnTo>
                      <a:pt x="707" y="357"/>
                    </a:lnTo>
                    <a:lnTo>
                      <a:pt x="707" y="363"/>
                    </a:lnTo>
                    <a:lnTo>
                      <a:pt x="704" y="363"/>
                    </a:lnTo>
                    <a:lnTo>
                      <a:pt x="697" y="365"/>
                    </a:lnTo>
                    <a:lnTo>
                      <a:pt x="694" y="362"/>
                    </a:lnTo>
                    <a:lnTo>
                      <a:pt x="692" y="363"/>
                    </a:lnTo>
                    <a:lnTo>
                      <a:pt x="689" y="365"/>
                    </a:lnTo>
                    <a:lnTo>
                      <a:pt x="687" y="370"/>
                    </a:lnTo>
                    <a:lnTo>
                      <a:pt x="682" y="377"/>
                    </a:lnTo>
                    <a:lnTo>
                      <a:pt x="681" y="378"/>
                    </a:lnTo>
                    <a:lnTo>
                      <a:pt x="684" y="380"/>
                    </a:lnTo>
                    <a:lnTo>
                      <a:pt x="684" y="382"/>
                    </a:lnTo>
                    <a:lnTo>
                      <a:pt x="682" y="382"/>
                    </a:lnTo>
                    <a:lnTo>
                      <a:pt x="679" y="382"/>
                    </a:lnTo>
                    <a:lnTo>
                      <a:pt x="679" y="382"/>
                    </a:lnTo>
                    <a:close/>
                    <a:moveTo>
                      <a:pt x="674" y="387"/>
                    </a:moveTo>
                    <a:lnTo>
                      <a:pt x="677" y="382"/>
                    </a:lnTo>
                    <a:lnTo>
                      <a:pt x="674" y="382"/>
                    </a:lnTo>
                    <a:lnTo>
                      <a:pt x="672" y="385"/>
                    </a:lnTo>
                    <a:lnTo>
                      <a:pt x="674" y="387"/>
                    </a:lnTo>
                    <a:lnTo>
                      <a:pt x="674" y="387"/>
                    </a:lnTo>
                    <a:close/>
                    <a:moveTo>
                      <a:pt x="676" y="388"/>
                    </a:moveTo>
                    <a:lnTo>
                      <a:pt x="671" y="392"/>
                    </a:lnTo>
                    <a:lnTo>
                      <a:pt x="672" y="392"/>
                    </a:lnTo>
                    <a:lnTo>
                      <a:pt x="664" y="395"/>
                    </a:lnTo>
                    <a:lnTo>
                      <a:pt x="661" y="398"/>
                    </a:lnTo>
                    <a:lnTo>
                      <a:pt x="664" y="398"/>
                    </a:lnTo>
                    <a:lnTo>
                      <a:pt x="676" y="395"/>
                    </a:lnTo>
                    <a:lnTo>
                      <a:pt x="676" y="392"/>
                    </a:lnTo>
                    <a:lnTo>
                      <a:pt x="676" y="388"/>
                    </a:lnTo>
                    <a:lnTo>
                      <a:pt x="676" y="388"/>
                    </a:lnTo>
                    <a:close/>
                    <a:moveTo>
                      <a:pt x="639" y="388"/>
                    </a:moveTo>
                    <a:lnTo>
                      <a:pt x="643" y="390"/>
                    </a:lnTo>
                    <a:lnTo>
                      <a:pt x="643" y="392"/>
                    </a:lnTo>
                    <a:lnTo>
                      <a:pt x="639" y="393"/>
                    </a:lnTo>
                    <a:lnTo>
                      <a:pt x="634" y="393"/>
                    </a:lnTo>
                    <a:lnTo>
                      <a:pt x="638" y="390"/>
                    </a:lnTo>
                    <a:lnTo>
                      <a:pt x="639" y="388"/>
                    </a:lnTo>
                    <a:lnTo>
                      <a:pt x="639" y="388"/>
                    </a:lnTo>
                    <a:close/>
                    <a:moveTo>
                      <a:pt x="569" y="365"/>
                    </a:moveTo>
                    <a:lnTo>
                      <a:pt x="579" y="360"/>
                    </a:lnTo>
                    <a:lnTo>
                      <a:pt x="586" y="365"/>
                    </a:lnTo>
                    <a:lnTo>
                      <a:pt x="591" y="365"/>
                    </a:lnTo>
                    <a:lnTo>
                      <a:pt x="594" y="362"/>
                    </a:lnTo>
                    <a:lnTo>
                      <a:pt x="601" y="365"/>
                    </a:lnTo>
                    <a:lnTo>
                      <a:pt x="603" y="368"/>
                    </a:lnTo>
                    <a:lnTo>
                      <a:pt x="608" y="368"/>
                    </a:lnTo>
                    <a:lnTo>
                      <a:pt x="611" y="373"/>
                    </a:lnTo>
                    <a:lnTo>
                      <a:pt x="614" y="378"/>
                    </a:lnTo>
                    <a:lnTo>
                      <a:pt x="616" y="380"/>
                    </a:lnTo>
                    <a:lnTo>
                      <a:pt x="609" y="383"/>
                    </a:lnTo>
                    <a:lnTo>
                      <a:pt x="603" y="383"/>
                    </a:lnTo>
                    <a:lnTo>
                      <a:pt x="596" y="382"/>
                    </a:lnTo>
                    <a:lnTo>
                      <a:pt x="593" y="377"/>
                    </a:lnTo>
                    <a:lnTo>
                      <a:pt x="589" y="375"/>
                    </a:lnTo>
                    <a:lnTo>
                      <a:pt x="584" y="372"/>
                    </a:lnTo>
                    <a:lnTo>
                      <a:pt x="579" y="372"/>
                    </a:lnTo>
                    <a:lnTo>
                      <a:pt x="573" y="372"/>
                    </a:lnTo>
                    <a:lnTo>
                      <a:pt x="569" y="368"/>
                    </a:lnTo>
                    <a:lnTo>
                      <a:pt x="569" y="365"/>
                    </a:lnTo>
                    <a:lnTo>
                      <a:pt x="569" y="365"/>
                    </a:lnTo>
                    <a:close/>
                    <a:moveTo>
                      <a:pt x="495" y="315"/>
                    </a:moveTo>
                    <a:lnTo>
                      <a:pt x="498" y="315"/>
                    </a:lnTo>
                    <a:lnTo>
                      <a:pt x="500" y="314"/>
                    </a:lnTo>
                    <a:lnTo>
                      <a:pt x="498" y="315"/>
                    </a:lnTo>
                    <a:lnTo>
                      <a:pt x="495" y="315"/>
                    </a:lnTo>
                    <a:lnTo>
                      <a:pt x="495" y="315"/>
                    </a:lnTo>
                    <a:lnTo>
                      <a:pt x="495" y="315"/>
                    </a:lnTo>
                    <a:close/>
                    <a:moveTo>
                      <a:pt x="480" y="309"/>
                    </a:moveTo>
                    <a:lnTo>
                      <a:pt x="483" y="310"/>
                    </a:lnTo>
                    <a:lnTo>
                      <a:pt x="486" y="307"/>
                    </a:lnTo>
                    <a:lnTo>
                      <a:pt x="490" y="309"/>
                    </a:lnTo>
                    <a:lnTo>
                      <a:pt x="491" y="309"/>
                    </a:lnTo>
                    <a:lnTo>
                      <a:pt x="490" y="307"/>
                    </a:lnTo>
                    <a:lnTo>
                      <a:pt x="486" y="305"/>
                    </a:lnTo>
                    <a:lnTo>
                      <a:pt x="481" y="305"/>
                    </a:lnTo>
                    <a:lnTo>
                      <a:pt x="480" y="307"/>
                    </a:lnTo>
                    <a:lnTo>
                      <a:pt x="480" y="309"/>
                    </a:lnTo>
                    <a:lnTo>
                      <a:pt x="480" y="309"/>
                    </a:lnTo>
                    <a:close/>
                    <a:moveTo>
                      <a:pt x="741" y="330"/>
                    </a:moveTo>
                    <a:lnTo>
                      <a:pt x="746" y="327"/>
                    </a:lnTo>
                    <a:lnTo>
                      <a:pt x="754" y="329"/>
                    </a:lnTo>
                    <a:lnTo>
                      <a:pt x="756" y="330"/>
                    </a:lnTo>
                    <a:lnTo>
                      <a:pt x="757" y="329"/>
                    </a:lnTo>
                    <a:lnTo>
                      <a:pt x="760" y="327"/>
                    </a:lnTo>
                    <a:lnTo>
                      <a:pt x="764" y="325"/>
                    </a:lnTo>
                    <a:lnTo>
                      <a:pt x="764" y="322"/>
                    </a:lnTo>
                    <a:lnTo>
                      <a:pt x="760" y="320"/>
                    </a:lnTo>
                    <a:lnTo>
                      <a:pt x="756" y="324"/>
                    </a:lnTo>
                    <a:lnTo>
                      <a:pt x="747" y="324"/>
                    </a:lnTo>
                    <a:lnTo>
                      <a:pt x="746" y="322"/>
                    </a:lnTo>
                    <a:lnTo>
                      <a:pt x="742" y="324"/>
                    </a:lnTo>
                    <a:lnTo>
                      <a:pt x="741" y="329"/>
                    </a:lnTo>
                    <a:lnTo>
                      <a:pt x="741" y="330"/>
                    </a:lnTo>
                    <a:lnTo>
                      <a:pt x="741" y="330"/>
                    </a:lnTo>
                    <a:close/>
                    <a:moveTo>
                      <a:pt x="732" y="335"/>
                    </a:moveTo>
                    <a:lnTo>
                      <a:pt x="731" y="339"/>
                    </a:lnTo>
                    <a:lnTo>
                      <a:pt x="732" y="339"/>
                    </a:lnTo>
                    <a:lnTo>
                      <a:pt x="734" y="337"/>
                    </a:lnTo>
                    <a:lnTo>
                      <a:pt x="732" y="335"/>
                    </a:lnTo>
                    <a:lnTo>
                      <a:pt x="732" y="335"/>
                    </a:lnTo>
                    <a:close/>
                    <a:moveTo>
                      <a:pt x="711" y="335"/>
                    </a:moveTo>
                    <a:lnTo>
                      <a:pt x="706" y="337"/>
                    </a:lnTo>
                    <a:lnTo>
                      <a:pt x="707" y="339"/>
                    </a:lnTo>
                    <a:lnTo>
                      <a:pt x="706" y="340"/>
                    </a:lnTo>
                    <a:lnTo>
                      <a:pt x="707" y="342"/>
                    </a:lnTo>
                    <a:lnTo>
                      <a:pt x="711" y="344"/>
                    </a:lnTo>
                    <a:lnTo>
                      <a:pt x="719" y="340"/>
                    </a:lnTo>
                    <a:lnTo>
                      <a:pt x="722" y="337"/>
                    </a:lnTo>
                    <a:lnTo>
                      <a:pt x="719" y="335"/>
                    </a:lnTo>
                    <a:lnTo>
                      <a:pt x="712" y="337"/>
                    </a:lnTo>
                    <a:lnTo>
                      <a:pt x="711" y="335"/>
                    </a:lnTo>
                    <a:lnTo>
                      <a:pt x="711" y="335"/>
                    </a:lnTo>
                    <a:close/>
                    <a:moveTo>
                      <a:pt x="694" y="344"/>
                    </a:moveTo>
                    <a:lnTo>
                      <a:pt x="697" y="344"/>
                    </a:lnTo>
                    <a:lnTo>
                      <a:pt x="699" y="345"/>
                    </a:lnTo>
                    <a:lnTo>
                      <a:pt x="702" y="342"/>
                    </a:lnTo>
                    <a:lnTo>
                      <a:pt x="702" y="340"/>
                    </a:lnTo>
                    <a:lnTo>
                      <a:pt x="701" y="342"/>
                    </a:lnTo>
                    <a:lnTo>
                      <a:pt x="696" y="342"/>
                    </a:lnTo>
                    <a:lnTo>
                      <a:pt x="694" y="344"/>
                    </a:lnTo>
                    <a:lnTo>
                      <a:pt x="694" y="344"/>
                    </a:lnTo>
                    <a:close/>
                    <a:moveTo>
                      <a:pt x="677" y="345"/>
                    </a:moveTo>
                    <a:lnTo>
                      <a:pt x="682" y="342"/>
                    </a:lnTo>
                    <a:lnTo>
                      <a:pt x="682" y="340"/>
                    </a:lnTo>
                    <a:lnTo>
                      <a:pt x="684" y="339"/>
                    </a:lnTo>
                    <a:lnTo>
                      <a:pt x="687" y="340"/>
                    </a:lnTo>
                    <a:lnTo>
                      <a:pt x="691" y="339"/>
                    </a:lnTo>
                    <a:lnTo>
                      <a:pt x="692" y="339"/>
                    </a:lnTo>
                    <a:lnTo>
                      <a:pt x="687" y="344"/>
                    </a:lnTo>
                    <a:lnTo>
                      <a:pt x="686" y="345"/>
                    </a:lnTo>
                    <a:lnTo>
                      <a:pt x="681" y="347"/>
                    </a:lnTo>
                    <a:lnTo>
                      <a:pt x="677" y="345"/>
                    </a:lnTo>
                    <a:lnTo>
                      <a:pt x="677" y="345"/>
                    </a:lnTo>
                    <a:close/>
                    <a:moveTo>
                      <a:pt x="674" y="344"/>
                    </a:moveTo>
                    <a:lnTo>
                      <a:pt x="669" y="345"/>
                    </a:lnTo>
                    <a:lnTo>
                      <a:pt x="667" y="349"/>
                    </a:lnTo>
                    <a:lnTo>
                      <a:pt x="671" y="345"/>
                    </a:lnTo>
                    <a:lnTo>
                      <a:pt x="674" y="344"/>
                    </a:lnTo>
                    <a:lnTo>
                      <a:pt x="674" y="344"/>
                    </a:lnTo>
                    <a:close/>
                    <a:moveTo>
                      <a:pt x="677" y="337"/>
                    </a:moveTo>
                    <a:lnTo>
                      <a:pt x="674" y="340"/>
                    </a:lnTo>
                    <a:lnTo>
                      <a:pt x="676" y="340"/>
                    </a:lnTo>
                    <a:lnTo>
                      <a:pt x="677" y="339"/>
                    </a:lnTo>
                    <a:lnTo>
                      <a:pt x="677" y="337"/>
                    </a:lnTo>
                    <a:lnTo>
                      <a:pt x="677" y="337"/>
                    </a:lnTo>
                    <a:close/>
                    <a:moveTo>
                      <a:pt x="591" y="347"/>
                    </a:moveTo>
                    <a:lnTo>
                      <a:pt x="591" y="347"/>
                    </a:lnTo>
                    <a:lnTo>
                      <a:pt x="593" y="342"/>
                    </a:lnTo>
                    <a:lnTo>
                      <a:pt x="599" y="339"/>
                    </a:lnTo>
                    <a:lnTo>
                      <a:pt x="611" y="337"/>
                    </a:lnTo>
                    <a:lnTo>
                      <a:pt x="618" y="339"/>
                    </a:lnTo>
                    <a:lnTo>
                      <a:pt x="621" y="339"/>
                    </a:lnTo>
                    <a:lnTo>
                      <a:pt x="626" y="340"/>
                    </a:lnTo>
                    <a:lnTo>
                      <a:pt x="633" y="344"/>
                    </a:lnTo>
                    <a:lnTo>
                      <a:pt x="638" y="342"/>
                    </a:lnTo>
                    <a:lnTo>
                      <a:pt x="646" y="342"/>
                    </a:lnTo>
                    <a:lnTo>
                      <a:pt x="649" y="344"/>
                    </a:lnTo>
                    <a:lnTo>
                      <a:pt x="654" y="344"/>
                    </a:lnTo>
                    <a:lnTo>
                      <a:pt x="658" y="340"/>
                    </a:lnTo>
                    <a:lnTo>
                      <a:pt x="661" y="339"/>
                    </a:lnTo>
                    <a:lnTo>
                      <a:pt x="664" y="335"/>
                    </a:lnTo>
                    <a:lnTo>
                      <a:pt x="662" y="335"/>
                    </a:lnTo>
                    <a:lnTo>
                      <a:pt x="666" y="332"/>
                    </a:lnTo>
                    <a:lnTo>
                      <a:pt x="671" y="334"/>
                    </a:lnTo>
                    <a:lnTo>
                      <a:pt x="672" y="339"/>
                    </a:lnTo>
                    <a:lnTo>
                      <a:pt x="669" y="342"/>
                    </a:lnTo>
                    <a:lnTo>
                      <a:pt x="666" y="344"/>
                    </a:lnTo>
                    <a:lnTo>
                      <a:pt x="662" y="347"/>
                    </a:lnTo>
                    <a:lnTo>
                      <a:pt x="658" y="347"/>
                    </a:lnTo>
                    <a:lnTo>
                      <a:pt x="656" y="350"/>
                    </a:lnTo>
                    <a:lnTo>
                      <a:pt x="653" y="349"/>
                    </a:lnTo>
                    <a:lnTo>
                      <a:pt x="644" y="349"/>
                    </a:lnTo>
                    <a:lnTo>
                      <a:pt x="638" y="352"/>
                    </a:lnTo>
                    <a:lnTo>
                      <a:pt x="631" y="350"/>
                    </a:lnTo>
                    <a:lnTo>
                      <a:pt x="624" y="352"/>
                    </a:lnTo>
                    <a:lnTo>
                      <a:pt x="624" y="353"/>
                    </a:lnTo>
                    <a:lnTo>
                      <a:pt x="621" y="353"/>
                    </a:lnTo>
                    <a:lnTo>
                      <a:pt x="618" y="352"/>
                    </a:lnTo>
                    <a:lnTo>
                      <a:pt x="613" y="353"/>
                    </a:lnTo>
                    <a:lnTo>
                      <a:pt x="611" y="352"/>
                    </a:lnTo>
                    <a:lnTo>
                      <a:pt x="606" y="350"/>
                    </a:lnTo>
                    <a:lnTo>
                      <a:pt x="603" y="352"/>
                    </a:lnTo>
                    <a:lnTo>
                      <a:pt x="599" y="350"/>
                    </a:lnTo>
                    <a:lnTo>
                      <a:pt x="596" y="350"/>
                    </a:lnTo>
                    <a:lnTo>
                      <a:pt x="593" y="350"/>
                    </a:lnTo>
                    <a:lnTo>
                      <a:pt x="591" y="347"/>
                    </a:lnTo>
                    <a:lnTo>
                      <a:pt x="591" y="347"/>
                    </a:lnTo>
                    <a:close/>
                    <a:moveTo>
                      <a:pt x="588" y="345"/>
                    </a:moveTo>
                    <a:lnTo>
                      <a:pt x="586" y="350"/>
                    </a:lnTo>
                    <a:lnTo>
                      <a:pt x="589" y="350"/>
                    </a:lnTo>
                    <a:lnTo>
                      <a:pt x="589" y="347"/>
                    </a:lnTo>
                    <a:lnTo>
                      <a:pt x="588" y="345"/>
                    </a:lnTo>
                    <a:lnTo>
                      <a:pt x="588" y="345"/>
                    </a:lnTo>
                    <a:close/>
                    <a:moveTo>
                      <a:pt x="586" y="344"/>
                    </a:moveTo>
                    <a:lnTo>
                      <a:pt x="581" y="342"/>
                    </a:lnTo>
                    <a:lnTo>
                      <a:pt x="579" y="347"/>
                    </a:lnTo>
                    <a:lnTo>
                      <a:pt x="583" y="350"/>
                    </a:lnTo>
                    <a:lnTo>
                      <a:pt x="583" y="345"/>
                    </a:lnTo>
                    <a:lnTo>
                      <a:pt x="586" y="344"/>
                    </a:lnTo>
                    <a:lnTo>
                      <a:pt x="586" y="344"/>
                    </a:lnTo>
                    <a:close/>
                    <a:moveTo>
                      <a:pt x="516" y="347"/>
                    </a:moveTo>
                    <a:lnTo>
                      <a:pt x="515" y="349"/>
                    </a:lnTo>
                    <a:lnTo>
                      <a:pt x="516" y="350"/>
                    </a:lnTo>
                    <a:lnTo>
                      <a:pt x="516" y="353"/>
                    </a:lnTo>
                    <a:lnTo>
                      <a:pt x="518" y="355"/>
                    </a:lnTo>
                    <a:lnTo>
                      <a:pt x="523" y="357"/>
                    </a:lnTo>
                    <a:lnTo>
                      <a:pt x="528" y="355"/>
                    </a:lnTo>
                    <a:lnTo>
                      <a:pt x="531" y="357"/>
                    </a:lnTo>
                    <a:lnTo>
                      <a:pt x="538" y="355"/>
                    </a:lnTo>
                    <a:lnTo>
                      <a:pt x="540" y="353"/>
                    </a:lnTo>
                    <a:lnTo>
                      <a:pt x="543" y="353"/>
                    </a:lnTo>
                    <a:lnTo>
                      <a:pt x="550" y="352"/>
                    </a:lnTo>
                    <a:lnTo>
                      <a:pt x="555" y="353"/>
                    </a:lnTo>
                    <a:lnTo>
                      <a:pt x="560" y="349"/>
                    </a:lnTo>
                    <a:lnTo>
                      <a:pt x="561" y="352"/>
                    </a:lnTo>
                    <a:lnTo>
                      <a:pt x="564" y="352"/>
                    </a:lnTo>
                    <a:lnTo>
                      <a:pt x="571" y="352"/>
                    </a:lnTo>
                    <a:lnTo>
                      <a:pt x="569" y="350"/>
                    </a:lnTo>
                    <a:lnTo>
                      <a:pt x="574" y="350"/>
                    </a:lnTo>
                    <a:lnTo>
                      <a:pt x="576" y="345"/>
                    </a:lnTo>
                    <a:lnTo>
                      <a:pt x="574" y="347"/>
                    </a:lnTo>
                    <a:lnTo>
                      <a:pt x="573" y="344"/>
                    </a:lnTo>
                    <a:lnTo>
                      <a:pt x="573" y="340"/>
                    </a:lnTo>
                    <a:lnTo>
                      <a:pt x="568" y="339"/>
                    </a:lnTo>
                    <a:lnTo>
                      <a:pt x="568" y="342"/>
                    </a:lnTo>
                    <a:lnTo>
                      <a:pt x="566" y="342"/>
                    </a:lnTo>
                    <a:lnTo>
                      <a:pt x="566" y="339"/>
                    </a:lnTo>
                    <a:lnTo>
                      <a:pt x="561" y="337"/>
                    </a:lnTo>
                    <a:lnTo>
                      <a:pt x="556" y="339"/>
                    </a:lnTo>
                    <a:lnTo>
                      <a:pt x="551" y="335"/>
                    </a:lnTo>
                    <a:lnTo>
                      <a:pt x="548" y="334"/>
                    </a:lnTo>
                    <a:lnTo>
                      <a:pt x="541" y="337"/>
                    </a:lnTo>
                    <a:lnTo>
                      <a:pt x="541" y="339"/>
                    </a:lnTo>
                    <a:lnTo>
                      <a:pt x="551" y="342"/>
                    </a:lnTo>
                    <a:lnTo>
                      <a:pt x="555" y="347"/>
                    </a:lnTo>
                    <a:lnTo>
                      <a:pt x="548" y="347"/>
                    </a:lnTo>
                    <a:lnTo>
                      <a:pt x="545" y="349"/>
                    </a:lnTo>
                    <a:lnTo>
                      <a:pt x="540" y="345"/>
                    </a:lnTo>
                    <a:lnTo>
                      <a:pt x="538" y="342"/>
                    </a:lnTo>
                    <a:lnTo>
                      <a:pt x="535" y="340"/>
                    </a:lnTo>
                    <a:lnTo>
                      <a:pt x="531" y="342"/>
                    </a:lnTo>
                    <a:lnTo>
                      <a:pt x="526" y="340"/>
                    </a:lnTo>
                    <a:lnTo>
                      <a:pt x="520" y="344"/>
                    </a:lnTo>
                    <a:lnTo>
                      <a:pt x="520" y="344"/>
                    </a:lnTo>
                    <a:lnTo>
                      <a:pt x="516" y="347"/>
                    </a:lnTo>
                    <a:lnTo>
                      <a:pt x="516" y="347"/>
                    </a:lnTo>
                    <a:close/>
                    <a:moveTo>
                      <a:pt x="501" y="342"/>
                    </a:moveTo>
                    <a:lnTo>
                      <a:pt x="506" y="339"/>
                    </a:lnTo>
                    <a:lnTo>
                      <a:pt x="515" y="340"/>
                    </a:lnTo>
                    <a:lnTo>
                      <a:pt x="513" y="345"/>
                    </a:lnTo>
                    <a:lnTo>
                      <a:pt x="511" y="349"/>
                    </a:lnTo>
                    <a:lnTo>
                      <a:pt x="511" y="352"/>
                    </a:lnTo>
                    <a:lnTo>
                      <a:pt x="508" y="350"/>
                    </a:lnTo>
                    <a:lnTo>
                      <a:pt x="503" y="352"/>
                    </a:lnTo>
                    <a:lnTo>
                      <a:pt x="496" y="350"/>
                    </a:lnTo>
                    <a:lnTo>
                      <a:pt x="495" y="349"/>
                    </a:lnTo>
                    <a:lnTo>
                      <a:pt x="496" y="347"/>
                    </a:lnTo>
                    <a:lnTo>
                      <a:pt x="501" y="347"/>
                    </a:lnTo>
                    <a:lnTo>
                      <a:pt x="501" y="342"/>
                    </a:lnTo>
                    <a:lnTo>
                      <a:pt x="501" y="342"/>
                    </a:lnTo>
                    <a:close/>
                    <a:moveTo>
                      <a:pt x="486" y="349"/>
                    </a:moveTo>
                    <a:lnTo>
                      <a:pt x="488" y="345"/>
                    </a:lnTo>
                    <a:lnTo>
                      <a:pt x="490" y="349"/>
                    </a:lnTo>
                    <a:lnTo>
                      <a:pt x="488" y="350"/>
                    </a:lnTo>
                    <a:lnTo>
                      <a:pt x="486" y="349"/>
                    </a:lnTo>
                    <a:lnTo>
                      <a:pt x="486" y="349"/>
                    </a:lnTo>
                    <a:close/>
                    <a:moveTo>
                      <a:pt x="463" y="335"/>
                    </a:moveTo>
                    <a:lnTo>
                      <a:pt x="463" y="339"/>
                    </a:lnTo>
                    <a:lnTo>
                      <a:pt x="465" y="340"/>
                    </a:lnTo>
                    <a:lnTo>
                      <a:pt x="471" y="342"/>
                    </a:lnTo>
                    <a:lnTo>
                      <a:pt x="478" y="347"/>
                    </a:lnTo>
                    <a:lnTo>
                      <a:pt x="480" y="349"/>
                    </a:lnTo>
                    <a:lnTo>
                      <a:pt x="481" y="345"/>
                    </a:lnTo>
                    <a:lnTo>
                      <a:pt x="485" y="344"/>
                    </a:lnTo>
                    <a:lnTo>
                      <a:pt x="486" y="342"/>
                    </a:lnTo>
                    <a:lnTo>
                      <a:pt x="491" y="342"/>
                    </a:lnTo>
                    <a:lnTo>
                      <a:pt x="493" y="339"/>
                    </a:lnTo>
                    <a:lnTo>
                      <a:pt x="486" y="334"/>
                    </a:lnTo>
                    <a:lnTo>
                      <a:pt x="481" y="332"/>
                    </a:lnTo>
                    <a:lnTo>
                      <a:pt x="475" y="335"/>
                    </a:lnTo>
                    <a:lnTo>
                      <a:pt x="468" y="334"/>
                    </a:lnTo>
                    <a:lnTo>
                      <a:pt x="463" y="335"/>
                    </a:lnTo>
                    <a:lnTo>
                      <a:pt x="463" y="335"/>
                    </a:lnTo>
                    <a:close/>
                    <a:moveTo>
                      <a:pt x="1051" y="339"/>
                    </a:moveTo>
                    <a:lnTo>
                      <a:pt x="1053" y="339"/>
                    </a:lnTo>
                    <a:lnTo>
                      <a:pt x="1058" y="340"/>
                    </a:lnTo>
                    <a:lnTo>
                      <a:pt x="1059" y="339"/>
                    </a:lnTo>
                    <a:lnTo>
                      <a:pt x="1058" y="334"/>
                    </a:lnTo>
                    <a:lnTo>
                      <a:pt x="1056" y="334"/>
                    </a:lnTo>
                    <a:lnTo>
                      <a:pt x="1053" y="334"/>
                    </a:lnTo>
                    <a:lnTo>
                      <a:pt x="1051" y="339"/>
                    </a:lnTo>
                    <a:lnTo>
                      <a:pt x="1051" y="339"/>
                    </a:lnTo>
                    <a:close/>
                    <a:moveTo>
                      <a:pt x="1028" y="339"/>
                    </a:moveTo>
                    <a:lnTo>
                      <a:pt x="1028" y="339"/>
                    </a:lnTo>
                    <a:lnTo>
                      <a:pt x="1036" y="339"/>
                    </a:lnTo>
                    <a:lnTo>
                      <a:pt x="1040" y="337"/>
                    </a:lnTo>
                    <a:lnTo>
                      <a:pt x="1046" y="339"/>
                    </a:lnTo>
                    <a:lnTo>
                      <a:pt x="1050" y="337"/>
                    </a:lnTo>
                    <a:lnTo>
                      <a:pt x="1053" y="332"/>
                    </a:lnTo>
                    <a:lnTo>
                      <a:pt x="1056" y="332"/>
                    </a:lnTo>
                    <a:lnTo>
                      <a:pt x="1058" y="330"/>
                    </a:lnTo>
                    <a:lnTo>
                      <a:pt x="1058" y="327"/>
                    </a:lnTo>
                    <a:lnTo>
                      <a:pt x="1059" y="327"/>
                    </a:lnTo>
                    <a:lnTo>
                      <a:pt x="1061" y="322"/>
                    </a:lnTo>
                    <a:lnTo>
                      <a:pt x="1061" y="320"/>
                    </a:lnTo>
                    <a:lnTo>
                      <a:pt x="1058" y="319"/>
                    </a:lnTo>
                    <a:lnTo>
                      <a:pt x="1056" y="317"/>
                    </a:lnTo>
                    <a:lnTo>
                      <a:pt x="1048" y="317"/>
                    </a:lnTo>
                    <a:lnTo>
                      <a:pt x="1043" y="319"/>
                    </a:lnTo>
                    <a:lnTo>
                      <a:pt x="1040" y="325"/>
                    </a:lnTo>
                    <a:lnTo>
                      <a:pt x="1038" y="330"/>
                    </a:lnTo>
                    <a:lnTo>
                      <a:pt x="1028" y="339"/>
                    </a:lnTo>
                    <a:lnTo>
                      <a:pt x="1028" y="339"/>
                    </a:lnTo>
                    <a:close/>
                    <a:moveTo>
                      <a:pt x="427" y="305"/>
                    </a:moveTo>
                    <a:lnTo>
                      <a:pt x="423" y="310"/>
                    </a:lnTo>
                    <a:lnTo>
                      <a:pt x="428" y="314"/>
                    </a:lnTo>
                    <a:lnTo>
                      <a:pt x="432" y="315"/>
                    </a:lnTo>
                    <a:lnTo>
                      <a:pt x="435" y="314"/>
                    </a:lnTo>
                    <a:lnTo>
                      <a:pt x="443" y="314"/>
                    </a:lnTo>
                    <a:lnTo>
                      <a:pt x="447" y="312"/>
                    </a:lnTo>
                    <a:lnTo>
                      <a:pt x="452" y="312"/>
                    </a:lnTo>
                    <a:lnTo>
                      <a:pt x="455" y="309"/>
                    </a:lnTo>
                    <a:lnTo>
                      <a:pt x="452" y="307"/>
                    </a:lnTo>
                    <a:lnTo>
                      <a:pt x="445" y="309"/>
                    </a:lnTo>
                    <a:lnTo>
                      <a:pt x="442" y="307"/>
                    </a:lnTo>
                    <a:lnTo>
                      <a:pt x="428" y="307"/>
                    </a:lnTo>
                    <a:lnTo>
                      <a:pt x="427" y="305"/>
                    </a:lnTo>
                    <a:lnTo>
                      <a:pt x="427" y="305"/>
                    </a:lnTo>
                    <a:close/>
                    <a:moveTo>
                      <a:pt x="244" y="299"/>
                    </a:moveTo>
                    <a:lnTo>
                      <a:pt x="244" y="300"/>
                    </a:lnTo>
                    <a:lnTo>
                      <a:pt x="246" y="300"/>
                    </a:lnTo>
                    <a:lnTo>
                      <a:pt x="246" y="299"/>
                    </a:lnTo>
                    <a:lnTo>
                      <a:pt x="244" y="299"/>
                    </a:lnTo>
                    <a:lnTo>
                      <a:pt x="244" y="299"/>
                    </a:lnTo>
                    <a:close/>
                    <a:moveTo>
                      <a:pt x="247" y="302"/>
                    </a:moveTo>
                    <a:lnTo>
                      <a:pt x="249" y="304"/>
                    </a:lnTo>
                    <a:lnTo>
                      <a:pt x="252" y="302"/>
                    </a:lnTo>
                    <a:lnTo>
                      <a:pt x="254" y="297"/>
                    </a:lnTo>
                    <a:lnTo>
                      <a:pt x="259" y="297"/>
                    </a:lnTo>
                    <a:lnTo>
                      <a:pt x="261" y="292"/>
                    </a:lnTo>
                    <a:lnTo>
                      <a:pt x="261" y="287"/>
                    </a:lnTo>
                    <a:lnTo>
                      <a:pt x="265" y="282"/>
                    </a:lnTo>
                    <a:lnTo>
                      <a:pt x="267" y="284"/>
                    </a:lnTo>
                    <a:lnTo>
                      <a:pt x="274" y="284"/>
                    </a:lnTo>
                    <a:lnTo>
                      <a:pt x="280" y="285"/>
                    </a:lnTo>
                    <a:lnTo>
                      <a:pt x="285" y="289"/>
                    </a:lnTo>
                    <a:lnTo>
                      <a:pt x="287" y="287"/>
                    </a:lnTo>
                    <a:lnTo>
                      <a:pt x="289" y="284"/>
                    </a:lnTo>
                    <a:lnTo>
                      <a:pt x="297" y="285"/>
                    </a:lnTo>
                    <a:lnTo>
                      <a:pt x="300" y="289"/>
                    </a:lnTo>
                    <a:lnTo>
                      <a:pt x="310" y="290"/>
                    </a:lnTo>
                    <a:lnTo>
                      <a:pt x="320" y="290"/>
                    </a:lnTo>
                    <a:lnTo>
                      <a:pt x="324" y="295"/>
                    </a:lnTo>
                    <a:lnTo>
                      <a:pt x="322" y="300"/>
                    </a:lnTo>
                    <a:lnTo>
                      <a:pt x="324" y="302"/>
                    </a:lnTo>
                    <a:lnTo>
                      <a:pt x="332" y="305"/>
                    </a:lnTo>
                    <a:lnTo>
                      <a:pt x="347" y="305"/>
                    </a:lnTo>
                    <a:lnTo>
                      <a:pt x="360" y="307"/>
                    </a:lnTo>
                    <a:lnTo>
                      <a:pt x="370" y="305"/>
                    </a:lnTo>
                    <a:lnTo>
                      <a:pt x="373" y="302"/>
                    </a:lnTo>
                    <a:lnTo>
                      <a:pt x="375" y="294"/>
                    </a:lnTo>
                    <a:lnTo>
                      <a:pt x="380" y="292"/>
                    </a:lnTo>
                    <a:lnTo>
                      <a:pt x="385" y="299"/>
                    </a:lnTo>
                    <a:lnTo>
                      <a:pt x="390" y="299"/>
                    </a:lnTo>
                    <a:lnTo>
                      <a:pt x="393" y="297"/>
                    </a:lnTo>
                    <a:lnTo>
                      <a:pt x="397" y="300"/>
                    </a:lnTo>
                    <a:lnTo>
                      <a:pt x="402" y="304"/>
                    </a:lnTo>
                    <a:lnTo>
                      <a:pt x="407" y="304"/>
                    </a:lnTo>
                    <a:lnTo>
                      <a:pt x="410" y="307"/>
                    </a:lnTo>
                    <a:lnTo>
                      <a:pt x="413" y="305"/>
                    </a:lnTo>
                    <a:lnTo>
                      <a:pt x="420" y="305"/>
                    </a:lnTo>
                    <a:lnTo>
                      <a:pt x="420" y="312"/>
                    </a:lnTo>
                    <a:lnTo>
                      <a:pt x="425" y="317"/>
                    </a:lnTo>
                    <a:lnTo>
                      <a:pt x="425" y="320"/>
                    </a:lnTo>
                    <a:lnTo>
                      <a:pt x="428" y="324"/>
                    </a:lnTo>
                    <a:lnTo>
                      <a:pt x="433" y="325"/>
                    </a:lnTo>
                    <a:lnTo>
                      <a:pt x="438" y="324"/>
                    </a:lnTo>
                    <a:lnTo>
                      <a:pt x="443" y="325"/>
                    </a:lnTo>
                    <a:lnTo>
                      <a:pt x="447" y="325"/>
                    </a:lnTo>
                    <a:lnTo>
                      <a:pt x="450" y="324"/>
                    </a:lnTo>
                    <a:lnTo>
                      <a:pt x="453" y="324"/>
                    </a:lnTo>
                    <a:lnTo>
                      <a:pt x="455" y="325"/>
                    </a:lnTo>
                    <a:lnTo>
                      <a:pt x="458" y="325"/>
                    </a:lnTo>
                    <a:lnTo>
                      <a:pt x="462" y="329"/>
                    </a:lnTo>
                    <a:lnTo>
                      <a:pt x="460" y="339"/>
                    </a:lnTo>
                    <a:lnTo>
                      <a:pt x="458" y="342"/>
                    </a:lnTo>
                    <a:lnTo>
                      <a:pt x="460" y="344"/>
                    </a:lnTo>
                    <a:lnTo>
                      <a:pt x="462" y="350"/>
                    </a:lnTo>
                    <a:lnTo>
                      <a:pt x="458" y="350"/>
                    </a:lnTo>
                    <a:lnTo>
                      <a:pt x="455" y="347"/>
                    </a:lnTo>
                    <a:lnTo>
                      <a:pt x="450" y="347"/>
                    </a:lnTo>
                    <a:lnTo>
                      <a:pt x="443" y="344"/>
                    </a:lnTo>
                    <a:lnTo>
                      <a:pt x="438" y="342"/>
                    </a:lnTo>
                    <a:lnTo>
                      <a:pt x="435" y="337"/>
                    </a:lnTo>
                    <a:lnTo>
                      <a:pt x="430" y="337"/>
                    </a:lnTo>
                    <a:lnTo>
                      <a:pt x="423" y="340"/>
                    </a:lnTo>
                    <a:lnTo>
                      <a:pt x="417" y="340"/>
                    </a:lnTo>
                    <a:lnTo>
                      <a:pt x="410" y="337"/>
                    </a:lnTo>
                    <a:lnTo>
                      <a:pt x="403" y="337"/>
                    </a:lnTo>
                    <a:lnTo>
                      <a:pt x="398" y="340"/>
                    </a:lnTo>
                    <a:lnTo>
                      <a:pt x="392" y="337"/>
                    </a:lnTo>
                    <a:lnTo>
                      <a:pt x="383" y="335"/>
                    </a:lnTo>
                    <a:lnTo>
                      <a:pt x="378" y="339"/>
                    </a:lnTo>
                    <a:lnTo>
                      <a:pt x="365" y="334"/>
                    </a:lnTo>
                    <a:lnTo>
                      <a:pt x="354" y="327"/>
                    </a:lnTo>
                    <a:lnTo>
                      <a:pt x="347" y="327"/>
                    </a:lnTo>
                    <a:lnTo>
                      <a:pt x="340" y="324"/>
                    </a:lnTo>
                    <a:lnTo>
                      <a:pt x="337" y="324"/>
                    </a:lnTo>
                    <a:lnTo>
                      <a:pt x="334" y="327"/>
                    </a:lnTo>
                    <a:lnTo>
                      <a:pt x="329" y="327"/>
                    </a:lnTo>
                    <a:lnTo>
                      <a:pt x="325" y="324"/>
                    </a:lnTo>
                    <a:lnTo>
                      <a:pt x="322" y="324"/>
                    </a:lnTo>
                    <a:lnTo>
                      <a:pt x="319" y="329"/>
                    </a:lnTo>
                    <a:lnTo>
                      <a:pt x="307" y="325"/>
                    </a:lnTo>
                    <a:lnTo>
                      <a:pt x="300" y="320"/>
                    </a:lnTo>
                    <a:lnTo>
                      <a:pt x="292" y="319"/>
                    </a:lnTo>
                    <a:lnTo>
                      <a:pt x="289" y="319"/>
                    </a:lnTo>
                    <a:lnTo>
                      <a:pt x="285" y="320"/>
                    </a:lnTo>
                    <a:lnTo>
                      <a:pt x="279" y="319"/>
                    </a:lnTo>
                    <a:lnTo>
                      <a:pt x="272" y="317"/>
                    </a:lnTo>
                    <a:lnTo>
                      <a:pt x="270" y="315"/>
                    </a:lnTo>
                    <a:lnTo>
                      <a:pt x="274" y="310"/>
                    </a:lnTo>
                    <a:lnTo>
                      <a:pt x="275" y="309"/>
                    </a:lnTo>
                    <a:lnTo>
                      <a:pt x="272" y="309"/>
                    </a:lnTo>
                    <a:lnTo>
                      <a:pt x="269" y="310"/>
                    </a:lnTo>
                    <a:lnTo>
                      <a:pt x="265" y="307"/>
                    </a:lnTo>
                    <a:lnTo>
                      <a:pt x="264" y="304"/>
                    </a:lnTo>
                    <a:lnTo>
                      <a:pt x="259" y="305"/>
                    </a:lnTo>
                    <a:lnTo>
                      <a:pt x="249" y="305"/>
                    </a:lnTo>
                    <a:lnTo>
                      <a:pt x="246" y="304"/>
                    </a:lnTo>
                    <a:lnTo>
                      <a:pt x="246" y="302"/>
                    </a:lnTo>
                    <a:lnTo>
                      <a:pt x="247" y="302"/>
                    </a:lnTo>
                    <a:lnTo>
                      <a:pt x="247" y="302"/>
                    </a:lnTo>
                    <a:close/>
                    <a:moveTo>
                      <a:pt x="310" y="55"/>
                    </a:moveTo>
                    <a:lnTo>
                      <a:pt x="315" y="59"/>
                    </a:lnTo>
                    <a:lnTo>
                      <a:pt x="317" y="59"/>
                    </a:lnTo>
                    <a:lnTo>
                      <a:pt x="317" y="63"/>
                    </a:lnTo>
                    <a:lnTo>
                      <a:pt x="320" y="63"/>
                    </a:lnTo>
                    <a:lnTo>
                      <a:pt x="322" y="56"/>
                    </a:lnTo>
                    <a:lnTo>
                      <a:pt x="317" y="50"/>
                    </a:lnTo>
                    <a:lnTo>
                      <a:pt x="312" y="51"/>
                    </a:lnTo>
                    <a:lnTo>
                      <a:pt x="310" y="55"/>
                    </a:lnTo>
                    <a:lnTo>
                      <a:pt x="310" y="55"/>
                    </a:lnTo>
                    <a:close/>
                    <a:moveTo>
                      <a:pt x="270" y="81"/>
                    </a:moveTo>
                    <a:lnTo>
                      <a:pt x="270" y="86"/>
                    </a:lnTo>
                    <a:lnTo>
                      <a:pt x="272" y="84"/>
                    </a:lnTo>
                    <a:lnTo>
                      <a:pt x="270" y="81"/>
                    </a:lnTo>
                    <a:lnTo>
                      <a:pt x="270" y="81"/>
                    </a:lnTo>
                    <a:close/>
                    <a:moveTo>
                      <a:pt x="270" y="73"/>
                    </a:moveTo>
                    <a:lnTo>
                      <a:pt x="272" y="69"/>
                    </a:lnTo>
                    <a:lnTo>
                      <a:pt x="269" y="69"/>
                    </a:lnTo>
                    <a:lnTo>
                      <a:pt x="270" y="73"/>
                    </a:lnTo>
                    <a:lnTo>
                      <a:pt x="270" y="73"/>
                    </a:lnTo>
                    <a:close/>
                    <a:moveTo>
                      <a:pt x="270" y="74"/>
                    </a:moveTo>
                    <a:lnTo>
                      <a:pt x="269" y="78"/>
                    </a:lnTo>
                    <a:lnTo>
                      <a:pt x="272" y="78"/>
                    </a:lnTo>
                    <a:lnTo>
                      <a:pt x="270" y="74"/>
                    </a:lnTo>
                    <a:lnTo>
                      <a:pt x="270" y="74"/>
                    </a:lnTo>
                    <a:close/>
                    <a:moveTo>
                      <a:pt x="256" y="79"/>
                    </a:moveTo>
                    <a:lnTo>
                      <a:pt x="256" y="83"/>
                    </a:lnTo>
                    <a:lnTo>
                      <a:pt x="257" y="84"/>
                    </a:lnTo>
                    <a:lnTo>
                      <a:pt x="262" y="79"/>
                    </a:lnTo>
                    <a:lnTo>
                      <a:pt x="259" y="78"/>
                    </a:lnTo>
                    <a:lnTo>
                      <a:pt x="256" y="79"/>
                    </a:lnTo>
                    <a:lnTo>
                      <a:pt x="256" y="79"/>
                    </a:lnTo>
                    <a:close/>
                    <a:moveTo>
                      <a:pt x="214" y="128"/>
                    </a:moveTo>
                    <a:lnTo>
                      <a:pt x="219" y="128"/>
                    </a:lnTo>
                    <a:lnTo>
                      <a:pt x="221" y="124"/>
                    </a:lnTo>
                    <a:lnTo>
                      <a:pt x="221" y="121"/>
                    </a:lnTo>
                    <a:lnTo>
                      <a:pt x="214" y="128"/>
                    </a:lnTo>
                    <a:lnTo>
                      <a:pt x="214" y="128"/>
                    </a:lnTo>
                    <a:close/>
                    <a:moveTo>
                      <a:pt x="226" y="123"/>
                    </a:moveTo>
                    <a:lnTo>
                      <a:pt x="224" y="128"/>
                    </a:lnTo>
                    <a:lnTo>
                      <a:pt x="229" y="129"/>
                    </a:lnTo>
                    <a:lnTo>
                      <a:pt x="231" y="134"/>
                    </a:lnTo>
                    <a:lnTo>
                      <a:pt x="234" y="133"/>
                    </a:lnTo>
                    <a:lnTo>
                      <a:pt x="234" y="126"/>
                    </a:lnTo>
                    <a:lnTo>
                      <a:pt x="232" y="124"/>
                    </a:lnTo>
                    <a:lnTo>
                      <a:pt x="234" y="121"/>
                    </a:lnTo>
                    <a:lnTo>
                      <a:pt x="232" y="121"/>
                    </a:lnTo>
                    <a:lnTo>
                      <a:pt x="229" y="123"/>
                    </a:lnTo>
                    <a:lnTo>
                      <a:pt x="226" y="123"/>
                    </a:lnTo>
                    <a:lnTo>
                      <a:pt x="226" y="123"/>
                    </a:lnTo>
                    <a:close/>
                    <a:moveTo>
                      <a:pt x="334" y="189"/>
                    </a:moveTo>
                    <a:lnTo>
                      <a:pt x="334" y="191"/>
                    </a:lnTo>
                    <a:lnTo>
                      <a:pt x="337" y="192"/>
                    </a:lnTo>
                    <a:lnTo>
                      <a:pt x="339" y="191"/>
                    </a:lnTo>
                    <a:lnTo>
                      <a:pt x="337" y="189"/>
                    </a:lnTo>
                    <a:lnTo>
                      <a:pt x="334" y="189"/>
                    </a:lnTo>
                    <a:lnTo>
                      <a:pt x="334" y="189"/>
                    </a:lnTo>
                    <a:close/>
                    <a:moveTo>
                      <a:pt x="302" y="209"/>
                    </a:moveTo>
                    <a:lnTo>
                      <a:pt x="304" y="212"/>
                    </a:lnTo>
                    <a:lnTo>
                      <a:pt x="302" y="214"/>
                    </a:lnTo>
                    <a:lnTo>
                      <a:pt x="297" y="216"/>
                    </a:lnTo>
                    <a:lnTo>
                      <a:pt x="295" y="217"/>
                    </a:lnTo>
                    <a:lnTo>
                      <a:pt x="300" y="219"/>
                    </a:lnTo>
                    <a:lnTo>
                      <a:pt x="300" y="217"/>
                    </a:lnTo>
                    <a:lnTo>
                      <a:pt x="304" y="216"/>
                    </a:lnTo>
                    <a:lnTo>
                      <a:pt x="304" y="221"/>
                    </a:lnTo>
                    <a:lnTo>
                      <a:pt x="307" y="226"/>
                    </a:lnTo>
                    <a:lnTo>
                      <a:pt x="310" y="219"/>
                    </a:lnTo>
                    <a:lnTo>
                      <a:pt x="314" y="222"/>
                    </a:lnTo>
                    <a:lnTo>
                      <a:pt x="317" y="224"/>
                    </a:lnTo>
                    <a:lnTo>
                      <a:pt x="319" y="221"/>
                    </a:lnTo>
                    <a:lnTo>
                      <a:pt x="322" y="219"/>
                    </a:lnTo>
                    <a:lnTo>
                      <a:pt x="320" y="214"/>
                    </a:lnTo>
                    <a:lnTo>
                      <a:pt x="312" y="209"/>
                    </a:lnTo>
                    <a:lnTo>
                      <a:pt x="304" y="207"/>
                    </a:lnTo>
                    <a:lnTo>
                      <a:pt x="302" y="209"/>
                    </a:lnTo>
                    <a:lnTo>
                      <a:pt x="302" y="209"/>
                    </a:lnTo>
                    <a:close/>
                    <a:moveTo>
                      <a:pt x="285" y="217"/>
                    </a:moveTo>
                    <a:lnTo>
                      <a:pt x="285" y="221"/>
                    </a:lnTo>
                    <a:lnTo>
                      <a:pt x="287" y="219"/>
                    </a:lnTo>
                    <a:lnTo>
                      <a:pt x="285" y="217"/>
                    </a:lnTo>
                    <a:lnTo>
                      <a:pt x="285" y="217"/>
                    </a:lnTo>
                    <a:close/>
                    <a:moveTo>
                      <a:pt x="251" y="189"/>
                    </a:moveTo>
                    <a:lnTo>
                      <a:pt x="251" y="192"/>
                    </a:lnTo>
                    <a:lnTo>
                      <a:pt x="246" y="196"/>
                    </a:lnTo>
                    <a:lnTo>
                      <a:pt x="249" y="199"/>
                    </a:lnTo>
                    <a:lnTo>
                      <a:pt x="257" y="199"/>
                    </a:lnTo>
                    <a:lnTo>
                      <a:pt x="261" y="202"/>
                    </a:lnTo>
                    <a:lnTo>
                      <a:pt x="261" y="206"/>
                    </a:lnTo>
                    <a:lnTo>
                      <a:pt x="264" y="207"/>
                    </a:lnTo>
                    <a:lnTo>
                      <a:pt x="265" y="214"/>
                    </a:lnTo>
                    <a:lnTo>
                      <a:pt x="270" y="217"/>
                    </a:lnTo>
                    <a:lnTo>
                      <a:pt x="275" y="216"/>
                    </a:lnTo>
                    <a:lnTo>
                      <a:pt x="277" y="221"/>
                    </a:lnTo>
                    <a:lnTo>
                      <a:pt x="279" y="222"/>
                    </a:lnTo>
                    <a:lnTo>
                      <a:pt x="280" y="219"/>
                    </a:lnTo>
                    <a:lnTo>
                      <a:pt x="279" y="214"/>
                    </a:lnTo>
                    <a:lnTo>
                      <a:pt x="282" y="209"/>
                    </a:lnTo>
                    <a:lnTo>
                      <a:pt x="274" y="207"/>
                    </a:lnTo>
                    <a:lnTo>
                      <a:pt x="269" y="202"/>
                    </a:lnTo>
                    <a:lnTo>
                      <a:pt x="267" y="192"/>
                    </a:lnTo>
                    <a:lnTo>
                      <a:pt x="265" y="191"/>
                    </a:lnTo>
                    <a:lnTo>
                      <a:pt x="264" y="187"/>
                    </a:lnTo>
                    <a:lnTo>
                      <a:pt x="261" y="186"/>
                    </a:lnTo>
                    <a:lnTo>
                      <a:pt x="257" y="186"/>
                    </a:lnTo>
                    <a:lnTo>
                      <a:pt x="259" y="189"/>
                    </a:lnTo>
                    <a:lnTo>
                      <a:pt x="261" y="192"/>
                    </a:lnTo>
                    <a:lnTo>
                      <a:pt x="256" y="191"/>
                    </a:lnTo>
                    <a:lnTo>
                      <a:pt x="252" y="187"/>
                    </a:lnTo>
                    <a:lnTo>
                      <a:pt x="251" y="189"/>
                    </a:lnTo>
                    <a:lnTo>
                      <a:pt x="251" y="189"/>
                    </a:lnTo>
                    <a:close/>
                    <a:moveTo>
                      <a:pt x="227" y="162"/>
                    </a:moveTo>
                    <a:lnTo>
                      <a:pt x="226" y="166"/>
                    </a:lnTo>
                    <a:lnTo>
                      <a:pt x="229" y="169"/>
                    </a:lnTo>
                    <a:lnTo>
                      <a:pt x="234" y="166"/>
                    </a:lnTo>
                    <a:lnTo>
                      <a:pt x="232" y="162"/>
                    </a:lnTo>
                    <a:lnTo>
                      <a:pt x="227" y="162"/>
                    </a:lnTo>
                    <a:lnTo>
                      <a:pt x="227" y="162"/>
                    </a:lnTo>
                    <a:close/>
                    <a:moveTo>
                      <a:pt x="231" y="153"/>
                    </a:moveTo>
                    <a:lnTo>
                      <a:pt x="229" y="157"/>
                    </a:lnTo>
                    <a:lnTo>
                      <a:pt x="231" y="159"/>
                    </a:lnTo>
                    <a:lnTo>
                      <a:pt x="236" y="159"/>
                    </a:lnTo>
                    <a:lnTo>
                      <a:pt x="241" y="161"/>
                    </a:lnTo>
                    <a:lnTo>
                      <a:pt x="242" y="159"/>
                    </a:lnTo>
                    <a:lnTo>
                      <a:pt x="236" y="154"/>
                    </a:lnTo>
                    <a:lnTo>
                      <a:pt x="231" y="153"/>
                    </a:lnTo>
                    <a:lnTo>
                      <a:pt x="231" y="153"/>
                    </a:lnTo>
                    <a:close/>
                    <a:moveTo>
                      <a:pt x="182" y="123"/>
                    </a:moveTo>
                    <a:lnTo>
                      <a:pt x="179" y="129"/>
                    </a:lnTo>
                    <a:lnTo>
                      <a:pt x="181" y="133"/>
                    </a:lnTo>
                    <a:lnTo>
                      <a:pt x="189" y="134"/>
                    </a:lnTo>
                    <a:lnTo>
                      <a:pt x="194" y="136"/>
                    </a:lnTo>
                    <a:lnTo>
                      <a:pt x="196" y="134"/>
                    </a:lnTo>
                    <a:lnTo>
                      <a:pt x="194" y="129"/>
                    </a:lnTo>
                    <a:lnTo>
                      <a:pt x="189" y="124"/>
                    </a:lnTo>
                    <a:lnTo>
                      <a:pt x="182" y="123"/>
                    </a:lnTo>
                    <a:lnTo>
                      <a:pt x="182" y="123"/>
                    </a:lnTo>
                    <a:close/>
                    <a:moveTo>
                      <a:pt x="169" y="116"/>
                    </a:moveTo>
                    <a:lnTo>
                      <a:pt x="172" y="116"/>
                    </a:lnTo>
                    <a:lnTo>
                      <a:pt x="177" y="118"/>
                    </a:lnTo>
                    <a:lnTo>
                      <a:pt x="181" y="121"/>
                    </a:lnTo>
                    <a:lnTo>
                      <a:pt x="177" y="126"/>
                    </a:lnTo>
                    <a:lnTo>
                      <a:pt x="176" y="124"/>
                    </a:lnTo>
                    <a:lnTo>
                      <a:pt x="169" y="116"/>
                    </a:lnTo>
                    <a:lnTo>
                      <a:pt x="169" y="116"/>
                    </a:lnTo>
                    <a:close/>
                    <a:moveTo>
                      <a:pt x="153" y="106"/>
                    </a:moveTo>
                    <a:lnTo>
                      <a:pt x="156" y="113"/>
                    </a:lnTo>
                    <a:lnTo>
                      <a:pt x="159" y="111"/>
                    </a:lnTo>
                    <a:lnTo>
                      <a:pt x="164" y="108"/>
                    </a:lnTo>
                    <a:lnTo>
                      <a:pt x="159" y="103"/>
                    </a:lnTo>
                    <a:lnTo>
                      <a:pt x="156" y="104"/>
                    </a:lnTo>
                    <a:lnTo>
                      <a:pt x="153" y="106"/>
                    </a:lnTo>
                    <a:lnTo>
                      <a:pt x="153" y="106"/>
                    </a:lnTo>
                    <a:close/>
                    <a:moveTo>
                      <a:pt x="169" y="270"/>
                    </a:moveTo>
                    <a:lnTo>
                      <a:pt x="176" y="274"/>
                    </a:lnTo>
                    <a:lnTo>
                      <a:pt x="176" y="270"/>
                    </a:lnTo>
                    <a:lnTo>
                      <a:pt x="172" y="269"/>
                    </a:lnTo>
                    <a:lnTo>
                      <a:pt x="169" y="270"/>
                    </a:lnTo>
                    <a:lnTo>
                      <a:pt x="169" y="270"/>
                    </a:lnTo>
                    <a:close/>
                    <a:moveTo>
                      <a:pt x="124" y="214"/>
                    </a:moveTo>
                    <a:lnTo>
                      <a:pt x="121" y="219"/>
                    </a:lnTo>
                    <a:lnTo>
                      <a:pt x="131" y="226"/>
                    </a:lnTo>
                    <a:lnTo>
                      <a:pt x="129" y="222"/>
                    </a:lnTo>
                    <a:lnTo>
                      <a:pt x="129" y="219"/>
                    </a:lnTo>
                    <a:lnTo>
                      <a:pt x="124" y="214"/>
                    </a:lnTo>
                    <a:lnTo>
                      <a:pt x="124" y="214"/>
                    </a:lnTo>
                    <a:close/>
                    <a:moveTo>
                      <a:pt x="118" y="211"/>
                    </a:moveTo>
                    <a:lnTo>
                      <a:pt x="121" y="212"/>
                    </a:lnTo>
                    <a:lnTo>
                      <a:pt x="118" y="216"/>
                    </a:lnTo>
                    <a:lnTo>
                      <a:pt x="118" y="211"/>
                    </a:lnTo>
                    <a:lnTo>
                      <a:pt x="118" y="211"/>
                    </a:lnTo>
                    <a:close/>
                    <a:moveTo>
                      <a:pt x="108" y="197"/>
                    </a:moveTo>
                    <a:lnTo>
                      <a:pt x="106" y="199"/>
                    </a:lnTo>
                    <a:lnTo>
                      <a:pt x="109" y="202"/>
                    </a:lnTo>
                    <a:lnTo>
                      <a:pt x="114" y="204"/>
                    </a:lnTo>
                    <a:lnTo>
                      <a:pt x="108" y="197"/>
                    </a:lnTo>
                    <a:lnTo>
                      <a:pt x="108" y="197"/>
                    </a:lnTo>
                    <a:close/>
                    <a:moveTo>
                      <a:pt x="83" y="177"/>
                    </a:moveTo>
                    <a:lnTo>
                      <a:pt x="83" y="181"/>
                    </a:lnTo>
                    <a:lnTo>
                      <a:pt x="88" y="182"/>
                    </a:lnTo>
                    <a:lnTo>
                      <a:pt x="94" y="191"/>
                    </a:lnTo>
                    <a:lnTo>
                      <a:pt x="99" y="192"/>
                    </a:lnTo>
                    <a:lnTo>
                      <a:pt x="99" y="184"/>
                    </a:lnTo>
                    <a:lnTo>
                      <a:pt x="93" y="174"/>
                    </a:lnTo>
                    <a:lnTo>
                      <a:pt x="88" y="172"/>
                    </a:lnTo>
                    <a:lnTo>
                      <a:pt x="83" y="177"/>
                    </a:lnTo>
                    <a:lnTo>
                      <a:pt x="83" y="177"/>
                    </a:lnTo>
                    <a:close/>
                    <a:moveTo>
                      <a:pt x="79" y="161"/>
                    </a:moveTo>
                    <a:lnTo>
                      <a:pt x="76" y="166"/>
                    </a:lnTo>
                    <a:lnTo>
                      <a:pt x="79" y="167"/>
                    </a:lnTo>
                    <a:lnTo>
                      <a:pt x="83" y="166"/>
                    </a:lnTo>
                    <a:lnTo>
                      <a:pt x="83" y="162"/>
                    </a:lnTo>
                    <a:lnTo>
                      <a:pt x="79" y="161"/>
                    </a:lnTo>
                    <a:lnTo>
                      <a:pt x="79" y="161"/>
                    </a:lnTo>
                    <a:close/>
                    <a:moveTo>
                      <a:pt x="83" y="149"/>
                    </a:moveTo>
                    <a:lnTo>
                      <a:pt x="88" y="149"/>
                    </a:lnTo>
                    <a:lnTo>
                      <a:pt x="89" y="149"/>
                    </a:lnTo>
                    <a:lnTo>
                      <a:pt x="91" y="148"/>
                    </a:lnTo>
                    <a:lnTo>
                      <a:pt x="84" y="146"/>
                    </a:lnTo>
                    <a:lnTo>
                      <a:pt x="83" y="149"/>
                    </a:lnTo>
                    <a:lnTo>
                      <a:pt x="83" y="149"/>
                    </a:lnTo>
                    <a:close/>
                    <a:moveTo>
                      <a:pt x="48" y="119"/>
                    </a:moveTo>
                    <a:lnTo>
                      <a:pt x="53" y="119"/>
                    </a:lnTo>
                    <a:lnTo>
                      <a:pt x="55" y="116"/>
                    </a:lnTo>
                    <a:lnTo>
                      <a:pt x="58" y="118"/>
                    </a:lnTo>
                    <a:lnTo>
                      <a:pt x="61" y="124"/>
                    </a:lnTo>
                    <a:lnTo>
                      <a:pt x="66" y="128"/>
                    </a:lnTo>
                    <a:lnTo>
                      <a:pt x="66" y="131"/>
                    </a:lnTo>
                    <a:lnTo>
                      <a:pt x="65" y="136"/>
                    </a:lnTo>
                    <a:lnTo>
                      <a:pt x="63" y="138"/>
                    </a:lnTo>
                    <a:lnTo>
                      <a:pt x="58" y="129"/>
                    </a:lnTo>
                    <a:lnTo>
                      <a:pt x="55" y="129"/>
                    </a:lnTo>
                    <a:lnTo>
                      <a:pt x="53" y="124"/>
                    </a:lnTo>
                    <a:lnTo>
                      <a:pt x="48" y="119"/>
                    </a:lnTo>
                    <a:lnTo>
                      <a:pt x="48" y="119"/>
                    </a:lnTo>
                    <a:close/>
                    <a:moveTo>
                      <a:pt x="48" y="103"/>
                    </a:moveTo>
                    <a:lnTo>
                      <a:pt x="53" y="104"/>
                    </a:lnTo>
                    <a:lnTo>
                      <a:pt x="51" y="101"/>
                    </a:lnTo>
                    <a:lnTo>
                      <a:pt x="48" y="103"/>
                    </a:lnTo>
                    <a:lnTo>
                      <a:pt x="48" y="103"/>
                    </a:lnTo>
                    <a:close/>
                    <a:moveTo>
                      <a:pt x="15" y="83"/>
                    </a:moveTo>
                    <a:lnTo>
                      <a:pt x="13" y="84"/>
                    </a:lnTo>
                    <a:lnTo>
                      <a:pt x="11" y="88"/>
                    </a:lnTo>
                    <a:lnTo>
                      <a:pt x="16" y="91"/>
                    </a:lnTo>
                    <a:lnTo>
                      <a:pt x="21" y="89"/>
                    </a:lnTo>
                    <a:lnTo>
                      <a:pt x="18" y="86"/>
                    </a:lnTo>
                    <a:lnTo>
                      <a:pt x="15" y="83"/>
                    </a:lnTo>
                    <a:lnTo>
                      <a:pt x="15" y="83"/>
                    </a:lnTo>
                    <a:close/>
                    <a:moveTo>
                      <a:pt x="0" y="21"/>
                    </a:moveTo>
                    <a:lnTo>
                      <a:pt x="0" y="25"/>
                    </a:lnTo>
                    <a:lnTo>
                      <a:pt x="1" y="30"/>
                    </a:lnTo>
                    <a:lnTo>
                      <a:pt x="6" y="43"/>
                    </a:lnTo>
                    <a:lnTo>
                      <a:pt x="11" y="45"/>
                    </a:lnTo>
                    <a:lnTo>
                      <a:pt x="21" y="55"/>
                    </a:lnTo>
                    <a:lnTo>
                      <a:pt x="25" y="55"/>
                    </a:lnTo>
                    <a:lnTo>
                      <a:pt x="31" y="61"/>
                    </a:lnTo>
                    <a:lnTo>
                      <a:pt x="35" y="63"/>
                    </a:lnTo>
                    <a:lnTo>
                      <a:pt x="38" y="61"/>
                    </a:lnTo>
                    <a:lnTo>
                      <a:pt x="45" y="68"/>
                    </a:lnTo>
                    <a:lnTo>
                      <a:pt x="55" y="79"/>
                    </a:lnTo>
                    <a:lnTo>
                      <a:pt x="63" y="88"/>
                    </a:lnTo>
                    <a:lnTo>
                      <a:pt x="65" y="88"/>
                    </a:lnTo>
                    <a:lnTo>
                      <a:pt x="65" y="93"/>
                    </a:lnTo>
                    <a:lnTo>
                      <a:pt x="68" y="94"/>
                    </a:lnTo>
                    <a:lnTo>
                      <a:pt x="68" y="101"/>
                    </a:lnTo>
                    <a:lnTo>
                      <a:pt x="71" y="103"/>
                    </a:lnTo>
                    <a:lnTo>
                      <a:pt x="76" y="103"/>
                    </a:lnTo>
                    <a:lnTo>
                      <a:pt x="83" y="111"/>
                    </a:lnTo>
                    <a:lnTo>
                      <a:pt x="86" y="113"/>
                    </a:lnTo>
                    <a:lnTo>
                      <a:pt x="89" y="111"/>
                    </a:lnTo>
                    <a:lnTo>
                      <a:pt x="89" y="114"/>
                    </a:lnTo>
                    <a:lnTo>
                      <a:pt x="88" y="118"/>
                    </a:lnTo>
                    <a:lnTo>
                      <a:pt x="91" y="119"/>
                    </a:lnTo>
                    <a:lnTo>
                      <a:pt x="93" y="126"/>
                    </a:lnTo>
                    <a:lnTo>
                      <a:pt x="93" y="128"/>
                    </a:lnTo>
                    <a:lnTo>
                      <a:pt x="98" y="139"/>
                    </a:lnTo>
                    <a:lnTo>
                      <a:pt x="99" y="146"/>
                    </a:lnTo>
                    <a:lnTo>
                      <a:pt x="106" y="148"/>
                    </a:lnTo>
                    <a:lnTo>
                      <a:pt x="114" y="151"/>
                    </a:lnTo>
                    <a:lnTo>
                      <a:pt x="114" y="154"/>
                    </a:lnTo>
                    <a:lnTo>
                      <a:pt x="119" y="164"/>
                    </a:lnTo>
                    <a:lnTo>
                      <a:pt x="124" y="167"/>
                    </a:lnTo>
                    <a:lnTo>
                      <a:pt x="126" y="179"/>
                    </a:lnTo>
                    <a:lnTo>
                      <a:pt x="136" y="194"/>
                    </a:lnTo>
                    <a:lnTo>
                      <a:pt x="134" y="201"/>
                    </a:lnTo>
                    <a:lnTo>
                      <a:pt x="138" y="206"/>
                    </a:lnTo>
                    <a:lnTo>
                      <a:pt x="146" y="212"/>
                    </a:lnTo>
                    <a:lnTo>
                      <a:pt x="154" y="222"/>
                    </a:lnTo>
                    <a:lnTo>
                      <a:pt x="158" y="227"/>
                    </a:lnTo>
                    <a:lnTo>
                      <a:pt x="164" y="229"/>
                    </a:lnTo>
                    <a:lnTo>
                      <a:pt x="166" y="231"/>
                    </a:lnTo>
                    <a:lnTo>
                      <a:pt x="172" y="234"/>
                    </a:lnTo>
                    <a:lnTo>
                      <a:pt x="172" y="241"/>
                    </a:lnTo>
                    <a:lnTo>
                      <a:pt x="177" y="244"/>
                    </a:lnTo>
                    <a:lnTo>
                      <a:pt x="184" y="251"/>
                    </a:lnTo>
                    <a:lnTo>
                      <a:pt x="196" y="255"/>
                    </a:lnTo>
                    <a:lnTo>
                      <a:pt x="197" y="260"/>
                    </a:lnTo>
                    <a:lnTo>
                      <a:pt x="204" y="262"/>
                    </a:lnTo>
                    <a:lnTo>
                      <a:pt x="219" y="274"/>
                    </a:lnTo>
                    <a:lnTo>
                      <a:pt x="221" y="279"/>
                    </a:lnTo>
                    <a:lnTo>
                      <a:pt x="224" y="280"/>
                    </a:lnTo>
                    <a:lnTo>
                      <a:pt x="227" y="285"/>
                    </a:lnTo>
                    <a:lnTo>
                      <a:pt x="229" y="284"/>
                    </a:lnTo>
                    <a:lnTo>
                      <a:pt x="229" y="279"/>
                    </a:lnTo>
                    <a:lnTo>
                      <a:pt x="227" y="277"/>
                    </a:lnTo>
                    <a:lnTo>
                      <a:pt x="227" y="274"/>
                    </a:lnTo>
                    <a:lnTo>
                      <a:pt x="232" y="275"/>
                    </a:lnTo>
                    <a:lnTo>
                      <a:pt x="241" y="282"/>
                    </a:lnTo>
                    <a:lnTo>
                      <a:pt x="242" y="282"/>
                    </a:lnTo>
                    <a:lnTo>
                      <a:pt x="242" y="275"/>
                    </a:lnTo>
                    <a:lnTo>
                      <a:pt x="246" y="272"/>
                    </a:lnTo>
                    <a:lnTo>
                      <a:pt x="249" y="274"/>
                    </a:lnTo>
                    <a:lnTo>
                      <a:pt x="254" y="280"/>
                    </a:lnTo>
                    <a:lnTo>
                      <a:pt x="256" y="280"/>
                    </a:lnTo>
                    <a:lnTo>
                      <a:pt x="259" y="277"/>
                    </a:lnTo>
                    <a:lnTo>
                      <a:pt x="259" y="267"/>
                    </a:lnTo>
                    <a:lnTo>
                      <a:pt x="262" y="255"/>
                    </a:lnTo>
                    <a:lnTo>
                      <a:pt x="259" y="247"/>
                    </a:lnTo>
                    <a:lnTo>
                      <a:pt x="262" y="239"/>
                    </a:lnTo>
                    <a:lnTo>
                      <a:pt x="261" y="236"/>
                    </a:lnTo>
                    <a:lnTo>
                      <a:pt x="261" y="229"/>
                    </a:lnTo>
                    <a:lnTo>
                      <a:pt x="265" y="227"/>
                    </a:lnTo>
                    <a:lnTo>
                      <a:pt x="267" y="224"/>
                    </a:lnTo>
                    <a:lnTo>
                      <a:pt x="267" y="221"/>
                    </a:lnTo>
                    <a:lnTo>
                      <a:pt x="262" y="219"/>
                    </a:lnTo>
                    <a:lnTo>
                      <a:pt x="259" y="216"/>
                    </a:lnTo>
                    <a:lnTo>
                      <a:pt x="257" y="211"/>
                    </a:lnTo>
                    <a:lnTo>
                      <a:pt x="254" y="209"/>
                    </a:lnTo>
                    <a:lnTo>
                      <a:pt x="252" y="206"/>
                    </a:lnTo>
                    <a:lnTo>
                      <a:pt x="247" y="204"/>
                    </a:lnTo>
                    <a:lnTo>
                      <a:pt x="241" y="204"/>
                    </a:lnTo>
                    <a:lnTo>
                      <a:pt x="236" y="204"/>
                    </a:lnTo>
                    <a:lnTo>
                      <a:pt x="236" y="197"/>
                    </a:lnTo>
                    <a:lnTo>
                      <a:pt x="232" y="192"/>
                    </a:lnTo>
                    <a:lnTo>
                      <a:pt x="229" y="194"/>
                    </a:lnTo>
                    <a:lnTo>
                      <a:pt x="231" y="191"/>
                    </a:lnTo>
                    <a:lnTo>
                      <a:pt x="229" y="186"/>
                    </a:lnTo>
                    <a:lnTo>
                      <a:pt x="227" y="176"/>
                    </a:lnTo>
                    <a:lnTo>
                      <a:pt x="222" y="177"/>
                    </a:lnTo>
                    <a:lnTo>
                      <a:pt x="219" y="176"/>
                    </a:lnTo>
                    <a:lnTo>
                      <a:pt x="211" y="174"/>
                    </a:lnTo>
                    <a:lnTo>
                      <a:pt x="202" y="169"/>
                    </a:lnTo>
                    <a:lnTo>
                      <a:pt x="202" y="166"/>
                    </a:lnTo>
                    <a:lnTo>
                      <a:pt x="207" y="164"/>
                    </a:lnTo>
                    <a:lnTo>
                      <a:pt x="212" y="161"/>
                    </a:lnTo>
                    <a:lnTo>
                      <a:pt x="209" y="159"/>
                    </a:lnTo>
                    <a:lnTo>
                      <a:pt x="204" y="161"/>
                    </a:lnTo>
                    <a:lnTo>
                      <a:pt x="201" y="159"/>
                    </a:lnTo>
                    <a:lnTo>
                      <a:pt x="196" y="161"/>
                    </a:lnTo>
                    <a:lnTo>
                      <a:pt x="199" y="157"/>
                    </a:lnTo>
                    <a:lnTo>
                      <a:pt x="206" y="154"/>
                    </a:lnTo>
                    <a:lnTo>
                      <a:pt x="212" y="153"/>
                    </a:lnTo>
                    <a:lnTo>
                      <a:pt x="211" y="149"/>
                    </a:lnTo>
                    <a:lnTo>
                      <a:pt x="204" y="141"/>
                    </a:lnTo>
                    <a:lnTo>
                      <a:pt x="199" y="141"/>
                    </a:lnTo>
                    <a:lnTo>
                      <a:pt x="194" y="144"/>
                    </a:lnTo>
                    <a:lnTo>
                      <a:pt x="189" y="148"/>
                    </a:lnTo>
                    <a:lnTo>
                      <a:pt x="182" y="148"/>
                    </a:lnTo>
                    <a:lnTo>
                      <a:pt x="186" y="146"/>
                    </a:lnTo>
                    <a:lnTo>
                      <a:pt x="189" y="144"/>
                    </a:lnTo>
                    <a:lnTo>
                      <a:pt x="191" y="144"/>
                    </a:lnTo>
                    <a:lnTo>
                      <a:pt x="192" y="141"/>
                    </a:lnTo>
                    <a:lnTo>
                      <a:pt x="192" y="138"/>
                    </a:lnTo>
                    <a:lnTo>
                      <a:pt x="186" y="136"/>
                    </a:lnTo>
                    <a:lnTo>
                      <a:pt x="177" y="136"/>
                    </a:lnTo>
                    <a:lnTo>
                      <a:pt x="172" y="131"/>
                    </a:lnTo>
                    <a:lnTo>
                      <a:pt x="172" y="129"/>
                    </a:lnTo>
                    <a:lnTo>
                      <a:pt x="171" y="123"/>
                    </a:lnTo>
                    <a:lnTo>
                      <a:pt x="161" y="114"/>
                    </a:lnTo>
                    <a:lnTo>
                      <a:pt x="158" y="113"/>
                    </a:lnTo>
                    <a:lnTo>
                      <a:pt x="154" y="114"/>
                    </a:lnTo>
                    <a:lnTo>
                      <a:pt x="151" y="111"/>
                    </a:lnTo>
                    <a:lnTo>
                      <a:pt x="149" y="103"/>
                    </a:lnTo>
                    <a:lnTo>
                      <a:pt x="143" y="98"/>
                    </a:lnTo>
                    <a:lnTo>
                      <a:pt x="133" y="93"/>
                    </a:lnTo>
                    <a:lnTo>
                      <a:pt x="128" y="93"/>
                    </a:lnTo>
                    <a:lnTo>
                      <a:pt x="126" y="94"/>
                    </a:lnTo>
                    <a:lnTo>
                      <a:pt x="124" y="93"/>
                    </a:lnTo>
                    <a:lnTo>
                      <a:pt x="123" y="86"/>
                    </a:lnTo>
                    <a:lnTo>
                      <a:pt x="119" y="89"/>
                    </a:lnTo>
                    <a:lnTo>
                      <a:pt x="116" y="86"/>
                    </a:lnTo>
                    <a:lnTo>
                      <a:pt x="116" y="79"/>
                    </a:lnTo>
                    <a:lnTo>
                      <a:pt x="111" y="74"/>
                    </a:lnTo>
                    <a:lnTo>
                      <a:pt x="106" y="74"/>
                    </a:lnTo>
                    <a:lnTo>
                      <a:pt x="104" y="71"/>
                    </a:lnTo>
                    <a:lnTo>
                      <a:pt x="91" y="63"/>
                    </a:lnTo>
                    <a:lnTo>
                      <a:pt x="86" y="63"/>
                    </a:lnTo>
                    <a:lnTo>
                      <a:pt x="79" y="56"/>
                    </a:lnTo>
                    <a:lnTo>
                      <a:pt x="74" y="56"/>
                    </a:lnTo>
                    <a:lnTo>
                      <a:pt x="73" y="53"/>
                    </a:lnTo>
                    <a:lnTo>
                      <a:pt x="71" y="45"/>
                    </a:lnTo>
                    <a:lnTo>
                      <a:pt x="66" y="43"/>
                    </a:lnTo>
                    <a:lnTo>
                      <a:pt x="65" y="38"/>
                    </a:lnTo>
                    <a:lnTo>
                      <a:pt x="61" y="36"/>
                    </a:lnTo>
                    <a:lnTo>
                      <a:pt x="58" y="31"/>
                    </a:lnTo>
                    <a:lnTo>
                      <a:pt x="53" y="30"/>
                    </a:lnTo>
                    <a:lnTo>
                      <a:pt x="48" y="30"/>
                    </a:lnTo>
                    <a:lnTo>
                      <a:pt x="45" y="30"/>
                    </a:lnTo>
                    <a:lnTo>
                      <a:pt x="41" y="28"/>
                    </a:lnTo>
                    <a:lnTo>
                      <a:pt x="36" y="28"/>
                    </a:lnTo>
                    <a:lnTo>
                      <a:pt x="28" y="30"/>
                    </a:lnTo>
                    <a:lnTo>
                      <a:pt x="25" y="28"/>
                    </a:lnTo>
                    <a:lnTo>
                      <a:pt x="15" y="21"/>
                    </a:lnTo>
                    <a:lnTo>
                      <a:pt x="5" y="2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0" name="Freeform 16"/>
              <p:cNvSpPr>
                <a:spLocks noEditPoints="1"/>
              </p:cNvSpPr>
              <p:nvPr/>
            </p:nvSpPr>
            <p:spPr bwMode="auto">
              <a:xfrm>
                <a:off x="8028949" y="3373473"/>
                <a:ext cx="41739" cy="11414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3" y="21"/>
                  </a:cxn>
                  <a:cxn ang="0">
                    <a:pos x="10" y="19"/>
                  </a:cxn>
                  <a:cxn ang="0">
                    <a:pos x="13" y="19"/>
                  </a:cxn>
                  <a:cxn ang="0">
                    <a:pos x="13" y="13"/>
                  </a:cxn>
                  <a:cxn ang="0">
                    <a:pos x="12" y="14"/>
                  </a:cxn>
                  <a:cxn ang="0">
                    <a:pos x="5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0" y="11"/>
                  </a:cxn>
                  <a:cxn ang="0">
                    <a:pos x="25" y="16"/>
                  </a:cxn>
                  <a:cxn ang="0">
                    <a:pos x="32" y="21"/>
                  </a:cxn>
                  <a:cxn ang="0">
                    <a:pos x="32" y="21"/>
                  </a:cxn>
                  <a:cxn ang="0">
                    <a:pos x="37" y="16"/>
                  </a:cxn>
                  <a:cxn ang="0">
                    <a:pos x="40" y="16"/>
                  </a:cxn>
                  <a:cxn ang="0">
                    <a:pos x="45" y="16"/>
                  </a:cxn>
                  <a:cxn ang="0">
                    <a:pos x="55" y="14"/>
                  </a:cxn>
                  <a:cxn ang="0">
                    <a:pos x="62" y="11"/>
                  </a:cxn>
                  <a:cxn ang="0">
                    <a:pos x="68" y="9"/>
                  </a:cxn>
                  <a:cxn ang="0">
                    <a:pos x="70" y="6"/>
                  </a:cxn>
                  <a:cxn ang="0">
                    <a:pos x="73" y="6"/>
                  </a:cxn>
                  <a:cxn ang="0">
                    <a:pos x="78" y="3"/>
                  </a:cxn>
                  <a:cxn ang="0">
                    <a:pos x="78" y="1"/>
                  </a:cxn>
                  <a:cxn ang="0">
                    <a:pos x="75" y="0"/>
                  </a:cxn>
                  <a:cxn ang="0">
                    <a:pos x="66" y="1"/>
                  </a:cxn>
                  <a:cxn ang="0">
                    <a:pos x="60" y="1"/>
                  </a:cxn>
                  <a:cxn ang="0">
                    <a:pos x="55" y="1"/>
                  </a:cxn>
                  <a:cxn ang="0">
                    <a:pos x="50" y="1"/>
                  </a:cxn>
                  <a:cxn ang="0">
                    <a:pos x="43" y="3"/>
                  </a:cxn>
                  <a:cxn ang="0">
                    <a:pos x="33" y="3"/>
                  </a:cxn>
                  <a:cxn ang="0">
                    <a:pos x="27" y="8"/>
                  </a:cxn>
                  <a:cxn ang="0">
                    <a:pos x="20" y="11"/>
                  </a:cxn>
                </a:cxnLst>
                <a:rect l="0" t="0" r="r" b="b"/>
                <a:pathLst>
                  <a:path w="78" h="21">
                    <a:moveTo>
                      <a:pt x="0" y="18"/>
                    </a:moveTo>
                    <a:lnTo>
                      <a:pt x="3" y="21"/>
                    </a:lnTo>
                    <a:lnTo>
                      <a:pt x="10" y="19"/>
                    </a:lnTo>
                    <a:lnTo>
                      <a:pt x="13" y="19"/>
                    </a:lnTo>
                    <a:lnTo>
                      <a:pt x="13" y="13"/>
                    </a:lnTo>
                    <a:lnTo>
                      <a:pt x="12" y="14"/>
                    </a:lnTo>
                    <a:lnTo>
                      <a:pt x="5" y="14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20" y="11"/>
                    </a:moveTo>
                    <a:lnTo>
                      <a:pt x="25" y="16"/>
                    </a:lnTo>
                    <a:lnTo>
                      <a:pt x="32" y="21"/>
                    </a:lnTo>
                    <a:lnTo>
                      <a:pt x="32" y="21"/>
                    </a:lnTo>
                    <a:lnTo>
                      <a:pt x="37" y="16"/>
                    </a:lnTo>
                    <a:lnTo>
                      <a:pt x="40" y="16"/>
                    </a:lnTo>
                    <a:lnTo>
                      <a:pt x="45" y="16"/>
                    </a:lnTo>
                    <a:lnTo>
                      <a:pt x="55" y="14"/>
                    </a:lnTo>
                    <a:lnTo>
                      <a:pt x="62" y="11"/>
                    </a:lnTo>
                    <a:lnTo>
                      <a:pt x="68" y="9"/>
                    </a:lnTo>
                    <a:lnTo>
                      <a:pt x="70" y="6"/>
                    </a:lnTo>
                    <a:lnTo>
                      <a:pt x="73" y="6"/>
                    </a:lnTo>
                    <a:lnTo>
                      <a:pt x="78" y="3"/>
                    </a:lnTo>
                    <a:lnTo>
                      <a:pt x="78" y="1"/>
                    </a:lnTo>
                    <a:lnTo>
                      <a:pt x="75" y="0"/>
                    </a:lnTo>
                    <a:lnTo>
                      <a:pt x="66" y="1"/>
                    </a:lnTo>
                    <a:lnTo>
                      <a:pt x="60" y="1"/>
                    </a:lnTo>
                    <a:lnTo>
                      <a:pt x="55" y="1"/>
                    </a:lnTo>
                    <a:lnTo>
                      <a:pt x="50" y="1"/>
                    </a:lnTo>
                    <a:lnTo>
                      <a:pt x="43" y="3"/>
                    </a:lnTo>
                    <a:lnTo>
                      <a:pt x="33" y="3"/>
                    </a:lnTo>
                    <a:lnTo>
                      <a:pt x="27" y="8"/>
                    </a:lnTo>
                    <a:lnTo>
                      <a:pt x="20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1" name="Freeform 17"/>
              <p:cNvSpPr>
                <a:spLocks noEditPoints="1"/>
              </p:cNvSpPr>
              <p:nvPr/>
            </p:nvSpPr>
            <p:spPr bwMode="auto">
              <a:xfrm>
                <a:off x="7719647" y="3185670"/>
                <a:ext cx="249368" cy="76782"/>
              </a:xfrm>
              <a:custGeom>
                <a:avLst/>
                <a:gdLst/>
                <a:ahLst/>
                <a:cxnLst>
                  <a:cxn ang="0">
                    <a:pos x="280" y="107"/>
                  </a:cxn>
                  <a:cxn ang="0">
                    <a:pos x="3" y="49"/>
                  </a:cxn>
                  <a:cxn ang="0">
                    <a:pos x="0" y="40"/>
                  </a:cxn>
                  <a:cxn ang="0">
                    <a:pos x="254" y="145"/>
                  </a:cxn>
                  <a:cxn ang="0">
                    <a:pos x="274" y="145"/>
                  </a:cxn>
                  <a:cxn ang="0">
                    <a:pos x="319" y="135"/>
                  </a:cxn>
                  <a:cxn ang="0">
                    <a:pos x="355" y="135"/>
                  </a:cxn>
                  <a:cxn ang="0">
                    <a:pos x="380" y="82"/>
                  </a:cxn>
                  <a:cxn ang="0">
                    <a:pos x="392" y="69"/>
                  </a:cxn>
                  <a:cxn ang="0">
                    <a:pos x="423" y="70"/>
                  </a:cxn>
                  <a:cxn ang="0">
                    <a:pos x="445" y="70"/>
                  </a:cxn>
                  <a:cxn ang="0">
                    <a:pos x="451" y="55"/>
                  </a:cxn>
                  <a:cxn ang="0">
                    <a:pos x="455" y="45"/>
                  </a:cxn>
                  <a:cxn ang="0">
                    <a:pos x="433" y="40"/>
                  </a:cxn>
                  <a:cxn ang="0">
                    <a:pos x="428" y="37"/>
                  </a:cxn>
                  <a:cxn ang="0">
                    <a:pos x="428" y="22"/>
                  </a:cxn>
                  <a:cxn ang="0">
                    <a:pos x="410" y="7"/>
                  </a:cxn>
                  <a:cxn ang="0">
                    <a:pos x="403" y="14"/>
                  </a:cxn>
                  <a:cxn ang="0">
                    <a:pos x="388" y="30"/>
                  </a:cxn>
                  <a:cxn ang="0">
                    <a:pos x="365" y="50"/>
                  </a:cxn>
                  <a:cxn ang="0">
                    <a:pos x="372" y="55"/>
                  </a:cxn>
                  <a:cxn ang="0">
                    <a:pos x="368" y="70"/>
                  </a:cxn>
                  <a:cxn ang="0">
                    <a:pos x="363" y="59"/>
                  </a:cxn>
                  <a:cxn ang="0">
                    <a:pos x="352" y="70"/>
                  </a:cxn>
                  <a:cxn ang="0">
                    <a:pos x="339" y="70"/>
                  </a:cxn>
                  <a:cxn ang="0">
                    <a:pos x="315" y="97"/>
                  </a:cxn>
                  <a:cxn ang="0">
                    <a:pos x="290" y="115"/>
                  </a:cxn>
                  <a:cxn ang="0">
                    <a:pos x="275" y="123"/>
                  </a:cxn>
                  <a:cxn ang="0">
                    <a:pos x="250" y="132"/>
                  </a:cxn>
                  <a:cxn ang="0">
                    <a:pos x="236" y="125"/>
                  </a:cxn>
                  <a:cxn ang="0">
                    <a:pos x="408" y="0"/>
                  </a:cxn>
                  <a:cxn ang="0">
                    <a:pos x="417" y="4"/>
                  </a:cxn>
                  <a:cxn ang="0">
                    <a:pos x="275" y="117"/>
                  </a:cxn>
                  <a:cxn ang="0">
                    <a:pos x="280" y="115"/>
                  </a:cxn>
                  <a:cxn ang="0">
                    <a:pos x="285" y="107"/>
                  </a:cxn>
                  <a:cxn ang="0">
                    <a:pos x="282" y="108"/>
                  </a:cxn>
                  <a:cxn ang="0">
                    <a:pos x="1" y="15"/>
                  </a:cxn>
                  <a:cxn ang="0">
                    <a:pos x="23" y="20"/>
                  </a:cxn>
                  <a:cxn ang="0">
                    <a:pos x="28" y="37"/>
                  </a:cxn>
                  <a:cxn ang="0">
                    <a:pos x="45" y="29"/>
                  </a:cxn>
                  <a:cxn ang="0">
                    <a:pos x="53" y="25"/>
                  </a:cxn>
                  <a:cxn ang="0">
                    <a:pos x="81" y="67"/>
                  </a:cxn>
                  <a:cxn ang="0">
                    <a:pos x="81" y="97"/>
                  </a:cxn>
                  <a:cxn ang="0">
                    <a:pos x="94" y="110"/>
                  </a:cxn>
                  <a:cxn ang="0">
                    <a:pos x="99" y="122"/>
                  </a:cxn>
                  <a:cxn ang="0">
                    <a:pos x="101" y="132"/>
                  </a:cxn>
                  <a:cxn ang="0">
                    <a:pos x="99" y="135"/>
                  </a:cxn>
                  <a:cxn ang="0">
                    <a:pos x="86" y="135"/>
                  </a:cxn>
                  <a:cxn ang="0">
                    <a:pos x="63" y="122"/>
                  </a:cxn>
                  <a:cxn ang="0">
                    <a:pos x="43" y="107"/>
                  </a:cxn>
                  <a:cxn ang="0">
                    <a:pos x="33" y="92"/>
                  </a:cxn>
                  <a:cxn ang="0">
                    <a:pos x="15" y="74"/>
                  </a:cxn>
                  <a:cxn ang="0">
                    <a:pos x="11" y="52"/>
                  </a:cxn>
                </a:cxnLst>
                <a:rect l="0" t="0" r="r" b="b"/>
                <a:pathLst>
                  <a:path w="465" h="148">
                    <a:moveTo>
                      <a:pt x="280" y="108"/>
                    </a:moveTo>
                    <a:lnTo>
                      <a:pt x="280" y="112"/>
                    </a:lnTo>
                    <a:lnTo>
                      <a:pt x="279" y="112"/>
                    </a:lnTo>
                    <a:lnTo>
                      <a:pt x="279" y="110"/>
                    </a:lnTo>
                    <a:lnTo>
                      <a:pt x="280" y="107"/>
                    </a:lnTo>
                    <a:lnTo>
                      <a:pt x="280" y="108"/>
                    </a:lnTo>
                    <a:lnTo>
                      <a:pt x="280" y="108"/>
                    </a:lnTo>
                    <a:close/>
                    <a:moveTo>
                      <a:pt x="0" y="40"/>
                    </a:moveTo>
                    <a:lnTo>
                      <a:pt x="0" y="45"/>
                    </a:lnTo>
                    <a:lnTo>
                      <a:pt x="3" y="49"/>
                    </a:lnTo>
                    <a:lnTo>
                      <a:pt x="5" y="47"/>
                    </a:lnTo>
                    <a:lnTo>
                      <a:pt x="5" y="44"/>
                    </a:lnTo>
                    <a:lnTo>
                      <a:pt x="1" y="40"/>
                    </a:lnTo>
                    <a:lnTo>
                      <a:pt x="0" y="40"/>
                    </a:lnTo>
                    <a:lnTo>
                      <a:pt x="0" y="40"/>
                    </a:lnTo>
                    <a:close/>
                    <a:moveTo>
                      <a:pt x="236" y="125"/>
                    </a:moveTo>
                    <a:lnTo>
                      <a:pt x="241" y="133"/>
                    </a:lnTo>
                    <a:lnTo>
                      <a:pt x="249" y="138"/>
                    </a:lnTo>
                    <a:lnTo>
                      <a:pt x="249" y="140"/>
                    </a:lnTo>
                    <a:lnTo>
                      <a:pt x="254" y="145"/>
                    </a:lnTo>
                    <a:lnTo>
                      <a:pt x="257" y="148"/>
                    </a:lnTo>
                    <a:lnTo>
                      <a:pt x="260" y="148"/>
                    </a:lnTo>
                    <a:lnTo>
                      <a:pt x="267" y="147"/>
                    </a:lnTo>
                    <a:lnTo>
                      <a:pt x="267" y="145"/>
                    </a:lnTo>
                    <a:lnTo>
                      <a:pt x="274" y="145"/>
                    </a:lnTo>
                    <a:lnTo>
                      <a:pt x="277" y="143"/>
                    </a:lnTo>
                    <a:lnTo>
                      <a:pt x="290" y="143"/>
                    </a:lnTo>
                    <a:lnTo>
                      <a:pt x="304" y="138"/>
                    </a:lnTo>
                    <a:lnTo>
                      <a:pt x="307" y="137"/>
                    </a:lnTo>
                    <a:lnTo>
                      <a:pt x="319" y="135"/>
                    </a:lnTo>
                    <a:lnTo>
                      <a:pt x="325" y="138"/>
                    </a:lnTo>
                    <a:lnTo>
                      <a:pt x="327" y="142"/>
                    </a:lnTo>
                    <a:lnTo>
                      <a:pt x="334" y="142"/>
                    </a:lnTo>
                    <a:lnTo>
                      <a:pt x="344" y="137"/>
                    </a:lnTo>
                    <a:lnTo>
                      <a:pt x="355" y="135"/>
                    </a:lnTo>
                    <a:lnTo>
                      <a:pt x="353" y="132"/>
                    </a:lnTo>
                    <a:lnTo>
                      <a:pt x="363" y="118"/>
                    </a:lnTo>
                    <a:lnTo>
                      <a:pt x="367" y="108"/>
                    </a:lnTo>
                    <a:lnTo>
                      <a:pt x="375" y="98"/>
                    </a:lnTo>
                    <a:lnTo>
                      <a:pt x="380" y="82"/>
                    </a:lnTo>
                    <a:lnTo>
                      <a:pt x="380" y="78"/>
                    </a:lnTo>
                    <a:lnTo>
                      <a:pt x="382" y="75"/>
                    </a:lnTo>
                    <a:lnTo>
                      <a:pt x="382" y="72"/>
                    </a:lnTo>
                    <a:lnTo>
                      <a:pt x="387" y="67"/>
                    </a:lnTo>
                    <a:lnTo>
                      <a:pt x="392" y="69"/>
                    </a:lnTo>
                    <a:lnTo>
                      <a:pt x="398" y="67"/>
                    </a:lnTo>
                    <a:lnTo>
                      <a:pt x="410" y="67"/>
                    </a:lnTo>
                    <a:lnTo>
                      <a:pt x="412" y="70"/>
                    </a:lnTo>
                    <a:lnTo>
                      <a:pt x="418" y="69"/>
                    </a:lnTo>
                    <a:lnTo>
                      <a:pt x="423" y="70"/>
                    </a:lnTo>
                    <a:lnTo>
                      <a:pt x="425" y="69"/>
                    </a:lnTo>
                    <a:lnTo>
                      <a:pt x="430" y="72"/>
                    </a:lnTo>
                    <a:lnTo>
                      <a:pt x="435" y="74"/>
                    </a:lnTo>
                    <a:lnTo>
                      <a:pt x="440" y="70"/>
                    </a:lnTo>
                    <a:lnTo>
                      <a:pt x="445" y="70"/>
                    </a:lnTo>
                    <a:lnTo>
                      <a:pt x="445" y="67"/>
                    </a:lnTo>
                    <a:lnTo>
                      <a:pt x="440" y="62"/>
                    </a:lnTo>
                    <a:lnTo>
                      <a:pt x="440" y="57"/>
                    </a:lnTo>
                    <a:lnTo>
                      <a:pt x="442" y="55"/>
                    </a:lnTo>
                    <a:lnTo>
                      <a:pt x="451" y="55"/>
                    </a:lnTo>
                    <a:lnTo>
                      <a:pt x="460" y="54"/>
                    </a:lnTo>
                    <a:lnTo>
                      <a:pt x="465" y="50"/>
                    </a:lnTo>
                    <a:lnTo>
                      <a:pt x="463" y="47"/>
                    </a:lnTo>
                    <a:lnTo>
                      <a:pt x="460" y="47"/>
                    </a:lnTo>
                    <a:lnTo>
                      <a:pt x="455" y="45"/>
                    </a:lnTo>
                    <a:lnTo>
                      <a:pt x="450" y="42"/>
                    </a:lnTo>
                    <a:lnTo>
                      <a:pt x="446" y="42"/>
                    </a:lnTo>
                    <a:lnTo>
                      <a:pt x="440" y="37"/>
                    </a:lnTo>
                    <a:lnTo>
                      <a:pt x="437" y="37"/>
                    </a:lnTo>
                    <a:lnTo>
                      <a:pt x="433" y="40"/>
                    </a:lnTo>
                    <a:lnTo>
                      <a:pt x="430" y="39"/>
                    </a:lnTo>
                    <a:lnTo>
                      <a:pt x="437" y="35"/>
                    </a:lnTo>
                    <a:lnTo>
                      <a:pt x="433" y="32"/>
                    </a:lnTo>
                    <a:lnTo>
                      <a:pt x="432" y="32"/>
                    </a:lnTo>
                    <a:lnTo>
                      <a:pt x="428" y="37"/>
                    </a:lnTo>
                    <a:lnTo>
                      <a:pt x="427" y="34"/>
                    </a:lnTo>
                    <a:lnTo>
                      <a:pt x="423" y="34"/>
                    </a:lnTo>
                    <a:lnTo>
                      <a:pt x="423" y="27"/>
                    </a:lnTo>
                    <a:lnTo>
                      <a:pt x="428" y="25"/>
                    </a:lnTo>
                    <a:lnTo>
                      <a:pt x="428" y="22"/>
                    </a:lnTo>
                    <a:lnTo>
                      <a:pt x="422" y="19"/>
                    </a:lnTo>
                    <a:lnTo>
                      <a:pt x="420" y="20"/>
                    </a:lnTo>
                    <a:lnTo>
                      <a:pt x="415" y="17"/>
                    </a:lnTo>
                    <a:lnTo>
                      <a:pt x="415" y="10"/>
                    </a:lnTo>
                    <a:lnTo>
                      <a:pt x="410" y="7"/>
                    </a:lnTo>
                    <a:lnTo>
                      <a:pt x="408" y="9"/>
                    </a:lnTo>
                    <a:lnTo>
                      <a:pt x="410" y="14"/>
                    </a:lnTo>
                    <a:lnTo>
                      <a:pt x="405" y="17"/>
                    </a:lnTo>
                    <a:lnTo>
                      <a:pt x="402" y="17"/>
                    </a:lnTo>
                    <a:lnTo>
                      <a:pt x="403" y="14"/>
                    </a:lnTo>
                    <a:lnTo>
                      <a:pt x="403" y="10"/>
                    </a:lnTo>
                    <a:lnTo>
                      <a:pt x="400" y="10"/>
                    </a:lnTo>
                    <a:lnTo>
                      <a:pt x="397" y="19"/>
                    </a:lnTo>
                    <a:lnTo>
                      <a:pt x="393" y="20"/>
                    </a:lnTo>
                    <a:lnTo>
                      <a:pt x="388" y="30"/>
                    </a:lnTo>
                    <a:lnTo>
                      <a:pt x="387" y="37"/>
                    </a:lnTo>
                    <a:lnTo>
                      <a:pt x="378" y="45"/>
                    </a:lnTo>
                    <a:lnTo>
                      <a:pt x="375" y="45"/>
                    </a:lnTo>
                    <a:lnTo>
                      <a:pt x="367" y="47"/>
                    </a:lnTo>
                    <a:lnTo>
                      <a:pt x="365" y="50"/>
                    </a:lnTo>
                    <a:lnTo>
                      <a:pt x="367" y="50"/>
                    </a:lnTo>
                    <a:lnTo>
                      <a:pt x="365" y="52"/>
                    </a:lnTo>
                    <a:lnTo>
                      <a:pt x="368" y="54"/>
                    </a:lnTo>
                    <a:lnTo>
                      <a:pt x="373" y="52"/>
                    </a:lnTo>
                    <a:lnTo>
                      <a:pt x="372" y="55"/>
                    </a:lnTo>
                    <a:lnTo>
                      <a:pt x="367" y="57"/>
                    </a:lnTo>
                    <a:lnTo>
                      <a:pt x="367" y="57"/>
                    </a:lnTo>
                    <a:lnTo>
                      <a:pt x="367" y="59"/>
                    </a:lnTo>
                    <a:lnTo>
                      <a:pt x="370" y="67"/>
                    </a:lnTo>
                    <a:lnTo>
                      <a:pt x="368" y="70"/>
                    </a:lnTo>
                    <a:lnTo>
                      <a:pt x="365" y="69"/>
                    </a:lnTo>
                    <a:lnTo>
                      <a:pt x="365" y="64"/>
                    </a:lnTo>
                    <a:lnTo>
                      <a:pt x="363" y="59"/>
                    </a:lnTo>
                    <a:lnTo>
                      <a:pt x="363" y="60"/>
                    </a:lnTo>
                    <a:lnTo>
                      <a:pt x="363" y="59"/>
                    </a:lnTo>
                    <a:lnTo>
                      <a:pt x="360" y="59"/>
                    </a:lnTo>
                    <a:lnTo>
                      <a:pt x="358" y="62"/>
                    </a:lnTo>
                    <a:lnTo>
                      <a:pt x="360" y="72"/>
                    </a:lnTo>
                    <a:lnTo>
                      <a:pt x="357" y="74"/>
                    </a:lnTo>
                    <a:lnTo>
                      <a:pt x="352" y="70"/>
                    </a:lnTo>
                    <a:lnTo>
                      <a:pt x="348" y="64"/>
                    </a:lnTo>
                    <a:lnTo>
                      <a:pt x="345" y="64"/>
                    </a:lnTo>
                    <a:lnTo>
                      <a:pt x="342" y="62"/>
                    </a:lnTo>
                    <a:lnTo>
                      <a:pt x="339" y="65"/>
                    </a:lnTo>
                    <a:lnTo>
                      <a:pt x="339" y="70"/>
                    </a:lnTo>
                    <a:lnTo>
                      <a:pt x="332" y="75"/>
                    </a:lnTo>
                    <a:lnTo>
                      <a:pt x="330" y="80"/>
                    </a:lnTo>
                    <a:lnTo>
                      <a:pt x="324" y="85"/>
                    </a:lnTo>
                    <a:lnTo>
                      <a:pt x="322" y="90"/>
                    </a:lnTo>
                    <a:lnTo>
                      <a:pt x="315" y="97"/>
                    </a:lnTo>
                    <a:lnTo>
                      <a:pt x="309" y="102"/>
                    </a:lnTo>
                    <a:lnTo>
                      <a:pt x="290" y="105"/>
                    </a:lnTo>
                    <a:lnTo>
                      <a:pt x="287" y="107"/>
                    </a:lnTo>
                    <a:lnTo>
                      <a:pt x="289" y="112"/>
                    </a:lnTo>
                    <a:lnTo>
                      <a:pt x="290" y="115"/>
                    </a:lnTo>
                    <a:lnTo>
                      <a:pt x="289" y="113"/>
                    </a:lnTo>
                    <a:lnTo>
                      <a:pt x="285" y="115"/>
                    </a:lnTo>
                    <a:lnTo>
                      <a:pt x="279" y="117"/>
                    </a:lnTo>
                    <a:lnTo>
                      <a:pt x="275" y="118"/>
                    </a:lnTo>
                    <a:lnTo>
                      <a:pt x="275" y="123"/>
                    </a:lnTo>
                    <a:lnTo>
                      <a:pt x="274" y="130"/>
                    </a:lnTo>
                    <a:lnTo>
                      <a:pt x="270" y="135"/>
                    </a:lnTo>
                    <a:lnTo>
                      <a:pt x="270" y="137"/>
                    </a:lnTo>
                    <a:lnTo>
                      <a:pt x="260" y="135"/>
                    </a:lnTo>
                    <a:lnTo>
                      <a:pt x="250" y="132"/>
                    </a:lnTo>
                    <a:lnTo>
                      <a:pt x="244" y="132"/>
                    </a:lnTo>
                    <a:lnTo>
                      <a:pt x="242" y="128"/>
                    </a:lnTo>
                    <a:lnTo>
                      <a:pt x="237" y="125"/>
                    </a:lnTo>
                    <a:lnTo>
                      <a:pt x="236" y="125"/>
                    </a:lnTo>
                    <a:lnTo>
                      <a:pt x="236" y="125"/>
                    </a:lnTo>
                    <a:close/>
                    <a:moveTo>
                      <a:pt x="408" y="0"/>
                    </a:moveTo>
                    <a:lnTo>
                      <a:pt x="402" y="4"/>
                    </a:lnTo>
                    <a:lnTo>
                      <a:pt x="405" y="4"/>
                    </a:lnTo>
                    <a:lnTo>
                      <a:pt x="408" y="2"/>
                    </a:lnTo>
                    <a:lnTo>
                      <a:pt x="408" y="0"/>
                    </a:lnTo>
                    <a:lnTo>
                      <a:pt x="408" y="0"/>
                    </a:lnTo>
                    <a:close/>
                    <a:moveTo>
                      <a:pt x="415" y="0"/>
                    </a:moveTo>
                    <a:lnTo>
                      <a:pt x="410" y="4"/>
                    </a:lnTo>
                    <a:lnTo>
                      <a:pt x="412" y="5"/>
                    </a:lnTo>
                    <a:lnTo>
                      <a:pt x="417" y="4"/>
                    </a:lnTo>
                    <a:lnTo>
                      <a:pt x="417" y="0"/>
                    </a:lnTo>
                    <a:lnTo>
                      <a:pt x="415" y="0"/>
                    </a:lnTo>
                    <a:lnTo>
                      <a:pt x="415" y="0"/>
                    </a:lnTo>
                    <a:close/>
                    <a:moveTo>
                      <a:pt x="280" y="115"/>
                    </a:moveTo>
                    <a:lnTo>
                      <a:pt x="275" y="117"/>
                    </a:lnTo>
                    <a:lnTo>
                      <a:pt x="279" y="113"/>
                    </a:lnTo>
                    <a:lnTo>
                      <a:pt x="280" y="115"/>
                    </a:lnTo>
                    <a:lnTo>
                      <a:pt x="280" y="115"/>
                    </a:lnTo>
                    <a:close/>
                    <a:moveTo>
                      <a:pt x="284" y="113"/>
                    </a:moveTo>
                    <a:lnTo>
                      <a:pt x="280" y="115"/>
                    </a:lnTo>
                    <a:lnTo>
                      <a:pt x="280" y="113"/>
                    </a:lnTo>
                    <a:lnTo>
                      <a:pt x="280" y="112"/>
                    </a:lnTo>
                    <a:lnTo>
                      <a:pt x="284" y="113"/>
                    </a:lnTo>
                    <a:lnTo>
                      <a:pt x="284" y="113"/>
                    </a:lnTo>
                    <a:close/>
                    <a:moveTo>
                      <a:pt x="285" y="107"/>
                    </a:moveTo>
                    <a:lnTo>
                      <a:pt x="287" y="112"/>
                    </a:lnTo>
                    <a:lnTo>
                      <a:pt x="285" y="113"/>
                    </a:lnTo>
                    <a:lnTo>
                      <a:pt x="282" y="110"/>
                    </a:lnTo>
                    <a:lnTo>
                      <a:pt x="282" y="108"/>
                    </a:lnTo>
                    <a:lnTo>
                      <a:pt x="282" y="108"/>
                    </a:lnTo>
                    <a:lnTo>
                      <a:pt x="284" y="108"/>
                    </a:lnTo>
                    <a:lnTo>
                      <a:pt x="285" y="107"/>
                    </a:lnTo>
                    <a:lnTo>
                      <a:pt x="285" y="107"/>
                    </a:lnTo>
                    <a:close/>
                    <a:moveTo>
                      <a:pt x="0" y="22"/>
                    </a:moveTo>
                    <a:lnTo>
                      <a:pt x="1" y="15"/>
                    </a:lnTo>
                    <a:lnTo>
                      <a:pt x="5" y="12"/>
                    </a:lnTo>
                    <a:lnTo>
                      <a:pt x="10" y="15"/>
                    </a:lnTo>
                    <a:lnTo>
                      <a:pt x="16" y="19"/>
                    </a:lnTo>
                    <a:lnTo>
                      <a:pt x="18" y="20"/>
                    </a:lnTo>
                    <a:lnTo>
                      <a:pt x="23" y="20"/>
                    </a:lnTo>
                    <a:lnTo>
                      <a:pt x="26" y="24"/>
                    </a:lnTo>
                    <a:lnTo>
                      <a:pt x="25" y="30"/>
                    </a:lnTo>
                    <a:lnTo>
                      <a:pt x="21" y="32"/>
                    </a:lnTo>
                    <a:lnTo>
                      <a:pt x="21" y="35"/>
                    </a:lnTo>
                    <a:lnTo>
                      <a:pt x="28" y="37"/>
                    </a:lnTo>
                    <a:lnTo>
                      <a:pt x="35" y="34"/>
                    </a:lnTo>
                    <a:lnTo>
                      <a:pt x="38" y="32"/>
                    </a:lnTo>
                    <a:lnTo>
                      <a:pt x="41" y="35"/>
                    </a:lnTo>
                    <a:lnTo>
                      <a:pt x="45" y="34"/>
                    </a:lnTo>
                    <a:lnTo>
                      <a:pt x="45" y="29"/>
                    </a:lnTo>
                    <a:lnTo>
                      <a:pt x="46" y="29"/>
                    </a:lnTo>
                    <a:lnTo>
                      <a:pt x="46" y="29"/>
                    </a:lnTo>
                    <a:lnTo>
                      <a:pt x="49" y="27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8" y="30"/>
                    </a:lnTo>
                    <a:lnTo>
                      <a:pt x="74" y="47"/>
                    </a:lnTo>
                    <a:lnTo>
                      <a:pt x="79" y="55"/>
                    </a:lnTo>
                    <a:lnTo>
                      <a:pt x="83" y="64"/>
                    </a:lnTo>
                    <a:lnTo>
                      <a:pt x="81" y="67"/>
                    </a:lnTo>
                    <a:lnTo>
                      <a:pt x="81" y="77"/>
                    </a:lnTo>
                    <a:lnTo>
                      <a:pt x="79" y="78"/>
                    </a:lnTo>
                    <a:lnTo>
                      <a:pt x="79" y="83"/>
                    </a:lnTo>
                    <a:lnTo>
                      <a:pt x="81" y="85"/>
                    </a:lnTo>
                    <a:lnTo>
                      <a:pt x="81" y="97"/>
                    </a:lnTo>
                    <a:lnTo>
                      <a:pt x="84" y="102"/>
                    </a:lnTo>
                    <a:lnTo>
                      <a:pt x="91" y="107"/>
                    </a:lnTo>
                    <a:lnTo>
                      <a:pt x="94" y="107"/>
                    </a:lnTo>
                    <a:lnTo>
                      <a:pt x="96" y="108"/>
                    </a:lnTo>
                    <a:lnTo>
                      <a:pt x="94" y="110"/>
                    </a:lnTo>
                    <a:lnTo>
                      <a:pt x="96" y="117"/>
                    </a:lnTo>
                    <a:lnTo>
                      <a:pt x="98" y="118"/>
                    </a:lnTo>
                    <a:lnTo>
                      <a:pt x="98" y="120"/>
                    </a:lnTo>
                    <a:lnTo>
                      <a:pt x="98" y="122"/>
                    </a:lnTo>
                    <a:lnTo>
                      <a:pt x="99" y="122"/>
                    </a:lnTo>
                    <a:lnTo>
                      <a:pt x="104" y="132"/>
                    </a:lnTo>
                    <a:lnTo>
                      <a:pt x="104" y="137"/>
                    </a:lnTo>
                    <a:lnTo>
                      <a:pt x="101" y="135"/>
                    </a:lnTo>
                    <a:lnTo>
                      <a:pt x="101" y="133"/>
                    </a:lnTo>
                    <a:lnTo>
                      <a:pt x="101" y="132"/>
                    </a:lnTo>
                    <a:lnTo>
                      <a:pt x="98" y="130"/>
                    </a:lnTo>
                    <a:lnTo>
                      <a:pt x="99" y="132"/>
                    </a:lnTo>
                    <a:lnTo>
                      <a:pt x="99" y="133"/>
                    </a:lnTo>
                    <a:lnTo>
                      <a:pt x="98" y="135"/>
                    </a:lnTo>
                    <a:lnTo>
                      <a:pt x="99" y="135"/>
                    </a:lnTo>
                    <a:lnTo>
                      <a:pt x="99" y="135"/>
                    </a:lnTo>
                    <a:lnTo>
                      <a:pt x="94" y="138"/>
                    </a:lnTo>
                    <a:lnTo>
                      <a:pt x="93" y="137"/>
                    </a:lnTo>
                    <a:lnTo>
                      <a:pt x="91" y="138"/>
                    </a:lnTo>
                    <a:lnTo>
                      <a:pt x="86" y="135"/>
                    </a:lnTo>
                    <a:lnTo>
                      <a:pt x="84" y="132"/>
                    </a:lnTo>
                    <a:lnTo>
                      <a:pt x="76" y="132"/>
                    </a:lnTo>
                    <a:lnTo>
                      <a:pt x="68" y="127"/>
                    </a:lnTo>
                    <a:lnTo>
                      <a:pt x="64" y="123"/>
                    </a:lnTo>
                    <a:lnTo>
                      <a:pt x="63" y="122"/>
                    </a:lnTo>
                    <a:lnTo>
                      <a:pt x="59" y="123"/>
                    </a:lnTo>
                    <a:lnTo>
                      <a:pt x="56" y="122"/>
                    </a:lnTo>
                    <a:lnTo>
                      <a:pt x="49" y="117"/>
                    </a:lnTo>
                    <a:lnTo>
                      <a:pt x="49" y="113"/>
                    </a:lnTo>
                    <a:lnTo>
                      <a:pt x="43" y="107"/>
                    </a:lnTo>
                    <a:lnTo>
                      <a:pt x="35" y="105"/>
                    </a:lnTo>
                    <a:lnTo>
                      <a:pt x="31" y="102"/>
                    </a:lnTo>
                    <a:lnTo>
                      <a:pt x="31" y="98"/>
                    </a:lnTo>
                    <a:lnTo>
                      <a:pt x="35" y="95"/>
                    </a:lnTo>
                    <a:lnTo>
                      <a:pt x="33" y="92"/>
                    </a:lnTo>
                    <a:lnTo>
                      <a:pt x="28" y="90"/>
                    </a:lnTo>
                    <a:lnTo>
                      <a:pt x="23" y="83"/>
                    </a:lnTo>
                    <a:lnTo>
                      <a:pt x="16" y="80"/>
                    </a:lnTo>
                    <a:lnTo>
                      <a:pt x="15" y="77"/>
                    </a:lnTo>
                    <a:lnTo>
                      <a:pt x="15" y="74"/>
                    </a:lnTo>
                    <a:lnTo>
                      <a:pt x="11" y="72"/>
                    </a:lnTo>
                    <a:lnTo>
                      <a:pt x="11" y="67"/>
                    </a:lnTo>
                    <a:lnTo>
                      <a:pt x="13" y="65"/>
                    </a:lnTo>
                    <a:lnTo>
                      <a:pt x="13" y="59"/>
                    </a:lnTo>
                    <a:lnTo>
                      <a:pt x="11" y="52"/>
                    </a:lnTo>
                    <a:lnTo>
                      <a:pt x="8" y="47"/>
                    </a:lnTo>
                    <a:lnTo>
                      <a:pt x="5" y="29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2" name="Freeform 18"/>
              <p:cNvSpPr>
                <a:spLocks noEditPoints="1"/>
              </p:cNvSpPr>
              <p:nvPr/>
            </p:nvSpPr>
            <p:spPr bwMode="auto">
              <a:xfrm>
                <a:off x="7902660" y="3212647"/>
                <a:ext cx="16053" cy="11414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2"/>
                  </a:cxn>
                  <a:cxn ang="0">
                    <a:pos x="6" y="12"/>
                  </a:cxn>
                  <a:cxn ang="0">
                    <a:pos x="10" y="18"/>
                  </a:cxn>
                  <a:cxn ang="0">
                    <a:pos x="15" y="22"/>
                  </a:cxn>
                  <a:cxn ang="0">
                    <a:pos x="18" y="20"/>
                  </a:cxn>
                  <a:cxn ang="0">
                    <a:pos x="16" y="10"/>
                  </a:cxn>
                  <a:cxn ang="0">
                    <a:pos x="18" y="7"/>
                  </a:cxn>
                  <a:cxn ang="0">
                    <a:pos x="21" y="7"/>
                  </a:cxn>
                  <a:cxn ang="0">
                    <a:pos x="21" y="5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0" y="7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1" y="7"/>
                  </a:cxn>
                  <a:cxn ang="0">
                    <a:pos x="23" y="12"/>
                  </a:cxn>
                  <a:cxn ang="0">
                    <a:pos x="23" y="17"/>
                  </a:cxn>
                  <a:cxn ang="0">
                    <a:pos x="26" y="18"/>
                  </a:cxn>
                  <a:cxn ang="0">
                    <a:pos x="28" y="1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3" y="7"/>
                  </a:cxn>
                  <a:cxn ang="0">
                    <a:pos x="21" y="7"/>
                  </a:cxn>
                </a:cxnLst>
                <a:rect l="0" t="0" r="r" b="b"/>
                <a:pathLst>
                  <a:path w="28" h="22">
                    <a:moveTo>
                      <a:pt x="0" y="10"/>
                    </a:moveTo>
                    <a:lnTo>
                      <a:pt x="3" y="12"/>
                    </a:lnTo>
                    <a:lnTo>
                      <a:pt x="6" y="12"/>
                    </a:lnTo>
                    <a:lnTo>
                      <a:pt x="10" y="18"/>
                    </a:lnTo>
                    <a:lnTo>
                      <a:pt x="15" y="22"/>
                    </a:lnTo>
                    <a:lnTo>
                      <a:pt x="18" y="20"/>
                    </a:lnTo>
                    <a:lnTo>
                      <a:pt x="16" y="10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0" y="7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21" y="7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6" y="18"/>
                    </a:lnTo>
                    <a:lnTo>
                      <a:pt x="28" y="15"/>
                    </a:lnTo>
                    <a:lnTo>
                      <a:pt x="25" y="7"/>
                    </a:lnTo>
                    <a:lnTo>
                      <a:pt x="25" y="5"/>
                    </a:lnTo>
                    <a:lnTo>
                      <a:pt x="23" y="7"/>
                    </a:lnTo>
                    <a:lnTo>
                      <a:pt x="2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3" name="Freeform 19"/>
              <p:cNvSpPr>
                <a:spLocks noEditPoints="1"/>
              </p:cNvSpPr>
              <p:nvPr/>
            </p:nvSpPr>
            <p:spPr bwMode="auto">
              <a:xfrm>
                <a:off x="7730349" y="2988528"/>
                <a:ext cx="107025" cy="182616"/>
              </a:xfrm>
              <a:custGeom>
                <a:avLst/>
                <a:gdLst/>
                <a:ahLst/>
                <a:cxnLst>
                  <a:cxn ang="0">
                    <a:pos x="8" y="18"/>
                  </a:cxn>
                  <a:cxn ang="0">
                    <a:pos x="21" y="22"/>
                  </a:cxn>
                  <a:cxn ang="0">
                    <a:pos x="36" y="17"/>
                  </a:cxn>
                  <a:cxn ang="0">
                    <a:pos x="54" y="15"/>
                  </a:cxn>
                  <a:cxn ang="0">
                    <a:pos x="76" y="0"/>
                  </a:cxn>
                  <a:cxn ang="0">
                    <a:pos x="99" y="10"/>
                  </a:cxn>
                  <a:cxn ang="0">
                    <a:pos x="108" y="18"/>
                  </a:cxn>
                  <a:cxn ang="0">
                    <a:pos x="121" y="38"/>
                  </a:cxn>
                  <a:cxn ang="0">
                    <a:pos x="141" y="42"/>
                  </a:cxn>
                  <a:cxn ang="0">
                    <a:pos x="141" y="48"/>
                  </a:cxn>
                  <a:cxn ang="0">
                    <a:pos x="124" y="53"/>
                  </a:cxn>
                  <a:cxn ang="0">
                    <a:pos x="116" y="58"/>
                  </a:cxn>
                  <a:cxn ang="0">
                    <a:pos x="109" y="62"/>
                  </a:cxn>
                  <a:cxn ang="0">
                    <a:pos x="108" y="73"/>
                  </a:cxn>
                  <a:cxn ang="0">
                    <a:pos x="99" y="83"/>
                  </a:cxn>
                  <a:cxn ang="0">
                    <a:pos x="93" y="91"/>
                  </a:cxn>
                  <a:cxn ang="0">
                    <a:pos x="91" y="108"/>
                  </a:cxn>
                  <a:cxn ang="0">
                    <a:pos x="103" y="120"/>
                  </a:cxn>
                  <a:cxn ang="0">
                    <a:pos x="114" y="135"/>
                  </a:cxn>
                  <a:cxn ang="0">
                    <a:pos x="132" y="153"/>
                  </a:cxn>
                  <a:cxn ang="0">
                    <a:pos x="174" y="184"/>
                  </a:cxn>
                  <a:cxn ang="0">
                    <a:pos x="181" y="199"/>
                  </a:cxn>
                  <a:cxn ang="0">
                    <a:pos x="189" y="216"/>
                  </a:cxn>
                  <a:cxn ang="0">
                    <a:pos x="192" y="234"/>
                  </a:cxn>
                  <a:cxn ang="0">
                    <a:pos x="197" y="248"/>
                  </a:cxn>
                  <a:cxn ang="0">
                    <a:pos x="196" y="253"/>
                  </a:cxn>
                  <a:cxn ang="0">
                    <a:pos x="194" y="262"/>
                  </a:cxn>
                  <a:cxn ang="0">
                    <a:pos x="192" y="279"/>
                  </a:cxn>
                  <a:cxn ang="0">
                    <a:pos x="179" y="294"/>
                  </a:cxn>
                  <a:cxn ang="0">
                    <a:pos x="162" y="306"/>
                  </a:cxn>
                  <a:cxn ang="0">
                    <a:pos x="137" y="311"/>
                  </a:cxn>
                  <a:cxn ang="0">
                    <a:pos x="131" y="307"/>
                  </a:cxn>
                  <a:cxn ang="0">
                    <a:pos x="136" y="314"/>
                  </a:cxn>
                  <a:cxn ang="0">
                    <a:pos x="131" y="322"/>
                  </a:cxn>
                  <a:cxn ang="0">
                    <a:pos x="123" y="324"/>
                  </a:cxn>
                  <a:cxn ang="0">
                    <a:pos x="121" y="332"/>
                  </a:cxn>
                  <a:cxn ang="0">
                    <a:pos x="108" y="339"/>
                  </a:cxn>
                  <a:cxn ang="0">
                    <a:pos x="93" y="352"/>
                  </a:cxn>
                  <a:cxn ang="0">
                    <a:pos x="94" y="346"/>
                  </a:cxn>
                  <a:cxn ang="0">
                    <a:pos x="93" y="334"/>
                  </a:cxn>
                  <a:cxn ang="0">
                    <a:pos x="101" y="316"/>
                  </a:cxn>
                  <a:cxn ang="0">
                    <a:pos x="83" y="314"/>
                  </a:cxn>
                  <a:cxn ang="0">
                    <a:pos x="93" y="302"/>
                  </a:cxn>
                  <a:cxn ang="0">
                    <a:pos x="118" y="297"/>
                  </a:cxn>
                  <a:cxn ang="0">
                    <a:pos x="121" y="289"/>
                  </a:cxn>
                  <a:cxn ang="0">
                    <a:pos x="131" y="272"/>
                  </a:cxn>
                  <a:cxn ang="0">
                    <a:pos x="152" y="256"/>
                  </a:cxn>
                  <a:cxn ang="0">
                    <a:pos x="149" y="226"/>
                  </a:cxn>
                  <a:cxn ang="0">
                    <a:pos x="146" y="208"/>
                  </a:cxn>
                  <a:cxn ang="0">
                    <a:pos x="146" y="188"/>
                  </a:cxn>
                  <a:cxn ang="0">
                    <a:pos x="142" y="174"/>
                  </a:cxn>
                  <a:cxn ang="0">
                    <a:pos x="131" y="164"/>
                  </a:cxn>
                  <a:cxn ang="0">
                    <a:pos x="119" y="153"/>
                  </a:cxn>
                  <a:cxn ang="0">
                    <a:pos x="101" y="136"/>
                  </a:cxn>
                  <a:cxn ang="0">
                    <a:pos x="69" y="115"/>
                  </a:cxn>
                  <a:cxn ang="0">
                    <a:pos x="58" y="103"/>
                  </a:cxn>
                  <a:cxn ang="0">
                    <a:pos x="68" y="91"/>
                  </a:cxn>
                  <a:cxn ang="0">
                    <a:pos x="69" y="75"/>
                  </a:cxn>
                  <a:cxn ang="0">
                    <a:pos x="53" y="62"/>
                  </a:cxn>
                  <a:cxn ang="0">
                    <a:pos x="18" y="48"/>
                  </a:cxn>
                  <a:cxn ang="0">
                    <a:pos x="1" y="27"/>
                  </a:cxn>
                  <a:cxn ang="0">
                    <a:pos x="68" y="316"/>
                  </a:cxn>
                  <a:cxn ang="0">
                    <a:pos x="71" y="307"/>
                  </a:cxn>
                </a:cxnLst>
                <a:rect l="0" t="0" r="r" b="b"/>
                <a:pathLst>
                  <a:path w="199" h="352">
                    <a:moveTo>
                      <a:pt x="0" y="25"/>
                    </a:moveTo>
                    <a:lnTo>
                      <a:pt x="1" y="23"/>
                    </a:lnTo>
                    <a:lnTo>
                      <a:pt x="3" y="23"/>
                    </a:lnTo>
                    <a:lnTo>
                      <a:pt x="5" y="20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7"/>
                    </a:lnTo>
                    <a:lnTo>
                      <a:pt x="15" y="20"/>
                    </a:lnTo>
                    <a:lnTo>
                      <a:pt x="18" y="22"/>
                    </a:lnTo>
                    <a:lnTo>
                      <a:pt x="21" y="22"/>
                    </a:lnTo>
                    <a:lnTo>
                      <a:pt x="21" y="18"/>
                    </a:lnTo>
                    <a:lnTo>
                      <a:pt x="25" y="15"/>
                    </a:lnTo>
                    <a:lnTo>
                      <a:pt x="29" y="20"/>
                    </a:lnTo>
                    <a:lnTo>
                      <a:pt x="33" y="17"/>
                    </a:lnTo>
                    <a:lnTo>
                      <a:pt x="36" y="17"/>
                    </a:lnTo>
                    <a:lnTo>
                      <a:pt x="36" y="20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9" y="13"/>
                    </a:lnTo>
                    <a:lnTo>
                      <a:pt x="54" y="15"/>
                    </a:lnTo>
                    <a:lnTo>
                      <a:pt x="61" y="13"/>
                    </a:lnTo>
                    <a:lnTo>
                      <a:pt x="61" y="7"/>
                    </a:lnTo>
                    <a:lnTo>
                      <a:pt x="66" y="3"/>
                    </a:lnTo>
                    <a:lnTo>
                      <a:pt x="73" y="3"/>
                    </a:lnTo>
                    <a:lnTo>
                      <a:pt x="76" y="0"/>
                    </a:lnTo>
                    <a:lnTo>
                      <a:pt x="81" y="3"/>
                    </a:lnTo>
                    <a:lnTo>
                      <a:pt x="81" y="7"/>
                    </a:lnTo>
                    <a:lnTo>
                      <a:pt x="86" y="8"/>
                    </a:lnTo>
                    <a:lnTo>
                      <a:pt x="89" y="10"/>
                    </a:lnTo>
                    <a:lnTo>
                      <a:pt x="99" y="10"/>
                    </a:lnTo>
                    <a:lnTo>
                      <a:pt x="101" y="13"/>
                    </a:lnTo>
                    <a:lnTo>
                      <a:pt x="108" y="10"/>
                    </a:lnTo>
                    <a:lnTo>
                      <a:pt x="113" y="13"/>
                    </a:lnTo>
                    <a:lnTo>
                      <a:pt x="111" y="18"/>
                    </a:lnTo>
                    <a:lnTo>
                      <a:pt x="108" y="18"/>
                    </a:lnTo>
                    <a:lnTo>
                      <a:pt x="106" y="27"/>
                    </a:lnTo>
                    <a:lnTo>
                      <a:pt x="108" y="27"/>
                    </a:lnTo>
                    <a:lnTo>
                      <a:pt x="109" y="32"/>
                    </a:lnTo>
                    <a:lnTo>
                      <a:pt x="119" y="35"/>
                    </a:lnTo>
                    <a:lnTo>
                      <a:pt x="121" y="38"/>
                    </a:lnTo>
                    <a:lnTo>
                      <a:pt x="126" y="40"/>
                    </a:lnTo>
                    <a:lnTo>
                      <a:pt x="131" y="42"/>
                    </a:lnTo>
                    <a:lnTo>
                      <a:pt x="136" y="40"/>
                    </a:lnTo>
                    <a:lnTo>
                      <a:pt x="137" y="42"/>
                    </a:lnTo>
                    <a:lnTo>
                      <a:pt x="141" y="42"/>
                    </a:lnTo>
                    <a:lnTo>
                      <a:pt x="144" y="43"/>
                    </a:lnTo>
                    <a:lnTo>
                      <a:pt x="144" y="43"/>
                    </a:lnTo>
                    <a:lnTo>
                      <a:pt x="146" y="45"/>
                    </a:lnTo>
                    <a:lnTo>
                      <a:pt x="144" y="48"/>
                    </a:lnTo>
                    <a:lnTo>
                      <a:pt x="141" y="48"/>
                    </a:lnTo>
                    <a:lnTo>
                      <a:pt x="139" y="48"/>
                    </a:lnTo>
                    <a:lnTo>
                      <a:pt x="134" y="52"/>
                    </a:lnTo>
                    <a:lnTo>
                      <a:pt x="131" y="50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6" y="57"/>
                    </a:lnTo>
                    <a:lnTo>
                      <a:pt x="124" y="58"/>
                    </a:lnTo>
                    <a:lnTo>
                      <a:pt x="123" y="60"/>
                    </a:lnTo>
                    <a:lnTo>
                      <a:pt x="121" y="58"/>
                    </a:lnTo>
                    <a:lnTo>
                      <a:pt x="116" y="58"/>
                    </a:lnTo>
                    <a:lnTo>
                      <a:pt x="114" y="62"/>
                    </a:lnTo>
                    <a:lnTo>
                      <a:pt x="113" y="62"/>
                    </a:lnTo>
                    <a:lnTo>
                      <a:pt x="111" y="60"/>
                    </a:lnTo>
                    <a:lnTo>
                      <a:pt x="109" y="58"/>
                    </a:lnTo>
                    <a:lnTo>
                      <a:pt x="109" y="62"/>
                    </a:lnTo>
                    <a:lnTo>
                      <a:pt x="108" y="65"/>
                    </a:lnTo>
                    <a:lnTo>
                      <a:pt x="109" y="65"/>
                    </a:lnTo>
                    <a:lnTo>
                      <a:pt x="108" y="68"/>
                    </a:lnTo>
                    <a:lnTo>
                      <a:pt x="108" y="73"/>
                    </a:lnTo>
                    <a:lnTo>
                      <a:pt x="108" y="73"/>
                    </a:lnTo>
                    <a:lnTo>
                      <a:pt x="109" y="76"/>
                    </a:lnTo>
                    <a:lnTo>
                      <a:pt x="108" y="78"/>
                    </a:lnTo>
                    <a:lnTo>
                      <a:pt x="106" y="78"/>
                    </a:lnTo>
                    <a:lnTo>
                      <a:pt x="103" y="83"/>
                    </a:lnTo>
                    <a:lnTo>
                      <a:pt x="99" y="83"/>
                    </a:lnTo>
                    <a:lnTo>
                      <a:pt x="98" y="81"/>
                    </a:lnTo>
                    <a:lnTo>
                      <a:pt x="98" y="83"/>
                    </a:lnTo>
                    <a:lnTo>
                      <a:pt x="96" y="85"/>
                    </a:lnTo>
                    <a:lnTo>
                      <a:pt x="94" y="90"/>
                    </a:lnTo>
                    <a:lnTo>
                      <a:pt x="93" y="91"/>
                    </a:lnTo>
                    <a:lnTo>
                      <a:pt x="93" y="95"/>
                    </a:lnTo>
                    <a:lnTo>
                      <a:pt x="94" y="95"/>
                    </a:lnTo>
                    <a:lnTo>
                      <a:pt x="96" y="96"/>
                    </a:lnTo>
                    <a:lnTo>
                      <a:pt x="93" y="105"/>
                    </a:lnTo>
                    <a:lnTo>
                      <a:pt x="91" y="108"/>
                    </a:lnTo>
                    <a:lnTo>
                      <a:pt x="96" y="111"/>
                    </a:lnTo>
                    <a:lnTo>
                      <a:pt x="96" y="115"/>
                    </a:lnTo>
                    <a:lnTo>
                      <a:pt x="91" y="115"/>
                    </a:lnTo>
                    <a:lnTo>
                      <a:pt x="96" y="116"/>
                    </a:lnTo>
                    <a:lnTo>
                      <a:pt x="103" y="120"/>
                    </a:lnTo>
                    <a:lnTo>
                      <a:pt x="109" y="126"/>
                    </a:lnTo>
                    <a:lnTo>
                      <a:pt x="111" y="126"/>
                    </a:lnTo>
                    <a:lnTo>
                      <a:pt x="114" y="131"/>
                    </a:lnTo>
                    <a:lnTo>
                      <a:pt x="114" y="133"/>
                    </a:lnTo>
                    <a:lnTo>
                      <a:pt x="114" y="135"/>
                    </a:lnTo>
                    <a:lnTo>
                      <a:pt x="116" y="140"/>
                    </a:lnTo>
                    <a:lnTo>
                      <a:pt x="116" y="143"/>
                    </a:lnTo>
                    <a:lnTo>
                      <a:pt x="126" y="150"/>
                    </a:lnTo>
                    <a:lnTo>
                      <a:pt x="131" y="153"/>
                    </a:lnTo>
                    <a:lnTo>
                      <a:pt x="132" y="153"/>
                    </a:lnTo>
                    <a:lnTo>
                      <a:pt x="144" y="160"/>
                    </a:lnTo>
                    <a:lnTo>
                      <a:pt x="156" y="168"/>
                    </a:lnTo>
                    <a:lnTo>
                      <a:pt x="159" y="171"/>
                    </a:lnTo>
                    <a:lnTo>
                      <a:pt x="171" y="179"/>
                    </a:lnTo>
                    <a:lnTo>
                      <a:pt x="174" y="184"/>
                    </a:lnTo>
                    <a:lnTo>
                      <a:pt x="174" y="188"/>
                    </a:lnTo>
                    <a:lnTo>
                      <a:pt x="176" y="188"/>
                    </a:lnTo>
                    <a:lnTo>
                      <a:pt x="176" y="191"/>
                    </a:lnTo>
                    <a:lnTo>
                      <a:pt x="181" y="196"/>
                    </a:lnTo>
                    <a:lnTo>
                      <a:pt x="181" y="199"/>
                    </a:lnTo>
                    <a:lnTo>
                      <a:pt x="182" y="201"/>
                    </a:lnTo>
                    <a:lnTo>
                      <a:pt x="181" y="203"/>
                    </a:lnTo>
                    <a:lnTo>
                      <a:pt x="186" y="208"/>
                    </a:lnTo>
                    <a:lnTo>
                      <a:pt x="186" y="214"/>
                    </a:lnTo>
                    <a:lnTo>
                      <a:pt x="189" y="216"/>
                    </a:lnTo>
                    <a:lnTo>
                      <a:pt x="191" y="223"/>
                    </a:lnTo>
                    <a:lnTo>
                      <a:pt x="192" y="224"/>
                    </a:lnTo>
                    <a:lnTo>
                      <a:pt x="192" y="229"/>
                    </a:lnTo>
                    <a:lnTo>
                      <a:pt x="191" y="231"/>
                    </a:lnTo>
                    <a:lnTo>
                      <a:pt x="192" y="234"/>
                    </a:lnTo>
                    <a:lnTo>
                      <a:pt x="192" y="236"/>
                    </a:lnTo>
                    <a:lnTo>
                      <a:pt x="194" y="243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7" y="248"/>
                    </a:lnTo>
                    <a:lnTo>
                      <a:pt x="199" y="253"/>
                    </a:lnTo>
                    <a:lnTo>
                      <a:pt x="199" y="256"/>
                    </a:lnTo>
                    <a:lnTo>
                      <a:pt x="197" y="256"/>
                    </a:lnTo>
                    <a:lnTo>
                      <a:pt x="197" y="254"/>
                    </a:lnTo>
                    <a:lnTo>
                      <a:pt x="196" y="253"/>
                    </a:lnTo>
                    <a:lnTo>
                      <a:pt x="194" y="254"/>
                    </a:lnTo>
                    <a:lnTo>
                      <a:pt x="194" y="258"/>
                    </a:lnTo>
                    <a:lnTo>
                      <a:pt x="197" y="259"/>
                    </a:lnTo>
                    <a:lnTo>
                      <a:pt x="196" y="261"/>
                    </a:lnTo>
                    <a:lnTo>
                      <a:pt x="194" y="262"/>
                    </a:lnTo>
                    <a:lnTo>
                      <a:pt x="194" y="266"/>
                    </a:lnTo>
                    <a:lnTo>
                      <a:pt x="191" y="269"/>
                    </a:lnTo>
                    <a:lnTo>
                      <a:pt x="194" y="272"/>
                    </a:lnTo>
                    <a:lnTo>
                      <a:pt x="191" y="277"/>
                    </a:lnTo>
                    <a:lnTo>
                      <a:pt x="192" y="279"/>
                    </a:lnTo>
                    <a:lnTo>
                      <a:pt x="189" y="281"/>
                    </a:lnTo>
                    <a:lnTo>
                      <a:pt x="187" y="282"/>
                    </a:lnTo>
                    <a:lnTo>
                      <a:pt x="186" y="287"/>
                    </a:lnTo>
                    <a:lnTo>
                      <a:pt x="184" y="289"/>
                    </a:lnTo>
                    <a:lnTo>
                      <a:pt x="179" y="294"/>
                    </a:lnTo>
                    <a:lnTo>
                      <a:pt x="174" y="296"/>
                    </a:lnTo>
                    <a:lnTo>
                      <a:pt x="171" y="299"/>
                    </a:lnTo>
                    <a:lnTo>
                      <a:pt x="169" y="302"/>
                    </a:lnTo>
                    <a:lnTo>
                      <a:pt x="166" y="302"/>
                    </a:lnTo>
                    <a:lnTo>
                      <a:pt x="162" y="306"/>
                    </a:lnTo>
                    <a:lnTo>
                      <a:pt x="152" y="311"/>
                    </a:lnTo>
                    <a:lnTo>
                      <a:pt x="146" y="311"/>
                    </a:lnTo>
                    <a:lnTo>
                      <a:pt x="142" y="311"/>
                    </a:lnTo>
                    <a:lnTo>
                      <a:pt x="137" y="311"/>
                    </a:lnTo>
                    <a:lnTo>
                      <a:pt x="137" y="311"/>
                    </a:lnTo>
                    <a:lnTo>
                      <a:pt x="137" y="307"/>
                    </a:lnTo>
                    <a:lnTo>
                      <a:pt x="137" y="304"/>
                    </a:lnTo>
                    <a:lnTo>
                      <a:pt x="136" y="307"/>
                    </a:lnTo>
                    <a:lnTo>
                      <a:pt x="136" y="309"/>
                    </a:lnTo>
                    <a:lnTo>
                      <a:pt x="131" y="307"/>
                    </a:lnTo>
                    <a:lnTo>
                      <a:pt x="134" y="309"/>
                    </a:lnTo>
                    <a:lnTo>
                      <a:pt x="134" y="311"/>
                    </a:lnTo>
                    <a:lnTo>
                      <a:pt x="132" y="312"/>
                    </a:lnTo>
                    <a:lnTo>
                      <a:pt x="129" y="311"/>
                    </a:lnTo>
                    <a:lnTo>
                      <a:pt x="136" y="314"/>
                    </a:lnTo>
                    <a:lnTo>
                      <a:pt x="134" y="316"/>
                    </a:lnTo>
                    <a:lnTo>
                      <a:pt x="136" y="319"/>
                    </a:lnTo>
                    <a:lnTo>
                      <a:pt x="132" y="321"/>
                    </a:lnTo>
                    <a:lnTo>
                      <a:pt x="127" y="317"/>
                    </a:lnTo>
                    <a:lnTo>
                      <a:pt x="131" y="322"/>
                    </a:lnTo>
                    <a:lnTo>
                      <a:pt x="131" y="324"/>
                    </a:lnTo>
                    <a:lnTo>
                      <a:pt x="129" y="326"/>
                    </a:lnTo>
                    <a:lnTo>
                      <a:pt x="127" y="326"/>
                    </a:lnTo>
                    <a:lnTo>
                      <a:pt x="126" y="324"/>
                    </a:lnTo>
                    <a:lnTo>
                      <a:pt x="123" y="324"/>
                    </a:lnTo>
                    <a:lnTo>
                      <a:pt x="124" y="327"/>
                    </a:lnTo>
                    <a:lnTo>
                      <a:pt x="124" y="327"/>
                    </a:lnTo>
                    <a:lnTo>
                      <a:pt x="124" y="329"/>
                    </a:lnTo>
                    <a:lnTo>
                      <a:pt x="123" y="331"/>
                    </a:lnTo>
                    <a:lnTo>
                      <a:pt x="121" y="332"/>
                    </a:lnTo>
                    <a:lnTo>
                      <a:pt x="119" y="332"/>
                    </a:lnTo>
                    <a:lnTo>
                      <a:pt x="114" y="336"/>
                    </a:lnTo>
                    <a:lnTo>
                      <a:pt x="113" y="337"/>
                    </a:lnTo>
                    <a:lnTo>
                      <a:pt x="109" y="337"/>
                    </a:lnTo>
                    <a:lnTo>
                      <a:pt x="108" y="339"/>
                    </a:lnTo>
                    <a:lnTo>
                      <a:pt x="108" y="344"/>
                    </a:lnTo>
                    <a:lnTo>
                      <a:pt x="104" y="346"/>
                    </a:lnTo>
                    <a:lnTo>
                      <a:pt x="103" y="346"/>
                    </a:lnTo>
                    <a:lnTo>
                      <a:pt x="103" y="347"/>
                    </a:lnTo>
                    <a:lnTo>
                      <a:pt x="93" y="352"/>
                    </a:lnTo>
                    <a:lnTo>
                      <a:pt x="88" y="351"/>
                    </a:lnTo>
                    <a:lnTo>
                      <a:pt x="91" y="349"/>
                    </a:lnTo>
                    <a:lnTo>
                      <a:pt x="94" y="347"/>
                    </a:lnTo>
                    <a:lnTo>
                      <a:pt x="98" y="344"/>
                    </a:lnTo>
                    <a:lnTo>
                      <a:pt x="94" y="346"/>
                    </a:lnTo>
                    <a:lnTo>
                      <a:pt x="91" y="344"/>
                    </a:lnTo>
                    <a:lnTo>
                      <a:pt x="93" y="337"/>
                    </a:lnTo>
                    <a:lnTo>
                      <a:pt x="93" y="337"/>
                    </a:lnTo>
                    <a:lnTo>
                      <a:pt x="91" y="336"/>
                    </a:lnTo>
                    <a:lnTo>
                      <a:pt x="93" y="334"/>
                    </a:lnTo>
                    <a:lnTo>
                      <a:pt x="91" y="326"/>
                    </a:lnTo>
                    <a:lnTo>
                      <a:pt x="96" y="321"/>
                    </a:lnTo>
                    <a:lnTo>
                      <a:pt x="103" y="316"/>
                    </a:lnTo>
                    <a:lnTo>
                      <a:pt x="104" y="314"/>
                    </a:lnTo>
                    <a:lnTo>
                      <a:pt x="101" y="316"/>
                    </a:lnTo>
                    <a:lnTo>
                      <a:pt x="96" y="314"/>
                    </a:lnTo>
                    <a:lnTo>
                      <a:pt x="93" y="316"/>
                    </a:lnTo>
                    <a:lnTo>
                      <a:pt x="89" y="314"/>
                    </a:lnTo>
                    <a:lnTo>
                      <a:pt x="88" y="316"/>
                    </a:lnTo>
                    <a:lnTo>
                      <a:pt x="83" y="314"/>
                    </a:lnTo>
                    <a:lnTo>
                      <a:pt x="83" y="312"/>
                    </a:lnTo>
                    <a:lnTo>
                      <a:pt x="83" y="309"/>
                    </a:lnTo>
                    <a:lnTo>
                      <a:pt x="83" y="309"/>
                    </a:lnTo>
                    <a:lnTo>
                      <a:pt x="86" y="304"/>
                    </a:lnTo>
                    <a:lnTo>
                      <a:pt x="93" y="302"/>
                    </a:lnTo>
                    <a:lnTo>
                      <a:pt x="94" y="297"/>
                    </a:lnTo>
                    <a:lnTo>
                      <a:pt x="99" y="296"/>
                    </a:lnTo>
                    <a:lnTo>
                      <a:pt x="103" y="297"/>
                    </a:lnTo>
                    <a:lnTo>
                      <a:pt x="114" y="296"/>
                    </a:lnTo>
                    <a:lnTo>
                      <a:pt x="118" y="297"/>
                    </a:lnTo>
                    <a:lnTo>
                      <a:pt x="119" y="301"/>
                    </a:lnTo>
                    <a:lnTo>
                      <a:pt x="127" y="301"/>
                    </a:lnTo>
                    <a:lnTo>
                      <a:pt x="124" y="296"/>
                    </a:lnTo>
                    <a:lnTo>
                      <a:pt x="126" y="292"/>
                    </a:lnTo>
                    <a:lnTo>
                      <a:pt x="121" y="289"/>
                    </a:lnTo>
                    <a:lnTo>
                      <a:pt x="116" y="287"/>
                    </a:lnTo>
                    <a:lnTo>
                      <a:pt x="114" y="279"/>
                    </a:lnTo>
                    <a:lnTo>
                      <a:pt x="119" y="277"/>
                    </a:lnTo>
                    <a:lnTo>
                      <a:pt x="129" y="277"/>
                    </a:lnTo>
                    <a:lnTo>
                      <a:pt x="131" y="272"/>
                    </a:lnTo>
                    <a:lnTo>
                      <a:pt x="137" y="269"/>
                    </a:lnTo>
                    <a:lnTo>
                      <a:pt x="144" y="267"/>
                    </a:lnTo>
                    <a:lnTo>
                      <a:pt x="146" y="264"/>
                    </a:lnTo>
                    <a:lnTo>
                      <a:pt x="149" y="262"/>
                    </a:lnTo>
                    <a:lnTo>
                      <a:pt x="152" y="256"/>
                    </a:lnTo>
                    <a:lnTo>
                      <a:pt x="152" y="251"/>
                    </a:lnTo>
                    <a:lnTo>
                      <a:pt x="154" y="246"/>
                    </a:lnTo>
                    <a:lnTo>
                      <a:pt x="152" y="241"/>
                    </a:lnTo>
                    <a:lnTo>
                      <a:pt x="152" y="234"/>
                    </a:lnTo>
                    <a:lnTo>
                      <a:pt x="149" y="226"/>
                    </a:lnTo>
                    <a:lnTo>
                      <a:pt x="144" y="223"/>
                    </a:lnTo>
                    <a:lnTo>
                      <a:pt x="141" y="216"/>
                    </a:lnTo>
                    <a:lnTo>
                      <a:pt x="142" y="216"/>
                    </a:lnTo>
                    <a:lnTo>
                      <a:pt x="147" y="214"/>
                    </a:lnTo>
                    <a:lnTo>
                      <a:pt x="146" y="208"/>
                    </a:lnTo>
                    <a:lnTo>
                      <a:pt x="144" y="204"/>
                    </a:lnTo>
                    <a:lnTo>
                      <a:pt x="144" y="199"/>
                    </a:lnTo>
                    <a:lnTo>
                      <a:pt x="151" y="194"/>
                    </a:lnTo>
                    <a:lnTo>
                      <a:pt x="151" y="189"/>
                    </a:lnTo>
                    <a:lnTo>
                      <a:pt x="146" y="188"/>
                    </a:lnTo>
                    <a:lnTo>
                      <a:pt x="144" y="186"/>
                    </a:lnTo>
                    <a:lnTo>
                      <a:pt x="146" y="179"/>
                    </a:lnTo>
                    <a:lnTo>
                      <a:pt x="149" y="176"/>
                    </a:lnTo>
                    <a:lnTo>
                      <a:pt x="147" y="173"/>
                    </a:lnTo>
                    <a:lnTo>
                      <a:pt x="142" y="174"/>
                    </a:lnTo>
                    <a:lnTo>
                      <a:pt x="141" y="174"/>
                    </a:lnTo>
                    <a:lnTo>
                      <a:pt x="137" y="171"/>
                    </a:lnTo>
                    <a:lnTo>
                      <a:pt x="132" y="171"/>
                    </a:lnTo>
                    <a:lnTo>
                      <a:pt x="129" y="168"/>
                    </a:lnTo>
                    <a:lnTo>
                      <a:pt x="131" y="164"/>
                    </a:lnTo>
                    <a:lnTo>
                      <a:pt x="127" y="163"/>
                    </a:lnTo>
                    <a:lnTo>
                      <a:pt x="124" y="164"/>
                    </a:lnTo>
                    <a:lnTo>
                      <a:pt x="123" y="161"/>
                    </a:lnTo>
                    <a:lnTo>
                      <a:pt x="121" y="158"/>
                    </a:lnTo>
                    <a:lnTo>
                      <a:pt x="119" y="153"/>
                    </a:lnTo>
                    <a:lnTo>
                      <a:pt x="113" y="153"/>
                    </a:lnTo>
                    <a:lnTo>
                      <a:pt x="109" y="151"/>
                    </a:lnTo>
                    <a:lnTo>
                      <a:pt x="108" y="146"/>
                    </a:lnTo>
                    <a:lnTo>
                      <a:pt x="99" y="140"/>
                    </a:lnTo>
                    <a:lnTo>
                      <a:pt x="101" y="136"/>
                    </a:lnTo>
                    <a:lnTo>
                      <a:pt x="96" y="130"/>
                    </a:lnTo>
                    <a:lnTo>
                      <a:pt x="88" y="126"/>
                    </a:lnTo>
                    <a:lnTo>
                      <a:pt x="83" y="120"/>
                    </a:lnTo>
                    <a:lnTo>
                      <a:pt x="78" y="118"/>
                    </a:lnTo>
                    <a:lnTo>
                      <a:pt x="69" y="115"/>
                    </a:lnTo>
                    <a:lnTo>
                      <a:pt x="63" y="115"/>
                    </a:lnTo>
                    <a:lnTo>
                      <a:pt x="59" y="110"/>
                    </a:lnTo>
                    <a:lnTo>
                      <a:pt x="56" y="110"/>
                    </a:lnTo>
                    <a:lnTo>
                      <a:pt x="54" y="106"/>
                    </a:lnTo>
                    <a:lnTo>
                      <a:pt x="58" y="103"/>
                    </a:lnTo>
                    <a:lnTo>
                      <a:pt x="53" y="98"/>
                    </a:lnTo>
                    <a:lnTo>
                      <a:pt x="53" y="93"/>
                    </a:lnTo>
                    <a:lnTo>
                      <a:pt x="56" y="93"/>
                    </a:lnTo>
                    <a:lnTo>
                      <a:pt x="63" y="91"/>
                    </a:lnTo>
                    <a:lnTo>
                      <a:pt x="68" y="91"/>
                    </a:lnTo>
                    <a:lnTo>
                      <a:pt x="69" y="88"/>
                    </a:lnTo>
                    <a:lnTo>
                      <a:pt x="73" y="80"/>
                    </a:lnTo>
                    <a:lnTo>
                      <a:pt x="76" y="78"/>
                    </a:lnTo>
                    <a:lnTo>
                      <a:pt x="76" y="76"/>
                    </a:lnTo>
                    <a:lnTo>
                      <a:pt x="69" y="75"/>
                    </a:lnTo>
                    <a:lnTo>
                      <a:pt x="69" y="70"/>
                    </a:lnTo>
                    <a:lnTo>
                      <a:pt x="69" y="66"/>
                    </a:lnTo>
                    <a:lnTo>
                      <a:pt x="63" y="65"/>
                    </a:lnTo>
                    <a:lnTo>
                      <a:pt x="59" y="62"/>
                    </a:lnTo>
                    <a:lnTo>
                      <a:pt x="53" y="62"/>
                    </a:lnTo>
                    <a:lnTo>
                      <a:pt x="46" y="63"/>
                    </a:lnTo>
                    <a:lnTo>
                      <a:pt x="41" y="62"/>
                    </a:lnTo>
                    <a:lnTo>
                      <a:pt x="31" y="62"/>
                    </a:lnTo>
                    <a:lnTo>
                      <a:pt x="26" y="55"/>
                    </a:lnTo>
                    <a:lnTo>
                      <a:pt x="18" y="48"/>
                    </a:lnTo>
                    <a:lnTo>
                      <a:pt x="20" y="43"/>
                    </a:lnTo>
                    <a:lnTo>
                      <a:pt x="18" y="40"/>
                    </a:lnTo>
                    <a:lnTo>
                      <a:pt x="15" y="37"/>
                    </a:lnTo>
                    <a:lnTo>
                      <a:pt x="10" y="30"/>
                    </a:lnTo>
                    <a:lnTo>
                      <a:pt x="1" y="27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  <a:moveTo>
                      <a:pt x="66" y="311"/>
                    </a:moveTo>
                    <a:lnTo>
                      <a:pt x="69" y="314"/>
                    </a:lnTo>
                    <a:lnTo>
                      <a:pt x="68" y="316"/>
                    </a:lnTo>
                    <a:lnTo>
                      <a:pt x="71" y="319"/>
                    </a:lnTo>
                    <a:lnTo>
                      <a:pt x="73" y="319"/>
                    </a:lnTo>
                    <a:lnTo>
                      <a:pt x="74" y="312"/>
                    </a:lnTo>
                    <a:lnTo>
                      <a:pt x="73" y="311"/>
                    </a:lnTo>
                    <a:lnTo>
                      <a:pt x="71" y="307"/>
                    </a:lnTo>
                    <a:lnTo>
                      <a:pt x="66" y="3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4" name="Freeform 20"/>
              <p:cNvSpPr>
                <a:spLocks/>
              </p:cNvSpPr>
              <p:nvPr/>
            </p:nvSpPr>
            <p:spPr bwMode="auto">
              <a:xfrm>
                <a:off x="7745333" y="3097475"/>
                <a:ext cx="68496" cy="51879"/>
              </a:xfrm>
              <a:custGeom>
                <a:avLst/>
                <a:gdLst/>
                <a:ahLst/>
                <a:cxnLst>
                  <a:cxn ang="0">
                    <a:pos x="60" y="95"/>
                  </a:cxn>
                  <a:cxn ang="0">
                    <a:pos x="68" y="88"/>
                  </a:cxn>
                  <a:cxn ang="0">
                    <a:pos x="77" y="88"/>
                  </a:cxn>
                  <a:cxn ang="0">
                    <a:pos x="92" y="88"/>
                  </a:cxn>
                  <a:cxn ang="0">
                    <a:pos x="101" y="92"/>
                  </a:cxn>
                  <a:cxn ang="0">
                    <a:pos x="100" y="83"/>
                  </a:cxn>
                  <a:cxn ang="0">
                    <a:pos x="90" y="78"/>
                  </a:cxn>
                  <a:cxn ang="0">
                    <a:pos x="93" y="68"/>
                  </a:cxn>
                  <a:cxn ang="0">
                    <a:pos x="105" y="63"/>
                  </a:cxn>
                  <a:cxn ang="0">
                    <a:pos x="118" y="58"/>
                  </a:cxn>
                  <a:cxn ang="0">
                    <a:pos x="123" y="53"/>
                  </a:cxn>
                  <a:cxn ang="0">
                    <a:pos x="126" y="42"/>
                  </a:cxn>
                  <a:cxn ang="0">
                    <a:pos x="126" y="32"/>
                  </a:cxn>
                  <a:cxn ang="0">
                    <a:pos x="123" y="17"/>
                  </a:cxn>
                  <a:cxn ang="0">
                    <a:pos x="115" y="7"/>
                  </a:cxn>
                  <a:cxn ang="0">
                    <a:pos x="106" y="5"/>
                  </a:cxn>
                  <a:cxn ang="0">
                    <a:pos x="101" y="0"/>
                  </a:cxn>
                  <a:cxn ang="0">
                    <a:pos x="88" y="5"/>
                  </a:cxn>
                  <a:cxn ang="0">
                    <a:pos x="93" y="14"/>
                  </a:cxn>
                  <a:cxn ang="0">
                    <a:pos x="95" y="22"/>
                  </a:cxn>
                  <a:cxn ang="0">
                    <a:pos x="83" y="12"/>
                  </a:cxn>
                  <a:cxn ang="0">
                    <a:pos x="73" y="9"/>
                  </a:cxn>
                  <a:cxn ang="0">
                    <a:pos x="65" y="7"/>
                  </a:cxn>
                  <a:cxn ang="0">
                    <a:pos x="53" y="5"/>
                  </a:cxn>
                  <a:cxn ang="0">
                    <a:pos x="43" y="4"/>
                  </a:cxn>
                  <a:cxn ang="0">
                    <a:pos x="35" y="4"/>
                  </a:cxn>
                  <a:cxn ang="0">
                    <a:pos x="17" y="7"/>
                  </a:cxn>
                  <a:cxn ang="0">
                    <a:pos x="7" y="14"/>
                  </a:cxn>
                  <a:cxn ang="0">
                    <a:pos x="0" y="25"/>
                  </a:cxn>
                  <a:cxn ang="0">
                    <a:pos x="2" y="42"/>
                  </a:cxn>
                  <a:cxn ang="0">
                    <a:pos x="8" y="49"/>
                  </a:cxn>
                  <a:cxn ang="0">
                    <a:pos x="7" y="60"/>
                  </a:cxn>
                  <a:cxn ang="0">
                    <a:pos x="10" y="63"/>
                  </a:cxn>
                  <a:cxn ang="0">
                    <a:pos x="13" y="70"/>
                  </a:cxn>
                  <a:cxn ang="0">
                    <a:pos x="18" y="78"/>
                  </a:cxn>
                  <a:cxn ang="0">
                    <a:pos x="22" y="82"/>
                  </a:cxn>
                  <a:cxn ang="0">
                    <a:pos x="23" y="87"/>
                  </a:cxn>
                  <a:cxn ang="0">
                    <a:pos x="27" y="90"/>
                  </a:cxn>
                  <a:cxn ang="0">
                    <a:pos x="30" y="87"/>
                  </a:cxn>
                  <a:cxn ang="0">
                    <a:pos x="35" y="83"/>
                  </a:cxn>
                  <a:cxn ang="0">
                    <a:pos x="37" y="88"/>
                  </a:cxn>
                  <a:cxn ang="0">
                    <a:pos x="33" y="95"/>
                  </a:cxn>
                  <a:cxn ang="0">
                    <a:pos x="35" y="98"/>
                  </a:cxn>
                  <a:cxn ang="0">
                    <a:pos x="42" y="95"/>
                  </a:cxn>
                  <a:cxn ang="0">
                    <a:pos x="45" y="97"/>
                  </a:cxn>
                  <a:cxn ang="0">
                    <a:pos x="52" y="97"/>
                  </a:cxn>
                </a:cxnLst>
                <a:rect l="0" t="0" r="r" b="b"/>
                <a:pathLst>
                  <a:path w="128" h="100">
                    <a:moveTo>
                      <a:pt x="57" y="100"/>
                    </a:moveTo>
                    <a:lnTo>
                      <a:pt x="60" y="95"/>
                    </a:lnTo>
                    <a:lnTo>
                      <a:pt x="67" y="93"/>
                    </a:lnTo>
                    <a:lnTo>
                      <a:pt x="68" y="88"/>
                    </a:lnTo>
                    <a:lnTo>
                      <a:pt x="73" y="87"/>
                    </a:lnTo>
                    <a:lnTo>
                      <a:pt x="77" y="88"/>
                    </a:lnTo>
                    <a:lnTo>
                      <a:pt x="88" y="87"/>
                    </a:lnTo>
                    <a:lnTo>
                      <a:pt x="92" y="88"/>
                    </a:lnTo>
                    <a:lnTo>
                      <a:pt x="93" y="92"/>
                    </a:lnTo>
                    <a:lnTo>
                      <a:pt x="101" y="92"/>
                    </a:lnTo>
                    <a:lnTo>
                      <a:pt x="98" y="87"/>
                    </a:lnTo>
                    <a:lnTo>
                      <a:pt x="100" y="83"/>
                    </a:lnTo>
                    <a:lnTo>
                      <a:pt x="95" y="80"/>
                    </a:lnTo>
                    <a:lnTo>
                      <a:pt x="90" y="78"/>
                    </a:lnTo>
                    <a:lnTo>
                      <a:pt x="88" y="70"/>
                    </a:lnTo>
                    <a:lnTo>
                      <a:pt x="93" y="68"/>
                    </a:lnTo>
                    <a:lnTo>
                      <a:pt x="103" y="68"/>
                    </a:lnTo>
                    <a:lnTo>
                      <a:pt x="105" y="63"/>
                    </a:lnTo>
                    <a:lnTo>
                      <a:pt x="111" y="60"/>
                    </a:lnTo>
                    <a:lnTo>
                      <a:pt x="118" y="58"/>
                    </a:lnTo>
                    <a:lnTo>
                      <a:pt x="120" y="55"/>
                    </a:lnTo>
                    <a:lnTo>
                      <a:pt x="123" y="53"/>
                    </a:lnTo>
                    <a:lnTo>
                      <a:pt x="126" y="47"/>
                    </a:lnTo>
                    <a:lnTo>
                      <a:pt x="126" y="42"/>
                    </a:lnTo>
                    <a:lnTo>
                      <a:pt x="128" y="37"/>
                    </a:lnTo>
                    <a:lnTo>
                      <a:pt x="126" y="32"/>
                    </a:lnTo>
                    <a:lnTo>
                      <a:pt x="126" y="25"/>
                    </a:lnTo>
                    <a:lnTo>
                      <a:pt x="123" y="17"/>
                    </a:lnTo>
                    <a:lnTo>
                      <a:pt x="118" y="14"/>
                    </a:lnTo>
                    <a:lnTo>
                      <a:pt x="115" y="7"/>
                    </a:lnTo>
                    <a:lnTo>
                      <a:pt x="111" y="7"/>
                    </a:lnTo>
                    <a:lnTo>
                      <a:pt x="106" y="5"/>
                    </a:lnTo>
                    <a:lnTo>
                      <a:pt x="103" y="4"/>
                    </a:lnTo>
                    <a:lnTo>
                      <a:pt x="101" y="0"/>
                    </a:lnTo>
                    <a:lnTo>
                      <a:pt x="93" y="2"/>
                    </a:lnTo>
                    <a:lnTo>
                      <a:pt x="88" y="5"/>
                    </a:lnTo>
                    <a:lnTo>
                      <a:pt x="95" y="10"/>
                    </a:lnTo>
                    <a:lnTo>
                      <a:pt x="93" y="14"/>
                    </a:lnTo>
                    <a:lnTo>
                      <a:pt x="95" y="19"/>
                    </a:lnTo>
                    <a:lnTo>
                      <a:pt x="95" y="22"/>
                    </a:lnTo>
                    <a:lnTo>
                      <a:pt x="87" y="19"/>
                    </a:lnTo>
                    <a:lnTo>
                      <a:pt x="83" y="12"/>
                    </a:lnTo>
                    <a:lnTo>
                      <a:pt x="75" y="12"/>
                    </a:lnTo>
                    <a:lnTo>
                      <a:pt x="73" y="9"/>
                    </a:lnTo>
                    <a:lnTo>
                      <a:pt x="68" y="5"/>
                    </a:lnTo>
                    <a:lnTo>
                      <a:pt x="65" y="7"/>
                    </a:lnTo>
                    <a:lnTo>
                      <a:pt x="60" y="4"/>
                    </a:lnTo>
                    <a:lnTo>
                      <a:pt x="53" y="5"/>
                    </a:lnTo>
                    <a:lnTo>
                      <a:pt x="48" y="4"/>
                    </a:lnTo>
                    <a:lnTo>
                      <a:pt x="43" y="4"/>
                    </a:lnTo>
                    <a:lnTo>
                      <a:pt x="37" y="5"/>
                    </a:lnTo>
                    <a:lnTo>
                      <a:pt x="35" y="4"/>
                    </a:lnTo>
                    <a:lnTo>
                      <a:pt x="27" y="4"/>
                    </a:lnTo>
                    <a:lnTo>
                      <a:pt x="17" y="7"/>
                    </a:lnTo>
                    <a:lnTo>
                      <a:pt x="12" y="7"/>
                    </a:lnTo>
                    <a:lnTo>
                      <a:pt x="7" y="14"/>
                    </a:lnTo>
                    <a:lnTo>
                      <a:pt x="5" y="20"/>
                    </a:lnTo>
                    <a:lnTo>
                      <a:pt x="0" y="25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7" y="44"/>
                    </a:lnTo>
                    <a:lnTo>
                      <a:pt x="8" y="49"/>
                    </a:lnTo>
                    <a:lnTo>
                      <a:pt x="8" y="57"/>
                    </a:lnTo>
                    <a:lnTo>
                      <a:pt x="7" y="60"/>
                    </a:lnTo>
                    <a:lnTo>
                      <a:pt x="7" y="60"/>
                    </a:lnTo>
                    <a:lnTo>
                      <a:pt x="10" y="63"/>
                    </a:lnTo>
                    <a:lnTo>
                      <a:pt x="12" y="67"/>
                    </a:lnTo>
                    <a:lnTo>
                      <a:pt x="13" y="70"/>
                    </a:lnTo>
                    <a:lnTo>
                      <a:pt x="15" y="73"/>
                    </a:lnTo>
                    <a:lnTo>
                      <a:pt x="18" y="78"/>
                    </a:lnTo>
                    <a:lnTo>
                      <a:pt x="20" y="78"/>
                    </a:lnTo>
                    <a:lnTo>
                      <a:pt x="22" y="82"/>
                    </a:lnTo>
                    <a:lnTo>
                      <a:pt x="22" y="85"/>
                    </a:lnTo>
                    <a:lnTo>
                      <a:pt x="23" y="87"/>
                    </a:lnTo>
                    <a:lnTo>
                      <a:pt x="23" y="90"/>
                    </a:lnTo>
                    <a:lnTo>
                      <a:pt x="27" y="90"/>
                    </a:lnTo>
                    <a:lnTo>
                      <a:pt x="30" y="90"/>
                    </a:lnTo>
                    <a:lnTo>
                      <a:pt x="30" y="87"/>
                    </a:lnTo>
                    <a:lnTo>
                      <a:pt x="33" y="85"/>
                    </a:lnTo>
                    <a:lnTo>
                      <a:pt x="35" y="83"/>
                    </a:lnTo>
                    <a:lnTo>
                      <a:pt x="35" y="85"/>
                    </a:lnTo>
                    <a:lnTo>
                      <a:pt x="37" y="88"/>
                    </a:lnTo>
                    <a:lnTo>
                      <a:pt x="37" y="92"/>
                    </a:lnTo>
                    <a:lnTo>
                      <a:pt x="33" y="95"/>
                    </a:lnTo>
                    <a:lnTo>
                      <a:pt x="35" y="97"/>
                    </a:lnTo>
                    <a:lnTo>
                      <a:pt x="35" y="98"/>
                    </a:lnTo>
                    <a:lnTo>
                      <a:pt x="38" y="98"/>
                    </a:lnTo>
                    <a:lnTo>
                      <a:pt x="42" y="95"/>
                    </a:lnTo>
                    <a:lnTo>
                      <a:pt x="43" y="95"/>
                    </a:lnTo>
                    <a:lnTo>
                      <a:pt x="45" y="97"/>
                    </a:lnTo>
                    <a:lnTo>
                      <a:pt x="50" y="98"/>
                    </a:lnTo>
                    <a:lnTo>
                      <a:pt x="52" y="97"/>
                    </a:lnTo>
                    <a:lnTo>
                      <a:pt x="57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5" name="Freeform 21"/>
              <p:cNvSpPr>
                <a:spLocks/>
              </p:cNvSpPr>
              <p:nvPr/>
            </p:nvSpPr>
            <p:spPr bwMode="auto">
              <a:xfrm>
                <a:off x="7705734" y="3000979"/>
                <a:ext cx="105954" cy="106872"/>
              </a:xfrm>
              <a:custGeom>
                <a:avLst/>
                <a:gdLst/>
                <a:ahLst/>
                <a:cxnLst>
                  <a:cxn ang="0">
                    <a:pos x="28" y="30"/>
                  </a:cxn>
                  <a:cxn ang="0">
                    <a:pos x="37" y="24"/>
                  </a:cxn>
                  <a:cxn ang="0">
                    <a:pos x="35" y="7"/>
                  </a:cxn>
                  <a:cxn ang="0">
                    <a:pos x="47" y="0"/>
                  </a:cxn>
                  <a:cxn ang="0">
                    <a:pos x="62" y="14"/>
                  </a:cxn>
                  <a:cxn ang="0">
                    <a:pos x="65" y="25"/>
                  </a:cxn>
                  <a:cxn ang="0">
                    <a:pos x="88" y="39"/>
                  </a:cxn>
                  <a:cxn ang="0">
                    <a:pos x="106" y="39"/>
                  </a:cxn>
                  <a:cxn ang="0">
                    <a:pos x="116" y="47"/>
                  </a:cxn>
                  <a:cxn ang="0">
                    <a:pos x="123" y="55"/>
                  </a:cxn>
                  <a:cxn ang="0">
                    <a:pos x="115" y="68"/>
                  </a:cxn>
                  <a:cxn ang="0">
                    <a:pos x="100" y="70"/>
                  </a:cxn>
                  <a:cxn ang="0">
                    <a:pos x="101" y="83"/>
                  </a:cxn>
                  <a:cxn ang="0">
                    <a:pos x="110" y="92"/>
                  </a:cxn>
                  <a:cxn ang="0">
                    <a:pos x="130" y="97"/>
                  </a:cxn>
                  <a:cxn ang="0">
                    <a:pos x="148" y="113"/>
                  </a:cxn>
                  <a:cxn ang="0">
                    <a:pos x="156" y="128"/>
                  </a:cxn>
                  <a:cxn ang="0">
                    <a:pos x="168" y="135"/>
                  </a:cxn>
                  <a:cxn ang="0">
                    <a:pos x="174" y="140"/>
                  </a:cxn>
                  <a:cxn ang="0">
                    <a:pos x="179" y="148"/>
                  </a:cxn>
                  <a:cxn ang="0">
                    <a:pos x="189" y="151"/>
                  </a:cxn>
                  <a:cxn ang="0">
                    <a:pos x="193" y="156"/>
                  </a:cxn>
                  <a:cxn ang="0">
                    <a:pos x="198" y="166"/>
                  </a:cxn>
                  <a:cxn ang="0">
                    <a:pos x="191" y="181"/>
                  </a:cxn>
                  <a:cxn ang="0">
                    <a:pos x="189" y="193"/>
                  </a:cxn>
                  <a:cxn ang="0">
                    <a:pos x="176" y="190"/>
                  </a:cxn>
                  <a:cxn ang="0">
                    <a:pos x="161" y="191"/>
                  </a:cxn>
                  <a:cxn ang="0">
                    <a:pos x="168" y="205"/>
                  </a:cxn>
                  <a:cxn ang="0">
                    <a:pos x="156" y="198"/>
                  </a:cxn>
                  <a:cxn ang="0">
                    <a:pos x="141" y="191"/>
                  </a:cxn>
                  <a:cxn ang="0">
                    <a:pos x="146" y="180"/>
                  </a:cxn>
                  <a:cxn ang="0">
                    <a:pos x="146" y="170"/>
                  </a:cxn>
                  <a:cxn ang="0">
                    <a:pos x="141" y="158"/>
                  </a:cxn>
                  <a:cxn ang="0">
                    <a:pos x="135" y="153"/>
                  </a:cxn>
                  <a:cxn ang="0">
                    <a:pos x="126" y="141"/>
                  </a:cxn>
                  <a:cxn ang="0">
                    <a:pos x="125" y="128"/>
                  </a:cxn>
                  <a:cxn ang="0">
                    <a:pos x="118" y="115"/>
                  </a:cxn>
                  <a:cxn ang="0">
                    <a:pos x="93" y="100"/>
                  </a:cxn>
                  <a:cxn ang="0">
                    <a:pos x="70" y="112"/>
                  </a:cxn>
                  <a:cxn ang="0">
                    <a:pos x="52" y="103"/>
                  </a:cxn>
                  <a:cxn ang="0">
                    <a:pos x="38" y="113"/>
                  </a:cxn>
                  <a:cxn ang="0">
                    <a:pos x="32" y="97"/>
                  </a:cxn>
                  <a:cxn ang="0">
                    <a:pos x="32" y="85"/>
                  </a:cxn>
                  <a:cxn ang="0">
                    <a:pos x="32" y="72"/>
                  </a:cxn>
                  <a:cxn ang="0">
                    <a:pos x="15" y="73"/>
                  </a:cxn>
                  <a:cxn ang="0">
                    <a:pos x="13" y="58"/>
                  </a:cxn>
                  <a:cxn ang="0">
                    <a:pos x="0" y="48"/>
                  </a:cxn>
                  <a:cxn ang="0">
                    <a:pos x="10" y="40"/>
                  </a:cxn>
                  <a:cxn ang="0">
                    <a:pos x="10" y="30"/>
                  </a:cxn>
                </a:cxnLst>
                <a:rect l="0" t="0" r="r" b="b"/>
                <a:pathLst>
                  <a:path w="198" h="208">
                    <a:moveTo>
                      <a:pt x="22" y="24"/>
                    </a:moveTo>
                    <a:lnTo>
                      <a:pt x="25" y="27"/>
                    </a:lnTo>
                    <a:lnTo>
                      <a:pt x="28" y="30"/>
                    </a:lnTo>
                    <a:lnTo>
                      <a:pt x="33" y="29"/>
                    </a:lnTo>
                    <a:lnTo>
                      <a:pt x="38" y="29"/>
                    </a:lnTo>
                    <a:lnTo>
                      <a:pt x="37" y="24"/>
                    </a:lnTo>
                    <a:lnTo>
                      <a:pt x="37" y="19"/>
                    </a:lnTo>
                    <a:lnTo>
                      <a:pt x="35" y="14"/>
                    </a:lnTo>
                    <a:lnTo>
                      <a:pt x="35" y="7"/>
                    </a:lnTo>
                    <a:lnTo>
                      <a:pt x="38" y="5"/>
                    </a:lnTo>
                    <a:lnTo>
                      <a:pt x="38" y="2"/>
                    </a:lnTo>
                    <a:lnTo>
                      <a:pt x="47" y="0"/>
                    </a:lnTo>
                    <a:lnTo>
                      <a:pt x="48" y="4"/>
                    </a:lnTo>
                    <a:lnTo>
                      <a:pt x="57" y="7"/>
                    </a:lnTo>
                    <a:lnTo>
                      <a:pt x="62" y="14"/>
                    </a:lnTo>
                    <a:lnTo>
                      <a:pt x="65" y="17"/>
                    </a:lnTo>
                    <a:lnTo>
                      <a:pt x="67" y="20"/>
                    </a:lnTo>
                    <a:lnTo>
                      <a:pt x="65" y="25"/>
                    </a:lnTo>
                    <a:lnTo>
                      <a:pt x="73" y="32"/>
                    </a:lnTo>
                    <a:lnTo>
                      <a:pt x="78" y="39"/>
                    </a:lnTo>
                    <a:lnTo>
                      <a:pt x="88" y="39"/>
                    </a:lnTo>
                    <a:lnTo>
                      <a:pt x="93" y="40"/>
                    </a:lnTo>
                    <a:lnTo>
                      <a:pt x="100" y="39"/>
                    </a:lnTo>
                    <a:lnTo>
                      <a:pt x="106" y="39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16" y="47"/>
                    </a:lnTo>
                    <a:lnTo>
                      <a:pt x="116" y="52"/>
                    </a:lnTo>
                    <a:lnTo>
                      <a:pt x="123" y="53"/>
                    </a:lnTo>
                    <a:lnTo>
                      <a:pt x="123" y="55"/>
                    </a:lnTo>
                    <a:lnTo>
                      <a:pt x="120" y="57"/>
                    </a:lnTo>
                    <a:lnTo>
                      <a:pt x="116" y="65"/>
                    </a:lnTo>
                    <a:lnTo>
                      <a:pt x="115" y="68"/>
                    </a:lnTo>
                    <a:lnTo>
                      <a:pt x="110" y="68"/>
                    </a:lnTo>
                    <a:lnTo>
                      <a:pt x="103" y="70"/>
                    </a:lnTo>
                    <a:lnTo>
                      <a:pt x="100" y="70"/>
                    </a:lnTo>
                    <a:lnTo>
                      <a:pt x="100" y="75"/>
                    </a:lnTo>
                    <a:lnTo>
                      <a:pt x="105" y="80"/>
                    </a:lnTo>
                    <a:lnTo>
                      <a:pt x="101" y="83"/>
                    </a:lnTo>
                    <a:lnTo>
                      <a:pt x="103" y="87"/>
                    </a:lnTo>
                    <a:lnTo>
                      <a:pt x="106" y="87"/>
                    </a:lnTo>
                    <a:lnTo>
                      <a:pt x="110" y="92"/>
                    </a:lnTo>
                    <a:lnTo>
                      <a:pt x="116" y="92"/>
                    </a:lnTo>
                    <a:lnTo>
                      <a:pt x="125" y="95"/>
                    </a:lnTo>
                    <a:lnTo>
                      <a:pt x="130" y="97"/>
                    </a:lnTo>
                    <a:lnTo>
                      <a:pt x="135" y="103"/>
                    </a:lnTo>
                    <a:lnTo>
                      <a:pt x="143" y="107"/>
                    </a:lnTo>
                    <a:lnTo>
                      <a:pt x="148" y="113"/>
                    </a:lnTo>
                    <a:lnTo>
                      <a:pt x="146" y="117"/>
                    </a:lnTo>
                    <a:lnTo>
                      <a:pt x="155" y="123"/>
                    </a:lnTo>
                    <a:lnTo>
                      <a:pt x="156" y="128"/>
                    </a:lnTo>
                    <a:lnTo>
                      <a:pt x="160" y="130"/>
                    </a:lnTo>
                    <a:lnTo>
                      <a:pt x="166" y="130"/>
                    </a:lnTo>
                    <a:lnTo>
                      <a:pt x="168" y="135"/>
                    </a:lnTo>
                    <a:lnTo>
                      <a:pt x="170" y="138"/>
                    </a:lnTo>
                    <a:lnTo>
                      <a:pt x="171" y="141"/>
                    </a:lnTo>
                    <a:lnTo>
                      <a:pt x="174" y="140"/>
                    </a:lnTo>
                    <a:lnTo>
                      <a:pt x="178" y="141"/>
                    </a:lnTo>
                    <a:lnTo>
                      <a:pt x="176" y="145"/>
                    </a:lnTo>
                    <a:lnTo>
                      <a:pt x="179" y="148"/>
                    </a:lnTo>
                    <a:lnTo>
                      <a:pt x="184" y="148"/>
                    </a:lnTo>
                    <a:lnTo>
                      <a:pt x="188" y="151"/>
                    </a:lnTo>
                    <a:lnTo>
                      <a:pt x="189" y="151"/>
                    </a:lnTo>
                    <a:lnTo>
                      <a:pt x="194" y="150"/>
                    </a:lnTo>
                    <a:lnTo>
                      <a:pt x="196" y="153"/>
                    </a:lnTo>
                    <a:lnTo>
                      <a:pt x="193" y="156"/>
                    </a:lnTo>
                    <a:lnTo>
                      <a:pt x="191" y="163"/>
                    </a:lnTo>
                    <a:lnTo>
                      <a:pt x="193" y="165"/>
                    </a:lnTo>
                    <a:lnTo>
                      <a:pt x="198" y="166"/>
                    </a:lnTo>
                    <a:lnTo>
                      <a:pt x="198" y="171"/>
                    </a:lnTo>
                    <a:lnTo>
                      <a:pt x="191" y="176"/>
                    </a:lnTo>
                    <a:lnTo>
                      <a:pt x="191" y="181"/>
                    </a:lnTo>
                    <a:lnTo>
                      <a:pt x="193" y="185"/>
                    </a:lnTo>
                    <a:lnTo>
                      <a:pt x="194" y="191"/>
                    </a:lnTo>
                    <a:lnTo>
                      <a:pt x="189" y="193"/>
                    </a:lnTo>
                    <a:lnTo>
                      <a:pt x="184" y="193"/>
                    </a:lnTo>
                    <a:lnTo>
                      <a:pt x="179" y="191"/>
                    </a:lnTo>
                    <a:lnTo>
                      <a:pt x="176" y="190"/>
                    </a:lnTo>
                    <a:lnTo>
                      <a:pt x="174" y="186"/>
                    </a:lnTo>
                    <a:lnTo>
                      <a:pt x="166" y="188"/>
                    </a:lnTo>
                    <a:lnTo>
                      <a:pt x="161" y="191"/>
                    </a:lnTo>
                    <a:lnTo>
                      <a:pt x="168" y="196"/>
                    </a:lnTo>
                    <a:lnTo>
                      <a:pt x="166" y="200"/>
                    </a:lnTo>
                    <a:lnTo>
                      <a:pt x="168" y="205"/>
                    </a:lnTo>
                    <a:lnTo>
                      <a:pt x="168" y="208"/>
                    </a:lnTo>
                    <a:lnTo>
                      <a:pt x="160" y="205"/>
                    </a:lnTo>
                    <a:lnTo>
                      <a:pt x="156" y="198"/>
                    </a:lnTo>
                    <a:lnTo>
                      <a:pt x="148" y="198"/>
                    </a:lnTo>
                    <a:lnTo>
                      <a:pt x="146" y="195"/>
                    </a:lnTo>
                    <a:lnTo>
                      <a:pt x="141" y="191"/>
                    </a:lnTo>
                    <a:lnTo>
                      <a:pt x="143" y="190"/>
                    </a:lnTo>
                    <a:lnTo>
                      <a:pt x="146" y="188"/>
                    </a:lnTo>
                    <a:lnTo>
                      <a:pt x="146" y="180"/>
                    </a:lnTo>
                    <a:lnTo>
                      <a:pt x="145" y="176"/>
                    </a:lnTo>
                    <a:lnTo>
                      <a:pt x="146" y="171"/>
                    </a:lnTo>
                    <a:lnTo>
                      <a:pt x="146" y="170"/>
                    </a:lnTo>
                    <a:lnTo>
                      <a:pt x="148" y="165"/>
                    </a:lnTo>
                    <a:lnTo>
                      <a:pt x="148" y="161"/>
                    </a:lnTo>
                    <a:lnTo>
                      <a:pt x="141" y="158"/>
                    </a:lnTo>
                    <a:lnTo>
                      <a:pt x="143" y="155"/>
                    </a:lnTo>
                    <a:lnTo>
                      <a:pt x="138" y="153"/>
                    </a:lnTo>
                    <a:lnTo>
                      <a:pt x="135" y="153"/>
                    </a:lnTo>
                    <a:lnTo>
                      <a:pt x="128" y="148"/>
                    </a:lnTo>
                    <a:lnTo>
                      <a:pt x="125" y="145"/>
                    </a:lnTo>
                    <a:lnTo>
                      <a:pt x="126" y="141"/>
                    </a:lnTo>
                    <a:lnTo>
                      <a:pt x="126" y="137"/>
                    </a:lnTo>
                    <a:lnTo>
                      <a:pt x="123" y="132"/>
                    </a:lnTo>
                    <a:lnTo>
                      <a:pt x="125" y="128"/>
                    </a:lnTo>
                    <a:lnTo>
                      <a:pt x="126" y="125"/>
                    </a:lnTo>
                    <a:lnTo>
                      <a:pt x="123" y="120"/>
                    </a:lnTo>
                    <a:lnTo>
                      <a:pt x="118" y="115"/>
                    </a:lnTo>
                    <a:lnTo>
                      <a:pt x="106" y="108"/>
                    </a:lnTo>
                    <a:lnTo>
                      <a:pt x="103" y="102"/>
                    </a:lnTo>
                    <a:lnTo>
                      <a:pt x="93" y="100"/>
                    </a:lnTo>
                    <a:lnTo>
                      <a:pt x="85" y="102"/>
                    </a:lnTo>
                    <a:lnTo>
                      <a:pt x="80" y="112"/>
                    </a:lnTo>
                    <a:lnTo>
                      <a:pt x="70" y="112"/>
                    </a:lnTo>
                    <a:lnTo>
                      <a:pt x="65" y="108"/>
                    </a:lnTo>
                    <a:lnTo>
                      <a:pt x="60" y="108"/>
                    </a:lnTo>
                    <a:lnTo>
                      <a:pt x="52" y="103"/>
                    </a:lnTo>
                    <a:lnTo>
                      <a:pt x="45" y="107"/>
                    </a:lnTo>
                    <a:lnTo>
                      <a:pt x="43" y="112"/>
                    </a:lnTo>
                    <a:lnTo>
                      <a:pt x="38" y="113"/>
                    </a:lnTo>
                    <a:lnTo>
                      <a:pt x="32" y="117"/>
                    </a:lnTo>
                    <a:lnTo>
                      <a:pt x="32" y="105"/>
                    </a:lnTo>
                    <a:lnTo>
                      <a:pt x="32" y="97"/>
                    </a:lnTo>
                    <a:lnTo>
                      <a:pt x="28" y="92"/>
                    </a:lnTo>
                    <a:lnTo>
                      <a:pt x="32" y="88"/>
                    </a:lnTo>
                    <a:lnTo>
                      <a:pt x="32" y="85"/>
                    </a:lnTo>
                    <a:lnTo>
                      <a:pt x="28" y="80"/>
                    </a:lnTo>
                    <a:lnTo>
                      <a:pt x="32" y="75"/>
                    </a:lnTo>
                    <a:lnTo>
                      <a:pt x="32" y="72"/>
                    </a:lnTo>
                    <a:lnTo>
                      <a:pt x="23" y="72"/>
                    </a:lnTo>
                    <a:lnTo>
                      <a:pt x="18" y="75"/>
                    </a:lnTo>
                    <a:lnTo>
                      <a:pt x="15" y="73"/>
                    </a:lnTo>
                    <a:lnTo>
                      <a:pt x="12" y="68"/>
                    </a:lnTo>
                    <a:lnTo>
                      <a:pt x="15" y="65"/>
                    </a:lnTo>
                    <a:lnTo>
                      <a:pt x="13" y="58"/>
                    </a:lnTo>
                    <a:lnTo>
                      <a:pt x="8" y="53"/>
                    </a:lnTo>
                    <a:lnTo>
                      <a:pt x="3" y="53"/>
                    </a:lnTo>
                    <a:lnTo>
                      <a:pt x="0" y="48"/>
                    </a:lnTo>
                    <a:lnTo>
                      <a:pt x="3" y="43"/>
                    </a:lnTo>
                    <a:lnTo>
                      <a:pt x="5" y="43"/>
                    </a:lnTo>
                    <a:lnTo>
                      <a:pt x="10" y="40"/>
                    </a:lnTo>
                    <a:lnTo>
                      <a:pt x="8" y="37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8" y="29"/>
                    </a:lnTo>
                    <a:lnTo>
                      <a:pt x="22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6" name="Freeform 22"/>
              <p:cNvSpPr>
                <a:spLocks noEditPoints="1"/>
              </p:cNvSpPr>
              <p:nvPr/>
            </p:nvSpPr>
            <p:spPr bwMode="auto">
              <a:xfrm>
                <a:off x="7674697" y="3025881"/>
                <a:ext cx="110235" cy="178465"/>
              </a:xfrm>
              <a:custGeom>
                <a:avLst/>
                <a:gdLst/>
                <a:ahLst/>
                <a:cxnLst>
                  <a:cxn ang="0">
                    <a:pos x="73" y="17"/>
                  </a:cxn>
                  <a:cxn ang="0">
                    <a:pos x="90" y="24"/>
                  </a:cxn>
                  <a:cxn ang="0">
                    <a:pos x="86" y="44"/>
                  </a:cxn>
                  <a:cxn ang="0">
                    <a:pos x="101" y="64"/>
                  </a:cxn>
                  <a:cxn ang="0">
                    <a:pos x="128" y="64"/>
                  </a:cxn>
                  <a:cxn ang="0">
                    <a:pos x="164" y="60"/>
                  </a:cxn>
                  <a:cxn ang="0">
                    <a:pos x="181" y="84"/>
                  </a:cxn>
                  <a:cxn ang="0">
                    <a:pos x="193" y="105"/>
                  </a:cxn>
                  <a:cxn ang="0">
                    <a:pos x="206" y="117"/>
                  </a:cxn>
                  <a:cxn ang="0">
                    <a:pos x="204" y="140"/>
                  </a:cxn>
                  <a:cxn ang="0">
                    <a:pos x="179" y="142"/>
                  </a:cxn>
                  <a:cxn ang="0">
                    <a:pos x="148" y="145"/>
                  </a:cxn>
                  <a:cxn ang="0">
                    <a:pos x="131" y="172"/>
                  </a:cxn>
                  <a:cxn ang="0">
                    <a:pos x="138" y="198"/>
                  </a:cxn>
                  <a:cxn ang="0">
                    <a:pos x="130" y="196"/>
                  </a:cxn>
                  <a:cxn ang="0">
                    <a:pos x="115" y="187"/>
                  </a:cxn>
                  <a:cxn ang="0">
                    <a:pos x="105" y="187"/>
                  </a:cxn>
                  <a:cxn ang="0">
                    <a:pos x="96" y="183"/>
                  </a:cxn>
                  <a:cxn ang="0">
                    <a:pos x="90" y="168"/>
                  </a:cxn>
                  <a:cxn ang="0">
                    <a:pos x="80" y="168"/>
                  </a:cxn>
                  <a:cxn ang="0">
                    <a:pos x="71" y="170"/>
                  </a:cxn>
                  <a:cxn ang="0">
                    <a:pos x="73" y="187"/>
                  </a:cxn>
                  <a:cxn ang="0">
                    <a:pos x="68" y="206"/>
                  </a:cxn>
                  <a:cxn ang="0">
                    <a:pos x="56" y="243"/>
                  </a:cxn>
                  <a:cxn ang="0">
                    <a:pos x="58" y="253"/>
                  </a:cxn>
                  <a:cxn ang="0">
                    <a:pos x="65" y="268"/>
                  </a:cxn>
                  <a:cxn ang="0">
                    <a:pos x="75" y="266"/>
                  </a:cxn>
                  <a:cxn ang="0">
                    <a:pos x="83" y="285"/>
                  </a:cxn>
                  <a:cxn ang="0">
                    <a:pos x="90" y="286"/>
                  </a:cxn>
                  <a:cxn ang="0">
                    <a:pos x="91" y="303"/>
                  </a:cxn>
                  <a:cxn ang="0">
                    <a:pos x="95" y="306"/>
                  </a:cxn>
                  <a:cxn ang="0">
                    <a:pos x="110" y="323"/>
                  </a:cxn>
                  <a:cxn ang="0">
                    <a:pos x="126" y="333"/>
                  </a:cxn>
                  <a:cxn ang="0">
                    <a:pos x="126" y="344"/>
                  </a:cxn>
                  <a:cxn ang="0">
                    <a:pos x="106" y="341"/>
                  </a:cxn>
                  <a:cxn ang="0">
                    <a:pos x="101" y="328"/>
                  </a:cxn>
                  <a:cxn ang="0">
                    <a:pos x="83" y="328"/>
                  </a:cxn>
                  <a:cxn ang="0">
                    <a:pos x="71" y="314"/>
                  </a:cxn>
                  <a:cxn ang="0">
                    <a:pos x="56" y="299"/>
                  </a:cxn>
                  <a:cxn ang="0">
                    <a:pos x="46" y="285"/>
                  </a:cxn>
                  <a:cxn ang="0">
                    <a:pos x="36" y="280"/>
                  </a:cxn>
                  <a:cxn ang="0">
                    <a:pos x="41" y="261"/>
                  </a:cxn>
                  <a:cxn ang="0">
                    <a:pos x="46" y="248"/>
                  </a:cxn>
                  <a:cxn ang="0">
                    <a:pos x="50" y="228"/>
                  </a:cxn>
                  <a:cxn ang="0">
                    <a:pos x="60" y="196"/>
                  </a:cxn>
                  <a:cxn ang="0">
                    <a:pos x="55" y="173"/>
                  </a:cxn>
                  <a:cxn ang="0">
                    <a:pos x="38" y="145"/>
                  </a:cxn>
                  <a:cxn ang="0">
                    <a:pos x="35" y="120"/>
                  </a:cxn>
                  <a:cxn ang="0">
                    <a:pos x="33" y="97"/>
                  </a:cxn>
                  <a:cxn ang="0">
                    <a:pos x="13" y="70"/>
                  </a:cxn>
                  <a:cxn ang="0">
                    <a:pos x="0" y="52"/>
                  </a:cxn>
                  <a:cxn ang="0">
                    <a:pos x="12" y="34"/>
                  </a:cxn>
                  <a:cxn ang="0">
                    <a:pos x="35" y="20"/>
                  </a:cxn>
                  <a:cxn ang="0">
                    <a:pos x="48" y="9"/>
                  </a:cxn>
                  <a:cxn ang="0">
                    <a:pos x="58" y="0"/>
                  </a:cxn>
                  <a:cxn ang="0">
                    <a:pos x="75" y="324"/>
                  </a:cxn>
                  <a:cxn ang="0">
                    <a:pos x="56" y="308"/>
                  </a:cxn>
                  <a:cxn ang="0">
                    <a:pos x="38" y="291"/>
                  </a:cxn>
                  <a:cxn ang="0">
                    <a:pos x="41" y="291"/>
                  </a:cxn>
                  <a:cxn ang="0">
                    <a:pos x="128" y="201"/>
                  </a:cxn>
                  <a:cxn ang="0">
                    <a:pos x="80" y="251"/>
                  </a:cxn>
                  <a:cxn ang="0">
                    <a:pos x="80" y="256"/>
                  </a:cxn>
                  <a:cxn ang="0">
                    <a:pos x="80" y="256"/>
                  </a:cxn>
                </a:cxnLst>
                <a:rect l="0" t="0" r="r" b="b"/>
                <a:pathLst>
                  <a:path w="206" h="346">
                    <a:moveTo>
                      <a:pt x="58" y="0"/>
                    </a:moveTo>
                    <a:lnTo>
                      <a:pt x="61" y="5"/>
                    </a:lnTo>
                    <a:lnTo>
                      <a:pt x="66" y="5"/>
                    </a:lnTo>
                    <a:lnTo>
                      <a:pt x="71" y="10"/>
                    </a:lnTo>
                    <a:lnTo>
                      <a:pt x="73" y="17"/>
                    </a:lnTo>
                    <a:lnTo>
                      <a:pt x="70" y="20"/>
                    </a:lnTo>
                    <a:lnTo>
                      <a:pt x="73" y="25"/>
                    </a:lnTo>
                    <a:lnTo>
                      <a:pt x="76" y="27"/>
                    </a:lnTo>
                    <a:lnTo>
                      <a:pt x="81" y="24"/>
                    </a:lnTo>
                    <a:lnTo>
                      <a:pt x="90" y="24"/>
                    </a:lnTo>
                    <a:lnTo>
                      <a:pt x="90" y="27"/>
                    </a:lnTo>
                    <a:lnTo>
                      <a:pt x="86" y="32"/>
                    </a:lnTo>
                    <a:lnTo>
                      <a:pt x="90" y="37"/>
                    </a:lnTo>
                    <a:lnTo>
                      <a:pt x="90" y="40"/>
                    </a:lnTo>
                    <a:lnTo>
                      <a:pt x="86" y="44"/>
                    </a:lnTo>
                    <a:lnTo>
                      <a:pt x="90" y="49"/>
                    </a:lnTo>
                    <a:lnTo>
                      <a:pt x="90" y="57"/>
                    </a:lnTo>
                    <a:lnTo>
                      <a:pt x="90" y="69"/>
                    </a:lnTo>
                    <a:lnTo>
                      <a:pt x="96" y="65"/>
                    </a:lnTo>
                    <a:lnTo>
                      <a:pt x="101" y="64"/>
                    </a:lnTo>
                    <a:lnTo>
                      <a:pt x="103" y="59"/>
                    </a:lnTo>
                    <a:lnTo>
                      <a:pt x="110" y="55"/>
                    </a:lnTo>
                    <a:lnTo>
                      <a:pt x="118" y="60"/>
                    </a:lnTo>
                    <a:lnTo>
                      <a:pt x="123" y="60"/>
                    </a:lnTo>
                    <a:lnTo>
                      <a:pt x="128" y="64"/>
                    </a:lnTo>
                    <a:lnTo>
                      <a:pt x="138" y="64"/>
                    </a:lnTo>
                    <a:lnTo>
                      <a:pt x="143" y="54"/>
                    </a:lnTo>
                    <a:lnTo>
                      <a:pt x="151" y="52"/>
                    </a:lnTo>
                    <a:lnTo>
                      <a:pt x="161" y="54"/>
                    </a:lnTo>
                    <a:lnTo>
                      <a:pt x="164" y="60"/>
                    </a:lnTo>
                    <a:lnTo>
                      <a:pt x="176" y="67"/>
                    </a:lnTo>
                    <a:lnTo>
                      <a:pt x="181" y="72"/>
                    </a:lnTo>
                    <a:lnTo>
                      <a:pt x="184" y="77"/>
                    </a:lnTo>
                    <a:lnTo>
                      <a:pt x="183" y="80"/>
                    </a:lnTo>
                    <a:lnTo>
                      <a:pt x="181" y="84"/>
                    </a:lnTo>
                    <a:lnTo>
                      <a:pt x="184" y="89"/>
                    </a:lnTo>
                    <a:lnTo>
                      <a:pt x="184" y="93"/>
                    </a:lnTo>
                    <a:lnTo>
                      <a:pt x="183" y="97"/>
                    </a:lnTo>
                    <a:lnTo>
                      <a:pt x="186" y="100"/>
                    </a:lnTo>
                    <a:lnTo>
                      <a:pt x="193" y="105"/>
                    </a:lnTo>
                    <a:lnTo>
                      <a:pt x="196" y="105"/>
                    </a:lnTo>
                    <a:lnTo>
                      <a:pt x="201" y="107"/>
                    </a:lnTo>
                    <a:lnTo>
                      <a:pt x="199" y="110"/>
                    </a:lnTo>
                    <a:lnTo>
                      <a:pt x="206" y="113"/>
                    </a:lnTo>
                    <a:lnTo>
                      <a:pt x="206" y="117"/>
                    </a:lnTo>
                    <a:lnTo>
                      <a:pt x="204" y="122"/>
                    </a:lnTo>
                    <a:lnTo>
                      <a:pt x="204" y="123"/>
                    </a:lnTo>
                    <a:lnTo>
                      <a:pt x="203" y="128"/>
                    </a:lnTo>
                    <a:lnTo>
                      <a:pt x="204" y="132"/>
                    </a:lnTo>
                    <a:lnTo>
                      <a:pt x="204" y="140"/>
                    </a:lnTo>
                    <a:lnTo>
                      <a:pt x="201" y="142"/>
                    </a:lnTo>
                    <a:lnTo>
                      <a:pt x="196" y="145"/>
                    </a:lnTo>
                    <a:lnTo>
                      <a:pt x="191" y="142"/>
                    </a:lnTo>
                    <a:lnTo>
                      <a:pt x="184" y="143"/>
                    </a:lnTo>
                    <a:lnTo>
                      <a:pt x="179" y="142"/>
                    </a:lnTo>
                    <a:lnTo>
                      <a:pt x="174" y="142"/>
                    </a:lnTo>
                    <a:lnTo>
                      <a:pt x="168" y="143"/>
                    </a:lnTo>
                    <a:lnTo>
                      <a:pt x="166" y="142"/>
                    </a:lnTo>
                    <a:lnTo>
                      <a:pt x="158" y="142"/>
                    </a:lnTo>
                    <a:lnTo>
                      <a:pt x="148" y="145"/>
                    </a:lnTo>
                    <a:lnTo>
                      <a:pt x="143" y="145"/>
                    </a:lnTo>
                    <a:lnTo>
                      <a:pt x="138" y="152"/>
                    </a:lnTo>
                    <a:lnTo>
                      <a:pt x="136" y="158"/>
                    </a:lnTo>
                    <a:lnTo>
                      <a:pt x="131" y="163"/>
                    </a:lnTo>
                    <a:lnTo>
                      <a:pt x="131" y="172"/>
                    </a:lnTo>
                    <a:lnTo>
                      <a:pt x="133" y="180"/>
                    </a:lnTo>
                    <a:lnTo>
                      <a:pt x="138" y="182"/>
                    </a:lnTo>
                    <a:lnTo>
                      <a:pt x="139" y="187"/>
                    </a:lnTo>
                    <a:lnTo>
                      <a:pt x="139" y="195"/>
                    </a:lnTo>
                    <a:lnTo>
                      <a:pt x="138" y="198"/>
                    </a:lnTo>
                    <a:lnTo>
                      <a:pt x="136" y="198"/>
                    </a:lnTo>
                    <a:lnTo>
                      <a:pt x="136" y="200"/>
                    </a:lnTo>
                    <a:lnTo>
                      <a:pt x="134" y="201"/>
                    </a:lnTo>
                    <a:lnTo>
                      <a:pt x="134" y="200"/>
                    </a:lnTo>
                    <a:lnTo>
                      <a:pt x="130" y="196"/>
                    </a:lnTo>
                    <a:lnTo>
                      <a:pt x="128" y="196"/>
                    </a:lnTo>
                    <a:lnTo>
                      <a:pt x="128" y="195"/>
                    </a:lnTo>
                    <a:lnTo>
                      <a:pt x="125" y="193"/>
                    </a:lnTo>
                    <a:lnTo>
                      <a:pt x="118" y="187"/>
                    </a:lnTo>
                    <a:lnTo>
                      <a:pt x="115" y="187"/>
                    </a:lnTo>
                    <a:lnTo>
                      <a:pt x="111" y="188"/>
                    </a:lnTo>
                    <a:lnTo>
                      <a:pt x="113" y="188"/>
                    </a:lnTo>
                    <a:lnTo>
                      <a:pt x="113" y="190"/>
                    </a:lnTo>
                    <a:lnTo>
                      <a:pt x="110" y="188"/>
                    </a:lnTo>
                    <a:lnTo>
                      <a:pt x="105" y="187"/>
                    </a:lnTo>
                    <a:lnTo>
                      <a:pt x="100" y="188"/>
                    </a:lnTo>
                    <a:lnTo>
                      <a:pt x="96" y="187"/>
                    </a:lnTo>
                    <a:lnTo>
                      <a:pt x="93" y="188"/>
                    </a:lnTo>
                    <a:lnTo>
                      <a:pt x="95" y="185"/>
                    </a:lnTo>
                    <a:lnTo>
                      <a:pt x="96" y="183"/>
                    </a:lnTo>
                    <a:lnTo>
                      <a:pt x="93" y="180"/>
                    </a:lnTo>
                    <a:lnTo>
                      <a:pt x="95" y="173"/>
                    </a:lnTo>
                    <a:lnTo>
                      <a:pt x="95" y="172"/>
                    </a:lnTo>
                    <a:lnTo>
                      <a:pt x="95" y="170"/>
                    </a:lnTo>
                    <a:lnTo>
                      <a:pt x="90" y="168"/>
                    </a:lnTo>
                    <a:lnTo>
                      <a:pt x="90" y="168"/>
                    </a:lnTo>
                    <a:lnTo>
                      <a:pt x="88" y="168"/>
                    </a:lnTo>
                    <a:lnTo>
                      <a:pt x="86" y="167"/>
                    </a:lnTo>
                    <a:lnTo>
                      <a:pt x="81" y="168"/>
                    </a:lnTo>
                    <a:lnTo>
                      <a:pt x="80" y="168"/>
                    </a:lnTo>
                    <a:lnTo>
                      <a:pt x="78" y="168"/>
                    </a:lnTo>
                    <a:lnTo>
                      <a:pt x="76" y="170"/>
                    </a:lnTo>
                    <a:lnTo>
                      <a:pt x="73" y="170"/>
                    </a:lnTo>
                    <a:lnTo>
                      <a:pt x="71" y="168"/>
                    </a:lnTo>
                    <a:lnTo>
                      <a:pt x="71" y="170"/>
                    </a:lnTo>
                    <a:lnTo>
                      <a:pt x="70" y="173"/>
                    </a:lnTo>
                    <a:lnTo>
                      <a:pt x="75" y="175"/>
                    </a:lnTo>
                    <a:lnTo>
                      <a:pt x="75" y="178"/>
                    </a:lnTo>
                    <a:lnTo>
                      <a:pt x="73" y="182"/>
                    </a:lnTo>
                    <a:lnTo>
                      <a:pt x="73" y="187"/>
                    </a:lnTo>
                    <a:lnTo>
                      <a:pt x="71" y="190"/>
                    </a:lnTo>
                    <a:lnTo>
                      <a:pt x="73" y="191"/>
                    </a:lnTo>
                    <a:lnTo>
                      <a:pt x="73" y="196"/>
                    </a:lnTo>
                    <a:lnTo>
                      <a:pt x="70" y="201"/>
                    </a:lnTo>
                    <a:lnTo>
                      <a:pt x="68" y="206"/>
                    </a:lnTo>
                    <a:lnTo>
                      <a:pt x="65" y="210"/>
                    </a:lnTo>
                    <a:lnTo>
                      <a:pt x="65" y="226"/>
                    </a:lnTo>
                    <a:lnTo>
                      <a:pt x="58" y="233"/>
                    </a:lnTo>
                    <a:lnTo>
                      <a:pt x="58" y="238"/>
                    </a:lnTo>
                    <a:lnTo>
                      <a:pt x="56" y="243"/>
                    </a:lnTo>
                    <a:lnTo>
                      <a:pt x="58" y="243"/>
                    </a:lnTo>
                    <a:lnTo>
                      <a:pt x="60" y="245"/>
                    </a:lnTo>
                    <a:lnTo>
                      <a:pt x="56" y="246"/>
                    </a:lnTo>
                    <a:lnTo>
                      <a:pt x="58" y="248"/>
                    </a:lnTo>
                    <a:lnTo>
                      <a:pt x="58" y="253"/>
                    </a:lnTo>
                    <a:lnTo>
                      <a:pt x="58" y="256"/>
                    </a:lnTo>
                    <a:lnTo>
                      <a:pt x="63" y="263"/>
                    </a:lnTo>
                    <a:lnTo>
                      <a:pt x="61" y="266"/>
                    </a:lnTo>
                    <a:lnTo>
                      <a:pt x="63" y="268"/>
                    </a:lnTo>
                    <a:lnTo>
                      <a:pt x="65" y="268"/>
                    </a:lnTo>
                    <a:lnTo>
                      <a:pt x="66" y="266"/>
                    </a:lnTo>
                    <a:lnTo>
                      <a:pt x="68" y="263"/>
                    </a:lnTo>
                    <a:lnTo>
                      <a:pt x="70" y="265"/>
                    </a:lnTo>
                    <a:lnTo>
                      <a:pt x="73" y="265"/>
                    </a:lnTo>
                    <a:lnTo>
                      <a:pt x="75" y="266"/>
                    </a:lnTo>
                    <a:lnTo>
                      <a:pt x="75" y="271"/>
                    </a:lnTo>
                    <a:lnTo>
                      <a:pt x="78" y="275"/>
                    </a:lnTo>
                    <a:lnTo>
                      <a:pt x="78" y="278"/>
                    </a:lnTo>
                    <a:lnTo>
                      <a:pt x="80" y="280"/>
                    </a:lnTo>
                    <a:lnTo>
                      <a:pt x="83" y="285"/>
                    </a:lnTo>
                    <a:lnTo>
                      <a:pt x="85" y="285"/>
                    </a:lnTo>
                    <a:lnTo>
                      <a:pt x="85" y="281"/>
                    </a:lnTo>
                    <a:lnTo>
                      <a:pt x="85" y="280"/>
                    </a:lnTo>
                    <a:lnTo>
                      <a:pt x="86" y="283"/>
                    </a:lnTo>
                    <a:lnTo>
                      <a:pt x="90" y="286"/>
                    </a:lnTo>
                    <a:lnTo>
                      <a:pt x="90" y="291"/>
                    </a:lnTo>
                    <a:lnTo>
                      <a:pt x="91" y="291"/>
                    </a:lnTo>
                    <a:lnTo>
                      <a:pt x="93" y="301"/>
                    </a:lnTo>
                    <a:lnTo>
                      <a:pt x="93" y="301"/>
                    </a:lnTo>
                    <a:lnTo>
                      <a:pt x="91" y="303"/>
                    </a:lnTo>
                    <a:lnTo>
                      <a:pt x="90" y="303"/>
                    </a:lnTo>
                    <a:lnTo>
                      <a:pt x="86" y="304"/>
                    </a:lnTo>
                    <a:lnTo>
                      <a:pt x="86" y="308"/>
                    </a:lnTo>
                    <a:lnTo>
                      <a:pt x="93" y="309"/>
                    </a:lnTo>
                    <a:lnTo>
                      <a:pt x="95" y="306"/>
                    </a:lnTo>
                    <a:lnTo>
                      <a:pt x="95" y="308"/>
                    </a:lnTo>
                    <a:lnTo>
                      <a:pt x="96" y="311"/>
                    </a:lnTo>
                    <a:lnTo>
                      <a:pt x="100" y="314"/>
                    </a:lnTo>
                    <a:lnTo>
                      <a:pt x="106" y="319"/>
                    </a:lnTo>
                    <a:lnTo>
                      <a:pt x="110" y="323"/>
                    </a:lnTo>
                    <a:lnTo>
                      <a:pt x="111" y="321"/>
                    </a:lnTo>
                    <a:lnTo>
                      <a:pt x="116" y="321"/>
                    </a:lnTo>
                    <a:lnTo>
                      <a:pt x="120" y="323"/>
                    </a:lnTo>
                    <a:lnTo>
                      <a:pt x="123" y="329"/>
                    </a:lnTo>
                    <a:lnTo>
                      <a:pt x="126" y="333"/>
                    </a:lnTo>
                    <a:lnTo>
                      <a:pt x="131" y="334"/>
                    </a:lnTo>
                    <a:lnTo>
                      <a:pt x="131" y="338"/>
                    </a:lnTo>
                    <a:lnTo>
                      <a:pt x="130" y="338"/>
                    </a:lnTo>
                    <a:lnTo>
                      <a:pt x="130" y="343"/>
                    </a:lnTo>
                    <a:lnTo>
                      <a:pt x="126" y="344"/>
                    </a:lnTo>
                    <a:lnTo>
                      <a:pt x="123" y="341"/>
                    </a:lnTo>
                    <a:lnTo>
                      <a:pt x="120" y="343"/>
                    </a:lnTo>
                    <a:lnTo>
                      <a:pt x="113" y="346"/>
                    </a:lnTo>
                    <a:lnTo>
                      <a:pt x="106" y="344"/>
                    </a:lnTo>
                    <a:lnTo>
                      <a:pt x="106" y="341"/>
                    </a:lnTo>
                    <a:lnTo>
                      <a:pt x="110" y="339"/>
                    </a:lnTo>
                    <a:lnTo>
                      <a:pt x="111" y="333"/>
                    </a:lnTo>
                    <a:lnTo>
                      <a:pt x="108" y="329"/>
                    </a:lnTo>
                    <a:lnTo>
                      <a:pt x="103" y="329"/>
                    </a:lnTo>
                    <a:lnTo>
                      <a:pt x="101" y="328"/>
                    </a:lnTo>
                    <a:lnTo>
                      <a:pt x="95" y="324"/>
                    </a:lnTo>
                    <a:lnTo>
                      <a:pt x="90" y="321"/>
                    </a:lnTo>
                    <a:lnTo>
                      <a:pt x="86" y="324"/>
                    </a:lnTo>
                    <a:lnTo>
                      <a:pt x="85" y="331"/>
                    </a:lnTo>
                    <a:lnTo>
                      <a:pt x="83" y="328"/>
                    </a:lnTo>
                    <a:lnTo>
                      <a:pt x="73" y="321"/>
                    </a:lnTo>
                    <a:lnTo>
                      <a:pt x="73" y="319"/>
                    </a:lnTo>
                    <a:lnTo>
                      <a:pt x="75" y="316"/>
                    </a:lnTo>
                    <a:lnTo>
                      <a:pt x="75" y="314"/>
                    </a:lnTo>
                    <a:lnTo>
                      <a:pt x="71" y="314"/>
                    </a:lnTo>
                    <a:lnTo>
                      <a:pt x="70" y="309"/>
                    </a:lnTo>
                    <a:lnTo>
                      <a:pt x="66" y="309"/>
                    </a:lnTo>
                    <a:lnTo>
                      <a:pt x="66" y="306"/>
                    </a:lnTo>
                    <a:lnTo>
                      <a:pt x="60" y="299"/>
                    </a:lnTo>
                    <a:lnTo>
                      <a:pt x="56" y="299"/>
                    </a:lnTo>
                    <a:lnTo>
                      <a:pt x="55" y="293"/>
                    </a:lnTo>
                    <a:lnTo>
                      <a:pt x="50" y="291"/>
                    </a:lnTo>
                    <a:lnTo>
                      <a:pt x="50" y="288"/>
                    </a:lnTo>
                    <a:lnTo>
                      <a:pt x="46" y="286"/>
                    </a:lnTo>
                    <a:lnTo>
                      <a:pt x="46" y="285"/>
                    </a:lnTo>
                    <a:lnTo>
                      <a:pt x="43" y="286"/>
                    </a:lnTo>
                    <a:lnTo>
                      <a:pt x="43" y="289"/>
                    </a:lnTo>
                    <a:lnTo>
                      <a:pt x="40" y="289"/>
                    </a:lnTo>
                    <a:lnTo>
                      <a:pt x="38" y="286"/>
                    </a:lnTo>
                    <a:lnTo>
                      <a:pt x="36" y="280"/>
                    </a:lnTo>
                    <a:lnTo>
                      <a:pt x="36" y="278"/>
                    </a:lnTo>
                    <a:lnTo>
                      <a:pt x="36" y="271"/>
                    </a:lnTo>
                    <a:lnTo>
                      <a:pt x="40" y="270"/>
                    </a:lnTo>
                    <a:lnTo>
                      <a:pt x="40" y="261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41" y="258"/>
                    </a:lnTo>
                    <a:lnTo>
                      <a:pt x="45" y="253"/>
                    </a:lnTo>
                    <a:lnTo>
                      <a:pt x="43" y="251"/>
                    </a:lnTo>
                    <a:lnTo>
                      <a:pt x="46" y="248"/>
                    </a:lnTo>
                    <a:lnTo>
                      <a:pt x="43" y="248"/>
                    </a:lnTo>
                    <a:lnTo>
                      <a:pt x="45" y="240"/>
                    </a:lnTo>
                    <a:lnTo>
                      <a:pt x="46" y="236"/>
                    </a:lnTo>
                    <a:lnTo>
                      <a:pt x="48" y="233"/>
                    </a:lnTo>
                    <a:lnTo>
                      <a:pt x="50" y="228"/>
                    </a:lnTo>
                    <a:lnTo>
                      <a:pt x="55" y="225"/>
                    </a:lnTo>
                    <a:lnTo>
                      <a:pt x="60" y="210"/>
                    </a:lnTo>
                    <a:lnTo>
                      <a:pt x="63" y="208"/>
                    </a:lnTo>
                    <a:lnTo>
                      <a:pt x="63" y="201"/>
                    </a:lnTo>
                    <a:lnTo>
                      <a:pt x="60" y="196"/>
                    </a:lnTo>
                    <a:lnTo>
                      <a:pt x="60" y="190"/>
                    </a:lnTo>
                    <a:lnTo>
                      <a:pt x="58" y="187"/>
                    </a:lnTo>
                    <a:lnTo>
                      <a:pt x="56" y="180"/>
                    </a:lnTo>
                    <a:lnTo>
                      <a:pt x="55" y="177"/>
                    </a:lnTo>
                    <a:lnTo>
                      <a:pt x="55" y="173"/>
                    </a:lnTo>
                    <a:lnTo>
                      <a:pt x="53" y="168"/>
                    </a:lnTo>
                    <a:lnTo>
                      <a:pt x="56" y="165"/>
                    </a:lnTo>
                    <a:lnTo>
                      <a:pt x="53" y="155"/>
                    </a:lnTo>
                    <a:lnTo>
                      <a:pt x="46" y="150"/>
                    </a:lnTo>
                    <a:lnTo>
                      <a:pt x="38" y="145"/>
                    </a:lnTo>
                    <a:lnTo>
                      <a:pt x="32" y="137"/>
                    </a:lnTo>
                    <a:lnTo>
                      <a:pt x="32" y="133"/>
                    </a:lnTo>
                    <a:lnTo>
                      <a:pt x="28" y="125"/>
                    </a:lnTo>
                    <a:lnTo>
                      <a:pt x="33" y="123"/>
                    </a:lnTo>
                    <a:lnTo>
                      <a:pt x="35" y="120"/>
                    </a:lnTo>
                    <a:lnTo>
                      <a:pt x="32" y="108"/>
                    </a:lnTo>
                    <a:lnTo>
                      <a:pt x="33" y="105"/>
                    </a:lnTo>
                    <a:lnTo>
                      <a:pt x="38" y="103"/>
                    </a:lnTo>
                    <a:lnTo>
                      <a:pt x="38" y="98"/>
                    </a:lnTo>
                    <a:lnTo>
                      <a:pt x="33" y="97"/>
                    </a:lnTo>
                    <a:lnTo>
                      <a:pt x="32" y="92"/>
                    </a:lnTo>
                    <a:lnTo>
                      <a:pt x="28" y="87"/>
                    </a:lnTo>
                    <a:lnTo>
                      <a:pt x="25" y="85"/>
                    </a:lnTo>
                    <a:lnTo>
                      <a:pt x="20" y="74"/>
                    </a:lnTo>
                    <a:lnTo>
                      <a:pt x="13" y="70"/>
                    </a:lnTo>
                    <a:lnTo>
                      <a:pt x="12" y="67"/>
                    </a:lnTo>
                    <a:lnTo>
                      <a:pt x="8" y="64"/>
                    </a:lnTo>
                    <a:lnTo>
                      <a:pt x="3" y="57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7" y="50"/>
                    </a:lnTo>
                    <a:lnTo>
                      <a:pt x="10" y="47"/>
                    </a:lnTo>
                    <a:lnTo>
                      <a:pt x="8" y="44"/>
                    </a:lnTo>
                    <a:lnTo>
                      <a:pt x="8" y="37"/>
                    </a:lnTo>
                    <a:lnTo>
                      <a:pt x="12" y="34"/>
                    </a:lnTo>
                    <a:lnTo>
                      <a:pt x="12" y="27"/>
                    </a:lnTo>
                    <a:lnTo>
                      <a:pt x="15" y="22"/>
                    </a:lnTo>
                    <a:lnTo>
                      <a:pt x="23" y="25"/>
                    </a:lnTo>
                    <a:lnTo>
                      <a:pt x="30" y="20"/>
                    </a:lnTo>
                    <a:lnTo>
                      <a:pt x="35" y="20"/>
                    </a:lnTo>
                    <a:lnTo>
                      <a:pt x="36" y="19"/>
                    </a:lnTo>
                    <a:lnTo>
                      <a:pt x="36" y="14"/>
                    </a:lnTo>
                    <a:lnTo>
                      <a:pt x="40" y="10"/>
                    </a:lnTo>
                    <a:lnTo>
                      <a:pt x="46" y="12"/>
                    </a:lnTo>
                    <a:lnTo>
                      <a:pt x="48" y="9"/>
                    </a:lnTo>
                    <a:lnTo>
                      <a:pt x="45" y="5"/>
                    </a:lnTo>
                    <a:lnTo>
                      <a:pt x="45" y="4"/>
                    </a:lnTo>
                    <a:lnTo>
                      <a:pt x="50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8" y="0"/>
                    </a:lnTo>
                    <a:close/>
                    <a:moveTo>
                      <a:pt x="71" y="324"/>
                    </a:moveTo>
                    <a:lnTo>
                      <a:pt x="73" y="328"/>
                    </a:lnTo>
                    <a:lnTo>
                      <a:pt x="75" y="326"/>
                    </a:lnTo>
                    <a:lnTo>
                      <a:pt x="75" y="324"/>
                    </a:lnTo>
                    <a:lnTo>
                      <a:pt x="73" y="323"/>
                    </a:lnTo>
                    <a:lnTo>
                      <a:pt x="71" y="324"/>
                    </a:lnTo>
                    <a:lnTo>
                      <a:pt x="71" y="324"/>
                    </a:lnTo>
                    <a:close/>
                    <a:moveTo>
                      <a:pt x="56" y="303"/>
                    </a:moveTo>
                    <a:lnTo>
                      <a:pt x="56" y="308"/>
                    </a:lnTo>
                    <a:lnTo>
                      <a:pt x="58" y="304"/>
                    </a:lnTo>
                    <a:lnTo>
                      <a:pt x="56" y="303"/>
                    </a:lnTo>
                    <a:lnTo>
                      <a:pt x="56" y="303"/>
                    </a:lnTo>
                    <a:lnTo>
                      <a:pt x="56" y="303"/>
                    </a:lnTo>
                    <a:close/>
                    <a:moveTo>
                      <a:pt x="38" y="291"/>
                    </a:moveTo>
                    <a:lnTo>
                      <a:pt x="38" y="294"/>
                    </a:lnTo>
                    <a:lnTo>
                      <a:pt x="38" y="296"/>
                    </a:lnTo>
                    <a:lnTo>
                      <a:pt x="38" y="301"/>
                    </a:lnTo>
                    <a:lnTo>
                      <a:pt x="41" y="296"/>
                    </a:lnTo>
                    <a:lnTo>
                      <a:pt x="41" y="291"/>
                    </a:lnTo>
                    <a:lnTo>
                      <a:pt x="41" y="291"/>
                    </a:lnTo>
                    <a:lnTo>
                      <a:pt x="38" y="291"/>
                    </a:lnTo>
                    <a:lnTo>
                      <a:pt x="38" y="291"/>
                    </a:lnTo>
                    <a:close/>
                    <a:moveTo>
                      <a:pt x="126" y="196"/>
                    </a:moveTo>
                    <a:lnTo>
                      <a:pt x="128" y="201"/>
                    </a:lnTo>
                    <a:lnTo>
                      <a:pt x="131" y="203"/>
                    </a:lnTo>
                    <a:lnTo>
                      <a:pt x="133" y="203"/>
                    </a:lnTo>
                    <a:lnTo>
                      <a:pt x="126" y="196"/>
                    </a:lnTo>
                    <a:lnTo>
                      <a:pt x="126" y="196"/>
                    </a:lnTo>
                    <a:close/>
                    <a:moveTo>
                      <a:pt x="80" y="251"/>
                    </a:moveTo>
                    <a:lnTo>
                      <a:pt x="75" y="253"/>
                    </a:lnTo>
                    <a:lnTo>
                      <a:pt x="78" y="253"/>
                    </a:lnTo>
                    <a:lnTo>
                      <a:pt x="80" y="251"/>
                    </a:lnTo>
                    <a:lnTo>
                      <a:pt x="80" y="251"/>
                    </a:lnTo>
                    <a:close/>
                    <a:moveTo>
                      <a:pt x="80" y="256"/>
                    </a:moveTo>
                    <a:lnTo>
                      <a:pt x="76" y="258"/>
                    </a:lnTo>
                    <a:lnTo>
                      <a:pt x="76" y="261"/>
                    </a:lnTo>
                    <a:lnTo>
                      <a:pt x="81" y="263"/>
                    </a:lnTo>
                    <a:lnTo>
                      <a:pt x="81" y="260"/>
                    </a:lnTo>
                    <a:lnTo>
                      <a:pt x="80" y="2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7" name="Freeform 23"/>
              <p:cNvSpPr>
                <a:spLocks noEditPoints="1"/>
              </p:cNvSpPr>
              <p:nvPr/>
            </p:nvSpPr>
            <p:spPr bwMode="auto">
              <a:xfrm>
                <a:off x="7604060" y="2928348"/>
                <a:ext cx="114516" cy="226194"/>
              </a:xfrm>
              <a:custGeom>
                <a:avLst/>
                <a:gdLst/>
                <a:ahLst/>
                <a:cxnLst>
                  <a:cxn ang="0">
                    <a:pos x="120" y="5"/>
                  </a:cxn>
                  <a:cxn ang="0">
                    <a:pos x="138" y="33"/>
                  </a:cxn>
                  <a:cxn ang="0">
                    <a:pos x="131" y="63"/>
                  </a:cxn>
                  <a:cxn ang="0">
                    <a:pos x="121" y="75"/>
                  </a:cxn>
                  <a:cxn ang="0">
                    <a:pos x="125" y="93"/>
                  </a:cxn>
                  <a:cxn ang="0">
                    <a:pos x="148" y="104"/>
                  </a:cxn>
                  <a:cxn ang="0">
                    <a:pos x="158" y="118"/>
                  </a:cxn>
                  <a:cxn ang="0">
                    <a:pos x="178" y="124"/>
                  </a:cxn>
                  <a:cxn ang="0">
                    <a:pos x="166" y="149"/>
                  </a:cxn>
                  <a:cxn ang="0">
                    <a:pos x="184" y="156"/>
                  </a:cxn>
                  <a:cxn ang="0">
                    <a:pos x="216" y="158"/>
                  </a:cxn>
                  <a:cxn ang="0">
                    <a:pos x="201" y="179"/>
                  </a:cxn>
                  <a:cxn ang="0">
                    <a:pos x="178" y="192"/>
                  </a:cxn>
                  <a:cxn ang="0">
                    <a:pos x="168" y="207"/>
                  </a:cxn>
                  <a:cxn ang="0">
                    <a:pos x="141" y="224"/>
                  </a:cxn>
                  <a:cxn ang="0">
                    <a:pos x="136" y="244"/>
                  </a:cxn>
                  <a:cxn ang="0">
                    <a:pos x="161" y="274"/>
                  </a:cxn>
                  <a:cxn ang="0">
                    <a:pos x="165" y="295"/>
                  </a:cxn>
                  <a:cxn ang="0">
                    <a:pos x="171" y="332"/>
                  </a:cxn>
                  <a:cxn ang="0">
                    <a:pos x="188" y="364"/>
                  </a:cxn>
                  <a:cxn ang="0">
                    <a:pos x="196" y="395"/>
                  </a:cxn>
                  <a:cxn ang="0">
                    <a:pos x="178" y="427"/>
                  </a:cxn>
                  <a:cxn ang="0">
                    <a:pos x="171" y="422"/>
                  </a:cxn>
                  <a:cxn ang="0">
                    <a:pos x="176" y="410"/>
                  </a:cxn>
                  <a:cxn ang="0">
                    <a:pos x="176" y="388"/>
                  </a:cxn>
                  <a:cxn ang="0">
                    <a:pos x="171" y="359"/>
                  </a:cxn>
                  <a:cxn ang="0">
                    <a:pos x="161" y="350"/>
                  </a:cxn>
                  <a:cxn ang="0">
                    <a:pos x="151" y="324"/>
                  </a:cxn>
                  <a:cxn ang="0">
                    <a:pos x="145" y="292"/>
                  </a:cxn>
                  <a:cxn ang="0">
                    <a:pos x="138" y="284"/>
                  </a:cxn>
                  <a:cxn ang="0">
                    <a:pos x="123" y="266"/>
                  </a:cxn>
                  <a:cxn ang="0">
                    <a:pos x="123" y="271"/>
                  </a:cxn>
                  <a:cxn ang="0">
                    <a:pos x="108" y="280"/>
                  </a:cxn>
                  <a:cxn ang="0">
                    <a:pos x="103" y="289"/>
                  </a:cxn>
                  <a:cxn ang="0">
                    <a:pos x="81" y="297"/>
                  </a:cxn>
                  <a:cxn ang="0">
                    <a:pos x="68" y="302"/>
                  </a:cxn>
                  <a:cxn ang="0">
                    <a:pos x="63" y="294"/>
                  </a:cxn>
                  <a:cxn ang="0">
                    <a:pos x="68" y="266"/>
                  </a:cxn>
                  <a:cxn ang="0">
                    <a:pos x="58" y="242"/>
                  </a:cxn>
                  <a:cxn ang="0">
                    <a:pos x="43" y="219"/>
                  </a:cxn>
                  <a:cxn ang="0">
                    <a:pos x="28" y="217"/>
                  </a:cxn>
                  <a:cxn ang="0">
                    <a:pos x="37" y="217"/>
                  </a:cxn>
                  <a:cxn ang="0">
                    <a:pos x="38" y="204"/>
                  </a:cxn>
                  <a:cxn ang="0">
                    <a:pos x="18" y="201"/>
                  </a:cxn>
                  <a:cxn ang="0">
                    <a:pos x="15" y="197"/>
                  </a:cxn>
                  <a:cxn ang="0">
                    <a:pos x="2" y="174"/>
                  </a:cxn>
                  <a:cxn ang="0">
                    <a:pos x="13" y="153"/>
                  </a:cxn>
                  <a:cxn ang="0">
                    <a:pos x="23" y="129"/>
                  </a:cxn>
                  <a:cxn ang="0">
                    <a:pos x="37" y="106"/>
                  </a:cxn>
                  <a:cxn ang="0">
                    <a:pos x="48" y="61"/>
                  </a:cxn>
                  <a:cxn ang="0">
                    <a:pos x="70" y="26"/>
                  </a:cxn>
                  <a:cxn ang="0">
                    <a:pos x="95" y="15"/>
                  </a:cxn>
                  <a:cxn ang="0">
                    <a:pos x="32" y="232"/>
                  </a:cxn>
                </a:cxnLst>
                <a:rect l="0" t="0" r="r" b="b"/>
                <a:pathLst>
                  <a:path w="216" h="437">
                    <a:moveTo>
                      <a:pt x="98" y="1"/>
                    </a:moveTo>
                    <a:lnTo>
                      <a:pt x="101" y="0"/>
                    </a:lnTo>
                    <a:lnTo>
                      <a:pt x="106" y="1"/>
                    </a:lnTo>
                    <a:lnTo>
                      <a:pt x="111" y="0"/>
                    </a:lnTo>
                    <a:lnTo>
                      <a:pt x="116" y="0"/>
                    </a:lnTo>
                    <a:lnTo>
                      <a:pt x="120" y="5"/>
                    </a:lnTo>
                    <a:lnTo>
                      <a:pt x="125" y="8"/>
                    </a:lnTo>
                    <a:lnTo>
                      <a:pt x="125" y="15"/>
                    </a:lnTo>
                    <a:lnTo>
                      <a:pt x="130" y="15"/>
                    </a:lnTo>
                    <a:lnTo>
                      <a:pt x="135" y="20"/>
                    </a:lnTo>
                    <a:lnTo>
                      <a:pt x="135" y="26"/>
                    </a:lnTo>
                    <a:lnTo>
                      <a:pt x="138" y="33"/>
                    </a:lnTo>
                    <a:lnTo>
                      <a:pt x="138" y="40"/>
                    </a:lnTo>
                    <a:lnTo>
                      <a:pt x="138" y="50"/>
                    </a:lnTo>
                    <a:lnTo>
                      <a:pt x="138" y="55"/>
                    </a:lnTo>
                    <a:lnTo>
                      <a:pt x="136" y="56"/>
                    </a:lnTo>
                    <a:lnTo>
                      <a:pt x="131" y="60"/>
                    </a:lnTo>
                    <a:lnTo>
                      <a:pt x="131" y="63"/>
                    </a:lnTo>
                    <a:lnTo>
                      <a:pt x="128" y="63"/>
                    </a:lnTo>
                    <a:lnTo>
                      <a:pt x="128" y="66"/>
                    </a:lnTo>
                    <a:lnTo>
                      <a:pt x="130" y="71"/>
                    </a:lnTo>
                    <a:lnTo>
                      <a:pt x="128" y="73"/>
                    </a:lnTo>
                    <a:lnTo>
                      <a:pt x="125" y="73"/>
                    </a:lnTo>
                    <a:lnTo>
                      <a:pt x="121" y="75"/>
                    </a:lnTo>
                    <a:lnTo>
                      <a:pt x="120" y="80"/>
                    </a:lnTo>
                    <a:lnTo>
                      <a:pt x="121" y="81"/>
                    </a:lnTo>
                    <a:lnTo>
                      <a:pt x="120" y="84"/>
                    </a:lnTo>
                    <a:lnTo>
                      <a:pt x="120" y="89"/>
                    </a:lnTo>
                    <a:lnTo>
                      <a:pt x="123" y="91"/>
                    </a:lnTo>
                    <a:lnTo>
                      <a:pt x="125" y="93"/>
                    </a:lnTo>
                    <a:lnTo>
                      <a:pt x="128" y="96"/>
                    </a:lnTo>
                    <a:lnTo>
                      <a:pt x="128" y="101"/>
                    </a:lnTo>
                    <a:lnTo>
                      <a:pt x="130" y="106"/>
                    </a:lnTo>
                    <a:lnTo>
                      <a:pt x="136" y="103"/>
                    </a:lnTo>
                    <a:lnTo>
                      <a:pt x="146" y="101"/>
                    </a:lnTo>
                    <a:lnTo>
                      <a:pt x="148" y="104"/>
                    </a:lnTo>
                    <a:lnTo>
                      <a:pt x="146" y="106"/>
                    </a:lnTo>
                    <a:lnTo>
                      <a:pt x="150" y="109"/>
                    </a:lnTo>
                    <a:lnTo>
                      <a:pt x="156" y="108"/>
                    </a:lnTo>
                    <a:lnTo>
                      <a:pt x="156" y="111"/>
                    </a:lnTo>
                    <a:lnTo>
                      <a:pt x="155" y="114"/>
                    </a:lnTo>
                    <a:lnTo>
                      <a:pt x="158" y="118"/>
                    </a:lnTo>
                    <a:lnTo>
                      <a:pt x="165" y="119"/>
                    </a:lnTo>
                    <a:lnTo>
                      <a:pt x="163" y="123"/>
                    </a:lnTo>
                    <a:lnTo>
                      <a:pt x="165" y="124"/>
                    </a:lnTo>
                    <a:lnTo>
                      <a:pt x="166" y="123"/>
                    </a:lnTo>
                    <a:lnTo>
                      <a:pt x="173" y="123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6" y="133"/>
                    </a:lnTo>
                    <a:lnTo>
                      <a:pt x="176" y="136"/>
                    </a:lnTo>
                    <a:lnTo>
                      <a:pt x="169" y="143"/>
                    </a:lnTo>
                    <a:lnTo>
                      <a:pt x="166" y="146"/>
                    </a:lnTo>
                    <a:lnTo>
                      <a:pt x="166" y="149"/>
                    </a:lnTo>
                    <a:lnTo>
                      <a:pt x="169" y="148"/>
                    </a:lnTo>
                    <a:lnTo>
                      <a:pt x="178" y="149"/>
                    </a:lnTo>
                    <a:lnTo>
                      <a:pt x="179" y="149"/>
                    </a:lnTo>
                    <a:lnTo>
                      <a:pt x="183" y="148"/>
                    </a:lnTo>
                    <a:lnTo>
                      <a:pt x="186" y="151"/>
                    </a:lnTo>
                    <a:lnTo>
                      <a:pt x="184" y="156"/>
                    </a:lnTo>
                    <a:lnTo>
                      <a:pt x="186" y="161"/>
                    </a:lnTo>
                    <a:lnTo>
                      <a:pt x="191" y="163"/>
                    </a:lnTo>
                    <a:lnTo>
                      <a:pt x="194" y="161"/>
                    </a:lnTo>
                    <a:lnTo>
                      <a:pt x="201" y="161"/>
                    </a:lnTo>
                    <a:lnTo>
                      <a:pt x="211" y="156"/>
                    </a:lnTo>
                    <a:lnTo>
                      <a:pt x="216" y="158"/>
                    </a:lnTo>
                    <a:lnTo>
                      <a:pt x="216" y="163"/>
                    </a:lnTo>
                    <a:lnTo>
                      <a:pt x="209" y="168"/>
                    </a:lnTo>
                    <a:lnTo>
                      <a:pt x="201" y="169"/>
                    </a:lnTo>
                    <a:lnTo>
                      <a:pt x="201" y="173"/>
                    </a:lnTo>
                    <a:lnTo>
                      <a:pt x="199" y="176"/>
                    </a:lnTo>
                    <a:lnTo>
                      <a:pt x="201" y="179"/>
                    </a:lnTo>
                    <a:lnTo>
                      <a:pt x="196" y="182"/>
                    </a:lnTo>
                    <a:lnTo>
                      <a:pt x="194" y="182"/>
                    </a:lnTo>
                    <a:lnTo>
                      <a:pt x="191" y="189"/>
                    </a:lnTo>
                    <a:lnTo>
                      <a:pt x="183" y="189"/>
                    </a:lnTo>
                    <a:lnTo>
                      <a:pt x="178" y="191"/>
                    </a:lnTo>
                    <a:lnTo>
                      <a:pt x="178" y="192"/>
                    </a:lnTo>
                    <a:lnTo>
                      <a:pt x="181" y="196"/>
                    </a:lnTo>
                    <a:lnTo>
                      <a:pt x="179" y="199"/>
                    </a:lnTo>
                    <a:lnTo>
                      <a:pt x="173" y="197"/>
                    </a:lnTo>
                    <a:lnTo>
                      <a:pt x="169" y="201"/>
                    </a:lnTo>
                    <a:lnTo>
                      <a:pt x="169" y="206"/>
                    </a:lnTo>
                    <a:lnTo>
                      <a:pt x="168" y="207"/>
                    </a:lnTo>
                    <a:lnTo>
                      <a:pt x="163" y="207"/>
                    </a:lnTo>
                    <a:lnTo>
                      <a:pt x="156" y="212"/>
                    </a:lnTo>
                    <a:lnTo>
                      <a:pt x="148" y="209"/>
                    </a:lnTo>
                    <a:lnTo>
                      <a:pt x="145" y="214"/>
                    </a:lnTo>
                    <a:lnTo>
                      <a:pt x="145" y="221"/>
                    </a:lnTo>
                    <a:lnTo>
                      <a:pt x="141" y="224"/>
                    </a:lnTo>
                    <a:lnTo>
                      <a:pt x="141" y="231"/>
                    </a:lnTo>
                    <a:lnTo>
                      <a:pt x="143" y="234"/>
                    </a:lnTo>
                    <a:lnTo>
                      <a:pt x="140" y="237"/>
                    </a:lnTo>
                    <a:lnTo>
                      <a:pt x="133" y="239"/>
                    </a:lnTo>
                    <a:lnTo>
                      <a:pt x="133" y="242"/>
                    </a:lnTo>
                    <a:lnTo>
                      <a:pt x="136" y="244"/>
                    </a:lnTo>
                    <a:lnTo>
                      <a:pt x="141" y="251"/>
                    </a:lnTo>
                    <a:lnTo>
                      <a:pt x="145" y="254"/>
                    </a:lnTo>
                    <a:lnTo>
                      <a:pt x="146" y="257"/>
                    </a:lnTo>
                    <a:lnTo>
                      <a:pt x="153" y="261"/>
                    </a:lnTo>
                    <a:lnTo>
                      <a:pt x="158" y="272"/>
                    </a:lnTo>
                    <a:lnTo>
                      <a:pt x="161" y="274"/>
                    </a:lnTo>
                    <a:lnTo>
                      <a:pt x="165" y="279"/>
                    </a:lnTo>
                    <a:lnTo>
                      <a:pt x="166" y="284"/>
                    </a:lnTo>
                    <a:lnTo>
                      <a:pt x="171" y="285"/>
                    </a:lnTo>
                    <a:lnTo>
                      <a:pt x="171" y="290"/>
                    </a:lnTo>
                    <a:lnTo>
                      <a:pt x="166" y="292"/>
                    </a:lnTo>
                    <a:lnTo>
                      <a:pt x="165" y="295"/>
                    </a:lnTo>
                    <a:lnTo>
                      <a:pt x="168" y="307"/>
                    </a:lnTo>
                    <a:lnTo>
                      <a:pt x="166" y="310"/>
                    </a:lnTo>
                    <a:lnTo>
                      <a:pt x="161" y="312"/>
                    </a:lnTo>
                    <a:lnTo>
                      <a:pt x="165" y="320"/>
                    </a:lnTo>
                    <a:lnTo>
                      <a:pt x="165" y="324"/>
                    </a:lnTo>
                    <a:lnTo>
                      <a:pt x="171" y="332"/>
                    </a:lnTo>
                    <a:lnTo>
                      <a:pt x="179" y="337"/>
                    </a:lnTo>
                    <a:lnTo>
                      <a:pt x="186" y="342"/>
                    </a:lnTo>
                    <a:lnTo>
                      <a:pt x="189" y="352"/>
                    </a:lnTo>
                    <a:lnTo>
                      <a:pt x="186" y="355"/>
                    </a:lnTo>
                    <a:lnTo>
                      <a:pt x="188" y="360"/>
                    </a:lnTo>
                    <a:lnTo>
                      <a:pt x="188" y="364"/>
                    </a:lnTo>
                    <a:lnTo>
                      <a:pt x="189" y="367"/>
                    </a:lnTo>
                    <a:lnTo>
                      <a:pt x="191" y="374"/>
                    </a:lnTo>
                    <a:lnTo>
                      <a:pt x="193" y="377"/>
                    </a:lnTo>
                    <a:lnTo>
                      <a:pt x="193" y="383"/>
                    </a:lnTo>
                    <a:lnTo>
                      <a:pt x="196" y="388"/>
                    </a:lnTo>
                    <a:lnTo>
                      <a:pt x="196" y="395"/>
                    </a:lnTo>
                    <a:lnTo>
                      <a:pt x="193" y="397"/>
                    </a:lnTo>
                    <a:lnTo>
                      <a:pt x="188" y="412"/>
                    </a:lnTo>
                    <a:lnTo>
                      <a:pt x="183" y="415"/>
                    </a:lnTo>
                    <a:lnTo>
                      <a:pt x="181" y="420"/>
                    </a:lnTo>
                    <a:lnTo>
                      <a:pt x="179" y="423"/>
                    </a:lnTo>
                    <a:lnTo>
                      <a:pt x="178" y="427"/>
                    </a:lnTo>
                    <a:lnTo>
                      <a:pt x="178" y="427"/>
                    </a:lnTo>
                    <a:lnTo>
                      <a:pt x="176" y="432"/>
                    </a:lnTo>
                    <a:lnTo>
                      <a:pt x="174" y="437"/>
                    </a:lnTo>
                    <a:lnTo>
                      <a:pt x="173" y="430"/>
                    </a:lnTo>
                    <a:lnTo>
                      <a:pt x="173" y="425"/>
                    </a:lnTo>
                    <a:lnTo>
                      <a:pt x="171" y="422"/>
                    </a:lnTo>
                    <a:lnTo>
                      <a:pt x="171" y="420"/>
                    </a:lnTo>
                    <a:lnTo>
                      <a:pt x="173" y="420"/>
                    </a:lnTo>
                    <a:lnTo>
                      <a:pt x="174" y="418"/>
                    </a:lnTo>
                    <a:lnTo>
                      <a:pt x="178" y="415"/>
                    </a:lnTo>
                    <a:lnTo>
                      <a:pt x="178" y="410"/>
                    </a:lnTo>
                    <a:lnTo>
                      <a:pt x="176" y="410"/>
                    </a:lnTo>
                    <a:lnTo>
                      <a:pt x="176" y="403"/>
                    </a:lnTo>
                    <a:lnTo>
                      <a:pt x="178" y="403"/>
                    </a:lnTo>
                    <a:lnTo>
                      <a:pt x="179" y="400"/>
                    </a:lnTo>
                    <a:lnTo>
                      <a:pt x="178" y="395"/>
                    </a:lnTo>
                    <a:lnTo>
                      <a:pt x="181" y="392"/>
                    </a:lnTo>
                    <a:lnTo>
                      <a:pt x="176" y="388"/>
                    </a:lnTo>
                    <a:lnTo>
                      <a:pt x="174" y="385"/>
                    </a:lnTo>
                    <a:lnTo>
                      <a:pt x="174" y="380"/>
                    </a:lnTo>
                    <a:lnTo>
                      <a:pt x="176" y="378"/>
                    </a:lnTo>
                    <a:lnTo>
                      <a:pt x="174" y="374"/>
                    </a:lnTo>
                    <a:lnTo>
                      <a:pt x="173" y="372"/>
                    </a:lnTo>
                    <a:lnTo>
                      <a:pt x="171" y="359"/>
                    </a:lnTo>
                    <a:lnTo>
                      <a:pt x="168" y="355"/>
                    </a:lnTo>
                    <a:lnTo>
                      <a:pt x="166" y="352"/>
                    </a:lnTo>
                    <a:lnTo>
                      <a:pt x="163" y="345"/>
                    </a:lnTo>
                    <a:lnTo>
                      <a:pt x="161" y="354"/>
                    </a:lnTo>
                    <a:lnTo>
                      <a:pt x="160" y="354"/>
                    </a:lnTo>
                    <a:lnTo>
                      <a:pt x="161" y="350"/>
                    </a:lnTo>
                    <a:lnTo>
                      <a:pt x="158" y="347"/>
                    </a:lnTo>
                    <a:lnTo>
                      <a:pt x="158" y="337"/>
                    </a:lnTo>
                    <a:lnTo>
                      <a:pt x="155" y="334"/>
                    </a:lnTo>
                    <a:lnTo>
                      <a:pt x="155" y="329"/>
                    </a:lnTo>
                    <a:lnTo>
                      <a:pt x="156" y="327"/>
                    </a:lnTo>
                    <a:lnTo>
                      <a:pt x="151" y="324"/>
                    </a:lnTo>
                    <a:lnTo>
                      <a:pt x="150" y="315"/>
                    </a:lnTo>
                    <a:lnTo>
                      <a:pt x="150" y="315"/>
                    </a:lnTo>
                    <a:lnTo>
                      <a:pt x="146" y="299"/>
                    </a:lnTo>
                    <a:lnTo>
                      <a:pt x="145" y="297"/>
                    </a:lnTo>
                    <a:lnTo>
                      <a:pt x="143" y="294"/>
                    </a:lnTo>
                    <a:lnTo>
                      <a:pt x="145" y="292"/>
                    </a:lnTo>
                    <a:lnTo>
                      <a:pt x="145" y="290"/>
                    </a:lnTo>
                    <a:lnTo>
                      <a:pt x="141" y="285"/>
                    </a:lnTo>
                    <a:lnTo>
                      <a:pt x="143" y="284"/>
                    </a:lnTo>
                    <a:lnTo>
                      <a:pt x="143" y="280"/>
                    </a:lnTo>
                    <a:lnTo>
                      <a:pt x="141" y="284"/>
                    </a:lnTo>
                    <a:lnTo>
                      <a:pt x="138" y="284"/>
                    </a:lnTo>
                    <a:lnTo>
                      <a:pt x="135" y="284"/>
                    </a:lnTo>
                    <a:lnTo>
                      <a:pt x="133" y="279"/>
                    </a:lnTo>
                    <a:lnTo>
                      <a:pt x="131" y="277"/>
                    </a:lnTo>
                    <a:lnTo>
                      <a:pt x="126" y="269"/>
                    </a:lnTo>
                    <a:lnTo>
                      <a:pt x="125" y="266"/>
                    </a:lnTo>
                    <a:lnTo>
                      <a:pt x="123" y="266"/>
                    </a:lnTo>
                    <a:lnTo>
                      <a:pt x="123" y="264"/>
                    </a:lnTo>
                    <a:lnTo>
                      <a:pt x="118" y="261"/>
                    </a:lnTo>
                    <a:lnTo>
                      <a:pt x="121" y="264"/>
                    </a:lnTo>
                    <a:lnTo>
                      <a:pt x="120" y="266"/>
                    </a:lnTo>
                    <a:lnTo>
                      <a:pt x="120" y="267"/>
                    </a:lnTo>
                    <a:lnTo>
                      <a:pt x="123" y="271"/>
                    </a:lnTo>
                    <a:lnTo>
                      <a:pt x="121" y="274"/>
                    </a:lnTo>
                    <a:lnTo>
                      <a:pt x="120" y="276"/>
                    </a:lnTo>
                    <a:lnTo>
                      <a:pt x="121" y="279"/>
                    </a:lnTo>
                    <a:lnTo>
                      <a:pt x="115" y="284"/>
                    </a:lnTo>
                    <a:lnTo>
                      <a:pt x="110" y="284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8" y="284"/>
                    </a:lnTo>
                    <a:lnTo>
                      <a:pt x="108" y="285"/>
                    </a:lnTo>
                    <a:lnTo>
                      <a:pt x="111" y="285"/>
                    </a:lnTo>
                    <a:lnTo>
                      <a:pt x="106" y="289"/>
                    </a:lnTo>
                    <a:lnTo>
                      <a:pt x="103" y="289"/>
                    </a:lnTo>
                    <a:lnTo>
                      <a:pt x="100" y="287"/>
                    </a:lnTo>
                    <a:lnTo>
                      <a:pt x="98" y="290"/>
                    </a:lnTo>
                    <a:lnTo>
                      <a:pt x="90" y="297"/>
                    </a:lnTo>
                    <a:lnTo>
                      <a:pt x="85" y="297"/>
                    </a:lnTo>
                    <a:lnTo>
                      <a:pt x="83" y="297"/>
                    </a:lnTo>
                    <a:lnTo>
                      <a:pt x="81" y="297"/>
                    </a:lnTo>
                    <a:lnTo>
                      <a:pt x="81" y="295"/>
                    </a:lnTo>
                    <a:lnTo>
                      <a:pt x="80" y="299"/>
                    </a:lnTo>
                    <a:lnTo>
                      <a:pt x="78" y="299"/>
                    </a:lnTo>
                    <a:lnTo>
                      <a:pt x="75" y="295"/>
                    </a:lnTo>
                    <a:lnTo>
                      <a:pt x="68" y="299"/>
                    </a:lnTo>
                    <a:lnTo>
                      <a:pt x="68" y="302"/>
                    </a:lnTo>
                    <a:lnTo>
                      <a:pt x="65" y="302"/>
                    </a:lnTo>
                    <a:lnTo>
                      <a:pt x="65" y="295"/>
                    </a:lnTo>
                    <a:lnTo>
                      <a:pt x="71" y="290"/>
                    </a:lnTo>
                    <a:lnTo>
                      <a:pt x="71" y="284"/>
                    </a:lnTo>
                    <a:lnTo>
                      <a:pt x="70" y="290"/>
                    </a:lnTo>
                    <a:lnTo>
                      <a:pt x="63" y="294"/>
                    </a:lnTo>
                    <a:lnTo>
                      <a:pt x="60" y="299"/>
                    </a:lnTo>
                    <a:lnTo>
                      <a:pt x="60" y="297"/>
                    </a:lnTo>
                    <a:lnTo>
                      <a:pt x="60" y="295"/>
                    </a:lnTo>
                    <a:lnTo>
                      <a:pt x="58" y="290"/>
                    </a:lnTo>
                    <a:lnTo>
                      <a:pt x="63" y="269"/>
                    </a:lnTo>
                    <a:lnTo>
                      <a:pt x="68" y="266"/>
                    </a:lnTo>
                    <a:lnTo>
                      <a:pt x="66" y="264"/>
                    </a:lnTo>
                    <a:lnTo>
                      <a:pt x="62" y="254"/>
                    </a:lnTo>
                    <a:lnTo>
                      <a:pt x="62" y="246"/>
                    </a:lnTo>
                    <a:lnTo>
                      <a:pt x="58" y="246"/>
                    </a:lnTo>
                    <a:lnTo>
                      <a:pt x="58" y="242"/>
                    </a:lnTo>
                    <a:lnTo>
                      <a:pt x="58" y="242"/>
                    </a:lnTo>
                    <a:lnTo>
                      <a:pt x="55" y="239"/>
                    </a:lnTo>
                    <a:lnTo>
                      <a:pt x="53" y="232"/>
                    </a:lnTo>
                    <a:lnTo>
                      <a:pt x="52" y="229"/>
                    </a:lnTo>
                    <a:lnTo>
                      <a:pt x="48" y="226"/>
                    </a:lnTo>
                    <a:lnTo>
                      <a:pt x="48" y="222"/>
                    </a:lnTo>
                    <a:lnTo>
                      <a:pt x="43" y="219"/>
                    </a:lnTo>
                    <a:lnTo>
                      <a:pt x="45" y="222"/>
                    </a:lnTo>
                    <a:lnTo>
                      <a:pt x="47" y="231"/>
                    </a:lnTo>
                    <a:lnTo>
                      <a:pt x="37" y="227"/>
                    </a:lnTo>
                    <a:lnTo>
                      <a:pt x="33" y="224"/>
                    </a:lnTo>
                    <a:lnTo>
                      <a:pt x="33" y="221"/>
                    </a:lnTo>
                    <a:lnTo>
                      <a:pt x="28" y="217"/>
                    </a:lnTo>
                    <a:lnTo>
                      <a:pt x="28" y="216"/>
                    </a:lnTo>
                    <a:lnTo>
                      <a:pt x="32" y="216"/>
                    </a:lnTo>
                    <a:lnTo>
                      <a:pt x="33" y="219"/>
                    </a:lnTo>
                    <a:lnTo>
                      <a:pt x="37" y="221"/>
                    </a:lnTo>
                    <a:lnTo>
                      <a:pt x="38" y="219"/>
                    </a:lnTo>
                    <a:lnTo>
                      <a:pt x="37" y="217"/>
                    </a:lnTo>
                    <a:lnTo>
                      <a:pt x="33" y="216"/>
                    </a:lnTo>
                    <a:lnTo>
                      <a:pt x="38" y="212"/>
                    </a:lnTo>
                    <a:lnTo>
                      <a:pt x="40" y="216"/>
                    </a:lnTo>
                    <a:lnTo>
                      <a:pt x="43" y="214"/>
                    </a:lnTo>
                    <a:lnTo>
                      <a:pt x="43" y="211"/>
                    </a:lnTo>
                    <a:lnTo>
                      <a:pt x="38" y="204"/>
                    </a:lnTo>
                    <a:lnTo>
                      <a:pt x="30" y="204"/>
                    </a:lnTo>
                    <a:lnTo>
                      <a:pt x="28" y="201"/>
                    </a:lnTo>
                    <a:lnTo>
                      <a:pt x="25" y="199"/>
                    </a:lnTo>
                    <a:lnTo>
                      <a:pt x="23" y="197"/>
                    </a:lnTo>
                    <a:lnTo>
                      <a:pt x="23" y="199"/>
                    </a:lnTo>
                    <a:lnTo>
                      <a:pt x="18" y="201"/>
                    </a:lnTo>
                    <a:lnTo>
                      <a:pt x="18" y="199"/>
                    </a:lnTo>
                    <a:lnTo>
                      <a:pt x="22" y="194"/>
                    </a:lnTo>
                    <a:lnTo>
                      <a:pt x="17" y="196"/>
                    </a:lnTo>
                    <a:lnTo>
                      <a:pt x="13" y="192"/>
                    </a:lnTo>
                    <a:lnTo>
                      <a:pt x="13" y="194"/>
                    </a:lnTo>
                    <a:lnTo>
                      <a:pt x="15" y="197"/>
                    </a:lnTo>
                    <a:lnTo>
                      <a:pt x="5" y="189"/>
                    </a:lnTo>
                    <a:lnTo>
                      <a:pt x="3" y="184"/>
                    </a:lnTo>
                    <a:lnTo>
                      <a:pt x="0" y="179"/>
                    </a:lnTo>
                    <a:lnTo>
                      <a:pt x="0" y="179"/>
                    </a:lnTo>
                    <a:lnTo>
                      <a:pt x="0" y="178"/>
                    </a:lnTo>
                    <a:lnTo>
                      <a:pt x="2" y="174"/>
                    </a:lnTo>
                    <a:lnTo>
                      <a:pt x="5" y="168"/>
                    </a:lnTo>
                    <a:lnTo>
                      <a:pt x="8" y="169"/>
                    </a:lnTo>
                    <a:lnTo>
                      <a:pt x="10" y="164"/>
                    </a:lnTo>
                    <a:lnTo>
                      <a:pt x="10" y="156"/>
                    </a:lnTo>
                    <a:lnTo>
                      <a:pt x="12" y="153"/>
                    </a:lnTo>
                    <a:lnTo>
                      <a:pt x="13" y="153"/>
                    </a:lnTo>
                    <a:lnTo>
                      <a:pt x="17" y="153"/>
                    </a:lnTo>
                    <a:lnTo>
                      <a:pt x="18" y="144"/>
                    </a:lnTo>
                    <a:lnTo>
                      <a:pt x="18" y="141"/>
                    </a:lnTo>
                    <a:lnTo>
                      <a:pt x="18" y="134"/>
                    </a:lnTo>
                    <a:lnTo>
                      <a:pt x="18" y="129"/>
                    </a:lnTo>
                    <a:lnTo>
                      <a:pt x="23" y="129"/>
                    </a:lnTo>
                    <a:lnTo>
                      <a:pt x="23" y="123"/>
                    </a:lnTo>
                    <a:lnTo>
                      <a:pt x="23" y="116"/>
                    </a:lnTo>
                    <a:lnTo>
                      <a:pt x="20" y="106"/>
                    </a:lnTo>
                    <a:lnTo>
                      <a:pt x="25" y="106"/>
                    </a:lnTo>
                    <a:lnTo>
                      <a:pt x="30" y="108"/>
                    </a:lnTo>
                    <a:lnTo>
                      <a:pt x="37" y="106"/>
                    </a:lnTo>
                    <a:lnTo>
                      <a:pt x="40" y="99"/>
                    </a:lnTo>
                    <a:lnTo>
                      <a:pt x="42" y="89"/>
                    </a:lnTo>
                    <a:lnTo>
                      <a:pt x="48" y="78"/>
                    </a:lnTo>
                    <a:lnTo>
                      <a:pt x="42" y="75"/>
                    </a:lnTo>
                    <a:lnTo>
                      <a:pt x="42" y="71"/>
                    </a:lnTo>
                    <a:lnTo>
                      <a:pt x="48" y="61"/>
                    </a:lnTo>
                    <a:lnTo>
                      <a:pt x="52" y="53"/>
                    </a:lnTo>
                    <a:lnTo>
                      <a:pt x="50" y="51"/>
                    </a:lnTo>
                    <a:lnTo>
                      <a:pt x="50" y="45"/>
                    </a:lnTo>
                    <a:lnTo>
                      <a:pt x="58" y="35"/>
                    </a:lnTo>
                    <a:lnTo>
                      <a:pt x="63" y="33"/>
                    </a:lnTo>
                    <a:lnTo>
                      <a:pt x="70" y="26"/>
                    </a:lnTo>
                    <a:lnTo>
                      <a:pt x="71" y="21"/>
                    </a:lnTo>
                    <a:lnTo>
                      <a:pt x="80" y="18"/>
                    </a:lnTo>
                    <a:lnTo>
                      <a:pt x="86" y="15"/>
                    </a:lnTo>
                    <a:lnTo>
                      <a:pt x="91" y="16"/>
                    </a:lnTo>
                    <a:lnTo>
                      <a:pt x="95" y="18"/>
                    </a:lnTo>
                    <a:lnTo>
                      <a:pt x="95" y="15"/>
                    </a:lnTo>
                    <a:lnTo>
                      <a:pt x="95" y="10"/>
                    </a:lnTo>
                    <a:lnTo>
                      <a:pt x="100" y="5"/>
                    </a:lnTo>
                    <a:lnTo>
                      <a:pt x="98" y="1"/>
                    </a:lnTo>
                    <a:lnTo>
                      <a:pt x="98" y="1"/>
                    </a:lnTo>
                    <a:lnTo>
                      <a:pt x="98" y="1"/>
                    </a:lnTo>
                    <a:close/>
                    <a:moveTo>
                      <a:pt x="32" y="232"/>
                    </a:moveTo>
                    <a:lnTo>
                      <a:pt x="33" y="236"/>
                    </a:lnTo>
                    <a:lnTo>
                      <a:pt x="38" y="237"/>
                    </a:lnTo>
                    <a:lnTo>
                      <a:pt x="40" y="234"/>
                    </a:lnTo>
                    <a:lnTo>
                      <a:pt x="35" y="231"/>
                    </a:lnTo>
                    <a:lnTo>
                      <a:pt x="32" y="2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8" name="Freeform 24"/>
              <p:cNvSpPr>
                <a:spLocks noEditPoints="1"/>
              </p:cNvSpPr>
              <p:nvPr/>
            </p:nvSpPr>
            <p:spPr bwMode="auto">
              <a:xfrm>
                <a:off x="7453155" y="3156617"/>
                <a:ext cx="28896" cy="46692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4" y="33"/>
                  </a:cxn>
                  <a:cxn ang="0">
                    <a:pos x="2" y="35"/>
                  </a:cxn>
                  <a:cxn ang="0">
                    <a:pos x="0" y="43"/>
                  </a:cxn>
                  <a:cxn ang="0">
                    <a:pos x="9" y="7"/>
                  </a:cxn>
                  <a:cxn ang="0">
                    <a:pos x="2" y="0"/>
                  </a:cxn>
                  <a:cxn ang="0">
                    <a:pos x="12" y="0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19" y="3"/>
                  </a:cxn>
                  <a:cxn ang="0">
                    <a:pos x="25" y="8"/>
                  </a:cxn>
                  <a:cxn ang="0">
                    <a:pos x="24" y="10"/>
                  </a:cxn>
                  <a:cxn ang="0">
                    <a:pos x="17" y="8"/>
                  </a:cxn>
                  <a:cxn ang="0">
                    <a:pos x="12" y="5"/>
                  </a:cxn>
                  <a:cxn ang="0">
                    <a:pos x="14" y="3"/>
                  </a:cxn>
                  <a:cxn ang="0">
                    <a:pos x="15" y="2"/>
                  </a:cxn>
                  <a:cxn ang="0">
                    <a:pos x="10" y="10"/>
                  </a:cxn>
                  <a:cxn ang="0">
                    <a:pos x="10" y="12"/>
                  </a:cxn>
                  <a:cxn ang="0">
                    <a:pos x="10" y="13"/>
                  </a:cxn>
                  <a:cxn ang="0">
                    <a:pos x="7" y="20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5" y="27"/>
                  </a:cxn>
                  <a:cxn ang="0">
                    <a:pos x="4" y="35"/>
                  </a:cxn>
                  <a:cxn ang="0">
                    <a:pos x="2" y="48"/>
                  </a:cxn>
                  <a:cxn ang="0">
                    <a:pos x="4" y="56"/>
                  </a:cxn>
                  <a:cxn ang="0">
                    <a:pos x="5" y="70"/>
                  </a:cxn>
                  <a:cxn ang="0">
                    <a:pos x="14" y="88"/>
                  </a:cxn>
                  <a:cxn ang="0">
                    <a:pos x="24" y="90"/>
                  </a:cxn>
                  <a:cxn ang="0">
                    <a:pos x="40" y="86"/>
                  </a:cxn>
                  <a:cxn ang="0">
                    <a:pos x="50" y="71"/>
                  </a:cxn>
                  <a:cxn ang="0">
                    <a:pos x="52" y="65"/>
                  </a:cxn>
                  <a:cxn ang="0">
                    <a:pos x="53" y="58"/>
                  </a:cxn>
                  <a:cxn ang="0">
                    <a:pos x="52" y="51"/>
                  </a:cxn>
                  <a:cxn ang="0">
                    <a:pos x="45" y="38"/>
                  </a:cxn>
                  <a:cxn ang="0">
                    <a:pos x="37" y="33"/>
                  </a:cxn>
                  <a:cxn ang="0">
                    <a:pos x="34" y="32"/>
                  </a:cxn>
                  <a:cxn ang="0">
                    <a:pos x="37" y="27"/>
                  </a:cxn>
                  <a:cxn ang="0">
                    <a:pos x="32" y="22"/>
                  </a:cxn>
                  <a:cxn ang="0">
                    <a:pos x="29" y="17"/>
                  </a:cxn>
                  <a:cxn ang="0">
                    <a:pos x="27" y="13"/>
                  </a:cxn>
                  <a:cxn ang="0">
                    <a:pos x="19" y="12"/>
                  </a:cxn>
                  <a:cxn ang="0">
                    <a:pos x="15" y="10"/>
                  </a:cxn>
                </a:cxnLst>
                <a:rect l="0" t="0" r="r" b="b"/>
                <a:pathLst>
                  <a:path w="53" h="90">
                    <a:moveTo>
                      <a:pt x="0" y="43"/>
                    </a:moveTo>
                    <a:lnTo>
                      <a:pt x="0" y="38"/>
                    </a:lnTo>
                    <a:lnTo>
                      <a:pt x="0" y="35"/>
                    </a:lnTo>
                    <a:lnTo>
                      <a:pt x="4" y="33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8"/>
                    </a:lnTo>
                    <a:lnTo>
                      <a:pt x="0" y="43"/>
                    </a:lnTo>
                    <a:lnTo>
                      <a:pt x="0" y="43"/>
                    </a:lnTo>
                    <a:close/>
                    <a:moveTo>
                      <a:pt x="9" y="7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close/>
                    <a:moveTo>
                      <a:pt x="15" y="2"/>
                    </a:moveTo>
                    <a:lnTo>
                      <a:pt x="19" y="3"/>
                    </a:lnTo>
                    <a:lnTo>
                      <a:pt x="19" y="7"/>
                    </a:lnTo>
                    <a:lnTo>
                      <a:pt x="25" y="8"/>
                    </a:lnTo>
                    <a:lnTo>
                      <a:pt x="25" y="12"/>
                    </a:lnTo>
                    <a:lnTo>
                      <a:pt x="24" y="10"/>
                    </a:lnTo>
                    <a:lnTo>
                      <a:pt x="19" y="10"/>
                    </a:lnTo>
                    <a:lnTo>
                      <a:pt x="17" y="8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5" y="2"/>
                    </a:lnTo>
                    <a:lnTo>
                      <a:pt x="15" y="2"/>
                    </a:lnTo>
                    <a:close/>
                    <a:moveTo>
                      <a:pt x="10" y="8"/>
                    </a:moveTo>
                    <a:lnTo>
                      <a:pt x="10" y="10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7" y="20"/>
                    </a:lnTo>
                    <a:lnTo>
                      <a:pt x="5" y="20"/>
                    </a:lnTo>
                    <a:lnTo>
                      <a:pt x="4" y="1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5" y="27"/>
                    </a:lnTo>
                    <a:lnTo>
                      <a:pt x="5" y="33"/>
                    </a:lnTo>
                    <a:lnTo>
                      <a:pt x="4" y="35"/>
                    </a:lnTo>
                    <a:lnTo>
                      <a:pt x="2" y="45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4" y="56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81"/>
                    </a:lnTo>
                    <a:lnTo>
                      <a:pt x="14" y="88"/>
                    </a:lnTo>
                    <a:lnTo>
                      <a:pt x="19" y="90"/>
                    </a:lnTo>
                    <a:lnTo>
                      <a:pt x="24" y="90"/>
                    </a:lnTo>
                    <a:lnTo>
                      <a:pt x="32" y="88"/>
                    </a:lnTo>
                    <a:lnTo>
                      <a:pt x="40" y="86"/>
                    </a:lnTo>
                    <a:lnTo>
                      <a:pt x="47" y="78"/>
                    </a:lnTo>
                    <a:lnTo>
                      <a:pt x="50" y="71"/>
                    </a:lnTo>
                    <a:lnTo>
                      <a:pt x="52" y="68"/>
                    </a:lnTo>
                    <a:lnTo>
                      <a:pt x="52" y="65"/>
                    </a:lnTo>
                    <a:lnTo>
                      <a:pt x="53" y="63"/>
                    </a:lnTo>
                    <a:lnTo>
                      <a:pt x="53" y="58"/>
                    </a:lnTo>
                    <a:lnTo>
                      <a:pt x="50" y="55"/>
                    </a:lnTo>
                    <a:lnTo>
                      <a:pt x="52" y="51"/>
                    </a:lnTo>
                    <a:lnTo>
                      <a:pt x="49" y="48"/>
                    </a:lnTo>
                    <a:lnTo>
                      <a:pt x="45" y="38"/>
                    </a:lnTo>
                    <a:lnTo>
                      <a:pt x="42" y="32"/>
                    </a:lnTo>
                    <a:lnTo>
                      <a:pt x="37" y="33"/>
                    </a:lnTo>
                    <a:lnTo>
                      <a:pt x="37" y="32"/>
                    </a:lnTo>
                    <a:lnTo>
                      <a:pt x="34" y="32"/>
                    </a:lnTo>
                    <a:lnTo>
                      <a:pt x="39" y="3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29" y="17"/>
                    </a:lnTo>
                    <a:lnTo>
                      <a:pt x="27" y="15"/>
                    </a:lnTo>
                    <a:lnTo>
                      <a:pt x="27" y="13"/>
                    </a:lnTo>
                    <a:lnTo>
                      <a:pt x="20" y="10"/>
                    </a:lnTo>
                    <a:lnTo>
                      <a:pt x="19" y="12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19" name="Freeform 25"/>
              <p:cNvSpPr>
                <a:spLocks noEditPoints="1"/>
              </p:cNvSpPr>
              <p:nvPr/>
            </p:nvSpPr>
            <p:spPr bwMode="auto">
              <a:xfrm>
                <a:off x="7292618" y="2865055"/>
                <a:ext cx="363884" cy="312314"/>
              </a:xfrm>
              <a:custGeom>
                <a:avLst/>
                <a:gdLst/>
                <a:ahLst/>
                <a:cxnLst>
                  <a:cxn ang="0">
                    <a:pos x="231" y="51"/>
                  </a:cxn>
                  <a:cxn ang="0">
                    <a:pos x="267" y="69"/>
                  </a:cxn>
                  <a:cxn ang="0">
                    <a:pos x="277" y="116"/>
                  </a:cxn>
                  <a:cxn ang="0">
                    <a:pos x="353" y="144"/>
                  </a:cxn>
                  <a:cxn ang="0">
                    <a:pos x="442" y="164"/>
                  </a:cxn>
                  <a:cxn ang="0">
                    <a:pos x="476" y="132"/>
                  </a:cxn>
                  <a:cxn ang="0">
                    <a:pos x="513" y="161"/>
                  </a:cxn>
                  <a:cxn ang="0">
                    <a:pos x="546" y="136"/>
                  </a:cxn>
                  <a:cxn ang="0">
                    <a:pos x="579" y="112"/>
                  </a:cxn>
                  <a:cxn ang="0">
                    <a:pos x="633" y="98"/>
                  </a:cxn>
                  <a:cxn ang="0">
                    <a:pos x="657" y="99"/>
                  </a:cxn>
                  <a:cxn ang="0">
                    <a:pos x="679" y="122"/>
                  </a:cxn>
                  <a:cxn ang="0">
                    <a:pos x="644" y="154"/>
                  </a:cxn>
                  <a:cxn ang="0">
                    <a:pos x="621" y="220"/>
                  </a:cxn>
                  <a:cxn ang="0">
                    <a:pos x="599" y="262"/>
                  </a:cxn>
                  <a:cxn ang="0">
                    <a:pos x="588" y="274"/>
                  </a:cxn>
                  <a:cxn ang="0">
                    <a:pos x="569" y="235"/>
                  </a:cxn>
                  <a:cxn ang="0">
                    <a:pos x="554" y="242"/>
                  </a:cxn>
                  <a:cxn ang="0">
                    <a:pos x="563" y="222"/>
                  </a:cxn>
                  <a:cxn ang="0">
                    <a:pos x="558" y="196"/>
                  </a:cxn>
                  <a:cxn ang="0">
                    <a:pos x="510" y="182"/>
                  </a:cxn>
                  <a:cxn ang="0">
                    <a:pos x="491" y="172"/>
                  </a:cxn>
                  <a:cxn ang="0">
                    <a:pos x="475" y="167"/>
                  </a:cxn>
                  <a:cxn ang="0">
                    <a:pos x="483" y="196"/>
                  </a:cxn>
                  <a:cxn ang="0">
                    <a:pos x="493" y="245"/>
                  </a:cxn>
                  <a:cxn ang="0">
                    <a:pos x="498" y="285"/>
                  </a:cxn>
                  <a:cxn ang="0">
                    <a:pos x="481" y="280"/>
                  </a:cxn>
                  <a:cxn ang="0">
                    <a:pos x="475" y="280"/>
                  </a:cxn>
                  <a:cxn ang="0">
                    <a:pos x="450" y="312"/>
                  </a:cxn>
                  <a:cxn ang="0">
                    <a:pos x="420" y="328"/>
                  </a:cxn>
                  <a:cxn ang="0">
                    <a:pos x="375" y="382"/>
                  </a:cxn>
                  <a:cxn ang="0">
                    <a:pos x="329" y="418"/>
                  </a:cxn>
                  <a:cxn ang="0">
                    <a:pos x="304" y="461"/>
                  </a:cxn>
                  <a:cxn ang="0">
                    <a:pos x="299" y="553"/>
                  </a:cxn>
                  <a:cxn ang="0">
                    <a:pos x="290" y="578"/>
                  </a:cxn>
                  <a:cxn ang="0">
                    <a:pos x="259" y="596"/>
                  </a:cxn>
                  <a:cxn ang="0">
                    <a:pos x="209" y="541"/>
                  </a:cxn>
                  <a:cxn ang="0">
                    <a:pos x="176" y="488"/>
                  </a:cxn>
                  <a:cxn ang="0">
                    <a:pos x="149" y="435"/>
                  </a:cxn>
                  <a:cxn ang="0">
                    <a:pos x="126" y="370"/>
                  </a:cxn>
                  <a:cxn ang="0">
                    <a:pos x="113" y="322"/>
                  </a:cxn>
                  <a:cxn ang="0">
                    <a:pos x="108" y="287"/>
                  </a:cxn>
                  <a:cxn ang="0">
                    <a:pos x="108" y="269"/>
                  </a:cxn>
                  <a:cxn ang="0">
                    <a:pos x="86" y="303"/>
                  </a:cxn>
                  <a:cxn ang="0">
                    <a:pos x="15" y="272"/>
                  </a:cxn>
                  <a:cxn ang="0">
                    <a:pos x="35" y="272"/>
                  </a:cxn>
                  <a:cxn ang="0">
                    <a:pos x="40" y="262"/>
                  </a:cxn>
                  <a:cxn ang="0">
                    <a:pos x="0" y="242"/>
                  </a:cxn>
                  <a:cxn ang="0">
                    <a:pos x="51" y="219"/>
                  </a:cxn>
                  <a:cxn ang="0">
                    <a:pos x="48" y="191"/>
                  </a:cxn>
                  <a:cxn ang="0">
                    <a:pos x="15" y="161"/>
                  </a:cxn>
                  <a:cxn ang="0">
                    <a:pos x="56" y="136"/>
                  </a:cxn>
                  <a:cxn ang="0">
                    <a:pos x="111" y="76"/>
                  </a:cxn>
                  <a:cxn ang="0">
                    <a:pos x="134" y="28"/>
                  </a:cxn>
                  <a:cxn ang="0">
                    <a:pos x="199" y="6"/>
                  </a:cxn>
                  <a:cxn ang="0">
                    <a:pos x="493" y="284"/>
                  </a:cxn>
                  <a:cxn ang="0">
                    <a:pos x="486" y="290"/>
                  </a:cxn>
                </a:cxnLst>
                <a:rect l="0" t="0" r="r" b="b"/>
                <a:pathLst>
                  <a:path w="681" h="601">
                    <a:moveTo>
                      <a:pt x="217" y="18"/>
                    </a:moveTo>
                    <a:lnTo>
                      <a:pt x="219" y="21"/>
                    </a:lnTo>
                    <a:lnTo>
                      <a:pt x="219" y="24"/>
                    </a:lnTo>
                    <a:lnTo>
                      <a:pt x="226" y="28"/>
                    </a:lnTo>
                    <a:lnTo>
                      <a:pt x="226" y="36"/>
                    </a:lnTo>
                    <a:lnTo>
                      <a:pt x="227" y="39"/>
                    </a:lnTo>
                    <a:lnTo>
                      <a:pt x="226" y="43"/>
                    </a:lnTo>
                    <a:lnTo>
                      <a:pt x="229" y="44"/>
                    </a:lnTo>
                    <a:lnTo>
                      <a:pt x="231" y="48"/>
                    </a:lnTo>
                    <a:lnTo>
                      <a:pt x="231" y="51"/>
                    </a:lnTo>
                    <a:lnTo>
                      <a:pt x="234" y="53"/>
                    </a:lnTo>
                    <a:lnTo>
                      <a:pt x="236" y="56"/>
                    </a:lnTo>
                    <a:lnTo>
                      <a:pt x="241" y="59"/>
                    </a:lnTo>
                    <a:lnTo>
                      <a:pt x="244" y="54"/>
                    </a:lnTo>
                    <a:lnTo>
                      <a:pt x="249" y="54"/>
                    </a:lnTo>
                    <a:lnTo>
                      <a:pt x="251" y="58"/>
                    </a:lnTo>
                    <a:lnTo>
                      <a:pt x="257" y="58"/>
                    </a:lnTo>
                    <a:lnTo>
                      <a:pt x="262" y="63"/>
                    </a:lnTo>
                    <a:lnTo>
                      <a:pt x="265" y="64"/>
                    </a:lnTo>
                    <a:lnTo>
                      <a:pt x="267" y="69"/>
                    </a:lnTo>
                    <a:lnTo>
                      <a:pt x="272" y="69"/>
                    </a:lnTo>
                    <a:lnTo>
                      <a:pt x="274" y="73"/>
                    </a:lnTo>
                    <a:lnTo>
                      <a:pt x="274" y="73"/>
                    </a:lnTo>
                    <a:lnTo>
                      <a:pt x="275" y="81"/>
                    </a:lnTo>
                    <a:lnTo>
                      <a:pt x="270" y="93"/>
                    </a:lnTo>
                    <a:lnTo>
                      <a:pt x="270" y="99"/>
                    </a:lnTo>
                    <a:lnTo>
                      <a:pt x="265" y="107"/>
                    </a:lnTo>
                    <a:lnTo>
                      <a:pt x="267" y="112"/>
                    </a:lnTo>
                    <a:lnTo>
                      <a:pt x="272" y="112"/>
                    </a:lnTo>
                    <a:lnTo>
                      <a:pt x="277" y="116"/>
                    </a:lnTo>
                    <a:lnTo>
                      <a:pt x="280" y="116"/>
                    </a:lnTo>
                    <a:lnTo>
                      <a:pt x="285" y="119"/>
                    </a:lnTo>
                    <a:lnTo>
                      <a:pt x="294" y="121"/>
                    </a:lnTo>
                    <a:lnTo>
                      <a:pt x="305" y="127"/>
                    </a:lnTo>
                    <a:lnTo>
                      <a:pt x="312" y="136"/>
                    </a:lnTo>
                    <a:lnTo>
                      <a:pt x="322" y="137"/>
                    </a:lnTo>
                    <a:lnTo>
                      <a:pt x="325" y="141"/>
                    </a:lnTo>
                    <a:lnTo>
                      <a:pt x="332" y="141"/>
                    </a:lnTo>
                    <a:lnTo>
                      <a:pt x="340" y="146"/>
                    </a:lnTo>
                    <a:lnTo>
                      <a:pt x="353" y="144"/>
                    </a:lnTo>
                    <a:lnTo>
                      <a:pt x="357" y="147"/>
                    </a:lnTo>
                    <a:lnTo>
                      <a:pt x="370" y="146"/>
                    </a:lnTo>
                    <a:lnTo>
                      <a:pt x="382" y="147"/>
                    </a:lnTo>
                    <a:lnTo>
                      <a:pt x="382" y="154"/>
                    </a:lnTo>
                    <a:lnTo>
                      <a:pt x="388" y="159"/>
                    </a:lnTo>
                    <a:lnTo>
                      <a:pt x="402" y="161"/>
                    </a:lnTo>
                    <a:lnTo>
                      <a:pt x="407" y="159"/>
                    </a:lnTo>
                    <a:lnTo>
                      <a:pt x="415" y="159"/>
                    </a:lnTo>
                    <a:lnTo>
                      <a:pt x="435" y="166"/>
                    </a:lnTo>
                    <a:lnTo>
                      <a:pt x="442" y="164"/>
                    </a:lnTo>
                    <a:lnTo>
                      <a:pt x="450" y="167"/>
                    </a:lnTo>
                    <a:lnTo>
                      <a:pt x="465" y="166"/>
                    </a:lnTo>
                    <a:lnTo>
                      <a:pt x="466" y="154"/>
                    </a:lnTo>
                    <a:lnTo>
                      <a:pt x="461" y="146"/>
                    </a:lnTo>
                    <a:lnTo>
                      <a:pt x="465" y="136"/>
                    </a:lnTo>
                    <a:lnTo>
                      <a:pt x="463" y="131"/>
                    </a:lnTo>
                    <a:lnTo>
                      <a:pt x="463" y="131"/>
                    </a:lnTo>
                    <a:lnTo>
                      <a:pt x="468" y="127"/>
                    </a:lnTo>
                    <a:lnTo>
                      <a:pt x="473" y="127"/>
                    </a:lnTo>
                    <a:lnTo>
                      <a:pt x="476" y="132"/>
                    </a:lnTo>
                    <a:lnTo>
                      <a:pt x="476" y="137"/>
                    </a:lnTo>
                    <a:lnTo>
                      <a:pt x="481" y="141"/>
                    </a:lnTo>
                    <a:lnTo>
                      <a:pt x="481" y="141"/>
                    </a:lnTo>
                    <a:lnTo>
                      <a:pt x="481" y="146"/>
                    </a:lnTo>
                    <a:lnTo>
                      <a:pt x="480" y="149"/>
                    </a:lnTo>
                    <a:lnTo>
                      <a:pt x="483" y="156"/>
                    </a:lnTo>
                    <a:lnTo>
                      <a:pt x="491" y="157"/>
                    </a:lnTo>
                    <a:lnTo>
                      <a:pt x="495" y="156"/>
                    </a:lnTo>
                    <a:lnTo>
                      <a:pt x="506" y="161"/>
                    </a:lnTo>
                    <a:lnTo>
                      <a:pt x="513" y="161"/>
                    </a:lnTo>
                    <a:lnTo>
                      <a:pt x="518" y="156"/>
                    </a:lnTo>
                    <a:lnTo>
                      <a:pt x="525" y="156"/>
                    </a:lnTo>
                    <a:lnTo>
                      <a:pt x="530" y="157"/>
                    </a:lnTo>
                    <a:lnTo>
                      <a:pt x="538" y="156"/>
                    </a:lnTo>
                    <a:lnTo>
                      <a:pt x="545" y="156"/>
                    </a:lnTo>
                    <a:lnTo>
                      <a:pt x="554" y="152"/>
                    </a:lnTo>
                    <a:lnTo>
                      <a:pt x="554" y="149"/>
                    </a:lnTo>
                    <a:lnTo>
                      <a:pt x="554" y="142"/>
                    </a:lnTo>
                    <a:lnTo>
                      <a:pt x="546" y="141"/>
                    </a:lnTo>
                    <a:lnTo>
                      <a:pt x="546" y="136"/>
                    </a:lnTo>
                    <a:lnTo>
                      <a:pt x="548" y="131"/>
                    </a:lnTo>
                    <a:lnTo>
                      <a:pt x="551" y="131"/>
                    </a:lnTo>
                    <a:lnTo>
                      <a:pt x="559" y="129"/>
                    </a:lnTo>
                    <a:lnTo>
                      <a:pt x="563" y="127"/>
                    </a:lnTo>
                    <a:lnTo>
                      <a:pt x="566" y="122"/>
                    </a:lnTo>
                    <a:lnTo>
                      <a:pt x="569" y="121"/>
                    </a:lnTo>
                    <a:lnTo>
                      <a:pt x="573" y="121"/>
                    </a:lnTo>
                    <a:lnTo>
                      <a:pt x="573" y="119"/>
                    </a:lnTo>
                    <a:lnTo>
                      <a:pt x="578" y="117"/>
                    </a:lnTo>
                    <a:lnTo>
                      <a:pt x="579" y="112"/>
                    </a:lnTo>
                    <a:lnTo>
                      <a:pt x="584" y="107"/>
                    </a:lnTo>
                    <a:lnTo>
                      <a:pt x="589" y="107"/>
                    </a:lnTo>
                    <a:lnTo>
                      <a:pt x="598" y="106"/>
                    </a:lnTo>
                    <a:lnTo>
                      <a:pt x="604" y="99"/>
                    </a:lnTo>
                    <a:lnTo>
                      <a:pt x="603" y="94"/>
                    </a:lnTo>
                    <a:lnTo>
                      <a:pt x="606" y="94"/>
                    </a:lnTo>
                    <a:lnTo>
                      <a:pt x="613" y="91"/>
                    </a:lnTo>
                    <a:lnTo>
                      <a:pt x="616" y="96"/>
                    </a:lnTo>
                    <a:lnTo>
                      <a:pt x="623" y="94"/>
                    </a:lnTo>
                    <a:lnTo>
                      <a:pt x="633" y="98"/>
                    </a:lnTo>
                    <a:lnTo>
                      <a:pt x="634" y="96"/>
                    </a:lnTo>
                    <a:lnTo>
                      <a:pt x="634" y="91"/>
                    </a:lnTo>
                    <a:lnTo>
                      <a:pt x="644" y="86"/>
                    </a:lnTo>
                    <a:lnTo>
                      <a:pt x="647" y="88"/>
                    </a:lnTo>
                    <a:lnTo>
                      <a:pt x="651" y="89"/>
                    </a:lnTo>
                    <a:lnTo>
                      <a:pt x="654" y="89"/>
                    </a:lnTo>
                    <a:lnTo>
                      <a:pt x="656" y="91"/>
                    </a:lnTo>
                    <a:lnTo>
                      <a:pt x="652" y="98"/>
                    </a:lnTo>
                    <a:lnTo>
                      <a:pt x="654" y="101"/>
                    </a:lnTo>
                    <a:lnTo>
                      <a:pt x="657" y="99"/>
                    </a:lnTo>
                    <a:lnTo>
                      <a:pt x="659" y="99"/>
                    </a:lnTo>
                    <a:lnTo>
                      <a:pt x="661" y="103"/>
                    </a:lnTo>
                    <a:lnTo>
                      <a:pt x="664" y="107"/>
                    </a:lnTo>
                    <a:lnTo>
                      <a:pt x="664" y="109"/>
                    </a:lnTo>
                    <a:lnTo>
                      <a:pt x="661" y="114"/>
                    </a:lnTo>
                    <a:lnTo>
                      <a:pt x="662" y="117"/>
                    </a:lnTo>
                    <a:lnTo>
                      <a:pt x="667" y="117"/>
                    </a:lnTo>
                    <a:lnTo>
                      <a:pt x="671" y="117"/>
                    </a:lnTo>
                    <a:lnTo>
                      <a:pt x="674" y="119"/>
                    </a:lnTo>
                    <a:lnTo>
                      <a:pt x="679" y="122"/>
                    </a:lnTo>
                    <a:lnTo>
                      <a:pt x="681" y="126"/>
                    </a:lnTo>
                    <a:lnTo>
                      <a:pt x="676" y="131"/>
                    </a:lnTo>
                    <a:lnTo>
                      <a:pt x="676" y="136"/>
                    </a:lnTo>
                    <a:lnTo>
                      <a:pt x="676" y="139"/>
                    </a:lnTo>
                    <a:lnTo>
                      <a:pt x="672" y="137"/>
                    </a:lnTo>
                    <a:lnTo>
                      <a:pt x="667" y="136"/>
                    </a:lnTo>
                    <a:lnTo>
                      <a:pt x="661" y="139"/>
                    </a:lnTo>
                    <a:lnTo>
                      <a:pt x="652" y="142"/>
                    </a:lnTo>
                    <a:lnTo>
                      <a:pt x="651" y="147"/>
                    </a:lnTo>
                    <a:lnTo>
                      <a:pt x="644" y="154"/>
                    </a:lnTo>
                    <a:lnTo>
                      <a:pt x="639" y="156"/>
                    </a:lnTo>
                    <a:lnTo>
                      <a:pt x="631" y="166"/>
                    </a:lnTo>
                    <a:lnTo>
                      <a:pt x="631" y="172"/>
                    </a:lnTo>
                    <a:lnTo>
                      <a:pt x="633" y="174"/>
                    </a:lnTo>
                    <a:lnTo>
                      <a:pt x="629" y="182"/>
                    </a:lnTo>
                    <a:lnTo>
                      <a:pt x="623" y="192"/>
                    </a:lnTo>
                    <a:lnTo>
                      <a:pt x="623" y="196"/>
                    </a:lnTo>
                    <a:lnTo>
                      <a:pt x="629" y="199"/>
                    </a:lnTo>
                    <a:lnTo>
                      <a:pt x="623" y="210"/>
                    </a:lnTo>
                    <a:lnTo>
                      <a:pt x="621" y="220"/>
                    </a:lnTo>
                    <a:lnTo>
                      <a:pt x="618" y="227"/>
                    </a:lnTo>
                    <a:lnTo>
                      <a:pt x="611" y="229"/>
                    </a:lnTo>
                    <a:lnTo>
                      <a:pt x="606" y="227"/>
                    </a:lnTo>
                    <a:lnTo>
                      <a:pt x="601" y="227"/>
                    </a:lnTo>
                    <a:lnTo>
                      <a:pt x="604" y="237"/>
                    </a:lnTo>
                    <a:lnTo>
                      <a:pt x="604" y="244"/>
                    </a:lnTo>
                    <a:lnTo>
                      <a:pt x="604" y="250"/>
                    </a:lnTo>
                    <a:lnTo>
                      <a:pt x="599" y="250"/>
                    </a:lnTo>
                    <a:lnTo>
                      <a:pt x="599" y="255"/>
                    </a:lnTo>
                    <a:lnTo>
                      <a:pt x="599" y="262"/>
                    </a:lnTo>
                    <a:lnTo>
                      <a:pt x="599" y="265"/>
                    </a:lnTo>
                    <a:lnTo>
                      <a:pt x="598" y="274"/>
                    </a:lnTo>
                    <a:lnTo>
                      <a:pt x="594" y="274"/>
                    </a:lnTo>
                    <a:lnTo>
                      <a:pt x="593" y="274"/>
                    </a:lnTo>
                    <a:lnTo>
                      <a:pt x="591" y="277"/>
                    </a:lnTo>
                    <a:lnTo>
                      <a:pt x="591" y="280"/>
                    </a:lnTo>
                    <a:lnTo>
                      <a:pt x="591" y="279"/>
                    </a:lnTo>
                    <a:lnTo>
                      <a:pt x="589" y="277"/>
                    </a:lnTo>
                    <a:lnTo>
                      <a:pt x="589" y="275"/>
                    </a:lnTo>
                    <a:lnTo>
                      <a:pt x="588" y="274"/>
                    </a:lnTo>
                    <a:lnTo>
                      <a:pt x="586" y="270"/>
                    </a:lnTo>
                    <a:lnTo>
                      <a:pt x="584" y="264"/>
                    </a:lnTo>
                    <a:lnTo>
                      <a:pt x="583" y="255"/>
                    </a:lnTo>
                    <a:lnTo>
                      <a:pt x="581" y="252"/>
                    </a:lnTo>
                    <a:lnTo>
                      <a:pt x="581" y="247"/>
                    </a:lnTo>
                    <a:lnTo>
                      <a:pt x="579" y="242"/>
                    </a:lnTo>
                    <a:lnTo>
                      <a:pt x="578" y="239"/>
                    </a:lnTo>
                    <a:lnTo>
                      <a:pt x="576" y="235"/>
                    </a:lnTo>
                    <a:lnTo>
                      <a:pt x="573" y="237"/>
                    </a:lnTo>
                    <a:lnTo>
                      <a:pt x="569" y="235"/>
                    </a:lnTo>
                    <a:lnTo>
                      <a:pt x="566" y="235"/>
                    </a:lnTo>
                    <a:lnTo>
                      <a:pt x="568" y="239"/>
                    </a:lnTo>
                    <a:lnTo>
                      <a:pt x="566" y="240"/>
                    </a:lnTo>
                    <a:lnTo>
                      <a:pt x="566" y="242"/>
                    </a:lnTo>
                    <a:lnTo>
                      <a:pt x="564" y="245"/>
                    </a:lnTo>
                    <a:lnTo>
                      <a:pt x="566" y="247"/>
                    </a:lnTo>
                    <a:lnTo>
                      <a:pt x="566" y="250"/>
                    </a:lnTo>
                    <a:lnTo>
                      <a:pt x="563" y="250"/>
                    </a:lnTo>
                    <a:lnTo>
                      <a:pt x="559" y="245"/>
                    </a:lnTo>
                    <a:lnTo>
                      <a:pt x="554" y="242"/>
                    </a:lnTo>
                    <a:lnTo>
                      <a:pt x="554" y="240"/>
                    </a:lnTo>
                    <a:lnTo>
                      <a:pt x="551" y="239"/>
                    </a:lnTo>
                    <a:lnTo>
                      <a:pt x="549" y="232"/>
                    </a:lnTo>
                    <a:lnTo>
                      <a:pt x="549" y="230"/>
                    </a:lnTo>
                    <a:lnTo>
                      <a:pt x="551" y="229"/>
                    </a:lnTo>
                    <a:lnTo>
                      <a:pt x="553" y="225"/>
                    </a:lnTo>
                    <a:lnTo>
                      <a:pt x="556" y="222"/>
                    </a:lnTo>
                    <a:lnTo>
                      <a:pt x="558" y="224"/>
                    </a:lnTo>
                    <a:lnTo>
                      <a:pt x="561" y="225"/>
                    </a:lnTo>
                    <a:lnTo>
                      <a:pt x="563" y="222"/>
                    </a:lnTo>
                    <a:lnTo>
                      <a:pt x="563" y="220"/>
                    </a:lnTo>
                    <a:lnTo>
                      <a:pt x="566" y="219"/>
                    </a:lnTo>
                    <a:lnTo>
                      <a:pt x="569" y="210"/>
                    </a:lnTo>
                    <a:lnTo>
                      <a:pt x="569" y="205"/>
                    </a:lnTo>
                    <a:lnTo>
                      <a:pt x="573" y="201"/>
                    </a:lnTo>
                    <a:lnTo>
                      <a:pt x="571" y="201"/>
                    </a:lnTo>
                    <a:lnTo>
                      <a:pt x="566" y="196"/>
                    </a:lnTo>
                    <a:lnTo>
                      <a:pt x="563" y="197"/>
                    </a:lnTo>
                    <a:lnTo>
                      <a:pt x="561" y="196"/>
                    </a:lnTo>
                    <a:lnTo>
                      <a:pt x="558" y="196"/>
                    </a:lnTo>
                    <a:lnTo>
                      <a:pt x="549" y="196"/>
                    </a:lnTo>
                    <a:lnTo>
                      <a:pt x="541" y="196"/>
                    </a:lnTo>
                    <a:lnTo>
                      <a:pt x="533" y="196"/>
                    </a:lnTo>
                    <a:lnTo>
                      <a:pt x="526" y="196"/>
                    </a:lnTo>
                    <a:lnTo>
                      <a:pt x="521" y="194"/>
                    </a:lnTo>
                    <a:lnTo>
                      <a:pt x="516" y="194"/>
                    </a:lnTo>
                    <a:lnTo>
                      <a:pt x="511" y="192"/>
                    </a:lnTo>
                    <a:lnTo>
                      <a:pt x="511" y="189"/>
                    </a:lnTo>
                    <a:lnTo>
                      <a:pt x="510" y="186"/>
                    </a:lnTo>
                    <a:lnTo>
                      <a:pt x="510" y="182"/>
                    </a:lnTo>
                    <a:lnTo>
                      <a:pt x="508" y="177"/>
                    </a:lnTo>
                    <a:lnTo>
                      <a:pt x="505" y="172"/>
                    </a:lnTo>
                    <a:lnTo>
                      <a:pt x="503" y="172"/>
                    </a:lnTo>
                    <a:lnTo>
                      <a:pt x="503" y="174"/>
                    </a:lnTo>
                    <a:lnTo>
                      <a:pt x="498" y="172"/>
                    </a:lnTo>
                    <a:lnTo>
                      <a:pt x="495" y="171"/>
                    </a:lnTo>
                    <a:lnTo>
                      <a:pt x="491" y="167"/>
                    </a:lnTo>
                    <a:lnTo>
                      <a:pt x="490" y="167"/>
                    </a:lnTo>
                    <a:lnTo>
                      <a:pt x="488" y="171"/>
                    </a:lnTo>
                    <a:lnTo>
                      <a:pt x="491" y="172"/>
                    </a:lnTo>
                    <a:lnTo>
                      <a:pt x="490" y="172"/>
                    </a:lnTo>
                    <a:lnTo>
                      <a:pt x="485" y="172"/>
                    </a:lnTo>
                    <a:lnTo>
                      <a:pt x="481" y="169"/>
                    </a:lnTo>
                    <a:lnTo>
                      <a:pt x="481" y="166"/>
                    </a:lnTo>
                    <a:lnTo>
                      <a:pt x="478" y="162"/>
                    </a:lnTo>
                    <a:lnTo>
                      <a:pt x="476" y="161"/>
                    </a:lnTo>
                    <a:lnTo>
                      <a:pt x="475" y="162"/>
                    </a:lnTo>
                    <a:lnTo>
                      <a:pt x="473" y="164"/>
                    </a:lnTo>
                    <a:lnTo>
                      <a:pt x="473" y="166"/>
                    </a:lnTo>
                    <a:lnTo>
                      <a:pt x="475" y="167"/>
                    </a:lnTo>
                    <a:lnTo>
                      <a:pt x="473" y="174"/>
                    </a:lnTo>
                    <a:lnTo>
                      <a:pt x="468" y="179"/>
                    </a:lnTo>
                    <a:lnTo>
                      <a:pt x="468" y="184"/>
                    </a:lnTo>
                    <a:lnTo>
                      <a:pt x="478" y="187"/>
                    </a:lnTo>
                    <a:lnTo>
                      <a:pt x="483" y="186"/>
                    </a:lnTo>
                    <a:lnTo>
                      <a:pt x="490" y="186"/>
                    </a:lnTo>
                    <a:lnTo>
                      <a:pt x="488" y="189"/>
                    </a:lnTo>
                    <a:lnTo>
                      <a:pt x="490" y="196"/>
                    </a:lnTo>
                    <a:lnTo>
                      <a:pt x="486" y="197"/>
                    </a:lnTo>
                    <a:lnTo>
                      <a:pt x="483" y="196"/>
                    </a:lnTo>
                    <a:lnTo>
                      <a:pt x="480" y="197"/>
                    </a:lnTo>
                    <a:lnTo>
                      <a:pt x="478" y="204"/>
                    </a:lnTo>
                    <a:lnTo>
                      <a:pt x="473" y="205"/>
                    </a:lnTo>
                    <a:lnTo>
                      <a:pt x="473" y="214"/>
                    </a:lnTo>
                    <a:lnTo>
                      <a:pt x="478" y="219"/>
                    </a:lnTo>
                    <a:lnTo>
                      <a:pt x="485" y="222"/>
                    </a:lnTo>
                    <a:lnTo>
                      <a:pt x="491" y="229"/>
                    </a:lnTo>
                    <a:lnTo>
                      <a:pt x="491" y="235"/>
                    </a:lnTo>
                    <a:lnTo>
                      <a:pt x="493" y="240"/>
                    </a:lnTo>
                    <a:lnTo>
                      <a:pt x="493" y="245"/>
                    </a:lnTo>
                    <a:lnTo>
                      <a:pt x="493" y="252"/>
                    </a:lnTo>
                    <a:lnTo>
                      <a:pt x="500" y="260"/>
                    </a:lnTo>
                    <a:lnTo>
                      <a:pt x="501" y="267"/>
                    </a:lnTo>
                    <a:lnTo>
                      <a:pt x="503" y="270"/>
                    </a:lnTo>
                    <a:lnTo>
                      <a:pt x="503" y="277"/>
                    </a:lnTo>
                    <a:lnTo>
                      <a:pt x="501" y="277"/>
                    </a:lnTo>
                    <a:lnTo>
                      <a:pt x="505" y="282"/>
                    </a:lnTo>
                    <a:lnTo>
                      <a:pt x="501" y="287"/>
                    </a:lnTo>
                    <a:lnTo>
                      <a:pt x="498" y="282"/>
                    </a:lnTo>
                    <a:lnTo>
                      <a:pt x="498" y="285"/>
                    </a:lnTo>
                    <a:lnTo>
                      <a:pt x="496" y="284"/>
                    </a:lnTo>
                    <a:lnTo>
                      <a:pt x="495" y="279"/>
                    </a:lnTo>
                    <a:lnTo>
                      <a:pt x="493" y="277"/>
                    </a:lnTo>
                    <a:lnTo>
                      <a:pt x="493" y="279"/>
                    </a:lnTo>
                    <a:lnTo>
                      <a:pt x="491" y="280"/>
                    </a:lnTo>
                    <a:lnTo>
                      <a:pt x="491" y="280"/>
                    </a:lnTo>
                    <a:lnTo>
                      <a:pt x="490" y="282"/>
                    </a:lnTo>
                    <a:lnTo>
                      <a:pt x="486" y="280"/>
                    </a:lnTo>
                    <a:lnTo>
                      <a:pt x="486" y="282"/>
                    </a:lnTo>
                    <a:lnTo>
                      <a:pt x="481" y="280"/>
                    </a:lnTo>
                    <a:lnTo>
                      <a:pt x="481" y="275"/>
                    </a:lnTo>
                    <a:lnTo>
                      <a:pt x="481" y="272"/>
                    </a:lnTo>
                    <a:lnTo>
                      <a:pt x="478" y="269"/>
                    </a:lnTo>
                    <a:lnTo>
                      <a:pt x="473" y="269"/>
                    </a:lnTo>
                    <a:lnTo>
                      <a:pt x="475" y="270"/>
                    </a:lnTo>
                    <a:lnTo>
                      <a:pt x="476" y="270"/>
                    </a:lnTo>
                    <a:lnTo>
                      <a:pt x="478" y="272"/>
                    </a:lnTo>
                    <a:lnTo>
                      <a:pt x="478" y="274"/>
                    </a:lnTo>
                    <a:lnTo>
                      <a:pt x="476" y="277"/>
                    </a:lnTo>
                    <a:lnTo>
                      <a:pt x="475" y="280"/>
                    </a:lnTo>
                    <a:lnTo>
                      <a:pt x="471" y="284"/>
                    </a:lnTo>
                    <a:lnTo>
                      <a:pt x="456" y="289"/>
                    </a:lnTo>
                    <a:lnTo>
                      <a:pt x="455" y="290"/>
                    </a:lnTo>
                    <a:lnTo>
                      <a:pt x="453" y="294"/>
                    </a:lnTo>
                    <a:lnTo>
                      <a:pt x="451" y="299"/>
                    </a:lnTo>
                    <a:lnTo>
                      <a:pt x="451" y="300"/>
                    </a:lnTo>
                    <a:lnTo>
                      <a:pt x="455" y="305"/>
                    </a:lnTo>
                    <a:lnTo>
                      <a:pt x="455" y="307"/>
                    </a:lnTo>
                    <a:lnTo>
                      <a:pt x="456" y="308"/>
                    </a:lnTo>
                    <a:lnTo>
                      <a:pt x="450" y="312"/>
                    </a:lnTo>
                    <a:lnTo>
                      <a:pt x="448" y="317"/>
                    </a:lnTo>
                    <a:lnTo>
                      <a:pt x="447" y="317"/>
                    </a:lnTo>
                    <a:lnTo>
                      <a:pt x="448" y="318"/>
                    </a:lnTo>
                    <a:lnTo>
                      <a:pt x="438" y="325"/>
                    </a:lnTo>
                    <a:lnTo>
                      <a:pt x="438" y="327"/>
                    </a:lnTo>
                    <a:lnTo>
                      <a:pt x="425" y="333"/>
                    </a:lnTo>
                    <a:lnTo>
                      <a:pt x="423" y="332"/>
                    </a:lnTo>
                    <a:lnTo>
                      <a:pt x="423" y="330"/>
                    </a:lnTo>
                    <a:lnTo>
                      <a:pt x="422" y="328"/>
                    </a:lnTo>
                    <a:lnTo>
                      <a:pt x="420" y="328"/>
                    </a:lnTo>
                    <a:lnTo>
                      <a:pt x="417" y="332"/>
                    </a:lnTo>
                    <a:lnTo>
                      <a:pt x="413" y="332"/>
                    </a:lnTo>
                    <a:lnTo>
                      <a:pt x="413" y="338"/>
                    </a:lnTo>
                    <a:lnTo>
                      <a:pt x="417" y="337"/>
                    </a:lnTo>
                    <a:lnTo>
                      <a:pt x="418" y="335"/>
                    </a:lnTo>
                    <a:lnTo>
                      <a:pt x="420" y="335"/>
                    </a:lnTo>
                    <a:lnTo>
                      <a:pt x="403" y="348"/>
                    </a:lnTo>
                    <a:lnTo>
                      <a:pt x="400" y="360"/>
                    </a:lnTo>
                    <a:lnTo>
                      <a:pt x="378" y="375"/>
                    </a:lnTo>
                    <a:lnTo>
                      <a:pt x="375" y="382"/>
                    </a:lnTo>
                    <a:lnTo>
                      <a:pt x="370" y="385"/>
                    </a:lnTo>
                    <a:lnTo>
                      <a:pt x="360" y="388"/>
                    </a:lnTo>
                    <a:lnTo>
                      <a:pt x="353" y="393"/>
                    </a:lnTo>
                    <a:lnTo>
                      <a:pt x="353" y="398"/>
                    </a:lnTo>
                    <a:lnTo>
                      <a:pt x="353" y="403"/>
                    </a:lnTo>
                    <a:lnTo>
                      <a:pt x="350" y="408"/>
                    </a:lnTo>
                    <a:lnTo>
                      <a:pt x="344" y="411"/>
                    </a:lnTo>
                    <a:lnTo>
                      <a:pt x="334" y="410"/>
                    </a:lnTo>
                    <a:lnTo>
                      <a:pt x="329" y="413"/>
                    </a:lnTo>
                    <a:lnTo>
                      <a:pt x="329" y="418"/>
                    </a:lnTo>
                    <a:lnTo>
                      <a:pt x="322" y="426"/>
                    </a:lnTo>
                    <a:lnTo>
                      <a:pt x="319" y="426"/>
                    </a:lnTo>
                    <a:lnTo>
                      <a:pt x="315" y="423"/>
                    </a:lnTo>
                    <a:lnTo>
                      <a:pt x="314" y="423"/>
                    </a:lnTo>
                    <a:lnTo>
                      <a:pt x="305" y="430"/>
                    </a:lnTo>
                    <a:lnTo>
                      <a:pt x="304" y="433"/>
                    </a:lnTo>
                    <a:lnTo>
                      <a:pt x="304" y="441"/>
                    </a:lnTo>
                    <a:lnTo>
                      <a:pt x="307" y="451"/>
                    </a:lnTo>
                    <a:lnTo>
                      <a:pt x="304" y="456"/>
                    </a:lnTo>
                    <a:lnTo>
                      <a:pt x="304" y="461"/>
                    </a:lnTo>
                    <a:lnTo>
                      <a:pt x="304" y="480"/>
                    </a:lnTo>
                    <a:lnTo>
                      <a:pt x="310" y="481"/>
                    </a:lnTo>
                    <a:lnTo>
                      <a:pt x="312" y="491"/>
                    </a:lnTo>
                    <a:lnTo>
                      <a:pt x="305" y="506"/>
                    </a:lnTo>
                    <a:lnTo>
                      <a:pt x="300" y="516"/>
                    </a:lnTo>
                    <a:lnTo>
                      <a:pt x="300" y="524"/>
                    </a:lnTo>
                    <a:lnTo>
                      <a:pt x="302" y="528"/>
                    </a:lnTo>
                    <a:lnTo>
                      <a:pt x="304" y="546"/>
                    </a:lnTo>
                    <a:lnTo>
                      <a:pt x="304" y="551"/>
                    </a:lnTo>
                    <a:lnTo>
                      <a:pt x="299" y="553"/>
                    </a:lnTo>
                    <a:lnTo>
                      <a:pt x="297" y="551"/>
                    </a:lnTo>
                    <a:lnTo>
                      <a:pt x="290" y="553"/>
                    </a:lnTo>
                    <a:lnTo>
                      <a:pt x="287" y="558"/>
                    </a:lnTo>
                    <a:lnTo>
                      <a:pt x="289" y="559"/>
                    </a:lnTo>
                    <a:lnTo>
                      <a:pt x="282" y="566"/>
                    </a:lnTo>
                    <a:lnTo>
                      <a:pt x="280" y="569"/>
                    </a:lnTo>
                    <a:lnTo>
                      <a:pt x="280" y="571"/>
                    </a:lnTo>
                    <a:lnTo>
                      <a:pt x="289" y="574"/>
                    </a:lnTo>
                    <a:lnTo>
                      <a:pt x="290" y="576"/>
                    </a:lnTo>
                    <a:lnTo>
                      <a:pt x="290" y="578"/>
                    </a:lnTo>
                    <a:lnTo>
                      <a:pt x="289" y="576"/>
                    </a:lnTo>
                    <a:lnTo>
                      <a:pt x="285" y="574"/>
                    </a:lnTo>
                    <a:lnTo>
                      <a:pt x="275" y="578"/>
                    </a:lnTo>
                    <a:lnTo>
                      <a:pt x="274" y="578"/>
                    </a:lnTo>
                    <a:lnTo>
                      <a:pt x="265" y="581"/>
                    </a:lnTo>
                    <a:lnTo>
                      <a:pt x="262" y="584"/>
                    </a:lnTo>
                    <a:lnTo>
                      <a:pt x="262" y="588"/>
                    </a:lnTo>
                    <a:lnTo>
                      <a:pt x="260" y="588"/>
                    </a:lnTo>
                    <a:lnTo>
                      <a:pt x="262" y="589"/>
                    </a:lnTo>
                    <a:lnTo>
                      <a:pt x="259" y="596"/>
                    </a:lnTo>
                    <a:lnTo>
                      <a:pt x="251" y="601"/>
                    </a:lnTo>
                    <a:lnTo>
                      <a:pt x="242" y="601"/>
                    </a:lnTo>
                    <a:lnTo>
                      <a:pt x="236" y="596"/>
                    </a:lnTo>
                    <a:lnTo>
                      <a:pt x="227" y="588"/>
                    </a:lnTo>
                    <a:lnTo>
                      <a:pt x="219" y="573"/>
                    </a:lnTo>
                    <a:lnTo>
                      <a:pt x="219" y="563"/>
                    </a:lnTo>
                    <a:lnTo>
                      <a:pt x="216" y="554"/>
                    </a:lnTo>
                    <a:lnTo>
                      <a:pt x="211" y="546"/>
                    </a:lnTo>
                    <a:lnTo>
                      <a:pt x="211" y="541"/>
                    </a:lnTo>
                    <a:lnTo>
                      <a:pt x="209" y="541"/>
                    </a:lnTo>
                    <a:lnTo>
                      <a:pt x="206" y="534"/>
                    </a:lnTo>
                    <a:lnTo>
                      <a:pt x="204" y="528"/>
                    </a:lnTo>
                    <a:lnTo>
                      <a:pt x="197" y="519"/>
                    </a:lnTo>
                    <a:lnTo>
                      <a:pt x="192" y="514"/>
                    </a:lnTo>
                    <a:lnTo>
                      <a:pt x="191" y="514"/>
                    </a:lnTo>
                    <a:lnTo>
                      <a:pt x="184" y="508"/>
                    </a:lnTo>
                    <a:lnTo>
                      <a:pt x="181" y="501"/>
                    </a:lnTo>
                    <a:lnTo>
                      <a:pt x="179" y="499"/>
                    </a:lnTo>
                    <a:lnTo>
                      <a:pt x="177" y="491"/>
                    </a:lnTo>
                    <a:lnTo>
                      <a:pt x="176" y="488"/>
                    </a:lnTo>
                    <a:lnTo>
                      <a:pt x="171" y="478"/>
                    </a:lnTo>
                    <a:lnTo>
                      <a:pt x="169" y="470"/>
                    </a:lnTo>
                    <a:lnTo>
                      <a:pt x="167" y="466"/>
                    </a:lnTo>
                    <a:lnTo>
                      <a:pt x="164" y="461"/>
                    </a:lnTo>
                    <a:lnTo>
                      <a:pt x="164" y="455"/>
                    </a:lnTo>
                    <a:lnTo>
                      <a:pt x="162" y="455"/>
                    </a:lnTo>
                    <a:lnTo>
                      <a:pt x="156" y="448"/>
                    </a:lnTo>
                    <a:lnTo>
                      <a:pt x="156" y="445"/>
                    </a:lnTo>
                    <a:lnTo>
                      <a:pt x="154" y="445"/>
                    </a:lnTo>
                    <a:lnTo>
                      <a:pt x="149" y="435"/>
                    </a:lnTo>
                    <a:lnTo>
                      <a:pt x="149" y="433"/>
                    </a:lnTo>
                    <a:lnTo>
                      <a:pt x="146" y="431"/>
                    </a:lnTo>
                    <a:lnTo>
                      <a:pt x="144" y="425"/>
                    </a:lnTo>
                    <a:lnTo>
                      <a:pt x="141" y="421"/>
                    </a:lnTo>
                    <a:lnTo>
                      <a:pt x="136" y="413"/>
                    </a:lnTo>
                    <a:lnTo>
                      <a:pt x="136" y="400"/>
                    </a:lnTo>
                    <a:lnTo>
                      <a:pt x="126" y="382"/>
                    </a:lnTo>
                    <a:lnTo>
                      <a:pt x="126" y="377"/>
                    </a:lnTo>
                    <a:lnTo>
                      <a:pt x="121" y="370"/>
                    </a:lnTo>
                    <a:lnTo>
                      <a:pt x="126" y="370"/>
                    </a:lnTo>
                    <a:lnTo>
                      <a:pt x="119" y="362"/>
                    </a:lnTo>
                    <a:lnTo>
                      <a:pt x="119" y="357"/>
                    </a:lnTo>
                    <a:lnTo>
                      <a:pt x="123" y="357"/>
                    </a:lnTo>
                    <a:lnTo>
                      <a:pt x="121" y="353"/>
                    </a:lnTo>
                    <a:lnTo>
                      <a:pt x="119" y="348"/>
                    </a:lnTo>
                    <a:lnTo>
                      <a:pt x="113" y="337"/>
                    </a:lnTo>
                    <a:lnTo>
                      <a:pt x="111" y="330"/>
                    </a:lnTo>
                    <a:lnTo>
                      <a:pt x="116" y="328"/>
                    </a:lnTo>
                    <a:lnTo>
                      <a:pt x="113" y="325"/>
                    </a:lnTo>
                    <a:lnTo>
                      <a:pt x="113" y="322"/>
                    </a:lnTo>
                    <a:lnTo>
                      <a:pt x="114" y="317"/>
                    </a:lnTo>
                    <a:lnTo>
                      <a:pt x="114" y="310"/>
                    </a:lnTo>
                    <a:lnTo>
                      <a:pt x="111" y="303"/>
                    </a:lnTo>
                    <a:lnTo>
                      <a:pt x="109" y="302"/>
                    </a:lnTo>
                    <a:lnTo>
                      <a:pt x="106" y="292"/>
                    </a:lnTo>
                    <a:lnTo>
                      <a:pt x="113" y="290"/>
                    </a:lnTo>
                    <a:lnTo>
                      <a:pt x="114" y="287"/>
                    </a:lnTo>
                    <a:lnTo>
                      <a:pt x="118" y="287"/>
                    </a:lnTo>
                    <a:lnTo>
                      <a:pt x="114" y="287"/>
                    </a:lnTo>
                    <a:lnTo>
                      <a:pt x="108" y="287"/>
                    </a:lnTo>
                    <a:lnTo>
                      <a:pt x="104" y="287"/>
                    </a:lnTo>
                    <a:lnTo>
                      <a:pt x="106" y="282"/>
                    </a:lnTo>
                    <a:lnTo>
                      <a:pt x="103" y="279"/>
                    </a:lnTo>
                    <a:lnTo>
                      <a:pt x="104" y="275"/>
                    </a:lnTo>
                    <a:lnTo>
                      <a:pt x="106" y="274"/>
                    </a:lnTo>
                    <a:lnTo>
                      <a:pt x="108" y="274"/>
                    </a:lnTo>
                    <a:lnTo>
                      <a:pt x="113" y="270"/>
                    </a:lnTo>
                    <a:lnTo>
                      <a:pt x="114" y="269"/>
                    </a:lnTo>
                    <a:lnTo>
                      <a:pt x="109" y="270"/>
                    </a:lnTo>
                    <a:lnTo>
                      <a:pt x="108" y="269"/>
                    </a:lnTo>
                    <a:lnTo>
                      <a:pt x="101" y="270"/>
                    </a:lnTo>
                    <a:lnTo>
                      <a:pt x="99" y="267"/>
                    </a:lnTo>
                    <a:lnTo>
                      <a:pt x="99" y="269"/>
                    </a:lnTo>
                    <a:lnTo>
                      <a:pt x="99" y="274"/>
                    </a:lnTo>
                    <a:lnTo>
                      <a:pt x="94" y="282"/>
                    </a:lnTo>
                    <a:lnTo>
                      <a:pt x="99" y="285"/>
                    </a:lnTo>
                    <a:lnTo>
                      <a:pt x="98" y="294"/>
                    </a:lnTo>
                    <a:lnTo>
                      <a:pt x="94" y="297"/>
                    </a:lnTo>
                    <a:lnTo>
                      <a:pt x="94" y="300"/>
                    </a:lnTo>
                    <a:lnTo>
                      <a:pt x="86" y="303"/>
                    </a:lnTo>
                    <a:lnTo>
                      <a:pt x="73" y="310"/>
                    </a:lnTo>
                    <a:lnTo>
                      <a:pt x="68" y="312"/>
                    </a:lnTo>
                    <a:lnTo>
                      <a:pt x="58" y="310"/>
                    </a:lnTo>
                    <a:lnTo>
                      <a:pt x="40" y="297"/>
                    </a:lnTo>
                    <a:lnTo>
                      <a:pt x="33" y="287"/>
                    </a:lnTo>
                    <a:lnTo>
                      <a:pt x="33" y="287"/>
                    </a:lnTo>
                    <a:lnTo>
                      <a:pt x="30" y="287"/>
                    </a:lnTo>
                    <a:lnTo>
                      <a:pt x="26" y="285"/>
                    </a:lnTo>
                    <a:lnTo>
                      <a:pt x="16" y="275"/>
                    </a:lnTo>
                    <a:lnTo>
                      <a:pt x="15" y="272"/>
                    </a:lnTo>
                    <a:lnTo>
                      <a:pt x="16" y="270"/>
                    </a:lnTo>
                    <a:lnTo>
                      <a:pt x="20" y="269"/>
                    </a:lnTo>
                    <a:lnTo>
                      <a:pt x="20" y="270"/>
                    </a:lnTo>
                    <a:lnTo>
                      <a:pt x="23" y="270"/>
                    </a:lnTo>
                    <a:lnTo>
                      <a:pt x="23" y="275"/>
                    </a:lnTo>
                    <a:lnTo>
                      <a:pt x="26" y="275"/>
                    </a:lnTo>
                    <a:lnTo>
                      <a:pt x="30" y="274"/>
                    </a:lnTo>
                    <a:lnTo>
                      <a:pt x="31" y="274"/>
                    </a:lnTo>
                    <a:lnTo>
                      <a:pt x="33" y="275"/>
                    </a:lnTo>
                    <a:lnTo>
                      <a:pt x="35" y="272"/>
                    </a:lnTo>
                    <a:lnTo>
                      <a:pt x="45" y="265"/>
                    </a:lnTo>
                    <a:lnTo>
                      <a:pt x="48" y="265"/>
                    </a:lnTo>
                    <a:lnTo>
                      <a:pt x="51" y="259"/>
                    </a:lnTo>
                    <a:lnTo>
                      <a:pt x="53" y="259"/>
                    </a:lnTo>
                    <a:lnTo>
                      <a:pt x="54" y="255"/>
                    </a:lnTo>
                    <a:lnTo>
                      <a:pt x="50" y="255"/>
                    </a:lnTo>
                    <a:lnTo>
                      <a:pt x="50" y="254"/>
                    </a:lnTo>
                    <a:lnTo>
                      <a:pt x="50" y="255"/>
                    </a:lnTo>
                    <a:lnTo>
                      <a:pt x="50" y="257"/>
                    </a:lnTo>
                    <a:lnTo>
                      <a:pt x="40" y="262"/>
                    </a:lnTo>
                    <a:lnTo>
                      <a:pt x="33" y="262"/>
                    </a:lnTo>
                    <a:lnTo>
                      <a:pt x="28" y="262"/>
                    </a:lnTo>
                    <a:lnTo>
                      <a:pt x="13" y="257"/>
                    </a:lnTo>
                    <a:lnTo>
                      <a:pt x="5" y="250"/>
                    </a:lnTo>
                    <a:lnTo>
                      <a:pt x="1" y="249"/>
                    </a:lnTo>
                    <a:lnTo>
                      <a:pt x="3" y="245"/>
                    </a:lnTo>
                    <a:lnTo>
                      <a:pt x="8" y="239"/>
                    </a:lnTo>
                    <a:lnTo>
                      <a:pt x="13" y="237"/>
                    </a:lnTo>
                    <a:lnTo>
                      <a:pt x="6" y="237"/>
                    </a:lnTo>
                    <a:lnTo>
                      <a:pt x="0" y="242"/>
                    </a:lnTo>
                    <a:lnTo>
                      <a:pt x="0" y="235"/>
                    </a:lnTo>
                    <a:lnTo>
                      <a:pt x="5" y="232"/>
                    </a:lnTo>
                    <a:lnTo>
                      <a:pt x="8" y="232"/>
                    </a:lnTo>
                    <a:lnTo>
                      <a:pt x="10" y="227"/>
                    </a:lnTo>
                    <a:lnTo>
                      <a:pt x="13" y="227"/>
                    </a:lnTo>
                    <a:lnTo>
                      <a:pt x="18" y="225"/>
                    </a:lnTo>
                    <a:lnTo>
                      <a:pt x="35" y="225"/>
                    </a:lnTo>
                    <a:lnTo>
                      <a:pt x="43" y="224"/>
                    </a:lnTo>
                    <a:lnTo>
                      <a:pt x="46" y="220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51" y="225"/>
                    </a:lnTo>
                    <a:lnTo>
                      <a:pt x="56" y="222"/>
                    </a:lnTo>
                    <a:lnTo>
                      <a:pt x="61" y="220"/>
                    </a:lnTo>
                    <a:lnTo>
                      <a:pt x="59" y="219"/>
                    </a:lnTo>
                    <a:lnTo>
                      <a:pt x="59" y="215"/>
                    </a:lnTo>
                    <a:lnTo>
                      <a:pt x="54" y="202"/>
                    </a:lnTo>
                    <a:lnTo>
                      <a:pt x="50" y="196"/>
                    </a:lnTo>
                    <a:lnTo>
                      <a:pt x="51" y="192"/>
                    </a:lnTo>
                    <a:lnTo>
                      <a:pt x="48" y="191"/>
                    </a:lnTo>
                    <a:lnTo>
                      <a:pt x="43" y="191"/>
                    </a:lnTo>
                    <a:lnTo>
                      <a:pt x="36" y="186"/>
                    </a:lnTo>
                    <a:lnTo>
                      <a:pt x="35" y="179"/>
                    </a:lnTo>
                    <a:lnTo>
                      <a:pt x="35" y="172"/>
                    </a:lnTo>
                    <a:lnTo>
                      <a:pt x="31" y="166"/>
                    </a:lnTo>
                    <a:lnTo>
                      <a:pt x="26" y="166"/>
                    </a:lnTo>
                    <a:lnTo>
                      <a:pt x="25" y="167"/>
                    </a:lnTo>
                    <a:lnTo>
                      <a:pt x="18" y="166"/>
                    </a:lnTo>
                    <a:lnTo>
                      <a:pt x="15" y="166"/>
                    </a:lnTo>
                    <a:lnTo>
                      <a:pt x="15" y="161"/>
                    </a:lnTo>
                    <a:lnTo>
                      <a:pt x="18" y="151"/>
                    </a:lnTo>
                    <a:lnTo>
                      <a:pt x="21" y="151"/>
                    </a:lnTo>
                    <a:lnTo>
                      <a:pt x="28" y="142"/>
                    </a:lnTo>
                    <a:lnTo>
                      <a:pt x="30" y="137"/>
                    </a:lnTo>
                    <a:lnTo>
                      <a:pt x="35" y="136"/>
                    </a:lnTo>
                    <a:lnTo>
                      <a:pt x="36" y="134"/>
                    </a:lnTo>
                    <a:lnTo>
                      <a:pt x="43" y="136"/>
                    </a:lnTo>
                    <a:lnTo>
                      <a:pt x="43" y="141"/>
                    </a:lnTo>
                    <a:lnTo>
                      <a:pt x="46" y="141"/>
                    </a:lnTo>
                    <a:lnTo>
                      <a:pt x="56" y="136"/>
                    </a:lnTo>
                    <a:lnTo>
                      <a:pt x="68" y="136"/>
                    </a:lnTo>
                    <a:lnTo>
                      <a:pt x="76" y="127"/>
                    </a:lnTo>
                    <a:lnTo>
                      <a:pt x="81" y="116"/>
                    </a:lnTo>
                    <a:lnTo>
                      <a:pt x="93" y="107"/>
                    </a:lnTo>
                    <a:lnTo>
                      <a:pt x="94" y="104"/>
                    </a:lnTo>
                    <a:lnTo>
                      <a:pt x="96" y="96"/>
                    </a:lnTo>
                    <a:lnTo>
                      <a:pt x="101" y="89"/>
                    </a:lnTo>
                    <a:lnTo>
                      <a:pt x="109" y="86"/>
                    </a:lnTo>
                    <a:lnTo>
                      <a:pt x="113" y="81"/>
                    </a:lnTo>
                    <a:lnTo>
                      <a:pt x="111" y="76"/>
                    </a:lnTo>
                    <a:lnTo>
                      <a:pt x="109" y="74"/>
                    </a:lnTo>
                    <a:lnTo>
                      <a:pt x="116" y="68"/>
                    </a:lnTo>
                    <a:lnTo>
                      <a:pt x="119" y="64"/>
                    </a:lnTo>
                    <a:lnTo>
                      <a:pt x="119" y="59"/>
                    </a:lnTo>
                    <a:lnTo>
                      <a:pt x="121" y="48"/>
                    </a:lnTo>
                    <a:lnTo>
                      <a:pt x="119" y="41"/>
                    </a:lnTo>
                    <a:lnTo>
                      <a:pt x="118" y="38"/>
                    </a:lnTo>
                    <a:lnTo>
                      <a:pt x="126" y="33"/>
                    </a:lnTo>
                    <a:lnTo>
                      <a:pt x="129" y="31"/>
                    </a:lnTo>
                    <a:lnTo>
                      <a:pt x="134" y="28"/>
                    </a:lnTo>
                    <a:lnTo>
                      <a:pt x="138" y="28"/>
                    </a:lnTo>
                    <a:lnTo>
                      <a:pt x="144" y="23"/>
                    </a:lnTo>
                    <a:lnTo>
                      <a:pt x="151" y="11"/>
                    </a:lnTo>
                    <a:lnTo>
                      <a:pt x="157" y="6"/>
                    </a:lnTo>
                    <a:lnTo>
                      <a:pt x="164" y="5"/>
                    </a:lnTo>
                    <a:lnTo>
                      <a:pt x="167" y="0"/>
                    </a:lnTo>
                    <a:lnTo>
                      <a:pt x="172" y="0"/>
                    </a:lnTo>
                    <a:lnTo>
                      <a:pt x="186" y="8"/>
                    </a:lnTo>
                    <a:lnTo>
                      <a:pt x="192" y="5"/>
                    </a:lnTo>
                    <a:lnTo>
                      <a:pt x="199" y="6"/>
                    </a:lnTo>
                    <a:lnTo>
                      <a:pt x="201" y="13"/>
                    </a:lnTo>
                    <a:lnTo>
                      <a:pt x="207" y="13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close/>
                    <a:moveTo>
                      <a:pt x="493" y="284"/>
                    </a:moveTo>
                    <a:lnTo>
                      <a:pt x="493" y="289"/>
                    </a:lnTo>
                    <a:lnTo>
                      <a:pt x="495" y="287"/>
                    </a:lnTo>
                    <a:lnTo>
                      <a:pt x="493" y="284"/>
                    </a:lnTo>
                    <a:lnTo>
                      <a:pt x="493" y="284"/>
                    </a:lnTo>
                    <a:close/>
                    <a:moveTo>
                      <a:pt x="490" y="282"/>
                    </a:moveTo>
                    <a:lnTo>
                      <a:pt x="486" y="284"/>
                    </a:lnTo>
                    <a:lnTo>
                      <a:pt x="488" y="287"/>
                    </a:lnTo>
                    <a:lnTo>
                      <a:pt x="490" y="287"/>
                    </a:lnTo>
                    <a:lnTo>
                      <a:pt x="490" y="285"/>
                    </a:lnTo>
                    <a:lnTo>
                      <a:pt x="490" y="282"/>
                    </a:lnTo>
                    <a:lnTo>
                      <a:pt x="490" y="282"/>
                    </a:lnTo>
                    <a:close/>
                    <a:moveTo>
                      <a:pt x="483" y="284"/>
                    </a:moveTo>
                    <a:lnTo>
                      <a:pt x="483" y="287"/>
                    </a:lnTo>
                    <a:lnTo>
                      <a:pt x="486" y="290"/>
                    </a:lnTo>
                    <a:lnTo>
                      <a:pt x="486" y="285"/>
                    </a:lnTo>
                    <a:lnTo>
                      <a:pt x="483" y="284"/>
                    </a:lnTo>
                    <a:lnTo>
                      <a:pt x="483" y="284"/>
                    </a:lnTo>
                    <a:close/>
                    <a:moveTo>
                      <a:pt x="476" y="285"/>
                    </a:moveTo>
                    <a:lnTo>
                      <a:pt x="476" y="287"/>
                    </a:lnTo>
                    <a:lnTo>
                      <a:pt x="478" y="287"/>
                    </a:lnTo>
                    <a:lnTo>
                      <a:pt x="481" y="280"/>
                    </a:lnTo>
                    <a:lnTo>
                      <a:pt x="480" y="279"/>
                    </a:lnTo>
                    <a:lnTo>
                      <a:pt x="476" y="2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0" name="Freeform 26"/>
              <p:cNvSpPr>
                <a:spLocks noEditPoints="1"/>
              </p:cNvSpPr>
              <p:nvPr/>
            </p:nvSpPr>
            <p:spPr bwMode="auto">
              <a:xfrm>
                <a:off x="7543056" y="2949099"/>
                <a:ext cx="66355" cy="75744"/>
              </a:xfrm>
              <a:custGeom>
                <a:avLst/>
                <a:gdLst/>
                <a:ahLst/>
                <a:cxnLst>
                  <a:cxn ang="0">
                    <a:pos x="121" y="129"/>
                  </a:cxn>
                  <a:cxn ang="0">
                    <a:pos x="113" y="138"/>
                  </a:cxn>
                  <a:cxn ang="0">
                    <a:pos x="115" y="144"/>
                  </a:cxn>
                  <a:cxn ang="0">
                    <a:pos x="106" y="133"/>
                  </a:cxn>
                  <a:cxn ang="0">
                    <a:pos x="105" y="124"/>
                  </a:cxn>
                  <a:cxn ang="0">
                    <a:pos x="100" y="126"/>
                  </a:cxn>
                  <a:cxn ang="0">
                    <a:pos x="101" y="114"/>
                  </a:cxn>
                  <a:cxn ang="0">
                    <a:pos x="91" y="94"/>
                  </a:cxn>
                  <a:cxn ang="0">
                    <a:pos x="86" y="94"/>
                  </a:cxn>
                  <a:cxn ang="0">
                    <a:pos x="73" y="93"/>
                  </a:cxn>
                  <a:cxn ang="0">
                    <a:pos x="65" y="83"/>
                  </a:cxn>
                  <a:cxn ang="0">
                    <a:pos x="68" y="96"/>
                  </a:cxn>
                  <a:cxn ang="0">
                    <a:pos x="68" y="104"/>
                  </a:cxn>
                  <a:cxn ang="0">
                    <a:pos x="60" y="118"/>
                  </a:cxn>
                  <a:cxn ang="0">
                    <a:pos x="60" y="111"/>
                  </a:cxn>
                  <a:cxn ang="0">
                    <a:pos x="55" y="116"/>
                  </a:cxn>
                  <a:cxn ang="0">
                    <a:pos x="55" y="103"/>
                  </a:cxn>
                  <a:cxn ang="0">
                    <a:pos x="52" y="106"/>
                  </a:cxn>
                  <a:cxn ang="0">
                    <a:pos x="53" y="114"/>
                  </a:cxn>
                  <a:cxn ang="0">
                    <a:pos x="50" y="119"/>
                  </a:cxn>
                  <a:cxn ang="0">
                    <a:pos x="43" y="121"/>
                  </a:cxn>
                  <a:cxn ang="0">
                    <a:pos x="37" y="116"/>
                  </a:cxn>
                  <a:cxn ang="0">
                    <a:pos x="33" y="106"/>
                  </a:cxn>
                  <a:cxn ang="0">
                    <a:pos x="25" y="84"/>
                  </a:cxn>
                  <a:cxn ang="0">
                    <a:pos x="23" y="68"/>
                  </a:cxn>
                  <a:cxn ang="0">
                    <a:pos x="5" y="53"/>
                  </a:cxn>
                  <a:cxn ang="0">
                    <a:pos x="12" y="36"/>
                  </a:cxn>
                  <a:cxn ang="0">
                    <a:pos x="22" y="35"/>
                  </a:cxn>
                  <a:cxn ang="0">
                    <a:pos x="15" y="25"/>
                  </a:cxn>
                  <a:cxn ang="0">
                    <a:pos x="0" y="18"/>
                  </a:cxn>
                  <a:cxn ang="0">
                    <a:pos x="5" y="5"/>
                  </a:cxn>
                  <a:cxn ang="0">
                    <a:pos x="8" y="0"/>
                  </a:cxn>
                  <a:cxn ang="0">
                    <a:pos x="13" y="8"/>
                  </a:cxn>
                  <a:cxn ang="0">
                    <a:pos x="23" y="11"/>
                  </a:cxn>
                  <a:cxn ang="0">
                    <a:pos x="23" y="6"/>
                  </a:cxn>
                  <a:cxn ang="0">
                    <a:pos x="35" y="13"/>
                  </a:cxn>
                  <a:cxn ang="0">
                    <a:pos x="40" y="16"/>
                  </a:cxn>
                  <a:cxn ang="0">
                    <a:pos x="43" y="28"/>
                  </a:cxn>
                  <a:cxn ang="0">
                    <a:pos x="53" y="33"/>
                  </a:cxn>
                  <a:cxn ang="0">
                    <a:pos x="73" y="35"/>
                  </a:cxn>
                  <a:cxn ang="0">
                    <a:pos x="93" y="35"/>
                  </a:cxn>
                  <a:cxn ang="0">
                    <a:pos x="103" y="40"/>
                  </a:cxn>
                  <a:cxn ang="0">
                    <a:pos x="101" y="49"/>
                  </a:cxn>
                  <a:cxn ang="0">
                    <a:pos x="95" y="61"/>
                  </a:cxn>
                  <a:cxn ang="0">
                    <a:pos x="88" y="61"/>
                  </a:cxn>
                  <a:cxn ang="0">
                    <a:pos x="81" y="69"/>
                  </a:cxn>
                  <a:cxn ang="0">
                    <a:pos x="86" y="79"/>
                  </a:cxn>
                  <a:cxn ang="0">
                    <a:pos x="95" y="89"/>
                  </a:cxn>
                  <a:cxn ang="0">
                    <a:pos x="96" y="84"/>
                  </a:cxn>
                  <a:cxn ang="0">
                    <a:pos x="100" y="78"/>
                  </a:cxn>
                  <a:cxn ang="0">
                    <a:pos x="105" y="76"/>
                  </a:cxn>
                  <a:cxn ang="0">
                    <a:pos x="111" y="81"/>
                  </a:cxn>
                  <a:cxn ang="0">
                    <a:pos x="115" y="94"/>
                  </a:cxn>
                  <a:cxn ang="0">
                    <a:pos x="120" y="113"/>
                  </a:cxn>
                  <a:cxn ang="0">
                    <a:pos x="123" y="118"/>
                  </a:cxn>
                  <a:cxn ang="0">
                    <a:pos x="90" y="101"/>
                  </a:cxn>
                  <a:cxn ang="0">
                    <a:pos x="88" y="106"/>
                  </a:cxn>
                  <a:cxn ang="0">
                    <a:pos x="90" y="101"/>
                  </a:cxn>
                  <a:cxn ang="0">
                    <a:pos x="80" y="108"/>
                  </a:cxn>
                  <a:cxn ang="0">
                    <a:pos x="83" y="103"/>
                  </a:cxn>
                  <a:cxn ang="0">
                    <a:pos x="78" y="99"/>
                  </a:cxn>
                  <a:cxn ang="0">
                    <a:pos x="68" y="99"/>
                  </a:cxn>
                  <a:cxn ang="0">
                    <a:pos x="77" y="108"/>
                  </a:cxn>
                </a:cxnLst>
                <a:rect l="0" t="0" r="r" b="b"/>
                <a:pathLst>
                  <a:path w="123" h="146">
                    <a:moveTo>
                      <a:pt x="123" y="119"/>
                    </a:moveTo>
                    <a:lnTo>
                      <a:pt x="123" y="124"/>
                    </a:lnTo>
                    <a:lnTo>
                      <a:pt x="121" y="129"/>
                    </a:lnTo>
                    <a:lnTo>
                      <a:pt x="118" y="128"/>
                    </a:lnTo>
                    <a:lnTo>
                      <a:pt x="115" y="134"/>
                    </a:lnTo>
                    <a:lnTo>
                      <a:pt x="113" y="138"/>
                    </a:lnTo>
                    <a:lnTo>
                      <a:pt x="113" y="139"/>
                    </a:lnTo>
                    <a:lnTo>
                      <a:pt x="113" y="139"/>
                    </a:lnTo>
                    <a:lnTo>
                      <a:pt x="115" y="144"/>
                    </a:lnTo>
                    <a:lnTo>
                      <a:pt x="113" y="146"/>
                    </a:lnTo>
                    <a:lnTo>
                      <a:pt x="110" y="138"/>
                    </a:lnTo>
                    <a:lnTo>
                      <a:pt x="106" y="133"/>
                    </a:lnTo>
                    <a:lnTo>
                      <a:pt x="103" y="129"/>
                    </a:lnTo>
                    <a:lnTo>
                      <a:pt x="105" y="128"/>
                    </a:lnTo>
                    <a:lnTo>
                      <a:pt x="105" y="124"/>
                    </a:lnTo>
                    <a:lnTo>
                      <a:pt x="105" y="126"/>
                    </a:lnTo>
                    <a:lnTo>
                      <a:pt x="101" y="128"/>
                    </a:lnTo>
                    <a:lnTo>
                      <a:pt x="100" y="126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1" y="114"/>
                    </a:lnTo>
                    <a:lnTo>
                      <a:pt x="101" y="111"/>
                    </a:lnTo>
                    <a:lnTo>
                      <a:pt x="98" y="109"/>
                    </a:lnTo>
                    <a:lnTo>
                      <a:pt x="91" y="94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6" y="94"/>
                    </a:lnTo>
                    <a:lnTo>
                      <a:pt x="83" y="98"/>
                    </a:lnTo>
                    <a:lnTo>
                      <a:pt x="75" y="93"/>
                    </a:lnTo>
                    <a:lnTo>
                      <a:pt x="73" y="93"/>
                    </a:lnTo>
                    <a:lnTo>
                      <a:pt x="70" y="93"/>
                    </a:lnTo>
                    <a:lnTo>
                      <a:pt x="67" y="88"/>
                    </a:lnTo>
                    <a:lnTo>
                      <a:pt x="65" y="83"/>
                    </a:lnTo>
                    <a:lnTo>
                      <a:pt x="65" y="89"/>
                    </a:lnTo>
                    <a:lnTo>
                      <a:pt x="68" y="94"/>
                    </a:lnTo>
                    <a:lnTo>
                      <a:pt x="68" y="96"/>
                    </a:lnTo>
                    <a:lnTo>
                      <a:pt x="63" y="98"/>
                    </a:lnTo>
                    <a:lnTo>
                      <a:pt x="67" y="99"/>
                    </a:lnTo>
                    <a:lnTo>
                      <a:pt x="68" y="104"/>
                    </a:lnTo>
                    <a:lnTo>
                      <a:pt x="68" y="109"/>
                    </a:lnTo>
                    <a:lnTo>
                      <a:pt x="63" y="111"/>
                    </a:lnTo>
                    <a:lnTo>
                      <a:pt x="60" y="118"/>
                    </a:lnTo>
                    <a:lnTo>
                      <a:pt x="57" y="116"/>
                    </a:lnTo>
                    <a:lnTo>
                      <a:pt x="58" y="113"/>
                    </a:lnTo>
                    <a:lnTo>
                      <a:pt x="60" y="111"/>
                    </a:lnTo>
                    <a:lnTo>
                      <a:pt x="62" y="109"/>
                    </a:lnTo>
                    <a:lnTo>
                      <a:pt x="58" y="111"/>
                    </a:lnTo>
                    <a:lnTo>
                      <a:pt x="55" y="116"/>
                    </a:lnTo>
                    <a:lnTo>
                      <a:pt x="52" y="111"/>
                    </a:lnTo>
                    <a:lnTo>
                      <a:pt x="55" y="104"/>
                    </a:lnTo>
                    <a:lnTo>
                      <a:pt x="55" y="103"/>
                    </a:lnTo>
                    <a:lnTo>
                      <a:pt x="53" y="101"/>
                    </a:lnTo>
                    <a:lnTo>
                      <a:pt x="53" y="103"/>
                    </a:lnTo>
                    <a:lnTo>
                      <a:pt x="52" y="106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3" y="114"/>
                    </a:lnTo>
                    <a:lnTo>
                      <a:pt x="52" y="119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47" y="118"/>
                    </a:lnTo>
                    <a:lnTo>
                      <a:pt x="43" y="118"/>
                    </a:lnTo>
                    <a:lnTo>
                      <a:pt x="43" y="121"/>
                    </a:lnTo>
                    <a:lnTo>
                      <a:pt x="40" y="121"/>
                    </a:lnTo>
                    <a:lnTo>
                      <a:pt x="40" y="119"/>
                    </a:lnTo>
                    <a:lnTo>
                      <a:pt x="37" y="116"/>
                    </a:lnTo>
                    <a:lnTo>
                      <a:pt x="35" y="116"/>
                    </a:lnTo>
                    <a:lnTo>
                      <a:pt x="35" y="109"/>
                    </a:lnTo>
                    <a:lnTo>
                      <a:pt x="33" y="106"/>
                    </a:lnTo>
                    <a:lnTo>
                      <a:pt x="32" y="99"/>
                    </a:lnTo>
                    <a:lnTo>
                      <a:pt x="25" y="91"/>
                    </a:lnTo>
                    <a:lnTo>
                      <a:pt x="25" y="84"/>
                    </a:lnTo>
                    <a:lnTo>
                      <a:pt x="25" y="79"/>
                    </a:lnTo>
                    <a:lnTo>
                      <a:pt x="23" y="74"/>
                    </a:lnTo>
                    <a:lnTo>
                      <a:pt x="23" y="68"/>
                    </a:lnTo>
                    <a:lnTo>
                      <a:pt x="17" y="61"/>
                    </a:lnTo>
                    <a:lnTo>
                      <a:pt x="10" y="58"/>
                    </a:lnTo>
                    <a:lnTo>
                      <a:pt x="5" y="53"/>
                    </a:lnTo>
                    <a:lnTo>
                      <a:pt x="5" y="44"/>
                    </a:lnTo>
                    <a:lnTo>
                      <a:pt x="10" y="43"/>
                    </a:lnTo>
                    <a:lnTo>
                      <a:pt x="12" y="36"/>
                    </a:lnTo>
                    <a:lnTo>
                      <a:pt x="15" y="35"/>
                    </a:lnTo>
                    <a:lnTo>
                      <a:pt x="18" y="36"/>
                    </a:lnTo>
                    <a:lnTo>
                      <a:pt x="22" y="35"/>
                    </a:lnTo>
                    <a:lnTo>
                      <a:pt x="20" y="28"/>
                    </a:lnTo>
                    <a:lnTo>
                      <a:pt x="22" y="25"/>
                    </a:lnTo>
                    <a:lnTo>
                      <a:pt x="15" y="25"/>
                    </a:lnTo>
                    <a:lnTo>
                      <a:pt x="10" y="26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5" y="13"/>
                    </a:lnTo>
                    <a:lnTo>
                      <a:pt x="7" y="6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13" y="5"/>
                    </a:lnTo>
                    <a:lnTo>
                      <a:pt x="13" y="8"/>
                    </a:lnTo>
                    <a:lnTo>
                      <a:pt x="17" y="11"/>
                    </a:lnTo>
                    <a:lnTo>
                      <a:pt x="22" y="11"/>
                    </a:lnTo>
                    <a:lnTo>
                      <a:pt x="23" y="11"/>
                    </a:lnTo>
                    <a:lnTo>
                      <a:pt x="20" y="10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7" y="10"/>
                    </a:lnTo>
                    <a:lnTo>
                      <a:pt x="30" y="11"/>
                    </a:lnTo>
                    <a:lnTo>
                      <a:pt x="35" y="13"/>
                    </a:lnTo>
                    <a:lnTo>
                      <a:pt x="35" y="11"/>
                    </a:lnTo>
                    <a:lnTo>
                      <a:pt x="37" y="11"/>
                    </a:lnTo>
                    <a:lnTo>
                      <a:pt x="40" y="16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3" y="28"/>
                    </a:lnTo>
                    <a:lnTo>
                      <a:pt x="43" y="31"/>
                    </a:lnTo>
                    <a:lnTo>
                      <a:pt x="48" y="33"/>
                    </a:lnTo>
                    <a:lnTo>
                      <a:pt x="53" y="33"/>
                    </a:lnTo>
                    <a:lnTo>
                      <a:pt x="58" y="35"/>
                    </a:lnTo>
                    <a:lnTo>
                      <a:pt x="65" y="35"/>
                    </a:lnTo>
                    <a:lnTo>
                      <a:pt x="73" y="35"/>
                    </a:lnTo>
                    <a:lnTo>
                      <a:pt x="81" y="35"/>
                    </a:lnTo>
                    <a:lnTo>
                      <a:pt x="90" y="35"/>
                    </a:lnTo>
                    <a:lnTo>
                      <a:pt x="93" y="35"/>
                    </a:lnTo>
                    <a:lnTo>
                      <a:pt x="95" y="36"/>
                    </a:lnTo>
                    <a:lnTo>
                      <a:pt x="98" y="35"/>
                    </a:lnTo>
                    <a:lnTo>
                      <a:pt x="103" y="40"/>
                    </a:lnTo>
                    <a:lnTo>
                      <a:pt x="105" y="40"/>
                    </a:lnTo>
                    <a:lnTo>
                      <a:pt x="101" y="44"/>
                    </a:lnTo>
                    <a:lnTo>
                      <a:pt x="101" y="49"/>
                    </a:lnTo>
                    <a:lnTo>
                      <a:pt x="98" y="58"/>
                    </a:lnTo>
                    <a:lnTo>
                      <a:pt x="95" y="59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0" y="63"/>
                    </a:lnTo>
                    <a:lnTo>
                      <a:pt x="88" y="61"/>
                    </a:lnTo>
                    <a:lnTo>
                      <a:pt x="85" y="64"/>
                    </a:lnTo>
                    <a:lnTo>
                      <a:pt x="83" y="68"/>
                    </a:lnTo>
                    <a:lnTo>
                      <a:pt x="81" y="69"/>
                    </a:lnTo>
                    <a:lnTo>
                      <a:pt x="81" y="71"/>
                    </a:lnTo>
                    <a:lnTo>
                      <a:pt x="83" y="78"/>
                    </a:lnTo>
                    <a:lnTo>
                      <a:pt x="86" y="79"/>
                    </a:lnTo>
                    <a:lnTo>
                      <a:pt x="86" y="81"/>
                    </a:lnTo>
                    <a:lnTo>
                      <a:pt x="91" y="84"/>
                    </a:lnTo>
                    <a:lnTo>
                      <a:pt x="95" y="89"/>
                    </a:lnTo>
                    <a:lnTo>
                      <a:pt x="98" y="89"/>
                    </a:lnTo>
                    <a:lnTo>
                      <a:pt x="98" y="86"/>
                    </a:lnTo>
                    <a:lnTo>
                      <a:pt x="96" y="84"/>
                    </a:lnTo>
                    <a:lnTo>
                      <a:pt x="98" y="81"/>
                    </a:lnTo>
                    <a:lnTo>
                      <a:pt x="98" y="79"/>
                    </a:lnTo>
                    <a:lnTo>
                      <a:pt x="100" y="78"/>
                    </a:lnTo>
                    <a:lnTo>
                      <a:pt x="98" y="74"/>
                    </a:lnTo>
                    <a:lnTo>
                      <a:pt x="101" y="74"/>
                    </a:lnTo>
                    <a:lnTo>
                      <a:pt x="105" y="76"/>
                    </a:lnTo>
                    <a:lnTo>
                      <a:pt x="108" y="74"/>
                    </a:lnTo>
                    <a:lnTo>
                      <a:pt x="110" y="78"/>
                    </a:lnTo>
                    <a:lnTo>
                      <a:pt x="111" y="81"/>
                    </a:lnTo>
                    <a:lnTo>
                      <a:pt x="113" y="86"/>
                    </a:lnTo>
                    <a:lnTo>
                      <a:pt x="113" y="91"/>
                    </a:lnTo>
                    <a:lnTo>
                      <a:pt x="115" y="94"/>
                    </a:lnTo>
                    <a:lnTo>
                      <a:pt x="116" y="103"/>
                    </a:lnTo>
                    <a:lnTo>
                      <a:pt x="118" y="109"/>
                    </a:lnTo>
                    <a:lnTo>
                      <a:pt x="120" y="113"/>
                    </a:lnTo>
                    <a:lnTo>
                      <a:pt x="121" y="114"/>
                    </a:lnTo>
                    <a:lnTo>
                      <a:pt x="121" y="116"/>
                    </a:lnTo>
                    <a:lnTo>
                      <a:pt x="123" y="118"/>
                    </a:lnTo>
                    <a:lnTo>
                      <a:pt x="123" y="119"/>
                    </a:lnTo>
                    <a:lnTo>
                      <a:pt x="123" y="119"/>
                    </a:lnTo>
                    <a:close/>
                    <a:moveTo>
                      <a:pt x="90" y="101"/>
                    </a:moveTo>
                    <a:lnTo>
                      <a:pt x="88" y="99"/>
                    </a:lnTo>
                    <a:lnTo>
                      <a:pt x="86" y="101"/>
                    </a:lnTo>
                    <a:lnTo>
                      <a:pt x="88" y="106"/>
                    </a:lnTo>
                    <a:lnTo>
                      <a:pt x="90" y="104"/>
                    </a:lnTo>
                    <a:lnTo>
                      <a:pt x="90" y="101"/>
                    </a:lnTo>
                    <a:lnTo>
                      <a:pt x="90" y="101"/>
                    </a:lnTo>
                    <a:close/>
                    <a:moveTo>
                      <a:pt x="78" y="99"/>
                    </a:moveTo>
                    <a:lnTo>
                      <a:pt x="80" y="104"/>
                    </a:lnTo>
                    <a:lnTo>
                      <a:pt x="80" y="108"/>
                    </a:lnTo>
                    <a:lnTo>
                      <a:pt x="81" y="111"/>
                    </a:lnTo>
                    <a:lnTo>
                      <a:pt x="85" y="106"/>
                    </a:lnTo>
                    <a:lnTo>
                      <a:pt x="83" y="103"/>
                    </a:lnTo>
                    <a:lnTo>
                      <a:pt x="78" y="98"/>
                    </a:lnTo>
                    <a:lnTo>
                      <a:pt x="78" y="98"/>
                    </a:lnTo>
                    <a:lnTo>
                      <a:pt x="78" y="99"/>
                    </a:lnTo>
                    <a:lnTo>
                      <a:pt x="78" y="99"/>
                    </a:lnTo>
                    <a:close/>
                    <a:moveTo>
                      <a:pt x="73" y="98"/>
                    </a:moveTo>
                    <a:lnTo>
                      <a:pt x="68" y="99"/>
                    </a:lnTo>
                    <a:lnTo>
                      <a:pt x="68" y="101"/>
                    </a:lnTo>
                    <a:lnTo>
                      <a:pt x="72" y="108"/>
                    </a:lnTo>
                    <a:lnTo>
                      <a:pt x="77" y="108"/>
                    </a:lnTo>
                    <a:lnTo>
                      <a:pt x="77" y="101"/>
                    </a:lnTo>
                    <a:lnTo>
                      <a:pt x="73" y="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1" name="Freeform 27"/>
              <p:cNvSpPr>
                <a:spLocks/>
              </p:cNvSpPr>
              <p:nvPr/>
            </p:nvSpPr>
            <p:spPr bwMode="auto">
              <a:xfrm>
                <a:off x="7549478" y="2928348"/>
                <a:ext cx="39599" cy="20752"/>
              </a:xfrm>
              <a:custGeom>
                <a:avLst/>
                <a:gdLst/>
                <a:ahLst/>
                <a:cxnLst>
                  <a:cxn ang="0">
                    <a:pos x="1" y="20"/>
                  </a:cxn>
                  <a:cxn ang="0">
                    <a:pos x="6" y="16"/>
                  </a:cxn>
                  <a:cxn ang="0">
                    <a:pos x="11" y="8"/>
                  </a:cxn>
                  <a:cxn ang="0">
                    <a:pos x="23" y="1"/>
                  </a:cxn>
                  <a:cxn ang="0">
                    <a:pos x="31" y="0"/>
                  </a:cxn>
                  <a:cxn ang="0">
                    <a:pos x="33" y="3"/>
                  </a:cxn>
                  <a:cxn ang="0">
                    <a:pos x="45" y="5"/>
                  </a:cxn>
                  <a:cxn ang="0">
                    <a:pos x="50" y="6"/>
                  </a:cxn>
                  <a:cxn ang="0">
                    <a:pos x="56" y="5"/>
                  </a:cxn>
                  <a:cxn ang="0">
                    <a:pos x="63" y="5"/>
                  </a:cxn>
                  <a:cxn ang="0">
                    <a:pos x="66" y="10"/>
                  </a:cxn>
                  <a:cxn ang="0">
                    <a:pos x="68" y="10"/>
                  </a:cxn>
                  <a:cxn ang="0">
                    <a:pos x="66" y="15"/>
                  </a:cxn>
                  <a:cxn ang="0">
                    <a:pos x="66" y="20"/>
                  </a:cxn>
                  <a:cxn ang="0">
                    <a:pos x="74" y="21"/>
                  </a:cxn>
                  <a:cxn ang="0">
                    <a:pos x="74" y="28"/>
                  </a:cxn>
                  <a:cxn ang="0">
                    <a:pos x="74" y="31"/>
                  </a:cxn>
                  <a:cxn ang="0">
                    <a:pos x="65" y="35"/>
                  </a:cxn>
                  <a:cxn ang="0">
                    <a:pos x="58" y="35"/>
                  </a:cxn>
                  <a:cxn ang="0">
                    <a:pos x="50" y="36"/>
                  </a:cxn>
                  <a:cxn ang="0">
                    <a:pos x="45" y="35"/>
                  </a:cxn>
                  <a:cxn ang="0">
                    <a:pos x="38" y="35"/>
                  </a:cxn>
                  <a:cxn ang="0">
                    <a:pos x="33" y="40"/>
                  </a:cxn>
                  <a:cxn ang="0">
                    <a:pos x="26" y="40"/>
                  </a:cxn>
                  <a:cxn ang="0">
                    <a:pos x="15" y="35"/>
                  </a:cxn>
                  <a:cxn ang="0">
                    <a:pos x="11" y="36"/>
                  </a:cxn>
                  <a:cxn ang="0">
                    <a:pos x="3" y="35"/>
                  </a:cxn>
                  <a:cxn ang="0">
                    <a:pos x="0" y="28"/>
                  </a:cxn>
                  <a:cxn ang="0">
                    <a:pos x="1" y="25"/>
                  </a:cxn>
                  <a:cxn ang="0">
                    <a:pos x="1" y="20"/>
                  </a:cxn>
                </a:cxnLst>
                <a:rect l="0" t="0" r="r" b="b"/>
                <a:pathLst>
                  <a:path w="74" h="40">
                    <a:moveTo>
                      <a:pt x="1" y="20"/>
                    </a:moveTo>
                    <a:lnTo>
                      <a:pt x="6" y="16"/>
                    </a:lnTo>
                    <a:lnTo>
                      <a:pt x="11" y="8"/>
                    </a:lnTo>
                    <a:lnTo>
                      <a:pt x="23" y="1"/>
                    </a:lnTo>
                    <a:lnTo>
                      <a:pt x="31" y="0"/>
                    </a:lnTo>
                    <a:lnTo>
                      <a:pt x="33" y="3"/>
                    </a:lnTo>
                    <a:lnTo>
                      <a:pt x="45" y="5"/>
                    </a:lnTo>
                    <a:lnTo>
                      <a:pt x="50" y="6"/>
                    </a:lnTo>
                    <a:lnTo>
                      <a:pt x="56" y="5"/>
                    </a:lnTo>
                    <a:lnTo>
                      <a:pt x="63" y="5"/>
                    </a:lnTo>
                    <a:lnTo>
                      <a:pt x="66" y="10"/>
                    </a:lnTo>
                    <a:lnTo>
                      <a:pt x="68" y="10"/>
                    </a:lnTo>
                    <a:lnTo>
                      <a:pt x="66" y="15"/>
                    </a:lnTo>
                    <a:lnTo>
                      <a:pt x="66" y="20"/>
                    </a:lnTo>
                    <a:lnTo>
                      <a:pt x="74" y="21"/>
                    </a:lnTo>
                    <a:lnTo>
                      <a:pt x="74" y="28"/>
                    </a:lnTo>
                    <a:lnTo>
                      <a:pt x="74" y="31"/>
                    </a:lnTo>
                    <a:lnTo>
                      <a:pt x="65" y="35"/>
                    </a:lnTo>
                    <a:lnTo>
                      <a:pt x="58" y="35"/>
                    </a:lnTo>
                    <a:lnTo>
                      <a:pt x="50" y="36"/>
                    </a:lnTo>
                    <a:lnTo>
                      <a:pt x="45" y="35"/>
                    </a:lnTo>
                    <a:lnTo>
                      <a:pt x="38" y="35"/>
                    </a:lnTo>
                    <a:lnTo>
                      <a:pt x="33" y="40"/>
                    </a:lnTo>
                    <a:lnTo>
                      <a:pt x="26" y="40"/>
                    </a:lnTo>
                    <a:lnTo>
                      <a:pt x="15" y="35"/>
                    </a:lnTo>
                    <a:lnTo>
                      <a:pt x="11" y="36"/>
                    </a:lnTo>
                    <a:lnTo>
                      <a:pt x="3" y="35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2" name="Freeform 28"/>
              <p:cNvSpPr>
                <a:spLocks/>
              </p:cNvSpPr>
              <p:nvPr/>
            </p:nvSpPr>
            <p:spPr bwMode="auto">
              <a:xfrm>
                <a:off x="7434961" y="2902408"/>
                <a:ext cx="107025" cy="4980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9" y="7"/>
                  </a:cxn>
                  <a:cxn ang="0">
                    <a:pos x="27" y="7"/>
                  </a:cxn>
                  <a:cxn ang="0">
                    <a:pos x="35" y="3"/>
                  </a:cxn>
                  <a:cxn ang="0">
                    <a:pos x="47" y="8"/>
                  </a:cxn>
                  <a:cxn ang="0">
                    <a:pos x="57" y="12"/>
                  </a:cxn>
                  <a:cxn ang="0">
                    <a:pos x="69" y="18"/>
                  </a:cxn>
                  <a:cxn ang="0">
                    <a:pos x="77" y="23"/>
                  </a:cxn>
                  <a:cxn ang="0">
                    <a:pos x="82" y="32"/>
                  </a:cxn>
                  <a:cxn ang="0">
                    <a:pos x="85" y="25"/>
                  </a:cxn>
                  <a:cxn ang="0">
                    <a:pos x="90" y="25"/>
                  </a:cxn>
                  <a:cxn ang="0">
                    <a:pos x="100" y="27"/>
                  </a:cxn>
                  <a:cxn ang="0">
                    <a:pos x="107" y="38"/>
                  </a:cxn>
                  <a:cxn ang="0">
                    <a:pos x="120" y="36"/>
                  </a:cxn>
                  <a:cxn ang="0">
                    <a:pos x="122" y="51"/>
                  </a:cxn>
                  <a:cxn ang="0">
                    <a:pos x="133" y="53"/>
                  </a:cxn>
                  <a:cxn ang="0">
                    <a:pos x="142" y="50"/>
                  </a:cxn>
                  <a:cxn ang="0">
                    <a:pos x="155" y="46"/>
                  </a:cxn>
                  <a:cxn ang="0">
                    <a:pos x="162" y="53"/>
                  </a:cxn>
                  <a:cxn ang="0">
                    <a:pos x="173" y="61"/>
                  </a:cxn>
                  <a:cxn ang="0">
                    <a:pos x="185" y="61"/>
                  </a:cxn>
                  <a:cxn ang="0">
                    <a:pos x="193" y="60"/>
                  </a:cxn>
                  <a:cxn ang="0">
                    <a:pos x="200" y="65"/>
                  </a:cxn>
                  <a:cxn ang="0">
                    <a:pos x="201" y="83"/>
                  </a:cxn>
                  <a:cxn ang="0">
                    <a:pos x="185" y="96"/>
                  </a:cxn>
                  <a:cxn ang="0">
                    <a:pos x="170" y="95"/>
                  </a:cxn>
                  <a:cxn ang="0">
                    <a:pos x="142" y="88"/>
                  </a:cxn>
                  <a:cxn ang="0">
                    <a:pos x="123" y="88"/>
                  </a:cxn>
                  <a:cxn ang="0">
                    <a:pos x="117" y="76"/>
                  </a:cxn>
                  <a:cxn ang="0">
                    <a:pos x="92" y="76"/>
                  </a:cxn>
                  <a:cxn ang="0">
                    <a:pos x="75" y="75"/>
                  </a:cxn>
                  <a:cxn ang="0">
                    <a:pos x="60" y="70"/>
                  </a:cxn>
                  <a:cxn ang="0">
                    <a:pos x="47" y="65"/>
                  </a:cxn>
                  <a:cxn ang="0">
                    <a:pos x="29" y="50"/>
                  </a:cxn>
                  <a:cxn ang="0">
                    <a:pos x="15" y="45"/>
                  </a:cxn>
                  <a:cxn ang="0">
                    <a:pos x="7" y="41"/>
                  </a:cxn>
                  <a:cxn ang="0">
                    <a:pos x="0" y="36"/>
                  </a:cxn>
                  <a:cxn ang="0">
                    <a:pos x="5" y="22"/>
                  </a:cxn>
                  <a:cxn ang="0">
                    <a:pos x="9" y="2"/>
                  </a:cxn>
                </a:cxnLst>
                <a:rect l="0" t="0" r="r" b="b"/>
                <a:pathLst>
                  <a:path w="201" h="96">
                    <a:moveTo>
                      <a:pt x="9" y="2"/>
                    </a:moveTo>
                    <a:lnTo>
                      <a:pt x="10" y="0"/>
                    </a:lnTo>
                    <a:lnTo>
                      <a:pt x="17" y="3"/>
                    </a:lnTo>
                    <a:lnTo>
                      <a:pt x="19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3"/>
                    </a:lnTo>
                    <a:lnTo>
                      <a:pt x="35" y="3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2" y="8"/>
                    </a:lnTo>
                    <a:lnTo>
                      <a:pt x="57" y="12"/>
                    </a:lnTo>
                    <a:lnTo>
                      <a:pt x="64" y="18"/>
                    </a:lnTo>
                    <a:lnTo>
                      <a:pt x="69" y="18"/>
                    </a:lnTo>
                    <a:lnTo>
                      <a:pt x="74" y="20"/>
                    </a:lnTo>
                    <a:lnTo>
                      <a:pt x="77" y="23"/>
                    </a:lnTo>
                    <a:lnTo>
                      <a:pt x="80" y="28"/>
                    </a:lnTo>
                    <a:lnTo>
                      <a:pt x="82" y="32"/>
                    </a:lnTo>
                    <a:lnTo>
                      <a:pt x="85" y="32"/>
                    </a:lnTo>
                    <a:lnTo>
                      <a:pt x="85" y="25"/>
                    </a:lnTo>
                    <a:lnTo>
                      <a:pt x="88" y="23"/>
                    </a:lnTo>
                    <a:lnTo>
                      <a:pt x="90" y="25"/>
                    </a:lnTo>
                    <a:lnTo>
                      <a:pt x="95" y="25"/>
                    </a:lnTo>
                    <a:lnTo>
                      <a:pt x="100" y="27"/>
                    </a:lnTo>
                    <a:lnTo>
                      <a:pt x="100" y="33"/>
                    </a:lnTo>
                    <a:lnTo>
                      <a:pt x="107" y="38"/>
                    </a:lnTo>
                    <a:lnTo>
                      <a:pt x="115" y="36"/>
                    </a:lnTo>
                    <a:lnTo>
                      <a:pt x="120" y="36"/>
                    </a:lnTo>
                    <a:lnTo>
                      <a:pt x="120" y="46"/>
                    </a:lnTo>
                    <a:lnTo>
                      <a:pt x="122" y="51"/>
                    </a:lnTo>
                    <a:lnTo>
                      <a:pt x="127" y="50"/>
                    </a:lnTo>
                    <a:lnTo>
                      <a:pt x="133" y="53"/>
                    </a:lnTo>
                    <a:lnTo>
                      <a:pt x="135" y="51"/>
                    </a:lnTo>
                    <a:lnTo>
                      <a:pt x="142" y="50"/>
                    </a:lnTo>
                    <a:lnTo>
                      <a:pt x="145" y="45"/>
                    </a:lnTo>
                    <a:lnTo>
                      <a:pt x="155" y="46"/>
                    </a:lnTo>
                    <a:lnTo>
                      <a:pt x="160" y="48"/>
                    </a:lnTo>
                    <a:lnTo>
                      <a:pt x="162" y="53"/>
                    </a:lnTo>
                    <a:lnTo>
                      <a:pt x="168" y="56"/>
                    </a:lnTo>
                    <a:lnTo>
                      <a:pt x="173" y="61"/>
                    </a:lnTo>
                    <a:lnTo>
                      <a:pt x="178" y="63"/>
                    </a:lnTo>
                    <a:lnTo>
                      <a:pt x="185" y="61"/>
                    </a:lnTo>
                    <a:lnTo>
                      <a:pt x="186" y="61"/>
                    </a:lnTo>
                    <a:lnTo>
                      <a:pt x="193" y="60"/>
                    </a:lnTo>
                    <a:lnTo>
                      <a:pt x="198" y="60"/>
                    </a:lnTo>
                    <a:lnTo>
                      <a:pt x="200" y="65"/>
                    </a:lnTo>
                    <a:lnTo>
                      <a:pt x="196" y="75"/>
                    </a:lnTo>
                    <a:lnTo>
                      <a:pt x="201" y="83"/>
                    </a:lnTo>
                    <a:lnTo>
                      <a:pt x="200" y="95"/>
                    </a:lnTo>
                    <a:lnTo>
                      <a:pt x="185" y="96"/>
                    </a:lnTo>
                    <a:lnTo>
                      <a:pt x="177" y="93"/>
                    </a:lnTo>
                    <a:lnTo>
                      <a:pt x="170" y="95"/>
                    </a:lnTo>
                    <a:lnTo>
                      <a:pt x="150" y="88"/>
                    </a:lnTo>
                    <a:lnTo>
                      <a:pt x="142" y="88"/>
                    </a:lnTo>
                    <a:lnTo>
                      <a:pt x="137" y="90"/>
                    </a:lnTo>
                    <a:lnTo>
                      <a:pt x="123" y="88"/>
                    </a:lnTo>
                    <a:lnTo>
                      <a:pt x="117" y="83"/>
                    </a:lnTo>
                    <a:lnTo>
                      <a:pt x="117" y="76"/>
                    </a:lnTo>
                    <a:lnTo>
                      <a:pt x="105" y="75"/>
                    </a:lnTo>
                    <a:lnTo>
                      <a:pt x="92" y="76"/>
                    </a:lnTo>
                    <a:lnTo>
                      <a:pt x="88" y="73"/>
                    </a:lnTo>
                    <a:lnTo>
                      <a:pt x="75" y="75"/>
                    </a:lnTo>
                    <a:lnTo>
                      <a:pt x="67" y="70"/>
                    </a:lnTo>
                    <a:lnTo>
                      <a:pt x="60" y="70"/>
                    </a:lnTo>
                    <a:lnTo>
                      <a:pt x="57" y="66"/>
                    </a:lnTo>
                    <a:lnTo>
                      <a:pt x="47" y="65"/>
                    </a:lnTo>
                    <a:lnTo>
                      <a:pt x="40" y="56"/>
                    </a:lnTo>
                    <a:lnTo>
                      <a:pt x="29" y="50"/>
                    </a:lnTo>
                    <a:lnTo>
                      <a:pt x="20" y="48"/>
                    </a:lnTo>
                    <a:lnTo>
                      <a:pt x="15" y="45"/>
                    </a:lnTo>
                    <a:lnTo>
                      <a:pt x="12" y="45"/>
                    </a:lnTo>
                    <a:lnTo>
                      <a:pt x="7" y="41"/>
                    </a:lnTo>
                    <a:lnTo>
                      <a:pt x="2" y="41"/>
                    </a:lnTo>
                    <a:lnTo>
                      <a:pt x="0" y="36"/>
                    </a:lnTo>
                    <a:lnTo>
                      <a:pt x="5" y="28"/>
                    </a:lnTo>
                    <a:lnTo>
                      <a:pt x="5" y="22"/>
                    </a:lnTo>
                    <a:lnTo>
                      <a:pt x="10" y="10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3" name="Freeform 29"/>
              <p:cNvSpPr>
                <a:spLocks/>
              </p:cNvSpPr>
              <p:nvPr/>
            </p:nvSpPr>
            <p:spPr bwMode="auto">
              <a:xfrm>
                <a:off x="7187734" y="2818363"/>
                <a:ext cx="180872" cy="173278"/>
              </a:xfrm>
              <a:custGeom>
                <a:avLst/>
                <a:gdLst/>
                <a:ahLst/>
                <a:cxnLst>
                  <a:cxn ang="0">
                    <a:pos x="204" y="324"/>
                  </a:cxn>
                  <a:cxn ang="0">
                    <a:pos x="231" y="317"/>
                  </a:cxn>
                  <a:cxn ang="0">
                    <a:pos x="246" y="314"/>
                  </a:cxn>
                  <a:cxn ang="0">
                    <a:pos x="255" y="311"/>
                  </a:cxn>
                  <a:cxn ang="0">
                    <a:pos x="247" y="284"/>
                  </a:cxn>
                  <a:cxn ang="0">
                    <a:pos x="231" y="271"/>
                  </a:cxn>
                  <a:cxn ang="0">
                    <a:pos x="221" y="259"/>
                  </a:cxn>
                  <a:cxn ang="0">
                    <a:pos x="214" y="243"/>
                  </a:cxn>
                  <a:cxn ang="0">
                    <a:pos x="231" y="228"/>
                  </a:cxn>
                  <a:cxn ang="0">
                    <a:pos x="242" y="233"/>
                  </a:cxn>
                  <a:cxn ang="0">
                    <a:pos x="277" y="208"/>
                  </a:cxn>
                  <a:cxn ang="0">
                    <a:pos x="297" y="181"/>
                  </a:cxn>
                  <a:cxn ang="0">
                    <a:pos x="305" y="166"/>
                  </a:cxn>
                  <a:cxn ang="0">
                    <a:pos x="317" y="140"/>
                  </a:cxn>
                  <a:cxn ang="0">
                    <a:pos x="325" y="123"/>
                  </a:cxn>
                  <a:cxn ang="0">
                    <a:pos x="337" y="111"/>
                  </a:cxn>
                  <a:cxn ang="0">
                    <a:pos x="315" y="105"/>
                  </a:cxn>
                  <a:cxn ang="0">
                    <a:pos x="287" y="85"/>
                  </a:cxn>
                  <a:cxn ang="0">
                    <a:pos x="284" y="57"/>
                  </a:cxn>
                  <a:cxn ang="0">
                    <a:pos x="284" y="40"/>
                  </a:cxn>
                  <a:cxn ang="0">
                    <a:pos x="264" y="22"/>
                  </a:cxn>
                  <a:cxn ang="0">
                    <a:pos x="250" y="13"/>
                  </a:cxn>
                  <a:cxn ang="0">
                    <a:pos x="249" y="0"/>
                  </a:cxn>
                  <a:cxn ang="0">
                    <a:pos x="224" y="15"/>
                  </a:cxn>
                  <a:cxn ang="0">
                    <a:pos x="219" y="55"/>
                  </a:cxn>
                  <a:cxn ang="0">
                    <a:pos x="211" y="75"/>
                  </a:cxn>
                  <a:cxn ang="0">
                    <a:pos x="204" y="83"/>
                  </a:cxn>
                  <a:cxn ang="0">
                    <a:pos x="194" y="97"/>
                  </a:cxn>
                  <a:cxn ang="0">
                    <a:pos x="189" y="116"/>
                  </a:cxn>
                  <a:cxn ang="0">
                    <a:pos x="179" y="130"/>
                  </a:cxn>
                  <a:cxn ang="0">
                    <a:pos x="167" y="130"/>
                  </a:cxn>
                  <a:cxn ang="0">
                    <a:pos x="156" y="141"/>
                  </a:cxn>
                  <a:cxn ang="0">
                    <a:pos x="134" y="146"/>
                  </a:cxn>
                  <a:cxn ang="0">
                    <a:pos x="124" y="158"/>
                  </a:cxn>
                  <a:cxn ang="0">
                    <a:pos x="128" y="181"/>
                  </a:cxn>
                  <a:cxn ang="0">
                    <a:pos x="101" y="190"/>
                  </a:cxn>
                  <a:cxn ang="0">
                    <a:pos x="69" y="193"/>
                  </a:cxn>
                  <a:cxn ang="0">
                    <a:pos x="0" y="188"/>
                  </a:cxn>
                  <a:cxn ang="0">
                    <a:pos x="28" y="218"/>
                  </a:cxn>
                  <a:cxn ang="0">
                    <a:pos x="43" y="224"/>
                  </a:cxn>
                  <a:cxn ang="0">
                    <a:pos x="53" y="243"/>
                  </a:cxn>
                  <a:cxn ang="0">
                    <a:pos x="66" y="259"/>
                  </a:cxn>
                  <a:cxn ang="0">
                    <a:pos x="43" y="266"/>
                  </a:cxn>
                  <a:cxn ang="0">
                    <a:pos x="30" y="281"/>
                  </a:cxn>
                  <a:cxn ang="0">
                    <a:pos x="35" y="297"/>
                  </a:cxn>
                  <a:cxn ang="0">
                    <a:pos x="48" y="297"/>
                  </a:cxn>
                  <a:cxn ang="0">
                    <a:pos x="59" y="296"/>
                  </a:cxn>
                  <a:cxn ang="0">
                    <a:pos x="71" y="296"/>
                  </a:cxn>
                  <a:cxn ang="0">
                    <a:pos x="83" y="294"/>
                  </a:cxn>
                  <a:cxn ang="0">
                    <a:pos x="91" y="296"/>
                  </a:cxn>
                  <a:cxn ang="0">
                    <a:pos x="109" y="293"/>
                  </a:cxn>
                  <a:cxn ang="0">
                    <a:pos x="123" y="289"/>
                  </a:cxn>
                  <a:cxn ang="0">
                    <a:pos x="144" y="289"/>
                  </a:cxn>
                  <a:cxn ang="0">
                    <a:pos x="151" y="302"/>
                  </a:cxn>
                  <a:cxn ang="0">
                    <a:pos x="161" y="302"/>
                  </a:cxn>
                  <a:cxn ang="0">
                    <a:pos x="169" y="321"/>
                  </a:cxn>
                  <a:cxn ang="0">
                    <a:pos x="171" y="326"/>
                  </a:cxn>
                  <a:cxn ang="0">
                    <a:pos x="192" y="332"/>
                  </a:cxn>
                </a:cxnLst>
                <a:rect l="0" t="0" r="r" b="b"/>
                <a:pathLst>
                  <a:path w="339" h="336">
                    <a:moveTo>
                      <a:pt x="196" y="334"/>
                    </a:moveTo>
                    <a:lnTo>
                      <a:pt x="196" y="327"/>
                    </a:lnTo>
                    <a:lnTo>
                      <a:pt x="201" y="324"/>
                    </a:lnTo>
                    <a:lnTo>
                      <a:pt x="204" y="324"/>
                    </a:lnTo>
                    <a:lnTo>
                      <a:pt x="206" y="319"/>
                    </a:lnTo>
                    <a:lnTo>
                      <a:pt x="209" y="319"/>
                    </a:lnTo>
                    <a:lnTo>
                      <a:pt x="214" y="317"/>
                    </a:lnTo>
                    <a:lnTo>
                      <a:pt x="231" y="317"/>
                    </a:lnTo>
                    <a:lnTo>
                      <a:pt x="239" y="316"/>
                    </a:lnTo>
                    <a:lnTo>
                      <a:pt x="242" y="312"/>
                    </a:lnTo>
                    <a:lnTo>
                      <a:pt x="247" y="311"/>
                    </a:lnTo>
                    <a:lnTo>
                      <a:pt x="246" y="314"/>
                    </a:lnTo>
                    <a:lnTo>
                      <a:pt x="247" y="317"/>
                    </a:lnTo>
                    <a:lnTo>
                      <a:pt x="252" y="314"/>
                    </a:lnTo>
                    <a:lnTo>
                      <a:pt x="257" y="312"/>
                    </a:lnTo>
                    <a:lnTo>
                      <a:pt x="255" y="311"/>
                    </a:lnTo>
                    <a:lnTo>
                      <a:pt x="255" y="307"/>
                    </a:lnTo>
                    <a:lnTo>
                      <a:pt x="250" y="294"/>
                    </a:lnTo>
                    <a:lnTo>
                      <a:pt x="246" y="288"/>
                    </a:lnTo>
                    <a:lnTo>
                      <a:pt x="247" y="284"/>
                    </a:lnTo>
                    <a:lnTo>
                      <a:pt x="244" y="283"/>
                    </a:lnTo>
                    <a:lnTo>
                      <a:pt x="239" y="283"/>
                    </a:lnTo>
                    <a:lnTo>
                      <a:pt x="232" y="278"/>
                    </a:lnTo>
                    <a:lnTo>
                      <a:pt x="231" y="271"/>
                    </a:lnTo>
                    <a:lnTo>
                      <a:pt x="231" y="264"/>
                    </a:lnTo>
                    <a:lnTo>
                      <a:pt x="227" y="258"/>
                    </a:lnTo>
                    <a:lnTo>
                      <a:pt x="222" y="258"/>
                    </a:lnTo>
                    <a:lnTo>
                      <a:pt x="221" y="259"/>
                    </a:lnTo>
                    <a:lnTo>
                      <a:pt x="214" y="258"/>
                    </a:lnTo>
                    <a:lnTo>
                      <a:pt x="211" y="258"/>
                    </a:lnTo>
                    <a:lnTo>
                      <a:pt x="211" y="253"/>
                    </a:lnTo>
                    <a:lnTo>
                      <a:pt x="214" y="243"/>
                    </a:lnTo>
                    <a:lnTo>
                      <a:pt x="217" y="243"/>
                    </a:lnTo>
                    <a:lnTo>
                      <a:pt x="224" y="234"/>
                    </a:lnTo>
                    <a:lnTo>
                      <a:pt x="226" y="229"/>
                    </a:lnTo>
                    <a:lnTo>
                      <a:pt x="231" y="228"/>
                    </a:lnTo>
                    <a:lnTo>
                      <a:pt x="232" y="226"/>
                    </a:lnTo>
                    <a:lnTo>
                      <a:pt x="239" y="228"/>
                    </a:lnTo>
                    <a:lnTo>
                      <a:pt x="239" y="233"/>
                    </a:lnTo>
                    <a:lnTo>
                      <a:pt x="242" y="233"/>
                    </a:lnTo>
                    <a:lnTo>
                      <a:pt x="252" y="228"/>
                    </a:lnTo>
                    <a:lnTo>
                      <a:pt x="264" y="228"/>
                    </a:lnTo>
                    <a:lnTo>
                      <a:pt x="272" y="219"/>
                    </a:lnTo>
                    <a:lnTo>
                      <a:pt x="277" y="208"/>
                    </a:lnTo>
                    <a:lnTo>
                      <a:pt x="289" y="199"/>
                    </a:lnTo>
                    <a:lnTo>
                      <a:pt x="290" y="196"/>
                    </a:lnTo>
                    <a:lnTo>
                      <a:pt x="292" y="188"/>
                    </a:lnTo>
                    <a:lnTo>
                      <a:pt x="297" y="181"/>
                    </a:lnTo>
                    <a:lnTo>
                      <a:pt x="305" y="178"/>
                    </a:lnTo>
                    <a:lnTo>
                      <a:pt x="309" y="173"/>
                    </a:lnTo>
                    <a:lnTo>
                      <a:pt x="307" y="168"/>
                    </a:lnTo>
                    <a:lnTo>
                      <a:pt x="305" y="166"/>
                    </a:lnTo>
                    <a:lnTo>
                      <a:pt x="312" y="160"/>
                    </a:lnTo>
                    <a:lnTo>
                      <a:pt x="315" y="156"/>
                    </a:lnTo>
                    <a:lnTo>
                      <a:pt x="315" y="151"/>
                    </a:lnTo>
                    <a:lnTo>
                      <a:pt x="317" y="140"/>
                    </a:lnTo>
                    <a:lnTo>
                      <a:pt x="315" y="133"/>
                    </a:lnTo>
                    <a:lnTo>
                      <a:pt x="314" y="130"/>
                    </a:lnTo>
                    <a:lnTo>
                      <a:pt x="322" y="125"/>
                    </a:lnTo>
                    <a:lnTo>
                      <a:pt x="325" y="123"/>
                    </a:lnTo>
                    <a:lnTo>
                      <a:pt x="330" y="120"/>
                    </a:lnTo>
                    <a:lnTo>
                      <a:pt x="334" y="120"/>
                    </a:lnTo>
                    <a:lnTo>
                      <a:pt x="339" y="115"/>
                    </a:lnTo>
                    <a:lnTo>
                      <a:pt x="337" y="111"/>
                    </a:lnTo>
                    <a:lnTo>
                      <a:pt x="332" y="110"/>
                    </a:lnTo>
                    <a:lnTo>
                      <a:pt x="325" y="111"/>
                    </a:lnTo>
                    <a:lnTo>
                      <a:pt x="319" y="110"/>
                    </a:lnTo>
                    <a:lnTo>
                      <a:pt x="315" y="105"/>
                    </a:lnTo>
                    <a:lnTo>
                      <a:pt x="307" y="101"/>
                    </a:lnTo>
                    <a:lnTo>
                      <a:pt x="297" y="100"/>
                    </a:lnTo>
                    <a:lnTo>
                      <a:pt x="289" y="92"/>
                    </a:lnTo>
                    <a:lnTo>
                      <a:pt x="287" y="85"/>
                    </a:lnTo>
                    <a:lnTo>
                      <a:pt x="284" y="70"/>
                    </a:lnTo>
                    <a:lnTo>
                      <a:pt x="279" y="65"/>
                    </a:lnTo>
                    <a:lnTo>
                      <a:pt x="279" y="58"/>
                    </a:lnTo>
                    <a:lnTo>
                      <a:pt x="284" y="57"/>
                    </a:lnTo>
                    <a:lnTo>
                      <a:pt x="284" y="52"/>
                    </a:lnTo>
                    <a:lnTo>
                      <a:pt x="290" y="47"/>
                    </a:lnTo>
                    <a:lnTo>
                      <a:pt x="290" y="42"/>
                    </a:lnTo>
                    <a:lnTo>
                      <a:pt x="284" y="40"/>
                    </a:lnTo>
                    <a:lnTo>
                      <a:pt x="282" y="37"/>
                    </a:lnTo>
                    <a:lnTo>
                      <a:pt x="275" y="32"/>
                    </a:lnTo>
                    <a:lnTo>
                      <a:pt x="269" y="27"/>
                    </a:lnTo>
                    <a:lnTo>
                      <a:pt x="264" y="22"/>
                    </a:lnTo>
                    <a:lnTo>
                      <a:pt x="259" y="23"/>
                    </a:lnTo>
                    <a:lnTo>
                      <a:pt x="255" y="25"/>
                    </a:lnTo>
                    <a:lnTo>
                      <a:pt x="252" y="22"/>
                    </a:lnTo>
                    <a:lnTo>
                      <a:pt x="250" y="13"/>
                    </a:lnTo>
                    <a:lnTo>
                      <a:pt x="264" y="5"/>
                    </a:lnTo>
                    <a:lnTo>
                      <a:pt x="262" y="2"/>
                    </a:lnTo>
                    <a:lnTo>
                      <a:pt x="254" y="3"/>
                    </a:lnTo>
                    <a:lnTo>
                      <a:pt x="249" y="0"/>
                    </a:lnTo>
                    <a:lnTo>
                      <a:pt x="241" y="5"/>
                    </a:lnTo>
                    <a:lnTo>
                      <a:pt x="236" y="8"/>
                    </a:lnTo>
                    <a:lnTo>
                      <a:pt x="229" y="8"/>
                    </a:lnTo>
                    <a:lnTo>
                      <a:pt x="224" y="15"/>
                    </a:lnTo>
                    <a:lnTo>
                      <a:pt x="221" y="18"/>
                    </a:lnTo>
                    <a:lnTo>
                      <a:pt x="231" y="32"/>
                    </a:lnTo>
                    <a:lnTo>
                      <a:pt x="231" y="42"/>
                    </a:lnTo>
                    <a:lnTo>
                      <a:pt x="219" y="55"/>
                    </a:lnTo>
                    <a:lnTo>
                      <a:pt x="226" y="60"/>
                    </a:lnTo>
                    <a:lnTo>
                      <a:pt x="226" y="67"/>
                    </a:lnTo>
                    <a:lnTo>
                      <a:pt x="219" y="75"/>
                    </a:lnTo>
                    <a:lnTo>
                      <a:pt x="211" y="75"/>
                    </a:lnTo>
                    <a:lnTo>
                      <a:pt x="201" y="72"/>
                    </a:lnTo>
                    <a:lnTo>
                      <a:pt x="196" y="75"/>
                    </a:lnTo>
                    <a:lnTo>
                      <a:pt x="197" y="82"/>
                    </a:lnTo>
                    <a:lnTo>
                      <a:pt x="204" y="83"/>
                    </a:lnTo>
                    <a:lnTo>
                      <a:pt x="206" y="90"/>
                    </a:lnTo>
                    <a:lnTo>
                      <a:pt x="206" y="93"/>
                    </a:lnTo>
                    <a:lnTo>
                      <a:pt x="199" y="97"/>
                    </a:lnTo>
                    <a:lnTo>
                      <a:pt x="194" y="97"/>
                    </a:lnTo>
                    <a:lnTo>
                      <a:pt x="192" y="100"/>
                    </a:lnTo>
                    <a:lnTo>
                      <a:pt x="191" y="108"/>
                    </a:lnTo>
                    <a:lnTo>
                      <a:pt x="189" y="113"/>
                    </a:lnTo>
                    <a:lnTo>
                      <a:pt x="189" y="116"/>
                    </a:lnTo>
                    <a:lnTo>
                      <a:pt x="187" y="118"/>
                    </a:lnTo>
                    <a:lnTo>
                      <a:pt x="189" y="128"/>
                    </a:lnTo>
                    <a:lnTo>
                      <a:pt x="184" y="135"/>
                    </a:lnTo>
                    <a:lnTo>
                      <a:pt x="179" y="130"/>
                    </a:lnTo>
                    <a:lnTo>
                      <a:pt x="177" y="130"/>
                    </a:lnTo>
                    <a:lnTo>
                      <a:pt x="176" y="131"/>
                    </a:lnTo>
                    <a:lnTo>
                      <a:pt x="171" y="131"/>
                    </a:lnTo>
                    <a:lnTo>
                      <a:pt x="167" y="130"/>
                    </a:lnTo>
                    <a:lnTo>
                      <a:pt x="162" y="130"/>
                    </a:lnTo>
                    <a:lnTo>
                      <a:pt x="161" y="133"/>
                    </a:lnTo>
                    <a:lnTo>
                      <a:pt x="151" y="140"/>
                    </a:lnTo>
                    <a:lnTo>
                      <a:pt x="156" y="141"/>
                    </a:lnTo>
                    <a:lnTo>
                      <a:pt x="152" y="143"/>
                    </a:lnTo>
                    <a:lnTo>
                      <a:pt x="144" y="148"/>
                    </a:lnTo>
                    <a:lnTo>
                      <a:pt x="141" y="146"/>
                    </a:lnTo>
                    <a:lnTo>
                      <a:pt x="134" y="146"/>
                    </a:lnTo>
                    <a:lnTo>
                      <a:pt x="133" y="150"/>
                    </a:lnTo>
                    <a:lnTo>
                      <a:pt x="133" y="153"/>
                    </a:lnTo>
                    <a:lnTo>
                      <a:pt x="128" y="155"/>
                    </a:lnTo>
                    <a:lnTo>
                      <a:pt x="124" y="158"/>
                    </a:lnTo>
                    <a:lnTo>
                      <a:pt x="124" y="165"/>
                    </a:lnTo>
                    <a:lnTo>
                      <a:pt x="126" y="171"/>
                    </a:lnTo>
                    <a:lnTo>
                      <a:pt x="126" y="176"/>
                    </a:lnTo>
                    <a:lnTo>
                      <a:pt x="128" y="181"/>
                    </a:lnTo>
                    <a:lnTo>
                      <a:pt x="128" y="185"/>
                    </a:lnTo>
                    <a:lnTo>
                      <a:pt x="118" y="188"/>
                    </a:lnTo>
                    <a:lnTo>
                      <a:pt x="109" y="188"/>
                    </a:lnTo>
                    <a:lnTo>
                      <a:pt x="101" y="190"/>
                    </a:lnTo>
                    <a:lnTo>
                      <a:pt x="88" y="190"/>
                    </a:lnTo>
                    <a:lnTo>
                      <a:pt x="79" y="191"/>
                    </a:lnTo>
                    <a:lnTo>
                      <a:pt x="78" y="195"/>
                    </a:lnTo>
                    <a:lnTo>
                      <a:pt x="69" y="193"/>
                    </a:lnTo>
                    <a:lnTo>
                      <a:pt x="61" y="196"/>
                    </a:lnTo>
                    <a:lnTo>
                      <a:pt x="33" y="196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13" y="203"/>
                    </a:lnTo>
                    <a:lnTo>
                      <a:pt x="15" y="208"/>
                    </a:lnTo>
                    <a:lnTo>
                      <a:pt x="21" y="214"/>
                    </a:lnTo>
                    <a:lnTo>
                      <a:pt x="28" y="218"/>
                    </a:lnTo>
                    <a:lnTo>
                      <a:pt x="30" y="219"/>
                    </a:lnTo>
                    <a:lnTo>
                      <a:pt x="38" y="219"/>
                    </a:lnTo>
                    <a:lnTo>
                      <a:pt x="43" y="221"/>
                    </a:lnTo>
                    <a:lnTo>
                      <a:pt x="43" y="224"/>
                    </a:lnTo>
                    <a:lnTo>
                      <a:pt x="50" y="224"/>
                    </a:lnTo>
                    <a:lnTo>
                      <a:pt x="50" y="231"/>
                    </a:lnTo>
                    <a:lnTo>
                      <a:pt x="51" y="238"/>
                    </a:lnTo>
                    <a:lnTo>
                      <a:pt x="53" y="243"/>
                    </a:lnTo>
                    <a:lnTo>
                      <a:pt x="53" y="246"/>
                    </a:lnTo>
                    <a:lnTo>
                      <a:pt x="59" y="246"/>
                    </a:lnTo>
                    <a:lnTo>
                      <a:pt x="66" y="251"/>
                    </a:lnTo>
                    <a:lnTo>
                      <a:pt x="66" y="259"/>
                    </a:lnTo>
                    <a:lnTo>
                      <a:pt x="63" y="263"/>
                    </a:lnTo>
                    <a:lnTo>
                      <a:pt x="56" y="259"/>
                    </a:lnTo>
                    <a:lnTo>
                      <a:pt x="45" y="263"/>
                    </a:lnTo>
                    <a:lnTo>
                      <a:pt x="43" y="266"/>
                    </a:lnTo>
                    <a:lnTo>
                      <a:pt x="35" y="268"/>
                    </a:lnTo>
                    <a:lnTo>
                      <a:pt x="33" y="273"/>
                    </a:lnTo>
                    <a:lnTo>
                      <a:pt x="35" y="276"/>
                    </a:lnTo>
                    <a:lnTo>
                      <a:pt x="30" y="281"/>
                    </a:lnTo>
                    <a:lnTo>
                      <a:pt x="33" y="286"/>
                    </a:lnTo>
                    <a:lnTo>
                      <a:pt x="31" y="294"/>
                    </a:lnTo>
                    <a:lnTo>
                      <a:pt x="31" y="297"/>
                    </a:lnTo>
                    <a:lnTo>
                      <a:pt x="35" y="297"/>
                    </a:lnTo>
                    <a:lnTo>
                      <a:pt x="35" y="301"/>
                    </a:lnTo>
                    <a:lnTo>
                      <a:pt x="36" y="301"/>
                    </a:lnTo>
                    <a:lnTo>
                      <a:pt x="43" y="297"/>
                    </a:lnTo>
                    <a:lnTo>
                      <a:pt x="48" y="297"/>
                    </a:lnTo>
                    <a:lnTo>
                      <a:pt x="50" y="299"/>
                    </a:lnTo>
                    <a:lnTo>
                      <a:pt x="51" y="297"/>
                    </a:lnTo>
                    <a:lnTo>
                      <a:pt x="54" y="296"/>
                    </a:lnTo>
                    <a:lnTo>
                      <a:pt x="59" y="296"/>
                    </a:lnTo>
                    <a:lnTo>
                      <a:pt x="63" y="296"/>
                    </a:lnTo>
                    <a:lnTo>
                      <a:pt x="66" y="296"/>
                    </a:lnTo>
                    <a:lnTo>
                      <a:pt x="69" y="296"/>
                    </a:lnTo>
                    <a:lnTo>
                      <a:pt x="71" y="296"/>
                    </a:lnTo>
                    <a:lnTo>
                      <a:pt x="73" y="294"/>
                    </a:lnTo>
                    <a:lnTo>
                      <a:pt x="74" y="291"/>
                    </a:lnTo>
                    <a:lnTo>
                      <a:pt x="79" y="294"/>
                    </a:lnTo>
                    <a:lnTo>
                      <a:pt x="83" y="294"/>
                    </a:lnTo>
                    <a:lnTo>
                      <a:pt x="83" y="293"/>
                    </a:lnTo>
                    <a:lnTo>
                      <a:pt x="86" y="293"/>
                    </a:lnTo>
                    <a:lnTo>
                      <a:pt x="88" y="296"/>
                    </a:lnTo>
                    <a:lnTo>
                      <a:pt x="91" y="296"/>
                    </a:lnTo>
                    <a:lnTo>
                      <a:pt x="94" y="297"/>
                    </a:lnTo>
                    <a:lnTo>
                      <a:pt x="98" y="297"/>
                    </a:lnTo>
                    <a:lnTo>
                      <a:pt x="104" y="293"/>
                    </a:lnTo>
                    <a:lnTo>
                      <a:pt x="109" y="293"/>
                    </a:lnTo>
                    <a:lnTo>
                      <a:pt x="114" y="294"/>
                    </a:lnTo>
                    <a:lnTo>
                      <a:pt x="118" y="291"/>
                    </a:lnTo>
                    <a:lnTo>
                      <a:pt x="121" y="291"/>
                    </a:lnTo>
                    <a:lnTo>
                      <a:pt x="123" y="289"/>
                    </a:lnTo>
                    <a:lnTo>
                      <a:pt x="124" y="291"/>
                    </a:lnTo>
                    <a:lnTo>
                      <a:pt x="131" y="293"/>
                    </a:lnTo>
                    <a:lnTo>
                      <a:pt x="138" y="289"/>
                    </a:lnTo>
                    <a:lnTo>
                      <a:pt x="144" y="289"/>
                    </a:lnTo>
                    <a:lnTo>
                      <a:pt x="149" y="294"/>
                    </a:lnTo>
                    <a:lnTo>
                      <a:pt x="151" y="297"/>
                    </a:lnTo>
                    <a:lnTo>
                      <a:pt x="151" y="302"/>
                    </a:lnTo>
                    <a:lnTo>
                      <a:pt x="151" y="302"/>
                    </a:lnTo>
                    <a:lnTo>
                      <a:pt x="149" y="302"/>
                    </a:lnTo>
                    <a:lnTo>
                      <a:pt x="149" y="304"/>
                    </a:lnTo>
                    <a:lnTo>
                      <a:pt x="154" y="304"/>
                    </a:lnTo>
                    <a:lnTo>
                      <a:pt x="161" y="302"/>
                    </a:lnTo>
                    <a:lnTo>
                      <a:pt x="161" y="306"/>
                    </a:lnTo>
                    <a:lnTo>
                      <a:pt x="166" y="312"/>
                    </a:lnTo>
                    <a:lnTo>
                      <a:pt x="167" y="319"/>
                    </a:lnTo>
                    <a:lnTo>
                      <a:pt x="169" y="321"/>
                    </a:lnTo>
                    <a:lnTo>
                      <a:pt x="169" y="324"/>
                    </a:lnTo>
                    <a:lnTo>
                      <a:pt x="166" y="324"/>
                    </a:lnTo>
                    <a:lnTo>
                      <a:pt x="167" y="326"/>
                    </a:lnTo>
                    <a:lnTo>
                      <a:pt x="171" y="326"/>
                    </a:lnTo>
                    <a:lnTo>
                      <a:pt x="172" y="329"/>
                    </a:lnTo>
                    <a:lnTo>
                      <a:pt x="176" y="329"/>
                    </a:lnTo>
                    <a:lnTo>
                      <a:pt x="182" y="329"/>
                    </a:lnTo>
                    <a:lnTo>
                      <a:pt x="192" y="332"/>
                    </a:lnTo>
                    <a:lnTo>
                      <a:pt x="191" y="336"/>
                    </a:lnTo>
                    <a:lnTo>
                      <a:pt x="196" y="3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4" name="Freeform 30"/>
              <p:cNvSpPr>
                <a:spLocks/>
              </p:cNvSpPr>
              <p:nvPr/>
            </p:nvSpPr>
            <p:spPr bwMode="auto">
              <a:xfrm>
                <a:off x="7321514" y="2809025"/>
                <a:ext cx="95252" cy="68481"/>
              </a:xfrm>
              <a:custGeom>
                <a:avLst/>
                <a:gdLst/>
                <a:ahLst/>
                <a:cxnLst>
                  <a:cxn ang="0">
                    <a:pos x="90" y="131"/>
                  </a:cxn>
                  <a:cxn ang="0">
                    <a:pos x="103" y="114"/>
                  </a:cxn>
                  <a:cxn ang="0">
                    <a:pos x="113" y="108"/>
                  </a:cxn>
                  <a:cxn ang="0">
                    <a:pos x="132" y="116"/>
                  </a:cxn>
                  <a:cxn ang="0">
                    <a:pos x="145" y="114"/>
                  </a:cxn>
                  <a:cxn ang="0">
                    <a:pos x="153" y="121"/>
                  </a:cxn>
                  <a:cxn ang="0">
                    <a:pos x="170" y="119"/>
                  </a:cxn>
                  <a:cxn ang="0">
                    <a:pos x="175" y="124"/>
                  </a:cxn>
                  <a:cxn ang="0">
                    <a:pos x="177" y="111"/>
                  </a:cxn>
                  <a:cxn ang="0">
                    <a:pos x="168" y="99"/>
                  </a:cxn>
                  <a:cxn ang="0">
                    <a:pos x="163" y="79"/>
                  </a:cxn>
                  <a:cxn ang="0">
                    <a:pos x="152" y="71"/>
                  </a:cxn>
                  <a:cxn ang="0">
                    <a:pos x="142" y="53"/>
                  </a:cxn>
                  <a:cxn ang="0">
                    <a:pos x="123" y="46"/>
                  </a:cxn>
                  <a:cxn ang="0">
                    <a:pos x="118" y="41"/>
                  </a:cxn>
                  <a:cxn ang="0">
                    <a:pos x="98" y="39"/>
                  </a:cxn>
                  <a:cxn ang="0">
                    <a:pos x="92" y="34"/>
                  </a:cxn>
                  <a:cxn ang="0">
                    <a:pos x="85" y="24"/>
                  </a:cxn>
                  <a:cxn ang="0">
                    <a:pos x="72" y="3"/>
                  </a:cxn>
                  <a:cxn ang="0">
                    <a:pos x="65" y="0"/>
                  </a:cxn>
                  <a:cxn ang="0">
                    <a:pos x="60" y="3"/>
                  </a:cxn>
                  <a:cxn ang="0">
                    <a:pos x="54" y="5"/>
                  </a:cxn>
                  <a:cxn ang="0">
                    <a:pos x="47" y="1"/>
                  </a:cxn>
                  <a:cxn ang="0">
                    <a:pos x="44" y="3"/>
                  </a:cxn>
                  <a:cxn ang="0">
                    <a:pos x="29" y="15"/>
                  </a:cxn>
                  <a:cxn ang="0">
                    <a:pos x="14" y="21"/>
                  </a:cxn>
                  <a:cxn ang="0">
                    <a:pos x="2" y="38"/>
                  </a:cxn>
                  <a:cxn ang="0">
                    <a:pos x="9" y="39"/>
                  </a:cxn>
                  <a:cxn ang="0">
                    <a:pos x="19" y="43"/>
                  </a:cxn>
                  <a:cxn ang="0">
                    <a:pos x="32" y="53"/>
                  </a:cxn>
                  <a:cxn ang="0">
                    <a:pos x="40" y="58"/>
                  </a:cxn>
                  <a:cxn ang="0">
                    <a:pos x="34" y="68"/>
                  </a:cxn>
                  <a:cxn ang="0">
                    <a:pos x="29" y="74"/>
                  </a:cxn>
                  <a:cxn ang="0">
                    <a:pos x="34" y="86"/>
                  </a:cxn>
                  <a:cxn ang="0">
                    <a:pos x="39" y="108"/>
                  </a:cxn>
                  <a:cxn ang="0">
                    <a:pos x="57" y="117"/>
                  </a:cxn>
                  <a:cxn ang="0">
                    <a:pos x="69" y="126"/>
                  </a:cxn>
                  <a:cxn ang="0">
                    <a:pos x="82" y="126"/>
                  </a:cxn>
                  <a:cxn ang="0">
                    <a:pos x="89" y="131"/>
                  </a:cxn>
                </a:cxnLst>
                <a:rect l="0" t="0" r="r" b="b"/>
                <a:pathLst>
                  <a:path w="178" h="131">
                    <a:moveTo>
                      <a:pt x="89" y="131"/>
                    </a:moveTo>
                    <a:lnTo>
                      <a:pt x="90" y="131"/>
                    </a:lnTo>
                    <a:lnTo>
                      <a:pt x="97" y="119"/>
                    </a:lnTo>
                    <a:lnTo>
                      <a:pt x="103" y="114"/>
                    </a:lnTo>
                    <a:lnTo>
                      <a:pt x="110" y="113"/>
                    </a:lnTo>
                    <a:lnTo>
                      <a:pt x="113" y="108"/>
                    </a:lnTo>
                    <a:lnTo>
                      <a:pt x="118" y="108"/>
                    </a:lnTo>
                    <a:lnTo>
                      <a:pt x="132" y="116"/>
                    </a:lnTo>
                    <a:lnTo>
                      <a:pt x="138" y="113"/>
                    </a:lnTo>
                    <a:lnTo>
                      <a:pt x="145" y="114"/>
                    </a:lnTo>
                    <a:lnTo>
                      <a:pt x="147" y="121"/>
                    </a:lnTo>
                    <a:lnTo>
                      <a:pt x="153" y="121"/>
                    </a:lnTo>
                    <a:lnTo>
                      <a:pt x="163" y="126"/>
                    </a:lnTo>
                    <a:lnTo>
                      <a:pt x="170" y="119"/>
                    </a:lnTo>
                    <a:lnTo>
                      <a:pt x="175" y="121"/>
                    </a:lnTo>
                    <a:lnTo>
                      <a:pt x="175" y="124"/>
                    </a:lnTo>
                    <a:lnTo>
                      <a:pt x="178" y="119"/>
                    </a:lnTo>
                    <a:lnTo>
                      <a:pt x="177" y="111"/>
                    </a:lnTo>
                    <a:lnTo>
                      <a:pt x="173" y="101"/>
                    </a:lnTo>
                    <a:lnTo>
                      <a:pt x="168" y="99"/>
                    </a:lnTo>
                    <a:lnTo>
                      <a:pt x="163" y="91"/>
                    </a:lnTo>
                    <a:lnTo>
                      <a:pt x="163" y="79"/>
                    </a:lnTo>
                    <a:lnTo>
                      <a:pt x="160" y="74"/>
                    </a:lnTo>
                    <a:lnTo>
                      <a:pt x="152" y="71"/>
                    </a:lnTo>
                    <a:lnTo>
                      <a:pt x="145" y="64"/>
                    </a:lnTo>
                    <a:lnTo>
                      <a:pt x="142" y="53"/>
                    </a:lnTo>
                    <a:lnTo>
                      <a:pt x="133" y="49"/>
                    </a:lnTo>
                    <a:lnTo>
                      <a:pt x="123" y="46"/>
                    </a:lnTo>
                    <a:lnTo>
                      <a:pt x="123" y="41"/>
                    </a:lnTo>
                    <a:lnTo>
                      <a:pt x="118" y="41"/>
                    </a:lnTo>
                    <a:lnTo>
                      <a:pt x="108" y="41"/>
                    </a:lnTo>
                    <a:lnTo>
                      <a:pt x="98" y="39"/>
                    </a:lnTo>
                    <a:lnTo>
                      <a:pt x="97" y="36"/>
                    </a:lnTo>
                    <a:lnTo>
                      <a:pt x="92" y="34"/>
                    </a:lnTo>
                    <a:lnTo>
                      <a:pt x="92" y="28"/>
                    </a:lnTo>
                    <a:lnTo>
                      <a:pt x="85" y="24"/>
                    </a:lnTo>
                    <a:lnTo>
                      <a:pt x="75" y="10"/>
                    </a:lnTo>
                    <a:lnTo>
                      <a:pt x="72" y="3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64" y="1"/>
                    </a:lnTo>
                    <a:lnTo>
                      <a:pt x="60" y="3"/>
                    </a:lnTo>
                    <a:lnTo>
                      <a:pt x="57" y="3"/>
                    </a:lnTo>
                    <a:lnTo>
                      <a:pt x="54" y="5"/>
                    </a:lnTo>
                    <a:lnTo>
                      <a:pt x="50" y="1"/>
                    </a:lnTo>
                    <a:lnTo>
                      <a:pt x="47" y="1"/>
                    </a:lnTo>
                    <a:lnTo>
                      <a:pt x="44" y="3"/>
                    </a:lnTo>
                    <a:lnTo>
                      <a:pt x="44" y="3"/>
                    </a:lnTo>
                    <a:lnTo>
                      <a:pt x="39" y="11"/>
                    </a:lnTo>
                    <a:lnTo>
                      <a:pt x="29" y="15"/>
                    </a:lnTo>
                    <a:lnTo>
                      <a:pt x="12" y="18"/>
                    </a:lnTo>
                    <a:lnTo>
                      <a:pt x="14" y="21"/>
                    </a:lnTo>
                    <a:lnTo>
                      <a:pt x="0" y="29"/>
                    </a:lnTo>
                    <a:lnTo>
                      <a:pt x="2" y="38"/>
                    </a:lnTo>
                    <a:lnTo>
                      <a:pt x="5" y="41"/>
                    </a:lnTo>
                    <a:lnTo>
                      <a:pt x="9" y="39"/>
                    </a:lnTo>
                    <a:lnTo>
                      <a:pt x="14" y="38"/>
                    </a:lnTo>
                    <a:lnTo>
                      <a:pt x="19" y="43"/>
                    </a:lnTo>
                    <a:lnTo>
                      <a:pt x="25" y="48"/>
                    </a:lnTo>
                    <a:lnTo>
                      <a:pt x="32" y="53"/>
                    </a:lnTo>
                    <a:lnTo>
                      <a:pt x="34" y="56"/>
                    </a:lnTo>
                    <a:lnTo>
                      <a:pt x="40" y="58"/>
                    </a:lnTo>
                    <a:lnTo>
                      <a:pt x="40" y="63"/>
                    </a:lnTo>
                    <a:lnTo>
                      <a:pt x="34" y="68"/>
                    </a:lnTo>
                    <a:lnTo>
                      <a:pt x="34" y="73"/>
                    </a:lnTo>
                    <a:lnTo>
                      <a:pt x="29" y="74"/>
                    </a:lnTo>
                    <a:lnTo>
                      <a:pt x="29" y="81"/>
                    </a:lnTo>
                    <a:lnTo>
                      <a:pt x="34" y="86"/>
                    </a:lnTo>
                    <a:lnTo>
                      <a:pt x="37" y="101"/>
                    </a:lnTo>
                    <a:lnTo>
                      <a:pt x="39" y="108"/>
                    </a:lnTo>
                    <a:lnTo>
                      <a:pt x="47" y="116"/>
                    </a:lnTo>
                    <a:lnTo>
                      <a:pt x="57" y="117"/>
                    </a:lnTo>
                    <a:lnTo>
                      <a:pt x="65" y="121"/>
                    </a:lnTo>
                    <a:lnTo>
                      <a:pt x="69" y="126"/>
                    </a:lnTo>
                    <a:lnTo>
                      <a:pt x="75" y="127"/>
                    </a:lnTo>
                    <a:lnTo>
                      <a:pt x="82" y="126"/>
                    </a:lnTo>
                    <a:lnTo>
                      <a:pt x="87" y="127"/>
                    </a:lnTo>
                    <a:lnTo>
                      <a:pt x="89" y="1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5" name="Freeform 31"/>
              <p:cNvSpPr>
                <a:spLocks/>
              </p:cNvSpPr>
              <p:nvPr/>
            </p:nvSpPr>
            <p:spPr bwMode="auto">
              <a:xfrm>
                <a:off x="7174891" y="2793461"/>
                <a:ext cx="172310" cy="126586"/>
              </a:xfrm>
              <a:custGeom>
                <a:avLst/>
                <a:gdLst/>
                <a:ahLst/>
                <a:cxnLst>
                  <a:cxn ang="0">
                    <a:pos x="298" y="23"/>
                  </a:cxn>
                  <a:cxn ang="0">
                    <a:pos x="311" y="23"/>
                  </a:cxn>
                  <a:cxn ang="0">
                    <a:pos x="314" y="33"/>
                  </a:cxn>
                  <a:cxn ang="0">
                    <a:pos x="303" y="45"/>
                  </a:cxn>
                  <a:cxn ang="0">
                    <a:pos x="265" y="51"/>
                  </a:cxn>
                  <a:cxn ang="0">
                    <a:pos x="248" y="61"/>
                  </a:cxn>
                  <a:cxn ang="0">
                    <a:pos x="255" y="88"/>
                  </a:cxn>
                  <a:cxn ang="0">
                    <a:pos x="250" y="113"/>
                  </a:cxn>
                  <a:cxn ang="0">
                    <a:pos x="225" y="118"/>
                  </a:cxn>
                  <a:cxn ang="0">
                    <a:pos x="228" y="129"/>
                  </a:cxn>
                  <a:cxn ang="0">
                    <a:pos x="223" y="143"/>
                  </a:cxn>
                  <a:cxn ang="0">
                    <a:pos x="215" y="154"/>
                  </a:cxn>
                  <a:cxn ang="0">
                    <a:pos x="211" y="164"/>
                  </a:cxn>
                  <a:cxn ang="0">
                    <a:pos x="203" y="176"/>
                  </a:cxn>
                  <a:cxn ang="0">
                    <a:pos x="195" y="177"/>
                  </a:cxn>
                  <a:cxn ang="0">
                    <a:pos x="185" y="179"/>
                  </a:cxn>
                  <a:cxn ang="0">
                    <a:pos x="176" y="189"/>
                  </a:cxn>
                  <a:cxn ang="0">
                    <a:pos x="158" y="192"/>
                  </a:cxn>
                  <a:cxn ang="0">
                    <a:pos x="152" y="201"/>
                  </a:cxn>
                  <a:cxn ang="0">
                    <a:pos x="150" y="217"/>
                  </a:cxn>
                  <a:cxn ang="0">
                    <a:pos x="152" y="231"/>
                  </a:cxn>
                  <a:cxn ang="0">
                    <a:pos x="125" y="236"/>
                  </a:cxn>
                  <a:cxn ang="0">
                    <a:pos x="102" y="241"/>
                  </a:cxn>
                  <a:cxn ang="0">
                    <a:pos x="57" y="242"/>
                  </a:cxn>
                  <a:cxn ang="0">
                    <a:pos x="44" y="209"/>
                  </a:cxn>
                  <a:cxn ang="0">
                    <a:pos x="39" y="186"/>
                  </a:cxn>
                  <a:cxn ang="0">
                    <a:pos x="14" y="174"/>
                  </a:cxn>
                  <a:cxn ang="0">
                    <a:pos x="5" y="149"/>
                  </a:cxn>
                  <a:cxn ang="0">
                    <a:pos x="12" y="136"/>
                  </a:cxn>
                  <a:cxn ang="0">
                    <a:pos x="2" y="121"/>
                  </a:cxn>
                  <a:cxn ang="0">
                    <a:pos x="2" y="113"/>
                  </a:cxn>
                  <a:cxn ang="0">
                    <a:pos x="12" y="104"/>
                  </a:cxn>
                  <a:cxn ang="0">
                    <a:pos x="9" y="96"/>
                  </a:cxn>
                  <a:cxn ang="0">
                    <a:pos x="10" y="84"/>
                  </a:cxn>
                  <a:cxn ang="0">
                    <a:pos x="19" y="84"/>
                  </a:cxn>
                  <a:cxn ang="0">
                    <a:pos x="29" y="84"/>
                  </a:cxn>
                  <a:cxn ang="0">
                    <a:pos x="40" y="91"/>
                  </a:cxn>
                  <a:cxn ang="0">
                    <a:pos x="52" y="89"/>
                  </a:cxn>
                  <a:cxn ang="0">
                    <a:pos x="59" y="79"/>
                  </a:cxn>
                  <a:cxn ang="0">
                    <a:pos x="75" y="71"/>
                  </a:cxn>
                  <a:cxn ang="0">
                    <a:pos x="83" y="66"/>
                  </a:cxn>
                  <a:cxn ang="0">
                    <a:pos x="90" y="49"/>
                  </a:cxn>
                  <a:cxn ang="0">
                    <a:pos x="88" y="40"/>
                  </a:cxn>
                  <a:cxn ang="0">
                    <a:pos x="100" y="36"/>
                  </a:cxn>
                  <a:cxn ang="0">
                    <a:pos x="115" y="30"/>
                  </a:cxn>
                  <a:cxn ang="0">
                    <a:pos x="127" y="33"/>
                  </a:cxn>
                  <a:cxn ang="0">
                    <a:pos x="143" y="38"/>
                  </a:cxn>
                  <a:cxn ang="0">
                    <a:pos x="155" y="35"/>
                  </a:cxn>
                  <a:cxn ang="0">
                    <a:pos x="172" y="41"/>
                  </a:cxn>
                  <a:cxn ang="0">
                    <a:pos x="181" y="35"/>
                  </a:cxn>
                  <a:cxn ang="0">
                    <a:pos x="190" y="36"/>
                  </a:cxn>
                  <a:cxn ang="0">
                    <a:pos x="196" y="31"/>
                  </a:cxn>
                  <a:cxn ang="0">
                    <a:pos x="203" y="25"/>
                  </a:cxn>
                  <a:cxn ang="0">
                    <a:pos x="211" y="26"/>
                  </a:cxn>
                  <a:cxn ang="0">
                    <a:pos x="216" y="13"/>
                  </a:cxn>
                  <a:cxn ang="0">
                    <a:pos x="221" y="0"/>
                  </a:cxn>
                  <a:cxn ang="0">
                    <a:pos x="236" y="5"/>
                  </a:cxn>
                  <a:cxn ang="0">
                    <a:pos x="236" y="18"/>
                  </a:cxn>
                  <a:cxn ang="0">
                    <a:pos x="243" y="26"/>
                  </a:cxn>
                  <a:cxn ang="0">
                    <a:pos x="246" y="45"/>
                  </a:cxn>
                  <a:cxn ang="0">
                    <a:pos x="258" y="49"/>
                  </a:cxn>
                  <a:cxn ang="0">
                    <a:pos x="271" y="41"/>
                  </a:cxn>
                  <a:cxn ang="0">
                    <a:pos x="279" y="31"/>
                  </a:cxn>
                </a:cxnLst>
                <a:rect l="0" t="0" r="r" b="b"/>
                <a:pathLst>
                  <a:path w="323" h="242">
                    <a:moveTo>
                      <a:pt x="279" y="31"/>
                    </a:moveTo>
                    <a:lnTo>
                      <a:pt x="289" y="25"/>
                    </a:lnTo>
                    <a:lnTo>
                      <a:pt x="298" y="23"/>
                    </a:lnTo>
                    <a:lnTo>
                      <a:pt x="298" y="28"/>
                    </a:lnTo>
                    <a:lnTo>
                      <a:pt x="308" y="26"/>
                    </a:lnTo>
                    <a:lnTo>
                      <a:pt x="311" y="23"/>
                    </a:lnTo>
                    <a:lnTo>
                      <a:pt x="321" y="23"/>
                    </a:lnTo>
                    <a:lnTo>
                      <a:pt x="323" y="26"/>
                    </a:lnTo>
                    <a:lnTo>
                      <a:pt x="314" y="33"/>
                    </a:lnTo>
                    <a:lnTo>
                      <a:pt x="318" y="33"/>
                    </a:lnTo>
                    <a:lnTo>
                      <a:pt x="313" y="41"/>
                    </a:lnTo>
                    <a:lnTo>
                      <a:pt x="303" y="45"/>
                    </a:lnTo>
                    <a:lnTo>
                      <a:pt x="278" y="49"/>
                    </a:lnTo>
                    <a:lnTo>
                      <a:pt x="273" y="46"/>
                    </a:lnTo>
                    <a:lnTo>
                      <a:pt x="265" y="51"/>
                    </a:lnTo>
                    <a:lnTo>
                      <a:pt x="260" y="54"/>
                    </a:lnTo>
                    <a:lnTo>
                      <a:pt x="253" y="54"/>
                    </a:lnTo>
                    <a:lnTo>
                      <a:pt x="248" y="61"/>
                    </a:lnTo>
                    <a:lnTo>
                      <a:pt x="245" y="64"/>
                    </a:lnTo>
                    <a:lnTo>
                      <a:pt x="255" y="78"/>
                    </a:lnTo>
                    <a:lnTo>
                      <a:pt x="255" y="88"/>
                    </a:lnTo>
                    <a:lnTo>
                      <a:pt x="243" y="101"/>
                    </a:lnTo>
                    <a:lnTo>
                      <a:pt x="250" y="106"/>
                    </a:lnTo>
                    <a:lnTo>
                      <a:pt x="250" y="113"/>
                    </a:lnTo>
                    <a:lnTo>
                      <a:pt x="243" y="121"/>
                    </a:lnTo>
                    <a:lnTo>
                      <a:pt x="235" y="121"/>
                    </a:lnTo>
                    <a:lnTo>
                      <a:pt x="225" y="118"/>
                    </a:lnTo>
                    <a:lnTo>
                      <a:pt x="220" y="121"/>
                    </a:lnTo>
                    <a:lnTo>
                      <a:pt x="221" y="128"/>
                    </a:lnTo>
                    <a:lnTo>
                      <a:pt x="228" y="129"/>
                    </a:lnTo>
                    <a:lnTo>
                      <a:pt x="230" y="136"/>
                    </a:lnTo>
                    <a:lnTo>
                      <a:pt x="230" y="139"/>
                    </a:lnTo>
                    <a:lnTo>
                      <a:pt x="223" y="143"/>
                    </a:lnTo>
                    <a:lnTo>
                      <a:pt x="218" y="143"/>
                    </a:lnTo>
                    <a:lnTo>
                      <a:pt x="216" y="146"/>
                    </a:lnTo>
                    <a:lnTo>
                      <a:pt x="215" y="154"/>
                    </a:lnTo>
                    <a:lnTo>
                      <a:pt x="213" y="159"/>
                    </a:lnTo>
                    <a:lnTo>
                      <a:pt x="213" y="162"/>
                    </a:lnTo>
                    <a:lnTo>
                      <a:pt x="211" y="164"/>
                    </a:lnTo>
                    <a:lnTo>
                      <a:pt x="213" y="174"/>
                    </a:lnTo>
                    <a:lnTo>
                      <a:pt x="208" y="181"/>
                    </a:lnTo>
                    <a:lnTo>
                      <a:pt x="203" y="176"/>
                    </a:lnTo>
                    <a:lnTo>
                      <a:pt x="201" y="176"/>
                    </a:lnTo>
                    <a:lnTo>
                      <a:pt x="200" y="177"/>
                    </a:lnTo>
                    <a:lnTo>
                      <a:pt x="195" y="177"/>
                    </a:lnTo>
                    <a:lnTo>
                      <a:pt x="191" y="176"/>
                    </a:lnTo>
                    <a:lnTo>
                      <a:pt x="186" y="176"/>
                    </a:lnTo>
                    <a:lnTo>
                      <a:pt x="185" y="179"/>
                    </a:lnTo>
                    <a:lnTo>
                      <a:pt x="175" y="186"/>
                    </a:lnTo>
                    <a:lnTo>
                      <a:pt x="180" y="187"/>
                    </a:lnTo>
                    <a:lnTo>
                      <a:pt x="176" y="189"/>
                    </a:lnTo>
                    <a:lnTo>
                      <a:pt x="168" y="194"/>
                    </a:lnTo>
                    <a:lnTo>
                      <a:pt x="165" y="192"/>
                    </a:lnTo>
                    <a:lnTo>
                      <a:pt x="158" y="192"/>
                    </a:lnTo>
                    <a:lnTo>
                      <a:pt x="157" y="196"/>
                    </a:lnTo>
                    <a:lnTo>
                      <a:pt x="157" y="199"/>
                    </a:lnTo>
                    <a:lnTo>
                      <a:pt x="152" y="201"/>
                    </a:lnTo>
                    <a:lnTo>
                      <a:pt x="148" y="204"/>
                    </a:lnTo>
                    <a:lnTo>
                      <a:pt x="148" y="211"/>
                    </a:lnTo>
                    <a:lnTo>
                      <a:pt x="150" y="217"/>
                    </a:lnTo>
                    <a:lnTo>
                      <a:pt x="150" y="222"/>
                    </a:lnTo>
                    <a:lnTo>
                      <a:pt x="152" y="227"/>
                    </a:lnTo>
                    <a:lnTo>
                      <a:pt x="152" y="231"/>
                    </a:lnTo>
                    <a:lnTo>
                      <a:pt x="142" y="234"/>
                    </a:lnTo>
                    <a:lnTo>
                      <a:pt x="133" y="234"/>
                    </a:lnTo>
                    <a:lnTo>
                      <a:pt x="125" y="236"/>
                    </a:lnTo>
                    <a:lnTo>
                      <a:pt x="112" y="236"/>
                    </a:lnTo>
                    <a:lnTo>
                      <a:pt x="103" y="237"/>
                    </a:lnTo>
                    <a:lnTo>
                      <a:pt x="102" y="241"/>
                    </a:lnTo>
                    <a:lnTo>
                      <a:pt x="93" y="239"/>
                    </a:lnTo>
                    <a:lnTo>
                      <a:pt x="85" y="242"/>
                    </a:lnTo>
                    <a:lnTo>
                      <a:pt x="57" y="242"/>
                    </a:lnTo>
                    <a:lnTo>
                      <a:pt x="24" y="234"/>
                    </a:lnTo>
                    <a:lnTo>
                      <a:pt x="42" y="211"/>
                    </a:lnTo>
                    <a:lnTo>
                      <a:pt x="44" y="209"/>
                    </a:lnTo>
                    <a:lnTo>
                      <a:pt x="42" y="201"/>
                    </a:lnTo>
                    <a:lnTo>
                      <a:pt x="42" y="194"/>
                    </a:lnTo>
                    <a:lnTo>
                      <a:pt x="39" y="186"/>
                    </a:lnTo>
                    <a:lnTo>
                      <a:pt x="17" y="186"/>
                    </a:lnTo>
                    <a:lnTo>
                      <a:pt x="17" y="177"/>
                    </a:lnTo>
                    <a:lnTo>
                      <a:pt x="14" y="174"/>
                    </a:lnTo>
                    <a:lnTo>
                      <a:pt x="15" y="171"/>
                    </a:lnTo>
                    <a:lnTo>
                      <a:pt x="12" y="161"/>
                    </a:lnTo>
                    <a:lnTo>
                      <a:pt x="5" y="149"/>
                    </a:lnTo>
                    <a:lnTo>
                      <a:pt x="7" y="144"/>
                    </a:lnTo>
                    <a:lnTo>
                      <a:pt x="15" y="136"/>
                    </a:lnTo>
                    <a:lnTo>
                      <a:pt x="12" y="136"/>
                    </a:lnTo>
                    <a:lnTo>
                      <a:pt x="4" y="134"/>
                    </a:lnTo>
                    <a:lnTo>
                      <a:pt x="4" y="129"/>
                    </a:lnTo>
                    <a:lnTo>
                      <a:pt x="2" y="121"/>
                    </a:lnTo>
                    <a:lnTo>
                      <a:pt x="2" y="121"/>
                    </a:lnTo>
                    <a:lnTo>
                      <a:pt x="5" y="114"/>
                    </a:lnTo>
                    <a:lnTo>
                      <a:pt x="2" y="113"/>
                    </a:lnTo>
                    <a:lnTo>
                      <a:pt x="0" y="109"/>
                    </a:lnTo>
                    <a:lnTo>
                      <a:pt x="5" y="108"/>
                    </a:lnTo>
                    <a:lnTo>
                      <a:pt x="12" y="104"/>
                    </a:lnTo>
                    <a:lnTo>
                      <a:pt x="10" y="101"/>
                    </a:lnTo>
                    <a:lnTo>
                      <a:pt x="12" y="99"/>
                    </a:lnTo>
                    <a:lnTo>
                      <a:pt x="9" y="96"/>
                    </a:lnTo>
                    <a:lnTo>
                      <a:pt x="10" y="93"/>
                    </a:lnTo>
                    <a:lnTo>
                      <a:pt x="10" y="89"/>
                    </a:lnTo>
                    <a:lnTo>
                      <a:pt x="10" y="84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9" y="84"/>
                    </a:lnTo>
                    <a:lnTo>
                      <a:pt x="22" y="86"/>
                    </a:lnTo>
                    <a:lnTo>
                      <a:pt x="25" y="86"/>
                    </a:lnTo>
                    <a:lnTo>
                      <a:pt x="29" y="84"/>
                    </a:lnTo>
                    <a:lnTo>
                      <a:pt x="34" y="84"/>
                    </a:lnTo>
                    <a:lnTo>
                      <a:pt x="39" y="88"/>
                    </a:lnTo>
                    <a:lnTo>
                      <a:pt x="40" y="91"/>
                    </a:lnTo>
                    <a:lnTo>
                      <a:pt x="42" y="93"/>
                    </a:lnTo>
                    <a:lnTo>
                      <a:pt x="45" y="89"/>
                    </a:lnTo>
                    <a:lnTo>
                      <a:pt x="52" y="89"/>
                    </a:lnTo>
                    <a:lnTo>
                      <a:pt x="55" y="86"/>
                    </a:lnTo>
                    <a:lnTo>
                      <a:pt x="55" y="83"/>
                    </a:lnTo>
                    <a:lnTo>
                      <a:pt x="59" y="79"/>
                    </a:lnTo>
                    <a:lnTo>
                      <a:pt x="59" y="78"/>
                    </a:lnTo>
                    <a:lnTo>
                      <a:pt x="65" y="73"/>
                    </a:lnTo>
                    <a:lnTo>
                      <a:pt x="75" y="71"/>
                    </a:lnTo>
                    <a:lnTo>
                      <a:pt x="75" y="69"/>
                    </a:lnTo>
                    <a:lnTo>
                      <a:pt x="80" y="66"/>
                    </a:lnTo>
                    <a:lnTo>
                      <a:pt x="83" y="66"/>
                    </a:lnTo>
                    <a:lnTo>
                      <a:pt x="85" y="59"/>
                    </a:lnTo>
                    <a:lnTo>
                      <a:pt x="85" y="54"/>
                    </a:lnTo>
                    <a:lnTo>
                      <a:pt x="90" y="49"/>
                    </a:lnTo>
                    <a:lnTo>
                      <a:pt x="90" y="45"/>
                    </a:lnTo>
                    <a:lnTo>
                      <a:pt x="88" y="43"/>
                    </a:lnTo>
                    <a:lnTo>
                      <a:pt x="88" y="40"/>
                    </a:lnTo>
                    <a:lnTo>
                      <a:pt x="92" y="40"/>
                    </a:lnTo>
                    <a:lnTo>
                      <a:pt x="93" y="38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10" y="31"/>
                    </a:lnTo>
                    <a:lnTo>
                      <a:pt x="115" y="30"/>
                    </a:lnTo>
                    <a:lnTo>
                      <a:pt x="120" y="33"/>
                    </a:lnTo>
                    <a:lnTo>
                      <a:pt x="125" y="31"/>
                    </a:lnTo>
                    <a:lnTo>
                      <a:pt x="127" y="33"/>
                    </a:lnTo>
                    <a:lnTo>
                      <a:pt x="135" y="31"/>
                    </a:lnTo>
                    <a:lnTo>
                      <a:pt x="140" y="33"/>
                    </a:lnTo>
                    <a:lnTo>
                      <a:pt x="143" y="38"/>
                    </a:lnTo>
                    <a:lnTo>
                      <a:pt x="147" y="38"/>
                    </a:lnTo>
                    <a:lnTo>
                      <a:pt x="150" y="35"/>
                    </a:lnTo>
                    <a:lnTo>
                      <a:pt x="155" y="35"/>
                    </a:lnTo>
                    <a:lnTo>
                      <a:pt x="160" y="41"/>
                    </a:lnTo>
                    <a:lnTo>
                      <a:pt x="163" y="41"/>
                    </a:lnTo>
                    <a:lnTo>
                      <a:pt x="172" y="41"/>
                    </a:lnTo>
                    <a:lnTo>
                      <a:pt x="176" y="38"/>
                    </a:lnTo>
                    <a:lnTo>
                      <a:pt x="180" y="35"/>
                    </a:lnTo>
                    <a:lnTo>
                      <a:pt x="181" y="35"/>
                    </a:lnTo>
                    <a:lnTo>
                      <a:pt x="185" y="31"/>
                    </a:lnTo>
                    <a:lnTo>
                      <a:pt x="186" y="33"/>
                    </a:lnTo>
                    <a:lnTo>
                      <a:pt x="190" y="36"/>
                    </a:lnTo>
                    <a:lnTo>
                      <a:pt x="198" y="36"/>
                    </a:lnTo>
                    <a:lnTo>
                      <a:pt x="198" y="33"/>
                    </a:lnTo>
                    <a:lnTo>
                      <a:pt x="196" y="31"/>
                    </a:lnTo>
                    <a:lnTo>
                      <a:pt x="196" y="28"/>
                    </a:lnTo>
                    <a:lnTo>
                      <a:pt x="201" y="26"/>
                    </a:lnTo>
                    <a:lnTo>
                      <a:pt x="203" y="25"/>
                    </a:lnTo>
                    <a:lnTo>
                      <a:pt x="206" y="25"/>
                    </a:lnTo>
                    <a:lnTo>
                      <a:pt x="206" y="26"/>
                    </a:lnTo>
                    <a:lnTo>
                      <a:pt x="211" y="26"/>
                    </a:lnTo>
                    <a:lnTo>
                      <a:pt x="215" y="21"/>
                    </a:lnTo>
                    <a:lnTo>
                      <a:pt x="213" y="16"/>
                    </a:lnTo>
                    <a:lnTo>
                      <a:pt x="216" y="13"/>
                    </a:lnTo>
                    <a:lnTo>
                      <a:pt x="218" y="10"/>
                    </a:lnTo>
                    <a:lnTo>
                      <a:pt x="220" y="5"/>
                    </a:lnTo>
                    <a:lnTo>
                      <a:pt x="221" y="0"/>
                    </a:lnTo>
                    <a:lnTo>
                      <a:pt x="228" y="0"/>
                    </a:lnTo>
                    <a:lnTo>
                      <a:pt x="231" y="3"/>
                    </a:lnTo>
                    <a:lnTo>
                      <a:pt x="236" y="5"/>
                    </a:lnTo>
                    <a:lnTo>
                      <a:pt x="236" y="8"/>
                    </a:lnTo>
                    <a:lnTo>
                      <a:pt x="235" y="13"/>
                    </a:lnTo>
                    <a:lnTo>
                      <a:pt x="236" y="18"/>
                    </a:lnTo>
                    <a:lnTo>
                      <a:pt x="241" y="18"/>
                    </a:lnTo>
                    <a:lnTo>
                      <a:pt x="243" y="21"/>
                    </a:lnTo>
                    <a:lnTo>
                      <a:pt x="243" y="26"/>
                    </a:lnTo>
                    <a:lnTo>
                      <a:pt x="243" y="31"/>
                    </a:lnTo>
                    <a:lnTo>
                      <a:pt x="243" y="40"/>
                    </a:lnTo>
                    <a:lnTo>
                      <a:pt x="246" y="45"/>
                    </a:lnTo>
                    <a:lnTo>
                      <a:pt x="246" y="48"/>
                    </a:lnTo>
                    <a:lnTo>
                      <a:pt x="251" y="49"/>
                    </a:lnTo>
                    <a:lnTo>
                      <a:pt x="258" y="49"/>
                    </a:lnTo>
                    <a:lnTo>
                      <a:pt x="261" y="46"/>
                    </a:lnTo>
                    <a:lnTo>
                      <a:pt x="263" y="45"/>
                    </a:lnTo>
                    <a:lnTo>
                      <a:pt x="271" y="41"/>
                    </a:lnTo>
                    <a:lnTo>
                      <a:pt x="274" y="38"/>
                    </a:lnTo>
                    <a:lnTo>
                      <a:pt x="276" y="33"/>
                    </a:lnTo>
                    <a:lnTo>
                      <a:pt x="279" y="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6" name="Freeform 70"/>
              <p:cNvSpPr>
                <a:spLocks noEditPoints="1"/>
              </p:cNvSpPr>
              <p:nvPr/>
            </p:nvSpPr>
            <p:spPr bwMode="auto">
              <a:xfrm>
                <a:off x="6964051" y="2754033"/>
                <a:ext cx="70636" cy="51879"/>
              </a:xfrm>
              <a:custGeom>
                <a:avLst/>
                <a:gdLst/>
                <a:ahLst/>
                <a:cxnLst>
                  <a:cxn ang="0">
                    <a:pos x="2" y="17"/>
                  </a:cxn>
                  <a:cxn ang="0">
                    <a:pos x="25" y="20"/>
                  </a:cxn>
                  <a:cxn ang="0">
                    <a:pos x="42" y="25"/>
                  </a:cxn>
                  <a:cxn ang="0">
                    <a:pos x="40" y="12"/>
                  </a:cxn>
                  <a:cxn ang="0">
                    <a:pos x="37" y="2"/>
                  </a:cxn>
                  <a:cxn ang="0">
                    <a:pos x="55" y="10"/>
                  </a:cxn>
                  <a:cxn ang="0">
                    <a:pos x="68" y="17"/>
                  </a:cxn>
                  <a:cxn ang="0">
                    <a:pos x="78" y="9"/>
                  </a:cxn>
                  <a:cxn ang="0">
                    <a:pos x="91" y="4"/>
                  </a:cxn>
                  <a:cxn ang="0">
                    <a:pos x="100" y="17"/>
                  </a:cxn>
                  <a:cxn ang="0">
                    <a:pos x="111" y="28"/>
                  </a:cxn>
                  <a:cxn ang="0">
                    <a:pos x="116" y="35"/>
                  </a:cxn>
                  <a:cxn ang="0">
                    <a:pos x="130" y="37"/>
                  </a:cxn>
                  <a:cxn ang="0">
                    <a:pos x="130" y="42"/>
                  </a:cxn>
                  <a:cxn ang="0">
                    <a:pos x="120" y="43"/>
                  </a:cxn>
                  <a:cxn ang="0">
                    <a:pos x="113" y="55"/>
                  </a:cxn>
                  <a:cxn ang="0">
                    <a:pos x="111" y="62"/>
                  </a:cxn>
                  <a:cxn ang="0">
                    <a:pos x="113" y="68"/>
                  </a:cxn>
                  <a:cxn ang="0">
                    <a:pos x="110" y="73"/>
                  </a:cxn>
                  <a:cxn ang="0">
                    <a:pos x="108" y="83"/>
                  </a:cxn>
                  <a:cxn ang="0">
                    <a:pos x="108" y="77"/>
                  </a:cxn>
                  <a:cxn ang="0">
                    <a:pos x="103" y="75"/>
                  </a:cxn>
                  <a:cxn ang="0">
                    <a:pos x="103" y="85"/>
                  </a:cxn>
                  <a:cxn ang="0">
                    <a:pos x="105" y="90"/>
                  </a:cxn>
                  <a:cxn ang="0">
                    <a:pos x="103" y="100"/>
                  </a:cxn>
                  <a:cxn ang="0">
                    <a:pos x="96" y="97"/>
                  </a:cxn>
                  <a:cxn ang="0">
                    <a:pos x="85" y="87"/>
                  </a:cxn>
                  <a:cxn ang="0">
                    <a:pos x="86" y="78"/>
                  </a:cxn>
                  <a:cxn ang="0">
                    <a:pos x="88" y="73"/>
                  </a:cxn>
                  <a:cxn ang="0">
                    <a:pos x="83" y="67"/>
                  </a:cxn>
                  <a:cxn ang="0">
                    <a:pos x="80" y="65"/>
                  </a:cxn>
                  <a:cxn ang="0">
                    <a:pos x="73" y="68"/>
                  </a:cxn>
                  <a:cxn ang="0">
                    <a:pos x="67" y="73"/>
                  </a:cxn>
                  <a:cxn ang="0">
                    <a:pos x="60" y="80"/>
                  </a:cxn>
                  <a:cxn ang="0">
                    <a:pos x="55" y="82"/>
                  </a:cxn>
                  <a:cxn ang="0">
                    <a:pos x="50" y="87"/>
                  </a:cxn>
                  <a:cxn ang="0">
                    <a:pos x="48" y="85"/>
                  </a:cxn>
                  <a:cxn ang="0">
                    <a:pos x="50" y="78"/>
                  </a:cxn>
                  <a:cxn ang="0">
                    <a:pos x="52" y="72"/>
                  </a:cxn>
                  <a:cxn ang="0">
                    <a:pos x="38" y="67"/>
                  </a:cxn>
                  <a:cxn ang="0">
                    <a:pos x="25" y="53"/>
                  </a:cxn>
                  <a:cxn ang="0">
                    <a:pos x="28" y="47"/>
                  </a:cxn>
                  <a:cxn ang="0">
                    <a:pos x="18" y="35"/>
                  </a:cxn>
                  <a:cxn ang="0">
                    <a:pos x="15" y="25"/>
                  </a:cxn>
                  <a:cxn ang="0">
                    <a:pos x="2" y="20"/>
                  </a:cxn>
                  <a:cxn ang="0">
                    <a:pos x="42" y="85"/>
                  </a:cxn>
                  <a:cxn ang="0">
                    <a:pos x="25" y="70"/>
                  </a:cxn>
                  <a:cxn ang="0">
                    <a:pos x="17" y="62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2" y="63"/>
                  </a:cxn>
                  <a:cxn ang="0">
                    <a:pos x="8" y="67"/>
                  </a:cxn>
                  <a:cxn ang="0">
                    <a:pos x="10" y="73"/>
                  </a:cxn>
                  <a:cxn ang="0">
                    <a:pos x="22" y="83"/>
                  </a:cxn>
                  <a:cxn ang="0">
                    <a:pos x="33" y="85"/>
                  </a:cxn>
                  <a:cxn ang="0">
                    <a:pos x="42" y="85"/>
                  </a:cxn>
                </a:cxnLst>
                <a:rect l="0" t="0" r="r" b="b"/>
                <a:pathLst>
                  <a:path w="133" h="100">
                    <a:moveTo>
                      <a:pt x="2" y="20"/>
                    </a:moveTo>
                    <a:lnTo>
                      <a:pt x="2" y="17"/>
                    </a:lnTo>
                    <a:lnTo>
                      <a:pt x="10" y="14"/>
                    </a:lnTo>
                    <a:lnTo>
                      <a:pt x="25" y="20"/>
                    </a:lnTo>
                    <a:lnTo>
                      <a:pt x="33" y="20"/>
                    </a:lnTo>
                    <a:lnTo>
                      <a:pt x="42" y="25"/>
                    </a:lnTo>
                    <a:lnTo>
                      <a:pt x="43" y="17"/>
                    </a:lnTo>
                    <a:lnTo>
                      <a:pt x="40" y="12"/>
                    </a:lnTo>
                    <a:lnTo>
                      <a:pt x="33" y="9"/>
                    </a:lnTo>
                    <a:lnTo>
                      <a:pt x="37" y="2"/>
                    </a:lnTo>
                    <a:lnTo>
                      <a:pt x="43" y="2"/>
                    </a:lnTo>
                    <a:lnTo>
                      <a:pt x="55" y="10"/>
                    </a:lnTo>
                    <a:lnTo>
                      <a:pt x="58" y="15"/>
                    </a:lnTo>
                    <a:lnTo>
                      <a:pt x="68" y="17"/>
                    </a:lnTo>
                    <a:lnTo>
                      <a:pt x="72" y="12"/>
                    </a:lnTo>
                    <a:lnTo>
                      <a:pt x="78" y="9"/>
                    </a:lnTo>
                    <a:lnTo>
                      <a:pt x="86" y="0"/>
                    </a:lnTo>
                    <a:lnTo>
                      <a:pt x="91" y="4"/>
                    </a:lnTo>
                    <a:lnTo>
                      <a:pt x="98" y="12"/>
                    </a:lnTo>
                    <a:lnTo>
                      <a:pt x="100" y="17"/>
                    </a:lnTo>
                    <a:lnTo>
                      <a:pt x="103" y="22"/>
                    </a:lnTo>
                    <a:lnTo>
                      <a:pt x="111" y="28"/>
                    </a:lnTo>
                    <a:lnTo>
                      <a:pt x="111" y="32"/>
                    </a:lnTo>
                    <a:lnTo>
                      <a:pt x="116" y="35"/>
                    </a:lnTo>
                    <a:lnTo>
                      <a:pt x="123" y="35"/>
                    </a:lnTo>
                    <a:lnTo>
                      <a:pt x="130" y="37"/>
                    </a:lnTo>
                    <a:lnTo>
                      <a:pt x="133" y="42"/>
                    </a:lnTo>
                    <a:lnTo>
                      <a:pt x="130" y="42"/>
                    </a:lnTo>
                    <a:lnTo>
                      <a:pt x="126" y="43"/>
                    </a:lnTo>
                    <a:lnTo>
                      <a:pt x="120" y="43"/>
                    </a:lnTo>
                    <a:lnTo>
                      <a:pt x="111" y="48"/>
                    </a:lnTo>
                    <a:lnTo>
                      <a:pt x="113" y="55"/>
                    </a:lnTo>
                    <a:lnTo>
                      <a:pt x="113" y="60"/>
                    </a:lnTo>
                    <a:lnTo>
                      <a:pt x="111" y="62"/>
                    </a:lnTo>
                    <a:lnTo>
                      <a:pt x="111" y="67"/>
                    </a:lnTo>
                    <a:lnTo>
                      <a:pt x="113" y="68"/>
                    </a:lnTo>
                    <a:lnTo>
                      <a:pt x="113" y="72"/>
                    </a:lnTo>
                    <a:lnTo>
                      <a:pt x="110" y="73"/>
                    </a:lnTo>
                    <a:lnTo>
                      <a:pt x="110" y="82"/>
                    </a:lnTo>
                    <a:lnTo>
                      <a:pt x="108" y="83"/>
                    </a:lnTo>
                    <a:lnTo>
                      <a:pt x="106" y="82"/>
                    </a:lnTo>
                    <a:lnTo>
                      <a:pt x="108" y="77"/>
                    </a:lnTo>
                    <a:lnTo>
                      <a:pt x="105" y="73"/>
                    </a:lnTo>
                    <a:lnTo>
                      <a:pt x="103" y="75"/>
                    </a:lnTo>
                    <a:lnTo>
                      <a:pt x="101" y="78"/>
                    </a:lnTo>
                    <a:lnTo>
                      <a:pt x="103" y="85"/>
                    </a:lnTo>
                    <a:lnTo>
                      <a:pt x="103" y="88"/>
                    </a:lnTo>
                    <a:lnTo>
                      <a:pt x="105" y="90"/>
                    </a:lnTo>
                    <a:lnTo>
                      <a:pt x="105" y="98"/>
                    </a:lnTo>
                    <a:lnTo>
                      <a:pt x="103" y="100"/>
                    </a:lnTo>
                    <a:lnTo>
                      <a:pt x="98" y="98"/>
                    </a:lnTo>
                    <a:lnTo>
                      <a:pt x="96" y="97"/>
                    </a:lnTo>
                    <a:lnTo>
                      <a:pt x="93" y="93"/>
                    </a:lnTo>
                    <a:lnTo>
                      <a:pt x="85" y="87"/>
                    </a:lnTo>
                    <a:lnTo>
                      <a:pt x="93" y="82"/>
                    </a:lnTo>
                    <a:lnTo>
                      <a:pt x="86" y="78"/>
                    </a:lnTo>
                    <a:lnTo>
                      <a:pt x="85" y="77"/>
                    </a:lnTo>
                    <a:lnTo>
                      <a:pt x="88" y="73"/>
                    </a:lnTo>
                    <a:lnTo>
                      <a:pt x="85" y="70"/>
                    </a:lnTo>
                    <a:lnTo>
                      <a:pt x="83" y="67"/>
                    </a:lnTo>
                    <a:lnTo>
                      <a:pt x="81" y="67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3" y="68"/>
                    </a:lnTo>
                    <a:lnTo>
                      <a:pt x="70" y="70"/>
                    </a:lnTo>
                    <a:lnTo>
                      <a:pt x="67" y="73"/>
                    </a:lnTo>
                    <a:lnTo>
                      <a:pt x="63" y="73"/>
                    </a:lnTo>
                    <a:lnTo>
                      <a:pt x="60" y="80"/>
                    </a:lnTo>
                    <a:lnTo>
                      <a:pt x="57" y="80"/>
                    </a:lnTo>
                    <a:lnTo>
                      <a:pt x="55" y="82"/>
                    </a:lnTo>
                    <a:lnTo>
                      <a:pt x="55" y="83"/>
                    </a:lnTo>
                    <a:lnTo>
                      <a:pt x="50" y="87"/>
                    </a:lnTo>
                    <a:lnTo>
                      <a:pt x="47" y="85"/>
                    </a:lnTo>
                    <a:lnTo>
                      <a:pt x="48" y="85"/>
                    </a:lnTo>
                    <a:lnTo>
                      <a:pt x="48" y="80"/>
                    </a:lnTo>
                    <a:lnTo>
                      <a:pt x="50" y="78"/>
                    </a:lnTo>
                    <a:lnTo>
                      <a:pt x="45" y="72"/>
                    </a:lnTo>
                    <a:lnTo>
                      <a:pt x="52" y="72"/>
                    </a:lnTo>
                    <a:lnTo>
                      <a:pt x="47" y="67"/>
                    </a:lnTo>
                    <a:lnTo>
                      <a:pt x="38" y="67"/>
                    </a:lnTo>
                    <a:lnTo>
                      <a:pt x="28" y="60"/>
                    </a:lnTo>
                    <a:lnTo>
                      <a:pt x="25" y="53"/>
                    </a:lnTo>
                    <a:lnTo>
                      <a:pt x="28" y="52"/>
                    </a:lnTo>
                    <a:lnTo>
                      <a:pt x="28" y="47"/>
                    </a:lnTo>
                    <a:lnTo>
                      <a:pt x="18" y="38"/>
                    </a:lnTo>
                    <a:lnTo>
                      <a:pt x="18" y="35"/>
                    </a:lnTo>
                    <a:lnTo>
                      <a:pt x="20" y="30"/>
                    </a:lnTo>
                    <a:lnTo>
                      <a:pt x="15" y="25"/>
                    </a:lnTo>
                    <a:lnTo>
                      <a:pt x="5" y="25"/>
                    </a:lnTo>
                    <a:lnTo>
                      <a:pt x="2" y="20"/>
                    </a:lnTo>
                    <a:lnTo>
                      <a:pt x="2" y="20"/>
                    </a:lnTo>
                    <a:close/>
                    <a:moveTo>
                      <a:pt x="42" y="85"/>
                    </a:moveTo>
                    <a:lnTo>
                      <a:pt x="32" y="72"/>
                    </a:lnTo>
                    <a:lnTo>
                      <a:pt x="25" y="70"/>
                    </a:lnTo>
                    <a:lnTo>
                      <a:pt x="22" y="62"/>
                    </a:lnTo>
                    <a:lnTo>
                      <a:pt x="17" y="62"/>
                    </a:lnTo>
                    <a:lnTo>
                      <a:pt x="15" y="65"/>
                    </a:lnTo>
                    <a:lnTo>
                      <a:pt x="8" y="58"/>
                    </a:lnTo>
                    <a:lnTo>
                      <a:pt x="3" y="62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5" y="67"/>
                    </a:lnTo>
                    <a:lnTo>
                      <a:pt x="8" y="67"/>
                    </a:lnTo>
                    <a:lnTo>
                      <a:pt x="10" y="70"/>
                    </a:lnTo>
                    <a:lnTo>
                      <a:pt x="10" y="73"/>
                    </a:lnTo>
                    <a:lnTo>
                      <a:pt x="20" y="78"/>
                    </a:lnTo>
                    <a:lnTo>
                      <a:pt x="22" y="83"/>
                    </a:lnTo>
                    <a:lnTo>
                      <a:pt x="27" y="85"/>
                    </a:lnTo>
                    <a:lnTo>
                      <a:pt x="33" y="85"/>
                    </a:lnTo>
                    <a:lnTo>
                      <a:pt x="40" y="90"/>
                    </a:lnTo>
                    <a:lnTo>
                      <a:pt x="42" y="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7" name="Freeform 71"/>
              <p:cNvSpPr>
                <a:spLocks/>
              </p:cNvSpPr>
              <p:nvPr/>
            </p:nvSpPr>
            <p:spPr bwMode="auto">
              <a:xfrm>
                <a:off x="6957630" y="2787236"/>
                <a:ext cx="265422" cy="186766"/>
              </a:xfrm>
              <a:custGeom>
                <a:avLst/>
                <a:gdLst/>
                <a:ahLst/>
                <a:cxnLst>
                  <a:cxn ang="0">
                    <a:pos x="22" y="7"/>
                  </a:cxn>
                  <a:cxn ang="0">
                    <a:pos x="45" y="22"/>
                  </a:cxn>
                  <a:cxn ang="0">
                    <a:pos x="62" y="24"/>
                  </a:cxn>
                  <a:cxn ang="0">
                    <a:pos x="75" y="10"/>
                  </a:cxn>
                  <a:cxn ang="0">
                    <a:pos x="92" y="2"/>
                  </a:cxn>
                  <a:cxn ang="0">
                    <a:pos x="97" y="14"/>
                  </a:cxn>
                  <a:cxn ang="0">
                    <a:pos x="108" y="34"/>
                  </a:cxn>
                  <a:cxn ang="0">
                    <a:pos x="120" y="40"/>
                  </a:cxn>
                  <a:cxn ang="0">
                    <a:pos x="130" y="59"/>
                  </a:cxn>
                  <a:cxn ang="0">
                    <a:pos x="153" y="60"/>
                  </a:cxn>
                  <a:cxn ang="0">
                    <a:pos x="191" y="78"/>
                  </a:cxn>
                  <a:cxn ang="0">
                    <a:pos x="246" y="75"/>
                  </a:cxn>
                  <a:cxn ang="0">
                    <a:pos x="258" y="55"/>
                  </a:cxn>
                  <a:cxn ang="0">
                    <a:pos x="288" y="37"/>
                  </a:cxn>
                  <a:cxn ang="0">
                    <a:pos x="314" y="34"/>
                  </a:cxn>
                  <a:cxn ang="0">
                    <a:pos x="353" y="47"/>
                  </a:cxn>
                  <a:cxn ang="0">
                    <a:pos x="376" y="59"/>
                  </a:cxn>
                  <a:cxn ang="0">
                    <a:pos x="416" y="82"/>
                  </a:cxn>
                  <a:cxn ang="0">
                    <a:pos x="417" y="103"/>
                  </a:cxn>
                  <a:cxn ang="0">
                    <a:pos x="419" y="118"/>
                  </a:cxn>
                  <a:cxn ang="0">
                    <a:pos x="409" y="135"/>
                  </a:cxn>
                  <a:cxn ang="0">
                    <a:pos x="422" y="150"/>
                  </a:cxn>
                  <a:cxn ang="0">
                    <a:pos x="421" y="188"/>
                  </a:cxn>
                  <a:cxn ang="0">
                    <a:pos x="449" y="215"/>
                  </a:cxn>
                  <a:cxn ang="0">
                    <a:pos x="446" y="268"/>
                  </a:cxn>
                  <a:cxn ang="0">
                    <a:pos x="474" y="281"/>
                  </a:cxn>
                  <a:cxn ang="0">
                    <a:pos x="484" y="303"/>
                  </a:cxn>
                  <a:cxn ang="0">
                    <a:pos x="494" y="323"/>
                  </a:cxn>
                  <a:cxn ang="0">
                    <a:pos x="464" y="333"/>
                  </a:cxn>
                  <a:cxn ang="0">
                    <a:pos x="462" y="357"/>
                  </a:cxn>
                  <a:cxn ang="0">
                    <a:pos x="442" y="356"/>
                  </a:cxn>
                  <a:cxn ang="0">
                    <a:pos x="431" y="354"/>
                  </a:cxn>
                  <a:cxn ang="0">
                    <a:pos x="392" y="351"/>
                  </a:cxn>
                  <a:cxn ang="0">
                    <a:pos x="369" y="346"/>
                  </a:cxn>
                  <a:cxn ang="0">
                    <a:pos x="348" y="329"/>
                  </a:cxn>
                  <a:cxn ang="0">
                    <a:pos x="338" y="311"/>
                  </a:cxn>
                  <a:cxn ang="0">
                    <a:pos x="313" y="314"/>
                  </a:cxn>
                  <a:cxn ang="0">
                    <a:pos x="276" y="321"/>
                  </a:cxn>
                  <a:cxn ang="0">
                    <a:pos x="251" y="314"/>
                  </a:cxn>
                  <a:cxn ang="0">
                    <a:pos x="236" y="301"/>
                  </a:cxn>
                  <a:cxn ang="0">
                    <a:pos x="210" y="296"/>
                  </a:cxn>
                  <a:cxn ang="0">
                    <a:pos x="190" y="273"/>
                  </a:cxn>
                  <a:cxn ang="0">
                    <a:pos x="188" y="268"/>
                  </a:cxn>
                  <a:cxn ang="0">
                    <a:pos x="170" y="240"/>
                  </a:cxn>
                  <a:cxn ang="0">
                    <a:pos x="153" y="241"/>
                  </a:cxn>
                  <a:cxn ang="0">
                    <a:pos x="145" y="236"/>
                  </a:cxn>
                  <a:cxn ang="0">
                    <a:pos x="140" y="245"/>
                  </a:cxn>
                  <a:cxn ang="0">
                    <a:pos x="127" y="236"/>
                  </a:cxn>
                  <a:cxn ang="0">
                    <a:pos x="112" y="208"/>
                  </a:cxn>
                  <a:cxn ang="0">
                    <a:pos x="100" y="181"/>
                  </a:cxn>
                  <a:cxn ang="0">
                    <a:pos x="69" y="171"/>
                  </a:cxn>
                  <a:cxn ang="0">
                    <a:pos x="64" y="155"/>
                  </a:cxn>
                  <a:cxn ang="0">
                    <a:pos x="54" y="145"/>
                  </a:cxn>
                  <a:cxn ang="0">
                    <a:pos x="57" y="123"/>
                  </a:cxn>
                  <a:cxn ang="0">
                    <a:pos x="62" y="107"/>
                  </a:cxn>
                  <a:cxn ang="0">
                    <a:pos x="65" y="102"/>
                  </a:cxn>
                  <a:cxn ang="0">
                    <a:pos x="40" y="95"/>
                  </a:cxn>
                  <a:cxn ang="0">
                    <a:pos x="29" y="77"/>
                  </a:cxn>
                  <a:cxn ang="0">
                    <a:pos x="20" y="62"/>
                  </a:cxn>
                  <a:cxn ang="0">
                    <a:pos x="12" y="37"/>
                  </a:cxn>
                  <a:cxn ang="0">
                    <a:pos x="4" y="14"/>
                  </a:cxn>
                  <a:cxn ang="0">
                    <a:pos x="12" y="0"/>
                  </a:cxn>
                </a:cxnLst>
                <a:rect l="0" t="0" r="r" b="b"/>
                <a:pathLst>
                  <a:path w="497" h="361">
                    <a:moveTo>
                      <a:pt x="12" y="0"/>
                    </a:moveTo>
                    <a:lnTo>
                      <a:pt x="14" y="0"/>
                    </a:lnTo>
                    <a:lnTo>
                      <a:pt x="17" y="4"/>
                    </a:lnTo>
                    <a:lnTo>
                      <a:pt x="20" y="4"/>
                    </a:lnTo>
                    <a:lnTo>
                      <a:pt x="22" y="7"/>
                    </a:lnTo>
                    <a:lnTo>
                      <a:pt x="22" y="10"/>
                    </a:lnTo>
                    <a:lnTo>
                      <a:pt x="32" y="15"/>
                    </a:lnTo>
                    <a:lnTo>
                      <a:pt x="34" y="20"/>
                    </a:lnTo>
                    <a:lnTo>
                      <a:pt x="39" y="22"/>
                    </a:lnTo>
                    <a:lnTo>
                      <a:pt x="45" y="22"/>
                    </a:lnTo>
                    <a:lnTo>
                      <a:pt x="52" y="27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9" y="22"/>
                    </a:lnTo>
                    <a:lnTo>
                      <a:pt x="62" y="24"/>
                    </a:lnTo>
                    <a:lnTo>
                      <a:pt x="67" y="20"/>
                    </a:lnTo>
                    <a:lnTo>
                      <a:pt x="67" y="19"/>
                    </a:lnTo>
                    <a:lnTo>
                      <a:pt x="69" y="17"/>
                    </a:lnTo>
                    <a:lnTo>
                      <a:pt x="72" y="17"/>
                    </a:lnTo>
                    <a:lnTo>
                      <a:pt x="75" y="10"/>
                    </a:lnTo>
                    <a:lnTo>
                      <a:pt x="79" y="10"/>
                    </a:lnTo>
                    <a:lnTo>
                      <a:pt x="82" y="7"/>
                    </a:lnTo>
                    <a:lnTo>
                      <a:pt x="85" y="5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3" y="4"/>
                    </a:lnTo>
                    <a:lnTo>
                      <a:pt x="95" y="4"/>
                    </a:lnTo>
                    <a:lnTo>
                      <a:pt x="97" y="7"/>
                    </a:lnTo>
                    <a:lnTo>
                      <a:pt x="100" y="10"/>
                    </a:lnTo>
                    <a:lnTo>
                      <a:pt x="97" y="14"/>
                    </a:lnTo>
                    <a:lnTo>
                      <a:pt x="98" y="15"/>
                    </a:lnTo>
                    <a:lnTo>
                      <a:pt x="105" y="19"/>
                    </a:lnTo>
                    <a:lnTo>
                      <a:pt x="97" y="24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10" y="35"/>
                    </a:lnTo>
                    <a:lnTo>
                      <a:pt x="115" y="37"/>
                    </a:lnTo>
                    <a:lnTo>
                      <a:pt x="117" y="35"/>
                    </a:lnTo>
                    <a:lnTo>
                      <a:pt x="117" y="37"/>
                    </a:lnTo>
                    <a:lnTo>
                      <a:pt x="120" y="40"/>
                    </a:lnTo>
                    <a:lnTo>
                      <a:pt x="120" y="45"/>
                    </a:lnTo>
                    <a:lnTo>
                      <a:pt x="120" y="52"/>
                    </a:lnTo>
                    <a:lnTo>
                      <a:pt x="122" y="54"/>
                    </a:lnTo>
                    <a:lnTo>
                      <a:pt x="125" y="54"/>
                    </a:lnTo>
                    <a:lnTo>
                      <a:pt x="130" y="59"/>
                    </a:lnTo>
                    <a:lnTo>
                      <a:pt x="135" y="59"/>
                    </a:lnTo>
                    <a:lnTo>
                      <a:pt x="140" y="60"/>
                    </a:lnTo>
                    <a:lnTo>
                      <a:pt x="145" y="57"/>
                    </a:lnTo>
                    <a:lnTo>
                      <a:pt x="150" y="60"/>
                    </a:lnTo>
                    <a:lnTo>
                      <a:pt x="153" y="60"/>
                    </a:lnTo>
                    <a:lnTo>
                      <a:pt x="155" y="65"/>
                    </a:lnTo>
                    <a:lnTo>
                      <a:pt x="160" y="70"/>
                    </a:lnTo>
                    <a:lnTo>
                      <a:pt x="172" y="73"/>
                    </a:lnTo>
                    <a:lnTo>
                      <a:pt x="177" y="75"/>
                    </a:lnTo>
                    <a:lnTo>
                      <a:pt x="191" y="78"/>
                    </a:lnTo>
                    <a:lnTo>
                      <a:pt x="198" y="78"/>
                    </a:lnTo>
                    <a:lnTo>
                      <a:pt x="215" y="75"/>
                    </a:lnTo>
                    <a:lnTo>
                      <a:pt x="226" y="73"/>
                    </a:lnTo>
                    <a:lnTo>
                      <a:pt x="241" y="73"/>
                    </a:lnTo>
                    <a:lnTo>
                      <a:pt x="246" y="75"/>
                    </a:lnTo>
                    <a:lnTo>
                      <a:pt x="248" y="70"/>
                    </a:lnTo>
                    <a:lnTo>
                      <a:pt x="245" y="65"/>
                    </a:lnTo>
                    <a:lnTo>
                      <a:pt x="241" y="59"/>
                    </a:lnTo>
                    <a:lnTo>
                      <a:pt x="246" y="57"/>
                    </a:lnTo>
                    <a:lnTo>
                      <a:pt x="258" y="55"/>
                    </a:lnTo>
                    <a:lnTo>
                      <a:pt x="261" y="50"/>
                    </a:lnTo>
                    <a:lnTo>
                      <a:pt x="265" y="45"/>
                    </a:lnTo>
                    <a:lnTo>
                      <a:pt x="268" y="45"/>
                    </a:lnTo>
                    <a:lnTo>
                      <a:pt x="278" y="39"/>
                    </a:lnTo>
                    <a:lnTo>
                      <a:pt x="288" y="37"/>
                    </a:lnTo>
                    <a:lnTo>
                      <a:pt x="298" y="39"/>
                    </a:lnTo>
                    <a:lnTo>
                      <a:pt x="299" y="34"/>
                    </a:lnTo>
                    <a:lnTo>
                      <a:pt x="304" y="32"/>
                    </a:lnTo>
                    <a:lnTo>
                      <a:pt x="309" y="34"/>
                    </a:lnTo>
                    <a:lnTo>
                      <a:pt x="314" y="34"/>
                    </a:lnTo>
                    <a:lnTo>
                      <a:pt x="323" y="40"/>
                    </a:lnTo>
                    <a:lnTo>
                      <a:pt x="331" y="42"/>
                    </a:lnTo>
                    <a:lnTo>
                      <a:pt x="344" y="50"/>
                    </a:lnTo>
                    <a:lnTo>
                      <a:pt x="349" y="49"/>
                    </a:lnTo>
                    <a:lnTo>
                      <a:pt x="353" y="47"/>
                    </a:lnTo>
                    <a:lnTo>
                      <a:pt x="363" y="50"/>
                    </a:lnTo>
                    <a:lnTo>
                      <a:pt x="368" y="52"/>
                    </a:lnTo>
                    <a:lnTo>
                      <a:pt x="369" y="59"/>
                    </a:lnTo>
                    <a:lnTo>
                      <a:pt x="371" y="60"/>
                    </a:lnTo>
                    <a:lnTo>
                      <a:pt x="376" y="59"/>
                    </a:lnTo>
                    <a:lnTo>
                      <a:pt x="384" y="60"/>
                    </a:lnTo>
                    <a:lnTo>
                      <a:pt x="394" y="72"/>
                    </a:lnTo>
                    <a:lnTo>
                      <a:pt x="406" y="73"/>
                    </a:lnTo>
                    <a:lnTo>
                      <a:pt x="411" y="75"/>
                    </a:lnTo>
                    <a:lnTo>
                      <a:pt x="416" y="82"/>
                    </a:lnTo>
                    <a:lnTo>
                      <a:pt x="414" y="85"/>
                    </a:lnTo>
                    <a:lnTo>
                      <a:pt x="416" y="90"/>
                    </a:lnTo>
                    <a:lnTo>
                      <a:pt x="416" y="93"/>
                    </a:lnTo>
                    <a:lnTo>
                      <a:pt x="417" y="98"/>
                    </a:lnTo>
                    <a:lnTo>
                      <a:pt x="417" y="103"/>
                    </a:lnTo>
                    <a:lnTo>
                      <a:pt x="417" y="107"/>
                    </a:lnTo>
                    <a:lnTo>
                      <a:pt x="416" y="110"/>
                    </a:lnTo>
                    <a:lnTo>
                      <a:pt x="419" y="113"/>
                    </a:lnTo>
                    <a:lnTo>
                      <a:pt x="417" y="115"/>
                    </a:lnTo>
                    <a:lnTo>
                      <a:pt x="419" y="118"/>
                    </a:lnTo>
                    <a:lnTo>
                      <a:pt x="412" y="122"/>
                    </a:lnTo>
                    <a:lnTo>
                      <a:pt x="407" y="123"/>
                    </a:lnTo>
                    <a:lnTo>
                      <a:pt x="409" y="127"/>
                    </a:lnTo>
                    <a:lnTo>
                      <a:pt x="412" y="128"/>
                    </a:lnTo>
                    <a:lnTo>
                      <a:pt x="409" y="135"/>
                    </a:lnTo>
                    <a:lnTo>
                      <a:pt x="409" y="135"/>
                    </a:lnTo>
                    <a:lnTo>
                      <a:pt x="411" y="143"/>
                    </a:lnTo>
                    <a:lnTo>
                      <a:pt x="411" y="148"/>
                    </a:lnTo>
                    <a:lnTo>
                      <a:pt x="419" y="150"/>
                    </a:lnTo>
                    <a:lnTo>
                      <a:pt x="422" y="150"/>
                    </a:lnTo>
                    <a:lnTo>
                      <a:pt x="414" y="158"/>
                    </a:lnTo>
                    <a:lnTo>
                      <a:pt x="412" y="163"/>
                    </a:lnTo>
                    <a:lnTo>
                      <a:pt x="419" y="175"/>
                    </a:lnTo>
                    <a:lnTo>
                      <a:pt x="422" y="185"/>
                    </a:lnTo>
                    <a:lnTo>
                      <a:pt x="421" y="188"/>
                    </a:lnTo>
                    <a:lnTo>
                      <a:pt x="424" y="191"/>
                    </a:lnTo>
                    <a:lnTo>
                      <a:pt x="424" y="200"/>
                    </a:lnTo>
                    <a:lnTo>
                      <a:pt x="446" y="200"/>
                    </a:lnTo>
                    <a:lnTo>
                      <a:pt x="449" y="208"/>
                    </a:lnTo>
                    <a:lnTo>
                      <a:pt x="449" y="215"/>
                    </a:lnTo>
                    <a:lnTo>
                      <a:pt x="451" y="223"/>
                    </a:lnTo>
                    <a:lnTo>
                      <a:pt x="449" y="225"/>
                    </a:lnTo>
                    <a:lnTo>
                      <a:pt x="431" y="248"/>
                    </a:lnTo>
                    <a:lnTo>
                      <a:pt x="444" y="263"/>
                    </a:lnTo>
                    <a:lnTo>
                      <a:pt x="446" y="268"/>
                    </a:lnTo>
                    <a:lnTo>
                      <a:pt x="452" y="274"/>
                    </a:lnTo>
                    <a:lnTo>
                      <a:pt x="459" y="278"/>
                    </a:lnTo>
                    <a:lnTo>
                      <a:pt x="461" y="279"/>
                    </a:lnTo>
                    <a:lnTo>
                      <a:pt x="469" y="279"/>
                    </a:lnTo>
                    <a:lnTo>
                      <a:pt x="474" y="281"/>
                    </a:lnTo>
                    <a:lnTo>
                      <a:pt x="474" y="284"/>
                    </a:lnTo>
                    <a:lnTo>
                      <a:pt x="481" y="284"/>
                    </a:lnTo>
                    <a:lnTo>
                      <a:pt x="481" y="291"/>
                    </a:lnTo>
                    <a:lnTo>
                      <a:pt x="482" y="298"/>
                    </a:lnTo>
                    <a:lnTo>
                      <a:pt x="484" y="303"/>
                    </a:lnTo>
                    <a:lnTo>
                      <a:pt x="484" y="306"/>
                    </a:lnTo>
                    <a:lnTo>
                      <a:pt x="490" y="306"/>
                    </a:lnTo>
                    <a:lnTo>
                      <a:pt x="497" y="311"/>
                    </a:lnTo>
                    <a:lnTo>
                      <a:pt x="497" y="319"/>
                    </a:lnTo>
                    <a:lnTo>
                      <a:pt x="494" y="323"/>
                    </a:lnTo>
                    <a:lnTo>
                      <a:pt x="487" y="319"/>
                    </a:lnTo>
                    <a:lnTo>
                      <a:pt x="476" y="323"/>
                    </a:lnTo>
                    <a:lnTo>
                      <a:pt x="474" y="326"/>
                    </a:lnTo>
                    <a:lnTo>
                      <a:pt x="466" y="328"/>
                    </a:lnTo>
                    <a:lnTo>
                      <a:pt x="464" y="333"/>
                    </a:lnTo>
                    <a:lnTo>
                      <a:pt x="466" y="336"/>
                    </a:lnTo>
                    <a:lnTo>
                      <a:pt x="461" y="341"/>
                    </a:lnTo>
                    <a:lnTo>
                      <a:pt x="464" y="346"/>
                    </a:lnTo>
                    <a:lnTo>
                      <a:pt x="462" y="354"/>
                    </a:lnTo>
                    <a:lnTo>
                      <a:pt x="462" y="357"/>
                    </a:lnTo>
                    <a:lnTo>
                      <a:pt x="461" y="357"/>
                    </a:lnTo>
                    <a:lnTo>
                      <a:pt x="461" y="359"/>
                    </a:lnTo>
                    <a:lnTo>
                      <a:pt x="456" y="361"/>
                    </a:lnTo>
                    <a:lnTo>
                      <a:pt x="449" y="357"/>
                    </a:lnTo>
                    <a:lnTo>
                      <a:pt x="442" y="356"/>
                    </a:lnTo>
                    <a:lnTo>
                      <a:pt x="439" y="353"/>
                    </a:lnTo>
                    <a:lnTo>
                      <a:pt x="437" y="353"/>
                    </a:lnTo>
                    <a:lnTo>
                      <a:pt x="436" y="356"/>
                    </a:lnTo>
                    <a:lnTo>
                      <a:pt x="434" y="357"/>
                    </a:lnTo>
                    <a:lnTo>
                      <a:pt x="431" y="354"/>
                    </a:lnTo>
                    <a:lnTo>
                      <a:pt x="429" y="354"/>
                    </a:lnTo>
                    <a:lnTo>
                      <a:pt x="424" y="354"/>
                    </a:lnTo>
                    <a:lnTo>
                      <a:pt x="414" y="353"/>
                    </a:lnTo>
                    <a:lnTo>
                      <a:pt x="406" y="351"/>
                    </a:lnTo>
                    <a:lnTo>
                      <a:pt x="392" y="351"/>
                    </a:lnTo>
                    <a:lnTo>
                      <a:pt x="386" y="346"/>
                    </a:lnTo>
                    <a:lnTo>
                      <a:pt x="384" y="346"/>
                    </a:lnTo>
                    <a:lnTo>
                      <a:pt x="379" y="349"/>
                    </a:lnTo>
                    <a:lnTo>
                      <a:pt x="374" y="346"/>
                    </a:lnTo>
                    <a:lnTo>
                      <a:pt x="369" y="346"/>
                    </a:lnTo>
                    <a:lnTo>
                      <a:pt x="356" y="348"/>
                    </a:lnTo>
                    <a:lnTo>
                      <a:pt x="354" y="344"/>
                    </a:lnTo>
                    <a:lnTo>
                      <a:pt x="353" y="343"/>
                    </a:lnTo>
                    <a:lnTo>
                      <a:pt x="353" y="338"/>
                    </a:lnTo>
                    <a:lnTo>
                      <a:pt x="348" y="329"/>
                    </a:lnTo>
                    <a:lnTo>
                      <a:pt x="344" y="321"/>
                    </a:lnTo>
                    <a:lnTo>
                      <a:pt x="339" y="316"/>
                    </a:lnTo>
                    <a:lnTo>
                      <a:pt x="339" y="313"/>
                    </a:lnTo>
                    <a:lnTo>
                      <a:pt x="338" y="313"/>
                    </a:lnTo>
                    <a:lnTo>
                      <a:pt x="338" y="311"/>
                    </a:lnTo>
                    <a:lnTo>
                      <a:pt x="329" y="311"/>
                    </a:lnTo>
                    <a:lnTo>
                      <a:pt x="324" y="313"/>
                    </a:lnTo>
                    <a:lnTo>
                      <a:pt x="318" y="316"/>
                    </a:lnTo>
                    <a:lnTo>
                      <a:pt x="313" y="316"/>
                    </a:lnTo>
                    <a:lnTo>
                      <a:pt x="313" y="314"/>
                    </a:lnTo>
                    <a:lnTo>
                      <a:pt x="313" y="318"/>
                    </a:lnTo>
                    <a:lnTo>
                      <a:pt x="303" y="323"/>
                    </a:lnTo>
                    <a:lnTo>
                      <a:pt x="293" y="329"/>
                    </a:lnTo>
                    <a:lnTo>
                      <a:pt x="284" y="323"/>
                    </a:lnTo>
                    <a:lnTo>
                      <a:pt x="276" y="321"/>
                    </a:lnTo>
                    <a:lnTo>
                      <a:pt x="270" y="323"/>
                    </a:lnTo>
                    <a:lnTo>
                      <a:pt x="268" y="323"/>
                    </a:lnTo>
                    <a:lnTo>
                      <a:pt x="260" y="316"/>
                    </a:lnTo>
                    <a:lnTo>
                      <a:pt x="255" y="316"/>
                    </a:lnTo>
                    <a:lnTo>
                      <a:pt x="251" y="314"/>
                    </a:lnTo>
                    <a:lnTo>
                      <a:pt x="246" y="313"/>
                    </a:lnTo>
                    <a:lnTo>
                      <a:pt x="238" y="306"/>
                    </a:lnTo>
                    <a:lnTo>
                      <a:pt x="241" y="303"/>
                    </a:lnTo>
                    <a:lnTo>
                      <a:pt x="241" y="301"/>
                    </a:lnTo>
                    <a:lnTo>
                      <a:pt x="236" y="301"/>
                    </a:lnTo>
                    <a:lnTo>
                      <a:pt x="235" y="299"/>
                    </a:lnTo>
                    <a:lnTo>
                      <a:pt x="228" y="299"/>
                    </a:lnTo>
                    <a:lnTo>
                      <a:pt x="225" y="296"/>
                    </a:lnTo>
                    <a:lnTo>
                      <a:pt x="218" y="294"/>
                    </a:lnTo>
                    <a:lnTo>
                      <a:pt x="210" y="296"/>
                    </a:lnTo>
                    <a:lnTo>
                      <a:pt x="205" y="293"/>
                    </a:lnTo>
                    <a:lnTo>
                      <a:pt x="198" y="278"/>
                    </a:lnTo>
                    <a:lnTo>
                      <a:pt x="196" y="274"/>
                    </a:lnTo>
                    <a:lnTo>
                      <a:pt x="195" y="276"/>
                    </a:lnTo>
                    <a:lnTo>
                      <a:pt x="190" y="273"/>
                    </a:lnTo>
                    <a:lnTo>
                      <a:pt x="191" y="271"/>
                    </a:lnTo>
                    <a:lnTo>
                      <a:pt x="193" y="273"/>
                    </a:lnTo>
                    <a:lnTo>
                      <a:pt x="195" y="273"/>
                    </a:lnTo>
                    <a:lnTo>
                      <a:pt x="191" y="268"/>
                    </a:lnTo>
                    <a:lnTo>
                      <a:pt x="188" y="268"/>
                    </a:lnTo>
                    <a:lnTo>
                      <a:pt x="186" y="268"/>
                    </a:lnTo>
                    <a:lnTo>
                      <a:pt x="185" y="259"/>
                    </a:lnTo>
                    <a:lnTo>
                      <a:pt x="177" y="251"/>
                    </a:lnTo>
                    <a:lnTo>
                      <a:pt x="177" y="246"/>
                    </a:lnTo>
                    <a:lnTo>
                      <a:pt x="170" y="240"/>
                    </a:lnTo>
                    <a:lnTo>
                      <a:pt x="168" y="240"/>
                    </a:lnTo>
                    <a:lnTo>
                      <a:pt x="160" y="245"/>
                    </a:lnTo>
                    <a:lnTo>
                      <a:pt x="158" y="245"/>
                    </a:lnTo>
                    <a:lnTo>
                      <a:pt x="157" y="241"/>
                    </a:lnTo>
                    <a:lnTo>
                      <a:pt x="153" y="241"/>
                    </a:lnTo>
                    <a:lnTo>
                      <a:pt x="148" y="240"/>
                    </a:lnTo>
                    <a:lnTo>
                      <a:pt x="148" y="236"/>
                    </a:lnTo>
                    <a:lnTo>
                      <a:pt x="150" y="235"/>
                    </a:lnTo>
                    <a:lnTo>
                      <a:pt x="148" y="236"/>
                    </a:lnTo>
                    <a:lnTo>
                      <a:pt x="145" y="236"/>
                    </a:lnTo>
                    <a:lnTo>
                      <a:pt x="142" y="235"/>
                    </a:lnTo>
                    <a:lnTo>
                      <a:pt x="147" y="238"/>
                    </a:lnTo>
                    <a:lnTo>
                      <a:pt x="145" y="243"/>
                    </a:lnTo>
                    <a:lnTo>
                      <a:pt x="143" y="245"/>
                    </a:lnTo>
                    <a:lnTo>
                      <a:pt x="140" y="245"/>
                    </a:lnTo>
                    <a:lnTo>
                      <a:pt x="137" y="240"/>
                    </a:lnTo>
                    <a:lnTo>
                      <a:pt x="137" y="240"/>
                    </a:lnTo>
                    <a:lnTo>
                      <a:pt x="135" y="240"/>
                    </a:lnTo>
                    <a:lnTo>
                      <a:pt x="133" y="238"/>
                    </a:lnTo>
                    <a:lnTo>
                      <a:pt x="127" y="236"/>
                    </a:lnTo>
                    <a:lnTo>
                      <a:pt x="123" y="235"/>
                    </a:lnTo>
                    <a:lnTo>
                      <a:pt x="122" y="220"/>
                    </a:lnTo>
                    <a:lnTo>
                      <a:pt x="113" y="220"/>
                    </a:lnTo>
                    <a:lnTo>
                      <a:pt x="112" y="215"/>
                    </a:lnTo>
                    <a:lnTo>
                      <a:pt x="112" y="208"/>
                    </a:lnTo>
                    <a:lnTo>
                      <a:pt x="117" y="203"/>
                    </a:lnTo>
                    <a:lnTo>
                      <a:pt x="112" y="195"/>
                    </a:lnTo>
                    <a:lnTo>
                      <a:pt x="108" y="191"/>
                    </a:lnTo>
                    <a:lnTo>
                      <a:pt x="103" y="185"/>
                    </a:lnTo>
                    <a:lnTo>
                      <a:pt x="100" y="181"/>
                    </a:lnTo>
                    <a:lnTo>
                      <a:pt x="98" y="183"/>
                    </a:lnTo>
                    <a:lnTo>
                      <a:pt x="80" y="173"/>
                    </a:lnTo>
                    <a:lnTo>
                      <a:pt x="75" y="173"/>
                    </a:lnTo>
                    <a:lnTo>
                      <a:pt x="74" y="175"/>
                    </a:lnTo>
                    <a:lnTo>
                      <a:pt x="69" y="171"/>
                    </a:lnTo>
                    <a:lnTo>
                      <a:pt x="69" y="168"/>
                    </a:lnTo>
                    <a:lnTo>
                      <a:pt x="67" y="166"/>
                    </a:lnTo>
                    <a:lnTo>
                      <a:pt x="70" y="161"/>
                    </a:lnTo>
                    <a:lnTo>
                      <a:pt x="64" y="158"/>
                    </a:lnTo>
                    <a:lnTo>
                      <a:pt x="64" y="155"/>
                    </a:lnTo>
                    <a:lnTo>
                      <a:pt x="59" y="153"/>
                    </a:lnTo>
                    <a:lnTo>
                      <a:pt x="55" y="152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4" y="145"/>
                    </a:lnTo>
                    <a:lnTo>
                      <a:pt x="52" y="143"/>
                    </a:lnTo>
                    <a:lnTo>
                      <a:pt x="54" y="140"/>
                    </a:lnTo>
                    <a:lnTo>
                      <a:pt x="54" y="132"/>
                    </a:lnTo>
                    <a:lnTo>
                      <a:pt x="57" y="130"/>
                    </a:lnTo>
                    <a:lnTo>
                      <a:pt x="57" y="123"/>
                    </a:lnTo>
                    <a:lnTo>
                      <a:pt x="60" y="123"/>
                    </a:lnTo>
                    <a:lnTo>
                      <a:pt x="64" y="122"/>
                    </a:lnTo>
                    <a:lnTo>
                      <a:pt x="64" y="115"/>
                    </a:lnTo>
                    <a:lnTo>
                      <a:pt x="62" y="113"/>
                    </a:lnTo>
                    <a:lnTo>
                      <a:pt x="62" y="107"/>
                    </a:lnTo>
                    <a:lnTo>
                      <a:pt x="64" y="107"/>
                    </a:lnTo>
                    <a:lnTo>
                      <a:pt x="69" y="105"/>
                    </a:lnTo>
                    <a:lnTo>
                      <a:pt x="70" y="105"/>
                    </a:lnTo>
                    <a:lnTo>
                      <a:pt x="69" y="103"/>
                    </a:lnTo>
                    <a:lnTo>
                      <a:pt x="65" y="102"/>
                    </a:lnTo>
                    <a:lnTo>
                      <a:pt x="60" y="102"/>
                    </a:lnTo>
                    <a:lnTo>
                      <a:pt x="55" y="102"/>
                    </a:lnTo>
                    <a:lnTo>
                      <a:pt x="49" y="97"/>
                    </a:lnTo>
                    <a:lnTo>
                      <a:pt x="44" y="97"/>
                    </a:lnTo>
                    <a:lnTo>
                      <a:pt x="40" y="95"/>
                    </a:lnTo>
                    <a:lnTo>
                      <a:pt x="37" y="90"/>
                    </a:lnTo>
                    <a:lnTo>
                      <a:pt x="35" y="85"/>
                    </a:lnTo>
                    <a:lnTo>
                      <a:pt x="32" y="85"/>
                    </a:lnTo>
                    <a:lnTo>
                      <a:pt x="29" y="80"/>
                    </a:lnTo>
                    <a:lnTo>
                      <a:pt x="29" y="77"/>
                    </a:lnTo>
                    <a:lnTo>
                      <a:pt x="27" y="72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4" y="67"/>
                    </a:lnTo>
                    <a:lnTo>
                      <a:pt x="20" y="62"/>
                    </a:lnTo>
                    <a:lnTo>
                      <a:pt x="15" y="54"/>
                    </a:lnTo>
                    <a:lnTo>
                      <a:pt x="9" y="52"/>
                    </a:lnTo>
                    <a:lnTo>
                      <a:pt x="10" y="49"/>
                    </a:lnTo>
                    <a:lnTo>
                      <a:pt x="9" y="44"/>
                    </a:lnTo>
                    <a:lnTo>
                      <a:pt x="12" y="37"/>
                    </a:lnTo>
                    <a:lnTo>
                      <a:pt x="10" y="34"/>
                    </a:lnTo>
                    <a:lnTo>
                      <a:pt x="5" y="34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7" y="7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8" name="Freeform 74"/>
              <p:cNvSpPr>
                <a:spLocks/>
              </p:cNvSpPr>
              <p:nvPr/>
            </p:nvSpPr>
            <p:spPr bwMode="auto">
              <a:xfrm>
                <a:off x="6903048" y="2820439"/>
                <a:ext cx="126289" cy="104797"/>
              </a:xfrm>
              <a:custGeom>
                <a:avLst/>
                <a:gdLst/>
                <a:ahLst/>
                <a:cxnLst>
                  <a:cxn ang="0">
                    <a:pos x="234" y="173"/>
                  </a:cxn>
                  <a:cxn ang="0">
                    <a:pos x="224" y="170"/>
                  </a:cxn>
                  <a:cxn ang="0">
                    <a:pos x="214" y="155"/>
                  </a:cxn>
                  <a:cxn ang="0">
                    <a:pos x="213" y="143"/>
                  </a:cxn>
                  <a:cxn ang="0">
                    <a:pos x="213" y="130"/>
                  </a:cxn>
                  <a:cxn ang="0">
                    <a:pos x="204" y="120"/>
                  </a:cxn>
                  <a:cxn ang="0">
                    <a:pos x="199" y="118"/>
                  </a:cxn>
                  <a:cxn ang="0">
                    <a:pos x="176" y="108"/>
                  </a:cxn>
                  <a:cxn ang="0">
                    <a:pos x="170" y="106"/>
                  </a:cxn>
                  <a:cxn ang="0">
                    <a:pos x="168" y="101"/>
                  </a:cxn>
                  <a:cxn ang="0">
                    <a:pos x="165" y="93"/>
                  </a:cxn>
                  <a:cxn ang="0">
                    <a:pos x="160" y="88"/>
                  </a:cxn>
                  <a:cxn ang="0">
                    <a:pos x="153" y="85"/>
                  </a:cxn>
                  <a:cxn ang="0">
                    <a:pos x="155" y="80"/>
                  </a:cxn>
                  <a:cxn ang="0">
                    <a:pos x="155" y="75"/>
                  </a:cxn>
                  <a:cxn ang="0">
                    <a:pos x="158" y="65"/>
                  </a:cxn>
                  <a:cxn ang="0">
                    <a:pos x="161" y="58"/>
                  </a:cxn>
                  <a:cxn ang="0">
                    <a:pos x="165" y="50"/>
                  </a:cxn>
                  <a:cxn ang="0">
                    <a:pos x="163" y="42"/>
                  </a:cxn>
                  <a:cxn ang="0">
                    <a:pos x="170" y="40"/>
                  </a:cxn>
                  <a:cxn ang="0">
                    <a:pos x="170" y="38"/>
                  </a:cxn>
                  <a:cxn ang="0">
                    <a:pos x="161" y="37"/>
                  </a:cxn>
                  <a:cxn ang="0">
                    <a:pos x="150" y="32"/>
                  </a:cxn>
                  <a:cxn ang="0">
                    <a:pos x="141" y="30"/>
                  </a:cxn>
                  <a:cxn ang="0">
                    <a:pos x="136" y="20"/>
                  </a:cxn>
                  <a:cxn ang="0">
                    <a:pos x="130" y="15"/>
                  </a:cxn>
                  <a:cxn ang="0">
                    <a:pos x="128" y="7"/>
                  </a:cxn>
                  <a:cxn ang="0">
                    <a:pos x="118" y="7"/>
                  </a:cxn>
                  <a:cxn ang="0">
                    <a:pos x="113" y="2"/>
                  </a:cxn>
                  <a:cxn ang="0">
                    <a:pos x="105" y="2"/>
                  </a:cxn>
                  <a:cxn ang="0">
                    <a:pos x="86" y="0"/>
                  </a:cxn>
                  <a:cxn ang="0">
                    <a:pos x="78" y="2"/>
                  </a:cxn>
                  <a:cxn ang="0">
                    <a:pos x="72" y="7"/>
                  </a:cxn>
                  <a:cxn ang="0">
                    <a:pos x="67" y="12"/>
                  </a:cxn>
                  <a:cxn ang="0">
                    <a:pos x="52" y="17"/>
                  </a:cxn>
                  <a:cxn ang="0">
                    <a:pos x="47" y="32"/>
                  </a:cxn>
                  <a:cxn ang="0">
                    <a:pos x="52" y="47"/>
                  </a:cxn>
                  <a:cxn ang="0">
                    <a:pos x="48" y="58"/>
                  </a:cxn>
                  <a:cxn ang="0">
                    <a:pos x="45" y="68"/>
                  </a:cxn>
                  <a:cxn ang="0">
                    <a:pos x="0" y="100"/>
                  </a:cxn>
                  <a:cxn ang="0">
                    <a:pos x="0" y="100"/>
                  </a:cxn>
                  <a:cxn ang="0">
                    <a:pos x="33" y="131"/>
                  </a:cxn>
                  <a:cxn ang="0">
                    <a:pos x="193" y="203"/>
                  </a:cxn>
                  <a:cxn ang="0">
                    <a:pos x="203" y="183"/>
                  </a:cxn>
                  <a:cxn ang="0">
                    <a:pos x="223" y="181"/>
                  </a:cxn>
                  <a:cxn ang="0">
                    <a:pos x="231" y="181"/>
                  </a:cxn>
                  <a:cxn ang="0">
                    <a:pos x="236" y="175"/>
                  </a:cxn>
                </a:cxnLst>
                <a:rect l="0" t="0" r="r" b="b"/>
                <a:pathLst>
                  <a:path w="236" h="203">
                    <a:moveTo>
                      <a:pt x="236" y="175"/>
                    </a:moveTo>
                    <a:lnTo>
                      <a:pt x="234" y="173"/>
                    </a:lnTo>
                    <a:lnTo>
                      <a:pt x="228" y="171"/>
                    </a:lnTo>
                    <a:lnTo>
                      <a:pt x="224" y="170"/>
                    </a:lnTo>
                    <a:lnTo>
                      <a:pt x="223" y="155"/>
                    </a:lnTo>
                    <a:lnTo>
                      <a:pt x="214" y="155"/>
                    </a:lnTo>
                    <a:lnTo>
                      <a:pt x="213" y="150"/>
                    </a:lnTo>
                    <a:lnTo>
                      <a:pt x="213" y="143"/>
                    </a:lnTo>
                    <a:lnTo>
                      <a:pt x="218" y="138"/>
                    </a:lnTo>
                    <a:lnTo>
                      <a:pt x="213" y="130"/>
                    </a:lnTo>
                    <a:lnTo>
                      <a:pt x="209" y="126"/>
                    </a:lnTo>
                    <a:lnTo>
                      <a:pt x="204" y="120"/>
                    </a:lnTo>
                    <a:lnTo>
                      <a:pt x="201" y="116"/>
                    </a:lnTo>
                    <a:lnTo>
                      <a:pt x="199" y="118"/>
                    </a:lnTo>
                    <a:lnTo>
                      <a:pt x="181" y="108"/>
                    </a:lnTo>
                    <a:lnTo>
                      <a:pt x="176" y="108"/>
                    </a:lnTo>
                    <a:lnTo>
                      <a:pt x="175" y="110"/>
                    </a:lnTo>
                    <a:lnTo>
                      <a:pt x="170" y="106"/>
                    </a:lnTo>
                    <a:lnTo>
                      <a:pt x="170" y="103"/>
                    </a:lnTo>
                    <a:lnTo>
                      <a:pt x="168" y="101"/>
                    </a:lnTo>
                    <a:lnTo>
                      <a:pt x="171" y="96"/>
                    </a:lnTo>
                    <a:lnTo>
                      <a:pt x="165" y="93"/>
                    </a:lnTo>
                    <a:lnTo>
                      <a:pt x="165" y="90"/>
                    </a:lnTo>
                    <a:lnTo>
                      <a:pt x="160" y="88"/>
                    </a:lnTo>
                    <a:lnTo>
                      <a:pt x="156" y="87"/>
                    </a:lnTo>
                    <a:lnTo>
                      <a:pt x="153" y="85"/>
                    </a:lnTo>
                    <a:lnTo>
                      <a:pt x="153" y="83"/>
                    </a:lnTo>
                    <a:lnTo>
                      <a:pt x="155" y="80"/>
                    </a:lnTo>
                    <a:lnTo>
                      <a:pt x="153" y="78"/>
                    </a:lnTo>
                    <a:lnTo>
                      <a:pt x="155" y="75"/>
                    </a:lnTo>
                    <a:lnTo>
                      <a:pt x="155" y="67"/>
                    </a:lnTo>
                    <a:lnTo>
                      <a:pt x="158" y="65"/>
                    </a:lnTo>
                    <a:lnTo>
                      <a:pt x="158" y="58"/>
                    </a:lnTo>
                    <a:lnTo>
                      <a:pt x="161" y="58"/>
                    </a:lnTo>
                    <a:lnTo>
                      <a:pt x="165" y="57"/>
                    </a:lnTo>
                    <a:lnTo>
                      <a:pt x="165" y="50"/>
                    </a:lnTo>
                    <a:lnTo>
                      <a:pt x="163" y="48"/>
                    </a:lnTo>
                    <a:lnTo>
                      <a:pt x="163" y="42"/>
                    </a:lnTo>
                    <a:lnTo>
                      <a:pt x="165" y="42"/>
                    </a:lnTo>
                    <a:lnTo>
                      <a:pt x="170" y="40"/>
                    </a:lnTo>
                    <a:lnTo>
                      <a:pt x="171" y="40"/>
                    </a:lnTo>
                    <a:lnTo>
                      <a:pt x="170" y="38"/>
                    </a:lnTo>
                    <a:lnTo>
                      <a:pt x="166" y="37"/>
                    </a:lnTo>
                    <a:lnTo>
                      <a:pt x="161" y="37"/>
                    </a:lnTo>
                    <a:lnTo>
                      <a:pt x="156" y="37"/>
                    </a:lnTo>
                    <a:lnTo>
                      <a:pt x="150" y="32"/>
                    </a:lnTo>
                    <a:lnTo>
                      <a:pt x="145" y="32"/>
                    </a:lnTo>
                    <a:lnTo>
                      <a:pt x="141" y="30"/>
                    </a:lnTo>
                    <a:lnTo>
                      <a:pt x="138" y="25"/>
                    </a:lnTo>
                    <a:lnTo>
                      <a:pt x="136" y="20"/>
                    </a:lnTo>
                    <a:lnTo>
                      <a:pt x="133" y="20"/>
                    </a:lnTo>
                    <a:lnTo>
                      <a:pt x="130" y="15"/>
                    </a:lnTo>
                    <a:lnTo>
                      <a:pt x="130" y="12"/>
                    </a:lnTo>
                    <a:lnTo>
                      <a:pt x="128" y="7"/>
                    </a:lnTo>
                    <a:lnTo>
                      <a:pt x="123" y="7"/>
                    </a:lnTo>
                    <a:lnTo>
                      <a:pt x="118" y="7"/>
                    </a:lnTo>
                    <a:lnTo>
                      <a:pt x="113" y="5"/>
                    </a:lnTo>
                    <a:lnTo>
                      <a:pt x="113" y="2"/>
                    </a:lnTo>
                    <a:lnTo>
                      <a:pt x="110" y="0"/>
                    </a:lnTo>
                    <a:lnTo>
                      <a:pt x="105" y="2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3" y="2"/>
                    </a:lnTo>
                    <a:lnTo>
                      <a:pt x="78" y="2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68" y="12"/>
                    </a:lnTo>
                    <a:lnTo>
                      <a:pt x="67" y="12"/>
                    </a:lnTo>
                    <a:lnTo>
                      <a:pt x="62" y="15"/>
                    </a:lnTo>
                    <a:lnTo>
                      <a:pt x="52" y="17"/>
                    </a:lnTo>
                    <a:lnTo>
                      <a:pt x="48" y="25"/>
                    </a:lnTo>
                    <a:lnTo>
                      <a:pt x="47" y="32"/>
                    </a:lnTo>
                    <a:lnTo>
                      <a:pt x="52" y="40"/>
                    </a:lnTo>
                    <a:lnTo>
                      <a:pt x="52" y="47"/>
                    </a:lnTo>
                    <a:lnTo>
                      <a:pt x="48" y="55"/>
                    </a:lnTo>
                    <a:lnTo>
                      <a:pt x="48" y="58"/>
                    </a:lnTo>
                    <a:lnTo>
                      <a:pt x="48" y="63"/>
                    </a:lnTo>
                    <a:lnTo>
                      <a:pt x="45" y="68"/>
                    </a:lnTo>
                    <a:lnTo>
                      <a:pt x="43" y="72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12" y="128"/>
                    </a:lnTo>
                    <a:lnTo>
                      <a:pt x="33" y="131"/>
                    </a:lnTo>
                    <a:lnTo>
                      <a:pt x="146" y="203"/>
                    </a:lnTo>
                    <a:lnTo>
                      <a:pt x="193" y="203"/>
                    </a:lnTo>
                    <a:lnTo>
                      <a:pt x="198" y="194"/>
                    </a:lnTo>
                    <a:lnTo>
                      <a:pt x="203" y="183"/>
                    </a:lnTo>
                    <a:lnTo>
                      <a:pt x="214" y="178"/>
                    </a:lnTo>
                    <a:lnTo>
                      <a:pt x="223" y="181"/>
                    </a:lnTo>
                    <a:lnTo>
                      <a:pt x="228" y="180"/>
                    </a:lnTo>
                    <a:lnTo>
                      <a:pt x="231" y="181"/>
                    </a:lnTo>
                    <a:lnTo>
                      <a:pt x="233" y="176"/>
                    </a:lnTo>
                    <a:lnTo>
                      <a:pt x="236" y="17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29" name="Freeform 75"/>
              <p:cNvSpPr>
                <a:spLocks/>
              </p:cNvSpPr>
              <p:nvPr/>
            </p:nvSpPr>
            <p:spPr bwMode="auto">
              <a:xfrm>
                <a:off x="7005792" y="2912784"/>
                <a:ext cx="22475" cy="20752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5" y="16"/>
                  </a:cxn>
                  <a:cxn ang="0">
                    <a:pos x="10" y="5"/>
                  </a:cxn>
                  <a:cxn ang="0">
                    <a:pos x="21" y="0"/>
                  </a:cxn>
                  <a:cxn ang="0">
                    <a:pos x="30" y="3"/>
                  </a:cxn>
                  <a:cxn ang="0">
                    <a:pos x="35" y="2"/>
                  </a:cxn>
                  <a:cxn ang="0">
                    <a:pos x="38" y="3"/>
                  </a:cxn>
                  <a:cxn ang="0">
                    <a:pos x="36" y="3"/>
                  </a:cxn>
                  <a:cxn ang="0">
                    <a:pos x="40" y="13"/>
                  </a:cxn>
                  <a:cxn ang="0">
                    <a:pos x="25" y="16"/>
                  </a:cxn>
                  <a:cxn ang="0">
                    <a:pos x="35" y="21"/>
                  </a:cxn>
                  <a:cxn ang="0">
                    <a:pos x="36" y="20"/>
                  </a:cxn>
                  <a:cxn ang="0">
                    <a:pos x="38" y="23"/>
                  </a:cxn>
                  <a:cxn ang="0">
                    <a:pos x="38" y="26"/>
                  </a:cxn>
                  <a:cxn ang="0">
                    <a:pos x="40" y="30"/>
                  </a:cxn>
                  <a:cxn ang="0">
                    <a:pos x="40" y="30"/>
                  </a:cxn>
                  <a:cxn ang="0">
                    <a:pos x="38" y="30"/>
                  </a:cxn>
                  <a:cxn ang="0">
                    <a:pos x="41" y="33"/>
                  </a:cxn>
                  <a:cxn ang="0">
                    <a:pos x="26" y="40"/>
                  </a:cxn>
                  <a:cxn ang="0">
                    <a:pos x="25" y="31"/>
                  </a:cxn>
                  <a:cxn ang="0">
                    <a:pos x="3" y="25"/>
                  </a:cxn>
                  <a:cxn ang="0">
                    <a:pos x="0" y="25"/>
                  </a:cxn>
                </a:cxnLst>
                <a:rect l="0" t="0" r="r" b="b"/>
                <a:pathLst>
                  <a:path w="41" h="40">
                    <a:moveTo>
                      <a:pt x="0" y="25"/>
                    </a:moveTo>
                    <a:lnTo>
                      <a:pt x="5" y="16"/>
                    </a:lnTo>
                    <a:lnTo>
                      <a:pt x="10" y="5"/>
                    </a:lnTo>
                    <a:lnTo>
                      <a:pt x="21" y="0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8" y="3"/>
                    </a:lnTo>
                    <a:lnTo>
                      <a:pt x="36" y="3"/>
                    </a:lnTo>
                    <a:lnTo>
                      <a:pt x="40" y="13"/>
                    </a:lnTo>
                    <a:lnTo>
                      <a:pt x="25" y="16"/>
                    </a:lnTo>
                    <a:lnTo>
                      <a:pt x="35" y="21"/>
                    </a:lnTo>
                    <a:lnTo>
                      <a:pt x="36" y="20"/>
                    </a:lnTo>
                    <a:lnTo>
                      <a:pt x="38" y="23"/>
                    </a:lnTo>
                    <a:lnTo>
                      <a:pt x="38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8" y="30"/>
                    </a:lnTo>
                    <a:lnTo>
                      <a:pt x="41" y="33"/>
                    </a:lnTo>
                    <a:lnTo>
                      <a:pt x="26" y="40"/>
                    </a:lnTo>
                    <a:lnTo>
                      <a:pt x="25" y="31"/>
                    </a:lnTo>
                    <a:lnTo>
                      <a:pt x="3" y="25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0" name="Freeform 76"/>
              <p:cNvSpPr>
                <a:spLocks/>
              </p:cNvSpPr>
              <p:nvPr/>
            </p:nvSpPr>
            <p:spPr bwMode="auto">
              <a:xfrm>
                <a:off x="6817428" y="2844303"/>
                <a:ext cx="29967" cy="14526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3" y="23"/>
                  </a:cxn>
                  <a:cxn ang="0">
                    <a:pos x="0" y="20"/>
                  </a:cxn>
                  <a:cxn ang="0">
                    <a:pos x="0" y="15"/>
                  </a:cxn>
                  <a:cxn ang="0">
                    <a:pos x="3" y="13"/>
                  </a:cxn>
                  <a:cxn ang="0">
                    <a:pos x="6" y="10"/>
                  </a:cxn>
                  <a:cxn ang="0">
                    <a:pos x="10" y="11"/>
                  </a:cxn>
                  <a:cxn ang="0">
                    <a:pos x="13" y="11"/>
                  </a:cxn>
                  <a:cxn ang="0">
                    <a:pos x="15" y="8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5" y="8"/>
                  </a:cxn>
                  <a:cxn ang="0">
                    <a:pos x="31" y="8"/>
                  </a:cxn>
                  <a:cxn ang="0">
                    <a:pos x="41" y="3"/>
                  </a:cxn>
                  <a:cxn ang="0">
                    <a:pos x="49" y="0"/>
                  </a:cxn>
                  <a:cxn ang="0">
                    <a:pos x="53" y="0"/>
                  </a:cxn>
                  <a:cxn ang="0">
                    <a:pos x="54" y="0"/>
                  </a:cxn>
                  <a:cxn ang="0">
                    <a:pos x="51" y="1"/>
                  </a:cxn>
                  <a:cxn ang="0">
                    <a:pos x="46" y="5"/>
                  </a:cxn>
                  <a:cxn ang="0">
                    <a:pos x="40" y="11"/>
                  </a:cxn>
                  <a:cxn ang="0">
                    <a:pos x="41" y="15"/>
                  </a:cxn>
                  <a:cxn ang="0">
                    <a:pos x="41" y="20"/>
                  </a:cxn>
                  <a:cxn ang="0">
                    <a:pos x="35" y="18"/>
                  </a:cxn>
                  <a:cxn ang="0">
                    <a:pos x="31" y="20"/>
                  </a:cxn>
                  <a:cxn ang="0">
                    <a:pos x="26" y="25"/>
                  </a:cxn>
                  <a:cxn ang="0">
                    <a:pos x="21" y="25"/>
                  </a:cxn>
                  <a:cxn ang="0">
                    <a:pos x="18" y="28"/>
                  </a:cxn>
                  <a:cxn ang="0">
                    <a:pos x="15" y="26"/>
                  </a:cxn>
                  <a:cxn ang="0">
                    <a:pos x="8" y="26"/>
                  </a:cxn>
                </a:cxnLst>
                <a:rect l="0" t="0" r="r" b="b"/>
                <a:pathLst>
                  <a:path w="54" h="28">
                    <a:moveTo>
                      <a:pt x="8" y="26"/>
                    </a:moveTo>
                    <a:lnTo>
                      <a:pt x="3" y="23"/>
                    </a:lnTo>
                    <a:lnTo>
                      <a:pt x="0" y="20"/>
                    </a:lnTo>
                    <a:lnTo>
                      <a:pt x="0" y="15"/>
                    </a:lnTo>
                    <a:lnTo>
                      <a:pt x="3" y="13"/>
                    </a:lnTo>
                    <a:lnTo>
                      <a:pt x="6" y="10"/>
                    </a:lnTo>
                    <a:lnTo>
                      <a:pt x="10" y="11"/>
                    </a:lnTo>
                    <a:lnTo>
                      <a:pt x="13" y="11"/>
                    </a:lnTo>
                    <a:lnTo>
                      <a:pt x="15" y="8"/>
                    </a:lnTo>
                    <a:lnTo>
                      <a:pt x="15" y="5"/>
                    </a:lnTo>
                    <a:lnTo>
                      <a:pt x="20" y="5"/>
                    </a:lnTo>
                    <a:lnTo>
                      <a:pt x="25" y="8"/>
                    </a:lnTo>
                    <a:lnTo>
                      <a:pt x="31" y="8"/>
                    </a:lnTo>
                    <a:lnTo>
                      <a:pt x="41" y="3"/>
                    </a:lnTo>
                    <a:lnTo>
                      <a:pt x="49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5"/>
                    </a:lnTo>
                    <a:lnTo>
                      <a:pt x="40" y="11"/>
                    </a:lnTo>
                    <a:lnTo>
                      <a:pt x="41" y="15"/>
                    </a:lnTo>
                    <a:lnTo>
                      <a:pt x="41" y="20"/>
                    </a:lnTo>
                    <a:lnTo>
                      <a:pt x="35" y="18"/>
                    </a:lnTo>
                    <a:lnTo>
                      <a:pt x="31" y="20"/>
                    </a:lnTo>
                    <a:lnTo>
                      <a:pt x="26" y="25"/>
                    </a:lnTo>
                    <a:lnTo>
                      <a:pt x="21" y="25"/>
                    </a:lnTo>
                    <a:lnTo>
                      <a:pt x="18" y="28"/>
                    </a:lnTo>
                    <a:lnTo>
                      <a:pt x="15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1" name="Freeform 77"/>
              <p:cNvSpPr>
                <a:spLocks/>
              </p:cNvSpPr>
              <p:nvPr/>
            </p:nvSpPr>
            <p:spPr bwMode="auto">
              <a:xfrm>
                <a:off x="6860238" y="2823552"/>
                <a:ext cx="81339" cy="63293"/>
              </a:xfrm>
              <a:custGeom>
                <a:avLst/>
                <a:gdLst/>
                <a:ahLst/>
                <a:cxnLst>
                  <a:cxn ang="0">
                    <a:pos x="123" y="67"/>
                  </a:cxn>
                  <a:cxn ang="0">
                    <a:pos x="128" y="58"/>
                  </a:cxn>
                  <a:cxn ang="0">
                    <a:pos x="128" y="50"/>
                  </a:cxn>
                  <a:cxn ang="0">
                    <a:pos x="132" y="35"/>
                  </a:cxn>
                  <a:cxn ang="0">
                    <a:pos x="128" y="20"/>
                  </a:cxn>
                  <a:cxn ang="0">
                    <a:pos x="142" y="10"/>
                  </a:cxn>
                  <a:cxn ang="0">
                    <a:pos x="148" y="7"/>
                  </a:cxn>
                  <a:cxn ang="0">
                    <a:pos x="150" y="0"/>
                  </a:cxn>
                  <a:cxn ang="0">
                    <a:pos x="133" y="3"/>
                  </a:cxn>
                  <a:cxn ang="0">
                    <a:pos x="117" y="3"/>
                  </a:cxn>
                  <a:cxn ang="0">
                    <a:pos x="102" y="5"/>
                  </a:cxn>
                  <a:cxn ang="0">
                    <a:pos x="92" y="10"/>
                  </a:cxn>
                  <a:cxn ang="0">
                    <a:pos x="78" y="12"/>
                  </a:cxn>
                  <a:cxn ang="0">
                    <a:pos x="68" y="8"/>
                  </a:cxn>
                  <a:cxn ang="0">
                    <a:pos x="52" y="8"/>
                  </a:cxn>
                  <a:cxn ang="0">
                    <a:pos x="45" y="10"/>
                  </a:cxn>
                  <a:cxn ang="0">
                    <a:pos x="30" y="13"/>
                  </a:cxn>
                  <a:cxn ang="0">
                    <a:pos x="22" y="17"/>
                  </a:cxn>
                  <a:cxn ang="0">
                    <a:pos x="19" y="27"/>
                  </a:cxn>
                  <a:cxn ang="0">
                    <a:pos x="14" y="32"/>
                  </a:cxn>
                  <a:cxn ang="0">
                    <a:pos x="4" y="32"/>
                  </a:cxn>
                  <a:cxn ang="0">
                    <a:pos x="0" y="33"/>
                  </a:cxn>
                  <a:cxn ang="0">
                    <a:pos x="5" y="48"/>
                  </a:cxn>
                  <a:cxn ang="0">
                    <a:pos x="5" y="58"/>
                  </a:cxn>
                  <a:cxn ang="0">
                    <a:pos x="15" y="67"/>
                  </a:cxn>
                  <a:cxn ang="0">
                    <a:pos x="22" y="73"/>
                  </a:cxn>
                  <a:cxn ang="0">
                    <a:pos x="24" y="83"/>
                  </a:cxn>
                  <a:cxn ang="0">
                    <a:pos x="19" y="85"/>
                  </a:cxn>
                  <a:cxn ang="0">
                    <a:pos x="12" y="93"/>
                  </a:cxn>
                  <a:cxn ang="0">
                    <a:pos x="7" y="98"/>
                  </a:cxn>
                  <a:cxn ang="0">
                    <a:pos x="12" y="103"/>
                  </a:cxn>
                  <a:cxn ang="0">
                    <a:pos x="12" y="113"/>
                  </a:cxn>
                  <a:cxn ang="0">
                    <a:pos x="22" y="116"/>
                  </a:cxn>
                  <a:cxn ang="0">
                    <a:pos x="29" y="120"/>
                  </a:cxn>
                  <a:cxn ang="0">
                    <a:pos x="80" y="95"/>
                  </a:cxn>
                </a:cxnLst>
                <a:rect l="0" t="0" r="r" b="b"/>
                <a:pathLst>
                  <a:path w="152" h="123">
                    <a:moveTo>
                      <a:pt x="80" y="95"/>
                    </a:moveTo>
                    <a:lnTo>
                      <a:pt x="123" y="67"/>
                    </a:lnTo>
                    <a:lnTo>
                      <a:pt x="125" y="63"/>
                    </a:lnTo>
                    <a:lnTo>
                      <a:pt x="128" y="58"/>
                    </a:lnTo>
                    <a:lnTo>
                      <a:pt x="128" y="53"/>
                    </a:lnTo>
                    <a:lnTo>
                      <a:pt x="128" y="50"/>
                    </a:lnTo>
                    <a:lnTo>
                      <a:pt x="132" y="42"/>
                    </a:lnTo>
                    <a:lnTo>
                      <a:pt x="132" y="35"/>
                    </a:lnTo>
                    <a:lnTo>
                      <a:pt x="127" y="27"/>
                    </a:lnTo>
                    <a:lnTo>
                      <a:pt x="128" y="20"/>
                    </a:lnTo>
                    <a:lnTo>
                      <a:pt x="132" y="12"/>
                    </a:lnTo>
                    <a:lnTo>
                      <a:pt x="142" y="10"/>
                    </a:lnTo>
                    <a:lnTo>
                      <a:pt x="147" y="7"/>
                    </a:lnTo>
                    <a:lnTo>
                      <a:pt x="148" y="7"/>
                    </a:lnTo>
                    <a:lnTo>
                      <a:pt x="152" y="2"/>
                    </a:lnTo>
                    <a:lnTo>
                      <a:pt x="150" y="0"/>
                    </a:lnTo>
                    <a:lnTo>
                      <a:pt x="142" y="0"/>
                    </a:lnTo>
                    <a:lnTo>
                      <a:pt x="133" y="3"/>
                    </a:lnTo>
                    <a:lnTo>
                      <a:pt x="120" y="2"/>
                    </a:lnTo>
                    <a:lnTo>
                      <a:pt x="117" y="3"/>
                    </a:lnTo>
                    <a:lnTo>
                      <a:pt x="110" y="3"/>
                    </a:lnTo>
                    <a:lnTo>
                      <a:pt x="102" y="5"/>
                    </a:lnTo>
                    <a:lnTo>
                      <a:pt x="97" y="8"/>
                    </a:lnTo>
                    <a:lnTo>
                      <a:pt x="92" y="10"/>
                    </a:lnTo>
                    <a:lnTo>
                      <a:pt x="90" y="12"/>
                    </a:lnTo>
                    <a:lnTo>
                      <a:pt x="78" y="12"/>
                    </a:lnTo>
                    <a:lnTo>
                      <a:pt x="72" y="10"/>
                    </a:lnTo>
                    <a:lnTo>
                      <a:pt x="68" y="8"/>
                    </a:lnTo>
                    <a:lnTo>
                      <a:pt x="65" y="7"/>
                    </a:lnTo>
                    <a:lnTo>
                      <a:pt x="52" y="8"/>
                    </a:lnTo>
                    <a:lnTo>
                      <a:pt x="49" y="10"/>
                    </a:lnTo>
                    <a:lnTo>
                      <a:pt x="45" y="10"/>
                    </a:lnTo>
                    <a:lnTo>
                      <a:pt x="34" y="15"/>
                    </a:lnTo>
                    <a:lnTo>
                      <a:pt x="30" y="13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0" y="23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14" y="32"/>
                    </a:lnTo>
                    <a:lnTo>
                      <a:pt x="9" y="33"/>
                    </a:lnTo>
                    <a:lnTo>
                      <a:pt x="4" y="32"/>
                    </a:lnTo>
                    <a:lnTo>
                      <a:pt x="4" y="33"/>
                    </a:lnTo>
                    <a:lnTo>
                      <a:pt x="0" y="33"/>
                    </a:lnTo>
                    <a:lnTo>
                      <a:pt x="2" y="40"/>
                    </a:lnTo>
                    <a:lnTo>
                      <a:pt x="5" y="48"/>
                    </a:lnTo>
                    <a:lnTo>
                      <a:pt x="7" y="53"/>
                    </a:lnTo>
                    <a:lnTo>
                      <a:pt x="5" y="58"/>
                    </a:lnTo>
                    <a:lnTo>
                      <a:pt x="5" y="67"/>
                    </a:lnTo>
                    <a:lnTo>
                      <a:pt x="15" y="67"/>
                    </a:lnTo>
                    <a:lnTo>
                      <a:pt x="19" y="72"/>
                    </a:lnTo>
                    <a:lnTo>
                      <a:pt x="22" y="73"/>
                    </a:lnTo>
                    <a:lnTo>
                      <a:pt x="22" y="80"/>
                    </a:lnTo>
                    <a:lnTo>
                      <a:pt x="24" y="83"/>
                    </a:lnTo>
                    <a:lnTo>
                      <a:pt x="20" y="85"/>
                    </a:lnTo>
                    <a:lnTo>
                      <a:pt x="19" y="85"/>
                    </a:lnTo>
                    <a:lnTo>
                      <a:pt x="14" y="87"/>
                    </a:lnTo>
                    <a:lnTo>
                      <a:pt x="12" y="93"/>
                    </a:lnTo>
                    <a:lnTo>
                      <a:pt x="9" y="98"/>
                    </a:lnTo>
                    <a:lnTo>
                      <a:pt x="7" y="98"/>
                    </a:lnTo>
                    <a:lnTo>
                      <a:pt x="9" y="100"/>
                    </a:lnTo>
                    <a:lnTo>
                      <a:pt x="12" y="103"/>
                    </a:lnTo>
                    <a:lnTo>
                      <a:pt x="14" y="110"/>
                    </a:lnTo>
                    <a:lnTo>
                      <a:pt x="12" y="113"/>
                    </a:lnTo>
                    <a:lnTo>
                      <a:pt x="14" y="113"/>
                    </a:lnTo>
                    <a:lnTo>
                      <a:pt x="22" y="116"/>
                    </a:lnTo>
                    <a:lnTo>
                      <a:pt x="27" y="120"/>
                    </a:lnTo>
                    <a:lnTo>
                      <a:pt x="29" y="120"/>
                    </a:lnTo>
                    <a:lnTo>
                      <a:pt x="32" y="123"/>
                    </a:lnTo>
                    <a:lnTo>
                      <a:pt x="80" y="95"/>
                    </a:lnTo>
                    <a:lnTo>
                      <a:pt x="80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2" name="Freeform 78"/>
              <p:cNvSpPr>
                <a:spLocks/>
              </p:cNvSpPr>
              <p:nvPr/>
            </p:nvSpPr>
            <p:spPr bwMode="auto">
              <a:xfrm>
                <a:off x="6844184" y="2874393"/>
                <a:ext cx="20334" cy="49804"/>
              </a:xfrm>
              <a:custGeom>
                <a:avLst/>
                <a:gdLst/>
                <a:ahLst/>
                <a:cxnLst>
                  <a:cxn ang="0">
                    <a:pos x="24" y="96"/>
                  </a:cxn>
                  <a:cxn ang="0">
                    <a:pos x="27" y="91"/>
                  </a:cxn>
                  <a:cxn ang="0">
                    <a:pos x="27" y="91"/>
                  </a:cxn>
                  <a:cxn ang="0">
                    <a:pos x="27" y="88"/>
                  </a:cxn>
                  <a:cxn ang="0">
                    <a:pos x="29" y="87"/>
                  </a:cxn>
                  <a:cxn ang="0">
                    <a:pos x="29" y="82"/>
                  </a:cxn>
                  <a:cxn ang="0">
                    <a:pos x="30" y="77"/>
                  </a:cxn>
                  <a:cxn ang="0">
                    <a:pos x="30" y="70"/>
                  </a:cxn>
                  <a:cxn ang="0">
                    <a:pos x="32" y="68"/>
                  </a:cxn>
                  <a:cxn ang="0">
                    <a:pos x="32" y="63"/>
                  </a:cxn>
                  <a:cxn ang="0">
                    <a:pos x="34" y="58"/>
                  </a:cxn>
                  <a:cxn ang="0">
                    <a:pos x="32" y="55"/>
                  </a:cxn>
                  <a:cxn ang="0">
                    <a:pos x="34" y="47"/>
                  </a:cxn>
                  <a:cxn ang="0">
                    <a:pos x="32" y="47"/>
                  </a:cxn>
                  <a:cxn ang="0">
                    <a:pos x="29" y="47"/>
                  </a:cxn>
                  <a:cxn ang="0">
                    <a:pos x="25" y="48"/>
                  </a:cxn>
                  <a:cxn ang="0">
                    <a:pos x="22" y="47"/>
                  </a:cxn>
                  <a:cxn ang="0">
                    <a:pos x="24" y="40"/>
                  </a:cxn>
                  <a:cxn ang="0">
                    <a:pos x="24" y="30"/>
                  </a:cxn>
                  <a:cxn ang="0">
                    <a:pos x="22" y="27"/>
                  </a:cxn>
                  <a:cxn ang="0">
                    <a:pos x="24" y="22"/>
                  </a:cxn>
                  <a:cxn ang="0">
                    <a:pos x="29" y="22"/>
                  </a:cxn>
                  <a:cxn ang="0">
                    <a:pos x="30" y="25"/>
                  </a:cxn>
                  <a:cxn ang="0">
                    <a:pos x="32" y="25"/>
                  </a:cxn>
                  <a:cxn ang="0">
                    <a:pos x="35" y="22"/>
                  </a:cxn>
                  <a:cxn ang="0">
                    <a:pos x="35" y="20"/>
                  </a:cxn>
                  <a:cxn ang="0">
                    <a:pos x="35" y="20"/>
                  </a:cxn>
                  <a:cxn ang="0">
                    <a:pos x="35" y="18"/>
                  </a:cxn>
                  <a:cxn ang="0">
                    <a:pos x="34" y="15"/>
                  </a:cxn>
                  <a:cxn ang="0">
                    <a:pos x="35" y="8"/>
                  </a:cxn>
                  <a:cxn ang="0">
                    <a:pos x="35" y="2"/>
                  </a:cxn>
                  <a:cxn ang="0">
                    <a:pos x="37" y="0"/>
                  </a:cxn>
                  <a:cxn ang="0">
                    <a:pos x="35" y="0"/>
                  </a:cxn>
                  <a:cxn ang="0">
                    <a:pos x="32" y="5"/>
                  </a:cxn>
                  <a:cxn ang="0">
                    <a:pos x="25" y="5"/>
                  </a:cxn>
                  <a:cxn ang="0">
                    <a:pos x="22" y="3"/>
                  </a:cxn>
                  <a:cxn ang="0">
                    <a:pos x="17" y="10"/>
                  </a:cxn>
                  <a:cxn ang="0">
                    <a:pos x="15" y="25"/>
                  </a:cxn>
                  <a:cxn ang="0">
                    <a:pos x="7" y="38"/>
                  </a:cxn>
                  <a:cxn ang="0">
                    <a:pos x="0" y="47"/>
                  </a:cxn>
                  <a:cxn ang="0">
                    <a:pos x="4" y="48"/>
                  </a:cxn>
                  <a:cxn ang="0">
                    <a:pos x="7" y="55"/>
                  </a:cxn>
                  <a:cxn ang="0">
                    <a:pos x="10" y="63"/>
                  </a:cxn>
                  <a:cxn ang="0">
                    <a:pos x="17" y="72"/>
                  </a:cxn>
                  <a:cxn ang="0">
                    <a:pos x="22" y="83"/>
                  </a:cxn>
                  <a:cxn ang="0">
                    <a:pos x="20" y="88"/>
                  </a:cxn>
                  <a:cxn ang="0">
                    <a:pos x="24" y="96"/>
                  </a:cxn>
                </a:cxnLst>
                <a:rect l="0" t="0" r="r" b="b"/>
                <a:pathLst>
                  <a:path w="37" h="96">
                    <a:moveTo>
                      <a:pt x="24" y="96"/>
                    </a:moveTo>
                    <a:lnTo>
                      <a:pt x="27" y="91"/>
                    </a:lnTo>
                    <a:lnTo>
                      <a:pt x="27" y="91"/>
                    </a:lnTo>
                    <a:lnTo>
                      <a:pt x="27" y="88"/>
                    </a:lnTo>
                    <a:lnTo>
                      <a:pt x="29" y="87"/>
                    </a:lnTo>
                    <a:lnTo>
                      <a:pt x="29" y="82"/>
                    </a:lnTo>
                    <a:lnTo>
                      <a:pt x="30" y="77"/>
                    </a:lnTo>
                    <a:lnTo>
                      <a:pt x="30" y="70"/>
                    </a:lnTo>
                    <a:lnTo>
                      <a:pt x="32" y="68"/>
                    </a:lnTo>
                    <a:lnTo>
                      <a:pt x="32" y="63"/>
                    </a:lnTo>
                    <a:lnTo>
                      <a:pt x="34" y="58"/>
                    </a:lnTo>
                    <a:lnTo>
                      <a:pt x="32" y="55"/>
                    </a:lnTo>
                    <a:lnTo>
                      <a:pt x="34" y="47"/>
                    </a:lnTo>
                    <a:lnTo>
                      <a:pt x="32" y="47"/>
                    </a:lnTo>
                    <a:lnTo>
                      <a:pt x="29" y="47"/>
                    </a:lnTo>
                    <a:lnTo>
                      <a:pt x="25" y="48"/>
                    </a:lnTo>
                    <a:lnTo>
                      <a:pt x="22" y="47"/>
                    </a:lnTo>
                    <a:lnTo>
                      <a:pt x="24" y="40"/>
                    </a:lnTo>
                    <a:lnTo>
                      <a:pt x="24" y="30"/>
                    </a:lnTo>
                    <a:lnTo>
                      <a:pt x="22" y="27"/>
                    </a:lnTo>
                    <a:lnTo>
                      <a:pt x="24" y="22"/>
                    </a:lnTo>
                    <a:lnTo>
                      <a:pt x="29" y="22"/>
                    </a:lnTo>
                    <a:lnTo>
                      <a:pt x="30" y="25"/>
                    </a:lnTo>
                    <a:lnTo>
                      <a:pt x="32" y="25"/>
                    </a:lnTo>
                    <a:lnTo>
                      <a:pt x="35" y="22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35" y="18"/>
                    </a:lnTo>
                    <a:lnTo>
                      <a:pt x="34" y="15"/>
                    </a:lnTo>
                    <a:lnTo>
                      <a:pt x="35" y="8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2" y="5"/>
                    </a:lnTo>
                    <a:lnTo>
                      <a:pt x="25" y="5"/>
                    </a:lnTo>
                    <a:lnTo>
                      <a:pt x="22" y="3"/>
                    </a:lnTo>
                    <a:lnTo>
                      <a:pt x="17" y="10"/>
                    </a:lnTo>
                    <a:lnTo>
                      <a:pt x="15" y="25"/>
                    </a:lnTo>
                    <a:lnTo>
                      <a:pt x="7" y="38"/>
                    </a:lnTo>
                    <a:lnTo>
                      <a:pt x="0" y="47"/>
                    </a:lnTo>
                    <a:lnTo>
                      <a:pt x="4" y="48"/>
                    </a:lnTo>
                    <a:lnTo>
                      <a:pt x="7" y="55"/>
                    </a:lnTo>
                    <a:lnTo>
                      <a:pt x="10" y="63"/>
                    </a:lnTo>
                    <a:lnTo>
                      <a:pt x="17" y="72"/>
                    </a:lnTo>
                    <a:lnTo>
                      <a:pt x="22" y="83"/>
                    </a:lnTo>
                    <a:lnTo>
                      <a:pt x="20" y="88"/>
                    </a:lnTo>
                    <a:lnTo>
                      <a:pt x="24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3" name="Freeform 79"/>
              <p:cNvSpPr>
                <a:spLocks/>
              </p:cNvSpPr>
              <p:nvPr/>
            </p:nvSpPr>
            <p:spPr bwMode="auto">
              <a:xfrm>
                <a:off x="6862378" y="2874393"/>
                <a:ext cx="5351" cy="10376"/>
              </a:xfrm>
              <a:custGeom>
                <a:avLst/>
                <a:gdLst/>
                <a:ahLst/>
                <a:cxnLst>
                  <a:cxn ang="0">
                    <a:pos x="1" y="20"/>
                  </a:cxn>
                  <a:cxn ang="0">
                    <a:pos x="1" y="18"/>
                  </a:cxn>
                  <a:cxn ang="0">
                    <a:pos x="0" y="15"/>
                  </a:cxn>
                  <a:cxn ang="0">
                    <a:pos x="1" y="8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8" y="5"/>
                  </a:cxn>
                  <a:cxn ang="0">
                    <a:pos x="10" y="12"/>
                  </a:cxn>
                  <a:cxn ang="0">
                    <a:pos x="8" y="15"/>
                  </a:cxn>
                  <a:cxn ang="0">
                    <a:pos x="8" y="15"/>
                  </a:cxn>
                  <a:cxn ang="0">
                    <a:pos x="5" y="18"/>
                  </a:cxn>
                  <a:cxn ang="0">
                    <a:pos x="3" y="20"/>
                  </a:cxn>
                  <a:cxn ang="0">
                    <a:pos x="1" y="20"/>
                  </a:cxn>
                </a:cxnLst>
                <a:rect l="0" t="0" r="r" b="b"/>
                <a:pathLst>
                  <a:path w="10" h="20">
                    <a:moveTo>
                      <a:pt x="1" y="20"/>
                    </a:moveTo>
                    <a:lnTo>
                      <a:pt x="1" y="18"/>
                    </a:lnTo>
                    <a:lnTo>
                      <a:pt x="0" y="15"/>
                    </a:lnTo>
                    <a:lnTo>
                      <a:pt x="1" y="8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5" y="18"/>
                    </a:lnTo>
                    <a:lnTo>
                      <a:pt x="3" y="20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4" name="Freeform 80"/>
              <p:cNvSpPr>
                <a:spLocks/>
              </p:cNvSpPr>
              <p:nvPr/>
            </p:nvSpPr>
            <p:spPr bwMode="auto">
              <a:xfrm>
                <a:off x="6855957" y="2884769"/>
                <a:ext cx="7491" cy="14526"/>
              </a:xfrm>
              <a:custGeom>
                <a:avLst/>
                <a:gdLst/>
                <a:ahLst/>
                <a:cxnLst>
                  <a:cxn ang="0">
                    <a:pos x="10" y="25"/>
                  </a:cxn>
                  <a:cxn ang="0">
                    <a:pos x="7" y="25"/>
                  </a:cxn>
                  <a:cxn ang="0">
                    <a:pos x="3" y="26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8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7" y="0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3" y="5"/>
                  </a:cxn>
                  <a:cxn ang="0">
                    <a:pos x="13" y="6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2" y="25"/>
                  </a:cxn>
                  <a:cxn ang="0">
                    <a:pos x="10" y="25"/>
                  </a:cxn>
                </a:cxnLst>
                <a:rect l="0" t="0" r="r" b="b"/>
                <a:pathLst>
                  <a:path w="13" h="26">
                    <a:moveTo>
                      <a:pt x="10" y="25"/>
                    </a:moveTo>
                    <a:lnTo>
                      <a:pt x="7" y="25"/>
                    </a:lnTo>
                    <a:lnTo>
                      <a:pt x="3" y="26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2" y="25"/>
                    </a:lnTo>
                    <a:lnTo>
                      <a:pt x="10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5" name="Freeform 81"/>
              <p:cNvSpPr>
                <a:spLocks/>
              </p:cNvSpPr>
              <p:nvPr/>
            </p:nvSpPr>
            <p:spPr bwMode="auto">
              <a:xfrm>
                <a:off x="6855957" y="2857792"/>
                <a:ext cx="17124" cy="18677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3" y="36"/>
                  </a:cxn>
                  <a:cxn ang="0">
                    <a:pos x="10" y="36"/>
                  </a:cxn>
                  <a:cxn ang="0">
                    <a:pos x="13" y="31"/>
                  </a:cxn>
                  <a:cxn ang="0">
                    <a:pos x="17" y="31"/>
                  </a:cxn>
                  <a:cxn ang="0">
                    <a:pos x="20" y="26"/>
                  </a:cxn>
                  <a:cxn ang="0">
                    <a:pos x="22" y="20"/>
                  </a:cxn>
                  <a:cxn ang="0">
                    <a:pos x="27" y="18"/>
                  </a:cxn>
                  <a:cxn ang="0">
                    <a:pos x="28" y="18"/>
                  </a:cxn>
                  <a:cxn ang="0">
                    <a:pos x="32" y="16"/>
                  </a:cxn>
                  <a:cxn ang="0">
                    <a:pos x="30" y="13"/>
                  </a:cxn>
                  <a:cxn ang="0">
                    <a:pos x="30" y="6"/>
                  </a:cxn>
                  <a:cxn ang="0">
                    <a:pos x="27" y="5"/>
                  </a:cxn>
                  <a:cxn ang="0">
                    <a:pos x="23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0" y="1"/>
                  </a:cxn>
                  <a:cxn ang="0">
                    <a:pos x="8" y="18"/>
                  </a:cxn>
                  <a:cxn ang="0">
                    <a:pos x="5" y="23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34"/>
                  </a:cxn>
                </a:cxnLst>
                <a:rect l="0" t="0" r="r" b="b"/>
                <a:pathLst>
                  <a:path w="32" h="36">
                    <a:moveTo>
                      <a:pt x="0" y="34"/>
                    </a:moveTo>
                    <a:lnTo>
                      <a:pt x="3" y="36"/>
                    </a:lnTo>
                    <a:lnTo>
                      <a:pt x="10" y="36"/>
                    </a:lnTo>
                    <a:lnTo>
                      <a:pt x="13" y="31"/>
                    </a:lnTo>
                    <a:lnTo>
                      <a:pt x="17" y="31"/>
                    </a:lnTo>
                    <a:lnTo>
                      <a:pt x="20" y="26"/>
                    </a:lnTo>
                    <a:lnTo>
                      <a:pt x="22" y="20"/>
                    </a:lnTo>
                    <a:lnTo>
                      <a:pt x="27" y="18"/>
                    </a:lnTo>
                    <a:lnTo>
                      <a:pt x="28" y="18"/>
                    </a:lnTo>
                    <a:lnTo>
                      <a:pt x="32" y="16"/>
                    </a:lnTo>
                    <a:lnTo>
                      <a:pt x="30" y="13"/>
                    </a:lnTo>
                    <a:lnTo>
                      <a:pt x="30" y="6"/>
                    </a:lnTo>
                    <a:lnTo>
                      <a:pt x="27" y="5"/>
                    </a:lnTo>
                    <a:lnTo>
                      <a:pt x="23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8" y="18"/>
                    </a:lnTo>
                    <a:lnTo>
                      <a:pt x="5" y="23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6" name="Freeform 82"/>
              <p:cNvSpPr>
                <a:spLocks/>
              </p:cNvSpPr>
              <p:nvPr/>
            </p:nvSpPr>
            <p:spPr bwMode="auto">
              <a:xfrm>
                <a:off x="6857027" y="2872318"/>
                <a:ext cx="52442" cy="57068"/>
              </a:xfrm>
              <a:custGeom>
                <a:avLst/>
                <a:gdLst/>
                <a:ahLst/>
                <a:cxnLst>
                  <a:cxn ang="0">
                    <a:pos x="3" y="94"/>
                  </a:cxn>
                  <a:cxn ang="0">
                    <a:pos x="3" y="94"/>
                  </a:cxn>
                  <a:cxn ang="0">
                    <a:pos x="3" y="91"/>
                  </a:cxn>
                  <a:cxn ang="0">
                    <a:pos x="5" y="90"/>
                  </a:cxn>
                  <a:cxn ang="0">
                    <a:pos x="5" y="85"/>
                  </a:cxn>
                  <a:cxn ang="0">
                    <a:pos x="6" y="80"/>
                  </a:cxn>
                  <a:cxn ang="0">
                    <a:pos x="6" y="73"/>
                  </a:cxn>
                  <a:cxn ang="0">
                    <a:pos x="8" y="71"/>
                  </a:cxn>
                  <a:cxn ang="0">
                    <a:pos x="8" y="66"/>
                  </a:cxn>
                  <a:cxn ang="0">
                    <a:pos x="10" y="61"/>
                  </a:cxn>
                  <a:cxn ang="0">
                    <a:pos x="8" y="58"/>
                  </a:cxn>
                  <a:cxn ang="0">
                    <a:pos x="10" y="41"/>
                  </a:cxn>
                  <a:cxn ang="0">
                    <a:pos x="10" y="38"/>
                  </a:cxn>
                  <a:cxn ang="0">
                    <a:pos x="11" y="31"/>
                  </a:cxn>
                  <a:cxn ang="0">
                    <a:pos x="11" y="30"/>
                  </a:cxn>
                  <a:cxn ang="0">
                    <a:pos x="11" y="26"/>
                  </a:cxn>
                  <a:cxn ang="0">
                    <a:pos x="11" y="23"/>
                  </a:cxn>
                  <a:cxn ang="0">
                    <a:pos x="13" y="23"/>
                  </a:cxn>
                  <a:cxn ang="0">
                    <a:pos x="15" y="21"/>
                  </a:cxn>
                  <a:cxn ang="0">
                    <a:pos x="18" y="18"/>
                  </a:cxn>
                  <a:cxn ang="0">
                    <a:pos x="20" y="18"/>
                  </a:cxn>
                  <a:cxn ang="0">
                    <a:pos x="28" y="21"/>
                  </a:cxn>
                  <a:cxn ang="0">
                    <a:pos x="33" y="25"/>
                  </a:cxn>
                  <a:cxn ang="0">
                    <a:pos x="35" y="25"/>
                  </a:cxn>
                  <a:cxn ang="0">
                    <a:pos x="38" y="28"/>
                  </a:cxn>
                  <a:cxn ang="0">
                    <a:pos x="86" y="0"/>
                  </a:cxn>
                  <a:cxn ang="0">
                    <a:pos x="98" y="28"/>
                  </a:cxn>
                  <a:cxn ang="0">
                    <a:pos x="96" y="28"/>
                  </a:cxn>
                  <a:cxn ang="0">
                    <a:pos x="88" y="36"/>
                  </a:cxn>
                  <a:cxn ang="0">
                    <a:pos x="53" y="46"/>
                  </a:cxn>
                  <a:cxn ang="0">
                    <a:pos x="79" y="75"/>
                  </a:cxn>
                  <a:cxn ang="0">
                    <a:pos x="70" y="85"/>
                  </a:cxn>
                  <a:cxn ang="0">
                    <a:pos x="68" y="91"/>
                  </a:cxn>
                  <a:cxn ang="0">
                    <a:pos x="50" y="94"/>
                  </a:cxn>
                  <a:cxn ang="0">
                    <a:pos x="33" y="109"/>
                  </a:cxn>
                  <a:cxn ang="0">
                    <a:pos x="8" y="103"/>
                  </a:cxn>
                  <a:cxn ang="0">
                    <a:pos x="0" y="103"/>
                  </a:cxn>
                  <a:cxn ang="0">
                    <a:pos x="1" y="103"/>
                  </a:cxn>
                  <a:cxn ang="0">
                    <a:pos x="3" y="96"/>
                  </a:cxn>
                  <a:cxn ang="0">
                    <a:pos x="3" y="94"/>
                  </a:cxn>
                  <a:cxn ang="0">
                    <a:pos x="3" y="94"/>
                  </a:cxn>
                </a:cxnLst>
                <a:rect l="0" t="0" r="r" b="b"/>
                <a:pathLst>
                  <a:path w="98" h="109">
                    <a:moveTo>
                      <a:pt x="3" y="94"/>
                    </a:moveTo>
                    <a:lnTo>
                      <a:pt x="3" y="94"/>
                    </a:lnTo>
                    <a:lnTo>
                      <a:pt x="3" y="91"/>
                    </a:lnTo>
                    <a:lnTo>
                      <a:pt x="5" y="90"/>
                    </a:lnTo>
                    <a:lnTo>
                      <a:pt x="5" y="85"/>
                    </a:lnTo>
                    <a:lnTo>
                      <a:pt x="6" y="80"/>
                    </a:lnTo>
                    <a:lnTo>
                      <a:pt x="6" y="73"/>
                    </a:lnTo>
                    <a:lnTo>
                      <a:pt x="8" y="71"/>
                    </a:lnTo>
                    <a:lnTo>
                      <a:pt x="8" y="66"/>
                    </a:lnTo>
                    <a:lnTo>
                      <a:pt x="10" y="61"/>
                    </a:lnTo>
                    <a:lnTo>
                      <a:pt x="8" y="58"/>
                    </a:lnTo>
                    <a:lnTo>
                      <a:pt x="10" y="41"/>
                    </a:lnTo>
                    <a:lnTo>
                      <a:pt x="10" y="38"/>
                    </a:lnTo>
                    <a:lnTo>
                      <a:pt x="11" y="31"/>
                    </a:lnTo>
                    <a:lnTo>
                      <a:pt x="11" y="30"/>
                    </a:lnTo>
                    <a:lnTo>
                      <a:pt x="11" y="26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8" y="18"/>
                    </a:lnTo>
                    <a:lnTo>
                      <a:pt x="20" y="18"/>
                    </a:lnTo>
                    <a:lnTo>
                      <a:pt x="28" y="21"/>
                    </a:lnTo>
                    <a:lnTo>
                      <a:pt x="33" y="25"/>
                    </a:lnTo>
                    <a:lnTo>
                      <a:pt x="35" y="25"/>
                    </a:lnTo>
                    <a:lnTo>
                      <a:pt x="38" y="28"/>
                    </a:lnTo>
                    <a:lnTo>
                      <a:pt x="86" y="0"/>
                    </a:lnTo>
                    <a:lnTo>
                      <a:pt x="98" y="28"/>
                    </a:lnTo>
                    <a:lnTo>
                      <a:pt x="96" y="28"/>
                    </a:lnTo>
                    <a:lnTo>
                      <a:pt x="88" y="36"/>
                    </a:lnTo>
                    <a:lnTo>
                      <a:pt x="53" y="46"/>
                    </a:lnTo>
                    <a:lnTo>
                      <a:pt x="79" y="75"/>
                    </a:lnTo>
                    <a:lnTo>
                      <a:pt x="70" y="85"/>
                    </a:lnTo>
                    <a:lnTo>
                      <a:pt x="68" y="91"/>
                    </a:lnTo>
                    <a:lnTo>
                      <a:pt x="50" y="94"/>
                    </a:lnTo>
                    <a:lnTo>
                      <a:pt x="33" y="109"/>
                    </a:lnTo>
                    <a:lnTo>
                      <a:pt x="8" y="103"/>
                    </a:lnTo>
                    <a:lnTo>
                      <a:pt x="0" y="103"/>
                    </a:lnTo>
                    <a:lnTo>
                      <a:pt x="1" y="103"/>
                    </a:lnTo>
                    <a:lnTo>
                      <a:pt x="3" y="96"/>
                    </a:lnTo>
                    <a:lnTo>
                      <a:pt x="3" y="94"/>
                    </a:lnTo>
                    <a:lnTo>
                      <a:pt x="3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7" name="Freeform 83"/>
              <p:cNvSpPr>
                <a:spLocks/>
              </p:cNvSpPr>
              <p:nvPr/>
            </p:nvSpPr>
            <p:spPr bwMode="auto">
              <a:xfrm>
                <a:off x="6855957" y="2886844"/>
                <a:ext cx="269703" cy="200255"/>
              </a:xfrm>
              <a:custGeom>
                <a:avLst/>
                <a:gdLst/>
                <a:ahLst/>
                <a:cxnLst>
                  <a:cxn ang="0">
                    <a:pos x="306" y="81"/>
                  </a:cxn>
                  <a:cxn ang="0">
                    <a:pos x="121" y="3"/>
                  </a:cxn>
                  <a:cxn ang="0">
                    <a:pos x="55" y="18"/>
                  </a:cxn>
                  <a:cxn ang="0">
                    <a:pos x="70" y="63"/>
                  </a:cxn>
                  <a:cxn ang="0">
                    <a:pos x="10" y="75"/>
                  </a:cxn>
                  <a:cxn ang="0">
                    <a:pos x="2" y="93"/>
                  </a:cxn>
                  <a:cxn ang="0">
                    <a:pos x="3" y="100"/>
                  </a:cxn>
                  <a:cxn ang="0">
                    <a:pos x="13" y="103"/>
                  </a:cxn>
                  <a:cxn ang="0">
                    <a:pos x="23" y="118"/>
                  </a:cxn>
                  <a:cxn ang="0">
                    <a:pos x="32" y="128"/>
                  </a:cxn>
                  <a:cxn ang="0">
                    <a:pos x="42" y="143"/>
                  </a:cxn>
                  <a:cxn ang="0">
                    <a:pos x="48" y="153"/>
                  </a:cxn>
                  <a:cxn ang="0">
                    <a:pos x="62" y="168"/>
                  </a:cxn>
                  <a:cxn ang="0">
                    <a:pos x="65" y="179"/>
                  </a:cxn>
                  <a:cxn ang="0">
                    <a:pos x="70" y="189"/>
                  </a:cxn>
                  <a:cxn ang="0">
                    <a:pos x="81" y="193"/>
                  </a:cxn>
                  <a:cxn ang="0">
                    <a:pos x="98" y="206"/>
                  </a:cxn>
                  <a:cxn ang="0">
                    <a:pos x="103" y="214"/>
                  </a:cxn>
                  <a:cxn ang="0">
                    <a:pos x="111" y="233"/>
                  </a:cxn>
                  <a:cxn ang="0">
                    <a:pos x="108" y="244"/>
                  </a:cxn>
                  <a:cxn ang="0">
                    <a:pos x="113" y="262"/>
                  </a:cxn>
                  <a:cxn ang="0">
                    <a:pos x="131" y="282"/>
                  </a:cxn>
                  <a:cxn ang="0">
                    <a:pos x="143" y="287"/>
                  </a:cxn>
                  <a:cxn ang="0">
                    <a:pos x="153" y="297"/>
                  </a:cxn>
                  <a:cxn ang="0">
                    <a:pos x="161" y="302"/>
                  </a:cxn>
                  <a:cxn ang="0">
                    <a:pos x="173" y="329"/>
                  </a:cxn>
                  <a:cxn ang="0">
                    <a:pos x="196" y="356"/>
                  </a:cxn>
                  <a:cxn ang="0">
                    <a:pos x="211" y="369"/>
                  </a:cxn>
                  <a:cxn ang="0">
                    <a:pos x="224" y="362"/>
                  </a:cxn>
                  <a:cxn ang="0">
                    <a:pos x="229" y="342"/>
                  </a:cxn>
                  <a:cxn ang="0">
                    <a:pos x="273" y="356"/>
                  </a:cxn>
                  <a:cxn ang="0">
                    <a:pos x="339" y="331"/>
                  </a:cxn>
                  <a:cxn ang="0">
                    <a:pos x="498" y="223"/>
                  </a:cxn>
                  <a:cxn ang="0">
                    <a:pos x="419" y="219"/>
                  </a:cxn>
                  <a:cxn ang="0">
                    <a:pos x="409" y="188"/>
                  </a:cxn>
                  <a:cxn ang="0">
                    <a:pos x="404" y="184"/>
                  </a:cxn>
                  <a:cxn ang="0">
                    <a:pos x="402" y="181"/>
                  </a:cxn>
                  <a:cxn ang="0">
                    <a:pos x="390" y="176"/>
                  </a:cxn>
                  <a:cxn ang="0">
                    <a:pos x="384" y="169"/>
                  </a:cxn>
                  <a:cxn ang="0">
                    <a:pos x="367" y="145"/>
                  </a:cxn>
                  <a:cxn ang="0">
                    <a:pos x="366" y="133"/>
                  </a:cxn>
                  <a:cxn ang="0">
                    <a:pos x="361" y="126"/>
                  </a:cxn>
                  <a:cxn ang="0">
                    <a:pos x="346" y="111"/>
                  </a:cxn>
                  <a:cxn ang="0">
                    <a:pos x="351" y="111"/>
                  </a:cxn>
                  <a:cxn ang="0">
                    <a:pos x="336" y="106"/>
                  </a:cxn>
                  <a:cxn ang="0">
                    <a:pos x="326" y="88"/>
                  </a:cxn>
                  <a:cxn ang="0">
                    <a:pos x="322" y="83"/>
                  </a:cxn>
                </a:cxnLst>
                <a:rect l="0" t="0" r="r" b="b"/>
                <a:pathLst>
                  <a:path w="503" h="385">
                    <a:moveTo>
                      <a:pt x="322" y="83"/>
                    </a:moveTo>
                    <a:lnTo>
                      <a:pt x="307" y="90"/>
                    </a:lnTo>
                    <a:lnTo>
                      <a:pt x="306" y="81"/>
                    </a:lnTo>
                    <a:lnTo>
                      <a:pt x="284" y="75"/>
                    </a:lnTo>
                    <a:lnTo>
                      <a:pt x="234" y="75"/>
                    </a:lnTo>
                    <a:lnTo>
                      <a:pt x="121" y="3"/>
                    </a:lnTo>
                    <a:lnTo>
                      <a:pt x="98" y="0"/>
                    </a:lnTo>
                    <a:lnTo>
                      <a:pt x="90" y="8"/>
                    </a:lnTo>
                    <a:lnTo>
                      <a:pt x="55" y="18"/>
                    </a:lnTo>
                    <a:lnTo>
                      <a:pt x="81" y="47"/>
                    </a:lnTo>
                    <a:lnTo>
                      <a:pt x="72" y="57"/>
                    </a:lnTo>
                    <a:lnTo>
                      <a:pt x="70" y="63"/>
                    </a:lnTo>
                    <a:lnTo>
                      <a:pt x="52" y="66"/>
                    </a:lnTo>
                    <a:lnTo>
                      <a:pt x="35" y="81"/>
                    </a:lnTo>
                    <a:lnTo>
                      <a:pt x="10" y="75"/>
                    </a:lnTo>
                    <a:lnTo>
                      <a:pt x="2" y="75"/>
                    </a:lnTo>
                    <a:lnTo>
                      <a:pt x="2" y="83"/>
                    </a:lnTo>
                    <a:lnTo>
                      <a:pt x="2" y="93"/>
                    </a:lnTo>
                    <a:lnTo>
                      <a:pt x="0" y="98"/>
                    </a:lnTo>
                    <a:lnTo>
                      <a:pt x="0" y="101"/>
                    </a:lnTo>
                    <a:lnTo>
                      <a:pt x="3" y="100"/>
                    </a:lnTo>
                    <a:lnTo>
                      <a:pt x="5" y="101"/>
                    </a:lnTo>
                    <a:lnTo>
                      <a:pt x="8" y="100"/>
                    </a:lnTo>
                    <a:lnTo>
                      <a:pt x="13" y="103"/>
                    </a:lnTo>
                    <a:lnTo>
                      <a:pt x="12" y="103"/>
                    </a:lnTo>
                    <a:lnTo>
                      <a:pt x="23" y="115"/>
                    </a:lnTo>
                    <a:lnTo>
                      <a:pt x="23" y="118"/>
                    </a:lnTo>
                    <a:lnTo>
                      <a:pt x="27" y="120"/>
                    </a:lnTo>
                    <a:lnTo>
                      <a:pt x="27" y="125"/>
                    </a:lnTo>
                    <a:lnTo>
                      <a:pt x="32" y="128"/>
                    </a:lnTo>
                    <a:lnTo>
                      <a:pt x="35" y="128"/>
                    </a:lnTo>
                    <a:lnTo>
                      <a:pt x="42" y="140"/>
                    </a:lnTo>
                    <a:lnTo>
                      <a:pt x="42" y="143"/>
                    </a:lnTo>
                    <a:lnTo>
                      <a:pt x="43" y="146"/>
                    </a:lnTo>
                    <a:lnTo>
                      <a:pt x="48" y="148"/>
                    </a:lnTo>
                    <a:lnTo>
                      <a:pt x="48" y="153"/>
                    </a:lnTo>
                    <a:lnTo>
                      <a:pt x="52" y="156"/>
                    </a:lnTo>
                    <a:lnTo>
                      <a:pt x="57" y="158"/>
                    </a:lnTo>
                    <a:lnTo>
                      <a:pt x="62" y="168"/>
                    </a:lnTo>
                    <a:lnTo>
                      <a:pt x="65" y="171"/>
                    </a:lnTo>
                    <a:lnTo>
                      <a:pt x="67" y="178"/>
                    </a:lnTo>
                    <a:lnTo>
                      <a:pt x="65" y="179"/>
                    </a:lnTo>
                    <a:lnTo>
                      <a:pt x="65" y="183"/>
                    </a:lnTo>
                    <a:lnTo>
                      <a:pt x="70" y="186"/>
                    </a:lnTo>
                    <a:lnTo>
                      <a:pt x="70" y="189"/>
                    </a:lnTo>
                    <a:lnTo>
                      <a:pt x="73" y="193"/>
                    </a:lnTo>
                    <a:lnTo>
                      <a:pt x="76" y="189"/>
                    </a:lnTo>
                    <a:lnTo>
                      <a:pt x="81" y="193"/>
                    </a:lnTo>
                    <a:lnTo>
                      <a:pt x="90" y="196"/>
                    </a:lnTo>
                    <a:lnTo>
                      <a:pt x="96" y="201"/>
                    </a:lnTo>
                    <a:lnTo>
                      <a:pt x="98" y="206"/>
                    </a:lnTo>
                    <a:lnTo>
                      <a:pt x="100" y="206"/>
                    </a:lnTo>
                    <a:lnTo>
                      <a:pt x="100" y="211"/>
                    </a:lnTo>
                    <a:lnTo>
                      <a:pt x="103" y="214"/>
                    </a:lnTo>
                    <a:lnTo>
                      <a:pt x="105" y="221"/>
                    </a:lnTo>
                    <a:lnTo>
                      <a:pt x="110" y="224"/>
                    </a:lnTo>
                    <a:lnTo>
                      <a:pt x="111" y="233"/>
                    </a:lnTo>
                    <a:lnTo>
                      <a:pt x="111" y="234"/>
                    </a:lnTo>
                    <a:lnTo>
                      <a:pt x="110" y="243"/>
                    </a:lnTo>
                    <a:lnTo>
                      <a:pt x="108" y="244"/>
                    </a:lnTo>
                    <a:lnTo>
                      <a:pt x="110" y="248"/>
                    </a:lnTo>
                    <a:lnTo>
                      <a:pt x="113" y="254"/>
                    </a:lnTo>
                    <a:lnTo>
                      <a:pt x="113" y="262"/>
                    </a:lnTo>
                    <a:lnTo>
                      <a:pt x="118" y="267"/>
                    </a:lnTo>
                    <a:lnTo>
                      <a:pt x="118" y="269"/>
                    </a:lnTo>
                    <a:lnTo>
                      <a:pt x="131" y="282"/>
                    </a:lnTo>
                    <a:lnTo>
                      <a:pt x="135" y="284"/>
                    </a:lnTo>
                    <a:lnTo>
                      <a:pt x="140" y="284"/>
                    </a:lnTo>
                    <a:lnTo>
                      <a:pt x="143" y="287"/>
                    </a:lnTo>
                    <a:lnTo>
                      <a:pt x="146" y="287"/>
                    </a:lnTo>
                    <a:lnTo>
                      <a:pt x="153" y="294"/>
                    </a:lnTo>
                    <a:lnTo>
                      <a:pt x="153" y="297"/>
                    </a:lnTo>
                    <a:lnTo>
                      <a:pt x="160" y="297"/>
                    </a:lnTo>
                    <a:lnTo>
                      <a:pt x="158" y="301"/>
                    </a:lnTo>
                    <a:lnTo>
                      <a:pt x="161" y="302"/>
                    </a:lnTo>
                    <a:lnTo>
                      <a:pt x="168" y="321"/>
                    </a:lnTo>
                    <a:lnTo>
                      <a:pt x="173" y="324"/>
                    </a:lnTo>
                    <a:lnTo>
                      <a:pt x="173" y="329"/>
                    </a:lnTo>
                    <a:lnTo>
                      <a:pt x="191" y="346"/>
                    </a:lnTo>
                    <a:lnTo>
                      <a:pt x="194" y="346"/>
                    </a:lnTo>
                    <a:lnTo>
                      <a:pt x="196" y="356"/>
                    </a:lnTo>
                    <a:lnTo>
                      <a:pt x="203" y="357"/>
                    </a:lnTo>
                    <a:lnTo>
                      <a:pt x="208" y="369"/>
                    </a:lnTo>
                    <a:lnTo>
                      <a:pt x="211" y="369"/>
                    </a:lnTo>
                    <a:lnTo>
                      <a:pt x="216" y="370"/>
                    </a:lnTo>
                    <a:lnTo>
                      <a:pt x="218" y="365"/>
                    </a:lnTo>
                    <a:lnTo>
                      <a:pt x="224" y="362"/>
                    </a:lnTo>
                    <a:lnTo>
                      <a:pt x="219" y="356"/>
                    </a:lnTo>
                    <a:lnTo>
                      <a:pt x="223" y="344"/>
                    </a:lnTo>
                    <a:lnTo>
                      <a:pt x="229" y="342"/>
                    </a:lnTo>
                    <a:lnTo>
                      <a:pt x="238" y="347"/>
                    </a:lnTo>
                    <a:lnTo>
                      <a:pt x="253" y="347"/>
                    </a:lnTo>
                    <a:lnTo>
                      <a:pt x="273" y="356"/>
                    </a:lnTo>
                    <a:lnTo>
                      <a:pt x="294" y="365"/>
                    </a:lnTo>
                    <a:lnTo>
                      <a:pt x="296" y="385"/>
                    </a:lnTo>
                    <a:lnTo>
                      <a:pt x="339" y="331"/>
                    </a:lnTo>
                    <a:lnTo>
                      <a:pt x="500" y="287"/>
                    </a:lnTo>
                    <a:lnTo>
                      <a:pt x="503" y="239"/>
                    </a:lnTo>
                    <a:lnTo>
                      <a:pt x="498" y="223"/>
                    </a:lnTo>
                    <a:lnTo>
                      <a:pt x="498" y="223"/>
                    </a:lnTo>
                    <a:lnTo>
                      <a:pt x="490" y="229"/>
                    </a:lnTo>
                    <a:lnTo>
                      <a:pt x="419" y="219"/>
                    </a:lnTo>
                    <a:lnTo>
                      <a:pt x="414" y="203"/>
                    </a:lnTo>
                    <a:lnTo>
                      <a:pt x="409" y="196"/>
                    </a:lnTo>
                    <a:lnTo>
                      <a:pt x="409" y="188"/>
                    </a:lnTo>
                    <a:lnTo>
                      <a:pt x="409" y="188"/>
                    </a:lnTo>
                    <a:lnTo>
                      <a:pt x="407" y="189"/>
                    </a:lnTo>
                    <a:lnTo>
                      <a:pt x="404" y="184"/>
                    </a:lnTo>
                    <a:lnTo>
                      <a:pt x="405" y="183"/>
                    </a:lnTo>
                    <a:lnTo>
                      <a:pt x="407" y="181"/>
                    </a:lnTo>
                    <a:lnTo>
                      <a:pt x="402" y="181"/>
                    </a:lnTo>
                    <a:lnTo>
                      <a:pt x="402" y="179"/>
                    </a:lnTo>
                    <a:lnTo>
                      <a:pt x="399" y="179"/>
                    </a:lnTo>
                    <a:lnTo>
                      <a:pt x="390" y="176"/>
                    </a:lnTo>
                    <a:lnTo>
                      <a:pt x="389" y="174"/>
                    </a:lnTo>
                    <a:lnTo>
                      <a:pt x="389" y="174"/>
                    </a:lnTo>
                    <a:lnTo>
                      <a:pt x="384" y="169"/>
                    </a:lnTo>
                    <a:lnTo>
                      <a:pt x="382" y="164"/>
                    </a:lnTo>
                    <a:lnTo>
                      <a:pt x="371" y="150"/>
                    </a:lnTo>
                    <a:lnTo>
                      <a:pt x="367" y="145"/>
                    </a:lnTo>
                    <a:lnTo>
                      <a:pt x="371" y="145"/>
                    </a:lnTo>
                    <a:lnTo>
                      <a:pt x="371" y="143"/>
                    </a:lnTo>
                    <a:lnTo>
                      <a:pt x="366" y="133"/>
                    </a:lnTo>
                    <a:lnTo>
                      <a:pt x="366" y="130"/>
                    </a:lnTo>
                    <a:lnTo>
                      <a:pt x="362" y="126"/>
                    </a:lnTo>
                    <a:lnTo>
                      <a:pt x="361" y="126"/>
                    </a:lnTo>
                    <a:lnTo>
                      <a:pt x="352" y="115"/>
                    </a:lnTo>
                    <a:lnTo>
                      <a:pt x="349" y="115"/>
                    </a:lnTo>
                    <a:lnTo>
                      <a:pt x="346" y="111"/>
                    </a:lnTo>
                    <a:lnTo>
                      <a:pt x="347" y="110"/>
                    </a:lnTo>
                    <a:lnTo>
                      <a:pt x="349" y="110"/>
                    </a:lnTo>
                    <a:lnTo>
                      <a:pt x="351" y="111"/>
                    </a:lnTo>
                    <a:lnTo>
                      <a:pt x="349" y="108"/>
                    </a:lnTo>
                    <a:lnTo>
                      <a:pt x="344" y="108"/>
                    </a:lnTo>
                    <a:lnTo>
                      <a:pt x="336" y="106"/>
                    </a:lnTo>
                    <a:lnTo>
                      <a:pt x="331" y="95"/>
                    </a:lnTo>
                    <a:lnTo>
                      <a:pt x="329" y="90"/>
                    </a:lnTo>
                    <a:lnTo>
                      <a:pt x="326" y="88"/>
                    </a:lnTo>
                    <a:lnTo>
                      <a:pt x="326" y="85"/>
                    </a:lnTo>
                    <a:lnTo>
                      <a:pt x="324" y="85"/>
                    </a:lnTo>
                    <a:lnTo>
                      <a:pt x="322" y="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8" name="Freeform 84"/>
              <p:cNvSpPr>
                <a:spLocks/>
              </p:cNvSpPr>
              <p:nvPr/>
            </p:nvSpPr>
            <p:spPr bwMode="auto">
              <a:xfrm>
                <a:off x="7063585" y="2960513"/>
                <a:ext cx="10702" cy="19715"/>
              </a:xfrm>
              <a:custGeom>
                <a:avLst/>
                <a:gdLst/>
                <a:ahLst/>
                <a:cxnLst>
                  <a:cxn ang="0">
                    <a:pos x="15" y="36"/>
                  </a:cxn>
                  <a:cxn ang="0">
                    <a:pos x="12" y="36"/>
                  </a:cxn>
                  <a:cxn ang="0">
                    <a:pos x="3" y="33"/>
                  </a:cxn>
                  <a:cxn ang="0">
                    <a:pos x="2" y="31"/>
                  </a:cxn>
                  <a:cxn ang="0">
                    <a:pos x="3" y="30"/>
                  </a:cxn>
                  <a:cxn ang="0">
                    <a:pos x="3" y="26"/>
                  </a:cxn>
                  <a:cxn ang="0">
                    <a:pos x="2" y="23"/>
                  </a:cxn>
                  <a:cxn ang="0">
                    <a:pos x="0" y="21"/>
                  </a:cxn>
                  <a:cxn ang="0">
                    <a:pos x="2" y="15"/>
                  </a:cxn>
                  <a:cxn ang="0">
                    <a:pos x="3" y="15"/>
                  </a:cxn>
                  <a:cxn ang="0">
                    <a:pos x="5" y="15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3" y="5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8" y="0"/>
                  </a:cxn>
                  <a:cxn ang="0">
                    <a:pos x="10" y="0"/>
                  </a:cxn>
                  <a:cxn ang="0">
                    <a:pos x="13" y="3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5" y="13"/>
                  </a:cxn>
                  <a:cxn ang="0">
                    <a:pos x="15" y="13"/>
                  </a:cxn>
                  <a:cxn ang="0">
                    <a:pos x="15" y="21"/>
                  </a:cxn>
                  <a:cxn ang="0">
                    <a:pos x="17" y="21"/>
                  </a:cxn>
                  <a:cxn ang="0">
                    <a:pos x="20" y="25"/>
                  </a:cxn>
                  <a:cxn ang="0">
                    <a:pos x="18" y="36"/>
                  </a:cxn>
                  <a:cxn ang="0">
                    <a:pos x="15" y="36"/>
                  </a:cxn>
                  <a:cxn ang="0">
                    <a:pos x="15" y="36"/>
                  </a:cxn>
                </a:cxnLst>
                <a:rect l="0" t="0" r="r" b="b"/>
                <a:pathLst>
                  <a:path w="20" h="36">
                    <a:moveTo>
                      <a:pt x="15" y="36"/>
                    </a:moveTo>
                    <a:lnTo>
                      <a:pt x="12" y="36"/>
                    </a:lnTo>
                    <a:lnTo>
                      <a:pt x="3" y="33"/>
                    </a:lnTo>
                    <a:lnTo>
                      <a:pt x="2" y="31"/>
                    </a:lnTo>
                    <a:lnTo>
                      <a:pt x="3" y="30"/>
                    </a:lnTo>
                    <a:lnTo>
                      <a:pt x="3" y="26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20" y="25"/>
                    </a:lnTo>
                    <a:lnTo>
                      <a:pt x="18" y="36"/>
                    </a:lnTo>
                    <a:lnTo>
                      <a:pt x="15" y="36"/>
                    </a:lnTo>
                    <a:lnTo>
                      <a:pt x="15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39" name="Freeform 85"/>
              <p:cNvSpPr>
                <a:spLocks/>
              </p:cNvSpPr>
              <p:nvPr/>
            </p:nvSpPr>
            <p:spPr bwMode="auto">
              <a:xfrm>
                <a:off x="7074287" y="2962588"/>
                <a:ext cx="62074" cy="43579"/>
              </a:xfrm>
              <a:custGeom>
                <a:avLst/>
                <a:gdLst/>
                <a:ahLst/>
                <a:cxnLst>
                  <a:cxn ang="0">
                    <a:pos x="0" y="42"/>
                  </a:cxn>
                  <a:cxn ang="0">
                    <a:pos x="0" y="50"/>
                  </a:cxn>
                  <a:cxn ang="0">
                    <a:pos x="5" y="57"/>
                  </a:cxn>
                  <a:cxn ang="0">
                    <a:pos x="10" y="73"/>
                  </a:cxn>
                  <a:cxn ang="0">
                    <a:pos x="81" y="83"/>
                  </a:cxn>
                  <a:cxn ang="0">
                    <a:pos x="89" y="77"/>
                  </a:cxn>
                  <a:cxn ang="0">
                    <a:pos x="109" y="18"/>
                  </a:cxn>
                  <a:cxn ang="0">
                    <a:pos x="114" y="18"/>
                  </a:cxn>
                  <a:cxn ang="0">
                    <a:pos x="114" y="12"/>
                  </a:cxn>
                  <a:cxn ang="0">
                    <a:pos x="113" y="9"/>
                  </a:cxn>
                  <a:cxn ang="0">
                    <a:pos x="111" y="10"/>
                  </a:cxn>
                  <a:cxn ang="0">
                    <a:pos x="109" y="9"/>
                  </a:cxn>
                  <a:cxn ang="0">
                    <a:pos x="109" y="9"/>
                  </a:cxn>
                  <a:cxn ang="0">
                    <a:pos x="108" y="9"/>
                  </a:cxn>
                  <a:cxn ang="0">
                    <a:pos x="106" y="0"/>
                  </a:cxn>
                  <a:cxn ang="0">
                    <a:pos x="104" y="0"/>
                  </a:cxn>
                  <a:cxn ang="0">
                    <a:pos x="104" y="4"/>
                  </a:cxn>
                  <a:cxn ang="0">
                    <a:pos x="103" y="5"/>
                  </a:cxn>
                  <a:cxn ang="0">
                    <a:pos x="88" y="14"/>
                  </a:cxn>
                  <a:cxn ang="0">
                    <a:pos x="88" y="18"/>
                  </a:cxn>
                  <a:cxn ang="0">
                    <a:pos x="73" y="30"/>
                  </a:cxn>
                  <a:cxn ang="0">
                    <a:pos x="71" y="33"/>
                  </a:cxn>
                  <a:cxn ang="0">
                    <a:pos x="73" y="33"/>
                  </a:cxn>
                  <a:cxn ang="0">
                    <a:pos x="74" y="37"/>
                  </a:cxn>
                  <a:cxn ang="0">
                    <a:pos x="68" y="42"/>
                  </a:cxn>
                  <a:cxn ang="0">
                    <a:pos x="66" y="40"/>
                  </a:cxn>
                  <a:cxn ang="0">
                    <a:pos x="64" y="40"/>
                  </a:cxn>
                  <a:cxn ang="0">
                    <a:pos x="61" y="40"/>
                  </a:cxn>
                  <a:cxn ang="0">
                    <a:pos x="61" y="45"/>
                  </a:cxn>
                  <a:cxn ang="0">
                    <a:pos x="60" y="45"/>
                  </a:cxn>
                  <a:cxn ang="0">
                    <a:pos x="60" y="47"/>
                  </a:cxn>
                  <a:cxn ang="0">
                    <a:pos x="51" y="48"/>
                  </a:cxn>
                  <a:cxn ang="0">
                    <a:pos x="46" y="48"/>
                  </a:cxn>
                  <a:cxn ang="0">
                    <a:pos x="45" y="45"/>
                  </a:cxn>
                  <a:cxn ang="0">
                    <a:pos x="40" y="47"/>
                  </a:cxn>
                  <a:cxn ang="0">
                    <a:pos x="38" y="45"/>
                  </a:cxn>
                  <a:cxn ang="0">
                    <a:pos x="35" y="45"/>
                  </a:cxn>
                  <a:cxn ang="0">
                    <a:pos x="26" y="43"/>
                  </a:cxn>
                  <a:cxn ang="0">
                    <a:pos x="16" y="52"/>
                  </a:cxn>
                  <a:cxn ang="0">
                    <a:pos x="11" y="50"/>
                  </a:cxn>
                  <a:cxn ang="0">
                    <a:pos x="8" y="50"/>
                  </a:cxn>
                  <a:cxn ang="0">
                    <a:pos x="5" y="52"/>
                  </a:cxn>
                  <a:cxn ang="0">
                    <a:pos x="3" y="42"/>
                  </a:cxn>
                  <a:cxn ang="0">
                    <a:pos x="1" y="43"/>
                  </a:cxn>
                  <a:cxn ang="0">
                    <a:pos x="0" y="42"/>
                  </a:cxn>
                </a:cxnLst>
                <a:rect l="0" t="0" r="r" b="b"/>
                <a:pathLst>
                  <a:path w="114" h="83">
                    <a:moveTo>
                      <a:pt x="0" y="42"/>
                    </a:moveTo>
                    <a:lnTo>
                      <a:pt x="0" y="50"/>
                    </a:lnTo>
                    <a:lnTo>
                      <a:pt x="5" y="57"/>
                    </a:lnTo>
                    <a:lnTo>
                      <a:pt x="10" y="73"/>
                    </a:lnTo>
                    <a:lnTo>
                      <a:pt x="81" y="83"/>
                    </a:lnTo>
                    <a:lnTo>
                      <a:pt x="89" y="77"/>
                    </a:lnTo>
                    <a:lnTo>
                      <a:pt x="109" y="18"/>
                    </a:lnTo>
                    <a:lnTo>
                      <a:pt x="114" y="18"/>
                    </a:lnTo>
                    <a:lnTo>
                      <a:pt x="114" y="12"/>
                    </a:lnTo>
                    <a:lnTo>
                      <a:pt x="113" y="9"/>
                    </a:lnTo>
                    <a:lnTo>
                      <a:pt x="111" y="10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8" y="9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4" y="4"/>
                    </a:lnTo>
                    <a:lnTo>
                      <a:pt x="103" y="5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73" y="30"/>
                    </a:lnTo>
                    <a:lnTo>
                      <a:pt x="71" y="33"/>
                    </a:lnTo>
                    <a:lnTo>
                      <a:pt x="73" y="33"/>
                    </a:lnTo>
                    <a:lnTo>
                      <a:pt x="74" y="37"/>
                    </a:lnTo>
                    <a:lnTo>
                      <a:pt x="68" y="42"/>
                    </a:lnTo>
                    <a:lnTo>
                      <a:pt x="66" y="40"/>
                    </a:lnTo>
                    <a:lnTo>
                      <a:pt x="64" y="40"/>
                    </a:lnTo>
                    <a:lnTo>
                      <a:pt x="61" y="40"/>
                    </a:lnTo>
                    <a:lnTo>
                      <a:pt x="61" y="45"/>
                    </a:lnTo>
                    <a:lnTo>
                      <a:pt x="60" y="45"/>
                    </a:lnTo>
                    <a:lnTo>
                      <a:pt x="60" y="47"/>
                    </a:lnTo>
                    <a:lnTo>
                      <a:pt x="51" y="48"/>
                    </a:lnTo>
                    <a:lnTo>
                      <a:pt x="46" y="48"/>
                    </a:lnTo>
                    <a:lnTo>
                      <a:pt x="45" y="45"/>
                    </a:lnTo>
                    <a:lnTo>
                      <a:pt x="40" y="47"/>
                    </a:lnTo>
                    <a:lnTo>
                      <a:pt x="38" y="45"/>
                    </a:lnTo>
                    <a:lnTo>
                      <a:pt x="35" y="45"/>
                    </a:lnTo>
                    <a:lnTo>
                      <a:pt x="26" y="43"/>
                    </a:lnTo>
                    <a:lnTo>
                      <a:pt x="16" y="52"/>
                    </a:lnTo>
                    <a:lnTo>
                      <a:pt x="11" y="50"/>
                    </a:lnTo>
                    <a:lnTo>
                      <a:pt x="8" y="50"/>
                    </a:lnTo>
                    <a:lnTo>
                      <a:pt x="5" y="52"/>
                    </a:lnTo>
                    <a:lnTo>
                      <a:pt x="3" y="42"/>
                    </a:lnTo>
                    <a:lnTo>
                      <a:pt x="1" y="43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0" name="Freeform 86"/>
              <p:cNvSpPr>
                <a:spLocks noEditPoints="1"/>
              </p:cNvSpPr>
              <p:nvPr/>
            </p:nvSpPr>
            <p:spPr bwMode="auto">
              <a:xfrm>
                <a:off x="7086060" y="2956363"/>
                <a:ext cx="97392" cy="121398"/>
              </a:xfrm>
              <a:custGeom>
                <a:avLst/>
                <a:gdLst/>
                <a:ahLst/>
                <a:cxnLst>
                  <a:cxn ang="0">
                    <a:pos x="70" y="152"/>
                  </a:cxn>
                  <a:cxn ang="0">
                    <a:pos x="68" y="88"/>
                  </a:cxn>
                  <a:cxn ang="0">
                    <a:pos x="93" y="29"/>
                  </a:cxn>
                  <a:cxn ang="0">
                    <a:pos x="103" y="51"/>
                  </a:cxn>
                  <a:cxn ang="0">
                    <a:pos x="117" y="64"/>
                  </a:cxn>
                  <a:cxn ang="0">
                    <a:pos x="127" y="64"/>
                  </a:cxn>
                  <a:cxn ang="0">
                    <a:pos x="141" y="66"/>
                  </a:cxn>
                  <a:cxn ang="0">
                    <a:pos x="151" y="64"/>
                  </a:cxn>
                  <a:cxn ang="0">
                    <a:pos x="160" y="79"/>
                  </a:cxn>
                  <a:cxn ang="0">
                    <a:pos x="166" y="86"/>
                  </a:cxn>
                  <a:cxn ang="0">
                    <a:pos x="180" y="93"/>
                  </a:cxn>
                  <a:cxn ang="0">
                    <a:pos x="181" y="99"/>
                  </a:cxn>
                  <a:cxn ang="0">
                    <a:pos x="178" y="108"/>
                  </a:cxn>
                  <a:cxn ang="0">
                    <a:pos x="168" y="123"/>
                  </a:cxn>
                  <a:cxn ang="0">
                    <a:pos x="160" y="132"/>
                  </a:cxn>
                  <a:cxn ang="0">
                    <a:pos x="155" y="144"/>
                  </a:cxn>
                  <a:cxn ang="0">
                    <a:pos x="148" y="142"/>
                  </a:cxn>
                  <a:cxn ang="0">
                    <a:pos x="150" y="137"/>
                  </a:cxn>
                  <a:cxn ang="0">
                    <a:pos x="146" y="139"/>
                  </a:cxn>
                  <a:cxn ang="0">
                    <a:pos x="141" y="144"/>
                  </a:cxn>
                  <a:cxn ang="0">
                    <a:pos x="141" y="147"/>
                  </a:cxn>
                  <a:cxn ang="0">
                    <a:pos x="137" y="157"/>
                  </a:cxn>
                  <a:cxn ang="0">
                    <a:pos x="137" y="161"/>
                  </a:cxn>
                  <a:cxn ang="0">
                    <a:pos x="137" y="166"/>
                  </a:cxn>
                  <a:cxn ang="0">
                    <a:pos x="141" y="176"/>
                  </a:cxn>
                  <a:cxn ang="0">
                    <a:pos x="130" y="179"/>
                  </a:cxn>
                  <a:cxn ang="0">
                    <a:pos x="123" y="179"/>
                  </a:cxn>
                  <a:cxn ang="0">
                    <a:pos x="108" y="189"/>
                  </a:cxn>
                  <a:cxn ang="0">
                    <a:pos x="107" y="197"/>
                  </a:cxn>
                  <a:cxn ang="0">
                    <a:pos x="100" y="201"/>
                  </a:cxn>
                  <a:cxn ang="0">
                    <a:pos x="85" y="202"/>
                  </a:cxn>
                  <a:cxn ang="0">
                    <a:pos x="80" y="207"/>
                  </a:cxn>
                  <a:cxn ang="0">
                    <a:pos x="80" y="212"/>
                  </a:cxn>
                  <a:cxn ang="0">
                    <a:pos x="82" y="216"/>
                  </a:cxn>
                  <a:cxn ang="0">
                    <a:pos x="80" y="217"/>
                  </a:cxn>
                  <a:cxn ang="0">
                    <a:pos x="72" y="225"/>
                  </a:cxn>
                  <a:cxn ang="0">
                    <a:pos x="63" y="224"/>
                  </a:cxn>
                  <a:cxn ang="0">
                    <a:pos x="50" y="227"/>
                  </a:cxn>
                  <a:cxn ang="0">
                    <a:pos x="42" y="232"/>
                  </a:cxn>
                  <a:cxn ang="0">
                    <a:pos x="35" y="230"/>
                  </a:cxn>
                  <a:cxn ang="0">
                    <a:pos x="19" y="217"/>
                  </a:cxn>
                  <a:cxn ang="0">
                    <a:pos x="0" y="182"/>
                  </a:cxn>
                  <a:cxn ang="0">
                    <a:pos x="2" y="171"/>
                  </a:cxn>
                  <a:cxn ang="0">
                    <a:pos x="88" y="16"/>
                  </a:cxn>
                  <a:cxn ang="0">
                    <a:pos x="92" y="6"/>
                  </a:cxn>
                  <a:cxn ang="0">
                    <a:pos x="92" y="5"/>
                  </a:cxn>
                  <a:cxn ang="0">
                    <a:pos x="92" y="1"/>
                  </a:cxn>
                  <a:cxn ang="0">
                    <a:pos x="92" y="0"/>
                  </a:cxn>
                  <a:cxn ang="0">
                    <a:pos x="87" y="1"/>
                  </a:cxn>
                  <a:cxn ang="0">
                    <a:pos x="85" y="8"/>
                  </a:cxn>
                  <a:cxn ang="0">
                    <a:pos x="83" y="8"/>
                  </a:cxn>
                  <a:cxn ang="0">
                    <a:pos x="85" y="11"/>
                  </a:cxn>
                  <a:cxn ang="0">
                    <a:pos x="88" y="20"/>
                  </a:cxn>
                </a:cxnLst>
                <a:rect l="0" t="0" r="r" b="b"/>
                <a:pathLst>
                  <a:path w="181" h="232">
                    <a:moveTo>
                      <a:pt x="2" y="171"/>
                    </a:moveTo>
                    <a:lnTo>
                      <a:pt x="70" y="152"/>
                    </a:lnTo>
                    <a:lnTo>
                      <a:pt x="73" y="104"/>
                    </a:lnTo>
                    <a:lnTo>
                      <a:pt x="68" y="88"/>
                    </a:lnTo>
                    <a:lnTo>
                      <a:pt x="88" y="29"/>
                    </a:lnTo>
                    <a:lnTo>
                      <a:pt x="93" y="29"/>
                    </a:lnTo>
                    <a:lnTo>
                      <a:pt x="95" y="41"/>
                    </a:lnTo>
                    <a:lnTo>
                      <a:pt x="103" y="51"/>
                    </a:lnTo>
                    <a:lnTo>
                      <a:pt x="103" y="54"/>
                    </a:lnTo>
                    <a:lnTo>
                      <a:pt x="117" y="64"/>
                    </a:lnTo>
                    <a:lnTo>
                      <a:pt x="123" y="66"/>
                    </a:lnTo>
                    <a:lnTo>
                      <a:pt x="127" y="64"/>
                    </a:lnTo>
                    <a:lnTo>
                      <a:pt x="132" y="64"/>
                    </a:lnTo>
                    <a:lnTo>
                      <a:pt x="141" y="66"/>
                    </a:lnTo>
                    <a:lnTo>
                      <a:pt x="148" y="64"/>
                    </a:lnTo>
                    <a:lnTo>
                      <a:pt x="151" y="64"/>
                    </a:lnTo>
                    <a:lnTo>
                      <a:pt x="158" y="73"/>
                    </a:lnTo>
                    <a:lnTo>
                      <a:pt x="160" y="79"/>
                    </a:lnTo>
                    <a:lnTo>
                      <a:pt x="163" y="83"/>
                    </a:lnTo>
                    <a:lnTo>
                      <a:pt x="166" y="86"/>
                    </a:lnTo>
                    <a:lnTo>
                      <a:pt x="175" y="93"/>
                    </a:lnTo>
                    <a:lnTo>
                      <a:pt x="180" y="93"/>
                    </a:lnTo>
                    <a:lnTo>
                      <a:pt x="181" y="94"/>
                    </a:lnTo>
                    <a:lnTo>
                      <a:pt x="181" y="99"/>
                    </a:lnTo>
                    <a:lnTo>
                      <a:pt x="178" y="104"/>
                    </a:lnTo>
                    <a:lnTo>
                      <a:pt x="178" y="108"/>
                    </a:lnTo>
                    <a:lnTo>
                      <a:pt x="178" y="111"/>
                    </a:lnTo>
                    <a:lnTo>
                      <a:pt x="168" y="123"/>
                    </a:lnTo>
                    <a:lnTo>
                      <a:pt x="163" y="127"/>
                    </a:lnTo>
                    <a:lnTo>
                      <a:pt x="160" y="132"/>
                    </a:lnTo>
                    <a:lnTo>
                      <a:pt x="156" y="136"/>
                    </a:lnTo>
                    <a:lnTo>
                      <a:pt x="155" y="144"/>
                    </a:lnTo>
                    <a:lnTo>
                      <a:pt x="151" y="142"/>
                    </a:lnTo>
                    <a:lnTo>
                      <a:pt x="148" y="142"/>
                    </a:lnTo>
                    <a:lnTo>
                      <a:pt x="150" y="139"/>
                    </a:lnTo>
                    <a:lnTo>
                      <a:pt x="150" y="137"/>
                    </a:lnTo>
                    <a:lnTo>
                      <a:pt x="148" y="137"/>
                    </a:lnTo>
                    <a:lnTo>
                      <a:pt x="146" y="139"/>
                    </a:lnTo>
                    <a:lnTo>
                      <a:pt x="143" y="142"/>
                    </a:lnTo>
                    <a:lnTo>
                      <a:pt x="141" y="144"/>
                    </a:lnTo>
                    <a:lnTo>
                      <a:pt x="143" y="146"/>
                    </a:lnTo>
                    <a:lnTo>
                      <a:pt x="141" y="147"/>
                    </a:lnTo>
                    <a:lnTo>
                      <a:pt x="137" y="154"/>
                    </a:lnTo>
                    <a:lnTo>
                      <a:pt x="137" y="157"/>
                    </a:lnTo>
                    <a:lnTo>
                      <a:pt x="135" y="161"/>
                    </a:lnTo>
                    <a:lnTo>
                      <a:pt x="137" y="161"/>
                    </a:lnTo>
                    <a:lnTo>
                      <a:pt x="138" y="166"/>
                    </a:lnTo>
                    <a:lnTo>
                      <a:pt x="137" y="166"/>
                    </a:lnTo>
                    <a:lnTo>
                      <a:pt x="140" y="174"/>
                    </a:lnTo>
                    <a:lnTo>
                      <a:pt x="141" y="176"/>
                    </a:lnTo>
                    <a:lnTo>
                      <a:pt x="141" y="177"/>
                    </a:lnTo>
                    <a:lnTo>
                      <a:pt x="130" y="179"/>
                    </a:lnTo>
                    <a:lnTo>
                      <a:pt x="127" y="181"/>
                    </a:lnTo>
                    <a:lnTo>
                      <a:pt x="123" y="179"/>
                    </a:lnTo>
                    <a:lnTo>
                      <a:pt x="118" y="179"/>
                    </a:lnTo>
                    <a:lnTo>
                      <a:pt x="108" y="189"/>
                    </a:lnTo>
                    <a:lnTo>
                      <a:pt x="108" y="196"/>
                    </a:lnTo>
                    <a:lnTo>
                      <a:pt x="107" y="197"/>
                    </a:lnTo>
                    <a:lnTo>
                      <a:pt x="102" y="202"/>
                    </a:lnTo>
                    <a:lnTo>
                      <a:pt x="100" y="201"/>
                    </a:lnTo>
                    <a:lnTo>
                      <a:pt x="93" y="202"/>
                    </a:lnTo>
                    <a:lnTo>
                      <a:pt x="85" y="202"/>
                    </a:lnTo>
                    <a:lnTo>
                      <a:pt x="83" y="204"/>
                    </a:lnTo>
                    <a:lnTo>
                      <a:pt x="80" y="207"/>
                    </a:lnTo>
                    <a:lnTo>
                      <a:pt x="80" y="209"/>
                    </a:lnTo>
                    <a:lnTo>
                      <a:pt x="80" y="212"/>
                    </a:lnTo>
                    <a:lnTo>
                      <a:pt x="82" y="212"/>
                    </a:lnTo>
                    <a:lnTo>
                      <a:pt x="82" y="216"/>
                    </a:lnTo>
                    <a:lnTo>
                      <a:pt x="80" y="216"/>
                    </a:lnTo>
                    <a:lnTo>
                      <a:pt x="80" y="217"/>
                    </a:lnTo>
                    <a:lnTo>
                      <a:pt x="75" y="224"/>
                    </a:lnTo>
                    <a:lnTo>
                      <a:pt x="72" y="225"/>
                    </a:lnTo>
                    <a:lnTo>
                      <a:pt x="68" y="222"/>
                    </a:lnTo>
                    <a:lnTo>
                      <a:pt x="63" y="224"/>
                    </a:lnTo>
                    <a:lnTo>
                      <a:pt x="58" y="224"/>
                    </a:lnTo>
                    <a:lnTo>
                      <a:pt x="50" y="227"/>
                    </a:lnTo>
                    <a:lnTo>
                      <a:pt x="45" y="227"/>
                    </a:lnTo>
                    <a:lnTo>
                      <a:pt x="42" y="232"/>
                    </a:lnTo>
                    <a:lnTo>
                      <a:pt x="37" y="232"/>
                    </a:lnTo>
                    <a:lnTo>
                      <a:pt x="35" y="230"/>
                    </a:lnTo>
                    <a:lnTo>
                      <a:pt x="32" y="232"/>
                    </a:lnTo>
                    <a:lnTo>
                      <a:pt x="19" y="217"/>
                    </a:lnTo>
                    <a:lnTo>
                      <a:pt x="22" y="207"/>
                    </a:lnTo>
                    <a:lnTo>
                      <a:pt x="0" y="182"/>
                    </a:lnTo>
                    <a:lnTo>
                      <a:pt x="2" y="171"/>
                    </a:lnTo>
                    <a:lnTo>
                      <a:pt x="2" y="171"/>
                    </a:lnTo>
                    <a:close/>
                    <a:moveTo>
                      <a:pt x="88" y="20"/>
                    </a:moveTo>
                    <a:lnTo>
                      <a:pt x="88" y="16"/>
                    </a:lnTo>
                    <a:lnTo>
                      <a:pt x="90" y="13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92" y="5"/>
                    </a:lnTo>
                    <a:lnTo>
                      <a:pt x="90" y="3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92" y="0"/>
                    </a:lnTo>
                    <a:lnTo>
                      <a:pt x="90" y="1"/>
                    </a:lnTo>
                    <a:lnTo>
                      <a:pt x="87" y="1"/>
                    </a:lnTo>
                    <a:lnTo>
                      <a:pt x="87" y="6"/>
                    </a:lnTo>
                    <a:lnTo>
                      <a:pt x="85" y="8"/>
                    </a:lnTo>
                    <a:lnTo>
                      <a:pt x="83" y="6"/>
                    </a:lnTo>
                    <a:lnTo>
                      <a:pt x="83" y="8"/>
                    </a:lnTo>
                    <a:lnTo>
                      <a:pt x="83" y="11"/>
                    </a:lnTo>
                    <a:lnTo>
                      <a:pt x="85" y="11"/>
                    </a:lnTo>
                    <a:lnTo>
                      <a:pt x="87" y="20"/>
                    </a:lnTo>
                    <a:lnTo>
                      <a:pt x="88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1" name="Freeform 87"/>
              <p:cNvSpPr>
                <a:spLocks noEditPoints="1"/>
              </p:cNvSpPr>
              <p:nvPr/>
            </p:nvSpPr>
            <p:spPr bwMode="auto">
              <a:xfrm>
                <a:off x="6965122" y="3045595"/>
                <a:ext cx="157326" cy="85082"/>
              </a:xfrm>
              <a:custGeom>
                <a:avLst/>
                <a:gdLst/>
                <a:ahLst/>
                <a:cxnLst>
                  <a:cxn ang="0">
                    <a:pos x="7" y="63"/>
                  </a:cxn>
                  <a:cxn ang="0">
                    <a:pos x="14" y="59"/>
                  </a:cxn>
                  <a:cxn ang="0">
                    <a:pos x="15" y="50"/>
                  </a:cxn>
                  <a:cxn ang="0">
                    <a:pos x="25" y="36"/>
                  </a:cxn>
                  <a:cxn ang="0">
                    <a:pos x="49" y="41"/>
                  </a:cxn>
                  <a:cxn ang="0">
                    <a:pos x="90" y="59"/>
                  </a:cxn>
                  <a:cxn ang="0">
                    <a:pos x="135" y="25"/>
                  </a:cxn>
                  <a:cxn ang="0">
                    <a:pos x="226" y="11"/>
                  </a:cxn>
                  <a:cxn ang="0">
                    <a:pos x="245" y="46"/>
                  </a:cxn>
                  <a:cxn ang="0">
                    <a:pos x="253" y="61"/>
                  </a:cxn>
                  <a:cxn ang="0">
                    <a:pos x="236" y="73"/>
                  </a:cxn>
                  <a:cxn ang="0">
                    <a:pos x="236" y="79"/>
                  </a:cxn>
                  <a:cxn ang="0">
                    <a:pos x="238" y="84"/>
                  </a:cxn>
                  <a:cxn ang="0">
                    <a:pos x="221" y="89"/>
                  </a:cxn>
                  <a:cxn ang="0">
                    <a:pos x="198" y="96"/>
                  </a:cxn>
                  <a:cxn ang="0">
                    <a:pos x="168" y="106"/>
                  </a:cxn>
                  <a:cxn ang="0">
                    <a:pos x="162" y="108"/>
                  </a:cxn>
                  <a:cxn ang="0">
                    <a:pos x="150" y="121"/>
                  </a:cxn>
                  <a:cxn ang="0">
                    <a:pos x="145" y="119"/>
                  </a:cxn>
                  <a:cxn ang="0">
                    <a:pos x="138" y="123"/>
                  </a:cxn>
                  <a:cxn ang="0">
                    <a:pos x="132" y="119"/>
                  </a:cxn>
                  <a:cxn ang="0">
                    <a:pos x="123" y="129"/>
                  </a:cxn>
                  <a:cxn ang="0">
                    <a:pos x="110" y="131"/>
                  </a:cxn>
                  <a:cxn ang="0">
                    <a:pos x="93" y="134"/>
                  </a:cxn>
                  <a:cxn ang="0">
                    <a:pos x="85" y="133"/>
                  </a:cxn>
                  <a:cxn ang="0">
                    <a:pos x="82" y="133"/>
                  </a:cxn>
                  <a:cxn ang="0">
                    <a:pos x="72" y="136"/>
                  </a:cxn>
                  <a:cxn ang="0">
                    <a:pos x="67" y="143"/>
                  </a:cxn>
                  <a:cxn ang="0">
                    <a:pos x="57" y="149"/>
                  </a:cxn>
                  <a:cxn ang="0">
                    <a:pos x="50" y="148"/>
                  </a:cxn>
                  <a:cxn ang="0">
                    <a:pos x="42" y="152"/>
                  </a:cxn>
                  <a:cxn ang="0">
                    <a:pos x="34" y="151"/>
                  </a:cxn>
                  <a:cxn ang="0">
                    <a:pos x="27" y="149"/>
                  </a:cxn>
                  <a:cxn ang="0">
                    <a:pos x="20" y="138"/>
                  </a:cxn>
                  <a:cxn ang="0">
                    <a:pos x="20" y="131"/>
                  </a:cxn>
                  <a:cxn ang="0">
                    <a:pos x="14" y="119"/>
                  </a:cxn>
                  <a:cxn ang="0">
                    <a:pos x="5" y="93"/>
                  </a:cxn>
                  <a:cxn ang="0">
                    <a:pos x="2" y="89"/>
                  </a:cxn>
                  <a:cxn ang="0">
                    <a:pos x="4" y="86"/>
                  </a:cxn>
                  <a:cxn ang="0">
                    <a:pos x="7" y="84"/>
                  </a:cxn>
                  <a:cxn ang="0">
                    <a:pos x="5" y="66"/>
                  </a:cxn>
                  <a:cxn ang="0">
                    <a:pos x="4" y="63"/>
                  </a:cxn>
                  <a:cxn ang="0">
                    <a:pos x="241" y="161"/>
                  </a:cxn>
                  <a:cxn ang="0">
                    <a:pos x="241" y="164"/>
                  </a:cxn>
                  <a:cxn ang="0">
                    <a:pos x="236" y="162"/>
                  </a:cxn>
                  <a:cxn ang="0">
                    <a:pos x="268" y="154"/>
                  </a:cxn>
                  <a:cxn ang="0">
                    <a:pos x="271" y="149"/>
                  </a:cxn>
                  <a:cxn ang="0">
                    <a:pos x="276" y="152"/>
                  </a:cxn>
                  <a:cxn ang="0">
                    <a:pos x="283" y="151"/>
                  </a:cxn>
                  <a:cxn ang="0">
                    <a:pos x="291" y="152"/>
                  </a:cxn>
                  <a:cxn ang="0">
                    <a:pos x="294" y="154"/>
                  </a:cxn>
                  <a:cxn ang="0">
                    <a:pos x="289" y="157"/>
                  </a:cxn>
                  <a:cxn ang="0">
                    <a:pos x="276" y="161"/>
                  </a:cxn>
                  <a:cxn ang="0">
                    <a:pos x="269" y="157"/>
                  </a:cxn>
                </a:cxnLst>
                <a:rect l="0" t="0" r="r" b="b"/>
                <a:pathLst>
                  <a:path w="294" h="164">
                    <a:moveTo>
                      <a:pt x="4" y="63"/>
                    </a:moveTo>
                    <a:lnTo>
                      <a:pt x="7" y="63"/>
                    </a:lnTo>
                    <a:lnTo>
                      <a:pt x="12" y="64"/>
                    </a:lnTo>
                    <a:lnTo>
                      <a:pt x="14" y="59"/>
                    </a:lnTo>
                    <a:lnTo>
                      <a:pt x="20" y="56"/>
                    </a:lnTo>
                    <a:lnTo>
                      <a:pt x="15" y="50"/>
                    </a:lnTo>
                    <a:lnTo>
                      <a:pt x="19" y="38"/>
                    </a:lnTo>
                    <a:lnTo>
                      <a:pt x="25" y="36"/>
                    </a:lnTo>
                    <a:lnTo>
                      <a:pt x="34" y="41"/>
                    </a:lnTo>
                    <a:lnTo>
                      <a:pt x="49" y="41"/>
                    </a:lnTo>
                    <a:lnTo>
                      <a:pt x="69" y="50"/>
                    </a:lnTo>
                    <a:lnTo>
                      <a:pt x="90" y="59"/>
                    </a:lnTo>
                    <a:lnTo>
                      <a:pt x="92" y="79"/>
                    </a:lnTo>
                    <a:lnTo>
                      <a:pt x="135" y="25"/>
                    </a:lnTo>
                    <a:lnTo>
                      <a:pt x="228" y="0"/>
                    </a:lnTo>
                    <a:lnTo>
                      <a:pt x="226" y="11"/>
                    </a:lnTo>
                    <a:lnTo>
                      <a:pt x="248" y="36"/>
                    </a:lnTo>
                    <a:lnTo>
                      <a:pt x="245" y="46"/>
                    </a:lnTo>
                    <a:lnTo>
                      <a:pt x="258" y="61"/>
                    </a:lnTo>
                    <a:lnTo>
                      <a:pt x="253" y="61"/>
                    </a:lnTo>
                    <a:lnTo>
                      <a:pt x="245" y="64"/>
                    </a:lnTo>
                    <a:lnTo>
                      <a:pt x="236" y="73"/>
                    </a:lnTo>
                    <a:lnTo>
                      <a:pt x="235" y="78"/>
                    </a:lnTo>
                    <a:lnTo>
                      <a:pt x="236" y="79"/>
                    </a:lnTo>
                    <a:lnTo>
                      <a:pt x="236" y="81"/>
                    </a:lnTo>
                    <a:lnTo>
                      <a:pt x="238" y="84"/>
                    </a:lnTo>
                    <a:lnTo>
                      <a:pt x="226" y="86"/>
                    </a:lnTo>
                    <a:lnTo>
                      <a:pt x="221" y="89"/>
                    </a:lnTo>
                    <a:lnTo>
                      <a:pt x="213" y="94"/>
                    </a:lnTo>
                    <a:lnTo>
                      <a:pt x="198" y="96"/>
                    </a:lnTo>
                    <a:lnTo>
                      <a:pt x="195" y="99"/>
                    </a:lnTo>
                    <a:lnTo>
                      <a:pt x="168" y="106"/>
                    </a:lnTo>
                    <a:lnTo>
                      <a:pt x="167" y="106"/>
                    </a:lnTo>
                    <a:lnTo>
                      <a:pt x="162" y="108"/>
                    </a:lnTo>
                    <a:lnTo>
                      <a:pt x="157" y="116"/>
                    </a:lnTo>
                    <a:lnTo>
                      <a:pt x="150" y="121"/>
                    </a:lnTo>
                    <a:lnTo>
                      <a:pt x="147" y="121"/>
                    </a:lnTo>
                    <a:lnTo>
                      <a:pt x="145" y="119"/>
                    </a:lnTo>
                    <a:lnTo>
                      <a:pt x="142" y="121"/>
                    </a:lnTo>
                    <a:lnTo>
                      <a:pt x="138" y="123"/>
                    </a:lnTo>
                    <a:lnTo>
                      <a:pt x="135" y="119"/>
                    </a:lnTo>
                    <a:lnTo>
                      <a:pt x="132" y="119"/>
                    </a:lnTo>
                    <a:lnTo>
                      <a:pt x="123" y="126"/>
                    </a:lnTo>
                    <a:lnTo>
                      <a:pt x="123" y="129"/>
                    </a:lnTo>
                    <a:lnTo>
                      <a:pt x="120" y="131"/>
                    </a:lnTo>
                    <a:lnTo>
                      <a:pt x="110" y="131"/>
                    </a:lnTo>
                    <a:lnTo>
                      <a:pt x="98" y="136"/>
                    </a:lnTo>
                    <a:lnTo>
                      <a:pt x="93" y="134"/>
                    </a:lnTo>
                    <a:lnTo>
                      <a:pt x="93" y="133"/>
                    </a:lnTo>
                    <a:lnTo>
                      <a:pt x="85" y="133"/>
                    </a:lnTo>
                    <a:lnTo>
                      <a:pt x="85" y="133"/>
                    </a:lnTo>
                    <a:lnTo>
                      <a:pt x="82" y="133"/>
                    </a:lnTo>
                    <a:lnTo>
                      <a:pt x="78" y="133"/>
                    </a:lnTo>
                    <a:lnTo>
                      <a:pt x="72" y="136"/>
                    </a:lnTo>
                    <a:lnTo>
                      <a:pt x="69" y="143"/>
                    </a:lnTo>
                    <a:lnTo>
                      <a:pt x="67" y="143"/>
                    </a:lnTo>
                    <a:lnTo>
                      <a:pt x="62" y="148"/>
                    </a:lnTo>
                    <a:lnTo>
                      <a:pt x="57" y="149"/>
                    </a:lnTo>
                    <a:lnTo>
                      <a:pt x="55" y="148"/>
                    </a:lnTo>
                    <a:lnTo>
                      <a:pt x="50" y="148"/>
                    </a:lnTo>
                    <a:lnTo>
                      <a:pt x="45" y="151"/>
                    </a:lnTo>
                    <a:lnTo>
                      <a:pt x="42" y="152"/>
                    </a:lnTo>
                    <a:lnTo>
                      <a:pt x="35" y="151"/>
                    </a:lnTo>
                    <a:lnTo>
                      <a:pt x="34" y="151"/>
                    </a:lnTo>
                    <a:lnTo>
                      <a:pt x="29" y="152"/>
                    </a:lnTo>
                    <a:lnTo>
                      <a:pt x="27" y="149"/>
                    </a:lnTo>
                    <a:lnTo>
                      <a:pt x="25" y="143"/>
                    </a:lnTo>
                    <a:lnTo>
                      <a:pt x="20" y="138"/>
                    </a:lnTo>
                    <a:lnTo>
                      <a:pt x="17" y="133"/>
                    </a:lnTo>
                    <a:lnTo>
                      <a:pt x="20" y="131"/>
                    </a:lnTo>
                    <a:lnTo>
                      <a:pt x="20" y="124"/>
                    </a:lnTo>
                    <a:lnTo>
                      <a:pt x="14" y="119"/>
                    </a:lnTo>
                    <a:lnTo>
                      <a:pt x="10" y="99"/>
                    </a:lnTo>
                    <a:lnTo>
                      <a:pt x="5" y="93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78"/>
                    </a:lnTo>
                    <a:lnTo>
                      <a:pt x="5" y="66"/>
                    </a:lnTo>
                    <a:lnTo>
                      <a:pt x="4" y="63"/>
                    </a:lnTo>
                    <a:lnTo>
                      <a:pt x="4" y="63"/>
                    </a:lnTo>
                    <a:close/>
                    <a:moveTo>
                      <a:pt x="236" y="162"/>
                    </a:moveTo>
                    <a:lnTo>
                      <a:pt x="241" y="161"/>
                    </a:lnTo>
                    <a:lnTo>
                      <a:pt x="248" y="164"/>
                    </a:lnTo>
                    <a:lnTo>
                      <a:pt x="241" y="164"/>
                    </a:lnTo>
                    <a:lnTo>
                      <a:pt x="236" y="162"/>
                    </a:lnTo>
                    <a:lnTo>
                      <a:pt x="236" y="162"/>
                    </a:lnTo>
                    <a:close/>
                    <a:moveTo>
                      <a:pt x="266" y="156"/>
                    </a:moveTo>
                    <a:lnTo>
                      <a:pt x="268" y="154"/>
                    </a:lnTo>
                    <a:lnTo>
                      <a:pt x="269" y="151"/>
                    </a:lnTo>
                    <a:lnTo>
                      <a:pt x="271" y="149"/>
                    </a:lnTo>
                    <a:lnTo>
                      <a:pt x="274" y="149"/>
                    </a:lnTo>
                    <a:lnTo>
                      <a:pt x="276" y="152"/>
                    </a:lnTo>
                    <a:lnTo>
                      <a:pt x="279" y="152"/>
                    </a:lnTo>
                    <a:lnTo>
                      <a:pt x="283" y="151"/>
                    </a:lnTo>
                    <a:lnTo>
                      <a:pt x="288" y="151"/>
                    </a:lnTo>
                    <a:lnTo>
                      <a:pt x="291" y="152"/>
                    </a:lnTo>
                    <a:lnTo>
                      <a:pt x="294" y="152"/>
                    </a:lnTo>
                    <a:lnTo>
                      <a:pt x="294" y="154"/>
                    </a:lnTo>
                    <a:lnTo>
                      <a:pt x="293" y="156"/>
                    </a:lnTo>
                    <a:lnTo>
                      <a:pt x="289" y="157"/>
                    </a:lnTo>
                    <a:lnTo>
                      <a:pt x="284" y="159"/>
                    </a:lnTo>
                    <a:lnTo>
                      <a:pt x="276" y="161"/>
                    </a:lnTo>
                    <a:lnTo>
                      <a:pt x="271" y="159"/>
                    </a:lnTo>
                    <a:lnTo>
                      <a:pt x="269" y="157"/>
                    </a:lnTo>
                    <a:lnTo>
                      <a:pt x="266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2" name="Freeform 94"/>
              <p:cNvSpPr>
                <a:spLocks/>
              </p:cNvSpPr>
              <p:nvPr/>
            </p:nvSpPr>
            <p:spPr bwMode="auto">
              <a:xfrm>
                <a:off x="7819180" y="3028994"/>
                <a:ext cx="29967" cy="23865"/>
              </a:xfrm>
              <a:custGeom>
                <a:avLst/>
                <a:gdLst/>
                <a:ahLst/>
                <a:cxnLst>
                  <a:cxn ang="0">
                    <a:pos x="50" y="2"/>
                  </a:cxn>
                  <a:cxn ang="0">
                    <a:pos x="45" y="0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8" y="0"/>
                  </a:cxn>
                  <a:cxn ang="0">
                    <a:pos x="33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3" y="2"/>
                  </a:cxn>
                  <a:cxn ang="0">
                    <a:pos x="18" y="5"/>
                  </a:cxn>
                  <a:cxn ang="0">
                    <a:pos x="15" y="5"/>
                  </a:cxn>
                  <a:cxn ang="0">
                    <a:pos x="13" y="8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2" y="32"/>
                  </a:cxn>
                  <a:cxn ang="0">
                    <a:pos x="5" y="35"/>
                  </a:cxn>
                  <a:cxn ang="0">
                    <a:pos x="5" y="38"/>
                  </a:cxn>
                  <a:cxn ang="0">
                    <a:pos x="8" y="42"/>
                  </a:cxn>
                  <a:cxn ang="0">
                    <a:pos x="13" y="42"/>
                  </a:cxn>
                  <a:cxn ang="0">
                    <a:pos x="17" y="43"/>
                  </a:cxn>
                  <a:cxn ang="0">
                    <a:pos x="20" y="43"/>
                  </a:cxn>
                  <a:cxn ang="0">
                    <a:pos x="25" y="47"/>
                  </a:cxn>
                  <a:cxn ang="0">
                    <a:pos x="28" y="45"/>
                  </a:cxn>
                  <a:cxn ang="0">
                    <a:pos x="30" y="40"/>
                  </a:cxn>
                  <a:cxn ang="0">
                    <a:pos x="33" y="40"/>
                  </a:cxn>
                  <a:cxn ang="0">
                    <a:pos x="37" y="42"/>
                  </a:cxn>
                  <a:cxn ang="0">
                    <a:pos x="40" y="37"/>
                  </a:cxn>
                  <a:cxn ang="0">
                    <a:pos x="40" y="35"/>
                  </a:cxn>
                  <a:cxn ang="0">
                    <a:pos x="45" y="33"/>
                  </a:cxn>
                  <a:cxn ang="0">
                    <a:pos x="48" y="32"/>
                  </a:cxn>
                  <a:cxn ang="0">
                    <a:pos x="48" y="27"/>
                  </a:cxn>
                  <a:cxn ang="0">
                    <a:pos x="50" y="20"/>
                  </a:cxn>
                  <a:cxn ang="0">
                    <a:pos x="53" y="18"/>
                  </a:cxn>
                  <a:cxn ang="0">
                    <a:pos x="53" y="15"/>
                  </a:cxn>
                  <a:cxn ang="0">
                    <a:pos x="57" y="10"/>
                  </a:cxn>
                  <a:cxn ang="0">
                    <a:pos x="55" y="5"/>
                  </a:cxn>
                  <a:cxn ang="0">
                    <a:pos x="50" y="2"/>
                  </a:cxn>
                </a:cxnLst>
                <a:rect l="0" t="0" r="r" b="b"/>
                <a:pathLst>
                  <a:path w="57" h="47">
                    <a:moveTo>
                      <a:pt x="50" y="2"/>
                    </a:moveTo>
                    <a:lnTo>
                      <a:pt x="45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3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3" y="2"/>
                    </a:lnTo>
                    <a:lnTo>
                      <a:pt x="18" y="5"/>
                    </a:lnTo>
                    <a:lnTo>
                      <a:pt x="15" y="5"/>
                    </a:lnTo>
                    <a:lnTo>
                      <a:pt x="13" y="8"/>
                    </a:lnTo>
                    <a:lnTo>
                      <a:pt x="5" y="13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2" y="32"/>
                    </a:lnTo>
                    <a:lnTo>
                      <a:pt x="5" y="35"/>
                    </a:lnTo>
                    <a:lnTo>
                      <a:pt x="5" y="38"/>
                    </a:lnTo>
                    <a:lnTo>
                      <a:pt x="8" y="42"/>
                    </a:lnTo>
                    <a:lnTo>
                      <a:pt x="13" y="42"/>
                    </a:lnTo>
                    <a:lnTo>
                      <a:pt x="17" y="43"/>
                    </a:lnTo>
                    <a:lnTo>
                      <a:pt x="20" y="43"/>
                    </a:lnTo>
                    <a:lnTo>
                      <a:pt x="25" y="47"/>
                    </a:lnTo>
                    <a:lnTo>
                      <a:pt x="28" y="45"/>
                    </a:lnTo>
                    <a:lnTo>
                      <a:pt x="30" y="40"/>
                    </a:lnTo>
                    <a:lnTo>
                      <a:pt x="33" y="40"/>
                    </a:lnTo>
                    <a:lnTo>
                      <a:pt x="37" y="42"/>
                    </a:lnTo>
                    <a:lnTo>
                      <a:pt x="40" y="37"/>
                    </a:lnTo>
                    <a:lnTo>
                      <a:pt x="40" y="35"/>
                    </a:lnTo>
                    <a:lnTo>
                      <a:pt x="45" y="33"/>
                    </a:lnTo>
                    <a:lnTo>
                      <a:pt x="48" y="32"/>
                    </a:lnTo>
                    <a:lnTo>
                      <a:pt x="48" y="27"/>
                    </a:lnTo>
                    <a:lnTo>
                      <a:pt x="50" y="20"/>
                    </a:lnTo>
                    <a:lnTo>
                      <a:pt x="53" y="18"/>
                    </a:lnTo>
                    <a:lnTo>
                      <a:pt x="53" y="15"/>
                    </a:lnTo>
                    <a:lnTo>
                      <a:pt x="57" y="10"/>
                    </a:lnTo>
                    <a:lnTo>
                      <a:pt x="55" y="5"/>
                    </a:lnTo>
                    <a:lnTo>
                      <a:pt x="5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3" name="Freeform 95"/>
              <p:cNvSpPr>
                <a:spLocks/>
              </p:cNvSpPr>
              <p:nvPr/>
            </p:nvSpPr>
            <p:spPr bwMode="auto">
              <a:xfrm>
                <a:off x="7250878" y="2506050"/>
                <a:ext cx="795194" cy="520869"/>
              </a:xfrm>
              <a:custGeom>
                <a:avLst/>
                <a:gdLst/>
                <a:ahLst/>
                <a:cxnLst>
                  <a:cxn ang="0">
                    <a:pos x="1435" y="174"/>
                  </a:cxn>
                  <a:cxn ang="0">
                    <a:pos x="1385" y="158"/>
                  </a:cxn>
                  <a:cxn ang="0">
                    <a:pos x="1343" y="129"/>
                  </a:cxn>
                  <a:cxn ang="0">
                    <a:pos x="1287" y="114"/>
                  </a:cxn>
                  <a:cxn ang="0">
                    <a:pos x="1242" y="50"/>
                  </a:cxn>
                  <a:cxn ang="0">
                    <a:pos x="1206" y="13"/>
                  </a:cxn>
                  <a:cxn ang="0">
                    <a:pos x="1141" y="2"/>
                  </a:cxn>
                  <a:cxn ang="0">
                    <a:pos x="1081" y="40"/>
                  </a:cxn>
                  <a:cxn ang="0">
                    <a:pos x="1096" y="101"/>
                  </a:cxn>
                  <a:cxn ang="0">
                    <a:pos x="1049" y="148"/>
                  </a:cxn>
                  <a:cxn ang="0">
                    <a:pos x="1147" y="237"/>
                  </a:cxn>
                  <a:cxn ang="0">
                    <a:pos x="1083" y="284"/>
                  </a:cxn>
                  <a:cxn ang="0">
                    <a:pos x="980" y="335"/>
                  </a:cxn>
                  <a:cxn ang="0">
                    <a:pos x="853" y="430"/>
                  </a:cxn>
                  <a:cxn ang="0">
                    <a:pos x="646" y="408"/>
                  </a:cxn>
                  <a:cxn ang="0">
                    <a:pos x="551" y="340"/>
                  </a:cxn>
                  <a:cxn ang="0">
                    <a:pos x="480" y="274"/>
                  </a:cxn>
                  <a:cxn ang="0">
                    <a:pos x="415" y="246"/>
                  </a:cxn>
                  <a:cxn ang="0">
                    <a:pos x="367" y="249"/>
                  </a:cxn>
                  <a:cxn ang="0">
                    <a:pos x="304" y="335"/>
                  </a:cxn>
                  <a:cxn ang="0">
                    <a:pos x="267" y="372"/>
                  </a:cxn>
                  <a:cxn ang="0">
                    <a:pos x="202" y="420"/>
                  </a:cxn>
                  <a:cxn ang="0">
                    <a:pos x="66" y="440"/>
                  </a:cxn>
                  <a:cxn ang="0">
                    <a:pos x="43" y="492"/>
                  </a:cxn>
                  <a:cxn ang="0">
                    <a:pos x="21" y="568"/>
                  </a:cxn>
                  <a:cxn ang="0">
                    <a:pos x="71" y="571"/>
                  </a:cxn>
                  <a:cxn ang="0">
                    <a:pos x="132" y="593"/>
                  </a:cxn>
                  <a:cxn ang="0">
                    <a:pos x="217" y="609"/>
                  </a:cxn>
                  <a:cxn ang="0">
                    <a:pos x="295" y="711"/>
                  </a:cxn>
                  <a:cxn ang="0">
                    <a:pos x="352" y="766"/>
                  </a:cxn>
                  <a:cxn ang="0">
                    <a:pos x="443" y="791"/>
                  </a:cxn>
                  <a:cxn ang="0">
                    <a:pos x="546" y="820"/>
                  </a:cxn>
                  <a:cxn ang="0">
                    <a:pos x="651" y="812"/>
                  </a:cxn>
                  <a:cxn ang="0">
                    <a:pos x="737" y="792"/>
                  </a:cxn>
                  <a:cxn ang="0">
                    <a:pos x="797" y="869"/>
                  </a:cxn>
                  <a:cxn ang="0">
                    <a:pos x="809" y="923"/>
                  </a:cxn>
                  <a:cxn ang="0">
                    <a:pos x="845" y="975"/>
                  </a:cxn>
                  <a:cxn ang="0">
                    <a:pos x="900" y="953"/>
                  </a:cxn>
                  <a:cxn ang="0">
                    <a:pos x="978" y="933"/>
                  </a:cxn>
                  <a:cxn ang="0">
                    <a:pos x="1048" y="973"/>
                  </a:cxn>
                  <a:cxn ang="0">
                    <a:pos x="1089" y="1003"/>
                  </a:cxn>
                  <a:cxn ang="0">
                    <a:pos x="1104" y="980"/>
                  </a:cxn>
                  <a:cxn ang="0">
                    <a:pos x="1166" y="947"/>
                  </a:cxn>
                  <a:cxn ang="0">
                    <a:pos x="1214" y="943"/>
                  </a:cxn>
                  <a:cxn ang="0">
                    <a:pos x="1259" y="913"/>
                  </a:cxn>
                  <a:cxn ang="0">
                    <a:pos x="1289" y="885"/>
                  </a:cxn>
                  <a:cxn ang="0">
                    <a:pos x="1299" y="864"/>
                  </a:cxn>
                  <a:cxn ang="0">
                    <a:pos x="1310" y="830"/>
                  </a:cxn>
                  <a:cxn ang="0">
                    <a:pos x="1337" y="792"/>
                  </a:cxn>
                  <a:cxn ang="0">
                    <a:pos x="1342" y="756"/>
                  </a:cxn>
                  <a:cxn ang="0">
                    <a:pos x="1290" y="739"/>
                  </a:cxn>
                  <a:cxn ang="0">
                    <a:pos x="1257" y="688"/>
                  </a:cxn>
                  <a:cxn ang="0">
                    <a:pos x="1315" y="683"/>
                  </a:cxn>
                  <a:cxn ang="0">
                    <a:pos x="1250" y="586"/>
                  </a:cxn>
                  <a:cxn ang="0">
                    <a:pos x="1310" y="548"/>
                  </a:cxn>
                  <a:cxn ang="0">
                    <a:pos x="1249" y="526"/>
                  </a:cxn>
                  <a:cxn ang="0">
                    <a:pos x="1184" y="511"/>
                  </a:cxn>
                  <a:cxn ang="0">
                    <a:pos x="1234" y="448"/>
                  </a:cxn>
                  <a:cxn ang="0">
                    <a:pos x="1265" y="473"/>
                  </a:cxn>
                  <a:cxn ang="0">
                    <a:pos x="1287" y="473"/>
                  </a:cxn>
                  <a:cxn ang="0">
                    <a:pos x="1451" y="344"/>
                  </a:cxn>
                  <a:cxn ang="0">
                    <a:pos x="1451" y="266"/>
                  </a:cxn>
                  <a:cxn ang="0">
                    <a:pos x="1485" y="229"/>
                  </a:cxn>
                </a:cxnLst>
                <a:rect l="0" t="0" r="r" b="b"/>
                <a:pathLst>
                  <a:path w="1486" h="1005">
                    <a:moveTo>
                      <a:pt x="1483" y="176"/>
                    </a:moveTo>
                    <a:lnTo>
                      <a:pt x="1481" y="174"/>
                    </a:lnTo>
                    <a:lnTo>
                      <a:pt x="1481" y="171"/>
                    </a:lnTo>
                    <a:lnTo>
                      <a:pt x="1476" y="166"/>
                    </a:lnTo>
                    <a:lnTo>
                      <a:pt x="1476" y="164"/>
                    </a:lnTo>
                    <a:lnTo>
                      <a:pt x="1478" y="163"/>
                    </a:lnTo>
                    <a:lnTo>
                      <a:pt x="1476" y="158"/>
                    </a:lnTo>
                    <a:lnTo>
                      <a:pt x="1475" y="156"/>
                    </a:lnTo>
                    <a:lnTo>
                      <a:pt x="1470" y="156"/>
                    </a:lnTo>
                    <a:lnTo>
                      <a:pt x="1468" y="154"/>
                    </a:lnTo>
                    <a:lnTo>
                      <a:pt x="1463" y="153"/>
                    </a:lnTo>
                    <a:lnTo>
                      <a:pt x="1461" y="154"/>
                    </a:lnTo>
                    <a:lnTo>
                      <a:pt x="1456" y="154"/>
                    </a:lnTo>
                    <a:lnTo>
                      <a:pt x="1455" y="158"/>
                    </a:lnTo>
                    <a:lnTo>
                      <a:pt x="1453" y="161"/>
                    </a:lnTo>
                    <a:lnTo>
                      <a:pt x="1451" y="161"/>
                    </a:lnTo>
                    <a:lnTo>
                      <a:pt x="1448" y="161"/>
                    </a:lnTo>
                    <a:lnTo>
                      <a:pt x="1448" y="166"/>
                    </a:lnTo>
                    <a:lnTo>
                      <a:pt x="1443" y="166"/>
                    </a:lnTo>
                    <a:lnTo>
                      <a:pt x="1440" y="166"/>
                    </a:lnTo>
                    <a:lnTo>
                      <a:pt x="1438" y="169"/>
                    </a:lnTo>
                    <a:lnTo>
                      <a:pt x="1438" y="173"/>
                    </a:lnTo>
                    <a:lnTo>
                      <a:pt x="1435" y="174"/>
                    </a:lnTo>
                    <a:lnTo>
                      <a:pt x="1433" y="179"/>
                    </a:lnTo>
                    <a:lnTo>
                      <a:pt x="1433" y="181"/>
                    </a:lnTo>
                    <a:lnTo>
                      <a:pt x="1431" y="183"/>
                    </a:lnTo>
                    <a:lnTo>
                      <a:pt x="1428" y="184"/>
                    </a:lnTo>
                    <a:lnTo>
                      <a:pt x="1421" y="186"/>
                    </a:lnTo>
                    <a:lnTo>
                      <a:pt x="1420" y="186"/>
                    </a:lnTo>
                    <a:lnTo>
                      <a:pt x="1415" y="186"/>
                    </a:lnTo>
                    <a:lnTo>
                      <a:pt x="1413" y="188"/>
                    </a:lnTo>
                    <a:lnTo>
                      <a:pt x="1412" y="189"/>
                    </a:lnTo>
                    <a:lnTo>
                      <a:pt x="1410" y="186"/>
                    </a:lnTo>
                    <a:lnTo>
                      <a:pt x="1407" y="183"/>
                    </a:lnTo>
                    <a:lnTo>
                      <a:pt x="1403" y="183"/>
                    </a:lnTo>
                    <a:lnTo>
                      <a:pt x="1400" y="184"/>
                    </a:lnTo>
                    <a:lnTo>
                      <a:pt x="1397" y="186"/>
                    </a:lnTo>
                    <a:lnTo>
                      <a:pt x="1395" y="184"/>
                    </a:lnTo>
                    <a:lnTo>
                      <a:pt x="1392" y="179"/>
                    </a:lnTo>
                    <a:lnTo>
                      <a:pt x="1390" y="178"/>
                    </a:lnTo>
                    <a:lnTo>
                      <a:pt x="1385" y="173"/>
                    </a:lnTo>
                    <a:lnTo>
                      <a:pt x="1385" y="169"/>
                    </a:lnTo>
                    <a:lnTo>
                      <a:pt x="1387" y="168"/>
                    </a:lnTo>
                    <a:lnTo>
                      <a:pt x="1387" y="164"/>
                    </a:lnTo>
                    <a:lnTo>
                      <a:pt x="1385" y="161"/>
                    </a:lnTo>
                    <a:lnTo>
                      <a:pt x="1385" y="158"/>
                    </a:lnTo>
                    <a:lnTo>
                      <a:pt x="1380" y="158"/>
                    </a:lnTo>
                    <a:lnTo>
                      <a:pt x="1380" y="154"/>
                    </a:lnTo>
                    <a:lnTo>
                      <a:pt x="1380" y="151"/>
                    </a:lnTo>
                    <a:lnTo>
                      <a:pt x="1382" y="149"/>
                    </a:lnTo>
                    <a:lnTo>
                      <a:pt x="1383" y="146"/>
                    </a:lnTo>
                    <a:lnTo>
                      <a:pt x="1380" y="146"/>
                    </a:lnTo>
                    <a:lnTo>
                      <a:pt x="1378" y="146"/>
                    </a:lnTo>
                    <a:lnTo>
                      <a:pt x="1377" y="148"/>
                    </a:lnTo>
                    <a:lnTo>
                      <a:pt x="1373" y="148"/>
                    </a:lnTo>
                    <a:lnTo>
                      <a:pt x="1370" y="148"/>
                    </a:lnTo>
                    <a:lnTo>
                      <a:pt x="1367" y="148"/>
                    </a:lnTo>
                    <a:lnTo>
                      <a:pt x="1365" y="146"/>
                    </a:lnTo>
                    <a:lnTo>
                      <a:pt x="1363" y="146"/>
                    </a:lnTo>
                    <a:lnTo>
                      <a:pt x="1362" y="144"/>
                    </a:lnTo>
                    <a:lnTo>
                      <a:pt x="1357" y="143"/>
                    </a:lnTo>
                    <a:lnTo>
                      <a:pt x="1355" y="141"/>
                    </a:lnTo>
                    <a:lnTo>
                      <a:pt x="1353" y="138"/>
                    </a:lnTo>
                    <a:lnTo>
                      <a:pt x="1352" y="138"/>
                    </a:lnTo>
                    <a:lnTo>
                      <a:pt x="1350" y="136"/>
                    </a:lnTo>
                    <a:lnTo>
                      <a:pt x="1348" y="134"/>
                    </a:lnTo>
                    <a:lnTo>
                      <a:pt x="1347" y="134"/>
                    </a:lnTo>
                    <a:lnTo>
                      <a:pt x="1343" y="131"/>
                    </a:lnTo>
                    <a:lnTo>
                      <a:pt x="1343" y="129"/>
                    </a:lnTo>
                    <a:lnTo>
                      <a:pt x="1342" y="128"/>
                    </a:lnTo>
                    <a:lnTo>
                      <a:pt x="1338" y="128"/>
                    </a:lnTo>
                    <a:lnTo>
                      <a:pt x="1337" y="131"/>
                    </a:lnTo>
                    <a:lnTo>
                      <a:pt x="1335" y="129"/>
                    </a:lnTo>
                    <a:lnTo>
                      <a:pt x="1332" y="131"/>
                    </a:lnTo>
                    <a:lnTo>
                      <a:pt x="1332" y="133"/>
                    </a:lnTo>
                    <a:lnTo>
                      <a:pt x="1328" y="131"/>
                    </a:lnTo>
                    <a:lnTo>
                      <a:pt x="1327" y="129"/>
                    </a:lnTo>
                    <a:lnTo>
                      <a:pt x="1325" y="128"/>
                    </a:lnTo>
                    <a:lnTo>
                      <a:pt x="1320" y="128"/>
                    </a:lnTo>
                    <a:lnTo>
                      <a:pt x="1319" y="126"/>
                    </a:lnTo>
                    <a:lnTo>
                      <a:pt x="1320" y="124"/>
                    </a:lnTo>
                    <a:lnTo>
                      <a:pt x="1320" y="123"/>
                    </a:lnTo>
                    <a:lnTo>
                      <a:pt x="1317" y="123"/>
                    </a:lnTo>
                    <a:lnTo>
                      <a:pt x="1314" y="124"/>
                    </a:lnTo>
                    <a:lnTo>
                      <a:pt x="1309" y="124"/>
                    </a:lnTo>
                    <a:lnTo>
                      <a:pt x="1307" y="124"/>
                    </a:lnTo>
                    <a:lnTo>
                      <a:pt x="1305" y="124"/>
                    </a:lnTo>
                    <a:lnTo>
                      <a:pt x="1302" y="124"/>
                    </a:lnTo>
                    <a:lnTo>
                      <a:pt x="1299" y="124"/>
                    </a:lnTo>
                    <a:lnTo>
                      <a:pt x="1297" y="121"/>
                    </a:lnTo>
                    <a:lnTo>
                      <a:pt x="1294" y="119"/>
                    </a:lnTo>
                    <a:lnTo>
                      <a:pt x="1287" y="114"/>
                    </a:lnTo>
                    <a:lnTo>
                      <a:pt x="1285" y="111"/>
                    </a:lnTo>
                    <a:lnTo>
                      <a:pt x="1285" y="108"/>
                    </a:lnTo>
                    <a:lnTo>
                      <a:pt x="1285" y="105"/>
                    </a:lnTo>
                    <a:lnTo>
                      <a:pt x="1282" y="103"/>
                    </a:lnTo>
                    <a:lnTo>
                      <a:pt x="1279" y="103"/>
                    </a:lnTo>
                    <a:lnTo>
                      <a:pt x="1279" y="98"/>
                    </a:lnTo>
                    <a:lnTo>
                      <a:pt x="1277" y="96"/>
                    </a:lnTo>
                    <a:lnTo>
                      <a:pt x="1277" y="91"/>
                    </a:lnTo>
                    <a:lnTo>
                      <a:pt x="1275" y="88"/>
                    </a:lnTo>
                    <a:lnTo>
                      <a:pt x="1265" y="83"/>
                    </a:lnTo>
                    <a:lnTo>
                      <a:pt x="1262" y="78"/>
                    </a:lnTo>
                    <a:lnTo>
                      <a:pt x="1260" y="75"/>
                    </a:lnTo>
                    <a:lnTo>
                      <a:pt x="1259" y="71"/>
                    </a:lnTo>
                    <a:lnTo>
                      <a:pt x="1255" y="73"/>
                    </a:lnTo>
                    <a:lnTo>
                      <a:pt x="1255" y="71"/>
                    </a:lnTo>
                    <a:lnTo>
                      <a:pt x="1255" y="70"/>
                    </a:lnTo>
                    <a:lnTo>
                      <a:pt x="1255" y="66"/>
                    </a:lnTo>
                    <a:lnTo>
                      <a:pt x="1252" y="65"/>
                    </a:lnTo>
                    <a:lnTo>
                      <a:pt x="1250" y="61"/>
                    </a:lnTo>
                    <a:lnTo>
                      <a:pt x="1249" y="60"/>
                    </a:lnTo>
                    <a:lnTo>
                      <a:pt x="1247" y="56"/>
                    </a:lnTo>
                    <a:lnTo>
                      <a:pt x="1244" y="53"/>
                    </a:lnTo>
                    <a:lnTo>
                      <a:pt x="1242" y="50"/>
                    </a:lnTo>
                    <a:lnTo>
                      <a:pt x="1237" y="46"/>
                    </a:lnTo>
                    <a:lnTo>
                      <a:pt x="1237" y="45"/>
                    </a:lnTo>
                    <a:lnTo>
                      <a:pt x="1239" y="41"/>
                    </a:lnTo>
                    <a:lnTo>
                      <a:pt x="1237" y="40"/>
                    </a:lnTo>
                    <a:lnTo>
                      <a:pt x="1230" y="40"/>
                    </a:lnTo>
                    <a:lnTo>
                      <a:pt x="1230" y="38"/>
                    </a:lnTo>
                    <a:lnTo>
                      <a:pt x="1230" y="35"/>
                    </a:lnTo>
                    <a:lnTo>
                      <a:pt x="1229" y="33"/>
                    </a:lnTo>
                    <a:lnTo>
                      <a:pt x="1229" y="30"/>
                    </a:lnTo>
                    <a:lnTo>
                      <a:pt x="1227" y="26"/>
                    </a:lnTo>
                    <a:lnTo>
                      <a:pt x="1224" y="26"/>
                    </a:lnTo>
                    <a:lnTo>
                      <a:pt x="1224" y="25"/>
                    </a:lnTo>
                    <a:lnTo>
                      <a:pt x="1222" y="23"/>
                    </a:lnTo>
                    <a:lnTo>
                      <a:pt x="1221" y="23"/>
                    </a:lnTo>
                    <a:lnTo>
                      <a:pt x="1217" y="21"/>
                    </a:lnTo>
                    <a:lnTo>
                      <a:pt x="1216" y="20"/>
                    </a:lnTo>
                    <a:lnTo>
                      <a:pt x="1217" y="18"/>
                    </a:lnTo>
                    <a:lnTo>
                      <a:pt x="1216" y="16"/>
                    </a:lnTo>
                    <a:lnTo>
                      <a:pt x="1212" y="15"/>
                    </a:lnTo>
                    <a:lnTo>
                      <a:pt x="1211" y="16"/>
                    </a:lnTo>
                    <a:lnTo>
                      <a:pt x="1209" y="15"/>
                    </a:lnTo>
                    <a:lnTo>
                      <a:pt x="1206" y="15"/>
                    </a:lnTo>
                    <a:lnTo>
                      <a:pt x="1206" y="13"/>
                    </a:lnTo>
                    <a:lnTo>
                      <a:pt x="1206" y="12"/>
                    </a:lnTo>
                    <a:lnTo>
                      <a:pt x="1204" y="8"/>
                    </a:lnTo>
                    <a:lnTo>
                      <a:pt x="1201" y="8"/>
                    </a:lnTo>
                    <a:lnTo>
                      <a:pt x="1199" y="8"/>
                    </a:lnTo>
                    <a:lnTo>
                      <a:pt x="1197" y="5"/>
                    </a:lnTo>
                    <a:lnTo>
                      <a:pt x="1194" y="7"/>
                    </a:lnTo>
                    <a:lnTo>
                      <a:pt x="1191" y="7"/>
                    </a:lnTo>
                    <a:lnTo>
                      <a:pt x="1189" y="5"/>
                    </a:lnTo>
                    <a:lnTo>
                      <a:pt x="1187" y="7"/>
                    </a:lnTo>
                    <a:lnTo>
                      <a:pt x="1187" y="10"/>
                    </a:lnTo>
                    <a:lnTo>
                      <a:pt x="1186" y="10"/>
                    </a:lnTo>
                    <a:lnTo>
                      <a:pt x="1181" y="8"/>
                    </a:lnTo>
                    <a:lnTo>
                      <a:pt x="1179" y="7"/>
                    </a:lnTo>
                    <a:lnTo>
                      <a:pt x="1176" y="8"/>
                    </a:lnTo>
                    <a:lnTo>
                      <a:pt x="1171" y="8"/>
                    </a:lnTo>
                    <a:lnTo>
                      <a:pt x="1169" y="7"/>
                    </a:lnTo>
                    <a:lnTo>
                      <a:pt x="1167" y="3"/>
                    </a:lnTo>
                    <a:lnTo>
                      <a:pt x="1159" y="3"/>
                    </a:lnTo>
                    <a:lnTo>
                      <a:pt x="1156" y="0"/>
                    </a:lnTo>
                    <a:lnTo>
                      <a:pt x="1152" y="0"/>
                    </a:lnTo>
                    <a:lnTo>
                      <a:pt x="1149" y="0"/>
                    </a:lnTo>
                    <a:lnTo>
                      <a:pt x="1147" y="0"/>
                    </a:lnTo>
                    <a:lnTo>
                      <a:pt x="1141" y="2"/>
                    </a:lnTo>
                    <a:lnTo>
                      <a:pt x="1139" y="5"/>
                    </a:lnTo>
                    <a:lnTo>
                      <a:pt x="1137" y="5"/>
                    </a:lnTo>
                    <a:lnTo>
                      <a:pt x="1136" y="7"/>
                    </a:lnTo>
                    <a:lnTo>
                      <a:pt x="1131" y="7"/>
                    </a:lnTo>
                    <a:lnTo>
                      <a:pt x="1127" y="7"/>
                    </a:lnTo>
                    <a:lnTo>
                      <a:pt x="1122" y="5"/>
                    </a:lnTo>
                    <a:lnTo>
                      <a:pt x="1119" y="8"/>
                    </a:lnTo>
                    <a:lnTo>
                      <a:pt x="1116" y="8"/>
                    </a:lnTo>
                    <a:lnTo>
                      <a:pt x="1113" y="12"/>
                    </a:lnTo>
                    <a:lnTo>
                      <a:pt x="1109" y="13"/>
                    </a:lnTo>
                    <a:lnTo>
                      <a:pt x="1106" y="13"/>
                    </a:lnTo>
                    <a:lnTo>
                      <a:pt x="1106" y="13"/>
                    </a:lnTo>
                    <a:lnTo>
                      <a:pt x="1103" y="13"/>
                    </a:lnTo>
                    <a:lnTo>
                      <a:pt x="1099" y="15"/>
                    </a:lnTo>
                    <a:lnTo>
                      <a:pt x="1093" y="15"/>
                    </a:lnTo>
                    <a:lnTo>
                      <a:pt x="1091" y="18"/>
                    </a:lnTo>
                    <a:lnTo>
                      <a:pt x="1091" y="20"/>
                    </a:lnTo>
                    <a:lnTo>
                      <a:pt x="1086" y="25"/>
                    </a:lnTo>
                    <a:lnTo>
                      <a:pt x="1086" y="28"/>
                    </a:lnTo>
                    <a:lnTo>
                      <a:pt x="1083" y="30"/>
                    </a:lnTo>
                    <a:lnTo>
                      <a:pt x="1083" y="33"/>
                    </a:lnTo>
                    <a:lnTo>
                      <a:pt x="1081" y="35"/>
                    </a:lnTo>
                    <a:lnTo>
                      <a:pt x="1081" y="40"/>
                    </a:lnTo>
                    <a:lnTo>
                      <a:pt x="1083" y="41"/>
                    </a:lnTo>
                    <a:lnTo>
                      <a:pt x="1086" y="41"/>
                    </a:lnTo>
                    <a:lnTo>
                      <a:pt x="1091" y="38"/>
                    </a:lnTo>
                    <a:lnTo>
                      <a:pt x="1094" y="38"/>
                    </a:lnTo>
                    <a:lnTo>
                      <a:pt x="1098" y="38"/>
                    </a:lnTo>
                    <a:lnTo>
                      <a:pt x="1101" y="43"/>
                    </a:lnTo>
                    <a:lnTo>
                      <a:pt x="1103" y="48"/>
                    </a:lnTo>
                    <a:lnTo>
                      <a:pt x="1106" y="50"/>
                    </a:lnTo>
                    <a:lnTo>
                      <a:pt x="1106" y="53"/>
                    </a:lnTo>
                    <a:lnTo>
                      <a:pt x="1108" y="56"/>
                    </a:lnTo>
                    <a:lnTo>
                      <a:pt x="1108" y="61"/>
                    </a:lnTo>
                    <a:lnTo>
                      <a:pt x="1104" y="63"/>
                    </a:lnTo>
                    <a:lnTo>
                      <a:pt x="1101" y="68"/>
                    </a:lnTo>
                    <a:lnTo>
                      <a:pt x="1099" y="73"/>
                    </a:lnTo>
                    <a:lnTo>
                      <a:pt x="1098" y="75"/>
                    </a:lnTo>
                    <a:lnTo>
                      <a:pt x="1094" y="80"/>
                    </a:lnTo>
                    <a:lnTo>
                      <a:pt x="1094" y="83"/>
                    </a:lnTo>
                    <a:lnTo>
                      <a:pt x="1096" y="86"/>
                    </a:lnTo>
                    <a:lnTo>
                      <a:pt x="1096" y="88"/>
                    </a:lnTo>
                    <a:lnTo>
                      <a:pt x="1096" y="93"/>
                    </a:lnTo>
                    <a:lnTo>
                      <a:pt x="1099" y="96"/>
                    </a:lnTo>
                    <a:lnTo>
                      <a:pt x="1099" y="100"/>
                    </a:lnTo>
                    <a:lnTo>
                      <a:pt x="1096" y="101"/>
                    </a:lnTo>
                    <a:lnTo>
                      <a:pt x="1094" y="105"/>
                    </a:lnTo>
                    <a:lnTo>
                      <a:pt x="1096" y="108"/>
                    </a:lnTo>
                    <a:lnTo>
                      <a:pt x="1096" y="114"/>
                    </a:lnTo>
                    <a:lnTo>
                      <a:pt x="1096" y="116"/>
                    </a:lnTo>
                    <a:lnTo>
                      <a:pt x="1096" y="123"/>
                    </a:lnTo>
                    <a:lnTo>
                      <a:pt x="1098" y="123"/>
                    </a:lnTo>
                    <a:lnTo>
                      <a:pt x="1099" y="124"/>
                    </a:lnTo>
                    <a:lnTo>
                      <a:pt x="1103" y="123"/>
                    </a:lnTo>
                    <a:lnTo>
                      <a:pt x="1104" y="124"/>
                    </a:lnTo>
                    <a:lnTo>
                      <a:pt x="1104" y="128"/>
                    </a:lnTo>
                    <a:lnTo>
                      <a:pt x="1103" y="133"/>
                    </a:lnTo>
                    <a:lnTo>
                      <a:pt x="1099" y="136"/>
                    </a:lnTo>
                    <a:lnTo>
                      <a:pt x="1091" y="138"/>
                    </a:lnTo>
                    <a:lnTo>
                      <a:pt x="1086" y="141"/>
                    </a:lnTo>
                    <a:lnTo>
                      <a:pt x="1074" y="151"/>
                    </a:lnTo>
                    <a:lnTo>
                      <a:pt x="1071" y="151"/>
                    </a:lnTo>
                    <a:lnTo>
                      <a:pt x="1068" y="148"/>
                    </a:lnTo>
                    <a:lnTo>
                      <a:pt x="1061" y="148"/>
                    </a:lnTo>
                    <a:lnTo>
                      <a:pt x="1056" y="148"/>
                    </a:lnTo>
                    <a:lnTo>
                      <a:pt x="1056" y="146"/>
                    </a:lnTo>
                    <a:lnTo>
                      <a:pt x="1051" y="146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44" y="181"/>
                    </a:lnTo>
                    <a:lnTo>
                      <a:pt x="1046" y="189"/>
                    </a:lnTo>
                    <a:lnTo>
                      <a:pt x="1043" y="194"/>
                    </a:lnTo>
                    <a:lnTo>
                      <a:pt x="1044" y="199"/>
                    </a:lnTo>
                    <a:lnTo>
                      <a:pt x="1041" y="209"/>
                    </a:lnTo>
                    <a:lnTo>
                      <a:pt x="1044" y="216"/>
                    </a:lnTo>
                    <a:lnTo>
                      <a:pt x="1056" y="221"/>
                    </a:lnTo>
                    <a:lnTo>
                      <a:pt x="1064" y="216"/>
                    </a:lnTo>
                    <a:lnTo>
                      <a:pt x="1074" y="216"/>
                    </a:lnTo>
                    <a:lnTo>
                      <a:pt x="1084" y="217"/>
                    </a:lnTo>
                    <a:lnTo>
                      <a:pt x="1089" y="221"/>
                    </a:lnTo>
                    <a:lnTo>
                      <a:pt x="1094" y="212"/>
                    </a:lnTo>
                    <a:lnTo>
                      <a:pt x="1094" y="209"/>
                    </a:lnTo>
                    <a:lnTo>
                      <a:pt x="1094" y="204"/>
                    </a:lnTo>
                    <a:lnTo>
                      <a:pt x="1101" y="203"/>
                    </a:lnTo>
                    <a:lnTo>
                      <a:pt x="1104" y="201"/>
                    </a:lnTo>
                    <a:lnTo>
                      <a:pt x="1114" y="203"/>
                    </a:lnTo>
                    <a:lnTo>
                      <a:pt x="1121" y="209"/>
                    </a:lnTo>
                    <a:lnTo>
                      <a:pt x="1129" y="217"/>
                    </a:lnTo>
                    <a:lnTo>
                      <a:pt x="1136" y="226"/>
                    </a:lnTo>
                    <a:lnTo>
                      <a:pt x="1146" y="231"/>
                    </a:lnTo>
                    <a:lnTo>
                      <a:pt x="1146" y="234"/>
                    </a:lnTo>
                    <a:lnTo>
                      <a:pt x="1147" y="237"/>
                    </a:lnTo>
                    <a:lnTo>
                      <a:pt x="1147" y="242"/>
                    </a:lnTo>
                    <a:lnTo>
                      <a:pt x="1146" y="244"/>
                    </a:lnTo>
                    <a:lnTo>
                      <a:pt x="1146" y="247"/>
                    </a:lnTo>
                    <a:lnTo>
                      <a:pt x="1144" y="249"/>
                    </a:lnTo>
                    <a:lnTo>
                      <a:pt x="1139" y="249"/>
                    </a:lnTo>
                    <a:lnTo>
                      <a:pt x="1137" y="247"/>
                    </a:lnTo>
                    <a:lnTo>
                      <a:pt x="1132" y="247"/>
                    </a:lnTo>
                    <a:lnTo>
                      <a:pt x="1129" y="249"/>
                    </a:lnTo>
                    <a:lnTo>
                      <a:pt x="1122" y="247"/>
                    </a:lnTo>
                    <a:lnTo>
                      <a:pt x="1119" y="247"/>
                    </a:lnTo>
                    <a:lnTo>
                      <a:pt x="1114" y="252"/>
                    </a:lnTo>
                    <a:lnTo>
                      <a:pt x="1108" y="257"/>
                    </a:lnTo>
                    <a:lnTo>
                      <a:pt x="1104" y="261"/>
                    </a:lnTo>
                    <a:lnTo>
                      <a:pt x="1099" y="257"/>
                    </a:lnTo>
                    <a:lnTo>
                      <a:pt x="1098" y="257"/>
                    </a:lnTo>
                    <a:lnTo>
                      <a:pt x="1098" y="262"/>
                    </a:lnTo>
                    <a:lnTo>
                      <a:pt x="1096" y="264"/>
                    </a:lnTo>
                    <a:lnTo>
                      <a:pt x="1093" y="264"/>
                    </a:lnTo>
                    <a:lnTo>
                      <a:pt x="1089" y="264"/>
                    </a:lnTo>
                    <a:lnTo>
                      <a:pt x="1088" y="267"/>
                    </a:lnTo>
                    <a:lnTo>
                      <a:pt x="1084" y="272"/>
                    </a:lnTo>
                    <a:lnTo>
                      <a:pt x="1083" y="279"/>
                    </a:lnTo>
                    <a:lnTo>
                      <a:pt x="1083" y="284"/>
                    </a:lnTo>
                    <a:lnTo>
                      <a:pt x="1081" y="287"/>
                    </a:lnTo>
                    <a:lnTo>
                      <a:pt x="1074" y="287"/>
                    </a:lnTo>
                    <a:lnTo>
                      <a:pt x="1064" y="294"/>
                    </a:lnTo>
                    <a:lnTo>
                      <a:pt x="1059" y="294"/>
                    </a:lnTo>
                    <a:lnTo>
                      <a:pt x="1053" y="294"/>
                    </a:lnTo>
                    <a:lnTo>
                      <a:pt x="1049" y="296"/>
                    </a:lnTo>
                    <a:lnTo>
                      <a:pt x="1046" y="304"/>
                    </a:lnTo>
                    <a:lnTo>
                      <a:pt x="1041" y="307"/>
                    </a:lnTo>
                    <a:lnTo>
                      <a:pt x="1036" y="310"/>
                    </a:lnTo>
                    <a:lnTo>
                      <a:pt x="1033" y="314"/>
                    </a:lnTo>
                    <a:lnTo>
                      <a:pt x="1031" y="317"/>
                    </a:lnTo>
                    <a:lnTo>
                      <a:pt x="1028" y="317"/>
                    </a:lnTo>
                    <a:lnTo>
                      <a:pt x="1023" y="315"/>
                    </a:lnTo>
                    <a:lnTo>
                      <a:pt x="1018" y="314"/>
                    </a:lnTo>
                    <a:lnTo>
                      <a:pt x="1010" y="312"/>
                    </a:lnTo>
                    <a:lnTo>
                      <a:pt x="1005" y="307"/>
                    </a:lnTo>
                    <a:lnTo>
                      <a:pt x="998" y="307"/>
                    </a:lnTo>
                    <a:lnTo>
                      <a:pt x="988" y="309"/>
                    </a:lnTo>
                    <a:lnTo>
                      <a:pt x="983" y="314"/>
                    </a:lnTo>
                    <a:lnTo>
                      <a:pt x="980" y="317"/>
                    </a:lnTo>
                    <a:lnTo>
                      <a:pt x="980" y="327"/>
                    </a:lnTo>
                    <a:lnTo>
                      <a:pt x="980" y="332"/>
                    </a:lnTo>
                    <a:lnTo>
                      <a:pt x="980" y="335"/>
                    </a:lnTo>
                    <a:lnTo>
                      <a:pt x="990" y="342"/>
                    </a:lnTo>
                    <a:lnTo>
                      <a:pt x="1000" y="347"/>
                    </a:lnTo>
                    <a:lnTo>
                      <a:pt x="1000" y="350"/>
                    </a:lnTo>
                    <a:lnTo>
                      <a:pt x="998" y="354"/>
                    </a:lnTo>
                    <a:lnTo>
                      <a:pt x="995" y="359"/>
                    </a:lnTo>
                    <a:lnTo>
                      <a:pt x="985" y="369"/>
                    </a:lnTo>
                    <a:lnTo>
                      <a:pt x="978" y="379"/>
                    </a:lnTo>
                    <a:lnTo>
                      <a:pt x="975" y="385"/>
                    </a:lnTo>
                    <a:lnTo>
                      <a:pt x="970" y="385"/>
                    </a:lnTo>
                    <a:lnTo>
                      <a:pt x="963" y="389"/>
                    </a:lnTo>
                    <a:lnTo>
                      <a:pt x="956" y="389"/>
                    </a:lnTo>
                    <a:lnTo>
                      <a:pt x="950" y="392"/>
                    </a:lnTo>
                    <a:lnTo>
                      <a:pt x="943" y="397"/>
                    </a:lnTo>
                    <a:lnTo>
                      <a:pt x="936" y="397"/>
                    </a:lnTo>
                    <a:lnTo>
                      <a:pt x="926" y="399"/>
                    </a:lnTo>
                    <a:lnTo>
                      <a:pt x="920" y="400"/>
                    </a:lnTo>
                    <a:lnTo>
                      <a:pt x="912" y="402"/>
                    </a:lnTo>
                    <a:lnTo>
                      <a:pt x="895" y="407"/>
                    </a:lnTo>
                    <a:lnTo>
                      <a:pt x="882" y="412"/>
                    </a:lnTo>
                    <a:lnTo>
                      <a:pt x="875" y="418"/>
                    </a:lnTo>
                    <a:lnTo>
                      <a:pt x="863" y="427"/>
                    </a:lnTo>
                    <a:lnTo>
                      <a:pt x="860" y="430"/>
                    </a:lnTo>
                    <a:lnTo>
                      <a:pt x="853" y="430"/>
                    </a:lnTo>
                    <a:lnTo>
                      <a:pt x="847" y="427"/>
                    </a:lnTo>
                    <a:lnTo>
                      <a:pt x="847" y="425"/>
                    </a:lnTo>
                    <a:lnTo>
                      <a:pt x="845" y="422"/>
                    </a:lnTo>
                    <a:lnTo>
                      <a:pt x="835" y="425"/>
                    </a:lnTo>
                    <a:lnTo>
                      <a:pt x="827" y="425"/>
                    </a:lnTo>
                    <a:lnTo>
                      <a:pt x="819" y="422"/>
                    </a:lnTo>
                    <a:lnTo>
                      <a:pt x="812" y="422"/>
                    </a:lnTo>
                    <a:lnTo>
                      <a:pt x="797" y="415"/>
                    </a:lnTo>
                    <a:lnTo>
                      <a:pt x="780" y="410"/>
                    </a:lnTo>
                    <a:lnTo>
                      <a:pt x="774" y="402"/>
                    </a:lnTo>
                    <a:lnTo>
                      <a:pt x="767" y="402"/>
                    </a:lnTo>
                    <a:lnTo>
                      <a:pt x="749" y="400"/>
                    </a:lnTo>
                    <a:lnTo>
                      <a:pt x="734" y="400"/>
                    </a:lnTo>
                    <a:lnTo>
                      <a:pt x="730" y="400"/>
                    </a:lnTo>
                    <a:lnTo>
                      <a:pt x="727" y="402"/>
                    </a:lnTo>
                    <a:lnTo>
                      <a:pt x="727" y="404"/>
                    </a:lnTo>
                    <a:lnTo>
                      <a:pt x="719" y="407"/>
                    </a:lnTo>
                    <a:lnTo>
                      <a:pt x="707" y="407"/>
                    </a:lnTo>
                    <a:lnTo>
                      <a:pt x="687" y="407"/>
                    </a:lnTo>
                    <a:lnTo>
                      <a:pt x="672" y="407"/>
                    </a:lnTo>
                    <a:lnTo>
                      <a:pt x="661" y="407"/>
                    </a:lnTo>
                    <a:lnTo>
                      <a:pt x="651" y="407"/>
                    </a:lnTo>
                    <a:lnTo>
                      <a:pt x="646" y="408"/>
                    </a:lnTo>
                    <a:lnTo>
                      <a:pt x="642" y="407"/>
                    </a:lnTo>
                    <a:lnTo>
                      <a:pt x="637" y="397"/>
                    </a:lnTo>
                    <a:lnTo>
                      <a:pt x="634" y="392"/>
                    </a:lnTo>
                    <a:lnTo>
                      <a:pt x="629" y="385"/>
                    </a:lnTo>
                    <a:lnTo>
                      <a:pt x="626" y="380"/>
                    </a:lnTo>
                    <a:lnTo>
                      <a:pt x="623" y="375"/>
                    </a:lnTo>
                    <a:lnTo>
                      <a:pt x="623" y="372"/>
                    </a:lnTo>
                    <a:lnTo>
                      <a:pt x="619" y="369"/>
                    </a:lnTo>
                    <a:lnTo>
                      <a:pt x="616" y="367"/>
                    </a:lnTo>
                    <a:lnTo>
                      <a:pt x="613" y="367"/>
                    </a:lnTo>
                    <a:lnTo>
                      <a:pt x="613" y="364"/>
                    </a:lnTo>
                    <a:lnTo>
                      <a:pt x="611" y="360"/>
                    </a:lnTo>
                    <a:lnTo>
                      <a:pt x="609" y="360"/>
                    </a:lnTo>
                    <a:lnTo>
                      <a:pt x="608" y="360"/>
                    </a:lnTo>
                    <a:lnTo>
                      <a:pt x="601" y="360"/>
                    </a:lnTo>
                    <a:lnTo>
                      <a:pt x="594" y="357"/>
                    </a:lnTo>
                    <a:lnTo>
                      <a:pt x="586" y="352"/>
                    </a:lnTo>
                    <a:lnTo>
                      <a:pt x="583" y="350"/>
                    </a:lnTo>
                    <a:lnTo>
                      <a:pt x="581" y="350"/>
                    </a:lnTo>
                    <a:lnTo>
                      <a:pt x="576" y="350"/>
                    </a:lnTo>
                    <a:lnTo>
                      <a:pt x="574" y="347"/>
                    </a:lnTo>
                    <a:lnTo>
                      <a:pt x="566" y="344"/>
                    </a:lnTo>
                    <a:lnTo>
                      <a:pt x="551" y="340"/>
                    </a:lnTo>
                    <a:lnTo>
                      <a:pt x="549" y="340"/>
                    </a:lnTo>
                    <a:lnTo>
                      <a:pt x="546" y="342"/>
                    </a:lnTo>
                    <a:lnTo>
                      <a:pt x="539" y="342"/>
                    </a:lnTo>
                    <a:lnTo>
                      <a:pt x="529" y="342"/>
                    </a:lnTo>
                    <a:lnTo>
                      <a:pt x="506" y="339"/>
                    </a:lnTo>
                    <a:lnTo>
                      <a:pt x="501" y="335"/>
                    </a:lnTo>
                    <a:lnTo>
                      <a:pt x="495" y="329"/>
                    </a:lnTo>
                    <a:lnTo>
                      <a:pt x="495" y="324"/>
                    </a:lnTo>
                    <a:lnTo>
                      <a:pt x="495" y="320"/>
                    </a:lnTo>
                    <a:lnTo>
                      <a:pt x="496" y="319"/>
                    </a:lnTo>
                    <a:lnTo>
                      <a:pt x="500" y="317"/>
                    </a:lnTo>
                    <a:lnTo>
                      <a:pt x="501" y="312"/>
                    </a:lnTo>
                    <a:lnTo>
                      <a:pt x="498" y="309"/>
                    </a:lnTo>
                    <a:lnTo>
                      <a:pt x="496" y="304"/>
                    </a:lnTo>
                    <a:lnTo>
                      <a:pt x="498" y="302"/>
                    </a:lnTo>
                    <a:lnTo>
                      <a:pt x="498" y="297"/>
                    </a:lnTo>
                    <a:lnTo>
                      <a:pt x="496" y="294"/>
                    </a:lnTo>
                    <a:lnTo>
                      <a:pt x="493" y="289"/>
                    </a:lnTo>
                    <a:lnTo>
                      <a:pt x="490" y="287"/>
                    </a:lnTo>
                    <a:lnTo>
                      <a:pt x="485" y="286"/>
                    </a:lnTo>
                    <a:lnTo>
                      <a:pt x="483" y="281"/>
                    </a:lnTo>
                    <a:lnTo>
                      <a:pt x="481" y="279"/>
                    </a:lnTo>
                    <a:lnTo>
                      <a:pt x="480" y="274"/>
                    </a:lnTo>
                    <a:lnTo>
                      <a:pt x="480" y="271"/>
                    </a:lnTo>
                    <a:lnTo>
                      <a:pt x="476" y="267"/>
                    </a:lnTo>
                    <a:lnTo>
                      <a:pt x="473" y="264"/>
                    </a:lnTo>
                    <a:lnTo>
                      <a:pt x="470" y="264"/>
                    </a:lnTo>
                    <a:lnTo>
                      <a:pt x="466" y="261"/>
                    </a:lnTo>
                    <a:lnTo>
                      <a:pt x="463" y="259"/>
                    </a:lnTo>
                    <a:lnTo>
                      <a:pt x="460" y="259"/>
                    </a:lnTo>
                    <a:lnTo>
                      <a:pt x="456" y="262"/>
                    </a:lnTo>
                    <a:lnTo>
                      <a:pt x="455" y="262"/>
                    </a:lnTo>
                    <a:lnTo>
                      <a:pt x="451" y="262"/>
                    </a:lnTo>
                    <a:lnTo>
                      <a:pt x="448" y="257"/>
                    </a:lnTo>
                    <a:lnTo>
                      <a:pt x="446" y="256"/>
                    </a:lnTo>
                    <a:lnTo>
                      <a:pt x="441" y="256"/>
                    </a:lnTo>
                    <a:lnTo>
                      <a:pt x="438" y="259"/>
                    </a:lnTo>
                    <a:lnTo>
                      <a:pt x="435" y="261"/>
                    </a:lnTo>
                    <a:lnTo>
                      <a:pt x="435" y="262"/>
                    </a:lnTo>
                    <a:lnTo>
                      <a:pt x="433" y="262"/>
                    </a:lnTo>
                    <a:lnTo>
                      <a:pt x="428" y="261"/>
                    </a:lnTo>
                    <a:lnTo>
                      <a:pt x="427" y="257"/>
                    </a:lnTo>
                    <a:lnTo>
                      <a:pt x="427" y="256"/>
                    </a:lnTo>
                    <a:lnTo>
                      <a:pt x="423" y="251"/>
                    </a:lnTo>
                    <a:lnTo>
                      <a:pt x="418" y="249"/>
                    </a:lnTo>
                    <a:lnTo>
                      <a:pt x="415" y="246"/>
                    </a:lnTo>
                    <a:lnTo>
                      <a:pt x="412" y="244"/>
                    </a:lnTo>
                    <a:lnTo>
                      <a:pt x="410" y="242"/>
                    </a:lnTo>
                    <a:lnTo>
                      <a:pt x="408" y="239"/>
                    </a:lnTo>
                    <a:lnTo>
                      <a:pt x="408" y="236"/>
                    </a:lnTo>
                    <a:lnTo>
                      <a:pt x="407" y="234"/>
                    </a:lnTo>
                    <a:lnTo>
                      <a:pt x="405" y="234"/>
                    </a:lnTo>
                    <a:lnTo>
                      <a:pt x="405" y="236"/>
                    </a:lnTo>
                    <a:lnTo>
                      <a:pt x="403" y="236"/>
                    </a:lnTo>
                    <a:lnTo>
                      <a:pt x="402" y="232"/>
                    </a:lnTo>
                    <a:lnTo>
                      <a:pt x="400" y="232"/>
                    </a:lnTo>
                    <a:lnTo>
                      <a:pt x="400" y="227"/>
                    </a:lnTo>
                    <a:lnTo>
                      <a:pt x="400" y="224"/>
                    </a:lnTo>
                    <a:lnTo>
                      <a:pt x="398" y="224"/>
                    </a:lnTo>
                    <a:lnTo>
                      <a:pt x="393" y="222"/>
                    </a:lnTo>
                    <a:lnTo>
                      <a:pt x="390" y="222"/>
                    </a:lnTo>
                    <a:lnTo>
                      <a:pt x="392" y="224"/>
                    </a:lnTo>
                    <a:lnTo>
                      <a:pt x="387" y="227"/>
                    </a:lnTo>
                    <a:lnTo>
                      <a:pt x="383" y="229"/>
                    </a:lnTo>
                    <a:lnTo>
                      <a:pt x="377" y="236"/>
                    </a:lnTo>
                    <a:lnTo>
                      <a:pt x="377" y="239"/>
                    </a:lnTo>
                    <a:lnTo>
                      <a:pt x="377" y="242"/>
                    </a:lnTo>
                    <a:lnTo>
                      <a:pt x="375" y="247"/>
                    </a:lnTo>
                    <a:lnTo>
                      <a:pt x="367" y="249"/>
                    </a:lnTo>
                    <a:lnTo>
                      <a:pt x="363" y="252"/>
                    </a:lnTo>
                    <a:lnTo>
                      <a:pt x="362" y="257"/>
                    </a:lnTo>
                    <a:lnTo>
                      <a:pt x="362" y="266"/>
                    </a:lnTo>
                    <a:lnTo>
                      <a:pt x="367" y="276"/>
                    </a:lnTo>
                    <a:lnTo>
                      <a:pt x="372" y="281"/>
                    </a:lnTo>
                    <a:lnTo>
                      <a:pt x="372" y="284"/>
                    </a:lnTo>
                    <a:lnTo>
                      <a:pt x="365" y="289"/>
                    </a:lnTo>
                    <a:lnTo>
                      <a:pt x="360" y="291"/>
                    </a:lnTo>
                    <a:lnTo>
                      <a:pt x="355" y="296"/>
                    </a:lnTo>
                    <a:lnTo>
                      <a:pt x="352" y="297"/>
                    </a:lnTo>
                    <a:lnTo>
                      <a:pt x="350" y="296"/>
                    </a:lnTo>
                    <a:lnTo>
                      <a:pt x="348" y="294"/>
                    </a:lnTo>
                    <a:lnTo>
                      <a:pt x="345" y="294"/>
                    </a:lnTo>
                    <a:lnTo>
                      <a:pt x="335" y="296"/>
                    </a:lnTo>
                    <a:lnTo>
                      <a:pt x="329" y="296"/>
                    </a:lnTo>
                    <a:lnTo>
                      <a:pt x="319" y="292"/>
                    </a:lnTo>
                    <a:lnTo>
                      <a:pt x="314" y="291"/>
                    </a:lnTo>
                    <a:lnTo>
                      <a:pt x="310" y="292"/>
                    </a:lnTo>
                    <a:lnTo>
                      <a:pt x="309" y="302"/>
                    </a:lnTo>
                    <a:lnTo>
                      <a:pt x="307" y="307"/>
                    </a:lnTo>
                    <a:lnTo>
                      <a:pt x="305" y="312"/>
                    </a:lnTo>
                    <a:lnTo>
                      <a:pt x="304" y="325"/>
                    </a:lnTo>
                    <a:lnTo>
                      <a:pt x="304" y="335"/>
                    </a:lnTo>
                    <a:lnTo>
                      <a:pt x="302" y="339"/>
                    </a:lnTo>
                    <a:lnTo>
                      <a:pt x="305" y="340"/>
                    </a:lnTo>
                    <a:lnTo>
                      <a:pt x="310" y="342"/>
                    </a:lnTo>
                    <a:lnTo>
                      <a:pt x="309" y="347"/>
                    </a:lnTo>
                    <a:lnTo>
                      <a:pt x="309" y="350"/>
                    </a:lnTo>
                    <a:lnTo>
                      <a:pt x="305" y="350"/>
                    </a:lnTo>
                    <a:lnTo>
                      <a:pt x="302" y="352"/>
                    </a:lnTo>
                    <a:lnTo>
                      <a:pt x="299" y="352"/>
                    </a:lnTo>
                    <a:lnTo>
                      <a:pt x="295" y="350"/>
                    </a:lnTo>
                    <a:lnTo>
                      <a:pt x="292" y="350"/>
                    </a:lnTo>
                    <a:lnTo>
                      <a:pt x="287" y="352"/>
                    </a:lnTo>
                    <a:lnTo>
                      <a:pt x="275" y="354"/>
                    </a:lnTo>
                    <a:lnTo>
                      <a:pt x="269" y="357"/>
                    </a:lnTo>
                    <a:lnTo>
                      <a:pt x="265" y="357"/>
                    </a:lnTo>
                    <a:lnTo>
                      <a:pt x="262" y="355"/>
                    </a:lnTo>
                    <a:lnTo>
                      <a:pt x="259" y="357"/>
                    </a:lnTo>
                    <a:lnTo>
                      <a:pt x="254" y="360"/>
                    </a:lnTo>
                    <a:lnTo>
                      <a:pt x="254" y="364"/>
                    </a:lnTo>
                    <a:lnTo>
                      <a:pt x="257" y="367"/>
                    </a:lnTo>
                    <a:lnTo>
                      <a:pt x="264" y="367"/>
                    </a:lnTo>
                    <a:lnTo>
                      <a:pt x="270" y="367"/>
                    </a:lnTo>
                    <a:lnTo>
                      <a:pt x="270" y="369"/>
                    </a:lnTo>
                    <a:lnTo>
                      <a:pt x="267" y="372"/>
                    </a:lnTo>
                    <a:lnTo>
                      <a:pt x="269" y="379"/>
                    </a:lnTo>
                    <a:lnTo>
                      <a:pt x="269" y="382"/>
                    </a:lnTo>
                    <a:lnTo>
                      <a:pt x="272" y="385"/>
                    </a:lnTo>
                    <a:lnTo>
                      <a:pt x="272" y="389"/>
                    </a:lnTo>
                    <a:lnTo>
                      <a:pt x="277" y="395"/>
                    </a:lnTo>
                    <a:lnTo>
                      <a:pt x="277" y="400"/>
                    </a:lnTo>
                    <a:lnTo>
                      <a:pt x="284" y="404"/>
                    </a:lnTo>
                    <a:lnTo>
                      <a:pt x="285" y="412"/>
                    </a:lnTo>
                    <a:lnTo>
                      <a:pt x="282" y="413"/>
                    </a:lnTo>
                    <a:lnTo>
                      <a:pt x="280" y="418"/>
                    </a:lnTo>
                    <a:lnTo>
                      <a:pt x="285" y="422"/>
                    </a:lnTo>
                    <a:lnTo>
                      <a:pt x="282" y="423"/>
                    </a:lnTo>
                    <a:lnTo>
                      <a:pt x="282" y="427"/>
                    </a:lnTo>
                    <a:lnTo>
                      <a:pt x="277" y="428"/>
                    </a:lnTo>
                    <a:lnTo>
                      <a:pt x="277" y="435"/>
                    </a:lnTo>
                    <a:lnTo>
                      <a:pt x="272" y="437"/>
                    </a:lnTo>
                    <a:lnTo>
                      <a:pt x="262" y="435"/>
                    </a:lnTo>
                    <a:lnTo>
                      <a:pt x="252" y="423"/>
                    </a:lnTo>
                    <a:lnTo>
                      <a:pt x="247" y="425"/>
                    </a:lnTo>
                    <a:lnTo>
                      <a:pt x="237" y="422"/>
                    </a:lnTo>
                    <a:lnTo>
                      <a:pt x="222" y="420"/>
                    </a:lnTo>
                    <a:lnTo>
                      <a:pt x="216" y="423"/>
                    </a:lnTo>
                    <a:lnTo>
                      <a:pt x="202" y="420"/>
                    </a:lnTo>
                    <a:lnTo>
                      <a:pt x="191" y="422"/>
                    </a:lnTo>
                    <a:lnTo>
                      <a:pt x="186" y="423"/>
                    </a:lnTo>
                    <a:lnTo>
                      <a:pt x="179" y="422"/>
                    </a:lnTo>
                    <a:lnTo>
                      <a:pt x="176" y="425"/>
                    </a:lnTo>
                    <a:lnTo>
                      <a:pt x="171" y="427"/>
                    </a:lnTo>
                    <a:lnTo>
                      <a:pt x="157" y="425"/>
                    </a:lnTo>
                    <a:lnTo>
                      <a:pt x="147" y="423"/>
                    </a:lnTo>
                    <a:lnTo>
                      <a:pt x="142" y="420"/>
                    </a:lnTo>
                    <a:lnTo>
                      <a:pt x="134" y="420"/>
                    </a:lnTo>
                    <a:lnTo>
                      <a:pt x="132" y="422"/>
                    </a:lnTo>
                    <a:lnTo>
                      <a:pt x="126" y="422"/>
                    </a:lnTo>
                    <a:lnTo>
                      <a:pt x="123" y="420"/>
                    </a:lnTo>
                    <a:lnTo>
                      <a:pt x="119" y="422"/>
                    </a:lnTo>
                    <a:lnTo>
                      <a:pt x="119" y="427"/>
                    </a:lnTo>
                    <a:lnTo>
                      <a:pt x="121" y="432"/>
                    </a:lnTo>
                    <a:lnTo>
                      <a:pt x="121" y="437"/>
                    </a:lnTo>
                    <a:lnTo>
                      <a:pt x="114" y="438"/>
                    </a:lnTo>
                    <a:lnTo>
                      <a:pt x="99" y="438"/>
                    </a:lnTo>
                    <a:lnTo>
                      <a:pt x="81" y="437"/>
                    </a:lnTo>
                    <a:lnTo>
                      <a:pt x="76" y="435"/>
                    </a:lnTo>
                    <a:lnTo>
                      <a:pt x="69" y="433"/>
                    </a:lnTo>
                    <a:lnTo>
                      <a:pt x="64" y="438"/>
                    </a:lnTo>
                    <a:lnTo>
                      <a:pt x="66" y="440"/>
                    </a:lnTo>
                    <a:lnTo>
                      <a:pt x="61" y="443"/>
                    </a:lnTo>
                    <a:lnTo>
                      <a:pt x="59" y="445"/>
                    </a:lnTo>
                    <a:lnTo>
                      <a:pt x="63" y="447"/>
                    </a:lnTo>
                    <a:lnTo>
                      <a:pt x="63" y="450"/>
                    </a:lnTo>
                    <a:lnTo>
                      <a:pt x="54" y="462"/>
                    </a:lnTo>
                    <a:lnTo>
                      <a:pt x="51" y="467"/>
                    </a:lnTo>
                    <a:lnTo>
                      <a:pt x="56" y="470"/>
                    </a:lnTo>
                    <a:lnTo>
                      <a:pt x="66" y="472"/>
                    </a:lnTo>
                    <a:lnTo>
                      <a:pt x="71" y="477"/>
                    </a:lnTo>
                    <a:lnTo>
                      <a:pt x="76" y="477"/>
                    </a:lnTo>
                    <a:lnTo>
                      <a:pt x="79" y="473"/>
                    </a:lnTo>
                    <a:lnTo>
                      <a:pt x="81" y="467"/>
                    </a:lnTo>
                    <a:lnTo>
                      <a:pt x="83" y="468"/>
                    </a:lnTo>
                    <a:lnTo>
                      <a:pt x="96" y="477"/>
                    </a:lnTo>
                    <a:lnTo>
                      <a:pt x="96" y="480"/>
                    </a:lnTo>
                    <a:lnTo>
                      <a:pt x="89" y="488"/>
                    </a:lnTo>
                    <a:lnTo>
                      <a:pt x="81" y="487"/>
                    </a:lnTo>
                    <a:lnTo>
                      <a:pt x="69" y="488"/>
                    </a:lnTo>
                    <a:lnTo>
                      <a:pt x="68" y="485"/>
                    </a:lnTo>
                    <a:lnTo>
                      <a:pt x="63" y="482"/>
                    </a:lnTo>
                    <a:lnTo>
                      <a:pt x="54" y="488"/>
                    </a:lnTo>
                    <a:lnTo>
                      <a:pt x="49" y="488"/>
                    </a:lnTo>
                    <a:lnTo>
                      <a:pt x="43" y="492"/>
                    </a:lnTo>
                    <a:lnTo>
                      <a:pt x="38" y="493"/>
                    </a:lnTo>
                    <a:lnTo>
                      <a:pt x="36" y="500"/>
                    </a:lnTo>
                    <a:lnTo>
                      <a:pt x="44" y="503"/>
                    </a:lnTo>
                    <a:lnTo>
                      <a:pt x="44" y="506"/>
                    </a:lnTo>
                    <a:lnTo>
                      <a:pt x="36" y="510"/>
                    </a:lnTo>
                    <a:lnTo>
                      <a:pt x="26" y="511"/>
                    </a:lnTo>
                    <a:lnTo>
                      <a:pt x="28" y="513"/>
                    </a:lnTo>
                    <a:lnTo>
                      <a:pt x="30" y="518"/>
                    </a:lnTo>
                    <a:lnTo>
                      <a:pt x="20" y="520"/>
                    </a:lnTo>
                    <a:lnTo>
                      <a:pt x="20" y="525"/>
                    </a:lnTo>
                    <a:lnTo>
                      <a:pt x="15" y="526"/>
                    </a:lnTo>
                    <a:lnTo>
                      <a:pt x="5" y="525"/>
                    </a:lnTo>
                    <a:lnTo>
                      <a:pt x="0" y="528"/>
                    </a:lnTo>
                    <a:lnTo>
                      <a:pt x="0" y="535"/>
                    </a:lnTo>
                    <a:lnTo>
                      <a:pt x="5" y="543"/>
                    </a:lnTo>
                    <a:lnTo>
                      <a:pt x="10" y="541"/>
                    </a:lnTo>
                    <a:lnTo>
                      <a:pt x="16" y="541"/>
                    </a:lnTo>
                    <a:lnTo>
                      <a:pt x="18" y="546"/>
                    </a:lnTo>
                    <a:lnTo>
                      <a:pt x="15" y="551"/>
                    </a:lnTo>
                    <a:lnTo>
                      <a:pt x="18" y="556"/>
                    </a:lnTo>
                    <a:lnTo>
                      <a:pt x="23" y="558"/>
                    </a:lnTo>
                    <a:lnTo>
                      <a:pt x="23" y="565"/>
                    </a:lnTo>
                    <a:lnTo>
                      <a:pt x="21" y="568"/>
                    </a:lnTo>
                    <a:lnTo>
                      <a:pt x="16" y="578"/>
                    </a:lnTo>
                    <a:lnTo>
                      <a:pt x="15" y="591"/>
                    </a:lnTo>
                    <a:lnTo>
                      <a:pt x="13" y="590"/>
                    </a:lnTo>
                    <a:lnTo>
                      <a:pt x="18" y="596"/>
                    </a:lnTo>
                    <a:lnTo>
                      <a:pt x="21" y="596"/>
                    </a:lnTo>
                    <a:lnTo>
                      <a:pt x="30" y="595"/>
                    </a:lnTo>
                    <a:lnTo>
                      <a:pt x="34" y="593"/>
                    </a:lnTo>
                    <a:lnTo>
                      <a:pt x="38" y="590"/>
                    </a:lnTo>
                    <a:lnTo>
                      <a:pt x="39" y="588"/>
                    </a:lnTo>
                    <a:lnTo>
                      <a:pt x="43" y="586"/>
                    </a:lnTo>
                    <a:lnTo>
                      <a:pt x="44" y="588"/>
                    </a:lnTo>
                    <a:lnTo>
                      <a:pt x="48" y="591"/>
                    </a:lnTo>
                    <a:lnTo>
                      <a:pt x="56" y="591"/>
                    </a:lnTo>
                    <a:lnTo>
                      <a:pt x="56" y="588"/>
                    </a:lnTo>
                    <a:lnTo>
                      <a:pt x="54" y="586"/>
                    </a:lnTo>
                    <a:lnTo>
                      <a:pt x="54" y="583"/>
                    </a:lnTo>
                    <a:lnTo>
                      <a:pt x="59" y="581"/>
                    </a:lnTo>
                    <a:lnTo>
                      <a:pt x="61" y="580"/>
                    </a:lnTo>
                    <a:lnTo>
                      <a:pt x="64" y="580"/>
                    </a:lnTo>
                    <a:lnTo>
                      <a:pt x="64" y="581"/>
                    </a:lnTo>
                    <a:lnTo>
                      <a:pt x="69" y="581"/>
                    </a:lnTo>
                    <a:lnTo>
                      <a:pt x="73" y="576"/>
                    </a:lnTo>
                    <a:lnTo>
                      <a:pt x="71" y="571"/>
                    </a:lnTo>
                    <a:lnTo>
                      <a:pt x="74" y="568"/>
                    </a:lnTo>
                    <a:lnTo>
                      <a:pt x="76" y="565"/>
                    </a:lnTo>
                    <a:lnTo>
                      <a:pt x="78" y="560"/>
                    </a:lnTo>
                    <a:lnTo>
                      <a:pt x="79" y="555"/>
                    </a:lnTo>
                    <a:lnTo>
                      <a:pt x="86" y="555"/>
                    </a:lnTo>
                    <a:lnTo>
                      <a:pt x="89" y="558"/>
                    </a:lnTo>
                    <a:lnTo>
                      <a:pt x="94" y="560"/>
                    </a:lnTo>
                    <a:lnTo>
                      <a:pt x="94" y="563"/>
                    </a:lnTo>
                    <a:lnTo>
                      <a:pt x="93" y="568"/>
                    </a:lnTo>
                    <a:lnTo>
                      <a:pt x="94" y="573"/>
                    </a:lnTo>
                    <a:lnTo>
                      <a:pt x="99" y="573"/>
                    </a:lnTo>
                    <a:lnTo>
                      <a:pt x="101" y="576"/>
                    </a:lnTo>
                    <a:lnTo>
                      <a:pt x="101" y="581"/>
                    </a:lnTo>
                    <a:lnTo>
                      <a:pt x="101" y="586"/>
                    </a:lnTo>
                    <a:lnTo>
                      <a:pt x="101" y="595"/>
                    </a:lnTo>
                    <a:lnTo>
                      <a:pt x="104" y="600"/>
                    </a:lnTo>
                    <a:lnTo>
                      <a:pt x="104" y="603"/>
                    </a:lnTo>
                    <a:lnTo>
                      <a:pt x="109" y="604"/>
                    </a:lnTo>
                    <a:lnTo>
                      <a:pt x="116" y="604"/>
                    </a:lnTo>
                    <a:lnTo>
                      <a:pt x="119" y="601"/>
                    </a:lnTo>
                    <a:lnTo>
                      <a:pt x="121" y="600"/>
                    </a:lnTo>
                    <a:lnTo>
                      <a:pt x="129" y="595"/>
                    </a:lnTo>
                    <a:lnTo>
                      <a:pt x="132" y="593"/>
                    </a:lnTo>
                    <a:lnTo>
                      <a:pt x="134" y="588"/>
                    </a:lnTo>
                    <a:lnTo>
                      <a:pt x="137" y="586"/>
                    </a:lnTo>
                    <a:lnTo>
                      <a:pt x="147" y="580"/>
                    </a:lnTo>
                    <a:lnTo>
                      <a:pt x="156" y="578"/>
                    </a:lnTo>
                    <a:lnTo>
                      <a:pt x="156" y="583"/>
                    </a:lnTo>
                    <a:lnTo>
                      <a:pt x="166" y="581"/>
                    </a:lnTo>
                    <a:lnTo>
                      <a:pt x="169" y="578"/>
                    </a:lnTo>
                    <a:lnTo>
                      <a:pt x="179" y="578"/>
                    </a:lnTo>
                    <a:lnTo>
                      <a:pt x="181" y="581"/>
                    </a:lnTo>
                    <a:lnTo>
                      <a:pt x="172" y="588"/>
                    </a:lnTo>
                    <a:lnTo>
                      <a:pt x="176" y="588"/>
                    </a:lnTo>
                    <a:lnTo>
                      <a:pt x="176" y="588"/>
                    </a:lnTo>
                    <a:lnTo>
                      <a:pt x="179" y="586"/>
                    </a:lnTo>
                    <a:lnTo>
                      <a:pt x="182" y="586"/>
                    </a:lnTo>
                    <a:lnTo>
                      <a:pt x="186" y="590"/>
                    </a:lnTo>
                    <a:lnTo>
                      <a:pt x="189" y="588"/>
                    </a:lnTo>
                    <a:lnTo>
                      <a:pt x="192" y="588"/>
                    </a:lnTo>
                    <a:lnTo>
                      <a:pt x="196" y="586"/>
                    </a:lnTo>
                    <a:lnTo>
                      <a:pt x="197" y="585"/>
                    </a:lnTo>
                    <a:lnTo>
                      <a:pt x="201" y="585"/>
                    </a:lnTo>
                    <a:lnTo>
                      <a:pt x="204" y="588"/>
                    </a:lnTo>
                    <a:lnTo>
                      <a:pt x="207" y="595"/>
                    </a:lnTo>
                    <a:lnTo>
                      <a:pt x="217" y="609"/>
                    </a:lnTo>
                    <a:lnTo>
                      <a:pt x="224" y="613"/>
                    </a:lnTo>
                    <a:lnTo>
                      <a:pt x="224" y="619"/>
                    </a:lnTo>
                    <a:lnTo>
                      <a:pt x="229" y="621"/>
                    </a:lnTo>
                    <a:lnTo>
                      <a:pt x="230" y="624"/>
                    </a:lnTo>
                    <a:lnTo>
                      <a:pt x="240" y="626"/>
                    </a:lnTo>
                    <a:lnTo>
                      <a:pt x="250" y="626"/>
                    </a:lnTo>
                    <a:lnTo>
                      <a:pt x="255" y="626"/>
                    </a:lnTo>
                    <a:lnTo>
                      <a:pt x="255" y="631"/>
                    </a:lnTo>
                    <a:lnTo>
                      <a:pt x="265" y="634"/>
                    </a:lnTo>
                    <a:lnTo>
                      <a:pt x="274" y="638"/>
                    </a:lnTo>
                    <a:lnTo>
                      <a:pt x="277" y="649"/>
                    </a:lnTo>
                    <a:lnTo>
                      <a:pt x="284" y="656"/>
                    </a:lnTo>
                    <a:lnTo>
                      <a:pt x="292" y="659"/>
                    </a:lnTo>
                    <a:lnTo>
                      <a:pt x="295" y="664"/>
                    </a:lnTo>
                    <a:lnTo>
                      <a:pt x="295" y="676"/>
                    </a:lnTo>
                    <a:lnTo>
                      <a:pt x="300" y="684"/>
                    </a:lnTo>
                    <a:lnTo>
                      <a:pt x="305" y="686"/>
                    </a:lnTo>
                    <a:lnTo>
                      <a:pt x="309" y="696"/>
                    </a:lnTo>
                    <a:lnTo>
                      <a:pt x="310" y="704"/>
                    </a:lnTo>
                    <a:lnTo>
                      <a:pt x="307" y="709"/>
                    </a:lnTo>
                    <a:lnTo>
                      <a:pt x="307" y="706"/>
                    </a:lnTo>
                    <a:lnTo>
                      <a:pt x="302" y="704"/>
                    </a:lnTo>
                    <a:lnTo>
                      <a:pt x="295" y="711"/>
                    </a:lnTo>
                    <a:lnTo>
                      <a:pt x="295" y="711"/>
                    </a:lnTo>
                    <a:lnTo>
                      <a:pt x="297" y="714"/>
                    </a:lnTo>
                    <a:lnTo>
                      <a:pt x="297" y="717"/>
                    </a:lnTo>
                    <a:lnTo>
                      <a:pt x="304" y="721"/>
                    </a:lnTo>
                    <a:lnTo>
                      <a:pt x="304" y="729"/>
                    </a:lnTo>
                    <a:lnTo>
                      <a:pt x="305" y="732"/>
                    </a:lnTo>
                    <a:lnTo>
                      <a:pt x="304" y="736"/>
                    </a:lnTo>
                    <a:lnTo>
                      <a:pt x="307" y="737"/>
                    </a:lnTo>
                    <a:lnTo>
                      <a:pt x="309" y="741"/>
                    </a:lnTo>
                    <a:lnTo>
                      <a:pt x="309" y="744"/>
                    </a:lnTo>
                    <a:lnTo>
                      <a:pt x="312" y="744"/>
                    </a:lnTo>
                    <a:lnTo>
                      <a:pt x="314" y="749"/>
                    </a:lnTo>
                    <a:lnTo>
                      <a:pt x="319" y="752"/>
                    </a:lnTo>
                    <a:lnTo>
                      <a:pt x="322" y="747"/>
                    </a:lnTo>
                    <a:lnTo>
                      <a:pt x="327" y="747"/>
                    </a:lnTo>
                    <a:lnTo>
                      <a:pt x="329" y="751"/>
                    </a:lnTo>
                    <a:lnTo>
                      <a:pt x="335" y="751"/>
                    </a:lnTo>
                    <a:lnTo>
                      <a:pt x="340" y="756"/>
                    </a:lnTo>
                    <a:lnTo>
                      <a:pt x="343" y="757"/>
                    </a:lnTo>
                    <a:lnTo>
                      <a:pt x="345" y="762"/>
                    </a:lnTo>
                    <a:lnTo>
                      <a:pt x="350" y="762"/>
                    </a:lnTo>
                    <a:lnTo>
                      <a:pt x="352" y="766"/>
                    </a:lnTo>
                    <a:lnTo>
                      <a:pt x="352" y="766"/>
                    </a:lnTo>
                    <a:lnTo>
                      <a:pt x="353" y="764"/>
                    </a:lnTo>
                    <a:lnTo>
                      <a:pt x="360" y="767"/>
                    </a:lnTo>
                    <a:lnTo>
                      <a:pt x="362" y="771"/>
                    </a:lnTo>
                    <a:lnTo>
                      <a:pt x="367" y="771"/>
                    </a:lnTo>
                    <a:lnTo>
                      <a:pt x="370" y="771"/>
                    </a:lnTo>
                    <a:lnTo>
                      <a:pt x="373" y="767"/>
                    </a:lnTo>
                    <a:lnTo>
                      <a:pt x="378" y="767"/>
                    </a:lnTo>
                    <a:lnTo>
                      <a:pt x="387" y="771"/>
                    </a:lnTo>
                    <a:lnTo>
                      <a:pt x="390" y="772"/>
                    </a:lnTo>
                    <a:lnTo>
                      <a:pt x="395" y="772"/>
                    </a:lnTo>
                    <a:lnTo>
                      <a:pt x="400" y="774"/>
                    </a:lnTo>
                    <a:lnTo>
                      <a:pt x="407" y="782"/>
                    </a:lnTo>
                    <a:lnTo>
                      <a:pt x="412" y="782"/>
                    </a:lnTo>
                    <a:lnTo>
                      <a:pt x="417" y="784"/>
                    </a:lnTo>
                    <a:lnTo>
                      <a:pt x="420" y="787"/>
                    </a:lnTo>
                    <a:lnTo>
                      <a:pt x="423" y="792"/>
                    </a:lnTo>
                    <a:lnTo>
                      <a:pt x="425" y="796"/>
                    </a:lnTo>
                    <a:lnTo>
                      <a:pt x="428" y="796"/>
                    </a:lnTo>
                    <a:lnTo>
                      <a:pt x="428" y="789"/>
                    </a:lnTo>
                    <a:lnTo>
                      <a:pt x="431" y="786"/>
                    </a:lnTo>
                    <a:lnTo>
                      <a:pt x="433" y="789"/>
                    </a:lnTo>
                    <a:lnTo>
                      <a:pt x="438" y="789"/>
                    </a:lnTo>
                    <a:lnTo>
                      <a:pt x="443" y="791"/>
                    </a:lnTo>
                    <a:lnTo>
                      <a:pt x="443" y="797"/>
                    </a:lnTo>
                    <a:lnTo>
                      <a:pt x="450" y="802"/>
                    </a:lnTo>
                    <a:lnTo>
                      <a:pt x="458" y="800"/>
                    </a:lnTo>
                    <a:lnTo>
                      <a:pt x="463" y="800"/>
                    </a:lnTo>
                    <a:lnTo>
                      <a:pt x="463" y="810"/>
                    </a:lnTo>
                    <a:lnTo>
                      <a:pt x="465" y="815"/>
                    </a:lnTo>
                    <a:lnTo>
                      <a:pt x="470" y="814"/>
                    </a:lnTo>
                    <a:lnTo>
                      <a:pt x="476" y="817"/>
                    </a:lnTo>
                    <a:lnTo>
                      <a:pt x="478" y="814"/>
                    </a:lnTo>
                    <a:lnTo>
                      <a:pt x="485" y="814"/>
                    </a:lnTo>
                    <a:lnTo>
                      <a:pt x="488" y="809"/>
                    </a:lnTo>
                    <a:lnTo>
                      <a:pt x="498" y="810"/>
                    </a:lnTo>
                    <a:lnTo>
                      <a:pt x="503" y="812"/>
                    </a:lnTo>
                    <a:lnTo>
                      <a:pt x="505" y="817"/>
                    </a:lnTo>
                    <a:lnTo>
                      <a:pt x="511" y="820"/>
                    </a:lnTo>
                    <a:lnTo>
                      <a:pt x="516" y="825"/>
                    </a:lnTo>
                    <a:lnTo>
                      <a:pt x="521" y="827"/>
                    </a:lnTo>
                    <a:lnTo>
                      <a:pt x="528" y="825"/>
                    </a:lnTo>
                    <a:lnTo>
                      <a:pt x="529" y="825"/>
                    </a:lnTo>
                    <a:lnTo>
                      <a:pt x="536" y="824"/>
                    </a:lnTo>
                    <a:lnTo>
                      <a:pt x="541" y="824"/>
                    </a:lnTo>
                    <a:lnTo>
                      <a:pt x="541" y="824"/>
                    </a:lnTo>
                    <a:lnTo>
                      <a:pt x="546" y="820"/>
                    </a:lnTo>
                    <a:lnTo>
                      <a:pt x="551" y="820"/>
                    </a:lnTo>
                    <a:lnTo>
                      <a:pt x="554" y="824"/>
                    </a:lnTo>
                    <a:lnTo>
                      <a:pt x="554" y="830"/>
                    </a:lnTo>
                    <a:lnTo>
                      <a:pt x="559" y="834"/>
                    </a:lnTo>
                    <a:lnTo>
                      <a:pt x="559" y="834"/>
                    </a:lnTo>
                    <a:lnTo>
                      <a:pt x="564" y="830"/>
                    </a:lnTo>
                    <a:lnTo>
                      <a:pt x="569" y="822"/>
                    </a:lnTo>
                    <a:lnTo>
                      <a:pt x="581" y="815"/>
                    </a:lnTo>
                    <a:lnTo>
                      <a:pt x="589" y="814"/>
                    </a:lnTo>
                    <a:lnTo>
                      <a:pt x="591" y="817"/>
                    </a:lnTo>
                    <a:lnTo>
                      <a:pt x="603" y="819"/>
                    </a:lnTo>
                    <a:lnTo>
                      <a:pt x="608" y="820"/>
                    </a:lnTo>
                    <a:lnTo>
                      <a:pt x="614" y="819"/>
                    </a:lnTo>
                    <a:lnTo>
                      <a:pt x="621" y="819"/>
                    </a:lnTo>
                    <a:lnTo>
                      <a:pt x="624" y="824"/>
                    </a:lnTo>
                    <a:lnTo>
                      <a:pt x="626" y="824"/>
                    </a:lnTo>
                    <a:lnTo>
                      <a:pt x="629" y="824"/>
                    </a:lnTo>
                    <a:lnTo>
                      <a:pt x="637" y="820"/>
                    </a:lnTo>
                    <a:lnTo>
                      <a:pt x="641" y="820"/>
                    </a:lnTo>
                    <a:lnTo>
                      <a:pt x="644" y="815"/>
                    </a:lnTo>
                    <a:lnTo>
                      <a:pt x="647" y="814"/>
                    </a:lnTo>
                    <a:lnTo>
                      <a:pt x="651" y="814"/>
                    </a:lnTo>
                    <a:lnTo>
                      <a:pt x="651" y="812"/>
                    </a:lnTo>
                    <a:lnTo>
                      <a:pt x="656" y="810"/>
                    </a:lnTo>
                    <a:lnTo>
                      <a:pt x="657" y="805"/>
                    </a:lnTo>
                    <a:lnTo>
                      <a:pt x="662" y="800"/>
                    </a:lnTo>
                    <a:lnTo>
                      <a:pt x="667" y="800"/>
                    </a:lnTo>
                    <a:lnTo>
                      <a:pt x="676" y="799"/>
                    </a:lnTo>
                    <a:lnTo>
                      <a:pt x="682" y="792"/>
                    </a:lnTo>
                    <a:lnTo>
                      <a:pt x="681" y="787"/>
                    </a:lnTo>
                    <a:lnTo>
                      <a:pt x="684" y="787"/>
                    </a:lnTo>
                    <a:lnTo>
                      <a:pt x="691" y="784"/>
                    </a:lnTo>
                    <a:lnTo>
                      <a:pt x="694" y="789"/>
                    </a:lnTo>
                    <a:lnTo>
                      <a:pt x="701" y="787"/>
                    </a:lnTo>
                    <a:lnTo>
                      <a:pt x="711" y="791"/>
                    </a:lnTo>
                    <a:lnTo>
                      <a:pt x="712" y="789"/>
                    </a:lnTo>
                    <a:lnTo>
                      <a:pt x="712" y="784"/>
                    </a:lnTo>
                    <a:lnTo>
                      <a:pt x="722" y="779"/>
                    </a:lnTo>
                    <a:lnTo>
                      <a:pt x="725" y="779"/>
                    </a:lnTo>
                    <a:lnTo>
                      <a:pt x="729" y="782"/>
                    </a:lnTo>
                    <a:lnTo>
                      <a:pt x="732" y="782"/>
                    </a:lnTo>
                    <a:lnTo>
                      <a:pt x="734" y="784"/>
                    </a:lnTo>
                    <a:lnTo>
                      <a:pt x="730" y="791"/>
                    </a:lnTo>
                    <a:lnTo>
                      <a:pt x="732" y="794"/>
                    </a:lnTo>
                    <a:lnTo>
                      <a:pt x="735" y="792"/>
                    </a:lnTo>
                    <a:lnTo>
                      <a:pt x="737" y="792"/>
                    </a:lnTo>
                    <a:lnTo>
                      <a:pt x="739" y="796"/>
                    </a:lnTo>
                    <a:lnTo>
                      <a:pt x="742" y="799"/>
                    </a:lnTo>
                    <a:lnTo>
                      <a:pt x="742" y="802"/>
                    </a:lnTo>
                    <a:lnTo>
                      <a:pt x="739" y="807"/>
                    </a:lnTo>
                    <a:lnTo>
                      <a:pt x="740" y="810"/>
                    </a:lnTo>
                    <a:lnTo>
                      <a:pt x="745" y="810"/>
                    </a:lnTo>
                    <a:lnTo>
                      <a:pt x="749" y="810"/>
                    </a:lnTo>
                    <a:lnTo>
                      <a:pt x="752" y="812"/>
                    </a:lnTo>
                    <a:lnTo>
                      <a:pt x="757" y="815"/>
                    </a:lnTo>
                    <a:lnTo>
                      <a:pt x="760" y="814"/>
                    </a:lnTo>
                    <a:lnTo>
                      <a:pt x="765" y="815"/>
                    </a:lnTo>
                    <a:lnTo>
                      <a:pt x="770" y="814"/>
                    </a:lnTo>
                    <a:lnTo>
                      <a:pt x="775" y="814"/>
                    </a:lnTo>
                    <a:lnTo>
                      <a:pt x="779" y="819"/>
                    </a:lnTo>
                    <a:lnTo>
                      <a:pt x="784" y="822"/>
                    </a:lnTo>
                    <a:lnTo>
                      <a:pt x="784" y="829"/>
                    </a:lnTo>
                    <a:lnTo>
                      <a:pt x="789" y="829"/>
                    </a:lnTo>
                    <a:lnTo>
                      <a:pt x="794" y="834"/>
                    </a:lnTo>
                    <a:lnTo>
                      <a:pt x="794" y="840"/>
                    </a:lnTo>
                    <a:lnTo>
                      <a:pt x="797" y="847"/>
                    </a:lnTo>
                    <a:lnTo>
                      <a:pt x="797" y="854"/>
                    </a:lnTo>
                    <a:lnTo>
                      <a:pt x="797" y="864"/>
                    </a:lnTo>
                    <a:lnTo>
                      <a:pt x="797" y="869"/>
                    </a:lnTo>
                    <a:lnTo>
                      <a:pt x="795" y="870"/>
                    </a:lnTo>
                    <a:lnTo>
                      <a:pt x="790" y="872"/>
                    </a:lnTo>
                    <a:lnTo>
                      <a:pt x="790" y="877"/>
                    </a:lnTo>
                    <a:lnTo>
                      <a:pt x="787" y="877"/>
                    </a:lnTo>
                    <a:lnTo>
                      <a:pt x="787" y="880"/>
                    </a:lnTo>
                    <a:lnTo>
                      <a:pt x="789" y="885"/>
                    </a:lnTo>
                    <a:lnTo>
                      <a:pt x="787" y="887"/>
                    </a:lnTo>
                    <a:lnTo>
                      <a:pt x="784" y="887"/>
                    </a:lnTo>
                    <a:lnTo>
                      <a:pt x="780" y="889"/>
                    </a:lnTo>
                    <a:lnTo>
                      <a:pt x="779" y="894"/>
                    </a:lnTo>
                    <a:lnTo>
                      <a:pt x="780" y="895"/>
                    </a:lnTo>
                    <a:lnTo>
                      <a:pt x="779" y="898"/>
                    </a:lnTo>
                    <a:lnTo>
                      <a:pt x="779" y="903"/>
                    </a:lnTo>
                    <a:lnTo>
                      <a:pt x="782" y="905"/>
                    </a:lnTo>
                    <a:lnTo>
                      <a:pt x="784" y="907"/>
                    </a:lnTo>
                    <a:lnTo>
                      <a:pt x="787" y="910"/>
                    </a:lnTo>
                    <a:lnTo>
                      <a:pt x="787" y="915"/>
                    </a:lnTo>
                    <a:lnTo>
                      <a:pt x="789" y="920"/>
                    </a:lnTo>
                    <a:lnTo>
                      <a:pt x="795" y="917"/>
                    </a:lnTo>
                    <a:lnTo>
                      <a:pt x="805" y="915"/>
                    </a:lnTo>
                    <a:lnTo>
                      <a:pt x="807" y="918"/>
                    </a:lnTo>
                    <a:lnTo>
                      <a:pt x="805" y="920"/>
                    </a:lnTo>
                    <a:lnTo>
                      <a:pt x="809" y="923"/>
                    </a:lnTo>
                    <a:lnTo>
                      <a:pt x="815" y="922"/>
                    </a:lnTo>
                    <a:lnTo>
                      <a:pt x="815" y="925"/>
                    </a:lnTo>
                    <a:lnTo>
                      <a:pt x="814" y="928"/>
                    </a:lnTo>
                    <a:lnTo>
                      <a:pt x="817" y="932"/>
                    </a:lnTo>
                    <a:lnTo>
                      <a:pt x="824" y="933"/>
                    </a:lnTo>
                    <a:lnTo>
                      <a:pt x="822" y="935"/>
                    </a:lnTo>
                    <a:lnTo>
                      <a:pt x="824" y="938"/>
                    </a:lnTo>
                    <a:lnTo>
                      <a:pt x="825" y="937"/>
                    </a:lnTo>
                    <a:lnTo>
                      <a:pt x="832" y="937"/>
                    </a:lnTo>
                    <a:lnTo>
                      <a:pt x="837" y="938"/>
                    </a:lnTo>
                    <a:lnTo>
                      <a:pt x="837" y="942"/>
                    </a:lnTo>
                    <a:lnTo>
                      <a:pt x="835" y="947"/>
                    </a:lnTo>
                    <a:lnTo>
                      <a:pt x="835" y="948"/>
                    </a:lnTo>
                    <a:lnTo>
                      <a:pt x="828" y="957"/>
                    </a:lnTo>
                    <a:lnTo>
                      <a:pt x="825" y="960"/>
                    </a:lnTo>
                    <a:lnTo>
                      <a:pt x="825" y="963"/>
                    </a:lnTo>
                    <a:lnTo>
                      <a:pt x="828" y="962"/>
                    </a:lnTo>
                    <a:lnTo>
                      <a:pt x="837" y="963"/>
                    </a:lnTo>
                    <a:lnTo>
                      <a:pt x="838" y="963"/>
                    </a:lnTo>
                    <a:lnTo>
                      <a:pt x="842" y="962"/>
                    </a:lnTo>
                    <a:lnTo>
                      <a:pt x="845" y="965"/>
                    </a:lnTo>
                    <a:lnTo>
                      <a:pt x="843" y="970"/>
                    </a:lnTo>
                    <a:lnTo>
                      <a:pt x="845" y="975"/>
                    </a:lnTo>
                    <a:lnTo>
                      <a:pt x="850" y="977"/>
                    </a:lnTo>
                    <a:lnTo>
                      <a:pt x="853" y="975"/>
                    </a:lnTo>
                    <a:lnTo>
                      <a:pt x="860" y="975"/>
                    </a:lnTo>
                    <a:lnTo>
                      <a:pt x="870" y="970"/>
                    </a:lnTo>
                    <a:lnTo>
                      <a:pt x="875" y="972"/>
                    </a:lnTo>
                    <a:lnTo>
                      <a:pt x="875" y="975"/>
                    </a:lnTo>
                    <a:lnTo>
                      <a:pt x="868" y="982"/>
                    </a:lnTo>
                    <a:lnTo>
                      <a:pt x="872" y="977"/>
                    </a:lnTo>
                    <a:lnTo>
                      <a:pt x="875" y="980"/>
                    </a:lnTo>
                    <a:lnTo>
                      <a:pt x="878" y="983"/>
                    </a:lnTo>
                    <a:lnTo>
                      <a:pt x="883" y="982"/>
                    </a:lnTo>
                    <a:lnTo>
                      <a:pt x="888" y="982"/>
                    </a:lnTo>
                    <a:lnTo>
                      <a:pt x="887" y="977"/>
                    </a:lnTo>
                    <a:lnTo>
                      <a:pt x="887" y="972"/>
                    </a:lnTo>
                    <a:lnTo>
                      <a:pt x="885" y="967"/>
                    </a:lnTo>
                    <a:lnTo>
                      <a:pt x="885" y="960"/>
                    </a:lnTo>
                    <a:lnTo>
                      <a:pt x="888" y="957"/>
                    </a:lnTo>
                    <a:lnTo>
                      <a:pt x="888" y="955"/>
                    </a:lnTo>
                    <a:lnTo>
                      <a:pt x="897" y="953"/>
                    </a:lnTo>
                    <a:lnTo>
                      <a:pt x="898" y="957"/>
                    </a:lnTo>
                    <a:lnTo>
                      <a:pt x="897" y="955"/>
                    </a:lnTo>
                    <a:lnTo>
                      <a:pt x="898" y="953"/>
                    </a:lnTo>
                    <a:lnTo>
                      <a:pt x="900" y="953"/>
                    </a:lnTo>
                    <a:lnTo>
                      <a:pt x="902" y="950"/>
                    </a:lnTo>
                    <a:lnTo>
                      <a:pt x="905" y="948"/>
                    </a:lnTo>
                    <a:lnTo>
                      <a:pt x="910" y="947"/>
                    </a:lnTo>
                    <a:lnTo>
                      <a:pt x="913" y="947"/>
                    </a:lnTo>
                    <a:lnTo>
                      <a:pt x="912" y="950"/>
                    </a:lnTo>
                    <a:lnTo>
                      <a:pt x="915" y="952"/>
                    </a:lnTo>
                    <a:lnTo>
                      <a:pt x="918" y="952"/>
                    </a:lnTo>
                    <a:lnTo>
                      <a:pt x="918" y="948"/>
                    </a:lnTo>
                    <a:lnTo>
                      <a:pt x="922" y="945"/>
                    </a:lnTo>
                    <a:lnTo>
                      <a:pt x="926" y="950"/>
                    </a:lnTo>
                    <a:lnTo>
                      <a:pt x="930" y="947"/>
                    </a:lnTo>
                    <a:lnTo>
                      <a:pt x="933" y="947"/>
                    </a:lnTo>
                    <a:lnTo>
                      <a:pt x="933" y="950"/>
                    </a:lnTo>
                    <a:lnTo>
                      <a:pt x="940" y="947"/>
                    </a:lnTo>
                    <a:lnTo>
                      <a:pt x="940" y="943"/>
                    </a:lnTo>
                    <a:lnTo>
                      <a:pt x="946" y="942"/>
                    </a:lnTo>
                    <a:lnTo>
                      <a:pt x="951" y="945"/>
                    </a:lnTo>
                    <a:lnTo>
                      <a:pt x="958" y="943"/>
                    </a:lnTo>
                    <a:lnTo>
                      <a:pt x="958" y="935"/>
                    </a:lnTo>
                    <a:lnTo>
                      <a:pt x="963" y="933"/>
                    </a:lnTo>
                    <a:lnTo>
                      <a:pt x="970" y="933"/>
                    </a:lnTo>
                    <a:lnTo>
                      <a:pt x="973" y="930"/>
                    </a:lnTo>
                    <a:lnTo>
                      <a:pt x="978" y="933"/>
                    </a:lnTo>
                    <a:lnTo>
                      <a:pt x="978" y="937"/>
                    </a:lnTo>
                    <a:lnTo>
                      <a:pt x="983" y="938"/>
                    </a:lnTo>
                    <a:lnTo>
                      <a:pt x="986" y="940"/>
                    </a:lnTo>
                    <a:lnTo>
                      <a:pt x="996" y="940"/>
                    </a:lnTo>
                    <a:lnTo>
                      <a:pt x="998" y="943"/>
                    </a:lnTo>
                    <a:lnTo>
                      <a:pt x="1005" y="940"/>
                    </a:lnTo>
                    <a:lnTo>
                      <a:pt x="1010" y="943"/>
                    </a:lnTo>
                    <a:lnTo>
                      <a:pt x="1008" y="947"/>
                    </a:lnTo>
                    <a:lnTo>
                      <a:pt x="1005" y="948"/>
                    </a:lnTo>
                    <a:lnTo>
                      <a:pt x="1003" y="957"/>
                    </a:lnTo>
                    <a:lnTo>
                      <a:pt x="1005" y="957"/>
                    </a:lnTo>
                    <a:lnTo>
                      <a:pt x="1006" y="962"/>
                    </a:lnTo>
                    <a:lnTo>
                      <a:pt x="1016" y="965"/>
                    </a:lnTo>
                    <a:lnTo>
                      <a:pt x="1018" y="968"/>
                    </a:lnTo>
                    <a:lnTo>
                      <a:pt x="1023" y="970"/>
                    </a:lnTo>
                    <a:lnTo>
                      <a:pt x="1028" y="972"/>
                    </a:lnTo>
                    <a:lnTo>
                      <a:pt x="1033" y="970"/>
                    </a:lnTo>
                    <a:lnTo>
                      <a:pt x="1034" y="972"/>
                    </a:lnTo>
                    <a:lnTo>
                      <a:pt x="1038" y="972"/>
                    </a:lnTo>
                    <a:lnTo>
                      <a:pt x="1041" y="973"/>
                    </a:lnTo>
                    <a:lnTo>
                      <a:pt x="1043" y="973"/>
                    </a:lnTo>
                    <a:lnTo>
                      <a:pt x="1044" y="973"/>
                    </a:lnTo>
                    <a:lnTo>
                      <a:pt x="1048" y="973"/>
                    </a:lnTo>
                    <a:lnTo>
                      <a:pt x="1051" y="972"/>
                    </a:lnTo>
                    <a:lnTo>
                      <a:pt x="1051" y="970"/>
                    </a:lnTo>
                    <a:lnTo>
                      <a:pt x="1053" y="965"/>
                    </a:lnTo>
                    <a:lnTo>
                      <a:pt x="1054" y="970"/>
                    </a:lnTo>
                    <a:lnTo>
                      <a:pt x="1059" y="973"/>
                    </a:lnTo>
                    <a:lnTo>
                      <a:pt x="1061" y="973"/>
                    </a:lnTo>
                    <a:lnTo>
                      <a:pt x="1068" y="978"/>
                    </a:lnTo>
                    <a:lnTo>
                      <a:pt x="1071" y="977"/>
                    </a:lnTo>
                    <a:lnTo>
                      <a:pt x="1074" y="977"/>
                    </a:lnTo>
                    <a:lnTo>
                      <a:pt x="1076" y="973"/>
                    </a:lnTo>
                    <a:lnTo>
                      <a:pt x="1079" y="977"/>
                    </a:lnTo>
                    <a:lnTo>
                      <a:pt x="1083" y="975"/>
                    </a:lnTo>
                    <a:lnTo>
                      <a:pt x="1086" y="977"/>
                    </a:lnTo>
                    <a:lnTo>
                      <a:pt x="1086" y="978"/>
                    </a:lnTo>
                    <a:lnTo>
                      <a:pt x="1083" y="978"/>
                    </a:lnTo>
                    <a:lnTo>
                      <a:pt x="1081" y="982"/>
                    </a:lnTo>
                    <a:lnTo>
                      <a:pt x="1078" y="985"/>
                    </a:lnTo>
                    <a:lnTo>
                      <a:pt x="1078" y="988"/>
                    </a:lnTo>
                    <a:lnTo>
                      <a:pt x="1084" y="995"/>
                    </a:lnTo>
                    <a:lnTo>
                      <a:pt x="1088" y="998"/>
                    </a:lnTo>
                    <a:lnTo>
                      <a:pt x="1088" y="1000"/>
                    </a:lnTo>
                    <a:lnTo>
                      <a:pt x="1088" y="1005"/>
                    </a:lnTo>
                    <a:lnTo>
                      <a:pt x="1089" y="1003"/>
                    </a:lnTo>
                    <a:lnTo>
                      <a:pt x="1091" y="1000"/>
                    </a:lnTo>
                    <a:lnTo>
                      <a:pt x="1096" y="1001"/>
                    </a:lnTo>
                    <a:lnTo>
                      <a:pt x="1096" y="1003"/>
                    </a:lnTo>
                    <a:lnTo>
                      <a:pt x="1099" y="1003"/>
                    </a:lnTo>
                    <a:lnTo>
                      <a:pt x="1103" y="998"/>
                    </a:lnTo>
                    <a:lnTo>
                      <a:pt x="1103" y="995"/>
                    </a:lnTo>
                    <a:lnTo>
                      <a:pt x="1099" y="995"/>
                    </a:lnTo>
                    <a:lnTo>
                      <a:pt x="1099" y="995"/>
                    </a:lnTo>
                    <a:lnTo>
                      <a:pt x="1098" y="990"/>
                    </a:lnTo>
                    <a:lnTo>
                      <a:pt x="1094" y="990"/>
                    </a:lnTo>
                    <a:lnTo>
                      <a:pt x="1093" y="985"/>
                    </a:lnTo>
                    <a:lnTo>
                      <a:pt x="1094" y="983"/>
                    </a:lnTo>
                    <a:lnTo>
                      <a:pt x="1098" y="982"/>
                    </a:lnTo>
                    <a:lnTo>
                      <a:pt x="1098" y="978"/>
                    </a:lnTo>
                    <a:lnTo>
                      <a:pt x="1098" y="977"/>
                    </a:lnTo>
                    <a:lnTo>
                      <a:pt x="1099" y="977"/>
                    </a:lnTo>
                    <a:lnTo>
                      <a:pt x="1101" y="975"/>
                    </a:lnTo>
                    <a:lnTo>
                      <a:pt x="1101" y="975"/>
                    </a:lnTo>
                    <a:lnTo>
                      <a:pt x="1101" y="977"/>
                    </a:lnTo>
                    <a:lnTo>
                      <a:pt x="1103" y="977"/>
                    </a:lnTo>
                    <a:lnTo>
                      <a:pt x="1103" y="978"/>
                    </a:lnTo>
                    <a:lnTo>
                      <a:pt x="1103" y="978"/>
                    </a:lnTo>
                    <a:lnTo>
                      <a:pt x="1104" y="980"/>
                    </a:lnTo>
                    <a:lnTo>
                      <a:pt x="1104" y="980"/>
                    </a:lnTo>
                    <a:lnTo>
                      <a:pt x="1104" y="980"/>
                    </a:lnTo>
                    <a:lnTo>
                      <a:pt x="1108" y="978"/>
                    </a:lnTo>
                    <a:lnTo>
                      <a:pt x="1113" y="978"/>
                    </a:lnTo>
                    <a:lnTo>
                      <a:pt x="1114" y="975"/>
                    </a:lnTo>
                    <a:lnTo>
                      <a:pt x="1118" y="975"/>
                    </a:lnTo>
                    <a:lnTo>
                      <a:pt x="1122" y="975"/>
                    </a:lnTo>
                    <a:lnTo>
                      <a:pt x="1127" y="972"/>
                    </a:lnTo>
                    <a:lnTo>
                      <a:pt x="1126" y="968"/>
                    </a:lnTo>
                    <a:lnTo>
                      <a:pt x="1129" y="968"/>
                    </a:lnTo>
                    <a:lnTo>
                      <a:pt x="1134" y="968"/>
                    </a:lnTo>
                    <a:lnTo>
                      <a:pt x="1139" y="970"/>
                    </a:lnTo>
                    <a:lnTo>
                      <a:pt x="1142" y="968"/>
                    </a:lnTo>
                    <a:lnTo>
                      <a:pt x="1147" y="967"/>
                    </a:lnTo>
                    <a:lnTo>
                      <a:pt x="1152" y="962"/>
                    </a:lnTo>
                    <a:lnTo>
                      <a:pt x="1156" y="958"/>
                    </a:lnTo>
                    <a:lnTo>
                      <a:pt x="1156" y="957"/>
                    </a:lnTo>
                    <a:lnTo>
                      <a:pt x="1157" y="957"/>
                    </a:lnTo>
                    <a:lnTo>
                      <a:pt x="1159" y="958"/>
                    </a:lnTo>
                    <a:lnTo>
                      <a:pt x="1161" y="957"/>
                    </a:lnTo>
                    <a:lnTo>
                      <a:pt x="1164" y="953"/>
                    </a:lnTo>
                    <a:lnTo>
                      <a:pt x="1167" y="952"/>
                    </a:lnTo>
                    <a:lnTo>
                      <a:pt x="1166" y="947"/>
                    </a:lnTo>
                    <a:lnTo>
                      <a:pt x="1166" y="943"/>
                    </a:lnTo>
                    <a:lnTo>
                      <a:pt x="1166" y="940"/>
                    </a:lnTo>
                    <a:lnTo>
                      <a:pt x="1164" y="937"/>
                    </a:lnTo>
                    <a:lnTo>
                      <a:pt x="1167" y="940"/>
                    </a:lnTo>
                    <a:lnTo>
                      <a:pt x="1172" y="942"/>
                    </a:lnTo>
                    <a:lnTo>
                      <a:pt x="1174" y="945"/>
                    </a:lnTo>
                    <a:lnTo>
                      <a:pt x="1179" y="950"/>
                    </a:lnTo>
                    <a:lnTo>
                      <a:pt x="1182" y="948"/>
                    </a:lnTo>
                    <a:lnTo>
                      <a:pt x="1179" y="952"/>
                    </a:lnTo>
                    <a:lnTo>
                      <a:pt x="1176" y="953"/>
                    </a:lnTo>
                    <a:lnTo>
                      <a:pt x="1177" y="955"/>
                    </a:lnTo>
                    <a:lnTo>
                      <a:pt x="1186" y="952"/>
                    </a:lnTo>
                    <a:lnTo>
                      <a:pt x="1186" y="947"/>
                    </a:lnTo>
                    <a:lnTo>
                      <a:pt x="1191" y="945"/>
                    </a:lnTo>
                    <a:lnTo>
                      <a:pt x="1192" y="943"/>
                    </a:lnTo>
                    <a:lnTo>
                      <a:pt x="1196" y="945"/>
                    </a:lnTo>
                    <a:lnTo>
                      <a:pt x="1201" y="945"/>
                    </a:lnTo>
                    <a:lnTo>
                      <a:pt x="1201" y="942"/>
                    </a:lnTo>
                    <a:lnTo>
                      <a:pt x="1204" y="942"/>
                    </a:lnTo>
                    <a:lnTo>
                      <a:pt x="1206" y="938"/>
                    </a:lnTo>
                    <a:lnTo>
                      <a:pt x="1207" y="942"/>
                    </a:lnTo>
                    <a:lnTo>
                      <a:pt x="1211" y="945"/>
                    </a:lnTo>
                    <a:lnTo>
                      <a:pt x="1214" y="943"/>
                    </a:lnTo>
                    <a:lnTo>
                      <a:pt x="1214" y="940"/>
                    </a:lnTo>
                    <a:lnTo>
                      <a:pt x="1217" y="940"/>
                    </a:lnTo>
                    <a:lnTo>
                      <a:pt x="1217" y="940"/>
                    </a:lnTo>
                    <a:lnTo>
                      <a:pt x="1221" y="940"/>
                    </a:lnTo>
                    <a:lnTo>
                      <a:pt x="1222" y="938"/>
                    </a:lnTo>
                    <a:lnTo>
                      <a:pt x="1227" y="938"/>
                    </a:lnTo>
                    <a:lnTo>
                      <a:pt x="1230" y="935"/>
                    </a:lnTo>
                    <a:lnTo>
                      <a:pt x="1232" y="933"/>
                    </a:lnTo>
                    <a:lnTo>
                      <a:pt x="1232" y="937"/>
                    </a:lnTo>
                    <a:lnTo>
                      <a:pt x="1234" y="933"/>
                    </a:lnTo>
                    <a:lnTo>
                      <a:pt x="1237" y="935"/>
                    </a:lnTo>
                    <a:lnTo>
                      <a:pt x="1240" y="933"/>
                    </a:lnTo>
                    <a:lnTo>
                      <a:pt x="1239" y="930"/>
                    </a:lnTo>
                    <a:lnTo>
                      <a:pt x="1240" y="927"/>
                    </a:lnTo>
                    <a:lnTo>
                      <a:pt x="1242" y="923"/>
                    </a:lnTo>
                    <a:lnTo>
                      <a:pt x="1240" y="918"/>
                    </a:lnTo>
                    <a:lnTo>
                      <a:pt x="1244" y="918"/>
                    </a:lnTo>
                    <a:lnTo>
                      <a:pt x="1245" y="917"/>
                    </a:lnTo>
                    <a:lnTo>
                      <a:pt x="1250" y="917"/>
                    </a:lnTo>
                    <a:lnTo>
                      <a:pt x="1252" y="918"/>
                    </a:lnTo>
                    <a:lnTo>
                      <a:pt x="1255" y="918"/>
                    </a:lnTo>
                    <a:lnTo>
                      <a:pt x="1257" y="913"/>
                    </a:lnTo>
                    <a:lnTo>
                      <a:pt x="1259" y="913"/>
                    </a:lnTo>
                    <a:lnTo>
                      <a:pt x="1260" y="910"/>
                    </a:lnTo>
                    <a:lnTo>
                      <a:pt x="1262" y="908"/>
                    </a:lnTo>
                    <a:lnTo>
                      <a:pt x="1262" y="912"/>
                    </a:lnTo>
                    <a:lnTo>
                      <a:pt x="1264" y="910"/>
                    </a:lnTo>
                    <a:lnTo>
                      <a:pt x="1267" y="907"/>
                    </a:lnTo>
                    <a:lnTo>
                      <a:pt x="1270" y="908"/>
                    </a:lnTo>
                    <a:lnTo>
                      <a:pt x="1270" y="905"/>
                    </a:lnTo>
                    <a:lnTo>
                      <a:pt x="1274" y="905"/>
                    </a:lnTo>
                    <a:lnTo>
                      <a:pt x="1275" y="900"/>
                    </a:lnTo>
                    <a:lnTo>
                      <a:pt x="1270" y="900"/>
                    </a:lnTo>
                    <a:lnTo>
                      <a:pt x="1267" y="902"/>
                    </a:lnTo>
                    <a:lnTo>
                      <a:pt x="1262" y="897"/>
                    </a:lnTo>
                    <a:lnTo>
                      <a:pt x="1269" y="897"/>
                    </a:lnTo>
                    <a:lnTo>
                      <a:pt x="1274" y="892"/>
                    </a:lnTo>
                    <a:lnTo>
                      <a:pt x="1275" y="894"/>
                    </a:lnTo>
                    <a:lnTo>
                      <a:pt x="1277" y="892"/>
                    </a:lnTo>
                    <a:lnTo>
                      <a:pt x="1284" y="895"/>
                    </a:lnTo>
                    <a:lnTo>
                      <a:pt x="1285" y="890"/>
                    </a:lnTo>
                    <a:lnTo>
                      <a:pt x="1282" y="890"/>
                    </a:lnTo>
                    <a:lnTo>
                      <a:pt x="1280" y="887"/>
                    </a:lnTo>
                    <a:lnTo>
                      <a:pt x="1280" y="885"/>
                    </a:lnTo>
                    <a:lnTo>
                      <a:pt x="1285" y="887"/>
                    </a:lnTo>
                    <a:lnTo>
                      <a:pt x="1289" y="885"/>
                    </a:lnTo>
                    <a:lnTo>
                      <a:pt x="1289" y="884"/>
                    </a:lnTo>
                    <a:lnTo>
                      <a:pt x="1285" y="884"/>
                    </a:lnTo>
                    <a:lnTo>
                      <a:pt x="1284" y="880"/>
                    </a:lnTo>
                    <a:lnTo>
                      <a:pt x="1282" y="877"/>
                    </a:lnTo>
                    <a:lnTo>
                      <a:pt x="1285" y="877"/>
                    </a:lnTo>
                    <a:lnTo>
                      <a:pt x="1287" y="879"/>
                    </a:lnTo>
                    <a:lnTo>
                      <a:pt x="1289" y="879"/>
                    </a:lnTo>
                    <a:lnTo>
                      <a:pt x="1290" y="882"/>
                    </a:lnTo>
                    <a:lnTo>
                      <a:pt x="1290" y="877"/>
                    </a:lnTo>
                    <a:lnTo>
                      <a:pt x="1287" y="875"/>
                    </a:lnTo>
                    <a:lnTo>
                      <a:pt x="1287" y="872"/>
                    </a:lnTo>
                    <a:lnTo>
                      <a:pt x="1290" y="872"/>
                    </a:lnTo>
                    <a:lnTo>
                      <a:pt x="1292" y="869"/>
                    </a:lnTo>
                    <a:lnTo>
                      <a:pt x="1295" y="872"/>
                    </a:lnTo>
                    <a:lnTo>
                      <a:pt x="1295" y="875"/>
                    </a:lnTo>
                    <a:lnTo>
                      <a:pt x="1297" y="875"/>
                    </a:lnTo>
                    <a:lnTo>
                      <a:pt x="1300" y="879"/>
                    </a:lnTo>
                    <a:lnTo>
                      <a:pt x="1300" y="874"/>
                    </a:lnTo>
                    <a:lnTo>
                      <a:pt x="1299" y="870"/>
                    </a:lnTo>
                    <a:lnTo>
                      <a:pt x="1297" y="870"/>
                    </a:lnTo>
                    <a:lnTo>
                      <a:pt x="1295" y="867"/>
                    </a:lnTo>
                    <a:lnTo>
                      <a:pt x="1299" y="867"/>
                    </a:lnTo>
                    <a:lnTo>
                      <a:pt x="1299" y="864"/>
                    </a:lnTo>
                    <a:lnTo>
                      <a:pt x="1295" y="862"/>
                    </a:lnTo>
                    <a:lnTo>
                      <a:pt x="1300" y="859"/>
                    </a:lnTo>
                    <a:lnTo>
                      <a:pt x="1299" y="855"/>
                    </a:lnTo>
                    <a:lnTo>
                      <a:pt x="1294" y="855"/>
                    </a:lnTo>
                    <a:lnTo>
                      <a:pt x="1292" y="857"/>
                    </a:lnTo>
                    <a:lnTo>
                      <a:pt x="1294" y="854"/>
                    </a:lnTo>
                    <a:lnTo>
                      <a:pt x="1299" y="850"/>
                    </a:lnTo>
                    <a:lnTo>
                      <a:pt x="1307" y="849"/>
                    </a:lnTo>
                    <a:lnTo>
                      <a:pt x="1304" y="845"/>
                    </a:lnTo>
                    <a:lnTo>
                      <a:pt x="1300" y="849"/>
                    </a:lnTo>
                    <a:lnTo>
                      <a:pt x="1295" y="844"/>
                    </a:lnTo>
                    <a:lnTo>
                      <a:pt x="1300" y="844"/>
                    </a:lnTo>
                    <a:lnTo>
                      <a:pt x="1297" y="839"/>
                    </a:lnTo>
                    <a:lnTo>
                      <a:pt x="1294" y="839"/>
                    </a:lnTo>
                    <a:lnTo>
                      <a:pt x="1295" y="837"/>
                    </a:lnTo>
                    <a:lnTo>
                      <a:pt x="1294" y="835"/>
                    </a:lnTo>
                    <a:lnTo>
                      <a:pt x="1297" y="835"/>
                    </a:lnTo>
                    <a:lnTo>
                      <a:pt x="1297" y="832"/>
                    </a:lnTo>
                    <a:lnTo>
                      <a:pt x="1299" y="832"/>
                    </a:lnTo>
                    <a:lnTo>
                      <a:pt x="1302" y="832"/>
                    </a:lnTo>
                    <a:lnTo>
                      <a:pt x="1302" y="835"/>
                    </a:lnTo>
                    <a:lnTo>
                      <a:pt x="1305" y="835"/>
                    </a:lnTo>
                    <a:lnTo>
                      <a:pt x="1310" y="830"/>
                    </a:lnTo>
                    <a:lnTo>
                      <a:pt x="1310" y="827"/>
                    </a:lnTo>
                    <a:lnTo>
                      <a:pt x="1317" y="827"/>
                    </a:lnTo>
                    <a:lnTo>
                      <a:pt x="1314" y="824"/>
                    </a:lnTo>
                    <a:lnTo>
                      <a:pt x="1309" y="824"/>
                    </a:lnTo>
                    <a:lnTo>
                      <a:pt x="1310" y="820"/>
                    </a:lnTo>
                    <a:lnTo>
                      <a:pt x="1314" y="824"/>
                    </a:lnTo>
                    <a:lnTo>
                      <a:pt x="1319" y="822"/>
                    </a:lnTo>
                    <a:lnTo>
                      <a:pt x="1317" y="817"/>
                    </a:lnTo>
                    <a:lnTo>
                      <a:pt x="1319" y="815"/>
                    </a:lnTo>
                    <a:lnTo>
                      <a:pt x="1317" y="814"/>
                    </a:lnTo>
                    <a:lnTo>
                      <a:pt x="1317" y="810"/>
                    </a:lnTo>
                    <a:lnTo>
                      <a:pt x="1320" y="809"/>
                    </a:lnTo>
                    <a:lnTo>
                      <a:pt x="1319" y="805"/>
                    </a:lnTo>
                    <a:lnTo>
                      <a:pt x="1319" y="804"/>
                    </a:lnTo>
                    <a:lnTo>
                      <a:pt x="1314" y="802"/>
                    </a:lnTo>
                    <a:lnTo>
                      <a:pt x="1320" y="804"/>
                    </a:lnTo>
                    <a:lnTo>
                      <a:pt x="1323" y="802"/>
                    </a:lnTo>
                    <a:lnTo>
                      <a:pt x="1327" y="794"/>
                    </a:lnTo>
                    <a:lnTo>
                      <a:pt x="1330" y="794"/>
                    </a:lnTo>
                    <a:lnTo>
                      <a:pt x="1332" y="797"/>
                    </a:lnTo>
                    <a:lnTo>
                      <a:pt x="1333" y="799"/>
                    </a:lnTo>
                    <a:lnTo>
                      <a:pt x="1333" y="794"/>
                    </a:lnTo>
                    <a:lnTo>
                      <a:pt x="1337" y="792"/>
                    </a:lnTo>
                    <a:lnTo>
                      <a:pt x="1335" y="787"/>
                    </a:lnTo>
                    <a:lnTo>
                      <a:pt x="1330" y="787"/>
                    </a:lnTo>
                    <a:lnTo>
                      <a:pt x="1328" y="786"/>
                    </a:lnTo>
                    <a:lnTo>
                      <a:pt x="1330" y="784"/>
                    </a:lnTo>
                    <a:lnTo>
                      <a:pt x="1333" y="786"/>
                    </a:lnTo>
                    <a:lnTo>
                      <a:pt x="1335" y="782"/>
                    </a:lnTo>
                    <a:lnTo>
                      <a:pt x="1333" y="781"/>
                    </a:lnTo>
                    <a:lnTo>
                      <a:pt x="1330" y="779"/>
                    </a:lnTo>
                    <a:lnTo>
                      <a:pt x="1333" y="776"/>
                    </a:lnTo>
                    <a:lnTo>
                      <a:pt x="1335" y="777"/>
                    </a:lnTo>
                    <a:lnTo>
                      <a:pt x="1337" y="774"/>
                    </a:lnTo>
                    <a:lnTo>
                      <a:pt x="1333" y="772"/>
                    </a:lnTo>
                    <a:lnTo>
                      <a:pt x="1325" y="772"/>
                    </a:lnTo>
                    <a:lnTo>
                      <a:pt x="1327" y="771"/>
                    </a:lnTo>
                    <a:lnTo>
                      <a:pt x="1332" y="767"/>
                    </a:lnTo>
                    <a:lnTo>
                      <a:pt x="1335" y="767"/>
                    </a:lnTo>
                    <a:lnTo>
                      <a:pt x="1337" y="767"/>
                    </a:lnTo>
                    <a:lnTo>
                      <a:pt x="1338" y="764"/>
                    </a:lnTo>
                    <a:lnTo>
                      <a:pt x="1342" y="766"/>
                    </a:lnTo>
                    <a:lnTo>
                      <a:pt x="1342" y="767"/>
                    </a:lnTo>
                    <a:lnTo>
                      <a:pt x="1345" y="766"/>
                    </a:lnTo>
                    <a:lnTo>
                      <a:pt x="1343" y="762"/>
                    </a:lnTo>
                    <a:lnTo>
                      <a:pt x="1342" y="756"/>
                    </a:lnTo>
                    <a:lnTo>
                      <a:pt x="1340" y="756"/>
                    </a:lnTo>
                    <a:lnTo>
                      <a:pt x="1337" y="757"/>
                    </a:lnTo>
                    <a:lnTo>
                      <a:pt x="1337" y="759"/>
                    </a:lnTo>
                    <a:lnTo>
                      <a:pt x="1337" y="761"/>
                    </a:lnTo>
                    <a:lnTo>
                      <a:pt x="1332" y="759"/>
                    </a:lnTo>
                    <a:lnTo>
                      <a:pt x="1327" y="764"/>
                    </a:lnTo>
                    <a:lnTo>
                      <a:pt x="1323" y="764"/>
                    </a:lnTo>
                    <a:lnTo>
                      <a:pt x="1323" y="761"/>
                    </a:lnTo>
                    <a:lnTo>
                      <a:pt x="1330" y="759"/>
                    </a:lnTo>
                    <a:lnTo>
                      <a:pt x="1340" y="749"/>
                    </a:lnTo>
                    <a:lnTo>
                      <a:pt x="1340" y="749"/>
                    </a:lnTo>
                    <a:lnTo>
                      <a:pt x="1335" y="749"/>
                    </a:lnTo>
                    <a:lnTo>
                      <a:pt x="1333" y="746"/>
                    </a:lnTo>
                    <a:lnTo>
                      <a:pt x="1332" y="747"/>
                    </a:lnTo>
                    <a:lnTo>
                      <a:pt x="1323" y="739"/>
                    </a:lnTo>
                    <a:lnTo>
                      <a:pt x="1319" y="737"/>
                    </a:lnTo>
                    <a:lnTo>
                      <a:pt x="1310" y="744"/>
                    </a:lnTo>
                    <a:lnTo>
                      <a:pt x="1307" y="742"/>
                    </a:lnTo>
                    <a:lnTo>
                      <a:pt x="1302" y="736"/>
                    </a:lnTo>
                    <a:lnTo>
                      <a:pt x="1297" y="737"/>
                    </a:lnTo>
                    <a:lnTo>
                      <a:pt x="1292" y="741"/>
                    </a:lnTo>
                    <a:lnTo>
                      <a:pt x="1290" y="744"/>
                    </a:lnTo>
                    <a:lnTo>
                      <a:pt x="1290" y="739"/>
                    </a:lnTo>
                    <a:lnTo>
                      <a:pt x="1297" y="736"/>
                    </a:lnTo>
                    <a:lnTo>
                      <a:pt x="1300" y="736"/>
                    </a:lnTo>
                    <a:lnTo>
                      <a:pt x="1302" y="734"/>
                    </a:lnTo>
                    <a:lnTo>
                      <a:pt x="1309" y="736"/>
                    </a:lnTo>
                    <a:lnTo>
                      <a:pt x="1314" y="734"/>
                    </a:lnTo>
                    <a:lnTo>
                      <a:pt x="1314" y="731"/>
                    </a:lnTo>
                    <a:lnTo>
                      <a:pt x="1315" y="729"/>
                    </a:lnTo>
                    <a:lnTo>
                      <a:pt x="1319" y="729"/>
                    </a:lnTo>
                    <a:lnTo>
                      <a:pt x="1323" y="722"/>
                    </a:lnTo>
                    <a:lnTo>
                      <a:pt x="1330" y="722"/>
                    </a:lnTo>
                    <a:lnTo>
                      <a:pt x="1330" y="719"/>
                    </a:lnTo>
                    <a:lnTo>
                      <a:pt x="1325" y="711"/>
                    </a:lnTo>
                    <a:lnTo>
                      <a:pt x="1312" y="704"/>
                    </a:lnTo>
                    <a:lnTo>
                      <a:pt x="1305" y="699"/>
                    </a:lnTo>
                    <a:lnTo>
                      <a:pt x="1295" y="691"/>
                    </a:lnTo>
                    <a:lnTo>
                      <a:pt x="1290" y="691"/>
                    </a:lnTo>
                    <a:lnTo>
                      <a:pt x="1282" y="696"/>
                    </a:lnTo>
                    <a:lnTo>
                      <a:pt x="1279" y="694"/>
                    </a:lnTo>
                    <a:lnTo>
                      <a:pt x="1272" y="689"/>
                    </a:lnTo>
                    <a:lnTo>
                      <a:pt x="1272" y="688"/>
                    </a:lnTo>
                    <a:lnTo>
                      <a:pt x="1269" y="686"/>
                    </a:lnTo>
                    <a:lnTo>
                      <a:pt x="1264" y="688"/>
                    </a:lnTo>
                    <a:lnTo>
                      <a:pt x="1257" y="688"/>
                    </a:lnTo>
                    <a:lnTo>
                      <a:pt x="1252" y="689"/>
                    </a:lnTo>
                    <a:lnTo>
                      <a:pt x="1245" y="698"/>
                    </a:lnTo>
                    <a:lnTo>
                      <a:pt x="1252" y="688"/>
                    </a:lnTo>
                    <a:lnTo>
                      <a:pt x="1255" y="684"/>
                    </a:lnTo>
                    <a:lnTo>
                      <a:pt x="1259" y="686"/>
                    </a:lnTo>
                    <a:lnTo>
                      <a:pt x="1262" y="686"/>
                    </a:lnTo>
                    <a:lnTo>
                      <a:pt x="1264" y="684"/>
                    </a:lnTo>
                    <a:lnTo>
                      <a:pt x="1267" y="686"/>
                    </a:lnTo>
                    <a:lnTo>
                      <a:pt x="1274" y="683"/>
                    </a:lnTo>
                    <a:lnTo>
                      <a:pt x="1275" y="689"/>
                    </a:lnTo>
                    <a:lnTo>
                      <a:pt x="1279" y="693"/>
                    </a:lnTo>
                    <a:lnTo>
                      <a:pt x="1284" y="693"/>
                    </a:lnTo>
                    <a:lnTo>
                      <a:pt x="1287" y="689"/>
                    </a:lnTo>
                    <a:lnTo>
                      <a:pt x="1295" y="689"/>
                    </a:lnTo>
                    <a:lnTo>
                      <a:pt x="1300" y="693"/>
                    </a:lnTo>
                    <a:lnTo>
                      <a:pt x="1304" y="693"/>
                    </a:lnTo>
                    <a:lnTo>
                      <a:pt x="1309" y="698"/>
                    </a:lnTo>
                    <a:lnTo>
                      <a:pt x="1315" y="694"/>
                    </a:lnTo>
                    <a:lnTo>
                      <a:pt x="1325" y="698"/>
                    </a:lnTo>
                    <a:lnTo>
                      <a:pt x="1328" y="696"/>
                    </a:lnTo>
                    <a:lnTo>
                      <a:pt x="1325" y="689"/>
                    </a:lnTo>
                    <a:lnTo>
                      <a:pt x="1322" y="688"/>
                    </a:lnTo>
                    <a:lnTo>
                      <a:pt x="1315" y="683"/>
                    </a:lnTo>
                    <a:lnTo>
                      <a:pt x="1315" y="681"/>
                    </a:lnTo>
                    <a:lnTo>
                      <a:pt x="1314" y="678"/>
                    </a:lnTo>
                    <a:lnTo>
                      <a:pt x="1309" y="679"/>
                    </a:lnTo>
                    <a:lnTo>
                      <a:pt x="1304" y="678"/>
                    </a:lnTo>
                    <a:lnTo>
                      <a:pt x="1297" y="669"/>
                    </a:lnTo>
                    <a:lnTo>
                      <a:pt x="1297" y="663"/>
                    </a:lnTo>
                    <a:lnTo>
                      <a:pt x="1289" y="656"/>
                    </a:lnTo>
                    <a:lnTo>
                      <a:pt x="1287" y="649"/>
                    </a:lnTo>
                    <a:lnTo>
                      <a:pt x="1282" y="648"/>
                    </a:lnTo>
                    <a:lnTo>
                      <a:pt x="1285" y="643"/>
                    </a:lnTo>
                    <a:lnTo>
                      <a:pt x="1284" y="643"/>
                    </a:lnTo>
                    <a:lnTo>
                      <a:pt x="1275" y="629"/>
                    </a:lnTo>
                    <a:lnTo>
                      <a:pt x="1262" y="623"/>
                    </a:lnTo>
                    <a:lnTo>
                      <a:pt x="1259" y="624"/>
                    </a:lnTo>
                    <a:lnTo>
                      <a:pt x="1259" y="621"/>
                    </a:lnTo>
                    <a:lnTo>
                      <a:pt x="1247" y="616"/>
                    </a:lnTo>
                    <a:lnTo>
                      <a:pt x="1245" y="616"/>
                    </a:lnTo>
                    <a:lnTo>
                      <a:pt x="1245" y="606"/>
                    </a:lnTo>
                    <a:lnTo>
                      <a:pt x="1247" y="598"/>
                    </a:lnTo>
                    <a:lnTo>
                      <a:pt x="1245" y="593"/>
                    </a:lnTo>
                    <a:lnTo>
                      <a:pt x="1245" y="586"/>
                    </a:lnTo>
                    <a:lnTo>
                      <a:pt x="1247" y="588"/>
                    </a:lnTo>
                    <a:lnTo>
                      <a:pt x="1250" y="586"/>
                    </a:lnTo>
                    <a:lnTo>
                      <a:pt x="1255" y="580"/>
                    </a:lnTo>
                    <a:lnTo>
                      <a:pt x="1259" y="581"/>
                    </a:lnTo>
                    <a:lnTo>
                      <a:pt x="1262" y="576"/>
                    </a:lnTo>
                    <a:lnTo>
                      <a:pt x="1257" y="575"/>
                    </a:lnTo>
                    <a:lnTo>
                      <a:pt x="1255" y="571"/>
                    </a:lnTo>
                    <a:lnTo>
                      <a:pt x="1259" y="568"/>
                    </a:lnTo>
                    <a:lnTo>
                      <a:pt x="1267" y="568"/>
                    </a:lnTo>
                    <a:lnTo>
                      <a:pt x="1267" y="563"/>
                    </a:lnTo>
                    <a:lnTo>
                      <a:pt x="1274" y="563"/>
                    </a:lnTo>
                    <a:lnTo>
                      <a:pt x="1272" y="560"/>
                    </a:lnTo>
                    <a:lnTo>
                      <a:pt x="1267" y="556"/>
                    </a:lnTo>
                    <a:lnTo>
                      <a:pt x="1272" y="555"/>
                    </a:lnTo>
                    <a:lnTo>
                      <a:pt x="1277" y="558"/>
                    </a:lnTo>
                    <a:lnTo>
                      <a:pt x="1277" y="556"/>
                    </a:lnTo>
                    <a:lnTo>
                      <a:pt x="1282" y="556"/>
                    </a:lnTo>
                    <a:lnTo>
                      <a:pt x="1287" y="553"/>
                    </a:lnTo>
                    <a:lnTo>
                      <a:pt x="1289" y="553"/>
                    </a:lnTo>
                    <a:lnTo>
                      <a:pt x="1295" y="546"/>
                    </a:lnTo>
                    <a:lnTo>
                      <a:pt x="1297" y="550"/>
                    </a:lnTo>
                    <a:lnTo>
                      <a:pt x="1299" y="546"/>
                    </a:lnTo>
                    <a:lnTo>
                      <a:pt x="1299" y="548"/>
                    </a:lnTo>
                    <a:lnTo>
                      <a:pt x="1305" y="553"/>
                    </a:lnTo>
                    <a:lnTo>
                      <a:pt x="1310" y="548"/>
                    </a:lnTo>
                    <a:lnTo>
                      <a:pt x="1310" y="546"/>
                    </a:lnTo>
                    <a:lnTo>
                      <a:pt x="1307" y="545"/>
                    </a:lnTo>
                    <a:lnTo>
                      <a:pt x="1307" y="540"/>
                    </a:lnTo>
                    <a:lnTo>
                      <a:pt x="1310" y="540"/>
                    </a:lnTo>
                    <a:lnTo>
                      <a:pt x="1312" y="540"/>
                    </a:lnTo>
                    <a:lnTo>
                      <a:pt x="1309" y="535"/>
                    </a:lnTo>
                    <a:lnTo>
                      <a:pt x="1309" y="531"/>
                    </a:lnTo>
                    <a:lnTo>
                      <a:pt x="1314" y="530"/>
                    </a:lnTo>
                    <a:lnTo>
                      <a:pt x="1310" y="528"/>
                    </a:lnTo>
                    <a:lnTo>
                      <a:pt x="1305" y="530"/>
                    </a:lnTo>
                    <a:lnTo>
                      <a:pt x="1299" y="530"/>
                    </a:lnTo>
                    <a:lnTo>
                      <a:pt x="1299" y="528"/>
                    </a:lnTo>
                    <a:lnTo>
                      <a:pt x="1294" y="528"/>
                    </a:lnTo>
                    <a:lnTo>
                      <a:pt x="1292" y="530"/>
                    </a:lnTo>
                    <a:lnTo>
                      <a:pt x="1275" y="530"/>
                    </a:lnTo>
                    <a:lnTo>
                      <a:pt x="1274" y="528"/>
                    </a:lnTo>
                    <a:lnTo>
                      <a:pt x="1270" y="526"/>
                    </a:lnTo>
                    <a:lnTo>
                      <a:pt x="1267" y="523"/>
                    </a:lnTo>
                    <a:lnTo>
                      <a:pt x="1264" y="521"/>
                    </a:lnTo>
                    <a:lnTo>
                      <a:pt x="1264" y="520"/>
                    </a:lnTo>
                    <a:lnTo>
                      <a:pt x="1252" y="525"/>
                    </a:lnTo>
                    <a:lnTo>
                      <a:pt x="1245" y="525"/>
                    </a:lnTo>
                    <a:lnTo>
                      <a:pt x="1249" y="526"/>
                    </a:lnTo>
                    <a:lnTo>
                      <a:pt x="1249" y="530"/>
                    </a:lnTo>
                    <a:lnTo>
                      <a:pt x="1245" y="533"/>
                    </a:lnTo>
                    <a:lnTo>
                      <a:pt x="1239" y="535"/>
                    </a:lnTo>
                    <a:lnTo>
                      <a:pt x="1239" y="536"/>
                    </a:lnTo>
                    <a:lnTo>
                      <a:pt x="1242" y="538"/>
                    </a:lnTo>
                    <a:lnTo>
                      <a:pt x="1239" y="543"/>
                    </a:lnTo>
                    <a:lnTo>
                      <a:pt x="1237" y="545"/>
                    </a:lnTo>
                    <a:lnTo>
                      <a:pt x="1232" y="543"/>
                    </a:lnTo>
                    <a:lnTo>
                      <a:pt x="1227" y="545"/>
                    </a:lnTo>
                    <a:lnTo>
                      <a:pt x="1221" y="545"/>
                    </a:lnTo>
                    <a:lnTo>
                      <a:pt x="1214" y="533"/>
                    </a:lnTo>
                    <a:lnTo>
                      <a:pt x="1214" y="528"/>
                    </a:lnTo>
                    <a:lnTo>
                      <a:pt x="1214" y="523"/>
                    </a:lnTo>
                    <a:lnTo>
                      <a:pt x="1207" y="523"/>
                    </a:lnTo>
                    <a:lnTo>
                      <a:pt x="1204" y="525"/>
                    </a:lnTo>
                    <a:lnTo>
                      <a:pt x="1204" y="523"/>
                    </a:lnTo>
                    <a:lnTo>
                      <a:pt x="1201" y="523"/>
                    </a:lnTo>
                    <a:lnTo>
                      <a:pt x="1199" y="525"/>
                    </a:lnTo>
                    <a:lnTo>
                      <a:pt x="1197" y="523"/>
                    </a:lnTo>
                    <a:lnTo>
                      <a:pt x="1197" y="525"/>
                    </a:lnTo>
                    <a:lnTo>
                      <a:pt x="1194" y="520"/>
                    </a:lnTo>
                    <a:lnTo>
                      <a:pt x="1192" y="516"/>
                    </a:lnTo>
                    <a:lnTo>
                      <a:pt x="1184" y="511"/>
                    </a:lnTo>
                    <a:lnTo>
                      <a:pt x="1179" y="510"/>
                    </a:lnTo>
                    <a:lnTo>
                      <a:pt x="1179" y="505"/>
                    </a:lnTo>
                    <a:lnTo>
                      <a:pt x="1177" y="500"/>
                    </a:lnTo>
                    <a:lnTo>
                      <a:pt x="1179" y="498"/>
                    </a:lnTo>
                    <a:lnTo>
                      <a:pt x="1179" y="495"/>
                    </a:lnTo>
                    <a:lnTo>
                      <a:pt x="1179" y="493"/>
                    </a:lnTo>
                    <a:lnTo>
                      <a:pt x="1181" y="488"/>
                    </a:lnTo>
                    <a:lnTo>
                      <a:pt x="1182" y="487"/>
                    </a:lnTo>
                    <a:lnTo>
                      <a:pt x="1184" y="485"/>
                    </a:lnTo>
                    <a:lnTo>
                      <a:pt x="1192" y="487"/>
                    </a:lnTo>
                    <a:lnTo>
                      <a:pt x="1201" y="487"/>
                    </a:lnTo>
                    <a:lnTo>
                      <a:pt x="1207" y="487"/>
                    </a:lnTo>
                    <a:lnTo>
                      <a:pt x="1209" y="482"/>
                    </a:lnTo>
                    <a:lnTo>
                      <a:pt x="1207" y="480"/>
                    </a:lnTo>
                    <a:lnTo>
                      <a:pt x="1211" y="480"/>
                    </a:lnTo>
                    <a:lnTo>
                      <a:pt x="1211" y="475"/>
                    </a:lnTo>
                    <a:lnTo>
                      <a:pt x="1209" y="473"/>
                    </a:lnTo>
                    <a:lnTo>
                      <a:pt x="1211" y="472"/>
                    </a:lnTo>
                    <a:lnTo>
                      <a:pt x="1212" y="460"/>
                    </a:lnTo>
                    <a:lnTo>
                      <a:pt x="1222" y="455"/>
                    </a:lnTo>
                    <a:lnTo>
                      <a:pt x="1227" y="455"/>
                    </a:lnTo>
                    <a:lnTo>
                      <a:pt x="1230" y="450"/>
                    </a:lnTo>
                    <a:lnTo>
                      <a:pt x="1234" y="448"/>
                    </a:lnTo>
                    <a:lnTo>
                      <a:pt x="1234" y="440"/>
                    </a:lnTo>
                    <a:lnTo>
                      <a:pt x="1239" y="435"/>
                    </a:lnTo>
                    <a:lnTo>
                      <a:pt x="1239" y="430"/>
                    </a:lnTo>
                    <a:lnTo>
                      <a:pt x="1242" y="430"/>
                    </a:lnTo>
                    <a:lnTo>
                      <a:pt x="1245" y="425"/>
                    </a:lnTo>
                    <a:lnTo>
                      <a:pt x="1250" y="425"/>
                    </a:lnTo>
                    <a:lnTo>
                      <a:pt x="1252" y="425"/>
                    </a:lnTo>
                    <a:lnTo>
                      <a:pt x="1257" y="425"/>
                    </a:lnTo>
                    <a:lnTo>
                      <a:pt x="1259" y="422"/>
                    </a:lnTo>
                    <a:lnTo>
                      <a:pt x="1265" y="430"/>
                    </a:lnTo>
                    <a:lnTo>
                      <a:pt x="1277" y="435"/>
                    </a:lnTo>
                    <a:lnTo>
                      <a:pt x="1277" y="438"/>
                    </a:lnTo>
                    <a:lnTo>
                      <a:pt x="1274" y="440"/>
                    </a:lnTo>
                    <a:lnTo>
                      <a:pt x="1274" y="443"/>
                    </a:lnTo>
                    <a:lnTo>
                      <a:pt x="1269" y="450"/>
                    </a:lnTo>
                    <a:lnTo>
                      <a:pt x="1267" y="455"/>
                    </a:lnTo>
                    <a:lnTo>
                      <a:pt x="1262" y="455"/>
                    </a:lnTo>
                    <a:lnTo>
                      <a:pt x="1264" y="457"/>
                    </a:lnTo>
                    <a:lnTo>
                      <a:pt x="1262" y="463"/>
                    </a:lnTo>
                    <a:lnTo>
                      <a:pt x="1267" y="467"/>
                    </a:lnTo>
                    <a:lnTo>
                      <a:pt x="1267" y="470"/>
                    </a:lnTo>
                    <a:lnTo>
                      <a:pt x="1265" y="472"/>
                    </a:lnTo>
                    <a:lnTo>
                      <a:pt x="1265" y="473"/>
                    </a:lnTo>
                    <a:lnTo>
                      <a:pt x="1267" y="477"/>
                    </a:lnTo>
                    <a:lnTo>
                      <a:pt x="1272" y="475"/>
                    </a:lnTo>
                    <a:lnTo>
                      <a:pt x="1279" y="470"/>
                    </a:lnTo>
                    <a:lnTo>
                      <a:pt x="1277" y="475"/>
                    </a:lnTo>
                    <a:lnTo>
                      <a:pt x="1272" y="477"/>
                    </a:lnTo>
                    <a:lnTo>
                      <a:pt x="1272" y="480"/>
                    </a:lnTo>
                    <a:lnTo>
                      <a:pt x="1275" y="480"/>
                    </a:lnTo>
                    <a:lnTo>
                      <a:pt x="1274" y="482"/>
                    </a:lnTo>
                    <a:lnTo>
                      <a:pt x="1272" y="483"/>
                    </a:lnTo>
                    <a:lnTo>
                      <a:pt x="1267" y="483"/>
                    </a:lnTo>
                    <a:lnTo>
                      <a:pt x="1264" y="487"/>
                    </a:lnTo>
                    <a:lnTo>
                      <a:pt x="1260" y="487"/>
                    </a:lnTo>
                    <a:lnTo>
                      <a:pt x="1259" y="490"/>
                    </a:lnTo>
                    <a:lnTo>
                      <a:pt x="1262" y="492"/>
                    </a:lnTo>
                    <a:lnTo>
                      <a:pt x="1264" y="495"/>
                    </a:lnTo>
                    <a:lnTo>
                      <a:pt x="1265" y="495"/>
                    </a:lnTo>
                    <a:lnTo>
                      <a:pt x="1269" y="492"/>
                    </a:lnTo>
                    <a:lnTo>
                      <a:pt x="1272" y="492"/>
                    </a:lnTo>
                    <a:lnTo>
                      <a:pt x="1275" y="487"/>
                    </a:lnTo>
                    <a:lnTo>
                      <a:pt x="1282" y="483"/>
                    </a:lnTo>
                    <a:lnTo>
                      <a:pt x="1284" y="482"/>
                    </a:lnTo>
                    <a:lnTo>
                      <a:pt x="1282" y="478"/>
                    </a:lnTo>
                    <a:lnTo>
                      <a:pt x="1287" y="473"/>
                    </a:lnTo>
                    <a:lnTo>
                      <a:pt x="1299" y="467"/>
                    </a:lnTo>
                    <a:lnTo>
                      <a:pt x="1300" y="467"/>
                    </a:lnTo>
                    <a:lnTo>
                      <a:pt x="1302" y="462"/>
                    </a:lnTo>
                    <a:lnTo>
                      <a:pt x="1307" y="462"/>
                    </a:lnTo>
                    <a:lnTo>
                      <a:pt x="1314" y="458"/>
                    </a:lnTo>
                    <a:lnTo>
                      <a:pt x="1317" y="460"/>
                    </a:lnTo>
                    <a:lnTo>
                      <a:pt x="1319" y="458"/>
                    </a:lnTo>
                    <a:lnTo>
                      <a:pt x="1325" y="458"/>
                    </a:lnTo>
                    <a:lnTo>
                      <a:pt x="1332" y="452"/>
                    </a:lnTo>
                    <a:lnTo>
                      <a:pt x="1333" y="455"/>
                    </a:lnTo>
                    <a:lnTo>
                      <a:pt x="1333" y="455"/>
                    </a:lnTo>
                    <a:lnTo>
                      <a:pt x="1345" y="450"/>
                    </a:lnTo>
                    <a:lnTo>
                      <a:pt x="1417" y="405"/>
                    </a:lnTo>
                    <a:lnTo>
                      <a:pt x="1423" y="372"/>
                    </a:lnTo>
                    <a:lnTo>
                      <a:pt x="1443" y="357"/>
                    </a:lnTo>
                    <a:lnTo>
                      <a:pt x="1445" y="355"/>
                    </a:lnTo>
                    <a:lnTo>
                      <a:pt x="1445" y="352"/>
                    </a:lnTo>
                    <a:lnTo>
                      <a:pt x="1443" y="350"/>
                    </a:lnTo>
                    <a:lnTo>
                      <a:pt x="1441" y="347"/>
                    </a:lnTo>
                    <a:lnTo>
                      <a:pt x="1441" y="345"/>
                    </a:lnTo>
                    <a:lnTo>
                      <a:pt x="1445" y="344"/>
                    </a:lnTo>
                    <a:lnTo>
                      <a:pt x="1451" y="345"/>
                    </a:lnTo>
                    <a:lnTo>
                      <a:pt x="1451" y="344"/>
                    </a:lnTo>
                    <a:lnTo>
                      <a:pt x="1453" y="340"/>
                    </a:lnTo>
                    <a:lnTo>
                      <a:pt x="1451" y="339"/>
                    </a:lnTo>
                    <a:lnTo>
                      <a:pt x="1451" y="335"/>
                    </a:lnTo>
                    <a:lnTo>
                      <a:pt x="1453" y="334"/>
                    </a:lnTo>
                    <a:lnTo>
                      <a:pt x="1453" y="329"/>
                    </a:lnTo>
                    <a:lnTo>
                      <a:pt x="1453" y="325"/>
                    </a:lnTo>
                    <a:lnTo>
                      <a:pt x="1450" y="324"/>
                    </a:lnTo>
                    <a:lnTo>
                      <a:pt x="1450" y="315"/>
                    </a:lnTo>
                    <a:lnTo>
                      <a:pt x="1450" y="312"/>
                    </a:lnTo>
                    <a:lnTo>
                      <a:pt x="1448" y="307"/>
                    </a:lnTo>
                    <a:lnTo>
                      <a:pt x="1448" y="304"/>
                    </a:lnTo>
                    <a:lnTo>
                      <a:pt x="1446" y="299"/>
                    </a:lnTo>
                    <a:lnTo>
                      <a:pt x="1445" y="297"/>
                    </a:lnTo>
                    <a:lnTo>
                      <a:pt x="1443" y="294"/>
                    </a:lnTo>
                    <a:lnTo>
                      <a:pt x="1436" y="286"/>
                    </a:lnTo>
                    <a:lnTo>
                      <a:pt x="1435" y="282"/>
                    </a:lnTo>
                    <a:lnTo>
                      <a:pt x="1436" y="281"/>
                    </a:lnTo>
                    <a:lnTo>
                      <a:pt x="1440" y="279"/>
                    </a:lnTo>
                    <a:lnTo>
                      <a:pt x="1443" y="277"/>
                    </a:lnTo>
                    <a:lnTo>
                      <a:pt x="1445" y="276"/>
                    </a:lnTo>
                    <a:lnTo>
                      <a:pt x="1446" y="272"/>
                    </a:lnTo>
                    <a:lnTo>
                      <a:pt x="1450" y="266"/>
                    </a:lnTo>
                    <a:lnTo>
                      <a:pt x="1451" y="266"/>
                    </a:lnTo>
                    <a:lnTo>
                      <a:pt x="1456" y="267"/>
                    </a:lnTo>
                    <a:lnTo>
                      <a:pt x="1460" y="267"/>
                    </a:lnTo>
                    <a:lnTo>
                      <a:pt x="1475" y="271"/>
                    </a:lnTo>
                    <a:lnTo>
                      <a:pt x="1476" y="271"/>
                    </a:lnTo>
                    <a:lnTo>
                      <a:pt x="1480" y="271"/>
                    </a:lnTo>
                    <a:lnTo>
                      <a:pt x="1481" y="269"/>
                    </a:lnTo>
                    <a:lnTo>
                      <a:pt x="1481" y="266"/>
                    </a:lnTo>
                    <a:lnTo>
                      <a:pt x="1480" y="262"/>
                    </a:lnTo>
                    <a:lnTo>
                      <a:pt x="1480" y="261"/>
                    </a:lnTo>
                    <a:lnTo>
                      <a:pt x="1480" y="259"/>
                    </a:lnTo>
                    <a:lnTo>
                      <a:pt x="1480" y="257"/>
                    </a:lnTo>
                    <a:lnTo>
                      <a:pt x="1478" y="254"/>
                    </a:lnTo>
                    <a:lnTo>
                      <a:pt x="1480" y="251"/>
                    </a:lnTo>
                    <a:lnTo>
                      <a:pt x="1481" y="249"/>
                    </a:lnTo>
                    <a:lnTo>
                      <a:pt x="1481" y="246"/>
                    </a:lnTo>
                    <a:lnTo>
                      <a:pt x="1480" y="242"/>
                    </a:lnTo>
                    <a:lnTo>
                      <a:pt x="1481" y="241"/>
                    </a:lnTo>
                    <a:lnTo>
                      <a:pt x="1483" y="241"/>
                    </a:lnTo>
                    <a:lnTo>
                      <a:pt x="1483" y="237"/>
                    </a:lnTo>
                    <a:lnTo>
                      <a:pt x="1483" y="236"/>
                    </a:lnTo>
                    <a:lnTo>
                      <a:pt x="1481" y="232"/>
                    </a:lnTo>
                    <a:lnTo>
                      <a:pt x="1481" y="231"/>
                    </a:lnTo>
                    <a:lnTo>
                      <a:pt x="1485" y="229"/>
                    </a:lnTo>
                    <a:lnTo>
                      <a:pt x="1485" y="227"/>
                    </a:lnTo>
                    <a:lnTo>
                      <a:pt x="1483" y="224"/>
                    </a:lnTo>
                    <a:lnTo>
                      <a:pt x="1481" y="221"/>
                    </a:lnTo>
                    <a:lnTo>
                      <a:pt x="1481" y="214"/>
                    </a:lnTo>
                    <a:lnTo>
                      <a:pt x="1483" y="214"/>
                    </a:lnTo>
                    <a:lnTo>
                      <a:pt x="1483" y="214"/>
                    </a:lnTo>
                    <a:lnTo>
                      <a:pt x="1483" y="212"/>
                    </a:lnTo>
                    <a:lnTo>
                      <a:pt x="1483" y="211"/>
                    </a:lnTo>
                    <a:lnTo>
                      <a:pt x="1483" y="208"/>
                    </a:lnTo>
                    <a:lnTo>
                      <a:pt x="1480" y="206"/>
                    </a:lnTo>
                    <a:lnTo>
                      <a:pt x="1480" y="204"/>
                    </a:lnTo>
                    <a:lnTo>
                      <a:pt x="1480" y="201"/>
                    </a:lnTo>
                    <a:lnTo>
                      <a:pt x="1481" y="198"/>
                    </a:lnTo>
                    <a:lnTo>
                      <a:pt x="1480" y="196"/>
                    </a:lnTo>
                    <a:lnTo>
                      <a:pt x="1478" y="194"/>
                    </a:lnTo>
                    <a:lnTo>
                      <a:pt x="1478" y="193"/>
                    </a:lnTo>
                    <a:lnTo>
                      <a:pt x="1481" y="188"/>
                    </a:lnTo>
                    <a:lnTo>
                      <a:pt x="1485" y="188"/>
                    </a:lnTo>
                    <a:lnTo>
                      <a:pt x="1485" y="186"/>
                    </a:lnTo>
                    <a:lnTo>
                      <a:pt x="1486" y="183"/>
                    </a:lnTo>
                    <a:lnTo>
                      <a:pt x="1486" y="178"/>
                    </a:lnTo>
                    <a:lnTo>
                      <a:pt x="1483" y="1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244" name="Freeform 96"/>
              <p:cNvSpPr>
                <a:spLocks/>
              </p:cNvSpPr>
              <p:nvPr/>
            </p:nvSpPr>
            <p:spPr bwMode="auto">
              <a:xfrm>
                <a:off x="7958313" y="2956363"/>
                <a:ext cx="23545" cy="48767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6" y="6"/>
                  </a:cxn>
                  <a:cxn ang="0">
                    <a:pos x="35" y="1"/>
                  </a:cxn>
                  <a:cxn ang="0">
                    <a:pos x="30" y="0"/>
                  </a:cxn>
                  <a:cxn ang="0">
                    <a:pos x="26" y="1"/>
                  </a:cxn>
                  <a:cxn ang="0">
                    <a:pos x="26" y="5"/>
                  </a:cxn>
                  <a:cxn ang="0">
                    <a:pos x="21" y="6"/>
                  </a:cxn>
                  <a:cxn ang="0">
                    <a:pos x="16" y="11"/>
                  </a:cxn>
                  <a:cxn ang="0">
                    <a:pos x="11" y="20"/>
                  </a:cxn>
                  <a:cxn ang="0">
                    <a:pos x="13" y="21"/>
                  </a:cxn>
                  <a:cxn ang="0">
                    <a:pos x="11" y="25"/>
                  </a:cxn>
                  <a:cxn ang="0">
                    <a:pos x="10" y="26"/>
                  </a:cxn>
                  <a:cxn ang="0">
                    <a:pos x="5" y="34"/>
                  </a:cxn>
                  <a:cxn ang="0">
                    <a:pos x="1" y="43"/>
                  </a:cxn>
                  <a:cxn ang="0">
                    <a:pos x="0" y="44"/>
                  </a:cxn>
                  <a:cxn ang="0">
                    <a:pos x="1" y="46"/>
                  </a:cxn>
                  <a:cxn ang="0">
                    <a:pos x="1" y="54"/>
                  </a:cxn>
                  <a:cxn ang="0">
                    <a:pos x="3" y="63"/>
                  </a:cxn>
                  <a:cxn ang="0">
                    <a:pos x="5" y="64"/>
                  </a:cxn>
                  <a:cxn ang="0">
                    <a:pos x="6" y="68"/>
                  </a:cxn>
                  <a:cxn ang="0">
                    <a:pos x="5" y="68"/>
                  </a:cxn>
                  <a:cxn ang="0">
                    <a:pos x="5" y="71"/>
                  </a:cxn>
                  <a:cxn ang="0">
                    <a:pos x="8" y="74"/>
                  </a:cxn>
                  <a:cxn ang="0">
                    <a:pos x="10" y="74"/>
                  </a:cxn>
                  <a:cxn ang="0">
                    <a:pos x="11" y="78"/>
                  </a:cxn>
                  <a:cxn ang="0">
                    <a:pos x="18" y="79"/>
                  </a:cxn>
                  <a:cxn ang="0">
                    <a:pos x="21" y="84"/>
                  </a:cxn>
                  <a:cxn ang="0">
                    <a:pos x="21" y="89"/>
                  </a:cxn>
                  <a:cxn ang="0">
                    <a:pos x="21" y="93"/>
                  </a:cxn>
                  <a:cxn ang="0">
                    <a:pos x="25" y="91"/>
                  </a:cxn>
                  <a:cxn ang="0">
                    <a:pos x="28" y="93"/>
                  </a:cxn>
                  <a:cxn ang="0">
                    <a:pos x="26" y="88"/>
                  </a:cxn>
                  <a:cxn ang="0">
                    <a:pos x="28" y="83"/>
                  </a:cxn>
                  <a:cxn ang="0">
                    <a:pos x="26" y="76"/>
                  </a:cxn>
                  <a:cxn ang="0">
                    <a:pos x="30" y="73"/>
                  </a:cxn>
                  <a:cxn ang="0">
                    <a:pos x="36" y="63"/>
                  </a:cxn>
                  <a:cxn ang="0">
                    <a:pos x="36" y="58"/>
                  </a:cxn>
                  <a:cxn ang="0">
                    <a:pos x="38" y="56"/>
                  </a:cxn>
                  <a:cxn ang="0">
                    <a:pos x="35" y="56"/>
                  </a:cxn>
                  <a:cxn ang="0">
                    <a:pos x="36" y="48"/>
                  </a:cxn>
                  <a:cxn ang="0">
                    <a:pos x="38" y="41"/>
                  </a:cxn>
                  <a:cxn ang="0">
                    <a:pos x="36" y="34"/>
                  </a:cxn>
                  <a:cxn ang="0">
                    <a:pos x="40" y="31"/>
                  </a:cxn>
                  <a:cxn ang="0">
                    <a:pos x="40" y="20"/>
                  </a:cxn>
                  <a:cxn ang="0">
                    <a:pos x="41" y="13"/>
                  </a:cxn>
                  <a:cxn ang="0">
                    <a:pos x="43" y="13"/>
                  </a:cxn>
                  <a:cxn ang="0">
                    <a:pos x="43" y="10"/>
                  </a:cxn>
                  <a:cxn ang="0">
                    <a:pos x="38" y="6"/>
                  </a:cxn>
                </a:cxnLst>
                <a:rect l="0" t="0" r="r" b="b"/>
                <a:pathLst>
                  <a:path w="43" h="93">
                    <a:moveTo>
                      <a:pt x="38" y="6"/>
                    </a:moveTo>
                    <a:lnTo>
                      <a:pt x="36" y="6"/>
                    </a:lnTo>
                    <a:lnTo>
                      <a:pt x="35" y="1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6" y="5"/>
                    </a:lnTo>
                    <a:lnTo>
                      <a:pt x="21" y="6"/>
                    </a:lnTo>
                    <a:lnTo>
                      <a:pt x="16" y="11"/>
                    </a:lnTo>
                    <a:lnTo>
                      <a:pt x="11" y="20"/>
                    </a:lnTo>
                    <a:lnTo>
                      <a:pt x="13" y="21"/>
                    </a:lnTo>
                    <a:lnTo>
                      <a:pt x="11" y="25"/>
                    </a:lnTo>
                    <a:lnTo>
                      <a:pt x="10" y="26"/>
                    </a:lnTo>
                    <a:lnTo>
                      <a:pt x="5" y="34"/>
                    </a:lnTo>
                    <a:lnTo>
                      <a:pt x="1" y="43"/>
                    </a:lnTo>
                    <a:lnTo>
                      <a:pt x="0" y="44"/>
                    </a:lnTo>
                    <a:lnTo>
                      <a:pt x="1" y="46"/>
                    </a:lnTo>
                    <a:lnTo>
                      <a:pt x="1" y="54"/>
                    </a:lnTo>
                    <a:lnTo>
                      <a:pt x="3" y="63"/>
                    </a:lnTo>
                    <a:lnTo>
                      <a:pt x="5" y="64"/>
                    </a:lnTo>
                    <a:lnTo>
                      <a:pt x="6" y="68"/>
                    </a:lnTo>
                    <a:lnTo>
                      <a:pt x="5" y="68"/>
                    </a:lnTo>
                    <a:lnTo>
                      <a:pt x="5" y="71"/>
                    </a:lnTo>
                    <a:lnTo>
                      <a:pt x="8" y="74"/>
                    </a:lnTo>
                    <a:lnTo>
                      <a:pt x="10" y="74"/>
                    </a:lnTo>
                    <a:lnTo>
                      <a:pt x="11" y="78"/>
                    </a:lnTo>
                    <a:lnTo>
                      <a:pt x="18" y="79"/>
                    </a:lnTo>
                    <a:lnTo>
                      <a:pt x="21" y="84"/>
                    </a:lnTo>
                    <a:lnTo>
                      <a:pt x="21" y="89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8" y="93"/>
                    </a:lnTo>
                    <a:lnTo>
                      <a:pt x="26" y="88"/>
                    </a:lnTo>
                    <a:lnTo>
                      <a:pt x="28" y="83"/>
                    </a:lnTo>
                    <a:lnTo>
                      <a:pt x="26" y="76"/>
                    </a:lnTo>
                    <a:lnTo>
                      <a:pt x="30" y="73"/>
                    </a:lnTo>
                    <a:lnTo>
                      <a:pt x="36" y="63"/>
                    </a:lnTo>
                    <a:lnTo>
                      <a:pt x="36" y="58"/>
                    </a:lnTo>
                    <a:lnTo>
                      <a:pt x="38" y="56"/>
                    </a:lnTo>
                    <a:lnTo>
                      <a:pt x="35" y="56"/>
                    </a:lnTo>
                    <a:lnTo>
                      <a:pt x="36" y="48"/>
                    </a:lnTo>
                    <a:lnTo>
                      <a:pt x="38" y="41"/>
                    </a:lnTo>
                    <a:lnTo>
                      <a:pt x="36" y="34"/>
                    </a:lnTo>
                    <a:lnTo>
                      <a:pt x="40" y="31"/>
                    </a:lnTo>
                    <a:lnTo>
                      <a:pt x="40" y="20"/>
                    </a:lnTo>
                    <a:lnTo>
                      <a:pt x="41" y="13"/>
                    </a:lnTo>
                    <a:lnTo>
                      <a:pt x="43" y="13"/>
                    </a:lnTo>
                    <a:lnTo>
                      <a:pt x="43" y="10"/>
                    </a:lnTo>
                    <a:lnTo>
                      <a:pt x="3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193473" y="2824589"/>
              <a:ext cx="889376" cy="858085"/>
              <a:chOff x="6193473" y="2824589"/>
              <a:chExt cx="889376" cy="858085"/>
            </a:xfrm>
            <a:grpFill/>
          </p:grpSpPr>
          <p:sp>
            <p:nvSpPr>
              <p:cNvPr id="149" name="Freeform 88"/>
              <p:cNvSpPr>
                <a:spLocks/>
              </p:cNvSpPr>
              <p:nvPr/>
            </p:nvSpPr>
            <p:spPr bwMode="auto">
              <a:xfrm>
                <a:off x="6727527" y="2895145"/>
                <a:ext cx="162678" cy="120360"/>
              </a:xfrm>
              <a:custGeom>
                <a:avLst/>
                <a:gdLst/>
                <a:ahLst/>
                <a:cxnLst>
                  <a:cxn ang="0">
                    <a:pos x="241" y="41"/>
                  </a:cxn>
                  <a:cxn ang="0">
                    <a:pos x="226" y="13"/>
                  </a:cxn>
                  <a:cxn ang="0">
                    <a:pos x="216" y="8"/>
                  </a:cxn>
                  <a:cxn ang="0">
                    <a:pos x="183" y="11"/>
                  </a:cxn>
                  <a:cxn ang="0">
                    <a:pos x="176" y="15"/>
                  </a:cxn>
                  <a:cxn ang="0">
                    <a:pos x="166" y="10"/>
                  </a:cxn>
                  <a:cxn ang="0">
                    <a:pos x="166" y="3"/>
                  </a:cxn>
                  <a:cxn ang="0">
                    <a:pos x="150" y="1"/>
                  </a:cxn>
                  <a:cxn ang="0">
                    <a:pos x="151" y="5"/>
                  </a:cxn>
                  <a:cxn ang="0">
                    <a:pos x="138" y="6"/>
                  </a:cxn>
                  <a:cxn ang="0">
                    <a:pos x="141" y="3"/>
                  </a:cxn>
                  <a:cxn ang="0">
                    <a:pos x="133" y="3"/>
                  </a:cxn>
                  <a:cxn ang="0">
                    <a:pos x="120" y="10"/>
                  </a:cxn>
                  <a:cxn ang="0">
                    <a:pos x="108" y="18"/>
                  </a:cxn>
                  <a:cxn ang="0">
                    <a:pos x="85" y="11"/>
                  </a:cxn>
                  <a:cxn ang="0">
                    <a:pos x="68" y="8"/>
                  </a:cxn>
                  <a:cxn ang="0">
                    <a:pos x="50" y="5"/>
                  </a:cxn>
                  <a:cxn ang="0">
                    <a:pos x="10" y="0"/>
                  </a:cxn>
                  <a:cxn ang="0">
                    <a:pos x="5" y="5"/>
                  </a:cxn>
                  <a:cxn ang="0">
                    <a:pos x="7" y="25"/>
                  </a:cxn>
                  <a:cxn ang="0">
                    <a:pos x="4" y="45"/>
                  </a:cxn>
                  <a:cxn ang="0">
                    <a:pos x="304" y="227"/>
                  </a:cxn>
                  <a:cxn ang="0">
                    <a:pos x="294" y="221"/>
                  </a:cxn>
                  <a:cxn ang="0">
                    <a:pos x="284" y="211"/>
                  </a:cxn>
                  <a:cxn ang="0">
                    <a:pos x="269" y="207"/>
                  </a:cxn>
                  <a:cxn ang="0">
                    <a:pos x="266" y="187"/>
                  </a:cxn>
                  <a:cxn ang="0">
                    <a:pos x="266" y="184"/>
                  </a:cxn>
                  <a:cxn ang="0">
                    <a:pos x="269" y="182"/>
                  </a:cxn>
                  <a:cxn ang="0">
                    <a:pos x="263" y="176"/>
                  </a:cxn>
                  <a:cxn ang="0">
                    <a:pos x="249" y="154"/>
                  </a:cxn>
                  <a:cxn ang="0">
                    <a:pos x="228" y="126"/>
                  </a:cxn>
                  <a:cxn ang="0">
                    <a:pos x="224" y="109"/>
                  </a:cxn>
                  <a:cxn ang="0">
                    <a:pos x="215" y="96"/>
                  </a:cxn>
                  <a:cxn ang="0">
                    <a:pos x="213" y="86"/>
                  </a:cxn>
                  <a:cxn ang="0">
                    <a:pos x="188" y="63"/>
                  </a:cxn>
                  <a:cxn ang="0">
                    <a:pos x="185" y="48"/>
                  </a:cxn>
                  <a:cxn ang="0">
                    <a:pos x="186" y="45"/>
                  </a:cxn>
                  <a:cxn ang="0">
                    <a:pos x="191" y="53"/>
                  </a:cxn>
                  <a:cxn ang="0">
                    <a:pos x="201" y="68"/>
                  </a:cxn>
                  <a:cxn ang="0">
                    <a:pos x="211" y="78"/>
                  </a:cxn>
                  <a:cxn ang="0">
                    <a:pos x="231" y="94"/>
                  </a:cxn>
                  <a:cxn ang="0">
                    <a:pos x="236" y="81"/>
                  </a:cxn>
                  <a:cxn ang="0">
                    <a:pos x="238" y="68"/>
                  </a:cxn>
                </a:cxnLst>
                <a:rect l="0" t="0" r="r" b="b"/>
                <a:pathLst>
                  <a:path w="304" h="231">
                    <a:moveTo>
                      <a:pt x="243" y="54"/>
                    </a:moveTo>
                    <a:lnTo>
                      <a:pt x="239" y="46"/>
                    </a:lnTo>
                    <a:lnTo>
                      <a:pt x="241" y="41"/>
                    </a:lnTo>
                    <a:lnTo>
                      <a:pt x="236" y="30"/>
                    </a:lnTo>
                    <a:lnTo>
                      <a:pt x="229" y="21"/>
                    </a:lnTo>
                    <a:lnTo>
                      <a:pt x="226" y="13"/>
                    </a:lnTo>
                    <a:lnTo>
                      <a:pt x="223" y="6"/>
                    </a:lnTo>
                    <a:lnTo>
                      <a:pt x="219" y="5"/>
                    </a:lnTo>
                    <a:lnTo>
                      <a:pt x="216" y="8"/>
                    </a:lnTo>
                    <a:lnTo>
                      <a:pt x="210" y="11"/>
                    </a:lnTo>
                    <a:lnTo>
                      <a:pt x="195" y="8"/>
                    </a:lnTo>
                    <a:lnTo>
                      <a:pt x="183" y="11"/>
                    </a:lnTo>
                    <a:lnTo>
                      <a:pt x="173" y="6"/>
                    </a:lnTo>
                    <a:lnTo>
                      <a:pt x="173" y="10"/>
                    </a:lnTo>
                    <a:lnTo>
                      <a:pt x="176" y="15"/>
                    </a:lnTo>
                    <a:lnTo>
                      <a:pt x="175" y="18"/>
                    </a:lnTo>
                    <a:lnTo>
                      <a:pt x="171" y="13"/>
                    </a:lnTo>
                    <a:lnTo>
                      <a:pt x="166" y="10"/>
                    </a:lnTo>
                    <a:lnTo>
                      <a:pt x="166" y="6"/>
                    </a:lnTo>
                    <a:lnTo>
                      <a:pt x="168" y="5"/>
                    </a:lnTo>
                    <a:lnTo>
                      <a:pt x="166" y="3"/>
                    </a:lnTo>
                    <a:lnTo>
                      <a:pt x="163" y="5"/>
                    </a:lnTo>
                    <a:lnTo>
                      <a:pt x="158" y="3"/>
                    </a:lnTo>
                    <a:lnTo>
                      <a:pt x="150" y="1"/>
                    </a:lnTo>
                    <a:lnTo>
                      <a:pt x="148" y="1"/>
                    </a:lnTo>
                    <a:lnTo>
                      <a:pt x="151" y="3"/>
                    </a:lnTo>
                    <a:lnTo>
                      <a:pt x="151" y="5"/>
                    </a:lnTo>
                    <a:lnTo>
                      <a:pt x="148" y="5"/>
                    </a:lnTo>
                    <a:lnTo>
                      <a:pt x="143" y="5"/>
                    </a:lnTo>
                    <a:lnTo>
                      <a:pt x="138" y="6"/>
                    </a:lnTo>
                    <a:lnTo>
                      <a:pt x="136" y="5"/>
                    </a:lnTo>
                    <a:lnTo>
                      <a:pt x="136" y="3"/>
                    </a:lnTo>
                    <a:lnTo>
                      <a:pt x="141" y="3"/>
                    </a:lnTo>
                    <a:lnTo>
                      <a:pt x="145" y="1"/>
                    </a:lnTo>
                    <a:lnTo>
                      <a:pt x="140" y="1"/>
                    </a:lnTo>
                    <a:lnTo>
                      <a:pt x="133" y="3"/>
                    </a:lnTo>
                    <a:lnTo>
                      <a:pt x="130" y="5"/>
                    </a:lnTo>
                    <a:lnTo>
                      <a:pt x="123" y="8"/>
                    </a:lnTo>
                    <a:lnTo>
                      <a:pt x="120" y="10"/>
                    </a:lnTo>
                    <a:lnTo>
                      <a:pt x="115" y="11"/>
                    </a:lnTo>
                    <a:lnTo>
                      <a:pt x="108" y="15"/>
                    </a:lnTo>
                    <a:lnTo>
                      <a:pt x="108" y="18"/>
                    </a:lnTo>
                    <a:lnTo>
                      <a:pt x="100" y="18"/>
                    </a:lnTo>
                    <a:lnTo>
                      <a:pt x="92" y="13"/>
                    </a:lnTo>
                    <a:lnTo>
                      <a:pt x="85" y="11"/>
                    </a:lnTo>
                    <a:lnTo>
                      <a:pt x="77" y="13"/>
                    </a:lnTo>
                    <a:lnTo>
                      <a:pt x="70" y="8"/>
                    </a:lnTo>
                    <a:lnTo>
                      <a:pt x="68" y="8"/>
                    </a:lnTo>
                    <a:lnTo>
                      <a:pt x="65" y="10"/>
                    </a:lnTo>
                    <a:lnTo>
                      <a:pt x="58" y="6"/>
                    </a:lnTo>
                    <a:lnTo>
                      <a:pt x="50" y="5"/>
                    </a:lnTo>
                    <a:lnTo>
                      <a:pt x="32" y="3"/>
                    </a:lnTo>
                    <a:lnTo>
                      <a:pt x="2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5" y="5"/>
                    </a:lnTo>
                    <a:lnTo>
                      <a:pt x="4" y="15"/>
                    </a:lnTo>
                    <a:lnTo>
                      <a:pt x="7" y="20"/>
                    </a:lnTo>
                    <a:lnTo>
                      <a:pt x="7" y="25"/>
                    </a:lnTo>
                    <a:lnTo>
                      <a:pt x="4" y="33"/>
                    </a:lnTo>
                    <a:lnTo>
                      <a:pt x="0" y="40"/>
                    </a:lnTo>
                    <a:lnTo>
                      <a:pt x="4" y="45"/>
                    </a:lnTo>
                    <a:lnTo>
                      <a:pt x="5" y="56"/>
                    </a:lnTo>
                    <a:lnTo>
                      <a:pt x="14" y="231"/>
                    </a:lnTo>
                    <a:lnTo>
                      <a:pt x="304" y="227"/>
                    </a:lnTo>
                    <a:lnTo>
                      <a:pt x="304" y="227"/>
                    </a:lnTo>
                    <a:lnTo>
                      <a:pt x="299" y="226"/>
                    </a:lnTo>
                    <a:lnTo>
                      <a:pt x="294" y="221"/>
                    </a:lnTo>
                    <a:lnTo>
                      <a:pt x="293" y="217"/>
                    </a:lnTo>
                    <a:lnTo>
                      <a:pt x="288" y="217"/>
                    </a:lnTo>
                    <a:lnTo>
                      <a:pt x="284" y="211"/>
                    </a:lnTo>
                    <a:lnTo>
                      <a:pt x="281" y="212"/>
                    </a:lnTo>
                    <a:lnTo>
                      <a:pt x="276" y="212"/>
                    </a:lnTo>
                    <a:lnTo>
                      <a:pt x="269" y="207"/>
                    </a:lnTo>
                    <a:lnTo>
                      <a:pt x="266" y="196"/>
                    </a:lnTo>
                    <a:lnTo>
                      <a:pt x="266" y="192"/>
                    </a:lnTo>
                    <a:lnTo>
                      <a:pt x="266" y="187"/>
                    </a:lnTo>
                    <a:lnTo>
                      <a:pt x="264" y="184"/>
                    </a:lnTo>
                    <a:lnTo>
                      <a:pt x="264" y="182"/>
                    </a:lnTo>
                    <a:lnTo>
                      <a:pt x="266" y="184"/>
                    </a:lnTo>
                    <a:lnTo>
                      <a:pt x="274" y="184"/>
                    </a:lnTo>
                    <a:lnTo>
                      <a:pt x="271" y="182"/>
                    </a:lnTo>
                    <a:lnTo>
                      <a:pt x="269" y="182"/>
                    </a:lnTo>
                    <a:lnTo>
                      <a:pt x="264" y="176"/>
                    </a:lnTo>
                    <a:lnTo>
                      <a:pt x="263" y="176"/>
                    </a:lnTo>
                    <a:lnTo>
                      <a:pt x="263" y="176"/>
                    </a:lnTo>
                    <a:lnTo>
                      <a:pt x="261" y="174"/>
                    </a:lnTo>
                    <a:lnTo>
                      <a:pt x="258" y="167"/>
                    </a:lnTo>
                    <a:lnTo>
                      <a:pt x="249" y="154"/>
                    </a:lnTo>
                    <a:lnTo>
                      <a:pt x="244" y="152"/>
                    </a:lnTo>
                    <a:lnTo>
                      <a:pt x="243" y="146"/>
                    </a:lnTo>
                    <a:lnTo>
                      <a:pt x="228" y="126"/>
                    </a:lnTo>
                    <a:lnTo>
                      <a:pt x="228" y="121"/>
                    </a:lnTo>
                    <a:lnTo>
                      <a:pt x="226" y="118"/>
                    </a:lnTo>
                    <a:lnTo>
                      <a:pt x="224" y="109"/>
                    </a:lnTo>
                    <a:lnTo>
                      <a:pt x="223" y="106"/>
                    </a:lnTo>
                    <a:lnTo>
                      <a:pt x="223" y="104"/>
                    </a:lnTo>
                    <a:lnTo>
                      <a:pt x="215" y="96"/>
                    </a:lnTo>
                    <a:lnTo>
                      <a:pt x="215" y="93"/>
                    </a:lnTo>
                    <a:lnTo>
                      <a:pt x="215" y="89"/>
                    </a:lnTo>
                    <a:lnTo>
                      <a:pt x="213" y="86"/>
                    </a:lnTo>
                    <a:lnTo>
                      <a:pt x="198" y="74"/>
                    </a:lnTo>
                    <a:lnTo>
                      <a:pt x="198" y="71"/>
                    </a:lnTo>
                    <a:lnTo>
                      <a:pt x="188" y="63"/>
                    </a:lnTo>
                    <a:lnTo>
                      <a:pt x="188" y="58"/>
                    </a:lnTo>
                    <a:lnTo>
                      <a:pt x="183" y="51"/>
                    </a:lnTo>
                    <a:lnTo>
                      <a:pt x="185" y="48"/>
                    </a:lnTo>
                    <a:lnTo>
                      <a:pt x="183" y="45"/>
                    </a:lnTo>
                    <a:lnTo>
                      <a:pt x="185" y="45"/>
                    </a:lnTo>
                    <a:lnTo>
                      <a:pt x="186" y="45"/>
                    </a:lnTo>
                    <a:lnTo>
                      <a:pt x="188" y="45"/>
                    </a:lnTo>
                    <a:lnTo>
                      <a:pt x="190" y="51"/>
                    </a:lnTo>
                    <a:lnTo>
                      <a:pt x="191" y="53"/>
                    </a:lnTo>
                    <a:lnTo>
                      <a:pt x="193" y="56"/>
                    </a:lnTo>
                    <a:lnTo>
                      <a:pt x="201" y="63"/>
                    </a:lnTo>
                    <a:lnTo>
                      <a:pt x="201" y="68"/>
                    </a:lnTo>
                    <a:lnTo>
                      <a:pt x="205" y="71"/>
                    </a:lnTo>
                    <a:lnTo>
                      <a:pt x="211" y="74"/>
                    </a:lnTo>
                    <a:lnTo>
                      <a:pt x="211" y="78"/>
                    </a:lnTo>
                    <a:lnTo>
                      <a:pt x="223" y="89"/>
                    </a:lnTo>
                    <a:lnTo>
                      <a:pt x="229" y="93"/>
                    </a:lnTo>
                    <a:lnTo>
                      <a:pt x="231" y="94"/>
                    </a:lnTo>
                    <a:lnTo>
                      <a:pt x="231" y="91"/>
                    </a:lnTo>
                    <a:lnTo>
                      <a:pt x="234" y="88"/>
                    </a:lnTo>
                    <a:lnTo>
                      <a:pt x="236" y="81"/>
                    </a:lnTo>
                    <a:lnTo>
                      <a:pt x="234" y="79"/>
                    </a:lnTo>
                    <a:lnTo>
                      <a:pt x="238" y="73"/>
                    </a:lnTo>
                    <a:lnTo>
                      <a:pt x="238" y="68"/>
                    </a:lnTo>
                    <a:lnTo>
                      <a:pt x="241" y="56"/>
                    </a:lnTo>
                    <a:lnTo>
                      <a:pt x="243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0" name="Freeform 89"/>
              <p:cNvSpPr>
                <a:spLocks/>
              </p:cNvSpPr>
              <p:nvPr/>
            </p:nvSpPr>
            <p:spPr bwMode="auto">
              <a:xfrm>
                <a:off x="6697560" y="3013430"/>
                <a:ext cx="215120" cy="216856"/>
              </a:xfrm>
              <a:custGeom>
                <a:avLst/>
                <a:gdLst/>
                <a:ahLst/>
                <a:cxnLst>
                  <a:cxn ang="0">
                    <a:pos x="359" y="7"/>
                  </a:cxn>
                  <a:cxn ang="0">
                    <a:pos x="363" y="17"/>
                  </a:cxn>
                  <a:cxn ang="0">
                    <a:pos x="363" y="20"/>
                  </a:cxn>
                  <a:cxn ang="0">
                    <a:pos x="368" y="58"/>
                  </a:cxn>
                  <a:cxn ang="0">
                    <a:pos x="391" y="87"/>
                  </a:cxn>
                  <a:cxn ang="0">
                    <a:pos x="399" y="97"/>
                  </a:cxn>
                  <a:cxn ang="0">
                    <a:pos x="381" y="103"/>
                  </a:cxn>
                  <a:cxn ang="0">
                    <a:pos x="369" y="112"/>
                  </a:cxn>
                  <a:cxn ang="0">
                    <a:pos x="369" y="125"/>
                  </a:cxn>
                  <a:cxn ang="0">
                    <a:pos x="358" y="155"/>
                  </a:cxn>
                  <a:cxn ang="0">
                    <a:pos x="359" y="176"/>
                  </a:cxn>
                  <a:cxn ang="0">
                    <a:pos x="346" y="210"/>
                  </a:cxn>
                  <a:cxn ang="0">
                    <a:pos x="333" y="226"/>
                  </a:cxn>
                  <a:cxn ang="0">
                    <a:pos x="314" y="253"/>
                  </a:cxn>
                  <a:cxn ang="0">
                    <a:pos x="308" y="273"/>
                  </a:cxn>
                  <a:cxn ang="0">
                    <a:pos x="299" y="306"/>
                  </a:cxn>
                  <a:cxn ang="0">
                    <a:pos x="281" y="306"/>
                  </a:cxn>
                  <a:cxn ang="0">
                    <a:pos x="281" y="321"/>
                  </a:cxn>
                  <a:cxn ang="0">
                    <a:pos x="301" y="332"/>
                  </a:cxn>
                  <a:cxn ang="0">
                    <a:pos x="316" y="344"/>
                  </a:cxn>
                  <a:cxn ang="0">
                    <a:pos x="329" y="366"/>
                  </a:cxn>
                  <a:cxn ang="0">
                    <a:pos x="309" y="394"/>
                  </a:cxn>
                  <a:cxn ang="0">
                    <a:pos x="296" y="404"/>
                  </a:cxn>
                  <a:cxn ang="0">
                    <a:pos x="268" y="410"/>
                  </a:cxn>
                  <a:cxn ang="0">
                    <a:pos x="256" y="417"/>
                  </a:cxn>
                  <a:cxn ang="0">
                    <a:pos x="240" y="412"/>
                  </a:cxn>
                  <a:cxn ang="0">
                    <a:pos x="226" y="415"/>
                  </a:cxn>
                  <a:cxn ang="0">
                    <a:pos x="216" y="414"/>
                  </a:cxn>
                  <a:cxn ang="0">
                    <a:pos x="203" y="401"/>
                  </a:cxn>
                  <a:cxn ang="0">
                    <a:pos x="190" y="389"/>
                  </a:cxn>
                  <a:cxn ang="0">
                    <a:pos x="176" y="394"/>
                  </a:cxn>
                  <a:cxn ang="0">
                    <a:pos x="160" y="399"/>
                  </a:cxn>
                  <a:cxn ang="0">
                    <a:pos x="142" y="387"/>
                  </a:cxn>
                  <a:cxn ang="0">
                    <a:pos x="135" y="377"/>
                  </a:cxn>
                  <a:cxn ang="0">
                    <a:pos x="120" y="362"/>
                  </a:cxn>
                  <a:cxn ang="0">
                    <a:pos x="108" y="351"/>
                  </a:cxn>
                  <a:cxn ang="0">
                    <a:pos x="93" y="336"/>
                  </a:cxn>
                  <a:cxn ang="0">
                    <a:pos x="85" y="329"/>
                  </a:cxn>
                  <a:cxn ang="0">
                    <a:pos x="78" y="317"/>
                  </a:cxn>
                  <a:cxn ang="0">
                    <a:pos x="60" y="308"/>
                  </a:cxn>
                  <a:cxn ang="0">
                    <a:pos x="49" y="301"/>
                  </a:cxn>
                  <a:cxn ang="0">
                    <a:pos x="42" y="286"/>
                  </a:cxn>
                  <a:cxn ang="0">
                    <a:pos x="30" y="259"/>
                  </a:cxn>
                  <a:cxn ang="0">
                    <a:pos x="24" y="246"/>
                  </a:cxn>
                  <a:cxn ang="0">
                    <a:pos x="14" y="231"/>
                  </a:cxn>
                  <a:cxn ang="0">
                    <a:pos x="14" y="214"/>
                  </a:cxn>
                  <a:cxn ang="0">
                    <a:pos x="0" y="208"/>
                  </a:cxn>
                  <a:cxn ang="0">
                    <a:pos x="7" y="186"/>
                  </a:cxn>
                  <a:cxn ang="0">
                    <a:pos x="15" y="170"/>
                  </a:cxn>
                  <a:cxn ang="0">
                    <a:pos x="27" y="146"/>
                  </a:cxn>
                  <a:cxn ang="0">
                    <a:pos x="50" y="143"/>
                  </a:cxn>
                  <a:cxn ang="0">
                    <a:pos x="69" y="4"/>
                  </a:cxn>
                </a:cxnLst>
                <a:rect l="0" t="0" r="r" b="b"/>
                <a:pathLst>
                  <a:path w="402" h="417">
                    <a:moveTo>
                      <a:pt x="69" y="4"/>
                    </a:moveTo>
                    <a:lnTo>
                      <a:pt x="359" y="0"/>
                    </a:lnTo>
                    <a:lnTo>
                      <a:pt x="358" y="4"/>
                    </a:lnTo>
                    <a:lnTo>
                      <a:pt x="358" y="5"/>
                    </a:lnTo>
                    <a:lnTo>
                      <a:pt x="359" y="7"/>
                    </a:lnTo>
                    <a:lnTo>
                      <a:pt x="359" y="7"/>
                    </a:lnTo>
                    <a:lnTo>
                      <a:pt x="359" y="9"/>
                    </a:lnTo>
                    <a:lnTo>
                      <a:pt x="359" y="10"/>
                    </a:lnTo>
                    <a:lnTo>
                      <a:pt x="361" y="10"/>
                    </a:lnTo>
                    <a:lnTo>
                      <a:pt x="363" y="17"/>
                    </a:lnTo>
                    <a:lnTo>
                      <a:pt x="366" y="22"/>
                    </a:lnTo>
                    <a:lnTo>
                      <a:pt x="366" y="23"/>
                    </a:lnTo>
                    <a:lnTo>
                      <a:pt x="366" y="23"/>
                    </a:lnTo>
                    <a:lnTo>
                      <a:pt x="364" y="22"/>
                    </a:lnTo>
                    <a:lnTo>
                      <a:pt x="363" y="20"/>
                    </a:lnTo>
                    <a:lnTo>
                      <a:pt x="363" y="22"/>
                    </a:lnTo>
                    <a:lnTo>
                      <a:pt x="363" y="25"/>
                    </a:lnTo>
                    <a:lnTo>
                      <a:pt x="369" y="40"/>
                    </a:lnTo>
                    <a:lnTo>
                      <a:pt x="369" y="50"/>
                    </a:lnTo>
                    <a:lnTo>
                      <a:pt x="368" y="58"/>
                    </a:lnTo>
                    <a:lnTo>
                      <a:pt x="371" y="67"/>
                    </a:lnTo>
                    <a:lnTo>
                      <a:pt x="376" y="75"/>
                    </a:lnTo>
                    <a:lnTo>
                      <a:pt x="381" y="75"/>
                    </a:lnTo>
                    <a:lnTo>
                      <a:pt x="391" y="82"/>
                    </a:lnTo>
                    <a:lnTo>
                      <a:pt x="391" y="87"/>
                    </a:lnTo>
                    <a:lnTo>
                      <a:pt x="396" y="87"/>
                    </a:lnTo>
                    <a:lnTo>
                      <a:pt x="401" y="88"/>
                    </a:lnTo>
                    <a:lnTo>
                      <a:pt x="401" y="92"/>
                    </a:lnTo>
                    <a:lnTo>
                      <a:pt x="402" y="92"/>
                    </a:lnTo>
                    <a:lnTo>
                      <a:pt x="399" y="97"/>
                    </a:lnTo>
                    <a:lnTo>
                      <a:pt x="396" y="98"/>
                    </a:lnTo>
                    <a:lnTo>
                      <a:pt x="391" y="98"/>
                    </a:lnTo>
                    <a:lnTo>
                      <a:pt x="389" y="102"/>
                    </a:lnTo>
                    <a:lnTo>
                      <a:pt x="384" y="102"/>
                    </a:lnTo>
                    <a:lnTo>
                      <a:pt x="381" y="103"/>
                    </a:lnTo>
                    <a:lnTo>
                      <a:pt x="376" y="105"/>
                    </a:lnTo>
                    <a:lnTo>
                      <a:pt x="376" y="107"/>
                    </a:lnTo>
                    <a:lnTo>
                      <a:pt x="377" y="108"/>
                    </a:lnTo>
                    <a:lnTo>
                      <a:pt x="376" y="112"/>
                    </a:lnTo>
                    <a:lnTo>
                      <a:pt x="369" y="112"/>
                    </a:lnTo>
                    <a:lnTo>
                      <a:pt x="368" y="113"/>
                    </a:lnTo>
                    <a:lnTo>
                      <a:pt x="368" y="116"/>
                    </a:lnTo>
                    <a:lnTo>
                      <a:pt x="364" y="121"/>
                    </a:lnTo>
                    <a:lnTo>
                      <a:pt x="368" y="123"/>
                    </a:lnTo>
                    <a:lnTo>
                      <a:pt x="369" y="125"/>
                    </a:lnTo>
                    <a:lnTo>
                      <a:pt x="366" y="128"/>
                    </a:lnTo>
                    <a:lnTo>
                      <a:pt x="364" y="135"/>
                    </a:lnTo>
                    <a:lnTo>
                      <a:pt x="363" y="145"/>
                    </a:lnTo>
                    <a:lnTo>
                      <a:pt x="358" y="151"/>
                    </a:lnTo>
                    <a:lnTo>
                      <a:pt x="358" y="155"/>
                    </a:lnTo>
                    <a:lnTo>
                      <a:pt x="356" y="156"/>
                    </a:lnTo>
                    <a:lnTo>
                      <a:pt x="354" y="161"/>
                    </a:lnTo>
                    <a:lnTo>
                      <a:pt x="358" y="171"/>
                    </a:lnTo>
                    <a:lnTo>
                      <a:pt x="359" y="176"/>
                    </a:lnTo>
                    <a:lnTo>
                      <a:pt x="359" y="176"/>
                    </a:lnTo>
                    <a:lnTo>
                      <a:pt x="359" y="178"/>
                    </a:lnTo>
                    <a:lnTo>
                      <a:pt x="356" y="185"/>
                    </a:lnTo>
                    <a:lnTo>
                      <a:pt x="356" y="191"/>
                    </a:lnTo>
                    <a:lnTo>
                      <a:pt x="349" y="203"/>
                    </a:lnTo>
                    <a:lnTo>
                      <a:pt x="346" y="210"/>
                    </a:lnTo>
                    <a:lnTo>
                      <a:pt x="344" y="210"/>
                    </a:lnTo>
                    <a:lnTo>
                      <a:pt x="339" y="210"/>
                    </a:lnTo>
                    <a:lnTo>
                      <a:pt x="339" y="213"/>
                    </a:lnTo>
                    <a:lnTo>
                      <a:pt x="334" y="223"/>
                    </a:lnTo>
                    <a:lnTo>
                      <a:pt x="333" y="226"/>
                    </a:lnTo>
                    <a:lnTo>
                      <a:pt x="326" y="229"/>
                    </a:lnTo>
                    <a:lnTo>
                      <a:pt x="323" y="238"/>
                    </a:lnTo>
                    <a:lnTo>
                      <a:pt x="319" y="253"/>
                    </a:lnTo>
                    <a:lnTo>
                      <a:pt x="316" y="253"/>
                    </a:lnTo>
                    <a:lnTo>
                      <a:pt x="314" y="253"/>
                    </a:lnTo>
                    <a:lnTo>
                      <a:pt x="313" y="256"/>
                    </a:lnTo>
                    <a:lnTo>
                      <a:pt x="308" y="261"/>
                    </a:lnTo>
                    <a:lnTo>
                      <a:pt x="306" y="266"/>
                    </a:lnTo>
                    <a:lnTo>
                      <a:pt x="308" y="268"/>
                    </a:lnTo>
                    <a:lnTo>
                      <a:pt x="308" y="273"/>
                    </a:lnTo>
                    <a:lnTo>
                      <a:pt x="304" y="279"/>
                    </a:lnTo>
                    <a:lnTo>
                      <a:pt x="303" y="284"/>
                    </a:lnTo>
                    <a:lnTo>
                      <a:pt x="303" y="294"/>
                    </a:lnTo>
                    <a:lnTo>
                      <a:pt x="303" y="304"/>
                    </a:lnTo>
                    <a:lnTo>
                      <a:pt x="299" y="306"/>
                    </a:lnTo>
                    <a:lnTo>
                      <a:pt x="298" y="309"/>
                    </a:lnTo>
                    <a:lnTo>
                      <a:pt x="294" y="308"/>
                    </a:lnTo>
                    <a:lnTo>
                      <a:pt x="291" y="306"/>
                    </a:lnTo>
                    <a:lnTo>
                      <a:pt x="288" y="308"/>
                    </a:lnTo>
                    <a:lnTo>
                      <a:pt x="281" y="306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76" y="317"/>
                    </a:lnTo>
                    <a:lnTo>
                      <a:pt x="278" y="321"/>
                    </a:lnTo>
                    <a:lnTo>
                      <a:pt x="281" y="321"/>
                    </a:lnTo>
                    <a:lnTo>
                      <a:pt x="291" y="321"/>
                    </a:lnTo>
                    <a:lnTo>
                      <a:pt x="294" y="324"/>
                    </a:lnTo>
                    <a:lnTo>
                      <a:pt x="298" y="327"/>
                    </a:lnTo>
                    <a:lnTo>
                      <a:pt x="299" y="331"/>
                    </a:lnTo>
                    <a:lnTo>
                      <a:pt x="301" y="332"/>
                    </a:lnTo>
                    <a:lnTo>
                      <a:pt x="306" y="339"/>
                    </a:lnTo>
                    <a:lnTo>
                      <a:pt x="309" y="341"/>
                    </a:lnTo>
                    <a:lnTo>
                      <a:pt x="309" y="342"/>
                    </a:lnTo>
                    <a:lnTo>
                      <a:pt x="311" y="344"/>
                    </a:lnTo>
                    <a:lnTo>
                      <a:pt x="316" y="344"/>
                    </a:lnTo>
                    <a:lnTo>
                      <a:pt x="319" y="347"/>
                    </a:lnTo>
                    <a:lnTo>
                      <a:pt x="321" y="352"/>
                    </a:lnTo>
                    <a:lnTo>
                      <a:pt x="324" y="356"/>
                    </a:lnTo>
                    <a:lnTo>
                      <a:pt x="326" y="364"/>
                    </a:lnTo>
                    <a:lnTo>
                      <a:pt x="329" y="366"/>
                    </a:lnTo>
                    <a:lnTo>
                      <a:pt x="329" y="374"/>
                    </a:lnTo>
                    <a:lnTo>
                      <a:pt x="323" y="382"/>
                    </a:lnTo>
                    <a:lnTo>
                      <a:pt x="316" y="391"/>
                    </a:lnTo>
                    <a:lnTo>
                      <a:pt x="314" y="389"/>
                    </a:lnTo>
                    <a:lnTo>
                      <a:pt x="309" y="394"/>
                    </a:lnTo>
                    <a:lnTo>
                      <a:pt x="306" y="396"/>
                    </a:lnTo>
                    <a:lnTo>
                      <a:pt x="304" y="397"/>
                    </a:lnTo>
                    <a:lnTo>
                      <a:pt x="303" y="401"/>
                    </a:lnTo>
                    <a:lnTo>
                      <a:pt x="303" y="401"/>
                    </a:lnTo>
                    <a:lnTo>
                      <a:pt x="296" y="404"/>
                    </a:lnTo>
                    <a:lnTo>
                      <a:pt x="293" y="407"/>
                    </a:lnTo>
                    <a:lnTo>
                      <a:pt x="288" y="409"/>
                    </a:lnTo>
                    <a:lnTo>
                      <a:pt x="283" y="409"/>
                    </a:lnTo>
                    <a:lnTo>
                      <a:pt x="274" y="409"/>
                    </a:lnTo>
                    <a:lnTo>
                      <a:pt x="268" y="410"/>
                    </a:lnTo>
                    <a:lnTo>
                      <a:pt x="265" y="410"/>
                    </a:lnTo>
                    <a:lnTo>
                      <a:pt x="263" y="412"/>
                    </a:lnTo>
                    <a:lnTo>
                      <a:pt x="260" y="410"/>
                    </a:lnTo>
                    <a:lnTo>
                      <a:pt x="256" y="414"/>
                    </a:lnTo>
                    <a:lnTo>
                      <a:pt x="256" y="417"/>
                    </a:lnTo>
                    <a:lnTo>
                      <a:pt x="255" y="417"/>
                    </a:lnTo>
                    <a:lnTo>
                      <a:pt x="248" y="415"/>
                    </a:lnTo>
                    <a:lnTo>
                      <a:pt x="248" y="412"/>
                    </a:lnTo>
                    <a:lnTo>
                      <a:pt x="243" y="410"/>
                    </a:lnTo>
                    <a:lnTo>
                      <a:pt x="240" y="412"/>
                    </a:lnTo>
                    <a:lnTo>
                      <a:pt x="233" y="410"/>
                    </a:lnTo>
                    <a:lnTo>
                      <a:pt x="228" y="409"/>
                    </a:lnTo>
                    <a:lnTo>
                      <a:pt x="226" y="410"/>
                    </a:lnTo>
                    <a:lnTo>
                      <a:pt x="225" y="414"/>
                    </a:lnTo>
                    <a:lnTo>
                      <a:pt x="226" y="415"/>
                    </a:lnTo>
                    <a:lnTo>
                      <a:pt x="226" y="417"/>
                    </a:lnTo>
                    <a:lnTo>
                      <a:pt x="225" y="415"/>
                    </a:lnTo>
                    <a:lnTo>
                      <a:pt x="218" y="415"/>
                    </a:lnTo>
                    <a:lnTo>
                      <a:pt x="218" y="415"/>
                    </a:lnTo>
                    <a:lnTo>
                      <a:pt x="216" y="414"/>
                    </a:lnTo>
                    <a:lnTo>
                      <a:pt x="216" y="410"/>
                    </a:lnTo>
                    <a:lnTo>
                      <a:pt x="215" y="409"/>
                    </a:lnTo>
                    <a:lnTo>
                      <a:pt x="213" y="404"/>
                    </a:lnTo>
                    <a:lnTo>
                      <a:pt x="210" y="402"/>
                    </a:lnTo>
                    <a:lnTo>
                      <a:pt x="203" y="401"/>
                    </a:lnTo>
                    <a:lnTo>
                      <a:pt x="201" y="399"/>
                    </a:lnTo>
                    <a:lnTo>
                      <a:pt x="200" y="396"/>
                    </a:lnTo>
                    <a:lnTo>
                      <a:pt x="196" y="391"/>
                    </a:lnTo>
                    <a:lnTo>
                      <a:pt x="195" y="389"/>
                    </a:lnTo>
                    <a:lnTo>
                      <a:pt x="190" y="389"/>
                    </a:lnTo>
                    <a:lnTo>
                      <a:pt x="186" y="392"/>
                    </a:lnTo>
                    <a:lnTo>
                      <a:pt x="185" y="394"/>
                    </a:lnTo>
                    <a:lnTo>
                      <a:pt x="180" y="396"/>
                    </a:lnTo>
                    <a:lnTo>
                      <a:pt x="176" y="396"/>
                    </a:lnTo>
                    <a:lnTo>
                      <a:pt x="176" y="394"/>
                    </a:lnTo>
                    <a:lnTo>
                      <a:pt x="173" y="394"/>
                    </a:lnTo>
                    <a:lnTo>
                      <a:pt x="168" y="394"/>
                    </a:lnTo>
                    <a:lnTo>
                      <a:pt x="165" y="396"/>
                    </a:lnTo>
                    <a:lnTo>
                      <a:pt x="163" y="399"/>
                    </a:lnTo>
                    <a:lnTo>
                      <a:pt x="160" y="399"/>
                    </a:lnTo>
                    <a:lnTo>
                      <a:pt x="155" y="397"/>
                    </a:lnTo>
                    <a:lnTo>
                      <a:pt x="150" y="394"/>
                    </a:lnTo>
                    <a:lnTo>
                      <a:pt x="148" y="391"/>
                    </a:lnTo>
                    <a:lnTo>
                      <a:pt x="145" y="391"/>
                    </a:lnTo>
                    <a:lnTo>
                      <a:pt x="142" y="387"/>
                    </a:lnTo>
                    <a:lnTo>
                      <a:pt x="142" y="384"/>
                    </a:lnTo>
                    <a:lnTo>
                      <a:pt x="140" y="384"/>
                    </a:lnTo>
                    <a:lnTo>
                      <a:pt x="140" y="382"/>
                    </a:lnTo>
                    <a:lnTo>
                      <a:pt x="138" y="381"/>
                    </a:lnTo>
                    <a:lnTo>
                      <a:pt x="135" y="377"/>
                    </a:lnTo>
                    <a:lnTo>
                      <a:pt x="132" y="376"/>
                    </a:lnTo>
                    <a:lnTo>
                      <a:pt x="132" y="369"/>
                    </a:lnTo>
                    <a:lnTo>
                      <a:pt x="132" y="367"/>
                    </a:lnTo>
                    <a:lnTo>
                      <a:pt x="128" y="364"/>
                    </a:lnTo>
                    <a:lnTo>
                      <a:pt x="120" y="362"/>
                    </a:lnTo>
                    <a:lnTo>
                      <a:pt x="118" y="361"/>
                    </a:lnTo>
                    <a:lnTo>
                      <a:pt x="118" y="356"/>
                    </a:lnTo>
                    <a:lnTo>
                      <a:pt x="117" y="354"/>
                    </a:lnTo>
                    <a:lnTo>
                      <a:pt x="112" y="352"/>
                    </a:lnTo>
                    <a:lnTo>
                      <a:pt x="108" y="351"/>
                    </a:lnTo>
                    <a:lnTo>
                      <a:pt x="108" y="344"/>
                    </a:lnTo>
                    <a:lnTo>
                      <a:pt x="107" y="342"/>
                    </a:lnTo>
                    <a:lnTo>
                      <a:pt x="98" y="337"/>
                    </a:lnTo>
                    <a:lnTo>
                      <a:pt x="97" y="337"/>
                    </a:lnTo>
                    <a:lnTo>
                      <a:pt x="93" y="336"/>
                    </a:lnTo>
                    <a:lnTo>
                      <a:pt x="92" y="337"/>
                    </a:lnTo>
                    <a:lnTo>
                      <a:pt x="87" y="336"/>
                    </a:lnTo>
                    <a:lnTo>
                      <a:pt x="82" y="332"/>
                    </a:lnTo>
                    <a:lnTo>
                      <a:pt x="83" y="331"/>
                    </a:lnTo>
                    <a:lnTo>
                      <a:pt x="85" y="329"/>
                    </a:lnTo>
                    <a:lnTo>
                      <a:pt x="88" y="326"/>
                    </a:lnTo>
                    <a:lnTo>
                      <a:pt x="88" y="322"/>
                    </a:lnTo>
                    <a:lnTo>
                      <a:pt x="87" y="321"/>
                    </a:lnTo>
                    <a:lnTo>
                      <a:pt x="83" y="321"/>
                    </a:lnTo>
                    <a:lnTo>
                      <a:pt x="78" y="317"/>
                    </a:lnTo>
                    <a:lnTo>
                      <a:pt x="77" y="316"/>
                    </a:lnTo>
                    <a:lnTo>
                      <a:pt x="73" y="312"/>
                    </a:lnTo>
                    <a:lnTo>
                      <a:pt x="69" y="312"/>
                    </a:lnTo>
                    <a:lnTo>
                      <a:pt x="64" y="311"/>
                    </a:lnTo>
                    <a:lnTo>
                      <a:pt x="60" y="308"/>
                    </a:lnTo>
                    <a:lnTo>
                      <a:pt x="59" y="304"/>
                    </a:lnTo>
                    <a:lnTo>
                      <a:pt x="60" y="301"/>
                    </a:lnTo>
                    <a:lnTo>
                      <a:pt x="59" y="299"/>
                    </a:lnTo>
                    <a:lnTo>
                      <a:pt x="50" y="299"/>
                    </a:lnTo>
                    <a:lnTo>
                      <a:pt x="49" y="301"/>
                    </a:lnTo>
                    <a:lnTo>
                      <a:pt x="44" y="301"/>
                    </a:lnTo>
                    <a:lnTo>
                      <a:pt x="40" y="298"/>
                    </a:lnTo>
                    <a:lnTo>
                      <a:pt x="39" y="291"/>
                    </a:lnTo>
                    <a:lnTo>
                      <a:pt x="40" y="288"/>
                    </a:lnTo>
                    <a:lnTo>
                      <a:pt x="42" y="286"/>
                    </a:lnTo>
                    <a:lnTo>
                      <a:pt x="44" y="281"/>
                    </a:lnTo>
                    <a:lnTo>
                      <a:pt x="42" y="278"/>
                    </a:lnTo>
                    <a:lnTo>
                      <a:pt x="37" y="269"/>
                    </a:lnTo>
                    <a:lnTo>
                      <a:pt x="32" y="261"/>
                    </a:lnTo>
                    <a:lnTo>
                      <a:pt x="30" y="259"/>
                    </a:lnTo>
                    <a:lnTo>
                      <a:pt x="25" y="254"/>
                    </a:lnTo>
                    <a:lnTo>
                      <a:pt x="27" y="253"/>
                    </a:lnTo>
                    <a:lnTo>
                      <a:pt x="27" y="251"/>
                    </a:lnTo>
                    <a:lnTo>
                      <a:pt x="24" y="248"/>
                    </a:lnTo>
                    <a:lnTo>
                      <a:pt x="24" y="246"/>
                    </a:lnTo>
                    <a:lnTo>
                      <a:pt x="24" y="244"/>
                    </a:lnTo>
                    <a:lnTo>
                      <a:pt x="27" y="241"/>
                    </a:lnTo>
                    <a:lnTo>
                      <a:pt x="24" y="238"/>
                    </a:lnTo>
                    <a:lnTo>
                      <a:pt x="15" y="234"/>
                    </a:lnTo>
                    <a:lnTo>
                      <a:pt x="14" y="231"/>
                    </a:lnTo>
                    <a:lnTo>
                      <a:pt x="14" y="226"/>
                    </a:lnTo>
                    <a:lnTo>
                      <a:pt x="12" y="221"/>
                    </a:lnTo>
                    <a:lnTo>
                      <a:pt x="14" y="219"/>
                    </a:lnTo>
                    <a:lnTo>
                      <a:pt x="10" y="216"/>
                    </a:lnTo>
                    <a:lnTo>
                      <a:pt x="14" y="214"/>
                    </a:lnTo>
                    <a:lnTo>
                      <a:pt x="14" y="211"/>
                    </a:lnTo>
                    <a:lnTo>
                      <a:pt x="10" y="211"/>
                    </a:lnTo>
                    <a:lnTo>
                      <a:pt x="4" y="214"/>
                    </a:lnTo>
                    <a:lnTo>
                      <a:pt x="0" y="213"/>
                    </a:lnTo>
                    <a:lnTo>
                      <a:pt x="0" y="208"/>
                    </a:lnTo>
                    <a:lnTo>
                      <a:pt x="9" y="200"/>
                    </a:lnTo>
                    <a:lnTo>
                      <a:pt x="12" y="196"/>
                    </a:lnTo>
                    <a:lnTo>
                      <a:pt x="10" y="191"/>
                    </a:lnTo>
                    <a:lnTo>
                      <a:pt x="7" y="190"/>
                    </a:lnTo>
                    <a:lnTo>
                      <a:pt x="7" y="186"/>
                    </a:lnTo>
                    <a:lnTo>
                      <a:pt x="12" y="185"/>
                    </a:lnTo>
                    <a:lnTo>
                      <a:pt x="15" y="180"/>
                    </a:lnTo>
                    <a:lnTo>
                      <a:pt x="12" y="176"/>
                    </a:lnTo>
                    <a:lnTo>
                      <a:pt x="12" y="173"/>
                    </a:lnTo>
                    <a:lnTo>
                      <a:pt x="15" y="170"/>
                    </a:lnTo>
                    <a:lnTo>
                      <a:pt x="19" y="170"/>
                    </a:lnTo>
                    <a:lnTo>
                      <a:pt x="27" y="161"/>
                    </a:lnTo>
                    <a:lnTo>
                      <a:pt x="29" y="155"/>
                    </a:lnTo>
                    <a:lnTo>
                      <a:pt x="27" y="153"/>
                    </a:lnTo>
                    <a:lnTo>
                      <a:pt x="27" y="146"/>
                    </a:lnTo>
                    <a:lnTo>
                      <a:pt x="32" y="145"/>
                    </a:lnTo>
                    <a:lnTo>
                      <a:pt x="37" y="145"/>
                    </a:lnTo>
                    <a:lnTo>
                      <a:pt x="42" y="146"/>
                    </a:lnTo>
                    <a:lnTo>
                      <a:pt x="45" y="143"/>
                    </a:lnTo>
                    <a:lnTo>
                      <a:pt x="50" y="143"/>
                    </a:lnTo>
                    <a:lnTo>
                      <a:pt x="49" y="57"/>
                    </a:lnTo>
                    <a:lnTo>
                      <a:pt x="49" y="55"/>
                    </a:lnTo>
                    <a:lnTo>
                      <a:pt x="49" y="48"/>
                    </a:lnTo>
                    <a:lnTo>
                      <a:pt x="72" y="45"/>
                    </a:lnTo>
                    <a:lnTo>
                      <a:pt x="69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1" name="Freeform 90"/>
              <p:cNvSpPr>
                <a:spLocks/>
              </p:cNvSpPr>
              <p:nvPr/>
            </p:nvSpPr>
            <p:spPr bwMode="auto">
              <a:xfrm>
                <a:off x="6845254" y="3098512"/>
                <a:ext cx="196926" cy="130736"/>
              </a:xfrm>
              <a:custGeom>
                <a:avLst/>
                <a:gdLst/>
                <a:ahLst/>
                <a:cxnLst>
                  <a:cxn ang="0">
                    <a:pos x="50" y="201"/>
                  </a:cxn>
                  <a:cxn ang="0">
                    <a:pos x="43" y="184"/>
                  </a:cxn>
                  <a:cxn ang="0">
                    <a:pos x="33" y="179"/>
                  </a:cxn>
                  <a:cxn ang="0">
                    <a:pos x="25" y="169"/>
                  </a:cxn>
                  <a:cxn ang="0">
                    <a:pos x="18" y="161"/>
                  </a:cxn>
                  <a:cxn ang="0">
                    <a:pos x="2" y="158"/>
                  </a:cxn>
                  <a:cxn ang="0">
                    <a:pos x="5" y="148"/>
                  </a:cxn>
                  <a:cxn ang="0">
                    <a:pos x="15" y="143"/>
                  </a:cxn>
                  <a:cxn ang="0">
                    <a:pos x="23" y="143"/>
                  </a:cxn>
                  <a:cxn ang="0">
                    <a:pos x="27" y="121"/>
                  </a:cxn>
                  <a:cxn ang="0">
                    <a:pos x="32" y="105"/>
                  </a:cxn>
                  <a:cxn ang="0">
                    <a:pos x="37" y="93"/>
                  </a:cxn>
                  <a:cxn ang="0">
                    <a:pos x="43" y="90"/>
                  </a:cxn>
                  <a:cxn ang="0">
                    <a:pos x="57" y="63"/>
                  </a:cxn>
                  <a:cxn ang="0">
                    <a:pos x="63" y="47"/>
                  </a:cxn>
                  <a:cxn ang="0">
                    <a:pos x="73" y="40"/>
                  </a:cxn>
                  <a:cxn ang="0">
                    <a:pos x="83" y="15"/>
                  </a:cxn>
                  <a:cxn ang="0">
                    <a:pos x="92" y="15"/>
                  </a:cxn>
                  <a:cxn ang="0">
                    <a:pos x="105" y="0"/>
                  </a:cxn>
                  <a:cxn ang="0">
                    <a:pos x="118" y="7"/>
                  </a:cxn>
                  <a:cxn ang="0">
                    <a:pos x="131" y="2"/>
                  </a:cxn>
                  <a:cxn ang="0">
                    <a:pos x="141" y="3"/>
                  </a:cxn>
                  <a:cxn ang="0">
                    <a:pos x="153" y="7"/>
                  </a:cxn>
                  <a:cxn ang="0">
                    <a:pos x="166" y="12"/>
                  </a:cxn>
                  <a:cxn ang="0">
                    <a:pos x="185" y="23"/>
                  </a:cxn>
                  <a:cxn ang="0">
                    <a:pos x="191" y="28"/>
                  </a:cxn>
                  <a:cxn ang="0">
                    <a:pos x="208" y="38"/>
                  </a:cxn>
                  <a:cxn ang="0">
                    <a:pos x="214" y="50"/>
                  </a:cxn>
                  <a:cxn ang="0">
                    <a:pos x="219" y="60"/>
                  </a:cxn>
                  <a:cxn ang="0">
                    <a:pos x="218" y="75"/>
                  </a:cxn>
                  <a:cxn ang="0">
                    <a:pos x="211" y="88"/>
                  </a:cxn>
                  <a:cxn ang="0">
                    <a:pos x="228" y="86"/>
                  </a:cxn>
                  <a:cxn ang="0">
                    <a:pos x="238" y="90"/>
                  </a:cxn>
                  <a:cxn ang="0">
                    <a:pos x="249" y="113"/>
                  </a:cxn>
                  <a:cxn ang="0">
                    <a:pos x="261" y="128"/>
                  </a:cxn>
                  <a:cxn ang="0">
                    <a:pos x="369" y="151"/>
                  </a:cxn>
                  <a:cxn ang="0">
                    <a:pos x="264" y="219"/>
                  </a:cxn>
                  <a:cxn ang="0">
                    <a:pos x="249" y="226"/>
                  </a:cxn>
                  <a:cxn ang="0">
                    <a:pos x="236" y="236"/>
                  </a:cxn>
                  <a:cxn ang="0">
                    <a:pos x="218" y="243"/>
                  </a:cxn>
                  <a:cxn ang="0">
                    <a:pos x="203" y="244"/>
                  </a:cxn>
                  <a:cxn ang="0">
                    <a:pos x="193" y="236"/>
                  </a:cxn>
                  <a:cxn ang="0">
                    <a:pos x="175" y="239"/>
                  </a:cxn>
                  <a:cxn ang="0">
                    <a:pos x="161" y="252"/>
                  </a:cxn>
                  <a:cxn ang="0">
                    <a:pos x="148" y="251"/>
                  </a:cxn>
                  <a:cxn ang="0">
                    <a:pos x="128" y="251"/>
                  </a:cxn>
                  <a:cxn ang="0">
                    <a:pos x="113" y="241"/>
                  </a:cxn>
                  <a:cxn ang="0">
                    <a:pos x="87" y="231"/>
                  </a:cxn>
                  <a:cxn ang="0">
                    <a:pos x="72" y="231"/>
                  </a:cxn>
                  <a:cxn ang="0">
                    <a:pos x="63" y="213"/>
                  </a:cxn>
                  <a:cxn ang="0">
                    <a:pos x="53" y="211"/>
                  </a:cxn>
                </a:cxnLst>
                <a:rect l="0" t="0" r="r" b="b"/>
                <a:pathLst>
                  <a:path w="369" h="252">
                    <a:moveTo>
                      <a:pt x="53" y="211"/>
                    </a:moveTo>
                    <a:lnTo>
                      <a:pt x="53" y="203"/>
                    </a:lnTo>
                    <a:lnTo>
                      <a:pt x="50" y="201"/>
                    </a:lnTo>
                    <a:lnTo>
                      <a:pt x="48" y="193"/>
                    </a:lnTo>
                    <a:lnTo>
                      <a:pt x="45" y="189"/>
                    </a:lnTo>
                    <a:lnTo>
                      <a:pt x="43" y="184"/>
                    </a:lnTo>
                    <a:lnTo>
                      <a:pt x="40" y="181"/>
                    </a:lnTo>
                    <a:lnTo>
                      <a:pt x="35" y="181"/>
                    </a:lnTo>
                    <a:lnTo>
                      <a:pt x="33" y="179"/>
                    </a:lnTo>
                    <a:lnTo>
                      <a:pt x="33" y="178"/>
                    </a:lnTo>
                    <a:lnTo>
                      <a:pt x="30" y="176"/>
                    </a:lnTo>
                    <a:lnTo>
                      <a:pt x="25" y="169"/>
                    </a:lnTo>
                    <a:lnTo>
                      <a:pt x="23" y="168"/>
                    </a:lnTo>
                    <a:lnTo>
                      <a:pt x="22" y="164"/>
                    </a:lnTo>
                    <a:lnTo>
                      <a:pt x="18" y="161"/>
                    </a:lnTo>
                    <a:lnTo>
                      <a:pt x="15" y="158"/>
                    </a:lnTo>
                    <a:lnTo>
                      <a:pt x="5" y="158"/>
                    </a:lnTo>
                    <a:lnTo>
                      <a:pt x="2" y="158"/>
                    </a:lnTo>
                    <a:lnTo>
                      <a:pt x="0" y="154"/>
                    </a:lnTo>
                    <a:lnTo>
                      <a:pt x="3" y="149"/>
                    </a:lnTo>
                    <a:lnTo>
                      <a:pt x="5" y="148"/>
                    </a:lnTo>
                    <a:lnTo>
                      <a:pt x="5" y="143"/>
                    </a:lnTo>
                    <a:lnTo>
                      <a:pt x="12" y="145"/>
                    </a:lnTo>
                    <a:lnTo>
                      <a:pt x="15" y="143"/>
                    </a:lnTo>
                    <a:lnTo>
                      <a:pt x="18" y="145"/>
                    </a:lnTo>
                    <a:lnTo>
                      <a:pt x="22" y="146"/>
                    </a:lnTo>
                    <a:lnTo>
                      <a:pt x="23" y="143"/>
                    </a:lnTo>
                    <a:lnTo>
                      <a:pt x="27" y="141"/>
                    </a:lnTo>
                    <a:lnTo>
                      <a:pt x="27" y="131"/>
                    </a:lnTo>
                    <a:lnTo>
                      <a:pt x="27" y="121"/>
                    </a:lnTo>
                    <a:lnTo>
                      <a:pt x="28" y="116"/>
                    </a:lnTo>
                    <a:lnTo>
                      <a:pt x="32" y="110"/>
                    </a:lnTo>
                    <a:lnTo>
                      <a:pt x="32" y="105"/>
                    </a:lnTo>
                    <a:lnTo>
                      <a:pt x="30" y="103"/>
                    </a:lnTo>
                    <a:lnTo>
                      <a:pt x="32" y="98"/>
                    </a:lnTo>
                    <a:lnTo>
                      <a:pt x="37" y="93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43" y="90"/>
                    </a:lnTo>
                    <a:lnTo>
                      <a:pt x="47" y="75"/>
                    </a:lnTo>
                    <a:lnTo>
                      <a:pt x="50" y="66"/>
                    </a:lnTo>
                    <a:lnTo>
                      <a:pt x="57" y="63"/>
                    </a:lnTo>
                    <a:lnTo>
                      <a:pt x="58" y="60"/>
                    </a:lnTo>
                    <a:lnTo>
                      <a:pt x="63" y="50"/>
                    </a:lnTo>
                    <a:lnTo>
                      <a:pt x="63" y="47"/>
                    </a:lnTo>
                    <a:lnTo>
                      <a:pt x="68" y="47"/>
                    </a:lnTo>
                    <a:lnTo>
                      <a:pt x="70" y="47"/>
                    </a:lnTo>
                    <a:lnTo>
                      <a:pt x="73" y="40"/>
                    </a:lnTo>
                    <a:lnTo>
                      <a:pt x="80" y="28"/>
                    </a:lnTo>
                    <a:lnTo>
                      <a:pt x="80" y="22"/>
                    </a:lnTo>
                    <a:lnTo>
                      <a:pt x="83" y="15"/>
                    </a:lnTo>
                    <a:lnTo>
                      <a:pt x="83" y="13"/>
                    </a:lnTo>
                    <a:lnTo>
                      <a:pt x="87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8" y="12"/>
                    </a:lnTo>
                    <a:lnTo>
                      <a:pt x="105" y="0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8" y="7"/>
                    </a:lnTo>
                    <a:lnTo>
                      <a:pt x="123" y="7"/>
                    </a:lnTo>
                    <a:lnTo>
                      <a:pt x="126" y="3"/>
                    </a:lnTo>
                    <a:lnTo>
                      <a:pt x="131" y="2"/>
                    </a:lnTo>
                    <a:lnTo>
                      <a:pt x="135" y="5"/>
                    </a:lnTo>
                    <a:lnTo>
                      <a:pt x="136" y="3"/>
                    </a:lnTo>
                    <a:lnTo>
                      <a:pt x="141" y="3"/>
                    </a:lnTo>
                    <a:lnTo>
                      <a:pt x="148" y="8"/>
                    </a:lnTo>
                    <a:lnTo>
                      <a:pt x="150" y="8"/>
                    </a:lnTo>
                    <a:lnTo>
                      <a:pt x="153" y="7"/>
                    </a:lnTo>
                    <a:lnTo>
                      <a:pt x="158" y="8"/>
                    </a:lnTo>
                    <a:lnTo>
                      <a:pt x="163" y="12"/>
                    </a:lnTo>
                    <a:lnTo>
                      <a:pt x="166" y="12"/>
                    </a:lnTo>
                    <a:lnTo>
                      <a:pt x="175" y="20"/>
                    </a:lnTo>
                    <a:lnTo>
                      <a:pt x="176" y="23"/>
                    </a:lnTo>
                    <a:lnTo>
                      <a:pt x="185" y="23"/>
                    </a:lnTo>
                    <a:lnTo>
                      <a:pt x="185" y="25"/>
                    </a:lnTo>
                    <a:lnTo>
                      <a:pt x="190" y="25"/>
                    </a:lnTo>
                    <a:lnTo>
                      <a:pt x="191" y="28"/>
                    </a:lnTo>
                    <a:lnTo>
                      <a:pt x="196" y="32"/>
                    </a:lnTo>
                    <a:lnTo>
                      <a:pt x="203" y="37"/>
                    </a:lnTo>
                    <a:lnTo>
                      <a:pt x="208" y="38"/>
                    </a:lnTo>
                    <a:lnTo>
                      <a:pt x="213" y="43"/>
                    </a:lnTo>
                    <a:lnTo>
                      <a:pt x="213" y="48"/>
                    </a:lnTo>
                    <a:lnTo>
                      <a:pt x="214" y="50"/>
                    </a:lnTo>
                    <a:lnTo>
                      <a:pt x="218" y="51"/>
                    </a:lnTo>
                    <a:lnTo>
                      <a:pt x="224" y="58"/>
                    </a:lnTo>
                    <a:lnTo>
                      <a:pt x="219" y="60"/>
                    </a:lnTo>
                    <a:lnTo>
                      <a:pt x="218" y="65"/>
                    </a:lnTo>
                    <a:lnTo>
                      <a:pt x="216" y="70"/>
                    </a:lnTo>
                    <a:lnTo>
                      <a:pt x="218" y="75"/>
                    </a:lnTo>
                    <a:lnTo>
                      <a:pt x="214" y="78"/>
                    </a:lnTo>
                    <a:lnTo>
                      <a:pt x="214" y="83"/>
                    </a:lnTo>
                    <a:lnTo>
                      <a:pt x="211" y="88"/>
                    </a:lnTo>
                    <a:lnTo>
                      <a:pt x="213" y="90"/>
                    </a:lnTo>
                    <a:lnTo>
                      <a:pt x="223" y="90"/>
                    </a:lnTo>
                    <a:lnTo>
                      <a:pt x="228" y="86"/>
                    </a:lnTo>
                    <a:lnTo>
                      <a:pt x="234" y="85"/>
                    </a:lnTo>
                    <a:lnTo>
                      <a:pt x="239" y="88"/>
                    </a:lnTo>
                    <a:lnTo>
                      <a:pt x="238" y="90"/>
                    </a:lnTo>
                    <a:lnTo>
                      <a:pt x="239" y="98"/>
                    </a:lnTo>
                    <a:lnTo>
                      <a:pt x="243" y="110"/>
                    </a:lnTo>
                    <a:lnTo>
                      <a:pt x="249" y="113"/>
                    </a:lnTo>
                    <a:lnTo>
                      <a:pt x="248" y="120"/>
                    </a:lnTo>
                    <a:lnTo>
                      <a:pt x="251" y="126"/>
                    </a:lnTo>
                    <a:lnTo>
                      <a:pt x="261" y="128"/>
                    </a:lnTo>
                    <a:lnTo>
                      <a:pt x="266" y="133"/>
                    </a:lnTo>
                    <a:lnTo>
                      <a:pt x="337" y="153"/>
                    </a:lnTo>
                    <a:lnTo>
                      <a:pt x="369" y="151"/>
                    </a:lnTo>
                    <a:lnTo>
                      <a:pt x="294" y="219"/>
                    </a:lnTo>
                    <a:lnTo>
                      <a:pt x="279" y="219"/>
                    </a:lnTo>
                    <a:lnTo>
                      <a:pt x="264" y="219"/>
                    </a:lnTo>
                    <a:lnTo>
                      <a:pt x="259" y="223"/>
                    </a:lnTo>
                    <a:lnTo>
                      <a:pt x="254" y="223"/>
                    </a:lnTo>
                    <a:lnTo>
                      <a:pt x="249" y="226"/>
                    </a:lnTo>
                    <a:lnTo>
                      <a:pt x="246" y="231"/>
                    </a:lnTo>
                    <a:lnTo>
                      <a:pt x="243" y="233"/>
                    </a:lnTo>
                    <a:lnTo>
                      <a:pt x="236" y="236"/>
                    </a:lnTo>
                    <a:lnTo>
                      <a:pt x="228" y="236"/>
                    </a:lnTo>
                    <a:lnTo>
                      <a:pt x="221" y="241"/>
                    </a:lnTo>
                    <a:lnTo>
                      <a:pt x="218" y="243"/>
                    </a:lnTo>
                    <a:lnTo>
                      <a:pt x="218" y="244"/>
                    </a:lnTo>
                    <a:lnTo>
                      <a:pt x="211" y="244"/>
                    </a:lnTo>
                    <a:lnTo>
                      <a:pt x="203" y="244"/>
                    </a:lnTo>
                    <a:lnTo>
                      <a:pt x="198" y="243"/>
                    </a:lnTo>
                    <a:lnTo>
                      <a:pt x="196" y="238"/>
                    </a:lnTo>
                    <a:lnTo>
                      <a:pt x="193" y="236"/>
                    </a:lnTo>
                    <a:lnTo>
                      <a:pt x="181" y="238"/>
                    </a:lnTo>
                    <a:lnTo>
                      <a:pt x="178" y="239"/>
                    </a:lnTo>
                    <a:lnTo>
                      <a:pt x="175" y="239"/>
                    </a:lnTo>
                    <a:lnTo>
                      <a:pt x="170" y="241"/>
                    </a:lnTo>
                    <a:lnTo>
                      <a:pt x="166" y="244"/>
                    </a:lnTo>
                    <a:lnTo>
                      <a:pt x="161" y="252"/>
                    </a:lnTo>
                    <a:lnTo>
                      <a:pt x="156" y="252"/>
                    </a:lnTo>
                    <a:lnTo>
                      <a:pt x="153" y="252"/>
                    </a:lnTo>
                    <a:lnTo>
                      <a:pt x="148" y="251"/>
                    </a:lnTo>
                    <a:lnTo>
                      <a:pt x="141" y="252"/>
                    </a:lnTo>
                    <a:lnTo>
                      <a:pt x="136" y="251"/>
                    </a:lnTo>
                    <a:lnTo>
                      <a:pt x="128" y="251"/>
                    </a:lnTo>
                    <a:lnTo>
                      <a:pt x="123" y="249"/>
                    </a:lnTo>
                    <a:lnTo>
                      <a:pt x="120" y="244"/>
                    </a:lnTo>
                    <a:lnTo>
                      <a:pt x="113" y="241"/>
                    </a:lnTo>
                    <a:lnTo>
                      <a:pt x="103" y="233"/>
                    </a:lnTo>
                    <a:lnTo>
                      <a:pt x="100" y="229"/>
                    </a:lnTo>
                    <a:lnTo>
                      <a:pt x="87" y="231"/>
                    </a:lnTo>
                    <a:lnTo>
                      <a:pt x="82" y="229"/>
                    </a:lnTo>
                    <a:lnTo>
                      <a:pt x="77" y="231"/>
                    </a:lnTo>
                    <a:lnTo>
                      <a:pt x="72" y="231"/>
                    </a:lnTo>
                    <a:lnTo>
                      <a:pt x="67" y="226"/>
                    </a:lnTo>
                    <a:lnTo>
                      <a:pt x="67" y="213"/>
                    </a:lnTo>
                    <a:lnTo>
                      <a:pt x="63" y="213"/>
                    </a:lnTo>
                    <a:lnTo>
                      <a:pt x="58" y="213"/>
                    </a:lnTo>
                    <a:lnTo>
                      <a:pt x="57" y="209"/>
                    </a:lnTo>
                    <a:lnTo>
                      <a:pt x="53" y="2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2" name="Freeform 91"/>
              <p:cNvSpPr>
                <a:spLocks/>
              </p:cNvSpPr>
              <p:nvPr/>
            </p:nvSpPr>
            <p:spPr bwMode="auto">
              <a:xfrm>
                <a:off x="6886994" y="3061159"/>
                <a:ext cx="87760" cy="67444"/>
              </a:xfrm>
              <a:custGeom>
                <a:avLst/>
                <a:gdLst/>
                <a:ahLst/>
                <a:cxnLst>
                  <a:cxn ang="0">
                    <a:pos x="140" y="122"/>
                  </a:cxn>
                  <a:cxn ang="0">
                    <a:pos x="135" y="119"/>
                  </a:cxn>
                  <a:cxn ang="0">
                    <a:pos x="130" y="109"/>
                  </a:cxn>
                  <a:cxn ang="0">
                    <a:pos x="118" y="103"/>
                  </a:cxn>
                  <a:cxn ang="0">
                    <a:pos x="112" y="96"/>
                  </a:cxn>
                  <a:cxn ang="0">
                    <a:pos x="107" y="94"/>
                  </a:cxn>
                  <a:cxn ang="0">
                    <a:pos x="97" y="91"/>
                  </a:cxn>
                  <a:cxn ang="0">
                    <a:pos x="85" y="83"/>
                  </a:cxn>
                  <a:cxn ang="0">
                    <a:pos x="75" y="78"/>
                  </a:cxn>
                  <a:cxn ang="0">
                    <a:pos x="70" y="79"/>
                  </a:cxn>
                  <a:cxn ang="0">
                    <a:pos x="58" y="74"/>
                  </a:cxn>
                  <a:cxn ang="0">
                    <a:pos x="53" y="73"/>
                  </a:cxn>
                  <a:cxn ang="0">
                    <a:pos x="45" y="78"/>
                  </a:cxn>
                  <a:cxn ang="0">
                    <a:pos x="30" y="74"/>
                  </a:cxn>
                  <a:cxn ang="0">
                    <a:pos x="27" y="71"/>
                  </a:cxn>
                  <a:cxn ang="0">
                    <a:pos x="15" y="83"/>
                  </a:cxn>
                  <a:cxn ang="0">
                    <a:pos x="9" y="86"/>
                  </a:cxn>
                  <a:cxn ang="0">
                    <a:pos x="4" y="79"/>
                  </a:cxn>
                  <a:cxn ang="0">
                    <a:pos x="2" y="64"/>
                  </a:cxn>
                  <a:cxn ang="0">
                    <a:pos x="4" y="59"/>
                  </a:cxn>
                  <a:cxn ang="0">
                    <a:pos x="10" y="43"/>
                  </a:cxn>
                  <a:cxn ang="0">
                    <a:pos x="15" y="33"/>
                  </a:cxn>
                  <a:cxn ang="0">
                    <a:pos x="10" y="29"/>
                  </a:cxn>
                  <a:cxn ang="0">
                    <a:pos x="14" y="21"/>
                  </a:cxn>
                  <a:cxn ang="0">
                    <a:pos x="22" y="20"/>
                  </a:cxn>
                  <a:cxn ang="0">
                    <a:pos x="22" y="15"/>
                  </a:cxn>
                  <a:cxn ang="0">
                    <a:pos x="27" y="11"/>
                  </a:cxn>
                  <a:cxn ang="0">
                    <a:pos x="35" y="10"/>
                  </a:cxn>
                  <a:cxn ang="0">
                    <a:pos x="42" y="6"/>
                  </a:cxn>
                  <a:cxn ang="0">
                    <a:pos x="48" y="0"/>
                  </a:cxn>
                  <a:cxn ang="0">
                    <a:pos x="55" y="5"/>
                  </a:cxn>
                  <a:cxn ang="0">
                    <a:pos x="68" y="44"/>
                  </a:cxn>
                  <a:cxn ang="0">
                    <a:pos x="70" y="51"/>
                  </a:cxn>
                  <a:cxn ang="0">
                    <a:pos x="73" y="54"/>
                  </a:cxn>
                  <a:cxn ang="0">
                    <a:pos x="77" y="66"/>
                  </a:cxn>
                  <a:cxn ang="0">
                    <a:pos x="82" y="61"/>
                  </a:cxn>
                  <a:cxn ang="0">
                    <a:pos x="80" y="56"/>
                  </a:cxn>
                  <a:cxn ang="0">
                    <a:pos x="87" y="61"/>
                  </a:cxn>
                  <a:cxn ang="0">
                    <a:pos x="90" y="68"/>
                  </a:cxn>
                  <a:cxn ang="0">
                    <a:pos x="95" y="69"/>
                  </a:cxn>
                  <a:cxn ang="0">
                    <a:pos x="100" y="69"/>
                  </a:cxn>
                  <a:cxn ang="0">
                    <a:pos x="107" y="73"/>
                  </a:cxn>
                  <a:cxn ang="0">
                    <a:pos x="116" y="78"/>
                  </a:cxn>
                  <a:cxn ang="0">
                    <a:pos x="126" y="88"/>
                  </a:cxn>
                  <a:cxn ang="0">
                    <a:pos x="135" y="96"/>
                  </a:cxn>
                  <a:cxn ang="0">
                    <a:pos x="140" y="99"/>
                  </a:cxn>
                  <a:cxn ang="0">
                    <a:pos x="141" y="99"/>
                  </a:cxn>
                  <a:cxn ang="0">
                    <a:pos x="148" y="109"/>
                  </a:cxn>
                  <a:cxn ang="0">
                    <a:pos x="151" y="114"/>
                  </a:cxn>
                  <a:cxn ang="0">
                    <a:pos x="156" y="119"/>
                  </a:cxn>
                  <a:cxn ang="0">
                    <a:pos x="160" y="119"/>
                  </a:cxn>
                  <a:cxn ang="0">
                    <a:pos x="163" y="121"/>
                  </a:cxn>
                  <a:cxn ang="0">
                    <a:pos x="155" y="126"/>
                  </a:cxn>
                  <a:cxn ang="0">
                    <a:pos x="146" y="129"/>
                  </a:cxn>
                </a:cxnLst>
                <a:rect l="0" t="0" r="r" b="b"/>
                <a:pathLst>
                  <a:path w="163" h="129">
                    <a:moveTo>
                      <a:pt x="146" y="129"/>
                    </a:moveTo>
                    <a:lnTo>
                      <a:pt x="140" y="122"/>
                    </a:lnTo>
                    <a:lnTo>
                      <a:pt x="136" y="121"/>
                    </a:lnTo>
                    <a:lnTo>
                      <a:pt x="135" y="119"/>
                    </a:lnTo>
                    <a:lnTo>
                      <a:pt x="135" y="114"/>
                    </a:lnTo>
                    <a:lnTo>
                      <a:pt x="130" y="109"/>
                    </a:lnTo>
                    <a:lnTo>
                      <a:pt x="125" y="108"/>
                    </a:lnTo>
                    <a:lnTo>
                      <a:pt x="118" y="103"/>
                    </a:lnTo>
                    <a:lnTo>
                      <a:pt x="113" y="99"/>
                    </a:lnTo>
                    <a:lnTo>
                      <a:pt x="112" y="96"/>
                    </a:lnTo>
                    <a:lnTo>
                      <a:pt x="107" y="96"/>
                    </a:lnTo>
                    <a:lnTo>
                      <a:pt x="107" y="94"/>
                    </a:lnTo>
                    <a:lnTo>
                      <a:pt x="98" y="94"/>
                    </a:lnTo>
                    <a:lnTo>
                      <a:pt x="97" y="91"/>
                    </a:lnTo>
                    <a:lnTo>
                      <a:pt x="88" y="83"/>
                    </a:lnTo>
                    <a:lnTo>
                      <a:pt x="85" y="83"/>
                    </a:lnTo>
                    <a:lnTo>
                      <a:pt x="80" y="79"/>
                    </a:lnTo>
                    <a:lnTo>
                      <a:pt x="75" y="78"/>
                    </a:lnTo>
                    <a:lnTo>
                      <a:pt x="72" y="79"/>
                    </a:lnTo>
                    <a:lnTo>
                      <a:pt x="70" y="79"/>
                    </a:lnTo>
                    <a:lnTo>
                      <a:pt x="63" y="74"/>
                    </a:lnTo>
                    <a:lnTo>
                      <a:pt x="58" y="74"/>
                    </a:lnTo>
                    <a:lnTo>
                      <a:pt x="57" y="76"/>
                    </a:lnTo>
                    <a:lnTo>
                      <a:pt x="53" y="73"/>
                    </a:lnTo>
                    <a:lnTo>
                      <a:pt x="48" y="74"/>
                    </a:lnTo>
                    <a:lnTo>
                      <a:pt x="45" y="78"/>
                    </a:lnTo>
                    <a:lnTo>
                      <a:pt x="40" y="78"/>
                    </a:lnTo>
                    <a:lnTo>
                      <a:pt x="30" y="74"/>
                    </a:lnTo>
                    <a:lnTo>
                      <a:pt x="28" y="73"/>
                    </a:lnTo>
                    <a:lnTo>
                      <a:pt x="27" y="71"/>
                    </a:lnTo>
                    <a:lnTo>
                      <a:pt x="20" y="83"/>
                    </a:lnTo>
                    <a:lnTo>
                      <a:pt x="15" y="83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5" y="84"/>
                    </a:lnTo>
                    <a:lnTo>
                      <a:pt x="4" y="79"/>
                    </a:lnTo>
                    <a:lnTo>
                      <a:pt x="0" y="69"/>
                    </a:lnTo>
                    <a:lnTo>
                      <a:pt x="2" y="64"/>
                    </a:lnTo>
                    <a:lnTo>
                      <a:pt x="4" y="63"/>
                    </a:lnTo>
                    <a:lnTo>
                      <a:pt x="4" y="59"/>
                    </a:lnTo>
                    <a:lnTo>
                      <a:pt x="9" y="53"/>
                    </a:lnTo>
                    <a:lnTo>
                      <a:pt x="10" y="43"/>
                    </a:lnTo>
                    <a:lnTo>
                      <a:pt x="12" y="36"/>
                    </a:lnTo>
                    <a:lnTo>
                      <a:pt x="15" y="33"/>
                    </a:lnTo>
                    <a:lnTo>
                      <a:pt x="14" y="31"/>
                    </a:lnTo>
                    <a:lnTo>
                      <a:pt x="10" y="29"/>
                    </a:lnTo>
                    <a:lnTo>
                      <a:pt x="14" y="24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22" y="20"/>
                    </a:lnTo>
                    <a:lnTo>
                      <a:pt x="23" y="16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27" y="11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6"/>
                    </a:lnTo>
                    <a:lnTo>
                      <a:pt x="42" y="6"/>
                    </a:lnTo>
                    <a:lnTo>
                      <a:pt x="45" y="5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55" y="5"/>
                    </a:lnTo>
                    <a:lnTo>
                      <a:pt x="65" y="2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70" y="51"/>
                    </a:lnTo>
                    <a:lnTo>
                      <a:pt x="70" y="53"/>
                    </a:lnTo>
                    <a:lnTo>
                      <a:pt x="73" y="54"/>
                    </a:lnTo>
                    <a:lnTo>
                      <a:pt x="77" y="59"/>
                    </a:lnTo>
                    <a:lnTo>
                      <a:pt x="77" y="66"/>
                    </a:lnTo>
                    <a:lnTo>
                      <a:pt x="82" y="66"/>
                    </a:lnTo>
                    <a:lnTo>
                      <a:pt x="82" y="61"/>
                    </a:lnTo>
                    <a:lnTo>
                      <a:pt x="80" y="61"/>
                    </a:lnTo>
                    <a:lnTo>
                      <a:pt x="80" y="56"/>
                    </a:lnTo>
                    <a:lnTo>
                      <a:pt x="82" y="56"/>
                    </a:lnTo>
                    <a:lnTo>
                      <a:pt x="87" y="61"/>
                    </a:lnTo>
                    <a:lnTo>
                      <a:pt x="85" y="63"/>
                    </a:lnTo>
                    <a:lnTo>
                      <a:pt x="90" y="68"/>
                    </a:lnTo>
                    <a:lnTo>
                      <a:pt x="92" y="71"/>
                    </a:lnTo>
                    <a:lnTo>
                      <a:pt x="95" y="69"/>
                    </a:lnTo>
                    <a:lnTo>
                      <a:pt x="98" y="69"/>
                    </a:lnTo>
                    <a:lnTo>
                      <a:pt x="100" y="69"/>
                    </a:lnTo>
                    <a:lnTo>
                      <a:pt x="103" y="69"/>
                    </a:lnTo>
                    <a:lnTo>
                      <a:pt x="107" y="73"/>
                    </a:lnTo>
                    <a:lnTo>
                      <a:pt x="110" y="76"/>
                    </a:lnTo>
                    <a:lnTo>
                      <a:pt x="116" y="78"/>
                    </a:lnTo>
                    <a:lnTo>
                      <a:pt x="118" y="79"/>
                    </a:lnTo>
                    <a:lnTo>
                      <a:pt x="126" y="88"/>
                    </a:lnTo>
                    <a:lnTo>
                      <a:pt x="130" y="93"/>
                    </a:lnTo>
                    <a:lnTo>
                      <a:pt x="135" y="96"/>
                    </a:lnTo>
                    <a:lnTo>
                      <a:pt x="138" y="99"/>
                    </a:lnTo>
                    <a:lnTo>
                      <a:pt x="140" y="99"/>
                    </a:lnTo>
                    <a:lnTo>
                      <a:pt x="140" y="98"/>
                    </a:lnTo>
                    <a:lnTo>
                      <a:pt x="141" y="99"/>
                    </a:lnTo>
                    <a:lnTo>
                      <a:pt x="146" y="109"/>
                    </a:lnTo>
                    <a:lnTo>
                      <a:pt x="148" y="109"/>
                    </a:lnTo>
                    <a:lnTo>
                      <a:pt x="151" y="114"/>
                    </a:lnTo>
                    <a:lnTo>
                      <a:pt x="151" y="114"/>
                    </a:lnTo>
                    <a:lnTo>
                      <a:pt x="153" y="119"/>
                    </a:lnTo>
                    <a:lnTo>
                      <a:pt x="156" y="119"/>
                    </a:lnTo>
                    <a:lnTo>
                      <a:pt x="158" y="121"/>
                    </a:lnTo>
                    <a:lnTo>
                      <a:pt x="160" y="119"/>
                    </a:lnTo>
                    <a:lnTo>
                      <a:pt x="161" y="121"/>
                    </a:lnTo>
                    <a:lnTo>
                      <a:pt x="163" y="121"/>
                    </a:lnTo>
                    <a:lnTo>
                      <a:pt x="158" y="126"/>
                    </a:lnTo>
                    <a:lnTo>
                      <a:pt x="155" y="126"/>
                    </a:lnTo>
                    <a:lnTo>
                      <a:pt x="151" y="127"/>
                    </a:lnTo>
                    <a:lnTo>
                      <a:pt x="146" y="1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3" name="Freeform 92"/>
              <p:cNvSpPr>
                <a:spLocks/>
              </p:cNvSpPr>
              <p:nvPr/>
            </p:nvSpPr>
            <p:spPr bwMode="auto">
              <a:xfrm>
                <a:off x="6958701" y="3123414"/>
                <a:ext cx="19264" cy="20752"/>
              </a:xfrm>
              <a:custGeom>
                <a:avLst/>
                <a:gdLst/>
                <a:ahLst/>
                <a:cxnLst>
                  <a:cxn ang="0">
                    <a:pos x="28" y="38"/>
                  </a:cxn>
                  <a:cxn ang="0">
                    <a:pos x="23" y="35"/>
                  </a:cxn>
                  <a:cxn ang="0">
                    <a:pos x="17" y="36"/>
                  </a:cxn>
                  <a:cxn ang="0">
                    <a:pos x="12" y="40"/>
                  </a:cxn>
                  <a:cxn ang="0">
                    <a:pos x="2" y="40"/>
                  </a:cxn>
                  <a:cxn ang="0">
                    <a:pos x="0" y="38"/>
                  </a:cxn>
                  <a:cxn ang="0">
                    <a:pos x="3" y="33"/>
                  </a:cxn>
                  <a:cxn ang="0">
                    <a:pos x="3" y="28"/>
                  </a:cxn>
                  <a:cxn ang="0">
                    <a:pos x="7" y="25"/>
                  </a:cxn>
                  <a:cxn ang="0">
                    <a:pos x="5" y="20"/>
                  </a:cxn>
                  <a:cxn ang="0">
                    <a:pos x="7" y="15"/>
                  </a:cxn>
                  <a:cxn ang="0">
                    <a:pos x="8" y="10"/>
                  </a:cxn>
                  <a:cxn ang="0">
                    <a:pos x="18" y="6"/>
                  </a:cxn>
                  <a:cxn ang="0">
                    <a:pos x="22" y="5"/>
                  </a:cxn>
                  <a:cxn ang="0">
                    <a:pos x="25" y="5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30" y="1"/>
                  </a:cxn>
                  <a:cxn ang="0">
                    <a:pos x="35" y="6"/>
                  </a:cxn>
                  <a:cxn ang="0">
                    <a:pos x="37" y="6"/>
                  </a:cxn>
                  <a:cxn ang="0">
                    <a:pos x="37" y="8"/>
                  </a:cxn>
                  <a:cxn ang="0">
                    <a:pos x="37" y="15"/>
                  </a:cxn>
                  <a:cxn ang="0">
                    <a:pos x="35" y="16"/>
                  </a:cxn>
                  <a:cxn ang="0">
                    <a:pos x="30" y="21"/>
                  </a:cxn>
                  <a:cxn ang="0">
                    <a:pos x="27" y="21"/>
                  </a:cxn>
                  <a:cxn ang="0">
                    <a:pos x="23" y="25"/>
                  </a:cxn>
                  <a:cxn ang="0">
                    <a:pos x="18" y="25"/>
                  </a:cxn>
                  <a:cxn ang="0">
                    <a:pos x="22" y="26"/>
                  </a:cxn>
                  <a:cxn ang="0">
                    <a:pos x="23" y="28"/>
                  </a:cxn>
                  <a:cxn ang="0">
                    <a:pos x="27" y="26"/>
                  </a:cxn>
                  <a:cxn ang="0">
                    <a:pos x="33" y="26"/>
                  </a:cxn>
                  <a:cxn ang="0">
                    <a:pos x="33" y="28"/>
                  </a:cxn>
                  <a:cxn ang="0">
                    <a:pos x="28" y="36"/>
                  </a:cxn>
                  <a:cxn ang="0">
                    <a:pos x="28" y="38"/>
                  </a:cxn>
                </a:cxnLst>
                <a:rect l="0" t="0" r="r" b="b"/>
                <a:pathLst>
                  <a:path w="37" h="40">
                    <a:moveTo>
                      <a:pt x="28" y="38"/>
                    </a:moveTo>
                    <a:lnTo>
                      <a:pt x="23" y="35"/>
                    </a:lnTo>
                    <a:lnTo>
                      <a:pt x="17" y="36"/>
                    </a:lnTo>
                    <a:lnTo>
                      <a:pt x="1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3" y="33"/>
                    </a:lnTo>
                    <a:lnTo>
                      <a:pt x="3" y="28"/>
                    </a:lnTo>
                    <a:lnTo>
                      <a:pt x="7" y="25"/>
                    </a:lnTo>
                    <a:lnTo>
                      <a:pt x="5" y="20"/>
                    </a:lnTo>
                    <a:lnTo>
                      <a:pt x="7" y="15"/>
                    </a:lnTo>
                    <a:lnTo>
                      <a:pt x="8" y="10"/>
                    </a:lnTo>
                    <a:lnTo>
                      <a:pt x="18" y="6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1"/>
                    </a:lnTo>
                    <a:lnTo>
                      <a:pt x="35" y="6"/>
                    </a:lnTo>
                    <a:lnTo>
                      <a:pt x="37" y="6"/>
                    </a:lnTo>
                    <a:lnTo>
                      <a:pt x="37" y="8"/>
                    </a:lnTo>
                    <a:lnTo>
                      <a:pt x="37" y="15"/>
                    </a:lnTo>
                    <a:lnTo>
                      <a:pt x="35" y="16"/>
                    </a:lnTo>
                    <a:lnTo>
                      <a:pt x="30" y="21"/>
                    </a:lnTo>
                    <a:lnTo>
                      <a:pt x="27" y="21"/>
                    </a:lnTo>
                    <a:lnTo>
                      <a:pt x="23" y="25"/>
                    </a:lnTo>
                    <a:lnTo>
                      <a:pt x="18" y="25"/>
                    </a:lnTo>
                    <a:lnTo>
                      <a:pt x="22" y="26"/>
                    </a:lnTo>
                    <a:lnTo>
                      <a:pt x="23" y="28"/>
                    </a:lnTo>
                    <a:lnTo>
                      <a:pt x="27" y="26"/>
                    </a:lnTo>
                    <a:lnTo>
                      <a:pt x="33" y="26"/>
                    </a:lnTo>
                    <a:lnTo>
                      <a:pt x="33" y="28"/>
                    </a:lnTo>
                    <a:lnTo>
                      <a:pt x="28" y="36"/>
                    </a:lnTo>
                    <a:lnTo>
                      <a:pt x="28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4" name="Freeform 93"/>
              <p:cNvSpPr>
                <a:spLocks/>
              </p:cNvSpPr>
              <p:nvPr/>
            </p:nvSpPr>
            <p:spPr bwMode="auto">
              <a:xfrm>
                <a:off x="6949068" y="3132753"/>
                <a:ext cx="133781" cy="153563"/>
              </a:xfrm>
              <a:custGeom>
                <a:avLst/>
                <a:gdLst/>
                <a:ahLst/>
                <a:cxnLst>
                  <a:cxn ang="0">
                    <a:pos x="27" y="175"/>
                  </a:cxn>
                  <a:cxn ang="0">
                    <a:pos x="49" y="167"/>
                  </a:cxn>
                  <a:cxn ang="0">
                    <a:pos x="60" y="157"/>
                  </a:cxn>
                  <a:cxn ang="0">
                    <a:pos x="85" y="153"/>
                  </a:cxn>
                  <a:cxn ang="0">
                    <a:pos x="143" y="87"/>
                  </a:cxn>
                  <a:cxn ang="0">
                    <a:pos x="57" y="60"/>
                  </a:cxn>
                  <a:cxn ang="0">
                    <a:pos x="49" y="44"/>
                  </a:cxn>
                  <a:cxn ang="0">
                    <a:pos x="45" y="20"/>
                  </a:cxn>
                  <a:cxn ang="0">
                    <a:pos x="54" y="14"/>
                  </a:cxn>
                  <a:cxn ang="0">
                    <a:pos x="74" y="32"/>
                  </a:cxn>
                  <a:cxn ang="0">
                    <a:pos x="92" y="39"/>
                  </a:cxn>
                  <a:cxn ang="0">
                    <a:pos x="103" y="32"/>
                  </a:cxn>
                  <a:cxn ang="0">
                    <a:pos x="117" y="27"/>
                  </a:cxn>
                  <a:cxn ang="0">
                    <a:pos x="130" y="29"/>
                  </a:cxn>
                  <a:cxn ang="0">
                    <a:pos x="157" y="19"/>
                  </a:cxn>
                  <a:cxn ang="0">
                    <a:pos x="172" y="20"/>
                  </a:cxn>
                  <a:cxn ang="0">
                    <a:pos x="188" y="17"/>
                  </a:cxn>
                  <a:cxn ang="0">
                    <a:pos x="206" y="12"/>
                  </a:cxn>
                  <a:cxn ang="0">
                    <a:pos x="216" y="12"/>
                  </a:cxn>
                  <a:cxn ang="0">
                    <a:pos x="230" y="7"/>
                  </a:cxn>
                  <a:cxn ang="0">
                    <a:pos x="233" y="0"/>
                  </a:cxn>
                  <a:cxn ang="0">
                    <a:pos x="238" y="2"/>
                  </a:cxn>
                  <a:cxn ang="0">
                    <a:pos x="248" y="4"/>
                  </a:cxn>
                  <a:cxn ang="0">
                    <a:pos x="245" y="15"/>
                  </a:cxn>
                  <a:cxn ang="0">
                    <a:pos x="246" y="19"/>
                  </a:cxn>
                  <a:cxn ang="0">
                    <a:pos x="243" y="27"/>
                  </a:cxn>
                  <a:cxn ang="0">
                    <a:pos x="243" y="37"/>
                  </a:cxn>
                  <a:cxn ang="0">
                    <a:pos x="248" y="35"/>
                  </a:cxn>
                  <a:cxn ang="0">
                    <a:pos x="248" y="39"/>
                  </a:cxn>
                  <a:cxn ang="0">
                    <a:pos x="238" y="44"/>
                  </a:cxn>
                  <a:cxn ang="0">
                    <a:pos x="238" y="54"/>
                  </a:cxn>
                  <a:cxn ang="0">
                    <a:pos x="225" y="82"/>
                  </a:cxn>
                  <a:cxn ang="0">
                    <a:pos x="213" y="90"/>
                  </a:cxn>
                  <a:cxn ang="0">
                    <a:pos x="213" y="98"/>
                  </a:cxn>
                  <a:cxn ang="0">
                    <a:pos x="190" y="140"/>
                  </a:cxn>
                  <a:cxn ang="0">
                    <a:pos x="172" y="168"/>
                  </a:cxn>
                  <a:cxn ang="0">
                    <a:pos x="123" y="211"/>
                  </a:cxn>
                  <a:cxn ang="0">
                    <a:pos x="97" y="226"/>
                  </a:cxn>
                  <a:cxn ang="0">
                    <a:pos x="69" y="248"/>
                  </a:cxn>
                  <a:cxn ang="0">
                    <a:pos x="50" y="266"/>
                  </a:cxn>
                  <a:cxn ang="0">
                    <a:pos x="39" y="276"/>
                  </a:cxn>
                  <a:cxn ang="0">
                    <a:pos x="0" y="283"/>
                  </a:cxn>
                  <a:cxn ang="0">
                    <a:pos x="24" y="178"/>
                  </a:cxn>
                </a:cxnLst>
                <a:rect l="0" t="0" r="r" b="b"/>
                <a:pathLst>
                  <a:path w="250" h="298">
                    <a:moveTo>
                      <a:pt x="24" y="178"/>
                    </a:moveTo>
                    <a:lnTo>
                      <a:pt x="24" y="177"/>
                    </a:lnTo>
                    <a:lnTo>
                      <a:pt x="27" y="175"/>
                    </a:lnTo>
                    <a:lnTo>
                      <a:pt x="34" y="170"/>
                    </a:lnTo>
                    <a:lnTo>
                      <a:pt x="42" y="170"/>
                    </a:lnTo>
                    <a:lnTo>
                      <a:pt x="49" y="167"/>
                    </a:lnTo>
                    <a:lnTo>
                      <a:pt x="52" y="165"/>
                    </a:lnTo>
                    <a:lnTo>
                      <a:pt x="55" y="160"/>
                    </a:lnTo>
                    <a:lnTo>
                      <a:pt x="60" y="157"/>
                    </a:lnTo>
                    <a:lnTo>
                      <a:pt x="65" y="157"/>
                    </a:lnTo>
                    <a:lnTo>
                      <a:pt x="70" y="153"/>
                    </a:lnTo>
                    <a:lnTo>
                      <a:pt x="85" y="153"/>
                    </a:lnTo>
                    <a:lnTo>
                      <a:pt x="100" y="153"/>
                    </a:lnTo>
                    <a:lnTo>
                      <a:pt x="175" y="85"/>
                    </a:lnTo>
                    <a:lnTo>
                      <a:pt x="143" y="87"/>
                    </a:lnTo>
                    <a:lnTo>
                      <a:pt x="72" y="67"/>
                    </a:lnTo>
                    <a:lnTo>
                      <a:pt x="67" y="62"/>
                    </a:lnTo>
                    <a:lnTo>
                      <a:pt x="57" y="60"/>
                    </a:lnTo>
                    <a:lnTo>
                      <a:pt x="54" y="54"/>
                    </a:lnTo>
                    <a:lnTo>
                      <a:pt x="55" y="47"/>
                    </a:lnTo>
                    <a:lnTo>
                      <a:pt x="49" y="44"/>
                    </a:lnTo>
                    <a:lnTo>
                      <a:pt x="45" y="32"/>
                    </a:lnTo>
                    <a:lnTo>
                      <a:pt x="44" y="24"/>
                    </a:lnTo>
                    <a:lnTo>
                      <a:pt x="45" y="20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69" y="29"/>
                    </a:lnTo>
                    <a:lnTo>
                      <a:pt x="70" y="32"/>
                    </a:lnTo>
                    <a:lnTo>
                      <a:pt x="74" y="32"/>
                    </a:lnTo>
                    <a:lnTo>
                      <a:pt x="79" y="37"/>
                    </a:lnTo>
                    <a:lnTo>
                      <a:pt x="85" y="39"/>
                    </a:lnTo>
                    <a:lnTo>
                      <a:pt x="92" y="39"/>
                    </a:lnTo>
                    <a:lnTo>
                      <a:pt x="94" y="35"/>
                    </a:lnTo>
                    <a:lnTo>
                      <a:pt x="100" y="32"/>
                    </a:lnTo>
                    <a:lnTo>
                      <a:pt x="103" y="32"/>
                    </a:lnTo>
                    <a:lnTo>
                      <a:pt x="112" y="27"/>
                    </a:lnTo>
                    <a:lnTo>
                      <a:pt x="115" y="27"/>
                    </a:lnTo>
                    <a:lnTo>
                      <a:pt x="117" y="27"/>
                    </a:lnTo>
                    <a:lnTo>
                      <a:pt x="123" y="27"/>
                    </a:lnTo>
                    <a:lnTo>
                      <a:pt x="125" y="27"/>
                    </a:lnTo>
                    <a:lnTo>
                      <a:pt x="130" y="29"/>
                    </a:lnTo>
                    <a:lnTo>
                      <a:pt x="137" y="29"/>
                    </a:lnTo>
                    <a:lnTo>
                      <a:pt x="152" y="20"/>
                    </a:lnTo>
                    <a:lnTo>
                      <a:pt x="157" y="19"/>
                    </a:lnTo>
                    <a:lnTo>
                      <a:pt x="162" y="20"/>
                    </a:lnTo>
                    <a:lnTo>
                      <a:pt x="165" y="20"/>
                    </a:lnTo>
                    <a:lnTo>
                      <a:pt x="172" y="20"/>
                    </a:lnTo>
                    <a:lnTo>
                      <a:pt x="178" y="17"/>
                    </a:lnTo>
                    <a:lnTo>
                      <a:pt x="185" y="17"/>
                    </a:lnTo>
                    <a:lnTo>
                      <a:pt x="188" y="17"/>
                    </a:lnTo>
                    <a:lnTo>
                      <a:pt x="190" y="17"/>
                    </a:lnTo>
                    <a:lnTo>
                      <a:pt x="201" y="15"/>
                    </a:lnTo>
                    <a:lnTo>
                      <a:pt x="206" y="12"/>
                    </a:lnTo>
                    <a:lnTo>
                      <a:pt x="213" y="12"/>
                    </a:lnTo>
                    <a:lnTo>
                      <a:pt x="216" y="14"/>
                    </a:lnTo>
                    <a:lnTo>
                      <a:pt x="216" y="12"/>
                    </a:lnTo>
                    <a:lnTo>
                      <a:pt x="225" y="10"/>
                    </a:lnTo>
                    <a:lnTo>
                      <a:pt x="228" y="7"/>
                    </a:lnTo>
                    <a:lnTo>
                      <a:pt x="230" y="7"/>
                    </a:lnTo>
                    <a:lnTo>
                      <a:pt x="231" y="4"/>
                    </a:lnTo>
                    <a:lnTo>
                      <a:pt x="230" y="4"/>
                    </a:lnTo>
                    <a:lnTo>
                      <a:pt x="233" y="0"/>
                    </a:lnTo>
                    <a:lnTo>
                      <a:pt x="235" y="0"/>
                    </a:lnTo>
                    <a:lnTo>
                      <a:pt x="235" y="0"/>
                    </a:lnTo>
                    <a:lnTo>
                      <a:pt x="238" y="2"/>
                    </a:lnTo>
                    <a:lnTo>
                      <a:pt x="245" y="4"/>
                    </a:lnTo>
                    <a:lnTo>
                      <a:pt x="246" y="4"/>
                    </a:lnTo>
                    <a:lnTo>
                      <a:pt x="248" y="4"/>
                    </a:lnTo>
                    <a:lnTo>
                      <a:pt x="246" y="7"/>
                    </a:lnTo>
                    <a:lnTo>
                      <a:pt x="245" y="12"/>
                    </a:lnTo>
                    <a:lnTo>
                      <a:pt x="245" y="15"/>
                    </a:lnTo>
                    <a:lnTo>
                      <a:pt x="243" y="17"/>
                    </a:lnTo>
                    <a:lnTo>
                      <a:pt x="243" y="19"/>
                    </a:lnTo>
                    <a:lnTo>
                      <a:pt x="246" y="19"/>
                    </a:lnTo>
                    <a:lnTo>
                      <a:pt x="246" y="20"/>
                    </a:lnTo>
                    <a:lnTo>
                      <a:pt x="245" y="22"/>
                    </a:lnTo>
                    <a:lnTo>
                      <a:pt x="243" y="27"/>
                    </a:lnTo>
                    <a:lnTo>
                      <a:pt x="245" y="29"/>
                    </a:lnTo>
                    <a:lnTo>
                      <a:pt x="245" y="34"/>
                    </a:lnTo>
                    <a:lnTo>
                      <a:pt x="243" y="37"/>
                    </a:lnTo>
                    <a:lnTo>
                      <a:pt x="246" y="37"/>
                    </a:lnTo>
                    <a:lnTo>
                      <a:pt x="246" y="35"/>
                    </a:lnTo>
                    <a:lnTo>
                      <a:pt x="248" y="35"/>
                    </a:lnTo>
                    <a:lnTo>
                      <a:pt x="250" y="39"/>
                    </a:lnTo>
                    <a:lnTo>
                      <a:pt x="248" y="39"/>
                    </a:lnTo>
                    <a:lnTo>
                      <a:pt x="248" y="39"/>
                    </a:lnTo>
                    <a:lnTo>
                      <a:pt x="245" y="39"/>
                    </a:lnTo>
                    <a:lnTo>
                      <a:pt x="241" y="39"/>
                    </a:lnTo>
                    <a:lnTo>
                      <a:pt x="238" y="44"/>
                    </a:lnTo>
                    <a:lnTo>
                      <a:pt x="240" y="47"/>
                    </a:lnTo>
                    <a:lnTo>
                      <a:pt x="240" y="52"/>
                    </a:lnTo>
                    <a:lnTo>
                      <a:pt x="238" y="54"/>
                    </a:lnTo>
                    <a:lnTo>
                      <a:pt x="238" y="60"/>
                    </a:lnTo>
                    <a:lnTo>
                      <a:pt x="230" y="70"/>
                    </a:lnTo>
                    <a:lnTo>
                      <a:pt x="225" y="82"/>
                    </a:lnTo>
                    <a:lnTo>
                      <a:pt x="221" y="85"/>
                    </a:lnTo>
                    <a:lnTo>
                      <a:pt x="218" y="85"/>
                    </a:lnTo>
                    <a:lnTo>
                      <a:pt x="213" y="90"/>
                    </a:lnTo>
                    <a:lnTo>
                      <a:pt x="213" y="93"/>
                    </a:lnTo>
                    <a:lnTo>
                      <a:pt x="215" y="97"/>
                    </a:lnTo>
                    <a:lnTo>
                      <a:pt x="213" y="98"/>
                    </a:lnTo>
                    <a:lnTo>
                      <a:pt x="198" y="122"/>
                    </a:lnTo>
                    <a:lnTo>
                      <a:pt x="198" y="128"/>
                    </a:lnTo>
                    <a:lnTo>
                      <a:pt x="190" y="140"/>
                    </a:lnTo>
                    <a:lnTo>
                      <a:pt x="188" y="143"/>
                    </a:lnTo>
                    <a:lnTo>
                      <a:pt x="172" y="163"/>
                    </a:lnTo>
                    <a:lnTo>
                      <a:pt x="172" y="168"/>
                    </a:lnTo>
                    <a:lnTo>
                      <a:pt x="163" y="175"/>
                    </a:lnTo>
                    <a:lnTo>
                      <a:pt x="150" y="190"/>
                    </a:lnTo>
                    <a:lnTo>
                      <a:pt x="123" y="211"/>
                    </a:lnTo>
                    <a:lnTo>
                      <a:pt x="112" y="220"/>
                    </a:lnTo>
                    <a:lnTo>
                      <a:pt x="103" y="221"/>
                    </a:lnTo>
                    <a:lnTo>
                      <a:pt x="97" y="226"/>
                    </a:lnTo>
                    <a:lnTo>
                      <a:pt x="89" y="231"/>
                    </a:lnTo>
                    <a:lnTo>
                      <a:pt x="72" y="248"/>
                    </a:lnTo>
                    <a:lnTo>
                      <a:pt x="69" y="248"/>
                    </a:lnTo>
                    <a:lnTo>
                      <a:pt x="55" y="261"/>
                    </a:lnTo>
                    <a:lnTo>
                      <a:pt x="52" y="263"/>
                    </a:lnTo>
                    <a:lnTo>
                      <a:pt x="50" y="266"/>
                    </a:lnTo>
                    <a:lnTo>
                      <a:pt x="45" y="268"/>
                    </a:lnTo>
                    <a:lnTo>
                      <a:pt x="40" y="271"/>
                    </a:lnTo>
                    <a:lnTo>
                      <a:pt x="39" y="276"/>
                    </a:lnTo>
                    <a:lnTo>
                      <a:pt x="19" y="296"/>
                    </a:lnTo>
                    <a:lnTo>
                      <a:pt x="19" y="298"/>
                    </a:lnTo>
                    <a:lnTo>
                      <a:pt x="0" y="283"/>
                    </a:lnTo>
                    <a:lnTo>
                      <a:pt x="2" y="196"/>
                    </a:lnTo>
                    <a:lnTo>
                      <a:pt x="24" y="178"/>
                    </a:lnTo>
                    <a:lnTo>
                      <a:pt x="24" y="1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5" name="Freeform 97"/>
              <p:cNvSpPr>
                <a:spLocks noEditPoints="1"/>
              </p:cNvSpPr>
              <p:nvPr/>
            </p:nvSpPr>
            <p:spPr bwMode="auto">
              <a:xfrm>
                <a:off x="6825990" y="3206421"/>
                <a:ext cx="135921" cy="115173"/>
              </a:xfrm>
              <a:custGeom>
                <a:avLst/>
                <a:gdLst/>
                <a:ahLst/>
                <a:cxnLst>
                  <a:cxn ang="0">
                    <a:pos x="64" y="25"/>
                  </a:cxn>
                  <a:cxn ang="0">
                    <a:pos x="69" y="22"/>
                  </a:cxn>
                  <a:cxn ang="0">
                    <a:pos x="76" y="19"/>
                  </a:cxn>
                  <a:cxn ang="0">
                    <a:pos x="93" y="0"/>
                  </a:cxn>
                  <a:cxn ang="0">
                    <a:pos x="99" y="4"/>
                  </a:cxn>
                  <a:cxn ang="0">
                    <a:pos x="103" y="17"/>
                  </a:cxn>
                  <a:cxn ang="0">
                    <a:pos x="113" y="22"/>
                  </a:cxn>
                  <a:cxn ang="0">
                    <a:pos x="123" y="22"/>
                  </a:cxn>
                  <a:cxn ang="0">
                    <a:pos x="139" y="24"/>
                  </a:cxn>
                  <a:cxn ang="0">
                    <a:pos x="156" y="35"/>
                  </a:cxn>
                  <a:cxn ang="0">
                    <a:pos x="164" y="42"/>
                  </a:cxn>
                  <a:cxn ang="0">
                    <a:pos x="177" y="43"/>
                  </a:cxn>
                  <a:cxn ang="0">
                    <a:pos x="189" y="43"/>
                  </a:cxn>
                  <a:cxn ang="0">
                    <a:pos x="197" y="43"/>
                  </a:cxn>
                  <a:cxn ang="0">
                    <a:pos x="206" y="32"/>
                  </a:cxn>
                  <a:cxn ang="0">
                    <a:pos x="214" y="30"/>
                  </a:cxn>
                  <a:cxn ang="0">
                    <a:pos x="229" y="27"/>
                  </a:cxn>
                  <a:cxn ang="0">
                    <a:pos x="234" y="34"/>
                  </a:cxn>
                  <a:cxn ang="0">
                    <a:pos x="247" y="35"/>
                  </a:cxn>
                  <a:cxn ang="0">
                    <a:pos x="232" y="53"/>
                  </a:cxn>
                  <a:cxn ang="0">
                    <a:pos x="249" y="155"/>
                  </a:cxn>
                  <a:cxn ang="0">
                    <a:pos x="240" y="165"/>
                  </a:cxn>
                  <a:cxn ang="0">
                    <a:pos x="235" y="168"/>
                  </a:cxn>
                  <a:cxn ang="0">
                    <a:pos x="229" y="173"/>
                  </a:cxn>
                  <a:cxn ang="0">
                    <a:pos x="217" y="178"/>
                  </a:cxn>
                  <a:cxn ang="0">
                    <a:pos x="214" y="181"/>
                  </a:cxn>
                  <a:cxn ang="0">
                    <a:pos x="209" y="186"/>
                  </a:cxn>
                  <a:cxn ang="0">
                    <a:pos x="207" y="193"/>
                  </a:cxn>
                  <a:cxn ang="0">
                    <a:pos x="204" y="203"/>
                  </a:cxn>
                  <a:cxn ang="0">
                    <a:pos x="191" y="221"/>
                  </a:cxn>
                  <a:cxn ang="0">
                    <a:pos x="184" y="223"/>
                  </a:cxn>
                  <a:cxn ang="0">
                    <a:pos x="151" y="201"/>
                  </a:cxn>
                  <a:cxn ang="0">
                    <a:pos x="152" y="196"/>
                  </a:cxn>
                  <a:cxn ang="0">
                    <a:pos x="58" y="143"/>
                  </a:cxn>
                  <a:cxn ang="0">
                    <a:pos x="58" y="122"/>
                  </a:cxn>
                  <a:cxn ang="0">
                    <a:pos x="63" y="112"/>
                  </a:cxn>
                  <a:cxn ang="0">
                    <a:pos x="69" y="103"/>
                  </a:cxn>
                  <a:cxn ang="0">
                    <a:pos x="74" y="97"/>
                  </a:cxn>
                  <a:cxn ang="0">
                    <a:pos x="83" y="95"/>
                  </a:cxn>
                  <a:cxn ang="0">
                    <a:pos x="84" y="87"/>
                  </a:cxn>
                  <a:cxn ang="0">
                    <a:pos x="91" y="77"/>
                  </a:cxn>
                  <a:cxn ang="0">
                    <a:pos x="86" y="68"/>
                  </a:cxn>
                  <a:cxn ang="0">
                    <a:pos x="84" y="63"/>
                  </a:cxn>
                  <a:cxn ang="0">
                    <a:pos x="79" y="57"/>
                  </a:cxn>
                  <a:cxn ang="0">
                    <a:pos x="73" y="47"/>
                  </a:cxn>
                  <a:cxn ang="0">
                    <a:pos x="68" y="42"/>
                  </a:cxn>
                  <a:cxn ang="0">
                    <a:pos x="66" y="37"/>
                  </a:cxn>
                  <a:cxn ang="0">
                    <a:pos x="63" y="29"/>
                  </a:cxn>
                  <a:cxn ang="0">
                    <a:pos x="63" y="29"/>
                  </a:cxn>
                  <a:cxn ang="0">
                    <a:pos x="0" y="145"/>
                  </a:cxn>
                  <a:cxn ang="0">
                    <a:pos x="18" y="145"/>
                  </a:cxn>
                  <a:cxn ang="0">
                    <a:pos x="0" y="145"/>
                  </a:cxn>
                </a:cxnLst>
                <a:rect l="0" t="0" r="r" b="b"/>
                <a:pathLst>
                  <a:path w="254" h="223">
                    <a:moveTo>
                      <a:pt x="63" y="29"/>
                    </a:moveTo>
                    <a:lnTo>
                      <a:pt x="64" y="25"/>
                    </a:lnTo>
                    <a:lnTo>
                      <a:pt x="66" y="24"/>
                    </a:lnTo>
                    <a:lnTo>
                      <a:pt x="69" y="22"/>
                    </a:lnTo>
                    <a:lnTo>
                      <a:pt x="74" y="17"/>
                    </a:lnTo>
                    <a:lnTo>
                      <a:pt x="76" y="19"/>
                    </a:lnTo>
                    <a:lnTo>
                      <a:pt x="83" y="10"/>
                    </a:lnTo>
                    <a:lnTo>
                      <a:pt x="93" y="0"/>
                    </a:lnTo>
                    <a:lnTo>
                      <a:pt x="94" y="4"/>
                    </a:lnTo>
                    <a:lnTo>
                      <a:pt x="99" y="4"/>
                    </a:lnTo>
                    <a:lnTo>
                      <a:pt x="103" y="4"/>
                    </a:lnTo>
                    <a:lnTo>
                      <a:pt x="103" y="17"/>
                    </a:lnTo>
                    <a:lnTo>
                      <a:pt x="108" y="22"/>
                    </a:lnTo>
                    <a:lnTo>
                      <a:pt x="113" y="22"/>
                    </a:lnTo>
                    <a:lnTo>
                      <a:pt x="118" y="20"/>
                    </a:lnTo>
                    <a:lnTo>
                      <a:pt x="123" y="22"/>
                    </a:lnTo>
                    <a:lnTo>
                      <a:pt x="136" y="20"/>
                    </a:lnTo>
                    <a:lnTo>
                      <a:pt x="139" y="24"/>
                    </a:lnTo>
                    <a:lnTo>
                      <a:pt x="149" y="32"/>
                    </a:lnTo>
                    <a:lnTo>
                      <a:pt x="156" y="35"/>
                    </a:lnTo>
                    <a:lnTo>
                      <a:pt x="159" y="40"/>
                    </a:lnTo>
                    <a:lnTo>
                      <a:pt x="164" y="42"/>
                    </a:lnTo>
                    <a:lnTo>
                      <a:pt x="172" y="42"/>
                    </a:lnTo>
                    <a:lnTo>
                      <a:pt x="177" y="43"/>
                    </a:lnTo>
                    <a:lnTo>
                      <a:pt x="184" y="42"/>
                    </a:lnTo>
                    <a:lnTo>
                      <a:pt x="189" y="43"/>
                    </a:lnTo>
                    <a:lnTo>
                      <a:pt x="192" y="43"/>
                    </a:lnTo>
                    <a:lnTo>
                      <a:pt x="197" y="43"/>
                    </a:lnTo>
                    <a:lnTo>
                      <a:pt x="202" y="35"/>
                    </a:lnTo>
                    <a:lnTo>
                      <a:pt x="206" y="32"/>
                    </a:lnTo>
                    <a:lnTo>
                      <a:pt x="211" y="30"/>
                    </a:lnTo>
                    <a:lnTo>
                      <a:pt x="214" y="30"/>
                    </a:lnTo>
                    <a:lnTo>
                      <a:pt x="217" y="29"/>
                    </a:lnTo>
                    <a:lnTo>
                      <a:pt x="229" y="27"/>
                    </a:lnTo>
                    <a:lnTo>
                      <a:pt x="232" y="29"/>
                    </a:lnTo>
                    <a:lnTo>
                      <a:pt x="234" y="34"/>
                    </a:lnTo>
                    <a:lnTo>
                      <a:pt x="239" y="35"/>
                    </a:lnTo>
                    <a:lnTo>
                      <a:pt x="247" y="35"/>
                    </a:lnTo>
                    <a:lnTo>
                      <a:pt x="254" y="35"/>
                    </a:lnTo>
                    <a:lnTo>
                      <a:pt x="232" y="53"/>
                    </a:lnTo>
                    <a:lnTo>
                      <a:pt x="230" y="140"/>
                    </a:lnTo>
                    <a:lnTo>
                      <a:pt x="249" y="155"/>
                    </a:lnTo>
                    <a:lnTo>
                      <a:pt x="247" y="156"/>
                    </a:lnTo>
                    <a:lnTo>
                      <a:pt x="240" y="165"/>
                    </a:lnTo>
                    <a:lnTo>
                      <a:pt x="237" y="165"/>
                    </a:lnTo>
                    <a:lnTo>
                      <a:pt x="235" y="168"/>
                    </a:lnTo>
                    <a:lnTo>
                      <a:pt x="237" y="170"/>
                    </a:lnTo>
                    <a:lnTo>
                      <a:pt x="229" y="173"/>
                    </a:lnTo>
                    <a:lnTo>
                      <a:pt x="224" y="178"/>
                    </a:lnTo>
                    <a:lnTo>
                      <a:pt x="217" y="178"/>
                    </a:lnTo>
                    <a:lnTo>
                      <a:pt x="214" y="180"/>
                    </a:lnTo>
                    <a:lnTo>
                      <a:pt x="214" y="181"/>
                    </a:lnTo>
                    <a:lnTo>
                      <a:pt x="211" y="185"/>
                    </a:lnTo>
                    <a:lnTo>
                      <a:pt x="209" y="186"/>
                    </a:lnTo>
                    <a:lnTo>
                      <a:pt x="211" y="188"/>
                    </a:lnTo>
                    <a:lnTo>
                      <a:pt x="207" y="193"/>
                    </a:lnTo>
                    <a:lnTo>
                      <a:pt x="204" y="198"/>
                    </a:lnTo>
                    <a:lnTo>
                      <a:pt x="204" y="203"/>
                    </a:lnTo>
                    <a:lnTo>
                      <a:pt x="199" y="210"/>
                    </a:lnTo>
                    <a:lnTo>
                      <a:pt x="191" y="221"/>
                    </a:lnTo>
                    <a:lnTo>
                      <a:pt x="186" y="223"/>
                    </a:lnTo>
                    <a:lnTo>
                      <a:pt x="184" y="223"/>
                    </a:lnTo>
                    <a:lnTo>
                      <a:pt x="154" y="205"/>
                    </a:lnTo>
                    <a:lnTo>
                      <a:pt x="151" y="201"/>
                    </a:lnTo>
                    <a:lnTo>
                      <a:pt x="151" y="200"/>
                    </a:lnTo>
                    <a:lnTo>
                      <a:pt x="152" y="196"/>
                    </a:lnTo>
                    <a:lnTo>
                      <a:pt x="147" y="190"/>
                    </a:lnTo>
                    <a:lnTo>
                      <a:pt x="58" y="143"/>
                    </a:lnTo>
                    <a:lnTo>
                      <a:pt x="51" y="143"/>
                    </a:lnTo>
                    <a:lnTo>
                      <a:pt x="58" y="122"/>
                    </a:lnTo>
                    <a:lnTo>
                      <a:pt x="58" y="115"/>
                    </a:lnTo>
                    <a:lnTo>
                      <a:pt x="63" y="112"/>
                    </a:lnTo>
                    <a:lnTo>
                      <a:pt x="66" y="107"/>
                    </a:lnTo>
                    <a:lnTo>
                      <a:pt x="69" y="103"/>
                    </a:lnTo>
                    <a:lnTo>
                      <a:pt x="71" y="100"/>
                    </a:lnTo>
                    <a:lnTo>
                      <a:pt x="74" y="97"/>
                    </a:lnTo>
                    <a:lnTo>
                      <a:pt x="74" y="95"/>
                    </a:lnTo>
                    <a:lnTo>
                      <a:pt x="83" y="95"/>
                    </a:lnTo>
                    <a:lnTo>
                      <a:pt x="84" y="90"/>
                    </a:lnTo>
                    <a:lnTo>
                      <a:pt x="84" y="87"/>
                    </a:lnTo>
                    <a:lnTo>
                      <a:pt x="89" y="80"/>
                    </a:lnTo>
                    <a:lnTo>
                      <a:pt x="91" y="77"/>
                    </a:lnTo>
                    <a:lnTo>
                      <a:pt x="89" y="72"/>
                    </a:lnTo>
                    <a:lnTo>
                      <a:pt x="86" y="68"/>
                    </a:lnTo>
                    <a:lnTo>
                      <a:pt x="88" y="67"/>
                    </a:lnTo>
                    <a:lnTo>
                      <a:pt x="84" y="63"/>
                    </a:lnTo>
                    <a:lnTo>
                      <a:pt x="81" y="63"/>
                    </a:lnTo>
                    <a:lnTo>
                      <a:pt x="79" y="57"/>
                    </a:lnTo>
                    <a:lnTo>
                      <a:pt x="73" y="52"/>
                    </a:lnTo>
                    <a:lnTo>
                      <a:pt x="73" y="47"/>
                    </a:lnTo>
                    <a:lnTo>
                      <a:pt x="71" y="42"/>
                    </a:lnTo>
                    <a:lnTo>
                      <a:pt x="68" y="42"/>
                    </a:lnTo>
                    <a:lnTo>
                      <a:pt x="69" y="37"/>
                    </a:lnTo>
                    <a:lnTo>
                      <a:pt x="66" y="37"/>
                    </a:lnTo>
                    <a:lnTo>
                      <a:pt x="64" y="30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close/>
                    <a:moveTo>
                      <a:pt x="0" y="145"/>
                    </a:moveTo>
                    <a:lnTo>
                      <a:pt x="8" y="145"/>
                    </a:lnTo>
                    <a:lnTo>
                      <a:pt x="18" y="145"/>
                    </a:lnTo>
                    <a:lnTo>
                      <a:pt x="0" y="145"/>
                    </a:lnTo>
                    <a:lnTo>
                      <a:pt x="0" y="1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6" name="Freeform 98"/>
              <p:cNvSpPr>
                <a:spLocks/>
              </p:cNvSpPr>
              <p:nvPr/>
            </p:nvSpPr>
            <p:spPr bwMode="auto">
              <a:xfrm>
                <a:off x="6799233" y="3220948"/>
                <a:ext cx="74917" cy="65368"/>
              </a:xfrm>
              <a:custGeom>
                <a:avLst/>
                <a:gdLst/>
                <a:ahLst/>
                <a:cxnLst>
                  <a:cxn ang="0">
                    <a:pos x="108" y="86"/>
                  </a:cxn>
                  <a:cxn ang="0">
                    <a:pos x="116" y="78"/>
                  </a:cxn>
                  <a:cxn ang="0">
                    <a:pos x="121" y="71"/>
                  </a:cxn>
                  <a:cxn ang="0">
                    <a:pos x="124" y="66"/>
                  </a:cxn>
                  <a:cxn ang="0">
                    <a:pos x="134" y="61"/>
                  </a:cxn>
                  <a:cxn ang="0">
                    <a:pos x="139" y="51"/>
                  </a:cxn>
                  <a:cxn ang="0">
                    <a:pos x="139" y="43"/>
                  </a:cxn>
                  <a:cxn ang="0">
                    <a:pos x="138" y="38"/>
                  </a:cxn>
                  <a:cxn ang="0">
                    <a:pos x="131" y="34"/>
                  </a:cxn>
                  <a:cxn ang="0">
                    <a:pos x="123" y="23"/>
                  </a:cxn>
                  <a:cxn ang="0">
                    <a:pos x="121" y="13"/>
                  </a:cxn>
                  <a:cxn ang="0">
                    <a:pos x="119" y="8"/>
                  </a:cxn>
                  <a:cxn ang="0">
                    <a:pos x="114" y="1"/>
                  </a:cxn>
                  <a:cxn ang="0">
                    <a:pos x="106" y="3"/>
                  </a:cxn>
                  <a:cxn ang="0">
                    <a:pos x="98" y="8"/>
                  </a:cxn>
                  <a:cxn ang="0">
                    <a:pos x="84" y="8"/>
                  </a:cxn>
                  <a:cxn ang="0">
                    <a:pos x="75" y="9"/>
                  </a:cxn>
                  <a:cxn ang="0">
                    <a:pos x="70" y="9"/>
                  </a:cxn>
                  <a:cxn ang="0">
                    <a:pos x="66" y="16"/>
                  </a:cxn>
                  <a:cxn ang="0">
                    <a:pos x="58" y="14"/>
                  </a:cxn>
                  <a:cxn ang="0">
                    <a:pos x="53" y="9"/>
                  </a:cxn>
                  <a:cxn ang="0">
                    <a:pos x="43" y="9"/>
                  </a:cxn>
                  <a:cxn ang="0">
                    <a:pos x="36" y="9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3"/>
                  </a:cxn>
                  <a:cxn ang="0">
                    <a:pos x="31" y="36"/>
                  </a:cxn>
                  <a:cxn ang="0">
                    <a:pos x="33" y="43"/>
                  </a:cxn>
                  <a:cxn ang="0">
                    <a:pos x="38" y="49"/>
                  </a:cxn>
                  <a:cxn ang="0">
                    <a:pos x="25" y="68"/>
                  </a:cxn>
                  <a:cxn ang="0">
                    <a:pos x="15" y="78"/>
                  </a:cxn>
                  <a:cxn ang="0">
                    <a:pos x="3" y="96"/>
                  </a:cxn>
                  <a:cxn ang="0">
                    <a:pos x="3" y="111"/>
                  </a:cxn>
                  <a:cxn ang="0">
                    <a:pos x="0" y="122"/>
                  </a:cxn>
                  <a:cxn ang="0">
                    <a:pos x="0" y="124"/>
                  </a:cxn>
                  <a:cxn ang="0">
                    <a:pos x="8" y="121"/>
                  </a:cxn>
                  <a:cxn ang="0">
                    <a:pos x="13" y="124"/>
                  </a:cxn>
                  <a:cxn ang="0">
                    <a:pos x="18" y="122"/>
                  </a:cxn>
                  <a:cxn ang="0">
                    <a:pos x="23" y="119"/>
                  </a:cxn>
                  <a:cxn ang="0">
                    <a:pos x="25" y="117"/>
                  </a:cxn>
                  <a:cxn ang="0">
                    <a:pos x="28" y="116"/>
                  </a:cxn>
                  <a:cxn ang="0">
                    <a:pos x="50" y="116"/>
                  </a:cxn>
                  <a:cxn ang="0">
                    <a:pos x="101" y="114"/>
                  </a:cxn>
                </a:cxnLst>
                <a:rect l="0" t="0" r="r" b="b"/>
                <a:pathLst>
                  <a:path w="141" h="124">
                    <a:moveTo>
                      <a:pt x="108" y="93"/>
                    </a:moveTo>
                    <a:lnTo>
                      <a:pt x="108" y="86"/>
                    </a:lnTo>
                    <a:lnTo>
                      <a:pt x="113" y="83"/>
                    </a:lnTo>
                    <a:lnTo>
                      <a:pt x="116" y="78"/>
                    </a:lnTo>
                    <a:lnTo>
                      <a:pt x="119" y="74"/>
                    </a:lnTo>
                    <a:lnTo>
                      <a:pt x="121" y="71"/>
                    </a:lnTo>
                    <a:lnTo>
                      <a:pt x="124" y="68"/>
                    </a:lnTo>
                    <a:lnTo>
                      <a:pt x="124" y="66"/>
                    </a:lnTo>
                    <a:lnTo>
                      <a:pt x="133" y="66"/>
                    </a:lnTo>
                    <a:lnTo>
                      <a:pt x="134" y="61"/>
                    </a:lnTo>
                    <a:lnTo>
                      <a:pt x="134" y="58"/>
                    </a:lnTo>
                    <a:lnTo>
                      <a:pt x="139" y="51"/>
                    </a:lnTo>
                    <a:lnTo>
                      <a:pt x="141" y="48"/>
                    </a:lnTo>
                    <a:lnTo>
                      <a:pt x="139" y="43"/>
                    </a:lnTo>
                    <a:lnTo>
                      <a:pt x="136" y="39"/>
                    </a:lnTo>
                    <a:lnTo>
                      <a:pt x="138" y="38"/>
                    </a:lnTo>
                    <a:lnTo>
                      <a:pt x="134" y="34"/>
                    </a:lnTo>
                    <a:lnTo>
                      <a:pt x="131" y="34"/>
                    </a:lnTo>
                    <a:lnTo>
                      <a:pt x="129" y="28"/>
                    </a:lnTo>
                    <a:lnTo>
                      <a:pt x="123" y="23"/>
                    </a:lnTo>
                    <a:lnTo>
                      <a:pt x="123" y="18"/>
                    </a:lnTo>
                    <a:lnTo>
                      <a:pt x="121" y="13"/>
                    </a:lnTo>
                    <a:lnTo>
                      <a:pt x="118" y="13"/>
                    </a:lnTo>
                    <a:lnTo>
                      <a:pt x="119" y="8"/>
                    </a:lnTo>
                    <a:lnTo>
                      <a:pt x="116" y="8"/>
                    </a:lnTo>
                    <a:lnTo>
                      <a:pt x="114" y="1"/>
                    </a:lnTo>
                    <a:lnTo>
                      <a:pt x="113" y="0"/>
                    </a:lnTo>
                    <a:lnTo>
                      <a:pt x="106" y="3"/>
                    </a:lnTo>
                    <a:lnTo>
                      <a:pt x="103" y="6"/>
                    </a:lnTo>
                    <a:lnTo>
                      <a:pt x="98" y="8"/>
                    </a:lnTo>
                    <a:lnTo>
                      <a:pt x="93" y="8"/>
                    </a:lnTo>
                    <a:lnTo>
                      <a:pt x="84" y="8"/>
                    </a:lnTo>
                    <a:lnTo>
                      <a:pt x="78" y="9"/>
                    </a:lnTo>
                    <a:lnTo>
                      <a:pt x="75" y="9"/>
                    </a:lnTo>
                    <a:lnTo>
                      <a:pt x="73" y="11"/>
                    </a:lnTo>
                    <a:lnTo>
                      <a:pt x="70" y="9"/>
                    </a:lnTo>
                    <a:lnTo>
                      <a:pt x="66" y="13"/>
                    </a:lnTo>
                    <a:lnTo>
                      <a:pt x="66" y="16"/>
                    </a:lnTo>
                    <a:lnTo>
                      <a:pt x="65" y="16"/>
                    </a:lnTo>
                    <a:lnTo>
                      <a:pt x="58" y="14"/>
                    </a:lnTo>
                    <a:lnTo>
                      <a:pt x="58" y="11"/>
                    </a:lnTo>
                    <a:lnTo>
                      <a:pt x="53" y="9"/>
                    </a:lnTo>
                    <a:lnTo>
                      <a:pt x="50" y="11"/>
                    </a:lnTo>
                    <a:lnTo>
                      <a:pt x="43" y="9"/>
                    </a:lnTo>
                    <a:lnTo>
                      <a:pt x="38" y="8"/>
                    </a:lnTo>
                    <a:lnTo>
                      <a:pt x="36" y="9"/>
                    </a:lnTo>
                    <a:lnTo>
                      <a:pt x="35" y="13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5" y="19"/>
                    </a:lnTo>
                    <a:lnTo>
                      <a:pt x="33" y="23"/>
                    </a:lnTo>
                    <a:lnTo>
                      <a:pt x="33" y="28"/>
                    </a:lnTo>
                    <a:lnTo>
                      <a:pt x="31" y="36"/>
                    </a:lnTo>
                    <a:lnTo>
                      <a:pt x="31" y="41"/>
                    </a:lnTo>
                    <a:lnTo>
                      <a:pt x="33" y="43"/>
                    </a:lnTo>
                    <a:lnTo>
                      <a:pt x="36" y="46"/>
                    </a:lnTo>
                    <a:lnTo>
                      <a:pt x="38" y="49"/>
                    </a:lnTo>
                    <a:lnTo>
                      <a:pt x="36" y="53"/>
                    </a:lnTo>
                    <a:lnTo>
                      <a:pt x="25" y="68"/>
                    </a:lnTo>
                    <a:lnTo>
                      <a:pt x="16" y="74"/>
                    </a:lnTo>
                    <a:lnTo>
                      <a:pt x="15" y="78"/>
                    </a:lnTo>
                    <a:lnTo>
                      <a:pt x="5" y="94"/>
                    </a:lnTo>
                    <a:lnTo>
                      <a:pt x="3" y="96"/>
                    </a:lnTo>
                    <a:lnTo>
                      <a:pt x="3" y="103"/>
                    </a:lnTo>
                    <a:lnTo>
                      <a:pt x="3" y="111"/>
                    </a:lnTo>
                    <a:lnTo>
                      <a:pt x="0" y="117"/>
                    </a:lnTo>
                    <a:lnTo>
                      <a:pt x="0" y="122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5" y="124"/>
                    </a:lnTo>
                    <a:lnTo>
                      <a:pt x="8" y="121"/>
                    </a:lnTo>
                    <a:lnTo>
                      <a:pt x="11" y="122"/>
                    </a:lnTo>
                    <a:lnTo>
                      <a:pt x="13" y="124"/>
                    </a:lnTo>
                    <a:lnTo>
                      <a:pt x="16" y="124"/>
                    </a:lnTo>
                    <a:lnTo>
                      <a:pt x="18" y="122"/>
                    </a:lnTo>
                    <a:lnTo>
                      <a:pt x="18" y="119"/>
                    </a:lnTo>
                    <a:lnTo>
                      <a:pt x="23" y="119"/>
                    </a:lnTo>
                    <a:lnTo>
                      <a:pt x="23" y="119"/>
                    </a:lnTo>
                    <a:lnTo>
                      <a:pt x="25" y="117"/>
                    </a:lnTo>
                    <a:lnTo>
                      <a:pt x="26" y="117"/>
                    </a:lnTo>
                    <a:lnTo>
                      <a:pt x="28" y="116"/>
                    </a:lnTo>
                    <a:lnTo>
                      <a:pt x="50" y="116"/>
                    </a:lnTo>
                    <a:lnTo>
                      <a:pt x="50" y="116"/>
                    </a:lnTo>
                    <a:lnTo>
                      <a:pt x="68" y="116"/>
                    </a:lnTo>
                    <a:lnTo>
                      <a:pt x="101" y="114"/>
                    </a:lnTo>
                    <a:lnTo>
                      <a:pt x="108" y="9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7" name="Freeform 99"/>
              <p:cNvSpPr>
                <a:spLocks/>
              </p:cNvSpPr>
              <p:nvPr/>
            </p:nvSpPr>
            <p:spPr bwMode="auto">
              <a:xfrm>
                <a:off x="6603378" y="3142091"/>
                <a:ext cx="169099" cy="99608"/>
              </a:xfrm>
              <a:custGeom>
                <a:avLst/>
                <a:gdLst/>
                <a:ahLst/>
                <a:cxnLst>
                  <a:cxn ang="0">
                    <a:pos x="201" y="6"/>
                  </a:cxn>
                  <a:cxn ang="0">
                    <a:pos x="218" y="30"/>
                  </a:cxn>
                  <a:cxn ang="0">
                    <a:pos x="215" y="43"/>
                  </a:cxn>
                  <a:cxn ang="0">
                    <a:pos x="226" y="51"/>
                  </a:cxn>
                  <a:cxn ang="0">
                    <a:pos x="236" y="60"/>
                  </a:cxn>
                  <a:cxn ang="0">
                    <a:pos x="253" y="68"/>
                  </a:cxn>
                  <a:cxn ang="0">
                    <a:pos x="264" y="74"/>
                  </a:cxn>
                  <a:cxn ang="0">
                    <a:pos x="258" y="84"/>
                  </a:cxn>
                  <a:cxn ang="0">
                    <a:pos x="273" y="89"/>
                  </a:cxn>
                  <a:cxn ang="0">
                    <a:pos x="284" y="103"/>
                  </a:cxn>
                  <a:cxn ang="0">
                    <a:pos x="294" y="113"/>
                  </a:cxn>
                  <a:cxn ang="0">
                    <a:pos x="308" y="121"/>
                  </a:cxn>
                  <a:cxn ang="0">
                    <a:pos x="316" y="134"/>
                  </a:cxn>
                  <a:cxn ang="0">
                    <a:pos x="306" y="133"/>
                  </a:cxn>
                  <a:cxn ang="0">
                    <a:pos x="284" y="133"/>
                  </a:cxn>
                  <a:cxn ang="0">
                    <a:pos x="271" y="131"/>
                  </a:cxn>
                  <a:cxn ang="0">
                    <a:pos x="266" y="133"/>
                  </a:cxn>
                  <a:cxn ang="0">
                    <a:pos x="249" y="138"/>
                  </a:cxn>
                  <a:cxn ang="0">
                    <a:pos x="243" y="136"/>
                  </a:cxn>
                  <a:cxn ang="0">
                    <a:pos x="225" y="139"/>
                  </a:cxn>
                  <a:cxn ang="0">
                    <a:pos x="206" y="141"/>
                  </a:cxn>
                  <a:cxn ang="0">
                    <a:pos x="190" y="148"/>
                  </a:cxn>
                  <a:cxn ang="0">
                    <a:pos x="186" y="154"/>
                  </a:cxn>
                  <a:cxn ang="0">
                    <a:pos x="171" y="151"/>
                  </a:cxn>
                  <a:cxn ang="0">
                    <a:pos x="153" y="149"/>
                  </a:cxn>
                  <a:cxn ang="0">
                    <a:pos x="137" y="143"/>
                  </a:cxn>
                  <a:cxn ang="0">
                    <a:pos x="122" y="134"/>
                  </a:cxn>
                  <a:cxn ang="0">
                    <a:pos x="110" y="138"/>
                  </a:cxn>
                  <a:cxn ang="0">
                    <a:pos x="105" y="148"/>
                  </a:cxn>
                  <a:cxn ang="0">
                    <a:pos x="103" y="156"/>
                  </a:cxn>
                  <a:cxn ang="0">
                    <a:pos x="98" y="166"/>
                  </a:cxn>
                  <a:cxn ang="0">
                    <a:pos x="87" y="162"/>
                  </a:cxn>
                  <a:cxn ang="0">
                    <a:pos x="65" y="167"/>
                  </a:cxn>
                  <a:cxn ang="0">
                    <a:pos x="42" y="192"/>
                  </a:cxn>
                  <a:cxn ang="0">
                    <a:pos x="40" y="182"/>
                  </a:cxn>
                  <a:cxn ang="0">
                    <a:pos x="20" y="161"/>
                  </a:cxn>
                  <a:cxn ang="0">
                    <a:pos x="5" y="146"/>
                  </a:cxn>
                  <a:cxn ang="0">
                    <a:pos x="4" y="123"/>
                  </a:cxn>
                  <a:cxn ang="0">
                    <a:pos x="5" y="108"/>
                  </a:cxn>
                  <a:cxn ang="0">
                    <a:pos x="20" y="84"/>
                  </a:cxn>
                  <a:cxn ang="0">
                    <a:pos x="30" y="78"/>
                  </a:cxn>
                  <a:cxn ang="0">
                    <a:pos x="47" y="81"/>
                  </a:cxn>
                  <a:cxn ang="0">
                    <a:pos x="55" y="73"/>
                  </a:cxn>
                  <a:cxn ang="0">
                    <a:pos x="68" y="74"/>
                  </a:cxn>
                  <a:cxn ang="0">
                    <a:pos x="103" y="64"/>
                  </a:cxn>
                  <a:cxn ang="0">
                    <a:pos x="110" y="55"/>
                  </a:cxn>
                  <a:cxn ang="0">
                    <a:pos x="113" y="45"/>
                  </a:cxn>
                  <a:cxn ang="0">
                    <a:pos x="135" y="46"/>
                  </a:cxn>
                  <a:cxn ang="0">
                    <a:pos x="155" y="36"/>
                  </a:cxn>
                  <a:cxn ang="0">
                    <a:pos x="158" y="25"/>
                  </a:cxn>
                  <a:cxn ang="0">
                    <a:pos x="170" y="15"/>
                  </a:cxn>
                  <a:cxn ang="0">
                    <a:pos x="180" y="5"/>
                  </a:cxn>
                  <a:cxn ang="0">
                    <a:pos x="200" y="1"/>
                  </a:cxn>
                </a:cxnLst>
                <a:rect l="0" t="0" r="r" b="b"/>
                <a:pathLst>
                  <a:path w="316" h="192">
                    <a:moveTo>
                      <a:pt x="200" y="0"/>
                    </a:moveTo>
                    <a:lnTo>
                      <a:pt x="203" y="3"/>
                    </a:lnTo>
                    <a:lnTo>
                      <a:pt x="203" y="5"/>
                    </a:lnTo>
                    <a:lnTo>
                      <a:pt x="201" y="6"/>
                    </a:lnTo>
                    <a:lnTo>
                      <a:pt x="206" y="11"/>
                    </a:lnTo>
                    <a:lnTo>
                      <a:pt x="208" y="13"/>
                    </a:lnTo>
                    <a:lnTo>
                      <a:pt x="213" y="21"/>
                    </a:lnTo>
                    <a:lnTo>
                      <a:pt x="218" y="30"/>
                    </a:lnTo>
                    <a:lnTo>
                      <a:pt x="220" y="33"/>
                    </a:lnTo>
                    <a:lnTo>
                      <a:pt x="218" y="38"/>
                    </a:lnTo>
                    <a:lnTo>
                      <a:pt x="216" y="40"/>
                    </a:lnTo>
                    <a:lnTo>
                      <a:pt x="215" y="43"/>
                    </a:lnTo>
                    <a:lnTo>
                      <a:pt x="216" y="50"/>
                    </a:lnTo>
                    <a:lnTo>
                      <a:pt x="220" y="53"/>
                    </a:lnTo>
                    <a:lnTo>
                      <a:pt x="225" y="53"/>
                    </a:lnTo>
                    <a:lnTo>
                      <a:pt x="226" y="51"/>
                    </a:lnTo>
                    <a:lnTo>
                      <a:pt x="235" y="51"/>
                    </a:lnTo>
                    <a:lnTo>
                      <a:pt x="236" y="53"/>
                    </a:lnTo>
                    <a:lnTo>
                      <a:pt x="235" y="56"/>
                    </a:lnTo>
                    <a:lnTo>
                      <a:pt x="236" y="60"/>
                    </a:lnTo>
                    <a:lnTo>
                      <a:pt x="240" y="63"/>
                    </a:lnTo>
                    <a:lnTo>
                      <a:pt x="245" y="64"/>
                    </a:lnTo>
                    <a:lnTo>
                      <a:pt x="249" y="64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9" y="73"/>
                    </a:lnTo>
                    <a:lnTo>
                      <a:pt x="263" y="73"/>
                    </a:lnTo>
                    <a:lnTo>
                      <a:pt x="264" y="74"/>
                    </a:lnTo>
                    <a:lnTo>
                      <a:pt x="264" y="78"/>
                    </a:lnTo>
                    <a:lnTo>
                      <a:pt x="261" y="81"/>
                    </a:lnTo>
                    <a:lnTo>
                      <a:pt x="259" y="83"/>
                    </a:lnTo>
                    <a:lnTo>
                      <a:pt x="258" y="84"/>
                    </a:lnTo>
                    <a:lnTo>
                      <a:pt x="263" y="88"/>
                    </a:lnTo>
                    <a:lnTo>
                      <a:pt x="268" y="89"/>
                    </a:lnTo>
                    <a:lnTo>
                      <a:pt x="269" y="88"/>
                    </a:lnTo>
                    <a:lnTo>
                      <a:pt x="273" y="89"/>
                    </a:lnTo>
                    <a:lnTo>
                      <a:pt x="274" y="89"/>
                    </a:lnTo>
                    <a:lnTo>
                      <a:pt x="283" y="94"/>
                    </a:lnTo>
                    <a:lnTo>
                      <a:pt x="284" y="96"/>
                    </a:lnTo>
                    <a:lnTo>
                      <a:pt x="284" y="103"/>
                    </a:lnTo>
                    <a:lnTo>
                      <a:pt x="288" y="104"/>
                    </a:lnTo>
                    <a:lnTo>
                      <a:pt x="293" y="106"/>
                    </a:lnTo>
                    <a:lnTo>
                      <a:pt x="294" y="108"/>
                    </a:lnTo>
                    <a:lnTo>
                      <a:pt x="294" y="113"/>
                    </a:lnTo>
                    <a:lnTo>
                      <a:pt x="296" y="114"/>
                    </a:lnTo>
                    <a:lnTo>
                      <a:pt x="304" y="116"/>
                    </a:lnTo>
                    <a:lnTo>
                      <a:pt x="308" y="119"/>
                    </a:lnTo>
                    <a:lnTo>
                      <a:pt x="308" y="121"/>
                    </a:lnTo>
                    <a:lnTo>
                      <a:pt x="308" y="128"/>
                    </a:lnTo>
                    <a:lnTo>
                      <a:pt x="311" y="129"/>
                    </a:lnTo>
                    <a:lnTo>
                      <a:pt x="314" y="133"/>
                    </a:lnTo>
                    <a:lnTo>
                      <a:pt x="316" y="134"/>
                    </a:lnTo>
                    <a:lnTo>
                      <a:pt x="316" y="136"/>
                    </a:lnTo>
                    <a:lnTo>
                      <a:pt x="316" y="136"/>
                    </a:lnTo>
                    <a:lnTo>
                      <a:pt x="311" y="133"/>
                    </a:lnTo>
                    <a:lnTo>
                      <a:pt x="306" y="133"/>
                    </a:lnTo>
                    <a:lnTo>
                      <a:pt x="298" y="136"/>
                    </a:lnTo>
                    <a:lnTo>
                      <a:pt x="298" y="134"/>
                    </a:lnTo>
                    <a:lnTo>
                      <a:pt x="288" y="134"/>
                    </a:lnTo>
                    <a:lnTo>
                      <a:pt x="284" y="133"/>
                    </a:lnTo>
                    <a:lnTo>
                      <a:pt x="281" y="133"/>
                    </a:lnTo>
                    <a:lnTo>
                      <a:pt x="278" y="131"/>
                    </a:lnTo>
                    <a:lnTo>
                      <a:pt x="276" y="131"/>
                    </a:lnTo>
                    <a:lnTo>
                      <a:pt x="271" y="131"/>
                    </a:lnTo>
                    <a:lnTo>
                      <a:pt x="268" y="128"/>
                    </a:lnTo>
                    <a:lnTo>
                      <a:pt x="264" y="129"/>
                    </a:lnTo>
                    <a:lnTo>
                      <a:pt x="264" y="131"/>
                    </a:lnTo>
                    <a:lnTo>
                      <a:pt x="266" y="133"/>
                    </a:lnTo>
                    <a:lnTo>
                      <a:pt x="263" y="136"/>
                    </a:lnTo>
                    <a:lnTo>
                      <a:pt x="259" y="136"/>
                    </a:lnTo>
                    <a:lnTo>
                      <a:pt x="256" y="138"/>
                    </a:lnTo>
                    <a:lnTo>
                      <a:pt x="249" y="138"/>
                    </a:lnTo>
                    <a:lnTo>
                      <a:pt x="248" y="139"/>
                    </a:lnTo>
                    <a:lnTo>
                      <a:pt x="245" y="139"/>
                    </a:lnTo>
                    <a:lnTo>
                      <a:pt x="245" y="136"/>
                    </a:lnTo>
                    <a:lnTo>
                      <a:pt x="243" y="136"/>
                    </a:lnTo>
                    <a:lnTo>
                      <a:pt x="241" y="134"/>
                    </a:lnTo>
                    <a:lnTo>
                      <a:pt x="238" y="134"/>
                    </a:lnTo>
                    <a:lnTo>
                      <a:pt x="228" y="138"/>
                    </a:lnTo>
                    <a:lnTo>
                      <a:pt x="225" y="139"/>
                    </a:lnTo>
                    <a:lnTo>
                      <a:pt x="223" y="141"/>
                    </a:lnTo>
                    <a:lnTo>
                      <a:pt x="213" y="143"/>
                    </a:lnTo>
                    <a:lnTo>
                      <a:pt x="210" y="144"/>
                    </a:lnTo>
                    <a:lnTo>
                      <a:pt x="206" y="141"/>
                    </a:lnTo>
                    <a:lnTo>
                      <a:pt x="201" y="141"/>
                    </a:lnTo>
                    <a:lnTo>
                      <a:pt x="198" y="141"/>
                    </a:lnTo>
                    <a:lnTo>
                      <a:pt x="193" y="144"/>
                    </a:lnTo>
                    <a:lnTo>
                      <a:pt x="190" y="148"/>
                    </a:lnTo>
                    <a:lnTo>
                      <a:pt x="190" y="151"/>
                    </a:lnTo>
                    <a:lnTo>
                      <a:pt x="193" y="153"/>
                    </a:lnTo>
                    <a:lnTo>
                      <a:pt x="191" y="154"/>
                    </a:lnTo>
                    <a:lnTo>
                      <a:pt x="186" y="154"/>
                    </a:lnTo>
                    <a:lnTo>
                      <a:pt x="185" y="154"/>
                    </a:lnTo>
                    <a:lnTo>
                      <a:pt x="178" y="153"/>
                    </a:lnTo>
                    <a:lnTo>
                      <a:pt x="175" y="151"/>
                    </a:lnTo>
                    <a:lnTo>
                      <a:pt x="171" y="151"/>
                    </a:lnTo>
                    <a:lnTo>
                      <a:pt x="168" y="153"/>
                    </a:lnTo>
                    <a:lnTo>
                      <a:pt x="165" y="153"/>
                    </a:lnTo>
                    <a:lnTo>
                      <a:pt x="158" y="151"/>
                    </a:lnTo>
                    <a:lnTo>
                      <a:pt x="153" y="149"/>
                    </a:lnTo>
                    <a:lnTo>
                      <a:pt x="148" y="149"/>
                    </a:lnTo>
                    <a:lnTo>
                      <a:pt x="147" y="148"/>
                    </a:lnTo>
                    <a:lnTo>
                      <a:pt x="140" y="143"/>
                    </a:lnTo>
                    <a:lnTo>
                      <a:pt x="137" y="143"/>
                    </a:lnTo>
                    <a:lnTo>
                      <a:pt x="130" y="136"/>
                    </a:lnTo>
                    <a:lnTo>
                      <a:pt x="127" y="136"/>
                    </a:lnTo>
                    <a:lnTo>
                      <a:pt x="123" y="134"/>
                    </a:lnTo>
                    <a:lnTo>
                      <a:pt x="122" y="134"/>
                    </a:lnTo>
                    <a:lnTo>
                      <a:pt x="120" y="136"/>
                    </a:lnTo>
                    <a:lnTo>
                      <a:pt x="117" y="136"/>
                    </a:lnTo>
                    <a:lnTo>
                      <a:pt x="112" y="138"/>
                    </a:lnTo>
                    <a:lnTo>
                      <a:pt x="110" y="138"/>
                    </a:lnTo>
                    <a:lnTo>
                      <a:pt x="108" y="139"/>
                    </a:lnTo>
                    <a:lnTo>
                      <a:pt x="107" y="143"/>
                    </a:lnTo>
                    <a:lnTo>
                      <a:pt x="105" y="146"/>
                    </a:lnTo>
                    <a:lnTo>
                      <a:pt x="105" y="148"/>
                    </a:lnTo>
                    <a:lnTo>
                      <a:pt x="103" y="149"/>
                    </a:lnTo>
                    <a:lnTo>
                      <a:pt x="100" y="149"/>
                    </a:lnTo>
                    <a:lnTo>
                      <a:pt x="100" y="153"/>
                    </a:lnTo>
                    <a:lnTo>
                      <a:pt x="103" y="156"/>
                    </a:lnTo>
                    <a:lnTo>
                      <a:pt x="102" y="159"/>
                    </a:lnTo>
                    <a:lnTo>
                      <a:pt x="100" y="161"/>
                    </a:lnTo>
                    <a:lnTo>
                      <a:pt x="100" y="166"/>
                    </a:lnTo>
                    <a:lnTo>
                      <a:pt x="98" y="166"/>
                    </a:lnTo>
                    <a:lnTo>
                      <a:pt x="95" y="166"/>
                    </a:lnTo>
                    <a:lnTo>
                      <a:pt x="92" y="164"/>
                    </a:lnTo>
                    <a:lnTo>
                      <a:pt x="90" y="162"/>
                    </a:lnTo>
                    <a:lnTo>
                      <a:pt x="87" y="162"/>
                    </a:lnTo>
                    <a:lnTo>
                      <a:pt x="82" y="162"/>
                    </a:lnTo>
                    <a:lnTo>
                      <a:pt x="80" y="164"/>
                    </a:lnTo>
                    <a:lnTo>
                      <a:pt x="75" y="164"/>
                    </a:lnTo>
                    <a:lnTo>
                      <a:pt x="65" y="167"/>
                    </a:lnTo>
                    <a:lnTo>
                      <a:pt x="63" y="171"/>
                    </a:lnTo>
                    <a:lnTo>
                      <a:pt x="58" y="171"/>
                    </a:lnTo>
                    <a:lnTo>
                      <a:pt x="53" y="176"/>
                    </a:lnTo>
                    <a:lnTo>
                      <a:pt x="42" y="192"/>
                    </a:lnTo>
                    <a:lnTo>
                      <a:pt x="42" y="192"/>
                    </a:lnTo>
                    <a:lnTo>
                      <a:pt x="40" y="191"/>
                    </a:lnTo>
                    <a:lnTo>
                      <a:pt x="40" y="187"/>
                    </a:lnTo>
                    <a:lnTo>
                      <a:pt x="40" y="182"/>
                    </a:lnTo>
                    <a:lnTo>
                      <a:pt x="32" y="177"/>
                    </a:lnTo>
                    <a:lnTo>
                      <a:pt x="29" y="174"/>
                    </a:lnTo>
                    <a:lnTo>
                      <a:pt x="25" y="167"/>
                    </a:lnTo>
                    <a:lnTo>
                      <a:pt x="20" y="161"/>
                    </a:lnTo>
                    <a:lnTo>
                      <a:pt x="19" y="156"/>
                    </a:lnTo>
                    <a:lnTo>
                      <a:pt x="14" y="151"/>
                    </a:lnTo>
                    <a:lnTo>
                      <a:pt x="7" y="148"/>
                    </a:lnTo>
                    <a:lnTo>
                      <a:pt x="5" y="146"/>
                    </a:lnTo>
                    <a:lnTo>
                      <a:pt x="5" y="138"/>
                    </a:lnTo>
                    <a:lnTo>
                      <a:pt x="4" y="133"/>
                    </a:lnTo>
                    <a:lnTo>
                      <a:pt x="2" y="128"/>
                    </a:lnTo>
                    <a:lnTo>
                      <a:pt x="4" y="123"/>
                    </a:lnTo>
                    <a:lnTo>
                      <a:pt x="2" y="116"/>
                    </a:lnTo>
                    <a:lnTo>
                      <a:pt x="0" y="111"/>
                    </a:lnTo>
                    <a:lnTo>
                      <a:pt x="4" y="108"/>
                    </a:lnTo>
                    <a:lnTo>
                      <a:pt x="5" y="108"/>
                    </a:lnTo>
                    <a:lnTo>
                      <a:pt x="10" y="101"/>
                    </a:lnTo>
                    <a:lnTo>
                      <a:pt x="14" y="96"/>
                    </a:lnTo>
                    <a:lnTo>
                      <a:pt x="17" y="89"/>
                    </a:lnTo>
                    <a:lnTo>
                      <a:pt x="20" y="84"/>
                    </a:lnTo>
                    <a:lnTo>
                      <a:pt x="24" y="83"/>
                    </a:lnTo>
                    <a:lnTo>
                      <a:pt x="29" y="78"/>
                    </a:lnTo>
                    <a:lnTo>
                      <a:pt x="29" y="76"/>
                    </a:lnTo>
                    <a:lnTo>
                      <a:pt x="30" y="78"/>
                    </a:lnTo>
                    <a:lnTo>
                      <a:pt x="32" y="83"/>
                    </a:lnTo>
                    <a:lnTo>
                      <a:pt x="35" y="83"/>
                    </a:lnTo>
                    <a:lnTo>
                      <a:pt x="40" y="83"/>
                    </a:lnTo>
                    <a:lnTo>
                      <a:pt x="47" y="81"/>
                    </a:lnTo>
                    <a:lnTo>
                      <a:pt x="50" y="76"/>
                    </a:lnTo>
                    <a:lnTo>
                      <a:pt x="50" y="73"/>
                    </a:lnTo>
                    <a:lnTo>
                      <a:pt x="52" y="69"/>
                    </a:lnTo>
                    <a:lnTo>
                      <a:pt x="55" y="73"/>
                    </a:lnTo>
                    <a:lnTo>
                      <a:pt x="57" y="78"/>
                    </a:lnTo>
                    <a:lnTo>
                      <a:pt x="58" y="79"/>
                    </a:lnTo>
                    <a:lnTo>
                      <a:pt x="63" y="78"/>
                    </a:lnTo>
                    <a:lnTo>
                      <a:pt x="68" y="74"/>
                    </a:lnTo>
                    <a:lnTo>
                      <a:pt x="77" y="71"/>
                    </a:lnTo>
                    <a:lnTo>
                      <a:pt x="82" y="68"/>
                    </a:lnTo>
                    <a:lnTo>
                      <a:pt x="97" y="64"/>
                    </a:lnTo>
                    <a:lnTo>
                      <a:pt x="103" y="64"/>
                    </a:lnTo>
                    <a:lnTo>
                      <a:pt x="107" y="61"/>
                    </a:lnTo>
                    <a:lnTo>
                      <a:pt x="113" y="58"/>
                    </a:lnTo>
                    <a:lnTo>
                      <a:pt x="112" y="55"/>
                    </a:lnTo>
                    <a:lnTo>
                      <a:pt x="110" y="55"/>
                    </a:lnTo>
                    <a:lnTo>
                      <a:pt x="105" y="50"/>
                    </a:lnTo>
                    <a:lnTo>
                      <a:pt x="105" y="46"/>
                    </a:lnTo>
                    <a:lnTo>
                      <a:pt x="108" y="45"/>
                    </a:lnTo>
                    <a:lnTo>
                      <a:pt x="113" y="45"/>
                    </a:lnTo>
                    <a:lnTo>
                      <a:pt x="118" y="45"/>
                    </a:lnTo>
                    <a:lnTo>
                      <a:pt x="122" y="46"/>
                    </a:lnTo>
                    <a:lnTo>
                      <a:pt x="128" y="46"/>
                    </a:lnTo>
                    <a:lnTo>
                      <a:pt x="135" y="46"/>
                    </a:lnTo>
                    <a:lnTo>
                      <a:pt x="145" y="45"/>
                    </a:lnTo>
                    <a:lnTo>
                      <a:pt x="150" y="41"/>
                    </a:lnTo>
                    <a:lnTo>
                      <a:pt x="153" y="40"/>
                    </a:lnTo>
                    <a:lnTo>
                      <a:pt x="155" y="36"/>
                    </a:lnTo>
                    <a:lnTo>
                      <a:pt x="153" y="33"/>
                    </a:lnTo>
                    <a:lnTo>
                      <a:pt x="155" y="30"/>
                    </a:lnTo>
                    <a:lnTo>
                      <a:pt x="158" y="28"/>
                    </a:lnTo>
                    <a:lnTo>
                      <a:pt x="158" y="25"/>
                    </a:lnTo>
                    <a:lnTo>
                      <a:pt x="161" y="21"/>
                    </a:lnTo>
                    <a:lnTo>
                      <a:pt x="163" y="21"/>
                    </a:lnTo>
                    <a:lnTo>
                      <a:pt x="165" y="21"/>
                    </a:lnTo>
                    <a:lnTo>
                      <a:pt x="170" y="15"/>
                    </a:lnTo>
                    <a:lnTo>
                      <a:pt x="173" y="15"/>
                    </a:lnTo>
                    <a:lnTo>
                      <a:pt x="173" y="11"/>
                    </a:lnTo>
                    <a:lnTo>
                      <a:pt x="173" y="8"/>
                    </a:lnTo>
                    <a:lnTo>
                      <a:pt x="180" y="5"/>
                    </a:lnTo>
                    <a:lnTo>
                      <a:pt x="185" y="3"/>
                    </a:lnTo>
                    <a:lnTo>
                      <a:pt x="190" y="3"/>
                    </a:lnTo>
                    <a:lnTo>
                      <a:pt x="193" y="5"/>
                    </a:lnTo>
                    <a:lnTo>
                      <a:pt x="200" y="1"/>
                    </a:lnTo>
                    <a:lnTo>
                      <a:pt x="2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8" name="Freeform 100"/>
              <p:cNvSpPr>
                <a:spLocks/>
              </p:cNvSpPr>
              <p:nvPr/>
            </p:nvSpPr>
            <p:spPr bwMode="auto">
              <a:xfrm>
                <a:off x="6533812" y="2878543"/>
                <a:ext cx="202277" cy="163939"/>
              </a:xfrm>
              <a:custGeom>
                <a:avLst/>
                <a:gdLst/>
                <a:ahLst/>
                <a:cxnLst>
                  <a:cxn ang="0">
                    <a:pos x="354" y="309"/>
                  </a:cxn>
                  <a:cxn ang="0">
                    <a:pos x="365" y="90"/>
                  </a:cxn>
                  <a:cxn ang="0">
                    <a:pos x="360" y="74"/>
                  </a:cxn>
                  <a:cxn ang="0">
                    <a:pos x="367" y="59"/>
                  </a:cxn>
                  <a:cxn ang="0">
                    <a:pos x="364" y="49"/>
                  </a:cxn>
                  <a:cxn ang="0">
                    <a:pos x="367" y="35"/>
                  </a:cxn>
                  <a:cxn ang="0">
                    <a:pos x="362" y="25"/>
                  </a:cxn>
                  <a:cxn ang="0">
                    <a:pos x="354" y="25"/>
                  </a:cxn>
                  <a:cxn ang="0">
                    <a:pos x="334" y="20"/>
                  </a:cxn>
                  <a:cxn ang="0">
                    <a:pos x="319" y="19"/>
                  </a:cxn>
                  <a:cxn ang="0">
                    <a:pos x="319" y="15"/>
                  </a:cxn>
                  <a:cxn ang="0">
                    <a:pos x="307" y="7"/>
                  </a:cxn>
                  <a:cxn ang="0">
                    <a:pos x="294" y="5"/>
                  </a:cxn>
                  <a:cxn ang="0">
                    <a:pos x="289" y="7"/>
                  </a:cxn>
                  <a:cxn ang="0">
                    <a:pos x="282" y="4"/>
                  </a:cxn>
                  <a:cxn ang="0">
                    <a:pos x="264" y="9"/>
                  </a:cxn>
                  <a:cxn ang="0">
                    <a:pos x="247" y="19"/>
                  </a:cxn>
                  <a:cxn ang="0">
                    <a:pos x="242" y="27"/>
                  </a:cxn>
                  <a:cxn ang="0">
                    <a:pos x="246" y="44"/>
                  </a:cxn>
                  <a:cxn ang="0">
                    <a:pos x="247" y="57"/>
                  </a:cxn>
                  <a:cxn ang="0">
                    <a:pos x="241" y="65"/>
                  </a:cxn>
                  <a:cxn ang="0">
                    <a:pos x="227" y="74"/>
                  </a:cxn>
                  <a:cxn ang="0">
                    <a:pos x="207" y="62"/>
                  </a:cxn>
                  <a:cxn ang="0">
                    <a:pos x="187" y="52"/>
                  </a:cxn>
                  <a:cxn ang="0">
                    <a:pos x="163" y="44"/>
                  </a:cxn>
                  <a:cxn ang="0">
                    <a:pos x="151" y="45"/>
                  </a:cxn>
                  <a:cxn ang="0">
                    <a:pos x="134" y="29"/>
                  </a:cxn>
                  <a:cxn ang="0">
                    <a:pos x="129" y="15"/>
                  </a:cxn>
                  <a:cxn ang="0">
                    <a:pos x="104" y="9"/>
                  </a:cxn>
                  <a:cxn ang="0">
                    <a:pos x="84" y="5"/>
                  </a:cxn>
                  <a:cxn ang="0">
                    <a:pos x="55" y="5"/>
                  </a:cxn>
                  <a:cxn ang="0">
                    <a:pos x="45" y="0"/>
                  </a:cxn>
                  <a:cxn ang="0">
                    <a:pos x="46" y="10"/>
                  </a:cxn>
                  <a:cxn ang="0">
                    <a:pos x="43" y="20"/>
                  </a:cxn>
                  <a:cxn ang="0">
                    <a:pos x="28" y="30"/>
                  </a:cxn>
                  <a:cxn ang="0">
                    <a:pos x="18" y="35"/>
                  </a:cxn>
                  <a:cxn ang="0">
                    <a:pos x="15" y="40"/>
                  </a:cxn>
                  <a:cxn ang="0">
                    <a:pos x="16" y="50"/>
                  </a:cxn>
                  <a:cxn ang="0">
                    <a:pos x="15" y="57"/>
                  </a:cxn>
                  <a:cxn ang="0">
                    <a:pos x="15" y="60"/>
                  </a:cxn>
                  <a:cxn ang="0">
                    <a:pos x="8" y="67"/>
                  </a:cxn>
                  <a:cxn ang="0">
                    <a:pos x="3" y="69"/>
                  </a:cxn>
                  <a:cxn ang="0">
                    <a:pos x="1" y="70"/>
                  </a:cxn>
                  <a:cxn ang="0">
                    <a:pos x="3" y="79"/>
                  </a:cxn>
                  <a:cxn ang="0">
                    <a:pos x="6" y="98"/>
                  </a:cxn>
                  <a:cxn ang="0">
                    <a:pos x="6" y="108"/>
                  </a:cxn>
                  <a:cxn ang="0">
                    <a:pos x="11" y="127"/>
                  </a:cxn>
                  <a:cxn ang="0">
                    <a:pos x="8" y="140"/>
                  </a:cxn>
                  <a:cxn ang="0">
                    <a:pos x="11" y="153"/>
                  </a:cxn>
                  <a:cxn ang="0">
                    <a:pos x="3" y="160"/>
                  </a:cxn>
                  <a:cxn ang="0">
                    <a:pos x="0" y="163"/>
                  </a:cxn>
                  <a:cxn ang="0">
                    <a:pos x="10" y="173"/>
                  </a:cxn>
                  <a:cxn ang="0">
                    <a:pos x="15" y="183"/>
                  </a:cxn>
                  <a:cxn ang="0">
                    <a:pos x="16" y="191"/>
                  </a:cxn>
                  <a:cxn ang="0">
                    <a:pos x="20" y="201"/>
                  </a:cxn>
                  <a:cxn ang="0">
                    <a:pos x="23" y="208"/>
                  </a:cxn>
                  <a:cxn ang="0">
                    <a:pos x="41" y="208"/>
                  </a:cxn>
                  <a:cxn ang="0">
                    <a:pos x="50" y="215"/>
                  </a:cxn>
                  <a:cxn ang="0">
                    <a:pos x="56" y="226"/>
                  </a:cxn>
                  <a:cxn ang="0">
                    <a:pos x="63" y="231"/>
                  </a:cxn>
                  <a:cxn ang="0">
                    <a:pos x="109" y="246"/>
                  </a:cxn>
                  <a:cxn ang="0">
                    <a:pos x="354" y="316"/>
                  </a:cxn>
                  <a:cxn ang="0">
                    <a:pos x="354" y="316"/>
                  </a:cxn>
                </a:cxnLst>
                <a:rect l="0" t="0" r="r" b="b"/>
                <a:pathLst>
                  <a:path w="377" h="318">
                    <a:moveTo>
                      <a:pt x="354" y="316"/>
                    </a:moveTo>
                    <a:lnTo>
                      <a:pt x="354" y="309"/>
                    </a:lnTo>
                    <a:lnTo>
                      <a:pt x="377" y="306"/>
                    </a:lnTo>
                    <a:lnTo>
                      <a:pt x="365" y="90"/>
                    </a:lnTo>
                    <a:lnTo>
                      <a:pt x="364" y="79"/>
                    </a:lnTo>
                    <a:lnTo>
                      <a:pt x="360" y="74"/>
                    </a:lnTo>
                    <a:lnTo>
                      <a:pt x="364" y="67"/>
                    </a:lnTo>
                    <a:lnTo>
                      <a:pt x="367" y="59"/>
                    </a:lnTo>
                    <a:lnTo>
                      <a:pt x="367" y="54"/>
                    </a:lnTo>
                    <a:lnTo>
                      <a:pt x="364" y="49"/>
                    </a:lnTo>
                    <a:lnTo>
                      <a:pt x="365" y="39"/>
                    </a:lnTo>
                    <a:lnTo>
                      <a:pt x="367" y="35"/>
                    </a:lnTo>
                    <a:lnTo>
                      <a:pt x="365" y="29"/>
                    </a:lnTo>
                    <a:lnTo>
                      <a:pt x="362" y="25"/>
                    </a:lnTo>
                    <a:lnTo>
                      <a:pt x="357" y="25"/>
                    </a:lnTo>
                    <a:lnTo>
                      <a:pt x="354" y="25"/>
                    </a:lnTo>
                    <a:lnTo>
                      <a:pt x="337" y="24"/>
                    </a:lnTo>
                    <a:lnTo>
                      <a:pt x="334" y="20"/>
                    </a:lnTo>
                    <a:lnTo>
                      <a:pt x="327" y="20"/>
                    </a:lnTo>
                    <a:lnTo>
                      <a:pt x="319" y="19"/>
                    </a:lnTo>
                    <a:lnTo>
                      <a:pt x="317" y="15"/>
                    </a:lnTo>
                    <a:lnTo>
                      <a:pt x="319" y="15"/>
                    </a:lnTo>
                    <a:lnTo>
                      <a:pt x="319" y="12"/>
                    </a:lnTo>
                    <a:lnTo>
                      <a:pt x="307" y="7"/>
                    </a:lnTo>
                    <a:lnTo>
                      <a:pt x="302" y="7"/>
                    </a:lnTo>
                    <a:lnTo>
                      <a:pt x="294" y="5"/>
                    </a:lnTo>
                    <a:lnTo>
                      <a:pt x="292" y="4"/>
                    </a:lnTo>
                    <a:lnTo>
                      <a:pt x="289" y="7"/>
                    </a:lnTo>
                    <a:lnTo>
                      <a:pt x="284" y="4"/>
                    </a:lnTo>
                    <a:lnTo>
                      <a:pt x="282" y="4"/>
                    </a:lnTo>
                    <a:lnTo>
                      <a:pt x="276" y="7"/>
                    </a:lnTo>
                    <a:lnTo>
                      <a:pt x="264" y="9"/>
                    </a:lnTo>
                    <a:lnTo>
                      <a:pt x="252" y="14"/>
                    </a:lnTo>
                    <a:lnTo>
                      <a:pt x="247" y="19"/>
                    </a:lnTo>
                    <a:lnTo>
                      <a:pt x="246" y="24"/>
                    </a:lnTo>
                    <a:lnTo>
                      <a:pt x="242" y="27"/>
                    </a:lnTo>
                    <a:lnTo>
                      <a:pt x="242" y="37"/>
                    </a:lnTo>
                    <a:lnTo>
                      <a:pt x="246" y="44"/>
                    </a:lnTo>
                    <a:lnTo>
                      <a:pt x="249" y="52"/>
                    </a:lnTo>
                    <a:lnTo>
                      <a:pt x="247" y="57"/>
                    </a:lnTo>
                    <a:lnTo>
                      <a:pt x="241" y="64"/>
                    </a:lnTo>
                    <a:lnTo>
                      <a:pt x="241" y="65"/>
                    </a:lnTo>
                    <a:lnTo>
                      <a:pt x="232" y="72"/>
                    </a:lnTo>
                    <a:lnTo>
                      <a:pt x="227" y="74"/>
                    </a:lnTo>
                    <a:lnTo>
                      <a:pt x="216" y="70"/>
                    </a:lnTo>
                    <a:lnTo>
                      <a:pt x="207" y="62"/>
                    </a:lnTo>
                    <a:lnTo>
                      <a:pt x="199" y="57"/>
                    </a:lnTo>
                    <a:lnTo>
                      <a:pt x="187" y="52"/>
                    </a:lnTo>
                    <a:lnTo>
                      <a:pt x="171" y="45"/>
                    </a:lnTo>
                    <a:lnTo>
                      <a:pt x="163" y="44"/>
                    </a:lnTo>
                    <a:lnTo>
                      <a:pt x="159" y="45"/>
                    </a:lnTo>
                    <a:lnTo>
                      <a:pt x="151" y="45"/>
                    </a:lnTo>
                    <a:lnTo>
                      <a:pt x="143" y="42"/>
                    </a:lnTo>
                    <a:lnTo>
                      <a:pt x="134" y="29"/>
                    </a:lnTo>
                    <a:lnTo>
                      <a:pt x="134" y="22"/>
                    </a:lnTo>
                    <a:lnTo>
                      <a:pt x="129" y="15"/>
                    </a:lnTo>
                    <a:lnTo>
                      <a:pt x="113" y="12"/>
                    </a:lnTo>
                    <a:lnTo>
                      <a:pt x="104" y="9"/>
                    </a:lnTo>
                    <a:lnTo>
                      <a:pt x="91" y="7"/>
                    </a:lnTo>
                    <a:lnTo>
                      <a:pt x="84" y="5"/>
                    </a:lnTo>
                    <a:lnTo>
                      <a:pt x="68" y="7"/>
                    </a:lnTo>
                    <a:lnTo>
                      <a:pt x="55" y="5"/>
                    </a:lnTo>
                    <a:lnTo>
                      <a:pt x="51" y="2"/>
                    </a:lnTo>
                    <a:lnTo>
                      <a:pt x="45" y="0"/>
                    </a:lnTo>
                    <a:lnTo>
                      <a:pt x="45" y="2"/>
                    </a:lnTo>
                    <a:lnTo>
                      <a:pt x="46" y="10"/>
                    </a:lnTo>
                    <a:lnTo>
                      <a:pt x="48" y="12"/>
                    </a:lnTo>
                    <a:lnTo>
                      <a:pt x="43" y="20"/>
                    </a:lnTo>
                    <a:lnTo>
                      <a:pt x="28" y="29"/>
                    </a:lnTo>
                    <a:lnTo>
                      <a:pt x="28" y="30"/>
                    </a:lnTo>
                    <a:lnTo>
                      <a:pt x="25" y="35"/>
                    </a:lnTo>
                    <a:lnTo>
                      <a:pt x="18" y="35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5" y="44"/>
                    </a:lnTo>
                    <a:lnTo>
                      <a:pt x="16" y="50"/>
                    </a:lnTo>
                    <a:lnTo>
                      <a:pt x="16" y="55"/>
                    </a:lnTo>
                    <a:lnTo>
                      <a:pt x="15" y="57"/>
                    </a:lnTo>
                    <a:lnTo>
                      <a:pt x="16" y="59"/>
                    </a:lnTo>
                    <a:lnTo>
                      <a:pt x="15" y="60"/>
                    </a:lnTo>
                    <a:lnTo>
                      <a:pt x="11" y="65"/>
                    </a:lnTo>
                    <a:lnTo>
                      <a:pt x="8" y="67"/>
                    </a:lnTo>
                    <a:lnTo>
                      <a:pt x="6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1" y="70"/>
                    </a:lnTo>
                    <a:lnTo>
                      <a:pt x="1" y="77"/>
                    </a:lnTo>
                    <a:lnTo>
                      <a:pt x="3" y="79"/>
                    </a:lnTo>
                    <a:lnTo>
                      <a:pt x="6" y="83"/>
                    </a:lnTo>
                    <a:lnTo>
                      <a:pt x="6" y="98"/>
                    </a:lnTo>
                    <a:lnTo>
                      <a:pt x="8" y="107"/>
                    </a:lnTo>
                    <a:lnTo>
                      <a:pt x="6" y="108"/>
                    </a:lnTo>
                    <a:lnTo>
                      <a:pt x="8" y="120"/>
                    </a:lnTo>
                    <a:lnTo>
                      <a:pt x="11" y="127"/>
                    </a:lnTo>
                    <a:lnTo>
                      <a:pt x="8" y="138"/>
                    </a:lnTo>
                    <a:lnTo>
                      <a:pt x="8" y="140"/>
                    </a:lnTo>
                    <a:lnTo>
                      <a:pt x="10" y="145"/>
                    </a:lnTo>
                    <a:lnTo>
                      <a:pt x="11" y="153"/>
                    </a:lnTo>
                    <a:lnTo>
                      <a:pt x="10" y="157"/>
                    </a:lnTo>
                    <a:lnTo>
                      <a:pt x="3" y="160"/>
                    </a:lnTo>
                    <a:lnTo>
                      <a:pt x="1" y="162"/>
                    </a:lnTo>
                    <a:lnTo>
                      <a:pt x="0" y="163"/>
                    </a:lnTo>
                    <a:lnTo>
                      <a:pt x="3" y="167"/>
                    </a:lnTo>
                    <a:lnTo>
                      <a:pt x="10" y="173"/>
                    </a:lnTo>
                    <a:lnTo>
                      <a:pt x="13" y="183"/>
                    </a:lnTo>
                    <a:lnTo>
                      <a:pt x="15" y="183"/>
                    </a:lnTo>
                    <a:lnTo>
                      <a:pt x="16" y="190"/>
                    </a:lnTo>
                    <a:lnTo>
                      <a:pt x="16" y="191"/>
                    </a:lnTo>
                    <a:lnTo>
                      <a:pt x="16" y="198"/>
                    </a:lnTo>
                    <a:lnTo>
                      <a:pt x="20" y="201"/>
                    </a:lnTo>
                    <a:lnTo>
                      <a:pt x="20" y="205"/>
                    </a:lnTo>
                    <a:lnTo>
                      <a:pt x="23" y="208"/>
                    </a:lnTo>
                    <a:lnTo>
                      <a:pt x="33" y="208"/>
                    </a:lnTo>
                    <a:lnTo>
                      <a:pt x="41" y="208"/>
                    </a:lnTo>
                    <a:lnTo>
                      <a:pt x="46" y="210"/>
                    </a:lnTo>
                    <a:lnTo>
                      <a:pt x="50" y="215"/>
                    </a:lnTo>
                    <a:lnTo>
                      <a:pt x="55" y="225"/>
                    </a:lnTo>
                    <a:lnTo>
                      <a:pt x="56" y="226"/>
                    </a:lnTo>
                    <a:lnTo>
                      <a:pt x="60" y="230"/>
                    </a:lnTo>
                    <a:lnTo>
                      <a:pt x="63" y="231"/>
                    </a:lnTo>
                    <a:lnTo>
                      <a:pt x="104" y="241"/>
                    </a:lnTo>
                    <a:lnTo>
                      <a:pt x="109" y="246"/>
                    </a:lnTo>
                    <a:lnTo>
                      <a:pt x="158" y="226"/>
                    </a:lnTo>
                    <a:lnTo>
                      <a:pt x="354" y="316"/>
                    </a:lnTo>
                    <a:lnTo>
                      <a:pt x="354" y="318"/>
                    </a:lnTo>
                    <a:lnTo>
                      <a:pt x="354" y="3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59" name="Freeform 101"/>
              <p:cNvSpPr>
                <a:spLocks noEditPoints="1"/>
              </p:cNvSpPr>
              <p:nvPr/>
            </p:nvSpPr>
            <p:spPr bwMode="auto">
              <a:xfrm>
                <a:off x="6509196" y="2824589"/>
                <a:ext cx="50301" cy="89233"/>
              </a:xfrm>
              <a:custGeom>
                <a:avLst/>
                <a:gdLst/>
                <a:ahLst/>
                <a:cxnLst>
                  <a:cxn ang="0">
                    <a:pos x="53" y="172"/>
                  </a:cxn>
                  <a:cxn ang="0">
                    <a:pos x="58" y="168"/>
                  </a:cxn>
                  <a:cxn ang="0">
                    <a:pos x="63" y="162"/>
                  </a:cxn>
                  <a:cxn ang="0">
                    <a:pos x="63" y="158"/>
                  </a:cxn>
                  <a:cxn ang="0">
                    <a:pos x="62" y="147"/>
                  </a:cxn>
                  <a:cxn ang="0">
                    <a:pos x="62" y="142"/>
                  </a:cxn>
                  <a:cxn ang="0">
                    <a:pos x="72" y="138"/>
                  </a:cxn>
                  <a:cxn ang="0">
                    <a:pos x="75" y="132"/>
                  </a:cxn>
                  <a:cxn ang="0">
                    <a:pos x="95" y="115"/>
                  </a:cxn>
                  <a:cxn ang="0">
                    <a:pos x="92" y="105"/>
                  </a:cxn>
                  <a:cxn ang="0">
                    <a:pos x="90" y="103"/>
                  </a:cxn>
                  <a:cxn ang="0">
                    <a:pos x="82" y="97"/>
                  </a:cxn>
                  <a:cxn ang="0">
                    <a:pos x="78" y="92"/>
                  </a:cxn>
                  <a:cxn ang="0">
                    <a:pos x="77" y="95"/>
                  </a:cxn>
                  <a:cxn ang="0">
                    <a:pos x="72" y="95"/>
                  </a:cxn>
                  <a:cxn ang="0">
                    <a:pos x="67" y="92"/>
                  </a:cxn>
                  <a:cxn ang="0">
                    <a:pos x="55" y="80"/>
                  </a:cxn>
                  <a:cxn ang="0">
                    <a:pos x="70" y="67"/>
                  </a:cxn>
                  <a:cxn ang="0">
                    <a:pos x="78" y="59"/>
                  </a:cxn>
                  <a:cxn ang="0">
                    <a:pos x="78" y="54"/>
                  </a:cxn>
                  <a:cxn ang="0">
                    <a:pos x="77" y="49"/>
                  </a:cxn>
                  <a:cxn ang="0">
                    <a:pos x="70" y="40"/>
                  </a:cxn>
                  <a:cxn ang="0">
                    <a:pos x="65" y="27"/>
                  </a:cxn>
                  <a:cxn ang="0">
                    <a:pos x="72" y="19"/>
                  </a:cxn>
                  <a:cxn ang="0">
                    <a:pos x="75" y="9"/>
                  </a:cxn>
                  <a:cxn ang="0">
                    <a:pos x="65" y="14"/>
                  </a:cxn>
                  <a:cxn ang="0">
                    <a:pos x="60" y="15"/>
                  </a:cxn>
                  <a:cxn ang="0">
                    <a:pos x="53" y="7"/>
                  </a:cxn>
                  <a:cxn ang="0">
                    <a:pos x="50" y="0"/>
                  </a:cxn>
                  <a:cxn ang="0">
                    <a:pos x="45" y="4"/>
                  </a:cxn>
                  <a:cxn ang="0">
                    <a:pos x="37" y="2"/>
                  </a:cxn>
                  <a:cxn ang="0">
                    <a:pos x="22" y="12"/>
                  </a:cxn>
                  <a:cxn ang="0">
                    <a:pos x="20" y="15"/>
                  </a:cxn>
                  <a:cxn ang="0">
                    <a:pos x="20" y="24"/>
                  </a:cxn>
                  <a:cxn ang="0">
                    <a:pos x="17" y="40"/>
                  </a:cxn>
                  <a:cxn ang="0">
                    <a:pos x="22" y="50"/>
                  </a:cxn>
                  <a:cxn ang="0">
                    <a:pos x="20" y="54"/>
                  </a:cxn>
                  <a:cxn ang="0">
                    <a:pos x="20" y="59"/>
                  </a:cxn>
                  <a:cxn ang="0">
                    <a:pos x="17" y="69"/>
                  </a:cxn>
                  <a:cxn ang="0">
                    <a:pos x="12" y="74"/>
                  </a:cxn>
                  <a:cxn ang="0">
                    <a:pos x="4" y="80"/>
                  </a:cxn>
                  <a:cxn ang="0">
                    <a:pos x="2" y="92"/>
                  </a:cxn>
                  <a:cxn ang="0">
                    <a:pos x="4" y="100"/>
                  </a:cxn>
                  <a:cxn ang="0">
                    <a:pos x="9" y="105"/>
                  </a:cxn>
                  <a:cxn ang="0">
                    <a:pos x="17" y="117"/>
                  </a:cxn>
                  <a:cxn ang="0">
                    <a:pos x="25" y="120"/>
                  </a:cxn>
                  <a:cxn ang="0">
                    <a:pos x="35" y="127"/>
                  </a:cxn>
                  <a:cxn ang="0">
                    <a:pos x="50" y="172"/>
                  </a:cxn>
                  <a:cxn ang="0">
                    <a:pos x="73" y="87"/>
                  </a:cxn>
                  <a:cxn ang="0">
                    <a:pos x="78" y="88"/>
                  </a:cxn>
                  <a:cxn ang="0">
                    <a:pos x="72" y="88"/>
                  </a:cxn>
                </a:cxnLst>
                <a:rect l="0" t="0" r="r" b="b"/>
                <a:pathLst>
                  <a:path w="95" h="172">
                    <a:moveTo>
                      <a:pt x="50" y="172"/>
                    </a:moveTo>
                    <a:lnTo>
                      <a:pt x="53" y="172"/>
                    </a:lnTo>
                    <a:lnTo>
                      <a:pt x="55" y="170"/>
                    </a:lnTo>
                    <a:lnTo>
                      <a:pt x="58" y="168"/>
                    </a:lnTo>
                    <a:lnTo>
                      <a:pt x="62" y="163"/>
                    </a:lnTo>
                    <a:lnTo>
                      <a:pt x="63" y="162"/>
                    </a:lnTo>
                    <a:lnTo>
                      <a:pt x="62" y="160"/>
                    </a:lnTo>
                    <a:lnTo>
                      <a:pt x="63" y="158"/>
                    </a:lnTo>
                    <a:lnTo>
                      <a:pt x="63" y="153"/>
                    </a:lnTo>
                    <a:lnTo>
                      <a:pt x="62" y="147"/>
                    </a:lnTo>
                    <a:lnTo>
                      <a:pt x="62" y="143"/>
                    </a:lnTo>
                    <a:lnTo>
                      <a:pt x="62" y="142"/>
                    </a:lnTo>
                    <a:lnTo>
                      <a:pt x="65" y="138"/>
                    </a:lnTo>
                    <a:lnTo>
                      <a:pt x="72" y="138"/>
                    </a:lnTo>
                    <a:lnTo>
                      <a:pt x="75" y="133"/>
                    </a:lnTo>
                    <a:lnTo>
                      <a:pt x="75" y="132"/>
                    </a:lnTo>
                    <a:lnTo>
                      <a:pt x="90" y="123"/>
                    </a:lnTo>
                    <a:lnTo>
                      <a:pt x="95" y="115"/>
                    </a:lnTo>
                    <a:lnTo>
                      <a:pt x="93" y="113"/>
                    </a:lnTo>
                    <a:lnTo>
                      <a:pt x="92" y="105"/>
                    </a:lnTo>
                    <a:lnTo>
                      <a:pt x="92" y="103"/>
                    </a:lnTo>
                    <a:lnTo>
                      <a:pt x="90" y="103"/>
                    </a:lnTo>
                    <a:lnTo>
                      <a:pt x="82" y="98"/>
                    </a:lnTo>
                    <a:lnTo>
                      <a:pt x="82" y="97"/>
                    </a:lnTo>
                    <a:lnTo>
                      <a:pt x="82" y="93"/>
                    </a:lnTo>
                    <a:lnTo>
                      <a:pt x="78" y="92"/>
                    </a:lnTo>
                    <a:lnTo>
                      <a:pt x="77" y="93"/>
                    </a:lnTo>
                    <a:lnTo>
                      <a:pt x="77" y="95"/>
                    </a:lnTo>
                    <a:lnTo>
                      <a:pt x="75" y="95"/>
                    </a:lnTo>
                    <a:lnTo>
                      <a:pt x="72" y="95"/>
                    </a:lnTo>
                    <a:lnTo>
                      <a:pt x="70" y="92"/>
                    </a:lnTo>
                    <a:lnTo>
                      <a:pt x="67" y="92"/>
                    </a:lnTo>
                    <a:lnTo>
                      <a:pt x="58" y="87"/>
                    </a:lnTo>
                    <a:lnTo>
                      <a:pt x="55" y="80"/>
                    </a:lnTo>
                    <a:lnTo>
                      <a:pt x="58" y="74"/>
                    </a:lnTo>
                    <a:lnTo>
                      <a:pt x="70" y="67"/>
                    </a:lnTo>
                    <a:lnTo>
                      <a:pt x="77" y="60"/>
                    </a:lnTo>
                    <a:lnTo>
                      <a:pt x="78" y="59"/>
                    </a:lnTo>
                    <a:lnTo>
                      <a:pt x="77" y="55"/>
                    </a:lnTo>
                    <a:lnTo>
                      <a:pt x="78" y="54"/>
                    </a:lnTo>
                    <a:lnTo>
                      <a:pt x="78" y="50"/>
                    </a:lnTo>
                    <a:lnTo>
                      <a:pt x="77" y="49"/>
                    </a:lnTo>
                    <a:lnTo>
                      <a:pt x="77" y="42"/>
                    </a:lnTo>
                    <a:lnTo>
                      <a:pt x="70" y="40"/>
                    </a:lnTo>
                    <a:lnTo>
                      <a:pt x="63" y="32"/>
                    </a:lnTo>
                    <a:lnTo>
                      <a:pt x="65" y="27"/>
                    </a:lnTo>
                    <a:lnTo>
                      <a:pt x="70" y="24"/>
                    </a:lnTo>
                    <a:lnTo>
                      <a:pt x="72" y="19"/>
                    </a:lnTo>
                    <a:lnTo>
                      <a:pt x="75" y="12"/>
                    </a:lnTo>
                    <a:lnTo>
                      <a:pt x="75" y="9"/>
                    </a:lnTo>
                    <a:lnTo>
                      <a:pt x="73" y="7"/>
                    </a:lnTo>
                    <a:lnTo>
                      <a:pt x="65" y="14"/>
                    </a:lnTo>
                    <a:lnTo>
                      <a:pt x="62" y="17"/>
                    </a:lnTo>
                    <a:lnTo>
                      <a:pt x="60" y="15"/>
                    </a:lnTo>
                    <a:lnTo>
                      <a:pt x="55" y="7"/>
                    </a:lnTo>
                    <a:lnTo>
                      <a:pt x="53" y="7"/>
                    </a:lnTo>
                    <a:lnTo>
                      <a:pt x="53" y="4"/>
                    </a:lnTo>
                    <a:lnTo>
                      <a:pt x="50" y="0"/>
                    </a:lnTo>
                    <a:lnTo>
                      <a:pt x="45" y="2"/>
                    </a:lnTo>
                    <a:lnTo>
                      <a:pt x="45" y="4"/>
                    </a:lnTo>
                    <a:lnTo>
                      <a:pt x="43" y="2"/>
                    </a:lnTo>
                    <a:lnTo>
                      <a:pt x="37" y="2"/>
                    </a:lnTo>
                    <a:lnTo>
                      <a:pt x="27" y="7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5"/>
                    </a:lnTo>
                    <a:lnTo>
                      <a:pt x="22" y="17"/>
                    </a:lnTo>
                    <a:lnTo>
                      <a:pt x="20" y="24"/>
                    </a:lnTo>
                    <a:lnTo>
                      <a:pt x="20" y="30"/>
                    </a:lnTo>
                    <a:lnTo>
                      <a:pt x="17" y="40"/>
                    </a:lnTo>
                    <a:lnTo>
                      <a:pt x="19" y="47"/>
                    </a:lnTo>
                    <a:lnTo>
                      <a:pt x="22" y="50"/>
                    </a:lnTo>
                    <a:lnTo>
                      <a:pt x="22" y="52"/>
                    </a:lnTo>
                    <a:lnTo>
                      <a:pt x="20" y="54"/>
                    </a:lnTo>
                    <a:lnTo>
                      <a:pt x="17" y="57"/>
                    </a:lnTo>
                    <a:lnTo>
                      <a:pt x="20" y="59"/>
                    </a:lnTo>
                    <a:lnTo>
                      <a:pt x="19" y="62"/>
                    </a:lnTo>
                    <a:lnTo>
                      <a:pt x="17" y="69"/>
                    </a:lnTo>
                    <a:lnTo>
                      <a:pt x="14" y="70"/>
                    </a:lnTo>
                    <a:lnTo>
                      <a:pt x="12" y="74"/>
                    </a:lnTo>
                    <a:lnTo>
                      <a:pt x="9" y="75"/>
                    </a:lnTo>
                    <a:lnTo>
                      <a:pt x="4" y="80"/>
                    </a:lnTo>
                    <a:lnTo>
                      <a:pt x="0" y="92"/>
                    </a:lnTo>
                    <a:lnTo>
                      <a:pt x="2" y="92"/>
                    </a:lnTo>
                    <a:lnTo>
                      <a:pt x="5" y="98"/>
                    </a:lnTo>
                    <a:lnTo>
                      <a:pt x="4" y="100"/>
                    </a:lnTo>
                    <a:lnTo>
                      <a:pt x="7" y="105"/>
                    </a:lnTo>
                    <a:lnTo>
                      <a:pt x="9" y="105"/>
                    </a:lnTo>
                    <a:lnTo>
                      <a:pt x="15" y="110"/>
                    </a:lnTo>
                    <a:lnTo>
                      <a:pt x="17" y="117"/>
                    </a:lnTo>
                    <a:lnTo>
                      <a:pt x="24" y="118"/>
                    </a:lnTo>
                    <a:lnTo>
                      <a:pt x="25" y="120"/>
                    </a:lnTo>
                    <a:lnTo>
                      <a:pt x="28" y="122"/>
                    </a:lnTo>
                    <a:lnTo>
                      <a:pt x="35" y="127"/>
                    </a:lnTo>
                    <a:lnTo>
                      <a:pt x="50" y="172"/>
                    </a:lnTo>
                    <a:lnTo>
                      <a:pt x="50" y="172"/>
                    </a:lnTo>
                    <a:close/>
                    <a:moveTo>
                      <a:pt x="72" y="88"/>
                    </a:moveTo>
                    <a:lnTo>
                      <a:pt x="73" y="87"/>
                    </a:lnTo>
                    <a:lnTo>
                      <a:pt x="77" y="87"/>
                    </a:lnTo>
                    <a:lnTo>
                      <a:pt x="78" y="88"/>
                    </a:lnTo>
                    <a:lnTo>
                      <a:pt x="75" y="90"/>
                    </a:lnTo>
                    <a:lnTo>
                      <a:pt x="72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0" name="Freeform 102"/>
              <p:cNvSpPr>
                <a:spLocks/>
              </p:cNvSpPr>
              <p:nvPr/>
            </p:nvSpPr>
            <p:spPr bwMode="auto">
              <a:xfrm>
                <a:off x="6307989" y="2828739"/>
                <a:ext cx="260070" cy="219969"/>
              </a:xfrm>
              <a:custGeom>
                <a:avLst/>
                <a:gdLst/>
                <a:ahLst/>
                <a:cxnLst>
                  <a:cxn ang="0">
                    <a:pos x="480" y="322"/>
                  </a:cxn>
                  <a:cxn ang="0">
                    <a:pos x="470" y="306"/>
                  </a:cxn>
                  <a:cxn ang="0">
                    <a:pos x="447" y="304"/>
                  </a:cxn>
                  <a:cxn ang="0">
                    <a:pos x="440" y="294"/>
                  </a:cxn>
                  <a:cxn ang="0">
                    <a:pos x="439" y="279"/>
                  </a:cxn>
                  <a:cxn ang="0">
                    <a:pos x="427" y="263"/>
                  </a:cxn>
                  <a:cxn ang="0">
                    <a:pos x="427" y="256"/>
                  </a:cxn>
                  <a:cxn ang="0">
                    <a:pos x="434" y="241"/>
                  </a:cxn>
                  <a:cxn ang="0">
                    <a:pos x="435" y="223"/>
                  </a:cxn>
                  <a:cxn ang="0">
                    <a:pos x="432" y="203"/>
                  </a:cxn>
                  <a:cxn ang="0">
                    <a:pos x="427" y="175"/>
                  </a:cxn>
                  <a:cxn ang="0">
                    <a:pos x="427" y="165"/>
                  </a:cxn>
                  <a:cxn ang="0">
                    <a:pos x="402" y="113"/>
                  </a:cxn>
                  <a:cxn ang="0">
                    <a:pos x="392" y="103"/>
                  </a:cxn>
                  <a:cxn ang="0">
                    <a:pos x="381" y="93"/>
                  </a:cxn>
                  <a:cxn ang="0">
                    <a:pos x="377" y="85"/>
                  </a:cxn>
                  <a:cxn ang="0">
                    <a:pos x="389" y="67"/>
                  </a:cxn>
                  <a:cxn ang="0">
                    <a:pos x="396" y="55"/>
                  </a:cxn>
                  <a:cxn ang="0">
                    <a:pos x="397" y="47"/>
                  </a:cxn>
                  <a:cxn ang="0">
                    <a:pos x="396" y="40"/>
                  </a:cxn>
                  <a:cxn ang="0">
                    <a:pos x="397" y="17"/>
                  </a:cxn>
                  <a:cxn ang="0">
                    <a:pos x="399" y="5"/>
                  </a:cxn>
                  <a:cxn ang="0">
                    <a:pos x="387" y="3"/>
                  </a:cxn>
                  <a:cxn ang="0">
                    <a:pos x="364" y="0"/>
                  </a:cxn>
                  <a:cxn ang="0">
                    <a:pos x="352" y="5"/>
                  </a:cxn>
                  <a:cxn ang="0">
                    <a:pos x="342" y="0"/>
                  </a:cxn>
                  <a:cxn ang="0">
                    <a:pos x="334" y="8"/>
                  </a:cxn>
                  <a:cxn ang="0">
                    <a:pos x="322" y="10"/>
                  </a:cxn>
                  <a:cxn ang="0">
                    <a:pos x="307" y="5"/>
                  </a:cxn>
                  <a:cxn ang="0">
                    <a:pos x="293" y="5"/>
                  </a:cxn>
                  <a:cxn ang="0">
                    <a:pos x="283" y="5"/>
                  </a:cxn>
                  <a:cxn ang="0">
                    <a:pos x="271" y="7"/>
                  </a:cxn>
                  <a:cxn ang="0">
                    <a:pos x="256" y="10"/>
                  </a:cxn>
                  <a:cxn ang="0">
                    <a:pos x="236" y="12"/>
                  </a:cxn>
                  <a:cxn ang="0">
                    <a:pos x="214" y="20"/>
                  </a:cxn>
                  <a:cxn ang="0">
                    <a:pos x="205" y="30"/>
                  </a:cxn>
                  <a:cxn ang="0">
                    <a:pos x="198" y="28"/>
                  </a:cxn>
                  <a:cxn ang="0">
                    <a:pos x="186" y="33"/>
                  </a:cxn>
                  <a:cxn ang="0">
                    <a:pos x="176" y="40"/>
                  </a:cxn>
                  <a:cxn ang="0">
                    <a:pos x="158" y="48"/>
                  </a:cxn>
                  <a:cxn ang="0">
                    <a:pos x="165" y="57"/>
                  </a:cxn>
                  <a:cxn ang="0">
                    <a:pos x="166" y="68"/>
                  </a:cxn>
                  <a:cxn ang="0">
                    <a:pos x="168" y="96"/>
                  </a:cxn>
                  <a:cxn ang="0">
                    <a:pos x="176" y="108"/>
                  </a:cxn>
                  <a:cxn ang="0">
                    <a:pos x="185" y="111"/>
                  </a:cxn>
                  <a:cxn ang="0">
                    <a:pos x="178" y="123"/>
                  </a:cxn>
                  <a:cxn ang="0">
                    <a:pos x="138" y="133"/>
                  </a:cxn>
                  <a:cxn ang="0">
                    <a:pos x="131" y="150"/>
                  </a:cxn>
                  <a:cxn ang="0">
                    <a:pos x="87" y="178"/>
                  </a:cxn>
                  <a:cxn ang="0">
                    <a:pos x="48" y="189"/>
                  </a:cxn>
                  <a:cxn ang="0">
                    <a:pos x="23" y="193"/>
                  </a:cxn>
                  <a:cxn ang="0">
                    <a:pos x="0" y="211"/>
                  </a:cxn>
                  <a:cxn ang="0">
                    <a:pos x="0" y="236"/>
                  </a:cxn>
                  <a:cxn ang="0">
                    <a:pos x="88" y="289"/>
                  </a:cxn>
                  <a:cxn ang="0">
                    <a:pos x="249" y="394"/>
                  </a:cxn>
                  <a:cxn ang="0">
                    <a:pos x="271" y="400"/>
                  </a:cxn>
                  <a:cxn ang="0">
                    <a:pos x="286" y="410"/>
                  </a:cxn>
                  <a:cxn ang="0">
                    <a:pos x="284" y="424"/>
                  </a:cxn>
                  <a:cxn ang="0">
                    <a:pos x="311" y="422"/>
                  </a:cxn>
                  <a:cxn ang="0">
                    <a:pos x="347" y="414"/>
                  </a:cxn>
                  <a:cxn ang="0">
                    <a:pos x="487" y="327"/>
                  </a:cxn>
                </a:cxnLst>
                <a:rect l="0" t="0" r="r" b="b"/>
                <a:pathLst>
                  <a:path w="487" h="425">
                    <a:moveTo>
                      <a:pt x="487" y="327"/>
                    </a:moveTo>
                    <a:lnTo>
                      <a:pt x="484" y="326"/>
                    </a:lnTo>
                    <a:lnTo>
                      <a:pt x="480" y="322"/>
                    </a:lnTo>
                    <a:lnTo>
                      <a:pt x="479" y="321"/>
                    </a:lnTo>
                    <a:lnTo>
                      <a:pt x="474" y="311"/>
                    </a:lnTo>
                    <a:lnTo>
                      <a:pt x="470" y="306"/>
                    </a:lnTo>
                    <a:lnTo>
                      <a:pt x="465" y="304"/>
                    </a:lnTo>
                    <a:lnTo>
                      <a:pt x="457" y="304"/>
                    </a:lnTo>
                    <a:lnTo>
                      <a:pt x="447" y="304"/>
                    </a:lnTo>
                    <a:lnTo>
                      <a:pt x="444" y="301"/>
                    </a:lnTo>
                    <a:lnTo>
                      <a:pt x="444" y="297"/>
                    </a:lnTo>
                    <a:lnTo>
                      <a:pt x="440" y="294"/>
                    </a:lnTo>
                    <a:lnTo>
                      <a:pt x="440" y="287"/>
                    </a:lnTo>
                    <a:lnTo>
                      <a:pt x="440" y="286"/>
                    </a:lnTo>
                    <a:lnTo>
                      <a:pt x="439" y="279"/>
                    </a:lnTo>
                    <a:lnTo>
                      <a:pt x="437" y="279"/>
                    </a:lnTo>
                    <a:lnTo>
                      <a:pt x="434" y="269"/>
                    </a:lnTo>
                    <a:lnTo>
                      <a:pt x="427" y="263"/>
                    </a:lnTo>
                    <a:lnTo>
                      <a:pt x="424" y="259"/>
                    </a:lnTo>
                    <a:lnTo>
                      <a:pt x="425" y="258"/>
                    </a:lnTo>
                    <a:lnTo>
                      <a:pt x="427" y="256"/>
                    </a:lnTo>
                    <a:lnTo>
                      <a:pt x="434" y="253"/>
                    </a:lnTo>
                    <a:lnTo>
                      <a:pt x="435" y="249"/>
                    </a:lnTo>
                    <a:lnTo>
                      <a:pt x="434" y="241"/>
                    </a:lnTo>
                    <a:lnTo>
                      <a:pt x="432" y="236"/>
                    </a:lnTo>
                    <a:lnTo>
                      <a:pt x="432" y="234"/>
                    </a:lnTo>
                    <a:lnTo>
                      <a:pt x="435" y="223"/>
                    </a:lnTo>
                    <a:lnTo>
                      <a:pt x="432" y="216"/>
                    </a:lnTo>
                    <a:lnTo>
                      <a:pt x="430" y="204"/>
                    </a:lnTo>
                    <a:lnTo>
                      <a:pt x="432" y="203"/>
                    </a:lnTo>
                    <a:lnTo>
                      <a:pt x="430" y="194"/>
                    </a:lnTo>
                    <a:lnTo>
                      <a:pt x="430" y="179"/>
                    </a:lnTo>
                    <a:lnTo>
                      <a:pt x="427" y="175"/>
                    </a:lnTo>
                    <a:lnTo>
                      <a:pt x="425" y="173"/>
                    </a:lnTo>
                    <a:lnTo>
                      <a:pt x="425" y="166"/>
                    </a:lnTo>
                    <a:lnTo>
                      <a:pt x="427" y="165"/>
                    </a:lnTo>
                    <a:lnTo>
                      <a:pt x="412" y="120"/>
                    </a:lnTo>
                    <a:lnTo>
                      <a:pt x="405" y="115"/>
                    </a:lnTo>
                    <a:lnTo>
                      <a:pt x="402" y="113"/>
                    </a:lnTo>
                    <a:lnTo>
                      <a:pt x="401" y="111"/>
                    </a:lnTo>
                    <a:lnTo>
                      <a:pt x="394" y="110"/>
                    </a:lnTo>
                    <a:lnTo>
                      <a:pt x="392" y="103"/>
                    </a:lnTo>
                    <a:lnTo>
                      <a:pt x="386" y="98"/>
                    </a:lnTo>
                    <a:lnTo>
                      <a:pt x="384" y="98"/>
                    </a:lnTo>
                    <a:lnTo>
                      <a:pt x="381" y="93"/>
                    </a:lnTo>
                    <a:lnTo>
                      <a:pt x="382" y="91"/>
                    </a:lnTo>
                    <a:lnTo>
                      <a:pt x="379" y="85"/>
                    </a:lnTo>
                    <a:lnTo>
                      <a:pt x="377" y="85"/>
                    </a:lnTo>
                    <a:lnTo>
                      <a:pt x="381" y="73"/>
                    </a:lnTo>
                    <a:lnTo>
                      <a:pt x="386" y="68"/>
                    </a:lnTo>
                    <a:lnTo>
                      <a:pt x="389" y="67"/>
                    </a:lnTo>
                    <a:lnTo>
                      <a:pt x="391" y="63"/>
                    </a:lnTo>
                    <a:lnTo>
                      <a:pt x="394" y="62"/>
                    </a:lnTo>
                    <a:lnTo>
                      <a:pt x="396" y="55"/>
                    </a:lnTo>
                    <a:lnTo>
                      <a:pt x="397" y="52"/>
                    </a:lnTo>
                    <a:lnTo>
                      <a:pt x="394" y="50"/>
                    </a:lnTo>
                    <a:lnTo>
                      <a:pt x="397" y="47"/>
                    </a:lnTo>
                    <a:lnTo>
                      <a:pt x="399" y="45"/>
                    </a:lnTo>
                    <a:lnTo>
                      <a:pt x="399" y="43"/>
                    </a:lnTo>
                    <a:lnTo>
                      <a:pt x="396" y="40"/>
                    </a:lnTo>
                    <a:lnTo>
                      <a:pt x="394" y="33"/>
                    </a:lnTo>
                    <a:lnTo>
                      <a:pt x="397" y="23"/>
                    </a:lnTo>
                    <a:lnTo>
                      <a:pt x="397" y="17"/>
                    </a:lnTo>
                    <a:lnTo>
                      <a:pt x="399" y="10"/>
                    </a:lnTo>
                    <a:lnTo>
                      <a:pt x="397" y="8"/>
                    </a:lnTo>
                    <a:lnTo>
                      <a:pt x="399" y="5"/>
                    </a:lnTo>
                    <a:lnTo>
                      <a:pt x="397" y="3"/>
                    </a:lnTo>
                    <a:lnTo>
                      <a:pt x="391" y="5"/>
                    </a:lnTo>
                    <a:lnTo>
                      <a:pt x="387" y="3"/>
                    </a:lnTo>
                    <a:lnTo>
                      <a:pt x="377" y="7"/>
                    </a:lnTo>
                    <a:lnTo>
                      <a:pt x="371" y="2"/>
                    </a:lnTo>
                    <a:lnTo>
                      <a:pt x="364" y="0"/>
                    </a:lnTo>
                    <a:lnTo>
                      <a:pt x="364" y="2"/>
                    </a:lnTo>
                    <a:lnTo>
                      <a:pt x="361" y="7"/>
                    </a:lnTo>
                    <a:lnTo>
                      <a:pt x="352" y="5"/>
                    </a:lnTo>
                    <a:lnTo>
                      <a:pt x="351" y="2"/>
                    </a:lnTo>
                    <a:lnTo>
                      <a:pt x="347" y="0"/>
                    </a:lnTo>
                    <a:lnTo>
                      <a:pt x="342" y="0"/>
                    </a:lnTo>
                    <a:lnTo>
                      <a:pt x="342" y="3"/>
                    </a:lnTo>
                    <a:lnTo>
                      <a:pt x="337" y="5"/>
                    </a:lnTo>
                    <a:lnTo>
                      <a:pt x="334" y="8"/>
                    </a:lnTo>
                    <a:lnTo>
                      <a:pt x="331" y="7"/>
                    </a:lnTo>
                    <a:lnTo>
                      <a:pt x="327" y="7"/>
                    </a:lnTo>
                    <a:lnTo>
                      <a:pt x="322" y="10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07" y="5"/>
                    </a:lnTo>
                    <a:lnTo>
                      <a:pt x="304" y="5"/>
                    </a:lnTo>
                    <a:lnTo>
                      <a:pt x="298" y="5"/>
                    </a:lnTo>
                    <a:lnTo>
                      <a:pt x="293" y="5"/>
                    </a:lnTo>
                    <a:lnTo>
                      <a:pt x="291" y="5"/>
                    </a:lnTo>
                    <a:lnTo>
                      <a:pt x="286" y="3"/>
                    </a:lnTo>
                    <a:lnTo>
                      <a:pt x="283" y="5"/>
                    </a:lnTo>
                    <a:lnTo>
                      <a:pt x="281" y="8"/>
                    </a:lnTo>
                    <a:lnTo>
                      <a:pt x="276" y="8"/>
                    </a:lnTo>
                    <a:lnTo>
                      <a:pt x="271" y="7"/>
                    </a:lnTo>
                    <a:lnTo>
                      <a:pt x="264" y="13"/>
                    </a:lnTo>
                    <a:lnTo>
                      <a:pt x="261" y="13"/>
                    </a:lnTo>
                    <a:lnTo>
                      <a:pt x="256" y="10"/>
                    </a:lnTo>
                    <a:lnTo>
                      <a:pt x="251" y="12"/>
                    </a:lnTo>
                    <a:lnTo>
                      <a:pt x="241" y="12"/>
                    </a:lnTo>
                    <a:lnTo>
                      <a:pt x="236" y="12"/>
                    </a:lnTo>
                    <a:lnTo>
                      <a:pt x="224" y="20"/>
                    </a:lnTo>
                    <a:lnTo>
                      <a:pt x="218" y="20"/>
                    </a:lnTo>
                    <a:lnTo>
                      <a:pt x="214" y="20"/>
                    </a:lnTo>
                    <a:lnTo>
                      <a:pt x="208" y="23"/>
                    </a:lnTo>
                    <a:lnTo>
                      <a:pt x="208" y="27"/>
                    </a:lnTo>
                    <a:lnTo>
                      <a:pt x="205" y="30"/>
                    </a:lnTo>
                    <a:lnTo>
                      <a:pt x="203" y="30"/>
                    </a:lnTo>
                    <a:lnTo>
                      <a:pt x="201" y="28"/>
                    </a:lnTo>
                    <a:lnTo>
                      <a:pt x="198" y="28"/>
                    </a:lnTo>
                    <a:lnTo>
                      <a:pt x="195" y="30"/>
                    </a:lnTo>
                    <a:lnTo>
                      <a:pt x="193" y="33"/>
                    </a:lnTo>
                    <a:lnTo>
                      <a:pt x="186" y="33"/>
                    </a:lnTo>
                    <a:lnTo>
                      <a:pt x="181" y="35"/>
                    </a:lnTo>
                    <a:lnTo>
                      <a:pt x="178" y="38"/>
                    </a:lnTo>
                    <a:lnTo>
                      <a:pt x="176" y="40"/>
                    </a:lnTo>
                    <a:lnTo>
                      <a:pt x="173" y="45"/>
                    </a:lnTo>
                    <a:lnTo>
                      <a:pt x="165" y="47"/>
                    </a:lnTo>
                    <a:lnTo>
                      <a:pt x="158" y="48"/>
                    </a:lnTo>
                    <a:lnTo>
                      <a:pt x="160" y="50"/>
                    </a:lnTo>
                    <a:lnTo>
                      <a:pt x="161" y="53"/>
                    </a:lnTo>
                    <a:lnTo>
                      <a:pt x="165" y="57"/>
                    </a:lnTo>
                    <a:lnTo>
                      <a:pt x="165" y="60"/>
                    </a:lnTo>
                    <a:lnTo>
                      <a:pt x="165" y="62"/>
                    </a:lnTo>
                    <a:lnTo>
                      <a:pt x="166" y="68"/>
                    </a:lnTo>
                    <a:lnTo>
                      <a:pt x="166" y="77"/>
                    </a:lnTo>
                    <a:lnTo>
                      <a:pt x="166" y="80"/>
                    </a:lnTo>
                    <a:lnTo>
                      <a:pt x="168" y="96"/>
                    </a:lnTo>
                    <a:lnTo>
                      <a:pt x="171" y="103"/>
                    </a:lnTo>
                    <a:lnTo>
                      <a:pt x="173" y="108"/>
                    </a:lnTo>
                    <a:lnTo>
                      <a:pt x="176" y="108"/>
                    </a:lnTo>
                    <a:lnTo>
                      <a:pt x="180" y="110"/>
                    </a:lnTo>
                    <a:lnTo>
                      <a:pt x="181" y="110"/>
                    </a:lnTo>
                    <a:lnTo>
                      <a:pt x="185" y="111"/>
                    </a:lnTo>
                    <a:lnTo>
                      <a:pt x="181" y="118"/>
                    </a:lnTo>
                    <a:lnTo>
                      <a:pt x="181" y="120"/>
                    </a:lnTo>
                    <a:lnTo>
                      <a:pt x="178" y="123"/>
                    </a:lnTo>
                    <a:lnTo>
                      <a:pt x="150" y="123"/>
                    </a:lnTo>
                    <a:lnTo>
                      <a:pt x="145" y="125"/>
                    </a:lnTo>
                    <a:lnTo>
                      <a:pt x="138" y="133"/>
                    </a:lnTo>
                    <a:lnTo>
                      <a:pt x="133" y="136"/>
                    </a:lnTo>
                    <a:lnTo>
                      <a:pt x="131" y="141"/>
                    </a:lnTo>
                    <a:lnTo>
                      <a:pt x="131" y="150"/>
                    </a:lnTo>
                    <a:lnTo>
                      <a:pt x="130" y="153"/>
                    </a:lnTo>
                    <a:lnTo>
                      <a:pt x="113" y="163"/>
                    </a:lnTo>
                    <a:lnTo>
                      <a:pt x="87" y="178"/>
                    </a:lnTo>
                    <a:lnTo>
                      <a:pt x="67" y="188"/>
                    </a:lnTo>
                    <a:lnTo>
                      <a:pt x="57" y="189"/>
                    </a:lnTo>
                    <a:lnTo>
                      <a:pt x="48" y="189"/>
                    </a:lnTo>
                    <a:lnTo>
                      <a:pt x="43" y="191"/>
                    </a:lnTo>
                    <a:lnTo>
                      <a:pt x="37" y="191"/>
                    </a:lnTo>
                    <a:lnTo>
                      <a:pt x="23" y="193"/>
                    </a:lnTo>
                    <a:lnTo>
                      <a:pt x="17" y="198"/>
                    </a:lnTo>
                    <a:lnTo>
                      <a:pt x="12" y="203"/>
                    </a:lnTo>
                    <a:lnTo>
                      <a:pt x="0" y="211"/>
                    </a:lnTo>
                    <a:lnTo>
                      <a:pt x="0" y="229"/>
                    </a:lnTo>
                    <a:lnTo>
                      <a:pt x="0" y="229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88" y="289"/>
                    </a:lnTo>
                    <a:lnTo>
                      <a:pt x="88" y="289"/>
                    </a:lnTo>
                    <a:lnTo>
                      <a:pt x="246" y="384"/>
                    </a:lnTo>
                    <a:lnTo>
                      <a:pt x="249" y="394"/>
                    </a:lnTo>
                    <a:lnTo>
                      <a:pt x="254" y="399"/>
                    </a:lnTo>
                    <a:lnTo>
                      <a:pt x="264" y="399"/>
                    </a:lnTo>
                    <a:lnTo>
                      <a:pt x="271" y="400"/>
                    </a:lnTo>
                    <a:lnTo>
                      <a:pt x="274" y="405"/>
                    </a:lnTo>
                    <a:lnTo>
                      <a:pt x="281" y="407"/>
                    </a:lnTo>
                    <a:lnTo>
                      <a:pt x="286" y="410"/>
                    </a:lnTo>
                    <a:lnTo>
                      <a:pt x="286" y="414"/>
                    </a:lnTo>
                    <a:lnTo>
                      <a:pt x="283" y="420"/>
                    </a:lnTo>
                    <a:lnTo>
                      <a:pt x="284" y="424"/>
                    </a:lnTo>
                    <a:lnTo>
                      <a:pt x="291" y="425"/>
                    </a:lnTo>
                    <a:lnTo>
                      <a:pt x="301" y="424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47" y="414"/>
                    </a:lnTo>
                    <a:lnTo>
                      <a:pt x="377" y="389"/>
                    </a:lnTo>
                    <a:lnTo>
                      <a:pt x="487" y="327"/>
                    </a:lnTo>
                    <a:lnTo>
                      <a:pt x="487" y="3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1" name="Freeform 103"/>
              <p:cNvSpPr>
                <a:spLocks/>
              </p:cNvSpPr>
              <p:nvPr/>
            </p:nvSpPr>
            <p:spPr bwMode="auto">
              <a:xfrm>
                <a:off x="6255547" y="2843265"/>
                <a:ext cx="150905" cy="103759"/>
              </a:xfrm>
              <a:custGeom>
                <a:avLst/>
                <a:gdLst/>
                <a:ahLst/>
                <a:cxnLst>
                  <a:cxn ang="0">
                    <a:pos x="98" y="183"/>
                  </a:cxn>
                  <a:cxn ang="0">
                    <a:pos x="115" y="170"/>
                  </a:cxn>
                  <a:cxn ang="0">
                    <a:pos x="135" y="163"/>
                  </a:cxn>
                  <a:cxn ang="0">
                    <a:pos x="146" y="161"/>
                  </a:cxn>
                  <a:cxn ang="0">
                    <a:pos x="165" y="160"/>
                  </a:cxn>
                  <a:cxn ang="0">
                    <a:pos x="211" y="135"/>
                  </a:cxn>
                  <a:cxn ang="0">
                    <a:pos x="229" y="122"/>
                  </a:cxn>
                  <a:cxn ang="0">
                    <a:pos x="231" y="108"/>
                  </a:cxn>
                  <a:cxn ang="0">
                    <a:pos x="243" y="97"/>
                  </a:cxn>
                  <a:cxn ang="0">
                    <a:pos x="276" y="95"/>
                  </a:cxn>
                  <a:cxn ang="0">
                    <a:pos x="279" y="90"/>
                  </a:cxn>
                  <a:cxn ang="0">
                    <a:pos x="279" y="82"/>
                  </a:cxn>
                  <a:cxn ang="0">
                    <a:pos x="274" y="80"/>
                  </a:cxn>
                  <a:cxn ang="0">
                    <a:pos x="269" y="75"/>
                  </a:cxn>
                  <a:cxn ang="0">
                    <a:pos x="264" y="52"/>
                  </a:cxn>
                  <a:cxn ang="0">
                    <a:pos x="264" y="40"/>
                  </a:cxn>
                  <a:cxn ang="0">
                    <a:pos x="263" y="32"/>
                  </a:cxn>
                  <a:cxn ang="0">
                    <a:pos x="259" y="25"/>
                  </a:cxn>
                  <a:cxn ang="0">
                    <a:pos x="256" y="20"/>
                  </a:cxn>
                  <a:cxn ang="0">
                    <a:pos x="239" y="19"/>
                  </a:cxn>
                  <a:cxn ang="0">
                    <a:pos x="234" y="12"/>
                  </a:cxn>
                  <a:cxn ang="0">
                    <a:pos x="233" y="12"/>
                  </a:cxn>
                  <a:cxn ang="0">
                    <a:pos x="221" y="17"/>
                  </a:cxn>
                  <a:cxn ang="0">
                    <a:pos x="209" y="15"/>
                  </a:cxn>
                  <a:cxn ang="0">
                    <a:pos x="196" y="19"/>
                  </a:cxn>
                  <a:cxn ang="0">
                    <a:pos x="185" y="10"/>
                  </a:cxn>
                  <a:cxn ang="0">
                    <a:pos x="181" y="5"/>
                  </a:cxn>
                  <a:cxn ang="0">
                    <a:pos x="181" y="2"/>
                  </a:cxn>
                  <a:cxn ang="0">
                    <a:pos x="176" y="2"/>
                  </a:cxn>
                  <a:cxn ang="0">
                    <a:pos x="170" y="4"/>
                  </a:cxn>
                  <a:cxn ang="0">
                    <a:pos x="165" y="20"/>
                  </a:cxn>
                  <a:cxn ang="0">
                    <a:pos x="158" y="35"/>
                  </a:cxn>
                  <a:cxn ang="0">
                    <a:pos x="143" y="50"/>
                  </a:cxn>
                  <a:cxn ang="0">
                    <a:pos x="136" y="53"/>
                  </a:cxn>
                  <a:cxn ang="0">
                    <a:pos x="120" y="62"/>
                  </a:cxn>
                  <a:cxn ang="0">
                    <a:pos x="108" y="68"/>
                  </a:cxn>
                  <a:cxn ang="0">
                    <a:pos x="98" y="75"/>
                  </a:cxn>
                  <a:cxn ang="0">
                    <a:pos x="92" y="90"/>
                  </a:cxn>
                  <a:cxn ang="0">
                    <a:pos x="82" y="103"/>
                  </a:cxn>
                  <a:cxn ang="0">
                    <a:pos x="75" y="118"/>
                  </a:cxn>
                  <a:cxn ang="0">
                    <a:pos x="75" y="135"/>
                  </a:cxn>
                  <a:cxn ang="0">
                    <a:pos x="80" y="140"/>
                  </a:cxn>
                  <a:cxn ang="0">
                    <a:pos x="63" y="161"/>
                  </a:cxn>
                  <a:cxn ang="0">
                    <a:pos x="55" y="175"/>
                  </a:cxn>
                  <a:cxn ang="0">
                    <a:pos x="30" y="188"/>
                  </a:cxn>
                  <a:cxn ang="0">
                    <a:pos x="0" y="200"/>
                  </a:cxn>
                  <a:cxn ang="0">
                    <a:pos x="98" y="201"/>
                  </a:cxn>
                </a:cxnLst>
                <a:rect l="0" t="0" r="r" b="b"/>
                <a:pathLst>
                  <a:path w="283" h="201">
                    <a:moveTo>
                      <a:pt x="98" y="201"/>
                    </a:moveTo>
                    <a:lnTo>
                      <a:pt x="98" y="183"/>
                    </a:lnTo>
                    <a:lnTo>
                      <a:pt x="110" y="175"/>
                    </a:lnTo>
                    <a:lnTo>
                      <a:pt x="115" y="170"/>
                    </a:lnTo>
                    <a:lnTo>
                      <a:pt x="121" y="165"/>
                    </a:lnTo>
                    <a:lnTo>
                      <a:pt x="135" y="163"/>
                    </a:lnTo>
                    <a:lnTo>
                      <a:pt x="141" y="163"/>
                    </a:lnTo>
                    <a:lnTo>
                      <a:pt x="146" y="161"/>
                    </a:lnTo>
                    <a:lnTo>
                      <a:pt x="155" y="161"/>
                    </a:lnTo>
                    <a:lnTo>
                      <a:pt x="165" y="160"/>
                    </a:lnTo>
                    <a:lnTo>
                      <a:pt x="185" y="150"/>
                    </a:lnTo>
                    <a:lnTo>
                      <a:pt x="211" y="135"/>
                    </a:lnTo>
                    <a:lnTo>
                      <a:pt x="228" y="125"/>
                    </a:lnTo>
                    <a:lnTo>
                      <a:pt x="229" y="122"/>
                    </a:lnTo>
                    <a:lnTo>
                      <a:pt x="229" y="113"/>
                    </a:lnTo>
                    <a:lnTo>
                      <a:pt x="231" y="108"/>
                    </a:lnTo>
                    <a:lnTo>
                      <a:pt x="236" y="105"/>
                    </a:lnTo>
                    <a:lnTo>
                      <a:pt x="243" y="97"/>
                    </a:lnTo>
                    <a:lnTo>
                      <a:pt x="248" y="95"/>
                    </a:lnTo>
                    <a:lnTo>
                      <a:pt x="276" y="95"/>
                    </a:lnTo>
                    <a:lnTo>
                      <a:pt x="279" y="92"/>
                    </a:lnTo>
                    <a:lnTo>
                      <a:pt x="279" y="90"/>
                    </a:lnTo>
                    <a:lnTo>
                      <a:pt x="283" y="83"/>
                    </a:lnTo>
                    <a:lnTo>
                      <a:pt x="279" y="82"/>
                    </a:lnTo>
                    <a:lnTo>
                      <a:pt x="278" y="82"/>
                    </a:lnTo>
                    <a:lnTo>
                      <a:pt x="274" y="80"/>
                    </a:lnTo>
                    <a:lnTo>
                      <a:pt x="271" y="80"/>
                    </a:lnTo>
                    <a:lnTo>
                      <a:pt x="269" y="75"/>
                    </a:lnTo>
                    <a:lnTo>
                      <a:pt x="266" y="68"/>
                    </a:lnTo>
                    <a:lnTo>
                      <a:pt x="264" y="52"/>
                    </a:lnTo>
                    <a:lnTo>
                      <a:pt x="264" y="49"/>
                    </a:lnTo>
                    <a:lnTo>
                      <a:pt x="264" y="40"/>
                    </a:lnTo>
                    <a:lnTo>
                      <a:pt x="263" y="34"/>
                    </a:lnTo>
                    <a:lnTo>
                      <a:pt x="263" y="32"/>
                    </a:lnTo>
                    <a:lnTo>
                      <a:pt x="263" y="29"/>
                    </a:lnTo>
                    <a:lnTo>
                      <a:pt x="259" y="25"/>
                    </a:lnTo>
                    <a:lnTo>
                      <a:pt x="258" y="22"/>
                    </a:lnTo>
                    <a:lnTo>
                      <a:pt x="256" y="20"/>
                    </a:lnTo>
                    <a:lnTo>
                      <a:pt x="253" y="20"/>
                    </a:lnTo>
                    <a:lnTo>
                      <a:pt x="239" y="19"/>
                    </a:lnTo>
                    <a:lnTo>
                      <a:pt x="236" y="15"/>
                    </a:lnTo>
                    <a:lnTo>
                      <a:pt x="234" y="12"/>
                    </a:lnTo>
                    <a:lnTo>
                      <a:pt x="233" y="12"/>
                    </a:lnTo>
                    <a:lnTo>
                      <a:pt x="233" y="12"/>
                    </a:lnTo>
                    <a:lnTo>
                      <a:pt x="228" y="15"/>
                    </a:lnTo>
                    <a:lnTo>
                      <a:pt x="221" y="17"/>
                    </a:lnTo>
                    <a:lnTo>
                      <a:pt x="213" y="15"/>
                    </a:lnTo>
                    <a:lnTo>
                      <a:pt x="209" y="15"/>
                    </a:lnTo>
                    <a:lnTo>
                      <a:pt x="205" y="17"/>
                    </a:lnTo>
                    <a:lnTo>
                      <a:pt x="196" y="19"/>
                    </a:lnTo>
                    <a:lnTo>
                      <a:pt x="191" y="17"/>
                    </a:lnTo>
                    <a:lnTo>
                      <a:pt x="185" y="10"/>
                    </a:lnTo>
                    <a:lnTo>
                      <a:pt x="181" y="9"/>
                    </a:lnTo>
                    <a:lnTo>
                      <a:pt x="181" y="5"/>
                    </a:lnTo>
                    <a:lnTo>
                      <a:pt x="181" y="4"/>
                    </a:lnTo>
                    <a:lnTo>
                      <a:pt x="181" y="2"/>
                    </a:lnTo>
                    <a:lnTo>
                      <a:pt x="180" y="0"/>
                    </a:lnTo>
                    <a:lnTo>
                      <a:pt x="176" y="2"/>
                    </a:lnTo>
                    <a:lnTo>
                      <a:pt x="173" y="4"/>
                    </a:lnTo>
                    <a:lnTo>
                      <a:pt x="170" y="4"/>
                    </a:lnTo>
                    <a:lnTo>
                      <a:pt x="165" y="7"/>
                    </a:lnTo>
                    <a:lnTo>
                      <a:pt x="165" y="20"/>
                    </a:lnTo>
                    <a:lnTo>
                      <a:pt x="160" y="25"/>
                    </a:lnTo>
                    <a:lnTo>
                      <a:pt x="158" y="35"/>
                    </a:lnTo>
                    <a:lnTo>
                      <a:pt x="155" y="40"/>
                    </a:lnTo>
                    <a:lnTo>
                      <a:pt x="143" y="50"/>
                    </a:lnTo>
                    <a:lnTo>
                      <a:pt x="141" y="50"/>
                    </a:lnTo>
                    <a:lnTo>
                      <a:pt x="136" y="53"/>
                    </a:lnTo>
                    <a:lnTo>
                      <a:pt x="126" y="55"/>
                    </a:lnTo>
                    <a:lnTo>
                      <a:pt x="120" y="62"/>
                    </a:lnTo>
                    <a:lnTo>
                      <a:pt x="118" y="62"/>
                    </a:lnTo>
                    <a:lnTo>
                      <a:pt x="108" y="68"/>
                    </a:lnTo>
                    <a:lnTo>
                      <a:pt x="102" y="70"/>
                    </a:lnTo>
                    <a:lnTo>
                      <a:pt x="98" y="75"/>
                    </a:lnTo>
                    <a:lnTo>
                      <a:pt x="88" y="82"/>
                    </a:lnTo>
                    <a:lnTo>
                      <a:pt x="92" y="90"/>
                    </a:lnTo>
                    <a:lnTo>
                      <a:pt x="92" y="95"/>
                    </a:lnTo>
                    <a:lnTo>
                      <a:pt x="82" y="103"/>
                    </a:lnTo>
                    <a:lnTo>
                      <a:pt x="75" y="115"/>
                    </a:lnTo>
                    <a:lnTo>
                      <a:pt x="75" y="118"/>
                    </a:lnTo>
                    <a:lnTo>
                      <a:pt x="78" y="127"/>
                    </a:lnTo>
                    <a:lnTo>
                      <a:pt x="75" y="135"/>
                    </a:lnTo>
                    <a:lnTo>
                      <a:pt x="78" y="137"/>
                    </a:lnTo>
                    <a:lnTo>
                      <a:pt x="80" y="140"/>
                    </a:lnTo>
                    <a:lnTo>
                      <a:pt x="78" y="147"/>
                    </a:lnTo>
                    <a:lnTo>
                      <a:pt x="63" y="161"/>
                    </a:lnTo>
                    <a:lnTo>
                      <a:pt x="62" y="168"/>
                    </a:lnTo>
                    <a:lnTo>
                      <a:pt x="55" y="175"/>
                    </a:lnTo>
                    <a:lnTo>
                      <a:pt x="47" y="175"/>
                    </a:lnTo>
                    <a:lnTo>
                      <a:pt x="30" y="188"/>
                    </a:lnTo>
                    <a:lnTo>
                      <a:pt x="7" y="193"/>
                    </a:lnTo>
                    <a:lnTo>
                      <a:pt x="0" y="200"/>
                    </a:lnTo>
                    <a:lnTo>
                      <a:pt x="98" y="201"/>
                    </a:lnTo>
                    <a:lnTo>
                      <a:pt x="98" y="201"/>
                    </a:lnTo>
                    <a:lnTo>
                      <a:pt x="98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2" name="Freeform 104"/>
              <p:cNvSpPr>
                <a:spLocks/>
              </p:cNvSpPr>
              <p:nvPr/>
            </p:nvSpPr>
            <p:spPr bwMode="auto">
              <a:xfrm>
                <a:off x="6202035" y="2945987"/>
                <a:ext cx="105954" cy="75744"/>
              </a:xfrm>
              <a:custGeom>
                <a:avLst/>
                <a:gdLst/>
                <a:ahLst/>
                <a:cxnLst>
                  <a:cxn ang="0">
                    <a:pos x="197" y="8"/>
                  </a:cxn>
                  <a:cxn ang="0">
                    <a:pos x="197" y="1"/>
                  </a:cxn>
                  <a:cxn ang="0">
                    <a:pos x="99" y="0"/>
                  </a:cxn>
                  <a:cxn ang="0">
                    <a:pos x="91" y="11"/>
                  </a:cxn>
                  <a:cxn ang="0">
                    <a:pos x="91" y="21"/>
                  </a:cxn>
                  <a:cxn ang="0">
                    <a:pos x="86" y="21"/>
                  </a:cxn>
                  <a:cxn ang="0">
                    <a:pos x="69" y="28"/>
                  </a:cxn>
                  <a:cxn ang="0">
                    <a:pos x="68" y="33"/>
                  </a:cxn>
                  <a:cxn ang="0">
                    <a:pos x="61" y="36"/>
                  </a:cxn>
                  <a:cxn ang="0">
                    <a:pos x="63" y="41"/>
                  </a:cxn>
                  <a:cxn ang="0">
                    <a:pos x="48" y="61"/>
                  </a:cxn>
                  <a:cxn ang="0">
                    <a:pos x="48" y="68"/>
                  </a:cxn>
                  <a:cxn ang="0">
                    <a:pos x="36" y="78"/>
                  </a:cxn>
                  <a:cxn ang="0">
                    <a:pos x="33" y="79"/>
                  </a:cxn>
                  <a:cxn ang="0">
                    <a:pos x="26" y="91"/>
                  </a:cxn>
                  <a:cxn ang="0">
                    <a:pos x="26" y="94"/>
                  </a:cxn>
                  <a:cxn ang="0">
                    <a:pos x="18" y="106"/>
                  </a:cxn>
                  <a:cxn ang="0">
                    <a:pos x="16" y="108"/>
                  </a:cxn>
                  <a:cxn ang="0">
                    <a:pos x="19" y="109"/>
                  </a:cxn>
                  <a:cxn ang="0">
                    <a:pos x="16" y="111"/>
                  </a:cxn>
                  <a:cxn ang="0">
                    <a:pos x="8" y="124"/>
                  </a:cxn>
                  <a:cxn ang="0">
                    <a:pos x="5" y="124"/>
                  </a:cxn>
                  <a:cxn ang="0">
                    <a:pos x="1" y="128"/>
                  </a:cxn>
                  <a:cxn ang="0">
                    <a:pos x="1" y="134"/>
                  </a:cxn>
                  <a:cxn ang="0">
                    <a:pos x="0" y="138"/>
                  </a:cxn>
                  <a:cxn ang="0">
                    <a:pos x="0" y="146"/>
                  </a:cxn>
                  <a:cxn ang="0">
                    <a:pos x="96" y="144"/>
                  </a:cxn>
                  <a:cxn ang="0">
                    <a:pos x="96" y="104"/>
                  </a:cxn>
                  <a:cxn ang="0">
                    <a:pos x="99" y="99"/>
                  </a:cxn>
                  <a:cxn ang="0">
                    <a:pos x="104" y="96"/>
                  </a:cxn>
                  <a:cxn ang="0">
                    <a:pos x="109" y="94"/>
                  </a:cxn>
                  <a:cxn ang="0">
                    <a:pos x="119" y="94"/>
                  </a:cxn>
                  <a:cxn ang="0">
                    <a:pos x="119" y="36"/>
                  </a:cxn>
                  <a:cxn ang="0">
                    <a:pos x="196" y="38"/>
                  </a:cxn>
                  <a:cxn ang="0">
                    <a:pos x="197" y="8"/>
                  </a:cxn>
                  <a:cxn ang="0">
                    <a:pos x="197" y="8"/>
                  </a:cxn>
                </a:cxnLst>
                <a:rect l="0" t="0" r="r" b="b"/>
                <a:pathLst>
                  <a:path w="197" h="146">
                    <a:moveTo>
                      <a:pt x="197" y="8"/>
                    </a:moveTo>
                    <a:lnTo>
                      <a:pt x="197" y="1"/>
                    </a:lnTo>
                    <a:lnTo>
                      <a:pt x="99" y="0"/>
                    </a:lnTo>
                    <a:lnTo>
                      <a:pt x="91" y="11"/>
                    </a:lnTo>
                    <a:lnTo>
                      <a:pt x="91" y="21"/>
                    </a:lnTo>
                    <a:lnTo>
                      <a:pt x="86" y="21"/>
                    </a:lnTo>
                    <a:lnTo>
                      <a:pt x="69" y="28"/>
                    </a:lnTo>
                    <a:lnTo>
                      <a:pt x="68" y="33"/>
                    </a:lnTo>
                    <a:lnTo>
                      <a:pt x="61" y="36"/>
                    </a:lnTo>
                    <a:lnTo>
                      <a:pt x="63" y="41"/>
                    </a:lnTo>
                    <a:lnTo>
                      <a:pt x="48" y="61"/>
                    </a:lnTo>
                    <a:lnTo>
                      <a:pt x="48" y="68"/>
                    </a:lnTo>
                    <a:lnTo>
                      <a:pt x="36" y="78"/>
                    </a:lnTo>
                    <a:lnTo>
                      <a:pt x="33" y="79"/>
                    </a:lnTo>
                    <a:lnTo>
                      <a:pt x="26" y="91"/>
                    </a:lnTo>
                    <a:lnTo>
                      <a:pt x="26" y="94"/>
                    </a:lnTo>
                    <a:lnTo>
                      <a:pt x="18" y="106"/>
                    </a:lnTo>
                    <a:lnTo>
                      <a:pt x="16" y="108"/>
                    </a:lnTo>
                    <a:lnTo>
                      <a:pt x="19" y="109"/>
                    </a:lnTo>
                    <a:lnTo>
                      <a:pt x="16" y="111"/>
                    </a:lnTo>
                    <a:lnTo>
                      <a:pt x="8" y="124"/>
                    </a:lnTo>
                    <a:lnTo>
                      <a:pt x="5" y="124"/>
                    </a:lnTo>
                    <a:lnTo>
                      <a:pt x="1" y="128"/>
                    </a:lnTo>
                    <a:lnTo>
                      <a:pt x="1" y="134"/>
                    </a:lnTo>
                    <a:lnTo>
                      <a:pt x="0" y="138"/>
                    </a:lnTo>
                    <a:lnTo>
                      <a:pt x="0" y="146"/>
                    </a:lnTo>
                    <a:lnTo>
                      <a:pt x="96" y="144"/>
                    </a:lnTo>
                    <a:lnTo>
                      <a:pt x="96" y="104"/>
                    </a:lnTo>
                    <a:lnTo>
                      <a:pt x="99" y="99"/>
                    </a:lnTo>
                    <a:lnTo>
                      <a:pt x="104" y="96"/>
                    </a:lnTo>
                    <a:lnTo>
                      <a:pt x="109" y="94"/>
                    </a:lnTo>
                    <a:lnTo>
                      <a:pt x="119" y="94"/>
                    </a:lnTo>
                    <a:lnTo>
                      <a:pt x="119" y="36"/>
                    </a:lnTo>
                    <a:lnTo>
                      <a:pt x="196" y="38"/>
                    </a:lnTo>
                    <a:lnTo>
                      <a:pt x="197" y="8"/>
                    </a:lnTo>
                    <a:lnTo>
                      <a:pt x="19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3" name="Freeform 105"/>
              <p:cNvSpPr>
                <a:spLocks/>
              </p:cNvSpPr>
              <p:nvPr/>
            </p:nvSpPr>
            <p:spPr bwMode="auto">
              <a:xfrm>
                <a:off x="6200965" y="2950137"/>
                <a:ext cx="154116" cy="148375"/>
              </a:xfrm>
              <a:custGeom>
                <a:avLst/>
                <a:gdLst/>
                <a:ahLst/>
                <a:cxnLst>
                  <a:cxn ang="0">
                    <a:pos x="98" y="136"/>
                  </a:cxn>
                  <a:cxn ang="0">
                    <a:pos x="101" y="91"/>
                  </a:cxn>
                  <a:cxn ang="0">
                    <a:pos x="111" y="86"/>
                  </a:cxn>
                  <a:cxn ang="0">
                    <a:pos x="121" y="28"/>
                  </a:cxn>
                  <a:cxn ang="0">
                    <a:pos x="199" y="0"/>
                  </a:cxn>
                  <a:cxn ang="0">
                    <a:pos x="287" y="53"/>
                  </a:cxn>
                  <a:cxn ang="0">
                    <a:pos x="257" y="53"/>
                  </a:cxn>
                  <a:cxn ang="0">
                    <a:pos x="284" y="251"/>
                  </a:cxn>
                  <a:cxn ang="0">
                    <a:pos x="189" y="271"/>
                  </a:cxn>
                  <a:cxn ang="0">
                    <a:pos x="184" y="266"/>
                  </a:cxn>
                  <a:cxn ang="0">
                    <a:pos x="178" y="271"/>
                  </a:cxn>
                  <a:cxn ang="0">
                    <a:pos x="174" y="261"/>
                  </a:cxn>
                  <a:cxn ang="0">
                    <a:pos x="156" y="264"/>
                  </a:cxn>
                  <a:cxn ang="0">
                    <a:pos x="148" y="274"/>
                  </a:cxn>
                  <a:cxn ang="0">
                    <a:pos x="143" y="261"/>
                  </a:cxn>
                  <a:cxn ang="0">
                    <a:pos x="129" y="262"/>
                  </a:cxn>
                  <a:cxn ang="0">
                    <a:pos x="129" y="274"/>
                  </a:cxn>
                  <a:cxn ang="0">
                    <a:pos x="119" y="281"/>
                  </a:cxn>
                  <a:cxn ang="0">
                    <a:pos x="114" y="284"/>
                  </a:cxn>
                  <a:cxn ang="0">
                    <a:pos x="106" y="277"/>
                  </a:cxn>
                  <a:cxn ang="0">
                    <a:pos x="101" y="271"/>
                  </a:cxn>
                  <a:cxn ang="0">
                    <a:pos x="95" y="266"/>
                  </a:cxn>
                  <a:cxn ang="0">
                    <a:pos x="90" y="256"/>
                  </a:cxn>
                  <a:cxn ang="0">
                    <a:pos x="83" y="254"/>
                  </a:cxn>
                  <a:cxn ang="0">
                    <a:pos x="78" y="256"/>
                  </a:cxn>
                  <a:cxn ang="0">
                    <a:pos x="75" y="252"/>
                  </a:cxn>
                  <a:cxn ang="0">
                    <a:pos x="63" y="244"/>
                  </a:cxn>
                  <a:cxn ang="0">
                    <a:pos x="46" y="241"/>
                  </a:cxn>
                  <a:cxn ang="0">
                    <a:pos x="21" y="247"/>
                  </a:cxn>
                  <a:cxn ang="0">
                    <a:pos x="13" y="252"/>
                  </a:cxn>
                  <a:cxn ang="0">
                    <a:pos x="10" y="246"/>
                  </a:cxn>
                  <a:cxn ang="0">
                    <a:pos x="20" y="224"/>
                  </a:cxn>
                  <a:cxn ang="0">
                    <a:pos x="16" y="186"/>
                  </a:cxn>
                  <a:cxn ang="0">
                    <a:pos x="13" y="174"/>
                  </a:cxn>
                  <a:cxn ang="0">
                    <a:pos x="18" y="168"/>
                  </a:cxn>
                  <a:cxn ang="0">
                    <a:pos x="18" y="159"/>
                  </a:cxn>
                  <a:cxn ang="0">
                    <a:pos x="10" y="153"/>
                  </a:cxn>
                  <a:cxn ang="0">
                    <a:pos x="5" y="146"/>
                  </a:cxn>
                  <a:cxn ang="0">
                    <a:pos x="0" y="143"/>
                  </a:cxn>
                  <a:cxn ang="0">
                    <a:pos x="2" y="138"/>
                  </a:cxn>
                </a:cxnLst>
                <a:rect l="0" t="0" r="r" b="b"/>
                <a:pathLst>
                  <a:path w="287" h="284">
                    <a:moveTo>
                      <a:pt x="2" y="138"/>
                    </a:moveTo>
                    <a:lnTo>
                      <a:pt x="98" y="136"/>
                    </a:lnTo>
                    <a:lnTo>
                      <a:pt x="98" y="96"/>
                    </a:lnTo>
                    <a:lnTo>
                      <a:pt x="101" y="91"/>
                    </a:lnTo>
                    <a:lnTo>
                      <a:pt x="106" y="88"/>
                    </a:lnTo>
                    <a:lnTo>
                      <a:pt x="111" y="86"/>
                    </a:lnTo>
                    <a:lnTo>
                      <a:pt x="121" y="86"/>
                    </a:lnTo>
                    <a:lnTo>
                      <a:pt x="121" y="28"/>
                    </a:lnTo>
                    <a:lnTo>
                      <a:pt x="198" y="30"/>
                    </a:lnTo>
                    <a:lnTo>
                      <a:pt x="199" y="0"/>
                    </a:lnTo>
                    <a:lnTo>
                      <a:pt x="287" y="53"/>
                    </a:lnTo>
                    <a:lnTo>
                      <a:pt x="287" y="53"/>
                    </a:lnTo>
                    <a:lnTo>
                      <a:pt x="287" y="53"/>
                    </a:lnTo>
                    <a:lnTo>
                      <a:pt x="257" y="53"/>
                    </a:lnTo>
                    <a:lnTo>
                      <a:pt x="276" y="246"/>
                    </a:lnTo>
                    <a:lnTo>
                      <a:pt x="284" y="251"/>
                    </a:lnTo>
                    <a:lnTo>
                      <a:pt x="276" y="271"/>
                    </a:lnTo>
                    <a:lnTo>
                      <a:pt x="189" y="271"/>
                    </a:lnTo>
                    <a:lnTo>
                      <a:pt x="188" y="269"/>
                    </a:lnTo>
                    <a:lnTo>
                      <a:pt x="184" y="266"/>
                    </a:lnTo>
                    <a:lnTo>
                      <a:pt x="181" y="266"/>
                    </a:lnTo>
                    <a:lnTo>
                      <a:pt x="178" y="271"/>
                    </a:lnTo>
                    <a:lnTo>
                      <a:pt x="174" y="267"/>
                    </a:lnTo>
                    <a:lnTo>
                      <a:pt x="174" y="261"/>
                    </a:lnTo>
                    <a:lnTo>
                      <a:pt x="168" y="259"/>
                    </a:lnTo>
                    <a:lnTo>
                      <a:pt x="156" y="264"/>
                    </a:lnTo>
                    <a:lnTo>
                      <a:pt x="149" y="274"/>
                    </a:lnTo>
                    <a:lnTo>
                      <a:pt x="148" y="274"/>
                    </a:lnTo>
                    <a:lnTo>
                      <a:pt x="143" y="266"/>
                    </a:lnTo>
                    <a:lnTo>
                      <a:pt x="143" y="261"/>
                    </a:lnTo>
                    <a:lnTo>
                      <a:pt x="138" y="261"/>
                    </a:lnTo>
                    <a:lnTo>
                      <a:pt x="129" y="262"/>
                    </a:lnTo>
                    <a:lnTo>
                      <a:pt x="129" y="271"/>
                    </a:lnTo>
                    <a:lnTo>
                      <a:pt x="129" y="274"/>
                    </a:lnTo>
                    <a:lnTo>
                      <a:pt x="128" y="281"/>
                    </a:lnTo>
                    <a:lnTo>
                      <a:pt x="119" y="281"/>
                    </a:lnTo>
                    <a:lnTo>
                      <a:pt x="114" y="284"/>
                    </a:lnTo>
                    <a:lnTo>
                      <a:pt x="114" y="284"/>
                    </a:lnTo>
                    <a:lnTo>
                      <a:pt x="113" y="281"/>
                    </a:lnTo>
                    <a:lnTo>
                      <a:pt x="106" y="277"/>
                    </a:lnTo>
                    <a:lnTo>
                      <a:pt x="101" y="276"/>
                    </a:lnTo>
                    <a:lnTo>
                      <a:pt x="101" y="271"/>
                    </a:lnTo>
                    <a:lnTo>
                      <a:pt x="95" y="271"/>
                    </a:lnTo>
                    <a:lnTo>
                      <a:pt x="95" y="266"/>
                    </a:lnTo>
                    <a:lnTo>
                      <a:pt x="90" y="261"/>
                    </a:lnTo>
                    <a:lnTo>
                      <a:pt x="90" y="256"/>
                    </a:lnTo>
                    <a:lnTo>
                      <a:pt x="88" y="254"/>
                    </a:lnTo>
                    <a:lnTo>
                      <a:pt x="83" y="254"/>
                    </a:lnTo>
                    <a:lnTo>
                      <a:pt x="81" y="254"/>
                    </a:lnTo>
                    <a:lnTo>
                      <a:pt x="78" y="256"/>
                    </a:lnTo>
                    <a:lnTo>
                      <a:pt x="75" y="254"/>
                    </a:lnTo>
                    <a:lnTo>
                      <a:pt x="75" y="252"/>
                    </a:lnTo>
                    <a:lnTo>
                      <a:pt x="70" y="246"/>
                    </a:lnTo>
                    <a:lnTo>
                      <a:pt x="63" y="244"/>
                    </a:lnTo>
                    <a:lnTo>
                      <a:pt x="51" y="241"/>
                    </a:lnTo>
                    <a:lnTo>
                      <a:pt x="46" y="241"/>
                    </a:lnTo>
                    <a:lnTo>
                      <a:pt x="35" y="246"/>
                    </a:lnTo>
                    <a:lnTo>
                      <a:pt x="21" y="247"/>
                    </a:lnTo>
                    <a:lnTo>
                      <a:pt x="16" y="252"/>
                    </a:lnTo>
                    <a:lnTo>
                      <a:pt x="13" y="252"/>
                    </a:lnTo>
                    <a:lnTo>
                      <a:pt x="8" y="254"/>
                    </a:lnTo>
                    <a:lnTo>
                      <a:pt x="10" y="246"/>
                    </a:lnTo>
                    <a:lnTo>
                      <a:pt x="15" y="233"/>
                    </a:lnTo>
                    <a:lnTo>
                      <a:pt x="20" y="224"/>
                    </a:lnTo>
                    <a:lnTo>
                      <a:pt x="21" y="209"/>
                    </a:lnTo>
                    <a:lnTo>
                      <a:pt x="16" y="186"/>
                    </a:lnTo>
                    <a:lnTo>
                      <a:pt x="10" y="176"/>
                    </a:lnTo>
                    <a:lnTo>
                      <a:pt x="13" y="174"/>
                    </a:lnTo>
                    <a:lnTo>
                      <a:pt x="16" y="174"/>
                    </a:lnTo>
                    <a:lnTo>
                      <a:pt x="18" y="168"/>
                    </a:lnTo>
                    <a:lnTo>
                      <a:pt x="16" y="163"/>
                    </a:lnTo>
                    <a:lnTo>
                      <a:pt x="18" y="159"/>
                    </a:lnTo>
                    <a:lnTo>
                      <a:pt x="11" y="151"/>
                    </a:lnTo>
                    <a:lnTo>
                      <a:pt x="10" y="153"/>
                    </a:lnTo>
                    <a:lnTo>
                      <a:pt x="7" y="151"/>
                    </a:lnTo>
                    <a:lnTo>
                      <a:pt x="5" y="146"/>
                    </a:lnTo>
                    <a:lnTo>
                      <a:pt x="0" y="151"/>
                    </a:lnTo>
                    <a:lnTo>
                      <a:pt x="0" y="143"/>
                    </a:lnTo>
                    <a:lnTo>
                      <a:pt x="2" y="138"/>
                    </a:lnTo>
                    <a:lnTo>
                      <a:pt x="2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4" name="Freeform 106"/>
              <p:cNvSpPr>
                <a:spLocks/>
              </p:cNvSpPr>
              <p:nvPr/>
            </p:nvSpPr>
            <p:spPr bwMode="auto">
              <a:xfrm>
                <a:off x="6261968" y="2978152"/>
                <a:ext cx="211909" cy="172240"/>
              </a:xfrm>
              <a:custGeom>
                <a:avLst/>
                <a:gdLst/>
                <a:ahLst/>
                <a:cxnLst>
                  <a:cxn ang="0">
                    <a:pos x="14" y="228"/>
                  </a:cxn>
                  <a:cxn ang="0">
                    <a:pos x="15" y="209"/>
                  </a:cxn>
                  <a:cxn ang="0">
                    <a:pos x="29" y="213"/>
                  </a:cxn>
                  <a:cxn ang="0">
                    <a:pos x="42" y="211"/>
                  </a:cxn>
                  <a:cxn ang="0">
                    <a:pos x="60" y="214"/>
                  </a:cxn>
                  <a:cxn ang="0">
                    <a:pos x="70" y="213"/>
                  </a:cxn>
                  <a:cxn ang="0">
                    <a:pos x="162" y="218"/>
                  </a:cxn>
                  <a:cxn ang="0">
                    <a:pos x="143" y="0"/>
                  </a:cxn>
                  <a:cxn ang="0">
                    <a:pos x="334" y="105"/>
                  </a:cxn>
                  <a:cxn ang="0">
                    <a:pos x="356" y="111"/>
                  </a:cxn>
                  <a:cxn ang="0">
                    <a:pos x="371" y="121"/>
                  </a:cxn>
                  <a:cxn ang="0">
                    <a:pos x="369" y="135"/>
                  </a:cxn>
                  <a:cxn ang="0">
                    <a:pos x="396" y="133"/>
                  </a:cxn>
                  <a:cxn ang="0">
                    <a:pos x="392" y="194"/>
                  </a:cxn>
                  <a:cxn ang="0">
                    <a:pos x="386" y="209"/>
                  </a:cxn>
                  <a:cxn ang="0">
                    <a:pos x="359" y="219"/>
                  </a:cxn>
                  <a:cxn ang="0">
                    <a:pos x="338" y="223"/>
                  </a:cxn>
                  <a:cxn ang="0">
                    <a:pos x="309" y="228"/>
                  </a:cxn>
                  <a:cxn ang="0">
                    <a:pos x="301" y="226"/>
                  </a:cxn>
                  <a:cxn ang="0">
                    <a:pos x="283" y="224"/>
                  </a:cxn>
                  <a:cxn ang="0">
                    <a:pos x="258" y="234"/>
                  </a:cxn>
                  <a:cxn ang="0">
                    <a:pos x="225" y="256"/>
                  </a:cxn>
                  <a:cxn ang="0">
                    <a:pos x="201" y="259"/>
                  </a:cxn>
                  <a:cxn ang="0">
                    <a:pos x="192" y="271"/>
                  </a:cxn>
                  <a:cxn ang="0">
                    <a:pos x="180" y="292"/>
                  </a:cxn>
                  <a:cxn ang="0">
                    <a:pos x="172" y="304"/>
                  </a:cxn>
                  <a:cxn ang="0">
                    <a:pos x="167" y="316"/>
                  </a:cxn>
                  <a:cxn ang="0">
                    <a:pos x="165" y="326"/>
                  </a:cxn>
                  <a:cxn ang="0">
                    <a:pos x="150" y="327"/>
                  </a:cxn>
                  <a:cxn ang="0">
                    <a:pos x="137" y="326"/>
                  </a:cxn>
                  <a:cxn ang="0">
                    <a:pos x="125" y="329"/>
                  </a:cxn>
                  <a:cxn ang="0">
                    <a:pos x="110" y="331"/>
                  </a:cxn>
                  <a:cxn ang="0">
                    <a:pos x="100" y="326"/>
                  </a:cxn>
                  <a:cxn ang="0">
                    <a:pos x="98" y="316"/>
                  </a:cxn>
                  <a:cxn ang="0">
                    <a:pos x="89" y="319"/>
                  </a:cxn>
                  <a:cxn ang="0">
                    <a:pos x="95" y="306"/>
                  </a:cxn>
                  <a:cxn ang="0">
                    <a:pos x="89" y="296"/>
                  </a:cxn>
                  <a:cxn ang="0">
                    <a:pos x="80" y="286"/>
                  </a:cxn>
                  <a:cxn ang="0">
                    <a:pos x="69" y="286"/>
                  </a:cxn>
                  <a:cxn ang="0">
                    <a:pos x="55" y="292"/>
                  </a:cxn>
                  <a:cxn ang="0">
                    <a:pos x="39" y="292"/>
                  </a:cxn>
                  <a:cxn ang="0">
                    <a:pos x="27" y="292"/>
                  </a:cxn>
                  <a:cxn ang="0">
                    <a:pos x="29" y="286"/>
                  </a:cxn>
                  <a:cxn ang="0">
                    <a:pos x="24" y="276"/>
                  </a:cxn>
                  <a:cxn ang="0">
                    <a:pos x="20" y="268"/>
                  </a:cxn>
                  <a:cxn ang="0">
                    <a:pos x="12" y="263"/>
                  </a:cxn>
                  <a:cxn ang="0">
                    <a:pos x="2" y="249"/>
                  </a:cxn>
                  <a:cxn ang="0">
                    <a:pos x="4" y="234"/>
                  </a:cxn>
                </a:cxnLst>
                <a:rect l="0" t="0" r="r" b="b"/>
                <a:pathLst>
                  <a:path w="396" h="332">
                    <a:moveTo>
                      <a:pt x="0" y="231"/>
                    </a:moveTo>
                    <a:lnTo>
                      <a:pt x="5" y="228"/>
                    </a:lnTo>
                    <a:lnTo>
                      <a:pt x="14" y="228"/>
                    </a:lnTo>
                    <a:lnTo>
                      <a:pt x="15" y="221"/>
                    </a:lnTo>
                    <a:lnTo>
                      <a:pt x="15" y="218"/>
                    </a:lnTo>
                    <a:lnTo>
                      <a:pt x="15" y="209"/>
                    </a:lnTo>
                    <a:lnTo>
                      <a:pt x="24" y="208"/>
                    </a:lnTo>
                    <a:lnTo>
                      <a:pt x="29" y="208"/>
                    </a:lnTo>
                    <a:lnTo>
                      <a:pt x="29" y="213"/>
                    </a:lnTo>
                    <a:lnTo>
                      <a:pt x="34" y="221"/>
                    </a:lnTo>
                    <a:lnTo>
                      <a:pt x="35" y="221"/>
                    </a:lnTo>
                    <a:lnTo>
                      <a:pt x="42" y="211"/>
                    </a:lnTo>
                    <a:lnTo>
                      <a:pt x="54" y="206"/>
                    </a:lnTo>
                    <a:lnTo>
                      <a:pt x="60" y="208"/>
                    </a:lnTo>
                    <a:lnTo>
                      <a:pt x="60" y="214"/>
                    </a:lnTo>
                    <a:lnTo>
                      <a:pt x="64" y="218"/>
                    </a:lnTo>
                    <a:lnTo>
                      <a:pt x="67" y="213"/>
                    </a:lnTo>
                    <a:lnTo>
                      <a:pt x="70" y="213"/>
                    </a:lnTo>
                    <a:lnTo>
                      <a:pt x="74" y="216"/>
                    </a:lnTo>
                    <a:lnTo>
                      <a:pt x="75" y="218"/>
                    </a:lnTo>
                    <a:lnTo>
                      <a:pt x="162" y="218"/>
                    </a:lnTo>
                    <a:lnTo>
                      <a:pt x="170" y="198"/>
                    </a:lnTo>
                    <a:lnTo>
                      <a:pt x="162" y="193"/>
                    </a:lnTo>
                    <a:lnTo>
                      <a:pt x="143" y="0"/>
                    </a:lnTo>
                    <a:lnTo>
                      <a:pt x="173" y="0"/>
                    </a:lnTo>
                    <a:lnTo>
                      <a:pt x="331" y="95"/>
                    </a:lnTo>
                    <a:lnTo>
                      <a:pt x="334" y="105"/>
                    </a:lnTo>
                    <a:lnTo>
                      <a:pt x="339" y="110"/>
                    </a:lnTo>
                    <a:lnTo>
                      <a:pt x="349" y="110"/>
                    </a:lnTo>
                    <a:lnTo>
                      <a:pt x="356" y="111"/>
                    </a:lnTo>
                    <a:lnTo>
                      <a:pt x="359" y="116"/>
                    </a:lnTo>
                    <a:lnTo>
                      <a:pt x="366" y="118"/>
                    </a:lnTo>
                    <a:lnTo>
                      <a:pt x="371" y="121"/>
                    </a:lnTo>
                    <a:lnTo>
                      <a:pt x="371" y="125"/>
                    </a:lnTo>
                    <a:lnTo>
                      <a:pt x="368" y="131"/>
                    </a:lnTo>
                    <a:lnTo>
                      <a:pt x="369" y="135"/>
                    </a:lnTo>
                    <a:lnTo>
                      <a:pt x="376" y="136"/>
                    </a:lnTo>
                    <a:lnTo>
                      <a:pt x="386" y="135"/>
                    </a:lnTo>
                    <a:lnTo>
                      <a:pt x="396" y="133"/>
                    </a:lnTo>
                    <a:lnTo>
                      <a:pt x="396" y="133"/>
                    </a:lnTo>
                    <a:lnTo>
                      <a:pt x="394" y="175"/>
                    </a:lnTo>
                    <a:lnTo>
                      <a:pt x="392" y="194"/>
                    </a:lnTo>
                    <a:lnTo>
                      <a:pt x="389" y="198"/>
                    </a:lnTo>
                    <a:lnTo>
                      <a:pt x="388" y="204"/>
                    </a:lnTo>
                    <a:lnTo>
                      <a:pt x="386" y="209"/>
                    </a:lnTo>
                    <a:lnTo>
                      <a:pt x="374" y="216"/>
                    </a:lnTo>
                    <a:lnTo>
                      <a:pt x="368" y="219"/>
                    </a:lnTo>
                    <a:lnTo>
                      <a:pt x="359" y="219"/>
                    </a:lnTo>
                    <a:lnTo>
                      <a:pt x="353" y="223"/>
                    </a:lnTo>
                    <a:lnTo>
                      <a:pt x="348" y="223"/>
                    </a:lnTo>
                    <a:lnTo>
                      <a:pt x="338" y="223"/>
                    </a:lnTo>
                    <a:lnTo>
                      <a:pt x="331" y="226"/>
                    </a:lnTo>
                    <a:lnTo>
                      <a:pt x="326" y="226"/>
                    </a:lnTo>
                    <a:lnTo>
                      <a:pt x="309" y="228"/>
                    </a:lnTo>
                    <a:lnTo>
                      <a:pt x="303" y="226"/>
                    </a:lnTo>
                    <a:lnTo>
                      <a:pt x="303" y="228"/>
                    </a:lnTo>
                    <a:lnTo>
                      <a:pt x="301" y="226"/>
                    </a:lnTo>
                    <a:lnTo>
                      <a:pt x="296" y="226"/>
                    </a:lnTo>
                    <a:lnTo>
                      <a:pt x="290" y="223"/>
                    </a:lnTo>
                    <a:lnTo>
                      <a:pt x="283" y="224"/>
                    </a:lnTo>
                    <a:lnTo>
                      <a:pt x="271" y="226"/>
                    </a:lnTo>
                    <a:lnTo>
                      <a:pt x="265" y="229"/>
                    </a:lnTo>
                    <a:lnTo>
                      <a:pt x="258" y="234"/>
                    </a:lnTo>
                    <a:lnTo>
                      <a:pt x="240" y="243"/>
                    </a:lnTo>
                    <a:lnTo>
                      <a:pt x="226" y="251"/>
                    </a:lnTo>
                    <a:lnTo>
                      <a:pt x="225" y="256"/>
                    </a:lnTo>
                    <a:lnTo>
                      <a:pt x="211" y="259"/>
                    </a:lnTo>
                    <a:lnTo>
                      <a:pt x="210" y="259"/>
                    </a:lnTo>
                    <a:lnTo>
                      <a:pt x="201" y="259"/>
                    </a:lnTo>
                    <a:lnTo>
                      <a:pt x="201" y="261"/>
                    </a:lnTo>
                    <a:lnTo>
                      <a:pt x="198" y="263"/>
                    </a:lnTo>
                    <a:lnTo>
                      <a:pt x="192" y="271"/>
                    </a:lnTo>
                    <a:lnTo>
                      <a:pt x="192" y="274"/>
                    </a:lnTo>
                    <a:lnTo>
                      <a:pt x="187" y="281"/>
                    </a:lnTo>
                    <a:lnTo>
                      <a:pt x="180" y="292"/>
                    </a:lnTo>
                    <a:lnTo>
                      <a:pt x="173" y="296"/>
                    </a:lnTo>
                    <a:lnTo>
                      <a:pt x="170" y="299"/>
                    </a:lnTo>
                    <a:lnTo>
                      <a:pt x="172" y="304"/>
                    </a:lnTo>
                    <a:lnTo>
                      <a:pt x="172" y="311"/>
                    </a:lnTo>
                    <a:lnTo>
                      <a:pt x="167" y="311"/>
                    </a:lnTo>
                    <a:lnTo>
                      <a:pt x="167" y="316"/>
                    </a:lnTo>
                    <a:lnTo>
                      <a:pt x="168" y="319"/>
                    </a:lnTo>
                    <a:lnTo>
                      <a:pt x="167" y="324"/>
                    </a:lnTo>
                    <a:lnTo>
                      <a:pt x="165" y="326"/>
                    </a:lnTo>
                    <a:lnTo>
                      <a:pt x="160" y="332"/>
                    </a:lnTo>
                    <a:lnTo>
                      <a:pt x="152" y="329"/>
                    </a:lnTo>
                    <a:lnTo>
                      <a:pt x="150" y="327"/>
                    </a:lnTo>
                    <a:lnTo>
                      <a:pt x="152" y="326"/>
                    </a:lnTo>
                    <a:lnTo>
                      <a:pt x="145" y="326"/>
                    </a:lnTo>
                    <a:lnTo>
                      <a:pt x="137" y="326"/>
                    </a:lnTo>
                    <a:lnTo>
                      <a:pt x="137" y="329"/>
                    </a:lnTo>
                    <a:lnTo>
                      <a:pt x="135" y="331"/>
                    </a:lnTo>
                    <a:lnTo>
                      <a:pt x="125" y="329"/>
                    </a:lnTo>
                    <a:lnTo>
                      <a:pt x="120" y="327"/>
                    </a:lnTo>
                    <a:lnTo>
                      <a:pt x="117" y="327"/>
                    </a:lnTo>
                    <a:lnTo>
                      <a:pt x="110" y="331"/>
                    </a:lnTo>
                    <a:lnTo>
                      <a:pt x="108" y="327"/>
                    </a:lnTo>
                    <a:lnTo>
                      <a:pt x="107" y="326"/>
                    </a:lnTo>
                    <a:lnTo>
                      <a:pt x="100" y="326"/>
                    </a:lnTo>
                    <a:lnTo>
                      <a:pt x="100" y="322"/>
                    </a:lnTo>
                    <a:lnTo>
                      <a:pt x="98" y="319"/>
                    </a:lnTo>
                    <a:lnTo>
                      <a:pt x="98" y="316"/>
                    </a:lnTo>
                    <a:lnTo>
                      <a:pt x="95" y="316"/>
                    </a:lnTo>
                    <a:lnTo>
                      <a:pt x="93" y="319"/>
                    </a:lnTo>
                    <a:lnTo>
                      <a:pt x="89" y="319"/>
                    </a:lnTo>
                    <a:lnTo>
                      <a:pt x="92" y="314"/>
                    </a:lnTo>
                    <a:lnTo>
                      <a:pt x="95" y="307"/>
                    </a:lnTo>
                    <a:lnTo>
                      <a:pt x="95" y="306"/>
                    </a:lnTo>
                    <a:lnTo>
                      <a:pt x="90" y="304"/>
                    </a:lnTo>
                    <a:lnTo>
                      <a:pt x="87" y="302"/>
                    </a:lnTo>
                    <a:lnTo>
                      <a:pt x="89" y="296"/>
                    </a:lnTo>
                    <a:lnTo>
                      <a:pt x="87" y="292"/>
                    </a:lnTo>
                    <a:lnTo>
                      <a:pt x="82" y="287"/>
                    </a:lnTo>
                    <a:lnTo>
                      <a:pt x="80" y="286"/>
                    </a:lnTo>
                    <a:lnTo>
                      <a:pt x="77" y="287"/>
                    </a:lnTo>
                    <a:lnTo>
                      <a:pt x="74" y="289"/>
                    </a:lnTo>
                    <a:lnTo>
                      <a:pt x="69" y="286"/>
                    </a:lnTo>
                    <a:lnTo>
                      <a:pt x="64" y="286"/>
                    </a:lnTo>
                    <a:lnTo>
                      <a:pt x="59" y="292"/>
                    </a:lnTo>
                    <a:lnTo>
                      <a:pt x="55" y="292"/>
                    </a:lnTo>
                    <a:lnTo>
                      <a:pt x="50" y="296"/>
                    </a:lnTo>
                    <a:lnTo>
                      <a:pt x="44" y="296"/>
                    </a:lnTo>
                    <a:lnTo>
                      <a:pt x="39" y="292"/>
                    </a:lnTo>
                    <a:lnTo>
                      <a:pt x="35" y="291"/>
                    </a:lnTo>
                    <a:lnTo>
                      <a:pt x="30" y="292"/>
                    </a:lnTo>
                    <a:lnTo>
                      <a:pt x="27" y="292"/>
                    </a:lnTo>
                    <a:lnTo>
                      <a:pt x="27" y="292"/>
                    </a:lnTo>
                    <a:lnTo>
                      <a:pt x="29" y="289"/>
                    </a:lnTo>
                    <a:lnTo>
                      <a:pt x="29" y="286"/>
                    </a:lnTo>
                    <a:lnTo>
                      <a:pt x="22" y="282"/>
                    </a:lnTo>
                    <a:lnTo>
                      <a:pt x="22" y="279"/>
                    </a:lnTo>
                    <a:lnTo>
                      <a:pt x="24" y="276"/>
                    </a:lnTo>
                    <a:lnTo>
                      <a:pt x="24" y="274"/>
                    </a:lnTo>
                    <a:lnTo>
                      <a:pt x="20" y="271"/>
                    </a:lnTo>
                    <a:lnTo>
                      <a:pt x="20" y="268"/>
                    </a:lnTo>
                    <a:lnTo>
                      <a:pt x="17" y="266"/>
                    </a:lnTo>
                    <a:lnTo>
                      <a:pt x="14" y="266"/>
                    </a:lnTo>
                    <a:lnTo>
                      <a:pt x="12" y="263"/>
                    </a:lnTo>
                    <a:lnTo>
                      <a:pt x="9" y="258"/>
                    </a:lnTo>
                    <a:lnTo>
                      <a:pt x="2" y="253"/>
                    </a:lnTo>
                    <a:lnTo>
                      <a:pt x="2" y="249"/>
                    </a:lnTo>
                    <a:lnTo>
                      <a:pt x="5" y="241"/>
                    </a:lnTo>
                    <a:lnTo>
                      <a:pt x="4" y="238"/>
                    </a:lnTo>
                    <a:lnTo>
                      <a:pt x="4" y="234"/>
                    </a:lnTo>
                    <a:lnTo>
                      <a:pt x="0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5" name="Freeform 107"/>
              <p:cNvSpPr>
                <a:spLocks/>
              </p:cNvSpPr>
              <p:nvPr/>
            </p:nvSpPr>
            <p:spPr bwMode="auto">
              <a:xfrm>
                <a:off x="6350799" y="3093325"/>
                <a:ext cx="98463" cy="63293"/>
              </a:xfrm>
              <a:custGeom>
                <a:avLst/>
                <a:gdLst/>
                <a:ahLst/>
                <a:cxnLst>
                  <a:cxn ang="0">
                    <a:pos x="1" y="96"/>
                  </a:cxn>
                  <a:cxn ang="0">
                    <a:pos x="0" y="88"/>
                  </a:cxn>
                  <a:cxn ang="0">
                    <a:pos x="5" y="81"/>
                  </a:cxn>
                  <a:cxn ang="0">
                    <a:pos x="6" y="73"/>
                  </a:cxn>
                  <a:cxn ang="0">
                    <a:pos x="20" y="58"/>
                  </a:cxn>
                  <a:cxn ang="0">
                    <a:pos x="25" y="48"/>
                  </a:cxn>
                  <a:cxn ang="0">
                    <a:pos x="34" y="38"/>
                  </a:cxn>
                  <a:cxn ang="0">
                    <a:pos x="43" y="36"/>
                  </a:cxn>
                  <a:cxn ang="0">
                    <a:pos x="58" y="33"/>
                  </a:cxn>
                  <a:cxn ang="0">
                    <a:pos x="73" y="20"/>
                  </a:cxn>
                  <a:cxn ang="0">
                    <a:pos x="98" y="6"/>
                  </a:cxn>
                  <a:cxn ang="0">
                    <a:pos x="116" y="1"/>
                  </a:cxn>
                  <a:cxn ang="0">
                    <a:pos x="129" y="3"/>
                  </a:cxn>
                  <a:cxn ang="0">
                    <a:pos x="136" y="5"/>
                  </a:cxn>
                  <a:cxn ang="0">
                    <a:pos x="134" y="11"/>
                  </a:cxn>
                  <a:cxn ang="0">
                    <a:pos x="131" y="23"/>
                  </a:cxn>
                  <a:cxn ang="0">
                    <a:pos x="154" y="46"/>
                  </a:cxn>
                  <a:cxn ang="0">
                    <a:pos x="172" y="46"/>
                  </a:cxn>
                  <a:cxn ang="0">
                    <a:pos x="176" y="50"/>
                  </a:cxn>
                  <a:cxn ang="0">
                    <a:pos x="179" y="56"/>
                  </a:cxn>
                  <a:cxn ang="0">
                    <a:pos x="181" y="66"/>
                  </a:cxn>
                  <a:cxn ang="0">
                    <a:pos x="182" y="69"/>
                  </a:cxn>
                  <a:cxn ang="0">
                    <a:pos x="174" y="74"/>
                  </a:cxn>
                  <a:cxn ang="0">
                    <a:pos x="162" y="78"/>
                  </a:cxn>
                  <a:cxn ang="0">
                    <a:pos x="159" y="84"/>
                  </a:cxn>
                  <a:cxn ang="0">
                    <a:pos x="156" y="91"/>
                  </a:cxn>
                  <a:cxn ang="0">
                    <a:pos x="149" y="94"/>
                  </a:cxn>
                  <a:cxn ang="0">
                    <a:pos x="121" y="89"/>
                  </a:cxn>
                  <a:cxn ang="0">
                    <a:pos x="119" y="88"/>
                  </a:cxn>
                  <a:cxn ang="0">
                    <a:pos x="108" y="91"/>
                  </a:cxn>
                  <a:cxn ang="0">
                    <a:pos x="86" y="93"/>
                  </a:cxn>
                  <a:cxn ang="0">
                    <a:pos x="66" y="93"/>
                  </a:cxn>
                  <a:cxn ang="0">
                    <a:pos x="58" y="98"/>
                  </a:cxn>
                  <a:cxn ang="0">
                    <a:pos x="61" y="108"/>
                  </a:cxn>
                  <a:cxn ang="0">
                    <a:pos x="64" y="119"/>
                  </a:cxn>
                  <a:cxn ang="0">
                    <a:pos x="56" y="118"/>
                  </a:cxn>
                  <a:cxn ang="0">
                    <a:pos x="48" y="119"/>
                  </a:cxn>
                  <a:cxn ang="0">
                    <a:pos x="34" y="118"/>
                  </a:cxn>
                  <a:cxn ang="0">
                    <a:pos x="28" y="111"/>
                  </a:cxn>
                  <a:cxn ang="0">
                    <a:pos x="21" y="109"/>
                  </a:cxn>
                  <a:cxn ang="0">
                    <a:pos x="8" y="106"/>
                  </a:cxn>
                  <a:cxn ang="0">
                    <a:pos x="0" y="101"/>
                  </a:cxn>
                </a:cxnLst>
                <a:rect l="0" t="0" r="r" b="b"/>
                <a:pathLst>
                  <a:path w="182" h="121">
                    <a:moveTo>
                      <a:pt x="0" y="101"/>
                    </a:moveTo>
                    <a:lnTo>
                      <a:pt x="1" y="96"/>
                    </a:lnTo>
                    <a:lnTo>
                      <a:pt x="0" y="93"/>
                    </a:lnTo>
                    <a:lnTo>
                      <a:pt x="0" y="88"/>
                    </a:lnTo>
                    <a:lnTo>
                      <a:pt x="5" y="88"/>
                    </a:lnTo>
                    <a:lnTo>
                      <a:pt x="5" y="81"/>
                    </a:lnTo>
                    <a:lnTo>
                      <a:pt x="3" y="76"/>
                    </a:lnTo>
                    <a:lnTo>
                      <a:pt x="6" y="73"/>
                    </a:lnTo>
                    <a:lnTo>
                      <a:pt x="13" y="69"/>
                    </a:lnTo>
                    <a:lnTo>
                      <a:pt x="20" y="58"/>
                    </a:lnTo>
                    <a:lnTo>
                      <a:pt x="25" y="51"/>
                    </a:lnTo>
                    <a:lnTo>
                      <a:pt x="25" y="48"/>
                    </a:lnTo>
                    <a:lnTo>
                      <a:pt x="31" y="40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43" y="36"/>
                    </a:lnTo>
                    <a:lnTo>
                      <a:pt x="44" y="36"/>
                    </a:lnTo>
                    <a:lnTo>
                      <a:pt x="58" y="33"/>
                    </a:lnTo>
                    <a:lnTo>
                      <a:pt x="59" y="28"/>
                    </a:lnTo>
                    <a:lnTo>
                      <a:pt x="73" y="20"/>
                    </a:lnTo>
                    <a:lnTo>
                      <a:pt x="91" y="11"/>
                    </a:lnTo>
                    <a:lnTo>
                      <a:pt x="98" y="6"/>
                    </a:lnTo>
                    <a:lnTo>
                      <a:pt x="104" y="3"/>
                    </a:lnTo>
                    <a:lnTo>
                      <a:pt x="116" y="1"/>
                    </a:lnTo>
                    <a:lnTo>
                      <a:pt x="123" y="0"/>
                    </a:lnTo>
                    <a:lnTo>
                      <a:pt x="129" y="3"/>
                    </a:lnTo>
                    <a:lnTo>
                      <a:pt x="134" y="3"/>
                    </a:lnTo>
                    <a:lnTo>
                      <a:pt x="136" y="5"/>
                    </a:lnTo>
                    <a:lnTo>
                      <a:pt x="134" y="6"/>
                    </a:lnTo>
                    <a:lnTo>
                      <a:pt x="134" y="11"/>
                    </a:lnTo>
                    <a:lnTo>
                      <a:pt x="131" y="16"/>
                    </a:lnTo>
                    <a:lnTo>
                      <a:pt x="131" y="23"/>
                    </a:lnTo>
                    <a:lnTo>
                      <a:pt x="154" y="36"/>
                    </a:lnTo>
                    <a:lnTo>
                      <a:pt x="154" y="46"/>
                    </a:lnTo>
                    <a:lnTo>
                      <a:pt x="162" y="51"/>
                    </a:lnTo>
                    <a:lnTo>
                      <a:pt x="172" y="46"/>
                    </a:lnTo>
                    <a:lnTo>
                      <a:pt x="176" y="48"/>
                    </a:lnTo>
                    <a:lnTo>
                      <a:pt x="176" y="50"/>
                    </a:lnTo>
                    <a:lnTo>
                      <a:pt x="179" y="53"/>
                    </a:lnTo>
                    <a:lnTo>
                      <a:pt x="179" y="56"/>
                    </a:lnTo>
                    <a:lnTo>
                      <a:pt x="176" y="59"/>
                    </a:lnTo>
                    <a:lnTo>
                      <a:pt x="181" y="66"/>
                    </a:lnTo>
                    <a:lnTo>
                      <a:pt x="182" y="66"/>
                    </a:lnTo>
                    <a:lnTo>
                      <a:pt x="182" y="69"/>
                    </a:lnTo>
                    <a:lnTo>
                      <a:pt x="177" y="74"/>
                    </a:lnTo>
                    <a:lnTo>
                      <a:pt x="174" y="74"/>
                    </a:lnTo>
                    <a:lnTo>
                      <a:pt x="166" y="79"/>
                    </a:lnTo>
                    <a:lnTo>
                      <a:pt x="162" y="78"/>
                    </a:lnTo>
                    <a:lnTo>
                      <a:pt x="157" y="79"/>
                    </a:lnTo>
                    <a:lnTo>
                      <a:pt x="159" y="84"/>
                    </a:lnTo>
                    <a:lnTo>
                      <a:pt x="154" y="86"/>
                    </a:lnTo>
                    <a:lnTo>
                      <a:pt x="156" y="91"/>
                    </a:lnTo>
                    <a:lnTo>
                      <a:pt x="149" y="93"/>
                    </a:lnTo>
                    <a:lnTo>
                      <a:pt x="149" y="94"/>
                    </a:lnTo>
                    <a:lnTo>
                      <a:pt x="123" y="88"/>
                    </a:lnTo>
                    <a:lnTo>
                      <a:pt x="121" y="89"/>
                    </a:lnTo>
                    <a:lnTo>
                      <a:pt x="121" y="89"/>
                    </a:lnTo>
                    <a:lnTo>
                      <a:pt x="119" y="88"/>
                    </a:lnTo>
                    <a:lnTo>
                      <a:pt x="114" y="91"/>
                    </a:lnTo>
                    <a:lnTo>
                      <a:pt x="108" y="91"/>
                    </a:lnTo>
                    <a:lnTo>
                      <a:pt x="99" y="93"/>
                    </a:lnTo>
                    <a:lnTo>
                      <a:pt x="86" y="93"/>
                    </a:lnTo>
                    <a:lnTo>
                      <a:pt x="84" y="93"/>
                    </a:lnTo>
                    <a:lnTo>
                      <a:pt x="66" y="93"/>
                    </a:lnTo>
                    <a:lnTo>
                      <a:pt x="58" y="93"/>
                    </a:lnTo>
                    <a:lnTo>
                      <a:pt x="58" y="98"/>
                    </a:lnTo>
                    <a:lnTo>
                      <a:pt x="59" y="106"/>
                    </a:lnTo>
                    <a:lnTo>
                      <a:pt x="61" y="108"/>
                    </a:lnTo>
                    <a:lnTo>
                      <a:pt x="64" y="113"/>
                    </a:lnTo>
                    <a:lnTo>
                      <a:pt x="64" y="119"/>
                    </a:lnTo>
                    <a:lnTo>
                      <a:pt x="59" y="119"/>
                    </a:lnTo>
                    <a:lnTo>
                      <a:pt x="56" y="118"/>
                    </a:lnTo>
                    <a:lnTo>
                      <a:pt x="53" y="116"/>
                    </a:lnTo>
                    <a:lnTo>
                      <a:pt x="48" y="119"/>
                    </a:lnTo>
                    <a:lnTo>
                      <a:pt x="43" y="121"/>
                    </a:lnTo>
                    <a:lnTo>
                      <a:pt x="34" y="118"/>
                    </a:lnTo>
                    <a:lnTo>
                      <a:pt x="33" y="114"/>
                    </a:lnTo>
                    <a:lnTo>
                      <a:pt x="28" y="111"/>
                    </a:lnTo>
                    <a:lnTo>
                      <a:pt x="23" y="111"/>
                    </a:lnTo>
                    <a:lnTo>
                      <a:pt x="21" y="109"/>
                    </a:lnTo>
                    <a:lnTo>
                      <a:pt x="18" y="109"/>
                    </a:lnTo>
                    <a:lnTo>
                      <a:pt x="8" y="106"/>
                    </a:lnTo>
                    <a:lnTo>
                      <a:pt x="1" y="101"/>
                    </a:lnTo>
                    <a:lnTo>
                      <a:pt x="0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6" name="Freeform 108"/>
              <p:cNvSpPr>
                <a:spLocks/>
              </p:cNvSpPr>
              <p:nvPr/>
            </p:nvSpPr>
            <p:spPr bwMode="auto">
              <a:xfrm>
                <a:off x="6193473" y="3075685"/>
                <a:ext cx="83479" cy="53955"/>
              </a:xfrm>
              <a:custGeom>
                <a:avLst/>
                <a:gdLst/>
                <a:ahLst/>
                <a:cxnLst>
                  <a:cxn ang="0">
                    <a:pos x="26" y="11"/>
                  </a:cxn>
                  <a:cxn ang="0">
                    <a:pos x="34" y="6"/>
                  </a:cxn>
                  <a:cxn ang="0">
                    <a:pos x="59" y="0"/>
                  </a:cxn>
                  <a:cxn ang="0">
                    <a:pos x="76" y="3"/>
                  </a:cxn>
                  <a:cxn ang="0">
                    <a:pos x="88" y="11"/>
                  </a:cxn>
                  <a:cxn ang="0">
                    <a:pos x="91" y="15"/>
                  </a:cxn>
                  <a:cxn ang="0">
                    <a:pos x="96" y="13"/>
                  </a:cxn>
                  <a:cxn ang="0">
                    <a:pos x="103" y="15"/>
                  </a:cxn>
                  <a:cxn ang="0">
                    <a:pos x="108" y="25"/>
                  </a:cxn>
                  <a:cxn ang="0">
                    <a:pos x="114" y="30"/>
                  </a:cxn>
                  <a:cxn ang="0">
                    <a:pos x="119" y="36"/>
                  </a:cxn>
                  <a:cxn ang="0">
                    <a:pos x="127" y="43"/>
                  </a:cxn>
                  <a:cxn ang="0">
                    <a:pos x="131" y="50"/>
                  </a:cxn>
                  <a:cxn ang="0">
                    <a:pos x="129" y="61"/>
                  </a:cxn>
                  <a:cxn ang="0">
                    <a:pos x="136" y="70"/>
                  </a:cxn>
                  <a:cxn ang="0">
                    <a:pos x="141" y="78"/>
                  </a:cxn>
                  <a:cxn ang="0">
                    <a:pos x="147" y="80"/>
                  </a:cxn>
                  <a:cxn ang="0">
                    <a:pos x="151" y="86"/>
                  </a:cxn>
                  <a:cxn ang="0">
                    <a:pos x="149" y="91"/>
                  </a:cxn>
                  <a:cxn ang="0">
                    <a:pos x="156" y="98"/>
                  </a:cxn>
                  <a:cxn ang="0">
                    <a:pos x="154" y="104"/>
                  </a:cxn>
                  <a:cxn ang="0">
                    <a:pos x="149" y="99"/>
                  </a:cxn>
                  <a:cxn ang="0">
                    <a:pos x="142" y="98"/>
                  </a:cxn>
                  <a:cxn ang="0">
                    <a:pos x="131" y="96"/>
                  </a:cxn>
                  <a:cxn ang="0">
                    <a:pos x="119" y="94"/>
                  </a:cxn>
                  <a:cxn ang="0">
                    <a:pos x="94" y="90"/>
                  </a:cxn>
                  <a:cxn ang="0">
                    <a:pos x="89" y="91"/>
                  </a:cxn>
                  <a:cxn ang="0">
                    <a:pos x="61" y="88"/>
                  </a:cxn>
                  <a:cxn ang="0">
                    <a:pos x="48" y="98"/>
                  </a:cxn>
                  <a:cxn ang="0">
                    <a:pos x="23" y="99"/>
                  </a:cxn>
                  <a:cxn ang="0">
                    <a:pos x="18" y="93"/>
                  </a:cxn>
                  <a:cxn ang="0">
                    <a:pos x="20" y="93"/>
                  </a:cxn>
                  <a:cxn ang="0">
                    <a:pos x="28" y="91"/>
                  </a:cxn>
                  <a:cxn ang="0">
                    <a:pos x="15" y="91"/>
                  </a:cxn>
                  <a:cxn ang="0">
                    <a:pos x="15" y="86"/>
                  </a:cxn>
                  <a:cxn ang="0">
                    <a:pos x="18" y="80"/>
                  </a:cxn>
                  <a:cxn ang="0">
                    <a:pos x="36" y="75"/>
                  </a:cxn>
                  <a:cxn ang="0">
                    <a:pos x="46" y="71"/>
                  </a:cxn>
                  <a:cxn ang="0">
                    <a:pos x="51" y="73"/>
                  </a:cxn>
                  <a:cxn ang="0">
                    <a:pos x="58" y="70"/>
                  </a:cxn>
                  <a:cxn ang="0">
                    <a:pos x="68" y="73"/>
                  </a:cxn>
                  <a:cxn ang="0">
                    <a:pos x="83" y="78"/>
                  </a:cxn>
                  <a:cxn ang="0">
                    <a:pos x="89" y="75"/>
                  </a:cxn>
                  <a:cxn ang="0">
                    <a:pos x="86" y="73"/>
                  </a:cxn>
                  <a:cxn ang="0">
                    <a:pos x="71" y="66"/>
                  </a:cxn>
                  <a:cxn ang="0">
                    <a:pos x="56" y="63"/>
                  </a:cxn>
                  <a:cxn ang="0">
                    <a:pos x="46" y="63"/>
                  </a:cxn>
                  <a:cxn ang="0">
                    <a:pos x="33" y="70"/>
                  </a:cxn>
                  <a:cxn ang="0">
                    <a:pos x="20" y="71"/>
                  </a:cxn>
                  <a:cxn ang="0">
                    <a:pos x="21" y="66"/>
                  </a:cxn>
                  <a:cxn ang="0">
                    <a:pos x="18" y="63"/>
                  </a:cxn>
                  <a:cxn ang="0">
                    <a:pos x="13" y="58"/>
                  </a:cxn>
                  <a:cxn ang="0">
                    <a:pos x="0" y="43"/>
                  </a:cxn>
                  <a:cxn ang="0">
                    <a:pos x="21" y="21"/>
                  </a:cxn>
                </a:cxnLst>
                <a:rect l="0" t="0" r="r" b="b"/>
                <a:pathLst>
                  <a:path w="156" h="104">
                    <a:moveTo>
                      <a:pt x="21" y="13"/>
                    </a:moveTo>
                    <a:lnTo>
                      <a:pt x="26" y="11"/>
                    </a:lnTo>
                    <a:lnTo>
                      <a:pt x="29" y="11"/>
                    </a:lnTo>
                    <a:lnTo>
                      <a:pt x="34" y="6"/>
                    </a:lnTo>
                    <a:lnTo>
                      <a:pt x="48" y="5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76" y="3"/>
                    </a:lnTo>
                    <a:lnTo>
                      <a:pt x="83" y="5"/>
                    </a:lnTo>
                    <a:lnTo>
                      <a:pt x="88" y="11"/>
                    </a:lnTo>
                    <a:lnTo>
                      <a:pt x="88" y="13"/>
                    </a:lnTo>
                    <a:lnTo>
                      <a:pt x="91" y="15"/>
                    </a:lnTo>
                    <a:lnTo>
                      <a:pt x="94" y="13"/>
                    </a:lnTo>
                    <a:lnTo>
                      <a:pt x="96" y="13"/>
                    </a:lnTo>
                    <a:lnTo>
                      <a:pt x="101" y="13"/>
                    </a:lnTo>
                    <a:lnTo>
                      <a:pt x="103" y="15"/>
                    </a:lnTo>
                    <a:lnTo>
                      <a:pt x="103" y="20"/>
                    </a:lnTo>
                    <a:lnTo>
                      <a:pt x="108" y="25"/>
                    </a:lnTo>
                    <a:lnTo>
                      <a:pt x="108" y="30"/>
                    </a:lnTo>
                    <a:lnTo>
                      <a:pt x="114" y="30"/>
                    </a:lnTo>
                    <a:lnTo>
                      <a:pt x="114" y="35"/>
                    </a:lnTo>
                    <a:lnTo>
                      <a:pt x="119" y="36"/>
                    </a:lnTo>
                    <a:lnTo>
                      <a:pt x="126" y="40"/>
                    </a:lnTo>
                    <a:lnTo>
                      <a:pt x="127" y="43"/>
                    </a:lnTo>
                    <a:lnTo>
                      <a:pt x="131" y="46"/>
                    </a:lnTo>
                    <a:lnTo>
                      <a:pt x="131" y="50"/>
                    </a:lnTo>
                    <a:lnTo>
                      <a:pt x="132" y="53"/>
                    </a:lnTo>
                    <a:lnTo>
                      <a:pt x="129" y="61"/>
                    </a:lnTo>
                    <a:lnTo>
                      <a:pt x="129" y="65"/>
                    </a:lnTo>
                    <a:lnTo>
                      <a:pt x="136" y="70"/>
                    </a:lnTo>
                    <a:lnTo>
                      <a:pt x="139" y="75"/>
                    </a:lnTo>
                    <a:lnTo>
                      <a:pt x="141" y="78"/>
                    </a:lnTo>
                    <a:lnTo>
                      <a:pt x="144" y="78"/>
                    </a:lnTo>
                    <a:lnTo>
                      <a:pt x="147" y="80"/>
                    </a:lnTo>
                    <a:lnTo>
                      <a:pt x="147" y="83"/>
                    </a:lnTo>
                    <a:lnTo>
                      <a:pt x="151" y="86"/>
                    </a:lnTo>
                    <a:lnTo>
                      <a:pt x="151" y="88"/>
                    </a:lnTo>
                    <a:lnTo>
                      <a:pt x="149" y="91"/>
                    </a:lnTo>
                    <a:lnTo>
                      <a:pt x="149" y="94"/>
                    </a:lnTo>
                    <a:lnTo>
                      <a:pt x="156" y="98"/>
                    </a:lnTo>
                    <a:lnTo>
                      <a:pt x="156" y="101"/>
                    </a:lnTo>
                    <a:lnTo>
                      <a:pt x="154" y="104"/>
                    </a:lnTo>
                    <a:lnTo>
                      <a:pt x="154" y="99"/>
                    </a:lnTo>
                    <a:lnTo>
                      <a:pt x="149" y="99"/>
                    </a:lnTo>
                    <a:lnTo>
                      <a:pt x="147" y="98"/>
                    </a:lnTo>
                    <a:lnTo>
                      <a:pt x="142" y="98"/>
                    </a:lnTo>
                    <a:lnTo>
                      <a:pt x="137" y="99"/>
                    </a:lnTo>
                    <a:lnTo>
                      <a:pt x="131" y="96"/>
                    </a:lnTo>
                    <a:lnTo>
                      <a:pt x="122" y="96"/>
                    </a:lnTo>
                    <a:lnTo>
                      <a:pt x="119" y="94"/>
                    </a:lnTo>
                    <a:lnTo>
                      <a:pt x="109" y="90"/>
                    </a:lnTo>
                    <a:lnTo>
                      <a:pt x="94" y="90"/>
                    </a:lnTo>
                    <a:lnTo>
                      <a:pt x="89" y="90"/>
                    </a:lnTo>
                    <a:lnTo>
                      <a:pt x="89" y="91"/>
                    </a:lnTo>
                    <a:lnTo>
                      <a:pt x="83" y="90"/>
                    </a:lnTo>
                    <a:lnTo>
                      <a:pt x="61" y="88"/>
                    </a:lnTo>
                    <a:lnTo>
                      <a:pt x="53" y="91"/>
                    </a:lnTo>
                    <a:lnTo>
                      <a:pt x="48" y="98"/>
                    </a:lnTo>
                    <a:lnTo>
                      <a:pt x="31" y="96"/>
                    </a:lnTo>
                    <a:lnTo>
                      <a:pt x="23" y="99"/>
                    </a:lnTo>
                    <a:lnTo>
                      <a:pt x="18" y="98"/>
                    </a:lnTo>
                    <a:lnTo>
                      <a:pt x="18" y="93"/>
                    </a:lnTo>
                    <a:lnTo>
                      <a:pt x="16" y="93"/>
                    </a:lnTo>
                    <a:lnTo>
                      <a:pt x="20" y="93"/>
                    </a:lnTo>
                    <a:lnTo>
                      <a:pt x="23" y="94"/>
                    </a:lnTo>
                    <a:lnTo>
                      <a:pt x="28" y="91"/>
                    </a:lnTo>
                    <a:lnTo>
                      <a:pt x="20" y="88"/>
                    </a:lnTo>
                    <a:lnTo>
                      <a:pt x="15" y="91"/>
                    </a:lnTo>
                    <a:lnTo>
                      <a:pt x="13" y="90"/>
                    </a:lnTo>
                    <a:lnTo>
                      <a:pt x="15" y="86"/>
                    </a:lnTo>
                    <a:lnTo>
                      <a:pt x="15" y="81"/>
                    </a:lnTo>
                    <a:lnTo>
                      <a:pt x="18" y="80"/>
                    </a:lnTo>
                    <a:lnTo>
                      <a:pt x="33" y="80"/>
                    </a:lnTo>
                    <a:lnTo>
                      <a:pt x="36" y="75"/>
                    </a:lnTo>
                    <a:lnTo>
                      <a:pt x="41" y="75"/>
                    </a:lnTo>
                    <a:lnTo>
                      <a:pt x="46" y="71"/>
                    </a:lnTo>
                    <a:lnTo>
                      <a:pt x="49" y="71"/>
                    </a:lnTo>
                    <a:lnTo>
                      <a:pt x="51" y="73"/>
                    </a:lnTo>
                    <a:lnTo>
                      <a:pt x="54" y="70"/>
                    </a:lnTo>
                    <a:lnTo>
                      <a:pt x="58" y="70"/>
                    </a:lnTo>
                    <a:lnTo>
                      <a:pt x="63" y="73"/>
                    </a:lnTo>
                    <a:lnTo>
                      <a:pt x="68" y="73"/>
                    </a:lnTo>
                    <a:lnTo>
                      <a:pt x="74" y="75"/>
                    </a:lnTo>
                    <a:lnTo>
                      <a:pt x="83" y="78"/>
                    </a:lnTo>
                    <a:lnTo>
                      <a:pt x="88" y="78"/>
                    </a:lnTo>
                    <a:lnTo>
                      <a:pt x="89" y="75"/>
                    </a:lnTo>
                    <a:lnTo>
                      <a:pt x="88" y="73"/>
                    </a:lnTo>
                    <a:lnTo>
                      <a:pt x="86" y="73"/>
                    </a:lnTo>
                    <a:lnTo>
                      <a:pt x="74" y="66"/>
                    </a:lnTo>
                    <a:lnTo>
                      <a:pt x="71" y="66"/>
                    </a:lnTo>
                    <a:lnTo>
                      <a:pt x="63" y="63"/>
                    </a:lnTo>
                    <a:lnTo>
                      <a:pt x="56" y="63"/>
                    </a:lnTo>
                    <a:lnTo>
                      <a:pt x="53" y="61"/>
                    </a:lnTo>
                    <a:lnTo>
                      <a:pt x="46" y="63"/>
                    </a:lnTo>
                    <a:lnTo>
                      <a:pt x="38" y="70"/>
                    </a:lnTo>
                    <a:lnTo>
                      <a:pt x="33" y="70"/>
                    </a:lnTo>
                    <a:lnTo>
                      <a:pt x="29" y="71"/>
                    </a:lnTo>
                    <a:lnTo>
                      <a:pt x="20" y="71"/>
                    </a:lnTo>
                    <a:lnTo>
                      <a:pt x="18" y="70"/>
                    </a:lnTo>
                    <a:lnTo>
                      <a:pt x="21" y="66"/>
                    </a:lnTo>
                    <a:lnTo>
                      <a:pt x="16" y="63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13" y="58"/>
                    </a:lnTo>
                    <a:lnTo>
                      <a:pt x="8" y="50"/>
                    </a:lnTo>
                    <a:lnTo>
                      <a:pt x="0" y="43"/>
                    </a:lnTo>
                    <a:lnTo>
                      <a:pt x="15" y="31"/>
                    </a:lnTo>
                    <a:lnTo>
                      <a:pt x="21" y="21"/>
                    </a:lnTo>
                    <a:lnTo>
                      <a:pt x="21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7" name="Freeform 110"/>
              <p:cNvSpPr>
                <a:spLocks/>
              </p:cNvSpPr>
              <p:nvPr/>
            </p:nvSpPr>
            <p:spPr bwMode="auto">
              <a:xfrm>
                <a:off x="6203105" y="3121339"/>
                <a:ext cx="39599" cy="2179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5" y="11"/>
                  </a:cxn>
                  <a:cxn ang="0">
                    <a:pos x="13" y="8"/>
                  </a:cxn>
                  <a:cxn ang="0">
                    <a:pos x="30" y="10"/>
                  </a:cxn>
                  <a:cxn ang="0">
                    <a:pos x="35" y="3"/>
                  </a:cxn>
                  <a:cxn ang="0">
                    <a:pos x="43" y="0"/>
                  </a:cxn>
                  <a:cxn ang="0">
                    <a:pos x="65" y="2"/>
                  </a:cxn>
                  <a:cxn ang="0">
                    <a:pos x="71" y="3"/>
                  </a:cxn>
                  <a:cxn ang="0">
                    <a:pos x="71" y="10"/>
                  </a:cxn>
                  <a:cxn ang="0">
                    <a:pos x="71" y="13"/>
                  </a:cxn>
                  <a:cxn ang="0">
                    <a:pos x="71" y="20"/>
                  </a:cxn>
                  <a:cxn ang="0">
                    <a:pos x="73" y="23"/>
                  </a:cxn>
                  <a:cxn ang="0">
                    <a:pos x="73" y="26"/>
                  </a:cxn>
                  <a:cxn ang="0">
                    <a:pos x="70" y="30"/>
                  </a:cxn>
                  <a:cxn ang="0">
                    <a:pos x="61" y="30"/>
                  </a:cxn>
                  <a:cxn ang="0">
                    <a:pos x="55" y="35"/>
                  </a:cxn>
                  <a:cxn ang="0">
                    <a:pos x="50" y="35"/>
                  </a:cxn>
                  <a:cxn ang="0">
                    <a:pos x="46" y="40"/>
                  </a:cxn>
                  <a:cxn ang="0">
                    <a:pos x="41" y="41"/>
                  </a:cxn>
                  <a:cxn ang="0">
                    <a:pos x="40" y="40"/>
                  </a:cxn>
                  <a:cxn ang="0">
                    <a:pos x="40" y="36"/>
                  </a:cxn>
                  <a:cxn ang="0">
                    <a:pos x="30" y="38"/>
                  </a:cxn>
                  <a:cxn ang="0">
                    <a:pos x="35" y="31"/>
                  </a:cxn>
                  <a:cxn ang="0">
                    <a:pos x="33" y="31"/>
                  </a:cxn>
                  <a:cxn ang="0">
                    <a:pos x="35" y="30"/>
                  </a:cxn>
                  <a:cxn ang="0">
                    <a:pos x="31" y="28"/>
                  </a:cxn>
                  <a:cxn ang="0">
                    <a:pos x="28" y="28"/>
                  </a:cxn>
                  <a:cxn ang="0">
                    <a:pos x="26" y="25"/>
                  </a:cxn>
                  <a:cxn ang="0">
                    <a:pos x="38" y="25"/>
                  </a:cxn>
                  <a:cxn ang="0">
                    <a:pos x="41" y="25"/>
                  </a:cxn>
                  <a:cxn ang="0">
                    <a:pos x="35" y="21"/>
                  </a:cxn>
                  <a:cxn ang="0">
                    <a:pos x="28" y="21"/>
                  </a:cxn>
                  <a:cxn ang="0">
                    <a:pos x="21" y="23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3" y="21"/>
                  </a:cxn>
                  <a:cxn ang="0">
                    <a:pos x="8" y="16"/>
                  </a:cxn>
                  <a:cxn ang="0">
                    <a:pos x="13" y="13"/>
                  </a:cxn>
                  <a:cxn ang="0">
                    <a:pos x="10" y="13"/>
                  </a:cxn>
                  <a:cxn ang="0">
                    <a:pos x="2" y="13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73" h="41">
                    <a:moveTo>
                      <a:pt x="0" y="10"/>
                    </a:moveTo>
                    <a:lnTo>
                      <a:pt x="5" y="11"/>
                    </a:lnTo>
                    <a:lnTo>
                      <a:pt x="13" y="8"/>
                    </a:lnTo>
                    <a:lnTo>
                      <a:pt x="30" y="10"/>
                    </a:lnTo>
                    <a:lnTo>
                      <a:pt x="35" y="3"/>
                    </a:lnTo>
                    <a:lnTo>
                      <a:pt x="43" y="0"/>
                    </a:lnTo>
                    <a:lnTo>
                      <a:pt x="65" y="2"/>
                    </a:lnTo>
                    <a:lnTo>
                      <a:pt x="71" y="3"/>
                    </a:lnTo>
                    <a:lnTo>
                      <a:pt x="71" y="10"/>
                    </a:lnTo>
                    <a:lnTo>
                      <a:pt x="71" y="13"/>
                    </a:lnTo>
                    <a:lnTo>
                      <a:pt x="71" y="20"/>
                    </a:lnTo>
                    <a:lnTo>
                      <a:pt x="73" y="23"/>
                    </a:lnTo>
                    <a:lnTo>
                      <a:pt x="73" y="26"/>
                    </a:lnTo>
                    <a:lnTo>
                      <a:pt x="70" y="30"/>
                    </a:lnTo>
                    <a:lnTo>
                      <a:pt x="61" y="30"/>
                    </a:lnTo>
                    <a:lnTo>
                      <a:pt x="55" y="35"/>
                    </a:lnTo>
                    <a:lnTo>
                      <a:pt x="50" y="35"/>
                    </a:lnTo>
                    <a:lnTo>
                      <a:pt x="46" y="40"/>
                    </a:lnTo>
                    <a:lnTo>
                      <a:pt x="41" y="41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30" y="38"/>
                    </a:lnTo>
                    <a:lnTo>
                      <a:pt x="35" y="31"/>
                    </a:lnTo>
                    <a:lnTo>
                      <a:pt x="33" y="31"/>
                    </a:lnTo>
                    <a:lnTo>
                      <a:pt x="35" y="30"/>
                    </a:lnTo>
                    <a:lnTo>
                      <a:pt x="31" y="28"/>
                    </a:lnTo>
                    <a:lnTo>
                      <a:pt x="28" y="28"/>
                    </a:lnTo>
                    <a:lnTo>
                      <a:pt x="26" y="25"/>
                    </a:lnTo>
                    <a:lnTo>
                      <a:pt x="38" y="25"/>
                    </a:lnTo>
                    <a:lnTo>
                      <a:pt x="41" y="25"/>
                    </a:lnTo>
                    <a:lnTo>
                      <a:pt x="35" y="21"/>
                    </a:lnTo>
                    <a:lnTo>
                      <a:pt x="28" y="21"/>
                    </a:lnTo>
                    <a:lnTo>
                      <a:pt x="21" y="23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3" y="21"/>
                    </a:lnTo>
                    <a:lnTo>
                      <a:pt x="8" y="16"/>
                    </a:lnTo>
                    <a:lnTo>
                      <a:pt x="13" y="13"/>
                    </a:lnTo>
                    <a:lnTo>
                      <a:pt x="10" y="13"/>
                    </a:lnTo>
                    <a:lnTo>
                      <a:pt x="2" y="13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8" name="Freeform 111"/>
              <p:cNvSpPr>
                <a:spLocks/>
              </p:cNvSpPr>
              <p:nvPr/>
            </p:nvSpPr>
            <p:spPr bwMode="auto">
              <a:xfrm>
                <a:off x="6228791" y="3122377"/>
                <a:ext cx="92041" cy="78857"/>
              </a:xfrm>
              <a:custGeom>
                <a:avLst/>
                <a:gdLst/>
                <a:ahLst/>
                <a:cxnLst>
                  <a:cxn ang="0">
                    <a:pos x="4" y="33"/>
                  </a:cxn>
                  <a:cxn ang="0">
                    <a:pos x="15" y="28"/>
                  </a:cxn>
                  <a:cxn ang="0">
                    <a:pos x="27" y="24"/>
                  </a:cxn>
                  <a:cxn ang="0">
                    <a:pos x="25" y="18"/>
                  </a:cxn>
                  <a:cxn ang="0">
                    <a:pos x="25" y="8"/>
                  </a:cxn>
                  <a:cxn ang="0">
                    <a:pos x="30" y="0"/>
                  </a:cxn>
                  <a:cxn ang="0">
                    <a:pos x="55" y="4"/>
                  </a:cxn>
                  <a:cxn ang="0">
                    <a:pos x="67" y="6"/>
                  </a:cxn>
                  <a:cxn ang="0">
                    <a:pos x="78" y="8"/>
                  </a:cxn>
                  <a:cxn ang="0">
                    <a:pos x="85" y="9"/>
                  </a:cxn>
                  <a:cxn ang="0">
                    <a:pos x="90" y="14"/>
                  </a:cxn>
                  <a:cxn ang="0">
                    <a:pos x="98" y="13"/>
                  </a:cxn>
                  <a:cxn ang="0">
                    <a:pos x="107" y="18"/>
                  </a:cxn>
                  <a:cxn ang="0">
                    <a:pos x="118" y="14"/>
                  </a:cxn>
                  <a:cxn ang="0">
                    <a:pos x="127" y="8"/>
                  </a:cxn>
                  <a:cxn ang="0">
                    <a:pos x="137" y="11"/>
                  </a:cxn>
                  <a:cxn ang="0">
                    <a:pos x="143" y="8"/>
                  </a:cxn>
                  <a:cxn ang="0">
                    <a:pos x="150" y="14"/>
                  </a:cxn>
                  <a:cxn ang="0">
                    <a:pos x="150" y="24"/>
                  </a:cxn>
                  <a:cxn ang="0">
                    <a:pos x="158" y="28"/>
                  </a:cxn>
                  <a:cxn ang="0">
                    <a:pos x="155" y="36"/>
                  </a:cxn>
                  <a:cxn ang="0">
                    <a:pos x="156" y="41"/>
                  </a:cxn>
                  <a:cxn ang="0">
                    <a:pos x="161" y="38"/>
                  </a:cxn>
                  <a:cxn ang="0">
                    <a:pos x="163" y="44"/>
                  </a:cxn>
                  <a:cxn ang="0">
                    <a:pos x="170" y="48"/>
                  </a:cxn>
                  <a:cxn ang="0">
                    <a:pos x="173" y="53"/>
                  </a:cxn>
                  <a:cxn ang="0">
                    <a:pos x="161" y="56"/>
                  </a:cxn>
                  <a:cxn ang="0">
                    <a:pos x="163" y="63"/>
                  </a:cxn>
                  <a:cxn ang="0">
                    <a:pos x="163" y="76"/>
                  </a:cxn>
                  <a:cxn ang="0">
                    <a:pos x="166" y="84"/>
                  </a:cxn>
                  <a:cxn ang="0">
                    <a:pos x="168" y="93"/>
                  </a:cxn>
                  <a:cxn ang="0">
                    <a:pos x="161" y="93"/>
                  </a:cxn>
                  <a:cxn ang="0">
                    <a:pos x="166" y="101"/>
                  </a:cxn>
                  <a:cxn ang="0">
                    <a:pos x="168" y="107"/>
                  </a:cxn>
                  <a:cxn ang="0">
                    <a:pos x="156" y="121"/>
                  </a:cxn>
                  <a:cxn ang="0">
                    <a:pos x="156" y="127"/>
                  </a:cxn>
                  <a:cxn ang="0">
                    <a:pos x="150" y="139"/>
                  </a:cxn>
                  <a:cxn ang="0">
                    <a:pos x="113" y="152"/>
                  </a:cxn>
                  <a:cxn ang="0">
                    <a:pos x="100" y="147"/>
                  </a:cxn>
                  <a:cxn ang="0">
                    <a:pos x="90" y="137"/>
                  </a:cxn>
                  <a:cxn ang="0">
                    <a:pos x="92" y="134"/>
                  </a:cxn>
                  <a:cxn ang="0">
                    <a:pos x="103" y="99"/>
                  </a:cxn>
                  <a:cxn ang="0">
                    <a:pos x="102" y="94"/>
                  </a:cxn>
                  <a:cxn ang="0">
                    <a:pos x="105" y="89"/>
                  </a:cxn>
                  <a:cxn ang="0">
                    <a:pos x="100" y="81"/>
                  </a:cxn>
                  <a:cxn ang="0">
                    <a:pos x="95" y="68"/>
                  </a:cxn>
                  <a:cxn ang="0">
                    <a:pos x="90" y="59"/>
                  </a:cxn>
                  <a:cxn ang="0">
                    <a:pos x="62" y="61"/>
                  </a:cxn>
                  <a:cxn ang="0">
                    <a:pos x="52" y="71"/>
                  </a:cxn>
                  <a:cxn ang="0">
                    <a:pos x="45" y="78"/>
                  </a:cxn>
                  <a:cxn ang="0">
                    <a:pos x="37" y="74"/>
                  </a:cxn>
                  <a:cxn ang="0">
                    <a:pos x="29" y="64"/>
                  </a:cxn>
                  <a:cxn ang="0">
                    <a:pos x="22" y="63"/>
                  </a:cxn>
                  <a:cxn ang="0">
                    <a:pos x="24" y="58"/>
                  </a:cxn>
                  <a:cxn ang="0">
                    <a:pos x="17" y="59"/>
                  </a:cxn>
                  <a:cxn ang="0">
                    <a:pos x="9" y="58"/>
                  </a:cxn>
                  <a:cxn ang="0">
                    <a:pos x="5" y="43"/>
                  </a:cxn>
                  <a:cxn ang="0">
                    <a:pos x="0" y="38"/>
                  </a:cxn>
                </a:cxnLst>
                <a:rect l="0" t="0" r="r" b="b"/>
                <a:pathLst>
                  <a:path w="173" h="152">
                    <a:moveTo>
                      <a:pt x="0" y="38"/>
                    </a:moveTo>
                    <a:lnTo>
                      <a:pt x="4" y="33"/>
                    </a:lnTo>
                    <a:lnTo>
                      <a:pt x="9" y="33"/>
                    </a:lnTo>
                    <a:lnTo>
                      <a:pt x="15" y="28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27" y="21"/>
                    </a:lnTo>
                    <a:lnTo>
                      <a:pt x="25" y="18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5" y="0"/>
                    </a:lnTo>
                    <a:lnTo>
                      <a:pt x="30" y="0"/>
                    </a:lnTo>
                    <a:lnTo>
                      <a:pt x="45" y="0"/>
                    </a:lnTo>
                    <a:lnTo>
                      <a:pt x="55" y="4"/>
                    </a:lnTo>
                    <a:lnTo>
                      <a:pt x="58" y="6"/>
                    </a:lnTo>
                    <a:lnTo>
                      <a:pt x="67" y="6"/>
                    </a:lnTo>
                    <a:lnTo>
                      <a:pt x="73" y="9"/>
                    </a:lnTo>
                    <a:lnTo>
                      <a:pt x="78" y="8"/>
                    </a:lnTo>
                    <a:lnTo>
                      <a:pt x="83" y="8"/>
                    </a:lnTo>
                    <a:lnTo>
                      <a:pt x="85" y="9"/>
                    </a:lnTo>
                    <a:lnTo>
                      <a:pt x="90" y="9"/>
                    </a:lnTo>
                    <a:lnTo>
                      <a:pt x="90" y="14"/>
                    </a:lnTo>
                    <a:lnTo>
                      <a:pt x="93" y="14"/>
                    </a:lnTo>
                    <a:lnTo>
                      <a:pt x="98" y="13"/>
                    </a:lnTo>
                    <a:lnTo>
                      <a:pt x="102" y="14"/>
                    </a:lnTo>
                    <a:lnTo>
                      <a:pt x="107" y="18"/>
                    </a:lnTo>
                    <a:lnTo>
                      <a:pt x="113" y="18"/>
                    </a:lnTo>
                    <a:lnTo>
                      <a:pt x="118" y="14"/>
                    </a:lnTo>
                    <a:lnTo>
                      <a:pt x="122" y="14"/>
                    </a:lnTo>
                    <a:lnTo>
                      <a:pt x="127" y="8"/>
                    </a:lnTo>
                    <a:lnTo>
                      <a:pt x="132" y="8"/>
                    </a:lnTo>
                    <a:lnTo>
                      <a:pt x="137" y="11"/>
                    </a:lnTo>
                    <a:lnTo>
                      <a:pt x="140" y="9"/>
                    </a:lnTo>
                    <a:lnTo>
                      <a:pt x="143" y="8"/>
                    </a:lnTo>
                    <a:lnTo>
                      <a:pt x="145" y="9"/>
                    </a:lnTo>
                    <a:lnTo>
                      <a:pt x="150" y="14"/>
                    </a:lnTo>
                    <a:lnTo>
                      <a:pt x="152" y="18"/>
                    </a:lnTo>
                    <a:lnTo>
                      <a:pt x="150" y="24"/>
                    </a:lnTo>
                    <a:lnTo>
                      <a:pt x="153" y="26"/>
                    </a:lnTo>
                    <a:lnTo>
                      <a:pt x="158" y="28"/>
                    </a:lnTo>
                    <a:lnTo>
                      <a:pt x="158" y="29"/>
                    </a:lnTo>
                    <a:lnTo>
                      <a:pt x="155" y="36"/>
                    </a:lnTo>
                    <a:lnTo>
                      <a:pt x="152" y="41"/>
                    </a:lnTo>
                    <a:lnTo>
                      <a:pt x="156" y="41"/>
                    </a:lnTo>
                    <a:lnTo>
                      <a:pt x="158" y="38"/>
                    </a:lnTo>
                    <a:lnTo>
                      <a:pt x="161" y="38"/>
                    </a:lnTo>
                    <a:lnTo>
                      <a:pt x="161" y="41"/>
                    </a:lnTo>
                    <a:lnTo>
                      <a:pt x="163" y="44"/>
                    </a:lnTo>
                    <a:lnTo>
                      <a:pt x="163" y="48"/>
                    </a:lnTo>
                    <a:lnTo>
                      <a:pt x="170" y="48"/>
                    </a:lnTo>
                    <a:lnTo>
                      <a:pt x="171" y="49"/>
                    </a:lnTo>
                    <a:lnTo>
                      <a:pt x="173" y="53"/>
                    </a:lnTo>
                    <a:lnTo>
                      <a:pt x="170" y="54"/>
                    </a:lnTo>
                    <a:lnTo>
                      <a:pt x="161" y="56"/>
                    </a:lnTo>
                    <a:lnTo>
                      <a:pt x="161" y="61"/>
                    </a:lnTo>
                    <a:lnTo>
                      <a:pt x="163" y="63"/>
                    </a:lnTo>
                    <a:lnTo>
                      <a:pt x="165" y="73"/>
                    </a:lnTo>
                    <a:lnTo>
                      <a:pt x="163" y="76"/>
                    </a:lnTo>
                    <a:lnTo>
                      <a:pt x="163" y="83"/>
                    </a:lnTo>
                    <a:lnTo>
                      <a:pt x="166" y="84"/>
                    </a:lnTo>
                    <a:lnTo>
                      <a:pt x="170" y="89"/>
                    </a:lnTo>
                    <a:lnTo>
                      <a:pt x="168" y="93"/>
                    </a:lnTo>
                    <a:lnTo>
                      <a:pt x="165" y="91"/>
                    </a:lnTo>
                    <a:lnTo>
                      <a:pt x="161" y="93"/>
                    </a:lnTo>
                    <a:lnTo>
                      <a:pt x="161" y="96"/>
                    </a:lnTo>
                    <a:lnTo>
                      <a:pt x="166" y="101"/>
                    </a:lnTo>
                    <a:lnTo>
                      <a:pt x="168" y="102"/>
                    </a:lnTo>
                    <a:lnTo>
                      <a:pt x="168" y="107"/>
                    </a:lnTo>
                    <a:lnTo>
                      <a:pt x="161" y="121"/>
                    </a:lnTo>
                    <a:lnTo>
                      <a:pt x="156" y="121"/>
                    </a:lnTo>
                    <a:lnTo>
                      <a:pt x="155" y="124"/>
                    </a:lnTo>
                    <a:lnTo>
                      <a:pt x="156" y="127"/>
                    </a:lnTo>
                    <a:lnTo>
                      <a:pt x="153" y="136"/>
                    </a:lnTo>
                    <a:lnTo>
                      <a:pt x="150" y="139"/>
                    </a:lnTo>
                    <a:lnTo>
                      <a:pt x="150" y="142"/>
                    </a:lnTo>
                    <a:lnTo>
                      <a:pt x="113" y="152"/>
                    </a:lnTo>
                    <a:lnTo>
                      <a:pt x="105" y="147"/>
                    </a:lnTo>
                    <a:lnTo>
                      <a:pt x="100" y="147"/>
                    </a:lnTo>
                    <a:lnTo>
                      <a:pt x="95" y="139"/>
                    </a:lnTo>
                    <a:lnTo>
                      <a:pt x="90" y="137"/>
                    </a:lnTo>
                    <a:lnTo>
                      <a:pt x="92" y="134"/>
                    </a:lnTo>
                    <a:lnTo>
                      <a:pt x="92" y="134"/>
                    </a:lnTo>
                    <a:lnTo>
                      <a:pt x="102" y="127"/>
                    </a:lnTo>
                    <a:lnTo>
                      <a:pt x="103" y="99"/>
                    </a:lnTo>
                    <a:lnTo>
                      <a:pt x="105" y="96"/>
                    </a:lnTo>
                    <a:lnTo>
                      <a:pt x="102" y="94"/>
                    </a:lnTo>
                    <a:lnTo>
                      <a:pt x="102" y="91"/>
                    </a:lnTo>
                    <a:lnTo>
                      <a:pt x="105" y="89"/>
                    </a:lnTo>
                    <a:lnTo>
                      <a:pt x="105" y="86"/>
                    </a:lnTo>
                    <a:lnTo>
                      <a:pt x="100" y="81"/>
                    </a:lnTo>
                    <a:lnTo>
                      <a:pt x="102" y="78"/>
                    </a:lnTo>
                    <a:lnTo>
                      <a:pt x="95" y="68"/>
                    </a:lnTo>
                    <a:lnTo>
                      <a:pt x="93" y="64"/>
                    </a:lnTo>
                    <a:lnTo>
                      <a:pt x="90" y="59"/>
                    </a:lnTo>
                    <a:lnTo>
                      <a:pt x="68" y="59"/>
                    </a:lnTo>
                    <a:lnTo>
                      <a:pt x="62" y="61"/>
                    </a:lnTo>
                    <a:lnTo>
                      <a:pt x="58" y="64"/>
                    </a:lnTo>
                    <a:lnTo>
                      <a:pt x="52" y="71"/>
                    </a:lnTo>
                    <a:lnTo>
                      <a:pt x="52" y="73"/>
                    </a:lnTo>
                    <a:lnTo>
                      <a:pt x="45" y="78"/>
                    </a:lnTo>
                    <a:lnTo>
                      <a:pt x="40" y="78"/>
                    </a:lnTo>
                    <a:lnTo>
                      <a:pt x="37" y="74"/>
                    </a:lnTo>
                    <a:lnTo>
                      <a:pt x="30" y="71"/>
                    </a:lnTo>
                    <a:lnTo>
                      <a:pt x="29" y="64"/>
                    </a:lnTo>
                    <a:lnTo>
                      <a:pt x="24" y="64"/>
                    </a:lnTo>
                    <a:lnTo>
                      <a:pt x="22" y="63"/>
                    </a:lnTo>
                    <a:lnTo>
                      <a:pt x="22" y="59"/>
                    </a:lnTo>
                    <a:lnTo>
                      <a:pt x="24" y="58"/>
                    </a:lnTo>
                    <a:lnTo>
                      <a:pt x="20" y="56"/>
                    </a:lnTo>
                    <a:lnTo>
                      <a:pt x="17" y="59"/>
                    </a:lnTo>
                    <a:lnTo>
                      <a:pt x="14" y="58"/>
                    </a:lnTo>
                    <a:lnTo>
                      <a:pt x="9" y="58"/>
                    </a:lnTo>
                    <a:lnTo>
                      <a:pt x="2" y="49"/>
                    </a:lnTo>
                    <a:lnTo>
                      <a:pt x="5" y="43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69" name="Freeform 112"/>
              <p:cNvSpPr>
                <a:spLocks noEditPoints="1"/>
              </p:cNvSpPr>
              <p:nvPr/>
            </p:nvSpPr>
            <p:spPr bwMode="auto">
              <a:xfrm>
                <a:off x="6249125" y="3153505"/>
                <a:ext cx="35318" cy="38391"/>
              </a:xfrm>
              <a:custGeom>
                <a:avLst/>
                <a:gdLst/>
                <a:ahLst/>
                <a:cxnLst>
                  <a:cxn ang="0">
                    <a:pos x="18" y="63"/>
                  </a:cxn>
                  <a:cxn ang="0">
                    <a:pos x="16" y="60"/>
                  </a:cxn>
                  <a:cxn ang="0">
                    <a:pos x="15" y="58"/>
                  </a:cxn>
                  <a:cxn ang="0">
                    <a:pos x="13" y="58"/>
                  </a:cxn>
                  <a:cxn ang="0">
                    <a:pos x="11" y="60"/>
                  </a:cxn>
                  <a:cxn ang="0">
                    <a:pos x="13" y="62"/>
                  </a:cxn>
                  <a:cxn ang="0">
                    <a:pos x="15" y="63"/>
                  </a:cxn>
                  <a:cxn ang="0">
                    <a:pos x="18" y="63"/>
                  </a:cxn>
                  <a:cxn ang="0">
                    <a:pos x="18" y="63"/>
                  </a:cxn>
                  <a:cxn ang="0">
                    <a:pos x="1" y="19"/>
                  </a:cxn>
                  <a:cxn ang="0">
                    <a:pos x="6" y="19"/>
                  </a:cxn>
                  <a:cxn ang="0">
                    <a:pos x="13" y="14"/>
                  </a:cxn>
                  <a:cxn ang="0">
                    <a:pos x="13" y="12"/>
                  </a:cxn>
                  <a:cxn ang="0">
                    <a:pos x="19" y="5"/>
                  </a:cxn>
                  <a:cxn ang="0">
                    <a:pos x="23" y="2"/>
                  </a:cxn>
                  <a:cxn ang="0">
                    <a:pos x="29" y="0"/>
                  </a:cxn>
                  <a:cxn ang="0">
                    <a:pos x="51" y="0"/>
                  </a:cxn>
                  <a:cxn ang="0">
                    <a:pos x="54" y="5"/>
                  </a:cxn>
                  <a:cxn ang="0">
                    <a:pos x="56" y="9"/>
                  </a:cxn>
                  <a:cxn ang="0">
                    <a:pos x="63" y="19"/>
                  </a:cxn>
                  <a:cxn ang="0">
                    <a:pos x="61" y="22"/>
                  </a:cxn>
                  <a:cxn ang="0">
                    <a:pos x="66" y="27"/>
                  </a:cxn>
                  <a:cxn ang="0">
                    <a:pos x="66" y="30"/>
                  </a:cxn>
                  <a:cxn ang="0">
                    <a:pos x="63" y="32"/>
                  </a:cxn>
                  <a:cxn ang="0">
                    <a:pos x="63" y="35"/>
                  </a:cxn>
                  <a:cxn ang="0">
                    <a:pos x="66" y="37"/>
                  </a:cxn>
                  <a:cxn ang="0">
                    <a:pos x="64" y="40"/>
                  </a:cxn>
                  <a:cxn ang="0">
                    <a:pos x="63" y="68"/>
                  </a:cxn>
                  <a:cxn ang="0">
                    <a:pos x="53" y="75"/>
                  </a:cxn>
                  <a:cxn ang="0">
                    <a:pos x="49" y="73"/>
                  </a:cxn>
                  <a:cxn ang="0">
                    <a:pos x="41" y="73"/>
                  </a:cxn>
                  <a:cxn ang="0">
                    <a:pos x="28" y="67"/>
                  </a:cxn>
                  <a:cxn ang="0">
                    <a:pos x="21" y="67"/>
                  </a:cxn>
                  <a:cxn ang="0">
                    <a:pos x="23" y="63"/>
                  </a:cxn>
                  <a:cxn ang="0">
                    <a:pos x="19" y="60"/>
                  </a:cxn>
                  <a:cxn ang="0">
                    <a:pos x="16" y="57"/>
                  </a:cxn>
                  <a:cxn ang="0">
                    <a:pos x="19" y="53"/>
                  </a:cxn>
                  <a:cxn ang="0">
                    <a:pos x="18" y="52"/>
                  </a:cxn>
                  <a:cxn ang="0">
                    <a:pos x="15" y="53"/>
                  </a:cxn>
                  <a:cxn ang="0">
                    <a:pos x="8" y="48"/>
                  </a:cxn>
                  <a:cxn ang="0">
                    <a:pos x="8" y="43"/>
                  </a:cxn>
                  <a:cxn ang="0">
                    <a:pos x="6" y="37"/>
                  </a:cxn>
                  <a:cxn ang="0">
                    <a:pos x="1" y="37"/>
                  </a:cxn>
                  <a:cxn ang="0">
                    <a:pos x="0" y="34"/>
                  </a:cxn>
                  <a:cxn ang="0">
                    <a:pos x="3" y="27"/>
                  </a:cxn>
                  <a:cxn ang="0">
                    <a:pos x="0" y="25"/>
                  </a:cxn>
                  <a:cxn ang="0">
                    <a:pos x="0" y="22"/>
                  </a:cxn>
                  <a:cxn ang="0">
                    <a:pos x="3" y="19"/>
                  </a:cxn>
                  <a:cxn ang="0">
                    <a:pos x="1" y="19"/>
                  </a:cxn>
                </a:cxnLst>
                <a:rect l="0" t="0" r="r" b="b"/>
                <a:pathLst>
                  <a:path w="66" h="75">
                    <a:moveTo>
                      <a:pt x="18" y="63"/>
                    </a:moveTo>
                    <a:lnTo>
                      <a:pt x="16" y="60"/>
                    </a:lnTo>
                    <a:lnTo>
                      <a:pt x="15" y="58"/>
                    </a:lnTo>
                    <a:lnTo>
                      <a:pt x="13" y="58"/>
                    </a:lnTo>
                    <a:lnTo>
                      <a:pt x="11" y="60"/>
                    </a:lnTo>
                    <a:lnTo>
                      <a:pt x="13" y="62"/>
                    </a:lnTo>
                    <a:lnTo>
                      <a:pt x="15" y="63"/>
                    </a:lnTo>
                    <a:lnTo>
                      <a:pt x="18" y="63"/>
                    </a:lnTo>
                    <a:lnTo>
                      <a:pt x="18" y="63"/>
                    </a:lnTo>
                    <a:close/>
                    <a:moveTo>
                      <a:pt x="1" y="19"/>
                    </a:moveTo>
                    <a:lnTo>
                      <a:pt x="6" y="19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9" y="0"/>
                    </a:lnTo>
                    <a:lnTo>
                      <a:pt x="51" y="0"/>
                    </a:lnTo>
                    <a:lnTo>
                      <a:pt x="54" y="5"/>
                    </a:lnTo>
                    <a:lnTo>
                      <a:pt x="56" y="9"/>
                    </a:lnTo>
                    <a:lnTo>
                      <a:pt x="63" y="19"/>
                    </a:lnTo>
                    <a:lnTo>
                      <a:pt x="61" y="22"/>
                    </a:lnTo>
                    <a:lnTo>
                      <a:pt x="66" y="27"/>
                    </a:lnTo>
                    <a:lnTo>
                      <a:pt x="66" y="30"/>
                    </a:lnTo>
                    <a:lnTo>
                      <a:pt x="63" y="32"/>
                    </a:lnTo>
                    <a:lnTo>
                      <a:pt x="63" y="35"/>
                    </a:lnTo>
                    <a:lnTo>
                      <a:pt x="66" y="37"/>
                    </a:lnTo>
                    <a:lnTo>
                      <a:pt x="64" y="40"/>
                    </a:lnTo>
                    <a:lnTo>
                      <a:pt x="63" y="68"/>
                    </a:lnTo>
                    <a:lnTo>
                      <a:pt x="53" y="75"/>
                    </a:lnTo>
                    <a:lnTo>
                      <a:pt x="49" y="73"/>
                    </a:lnTo>
                    <a:lnTo>
                      <a:pt x="41" y="73"/>
                    </a:lnTo>
                    <a:lnTo>
                      <a:pt x="28" y="67"/>
                    </a:lnTo>
                    <a:lnTo>
                      <a:pt x="21" y="67"/>
                    </a:lnTo>
                    <a:lnTo>
                      <a:pt x="23" y="63"/>
                    </a:lnTo>
                    <a:lnTo>
                      <a:pt x="19" y="60"/>
                    </a:lnTo>
                    <a:lnTo>
                      <a:pt x="16" y="57"/>
                    </a:lnTo>
                    <a:lnTo>
                      <a:pt x="19" y="53"/>
                    </a:lnTo>
                    <a:lnTo>
                      <a:pt x="18" y="52"/>
                    </a:lnTo>
                    <a:lnTo>
                      <a:pt x="15" y="53"/>
                    </a:lnTo>
                    <a:lnTo>
                      <a:pt x="8" y="48"/>
                    </a:lnTo>
                    <a:lnTo>
                      <a:pt x="8" y="43"/>
                    </a:lnTo>
                    <a:lnTo>
                      <a:pt x="6" y="37"/>
                    </a:lnTo>
                    <a:lnTo>
                      <a:pt x="1" y="37"/>
                    </a:lnTo>
                    <a:lnTo>
                      <a:pt x="0" y="34"/>
                    </a:lnTo>
                    <a:lnTo>
                      <a:pt x="3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19"/>
                    </a:lnTo>
                    <a:lnTo>
                      <a:pt x="1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0" name="Freeform 113"/>
              <p:cNvSpPr>
                <a:spLocks/>
              </p:cNvSpPr>
              <p:nvPr/>
            </p:nvSpPr>
            <p:spPr bwMode="auto">
              <a:xfrm>
                <a:off x="6271601" y="3170106"/>
                <a:ext cx="52442" cy="49804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1" y="36"/>
                  </a:cxn>
                  <a:cxn ang="0">
                    <a:pos x="3" y="31"/>
                  </a:cxn>
                  <a:cxn ang="0">
                    <a:pos x="10" y="28"/>
                  </a:cxn>
                  <a:cxn ang="0">
                    <a:pos x="15" y="23"/>
                  </a:cxn>
                  <a:cxn ang="0">
                    <a:pos x="15" y="19"/>
                  </a:cxn>
                  <a:cxn ang="0">
                    <a:pos x="16" y="13"/>
                  </a:cxn>
                  <a:cxn ang="0">
                    <a:pos x="20" y="11"/>
                  </a:cxn>
                  <a:cxn ang="0">
                    <a:pos x="20" y="9"/>
                  </a:cxn>
                  <a:cxn ang="0">
                    <a:pos x="21" y="5"/>
                  </a:cxn>
                  <a:cxn ang="0">
                    <a:pos x="28" y="1"/>
                  </a:cxn>
                  <a:cxn ang="0">
                    <a:pos x="30" y="3"/>
                  </a:cxn>
                  <a:cxn ang="0">
                    <a:pos x="40" y="0"/>
                  </a:cxn>
                  <a:cxn ang="0">
                    <a:pos x="45" y="1"/>
                  </a:cxn>
                  <a:cxn ang="0">
                    <a:pos x="48" y="6"/>
                  </a:cxn>
                  <a:cxn ang="0">
                    <a:pos x="51" y="9"/>
                  </a:cxn>
                  <a:cxn ang="0">
                    <a:pos x="51" y="18"/>
                  </a:cxn>
                  <a:cxn ang="0">
                    <a:pos x="51" y="23"/>
                  </a:cxn>
                  <a:cxn ang="0">
                    <a:pos x="56" y="28"/>
                  </a:cxn>
                  <a:cxn ang="0">
                    <a:pos x="60" y="28"/>
                  </a:cxn>
                  <a:cxn ang="0">
                    <a:pos x="66" y="23"/>
                  </a:cxn>
                  <a:cxn ang="0">
                    <a:pos x="70" y="23"/>
                  </a:cxn>
                  <a:cxn ang="0">
                    <a:pos x="73" y="26"/>
                  </a:cxn>
                  <a:cxn ang="0">
                    <a:pos x="74" y="29"/>
                  </a:cxn>
                  <a:cxn ang="0">
                    <a:pos x="73" y="31"/>
                  </a:cxn>
                  <a:cxn ang="0">
                    <a:pos x="74" y="34"/>
                  </a:cxn>
                  <a:cxn ang="0">
                    <a:pos x="71" y="43"/>
                  </a:cxn>
                  <a:cxn ang="0">
                    <a:pos x="68" y="46"/>
                  </a:cxn>
                  <a:cxn ang="0">
                    <a:pos x="70" y="51"/>
                  </a:cxn>
                  <a:cxn ang="0">
                    <a:pos x="73" y="53"/>
                  </a:cxn>
                  <a:cxn ang="0">
                    <a:pos x="74" y="51"/>
                  </a:cxn>
                  <a:cxn ang="0">
                    <a:pos x="79" y="51"/>
                  </a:cxn>
                  <a:cxn ang="0">
                    <a:pos x="81" y="54"/>
                  </a:cxn>
                  <a:cxn ang="0">
                    <a:pos x="84" y="54"/>
                  </a:cxn>
                  <a:cxn ang="0">
                    <a:pos x="88" y="54"/>
                  </a:cxn>
                  <a:cxn ang="0">
                    <a:pos x="89" y="59"/>
                  </a:cxn>
                  <a:cxn ang="0">
                    <a:pos x="93" y="61"/>
                  </a:cxn>
                  <a:cxn ang="0">
                    <a:pos x="96" y="61"/>
                  </a:cxn>
                  <a:cxn ang="0">
                    <a:pos x="98" y="66"/>
                  </a:cxn>
                  <a:cxn ang="0">
                    <a:pos x="94" y="68"/>
                  </a:cxn>
                  <a:cxn ang="0">
                    <a:pos x="96" y="71"/>
                  </a:cxn>
                  <a:cxn ang="0">
                    <a:pos x="94" y="74"/>
                  </a:cxn>
                  <a:cxn ang="0">
                    <a:pos x="93" y="78"/>
                  </a:cxn>
                  <a:cxn ang="0">
                    <a:pos x="94" y="81"/>
                  </a:cxn>
                  <a:cxn ang="0">
                    <a:pos x="93" y="86"/>
                  </a:cxn>
                  <a:cxn ang="0">
                    <a:pos x="94" y="89"/>
                  </a:cxn>
                  <a:cxn ang="0">
                    <a:pos x="94" y="94"/>
                  </a:cxn>
                  <a:cxn ang="0">
                    <a:pos x="71" y="88"/>
                  </a:cxn>
                  <a:cxn ang="0">
                    <a:pos x="53" y="74"/>
                  </a:cxn>
                  <a:cxn ang="0">
                    <a:pos x="48" y="74"/>
                  </a:cxn>
                  <a:cxn ang="0">
                    <a:pos x="33" y="61"/>
                  </a:cxn>
                  <a:cxn ang="0">
                    <a:pos x="23" y="54"/>
                  </a:cxn>
                  <a:cxn ang="0">
                    <a:pos x="18" y="54"/>
                  </a:cxn>
                  <a:cxn ang="0">
                    <a:pos x="13" y="46"/>
                  </a:cxn>
                  <a:cxn ang="0">
                    <a:pos x="8" y="44"/>
                  </a:cxn>
                  <a:cxn ang="0">
                    <a:pos x="10" y="41"/>
                  </a:cxn>
                  <a:cxn ang="0">
                    <a:pos x="6" y="39"/>
                  </a:cxn>
                  <a:cxn ang="0">
                    <a:pos x="0" y="39"/>
                  </a:cxn>
                </a:cxnLst>
                <a:rect l="0" t="0" r="r" b="b"/>
                <a:pathLst>
                  <a:path w="98" h="94">
                    <a:moveTo>
                      <a:pt x="0" y="39"/>
                    </a:moveTo>
                    <a:lnTo>
                      <a:pt x="1" y="36"/>
                    </a:lnTo>
                    <a:lnTo>
                      <a:pt x="3" y="31"/>
                    </a:lnTo>
                    <a:lnTo>
                      <a:pt x="10" y="28"/>
                    </a:lnTo>
                    <a:lnTo>
                      <a:pt x="15" y="23"/>
                    </a:lnTo>
                    <a:lnTo>
                      <a:pt x="15" y="19"/>
                    </a:lnTo>
                    <a:lnTo>
                      <a:pt x="16" y="13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40" y="0"/>
                    </a:lnTo>
                    <a:lnTo>
                      <a:pt x="45" y="1"/>
                    </a:lnTo>
                    <a:lnTo>
                      <a:pt x="48" y="6"/>
                    </a:lnTo>
                    <a:lnTo>
                      <a:pt x="51" y="9"/>
                    </a:lnTo>
                    <a:lnTo>
                      <a:pt x="51" y="18"/>
                    </a:lnTo>
                    <a:lnTo>
                      <a:pt x="51" y="23"/>
                    </a:lnTo>
                    <a:lnTo>
                      <a:pt x="56" y="28"/>
                    </a:lnTo>
                    <a:lnTo>
                      <a:pt x="60" y="28"/>
                    </a:lnTo>
                    <a:lnTo>
                      <a:pt x="66" y="23"/>
                    </a:lnTo>
                    <a:lnTo>
                      <a:pt x="70" y="23"/>
                    </a:lnTo>
                    <a:lnTo>
                      <a:pt x="73" y="26"/>
                    </a:lnTo>
                    <a:lnTo>
                      <a:pt x="74" y="29"/>
                    </a:lnTo>
                    <a:lnTo>
                      <a:pt x="73" y="31"/>
                    </a:lnTo>
                    <a:lnTo>
                      <a:pt x="74" y="34"/>
                    </a:lnTo>
                    <a:lnTo>
                      <a:pt x="71" y="43"/>
                    </a:lnTo>
                    <a:lnTo>
                      <a:pt x="68" y="46"/>
                    </a:lnTo>
                    <a:lnTo>
                      <a:pt x="70" y="51"/>
                    </a:lnTo>
                    <a:lnTo>
                      <a:pt x="73" y="53"/>
                    </a:lnTo>
                    <a:lnTo>
                      <a:pt x="74" y="51"/>
                    </a:lnTo>
                    <a:lnTo>
                      <a:pt x="79" y="51"/>
                    </a:lnTo>
                    <a:lnTo>
                      <a:pt x="81" y="54"/>
                    </a:lnTo>
                    <a:lnTo>
                      <a:pt x="84" y="54"/>
                    </a:lnTo>
                    <a:lnTo>
                      <a:pt x="88" y="54"/>
                    </a:lnTo>
                    <a:lnTo>
                      <a:pt x="89" y="59"/>
                    </a:lnTo>
                    <a:lnTo>
                      <a:pt x="93" y="61"/>
                    </a:lnTo>
                    <a:lnTo>
                      <a:pt x="96" y="61"/>
                    </a:lnTo>
                    <a:lnTo>
                      <a:pt x="98" y="66"/>
                    </a:lnTo>
                    <a:lnTo>
                      <a:pt x="94" y="68"/>
                    </a:lnTo>
                    <a:lnTo>
                      <a:pt x="96" y="71"/>
                    </a:lnTo>
                    <a:lnTo>
                      <a:pt x="94" y="74"/>
                    </a:lnTo>
                    <a:lnTo>
                      <a:pt x="93" y="78"/>
                    </a:lnTo>
                    <a:lnTo>
                      <a:pt x="94" y="81"/>
                    </a:lnTo>
                    <a:lnTo>
                      <a:pt x="93" y="86"/>
                    </a:lnTo>
                    <a:lnTo>
                      <a:pt x="94" y="89"/>
                    </a:lnTo>
                    <a:lnTo>
                      <a:pt x="94" y="94"/>
                    </a:lnTo>
                    <a:lnTo>
                      <a:pt x="71" y="88"/>
                    </a:lnTo>
                    <a:lnTo>
                      <a:pt x="53" y="74"/>
                    </a:lnTo>
                    <a:lnTo>
                      <a:pt x="48" y="74"/>
                    </a:lnTo>
                    <a:lnTo>
                      <a:pt x="33" y="61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3" y="46"/>
                    </a:lnTo>
                    <a:lnTo>
                      <a:pt x="8" y="44"/>
                    </a:lnTo>
                    <a:lnTo>
                      <a:pt x="10" y="41"/>
                    </a:lnTo>
                    <a:lnTo>
                      <a:pt x="6" y="39"/>
                    </a:lnTo>
                    <a:lnTo>
                      <a:pt x="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1" name="Freeform 114"/>
              <p:cNvSpPr>
                <a:spLocks/>
              </p:cNvSpPr>
              <p:nvPr/>
            </p:nvSpPr>
            <p:spPr bwMode="auto">
              <a:xfrm>
                <a:off x="6307989" y="3146241"/>
                <a:ext cx="81339" cy="73669"/>
              </a:xfrm>
              <a:custGeom>
                <a:avLst/>
                <a:gdLst/>
                <a:ahLst/>
                <a:cxnLst>
                  <a:cxn ang="0">
                    <a:pos x="26" y="136"/>
                  </a:cxn>
                  <a:cxn ang="0">
                    <a:pos x="26" y="128"/>
                  </a:cxn>
                  <a:cxn ang="0">
                    <a:pos x="26" y="121"/>
                  </a:cxn>
                  <a:cxn ang="0">
                    <a:pos x="26" y="115"/>
                  </a:cxn>
                  <a:cxn ang="0">
                    <a:pos x="28" y="108"/>
                  </a:cxn>
                  <a:cxn ang="0">
                    <a:pos x="21" y="106"/>
                  </a:cxn>
                  <a:cxn ang="0">
                    <a:pos x="16" y="101"/>
                  </a:cxn>
                  <a:cxn ang="0">
                    <a:pos x="11" y="98"/>
                  </a:cxn>
                  <a:cxn ang="0">
                    <a:pos x="5" y="100"/>
                  </a:cxn>
                  <a:cxn ang="0">
                    <a:pos x="0" y="93"/>
                  </a:cxn>
                  <a:cxn ang="0">
                    <a:pos x="6" y="81"/>
                  </a:cxn>
                  <a:cxn ang="0">
                    <a:pos x="6" y="75"/>
                  </a:cxn>
                  <a:cxn ang="0">
                    <a:pos x="18" y="61"/>
                  </a:cxn>
                  <a:cxn ang="0">
                    <a:pos x="16" y="55"/>
                  </a:cxn>
                  <a:cxn ang="0">
                    <a:pos x="11" y="47"/>
                  </a:cxn>
                  <a:cxn ang="0">
                    <a:pos x="18" y="47"/>
                  </a:cxn>
                  <a:cxn ang="0">
                    <a:pos x="16" y="38"/>
                  </a:cxn>
                  <a:cxn ang="0">
                    <a:pos x="13" y="30"/>
                  </a:cxn>
                  <a:cxn ang="0">
                    <a:pos x="13" y="17"/>
                  </a:cxn>
                  <a:cxn ang="0">
                    <a:pos x="11" y="10"/>
                  </a:cxn>
                  <a:cxn ang="0">
                    <a:pos x="30" y="3"/>
                  </a:cxn>
                  <a:cxn ang="0">
                    <a:pos x="38" y="5"/>
                  </a:cxn>
                  <a:cxn ang="0">
                    <a:pos x="50" y="5"/>
                  </a:cxn>
                  <a:cxn ang="0">
                    <a:pos x="58" y="2"/>
                  </a:cxn>
                  <a:cxn ang="0">
                    <a:pos x="63" y="3"/>
                  </a:cxn>
                  <a:cxn ang="0">
                    <a:pos x="73" y="8"/>
                  </a:cxn>
                  <a:cxn ang="0">
                    <a:pos x="81" y="0"/>
                  </a:cxn>
                  <a:cxn ang="0">
                    <a:pos x="98" y="8"/>
                  </a:cxn>
                  <a:cxn ang="0">
                    <a:pos x="103" y="10"/>
                  </a:cxn>
                  <a:cxn ang="0">
                    <a:pos x="113" y="13"/>
                  </a:cxn>
                  <a:cxn ang="0">
                    <a:pos x="123" y="20"/>
                  </a:cxn>
                  <a:cxn ang="0">
                    <a:pos x="133" y="15"/>
                  </a:cxn>
                  <a:cxn ang="0">
                    <a:pos x="139" y="18"/>
                  </a:cxn>
                  <a:cxn ang="0">
                    <a:pos x="144" y="20"/>
                  </a:cxn>
                  <a:cxn ang="0">
                    <a:pos x="144" y="32"/>
                  </a:cxn>
                  <a:cxn ang="0">
                    <a:pos x="149" y="38"/>
                  </a:cxn>
                  <a:cxn ang="0">
                    <a:pos x="149" y="50"/>
                  </a:cxn>
                  <a:cxn ang="0">
                    <a:pos x="144" y="56"/>
                  </a:cxn>
                  <a:cxn ang="0">
                    <a:pos x="136" y="71"/>
                  </a:cxn>
                  <a:cxn ang="0">
                    <a:pos x="134" y="80"/>
                  </a:cxn>
                  <a:cxn ang="0">
                    <a:pos x="133" y="91"/>
                  </a:cxn>
                  <a:cxn ang="0">
                    <a:pos x="129" y="95"/>
                  </a:cxn>
                  <a:cxn ang="0">
                    <a:pos x="136" y="106"/>
                  </a:cxn>
                  <a:cxn ang="0">
                    <a:pos x="143" y="113"/>
                  </a:cxn>
                  <a:cxn ang="0">
                    <a:pos x="144" y="123"/>
                  </a:cxn>
                  <a:cxn ang="0">
                    <a:pos x="136" y="123"/>
                  </a:cxn>
                  <a:cxn ang="0">
                    <a:pos x="131" y="120"/>
                  </a:cxn>
                  <a:cxn ang="0">
                    <a:pos x="126" y="126"/>
                  </a:cxn>
                  <a:cxn ang="0">
                    <a:pos x="103" y="125"/>
                  </a:cxn>
                  <a:cxn ang="0">
                    <a:pos x="61" y="126"/>
                  </a:cxn>
                  <a:cxn ang="0">
                    <a:pos x="45" y="133"/>
                  </a:cxn>
                  <a:cxn ang="0">
                    <a:pos x="38" y="136"/>
                  </a:cxn>
                  <a:cxn ang="0">
                    <a:pos x="26" y="141"/>
                  </a:cxn>
                </a:cxnLst>
                <a:rect l="0" t="0" r="r" b="b"/>
                <a:pathLst>
                  <a:path w="151" h="143">
                    <a:moveTo>
                      <a:pt x="26" y="141"/>
                    </a:moveTo>
                    <a:lnTo>
                      <a:pt x="26" y="136"/>
                    </a:lnTo>
                    <a:lnTo>
                      <a:pt x="25" y="133"/>
                    </a:lnTo>
                    <a:lnTo>
                      <a:pt x="26" y="128"/>
                    </a:lnTo>
                    <a:lnTo>
                      <a:pt x="25" y="125"/>
                    </a:lnTo>
                    <a:lnTo>
                      <a:pt x="26" y="121"/>
                    </a:lnTo>
                    <a:lnTo>
                      <a:pt x="28" y="118"/>
                    </a:lnTo>
                    <a:lnTo>
                      <a:pt x="26" y="115"/>
                    </a:lnTo>
                    <a:lnTo>
                      <a:pt x="30" y="113"/>
                    </a:lnTo>
                    <a:lnTo>
                      <a:pt x="28" y="108"/>
                    </a:lnTo>
                    <a:lnTo>
                      <a:pt x="25" y="108"/>
                    </a:lnTo>
                    <a:lnTo>
                      <a:pt x="21" y="106"/>
                    </a:lnTo>
                    <a:lnTo>
                      <a:pt x="20" y="101"/>
                    </a:lnTo>
                    <a:lnTo>
                      <a:pt x="16" y="101"/>
                    </a:lnTo>
                    <a:lnTo>
                      <a:pt x="13" y="101"/>
                    </a:lnTo>
                    <a:lnTo>
                      <a:pt x="11" y="98"/>
                    </a:lnTo>
                    <a:lnTo>
                      <a:pt x="6" y="98"/>
                    </a:lnTo>
                    <a:lnTo>
                      <a:pt x="5" y="100"/>
                    </a:lnTo>
                    <a:lnTo>
                      <a:pt x="2" y="98"/>
                    </a:lnTo>
                    <a:lnTo>
                      <a:pt x="0" y="93"/>
                    </a:lnTo>
                    <a:lnTo>
                      <a:pt x="3" y="90"/>
                    </a:lnTo>
                    <a:lnTo>
                      <a:pt x="6" y="81"/>
                    </a:lnTo>
                    <a:lnTo>
                      <a:pt x="5" y="78"/>
                    </a:lnTo>
                    <a:lnTo>
                      <a:pt x="6" y="75"/>
                    </a:lnTo>
                    <a:lnTo>
                      <a:pt x="11" y="75"/>
                    </a:lnTo>
                    <a:lnTo>
                      <a:pt x="18" y="61"/>
                    </a:lnTo>
                    <a:lnTo>
                      <a:pt x="18" y="56"/>
                    </a:lnTo>
                    <a:lnTo>
                      <a:pt x="16" y="55"/>
                    </a:lnTo>
                    <a:lnTo>
                      <a:pt x="11" y="50"/>
                    </a:lnTo>
                    <a:lnTo>
                      <a:pt x="11" y="47"/>
                    </a:lnTo>
                    <a:lnTo>
                      <a:pt x="15" y="45"/>
                    </a:lnTo>
                    <a:lnTo>
                      <a:pt x="18" y="47"/>
                    </a:lnTo>
                    <a:lnTo>
                      <a:pt x="20" y="43"/>
                    </a:lnTo>
                    <a:lnTo>
                      <a:pt x="16" y="38"/>
                    </a:lnTo>
                    <a:lnTo>
                      <a:pt x="13" y="37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3" y="17"/>
                    </a:lnTo>
                    <a:lnTo>
                      <a:pt x="11" y="15"/>
                    </a:lnTo>
                    <a:lnTo>
                      <a:pt x="11" y="10"/>
                    </a:lnTo>
                    <a:lnTo>
                      <a:pt x="20" y="8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8" y="5"/>
                    </a:lnTo>
                    <a:lnTo>
                      <a:pt x="48" y="7"/>
                    </a:lnTo>
                    <a:lnTo>
                      <a:pt x="50" y="5"/>
                    </a:lnTo>
                    <a:lnTo>
                      <a:pt x="50" y="2"/>
                    </a:lnTo>
                    <a:lnTo>
                      <a:pt x="58" y="2"/>
                    </a:lnTo>
                    <a:lnTo>
                      <a:pt x="65" y="2"/>
                    </a:lnTo>
                    <a:lnTo>
                      <a:pt x="63" y="3"/>
                    </a:lnTo>
                    <a:lnTo>
                      <a:pt x="65" y="5"/>
                    </a:lnTo>
                    <a:lnTo>
                      <a:pt x="73" y="8"/>
                    </a:lnTo>
                    <a:lnTo>
                      <a:pt x="78" y="2"/>
                    </a:lnTo>
                    <a:lnTo>
                      <a:pt x="81" y="0"/>
                    </a:lnTo>
                    <a:lnTo>
                      <a:pt x="88" y="5"/>
                    </a:lnTo>
                    <a:lnTo>
                      <a:pt x="98" y="8"/>
                    </a:lnTo>
                    <a:lnTo>
                      <a:pt x="101" y="8"/>
                    </a:lnTo>
                    <a:lnTo>
                      <a:pt x="103" y="10"/>
                    </a:lnTo>
                    <a:lnTo>
                      <a:pt x="108" y="10"/>
                    </a:lnTo>
                    <a:lnTo>
                      <a:pt x="113" y="13"/>
                    </a:lnTo>
                    <a:lnTo>
                      <a:pt x="114" y="17"/>
                    </a:lnTo>
                    <a:lnTo>
                      <a:pt x="123" y="20"/>
                    </a:lnTo>
                    <a:lnTo>
                      <a:pt x="128" y="18"/>
                    </a:lnTo>
                    <a:lnTo>
                      <a:pt x="133" y="15"/>
                    </a:lnTo>
                    <a:lnTo>
                      <a:pt x="136" y="17"/>
                    </a:lnTo>
                    <a:lnTo>
                      <a:pt x="139" y="18"/>
                    </a:lnTo>
                    <a:lnTo>
                      <a:pt x="144" y="18"/>
                    </a:lnTo>
                    <a:lnTo>
                      <a:pt x="144" y="20"/>
                    </a:lnTo>
                    <a:lnTo>
                      <a:pt x="143" y="27"/>
                    </a:lnTo>
                    <a:lnTo>
                      <a:pt x="144" y="32"/>
                    </a:lnTo>
                    <a:lnTo>
                      <a:pt x="144" y="37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9" y="53"/>
                    </a:lnTo>
                    <a:lnTo>
                      <a:pt x="144" y="56"/>
                    </a:lnTo>
                    <a:lnTo>
                      <a:pt x="136" y="66"/>
                    </a:lnTo>
                    <a:lnTo>
                      <a:pt x="136" y="71"/>
                    </a:lnTo>
                    <a:lnTo>
                      <a:pt x="134" y="75"/>
                    </a:lnTo>
                    <a:lnTo>
                      <a:pt x="134" y="80"/>
                    </a:lnTo>
                    <a:lnTo>
                      <a:pt x="133" y="83"/>
                    </a:lnTo>
                    <a:lnTo>
                      <a:pt x="133" y="91"/>
                    </a:lnTo>
                    <a:lnTo>
                      <a:pt x="129" y="93"/>
                    </a:lnTo>
                    <a:lnTo>
                      <a:pt x="129" y="95"/>
                    </a:lnTo>
                    <a:lnTo>
                      <a:pt x="133" y="98"/>
                    </a:lnTo>
                    <a:lnTo>
                      <a:pt x="136" y="106"/>
                    </a:lnTo>
                    <a:lnTo>
                      <a:pt x="138" y="111"/>
                    </a:lnTo>
                    <a:lnTo>
                      <a:pt x="143" y="113"/>
                    </a:lnTo>
                    <a:lnTo>
                      <a:pt x="144" y="116"/>
                    </a:lnTo>
                    <a:lnTo>
                      <a:pt x="144" y="123"/>
                    </a:lnTo>
                    <a:lnTo>
                      <a:pt x="141" y="123"/>
                    </a:lnTo>
                    <a:lnTo>
                      <a:pt x="136" y="123"/>
                    </a:lnTo>
                    <a:lnTo>
                      <a:pt x="136" y="125"/>
                    </a:lnTo>
                    <a:lnTo>
                      <a:pt x="131" y="120"/>
                    </a:lnTo>
                    <a:lnTo>
                      <a:pt x="128" y="121"/>
                    </a:lnTo>
                    <a:lnTo>
                      <a:pt x="126" y="126"/>
                    </a:lnTo>
                    <a:lnTo>
                      <a:pt x="114" y="121"/>
                    </a:lnTo>
                    <a:lnTo>
                      <a:pt x="103" y="125"/>
                    </a:lnTo>
                    <a:lnTo>
                      <a:pt x="71" y="125"/>
                    </a:lnTo>
                    <a:lnTo>
                      <a:pt x="61" y="126"/>
                    </a:lnTo>
                    <a:lnTo>
                      <a:pt x="61" y="128"/>
                    </a:lnTo>
                    <a:lnTo>
                      <a:pt x="45" y="133"/>
                    </a:lnTo>
                    <a:lnTo>
                      <a:pt x="43" y="136"/>
                    </a:lnTo>
                    <a:lnTo>
                      <a:pt x="38" y="136"/>
                    </a:lnTo>
                    <a:lnTo>
                      <a:pt x="30" y="143"/>
                    </a:lnTo>
                    <a:lnTo>
                      <a:pt x="26" y="1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2" name="Freeform 115"/>
              <p:cNvSpPr>
                <a:spLocks/>
              </p:cNvSpPr>
              <p:nvPr/>
            </p:nvSpPr>
            <p:spPr bwMode="auto">
              <a:xfrm>
                <a:off x="6377555" y="3138978"/>
                <a:ext cx="55653" cy="75744"/>
              </a:xfrm>
              <a:custGeom>
                <a:avLst/>
                <a:gdLst/>
                <a:ahLst/>
                <a:cxnLst>
                  <a:cxn ang="0">
                    <a:pos x="7" y="136"/>
                  </a:cxn>
                  <a:cxn ang="0">
                    <a:pos x="15" y="136"/>
                  </a:cxn>
                  <a:cxn ang="0">
                    <a:pos x="14" y="126"/>
                  </a:cxn>
                  <a:cxn ang="0">
                    <a:pos x="7" y="119"/>
                  </a:cxn>
                  <a:cxn ang="0">
                    <a:pos x="0" y="108"/>
                  </a:cxn>
                  <a:cxn ang="0">
                    <a:pos x="4" y="104"/>
                  </a:cxn>
                  <a:cxn ang="0">
                    <a:pos x="5" y="93"/>
                  </a:cxn>
                  <a:cxn ang="0">
                    <a:pos x="7" y="84"/>
                  </a:cxn>
                  <a:cxn ang="0">
                    <a:pos x="15" y="69"/>
                  </a:cxn>
                  <a:cxn ang="0">
                    <a:pos x="20" y="63"/>
                  </a:cxn>
                  <a:cxn ang="0">
                    <a:pos x="20" y="51"/>
                  </a:cxn>
                  <a:cxn ang="0">
                    <a:pos x="15" y="45"/>
                  </a:cxn>
                  <a:cxn ang="0">
                    <a:pos x="15" y="33"/>
                  </a:cxn>
                  <a:cxn ang="0">
                    <a:pos x="12" y="20"/>
                  </a:cxn>
                  <a:cxn ang="0">
                    <a:pos x="9" y="10"/>
                  </a:cxn>
                  <a:cxn ang="0">
                    <a:pos x="17" y="5"/>
                  </a:cxn>
                  <a:cxn ang="0">
                    <a:pos x="37" y="5"/>
                  </a:cxn>
                  <a:cxn ang="0">
                    <a:pos x="59" y="3"/>
                  </a:cxn>
                  <a:cxn ang="0">
                    <a:pos x="70" y="0"/>
                  </a:cxn>
                  <a:cxn ang="0">
                    <a:pos x="74" y="6"/>
                  </a:cxn>
                  <a:cxn ang="0">
                    <a:pos x="77" y="11"/>
                  </a:cxn>
                  <a:cxn ang="0">
                    <a:pos x="85" y="20"/>
                  </a:cxn>
                  <a:cxn ang="0">
                    <a:pos x="88" y="28"/>
                  </a:cxn>
                  <a:cxn ang="0">
                    <a:pos x="90" y="38"/>
                  </a:cxn>
                  <a:cxn ang="0">
                    <a:pos x="93" y="46"/>
                  </a:cxn>
                  <a:cxn ang="0">
                    <a:pos x="92" y="53"/>
                  </a:cxn>
                  <a:cxn ang="0">
                    <a:pos x="93" y="58"/>
                  </a:cxn>
                  <a:cxn ang="0">
                    <a:pos x="93" y="65"/>
                  </a:cxn>
                  <a:cxn ang="0">
                    <a:pos x="95" y="74"/>
                  </a:cxn>
                  <a:cxn ang="0">
                    <a:pos x="93" y="93"/>
                  </a:cxn>
                  <a:cxn ang="0">
                    <a:pos x="92" y="101"/>
                  </a:cxn>
                  <a:cxn ang="0">
                    <a:pos x="95" y="113"/>
                  </a:cxn>
                  <a:cxn ang="0">
                    <a:pos x="100" y="116"/>
                  </a:cxn>
                  <a:cxn ang="0">
                    <a:pos x="90" y="121"/>
                  </a:cxn>
                  <a:cxn ang="0">
                    <a:pos x="65" y="136"/>
                  </a:cxn>
                  <a:cxn ang="0">
                    <a:pos x="30" y="146"/>
                  </a:cxn>
                  <a:cxn ang="0">
                    <a:pos x="7" y="141"/>
                  </a:cxn>
                </a:cxnLst>
                <a:rect l="0" t="0" r="r" b="b"/>
                <a:pathLst>
                  <a:path w="103" h="146">
                    <a:moveTo>
                      <a:pt x="7" y="138"/>
                    </a:moveTo>
                    <a:lnTo>
                      <a:pt x="7" y="136"/>
                    </a:lnTo>
                    <a:lnTo>
                      <a:pt x="12" y="136"/>
                    </a:lnTo>
                    <a:lnTo>
                      <a:pt x="15" y="136"/>
                    </a:lnTo>
                    <a:lnTo>
                      <a:pt x="15" y="129"/>
                    </a:lnTo>
                    <a:lnTo>
                      <a:pt x="14" y="126"/>
                    </a:lnTo>
                    <a:lnTo>
                      <a:pt x="9" y="124"/>
                    </a:lnTo>
                    <a:lnTo>
                      <a:pt x="7" y="119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06"/>
                    </a:lnTo>
                    <a:lnTo>
                      <a:pt x="4" y="104"/>
                    </a:lnTo>
                    <a:lnTo>
                      <a:pt x="4" y="96"/>
                    </a:lnTo>
                    <a:lnTo>
                      <a:pt x="5" y="93"/>
                    </a:lnTo>
                    <a:lnTo>
                      <a:pt x="5" y="88"/>
                    </a:lnTo>
                    <a:lnTo>
                      <a:pt x="7" y="84"/>
                    </a:lnTo>
                    <a:lnTo>
                      <a:pt x="7" y="79"/>
                    </a:lnTo>
                    <a:lnTo>
                      <a:pt x="15" y="69"/>
                    </a:lnTo>
                    <a:lnTo>
                      <a:pt x="20" y="66"/>
                    </a:lnTo>
                    <a:lnTo>
                      <a:pt x="20" y="63"/>
                    </a:lnTo>
                    <a:lnTo>
                      <a:pt x="22" y="58"/>
                    </a:lnTo>
                    <a:lnTo>
                      <a:pt x="20" y="51"/>
                    </a:lnTo>
                    <a:lnTo>
                      <a:pt x="15" y="50"/>
                    </a:lnTo>
                    <a:lnTo>
                      <a:pt x="15" y="45"/>
                    </a:lnTo>
                    <a:lnTo>
                      <a:pt x="14" y="40"/>
                    </a:lnTo>
                    <a:lnTo>
                      <a:pt x="15" y="33"/>
                    </a:lnTo>
                    <a:lnTo>
                      <a:pt x="15" y="25"/>
                    </a:lnTo>
                    <a:lnTo>
                      <a:pt x="12" y="20"/>
                    </a:lnTo>
                    <a:lnTo>
                      <a:pt x="10" y="18"/>
                    </a:lnTo>
                    <a:lnTo>
                      <a:pt x="9" y="10"/>
                    </a:lnTo>
                    <a:lnTo>
                      <a:pt x="9" y="5"/>
                    </a:lnTo>
                    <a:lnTo>
                      <a:pt x="17" y="5"/>
                    </a:lnTo>
                    <a:lnTo>
                      <a:pt x="35" y="5"/>
                    </a:lnTo>
                    <a:lnTo>
                      <a:pt x="37" y="5"/>
                    </a:lnTo>
                    <a:lnTo>
                      <a:pt x="50" y="5"/>
                    </a:lnTo>
                    <a:lnTo>
                      <a:pt x="59" y="3"/>
                    </a:lnTo>
                    <a:lnTo>
                      <a:pt x="65" y="3"/>
                    </a:lnTo>
                    <a:lnTo>
                      <a:pt x="70" y="0"/>
                    </a:lnTo>
                    <a:lnTo>
                      <a:pt x="72" y="1"/>
                    </a:lnTo>
                    <a:lnTo>
                      <a:pt x="74" y="6"/>
                    </a:lnTo>
                    <a:lnTo>
                      <a:pt x="77" y="8"/>
                    </a:lnTo>
                    <a:lnTo>
                      <a:pt x="77" y="11"/>
                    </a:lnTo>
                    <a:lnTo>
                      <a:pt x="82" y="16"/>
                    </a:lnTo>
                    <a:lnTo>
                      <a:pt x="85" y="20"/>
                    </a:lnTo>
                    <a:lnTo>
                      <a:pt x="90" y="23"/>
                    </a:lnTo>
                    <a:lnTo>
                      <a:pt x="88" y="28"/>
                    </a:lnTo>
                    <a:lnTo>
                      <a:pt x="88" y="36"/>
                    </a:lnTo>
                    <a:lnTo>
                      <a:pt x="90" y="38"/>
                    </a:lnTo>
                    <a:lnTo>
                      <a:pt x="93" y="38"/>
                    </a:lnTo>
                    <a:lnTo>
                      <a:pt x="93" y="46"/>
                    </a:lnTo>
                    <a:lnTo>
                      <a:pt x="92" y="50"/>
                    </a:lnTo>
                    <a:lnTo>
                      <a:pt x="92" y="53"/>
                    </a:lnTo>
                    <a:lnTo>
                      <a:pt x="93" y="55"/>
                    </a:lnTo>
                    <a:lnTo>
                      <a:pt x="93" y="58"/>
                    </a:lnTo>
                    <a:lnTo>
                      <a:pt x="92" y="61"/>
                    </a:lnTo>
                    <a:lnTo>
                      <a:pt x="93" y="65"/>
                    </a:lnTo>
                    <a:lnTo>
                      <a:pt x="93" y="71"/>
                    </a:lnTo>
                    <a:lnTo>
                      <a:pt x="95" y="74"/>
                    </a:lnTo>
                    <a:lnTo>
                      <a:pt x="95" y="88"/>
                    </a:lnTo>
                    <a:lnTo>
                      <a:pt x="93" y="93"/>
                    </a:lnTo>
                    <a:lnTo>
                      <a:pt x="93" y="96"/>
                    </a:lnTo>
                    <a:lnTo>
                      <a:pt x="92" y="101"/>
                    </a:lnTo>
                    <a:lnTo>
                      <a:pt x="93" y="106"/>
                    </a:lnTo>
                    <a:lnTo>
                      <a:pt x="95" y="113"/>
                    </a:lnTo>
                    <a:lnTo>
                      <a:pt x="98" y="113"/>
                    </a:lnTo>
                    <a:lnTo>
                      <a:pt x="100" y="116"/>
                    </a:lnTo>
                    <a:lnTo>
                      <a:pt x="103" y="119"/>
                    </a:lnTo>
                    <a:lnTo>
                      <a:pt x="90" y="121"/>
                    </a:lnTo>
                    <a:lnTo>
                      <a:pt x="78" y="126"/>
                    </a:lnTo>
                    <a:lnTo>
                      <a:pt x="65" y="136"/>
                    </a:lnTo>
                    <a:lnTo>
                      <a:pt x="50" y="136"/>
                    </a:lnTo>
                    <a:lnTo>
                      <a:pt x="30" y="146"/>
                    </a:lnTo>
                    <a:lnTo>
                      <a:pt x="20" y="143"/>
                    </a:lnTo>
                    <a:lnTo>
                      <a:pt x="7" y="141"/>
                    </a:lnTo>
                    <a:lnTo>
                      <a:pt x="7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3" name="Freeform 116"/>
              <p:cNvSpPr>
                <a:spLocks/>
              </p:cNvSpPr>
              <p:nvPr/>
            </p:nvSpPr>
            <p:spPr bwMode="auto">
              <a:xfrm>
                <a:off x="6416084" y="3138978"/>
                <a:ext cx="26756" cy="62255"/>
              </a:xfrm>
              <a:custGeom>
                <a:avLst/>
                <a:gdLst/>
                <a:ahLst/>
                <a:cxnLst>
                  <a:cxn ang="0">
                    <a:pos x="28" y="6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5" y="11"/>
                  </a:cxn>
                  <a:cxn ang="0">
                    <a:pos x="10" y="16"/>
                  </a:cxn>
                  <a:cxn ang="0">
                    <a:pos x="13" y="20"/>
                  </a:cxn>
                  <a:cxn ang="0">
                    <a:pos x="18" y="23"/>
                  </a:cxn>
                  <a:cxn ang="0">
                    <a:pos x="16" y="28"/>
                  </a:cxn>
                  <a:cxn ang="0">
                    <a:pos x="16" y="36"/>
                  </a:cxn>
                  <a:cxn ang="0">
                    <a:pos x="18" y="38"/>
                  </a:cxn>
                  <a:cxn ang="0">
                    <a:pos x="21" y="38"/>
                  </a:cxn>
                  <a:cxn ang="0">
                    <a:pos x="21" y="46"/>
                  </a:cxn>
                  <a:cxn ang="0">
                    <a:pos x="20" y="50"/>
                  </a:cxn>
                  <a:cxn ang="0">
                    <a:pos x="20" y="53"/>
                  </a:cxn>
                  <a:cxn ang="0">
                    <a:pos x="21" y="55"/>
                  </a:cxn>
                  <a:cxn ang="0">
                    <a:pos x="21" y="58"/>
                  </a:cxn>
                  <a:cxn ang="0">
                    <a:pos x="20" y="61"/>
                  </a:cxn>
                  <a:cxn ang="0">
                    <a:pos x="21" y="65"/>
                  </a:cxn>
                  <a:cxn ang="0">
                    <a:pos x="21" y="71"/>
                  </a:cxn>
                  <a:cxn ang="0">
                    <a:pos x="23" y="74"/>
                  </a:cxn>
                  <a:cxn ang="0">
                    <a:pos x="23" y="88"/>
                  </a:cxn>
                  <a:cxn ang="0">
                    <a:pos x="21" y="93"/>
                  </a:cxn>
                  <a:cxn ang="0">
                    <a:pos x="21" y="96"/>
                  </a:cxn>
                  <a:cxn ang="0">
                    <a:pos x="20" y="101"/>
                  </a:cxn>
                  <a:cxn ang="0">
                    <a:pos x="21" y="106"/>
                  </a:cxn>
                  <a:cxn ang="0">
                    <a:pos x="23" y="113"/>
                  </a:cxn>
                  <a:cxn ang="0">
                    <a:pos x="26" y="113"/>
                  </a:cxn>
                  <a:cxn ang="0">
                    <a:pos x="28" y="116"/>
                  </a:cxn>
                  <a:cxn ang="0">
                    <a:pos x="31" y="119"/>
                  </a:cxn>
                  <a:cxn ang="0">
                    <a:pos x="33" y="119"/>
                  </a:cxn>
                  <a:cxn ang="0">
                    <a:pos x="46" y="111"/>
                  </a:cxn>
                  <a:cxn ang="0">
                    <a:pos x="48" y="113"/>
                  </a:cxn>
                  <a:cxn ang="0">
                    <a:pos x="50" y="108"/>
                  </a:cxn>
                  <a:cxn ang="0">
                    <a:pos x="46" y="103"/>
                  </a:cxn>
                  <a:cxn ang="0">
                    <a:pos x="46" y="96"/>
                  </a:cxn>
                  <a:cxn ang="0">
                    <a:pos x="45" y="91"/>
                  </a:cxn>
                  <a:cxn ang="0">
                    <a:pos x="45" y="65"/>
                  </a:cxn>
                  <a:cxn ang="0">
                    <a:pos x="45" y="61"/>
                  </a:cxn>
                  <a:cxn ang="0">
                    <a:pos x="48" y="58"/>
                  </a:cxn>
                  <a:cxn ang="0">
                    <a:pos x="48" y="53"/>
                  </a:cxn>
                  <a:cxn ang="0">
                    <a:pos x="46" y="50"/>
                  </a:cxn>
                  <a:cxn ang="0">
                    <a:pos x="46" y="43"/>
                  </a:cxn>
                  <a:cxn ang="0">
                    <a:pos x="45" y="35"/>
                  </a:cxn>
                  <a:cxn ang="0">
                    <a:pos x="40" y="23"/>
                  </a:cxn>
                  <a:cxn ang="0">
                    <a:pos x="36" y="21"/>
                  </a:cxn>
                  <a:cxn ang="0">
                    <a:pos x="33" y="18"/>
                  </a:cxn>
                  <a:cxn ang="0">
                    <a:pos x="28" y="16"/>
                  </a:cxn>
                  <a:cxn ang="0">
                    <a:pos x="26" y="10"/>
                  </a:cxn>
                  <a:cxn ang="0">
                    <a:pos x="28" y="6"/>
                  </a:cxn>
                </a:cxnLst>
                <a:rect l="0" t="0" r="r" b="b"/>
                <a:pathLst>
                  <a:path w="50" h="119">
                    <a:moveTo>
                      <a:pt x="28" y="6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6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10" y="16"/>
                    </a:lnTo>
                    <a:lnTo>
                      <a:pt x="13" y="20"/>
                    </a:lnTo>
                    <a:lnTo>
                      <a:pt x="18" y="23"/>
                    </a:lnTo>
                    <a:lnTo>
                      <a:pt x="16" y="28"/>
                    </a:lnTo>
                    <a:lnTo>
                      <a:pt x="16" y="36"/>
                    </a:lnTo>
                    <a:lnTo>
                      <a:pt x="18" y="38"/>
                    </a:lnTo>
                    <a:lnTo>
                      <a:pt x="21" y="38"/>
                    </a:lnTo>
                    <a:lnTo>
                      <a:pt x="21" y="46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5"/>
                    </a:lnTo>
                    <a:lnTo>
                      <a:pt x="21" y="58"/>
                    </a:lnTo>
                    <a:lnTo>
                      <a:pt x="20" y="61"/>
                    </a:lnTo>
                    <a:lnTo>
                      <a:pt x="21" y="65"/>
                    </a:lnTo>
                    <a:lnTo>
                      <a:pt x="21" y="71"/>
                    </a:lnTo>
                    <a:lnTo>
                      <a:pt x="23" y="74"/>
                    </a:lnTo>
                    <a:lnTo>
                      <a:pt x="23" y="88"/>
                    </a:lnTo>
                    <a:lnTo>
                      <a:pt x="21" y="93"/>
                    </a:lnTo>
                    <a:lnTo>
                      <a:pt x="21" y="96"/>
                    </a:lnTo>
                    <a:lnTo>
                      <a:pt x="20" y="101"/>
                    </a:lnTo>
                    <a:lnTo>
                      <a:pt x="21" y="106"/>
                    </a:lnTo>
                    <a:lnTo>
                      <a:pt x="23" y="113"/>
                    </a:lnTo>
                    <a:lnTo>
                      <a:pt x="26" y="113"/>
                    </a:lnTo>
                    <a:lnTo>
                      <a:pt x="28" y="116"/>
                    </a:lnTo>
                    <a:lnTo>
                      <a:pt x="31" y="119"/>
                    </a:lnTo>
                    <a:lnTo>
                      <a:pt x="33" y="119"/>
                    </a:lnTo>
                    <a:lnTo>
                      <a:pt x="46" y="111"/>
                    </a:lnTo>
                    <a:lnTo>
                      <a:pt x="48" y="113"/>
                    </a:lnTo>
                    <a:lnTo>
                      <a:pt x="50" y="108"/>
                    </a:lnTo>
                    <a:lnTo>
                      <a:pt x="46" y="103"/>
                    </a:lnTo>
                    <a:lnTo>
                      <a:pt x="46" y="96"/>
                    </a:lnTo>
                    <a:lnTo>
                      <a:pt x="45" y="91"/>
                    </a:lnTo>
                    <a:lnTo>
                      <a:pt x="45" y="65"/>
                    </a:lnTo>
                    <a:lnTo>
                      <a:pt x="45" y="61"/>
                    </a:lnTo>
                    <a:lnTo>
                      <a:pt x="48" y="58"/>
                    </a:lnTo>
                    <a:lnTo>
                      <a:pt x="48" y="53"/>
                    </a:lnTo>
                    <a:lnTo>
                      <a:pt x="46" y="50"/>
                    </a:lnTo>
                    <a:lnTo>
                      <a:pt x="46" y="43"/>
                    </a:lnTo>
                    <a:lnTo>
                      <a:pt x="45" y="35"/>
                    </a:lnTo>
                    <a:lnTo>
                      <a:pt x="40" y="23"/>
                    </a:lnTo>
                    <a:lnTo>
                      <a:pt x="36" y="21"/>
                    </a:lnTo>
                    <a:lnTo>
                      <a:pt x="33" y="18"/>
                    </a:lnTo>
                    <a:lnTo>
                      <a:pt x="28" y="16"/>
                    </a:lnTo>
                    <a:lnTo>
                      <a:pt x="26" y="10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4" name="Freeform 117"/>
              <p:cNvSpPr>
                <a:spLocks/>
              </p:cNvSpPr>
              <p:nvPr/>
            </p:nvSpPr>
            <p:spPr bwMode="auto">
              <a:xfrm>
                <a:off x="6429998" y="3123414"/>
                <a:ext cx="40669" cy="74706"/>
              </a:xfrm>
              <a:custGeom>
                <a:avLst/>
                <a:gdLst/>
                <a:ahLst/>
                <a:cxnLst>
                  <a:cxn ang="0">
                    <a:pos x="35" y="11"/>
                  </a:cxn>
                  <a:cxn ang="0">
                    <a:pos x="27" y="16"/>
                  </a:cxn>
                  <a:cxn ang="0">
                    <a:pos x="15" y="20"/>
                  </a:cxn>
                  <a:cxn ang="0">
                    <a:pos x="12" y="26"/>
                  </a:cxn>
                  <a:cxn ang="0">
                    <a:pos x="9" y="33"/>
                  </a:cxn>
                  <a:cxn ang="0">
                    <a:pos x="0" y="40"/>
                  </a:cxn>
                  <a:cxn ang="0">
                    <a:pos x="7" y="48"/>
                  </a:cxn>
                  <a:cxn ang="0">
                    <a:pos x="14" y="53"/>
                  </a:cxn>
                  <a:cxn ang="0">
                    <a:pos x="20" y="73"/>
                  </a:cxn>
                  <a:cxn ang="0">
                    <a:pos x="22" y="83"/>
                  </a:cxn>
                  <a:cxn ang="0">
                    <a:pos x="19" y="91"/>
                  </a:cxn>
                  <a:cxn ang="0">
                    <a:pos x="19" y="121"/>
                  </a:cxn>
                  <a:cxn ang="0">
                    <a:pos x="20" y="133"/>
                  </a:cxn>
                  <a:cxn ang="0">
                    <a:pos x="22" y="143"/>
                  </a:cxn>
                  <a:cxn ang="0">
                    <a:pos x="49" y="138"/>
                  </a:cxn>
                  <a:cxn ang="0">
                    <a:pos x="49" y="134"/>
                  </a:cxn>
                  <a:cxn ang="0">
                    <a:pos x="49" y="119"/>
                  </a:cxn>
                  <a:cxn ang="0">
                    <a:pos x="47" y="106"/>
                  </a:cxn>
                  <a:cxn ang="0">
                    <a:pos x="49" y="101"/>
                  </a:cxn>
                  <a:cxn ang="0">
                    <a:pos x="47" y="98"/>
                  </a:cxn>
                  <a:cxn ang="0">
                    <a:pos x="47" y="93"/>
                  </a:cxn>
                  <a:cxn ang="0">
                    <a:pos x="47" y="85"/>
                  </a:cxn>
                  <a:cxn ang="0">
                    <a:pos x="49" y="78"/>
                  </a:cxn>
                  <a:cxn ang="0">
                    <a:pos x="55" y="76"/>
                  </a:cxn>
                  <a:cxn ang="0">
                    <a:pos x="60" y="71"/>
                  </a:cxn>
                  <a:cxn ang="0">
                    <a:pos x="65" y="61"/>
                  </a:cxn>
                  <a:cxn ang="0">
                    <a:pos x="72" y="60"/>
                  </a:cxn>
                  <a:cxn ang="0">
                    <a:pos x="67" y="53"/>
                  </a:cxn>
                  <a:cxn ang="0">
                    <a:pos x="70" y="48"/>
                  </a:cxn>
                  <a:cxn ang="0">
                    <a:pos x="77" y="45"/>
                  </a:cxn>
                  <a:cxn ang="0">
                    <a:pos x="74" y="31"/>
                  </a:cxn>
                  <a:cxn ang="0">
                    <a:pos x="65" y="23"/>
                  </a:cxn>
                  <a:cxn ang="0">
                    <a:pos x="67" y="18"/>
                  </a:cxn>
                  <a:cxn ang="0">
                    <a:pos x="57" y="11"/>
                  </a:cxn>
                  <a:cxn ang="0">
                    <a:pos x="44" y="0"/>
                  </a:cxn>
                  <a:cxn ang="0">
                    <a:pos x="44" y="6"/>
                  </a:cxn>
                  <a:cxn ang="0">
                    <a:pos x="35" y="8"/>
                  </a:cxn>
                </a:cxnLst>
                <a:rect l="0" t="0" r="r" b="b"/>
                <a:pathLst>
                  <a:path w="77" h="143">
                    <a:moveTo>
                      <a:pt x="35" y="8"/>
                    </a:moveTo>
                    <a:lnTo>
                      <a:pt x="35" y="11"/>
                    </a:lnTo>
                    <a:lnTo>
                      <a:pt x="30" y="16"/>
                    </a:lnTo>
                    <a:lnTo>
                      <a:pt x="27" y="16"/>
                    </a:lnTo>
                    <a:lnTo>
                      <a:pt x="19" y="21"/>
                    </a:lnTo>
                    <a:lnTo>
                      <a:pt x="15" y="20"/>
                    </a:lnTo>
                    <a:lnTo>
                      <a:pt x="10" y="21"/>
                    </a:lnTo>
                    <a:lnTo>
                      <a:pt x="12" y="26"/>
                    </a:lnTo>
                    <a:lnTo>
                      <a:pt x="7" y="28"/>
                    </a:lnTo>
                    <a:lnTo>
                      <a:pt x="9" y="33"/>
                    </a:lnTo>
                    <a:lnTo>
                      <a:pt x="2" y="35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7" y="48"/>
                    </a:lnTo>
                    <a:lnTo>
                      <a:pt x="10" y="51"/>
                    </a:lnTo>
                    <a:lnTo>
                      <a:pt x="14" y="53"/>
                    </a:lnTo>
                    <a:lnTo>
                      <a:pt x="19" y="65"/>
                    </a:lnTo>
                    <a:lnTo>
                      <a:pt x="20" y="73"/>
                    </a:lnTo>
                    <a:lnTo>
                      <a:pt x="20" y="80"/>
                    </a:lnTo>
                    <a:lnTo>
                      <a:pt x="22" y="83"/>
                    </a:lnTo>
                    <a:lnTo>
                      <a:pt x="22" y="88"/>
                    </a:lnTo>
                    <a:lnTo>
                      <a:pt x="19" y="91"/>
                    </a:lnTo>
                    <a:lnTo>
                      <a:pt x="19" y="95"/>
                    </a:lnTo>
                    <a:lnTo>
                      <a:pt x="19" y="121"/>
                    </a:lnTo>
                    <a:lnTo>
                      <a:pt x="20" y="126"/>
                    </a:lnTo>
                    <a:lnTo>
                      <a:pt x="20" y="133"/>
                    </a:lnTo>
                    <a:lnTo>
                      <a:pt x="24" y="138"/>
                    </a:lnTo>
                    <a:lnTo>
                      <a:pt x="22" y="143"/>
                    </a:lnTo>
                    <a:lnTo>
                      <a:pt x="30" y="143"/>
                    </a:lnTo>
                    <a:lnTo>
                      <a:pt x="49" y="138"/>
                    </a:lnTo>
                    <a:lnTo>
                      <a:pt x="49" y="138"/>
                    </a:lnTo>
                    <a:lnTo>
                      <a:pt x="49" y="134"/>
                    </a:lnTo>
                    <a:lnTo>
                      <a:pt x="49" y="123"/>
                    </a:lnTo>
                    <a:lnTo>
                      <a:pt x="49" y="119"/>
                    </a:lnTo>
                    <a:lnTo>
                      <a:pt x="49" y="116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9" y="101"/>
                    </a:lnTo>
                    <a:lnTo>
                      <a:pt x="47" y="99"/>
                    </a:lnTo>
                    <a:lnTo>
                      <a:pt x="47" y="98"/>
                    </a:lnTo>
                    <a:lnTo>
                      <a:pt x="47" y="95"/>
                    </a:lnTo>
                    <a:lnTo>
                      <a:pt x="47" y="93"/>
                    </a:lnTo>
                    <a:lnTo>
                      <a:pt x="47" y="88"/>
                    </a:lnTo>
                    <a:lnTo>
                      <a:pt x="47" y="85"/>
                    </a:lnTo>
                    <a:lnTo>
                      <a:pt x="47" y="81"/>
                    </a:lnTo>
                    <a:lnTo>
                      <a:pt x="49" y="78"/>
                    </a:lnTo>
                    <a:lnTo>
                      <a:pt x="54" y="76"/>
                    </a:lnTo>
                    <a:lnTo>
                      <a:pt x="55" y="76"/>
                    </a:lnTo>
                    <a:lnTo>
                      <a:pt x="59" y="75"/>
                    </a:lnTo>
                    <a:lnTo>
                      <a:pt x="60" y="71"/>
                    </a:lnTo>
                    <a:lnTo>
                      <a:pt x="64" y="65"/>
                    </a:lnTo>
                    <a:lnTo>
                      <a:pt x="65" y="61"/>
                    </a:lnTo>
                    <a:lnTo>
                      <a:pt x="69" y="60"/>
                    </a:lnTo>
                    <a:lnTo>
                      <a:pt x="72" y="60"/>
                    </a:lnTo>
                    <a:lnTo>
                      <a:pt x="74" y="58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8"/>
                    </a:lnTo>
                    <a:lnTo>
                      <a:pt x="75" y="48"/>
                    </a:lnTo>
                    <a:lnTo>
                      <a:pt x="77" y="45"/>
                    </a:lnTo>
                    <a:lnTo>
                      <a:pt x="74" y="36"/>
                    </a:lnTo>
                    <a:lnTo>
                      <a:pt x="74" y="31"/>
                    </a:lnTo>
                    <a:lnTo>
                      <a:pt x="67" y="26"/>
                    </a:lnTo>
                    <a:lnTo>
                      <a:pt x="65" y="23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2" y="11"/>
                    </a:lnTo>
                    <a:lnTo>
                      <a:pt x="57" y="11"/>
                    </a:lnTo>
                    <a:lnTo>
                      <a:pt x="52" y="5"/>
                    </a:lnTo>
                    <a:lnTo>
                      <a:pt x="44" y="0"/>
                    </a:lnTo>
                    <a:lnTo>
                      <a:pt x="42" y="3"/>
                    </a:lnTo>
                    <a:lnTo>
                      <a:pt x="44" y="6"/>
                    </a:lnTo>
                    <a:lnTo>
                      <a:pt x="39" y="8"/>
                    </a:lnTo>
                    <a:lnTo>
                      <a:pt x="35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5" name="Freeform 118"/>
              <p:cNvSpPr>
                <a:spLocks noEditPoints="1"/>
              </p:cNvSpPr>
              <p:nvPr/>
            </p:nvSpPr>
            <p:spPr bwMode="auto">
              <a:xfrm>
                <a:off x="6572341" y="2995791"/>
                <a:ext cx="151975" cy="188841"/>
              </a:xfrm>
              <a:custGeom>
                <a:avLst/>
                <a:gdLst/>
                <a:ahLst/>
                <a:cxnLst>
                  <a:cxn ang="0">
                    <a:pos x="283" y="90"/>
                  </a:cxn>
                  <a:cxn ang="0">
                    <a:pos x="276" y="181"/>
                  </a:cxn>
                  <a:cxn ang="0">
                    <a:pos x="261" y="181"/>
                  </a:cxn>
                  <a:cxn ang="0">
                    <a:pos x="261" y="196"/>
                  </a:cxn>
                  <a:cxn ang="0">
                    <a:pos x="246" y="208"/>
                  </a:cxn>
                  <a:cxn ang="0">
                    <a:pos x="246" y="220"/>
                  </a:cxn>
                  <a:cxn ang="0">
                    <a:pos x="244" y="226"/>
                  </a:cxn>
                  <a:cxn ang="0">
                    <a:pos x="234" y="243"/>
                  </a:cxn>
                  <a:cxn ang="0">
                    <a:pos x="244" y="246"/>
                  </a:cxn>
                  <a:cxn ang="0">
                    <a:pos x="244" y="251"/>
                  </a:cxn>
                  <a:cxn ang="0">
                    <a:pos x="248" y="261"/>
                  </a:cxn>
                  <a:cxn ang="0">
                    <a:pos x="258" y="273"/>
                  </a:cxn>
                  <a:cxn ang="0">
                    <a:pos x="258" y="281"/>
                  </a:cxn>
                  <a:cxn ang="0">
                    <a:pos x="248" y="286"/>
                  </a:cxn>
                  <a:cxn ang="0">
                    <a:pos x="231" y="291"/>
                  </a:cxn>
                  <a:cxn ang="0">
                    <a:pos x="228" y="298"/>
                  </a:cxn>
                  <a:cxn ang="0">
                    <a:pos x="219" y="304"/>
                  </a:cxn>
                  <a:cxn ang="0">
                    <a:pos x="213" y="313"/>
                  </a:cxn>
                  <a:cxn ang="0">
                    <a:pos x="211" y="323"/>
                  </a:cxn>
                  <a:cxn ang="0">
                    <a:pos x="193" y="329"/>
                  </a:cxn>
                  <a:cxn ang="0">
                    <a:pos x="176" y="328"/>
                  </a:cxn>
                  <a:cxn ang="0">
                    <a:pos x="163" y="329"/>
                  </a:cxn>
                  <a:cxn ang="0">
                    <a:pos x="170" y="338"/>
                  </a:cxn>
                  <a:cxn ang="0">
                    <a:pos x="161" y="347"/>
                  </a:cxn>
                  <a:cxn ang="0">
                    <a:pos x="135" y="354"/>
                  </a:cxn>
                  <a:cxn ang="0">
                    <a:pos x="116" y="362"/>
                  </a:cxn>
                  <a:cxn ang="0">
                    <a:pos x="110" y="352"/>
                  </a:cxn>
                  <a:cxn ang="0">
                    <a:pos x="105" y="364"/>
                  </a:cxn>
                  <a:cxn ang="0">
                    <a:pos x="90" y="366"/>
                  </a:cxn>
                  <a:cxn ang="0">
                    <a:pos x="85" y="356"/>
                  </a:cxn>
                  <a:cxn ang="0">
                    <a:pos x="73" y="341"/>
                  </a:cxn>
                  <a:cxn ang="0">
                    <a:pos x="52" y="324"/>
                  </a:cxn>
                  <a:cxn ang="0">
                    <a:pos x="48" y="318"/>
                  </a:cxn>
                  <a:cxn ang="0">
                    <a:pos x="50" y="308"/>
                  </a:cxn>
                  <a:cxn ang="0">
                    <a:pos x="60" y="308"/>
                  </a:cxn>
                  <a:cxn ang="0">
                    <a:pos x="72" y="308"/>
                  </a:cxn>
                  <a:cxn ang="0">
                    <a:pos x="83" y="311"/>
                  </a:cxn>
                  <a:cxn ang="0">
                    <a:pos x="77" y="303"/>
                  </a:cxn>
                  <a:cxn ang="0">
                    <a:pos x="67" y="291"/>
                  </a:cxn>
                  <a:cxn ang="0">
                    <a:pos x="72" y="278"/>
                  </a:cxn>
                  <a:cxn ang="0">
                    <a:pos x="70" y="271"/>
                  </a:cxn>
                  <a:cxn ang="0">
                    <a:pos x="67" y="258"/>
                  </a:cxn>
                  <a:cxn ang="0">
                    <a:pos x="58" y="246"/>
                  </a:cxn>
                  <a:cxn ang="0">
                    <a:pos x="42" y="235"/>
                  </a:cxn>
                  <a:cxn ang="0">
                    <a:pos x="32" y="198"/>
                  </a:cxn>
                  <a:cxn ang="0">
                    <a:pos x="37" y="195"/>
                  </a:cxn>
                  <a:cxn ang="0">
                    <a:pos x="77" y="123"/>
                  </a:cxn>
                  <a:cxn ang="0">
                    <a:pos x="88" y="70"/>
                  </a:cxn>
                  <a:cxn ang="0">
                    <a:pos x="73" y="45"/>
                  </a:cxn>
                  <a:cxn ang="0">
                    <a:pos x="60" y="12"/>
                  </a:cxn>
                  <a:cxn ang="0">
                    <a:pos x="4" y="241"/>
                  </a:cxn>
                </a:cxnLst>
                <a:rect l="0" t="0" r="r" b="b"/>
                <a:pathLst>
                  <a:path w="284" h="366">
                    <a:moveTo>
                      <a:pt x="60" y="12"/>
                    </a:moveTo>
                    <a:lnTo>
                      <a:pt x="87" y="0"/>
                    </a:lnTo>
                    <a:lnTo>
                      <a:pt x="283" y="90"/>
                    </a:lnTo>
                    <a:lnTo>
                      <a:pt x="284" y="178"/>
                    </a:lnTo>
                    <a:lnTo>
                      <a:pt x="279" y="178"/>
                    </a:lnTo>
                    <a:lnTo>
                      <a:pt x="276" y="181"/>
                    </a:lnTo>
                    <a:lnTo>
                      <a:pt x="271" y="180"/>
                    </a:lnTo>
                    <a:lnTo>
                      <a:pt x="266" y="180"/>
                    </a:lnTo>
                    <a:lnTo>
                      <a:pt x="261" y="181"/>
                    </a:lnTo>
                    <a:lnTo>
                      <a:pt x="261" y="188"/>
                    </a:lnTo>
                    <a:lnTo>
                      <a:pt x="263" y="190"/>
                    </a:lnTo>
                    <a:lnTo>
                      <a:pt x="261" y="196"/>
                    </a:lnTo>
                    <a:lnTo>
                      <a:pt x="253" y="205"/>
                    </a:lnTo>
                    <a:lnTo>
                      <a:pt x="249" y="205"/>
                    </a:lnTo>
                    <a:lnTo>
                      <a:pt x="246" y="208"/>
                    </a:lnTo>
                    <a:lnTo>
                      <a:pt x="246" y="211"/>
                    </a:lnTo>
                    <a:lnTo>
                      <a:pt x="249" y="215"/>
                    </a:lnTo>
                    <a:lnTo>
                      <a:pt x="246" y="220"/>
                    </a:lnTo>
                    <a:lnTo>
                      <a:pt x="241" y="221"/>
                    </a:lnTo>
                    <a:lnTo>
                      <a:pt x="241" y="225"/>
                    </a:lnTo>
                    <a:lnTo>
                      <a:pt x="244" y="226"/>
                    </a:lnTo>
                    <a:lnTo>
                      <a:pt x="246" y="231"/>
                    </a:lnTo>
                    <a:lnTo>
                      <a:pt x="243" y="235"/>
                    </a:lnTo>
                    <a:lnTo>
                      <a:pt x="234" y="243"/>
                    </a:lnTo>
                    <a:lnTo>
                      <a:pt x="234" y="248"/>
                    </a:lnTo>
                    <a:lnTo>
                      <a:pt x="238" y="249"/>
                    </a:lnTo>
                    <a:lnTo>
                      <a:pt x="244" y="246"/>
                    </a:lnTo>
                    <a:lnTo>
                      <a:pt x="248" y="246"/>
                    </a:lnTo>
                    <a:lnTo>
                      <a:pt x="248" y="249"/>
                    </a:lnTo>
                    <a:lnTo>
                      <a:pt x="244" y="251"/>
                    </a:lnTo>
                    <a:lnTo>
                      <a:pt x="248" y="254"/>
                    </a:lnTo>
                    <a:lnTo>
                      <a:pt x="246" y="256"/>
                    </a:lnTo>
                    <a:lnTo>
                      <a:pt x="248" y="261"/>
                    </a:lnTo>
                    <a:lnTo>
                      <a:pt x="248" y="266"/>
                    </a:lnTo>
                    <a:lnTo>
                      <a:pt x="249" y="269"/>
                    </a:lnTo>
                    <a:lnTo>
                      <a:pt x="258" y="273"/>
                    </a:lnTo>
                    <a:lnTo>
                      <a:pt x="261" y="276"/>
                    </a:lnTo>
                    <a:lnTo>
                      <a:pt x="258" y="279"/>
                    </a:lnTo>
                    <a:lnTo>
                      <a:pt x="258" y="281"/>
                    </a:lnTo>
                    <a:lnTo>
                      <a:pt x="258" y="284"/>
                    </a:lnTo>
                    <a:lnTo>
                      <a:pt x="251" y="288"/>
                    </a:lnTo>
                    <a:lnTo>
                      <a:pt x="248" y="286"/>
                    </a:lnTo>
                    <a:lnTo>
                      <a:pt x="243" y="286"/>
                    </a:lnTo>
                    <a:lnTo>
                      <a:pt x="238" y="288"/>
                    </a:lnTo>
                    <a:lnTo>
                      <a:pt x="231" y="291"/>
                    </a:lnTo>
                    <a:lnTo>
                      <a:pt x="231" y="294"/>
                    </a:lnTo>
                    <a:lnTo>
                      <a:pt x="231" y="298"/>
                    </a:lnTo>
                    <a:lnTo>
                      <a:pt x="228" y="298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19" y="304"/>
                    </a:lnTo>
                    <a:lnTo>
                      <a:pt x="216" y="308"/>
                    </a:lnTo>
                    <a:lnTo>
                      <a:pt x="216" y="311"/>
                    </a:lnTo>
                    <a:lnTo>
                      <a:pt x="213" y="313"/>
                    </a:lnTo>
                    <a:lnTo>
                      <a:pt x="211" y="316"/>
                    </a:lnTo>
                    <a:lnTo>
                      <a:pt x="213" y="319"/>
                    </a:lnTo>
                    <a:lnTo>
                      <a:pt x="211" y="323"/>
                    </a:lnTo>
                    <a:lnTo>
                      <a:pt x="208" y="324"/>
                    </a:lnTo>
                    <a:lnTo>
                      <a:pt x="203" y="328"/>
                    </a:lnTo>
                    <a:lnTo>
                      <a:pt x="193" y="329"/>
                    </a:lnTo>
                    <a:lnTo>
                      <a:pt x="186" y="329"/>
                    </a:lnTo>
                    <a:lnTo>
                      <a:pt x="180" y="329"/>
                    </a:lnTo>
                    <a:lnTo>
                      <a:pt x="176" y="328"/>
                    </a:lnTo>
                    <a:lnTo>
                      <a:pt x="171" y="328"/>
                    </a:lnTo>
                    <a:lnTo>
                      <a:pt x="166" y="328"/>
                    </a:lnTo>
                    <a:lnTo>
                      <a:pt x="163" y="329"/>
                    </a:lnTo>
                    <a:lnTo>
                      <a:pt x="163" y="333"/>
                    </a:lnTo>
                    <a:lnTo>
                      <a:pt x="168" y="338"/>
                    </a:lnTo>
                    <a:lnTo>
                      <a:pt x="170" y="338"/>
                    </a:lnTo>
                    <a:lnTo>
                      <a:pt x="171" y="341"/>
                    </a:lnTo>
                    <a:lnTo>
                      <a:pt x="165" y="344"/>
                    </a:lnTo>
                    <a:lnTo>
                      <a:pt x="161" y="347"/>
                    </a:lnTo>
                    <a:lnTo>
                      <a:pt x="155" y="347"/>
                    </a:lnTo>
                    <a:lnTo>
                      <a:pt x="140" y="351"/>
                    </a:lnTo>
                    <a:lnTo>
                      <a:pt x="135" y="354"/>
                    </a:lnTo>
                    <a:lnTo>
                      <a:pt x="126" y="357"/>
                    </a:lnTo>
                    <a:lnTo>
                      <a:pt x="121" y="361"/>
                    </a:lnTo>
                    <a:lnTo>
                      <a:pt x="116" y="362"/>
                    </a:lnTo>
                    <a:lnTo>
                      <a:pt x="115" y="361"/>
                    </a:lnTo>
                    <a:lnTo>
                      <a:pt x="113" y="356"/>
                    </a:lnTo>
                    <a:lnTo>
                      <a:pt x="110" y="352"/>
                    </a:lnTo>
                    <a:lnTo>
                      <a:pt x="108" y="356"/>
                    </a:lnTo>
                    <a:lnTo>
                      <a:pt x="108" y="359"/>
                    </a:lnTo>
                    <a:lnTo>
                      <a:pt x="105" y="364"/>
                    </a:lnTo>
                    <a:lnTo>
                      <a:pt x="98" y="366"/>
                    </a:lnTo>
                    <a:lnTo>
                      <a:pt x="93" y="366"/>
                    </a:lnTo>
                    <a:lnTo>
                      <a:pt x="90" y="366"/>
                    </a:lnTo>
                    <a:lnTo>
                      <a:pt x="88" y="361"/>
                    </a:lnTo>
                    <a:lnTo>
                      <a:pt x="87" y="359"/>
                    </a:lnTo>
                    <a:lnTo>
                      <a:pt x="85" y="356"/>
                    </a:lnTo>
                    <a:lnTo>
                      <a:pt x="82" y="349"/>
                    </a:lnTo>
                    <a:lnTo>
                      <a:pt x="78" y="344"/>
                    </a:lnTo>
                    <a:lnTo>
                      <a:pt x="73" y="341"/>
                    </a:lnTo>
                    <a:lnTo>
                      <a:pt x="65" y="333"/>
                    </a:lnTo>
                    <a:lnTo>
                      <a:pt x="57" y="326"/>
                    </a:lnTo>
                    <a:lnTo>
                      <a:pt x="52" y="324"/>
                    </a:lnTo>
                    <a:lnTo>
                      <a:pt x="52" y="321"/>
                    </a:lnTo>
                    <a:lnTo>
                      <a:pt x="50" y="319"/>
                    </a:lnTo>
                    <a:lnTo>
                      <a:pt x="48" y="318"/>
                    </a:lnTo>
                    <a:lnTo>
                      <a:pt x="48" y="314"/>
                    </a:lnTo>
                    <a:lnTo>
                      <a:pt x="50" y="311"/>
                    </a:lnTo>
                    <a:lnTo>
                      <a:pt x="50" y="308"/>
                    </a:lnTo>
                    <a:lnTo>
                      <a:pt x="53" y="308"/>
                    </a:lnTo>
                    <a:lnTo>
                      <a:pt x="58" y="308"/>
                    </a:lnTo>
                    <a:lnTo>
                      <a:pt x="60" y="308"/>
                    </a:lnTo>
                    <a:lnTo>
                      <a:pt x="65" y="308"/>
                    </a:lnTo>
                    <a:lnTo>
                      <a:pt x="68" y="308"/>
                    </a:lnTo>
                    <a:lnTo>
                      <a:pt x="72" y="308"/>
                    </a:lnTo>
                    <a:lnTo>
                      <a:pt x="77" y="308"/>
                    </a:lnTo>
                    <a:lnTo>
                      <a:pt x="80" y="309"/>
                    </a:lnTo>
                    <a:lnTo>
                      <a:pt x="83" y="311"/>
                    </a:lnTo>
                    <a:lnTo>
                      <a:pt x="85" y="309"/>
                    </a:lnTo>
                    <a:lnTo>
                      <a:pt x="83" y="308"/>
                    </a:lnTo>
                    <a:lnTo>
                      <a:pt x="77" y="303"/>
                    </a:lnTo>
                    <a:lnTo>
                      <a:pt x="75" y="298"/>
                    </a:lnTo>
                    <a:lnTo>
                      <a:pt x="72" y="296"/>
                    </a:lnTo>
                    <a:lnTo>
                      <a:pt x="67" y="291"/>
                    </a:lnTo>
                    <a:lnTo>
                      <a:pt x="67" y="286"/>
                    </a:lnTo>
                    <a:lnTo>
                      <a:pt x="70" y="284"/>
                    </a:lnTo>
                    <a:lnTo>
                      <a:pt x="72" y="278"/>
                    </a:lnTo>
                    <a:lnTo>
                      <a:pt x="68" y="276"/>
                    </a:lnTo>
                    <a:lnTo>
                      <a:pt x="70" y="273"/>
                    </a:lnTo>
                    <a:lnTo>
                      <a:pt x="70" y="271"/>
                    </a:lnTo>
                    <a:lnTo>
                      <a:pt x="70" y="268"/>
                    </a:lnTo>
                    <a:lnTo>
                      <a:pt x="68" y="263"/>
                    </a:lnTo>
                    <a:lnTo>
                      <a:pt x="67" y="258"/>
                    </a:lnTo>
                    <a:lnTo>
                      <a:pt x="65" y="256"/>
                    </a:lnTo>
                    <a:lnTo>
                      <a:pt x="63" y="249"/>
                    </a:lnTo>
                    <a:lnTo>
                      <a:pt x="58" y="246"/>
                    </a:lnTo>
                    <a:lnTo>
                      <a:pt x="47" y="240"/>
                    </a:lnTo>
                    <a:lnTo>
                      <a:pt x="45" y="240"/>
                    </a:lnTo>
                    <a:lnTo>
                      <a:pt x="42" y="235"/>
                    </a:lnTo>
                    <a:lnTo>
                      <a:pt x="37" y="228"/>
                    </a:lnTo>
                    <a:lnTo>
                      <a:pt x="33" y="226"/>
                    </a:lnTo>
                    <a:lnTo>
                      <a:pt x="32" y="198"/>
                    </a:lnTo>
                    <a:lnTo>
                      <a:pt x="32" y="196"/>
                    </a:lnTo>
                    <a:lnTo>
                      <a:pt x="35" y="196"/>
                    </a:lnTo>
                    <a:lnTo>
                      <a:pt x="37" y="195"/>
                    </a:lnTo>
                    <a:lnTo>
                      <a:pt x="38" y="193"/>
                    </a:lnTo>
                    <a:lnTo>
                      <a:pt x="78" y="155"/>
                    </a:lnTo>
                    <a:lnTo>
                      <a:pt x="77" y="123"/>
                    </a:lnTo>
                    <a:lnTo>
                      <a:pt x="83" y="82"/>
                    </a:lnTo>
                    <a:lnTo>
                      <a:pt x="88" y="78"/>
                    </a:lnTo>
                    <a:lnTo>
                      <a:pt x="88" y="70"/>
                    </a:lnTo>
                    <a:lnTo>
                      <a:pt x="72" y="53"/>
                    </a:lnTo>
                    <a:lnTo>
                      <a:pt x="73" y="50"/>
                    </a:lnTo>
                    <a:lnTo>
                      <a:pt x="73" y="45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60" y="12"/>
                    </a:lnTo>
                    <a:close/>
                    <a:moveTo>
                      <a:pt x="9" y="236"/>
                    </a:moveTo>
                    <a:lnTo>
                      <a:pt x="7" y="240"/>
                    </a:lnTo>
                    <a:lnTo>
                      <a:pt x="4" y="241"/>
                    </a:lnTo>
                    <a:lnTo>
                      <a:pt x="0" y="240"/>
                    </a:lnTo>
                    <a:lnTo>
                      <a:pt x="9" y="2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6" name="Freeform 119"/>
              <p:cNvSpPr>
                <a:spLocks/>
              </p:cNvSpPr>
              <p:nvPr/>
            </p:nvSpPr>
            <p:spPr bwMode="auto">
              <a:xfrm>
                <a:off x="6421436" y="2997866"/>
                <a:ext cx="197996" cy="135924"/>
              </a:xfrm>
              <a:custGeom>
                <a:avLst/>
                <a:gdLst/>
                <a:ahLst/>
                <a:cxnLst>
                  <a:cxn ang="0">
                    <a:pos x="78" y="254"/>
                  </a:cxn>
                  <a:cxn ang="0">
                    <a:pos x="68" y="248"/>
                  </a:cxn>
                  <a:cxn ang="0">
                    <a:pos x="58" y="246"/>
                  </a:cxn>
                  <a:cxn ang="0">
                    <a:pos x="55" y="251"/>
                  </a:cxn>
                  <a:cxn ang="0">
                    <a:pos x="45" y="244"/>
                  </a:cxn>
                  <a:cxn ang="0">
                    <a:pos x="48" y="238"/>
                  </a:cxn>
                  <a:cxn ang="0">
                    <a:pos x="45" y="233"/>
                  </a:cxn>
                  <a:cxn ang="0">
                    <a:pos x="31" y="236"/>
                  </a:cxn>
                  <a:cxn ang="0">
                    <a:pos x="23" y="221"/>
                  </a:cxn>
                  <a:cxn ang="0">
                    <a:pos x="0" y="201"/>
                  </a:cxn>
                  <a:cxn ang="0">
                    <a:pos x="3" y="191"/>
                  </a:cxn>
                  <a:cxn ang="0">
                    <a:pos x="11" y="190"/>
                  </a:cxn>
                  <a:cxn ang="0">
                    <a:pos x="33" y="188"/>
                  </a:cxn>
                  <a:cxn ang="0">
                    <a:pos x="50" y="185"/>
                  </a:cxn>
                  <a:cxn ang="0">
                    <a:pos x="61" y="181"/>
                  </a:cxn>
                  <a:cxn ang="0">
                    <a:pos x="76" y="178"/>
                  </a:cxn>
                  <a:cxn ang="0">
                    <a:pos x="90" y="166"/>
                  </a:cxn>
                  <a:cxn ang="0">
                    <a:pos x="94" y="156"/>
                  </a:cxn>
                  <a:cxn ang="0">
                    <a:pos x="98" y="95"/>
                  </a:cxn>
                  <a:cxn ang="0">
                    <a:pos x="164" y="62"/>
                  </a:cxn>
                  <a:cxn ang="0">
                    <a:pos x="315" y="10"/>
                  </a:cxn>
                  <a:cxn ang="0">
                    <a:pos x="342" y="7"/>
                  </a:cxn>
                  <a:cxn ang="0">
                    <a:pos x="355" y="40"/>
                  </a:cxn>
                  <a:cxn ang="0">
                    <a:pos x="354" y="48"/>
                  </a:cxn>
                  <a:cxn ang="0">
                    <a:pos x="370" y="73"/>
                  </a:cxn>
                  <a:cxn ang="0">
                    <a:pos x="359" y="118"/>
                  </a:cxn>
                  <a:cxn ang="0">
                    <a:pos x="320" y="188"/>
                  </a:cxn>
                  <a:cxn ang="0">
                    <a:pos x="317" y="191"/>
                  </a:cxn>
                  <a:cxn ang="0">
                    <a:pos x="314" y="193"/>
                  </a:cxn>
                  <a:cxn ang="0">
                    <a:pos x="310" y="220"/>
                  </a:cxn>
                  <a:cxn ang="0">
                    <a:pos x="307" y="226"/>
                  </a:cxn>
                  <a:cxn ang="0">
                    <a:pos x="300" y="226"/>
                  </a:cxn>
                  <a:cxn ang="0">
                    <a:pos x="295" y="230"/>
                  </a:cxn>
                  <a:cxn ang="0">
                    <a:pos x="291" y="231"/>
                  </a:cxn>
                  <a:cxn ang="0">
                    <a:pos x="281" y="233"/>
                  </a:cxn>
                  <a:cxn ang="0">
                    <a:pos x="266" y="230"/>
                  </a:cxn>
                  <a:cxn ang="0">
                    <a:pos x="249" y="230"/>
                  </a:cxn>
                  <a:cxn ang="0">
                    <a:pos x="232" y="231"/>
                  </a:cxn>
                  <a:cxn ang="0">
                    <a:pos x="219" y="243"/>
                  </a:cxn>
                  <a:cxn ang="0">
                    <a:pos x="206" y="238"/>
                  </a:cxn>
                  <a:cxn ang="0">
                    <a:pos x="192" y="233"/>
                  </a:cxn>
                  <a:cxn ang="0">
                    <a:pos x="188" y="230"/>
                  </a:cxn>
                  <a:cxn ang="0">
                    <a:pos x="179" y="226"/>
                  </a:cxn>
                  <a:cxn ang="0">
                    <a:pos x="171" y="230"/>
                  </a:cxn>
                  <a:cxn ang="0">
                    <a:pos x="164" y="231"/>
                  </a:cxn>
                  <a:cxn ang="0">
                    <a:pos x="159" y="235"/>
                  </a:cxn>
                  <a:cxn ang="0">
                    <a:pos x="149" y="225"/>
                  </a:cxn>
                  <a:cxn ang="0">
                    <a:pos x="139" y="220"/>
                  </a:cxn>
                  <a:cxn ang="0">
                    <a:pos x="133" y="218"/>
                  </a:cxn>
                  <a:cxn ang="0">
                    <a:pos x="124" y="216"/>
                  </a:cxn>
                  <a:cxn ang="0">
                    <a:pos x="118" y="218"/>
                  </a:cxn>
                  <a:cxn ang="0">
                    <a:pos x="108" y="218"/>
                  </a:cxn>
                  <a:cxn ang="0">
                    <a:pos x="99" y="218"/>
                  </a:cxn>
                  <a:cxn ang="0">
                    <a:pos x="94" y="221"/>
                  </a:cxn>
                  <a:cxn ang="0">
                    <a:pos x="90" y="226"/>
                  </a:cxn>
                  <a:cxn ang="0">
                    <a:pos x="90" y="230"/>
                  </a:cxn>
                  <a:cxn ang="0">
                    <a:pos x="90" y="236"/>
                  </a:cxn>
                  <a:cxn ang="0">
                    <a:pos x="91" y="241"/>
                  </a:cxn>
                  <a:cxn ang="0">
                    <a:pos x="81" y="246"/>
                  </a:cxn>
                  <a:cxn ang="0">
                    <a:pos x="81" y="249"/>
                  </a:cxn>
                  <a:cxn ang="0">
                    <a:pos x="86" y="256"/>
                  </a:cxn>
                  <a:cxn ang="0">
                    <a:pos x="83" y="261"/>
                  </a:cxn>
                </a:cxnLst>
                <a:rect l="0" t="0" r="r" b="b"/>
                <a:pathLst>
                  <a:path w="370" h="261">
                    <a:moveTo>
                      <a:pt x="83" y="261"/>
                    </a:moveTo>
                    <a:lnTo>
                      <a:pt x="78" y="254"/>
                    </a:lnTo>
                    <a:lnTo>
                      <a:pt x="73" y="254"/>
                    </a:lnTo>
                    <a:lnTo>
                      <a:pt x="68" y="248"/>
                    </a:lnTo>
                    <a:lnTo>
                      <a:pt x="60" y="243"/>
                    </a:lnTo>
                    <a:lnTo>
                      <a:pt x="58" y="246"/>
                    </a:lnTo>
                    <a:lnTo>
                      <a:pt x="60" y="249"/>
                    </a:lnTo>
                    <a:lnTo>
                      <a:pt x="55" y="251"/>
                    </a:lnTo>
                    <a:lnTo>
                      <a:pt x="50" y="251"/>
                    </a:lnTo>
                    <a:lnTo>
                      <a:pt x="45" y="244"/>
                    </a:lnTo>
                    <a:lnTo>
                      <a:pt x="48" y="241"/>
                    </a:lnTo>
                    <a:lnTo>
                      <a:pt x="48" y="238"/>
                    </a:lnTo>
                    <a:lnTo>
                      <a:pt x="45" y="235"/>
                    </a:lnTo>
                    <a:lnTo>
                      <a:pt x="45" y="233"/>
                    </a:lnTo>
                    <a:lnTo>
                      <a:pt x="41" y="231"/>
                    </a:lnTo>
                    <a:lnTo>
                      <a:pt x="31" y="236"/>
                    </a:lnTo>
                    <a:lnTo>
                      <a:pt x="23" y="231"/>
                    </a:lnTo>
                    <a:lnTo>
                      <a:pt x="23" y="221"/>
                    </a:lnTo>
                    <a:lnTo>
                      <a:pt x="0" y="208"/>
                    </a:lnTo>
                    <a:lnTo>
                      <a:pt x="0" y="201"/>
                    </a:lnTo>
                    <a:lnTo>
                      <a:pt x="3" y="196"/>
                    </a:lnTo>
                    <a:lnTo>
                      <a:pt x="3" y="191"/>
                    </a:lnTo>
                    <a:lnTo>
                      <a:pt x="5" y="188"/>
                    </a:lnTo>
                    <a:lnTo>
                      <a:pt x="11" y="190"/>
                    </a:lnTo>
                    <a:lnTo>
                      <a:pt x="28" y="188"/>
                    </a:lnTo>
                    <a:lnTo>
                      <a:pt x="33" y="188"/>
                    </a:lnTo>
                    <a:lnTo>
                      <a:pt x="40" y="185"/>
                    </a:lnTo>
                    <a:lnTo>
                      <a:pt x="50" y="185"/>
                    </a:lnTo>
                    <a:lnTo>
                      <a:pt x="55" y="185"/>
                    </a:lnTo>
                    <a:lnTo>
                      <a:pt x="61" y="181"/>
                    </a:lnTo>
                    <a:lnTo>
                      <a:pt x="70" y="181"/>
                    </a:lnTo>
                    <a:lnTo>
                      <a:pt x="76" y="178"/>
                    </a:lnTo>
                    <a:lnTo>
                      <a:pt x="88" y="171"/>
                    </a:lnTo>
                    <a:lnTo>
                      <a:pt x="90" y="166"/>
                    </a:lnTo>
                    <a:lnTo>
                      <a:pt x="91" y="160"/>
                    </a:lnTo>
                    <a:lnTo>
                      <a:pt x="94" y="156"/>
                    </a:lnTo>
                    <a:lnTo>
                      <a:pt x="96" y="137"/>
                    </a:lnTo>
                    <a:lnTo>
                      <a:pt x="98" y="95"/>
                    </a:lnTo>
                    <a:lnTo>
                      <a:pt x="134" y="87"/>
                    </a:lnTo>
                    <a:lnTo>
                      <a:pt x="164" y="62"/>
                    </a:lnTo>
                    <a:lnTo>
                      <a:pt x="274" y="0"/>
                    </a:lnTo>
                    <a:lnTo>
                      <a:pt x="315" y="10"/>
                    </a:lnTo>
                    <a:lnTo>
                      <a:pt x="320" y="15"/>
                    </a:lnTo>
                    <a:lnTo>
                      <a:pt x="342" y="7"/>
                    </a:lnTo>
                    <a:lnTo>
                      <a:pt x="344" y="9"/>
                    </a:lnTo>
                    <a:lnTo>
                      <a:pt x="355" y="40"/>
                    </a:lnTo>
                    <a:lnTo>
                      <a:pt x="355" y="45"/>
                    </a:lnTo>
                    <a:lnTo>
                      <a:pt x="354" y="48"/>
                    </a:lnTo>
                    <a:lnTo>
                      <a:pt x="370" y="65"/>
                    </a:lnTo>
                    <a:lnTo>
                      <a:pt x="370" y="73"/>
                    </a:lnTo>
                    <a:lnTo>
                      <a:pt x="365" y="77"/>
                    </a:lnTo>
                    <a:lnTo>
                      <a:pt x="359" y="118"/>
                    </a:lnTo>
                    <a:lnTo>
                      <a:pt x="360" y="150"/>
                    </a:lnTo>
                    <a:lnTo>
                      <a:pt x="320" y="188"/>
                    </a:lnTo>
                    <a:lnTo>
                      <a:pt x="319" y="190"/>
                    </a:lnTo>
                    <a:lnTo>
                      <a:pt x="317" y="191"/>
                    </a:lnTo>
                    <a:lnTo>
                      <a:pt x="314" y="191"/>
                    </a:lnTo>
                    <a:lnTo>
                      <a:pt x="314" y="193"/>
                    </a:lnTo>
                    <a:lnTo>
                      <a:pt x="315" y="221"/>
                    </a:lnTo>
                    <a:lnTo>
                      <a:pt x="310" y="220"/>
                    </a:lnTo>
                    <a:lnTo>
                      <a:pt x="307" y="223"/>
                    </a:lnTo>
                    <a:lnTo>
                      <a:pt x="307" y="226"/>
                    </a:lnTo>
                    <a:lnTo>
                      <a:pt x="304" y="228"/>
                    </a:lnTo>
                    <a:lnTo>
                      <a:pt x="300" y="226"/>
                    </a:lnTo>
                    <a:lnTo>
                      <a:pt x="297" y="226"/>
                    </a:lnTo>
                    <a:lnTo>
                      <a:pt x="295" y="230"/>
                    </a:lnTo>
                    <a:lnTo>
                      <a:pt x="291" y="231"/>
                    </a:lnTo>
                    <a:lnTo>
                      <a:pt x="291" y="231"/>
                    </a:lnTo>
                    <a:lnTo>
                      <a:pt x="282" y="235"/>
                    </a:lnTo>
                    <a:lnTo>
                      <a:pt x="281" y="233"/>
                    </a:lnTo>
                    <a:lnTo>
                      <a:pt x="274" y="233"/>
                    </a:lnTo>
                    <a:lnTo>
                      <a:pt x="266" y="230"/>
                    </a:lnTo>
                    <a:lnTo>
                      <a:pt x="254" y="228"/>
                    </a:lnTo>
                    <a:lnTo>
                      <a:pt x="249" y="230"/>
                    </a:lnTo>
                    <a:lnTo>
                      <a:pt x="237" y="230"/>
                    </a:lnTo>
                    <a:lnTo>
                      <a:pt x="232" y="231"/>
                    </a:lnTo>
                    <a:lnTo>
                      <a:pt x="226" y="238"/>
                    </a:lnTo>
                    <a:lnTo>
                      <a:pt x="219" y="243"/>
                    </a:lnTo>
                    <a:lnTo>
                      <a:pt x="216" y="241"/>
                    </a:lnTo>
                    <a:lnTo>
                      <a:pt x="206" y="238"/>
                    </a:lnTo>
                    <a:lnTo>
                      <a:pt x="201" y="238"/>
                    </a:lnTo>
                    <a:lnTo>
                      <a:pt x="192" y="233"/>
                    </a:lnTo>
                    <a:lnTo>
                      <a:pt x="188" y="231"/>
                    </a:lnTo>
                    <a:lnTo>
                      <a:pt x="188" y="230"/>
                    </a:lnTo>
                    <a:lnTo>
                      <a:pt x="183" y="226"/>
                    </a:lnTo>
                    <a:lnTo>
                      <a:pt x="179" y="226"/>
                    </a:lnTo>
                    <a:lnTo>
                      <a:pt x="179" y="228"/>
                    </a:lnTo>
                    <a:lnTo>
                      <a:pt x="171" y="230"/>
                    </a:lnTo>
                    <a:lnTo>
                      <a:pt x="168" y="231"/>
                    </a:lnTo>
                    <a:lnTo>
                      <a:pt x="164" y="231"/>
                    </a:lnTo>
                    <a:lnTo>
                      <a:pt x="163" y="235"/>
                    </a:lnTo>
                    <a:lnTo>
                      <a:pt x="159" y="235"/>
                    </a:lnTo>
                    <a:lnTo>
                      <a:pt x="154" y="231"/>
                    </a:lnTo>
                    <a:lnTo>
                      <a:pt x="149" y="225"/>
                    </a:lnTo>
                    <a:lnTo>
                      <a:pt x="148" y="223"/>
                    </a:lnTo>
                    <a:lnTo>
                      <a:pt x="139" y="220"/>
                    </a:lnTo>
                    <a:lnTo>
                      <a:pt x="136" y="220"/>
                    </a:lnTo>
                    <a:lnTo>
                      <a:pt x="133" y="218"/>
                    </a:lnTo>
                    <a:lnTo>
                      <a:pt x="126" y="216"/>
                    </a:lnTo>
                    <a:lnTo>
                      <a:pt x="124" y="216"/>
                    </a:lnTo>
                    <a:lnTo>
                      <a:pt x="119" y="216"/>
                    </a:lnTo>
                    <a:lnTo>
                      <a:pt x="118" y="218"/>
                    </a:lnTo>
                    <a:lnTo>
                      <a:pt x="109" y="218"/>
                    </a:lnTo>
                    <a:lnTo>
                      <a:pt x="108" y="218"/>
                    </a:lnTo>
                    <a:lnTo>
                      <a:pt x="104" y="218"/>
                    </a:lnTo>
                    <a:lnTo>
                      <a:pt x="99" y="218"/>
                    </a:lnTo>
                    <a:lnTo>
                      <a:pt x="98" y="220"/>
                    </a:lnTo>
                    <a:lnTo>
                      <a:pt x="94" y="221"/>
                    </a:lnTo>
                    <a:lnTo>
                      <a:pt x="90" y="225"/>
                    </a:lnTo>
                    <a:lnTo>
                      <a:pt x="90" y="226"/>
                    </a:lnTo>
                    <a:lnTo>
                      <a:pt x="90" y="230"/>
                    </a:lnTo>
                    <a:lnTo>
                      <a:pt x="90" y="230"/>
                    </a:lnTo>
                    <a:lnTo>
                      <a:pt x="88" y="231"/>
                    </a:lnTo>
                    <a:lnTo>
                      <a:pt x="90" y="236"/>
                    </a:lnTo>
                    <a:lnTo>
                      <a:pt x="91" y="238"/>
                    </a:lnTo>
                    <a:lnTo>
                      <a:pt x="91" y="241"/>
                    </a:lnTo>
                    <a:lnTo>
                      <a:pt x="86" y="241"/>
                    </a:lnTo>
                    <a:lnTo>
                      <a:pt x="81" y="246"/>
                    </a:lnTo>
                    <a:lnTo>
                      <a:pt x="83" y="248"/>
                    </a:lnTo>
                    <a:lnTo>
                      <a:pt x="81" y="249"/>
                    </a:lnTo>
                    <a:lnTo>
                      <a:pt x="85" y="256"/>
                    </a:lnTo>
                    <a:lnTo>
                      <a:pt x="86" y="256"/>
                    </a:lnTo>
                    <a:lnTo>
                      <a:pt x="88" y="259"/>
                    </a:lnTo>
                    <a:lnTo>
                      <a:pt x="8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7" name="Freeform 120"/>
              <p:cNvSpPr>
                <a:spLocks/>
              </p:cNvSpPr>
              <p:nvPr/>
            </p:nvSpPr>
            <p:spPr bwMode="auto">
              <a:xfrm>
                <a:off x="6454613" y="3109926"/>
                <a:ext cx="148764" cy="111022"/>
              </a:xfrm>
              <a:custGeom>
                <a:avLst/>
                <a:gdLst/>
                <a:ahLst/>
                <a:cxnLst>
                  <a:cxn ang="0">
                    <a:pos x="261" y="14"/>
                  </a:cxn>
                  <a:cxn ang="0">
                    <a:pos x="244" y="7"/>
                  </a:cxn>
                  <a:cxn ang="0">
                    <a:pos x="237" y="10"/>
                  </a:cxn>
                  <a:cxn ang="0">
                    <a:pos x="228" y="15"/>
                  </a:cxn>
                  <a:cxn ang="0">
                    <a:pos x="218" y="17"/>
                  </a:cxn>
                  <a:cxn ang="0">
                    <a:pos x="191" y="12"/>
                  </a:cxn>
                  <a:cxn ang="0">
                    <a:pos x="169" y="15"/>
                  </a:cxn>
                  <a:cxn ang="0">
                    <a:pos x="153" y="25"/>
                  </a:cxn>
                  <a:cxn ang="0">
                    <a:pos x="129" y="17"/>
                  </a:cxn>
                  <a:cxn ang="0">
                    <a:pos x="120" y="10"/>
                  </a:cxn>
                  <a:cxn ang="0">
                    <a:pos x="108" y="14"/>
                  </a:cxn>
                  <a:cxn ang="0">
                    <a:pos x="100" y="19"/>
                  </a:cxn>
                  <a:cxn ang="0">
                    <a:pos x="86" y="9"/>
                  </a:cxn>
                  <a:cxn ang="0">
                    <a:pos x="73" y="4"/>
                  </a:cxn>
                  <a:cxn ang="0">
                    <a:pos x="61" y="0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7" y="9"/>
                  </a:cxn>
                  <a:cxn ang="0">
                    <a:pos x="27" y="14"/>
                  </a:cxn>
                  <a:cxn ang="0">
                    <a:pos x="28" y="22"/>
                  </a:cxn>
                  <a:cxn ang="0">
                    <a:pos x="18" y="30"/>
                  </a:cxn>
                  <a:cxn ang="0">
                    <a:pos x="22" y="40"/>
                  </a:cxn>
                  <a:cxn ang="0">
                    <a:pos x="20" y="45"/>
                  </a:cxn>
                  <a:cxn ang="0">
                    <a:pos x="27" y="58"/>
                  </a:cxn>
                  <a:cxn ang="0">
                    <a:pos x="28" y="75"/>
                  </a:cxn>
                  <a:cxn ang="0">
                    <a:pos x="20" y="80"/>
                  </a:cxn>
                  <a:cxn ang="0">
                    <a:pos x="22" y="87"/>
                  </a:cxn>
                  <a:cxn ang="0">
                    <a:pos x="13" y="98"/>
                  </a:cxn>
                  <a:cxn ang="0">
                    <a:pos x="7" y="103"/>
                  </a:cxn>
                  <a:cxn ang="0">
                    <a:pos x="0" y="112"/>
                  </a:cxn>
                  <a:cxn ang="0">
                    <a:pos x="0" y="122"/>
                  </a:cxn>
                  <a:cxn ang="0">
                    <a:pos x="2" y="128"/>
                  </a:cxn>
                  <a:cxn ang="0">
                    <a:pos x="2" y="143"/>
                  </a:cxn>
                  <a:cxn ang="0">
                    <a:pos x="2" y="161"/>
                  </a:cxn>
                  <a:cxn ang="0">
                    <a:pos x="18" y="165"/>
                  </a:cxn>
                  <a:cxn ang="0">
                    <a:pos x="53" y="191"/>
                  </a:cxn>
                  <a:cxn ang="0">
                    <a:pos x="58" y="208"/>
                  </a:cxn>
                  <a:cxn ang="0">
                    <a:pos x="96" y="215"/>
                  </a:cxn>
                  <a:cxn ang="0">
                    <a:pos x="116" y="210"/>
                  </a:cxn>
                  <a:cxn ang="0">
                    <a:pos x="128" y="203"/>
                  </a:cxn>
                  <a:cxn ang="0">
                    <a:pos x="134" y="206"/>
                  </a:cxn>
                  <a:cxn ang="0">
                    <a:pos x="144" y="191"/>
                  </a:cxn>
                  <a:cxn ang="0">
                    <a:pos x="146" y="180"/>
                  </a:cxn>
                  <a:cxn ang="0">
                    <a:pos x="154" y="171"/>
                  </a:cxn>
                  <a:cxn ang="0">
                    <a:pos x="163" y="160"/>
                  </a:cxn>
                  <a:cxn ang="0">
                    <a:pos x="171" y="155"/>
                  </a:cxn>
                  <a:cxn ang="0">
                    <a:pos x="181" y="156"/>
                  </a:cxn>
                  <a:cxn ang="0">
                    <a:pos x="193" y="166"/>
                  </a:cxn>
                  <a:cxn ang="0">
                    <a:pos x="204" y="160"/>
                  </a:cxn>
                  <a:cxn ang="0">
                    <a:pos x="209" y="155"/>
                  </a:cxn>
                  <a:cxn ang="0">
                    <a:pos x="214" y="141"/>
                  </a:cxn>
                  <a:cxn ang="0">
                    <a:pos x="221" y="128"/>
                  </a:cxn>
                  <a:cxn ang="0">
                    <a:pos x="236" y="117"/>
                  </a:cxn>
                  <a:cxn ang="0">
                    <a:pos x="236" y="102"/>
                  </a:cxn>
                  <a:cxn ang="0">
                    <a:pos x="251" y="92"/>
                  </a:cxn>
                  <a:cxn ang="0">
                    <a:pos x="251" y="78"/>
                  </a:cxn>
                  <a:cxn ang="0">
                    <a:pos x="261" y="65"/>
                  </a:cxn>
                  <a:cxn ang="0">
                    <a:pos x="269" y="60"/>
                  </a:cxn>
                  <a:cxn ang="0">
                    <a:pos x="277" y="52"/>
                  </a:cxn>
                  <a:cxn ang="0">
                    <a:pos x="274" y="40"/>
                  </a:cxn>
                  <a:cxn ang="0">
                    <a:pos x="267" y="28"/>
                  </a:cxn>
                  <a:cxn ang="0">
                    <a:pos x="266" y="19"/>
                  </a:cxn>
                </a:cxnLst>
                <a:rect l="0" t="0" r="r" b="b"/>
                <a:pathLst>
                  <a:path w="277" h="215">
                    <a:moveTo>
                      <a:pt x="266" y="19"/>
                    </a:moveTo>
                    <a:lnTo>
                      <a:pt x="264" y="19"/>
                    </a:lnTo>
                    <a:lnTo>
                      <a:pt x="261" y="14"/>
                    </a:lnTo>
                    <a:lnTo>
                      <a:pt x="256" y="7"/>
                    </a:lnTo>
                    <a:lnTo>
                      <a:pt x="247" y="4"/>
                    </a:lnTo>
                    <a:lnTo>
                      <a:pt x="244" y="7"/>
                    </a:lnTo>
                    <a:lnTo>
                      <a:pt x="244" y="10"/>
                    </a:lnTo>
                    <a:lnTo>
                      <a:pt x="241" y="12"/>
                    </a:lnTo>
                    <a:lnTo>
                      <a:pt x="237" y="10"/>
                    </a:lnTo>
                    <a:lnTo>
                      <a:pt x="234" y="10"/>
                    </a:lnTo>
                    <a:lnTo>
                      <a:pt x="232" y="14"/>
                    </a:lnTo>
                    <a:lnTo>
                      <a:pt x="228" y="15"/>
                    </a:lnTo>
                    <a:lnTo>
                      <a:pt x="226" y="19"/>
                    </a:lnTo>
                    <a:lnTo>
                      <a:pt x="223" y="20"/>
                    </a:lnTo>
                    <a:lnTo>
                      <a:pt x="218" y="17"/>
                    </a:lnTo>
                    <a:lnTo>
                      <a:pt x="211" y="17"/>
                    </a:lnTo>
                    <a:lnTo>
                      <a:pt x="203" y="14"/>
                    </a:lnTo>
                    <a:lnTo>
                      <a:pt x="191" y="12"/>
                    </a:lnTo>
                    <a:lnTo>
                      <a:pt x="186" y="14"/>
                    </a:lnTo>
                    <a:lnTo>
                      <a:pt x="174" y="14"/>
                    </a:lnTo>
                    <a:lnTo>
                      <a:pt x="169" y="15"/>
                    </a:lnTo>
                    <a:lnTo>
                      <a:pt x="163" y="22"/>
                    </a:lnTo>
                    <a:lnTo>
                      <a:pt x="156" y="27"/>
                    </a:lnTo>
                    <a:lnTo>
                      <a:pt x="153" y="25"/>
                    </a:lnTo>
                    <a:lnTo>
                      <a:pt x="143" y="22"/>
                    </a:lnTo>
                    <a:lnTo>
                      <a:pt x="138" y="22"/>
                    </a:lnTo>
                    <a:lnTo>
                      <a:pt x="129" y="17"/>
                    </a:lnTo>
                    <a:lnTo>
                      <a:pt x="125" y="15"/>
                    </a:lnTo>
                    <a:lnTo>
                      <a:pt x="125" y="14"/>
                    </a:lnTo>
                    <a:lnTo>
                      <a:pt x="120" y="10"/>
                    </a:lnTo>
                    <a:lnTo>
                      <a:pt x="116" y="10"/>
                    </a:lnTo>
                    <a:lnTo>
                      <a:pt x="116" y="12"/>
                    </a:lnTo>
                    <a:lnTo>
                      <a:pt x="108" y="14"/>
                    </a:lnTo>
                    <a:lnTo>
                      <a:pt x="105" y="15"/>
                    </a:lnTo>
                    <a:lnTo>
                      <a:pt x="101" y="15"/>
                    </a:lnTo>
                    <a:lnTo>
                      <a:pt x="100" y="19"/>
                    </a:lnTo>
                    <a:lnTo>
                      <a:pt x="96" y="19"/>
                    </a:lnTo>
                    <a:lnTo>
                      <a:pt x="91" y="15"/>
                    </a:lnTo>
                    <a:lnTo>
                      <a:pt x="86" y="9"/>
                    </a:lnTo>
                    <a:lnTo>
                      <a:pt x="85" y="7"/>
                    </a:lnTo>
                    <a:lnTo>
                      <a:pt x="76" y="4"/>
                    </a:lnTo>
                    <a:lnTo>
                      <a:pt x="73" y="4"/>
                    </a:lnTo>
                    <a:lnTo>
                      <a:pt x="70" y="2"/>
                    </a:lnTo>
                    <a:lnTo>
                      <a:pt x="63" y="0"/>
                    </a:lnTo>
                    <a:lnTo>
                      <a:pt x="61" y="0"/>
                    </a:lnTo>
                    <a:lnTo>
                      <a:pt x="56" y="0"/>
                    </a:lnTo>
                    <a:lnTo>
                      <a:pt x="55" y="2"/>
                    </a:lnTo>
                    <a:lnTo>
                      <a:pt x="46" y="2"/>
                    </a:lnTo>
                    <a:lnTo>
                      <a:pt x="45" y="2"/>
                    </a:lnTo>
                    <a:lnTo>
                      <a:pt x="41" y="2"/>
                    </a:lnTo>
                    <a:lnTo>
                      <a:pt x="36" y="2"/>
                    </a:lnTo>
                    <a:lnTo>
                      <a:pt x="35" y="4"/>
                    </a:lnTo>
                    <a:lnTo>
                      <a:pt x="31" y="5"/>
                    </a:lnTo>
                    <a:lnTo>
                      <a:pt x="27" y="9"/>
                    </a:lnTo>
                    <a:lnTo>
                      <a:pt x="27" y="10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5" y="15"/>
                    </a:lnTo>
                    <a:lnTo>
                      <a:pt x="27" y="20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3" y="25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18" y="33"/>
                    </a:lnTo>
                    <a:lnTo>
                      <a:pt x="22" y="40"/>
                    </a:lnTo>
                    <a:lnTo>
                      <a:pt x="23" y="40"/>
                    </a:lnTo>
                    <a:lnTo>
                      <a:pt x="25" y="43"/>
                    </a:lnTo>
                    <a:lnTo>
                      <a:pt x="20" y="45"/>
                    </a:lnTo>
                    <a:lnTo>
                      <a:pt x="18" y="50"/>
                    </a:lnTo>
                    <a:lnTo>
                      <a:pt x="20" y="53"/>
                    </a:lnTo>
                    <a:lnTo>
                      <a:pt x="27" y="58"/>
                    </a:lnTo>
                    <a:lnTo>
                      <a:pt x="27" y="63"/>
                    </a:lnTo>
                    <a:lnTo>
                      <a:pt x="30" y="72"/>
                    </a:lnTo>
                    <a:lnTo>
                      <a:pt x="28" y="75"/>
                    </a:lnTo>
                    <a:lnTo>
                      <a:pt x="23" y="75"/>
                    </a:lnTo>
                    <a:lnTo>
                      <a:pt x="22" y="77"/>
                    </a:lnTo>
                    <a:lnTo>
                      <a:pt x="20" y="80"/>
                    </a:lnTo>
                    <a:lnTo>
                      <a:pt x="27" y="85"/>
                    </a:lnTo>
                    <a:lnTo>
                      <a:pt x="25" y="87"/>
                    </a:lnTo>
                    <a:lnTo>
                      <a:pt x="22" y="87"/>
                    </a:lnTo>
                    <a:lnTo>
                      <a:pt x="18" y="88"/>
                    </a:lnTo>
                    <a:lnTo>
                      <a:pt x="17" y="92"/>
                    </a:lnTo>
                    <a:lnTo>
                      <a:pt x="13" y="98"/>
                    </a:lnTo>
                    <a:lnTo>
                      <a:pt x="12" y="102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2" y="105"/>
                    </a:lnTo>
                    <a:lnTo>
                      <a:pt x="0" y="108"/>
                    </a:lnTo>
                    <a:lnTo>
                      <a:pt x="0" y="112"/>
                    </a:lnTo>
                    <a:lnTo>
                      <a:pt x="0" y="115"/>
                    </a:lnTo>
                    <a:lnTo>
                      <a:pt x="0" y="120"/>
                    </a:lnTo>
                    <a:lnTo>
                      <a:pt x="0" y="122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2" y="128"/>
                    </a:lnTo>
                    <a:lnTo>
                      <a:pt x="2" y="130"/>
                    </a:lnTo>
                    <a:lnTo>
                      <a:pt x="0" y="133"/>
                    </a:lnTo>
                    <a:lnTo>
                      <a:pt x="2" y="143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2" y="161"/>
                    </a:lnTo>
                    <a:lnTo>
                      <a:pt x="2" y="165"/>
                    </a:lnTo>
                    <a:lnTo>
                      <a:pt x="12" y="166"/>
                    </a:lnTo>
                    <a:lnTo>
                      <a:pt x="18" y="165"/>
                    </a:lnTo>
                    <a:lnTo>
                      <a:pt x="36" y="173"/>
                    </a:lnTo>
                    <a:lnTo>
                      <a:pt x="46" y="181"/>
                    </a:lnTo>
                    <a:lnTo>
                      <a:pt x="53" y="191"/>
                    </a:lnTo>
                    <a:lnTo>
                      <a:pt x="53" y="200"/>
                    </a:lnTo>
                    <a:lnTo>
                      <a:pt x="56" y="200"/>
                    </a:lnTo>
                    <a:lnTo>
                      <a:pt x="58" y="208"/>
                    </a:lnTo>
                    <a:lnTo>
                      <a:pt x="65" y="213"/>
                    </a:lnTo>
                    <a:lnTo>
                      <a:pt x="73" y="215"/>
                    </a:lnTo>
                    <a:lnTo>
                      <a:pt x="96" y="215"/>
                    </a:lnTo>
                    <a:lnTo>
                      <a:pt x="101" y="211"/>
                    </a:lnTo>
                    <a:lnTo>
                      <a:pt x="105" y="213"/>
                    </a:lnTo>
                    <a:lnTo>
                      <a:pt x="116" y="210"/>
                    </a:lnTo>
                    <a:lnTo>
                      <a:pt x="120" y="211"/>
                    </a:lnTo>
                    <a:lnTo>
                      <a:pt x="126" y="210"/>
                    </a:lnTo>
                    <a:lnTo>
                      <a:pt x="128" y="203"/>
                    </a:lnTo>
                    <a:lnTo>
                      <a:pt x="133" y="208"/>
                    </a:lnTo>
                    <a:lnTo>
                      <a:pt x="134" y="206"/>
                    </a:lnTo>
                    <a:lnTo>
                      <a:pt x="134" y="206"/>
                    </a:lnTo>
                    <a:lnTo>
                      <a:pt x="134" y="205"/>
                    </a:lnTo>
                    <a:lnTo>
                      <a:pt x="141" y="198"/>
                    </a:lnTo>
                    <a:lnTo>
                      <a:pt x="144" y="191"/>
                    </a:lnTo>
                    <a:lnTo>
                      <a:pt x="143" y="186"/>
                    </a:lnTo>
                    <a:lnTo>
                      <a:pt x="143" y="181"/>
                    </a:lnTo>
                    <a:lnTo>
                      <a:pt x="146" y="180"/>
                    </a:lnTo>
                    <a:lnTo>
                      <a:pt x="146" y="176"/>
                    </a:lnTo>
                    <a:lnTo>
                      <a:pt x="149" y="173"/>
                    </a:lnTo>
                    <a:lnTo>
                      <a:pt x="154" y="171"/>
                    </a:lnTo>
                    <a:lnTo>
                      <a:pt x="156" y="170"/>
                    </a:lnTo>
                    <a:lnTo>
                      <a:pt x="163" y="165"/>
                    </a:lnTo>
                    <a:lnTo>
                      <a:pt x="163" y="160"/>
                    </a:lnTo>
                    <a:lnTo>
                      <a:pt x="164" y="158"/>
                    </a:lnTo>
                    <a:lnTo>
                      <a:pt x="169" y="156"/>
                    </a:lnTo>
                    <a:lnTo>
                      <a:pt x="171" y="155"/>
                    </a:lnTo>
                    <a:lnTo>
                      <a:pt x="173" y="155"/>
                    </a:lnTo>
                    <a:lnTo>
                      <a:pt x="179" y="158"/>
                    </a:lnTo>
                    <a:lnTo>
                      <a:pt x="181" y="156"/>
                    </a:lnTo>
                    <a:lnTo>
                      <a:pt x="186" y="160"/>
                    </a:lnTo>
                    <a:lnTo>
                      <a:pt x="189" y="163"/>
                    </a:lnTo>
                    <a:lnTo>
                      <a:pt x="193" y="166"/>
                    </a:lnTo>
                    <a:lnTo>
                      <a:pt x="196" y="168"/>
                    </a:lnTo>
                    <a:lnTo>
                      <a:pt x="201" y="165"/>
                    </a:lnTo>
                    <a:lnTo>
                      <a:pt x="204" y="160"/>
                    </a:lnTo>
                    <a:lnTo>
                      <a:pt x="204" y="158"/>
                    </a:lnTo>
                    <a:lnTo>
                      <a:pt x="206" y="155"/>
                    </a:lnTo>
                    <a:lnTo>
                      <a:pt x="209" y="155"/>
                    </a:lnTo>
                    <a:lnTo>
                      <a:pt x="213" y="150"/>
                    </a:lnTo>
                    <a:lnTo>
                      <a:pt x="213" y="146"/>
                    </a:lnTo>
                    <a:lnTo>
                      <a:pt x="214" y="141"/>
                    </a:lnTo>
                    <a:lnTo>
                      <a:pt x="223" y="135"/>
                    </a:lnTo>
                    <a:lnTo>
                      <a:pt x="223" y="131"/>
                    </a:lnTo>
                    <a:lnTo>
                      <a:pt x="221" y="128"/>
                    </a:lnTo>
                    <a:lnTo>
                      <a:pt x="224" y="125"/>
                    </a:lnTo>
                    <a:lnTo>
                      <a:pt x="231" y="120"/>
                    </a:lnTo>
                    <a:lnTo>
                      <a:pt x="236" y="117"/>
                    </a:lnTo>
                    <a:lnTo>
                      <a:pt x="236" y="112"/>
                    </a:lnTo>
                    <a:lnTo>
                      <a:pt x="237" y="108"/>
                    </a:lnTo>
                    <a:lnTo>
                      <a:pt x="236" y="102"/>
                    </a:lnTo>
                    <a:lnTo>
                      <a:pt x="239" y="98"/>
                    </a:lnTo>
                    <a:lnTo>
                      <a:pt x="246" y="97"/>
                    </a:lnTo>
                    <a:lnTo>
                      <a:pt x="251" y="92"/>
                    </a:lnTo>
                    <a:lnTo>
                      <a:pt x="251" y="87"/>
                    </a:lnTo>
                    <a:lnTo>
                      <a:pt x="251" y="82"/>
                    </a:lnTo>
                    <a:lnTo>
                      <a:pt x="251" y="78"/>
                    </a:lnTo>
                    <a:lnTo>
                      <a:pt x="254" y="73"/>
                    </a:lnTo>
                    <a:lnTo>
                      <a:pt x="257" y="67"/>
                    </a:lnTo>
                    <a:lnTo>
                      <a:pt x="261" y="65"/>
                    </a:lnTo>
                    <a:lnTo>
                      <a:pt x="261" y="63"/>
                    </a:lnTo>
                    <a:lnTo>
                      <a:pt x="266" y="60"/>
                    </a:lnTo>
                    <a:lnTo>
                      <a:pt x="269" y="60"/>
                    </a:lnTo>
                    <a:lnTo>
                      <a:pt x="271" y="57"/>
                    </a:lnTo>
                    <a:lnTo>
                      <a:pt x="277" y="53"/>
                    </a:lnTo>
                    <a:lnTo>
                      <a:pt x="277" y="52"/>
                    </a:lnTo>
                    <a:lnTo>
                      <a:pt x="276" y="45"/>
                    </a:lnTo>
                    <a:lnTo>
                      <a:pt x="276" y="43"/>
                    </a:lnTo>
                    <a:lnTo>
                      <a:pt x="274" y="40"/>
                    </a:lnTo>
                    <a:lnTo>
                      <a:pt x="269" y="38"/>
                    </a:lnTo>
                    <a:lnTo>
                      <a:pt x="267" y="35"/>
                    </a:lnTo>
                    <a:lnTo>
                      <a:pt x="267" y="28"/>
                    </a:lnTo>
                    <a:lnTo>
                      <a:pt x="267" y="25"/>
                    </a:lnTo>
                    <a:lnTo>
                      <a:pt x="266" y="19"/>
                    </a:lnTo>
                    <a:lnTo>
                      <a:pt x="266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8" name="Freeform 121"/>
              <p:cNvSpPr>
                <a:spLocks/>
              </p:cNvSpPr>
              <p:nvPr/>
            </p:nvSpPr>
            <p:spPr bwMode="auto">
              <a:xfrm>
                <a:off x="6498494" y="3265564"/>
                <a:ext cx="4281" cy="4150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9" y="2"/>
                  </a:cxn>
                  <a:cxn ang="0">
                    <a:pos x="7" y="5"/>
                  </a:cxn>
                  <a:cxn ang="0">
                    <a:pos x="4" y="7"/>
                  </a:cxn>
                  <a:cxn ang="0">
                    <a:pos x="2" y="7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9" y="2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79" name="Freeform 122"/>
              <p:cNvSpPr>
                <a:spLocks/>
              </p:cNvSpPr>
              <p:nvPr/>
            </p:nvSpPr>
            <p:spPr bwMode="auto">
              <a:xfrm>
                <a:off x="6523109" y="3225098"/>
                <a:ext cx="7491" cy="9339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10"/>
                  </a:cxn>
                  <a:cxn ang="0">
                    <a:pos x="3" y="10"/>
                  </a:cxn>
                  <a:cxn ang="0">
                    <a:pos x="5" y="5"/>
                  </a:cxn>
                  <a:cxn ang="0">
                    <a:pos x="10" y="0"/>
                  </a:cxn>
                  <a:cxn ang="0">
                    <a:pos x="11" y="1"/>
                  </a:cxn>
                  <a:cxn ang="0">
                    <a:pos x="13" y="8"/>
                  </a:cxn>
                  <a:cxn ang="0">
                    <a:pos x="10" y="16"/>
                  </a:cxn>
                  <a:cxn ang="0">
                    <a:pos x="5" y="16"/>
                  </a:cxn>
                  <a:cxn ang="0">
                    <a:pos x="0" y="13"/>
                  </a:cxn>
                </a:cxnLst>
                <a:rect l="0" t="0" r="r" b="b"/>
                <a:pathLst>
                  <a:path w="13" h="16">
                    <a:moveTo>
                      <a:pt x="0" y="13"/>
                    </a:moveTo>
                    <a:lnTo>
                      <a:pt x="0" y="10"/>
                    </a:lnTo>
                    <a:lnTo>
                      <a:pt x="3" y="10"/>
                    </a:lnTo>
                    <a:lnTo>
                      <a:pt x="5" y="5"/>
                    </a:lnTo>
                    <a:lnTo>
                      <a:pt x="10" y="0"/>
                    </a:lnTo>
                    <a:lnTo>
                      <a:pt x="11" y="1"/>
                    </a:lnTo>
                    <a:lnTo>
                      <a:pt x="13" y="8"/>
                    </a:lnTo>
                    <a:lnTo>
                      <a:pt x="10" y="16"/>
                    </a:lnTo>
                    <a:lnTo>
                      <a:pt x="5" y="16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0" name="Freeform 123"/>
              <p:cNvSpPr>
                <a:spLocks/>
              </p:cNvSpPr>
              <p:nvPr/>
            </p:nvSpPr>
            <p:spPr bwMode="auto">
              <a:xfrm>
                <a:off x="6527390" y="3119264"/>
                <a:ext cx="98463" cy="130736"/>
              </a:xfrm>
              <a:custGeom>
                <a:avLst/>
                <a:gdLst/>
                <a:ahLst/>
                <a:cxnLst>
                  <a:cxn ang="0">
                    <a:pos x="7" y="179"/>
                  </a:cxn>
                  <a:cxn ang="0">
                    <a:pos x="9" y="162"/>
                  </a:cxn>
                  <a:cxn ang="0">
                    <a:pos x="15" y="154"/>
                  </a:cxn>
                  <a:cxn ang="0">
                    <a:pos x="29" y="146"/>
                  </a:cxn>
                  <a:cxn ang="0">
                    <a:pos x="35" y="137"/>
                  </a:cxn>
                  <a:cxn ang="0">
                    <a:pos x="45" y="139"/>
                  </a:cxn>
                  <a:cxn ang="0">
                    <a:pos x="55" y="144"/>
                  </a:cxn>
                  <a:cxn ang="0">
                    <a:pos x="67" y="146"/>
                  </a:cxn>
                  <a:cxn ang="0">
                    <a:pos x="72" y="136"/>
                  </a:cxn>
                  <a:cxn ang="0">
                    <a:pos x="79" y="127"/>
                  </a:cxn>
                  <a:cxn ang="0">
                    <a:pos x="89" y="112"/>
                  </a:cxn>
                  <a:cxn ang="0">
                    <a:pos x="97" y="101"/>
                  </a:cxn>
                  <a:cxn ang="0">
                    <a:pos x="103" y="89"/>
                  </a:cxn>
                  <a:cxn ang="0">
                    <a:pos x="112" y="78"/>
                  </a:cxn>
                  <a:cxn ang="0">
                    <a:pos x="117" y="63"/>
                  </a:cxn>
                  <a:cxn ang="0">
                    <a:pos x="123" y="48"/>
                  </a:cxn>
                  <a:cxn ang="0">
                    <a:pos x="132" y="41"/>
                  </a:cxn>
                  <a:cxn ang="0">
                    <a:pos x="143" y="34"/>
                  </a:cxn>
                  <a:cxn ang="0">
                    <a:pos x="142" y="24"/>
                  </a:cxn>
                  <a:cxn ang="0">
                    <a:pos x="133" y="16"/>
                  </a:cxn>
                  <a:cxn ang="0">
                    <a:pos x="132" y="0"/>
                  </a:cxn>
                  <a:cxn ang="0">
                    <a:pos x="150" y="16"/>
                  </a:cxn>
                  <a:cxn ang="0">
                    <a:pos x="155" y="28"/>
                  </a:cxn>
                  <a:cxn ang="0">
                    <a:pos x="153" y="36"/>
                  </a:cxn>
                  <a:cxn ang="0">
                    <a:pos x="152" y="46"/>
                  </a:cxn>
                  <a:cxn ang="0">
                    <a:pos x="160" y="58"/>
                  </a:cxn>
                  <a:cxn ang="0">
                    <a:pos x="170" y="69"/>
                  </a:cxn>
                  <a:cxn ang="0">
                    <a:pos x="162" y="68"/>
                  </a:cxn>
                  <a:cxn ang="0">
                    <a:pos x="150" y="68"/>
                  </a:cxn>
                  <a:cxn ang="0">
                    <a:pos x="138" y="68"/>
                  </a:cxn>
                  <a:cxn ang="0">
                    <a:pos x="133" y="74"/>
                  </a:cxn>
                  <a:cxn ang="0">
                    <a:pos x="137" y="81"/>
                  </a:cxn>
                  <a:cxn ang="0">
                    <a:pos x="150" y="93"/>
                  </a:cxn>
                  <a:cxn ang="0">
                    <a:pos x="167" y="109"/>
                  </a:cxn>
                  <a:cxn ang="0">
                    <a:pos x="167" y="126"/>
                  </a:cxn>
                  <a:cxn ang="0">
                    <a:pos x="157" y="139"/>
                  </a:cxn>
                  <a:cxn ang="0">
                    <a:pos x="147" y="151"/>
                  </a:cxn>
                  <a:cxn ang="0">
                    <a:pos x="147" y="166"/>
                  </a:cxn>
                  <a:cxn ang="0">
                    <a:pos x="148" y="181"/>
                  </a:cxn>
                  <a:cxn ang="0">
                    <a:pos x="157" y="194"/>
                  </a:cxn>
                  <a:cxn ang="0">
                    <a:pos x="168" y="210"/>
                  </a:cxn>
                  <a:cxn ang="0">
                    <a:pos x="183" y="225"/>
                  </a:cxn>
                  <a:cxn ang="0">
                    <a:pos x="185" y="235"/>
                  </a:cxn>
                  <a:cxn ang="0">
                    <a:pos x="183" y="239"/>
                  </a:cxn>
                  <a:cxn ang="0">
                    <a:pos x="182" y="249"/>
                  </a:cxn>
                  <a:cxn ang="0">
                    <a:pos x="178" y="249"/>
                  </a:cxn>
                  <a:cxn ang="0">
                    <a:pos x="172" y="249"/>
                  </a:cxn>
                  <a:cxn ang="0">
                    <a:pos x="162" y="247"/>
                  </a:cxn>
                  <a:cxn ang="0">
                    <a:pos x="157" y="249"/>
                  </a:cxn>
                  <a:cxn ang="0">
                    <a:pos x="148" y="247"/>
                  </a:cxn>
                  <a:cxn ang="0">
                    <a:pos x="143" y="245"/>
                  </a:cxn>
                  <a:cxn ang="0">
                    <a:pos x="108" y="242"/>
                  </a:cxn>
                  <a:cxn ang="0">
                    <a:pos x="98" y="242"/>
                  </a:cxn>
                  <a:cxn ang="0">
                    <a:pos x="90" y="242"/>
                  </a:cxn>
                  <a:cxn ang="0">
                    <a:pos x="79" y="240"/>
                  </a:cxn>
                  <a:cxn ang="0">
                    <a:pos x="67" y="242"/>
                  </a:cxn>
                  <a:cxn ang="0">
                    <a:pos x="65" y="244"/>
                  </a:cxn>
                  <a:cxn ang="0">
                    <a:pos x="32" y="242"/>
                  </a:cxn>
                  <a:cxn ang="0">
                    <a:pos x="29" y="237"/>
                  </a:cxn>
                  <a:cxn ang="0">
                    <a:pos x="27" y="215"/>
                  </a:cxn>
                  <a:cxn ang="0">
                    <a:pos x="25" y="201"/>
                  </a:cxn>
                  <a:cxn ang="0">
                    <a:pos x="10" y="201"/>
                  </a:cxn>
                  <a:cxn ang="0">
                    <a:pos x="0" y="187"/>
                  </a:cxn>
                </a:cxnLst>
                <a:rect l="0" t="0" r="r" b="b"/>
                <a:pathLst>
                  <a:path w="185" h="250">
                    <a:moveTo>
                      <a:pt x="0" y="187"/>
                    </a:moveTo>
                    <a:lnTo>
                      <a:pt x="0" y="186"/>
                    </a:lnTo>
                    <a:lnTo>
                      <a:pt x="7" y="179"/>
                    </a:lnTo>
                    <a:lnTo>
                      <a:pt x="10" y="172"/>
                    </a:lnTo>
                    <a:lnTo>
                      <a:pt x="9" y="167"/>
                    </a:lnTo>
                    <a:lnTo>
                      <a:pt x="9" y="162"/>
                    </a:lnTo>
                    <a:lnTo>
                      <a:pt x="12" y="161"/>
                    </a:lnTo>
                    <a:lnTo>
                      <a:pt x="12" y="157"/>
                    </a:lnTo>
                    <a:lnTo>
                      <a:pt x="15" y="154"/>
                    </a:lnTo>
                    <a:lnTo>
                      <a:pt x="20" y="152"/>
                    </a:lnTo>
                    <a:lnTo>
                      <a:pt x="22" y="151"/>
                    </a:lnTo>
                    <a:lnTo>
                      <a:pt x="29" y="146"/>
                    </a:lnTo>
                    <a:lnTo>
                      <a:pt x="29" y="141"/>
                    </a:lnTo>
                    <a:lnTo>
                      <a:pt x="30" y="139"/>
                    </a:lnTo>
                    <a:lnTo>
                      <a:pt x="35" y="137"/>
                    </a:lnTo>
                    <a:lnTo>
                      <a:pt x="37" y="136"/>
                    </a:lnTo>
                    <a:lnTo>
                      <a:pt x="39" y="136"/>
                    </a:lnTo>
                    <a:lnTo>
                      <a:pt x="45" y="139"/>
                    </a:lnTo>
                    <a:lnTo>
                      <a:pt x="47" y="137"/>
                    </a:lnTo>
                    <a:lnTo>
                      <a:pt x="52" y="141"/>
                    </a:lnTo>
                    <a:lnTo>
                      <a:pt x="55" y="144"/>
                    </a:lnTo>
                    <a:lnTo>
                      <a:pt x="59" y="147"/>
                    </a:lnTo>
                    <a:lnTo>
                      <a:pt x="62" y="149"/>
                    </a:lnTo>
                    <a:lnTo>
                      <a:pt x="67" y="146"/>
                    </a:lnTo>
                    <a:lnTo>
                      <a:pt x="70" y="141"/>
                    </a:lnTo>
                    <a:lnTo>
                      <a:pt x="70" y="139"/>
                    </a:lnTo>
                    <a:lnTo>
                      <a:pt x="72" y="136"/>
                    </a:lnTo>
                    <a:lnTo>
                      <a:pt x="75" y="136"/>
                    </a:lnTo>
                    <a:lnTo>
                      <a:pt x="79" y="131"/>
                    </a:lnTo>
                    <a:lnTo>
                      <a:pt x="79" y="127"/>
                    </a:lnTo>
                    <a:lnTo>
                      <a:pt x="80" y="122"/>
                    </a:lnTo>
                    <a:lnTo>
                      <a:pt x="89" y="116"/>
                    </a:lnTo>
                    <a:lnTo>
                      <a:pt x="89" y="112"/>
                    </a:lnTo>
                    <a:lnTo>
                      <a:pt x="87" y="109"/>
                    </a:lnTo>
                    <a:lnTo>
                      <a:pt x="90" y="106"/>
                    </a:lnTo>
                    <a:lnTo>
                      <a:pt x="97" y="101"/>
                    </a:lnTo>
                    <a:lnTo>
                      <a:pt x="102" y="98"/>
                    </a:lnTo>
                    <a:lnTo>
                      <a:pt x="102" y="93"/>
                    </a:lnTo>
                    <a:lnTo>
                      <a:pt x="103" y="89"/>
                    </a:lnTo>
                    <a:lnTo>
                      <a:pt x="102" y="83"/>
                    </a:lnTo>
                    <a:lnTo>
                      <a:pt x="105" y="79"/>
                    </a:lnTo>
                    <a:lnTo>
                      <a:pt x="112" y="78"/>
                    </a:lnTo>
                    <a:lnTo>
                      <a:pt x="117" y="73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20" y="54"/>
                    </a:lnTo>
                    <a:lnTo>
                      <a:pt x="123" y="48"/>
                    </a:lnTo>
                    <a:lnTo>
                      <a:pt x="127" y="46"/>
                    </a:lnTo>
                    <a:lnTo>
                      <a:pt x="127" y="44"/>
                    </a:lnTo>
                    <a:lnTo>
                      <a:pt x="132" y="41"/>
                    </a:lnTo>
                    <a:lnTo>
                      <a:pt x="135" y="41"/>
                    </a:lnTo>
                    <a:lnTo>
                      <a:pt x="137" y="38"/>
                    </a:lnTo>
                    <a:lnTo>
                      <a:pt x="143" y="34"/>
                    </a:lnTo>
                    <a:lnTo>
                      <a:pt x="143" y="33"/>
                    </a:lnTo>
                    <a:lnTo>
                      <a:pt x="142" y="26"/>
                    </a:lnTo>
                    <a:lnTo>
                      <a:pt x="142" y="24"/>
                    </a:lnTo>
                    <a:lnTo>
                      <a:pt x="140" y="21"/>
                    </a:lnTo>
                    <a:lnTo>
                      <a:pt x="135" y="19"/>
                    </a:lnTo>
                    <a:lnTo>
                      <a:pt x="133" y="16"/>
                    </a:lnTo>
                    <a:lnTo>
                      <a:pt x="133" y="9"/>
                    </a:lnTo>
                    <a:lnTo>
                      <a:pt x="133" y="6"/>
                    </a:lnTo>
                    <a:lnTo>
                      <a:pt x="132" y="0"/>
                    </a:lnTo>
                    <a:lnTo>
                      <a:pt x="143" y="6"/>
                    </a:lnTo>
                    <a:lnTo>
                      <a:pt x="148" y="9"/>
                    </a:lnTo>
                    <a:lnTo>
                      <a:pt x="150" y="16"/>
                    </a:lnTo>
                    <a:lnTo>
                      <a:pt x="152" y="18"/>
                    </a:lnTo>
                    <a:lnTo>
                      <a:pt x="153" y="23"/>
                    </a:lnTo>
                    <a:lnTo>
                      <a:pt x="155" y="28"/>
                    </a:lnTo>
                    <a:lnTo>
                      <a:pt x="155" y="31"/>
                    </a:lnTo>
                    <a:lnTo>
                      <a:pt x="155" y="33"/>
                    </a:lnTo>
                    <a:lnTo>
                      <a:pt x="153" y="36"/>
                    </a:lnTo>
                    <a:lnTo>
                      <a:pt x="157" y="38"/>
                    </a:lnTo>
                    <a:lnTo>
                      <a:pt x="155" y="44"/>
                    </a:lnTo>
                    <a:lnTo>
                      <a:pt x="152" y="46"/>
                    </a:lnTo>
                    <a:lnTo>
                      <a:pt x="152" y="51"/>
                    </a:lnTo>
                    <a:lnTo>
                      <a:pt x="157" y="56"/>
                    </a:lnTo>
                    <a:lnTo>
                      <a:pt x="160" y="58"/>
                    </a:lnTo>
                    <a:lnTo>
                      <a:pt x="162" y="63"/>
                    </a:lnTo>
                    <a:lnTo>
                      <a:pt x="168" y="68"/>
                    </a:lnTo>
                    <a:lnTo>
                      <a:pt x="170" y="69"/>
                    </a:lnTo>
                    <a:lnTo>
                      <a:pt x="168" y="71"/>
                    </a:lnTo>
                    <a:lnTo>
                      <a:pt x="165" y="69"/>
                    </a:lnTo>
                    <a:lnTo>
                      <a:pt x="162" y="68"/>
                    </a:lnTo>
                    <a:lnTo>
                      <a:pt x="157" y="68"/>
                    </a:lnTo>
                    <a:lnTo>
                      <a:pt x="153" y="68"/>
                    </a:lnTo>
                    <a:lnTo>
                      <a:pt x="150" y="68"/>
                    </a:lnTo>
                    <a:lnTo>
                      <a:pt x="145" y="68"/>
                    </a:lnTo>
                    <a:lnTo>
                      <a:pt x="143" y="68"/>
                    </a:lnTo>
                    <a:lnTo>
                      <a:pt x="138" y="68"/>
                    </a:lnTo>
                    <a:lnTo>
                      <a:pt x="135" y="68"/>
                    </a:lnTo>
                    <a:lnTo>
                      <a:pt x="135" y="71"/>
                    </a:lnTo>
                    <a:lnTo>
                      <a:pt x="133" y="74"/>
                    </a:lnTo>
                    <a:lnTo>
                      <a:pt x="133" y="78"/>
                    </a:lnTo>
                    <a:lnTo>
                      <a:pt x="135" y="79"/>
                    </a:lnTo>
                    <a:lnTo>
                      <a:pt x="137" y="81"/>
                    </a:lnTo>
                    <a:lnTo>
                      <a:pt x="137" y="84"/>
                    </a:lnTo>
                    <a:lnTo>
                      <a:pt x="142" y="86"/>
                    </a:lnTo>
                    <a:lnTo>
                      <a:pt x="150" y="93"/>
                    </a:lnTo>
                    <a:lnTo>
                      <a:pt x="158" y="101"/>
                    </a:lnTo>
                    <a:lnTo>
                      <a:pt x="163" y="104"/>
                    </a:lnTo>
                    <a:lnTo>
                      <a:pt x="167" y="109"/>
                    </a:lnTo>
                    <a:lnTo>
                      <a:pt x="170" y="116"/>
                    </a:lnTo>
                    <a:lnTo>
                      <a:pt x="172" y="121"/>
                    </a:lnTo>
                    <a:lnTo>
                      <a:pt x="167" y="126"/>
                    </a:lnTo>
                    <a:lnTo>
                      <a:pt x="163" y="127"/>
                    </a:lnTo>
                    <a:lnTo>
                      <a:pt x="160" y="132"/>
                    </a:lnTo>
                    <a:lnTo>
                      <a:pt x="157" y="139"/>
                    </a:lnTo>
                    <a:lnTo>
                      <a:pt x="153" y="144"/>
                    </a:lnTo>
                    <a:lnTo>
                      <a:pt x="148" y="151"/>
                    </a:lnTo>
                    <a:lnTo>
                      <a:pt x="147" y="151"/>
                    </a:lnTo>
                    <a:lnTo>
                      <a:pt x="143" y="154"/>
                    </a:lnTo>
                    <a:lnTo>
                      <a:pt x="145" y="159"/>
                    </a:lnTo>
                    <a:lnTo>
                      <a:pt x="147" y="166"/>
                    </a:lnTo>
                    <a:lnTo>
                      <a:pt x="145" y="171"/>
                    </a:lnTo>
                    <a:lnTo>
                      <a:pt x="147" y="176"/>
                    </a:lnTo>
                    <a:lnTo>
                      <a:pt x="148" y="181"/>
                    </a:lnTo>
                    <a:lnTo>
                      <a:pt x="148" y="189"/>
                    </a:lnTo>
                    <a:lnTo>
                      <a:pt x="150" y="191"/>
                    </a:lnTo>
                    <a:lnTo>
                      <a:pt x="157" y="194"/>
                    </a:lnTo>
                    <a:lnTo>
                      <a:pt x="162" y="199"/>
                    </a:lnTo>
                    <a:lnTo>
                      <a:pt x="163" y="204"/>
                    </a:lnTo>
                    <a:lnTo>
                      <a:pt x="168" y="210"/>
                    </a:lnTo>
                    <a:lnTo>
                      <a:pt x="172" y="217"/>
                    </a:lnTo>
                    <a:lnTo>
                      <a:pt x="175" y="220"/>
                    </a:lnTo>
                    <a:lnTo>
                      <a:pt x="183" y="225"/>
                    </a:lnTo>
                    <a:lnTo>
                      <a:pt x="183" y="230"/>
                    </a:lnTo>
                    <a:lnTo>
                      <a:pt x="183" y="234"/>
                    </a:lnTo>
                    <a:lnTo>
                      <a:pt x="185" y="235"/>
                    </a:lnTo>
                    <a:lnTo>
                      <a:pt x="185" y="235"/>
                    </a:lnTo>
                    <a:lnTo>
                      <a:pt x="185" y="237"/>
                    </a:lnTo>
                    <a:lnTo>
                      <a:pt x="183" y="239"/>
                    </a:lnTo>
                    <a:lnTo>
                      <a:pt x="180" y="244"/>
                    </a:lnTo>
                    <a:lnTo>
                      <a:pt x="180" y="245"/>
                    </a:lnTo>
                    <a:lnTo>
                      <a:pt x="182" y="249"/>
                    </a:lnTo>
                    <a:lnTo>
                      <a:pt x="182" y="250"/>
                    </a:lnTo>
                    <a:lnTo>
                      <a:pt x="178" y="250"/>
                    </a:lnTo>
                    <a:lnTo>
                      <a:pt x="178" y="249"/>
                    </a:lnTo>
                    <a:lnTo>
                      <a:pt x="175" y="250"/>
                    </a:lnTo>
                    <a:lnTo>
                      <a:pt x="173" y="249"/>
                    </a:lnTo>
                    <a:lnTo>
                      <a:pt x="172" y="249"/>
                    </a:lnTo>
                    <a:lnTo>
                      <a:pt x="167" y="249"/>
                    </a:lnTo>
                    <a:lnTo>
                      <a:pt x="165" y="249"/>
                    </a:lnTo>
                    <a:lnTo>
                      <a:pt x="162" y="247"/>
                    </a:lnTo>
                    <a:lnTo>
                      <a:pt x="158" y="247"/>
                    </a:lnTo>
                    <a:lnTo>
                      <a:pt x="158" y="247"/>
                    </a:lnTo>
                    <a:lnTo>
                      <a:pt x="157" y="249"/>
                    </a:lnTo>
                    <a:lnTo>
                      <a:pt x="155" y="247"/>
                    </a:lnTo>
                    <a:lnTo>
                      <a:pt x="152" y="245"/>
                    </a:lnTo>
                    <a:lnTo>
                      <a:pt x="148" y="247"/>
                    </a:lnTo>
                    <a:lnTo>
                      <a:pt x="147" y="244"/>
                    </a:lnTo>
                    <a:lnTo>
                      <a:pt x="145" y="244"/>
                    </a:lnTo>
                    <a:lnTo>
                      <a:pt x="143" y="245"/>
                    </a:lnTo>
                    <a:lnTo>
                      <a:pt x="140" y="244"/>
                    </a:lnTo>
                    <a:lnTo>
                      <a:pt x="110" y="244"/>
                    </a:lnTo>
                    <a:lnTo>
                      <a:pt x="108" y="242"/>
                    </a:lnTo>
                    <a:lnTo>
                      <a:pt x="107" y="242"/>
                    </a:lnTo>
                    <a:lnTo>
                      <a:pt x="105" y="242"/>
                    </a:lnTo>
                    <a:lnTo>
                      <a:pt x="98" y="242"/>
                    </a:lnTo>
                    <a:lnTo>
                      <a:pt x="98" y="240"/>
                    </a:lnTo>
                    <a:lnTo>
                      <a:pt x="95" y="240"/>
                    </a:lnTo>
                    <a:lnTo>
                      <a:pt x="90" y="242"/>
                    </a:lnTo>
                    <a:lnTo>
                      <a:pt x="89" y="240"/>
                    </a:lnTo>
                    <a:lnTo>
                      <a:pt x="82" y="240"/>
                    </a:lnTo>
                    <a:lnTo>
                      <a:pt x="79" y="240"/>
                    </a:lnTo>
                    <a:lnTo>
                      <a:pt x="72" y="240"/>
                    </a:lnTo>
                    <a:lnTo>
                      <a:pt x="70" y="242"/>
                    </a:lnTo>
                    <a:lnTo>
                      <a:pt x="67" y="242"/>
                    </a:lnTo>
                    <a:lnTo>
                      <a:pt x="65" y="242"/>
                    </a:lnTo>
                    <a:lnTo>
                      <a:pt x="65" y="244"/>
                    </a:lnTo>
                    <a:lnTo>
                      <a:pt x="65" y="244"/>
                    </a:lnTo>
                    <a:lnTo>
                      <a:pt x="35" y="244"/>
                    </a:lnTo>
                    <a:lnTo>
                      <a:pt x="34" y="242"/>
                    </a:lnTo>
                    <a:lnTo>
                      <a:pt x="32" y="242"/>
                    </a:lnTo>
                    <a:lnTo>
                      <a:pt x="29" y="244"/>
                    </a:lnTo>
                    <a:lnTo>
                      <a:pt x="32" y="240"/>
                    </a:lnTo>
                    <a:lnTo>
                      <a:pt x="29" y="237"/>
                    </a:lnTo>
                    <a:lnTo>
                      <a:pt x="32" y="229"/>
                    </a:lnTo>
                    <a:lnTo>
                      <a:pt x="30" y="220"/>
                    </a:lnTo>
                    <a:lnTo>
                      <a:pt x="27" y="215"/>
                    </a:lnTo>
                    <a:lnTo>
                      <a:pt x="27" y="209"/>
                    </a:lnTo>
                    <a:lnTo>
                      <a:pt x="29" y="205"/>
                    </a:lnTo>
                    <a:lnTo>
                      <a:pt x="25" y="201"/>
                    </a:lnTo>
                    <a:lnTo>
                      <a:pt x="17" y="204"/>
                    </a:lnTo>
                    <a:lnTo>
                      <a:pt x="15" y="201"/>
                    </a:lnTo>
                    <a:lnTo>
                      <a:pt x="10" y="201"/>
                    </a:lnTo>
                    <a:lnTo>
                      <a:pt x="9" y="187"/>
                    </a:lnTo>
                    <a:lnTo>
                      <a:pt x="4" y="189"/>
                    </a:lnTo>
                    <a:lnTo>
                      <a:pt x="0" y="18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1" name="Freeform 124"/>
              <p:cNvSpPr>
                <a:spLocks/>
              </p:cNvSpPr>
              <p:nvPr/>
            </p:nvSpPr>
            <p:spPr bwMode="auto">
              <a:xfrm>
                <a:off x="6528461" y="3244812"/>
                <a:ext cx="73847" cy="70556"/>
              </a:xfrm>
              <a:custGeom>
                <a:avLst/>
                <a:gdLst/>
                <a:ahLst/>
                <a:cxnLst>
                  <a:cxn ang="0">
                    <a:pos x="63" y="2"/>
                  </a:cxn>
                  <a:cxn ang="0">
                    <a:pos x="68" y="2"/>
                  </a:cxn>
                  <a:cxn ang="0">
                    <a:pos x="77" y="0"/>
                  </a:cxn>
                  <a:cxn ang="0">
                    <a:pos x="87" y="0"/>
                  </a:cxn>
                  <a:cxn ang="0">
                    <a:pos x="93" y="0"/>
                  </a:cxn>
                  <a:cxn ang="0">
                    <a:pos x="96" y="2"/>
                  </a:cxn>
                  <a:cxn ang="0">
                    <a:pos x="105" y="2"/>
                  </a:cxn>
                  <a:cxn ang="0">
                    <a:pos x="108" y="4"/>
                  </a:cxn>
                  <a:cxn ang="0">
                    <a:pos x="106" y="7"/>
                  </a:cxn>
                  <a:cxn ang="0">
                    <a:pos x="108" y="17"/>
                  </a:cxn>
                  <a:cxn ang="0">
                    <a:pos x="108" y="24"/>
                  </a:cxn>
                  <a:cxn ang="0">
                    <a:pos x="115" y="24"/>
                  </a:cxn>
                  <a:cxn ang="0">
                    <a:pos x="123" y="22"/>
                  </a:cxn>
                  <a:cxn ang="0">
                    <a:pos x="136" y="20"/>
                  </a:cxn>
                  <a:cxn ang="0">
                    <a:pos x="138" y="29"/>
                  </a:cxn>
                  <a:cxn ang="0">
                    <a:pos x="138" y="34"/>
                  </a:cxn>
                  <a:cxn ang="0">
                    <a:pos x="133" y="39"/>
                  </a:cxn>
                  <a:cxn ang="0">
                    <a:pos x="128" y="45"/>
                  </a:cxn>
                  <a:cxn ang="0">
                    <a:pos x="130" y="49"/>
                  </a:cxn>
                  <a:cxn ang="0">
                    <a:pos x="128" y="50"/>
                  </a:cxn>
                  <a:cxn ang="0">
                    <a:pos x="125" y="54"/>
                  </a:cxn>
                  <a:cxn ang="0">
                    <a:pos x="128" y="57"/>
                  </a:cxn>
                  <a:cxn ang="0">
                    <a:pos x="131" y="60"/>
                  </a:cxn>
                  <a:cxn ang="0">
                    <a:pos x="136" y="65"/>
                  </a:cxn>
                  <a:cxn ang="0">
                    <a:pos x="138" y="72"/>
                  </a:cxn>
                  <a:cxn ang="0">
                    <a:pos x="130" y="97"/>
                  </a:cxn>
                  <a:cxn ang="0">
                    <a:pos x="131" y="105"/>
                  </a:cxn>
                  <a:cxn ang="0">
                    <a:pos x="126" y="102"/>
                  </a:cxn>
                  <a:cxn ang="0">
                    <a:pos x="116" y="100"/>
                  </a:cxn>
                  <a:cxn ang="0">
                    <a:pos x="111" y="102"/>
                  </a:cxn>
                  <a:cxn ang="0">
                    <a:pos x="101" y="98"/>
                  </a:cxn>
                  <a:cxn ang="0">
                    <a:pos x="93" y="90"/>
                  </a:cxn>
                  <a:cxn ang="0">
                    <a:pos x="92" y="98"/>
                  </a:cxn>
                  <a:cxn ang="0">
                    <a:pos x="83" y="102"/>
                  </a:cxn>
                  <a:cxn ang="0">
                    <a:pos x="78" y="103"/>
                  </a:cxn>
                  <a:cxn ang="0">
                    <a:pos x="70" y="103"/>
                  </a:cxn>
                  <a:cxn ang="0">
                    <a:pos x="63" y="107"/>
                  </a:cxn>
                  <a:cxn ang="0">
                    <a:pos x="65" y="113"/>
                  </a:cxn>
                  <a:cxn ang="0">
                    <a:pos x="72" y="112"/>
                  </a:cxn>
                  <a:cxn ang="0">
                    <a:pos x="78" y="117"/>
                  </a:cxn>
                  <a:cxn ang="0">
                    <a:pos x="78" y="130"/>
                  </a:cxn>
                  <a:cxn ang="0">
                    <a:pos x="70" y="125"/>
                  </a:cxn>
                  <a:cxn ang="0">
                    <a:pos x="63" y="128"/>
                  </a:cxn>
                  <a:cxn ang="0">
                    <a:pos x="62" y="132"/>
                  </a:cxn>
                  <a:cxn ang="0">
                    <a:pos x="57" y="137"/>
                  </a:cxn>
                  <a:cxn ang="0">
                    <a:pos x="52" y="130"/>
                  </a:cxn>
                  <a:cxn ang="0">
                    <a:pos x="40" y="122"/>
                  </a:cxn>
                  <a:cxn ang="0">
                    <a:pos x="23" y="108"/>
                  </a:cxn>
                  <a:cxn ang="0">
                    <a:pos x="18" y="102"/>
                  </a:cxn>
                  <a:cxn ang="0">
                    <a:pos x="13" y="93"/>
                  </a:cxn>
                  <a:cxn ang="0">
                    <a:pos x="8" y="82"/>
                  </a:cxn>
                  <a:cxn ang="0">
                    <a:pos x="5" y="77"/>
                  </a:cxn>
                  <a:cxn ang="0">
                    <a:pos x="0" y="65"/>
                  </a:cxn>
                  <a:cxn ang="0">
                    <a:pos x="12" y="63"/>
                  </a:cxn>
                  <a:cxn ang="0">
                    <a:pos x="13" y="45"/>
                  </a:cxn>
                  <a:cxn ang="0">
                    <a:pos x="27" y="45"/>
                  </a:cxn>
                  <a:cxn ang="0">
                    <a:pos x="13" y="37"/>
                  </a:cxn>
                  <a:cxn ang="0">
                    <a:pos x="20" y="30"/>
                  </a:cxn>
                  <a:cxn ang="0">
                    <a:pos x="25" y="29"/>
                  </a:cxn>
                  <a:cxn ang="0">
                    <a:pos x="30" y="29"/>
                  </a:cxn>
                  <a:cxn ang="0">
                    <a:pos x="63" y="4"/>
                  </a:cxn>
                </a:cxnLst>
                <a:rect l="0" t="0" r="r" b="b"/>
                <a:pathLst>
                  <a:path w="138" h="137">
                    <a:moveTo>
                      <a:pt x="63" y="4"/>
                    </a:moveTo>
                    <a:lnTo>
                      <a:pt x="63" y="2"/>
                    </a:lnTo>
                    <a:lnTo>
                      <a:pt x="65" y="2"/>
                    </a:lnTo>
                    <a:lnTo>
                      <a:pt x="68" y="2"/>
                    </a:lnTo>
                    <a:lnTo>
                      <a:pt x="70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7" y="0"/>
                    </a:lnTo>
                    <a:lnTo>
                      <a:pt x="88" y="2"/>
                    </a:lnTo>
                    <a:lnTo>
                      <a:pt x="93" y="0"/>
                    </a:lnTo>
                    <a:lnTo>
                      <a:pt x="96" y="0"/>
                    </a:lnTo>
                    <a:lnTo>
                      <a:pt x="96" y="2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6" y="7"/>
                    </a:lnTo>
                    <a:lnTo>
                      <a:pt x="108" y="12"/>
                    </a:lnTo>
                    <a:lnTo>
                      <a:pt x="108" y="17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10" y="25"/>
                    </a:lnTo>
                    <a:lnTo>
                      <a:pt x="115" y="24"/>
                    </a:lnTo>
                    <a:lnTo>
                      <a:pt x="118" y="24"/>
                    </a:lnTo>
                    <a:lnTo>
                      <a:pt x="123" y="22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38" y="22"/>
                    </a:lnTo>
                    <a:lnTo>
                      <a:pt x="138" y="29"/>
                    </a:lnTo>
                    <a:lnTo>
                      <a:pt x="136" y="32"/>
                    </a:lnTo>
                    <a:lnTo>
                      <a:pt x="138" y="34"/>
                    </a:lnTo>
                    <a:lnTo>
                      <a:pt x="138" y="39"/>
                    </a:lnTo>
                    <a:lnTo>
                      <a:pt x="133" y="39"/>
                    </a:lnTo>
                    <a:lnTo>
                      <a:pt x="128" y="42"/>
                    </a:lnTo>
                    <a:lnTo>
                      <a:pt x="128" y="45"/>
                    </a:lnTo>
                    <a:lnTo>
                      <a:pt x="130" y="45"/>
                    </a:lnTo>
                    <a:lnTo>
                      <a:pt x="130" y="49"/>
                    </a:lnTo>
                    <a:lnTo>
                      <a:pt x="130" y="49"/>
                    </a:lnTo>
                    <a:lnTo>
                      <a:pt x="128" y="50"/>
                    </a:lnTo>
                    <a:lnTo>
                      <a:pt x="125" y="52"/>
                    </a:lnTo>
                    <a:lnTo>
                      <a:pt x="125" y="54"/>
                    </a:lnTo>
                    <a:lnTo>
                      <a:pt x="126" y="55"/>
                    </a:lnTo>
                    <a:lnTo>
                      <a:pt x="128" y="57"/>
                    </a:lnTo>
                    <a:lnTo>
                      <a:pt x="130" y="59"/>
                    </a:lnTo>
                    <a:lnTo>
                      <a:pt x="131" y="60"/>
                    </a:lnTo>
                    <a:lnTo>
                      <a:pt x="135" y="63"/>
                    </a:lnTo>
                    <a:lnTo>
                      <a:pt x="136" y="65"/>
                    </a:lnTo>
                    <a:lnTo>
                      <a:pt x="138" y="67"/>
                    </a:lnTo>
                    <a:lnTo>
                      <a:pt x="138" y="72"/>
                    </a:lnTo>
                    <a:lnTo>
                      <a:pt x="136" y="80"/>
                    </a:lnTo>
                    <a:lnTo>
                      <a:pt x="130" y="97"/>
                    </a:lnTo>
                    <a:lnTo>
                      <a:pt x="131" y="100"/>
                    </a:lnTo>
                    <a:lnTo>
                      <a:pt x="131" y="105"/>
                    </a:lnTo>
                    <a:lnTo>
                      <a:pt x="128" y="105"/>
                    </a:lnTo>
                    <a:lnTo>
                      <a:pt x="126" y="102"/>
                    </a:lnTo>
                    <a:lnTo>
                      <a:pt x="123" y="100"/>
                    </a:lnTo>
                    <a:lnTo>
                      <a:pt x="116" y="100"/>
                    </a:lnTo>
                    <a:lnTo>
                      <a:pt x="115" y="102"/>
                    </a:lnTo>
                    <a:lnTo>
                      <a:pt x="111" y="102"/>
                    </a:lnTo>
                    <a:lnTo>
                      <a:pt x="105" y="103"/>
                    </a:lnTo>
                    <a:lnTo>
                      <a:pt x="101" y="98"/>
                    </a:lnTo>
                    <a:lnTo>
                      <a:pt x="98" y="90"/>
                    </a:lnTo>
                    <a:lnTo>
                      <a:pt x="93" y="90"/>
                    </a:lnTo>
                    <a:lnTo>
                      <a:pt x="92" y="92"/>
                    </a:lnTo>
                    <a:lnTo>
                      <a:pt x="92" y="98"/>
                    </a:lnTo>
                    <a:lnTo>
                      <a:pt x="92" y="102"/>
                    </a:lnTo>
                    <a:lnTo>
                      <a:pt x="83" y="102"/>
                    </a:lnTo>
                    <a:lnTo>
                      <a:pt x="78" y="102"/>
                    </a:lnTo>
                    <a:lnTo>
                      <a:pt x="78" y="103"/>
                    </a:lnTo>
                    <a:lnTo>
                      <a:pt x="75" y="105"/>
                    </a:lnTo>
                    <a:lnTo>
                      <a:pt x="70" y="103"/>
                    </a:lnTo>
                    <a:lnTo>
                      <a:pt x="65" y="103"/>
                    </a:lnTo>
                    <a:lnTo>
                      <a:pt x="63" y="107"/>
                    </a:lnTo>
                    <a:lnTo>
                      <a:pt x="65" y="108"/>
                    </a:lnTo>
                    <a:lnTo>
                      <a:pt x="65" y="113"/>
                    </a:lnTo>
                    <a:lnTo>
                      <a:pt x="68" y="112"/>
                    </a:lnTo>
                    <a:lnTo>
                      <a:pt x="72" y="112"/>
                    </a:lnTo>
                    <a:lnTo>
                      <a:pt x="75" y="113"/>
                    </a:lnTo>
                    <a:lnTo>
                      <a:pt x="78" y="117"/>
                    </a:lnTo>
                    <a:lnTo>
                      <a:pt x="78" y="127"/>
                    </a:lnTo>
                    <a:lnTo>
                      <a:pt x="78" y="130"/>
                    </a:lnTo>
                    <a:lnTo>
                      <a:pt x="72" y="125"/>
                    </a:lnTo>
                    <a:lnTo>
                      <a:pt x="70" y="125"/>
                    </a:lnTo>
                    <a:lnTo>
                      <a:pt x="68" y="128"/>
                    </a:lnTo>
                    <a:lnTo>
                      <a:pt x="63" y="128"/>
                    </a:lnTo>
                    <a:lnTo>
                      <a:pt x="62" y="130"/>
                    </a:lnTo>
                    <a:lnTo>
                      <a:pt x="62" y="132"/>
                    </a:lnTo>
                    <a:lnTo>
                      <a:pt x="58" y="137"/>
                    </a:lnTo>
                    <a:lnTo>
                      <a:pt x="57" y="137"/>
                    </a:lnTo>
                    <a:lnTo>
                      <a:pt x="53" y="135"/>
                    </a:lnTo>
                    <a:lnTo>
                      <a:pt x="52" y="130"/>
                    </a:lnTo>
                    <a:lnTo>
                      <a:pt x="43" y="127"/>
                    </a:lnTo>
                    <a:lnTo>
                      <a:pt x="40" y="122"/>
                    </a:lnTo>
                    <a:lnTo>
                      <a:pt x="30" y="113"/>
                    </a:lnTo>
                    <a:lnTo>
                      <a:pt x="23" y="108"/>
                    </a:lnTo>
                    <a:lnTo>
                      <a:pt x="25" y="107"/>
                    </a:lnTo>
                    <a:lnTo>
                      <a:pt x="18" y="102"/>
                    </a:lnTo>
                    <a:lnTo>
                      <a:pt x="17" y="97"/>
                    </a:lnTo>
                    <a:lnTo>
                      <a:pt x="13" y="93"/>
                    </a:lnTo>
                    <a:lnTo>
                      <a:pt x="13" y="87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5" y="77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7" y="67"/>
                    </a:lnTo>
                    <a:lnTo>
                      <a:pt x="12" y="63"/>
                    </a:lnTo>
                    <a:lnTo>
                      <a:pt x="12" y="50"/>
                    </a:lnTo>
                    <a:lnTo>
                      <a:pt x="13" y="45"/>
                    </a:lnTo>
                    <a:lnTo>
                      <a:pt x="15" y="47"/>
                    </a:lnTo>
                    <a:lnTo>
                      <a:pt x="27" y="45"/>
                    </a:lnTo>
                    <a:lnTo>
                      <a:pt x="18" y="44"/>
                    </a:lnTo>
                    <a:lnTo>
                      <a:pt x="13" y="37"/>
                    </a:lnTo>
                    <a:lnTo>
                      <a:pt x="18" y="35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63" y="30"/>
                    </a:lnTo>
                    <a:lnTo>
                      <a:pt x="63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2" name="Freeform 125"/>
              <p:cNvSpPr>
                <a:spLocks/>
              </p:cNvSpPr>
              <p:nvPr/>
            </p:nvSpPr>
            <p:spPr bwMode="auto">
              <a:xfrm>
                <a:off x="6534882" y="3245850"/>
                <a:ext cx="26756" cy="14526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9" y="28"/>
                  </a:cxn>
                  <a:cxn ang="0">
                    <a:pos x="12" y="27"/>
                  </a:cxn>
                  <a:cxn ang="0">
                    <a:pos x="15" y="27"/>
                  </a:cxn>
                  <a:cxn ang="0">
                    <a:pos x="17" y="27"/>
                  </a:cxn>
                  <a:cxn ang="0">
                    <a:pos x="50" y="28"/>
                  </a:cxn>
                  <a:cxn ang="0">
                    <a:pos x="50" y="2"/>
                  </a:cxn>
                  <a:cxn ang="0">
                    <a:pos x="20" y="2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4" y="7"/>
                  </a:cxn>
                  <a:cxn ang="0">
                    <a:pos x="7" y="13"/>
                  </a:cxn>
                  <a:cxn ang="0">
                    <a:pos x="0" y="25"/>
                  </a:cxn>
                  <a:cxn ang="0">
                    <a:pos x="7" y="27"/>
                  </a:cxn>
                  <a:cxn ang="0">
                    <a:pos x="7" y="28"/>
                  </a:cxn>
                </a:cxnLst>
                <a:rect l="0" t="0" r="r" b="b"/>
                <a:pathLst>
                  <a:path w="50" h="28">
                    <a:moveTo>
                      <a:pt x="7" y="28"/>
                    </a:moveTo>
                    <a:lnTo>
                      <a:pt x="9" y="28"/>
                    </a:lnTo>
                    <a:lnTo>
                      <a:pt x="12" y="27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50" y="28"/>
                    </a:lnTo>
                    <a:lnTo>
                      <a:pt x="50" y="2"/>
                    </a:lnTo>
                    <a:lnTo>
                      <a:pt x="20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4" y="7"/>
                    </a:lnTo>
                    <a:lnTo>
                      <a:pt x="7" y="13"/>
                    </a:lnTo>
                    <a:lnTo>
                      <a:pt x="0" y="25"/>
                    </a:lnTo>
                    <a:lnTo>
                      <a:pt x="7" y="27"/>
                    </a:lnTo>
                    <a:lnTo>
                      <a:pt x="7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3" name="Freeform 126"/>
              <p:cNvSpPr>
                <a:spLocks/>
              </p:cNvSpPr>
              <p:nvPr/>
            </p:nvSpPr>
            <p:spPr bwMode="auto">
              <a:xfrm>
                <a:off x="6559498" y="3226136"/>
                <a:ext cx="99533" cy="102722"/>
              </a:xfrm>
              <a:custGeom>
                <a:avLst/>
                <a:gdLst/>
                <a:ahLst/>
                <a:cxnLst>
                  <a:cxn ang="0">
                    <a:pos x="4" y="165"/>
                  </a:cxn>
                  <a:cxn ang="0">
                    <a:pos x="12" y="160"/>
                  </a:cxn>
                  <a:cxn ang="0">
                    <a:pos x="20" y="162"/>
                  </a:cxn>
                  <a:cxn ang="0">
                    <a:pos x="14" y="147"/>
                  </a:cxn>
                  <a:cxn ang="0">
                    <a:pos x="7" y="143"/>
                  </a:cxn>
                  <a:cxn ang="0">
                    <a:pos x="12" y="138"/>
                  </a:cxn>
                  <a:cxn ang="0">
                    <a:pos x="20" y="137"/>
                  </a:cxn>
                  <a:cxn ang="0">
                    <a:pos x="34" y="133"/>
                  </a:cxn>
                  <a:cxn ang="0">
                    <a:pos x="40" y="125"/>
                  </a:cxn>
                  <a:cxn ang="0">
                    <a:pos x="53" y="137"/>
                  </a:cxn>
                  <a:cxn ang="0">
                    <a:pos x="65" y="135"/>
                  </a:cxn>
                  <a:cxn ang="0">
                    <a:pos x="73" y="140"/>
                  </a:cxn>
                  <a:cxn ang="0">
                    <a:pos x="78" y="115"/>
                  </a:cxn>
                  <a:cxn ang="0">
                    <a:pos x="78" y="100"/>
                  </a:cxn>
                  <a:cxn ang="0">
                    <a:pos x="72" y="94"/>
                  </a:cxn>
                  <a:cxn ang="0">
                    <a:pos x="67" y="89"/>
                  </a:cxn>
                  <a:cxn ang="0">
                    <a:pos x="72" y="84"/>
                  </a:cxn>
                  <a:cxn ang="0">
                    <a:pos x="70" y="80"/>
                  </a:cxn>
                  <a:cxn ang="0">
                    <a:pos x="80" y="74"/>
                  </a:cxn>
                  <a:cxn ang="0">
                    <a:pos x="80" y="64"/>
                  </a:cxn>
                  <a:cxn ang="0">
                    <a:pos x="70" y="55"/>
                  </a:cxn>
                  <a:cxn ang="0">
                    <a:pos x="57" y="59"/>
                  </a:cxn>
                  <a:cxn ang="0">
                    <a:pos x="50" y="55"/>
                  </a:cxn>
                  <a:cxn ang="0">
                    <a:pos x="48" y="42"/>
                  </a:cxn>
                  <a:cxn ang="0">
                    <a:pos x="83" y="40"/>
                  </a:cxn>
                  <a:cxn ang="0">
                    <a:pos x="88" y="42"/>
                  </a:cxn>
                  <a:cxn ang="0">
                    <a:pos x="97" y="44"/>
                  </a:cxn>
                  <a:cxn ang="0">
                    <a:pos x="102" y="42"/>
                  </a:cxn>
                  <a:cxn ang="0">
                    <a:pos x="112" y="44"/>
                  </a:cxn>
                  <a:cxn ang="0">
                    <a:pos x="118" y="44"/>
                  </a:cxn>
                  <a:cxn ang="0">
                    <a:pos x="122" y="44"/>
                  </a:cxn>
                  <a:cxn ang="0">
                    <a:pos x="123" y="34"/>
                  </a:cxn>
                  <a:cxn ang="0">
                    <a:pos x="141" y="9"/>
                  </a:cxn>
                  <a:cxn ang="0">
                    <a:pos x="158" y="2"/>
                  </a:cxn>
                  <a:cxn ang="0">
                    <a:pos x="170" y="0"/>
                  </a:cxn>
                  <a:cxn ang="0">
                    <a:pos x="178" y="4"/>
                  </a:cxn>
                  <a:cxn ang="0">
                    <a:pos x="183" y="4"/>
                  </a:cxn>
                  <a:cxn ang="0">
                    <a:pos x="181" y="20"/>
                  </a:cxn>
                  <a:cxn ang="0">
                    <a:pos x="171" y="44"/>
                  </a:cxn>
                  <a:cxn ang="0">
                    <a:pos x="166" y="57"/>
                  </a:cxn>
                  <a:cxn ang="0">
                    <a:pos x="165" y="74"/>
                  </a:cxn>
                  <a:cxn ang="0">
                    <a:pos x="161" y="82"/>
                  </a:cxn>
                  <a:cxn ang="0">
                    <a:pos x="151" y="108"/>
                  </a:cxn>
                  <a:cxn ang="0">
                    <a:pos x="140" y="112"/>
                  </a:cxn>
                  <a:cxn ang="0">
                    <a:pos x="130" y="125"/>
                  </a:cxn>
                  <a:cxn ang="0">
                    <a:pos x="120" y="142"/>
                  </a:cxn>
                  <a:cxn ang="0">
                    <a:pos x="120" y="162"/>
                  </a:cxn>
                  <a:cxn ang="0">
                    <a:pos x="112" y="173"/>
                  </a:cxn>
                  <a:cxn ang="0">
                    <a:pos x="97" y="187"/>
                  </a:cxn>
                  <a:cxn ang="0">
                    <a:pos x="82" y="192"/>
                  </a:cxn>
                  <a:cxn ang="0">
                    <a:pos x="82" y="182"/>
                  </a:cxn>
                  <a:cxn ang="0">
                    <a:pos x="68" y="185"/>
                  </a:cxn>
                  <a:cxn ang="0">
                    <a:pos x="62" y="190"/>
                  </a:cxn>
                  <a:cxn ang="0">
                    <a:pos x="55" y="190"/>
                  </a:cxn>
                  <a:cxn ang="0">
                    <a:pos x="47" y="190"/>
                  </a:cxn>
                  <a:cxn ang="0">
                    <a:pos x="43" y="183"/>
                  </a:cxn>
                  <a:cxn ang="0">
                    <a:pos x="35" y="185"/>
                  </a:cxn>
                  <a:cxn ang="0">
                    <a:pos x="27" y="192"/>
                  </a:cxn>
                  <a:cxn ang="0">
                    <a:pos x="20" y="198"/>
                  </a:cxn>
                  <a:cxn ang="0">
                    <a:pos x="14" y="187"/>
                  </a:cxn>
                  <a:cxn ang="0">
                    <a:pos x="5" y="177"/>
                  </a:cxn>
                </a:cxnLst>
                <a:rect l="0" t="0" r="r" b="b"/>
                <a:pathLst>
                  <a:path w="186" h="198">
                    <a:moveTo>
                      <a:pt x="0" y="172"/>
                    </a:moveTo>
                    <a:lnTo>
                      <a:pt x="4" y="167"/>
                    </a:lnTo>
                    <a:lnTo>
                      <a:pt x="4" y="165"/>
                    </a:lnTo>
                    <a:lnTo>
                      <a:pt x="5" y="163"/>
                    </a:lnTo>
                    <a:lnTo>
                      <a:pt x="10" y="163"/>
                    </a:lnTo>
                    <a:lnTo>
                      <a:pt x="12" y="160"/>
                    </a:lnTo>
                    <a:lnTo>
                      <a:pt x="14" y="160"/>
                    </a:lnTo>
                    <a:lnTo>
                      <a:pt x="20" y="165"/>
                    </a:lnTo>
                    <a:lnTo>
                      <a:pt x="20" y="162"/>
                    </a:lnTo>
                    <a:lnTo>
                      <a:pt x="20" y="152"/>
                    </a:lnTo>
                    <a:lnTo>
                      <a:pt x="17" y="148"/>
                    </a:lnTo>
                    <a:lnTo>
                      <a:pt x="14" y="147"/>
                    </a:lnTo>
                    <a:lnTo>
                      <a:pt x="10" y="147"/>
                    </a:lnTo>
                    <a:lnTo>
                      <a:pt x="7" y="148"/>
                    </a:lnTo>
                    <a:lnTo>
                      <a:pt x="7" y="143"/>
                    </a:lnTo>
                    <a:lnTo>
                      <a:pt x="5" y="142"/>
                    </a:lnTo>
                    <a:lnTo>
                      <a:pt x="7" y="138"/>
                    </a:lnTo>
                    <a:lnTo>
                      <a:pt x="12" y="138"/>
                    </a:lnTo>
                    <a:lnTo>
                      <a:pt x="17" y="140"/>
                    </a:lnTo>
                    <a:lnTo>
                      <a:pt x="20" y="138"/>
                    </a:lnTo>
                    <a:lnTo>
                      <a:pt x="20" y="137"/>
                    </a:lnTo>
                    <a:lnTo>
                      <a:pt x="25" y="137"/>
                    </a:lnTo>
                    <a:lnTo>
                      <a:pt x="34" y="137"/>
                    </a:lnTo>
                    <a:lnTo>
                      <a:pt x="34" y="133"/>
                    </a:lnTo>
                    <a:lnTo>
                      <a:pt x="34" y="127"/>
                    </a:lnTo>
                    <a:lnTo>
                      <a:pt x="35" y="125"/>
                    </a:lnTo>
                    <a:lnTo>
                      <a:pt x="40" y="125"/>
                    </a:lnTo>
                    <a:lnTo>
                      <a:pt x="43" y="133"/>
                    </a:lnTo>
                    <a:lnTo>
                      <a:pt x="47" y="138"/>
                    </a:lnTo>
                    <a:lnTo>
                      <a:pt x="53" y="137"/>
                    </a:lnTo>
                    <a:lnTo>
                      <a:pt x="57" y="137"/>
                    </a:lnTo>
                    <a:lnTo>
                      <a:pt x="58" y="135"/>
                    </a:lnTo>
                    <a:lnTo>
                      <a:pt x="65" y="135"/>
                    </a:lnTo>
                    <a:lnTo>
                      <a:pt x="68" y="137"/>
                    </a:lnTo>
                    <a:lnTo>
                      <a:pt x="70" y="140"/>
                    </a:lnTo>
                    <a:lnTo>
                      <a:pt x="73" y="140"/>
                    </a:lnTo>
                    <a:lnTo>
                      <a:pt x="73" y="135"/>
                    </a:lnTo>
                    <a:lnTo>
                      <a:pt x="72" y="132"/>
                    </a:lnTo>
                    <a:lnTo>
                      <a:pt x="78" y="115"/>
                    </a:lnTo>
                    <a:lnTo>
                      <a:pt x="80" y="107"/>
                    </a:lnTo>
                    <a:lnTo>
                      <a:pt x="80" y="102"/>
                    </a:lnTo>
                    <a:lnTo>
                      <a:pt x="78" y="100"/>
                    </a:lnTo>
                    <a:lnTo>
                      <a:pt x="77" y="98"/>
                    </a:lnTo>
                    <a:lnTo>
                      <a:pt x="73" y="95"/>
                    </a:lnTo>
                    <a:lnTo>
                      <a:pt x="72" y="94"/>
                    </a:lnTo>
                    <a:lnTo>
                      <a:pt x="70" y="92"/>
                    </a:lnTo>
                    <a:lnTo>
                      <a:pt x="68" y="90"/>
                    </a:lnTo>
                    <a:lnTo>
                      <a:pt x="67" y="89"/>
                    </a:lnTo>
                    <a:lnTo>
                      <a:pt x="67" y="87"/>
                    </a:lnTo>
                    <a:lnTo>
                      <a:pt x="70" y="85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2" y="80"/>
                    </a:lnTo>
                    <a:lnTo>
                      <a:pt x="70" y="80"/>
                    </a:lnTo>
                    <a:lnTo>
                      <a:pt x="70" y="77"/>
                    </a:lnTo>
                    <a:lnTo>
                      <a:pt x="75" y="74"/>
                    </a:lnTo>
                    <a:lnTo>
                      <a:pt x="80" y="74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80" y="64"/>
                    </a:lnTo>
                    <a:lnTo>
                      <a:pt x="80" y="57"/>
                    </a:lnTo>
                    <a:lnTo>
                      <a:pt x="78" y="55"/>
                    </a:lnTo>
                    <a:lnTo>
                      <a:pt x="70" y="55"/>
                    </a:lnTo>
                    <a:lnTo>
                      <a:pt x="65" y="57"/>
                    </a:lnTo>
                    <a:lnTo>
                      <a:pt x="60" y="59"/>
                    </a:lnTo>
                    <a:lnTo>
                      <a:pt x="57" y="59"/>
                    </a:lnTo>
                    <a:lnTo>
                      <a:pt x="52" y="60"/>
                    </a:lnTo>
                    <a:lnTo>
                      <a:pt x="50" y="59"/>
                    </a:lnTo>
                    <a:lnTo>
                      <a:pt x="50" y="55"/>
                    </a:lnTo>
                    <a:lnTo>
                      <a:pt x="50" y="52"/>
                    </a:lnTo>
                    <a:lnTo>
                      <a:pt x="50" y="47"/>
                    </a:lnTo>
                    <a:lnTo>
                      <a:pt x="48" y="42"/>
                    </a:lnTo>
                    <a:lnTo>
                      <a:pt x="50" y="39"/>
                    </a:lnTo>
                    <a:lnTo>
                      <a:pt x="80" y="39"/>
                    </a:lnTo>
                    <a:lnTo>
                      <a:pt x="83" y="40"/>
                    </a:lnTo>
                    <a:lnTo>
                      <a:pt x="85" y="39"/>
                    </a:lnTo>
                    <a:lnTo>
                      <a:pt x="87" y="39"/>
                    </a:lnTo>
                    <a:lnTo>
                      <a:pt x="88" y="42"/>
                    </a:lnTo>
                    <a:lnTo>
                      <a:pt x="92" y="40"/>
                    </a:lnTo>
                    <a:lnTo>
                      <a:pt x="95" y="42"/>
                    </a:lnTo>
                    <a:lnTo>
                      <a:pt x="97" y="4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102" y="42"/>
                    </a:lnTo>
                    <a:lnTo>
                      <a:pt x="105" y="44"/>
                    </a:lnTo>
                    <a:lnTo>
                      <a:pt x="107" y="44"/>
                    </a:lnTo>
                    <a:lnTo>
                      <a:pt x="112" y="44"/>
                    </a:lnTo>
                    <a:lnTo>
                      <a:pt x="113" y="44"/>
                    </a:lnTo>
                    <a:lnTo>
                      <a:pt x="115" y="45"/>
                    </a:lnTo>
                    <a:lnTo>
                      <a:pt x="118" y="44"/>
                    </a:lnTo>
                    <a:lnTo>
                      <a:pt x="118" y="45"/>
                    </a:lnTo>
                    <a:lnTo>
                      <a:pt x="122" y="45"/>
                    </a:lnTo>
                    <a:lnTo>
                      <a:pt x="122" y="44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3" y="34"/>
                    </a:lnTo>
                    <a:lnTo>
                      <a:pt x="125" y="32"/>
                    </a:lnTo>
                    <a:lnTo>
                      <a:pt x="136" y="14"/>
                    </a:lnTo>
                    <a:lnTo>
                      <a:pt x="141" y="9"/>
                    </a:lnTo>
                    <a:lnTo>
                      <a:pt x="146" y="9"/>
                    </a:lnTo>
                    <a:lnTo>
                      <a:pt x="148" y="5"/>
                    </a:lnTo>
                    <a:lnTo>
                      <a:pt x="158" y="2"/>
                    </a:lnTo>
                    <a:lnTo>
                      <a:pt x="163" y="2"/>
                    </a:lnTo>
                    <a:lnTo>
                      <a:pt x="165" y="0"/>
                    </a:lnTo>
                    <a:lnTo>
                      <a:pt x="170" y="0"/>
                    </a:lnTo>
                    <a:lnTo>
                      <a:pt x="173" y="0"/>
                    </a:lnTo>
                    <a:lnTo>
                      <a:pt x="175" y="2"/>
                    </a:lnTo>
                    <a:lnTo>
                      <a:pt x="178" y="4"/>
                    </a:lnTo>
                    <a:lnTo>
                      <a:pt x="181" y="4"/>
                    </a:lnTo>
                    <a:lnTo>
                      <a:pt x="183" y="4"/>
                    </a:lnTo>
                    <a:lnTo>
                      <a:pt x="183" y="4"/>
                    </a:lnTo>
                    <a:lnTo>
                      <a:pt x="186" y="9"/>
                    </a:lnTo>
                    <a:lnTo>
                      <a:pt x="186" y="17"/>
                    </a:lnTo>
                    <a:lnTo>
                      <a:pt x="181" y="20"/>
                    </a:lnTo>
                    <a:lnTo>
                      <a:pt x="180" y="24"/>
                    </a:lnTo>
                    <a:lnTo>
                      <a:pt x="170" y="35"/>
                    </a:lnTo>
                    <a:lnTo>
                      <a:pt x="171" y="44"/>
                    </a:lnTo>
                    <a:lnTo>
                      <a:pt x="170" y="49"/>
                    </a:lnTo>
                    <a:lnTo>
                      <a:pt x="170" y="54"/>
                    </a:lnTo>
                    <a:lnTo>
                      <a:pt x="166" y="57"/>
                    </a:lnTo>
                    <a:lnTo>
                      <a:pt x="166" y="64"/>
                    </a:lnTo>
                    <a:lnTo>
                      <a:pt x="166" y="67"/>
                    </a:lnTo>
                    <a:lnTo>
                      <a:pt x="165" y="74"/>
                    </a:lnTo>
                    <a:lnTo>
                      <a:pt x="166" y="74"/>
                    </a:lnTo>
                    <a:lnTo>
                      <a:pt x="165" y="80"/>
                    </a:lnTo>
                    <a:lnTo>
                      <a:pt x="161" y="82"/>
                    </a:lnTo>
                    <a:lnTo>
                      <a:pt x="160" y="89"/>
                    </a:lnTo>
                    <a:lnTo>
                      <a:pt x="160" y="97"/>
                    </a:lnTo>
                    <a:lnTo>
                      <a:pt x="151" y="108"/>
                    </a:lnTo>
                    <a:lnTo>
                      <a:pt x="146" y="108"/>
                    </a:lnTo>
                    <a:lnTo>
                      <a:pt x="143" y="112"/>
                    </a:lnTo>
                    <a:lnTo>
                      <a:pt x="140" y="112"/>
                    </a:lnTo>
                    <a:lnTo>
                      <a:pt x="135" y="115"/>
                    </a:lnTo>
                    <a:lnTo>
                      <a:pt x="130" y="120"/>
                    </a:lnTo>
                    <a:lnTo>
                      <a:pt x="130" y="125"/>
                    </a:lnTo>
                    <a:lnTo>
                      <a:pt x="122" y="132"/>
                    </a:lnTo>
                    <a:lnTo>
                      <a:pt x="120" y="137"/>
                    </a:lnTo>
                    <a:lnTo>
                      <a:pt x="120" y="142"/>
                    </a:lnTo>
                    <a:lnTo>
                      <a:pt x="122" y="143"/>
                    </a:lnTo>
                    <a:lnTo>
                      <a:pt x="122" y="157"/>
                    </a:lnTo>
                    <a:lnTo>
                      <a:pt x="120" y="162"/>
                    </a:lnTo>
                    <a:lnTo>
                      <a:pt x="120" y="167"/>
                    </a:lnTo>
                    <a:lnTo>
                      <a:pt x="115" y="172"/>
                    </a:lnTo>
                    <a:lnTo>
                      <a:pt x="112" y="173"/>
                    </a:lnTo>
                    <a:lnTo>
                      <a:pt x="108" y="175"/>
                    </a:lnTo>
                    <a:lnTo>
                      <a:pt x="107" y="178"/>
                    </a:lnTo>
                    <a:lnTo>
                      <a:pt x="97" y="187"/>
                    </a:lnTo>
                    <a:lnTo>
                      <a:pt x="92" y="192"/>
                    </a:lnTo>
                    <a:lnTo>
                      <a:pt x="87" y="195"/>
                    </a:lnTo>
                    <a:lnTo>
                      <a:pt x="82" y="192"/>
                    </a:lnTo>
                    <a:lnTo>
                      <a:pt x="80" y="188"/>
                    </a:lnTo>
                    <a:lnTo>
                      <a:pt x="78" y="187"/>
                    </a:lnTo>
                    <a:lnTo>
                      <a:pt x="82" y="182"/>
                    </a:lnTo>
                    <a:lnTo>
                      <a:pt x="82" y="180"/>
                    </a:lnTo>
                    <a:lnTo>
                      <a:pt x="73" y="182"/>
                    </a:lnTo>
                    <a:lnTo>
                      <a:pt x="68" y="185"/>
                    </a:lnTo>
                    <a:lnTo>
                      <a:pt x="65" y="185"/>
                    </a:lnTo>
                    <a:lnTo>
                      <a:pt x="62" y="185"/>
                    </a:lnTo>
                    <a:lnTo>
                      <a:pt x="62" y="190"/>
                    </a:lnTo>
                    <a:lnTo>
                      <a:pt x="60" y="193"/>
                    </a:lnTo>
                    <a:lnTo>
                      <a:pt x="55" y="193"/>
                    </a:lnTo>
                    <a:lnTo>
                      <a:pt x="55" y="190"/>
                    </a:lnTo>
                    <a:lnTo>
                      <a:pt x="53" y="188"/>
                    </a:lnTo>
                    <a:lnTo>
                      <a:pt x="50" y="190"/>
                    </a:lnTo>
                    <a:lnTo>
                      <a:pt x="47" y="190"/>
                    </a:lnTo>
                    <a:lnTo>
                      <a:pt x="47" y="190"/>
                    </a:lnTo>
                    <a:lnTo>
                      <a:pt x="47" y="187"/>
                    </a:lnTo>
                    <a:lnTo>
                      <a:pt x="43" y="183"/>
                    </a:lnTo>
                    <a:lnTo>
                      <a:pt x="42" y="182"/>
                    </a:lnTo>
                    <a:lnTo>
                      <a:pt x="40" y="182"/>
                    </a:lnTo>
                    <a:lnTo>
                      <a:pt x="35" y="185"/>
                    </a:lnTo>
                    <a:lnTo>
                      <a:pt x="32" y="185"/>
                    </a:lnTo>
                    <a:lnTo>
                      <a:pt x="30" y="190"/>
                    </a:lnTo>
                    <a:lnTo>
                      <a:pt x="27" y="192"/>
                    </a:lnTo>
                    <a:lnTo>
                      <a:pt x="25" y="192"/>
                    </a:lnTo>
                    <a:lnTo>
                      <a:pt x="22" y="196"/>
                    </a:lnTo>
                    <a:lnTo>
                      <a:pt x="20" y="198"/>
                    </a:lnTo>
                    <a:lnTo>
                      <a:pt x="17" y="195"/>
                    </a:lnTo>
                    <a:lnTo>
                      <a:pt x="17" y="192"/>
                    </a:lnTo>
                    <a:lnTo>
                      <a:pt x="14" y="187"/>
                    </a:lnTo>
                    <a:lnTo>
                      <a:pt x="14" y="183"/>
                    </a:lnTo>
                    <a:lnTo>
                      <a:pt x="7" y="178"/>
                    </a:lnTo>
                    <a:lnTo>
                      <a:pt x="5" y="177"/>
                    </a:lnTo>
                    <a:lnTo>
                      <a:pt x="0" y="1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4" name="Freeform 127"/>
              <p:cNvSpPr>
                <a:spLocks/>
              </p:cNvSpPr>
              <p:nvPr/>
            </p:nvSpPr>
            <p:spPr bwMode="auto">
              <a:xfrm>
                <a:off x="6570200" y="3320556"/>
                <a:ext cx="13913" cy="16601"/>
              </a:xfrm>
              <a:custGeom>
                <a:avLst/>
                <a:gdLst/>
                <a:ahLst/>
                <a:cxnLst>
                  <a:cxn ang="0">
                    <a:pos x="27" y="8"/>
                  </a:cxn>
                  <a:cxn ang="0">
                    <a:pos x="27" y="5"/>
                  </a:cxn>
                  <a:cxn ang="0">
                    <a:pos x="23" y="1"/>
                  </a:cxn>
                  <a:cxn ang="0">
                    <a:pos x="22" y="0"/>
                  </a:cxn>
                  <a:cxn ang="0">
                    <a:pos x="20" y="0"/>
                  </a:cxn>
                  <a:cxn ang="0">
                    <a:pos x="15" y="3"/>
                  </a:cxn>
                  <a:cxn ang="0">
                    <a:pos x="12" y="3"/>
                  </a:cxn>
                  <a:cxn ang="0">
                    <a:pos x="10" y="8"/>
                  </a:cxn>
                  <a:cxn ang="0">
                    <a:pos x="7" y="10"/>
                  </a:cxn>
                  <a:cxn ang="0">
                    <a:pos x="5" y="10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4" y="19"/>
                  </a:cxn>
                  <a:cxn ang="0">
                    <a:pos x="5" y="24"/>
                  </a:cxn>
                  <a:cxn ang="0">
                    <a:pos x="2" y="29"/>
                  </a:cxn>
                  <a:cxn ang="0">
                    <a:pos x="4" y="33"/>
                  </a:cxn>
                  <a:cxn ang="0">
                    <a:pos x="9" y="29"/>
                  </a:cxn>
                  <a:cxn ang="0">
                    <a:pos x="12" y="29"/>
                  </a:cxn>
                  <a:cxn ang="0">
                    <a:pos x="15" y="26"/>
                  </a:cxn>
                  <a:cxn ang="0">
                    <a:pos x="15" y="18"/>
                  </a:cxn>
                  <a:cxn ang="0">
                    <a:pos x="17" y="16"/>
                  </a:cxn>
                  <a:cxn ang="0">
                    <a:pos x="22" y="13"/>
                  </a:cxn>
                  <a:cxn ang="0">
                    <a:pos x="27" y="8"/>
                  </a:cxn>
                </a:cxnLst>
                <a:rect l="0" t="0" r="r" b="b"/>
                <a:pathLst>
                  <a:path w="27" h="33">
                    <a:moveTo>
                      <a:pt x="27" y="8"/>
                    </a:moveTo>
                    <a:lnTo>
                      <a:pt x="27" y="5"/>
                    </a:lnTo>
                    <a:lnTo>
                      <a:pt x="23" y="1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0" y="8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4" y="19"/>
                    </a:lnTo>
                    <a:lnTo>
                      <a:pt x="5" y="24"/>
                    </a:lnTo>
                    <a:lnTo>
                      <a:pt x="2" y="29"/>
                    </a:lnTo>
                    <a:lnTo>
                      <a:pt x="4" y="33"/>
                    </a:lnTo>
                    <a:lnTo>
                      <a:pt x="9" y="29"/>
                    </a:lnTo>
                    <a:lnTo>
                      <a:pt x="12" y="29"/>
                    </a:lnTo>
                    <a:lnTo>
                      <a:pt x="15" y="26"/>
                    </a:lnTo>
                    <a:lnTo>
                      <a:pt x="15" y="18"/>
                    </a:lnTo>
                    <a:lnTo>
                      <a:pt x="17" y="16"/>
                    </a:lnTo>
                    <a:lnTo>
                      <a:pt x="22" y="13"/>
                    </a:lnTo>
                    <a:lnTo>
                      <a:pt x="2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5" name="Freeform 128"/>
              <p:cNvSpPr>
                <a:spLocks/>
              </p:cNvSpPr>
              <p:nvPr/>
            </p:nvSpPr>
            <p:spPr bwMode="auto">
              <a:xfrm>
                <a:off x="6796023" y="3281128"/>
                <a:ext cx="144483" cy="129699"/>
              </a:xfrm>
              <a:custGeom>
                <a:avLst/>
                <a:gdLst/>
                <a:ahLst/>
                <a:cxnLst>
                  <a:cxn ang="0">
                    <a:pos x="33" y="3"/>
                  </a:cxn>
                  <a:cxn ang="0">
                    <a:pos x="115" y="0"/>
                  </a:cxn>
                  <a:cxn ang="0">
                    <a:pos x="208" y="57"/>
                  </a:cxn>
                  <a:cxn ang="0">
                    <a:pos x="241" y="80"/>
                  </a:cxn>
                  <a:cxn ang="0">
                    <a:pos x="241" y="85"/>
                  </a:cxn>
                  <a:cxn ang="0">
                    <a:pos x="231" y="111"/>
                  </a:cxn>
                  <a:cxn ang="0">
                    <a:pos x="243" y="126"/>
                  </a:cxn>
                  <a:cxn ang="0">
                    <a:pos x="248" y="136"/>
                  </a:cxn>
                  <a:cxn ang="0">
                    <a:pos x="241" y="143"/>
                  </a:cxn>
                  <a:cxn ang="0">
                    <a:pos x="244" y="160"/>
                  </a:cxn>
                  <a:cxn ang="0">
                    <a:pos x="244" y="173"/>
                  </a:cxn>
                  <a:cxn ang="0">
                    <a:pos x="246" y="180"/>
                  </a:cxn>
                  <a:cxn ang="0">
                    <a:pos x="249" y="188"/>
                  </a:cxn>
                  <a:cxn ang="0">
                    <a:pos x="259" y="206"/>
                  </a:cxn>
                  <a:cxn ang="0">
                    <a:pos x="271" y="213"/>
                  </a:cxn>
                  <a:cxn ang="0">
                    <a:pos x="268" y="216"/>
                  </a:cxn>
                  <a:cxn ang="0">
                    <a:pos x="258" y="221"/>
                  </a:cxn>
                  <a:cxn ang="0">
                    <a:pos x="243" y="224"/>
                  </a:cxn>
                  <a:cxn ang="0">
                    <a:pos x="234" y="226"/>
                  </a:cxn>
                  <a:cxn ang="0">
                    <a:pos x="218" y="231"/>
                  </a:cxn>
                  <a:cxn ang="0">
                    <a:pos x="208" y="229"/>
                  </a:cxn>
                  <a:cxn ang="0">
                    <a:pos x="204" y="236"/>
                  </a:cxn>
                  <a:cxn ang="0">
                    <a:pos x="191" y="236"/>
                  </a:cxn>
                  <a:cxn ang="0">
                    <a:pos x="185" y="234"/>
                  </a:cxn>
                  <a:cxn ang="0">
                    <a:pos x="175" y="239"/>
                  </a:cxn>
                  <a:cxn ang="0">
                    <a:pos x="166" y="236"/>
                  </a:cxn>
                  <a:cxn ang="0">
                    <a:pos x="156" y="234"/>
                  </a:cxn>
                  <a:cxn ang="0">
                    <a:pos x="151" y="234"/>
                  </a:cxn>
                  <a:cxn ang="0">
                    <a:pos x="120" y="251"/>
                  </a:cxn>
                  <a:cxn ang="0">
                    <a:pos x="111" y="198"/>
                  </a:cxn>
                  <a:cxn ang="0">
                    <a:pos x="105" y="193"/>
                  </a:cxn>
                  <a:cxn ang="0">
                    <a:pos x="98" y="189"/>
                  </a:cxn>
                  <a:cxn ang="0">
                    <a:pos x="93" y="189"/>
                  </a:cxn>
                  <a:cxn ang="0">
                    <a:pos x="88" y="188"/>
                  </a:cxn>
                  <a:cxn ang="0">
                    <a:pos x="82" y="183"/>
                  </a:cxn>
                  <a:cxn ang="0">
                    <a:pos x="75" y="176"/>
                  </a:cxn>
                  <a:cxn ang="0">
                    <a:pos x="57" y="173"/>
                  </a:cxn>
                  <a:cxn ang="0">
                    <a:pos x="50" y="166"/>
                  </a:cxn>
                  <a:cxn ang="0">
                    <a:pos x="40" y="166"/>
                  </a:cxn>
                  <a:cxn ang="0">
                    <a:pos x="8" y="123"/>
                  </a:cxn>
                  <a:cxn ang="0">
                    <a:pos x="12" y="80"/>
                  </a:cxn>
                  <a:cxn ang="0">
                    <a:pos x="30" y="65"/>
                  </a:cxn>
                  <a:cxn ang="0">
                    <a:pos x="40" y="57"/>
                  </a:cxn>
                  <a:cxn ang="0">
                    <a:pos x="37" y="47"/>
                  </a:cxn>
                  <a:cxn ang="0">
                    <a:pos x="32" y="40"/>
                  </a:cxn>
                  <a:cxn ang="0">
                    <a:pos x="32" y="37"/>
                  </a:cxn>
                  <a:cxn ang="0">
                    <a:pos x="38" y="33"/>
                  </a:cxn>
                  <a:cxn ang="0">
                    <a:pos x="40" y="23"/>
                  </a:cxn>
                  <a:cxn ang="0">
                    <a:pos x="37" y="12"/>
                  </a:cxn>
                </a:cxnLst>
                <a:rect l="0" t="0" r="r" b="b"/>
                <a:pathLst>
                  <a:path w="271" h="251">
                    <a:moveTo>
                      <a:pt x="30" y="5"/>
                    </a:moveTo>
                    <a:lnTo>
                      <a:pt x="32" y="3"/>
                    </a:lnTo>
                    <a:lnTo>
                      <a:pt x="33" y="3"/>
                    </a:lnTo>
                    <a:lnTo>
                      <a:pt x="35" y="2"/>
                    </a:lnTo>
                    <a:lnTo>
                      <a:pt x="65" y="2"/>
                    </a:lnTo>
                    <a:lnTo>
                      <a:pt x="115" y="0"/>
                    </a:lnTo>
                    <a:lnTo>
                      <a:pt x="204" y="47"/>
                    </a:lnTo>
                    <a:lnTo>
                      <a:pt x="209" y="53"/>
                    </a:lnTo>
                    <a:lnTo>
                      <a:pt x="208" y="57"/>
                    </a:lnTo>
                    <a:lnTo>
                      <a:pt x="208" y="58"/>
                    </a:lnTo>
                    <a:lnTo>
                      <a:pt x="211" y="62"/>
                    </a:lnTo>
                    <a:lnTo>
                      <a:pt x="241" y="80"/>
                    </a:lnTo>
                    <a:lnTo>
                      <a:pt x="239" y="80"/>
                    </a:lnTo>
                    <a:lnTo>
                      <a:pt x="241" y="82"/>
                    </a:lnTo>
                    <a:lnTo>
                      <a:pt x="241" y="85"/>
                    </a:lnTo>
                    <a:lnTo>
                      <a:pt x="239" y="87"/>
                    </a:lnTo>
                    <a:lnTo>
                      <a:pt x="234" y="101"/>
                    </a:lnTo>
                    <a:lnTo>
                      <a:pt x="231" y="111"/>
                    </a:lnTo>
                    <a:lnTo>
                      <a:pt x="231" y="116"/>
                    </a:lnTo>
                    <a:lnTo>
                      <a:pt x="238" y="121"/>
                    </a:lnTo>
                    <a:lnTo>
                      <a:pt x="243" y="126"/>
                    </a:lnTo>
                    <a:lnTo>
                      <a:pt x="246" y="126"/>
                    </a:lnTo>
                    <a:lnTo>
                      <a:pt x="249" y="135"/>
                    </a:lnTo>
                    <a:lnTo>
                      <a:pt x="248" y="136"/>
                    </a:lnTo>
                    <a:lnTo>
                      <a:pt x="246" y="136"/>
                    </a:lnTo>
                    <a:lnTo>
                      <a:pt x="243" y="138"/>
                    </a:lnTo>
                    <a:lnTo>
                      <a:pt x="241" y="143"/>
                    </a:lnTo>
                    <a:lnTo>
                      <a:pt x="241" y="151"/>
                    </a:lnTo>
                    <a:lnTo>
                      <a:pt x="246" y="155"/>
                    </a:lnTo>
                    <a:lnTo>
                      <a:pt x="244" y="160"/>
                    </a:lnTo>
                    <a:lnTo>
                      <a:pt x="241" y="161"/>
                    </a:lnTo>
                    <a:lnTo>
                      <a:pt x="243" y="166"/>
                    </a:lnTo>
                    <a:lnTo>
                      <a:pt x="244" y="173"/>
                    </a:lnTo>
                    <a:lnTo>
                      <a:pt x="244" y="173"/>
                    </a:lnTo>
                    <a:lnTo>
                      <a:pt x="244" y="176"/>
                    </a:lnTo>
                    <a:lnTo>
                      <a:pt x="246" y="180"/>
                    </a:lnTo>
                    <a:lnTo>
                      <a:pt x="249" y="183"/>
                    </a:lnTo>
                    <a:lnTo>
                      <a:pt x="246" y="186"/>
                    </a:lnTo>
                    <a:lnTo>
                      <a:pt x="249" y="188"/>
                    </a:lnTo>
                    <a:lnTo>
                      <a:pt x="251" y="194"/>
                    </a:lnTo>
                    <a:lnTo>
                      <a:pt x="251" y="198"/>
                    </a:lnTo>
                    <a:lnTo>
                      <a:pt x="259" y="206"/>
                    </a:lnTo>
                    <a:lnTo>
                      <a:pt x="266" y="206"/>
                    </a:lnTo>
                    <a:lnTo>
                      <a:pt x="271" y="211"/>
                    </a:lnTo>
                    <a:lnTo>
                      <a:pt x="271" y="213"/>
                    </a:lnTo>
                    <a:lnTo>
                      <a:pt x="271" y="213"/>
                    </a:lnTo>
                    <a:lnTo>
                      <a:pt x="271" y="213"/>
                    </a:lnTo>
                    <a:lnTo>
                      <a:pt x="268" y="216"/>
                    </a:lnTo>
                    <a:lnTo>
                      <a:pt x="264" y="214"/>
                    </a:lnTo>
                    <a:lnTo>
                      <a:pt x="261" y="218"/>
                    </a:lnTo>
                    <a:lnTo>
                      <a:pt x="258" y="221"/>
                    </a:lnTo>
                    <a:lnTo>
                      <a:pt x="253" y="221"/>
                    </a:lnTo>
                    <a:lnTo>
                      <a:pt x="249" y="224"/>
                    </a:lnTo>
                    <a:lnTo>
                      <a:pt x="243" y="224"/>
                    </a:lnTo>
                    <a:lnTo>
                      <a:pt x="241" y="226"/>
                    </a:lnTo>
                    <a:lnTo>
                      <a:pt x="238" y="228"/>
                    </a:lnTo>
                    <a:lnTo>
                      <a:pt x="234" y="226"/>
                    </a:lnTo>
                    <a:lnTo>
                      <a:pt x="224" y="229"/>
                    </a:lnTo>
                    <a:lnTo>
                      <a:pt x="223" y="231"/>
                    </a:lnTo>
                    <a:lnTo>
                      <a:pt x="218" y="231"/>
                    </a:lnTo>
                    <a:lnTo>
                      <a:pt x="216" y="229"/>
                    </a:lnTo>
                    <a:lnTo>
                      <a:pt x="211" y="229"/>
                    </a:lnTo>
                    <a:lnTo>
                      <a:pt x="208" y="229"/>
                    </a:lnTo>
                    <a:lnTo>
                      <a:pt x="206" y="229"/>
                    </a:lnTo>
                    <a:lnTo>
                      <a:pt x="208" y="233"/>
                    </a:lnTo>
                    <a:lnTo>
                      <a:pt x="204" y="236"/>
                    </a:lnTo>
                    <a:lnTo>
                      <a:pt x="198" y="236"/>
                    </a:lnTo>
                    <a:lnTo>
                      <a:pt x="193" y="238"/>
                    </a:lnTo>
                    <a:lnTo>
                      <a:pt x="191" y="236"/>
                    </a:lnTo>
                    <a:lnTo>
                      <a:pt x="188" y="236"/>
                    </a:lnTo>
                    <a:lnTo>
                      <a:pt x="186" y="234"/>
                    </a:lnTo>
                    <a:lnTo>
                      <a:pt x="185" y="234"/>
                    </a:lnTo>
                    <a:lnTo>
                      <a:pt x="183" y="234"/>
                    </a:lnTo>
                    <a:lnTo>
                      <a:pt x="180" y="236"/>
                    </a:lnTo>
                    <a:lnTo>
                      <a:pt x="175" y="239"/>
                    </a:lnTo>
                    <a:lnTo>
                      <a:pt x="168" y="241"/>
                    </a:lnTo>
                    <a:lnTo>
                      <a:pt x="168" y="239"/>
                    </a:lnTo>
                    <a:lnTo>
                      <a:pt x="166" y="236"/>
                    </a:lnTo>
                    <a:lnTo>
                      <a:pt x="163" y="236"/>
                    </a:lnTo>
                    <a:lnTo>
                      <a:pt x="160" y="234"/>
                    </a:lnTo>
                    <a:lnTo>
                      <a:pt x="156" y="234"/>
                    </a:lnTo>
                    <a:lnTo>
                      <a:pt x="156" y="231"/>
                    </a:lnTo>
                    <a:lnTo>
                      <a:pt x="153" y="233"/>
                    </a:lnTo>
                    <a:lnTo>
                      <a:pt x="151" y="234"/>
                    </a:lnTo>
                    <a:lnTo>
                      <a:pt x="148" y="234"/>
                    </a:lnTo>
                    <a:lnTo>
                      <a:pt x="125" y="234"/>
                    </a:lnTo>
                    <a:lnTo>
                      <a:pt x="120" y="251"/>
                    </a:lnTo>
                    <a:lnTo>
                      <a:pt x="120" y="214"/>
                    </a:lnTo>
                    <a:lnTo>
                      <a:pt x="118" y="206"/>
                    </a:lnTo>
                    <a:lnTo>
                      <a:pt x="111" y="198"/>
                    </a:lnTo>
                    <a:lnTo>
                      <a:pt x="108" y="194"/>
                    </a:lnTo>
                    <a:lnTo>
                      <a:pt x="105" y="193"/>
                    </a:lnTo>
                    <a:lnTo>
                      <a:pt x="105" y="193"/>
                    </a:lnTo>
                    <a:lnTo>
                      <a:pt x="103" y="191"/>
                    </a:lnTo>
                    <a:lnTo>
                      <a:pt x="101" y="191"/>
                    </a:lnTo>
                    <a:lnTo>
                      <a:pt x="98" y="189"/>
                    </a:lnTo>
                    <a:lnTo>
                      <a:pt x="96" y="191"/>
                    </a:lnTo>
                    <a:lnTo>
                      <a:pt x="95" y="189"/>
                    </a:lnTo>
                    <a:lnTo>
                      <a:pt x="93" y="189"/>
                    </a:lnTo>
                    <a:lnTo>
                      <a:pt x="91" y="186"/>
                    </a:lnTo>
                    <a:lnTo>
                      <a:pt x="88" y="186"/>
                    </a:lnTo>
                    <a:lnTo>
                      <a:pt x="88" y="188"/>
                    </a:lnTo>
                    <a:lnTo>
                      <a:pt x="88" y="188"/>
                    </a:lnTo>
                    <a:lnTo>
                      <a:pt x="85" y="188"/>
                    </a:lnTo>
                    <a:lnTo>
                      <a:pt x="82" y="183"/>
                    </a:lnTo>
                    <a:lnTo>
                      <a:pt x="80" y="180"/>
                    </a:lnTo>
                    <a:lnTo>
                      <a:pt x="77" y="180"/>
                    </a:lnTo>
                    <a:lnTo>
                      <a:pt x="75" y="176"/>
                    </a:lnTo>
                    <a:lnTo>
                      <a:pt x="72" y="176"/>
                    </a:lnTo>
                    <a:lnTo>
                      <a:pt x="62" y="173"/>
                    </a:lnTo>
                    <a:lnTo>
                      <a:pt x="57" y="173"/>
                    </a:lnTo>
                    <a:lnTo>
                      <a:pt x="53" y="171"/>
                    </a:lnTo>
                    <a:lnTo>
                      <a:pt x="53" y="170"/>
                    </a:lnTo>
                    <a:lnTo>
                      <a:pt x="50" y="166"/>
                    </a:lnTo>
                    <a:lnTo>
                      <a:pt x="47" y="166"/>
                    </a:lnTo>
                    <a:lnTo>
                      <a:pt x="43" y="166"/>
                    </a:lnTo>
                    <a:lnTo>
                      <a:pt x="40" y="166"/>
                    </a:lnTo>
                    <a:lnTo>
                      <a:pt x="32" y="163"/>
                    </a:lnTo>
                    <a:lnTo>
                      <a:pt x="25" y="145"/>
                    </a:lnTo>
                    <a:lnTo>
                      <a:pt x="8" y="123"/>
                    </a:lnTo>
                    <a:lnTo>
                      <a:pt x="3" y="98"/>
                    </a:lnTo>
                    <a:lnTo>
                      <a:pt x="0" y="80"/>
                    </a:lnTo>
                    <a:lnTo>
                      <a:pt x="12" y="80"/>
                    </a:lnTo>
                    <a:lnTo>
                      <a:pt x="20" y="78"/>
                    </a:lnTo>
                    <a:lnTo>
                      <a:pt x="25" y="72"/>
                    </a:lnTo>
                    <a:lnTo>
                      <a:pt x="30" y="65"/>
                    </a:lnTo>
                    <a:lnTo>
                      <a:pt x="33" y="63"/>
                    </a:lnTo>
                    <a:lnTo>
                      <a:pt x="37" y="60"/>
                    </a:lnTo>
                    <a:lnTo>
                      <a:pt x="40" y="57"/>
                    </a:lnTo>
                    <a:lnTo>
                      <a:pt x="42" y="53"/>
                    </a:lnTo>
                    <a:lnTo>
                      <a:pt x="40" y="47"/>
                    </a:lnTo>
                    <a:lnTo>
                      <a:pt x="37" y="47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37"/>
                    </a:lnTo>
                    <a:lnTo>
                      <a:pt x="32" y="35"/>
                    </a:lnTo>
                    <a:lnTo>
                      <a:pt x="32" y="37"/>
                    </a:lnTo>
                    <a:lnTo>
                      <a:pt x="35" y="37"/>
                    </a:lnTo>
                    <a:lnTo>
                      <a:pt x="37" y="35"/>
                    </a:lnTo>
                    <a:lnTo>
                      <a:pt x="38" y="33"/>
                    </a:lnTo>
                    <a:lnTo>
                      <a:pt x="40" y="30"/>
                    </a:lnTo>
                    <a:lnTo>
                      <a:pt x="42" y="28"/>
                    </a:lnTo>
                    <a:lnTo>
                      <a:pt x="40" y="23"/>
                    </a:lnTo>
                    <a:lnTo>
                      <a:pt x="38" y="17"/>
                    </a:lnTo>
                    <a:lnTo>
                      <a:pt x="37" y="13"/>
                    </a:lnTo>
                    <a:lnTo>
                      <a:pt x="37" y="12"/>
                    </a:lnTo>
                    <a:lnTo>
                      <a:pt x="33" y="10"/>
                    </a:lnTo>
                    <a:lnTo>
                      <a:pt x="3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6" name="Freeform 129"/>
              <p:cNvSpPr>
                <a:spLocks/>
              </p:cNvSpPr>
              <p:nvPr/>
            </p:nvSpPr>
            <p:spPr bwMode="auto">
              <a:xfrm>
                <a:off x="6790671" y="3283203"/>
                <a:ext cx="26756" cy="18677"/>
              </a:xfrm>
              <a:custGeom>
                <a:avLst/>
                <a:gdLst/>
                <a:ahLst/>
                <a:cxnLst>
                  <a:cxn ang="0">
                    <a:pos x="15" y="5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6" y="3"/>
                  </a:cxn>
                  <a:cxn ang="0">
                    <a:pos x="28" y="5"/>
                  </a:cxn>
                  <a:cxn ang="0">
                    <a:pos x="31" y="5"/>
                  </a:cxn>
                  <a:cxn ang="0">
                    <a:pos x="33" y="3"/>
                  </a:cxn>
                  <a:cxn ang="0">
                    <a:pos x="33" y="0"/>
                  </a:cxn>
                  <a:cxn ang="0">
                    <a:pos x="38" y="0"/>
                  </a:cxn>
                  <a:cxn ang="0">
                    <a:pos x="41" y="5"/>
                  </a:cxn>
                  <a:cxn ang="0">
                    <a:pos x="45" y="7"/>
                  </a:cxn>
                  <a:cxn ang="0">
                    <a:pos x="45" y="8"/>
                  </a:cxn>
                  <a:cxn ang="0">
                    <a:pos x="46" y="12"/>
                  </a:cxn>
                  <a:cxn ang="0">
                    <a:pos x="48" y="18"/>
                  </a:cxn>
                  <a:cxn ang="0">
                    <a:pos x="50" y="23"/>
                  </a:cxn>
                  <a:cxn ang="0">
                    <a:pos x="48" y="25"/>
                  </a:cxn>
                  <a:cxn ang="0">
                    <a:pos x="46" y="28"/>
                  </a:cxn>
                  <a:cxn ang="0">
                    <a:pos x="45" y="30"/>
                  </a:cxn>
                  <a:cxn ang="0">
                    <a:pos x="43" y="32"/>
                  </a:cxn>
                  <a:cxn ang="0">
                    <a:pos x="40" y="32"/>
                  </a:cxn>
                  <a:cxn ang="0">
                    <a:pos x="40" y="30"/>
                  </a:cxn>
                  <a:cxn ang="0">
                    <a:pos x="40" y="28"/>
                  </a:cxn>
                  <a:cxn ang="0">
                    <a:pos x="36" y="28"/>
                  </a:cxn>
                  <a:cxn ang="0">
                    <a:pos x="35" y="25"/>
                  </a:cxn>
                  <a:cxn ang="0">
                    <a:pos x="31" y="23"/>
                  </a:cxn>
                  <a:cxn ang="0">
                    <a:pos x="30" y="22"/>
                  </a:cxn>
                  <a:cxn ang="0">
                    <a:pos x="28" y="22"/>
                  </a:cxn>
                  <a:cxn ang="0">
                    <a:pos x="28" y="27"/>
                  </a:cxn>
                  <a:cxn ang="0">
                    <a:pos x="25" y="33"/>
                  </a:cxn>
                  <a:cxn ang="0">
                    <a:pos x="25" y="35"/>
                  </a:cxn>
                  <a:cxn ang="0">
                    <a:pos x="20" y="37"/>
                  </a:cxn>
                  <a:cxn ang="0">
                    <a:pos x="18" y="35"/>
                  </a:cxn>
                  <a:cxn ang="0">
                    <a:pos x="16" y="35"/>
                  </a:cxn>
                  <a:cxn ang="0">
                    <a:pos x="15" y="37"/>
                  </a:cxn>
                  <a:cxn ang="0">
                    <a:pos x="11" y="35"/>
                  </a:cxn>
                  <a:cxn ang="0">
                    <a:pos x="10" y="32"/>
                  </a:cxn>
                  <a:cxn ang="0">
                    <a:pos x="6" y="30"/>
                  </a:cxn>
                  <a:cxn ang="0">
                    <a:pos x="3" y="30"/>
                  </a:cxn>
                  <a:cxn ang="0">
                    <a:pos x="0" y="32"/>
                  </a:cxn>
                  <a:cxn ang="0">
                    <a:pos x="1" y="27"/>
                  </a:cxn>
                  <a:cxn ang="0">
                    <a:pos x="5" y="13"/>
                  </a:cxn>
                  <a:cxn ang="0">
                    <a:pos x="8" y="10"/>
                  </a:cxn>
                  <a:cxn ang="0">
                    <a:pos x="15" y="5"/>
                  </a:cxn>
                </a:cxnLst>
                <a:rect l="0" t="0" r="r" b="b"/>
                <a:pathLst>
                  <a:path w="50" h="37">
                    <a:moveTo>
                      <a:pt x="15" y="5"/>
                    </a:moveTo>
                    <a:lnTo>
                      <a:pt x="15" y="5"/>
                    </a:lnTo>
                    <a:lnTo>
                      <a:pt x="20" y="5"/>
                    </a:lnTo>
                    <a:lnTo>
                      <a:pt x="23" y="2"/>
                    </a:lnTo>
                    <a:lnTo>
                      <a:pt x="26" y="3"/>
                    </a:lnTo>
                    <a:lnTo>
                      <a:pt x="28" y="5"/>
                    </a:lnTo>
                    <a:lnTo>
                      <a:pt x="31" y="5"/>
                    </a:lnTo>
                    <a:lnTo>
                      <a:pt x="33" y="3"/>
                    </a:lnTo>
                    <a:lnTo>
                      <a:pt x="33" y="0"/>
                    </a:lnTo>
                    <a:lnTo>
                      <a:pt x="38" y="0"/>
                    </a:lnTo>
                    <a:lnTo>
                      <a:pt x="41" y="5"/>
                    </a:lnTo>
                    <a:lnTo>
                      <a:pt x="45" y="7"/>
                    </a:lnTo>
                    <a:lnTo>
                      <a:pt x="45" y="8"/>
                    </a:lnTo>
                    <a:lnTo>
                      <a:pt x="46" y="12"/>
                    </a:lnTo>
                    <a:lnTo>
                      <a:pt x="48" y="18"/>
                    </a:lnTo>
                    <a:lnTo>
                      <a:pt x="50" y="23"/>
                    </a:lnTo>
                    <a:lnTo>
                      <a:pt x="48" y="25"/>
                    </a:lnTo>
                    <a:lnTo>
                      <a:pt x="46" y="28"/>
                    </a:lnTo>
                    <a:lnTo>
                      <a:pt x="45" y="30"/>
                    </a:lnTo>
                    <a:lnTo>
                      <a:pt x="43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36" y="28"/>
                    </a:lnTo>
                    <a:lnTo>
                      <a:pt x="35" y="25"/>
                    </a:lnTo>
                    <a:lnTo>
                      <a:pt x="31" y="23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7"/>
                    </a:lnTo>
                    <a:lnTo>
                      <a:pt x="25" y="33"/>
                    </a:lnTo>
                    <a:lnTo>
                      <a:pt x="25" y="35"/>
                    </a:lnTo>
                    <a:lnTo>
                      <a:pt x="20" y="37"/>
                    </a:lnTo>
                    <a:lnTo>
                      <a:pt x="18" y="35"/>
                    </a:lnTo>
                    <a:lnTo>
                      <a:pt x="16" y="35"/>
                    </a:lnTo>
                    <a:lnTo>
                      <a:pt x="15" y="37"/>
                    </a:lnTo>
                    <a:lnTo>
                      <a:pt x="11" y="35"/>
                    </a:lnTo>
                    <a:lnTo>
                      <a:pt x="10" y="32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0" y="32"/>
                    </a:lnTo>
                    <a:lnTo>
                      <a:pt x="1" y="27"/>
                    </a:lnTo>
                    <a:lnTo>
                      <a:pt x="5" y="13"/>
                    </a:lnTo>
                    <a:lnTo>
                      <a:pt x="8" y="10"/>
                    </a:lnTo>
                    <a:lnTo>
                      <a:pt x="15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7" name="Freeform 130"/>
              <p:cNvSpPr>
                <a:spLocks/>
              </p:cNvSpPr>
              <p:nvPr/>
            </p:nvSpPr>
            <p:spPr bwMode="auto">
              <a:xfrm>
                <a:off x="6790671" y="3294617"/>
                <a:ext cx="26756" cy="26977"/>
              </a:xfrm>
              <a:custGeom>
                <a:avLst/>
                <a:gdLst/>
                <a:ahLst/>
                <a:cxnLst>
                  <a:cxn ang="0">
                    <a:pos x="8" y="53"/>
                  </a:cxn>
                  <a:cxn ang="0">
                    <a:pos x="20" y="53"/>
                  </a:cxn>
                  <a:cxn ang="0">
                    <a:pos x="28" y="51"/>
                  </a:cxn>
                  <a:cxn ang="0">
                    <a:pos x="33" y="45"/>
                  </a:cxn>
                  <a:cxn ang="0">
                    <a:pos x="38" y="38"/>
                  </a:cxn>
                  <a:cxn ang="0">
                    <a:pos x="41" y="36"/>
                  </a:cxn>
                  <a:cxn ang="0">
                    <a:pos x="45" y="33"/>
                  </a:cxn>
                  <a:cxn ang="0">
                    <a:pos x="48" y="30"/>
                  </a:cxn>
                  <a:cxn ang="0">
                    <a:pos x="50" y="26"/>
                  </a:cxn>
                  <a:cxn ang="0">
                    <a:pos x="48" y="20"/>
                  </a:cxn>
                  <a:cxn ang="0">
                    <a:pos x="45" y="20"/>
                  </a:cxn>
                  <a:cxn ang="0">
                    <a:pos x="43" y="16"/>
                  </a:cxn>
                  <a:cxn ang="0">
                    <a:pos x="40" y="15"/>
                  </a:cxn>
                  <a:cxn ang="0">
                    <a:pos x="40" y="13"/>
                  </a:cxn>
                  <a:cxn ang="0">
                    <a:pos x="40" y="10"/>
                  </a:cxn>
                  <a:cxn ang="0">
                    <a:pos x="40" y="6"/>
                  </a:cxn>
                  <a:cxn ang="0">
                    <a:pos x="36" y="6"/>
                  </a:cxn>
                  <a:cxn ang="0">
                    <a:pos x="35" y="3"/>
                  </a:cxn>
                  <a:cxn ang="0">
                    <a:pos x="31" y="1"/>
                  </a:cxn>
                  <a:cxn ang="0">
                    <a:pos x="30" y="0"/>
                  </a:cxn>
                  <a:cxn ang="0">
                    <a:pos x="28" y="0"/>
                  </a:cxn>
                  <a:cxn ang="0">
                    <a:pos x="28" y="5"/>
                  </a:cxn>
                  <a:cxn ang="0">
                    <a:pos x="25" y="11"/>
                  </a:cxn>
                  <a:cxn ang="0">
                    <a:pos x="25" y="13"/>
                  </a:cxn>
                  <a:cxn ang="0">
                    <a:pos x="20" y="15"/>
                  </a:cxn>
                  <a:cxn ang="0">
                    <a:pos x="18" y="13"/>
                  </a:cxn>
                  <a:cxn ang="0">
                    <a:pos x="16" y="13"/>
                  </a:cxn>
                  <a:cxn ang="0">
                    <a:pos x="15" y="15"/>
                  </a:cxn>
                  <a:cxn ang="0">
                    <a:pos x="11" y="13"/>
                  </a:cxn>
                  <a:cxn ang="0">
                    <a:pos x="10" y="10"/>
                  </a:cxn>
                  <a:cxn ang="0">
                    <a:pos x="6" y="8"/>
                  </a:cxn>
                  <a:cxn ang="0">
                    <a:pos x="3" y="8"/>
                  </a:cxn>
                  <a:cxn ang="0">
                    <a:pos x="0" y="10"/>
                  </a:cxn>
                  <a:cxn ang="0">
                    <a:pos x="0" y="11"/>
                  </a:cxn>
                  <a:cxn ang="0">
                    <a:pos x="3" y="16"/>
                  </a:cxn>
                  <a:cxn ang="0">
                    <a:pos x="3" y="21"/>
                  </a:cxn>
                  <a:cxn ang="0">
                    <a:pos x="3" y="26"/>
                  </a:cxn>
                  <a:cxn ang="0">
                    <a:pos x="8" y="53"/>
                  </a:cxn>
                </a:cxnLst>
                <a:rect l="0" t="0" r="r" b="b"/>
                <a:pathLst>
                  <a:path w="50" h="53">
                    <a:moveTo>
                      <a:pt x="8" y="53"/>
                    </a:moveTo>
                    <a:lnTo>
                      <a:pt x="20" y="53"/>
                    </a:lnTo>
                    <a:lnTo>
                      <a:pt x="28" y="51"/>
                    </a:lnTo>
                    <a:lnTo>
                      <a:pt x="33" y="45"/>
                    </a:lnTo>
                    <a:lnTo>
                      <a:pt x="38" y="38"/>
                    </a:lnTo>
                    <a:lnTo>
                      <a:pt x="41" y="36"/>
                    </a:lnTo>
                    <a:lnTo>
                      <a:pt x="45" y="33"/>
                    </a:lnTo>
                    <a:lnTo>
                      <a:pt x="48" y="30"/>
                    </a:lnTo>
                    <a:lnTo>
                      <a:pt x="50" y="26"/>
                    </a:lnTo>
                    <a:lnTo>
                      <a:pt x="48" y="20"/>
                    </a:lnTo>
                    <a:lnTo>
                      <a:pt x="45" y="20"/>
                    </a:lnTo>
                    <a:lnTo>
                      <a:pt x="43" y="16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6" y="6"/>
                    </a:lnTo>
                    <a:lnTo>
                      <a:pt x="35" y="3"/>
                    </a:lnTo>
                    <a:lnTo>
                      <a:pt x="31" y="1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5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20" y="15"/>
                    </a:lnTo>
                    <a:lnTo>
                      <a:pt x="18" y="13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1" y="13"/>
                    </a:lnTo>
                    <a:lnTo>
                      <a:pt x="10" y="10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3" y="16"/>
                    </a:lnTo>
                    <a:lnTo>
                      <a:pt x="3" y="21"/>
                    </a:lnTo>
                    <a:lnTo>
                      <a:pt x="3" y="26"/>
                    </a:lnTo>
                    <a:lnTo>
                      <a:pt x="8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8" name="Freeform 131"/>
              <p:cNvSpPr>
                <a:spLocks/>
              </p:cNvSpPr>
              <p:nvPr/>
            </p:nvSpPr>
            <p:spPr bwMode="auto">
              <a:xfrm>
                <a:off x="6571271" y="3208496"/>
                <a:ext cx="248298" cy="215818"/>
              </a:xfrm>
              <a:custGeom>
                <a:avLst/>
                <a:gdLst/>
                <a:ahLst/>
                <a:cxnLst>
                  <a:cxn ang="0">
                    <a:pos x="13" y="232"/>
                  </a:cxn>
                  <a:cxn ang="0">
                    <a:pos x="31" y="227"/>
                  </a:cxn>
                  <a:cxn ang="0">
                    <a:pos x="49" y="216"/>
                  </a:cxn>
                  <a:cxn ang="0">
                    <a:pos x="63" y="229"/>
                  </a:cxn>
                  <a:cxn ang="0">
                    <a:pos x="91" y="206"/>
                  </a:cxn>
                  <a:cxn ang="0">
                    <a:pos x="96" y="171"/>
                  </a:cxn>
                  <a:cxn ang="0">
                    <a:pos x="119" y="146"/>
                  </a:cxn>
                  <a:cxn ang="0">
                    <a:pos x="141" y="114"/>
                  </a:cxn>
                  <a:cxn ang="0">
                    <a:pos x="146" y="88"/>
                  </a:cxn>
                  <a:cxn ang="0">
                    <a:pos x="162" y="51"/>
                  </a:cxn>
                  <a:cxn ang="0">
                    <a:pos x="159" y="25"/>
                  </a:cxn>
                  <a:cxn ang="0">
                    <a:pos x="167" y="11"/>
                  </a:cxn>
                  <a:cxn ang="0">
                    <a:pos x="182" y="6"/>
                  </a:cxn>
                  <a:cxn ang="0">
                    <a:pos x="207" y="21"/>
                  </a:cxn>
                  <a:cxn ang="0">
                    <a:pos x="234" y="23"/>
                  </a:cxn>
                  <a:cxn ang="0">
                    <a:pos x="249" y="23"/>
                  </a:cxn>
                  <a:cxn ang="0">
                    <a:pos x="269" y="16"/>
                  </a:cxn>
                  <a:cxn ang="0">
                    <a:pos x="300" y="6"/>
                  </a:cxn>
                  <a:cxn ang="0">
                    <a:pos x="315" y="10"/>
                  </a:cxn>
                  <a:cxn ang="0">
                    <a:pos x="327" y="0"/>
                  </a:cxn>
                  <a:cxn ang="0">
                    <a:pos x="347" y="6"/>
                  </a:cxn>
                  <a:cxn ang="0">
                    <a:pos x="377" y="8"/>
                  </a:cxn>
                  <a:cxn ang="0">
                    <a:pos x="395" y="23"/>
                  </a:cxn>
                  <a:cxn ang="0">
                    <a:pos x="411" y="20"/>
                  </a:cxn>
                  <a:cxn ang="0">
                    <a:pos x="431" y="15"/>
                  </a:cxn>
                  <a:cxn ang="0">
                    <a:pos x="450" y="33"/>
                  </a:cxn>
                  <a:cxn ang="0">
                    <a:pos x="461" y="41"/>
                  </a:cxn>
                  <a:cxn ang="0">
                    <a:pos x="458" y="68"/>
                  </a:cxn>
                  <a:cxn ang="0">
                    <a:pos x="440" y="103"/>
                  </a:cxn>
                  <a:cxn ang="0">
                    <a:pos x="425" y="147"/>
                  </a:cxn>
                  <a:cxn ang="0">
                    <a:pos x="413" y="187"/>
                  </a:cxn>
                  <a:cxn ang="0">
                    <a:pos x="446" y="300"/>
                  </a:cxn>
                  <a:cxn ang="0">
                    <a:pos x="403" y="337"/>
                  </a:cxn>
                  <a:cxn ang="0">
                    <a:pos x="400" y="352"/>
                  </a:cxn>
                  <a:cxn ang="0">
                    <a:pos x="395" y="380"/>
                  </a:cxn>
                  <a:cxn ang="0">
                    <a:pos x="418" y="395"/>
                  </a:cxn>
                  <a:cxn ang="0">
                    <a:pos x="425" y="417"/>
                  </a:cxn>
                  <a:cxn ang="0">
                    <a:pos x="408" y="417"/>
                  </a:cxn>
                  <a:cxn ang="0">
                    <a:pos x="375" y="392"/>
                  </a:cxn>
                  <a:cxn ang="0">
                    <a:pos x="360" y="377"/>
                  </a:cxn>
                  <a:cxn ang="0">
                    <a:pos x="343" y="385"/>
                  </a:cxn>
                  <a:cxn ang="0">
                    <a:pos x="318" y="378"/>
                  </a:cxn>
                  <a:cxn ang="0">
                    <a:pos x="308" y="368"/>
                  </a:cxn>
                  <a:cxn ang="0">
                    <a:pos x="295" y="372"/>
                  </a:cxn>
                  <a:cxn ang="0">
                    <a:pos x="285" y="363"/>
                  </a:cxn>
                  <a:cxn ang="0">
                    <a:pos x="265" y="368"/>
                  </a:cxn>
                  <a:cxn ang="0">
                    <a:pos x="247" y="367"/>
                  </a:cxn>
                  <a:cxn ang="0">
                    <a:pos x="244" y="360"/>
                  </a:cxn>
                  <a:cxn ang="0">
                    <a:pos x="240" y="343"/>
                  </a:cxn>
                  <a:cxn ang="0">
                    <a:pos x="235" y="332"/>
                  </a:cxn>
                  <a:cxn ang="0">
                    <a:pos x="234" y="310"/>
                  </a:cxn>
                  <a:cxn ang="0">
                    <a:pos x="232" y="294"/>
                  </a:cxn>
                  <a:cxn ang="0">
                    <a:pos x="206" y="277"/>
                  </a:cxn>
                  <a:cxn ang="0">
                    <a:pos x="174" y="280"/>
                  </a:cxn>
                  <a:cxn ang="0">
                    <a:pos x="151" y="297"/>
                  </a:cxn>
                  <a:cxn ang="0">
                    <a:pos x="124" y="289"/>
                  </a:cxn>
                  <a:cxn ang="0">
                    <a:pos x="114" y="270"/>
                  </a:cxn>
                  <a:cxn ang="0">
                    <a:pos x="109" y="254"/>
                  </a:cxn>
                  <a:cxn ang="0">
                    <a:pos x="53" y="249"/>
                  </a:cxn>
                  <a:cxn ang="0">
                    <a:pos x="24" y="249"/>
                  </a:cxn>
                  <a:cxn ang="0">
                    <a:pos x="11" y="252"/>
                  </a:cxn>
                </a:cxnLst>
                <a:rect l="0" t="0" r="r" b="b"/>
                <a:pathLst>
                  <a:path w="463" h="417">
                    <a:moveTo>
                      <a:pt x="0" y="249"/>
                    </a:moveTo>
                    <a:lnTo>
                      <a:pt x="5" y="245"/>
                    </a:lnTo>
                    <a:lnTo>
                      <a:pt x="8" y="245"/>
                    </a:lnTo>
                    <a:lnTo>
                      <a:pt x="11" y="242"/>
                    </a:lnTo>
                    <a:lnTo>
                      <a:pt x="11" y="234"/>
                    </a:lnTo>
                    <a:lnTo>
                      <a:pt x="13" y="232"/>
                    </a:lnTo>
                    <a:lnTo>
                      <a:pt x="18" y="229"/>
                    </a:lnTo>
                    <a:lnTo>
                      <a:pt x="23" y="224"/>
                    </a:lnTo>
                    <a:lnTo>
                      <a:pt x="26" y="224"/>
                    </a:lnTo>
                    <a:lnTo>
                      <a:pt x="29" y="222"/>
                    </a:lnTo>
                    <a:lnTo>
                      <a:pt x="31" y="224"/>
                    </a:lnTo>
                    <a:lnTo>
                      <a:pt x="31" y="227"/>
                    </a:lnTo>
                    <a:lnTo>
                      <a:pt x="36" y="227"/>
                    </a:lnTo>
                    <a:lnTo>
                      <a:pt x="38" y="224"/>
                    </a:lnTo>
                    <a:lnTo>
                      <a:pt x="38" y="219"/>
                    </a:lnTo>
                    <a:lnTo>
                      <a:pt x="41" y="219"/>
                    </a:lnTo>
                    <a:lnTo>
                      <a:pt x="44" y="219"/>
                    </a:lnTo>
                    <a:lnTo>
                      <a:pt x="49" y="216"/>
                    </a:lnTo>
                    <a:lnTo>
                      <a:pt x="58" y="214"/>
                    </a:lnTo>
                    <a:lnTo>
                      <a:pt x="58" y="216"/>
                    </a:lnTo>
                    <a:lnTo>
                      <a:pt x="54" y="221"/>
                    </a:lnTo>
                    <a:lnTo>
                      <a:pt x="56" y="222"/>
                    </a:lnTo>
                    <a:lnTo>
                      <a:pt x="58" y="226"/>
                    </a:lnTo>
                    <a:lnTo>
                      <a:pt x="63" y="229"/>
                    </a:lnTo>
                    <a:lnTo>
                      <a:pt x="68" y="226"/>
                    </a:lnTo>
                    <a:lnTo>
                      <a:pt x="73" y="221"/>
                    </a:lnTo>
                    <a:lnTo>
                      <a:pt x="83" y="212"/>
                    </a:lnTo>
                    <a:lnTo>
                      <a:pt x="84" y="209"/>
                    </a:lnTo>
                    <a:lnTo>
                      <a:pt x="88" y="207"/>
                    </a:lnTo>
                    <a:lnTo>
                      <a:pt x="91" y="206"/>
                    </a:lnTo>
                    <a:lnTo>
                      <a:pt x="96" y="201"/>
                    </a:lnTo>
                    <a:lnTo>
                      <a:pt x="96" y="196"/>
                    </a:lnTo>
                    <a:lnTo>
                      <a:pt x="98" y="191"/>
                    </a:lnTo>
                    <a:lnTo>
                      <a:pt x="98" y="177"/>
                    </a:lnTo>
                    <a:lnTo>
                      <a:pt x="96" y="176"/>
                    </a:lnTo>
                    <a:lnTo>
                      <a:pt x="96" y="171"/>
                    </a:lnTo>
                    <a:lnTo>
                      <a:pt x="98" y="166"/>
                    </a:lnTo>
                    <a:lnTo>
                      <a:pt x="106" y="159"/>
                    </a:lnTo>
                    <a:lnTo>
                      <a:pt x="106" y="154"/>
                    </a:lnTo>
                    <a:lnTo>
                      <a:pt x="111" y="149"/>
                    </a:lnTo>
                    <a:lnTo>
                      <a:pt x="116" y="146"/>
                    </a:lnTo>
                    <a:lnTo>
                      <a:pt x="119" y="146"/>
                    </a:lnTo>
                    <a:lnTo>
                      <a:pt x="122" y="142"/>
                    </a:lnTo>
                    <a:lnTo>
                      <a:pt x="127" y="142"/>
                    </a:lnTo>
                    <a:lnTo>
                      <a:pt x="136" y="131"/>
                    </a:lnTo>
                    <a:lnTo>
                      <a:pt x="136" y="123"/>
                    </a:lnTo>
                    <a:lnTo>
                      <a:pt x="137" y="116"/>
                    </a:lnTo>
                    <a:lnTo>
                      <a:pt x="141" y="114"/>
                    </a:lnTo>
                    <a:lnTo>
                      <a:pt x="142" y="108"/>
                    </a:lnTo>
                    <a:lnTo>
                      <a:pt x="141" y="108"/>
                    </a:lnTo>
                    <a:lnTo>
                      <a:pt x="142" y="101"/>
                    </a:lnTo>
                    <a:lnTo>
                      <a:pt x="142" y="98"/>
                    </a:lnTo>
                    <a:lnTo>
                      <a:pt x="142" y="91"/>
                    </a:lnTo>
                    <a:lnTo>
                      <a:pt x="146" y="88"/>
                    </a:lnTo>
                    <a:lnTo>
                      <a:pt x="146" y="83"/>
                    </a:lnTo>
                    <a:lnTo>
                      <a:pt x="147" y="78"/>
                    </a:lnTo>
                    <a:lnTo>
                      <a:pt x="146" y="69"/>
                    </a:lnTo>
                    <a:lnTo>
                      <a:pt x="156" y="58"/>
                    </a:lnTo>
                    <a:lnTo>
                      <a:pt x="157" y="54"/>
                    </a:lnTo>
                    <a:lnTo>
                      <a:pt x="162" y="51"/>
                    </a:lnTo>
                    <a:lnTo>
                      <a:pt x="162" y="43"/>
                    </a:lnTo>
                    <a:lnTo>
                      <a:pt x="159" y="38"/>
                    </a:lnTo>
                    <a:lnTo>
                      <a:pt x="159" y="33"/>
                    </a:lnTo>
                    <a:lnTo>
                      <a:pt x="161" y="31"/>
                    </a:lnTo>
                    <a:lnTo>
                      <a:pt x="162" y="28"/>
                    </a:lnTo>
                    <a:lnTo>
                      <a:pt x="159" y="25"/>
                    </a:lnTo>
                    <a:lnTo>
                      <a:pt x="159" y="21"/>
                    </a:lnTo>
                    <a:lnTo>
                      <a:pt x="162" y="21"/>
                    </a:lnTo>
                    <a:lnTo>
                      <a:pt x="164" y="20"/>
                    </a:lnTo>
                    <a:lnTo>
                      <a:pt x="164" y="18"/>
                    </a:lnTo>
                    <a:lnTo>
                      <a:pt x="166" y="15"/>
                    </a:lnTo>
                    <a:lnTo>
                      <a:pt x="167" y="11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6" y="8"/>
                    </a:lnTo>
                    <a:lnTo>
                      <a:pt x="179" y="8"/>
                    </a:lnTo>
                    <a:lnTo>
                      <a:pt x="181" y="6"/>
                    </a:lnTo>
                    <a:lnTo>
                      <a:pt x="182" y="6"/>
                    </a:lnTo>
                    <a:lnTo>
                      <a:pt x="186" y="8"/>
                    </a:lnTo>
                    <a:lnTo>
                      <a:pt x="189" y="8"/>
                    </a:lnTo>
                    <a:lnTo>
                      <a:pt x="196" y="15"/>
                    </a:lnTo>
                    <a:lnTo>
                      <a:pt x="199" y="15"/>
                    </a:lnTo>
                    <a:lnTo>
                      <a:pt x="206" y="20"/>
                    </a:lnTo>
                    <a:lnTo>
                      <a:pt x="207" y="21"/>
                    </a:lnTo>
                    <a:lnTo>
                      <a:pt x="212" y="21"/>
                    </a:lnTo>
                    <a:lnTo>
                      <a:pt x="217" y="23"/>
                    </a:lnTo>
                    <a:lnTo>
                      <a:pt x="224" y="25"/>
                    </a:lnTo>
                    <a:lnTo>
                      <a:pt x="227" y="25"/>
                    </a:lnTo>
                    <a:lnTo>
                      <a:pt x="230" y="23"/>
                    </a:lnTo>
                    <a:lnTo>
                      <a:pt x="234" y="23"/>
                    </a:lnTo>
                    <a:lnTo>
                      <a:pt x="237" y="25"/>
                    </a:lnTo>
                    <a:lnTo>
                      <a:pt x="244" y="26"/>
                    </a:lnTo>
                    <a:lnTo>
                      <a:pt x="245" y="26"/>
                    </a:lnTo>
                    <a:lnTo>
                      <a:pt x="250" y="26"/>
                    </a:lnTo>
                    <a:lnTo>
                      <a:pt x="252" y="25"/>
                    </a:lnTo>
                    <a:lnTo>
                      <a:pt x="249" y="23"/>
                    </a:lnTo>
                    <a:lnTo>
                      <a:pt x="249" y="20"/>
                    </a:lnTo>
                    <a:lnTo>
                      <a:pt x="252" y="16"/>
                    </a:lnTo>
                    <a:lnTo>
                      <a:pt x="257" y="13"/>
                    </a:lnTo>
                    <a:lnTo>
                      <a:pt x="260" y="13"/>
                    </a:lnTo>
                    <a:lnTo>
                      <a:pt x="265" y="13"/>
                    </a:lnTo>
                    <a:lnTo>
                      <a:pt x="269" y="16"/>
                    </a:lnTo>
                    <a:lnTo>
                      <a:pt x="272" y="15"/>
                    </a:lnTo>
                    <a:lnTo>
                      <a:pt x="282" y="13"/>
                    </a:lnTo>
                    <a:lnTo>
                      <a:pt x="284" y="11"/>
                    </a:lnTo>
                    <a:lnTo>
                      <a:pt x="287" y="10"/>
                    </a:lnTo>
                    <a:lnTo>
                      <a:pt x="297" y="6"/>
                    </a:lnTo>
                    <a:lnTo>
                      <a:pt x="300" y="6"/>
                    </a:lnTo>
                    <a:lnTo>
                      <a:pt x="302" y="8"/>
                    </a:lnTo>
                    <a:lnTo>
                      <a:pt x="304" y="8"/>
                    </a:lnTo>
                    <a:lnTo>
                      <a:pt x="304" y="11"/>
                    </a:lnTo>
                    <a:lnTo>
                      <a:pt x="307" y="11"/>
                    </a:lnTo>
                    <a:lnTo>
                      <a:pt x="308" y="10"/>
                    </a:lnTo>
                    <a:lnTo>
                      <a:pt x="315" y="10"/>
                    </a:lnTo>
                    <a:lnTo>
                      <a:pt x="318" y="8"/>
                    </a:lnTo>
                    <a:lnTo>
                      <a:pt x="322" y="8"/>
                    </a:lnTo>
                    <a:lnTo>
                      <a:pt x="325" y="5"/>
                    </a:lnTo>
                    <a:lnTo>
                      <a:pt x="323" y="3"/>
                    </a:lnTo>
                    <a:lnTo>
                      <a:pt x="323" y="1"/>
                    </a:lnTo>
                    <a:lnTo>
                      <a:pt x="327" y="0"/>
                    </a:lnTo>
                    <a:lnTo>
                      <a:pt x="330" y="3"/>
                    </a:lnTo>
                    <a:lnTo>
                      <a:pt x="335" y="3"/>
                    </a:lnTo>
                    <a:lnTo>
                      <a:pt x="337" y="3"/>
                    </a:lnTo>
                    <a:lnTo>
                      <a:pt x="340" y="5"/>
                    </a:lnTo>
                    <a:lnTo>
                      <a:pt x="343" y="5"/>
                    </a:lnTo>
                    <a:lnTo>
                      <a:pt x="347" y="6"/>
                    </a:lnTo>
                    <a:lnTo>
                      <a:pt x="357" y="6"/>
                    </a:lnTo>
                    <a:lnTo>
                      <a:pt x="357" y="8"/>
                    </a:lnTo>
                    <a:lnTo>
                      <a:pt x="365" y="5"/>
                    </a:lnTo>
                    <a:lnTo>
                      <a:pt x="370" y="5"/>
                    </a:lnTo>
                    <a:lnTo>
                      <a:pt x="375" y="8"/>
                    </a:lnTo>
                    <a:lnTo>
                      <a:pt x="377" y="8"/>
                    </a:lnTo>
                    <a:lnTo>
                      <a:pt x="377" y="11"/>
                    </a:lnTo>
                    <a:lnTo>
                      <a:pt x="380" y="15"/>
                    </a:lnTo>
                    <a:lnTo>
                      <a:pt x="383" y="15"/>
                    </a:lnTo>
                    <a:lnTo>
                      <a:pt x="385" y="18"/>
                    </a:lnTo>
                    <a:lnTo>
                      <a:pt x="390" y="21"/>
                    </a:lnTo>
                    <a:lnTo>
                      <a:pt x="395" y="23"/>
                    </a:lnTo>
                    <a:lnTo>
                      <a:pt x="398" y="23"/>
                    </a:lnTo>
                    <a:lnTo>
                      <a:pt x="400" y="20"/>
                    </a:lnTo>
                    <a:lnTo>
                      <a:pt x="403" y="18"/>
                    </a:lnTo>
                    <a:lnTo>
                      <a:pt x="408" y="18"/>
                    </a:lnTo>
                    <a:lnTo>
                      <a:pt x="411" y="18"/>
                    </a:lnTo>
                    <a:lnTo>
                      <a:pt x="411" y="20"/>
                    </a:lnTo>
                    <a:lnTo>
                      <a:pt x="415" y="20"/>
                    </a:lnTo>
                    <a:lnTo>
                      <a:pt x="420" y="18"/>
                    </a:lnTo>
                    <a:lnTo>
                      <a:pt x="421" y="16"/>
                    </a:lnTo>
                    <a:lnTo>
                      <a:pt x="425" y="13"/>
                    </a:lnTo>
                    <a:lnTo>
                      <a:pt x="430" y="13"/>
                    </a:lnTo>
                    <a:lnTo>
                      <a:pt x="431" y="15"/>
                    </a:lnTo>
                    <a:lnTo>
                      <a:pt x="435" y="20"/>
                    </a:lnTo>
                    <a:lnTo>
                      <a:pt x="436" y="23"/>
                    </a:lnTo>
                    <a:lnTo>
                      <a:pt x="438" y="25"/>
                    </a:lnTo>
                    <a:lnTo>
                      <a:pt x="445" y="26"/>
                    </a:lnTo>
                    <a:lnTo>
                      <a:pt x="448" y="28"/>
                    </a:lnTo>
                    <a:lnTo>
                      <a:pt x="450" y="33"/>
                    </a:lnTo>
                    <a:lnTo>
                      <a:pt x="451" y="34"/>
                    </a:lnTo>
                    <a:lnTo>
                      <a:pt x="451" y="38"/>
                    </a:lnTo>
                    <a:lnTo>
                      <a:pt x="453" y="39"/>
                    </a:lnTo>
                    <a:lnTo>
                      <a:pt x="453" y="39"/>
                    </a:lnTo>
                    <a:lnTo>
                      <a:pt x="460" y="39"/>
                    </a:lnTo>
                    <a:lnTo>
                      <a:pt x="461" y="41"/>
                    </a:lnTo>
                    <a:lnTo>
                      <a:pt x="460" y="44"/>
                    </a:lnTo>
                    <a:lnTo>
                      <a:pt x="458" y="48"/>
                    </a:lnTo>
                    <a:lnTo>
                      <a:pt x="458" y="53"/>
                    </a:lnTo>
                    <a:lnTo>
                      <a:pt x="456" y="61"/>
                    </a:lnTo>
                    <a:lnTo>
                      <a:pt x="456" y="66"/>
                    </a:lnTo>
                    <a:lnTo>
                      <a:pt x="458" y="68"/>
                    </a:lnTo>
                    <a:lnTo>
                      <a:pt x="461" y="71"/>
                    </a:lnTo>
                    <a:lnTo>
                      <a:pt x="463" y="74"/>
                    </a:lnTo>
                    <a:lnTo>
                      <a:pt x="461" y="78"/>
                    </a:lnTo>
                    <a:lnTo>
                      <a:pt x="450" y="93"/>
                    </a:lnTo>
                    <a:lnTo>
                      <a:pt x="441" y="99"/>
                    </a:lnTo>
                    <a:lnTo>
                      <a:pt x="440" y="103"/>
                    </a:lnTo>
                    <a:lnTo>
                      <a:pt x="430" y="119"/>
                    </a:lnTo>
                    <a:lnTo>
                      <a:pt x="428" y="121"/>
                    </a:lnTo>
                    <a:lnTo>
                      <a:pt x="428" y="128"/>
                    </a:lnTo>
                    <a:lnTo>
                      <a:pt x="428" y="136"/>
                    </a:lnTo>
                    <a:lnTo>
                      <a:pt x="425" y="142"/>
                    </a:lnTo>
                    <a:lnTo>
                      <a:pt x="425" y="147"/>
                    </a:lnTo>
                    <a:lnTo>
                      <a:pt x="418" y="154"/>
                    </a:lnTo>
                    <a:lnTo>
                      <a:pt x="415" y="157"/>
                    </a:lnTo>
                    <a:lnTo>
                      <a:pt x="411" y="171"/>
                    </a:lnTo>
                    <a:lnTo>
                      <a:pt x="410" y="177"/>
                    </a:lnTo>
                    <a:lnTo>
                      <a:pt x="413" y="182"/>
                    </a:lnTo>
                    <a:lnTo>
                      <a:pt x="413" y="187"/>
                    </a:lnTo>
                    <a:lnTo>
                      <a:pt x="413" y="192"/>
                    </a:lnTo>
                    <a:lnTo>
                      <a:pt x="421" y="237"/>
                    </a:lnTo>
                    <a:lnTo>
                      <a:pt x="426" y="262"/>
                    </a:lnTo>
                    <a:lnTo>
                      <a:pt x="443" y="284"/>
                    </a:lnTo>
                    <a:lnTo>
                      <a:pt x="450" y="302"/>
                    </a:lnTo>
                    <a:lnTo>
                      <a:pt x="446" y="300"/>
                    </a:lnTo>
                    <a:lnTo>
                      <a:pt x="407" y="309"/>
                    </a:lnTo>
                    <a:lnTo>
                      <a:pt x="397" y="325"/>
                    </a:lnTo>
                    <a:lnTo>
                      <a:pt x="398" y="330"/>
                    </a:lnTo>
                    <a:lnTo>
                      <a:pt x="402" y="332"/>
                    </a:lnTo>
                    <a:lnTo>
                      <a:pt x="403" y="333"/>
                    </a:lnTo>
                    <a:lnTo>
                      <a:pt x="403" y="337"/>
                    </a:lnTo>
                    <a:lnTo>
                      <a:pt x="402" y="337"/>
                    </a:lnTo>
                    <a:lnTo>
                      <a:pt x="402" y="340"/>
                    </a:lnTo>
                    <a:lnTo>
                      <a:pt x="402" y="343"/>
                    </a:lnTo>
                    <a:lnTo>
                      <a:pt x="402" y="347"/>
                    </a:lnTo>
                    <a:lnTo>
                      <a:pt x="402" y="352"/>
                    </a:lnTo>
                    <a:lnTo>
                      <a:pt x="400" y="352"/>
                    </a:lnTo>
                    <a:lnTo>
                      <a:pt x="400" y="353"/>
                    </a:lnTo>
                    <a:lnTo>
                      <a:pt x="398" y="357"/>
                    </a:lnTo>
                    <a:lnTo>
                      <a:pt x="393" y="360"/>
                    </a:lnTo>
                    <a:lnTo>
                      <a:pt x="393" y="363"/>
                    </a:lnTo>
                    <a:lnTo>
                      <a:pt x="393" y="375"/>
                    </a:lnTo>
                    <a:lnTo>
                      <a:pt x="395" y="380"/>
                    </a:lnTo>
                    <a:lnTo>
                      <a:pt x="397" y="383"/>
                    </a:lnTo>
                    <a:lnTo>
                      <a:pt x="403" y="390"/>
                    </a:lnTo>
                    <a:lnTo>
                      <a:pt x="405" y="393"/>
                    </a:lnTo>
                    <a:lnTo>
                      <a:pt x="408" y="395"/>
                    </a:lnTo>
                    <a:lnTo>
                      <a:pt x="418" y="395"/>
                    </a:lnTo>
                    <a:lnTo>
                      <a:pt x="418" y="395"/>
                    </a:lnTo>
                    <a:lnTo>
                      <a:pt x="416" y="393"/>
                    </a:lnTo>
                    <a:lnTo>
                      <a:pt x="416" y="390"/>
                    </a:lnTo>
                    <a:lnTo>
                      <a:pt x="421" y="390"/>
                    </a:lnTo>
                    <a:lnTo>
                      <a:pt x="425" y="390"/>
                    </a:lnTo>
                    <a:lnTo>
                      <a:pt x="426" y="413"/>
                    </a:lnTo>
                    <a:lnTo>
                      <a:pt x="425" y="417"/>
                    </a:lnTo>
                    <a:lnTo>
                      <a:pt x="421" y="415"/>
                    </a:lnTo>
                    <a:lnTo>
                      <a:pt x="421" y="413"/>
                    </a:lnTo>
                    <a:lnTo>
                      <a:pt x="418" y="413"/>
                    </a:lnTo>
                    <a:lnTo>
                      <a:pt x="415" y="415"/>
                    </a:lnTo>
                    <a:lnTo>
                      <a:pt x="411" y="417"/>
                    </a:lnTo>
                    <a:lnTo>
                      <a:pt x="408" y="417"/>
                    </a:lnTo>
                    <a:lnTo>
                      <a:pt x="403" y="412"/>
                    </a:lnTo>
                    <a:lnTo>
                      <a:pt x="398" y="407"/>
                    </a:lnTo>
                    <a:lnTo>
                      <a:pt x="393" y="403"/>
                    </a:lnTo>
                    <a:lnTo>
                      <a:pt x="388" y="397"/>
                    </a:lnTo>
                    <a:lnTo>
                      <a:pt x="383" y="393"/>
                    </a:lnTo>
                    <a:lnTo>
                      <a:pt x="375" y="392"/>
                    </a:lnTo>
                    <a:lnTo>
                      <a:pt x="368" y="388"/>
                    </a:lnTo>
                    <a:lnTo>
                      <a:pt x="368" y="385"/>
                    </a:lnTo>
                    <a:lnTo>
                      <a:pt x="365" y="382"/>
                    </a:lnTo>
                    <a:lnTo>
                      <a:pt x="365" y="375"/>
                    </a:lnTo>
                    <a:lnTo>
                      <a:pt x="363" y="375"/>
                    </a:lnTo>
                    <a:lnTo>
                      <a:pt x="360" y="377"/>
                    </a:lnTo>
                    <a:lnTo>
                      <a:pt x="357" y="377"/>
                    </a:lnTo>
                    <a:lnTo>
                      <a:pt x="355" y="382"/>
                    </a:lnTo>
                    <a:lnTo>
                      <a:pt x="355" y="385"/>
                    </a:lnTo>
                    <a:lnTo>
                      <a:pt x="347" y="387"/>
                    </a:lnTo>
                    <a:lnTo>
                      <a:pt x="343" y="387"/>
                    </a:lnTo>
                    <a:lnTo>
                      <a:pt x="343" y="385"/>
                    </a:lnTo>
                    <a:lnTo>
                      <a:pt x="337" y="385"/>
                    </a:lnTo>
                    <a:lnTo>
                      <a:pt x="333" y="383"/>
                    </a:lnTo>
                    <a:lnTo>
                      <a:pt x="327" y="380"/>
                    </a:lnTo>
                    <a:lnTo>
                      <a:pt x="325" y="380"/>
                    </a:lnTo>
                    <a:lnTo>
                      <a:pt x="320" y="378"/>
                    </a:lnTo>
                    <a:lnTo>
                      <a:pt x="318" y="378"/>
                    </a:lnTo>
                    <a:lnTo>
                      <a:pt x="318" y="377"/>
                    </a:lnTo>
                    <a:lnTo>
                      <a:pt x="318" y="373"/>
                    </a:lnTo>
                    <a:lnTo>
                      <a:pt x="317" y="372"/>
                    </a:lnTo>
                    <a:lnTo>
                      <a:pt x="317" y="367"/>
                    </a:lnTo>
                    <a:lnTo>
                      <a:pt x="315" y="367"/>
                    </a:lnTo>
                    <a:lnTo>
                      <a:pt x="308" y="368"/>
                    </a:lnTo>
                    <a:lnTo>
                      <a:pt x="307" y="370"/>
                    </a:lnTo>
                    <a:lnTo>
                      <a:pt x="304" y="370"/>
                    </a:lnTo>
                    <a:lnTo>
                      <a:pt x="300" y="372"/>
                    </a:lnTo>
                    <a:lnTo>
                      <a:pt x="297" y="373"/>
                    </a:lnTo>
                    <a:lnTo>
                      <a:pt x="295" y="373"/>
                    </a:lnTo>
                    <a:lnTo>
                      <a:pt x="295" y="372"/>
                    </a:lnTo>
                    <a:lnTo>
                      <a:pt x="295" y="367"/>
                    </a:lnTo>
                    <a:lnTo>
                      <a:pt x="294" y="367"/>
                    </a:lnTo>
                    <a:lnTo>
                      <a:pt x="290" y="365"/>
                    </a:lnTo>
                    <a:lnTo>
                      <a:pt x="287" y="365"/>
                    </a:lnTo>
                    <a:lnTo>
                      <a:pt x="285" y="363"/>
                    </a:lnTo>
                    <a:lnTo>
                      <a:pt x="285" y="363"/>
                    </a:lnTo>
                    <a:lnTo>
                      <a:pt x="280" y="363"/>
                    </a:lnTo>
                    <a:lnTo>
                      <a:pt x="277" y="365"/>
                    </a:lnTo>
                    <a:lnTo>
                      <a:pt x="272" y="367"/>
                    </a:lnTo>
                    <a:lnTo>
                      <a:pt x="270" y="368"/>
                    </a:lnTo>
                    <a:lnTo>
                      <a:pt x="267" y="368"/>
                    </a:lnTo>
                    <a:lnTo>
                      <a:pt x="265" y="368"/>
                    </a:lnTo>
                    <a:lnTo>
                      <a:pt x="259" y="368"/>
                    </a:lnTo>
                    <a:lnTo>
                      <a:pt x="257" y="367"/>
                    </a:lnTo>
                    <a:lnTo>
                      <a:pt x="254" y="365"/>
                    </a:lnTo>
                    <a:lnTo>
                      <a:pt x="250" y="365"/>
                    </a:lnTo>
                    <a:lnTo>
                      <a:pt x="249" y="365"/>
                    </a:lnTo>
                    <a:lnTo>
                      <a:pt x="247" y="367"/>
                    </a:lnTo>
                    <a:lnTo>
                      <a:pt x="245" y="368"/>
                    </a:lnTo>
                    <a:lnTo>
                      <a:pt x="244" y="368"/>
                    </a:lnTo>
                    <a:lnTo>
                      <a:pt x="242" y="367"/>
                    </a:lnTo>
                    <a:lnTo>
                      <a:pt x="242" y="362"/>
                    </a:lnTo>
                    <a:lnTo>
                      <a:pt x="244" y="360"/>
                    </a:lnTo>
                    <a:lnTo>
                      <a:pt x="244" y="360"/>
                    </a:lnTo>
                    <a:lnTo>
                      <a:pt x="245" y="357"/>
                    </a:lnTo>
                    <a:lnTo>
                      <a:pt x="242" y="353"/>
                    </a:lnTo>
                    <a:lnTo>
                      <a:pt x="242" y="350"/>
                    </a:lnTo>
                    <a:lnTo>
                      <a:pt x="242" y="348"/>
                    </a:lnTo>
                    <a:lnTo>
                      <a:pt x="242" y="347"/>
                    </a:lnTo>
                    <a:lnTo>
                      <a:pt x="240" y="343"/>
                    </a:lnTo>
                    <a:lnTo>
                      <a:pt x="240" y="340"/>
                    </a:lnTo>
                    <a:lnTo>
                      <a:pt x="240" y="338"/>
                    </a:lnTo>
                    <a:lnTo>
                      <a:pt x="240" y="335"/>
                    </a:lnTo>
                    <a:lnTo>
                      <a:pt x="239" y="335"/>
                    </a:lnTo>
                    <a:lnTo>
                      <a:pt x="237" y="332"/>
                    </a:lnTo>
                    <a:lnTo>
                      <a:pt x="235" y="332"/>
                    </a:lnTo>
                    <a:lnTo>
                      <a:pt x="235" y="328"/>
                    </a:lnTo>
                    <a:lnTo>
                      <a:pt x="234" y="327"/>
                    </a:lnTo>
                    <a:lnTo>
                      <a:pt x="234" y="324"/>
                    </a:lnTo>
                    <a:lnTo>
                      <a:pt x="232" y="322"/>
                    </a:lnTo>
                    <a:lnTo>
                      <a:pt x="234" y="319"/>
                    </a:lnTo>
                    <a:lnTo>
                      <a:pt x="234" y="310"/>
                    </a:lnTo>
                    <a:lnTo>
                      <a:pt x="232" y="307"/>
                    </a:lnTo>
                    <a:lnTo>
                      <a:pt x="232" y="305"/>
                    </a:lnTo>
                    <a:lnTo>
                      <a:pt x="234" y="304"/>
                    </a:lnTo>
                    <a:lnTo>
                      <a:pt x="234" y="300"/>
                    </a:lnTo>
                    <a:lnTo>
                      <a:pt x="230" y="297"/>
                    </a:lnTo>
                    <a:lnTo>
                      <a:pt x="232" y="294"/>
                    </a:lnTo>
                    <a:lnTo>
                      <a:pt x="234" y="290"/>
                    </a:lnTo>
                    <a:lnTo>
                      <a:pt x="234" y="287"/>
                    </a:lnTo>
                    <a:lnTo>
                      <a:pt x="234" y="284"/>
                    </a:lnTo>
                    <a:lnTo>
                      <a:pt x="234" y="280"/>
                    </a:lnTo>
                    <a:lnTo>
                      <a:pt x="206" y="279"/>
                    </a:lnTo>
                    <a:lnTo>
                      <a:pt x="206" y="277"/>
                    </a:lnTo>
                    <a:lnTo>
                      <a:pt x="206" y="275"/>
                    </a:lnTo>
                    <a:lnTo>
                      <a:pt x="207" y="272"/>
                    </a:lnTo>
                    <a:lnTo>
                      <a:pt x="199" y="272"/>
                    </a:lnTo>
                    <a:lnTo>
                      <a:pt x="199" y="274"/>
                    </a:lnTo>
                    <a:lnTo>
                      <a:pt x="176" y="274"/>
                    </a:lnTo>
                    <a:lnTo>
                      <a:pt x="174" y="280"/>
                    </a:lnTo>
                    <a:lnTo>
                      <a:pt x="172" y="284"/>
                    </a:lnTo>
                    <a:lnTo>
                      <a:pt x="171" y="285"/>
                    </a:lnTo>
                    <a:lnTo>
                      <a:pt x="172" y="289"/>
                    </a:lnTo>
                    <a:lnTo>
                      <a:pt x="172" y="295"/>
                    </a:lnTo>
                    <a:lnTo>
                      <a:pt x="154" y="295"/>
                    </a:lnTo>
                    <a:lnTo>
                      <a:pt x="151" y="297"/>
                    </a:lnTo>
                    <a:lnTo>
                      <a:pt x="142" y="297"/>
                    </a:lnTo>
                    <a:lnTo>
                      <a:pt x="139" y="297"/>
                    </a:lnTo>
                    <a:lnTo>
                      <a:pt x="134" y="297"/>
                    </a:lnTo>
                    <a:lnTo>
                      <a:pt x="129" y="297"/>
                    </a:lnTo>
                    <a:lnTo>
                      <a:pt x="126" y="295"/>
                    </a:lnTo>
                    <a:lnTo>
                      <a:pt x="124" y="289"/>
                    </a:lnTo>
                    <a:lnTo>
                      <a:pt x="121" y="284"/>
                    </a:lnTo>
                    <a:lnTo>
                      <a:pt x="119" y="282"/>
                    </a:lnTo>
                    <a:lnTo>
                      <a:pt x="117" y="280"/>
                    </a:lnTo>
                    <a:lnTo>
                      <a:pt x="117" y="277"/>
                    </a:lnTo>
                    <a:lnTo>
                      <a:pt x="116" y="275"/>
                    </a:lnTo>
                    <a:lnTo>
                      <a:pt x="114" y="270"/>
                    </a:lnTo>
                    <a:lnTo>
                      <a:pt x="112" y="267"/>
                    </a:lnTo>
                    <a:lnTo>
                      <a:pt x="112" y="264"/>
                    </a:lnTo>
                    <a:lnTo>
                      <a:pt x="112" y="260"/>
                    </a:lnTo>
                    <a:lnTo>
                      <a:pt x="112" y="259"/>
                    </a:lnTo>
                    <a:lnTo>
                      <a:pt x="111" y="255"/>
                    </a:lnTo>
                    <a:lnTo>
                      <a:pt x="109" y="254"/>
                    </a:lnTo>
                    <a:lnTo>
                      <a:pt x="111" y="252"/>
                    </a:lnTo>
                    <a:lnTo>
                      <a:pt x="111" y="249"/>
                    </a:lnTo>
                    <a:lnTo>
                      <a:pt x="86" y="249"/>
                    </a:lnTo>
                    <a:lnTo>
                      <a:pt x="68" y="249"/>
                    </a:lnTo>
                    <a:lnTo>
                      <a:pt x="59" y="250"/>
                    </a:lnTo>
                    <a:lnTo>
                      <a:pt x="53" y="249"/>
                    </a:lnTo>
                    <a:lnTo>
                      <a:pt x="48" y="249"/>
                    </a:lnTo>
                    <a:lnTo>
                      <a:pt x="41" y="249"/>
                    </a:lnTo>
                    <a:lnTo>
                      <a:pt x="36" y="250"/>
                    </a:lnTo>
                    <a:lnTo>
                      <a:pt x="31" y="250"/>
                    </a:lnTo>
                    <a:lnTo>
                      <a:pt x="28" y="249"/>
                    </a:lnTo>
                    <a:lnTo>
                      <a:pt x="24" y="249"/>
                    </a:lnTo>
                    <a:lnTo>
                      <a:pt x="19" y="250"/>
                    </a:lnTo>
                    <a:lnTo>
                      <a:pt x="16" y="250"/>
                    </a:lnTo>
                    <a:lnTo>
                      <a:pt x="14" y="252"/>
                    </a:lnTo>
                    <a:lnTo>
                      <a:pt x="13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8" y="250"/>
                    </a:lnTo>
                    <a:lnTo>
                      <a:pt x="1" y="250"/>
                    </a:lnTo>
                    <a:lnTo>
                      <a:pt x="0" y="2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89" name="Freeform 132"/>
              <p:cNvSpPr>
                <a:spLocks/>
              </p:cNvSpPr>
              <p:nvPr/>
            </p:nvSpPr>
            <p:spPr bwMode="auto">
              <a:xfrm>
                <a:off x="6837762" y="3377624"/>
                <a:ext cx="41739" cy="9130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3" y="3"/>
                  </a:cxn>
                  <a:cxn ang="0">
                    <a:pos x="16" y="5"/>
                  </a:cxn>
                  <a:cxn ang="0">
                    <a:pos x="21" y="5"/>
                  </a:cxn>
                  <a:cxn ang="0">
                    <a:pos x="25" y="7"/>
                  </a:cxn>
                  <a:cxn ang="0">
                    <a:pos x="28" y="8"/>
                  </a:cxn>
                  <a:cxn ang="0">
                    <a:pos x="38" y="20"/>
                  </a:cxn>
                  <a:cxn ang="0">
                    <a:pos x="40" y="65"/>
                  </a:cxn>
                  <a:cxn ang="0">
                    <a:pos x="43" y="88"/>
                  </a:cxn>
                  <a:cxn ang="0">
                    <a:pos x="53" y="95"/>
                  </a:cxn>
                  <a:cxn ang="0">
                    <a:pos x="58" y="98"/>
                  </a:cxn>
                  <a:cxn ang="0">
                    <a:pos x="68" y="110"/>
                  </a:cxn>
                  <a:cxn ang="0">
                    <a:pos x="75" y="121"/>
                  </a:cxn>
                  <a:cxn ang="0">
                    <a:pos x="76" y="126"/>
                  </a:cxn>
                  <a:cxn ang="0">
                    <a:pos x="73" y="130"/>
                  </a:cxn>
                  <a:cxn ang="0">
                    <a:pos x="70" y="131"/>
                  </a:cxn>
                  <a:cxn ang="0">
                    <a:pos x="70" y="135"/>
                  </a:cxn>
                  <a:cxn ang="0">
                    <a:pos x="73" y="146"/>
                  </a:cxn>
                  <a:cxn ang="0">
                    <a:pos x="68" y="151"/>
                  </a:cxn>
                  <a:cxn ang="0">
                    <a:pos x="60" y="160"/>
                  </a:cxn>
                  <a:cxn ang="0">
                    <a:pos x="56" y="166"/>
                  </a:cxn>
                  <a:cxn ang="0">
                    <a:pos x="58" y="176"/>
                  </a:cxn>
                  <a:cxn ang="0">
                    <a:pos x="51" y="175"/>
                  </a:cxn>
                  <a:cxn ang="0">
                    <a:pos x="50" y="168"/>
                  </a:cxn>
                  <a:cxn ang="0">
                    <a:pos x="45" y="165"/>
                  </a:cxn>
                  <a:cxn ang="0">
                    <a:pos x="36" y="156"/>
                  </a:cxn>
                  <a:cxn ang="0">
                    <a:pos x="33" y="148"/>
                  </a:cxn>
                  <a:cxn ang="0">
                    <a:pos x="36" y="140"/>
                  </a:cxn>
                  <a:cxn ang="0">
                    <a:pos x="41" y="130"/>
                  </a:cxn>
                  <a:cxn ang="0">
                    <a:pos x="43" y="118"/>
                  </a:cxn>
                  <a:cxn ang="0">
                    <a:pos x="35" y="115"/>
                  </a:cxn>
                  <a:cxn ang="0">
                    <a:pos x="26" y="116"/>
                  </a:cxn>
                  <a:cxn ang="0">
                    <a:pos x="21" y="116"/>
                  </a:cxn>
                  <a:cxn ang="0">
                    <a:pos x="18" y="113"/>
                  </a:cxn>
                  <a:cxn ang="0">
                    <a:pos x="15" y="108"/>
                  </a:cxn>
                  <a:cxn ang="0">
                    <a:pos x="7" y="106"/>
                  </a:cxn>
                  <a:cxn ang="0">
                    <a:pos x="5" y="101"/>
                  </a:cxn>
                  <a:cxn ang="0">
                    <a:pos x="0" y="95"/>
                  </a:cxn>
                  <a:cxn ang="0">
                    <a:pos x="7" y="90"/>
                  </a:cxn>
                  <a:cxn ang="0">
                    <a:pos x="7" y="85"/>
                  </a:cxn>
                  <a:cxn ang="0">
                    <a:pos x="7" y="80"/>
                  </a:cxn>
                  <a:cxn ang="0">
                    <a:pos x="13" y="75"/>
                  </a:cxn>
                  <a:cxn ang="0">
                    <a:pos x="16" y="70"/>
                  </a:cxn>
                  <a:cxn ang="0">
                    <a:pos x="20" y="68"/>
                  </a:cxn>
                  <a:cxn ang="0">
                    <a:pos x="16" y="65"/>
                  </a:cxn>
                  <a:cxn ang="0">
                    <a:pos x="16" y="62"/>
                  </a:cxn>
                  <a:cxn ang="0">
                    <a:pos x="15" y="55"/>
                  </a:cxn>
                  <a:cxn ang="0">
                    <a:pos x="16" y="50"/>
                  </a:cxn>
                  <a:cxn ang="0">
                    <a:pos x="15" y="43"/>
                  </a:cxn>
                  <a:cxn ang="0">
                    <a:pos x="20" y="33"/>
                  </a:cxn>
                  <a:cxn ang="0">
                    <a:pos x="21" y="32"/>
                  </a:cxn>
                  <a:cxn ang="0">
                    <a:pos x="20" y="23"/>
                  </a:cxn>
                  <a:cxn ang="0">
                    <a:pos x="15" y="18"/>
                  </a:cxn>
                  <a:cxn ang="0">
                    <a:pos x="18" y="12"/>
                  </a:cxn>
                  <a:cxn ang="0">
                    <a:pos x="11" y="8"/>
                  </a:cxn>
                  <a:cxn ang="0">
                    <a:pos x="8" y="5"/>
                  </a:cxn>
                </a:cxnLst>
                <a:rect l="0" t="0" r="r" b="b"/>
                <a:pathLst>
                  <a:path w="76" h="178">
                    <a:moveTo>
                      <a:pt x="8" y="2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18" y="3"/>
                    </a:lnTo>
                    <a:lnTo>
                      <a:pt x="21" y="5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8" y="8"/>
                    </a:lnTo>
                    <a:lnTo>
                      <a:pt x="31" y="12"/>
                    </a:lnTo>
                    <a:lnTo>
                      <a:pt x="38" y="20"/>
                    </a:lnTo>
                    <a:lnTo>
                      <a:pt x="40" y="28"/>
                    </a:lnTo>
                    <a:lnTo>
                      <a:pt x="40" y="65"/>
                    </a:lnTo>
                    <a:lnTo>
                      <a:pt x="38" y="68"/>
                    </a:lnTo>
                    <a:lnTo>
                      <a:pt x="43" y="88"/>
                    </a:lnTo>
                    <a:lnTo>
                      <a:pt x="50" y="93"/>
                    </a:lnTo>
                    <a:lnTo>
                      <a:pt x="53" y="95"/>
                    </a:lnTo>
                    <a:lnTo>
                      <a:pt x="55" y="98"/>
                    </a:lnTo>
                    <a:lnTo>
                      <a:pt x="58" y="98"/>
                    </a:lnTo>
                    <a:lnTo>
                      <a:pt x="66" y="105"/>
                    </a:lnTo>
                    <a:lnTo>
                      <a:pt x="68" y="110"/>
                    </a:lnTo>
                    <a:lnTo>
                      <a:pt x="73" y="116"/>
                    </a:lnTo>
                    <a:lnTo>
                      <a:pt x="75" y="121"/>
                    </a:lnTo>
                    <a:lnTo>
                      <a:pt x="76" y="125"/>
                    </a:lnTo>
                    <a:lnTo>
                      <a:pt x="76" y="126"/>
                    </a:lnTo>
                    <a:lnTo>
                      <a:pt x="75" y="128"/>
                    </a:lnTo>
                    <a:lnTo>
                      <a:pt x="73" y="130"/>
                    </a:lnTo>
                    <a:lnTo>
                      <a:pt x="70" y="130"/>
                    </a:lnTo>
                    <a:lnTo>
                      <a:pt x="70" y="131"/>
                    </a:lnTo>
                    <a:lnTo>
                      <a:pt x="71" y="133"/>
                    </a:lnTo>
                    <a:lnTo>
                      <a:pt x="70" y="135"/>
                    </a:lnTo>
                    <a:lnTo>
                      <a:pt x="73" y="138"/>
                    </a:lnTo>
                    <a:lnTo>
                      <a:pt x="73" y="146"/>
                    </a:lnTo>
                    <a:lnTo>
                      <a:pt x="71" y="150"/>
                    </a:lnTo>
                    <a:lnTo>
                      <a:pt x="68" y="151"/>
                    </a:lnTo>
                    <a:lnTo>
                      <a:pt x="63" y="153"/>
                    </a:lnTo>
                    <a:lnTo>
                      <a:pt x="60" y="160"/>
                    </a:lnTo>
                    <a:lnTo>
                      <a:pt x="60" y="163"/>
                    </a:lnTo>
                    <a:lnTo>
                      <a:pt x="56" y="166"/>
                    </a:lnTo>
                    <a:lnTo>
                      <a:pt x="58" y="173"/>
                    </a:lnTo>
                    <a:lnTo>
                      <a:pt x="58" y="176"/>
                    </a:lnTo>
                    <a:lnTo>
                      <a:pt x="53" y="178"/>
                    </a:lnTo>
                    <a:lnTo>
                      <a:pt x="51" y="175"/>
                    </a:lnTo>
                    <a:lnTo>
                      <a:pt x="53" y="171"/>
                    </a:lnTo>
                    <a:lnTo>
                      <a:pt x="50" y="168"/>
                    </a:lnTo>
                    <a:lnTo>
                      <a:pt x="48" y="166"/>
                    </a:lnTo>
                    <a:lnTo>
                      <a:pt x="45" y="165"/>
                    </a:lnTo>
                    <a:lnTo>
                      <a:pt x="40" y="160"/>
                    </a:lnTo>
                    <a:lnTo>
                      <a:pt x="36" y="156"/>
                    </a:lnTo>
                    <a:lnTo>
                      <a:pt x="35" y="153"/>
                    </a:lnTo>
                    <a:lnTo>
                      <a:pt x="33" y="148"/>
                    </a:lnTo>
                    <a:lnTo>
                      <a:pt x="33" y="145"/>
                    </a:lnTo>
                    <a:lnTo>
                      <a:pt x="36" y="140"/>
                    </a:lnTo>
                    <a:lnTo>
                      <a:pt x="36" y="135"/>
                    </a:lnTo>
                    <a:lnTo>
                      <a:pt x="41" y="130"/>
                    </a:lnTo>
                    <a:lnTo>
                      <a:pt x="43" y="125"/>
                    </a:lnTo>
                    <a:lnTo>
                      <a:pt x="43" y="118"/>
                    </a:lnTo>
                    <a:lnTo>
                      <a:pt x="40" y="115"/>
                    </a:lnTo>
                    <a:lnTo>
                      <a:pt x="35" y="115"/>
                    </a:lnTo>
                    <a:lnTo>
                      <a:pt x="30" y="115"/>
                    </a:lnTo>
                    <a:lnTo>
                      <a:pt x="26" y="116"/>
                    </a:lnTo>
                    <a:lnTo>
                      <a:pt x="23" y="116"/>
                    </a:lnTo>
                    <a:lnTo>
                      <a:pt x="21" y="116"/>
                    </a:lnTo>
                    <a:lnTo>
                      <a:pt x="18" y="115"/>
                    </a:lnTo>
                    <a:lnTo>
                      <a:pt x="18" y="113"/>
                    </a:lnTo>
                    <a:lnTo>
                      <a:pt x="15" y="110"/>
                    </a:lnTo>
                    <a:lnTo>
                      <a:pt x="15" y="108"/>
                    </a:lnTo>
                    <a:lnTo>
                      <a:pt x="13" y="106"/>
                    </a:lnTo>
                    <a:lnTo>
                      <a:pt x="7" y="106"/>
                    </a:lnTo>
                    <a:lnTo>
                      <a:pt x="7" y="105"/>
                    </a:lnTo>
                    <a:lnTo>
                      <a:pt x="5" y="101"/>
                    </a:lnTo>
                    <a:lnTo>
                      <a:pt x="0" y="97"/>
                    </a:lnTo>
                    <a:lnTo>
                      <a:pt x="0" y="95"/>
                    </a:lnTo>
                    <a:lnTo>
                      <a:pt x="3" y="93"/>
                    </a:lnTo>
                    <a:lnTo>
                      <a:pt x="7" y="90"/>
                    </a:lnTo>
                    <a:lnTo>
                      <a:pt x="7" y="87"/>
                    </a:lnTo>
                    <a:lnTo>
                      <a:pt x="7" y="85"/>
                    </a:lnTo>
                    <a:lnTo>
                      <a:pt x="7" y="83"/>
                    </a:lnTo>
                    <a:lnTo>
                      <a:pt x="7" y="80"/>
                    </a:lnTo>
                    <a:lnTo>
                      <a:pt x="7" y="78"/>
                    </a:lnTo>
                    <a:lnTo>
                      <a:pt x="13" y="75"/>
                    </a:lnTo>
                    <a:lnTo>
                      <a:pt x="16" y="73"/>
                    </a:lnTo>
                    <a:lnTo>
                      <a:pt x="16" y="70"/>
                    </a:lnTo>
                    <a:lnTo>
                      <a:pt x="20" y="70"/>
                    </a:lnTo>
                    <a:lnTo>
                      <a:pt x="20" y="68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5" y="62"/>
                    </a:lnTo>
                    <a:lnTo>
                      <a:pt x="16" y="62"/>
                    </a:lnTo>
                    <a:lnTo>
                      <a:pt x="16" y="58"/>
                    </a:lnTo>
                    <a:lnTo>
                      <a:pt x="15" y="55"/>
                    </a:lnTo>
                    <a:lnTo>
                      <a:pt x="16" y="53"/>
                    </a:lnTo>
                    <a:lnTo>
                      <a:pt x="16" y="50"/>
                    </a:lnTo>
                    <a:lnTo>
                      <a:pt x="16" y="47"/>
                    </a:lnTo>
                    <a:lnTo>
                      <a:pt x="15" y="43"/>
                    </a:lnTo>
                    <a:lnTo>
                      <a:pt x="15" y="38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21" y="32"/>
                    </a:lnTo>
                    <a:lnTo>
                      <a:pt x="21" y="27"/>
                    </a:lnTo>
                    <a:lnTo>
                      <a:pt x="20" y="23"/>
                    </a:lnTo>
                    <a:lnTo>
                      <a:pt x="16" y="20"/>
                    </a:lnTo>
                    <a:lnTo>
                      <a:pt x="15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5" y="10"/>
                    </a:lnTo>
                    <a:lnTo>
                      <a:pt x="11" y="8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0" name="Freeform 133"/>
              <p:cNvSpPr>
                <a:spLocks/>
              </p:cNvSpPr>
              <p:nvPr/>
            </p:nvSpPr>
            <p:spPr bwMode="auto">
              <a:xfrm>
                <a:off x="6696489" y="3364135"/>
                <a:ext cx="153045" cy="114135"/>
              </a:xfrm>
              <a:custGeom>
                <a:avLst/>
                <a:gdLst/>
                <a:ahLst/>
                <a:cxnLst>
                  <a:cxn ang="0">
                    <a:pos x="62" y="67"/>
                  </a:cxn>
                  <a:cxn ang="0">
                    <a:pos x="65" y="73"/>
                  </a:cxn>
                  <a:cxn ang="0">
                    <a:pos x="76" y="68"/>
                  </a:cxn>
                  <a:cxn ang="0">
                    <a:pos x="86" y="73"/>
                  </a:cxn>
                  <a:cxn ang="0">
                    <a:pos x="93" y="80"/>
                  </a:cxn>
                  <a:cxn ang="0">
                    <a:pos x="111" y="85"/>
                  </a:cxn>
                  <a:cxn ang="0">
                    <a:pos x="123" y="82"/>
                  </a:cxn>
                  <a:cxn ang="0">
                    <a:pos x="133" y="75"/>
                  </a:cxn>
                  <a:cxn ang="0">
                    <a:pos x="143" y="92"/>
                  </a:cxn>
                  <a:cxn ang="0">
                    <a:pos x="166" y="107"/>
                  </a:cxn>
                  <a:cxn ang="0">
                    <a:pos x="183" y="115"/>
                  </a:cxn>
                  <a:cxn ang="0">
                    <a:pos x="193" y="117"/>
                  </a:cxn>
                  <a:cxn ang="0">
                    <a:pos x="184" y="90"/>
                  </a:cxn>
                  <a:cxn ang="0">
                    <a:pos x="176" y="95"/>
                  </a:cxn>
                  <a:cxn ang="0">
                    <a:pos x="163" y="80"/>
                  </a:cxn>
                  <a:cxn ang="0">
                    <a:pos x="166" y="57"/>
                  </a:cxn>
                  <a:cxn ang="0">
                    <a:pos x="170" y="47"/>
                  </a:cxn>
                  <a:cxn ang="0">
                    <a:pos x="171" y="37"/>
                  </a:cxn>
                  <a:cxn ang="0">
                    <a:pos x="165" y="25"/>
                  </a:cxn>
                  <a:cxn ang="0">
                    <a:pos x="229" y="5"/>
                  </a:cxn>
                  <a:cxn ang="0">
                    <a:pos x="239" y="10"/>
                  </a:cxn>
                  <a:cxn ang="0">
                    <a:pos x="261" y="15"/>
                  </a:cxn>
                  <a:cxn ang="0">
                    <a:pos x="271" y="27"/>
                  </a:cxn>
                  <a:cxn ang="0">
                    <a:pos x="277" y="33"/>
                  </a:cxn>
                  <a:cxn ang="0">
                    <a:pos x="281" y="43"/>
                  </a:cxn>
                  <a:cxn ang="0">
                    <a:pos x="287" y="57"/>
                  </a:cxn>
                  <a:cxn ang="0">
                    <a:pos x="281" y="68"/>
                  </a:cxn>
                  <a:cxn ang="0">
                    <a:pos x="281" y="80"/>
                  </a:cxn>
                  <a:cxn ang="0">
                    <a:pos x="282" y="90"/>
                  </a:cxn>
                  <a:cxn ang="0">
                    <a:pos x="282" y="95"/>
                  </a:cxn>
                  <a:cxn ang="0">
                    <a:pos x="273" y="105"/>
                  </a:cxn>
                  <a:cxn ang="0">
                    <a:pos x="273" y="115"/>
                  </a:cxn>
                  <a:cxn ang="0">
                    <a:pos x="271" y="126"/>
                  </a:cxn>
                  <a:cxn ang="0">
                    <a:pos x="266" y="135"/>
                  </a:cxn>
                  <a:cxn ang="0">
                    <a:pos x="216" y="150"/>
                  </a:cxn>
                  <a:cxn ang="0">
                    <a:pos x="208" y="166"/>
                  </a:cxn>
                  <a:cxn ang="0">
                    <a:pos x="196" y="166"/>
                  </a:cxn>
                  <a:cxn ang="0">
                    <a:pos x="181" y="168"/>
                  </a:cxn>
                  <a:cxn ang="0">
                    <a:pos x="170" y="178"/>
                  </a:cxn>
                  <a:cxn ang="0">
                    <a:pos x="166" y="185"/>
                  </a:cxn>
                  <a:cxn ang="0">
                    <a:pos x="125" y="218"/>
                  </a:cxn>
                  <a:cxn ang="0">
                    <a:pos x="110" y="216"/>
                  </a:cxn>
                  <a:cxn ang="0">
                    <a:pos x="100" y="216"/>
                  </a:cxn>
                  <a:cxn ang="0">
                    <a:pos x="85" y="215"/>
                  </a:cxn>
                  <a:cxn ang="0">
                    <a:pos x="73" y="210"/>
                  </a:cxn>
                  <a:cxn ang="0">
                    <a:pos x="67" y="208"/>
                  </a:cxn>
                  <a:cxn ang="0">
                    <a:pos x="33" y="213"/>
                  </a:cxn>
                  <a:cxn ang="0">
                    <a:pos x="25" y="203"/>
                  </a:cxn>
                  <a:cxn ang="0">
                    <a:pos x="10" y="191"/>
                  </a:cxn>
                  <a:cxn ang="0">
                    <a:pos x="0" y="180"/>
                  </a:cxn>
                  <a:cxn ang="0">
                    <a:pos x="53" y="98"/>
                  </a:cxn>
                  <a:cxn ang="0">
                    <a:pos x="53" y="85"/>
                  </a:cxn>
                  <a:cxn ang="0">
                    <a:pos x="53" y="65"/>
                  </a:cxn>
                </a:cxnLst>
                <a:rect l="0" t="0" r="r" b="b"/>
                <a:pathLst>
                  <a:path w="287" h="220">
                    <a:moveTo>
                      <a:pt x="53" y="63"/>
                    </a:moveTo>
                    <a:lnTo>
                      <a:pt x="55" y="65"/>
                    </a:lnTo>
                    <a:lnTo>
                      <a:pt x="58" y="65"/>
                    </a:lnTo>
                    <a:lnTo>
                      <a:pt x="62" y="67"/>
                    </a:lnTo>
                    <a:lnTo>
                      <a:pt x="63" y="67"/>
                    </a:lnTo>
                    <a:lnTo>
                      <a:pt x="63" y="72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8" y="72"/>
                    </a:lnTo>
                    <a:lnTo>
                      <a:pt x="72" y="70"/>
                    </a:lnTo>
                    <a:lnTo>
                      <a:pt x="75" y="70"/>
                    </a:lnTo>
                    <a:lnTo>
                      <a:pt x="76" y="68"/>
                    </a:lnTo>
                    <a:lnTo>
                      <a:pt x="83" y="67"/>
                    </a:lnTo>
                    <a:lnTo>
                      <a:pt x="85" y="67"/>
                    </a:lnTo>
                    <a:lnTo>
                      <a:pt x="85" y="72"/>
                    </a:lnTo>
                    <a:lnTo>
                      <a:pt x="86" y="73"/>
                    </a:lnTo>
                    <a:lnTo>
                      <a:pt x="86" y="77"/>
                    </a:lnTo>
                    <a:lnTo>
                      <a:pt x="86" y="78"/>
                    </a:lnTo>
                    <a:lnTo>
                      <a:pt x="88" y="78"/>
                    </a:lnTo>
                    <a:lnTo>
                      <a:pt x="93" y="80"/>
                    </a:lnTo>
                    <a:lnTo>
                      <a:pt x="95" y="80"/>
                    </a:lnTo>
                    <a:lnTo>
                      <a:pt x="101" y="83"/>
                    </a:lnTo>
                    <a:lnTo>
                      <a:pt x="105" y="85"/>
                    </a:lnTo>
                    <a:lnTo>
                      <a:pt x="111" y="85"/>
                    </a:lnTo>
                    <a:lnTo>
                      <a:pt x="111" y="87"/>
                    </a:lnTo>
                    <a:lnTo>
                      <a:pt x="115" y="87"/>
                    </a:lnTo>
                    <a:lnTo>
                      <a:pt x="123" y="85"/>
                    </a:lnTo>
                    <a:lnTo>
                      <a:pt x="123" y="82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31" y="75"/>
                    </a:lnTo>
                    <a:lnTo>
                      <a:pt x="133" y="75"/>
                    </a:lnTo>
                    <a:lnTo>
                      <a:pt x="133" y="82"/>
                    </a:lnTo>
                    <a:lnTo>
                      <a:pt x="136" y="85"/>
                    </a:lnTo>
                    <a:lnTo>
                      <a:pt x="136" y="88"/>
                    </a:lnTo>
                    <a:lnTo>
                      <a:pt x="143" y="92"/>
                    </a:lnTo>
                    <a:lnTo>
                      <a:pt x="151" y="93"/>
                    </a:lnTo>
                    <a:lnTo>
                      <a:pt x="156" y="97"/>
                    </a:lnTo>
                    <a:lnTo>
                      <a:pt x="161" y="103"/>
                    </a:lnTo>
                    <a:lnTo>
                      <a:pt x="166" y="107"/>
                    </a:lnTo>
                    <a:lnTo>
                      <a:pt x="171" y="112"/>
                    </a:lnTo>
                    <a:lnTo>
                      <a:pt x="176" y="117"/>
                    </a:lnTo>
                    <a:lnTo>
                      <a:pt x="179" y="117"/>
                    </a:lnTo>
                    <a:lnTo>
                      <a:pt x="183" y="115"/>
                    </a:lnTo>
                    <a:lnTo>
                      <a:pt x="186" y="113"/>
                    </a:lnTo>
                    <a:lnTo>
                      <a:pt x="189" y="113"/>
                    </a:lnTo>
                    <a:lnTo>
                      <a:pt x="189" y="115"/>
                    </a:lnTo>
                    <a:lnTo>
                      <a:pt x="193" y="117"/>
                    </a:lnTo>
                    <a:lnTo>
                      <a:pt x="194" y="113"/>
                    </a:lnTo>
                    <a:lnTo>
                      <a:pt x="193" y="90"/>
                    </a:lnTo>
                    <a:lnTo>
                      <a:pt x="189" y="90"/>
                    </a:lnTo>
                    <a:lnTo>
                      <a:pt x="184" y="90"/>
                    </a:lnTo>
                    <a:lnTo>
                      <a:pt x="184" y="93"/>
                    </a:lnTo>
                    <a:lnTo>
                      <a:pt x="186" y="95"/>
                    </a:lnTo>
                    <a:lnTo>
                      <a:pt x="186" y="95"/>
                    </a:lnTo>
                    <a:lnTo>
                      <a:pt x="176" y="95"/>
                    </a:lnTo>
                    <a:lnTo>
                      <a:pt x="173" y="93"/>
                    </a:lnTo>
                    <a:lnTo>
                      <a:pt x="171" y="90"/>
                    </a:lnTo>
                    <a:lnTo>
                      <a:pt x="165" y="83"/>
                    </a:lnTo>
                    <a:lnTo>
                      <a:pt x="163" y="80"/>
                    </a:lnTo>
                    <a:lnTo>
                      <a:pt x="161" y="75"/>
                    </a:lnTo>
                    <a:lnTo>
                      <a:pt x="161" y="63"/>
                    </a:lnTo>
                    <a:lnTo>
                      <a:pt x="161" y="60"/>
                    </a:lnTo>
                    <a:lnTo>
                      <a:pt x="166" y="57"/>
                    </a:lnTo>
                    <a:lnTo>
                      <a:pt x="168" y="53"/>
                    </a:lnTo>
                    <a:lnTo>
                      <a:pt x="168" y="52"/>
                    </a:lnTo>
                    <a:lnTo>
                      <a:pt x="170" y="52"/>
                    </a:lnTo>
                    <a:lnTo>
                      <a:pt x="170" y="47"/>
                    </a:lnTo>
                    <a:lnTo>
                      <a:pt x="170" y="43"/>
                    </a:lnTo>
                    <a:lnTo>
                      <a:pt x="170" y="40"/>
                    </a:lnTo>
                    <a:lnTo>
                      <a:pt x="170" y="37"/>
                    </a:lnTo>
                    <a:lnTo>
                      <a:pt x="171" y="37"/>
                    </a:lnTo>
                    <a:lnTo>
                      <a:pt x="171" y="33"/>
                    </a:lnTo>
                    <a:lnTo>
                      <a:pt x="170" y="32"/>
                    </a:lnTo>
                    <a:lnTo>
                      <a:pt x="166" y="30"/>
                    </a:lnTo>
                    <a:lnTo>
                      <a:pt x="165" y="25"/>
                    </a:lnTo>
                    <a:lnTo>
                      <a:pt x="175" y="9"/>
                    </a:lnTo>
                    <a:lnTo>
                      <a:pt x="214" y="0"/>
                    </a:lnTo>
                    <a:lnTo>
                      <a:pt x="226" y="5"/>
                    </a:lnTo>
                    <a:lnTo>
                      <a:pt x="229" y="5"/>
                    </a:lnTo>
                    <a:lnTo>
                      <a:pt x="233" y="5"/>
                    </a:lnTo>
                    <a:lnTo>
                      <a:pt x="236" y="5"/>
                    </a:lnTo>
                    <a:lnTo>
                      <a:pt x="239" y="9"/>
                    </a:lnTo>
                    <a:lnTo>
                      <a:pt x="239" y="10"/>
                    </a:lnTo>
                    <a:lnTo>
                      <a:pt x="243" y="12"/>
                    </a:lnTo>
                    <a:lnTo>
                      <a:pt x="248" y="12"/>
                    </a:lnTo>
                    <a:lnTo>
                      <a:pt x="258" y="15"/>
                    </a:lnTo>
                    <a:lnTo>
                      <a:pt x="261" y="15"/>
                    </a:lnTo>
                    <a:lnTo>
                      <a:pt x="263" y="19"/>
                    </a:lnTo>
                    <a:lnTo>
                      <a:pt x="266" y="19"/>
                    </a:lnTo>
                    <a:lnTo>
                      <a:pt x="268" y="22"/>
                    </a:lnTo>
                    <a:lnTo>
                      <a:pt x="271" y="27"/>
                    </a:lnTo>
                    <a:lnTo>
                      <a:pt x="274" y="27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277" y="33"/>
                    </a:lnTo>
                    <a:lnTo>
                      <a:pt x="281" y="35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1" y="43"/>
                    </a:lnTo>
                    <a:lnTo>
                      <a:pt x="282" y="45"/>
                    </a:lnTo>
                    <a:lnTo>
                      <a:pt x="286" y="48"/>
                    </a:lnTo>
                    <a:lnTo>
                      <a:pt x="287" y="52"/>
                    </a:lnTo>
                    <a:lnTo>
                      <a:pt x="287" y="57"/>
                    </a:lnTo>
                    <a:lnTo>
                      <a:pt x="286" y="58"/>
                    </a:lnTo>
                    <a:lnTo>
                      <a:pt x="286" y="58"/>
                    </a:lnTo>
                    <a:lnTo>
                      <a:pt x="281" y="63"/>
                    </a:lnTo>
                    <a:lnTo>
                      <a:pt x="281" y="68"/>
                    </a:lnTo>
                    <a:lnTo>
                      <a:pt x="282" y="72"/>
                    </a:lnTo>
                    <a:lnTo>
                      <a:pt x="282" y="75"/>
                    </a:lnTo>
                    <a:lnTo>
                      <a:pt x="282" y="78"/>
                    </a:lnTo>
                    <a:lnTo>
                      <a:pt x="281" y="80"/>
                    </a:lnTo>
                    <a:lnTo>
                      <a:pt x="282" y="83"/>
                    </a:lnTo>
                    <a:lnTo>
                      <a:pt x="282" y="87"/>
                    </a:lnTo>
                    <a:lnTo>
                      <a:pt x="281" y="87"/>
                    </a:lnTo>
                    <a:lnTo>
                      <a:pt x="282" y="90"/>
                    </a:lnTo>
                    <a:lnTo>
                      <a:pt x="282" y="92"/>
                    </a:lnTo>
                    <a:lnTo>
                      <a:pt x="286" y="93"/>
                    </a:lnTo>
                    <a:lnTo>
                      <a:pt x="286" y="95"/>
                    </a:lnTo>
                    <a:lnTo>
                      <a:pt x="282" y="95"/>
                    </a:lnTo>
                    <a:lnTo>
                      <a:pt x="282" y="98"/>
                    </a:lnTo>
                    <a:lnTo>
                      <a:pt x="279" y="100"/>
                    </a:lnTo>
                    <a:lnTo>
                      <a:pt x="273" y="103"/>
                    </a:lnTo>
                    <a:lnTo>
                      <a:pt x="273" y="105"/>
                    </a:lnTo>
                    <a:lnTo>
                      <a:pt x="273" y="108"/>
                    </a:lnTo>
                    <a:lnTo>
                      <a:pt x="273" y="110"/>
                    </a:lnTo>
                    <a:lnTo>
                      <a:pt x="273" y="112"/>
                    </a:lnTo>
                    <a:lnTo>
                      <a:pt x="273" y="115"/>
                    </a:lnTo>
                    <a:lnTo>
                      <a:pt x="269" y="118"/>
                    </a:lnTo>
                    <a:lnTo>
                      <a:pt x="266" y="120"/>
                    </a:lnTo>
                    <a:lnTo>
                      <a:pt x="266" y="122"/>
                    </a:lnTo>
                    <a:lnTo>
                      <a:pt x="271" y="126"/>
                    </a:lnTo>
                    <a:lnTo>
                      <a:pt x="273" y="130"/>
                    </a:lnTo>
                    <a:lnTo>
                      <a:pt x="273" y="131"/>
                    </a:lnTo>
                    <a:lnTo>
                      <a:pt x="273" y="131"/>
                    </a:lnTo>
                    <a:lnTo>
                      <a:pt x="266" y="135"/>
                    </a:lnTo>
                    <a:lnTo>
                      <a:pt x="251" y="140"/>
                    </a:lnTo>
                    <a:lnTo>
                      <a:pt x="246" y="140"/>
                    </a:lnTo>
                    <a:lnTo>
                      <a:pt x="221" y="150"/>
                    </a:lnTo>
                    <a:lnTo>
                      <a:pt x="216" y="150"/>
                    </a:lnTo>
                    <a:lnTo>
                      <a:pt x="208" y="155"/>
                    </a:lnTo>
                    <a:lnTo>
                      <a:pt x="206" y="158"/>
                    </a:lnTo>
                    <a:lnTo>
                      <a:pt x="208" y="165"/>
                    </a:lnTo>
                    <a:lnTo>
                      <a:pt x="208" y="166"/>
                    </a:lnTo>
                    <a:lnTo>
                      <a:pt x="206" y="166"/>
                    </a:lnTo>
                    <a:lnTo>
                      <a:pt x="204" y="166"/>
                    </a:lnTo>
                    <a:lnTo>
                      <a:pt x="199" y="166"/>
                    </a:lnTo>
                    <a:lnTo>
                      <a:pt x="196" y="166"/>
                    </a:lnTo>
                    <a:lnTo>
                      <a:pt x="196" y="165"/>
                    </a:lnTo>
                    <a:lnTo>
                      <a:pt x="189" y="165"/>
                    </a:lnTo>
                    <a:lnTo>
                      <a:pt x="184" y="166"/>
                    </a:lnTo>
                    <a:lnTo>
                      <a:pt x="181" y="168"/>
                    </a:lnTo>
                    <a:lnTo>
                      <a:pt x="178" y="170"/>
                    </a:lnTo>
                    <a:lnTo>
                      <a:pt x="170" y="173"/>
                    </a:lnTo>
                    <a:lnTo>
                      <a:pt x="168" y="176"/>
                    </a:lnTo>
                    <a:lnTo>
                      <a:pt x="170" y="178"/>
                    </a:lnTo>
                    <a:lnTo>
                      <a:pt x="168" y="180"/>
                    </a:lnTo>
                    <a:lnTo>
                      <a:pt x="168" y="181"/>
                    </a:lnTo>
                    <a:lnTo>
                      <a:pt x="168" y="183"/>
                    </a:lnTo>
                    <a:lnTo>
                      <a:pt x="166" y="185"/>
                    </a:lnTo>
                    <a:lnTo>
                      <a:pt x="158" y="188"/>
                    </a:lnTo>
                    <a:lnTo>
                      <a:pt x="143" y="196"/>
                    </a:lnTo>
                    <a:lnTo>
                      <a:pt x="131" y="210"/>
                    </a:lnTo>
                    <a:lnTo>
                      <a:pt x="125" y="218"/>
                    </a:lnTo>
                    <a:lnTo>
                      <a:pt x="118" y="220"/>
                    </a:lnTo>
                    <a:lnTo>
                      <a:pt x="113" y="220"/>
                    </a:lnTo>
                    <a:lnTo>
                      <a:pt x="110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6" y="216"/>
                    </a:lnTo>
                    <a:lnTo>
                      <a:pt x="105" y="215"/>
                    </a:lnTo>
                    <a:lnTo>
                      <a:pt x="100" y="216"/>
                    </a:lnTo>
                    <a:lnTo>
                      <a:pt x="95" y="218"/>
                    </a:lnTo>
                    <a:lnTo>
                      <a:pt x="93" y="218"/>
                    </a:lnTo>
                    <a:lnTo>
                      <a:pt x="90" y="216"/>
                    </a:lnTo>
                    <a:lnTo>
                      <a:pt x="85" y="215"/>
                    </a:lnTo>
                    <a:lnTo>
                      <a:pt x="80" y="215"/>
                    </a:lnTo>
                    <a:lnTo>
                      <a:pt x="78" y="213"/>
                    </a:lnTo>
                    <a:lnTo>
                      <a:pt x="73" y="210"/>
                    </a:lnTo>
                    <a:lnTo>
                      <a:pt x="73" y="210"/>
                    </a:lnTo>
                    <a:lnTo>
                      <a:pt x="72" y="208"/>
                    </a:lnTo>
                    <a:lnTo>
                      <a:pt x="68" y="210"/>
                    </a:lnTo>
                    <a:lnTo>
                      <a:pt x="67" y="208"/>
                    </a:lnTo>
                    <a:lnTo>
                      <a:pt x="67" y="208"/>
                    </a:lnTo>
                    <a:lnTo>
                      <a:pt x="65" y="206"/>
                    </a:lnTo>
                    <a:lnTo>
                      <a:pt x="60" y="208"/>
                    </a:lnTo>
                    <a:lnTo>
                      <a:pt x="57" y="208"/>
                    </a:lnTo>
                    <a:lnTo>
                      <a:pt x="33" y="213"/>
                    </a:lnTo>
                    <a:lnTo>
                      <a:pt x="32" y="210"/>
                    </a:lnTo>
                    <a:lnTo>
                      <a:pt x="30" y="208"/>
                    </a:lnTo>
                    <a:lnTo>
                      <a:pt x="27" y="205"/>
                    </a:lnTo>
                    <a:lnTo>
                      <a:pt x="25" y="203"/>
                    </a:lnTo>
                    <a:lnTo>
                      <a:pt x="22" y="201"/>
                    </a:lnTo>
                    <a:lnTo>
                      <a:pt x="18" y="198"/>
                    </a:lnTo>
                    <a:lnTo>
                      <a:pt x="13" y="193"/>
                    </a:lnTo>
                    <a:lnTo>
                      <a:pt x="10" y="191"/>
                    </a:lnTo>
                    <a:lnTo>
                      <a:pt x="8" y="190"/>
                    </a:lnTo>
                    <a:lnTo>
                      <a:pt x="5" y="186"/>
                    </a:lnTo>
                    <a:lnTo>
                      <a:pt x="2" y="183"/>
                    </a:lnTo>
                    <a:lnTo>
                      <a:pt x="0" y="180"/>
                    </a:lnTo>
                    <a:lnTo>
                      <a:pt x="2" y="108"/>
                    </a:lnTo>
                    <a:lnTo>
                      <a:pt x="55" y="108"/>
                    </a:lnTo>
                    <a:lnTo>
                      <a:pt x="53" y="105"/>
                    </a:lnTo>
                    <a:lnTo>
                      <a:pt x="53" y="98"/>
                    </a:lnTo>
                    <a:lnTo>
                      <a:pt x="55" y="97"/>
                    </a:lnTo>
                    <a:lnTo>
                      <a:pt x="55" y="93"/>
                    </a:lnTo>
                    <a:lnTo>
                      <a:pt x="53" y="90"/>
                    </a:lnTo>
                    <a:lnTo>
                      <a:pt x="53" y="85"/>
                    </a:lnTo>
                    <a:lnTo>
                      <a:pt x="53" y="77"/>
                    </a:lnTo>
                    <a:lnTo>
                      <a:pt x="52" y="68"/>
                    </a:lnTo>
                    <a:lnTo>
                      <a:pt x="53" y="67"/>
                    </a:lnTo>
                    <a:lnTo>
                      <a:pt x="53" y="65"/>
                    </a:lnTo>
                    <a:lnTo>
                      <a:pt x="53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1" name="Freeform 134"/>
              <p:cNvSpPr>
                <a:spLocks/>
              </p:cNvSpPr>
              <p:nvPr/>
            </p:nvSpPr>
            <p:spPr bwMode="auto">
              <a:xfrm>
                <a:off x="6562709" y="3337157"/>
                <a:ext cx="162678" cy="142150"/>
              </a:xfrm>
              <a:custGeom>
                <a:avLst/>
                <a:gdLst/>
                <a:ahLst/>
                <a:cxnLst>
                  <a:cxn ang="0">
                    <a:pos x="276" y="256"/>
                  </a:cxn>
                  <a:cxn ang="0">
                    <a:pos x="262" y="244"/>
                  </a:cxn>
                  <a:cxn ang="0">
                    <a:pos x="251" y="234"/>
                  </a:cxn>
                  <a:cxn ang="0">
                    <a:pos x="302" y="156"/>
                  </a:cxn>
                  <a:cxn ang="0">
                    <a:pos x="302" y="141"/>
                  </a:cxn>
                  <a:cxn ang="0">
                    <a:pos x="302" y="118"/>
                  </a:cxn>
                  <a:cxn ang="0">
                    <a:pos x="294" y="116"/>
                  </a:cxn>
                  <a:cxn ang="0">
                    <a:pos x="282" y="119"/>
                  </a:cxn>
                  <a:cxn ang="0">
                    <a:pos x="267" y="116"/>
                  </a:cxn>
                  <a:cxn ang="0">
                    <a:pos x="261" y="119"/>
                  </a:cxn>
                  <a:cxn ang="0">
                    <a:pos x="261" y="111"/>
                  </a:cxn>
                  <a:cxn ang="0">
                    <a:pos x="259" y="99"/>
                  </a:cxn>
                  <a:cxn ang="0">
                    <a:pos x="257" y="89"/>
                  </a:cxn>
                  <a:cxn ang="0">
                    <a:pos x="252" y="83"/>
                  </a:cxn>
                  <a:cxn ang="0">
                    <a:pos x="249" y="73"/>
                  </a:cxn>
                  <a:cxn ang="0">
                    <a:pos x="249" y="56"/>
                  </a:cxn>
                  <a:cxn ang="0">
                    <a:pos x="249" y="45"/>
                  </a:cxn>
                  <a:cxn ang="0">
                    <a:pos x="251" y="31"/>
                  </a:cxn>
                  <a:cxn ang="0">
                    <a:pos x="224" y="23"/>
                  </a:cxn>
                  <a:cxn ang="0">
                    <a:pos x="191" y="31"/>
                  </a:cxn>
                  <a:cxn ang="0">
                    <a:pos x="189" y="46"/>
                  </a:cxn>
                  <a:cxn ang="0">
                    <a:pos x="156" y="48"/>
                  </a:cxn>
                  <a:cxn ang="0">
                    <a:pos x="141" y="40"/>
                  </a:cxn>
                  <a:cxn ang="0">
                    <a:pos x="134" y="28"/>
                  </a:cxn>
                  <a:cxn ang="0">
                    <a:pos x="129" y="15"/>
                  </a:cxn>
                  <a:cxn ang="0">
                    <a:pos x="126" y="5"/>
                  </a:cxn>
                  <a:cxn ang="0">
                    <a:pos x="85" y="0"/>
                  </a:cxn>
                  <a:cxn ang="0">
                    <a:pos x="58" y="0"/>
                  </a:cxn>
                  <a:cxn ang="0">
                    <a:pos x="41" y="0"/>
                  </a:cxn>
                  <a:cxn ang="0">
                    <a:pos x="30" y="3"/>
                  </a:cxn>
                  <a:cxn ang="0">
                    <a:pos x="20" y="8"/>
                  </a:cxn>
                  <a:cxn ang="0">
                    <a:pos x="36" y="45"/>
                  </a:cxn>
                  <a:cxn ang="0">
                    <a:pos x="40" y="73"/>
                  </a:cxn>
                  <a:cxn ang="0">
                    <a:pos x="53" y="106"/>
                  </a:cxn>
                  <a:cxn ang="0">
                    <a:pos x="46" y="148"/>
                  </a:cxn>
                  <a:cxn ang="0">
                    <a:pos x="18" y="171"/>
                  </a:cxn>
                  <a:cxn ang="0">
                    <a:pos x="10" y="204"/>
                  </a:cxn>
                  <a:cxn ang="0">
                    <a:pos x="2" y="236"/>
                  </a:cxn>
                  <a:cxn ang="0">
                    <a:pos x="0" y="256"/>
                  </a:cxn>
                  <a:cxn ang="0">
                    <a:pos x="8" y="252"/>
                  </a:cxn>
                  <a:cxn ang="0">
                    <a:pos x="22" y="254"/>
                  </a:cxn>
                  <a:cxn ang="0">
                    <a:pos x="36" y="247"/>
                  </a:cxn>
                  <a:cxn ang="0">
                    <a:pos x="43" y="247"/>
                  </a:cxn>
                  <a:cxn ang="0">
                    <a:pos x="48" y="252"/>
                  </a:cxn>
                  <a:cxn ang="0">
                    <a:pos x="63" y="257"/>
                  </a:cxn>
                  <a:cxn ang="0">
                    <a:pos x="161" y="256"/>
                  </a:cxn>
                  <a:cxn ang="0">
                    <a:pos x="171" y="264"/>
                  </a:cxn>
                  <a:cxn ang="0">
                    <a:pos x="184" y="267"/>
                  </a:cxn>
                  <a:cxn ang="0">
                    <a:pos x="201" y="267"/>
                  </a:cxn>
                  <a:cxn ang="0">
                    <a:pos x="209" y="264"/>
                  </a:cxn>
                  <a:cxn ang="0">
                    <a:pos x="226" y="271"/>
                  </a:cxn>
                  <a:cxn ang="0">
                    <a:pos x="232" y="269"/>
                  </a:cxn>
                  <a:cxn ang="0">
                    <a:pos x="239" y="271"/>
                  </a:cxn>
                  <a:cxn ang="0">
                    <a:pos x="282" y="264"/>
                  </a:cxn>
                </a:cxnLst>
                <a:rect l="0" t="0" r="r" b="b"/>
                <a:pathLst>
                  <a:path w="304" h="272">
                    <a:moveTo>
                      <a:pt x="282" y="264"/>
                    </a:moveTo>
                    <a:lnTo>
                      <a:pt x="281" y="261"/>
                    </a:lnTo>
                    <a:lnTo>
                      <a:pt x="279" y="259"/>
                    </a:lnTo>
                    <a:lnTo>
                      <a:pt x="276" y="256"/>
                    </a:lnTo>
                    <a:lnTo>
                      <a:pt x="274" y="254"/>
                    </a:lnTo>
                    <a:lnTo>
                      <a:pt x="271" y="252"/>
                    </a:lnTo>
                    <a:lnTo>
                      <a:pt x="267" y="249"/>
                    </a:lnTo>
                    <a:lnTo>
                      <a:pt x="262" y="244"/>
                    </a:lnTo>
                    <a:lnTo>
                      <a:pt x="259" y="242"/>
                    </a:lnTo>
                    <a:lnTo>
                      <a:pt x="257" y="241"/>
                    </a:lnTo>
                    <a:lnTo>
                      <a:pt x="254" y="237"/>
                    </a:lnTo>
                    <a:lnTo>
                      <a:pt x="251" y="234"/>
                    </a:lnTo>
                    <a:lnTo>
                      <a:pt x="249" y="231"/>
                    </a:lnTo>
                    <a:lnTo>
                      <a:pt x="251" y="159"/>
                    </a:lnTo>
                    <a:lnTo>
                      <a:pt x="304" y="159"/>
                    </a:lnTo>
                    <a:lnTo>
                      <a:pt x="302" y="156"/>
                    </a:lnTo>
                    <a:lnTo>
                      <a:pt x="302" y="149"/>
                    </a:lnTo>
                    <a:lnTo>
                      <a:pt x="304" y="148"/>
                    </a:lnTo>
                    <a:lnTo>
                      <a:pt x="304" y="144"/>
                    </a:lnTo>
                    <a:lnTo>
                      <a:pt x="302" y="141"/>
                    </a:lnTo>
                    <a:lnTo>
                      <a:pt x="302" y="136"/>
                    </a:lnTo>
                    <a:lnTo>
                      <a:pt x="302" y="128"/>
                    </a:lnTo>
                    <a:lnTo>
                      <a:pt x="301" y="119"/>
                    </a:lnTo>
                    <a:lnTo>
                      <a:pt x="302" y="118"/>
                    </a:lnTo>
                    <a:lnTo>
                      <a:pt x="302" y="116"/>
                    </a:lnTo>
                    <a:lnTo>
                      <a:pt x="302" y="114"/>
                    </a:lnTo>
                    <a:lnTo>
                      <a:pt x="297" y="114"/>
                    </a:lnTo>
                    <a:lnTo>
                      <a:pt x="294" y="116"/>
                    </a:lnTo>
                    <a:lnTo>
                      <a:pt x="289" y="118"/>
                    </a:lnTo>
                    <a:lnTo>
                      <a:pt x="287" y="119"/>
                    </a:lnTo>
                    <a:lnTo>
                      <a:pt x="284" y="119"/>
                    </a:lnTo>
                    <a:lnTo>
                      <a:pt x="282" y="119"/>
                    </a:lnTo>
                    <a:lnTo>
                      <a:pt x="276" y="119"/>
                    </a:lnTo>
                    <a:lnTo>
                      <a:pt x="274" y="118"/>
                    </a:lnTo>
                    <a:lnTo>
                      <a:pt x="271" y="116"/>
                    </a:lnTo>
                    <a:lnTo>
                      <a:pt x="267" y="116"/>
                    </a:lnTo>
                    <a:lnTo>
                      <a:pt x="266" y="116"/>
                    </a:lnTo>
                    <a:lnTo>
                      <a:pt x="264" y="118"/>
                    </a:lnTo>
                    <a:lnTo>
                      <a:pt x="262" y="119"/>
                    </a:lnTo>
                    <a:lnTo>
                      <a:pt x="261" y="119"/>
                    </a:lnTo>
                    <a:lnTo>
                      <a:pt x="259" y="118"/>
                    </a:lnTo>
                    <a:lnTo>
                      <a:pt x="259" y="113"/>
                    </a:lnTo>
                    <a:lnTo>
                      <a:pt x="261" y="111"/>
                    </a:lnTo>
                    <a:lnTo>
                      <a:pt x="261" y="111"/>
                    </a:lnTo>
                    <a:lnTo>
                      <a:pt x="262" y="108"/>
                    </a:lnTo>
                    <a:lnTo>
                      <a:pt x="259" y="104"/>
                    </a:lnTo>
                    <a:lnTo>
                      <a:pt x="259" y="101"/>
                    </a:lnTo>
                    <a:lnTo>
                      <a:pt x="259" y="99"/>
                    </a:lnTo>
                    <a:lnTo>
                      <a:pt x="259" y="98"/>
                    </a:lnTo>
                    <a:lnTo>
                      <a:pt x="257" y="94"/>
                    </a:lnTo>
                    <a:lnTo>
                      <a:pt x="257" y="91"/>
                    </a:lnTo>
                    <a:lnTo>
                      <a:pt x="257" y="89"/>
                    </a:lnTo>
                    <a:lnTo>
                      <a:pt x="257" y="86"/>
                    </a:lnTo>
                    <a:lnTo>
                      <a:pt x="256" y="86"/>
                    </a:lnTo>
                    <a:lnTo>
                      <a:pt x="254" y="83"/>
                    </a:lnTo>
                    <a:lnTo>
                      <a:pt x="252" y="83"/>
                    </a:lnTo>
                    <a:lnTo>
                      <a:pt x="252" y="79"/>
                    </a:lnTo>
                    <a:lnTo>
                      <a:pt x="251" y="78"/>
                    </a:lnTo>
                    <a:lnTo>
                      <a:pt x="251" y="75"/>
                    </a:lnTo>
                    <a:lnTo>
                      <a:pt x="249" y="73"/>
                    </a:lnTo>
                    <a:lnTo>
                      <a:pt x="251" y="70"/>
                    </a:lnTo>
                    <a:lnTo>
                      <a:pt x="251" y="61"/>
                    </a:lnTo>
                    <a:lnTo>
                      <a:pt x="249" y="58"/>
                    </a:lnTo>
                    <a:lnTo>
                      <a:pt x="249" y="56"/>
                    </a:lnTo>
                    <a:lnTo>
                      <a:pt x="251" y="55"/>
                    </a:lnTo>
                    <a:lnTo>
                      <a:pt x="251" y="51"/>
                    </a:lnTo>
                    <a:lnTo>
                      <a:pt x="247" y="48"/>
                    </a:lnTo>
                    <a:lnTo>
                      <a:pt x="249" y="45"/>
                    </a:lnTo>
                    <a:lnTo>
                      <a:pt x="251" y="41"/>
                    </a:lnTo>
                    <a:lnTo>
                      <a:pt x="251" y="38"/>
                    </a:lnTo>
                    <a:lnTo>
                      <a:pt x="251" y="35"/>
                    </a:lnTo>
                    <a:lnTo>
                      <a:pt x="251" y="31"/>
                    </a:lnTo>
                    <a:lnTo>
                      <a:pt x="223" y="30"/>
                    </a:lnTo>
                    <a:lnTo>
                      <a:pt x="223" y="28"/>
                    </a:lnTo>
                    <a:lnTo>
                      <a:pt x="223" y="26"/>
                    </a:lnTo>
                    <a:lnTo>
                      <a:pt x="224" y="23"/>
                    </a:lnTo>
                    <a:lnTo>
                      <a:pt x="216" y="23"/>
                    </a:lnTo>
                    <a:lnTo>
                      <a:pt x="216" y="25"/>
                    </a:lnTo>
                    <a:lnTo>
                      <a:pt x="193" y="25"/>
                    </a:lnTo>
                    <a:lnTo>
                      <a:pt x="191" y="31"/>
                    </a:lnTo>
                    <a:lnTo>
                      <a:pt x="189" y="35"/>
                    </a:lnTo>
                    <a:lnTo>
                      <a:pt x="188" y="36"/>
                    </a:lnTo>
                    <a:lnTo>
                      <a:pt x="189" y="40"/>
                    </a:lnTo>
                    <a:lnTo>
                      <a:pt x="189" y="46"/>
                    </a:lnTo>
                    <a:lnTo>
                      <a:pt x="171" y="46"/>
                    </a:lnTo>
                    <a:lnTo>
                      <a:pt x="168" y="48"/>
                    </a:lnTo>
                    <a:lnTo>
                      <a:pt x="159" y="48"/>
                    </a:lnTo>
                    <a:lnTo>
                      <a:pt x="156" y="48"/>
                    </a:lnTo>
                    <a:lnTo>
                      <a:pt x="151" y="48"/>
                    </a:lnTo>
                    <a:lnTo>
                      <a:pt x="146" y="48"/>
                    </a:lnTo>
                    <a:lnTo>
                      <a:pt x="143" y="46"/>
                    </a:lnTo>
                    <a:lnTo>
                      <a:pt x="141" y="40"/>
                    </a:lnTo>
                    <a:lnTo>
                      <a:pt x="138" y="35"/>
                    </a:lnTo>
                    <a:lnTo>
                      <a:pt x="136" y="33"/>
                    </a:lnTo>
                    <a:lnTo>
                      <a:pt x="134" y="31"/>
                    </a:lnTo>
                    <a:lnTo>
                      <a:pt x="134" y="28"/>
                    </a:lnTo>
                    <a:lnTo>
                      <a:pt x="133" y="26"/>
                    </a:lnTo>
                    <a:lnTo>
                      <a:pt x="131" y="21"/>
                    </a:lnTo>
                    <a:lnTo>
                      <a:pt x="129" y="18"/>
                    </a:lnTo>
                    <a:lnTo>
                      <a:pt x="129" y="15"/>
                    </a:lnTo>
                    <a:lnTo>
                      <a:pt x="129" y="11"/>
                    </a:lnTo>
                    <a:lnTo>
                      <a:pt x="129" y="10"/>
                    </a:lnTo>
                    <a:lnTo>
                      <a:pt x="128" y="6"/>
                    </a:lnTo>
                    <a:lnTo>
                      <a:pt x="126" y="5"/>
                    </a:lnTo>
                    <a:lnTo>
                      <a:pt x="128" y="3"/>
                    </a:lnTo>
                    <a:lnTo>
                      <a:pt x="128" y="0"/>
                    </a:lnTo>
                    <a:lnTo>
                      <a:pt x="103" y="0"/>
                    </a:lnTo>
                    <a:lnTo>
                      <a:pt x="85" y="0"/>
                    </a:lnTo>
                    <a:lnTo>
                      <a:pt x="76" y="1"/>
                    </a:lnTo>
                    <a:lnTo>
                      <a:pt x="70" y="0"/>
                    </a:lnTo>
                    <a:lnTo>
                      <a:pt x="65" y="0"/>
                    </a:lnTo>
                    <a:lnTo>
                      <a:pt x="58" y="0"/>
                    </a:lnTo>
                    <a:lnTo>
                      <a:pt x="53" y="1"/>
                    </a:lnTo>
                    <a:lnTo>
                      <a:pt x="48" y="1"/>
                    </a:lnTo>
                    <a:lnTo>
                      <a:pt x="45" y="0"/>
                    </a:lnTo>
                    <a:lnTo>
                      <a:pt x="41" y="0"/>
                    </a:lnTo>
                    <a:lnTo>
                      <a:pt x="36" y="1"/>
                    </a:lnTo>
                    <a:lnTo>
                      <a:pt x="33" y="1"/>
                    </a:lnTo>
                    <a:lnTo>
                      <a:pt x="31" y="3"/>
                    </a:lnTo>
                    <a:lnTo>
                      <a:pt x="30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0" y="8"/>
                    </a:lnTo>
                    <a:lnTo>
                      <a:pt x="23" y="10"/>
                    </a:lnTo>
                    <a:lnTo>
                      <a:pt x="23" y="13"/>
                    </a:lnTo>
                    <a:lnTo>
                      <a:pt x="36" y="26"/>
                    </a:lnTo>
                    <a:lnTo>
                      <a:pt x="36" y="45"/>
                    </a:lnTo>
                    <a:lnTo>
                      <a:pt x="45" y="53"/>
                    </a:lnTo>
                    <a:lnTo>
                      <a:pt x="43" y="61"/>
                    </a:lnTo>
                    <a:lnTo>
                      <a:pt x="35" y="71"/>
                    </a:lnTo>
                    <a:lnTo>
                      <a:pt x="40" y="73"/>
                    </a:lnTo>
                    <a:lnTo>
                      <a:pt x="40" y="81"/>
                    </a:lnTo>
                    <a:lnTo>
                      <a:pt x="43" y="86"/>
                    </a:lnTo>
                    <a:lnTo>
                      <a:pt x="43" y="91"/>
                    </a:lnTo>
                    <a:lnTo>
                      <a:pt x="53" y="106"/>
                    </a:lnTo>
                    <a:lnTo>
                      <a:pt x="53" y="109"/>
                    </a:lnTo>
                    <a:lnTo>
                      <a:pt x="55" y="113"/>
                    </a:lnTo>
                    <a:lnTo>
                      <a:pt x="55" y="131"/>
                    </a:lnTo>
                    <a:lnTo>
                      <a:pt x="46" y="148"/>
                    </a:lnTo>
                    <a:lnTo>
                      <a:pt x="43" y="148"/>
                    </a:lnTo>
                    <a:lnTo>
                      <a:pt x="31" y="154"/>
                    </a:lnTo>
                    <a:lnTo>
                      <a:pt x="31" y="161"/>
                    </a:lnTo>
                    <a:lnTo>
                      <a:pt x="18" y="171"/>
                    </a:lnTo>
                    <a:lnTo>
                      <a:pt x="18" y="177"/>
                    </a:lnTo>
                    <a:lnTo>
                      <a:pt x="17" y="179"/>
                    </a:lnTo>
                    <a:lnTo>
                      <a:pt x="17" y="197"/>
                    </a:lnTo>
                    <a:lnTo>
                      <a:pt x="10" y="204"/>
                    </a:lnTo>
                    <a:lnTo>
                      <a:pt x="8" y="212"/>
                    </a:lnTo>
                    <a:lnTo>
                      <a:pt x="2" y="221"/>
                    </a:lnTo>
                    <a:lnTo>
                      <a:pt x="2" y="227"/>
                    </a:lnTo>
                    <a:lnTo>
                      <a:pt x="2" y="236"/>
                    </a:lnTo>
                    <a:lnTo>
                      <a:pt x="2" y="246"/>
                    </a:lnTo>
                    <a:lnTo>
                      <a:pt x="0" y="252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5" y="256"/>
                    </a:lnTo>
                    <a:lnTo>
                      <a:pt x="5" y="257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10" y="252"/>
                    </a:lnTo>
                    <a:lnTo>
                      <a:pt x="17" y="254"/>
                    </a:lnTo>
                    <a:lnTo>
                      <a:pt x="20" y="256"/>
                    </a:lnTo>
                    <a:lnTo>
                      <a:pt x="22" y="254"/>
                    </a:lnTo>
                    <a:lnTo>
                      <a:pt x="22" y="251"/>
                    </a:lnTo>
                    <a:lnTo>
                      <a:pt x="28" y="246"/>
                    </a:lnTo>
                    <a:lnTo>
                      <a:pt x="31" y="246"/>
                    </a:lnTo>
                    <a:lnTo>
                      <a:pt x="36" y="247"/>
                    </a:lnTo>
                    <a:lnTo>
                      <a:pt x="36" y="247"/>
                    </a:lnTo>
                    <a:lnTo>
                      <a:pt x="38" y="247"/>
                    </a:lnTo>
                    <a:lnTo>
                      <a:pt x="40" y="246"/>
                    </a:lnTo>
                    <a:lnTo>
                      <a:pt x="43" y="247"/>
                    </a:lnTo>
                    <a:lnTo>
                      <a:pt x="43" y="249"/>
                    </a:lnTo>
                    <a:lnTo>
                      <a:pt x="46" y="251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53" y="257"/>
                    </a:lnTo>
                    <a:lnTo>
                      <a:pt x="58" y="259"/>
                    </a:lnTo>
                    <a:lnTo>
                      <a:pt x="61" y="257"/>
                    </a:lnTo>
                    <a:lnTo>
                      <a:pt x="63" y="257"/>
                    </a:lnTo>
                    <a:lnTo>
                      <a:pt x="66" y="256"/>
                    </a:lnTo>
                    <a:lnTo>
                      <a:pt x="70" y="256"/>
                    </a:lnTo>
                    <a:lnTo>
                      <a:pt x="70" y="256"/>
                    </a:lnTo>
                    <a:lnTo>
                      <a:pt x="161" y="256"/>
                    </a:lnTo>
                    <a:lnTo>
                      <a:pt x="163" y="257"/>
                    </a:lnTo>
                    <a:lnTo>
                      <a:pt x="164" y="261"/>
                    </a:lnTo>
                    <a:lnTo>
                      <a:pt x="168" y="262"/>
                    </a:lnTo>
                    <a:lnTo>
                      <a:pt x="171" y="264"/>
                    </a:lnTo>
                    <a:lnTo>
                      <a:pt x="178" y="266"/>
                    </a:lnTo>
                    <a:lnTo>
                      <a:pt x="181" y="266"/>
                    </a:lnTo>
                    <a:lnTo>
                      <a:pt x="183" y="266"/>
                    </a:lnTo>
                    <a:lnTo>
                      <a:pt x="184" y="267"/>
                    </a:lnTo>
                    <a:lnTo>
                      <a:pt x="188" y="269"/>
                    </a:lnTo>
                    <a:lnTo>
                      <a:pt x="191" y="267"/>
                    </a:lnTo>
                    <a:lnTo>
                      <a:pt x="194" y="266"/>
                    </a:lnTo>
                    <a:lnTo>
                      <a:pt x="201" y="267"/>
                    </a:lnTo>
                    <a:lnTo>
                      <a:pt x="204" y="267"/>
                    </a:lnTo>
                    <a:lnTo>
                      <a:pt x="204" y="264"/>
                    </a:lnTo>
                    <a:lnTo>
                      <a:pt x="206" y="264"/>
                    </a:lnTo>
                    <a:lnTo>
                      <a:pt x="209" y="264"/>
                    </a:lnTo>
                    <a:lnTo>
                      <a:pt x="214" y="269"/>
                    </a:lnTo>
                    <a:lnTo>
                      <a:pt x="219" y="271"/>
                    </a:lnTo>
                    <a:lnTo>
                      <a:pt x="224" y="271"/>
                    </a:lnTo>
                    <a:lnTo>
                      <a:pt x="226" y="271"/>
                    </a:lnTo>
                    <a:lnTo>
                      <a:pt x="226" y="269"/>
                    </a:lnTo>
                    <a:lnTo>
                      <a:pt x="227" y="267"/>
                    </a:lnTo>
                    <a:lnTo>
                      <a:pt x="231" y="269"/>
                    </a:lnTo>
                    <a:lnTo>
                      <a:pt x="232" y="269"/>
                    </a:lnTo>
                    <a:lnTo>
                      <a:pt x="234" y="269"/>
                    </a:lnTo>
                    <a:lnTo>
                      <a:pt x="236" y="271"/>
                    </a:lnTo>
                    <a:lnTo>
                      <a:pt x="237" y="271"/>
                    </a:lnTo>
                    <a:lnTo>
                      <a:pt x="239" y="271"/>
                    </a:lnTo>
                    <a:lnTo>
                      <a:pt x="241" y="272"/>
                    </a:lnTo>
                    <a:lnTo>
                      <a:pt x="242" y="271"/>
                    </a:lnTo>
                    <a:lnTo>
                      <a:pt x="244" y="271"/>
                    </a:lnTo>
                    <a:lnTo>
                      <a:pt x="282" y="2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2" name="Freeform 135"/>
              <p:cNvSpPr>
                <a:spLocks/>
              </p:cNvSpPr>
              <p:nvPr/>
            </p:nvSpPr>
            <p:spPr bwMode="auto">
              <a:xfrm>
                <a:off x="6738229" y="3449217"/>
                <a:ext cx="100603" cy="80932"/>
              </a:xfrm>
              <a:custGeom>
                <a:avLst/>
                <a:gdLst/>
                <a:ahLst/>
                <a:cxnLst>
                  <a:cxn ang="0">
                    <a:pos x="7" y="50"/>
                  </a:cxn>
                  <a:cxn ang="0">
                    <a:pos x="17" y="53"/>
                  </a:cxn>
                  <a:cxn ang="0">
                    <a:pos x="28" y="51"/>
                  </a:cxn>
                  <a:cxn ang="0">
                    <a:pos x="32" y="51"/>
                  </a:cxn>
                  <a:cxn ang="0">
                    <a:pos x="47" y="53"/>
                  </a:cxn>
                  <a:cxn ang="0">
                    <a:pos x="80" y="23"/>
                  </a:cxn>
                  <a:cxn ang="0">
                    <a:pos x="90" y="16"/>
                  </a:cxn>
                  <a:cxn ang="0">
                    <a:pos x="90" y="11"/>
                  </a:cxn>
                  <a:cxn ang="0">
                    <a:pos x="103" y="3"/>
                  </a:cxn>
                  <a:cxn ang="0">
                    <a:pos x="118" y="0"/>
                  </a:cxn>
                  <a:cxn ang="0">
                    <a:pos x="126" y="1"/>
                  </a:cxn>
                  <a:cxn ang="0">
                    <a:pos x="130" y="10"/>
                  </a:cxn>
                  <a:cxn ang="0">
                    <a:pos x="143" y="13"/>
                  </a:cxn>
                  <a:cxn ang="0">
                    <a:pos x="155" y="11"/>
                  </a:cxn>
                  <a:cxn ang="0">
                    <a:pos x="170" y="20"/>
                  </a:cxn>
                  <a:cxn ang="0">
                    <a:pos x="185" y="26"/>
                  </a:cxn>
                  <a:cxn ang="0">
                    <a:pos x="188" y="35"/>
                  </a:cxn>
                  <a:cxn ang="0">
                    <a:pos x="188" y="43"/>
                  </a:cxn>
                  <a:cxn ang="0">
                    <a:pos x="185" y="56"/>
                  </a:cxn>
                  <a:cxn ang="0">
                    <a:pos x="188" y="61"/>
                  </a:cxn>
                  <a:cxn ang="0">
                    <a:pos x="183" y="71"/>
                  </a:cxn>
                  <a:cxn ang="0">
                    <a:pos x="180" y="79"/>
                  </a:cxn>
                  <a:cxn ang="0">
                    <a:pos x="183" y="88"/>
                  </a:cxn>
                  <a:cxn ang="0">
                    <a:pos x="186" y="96"/>
                  </a:cxn>
                  <a:cxn ang="0">
                    <a:pos x="176" y="106"/>
                  </a:cxn>
                  <a:cxn ang="0">
                    <a:pos x="175" y="113"/>
                  </a:cxn>
                  <a:cxn ang="0">
                    <a:pos x="171" y="124"/>
                  </a:cxn>
                  <a:cxn ang="0">
                    <a:pos x="140" y="154"/>
                  </a:cxn>
                  <a:cxn ang="0">
                    <a:pos x="121" y="154"/>
                  </a:cxn>
                  <a:cxn ang="0">
                    <a:pos x="111" y="151"/>
                  </a:cxn>
                  <a:cxn ang="0">
                    <a:pos x="97" y="148"/>
                  </a:cxn>
                  <a:cxn ang="0">
                    <a:pos x="92" y="141"/>
                  </a:cxn>
                  <a:cxn ang="0">
                    <a:pos x="82" y="138"/>
                  </a:cxn>
                  <a:cxn ang="0">
                    <a:pos x="70" y="136"/>
                  </a:cxn>
                  <a:cxn ang="0">
                    <a:pos x="57" y="128"/>
                  </a:cxn>
                  <a:cxn ang="0">
                    <a:pos x="55" y="116"/>
                  </a:cxn>
                  <a:cxn ang="0">
                    <a:pos x="47" y="109"/>
                  </a:cxn>
                  <a:cxn ang="0">
                    <a:pos x="47" y="104"/>
                  </a:cxn>
                  <a:cxn ang="0">
                    <a:pos x="37" y="98"/>
                  </a:cxn>
                  <a:cxn ang="0">
                    <a:pos x="23" y="83"/>
                  </a:cxn>
                  <a:cxn ang="0">
                    <a:pos x="18" y="78"/>
                  </a:cxn>
                  <a:cxn ang="0">
                    <a:pos x="13" y="68"/>
                  </a:cxn>
                  <a:cxn ang="0">
                    <a:pos x="8" y="63"/>
                  </a:cxn>
                  <a:cxn ang="0">
                    <a:pos x="0" y="56"/>
                  </a:cxn>
                  <a:cxn ang="0">
                    <a:pos x="0" y="51"/>
                  </a:cxn>
                  <a:cxn ang="0">
                    <a:pos x="0" y="48"/>
                  </a:cxn>
                </a:cxnLst>
                <a:rect l="0" t="0" r="r" b="b"/>
                <a:pathLst>
                  <a:path w="190" h="156">
                    <a:moveTo>
                      <a:pt x="0" y="48"/>
                    </a:moveTo>
                    <a:lnTo>
                      <a:pt x="2" y="50"/>
                    </a:lnTo>
                    <a:lnTo>
                      <a:pt x="7" y="50"/>
                    </a:lnTo>
                    <a:lnTo>
                      <a:pt x="12" y="51"/>
                    </a:lnTo>
                    <a:lnTo>
                      <a:pt x="15" y="53"/>
                    </a:lnTo>
                    <a:lnTo>
                      <a:pt x="17" y="53"/>
                    </a:lnTo>
                    <a:lnTo>
                      <a:pt x="22" y="51"/>
                    </a:lnTo>
                    <a:lnTo>
                      <a:pt x="27" y="50"/>
                    </a:lnTo>
                    <a:lnTo>
                      <a:pt x="28" y="51"/>
                    </a:lnTo>
                    <a:lnTo>
                      <a:pt x="30" y="51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35" y="55"/>
                    </a:lnTo>
                    <a:lnTo>
                      <a:pt x="40" y="55"/>
                    </a:lnTo>
                    <a:lnTo>
                      <a:pt x="47" y="53"/>
                    </a:lnTo>
                    <a:lnTo>
                      <a:pt x="53" y="45"/>
                    </a:lnTo>
                    <a:lnTo>
                      <a:pt x="65" y="31"/>
                    </a:lnTo>
                    <a:lnTo>
                      <a:pt x="80" y="23"/>
                    </a:lnTo>
                    <a:lnTo>
                      <a:pt x="88" y="20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0" y="11"/>
                    </a:lnTo>
                    <a:lnTo>
                      <a:pt x="92" y="8"/>
                    </a:lnTo>
                    <a:lnTo>
                      <a:pt x="100" y="5"/>
                    </a:lnTo>
                    <a:lnTo>
                      <a:pt x="103" y="3"/>
                    </a:lnTo>
                    <a:lnTo>
                      <a:pt x="106" y="1"/>
                    </a:lnTo>
                    <a:lnTo>
                      <a:pt x="111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21" y="1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30" y="1"/>
                    </a:lnTo>
                    <a:lnTo>
                      <a:pt x="130" y="10"/>
                    </a:lnTo>
                    <a:lnTo>
                      <a:pt x="138" y="10"/>
                    </a:lnTo>
                    <a:lnTo>
                      <a:pt x="141" y="10"/>
                    </a:lnTo>
                    <a:lnTo>
                      <a:pt x="143" y="13"/>
                    </a:lnTo>
                    <a:lnTo>
                      <a:pt x="146" y="11"/>
                    </a:lnTo>
                    <a:lnTo>
                      <a:pt x="148" y="10"/>
                    </a:lnTo>
                    <a:lnTo>
                      <a:pt x="155" y="11"/>
                    </a:lnTo>
                    <a:lnTo>
                      <a:pt x="161" y="15"/>
                    </a:lnTo>
                    <a:lnTo>
                      <a:pt x="165" y="20"/>
                    </a:lnTo>
                    <a:lnTo>
                      <a:pt x="170" y="20"/>
                    </a:lnTo>
                    <a:lnTo>
                      <a:pt x="176" y="21"/>
                    </a:lnTo>
                    <a:lnTo>
                      <a:pt x="181" y="25"/>
                    </a:lnTo>
                    <a:lnTo>
                      <a:pt x="185" y="26"/>
                    </a:lnTo>
                    <a:lnTo>
                      <a:pt x="190" y="28"/>
                    </a:lnTo>
                    <a:lnTo>
                      <a:pt x="190" y="31"/>
                    </a:lnTo>
                    <a:lnTo>
                      <a:pt x="188" y="35"/>
                    </a:lnTo>
                    <a:lnTo>
                      <a:pt x="188" y="38"/>
                    </a:lnTo>
                    <a:lnTo>
                      <a:pt x="188" y="41"/>
                    </a:lnTo>
                    <a:lnTo>
                      <a:pt x="188" y="43"/>
                    </a:lnTo>
                    <a:lnTo>
                      <a:pt x="188" y="46"/>
                    </a:lnTo>
                    <a:lnTo>
                      <a:pt x="186" y="50"/>
                    </a:lnTo>
                    <a:lnTo>
                      <a:pt x="185" y="56"/>
                    </a:lnTo>
                    <a:lnTo>
                      <a:pt x="183" y="60"/>
                    </a:lnTo>
                    <a:lnTo>
                      <a:pt x="185" y="61"/>
                    </a:lnTo>
                    <a:lnTo>
                      <a:pt x="188" y="61"/>
                    </a:lnTo>
                    <a:lnTo>
                      <a:pt x="186" y="64"/>
                    </a:lnTo>
                    <a:lnTo>
                      <a:pt x="183" y="66"/>
                    </a:lnTo>
                    <a:lnTo>
                      <a:pt x="183" y="71"/>
                    </a:lnTo>
                    <a:lnTo>
                      <a:pt x="183" y="74"/>
                    </a:lnTo>
                    <a:lnTo>
                      <a:pt x="180" y="76"/>
                    </a:lnTo>
                    <a:lnTo>
                      <a:pt x="180" y="79"/>
                    </a:lnTo>
                    <a:lnTo>
                      <a:pt x="185" y="81"/>
                    </a:lnTo>
                    <a:lnTo>
                      <a:pt x="185" y="86"/>
                    </a:lnTo>
                    <a:lnTo>
                      <a:pt x="183" y="88"/>
                    </a:lnTo>
                    <a:lnTo>
                      <a:pt x="183" y="91"/>
                    </a:lnTo>
                    <a:lnTo>
                      <a:pt x="185" y="93"/>
                    </a:lnTo>
                    <a:lnTo>
                      <a:pt x="186" y="96"/>
                    </a:lnTo>
                    <a:lnTo>
                      <a:pt x="183" y="101"/>
                    </a:lnTo>
                    <a:lnTo>
                      <a:pt x="178" y="104"/>
                    </a:lnTo>
                    <a:lnTo>
                      <a:pt x="176" y="106"/>
                    </a:lnTo>
                    <a:lnTo>
                      <a:pt x="173" y="106"/>
                    </a:lnTo>
                    <a:lnTo>
                      <a:pt x="173" y="109"/>
                    </a:lnTo>
                    <a:lnTo>
                      <a:pt x="175" y="113"/>
                    </a:lnTo>
                    <a:lnTo>
                      <a:pt x="173" y="116"/>
                    </a:lnTo>
                    <a:lnTo>
                      <a:pt x="173" y="123"/>
                    </a:lnTo>
                    <a:lnTo>
                      <a:pt x="171" y="124"/>
                    </a:lnTo>
                    <a:lnTo>
                      <a:pt x="171" y="133"/>
                    </a:lnTo>
                    <a:lnTo>
                      <a:pt x="145" y="156"/>
                    </a:lnTo>
                    <a:lnTo>
                      <a:pt x="140" y="154"/>
                    </a:lnTo>
                    <a:lnTo>
                      <a:pt x="131" y="153"/>
                    </a:lnTo>
                    <a:lnTo>
                      <a:pt x="125" y="153"/>
                    </a:lnTo>
                    <a:lnTo>
                      <a:pt x="121" y="154"/>
                    </a:lnTo>
                    <a:lnTo>
                      <a:pt x="120" y="153"/>
                    </a:lnTo>
                    <a:lnTo>
                      <a:pt x="115" y="151"/>
                    </a:lnTo>
                    <a:lnTo>
                      <a:pt x="111" y="151"/>
                    </a:lnTo>
                    <a:lnTo>
                      <a:pt x="110" y="148"/>
                    </a:lnTo>
                    <a:lnTo>
                      <a:pt x="103" y="148"/>
                    </a:lnTo>
                    <a:lnTo>
                      <a:pt x="97" y="148"/>
                    </a:lnTo>
                    <a:lnTo>
                      <a:pt x="93" y="146"/>
                    </a:lnTo>
                    <a:lnTo>
                      <a:pt x="92" y="144"/>
                    </a:lnTo>
                    <a:lnTo>
                      <a:pt x="92" y="141"/>
                    </a:lnTo>
                    <a:lnTo>
                      <a:pt x="90" y="139"/>
                    </a:lnTo>
                    <a:lnTo>
                      <a:pt x="87" y="139"/>
                    </a:lnTo>
                    <a:lnTo>
                      <a:pt x="82" y="138"/>
                    </a:lnTo>
                    <a:lnTo>
                      <a:pt x="78" y="138"/>
                    </a:lnTo>
                    <a:lnTo>
                      <a:pt x="73" y="134"/>
                    </a:lnTo>
                    <a:lnTo>
                      <a:pt x="70" y="136"/>
                    </a:lnTo>
                    <a:lnTo>
                      <a:pt x="65" y="134"/>
                    </a:lnTo>
                    <a:lnTo>
                      <a:pt x="62" y="131"/>
                    </a:lnTo>
                    <a:lnTo>
                      <a:pt x="57" y="128"/>
                    </a:lnTo>
                    <a:lnTo>
                      <a:pt x="55" y="124"/>
                    </a:lnTo>
                    <a:lnTo>
                      <a:pt x="55" y="121"/>
                    </a:lnTo>
                    <a:lnTo>
                      <a:pt x="55" y="116"/>
                    </a:lnTo>
                    <a:lnTo>
                      <a:pt x="55" y="113"/>
                    </a:lnTo>
                    <a:lnTo>
                      <a:pt x="52" y="111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7" y="106"/>
                    </a:lnTo>
                    <a:lnTo>
                      <a:pt x="47" y="104"/>
                    </a:lnTo>
                    <a:lnTo>
                      <a:pt x="43" y="103"/>
                    </a:lnTo>
                    <a:lnTo>
                      <a:pt x="42" y="101"/>
                    </a:lnTo>
                    <a:lnTo>
                      <a:pt x="37" y="98"/>
                    </a:lnTo>
                    <a:lnTo>
                      <a:pt x="32" y="94"/>
                    </a:lnTo>
                    <a:lnTo>
                      <a:pt x="25" y="86"/>
                    </a:lnTo>
                    <a:lnTo>
                      <a:pt x="23" y="83"/>
                    </a:lnTo>
                    <a:lnTo>
                      <a:pt x="22" y="83"/>
                    </a:lnTo>
                    <a:lnTo>
                      <a:pt x="20" y="81"/>
                    </a:lnTo>
                    <a:lnTo>
                      <a:pt x="18" y="78"/>
                    </a:lnTo>
                    <a:lnTo>
                      <a:pt x="17" y="76"/>
                    </a:lnTo>
                    <a:lnTo>
                      <a:pt x="15" y="71"/>
                    </a:lnTo>
                    <a:lnTo>
                      <a:pt x="13" y="68"/>
                    </a:lnTo>
                    <a:lnTo>
                      <a:pt x="12" y="68"/>
                    </a:lnTo>
                    <a:lnTo>
                      <a:pt x="10" y="64"/>
                    </a:lnTo>
                    <a:lnTo>
                      <a:pt x="8" y="63"/>
                    </a:lnTo>
                    <a:lnTo>
                      <a:pt x="5" y="61"/>
                    </a:lnTo>
                    <a:lnTo>
                      <a:pt x="3" y="60"/>
                    </a:lnTo>
                    <a:lnTo>
                      <a:pt x="0" y="56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3" name="Freeform 136"/>
              <p:cNvSpPr>
                <a:spLocks/>
              </p:cNvSpPr>
              <p:nvPr/>
            </p:nvSpPr>
            <p:spPr bwMode="auto">
              <a:xfrm>
                <a:off x="6667593" y="3474119"/>
                <a:ext cx="122008" cy="106872"/>
              </a:xfrm>
              <a:custGeom>
                <a:avLst/>
                <a:gdLst/>
                <a:ahLst/>
                <a:cxnLst>
                  <a:cxn ang="0">
                    <a:pos x="131" y="5"/>
                  </a:cxn>
                  <a:cxn ang="0">
                    <a:pos x="134" y="12"/>
                  </a:cxn>
                  <a:cxn ang="0">
                    <a:pos x="141" y="16"/>
                  </a:cxn>
                  <a:cxn ang="0">
                    <a:pos x="146" y="23"/>
                  </a:cxn>
                  <a:cxn ang="0">
                    <a:pos x="151" y="33"/>
                  </a:cxn>
                  <a:cxn ang="0">
                    <a:pos x="156" y="38"/>
                  </a:cxn>
                  <a:cxn ang="0">
                    <a:pos x="173" y="53"/>
                  </a:cxn>
                  <a:cxn ang="0">
                    <a:pos x="178" y="58"/>
                  </a:cxn>
                  <a:cxn ang="0">
                    <a:pos x="183" y="63"/>
                  </a:cxn>
                  <a:cxn ang="0">
                    <a:pos x="186" y="73"/>
                  </a:cxn>
                  <a:cxn ang="0">
                    <a:pos x="193" y="83"/>
                  </a:cxn>
                  <a:cxn ang="0">
                    <a:pos x="204" y="86"/>
                  </a:cxn>
                  <a:cxn ang="0">
                    <a:pos x="218" y="91"/>
                  </a:cxn>
                  <a:cxn ang="0">
                    <a:pos x="223" y="96"/>
                  </a:cxn>
                  <a:cxn ang="0">
                    <a:pos x="224" y="101"/>
                  </a:cxn>
                  <a:cxn ang="0">
                    <a:pos x="214" y="105"/>
                  </a:cxn>
                  <a:cxn ang="0">
                    <a:pos x="211" y="111"/>
                  </a:cxn>
                  <a:cxn ang="0">
                    <a:pos x="201" y="114"/>
                  </a:cxn>
                  <a:cxn ang="0">
                    <a:pos x="189" y="118"/>
                  </a:cxn>
                  <a:cxn ang="0">
                    <a:pos x="183" y="123"/>
                  </a:cxn>
                  <a:cxn ang="0">
                    <a:pos x="174" y="128"/>
                  </a:cxn>
                  <a:cxn ang="0">
                    <a:pos x="164" y="141"/>
                  </a:cxn>
                  <a:cxn ang="0">
                    <a:pos x="163" y="148"/>
                  </a:cxn>
                  <a:cxn ang="0">
                    <a:pos x="154" y="153"/>
                  </a:cxn>
                  <a:cxn ang="0">
                    <a:pos x="149" y="159"/>
                  </a:cxn>
                  <a:cxn ang="0">
                    <a:pos x="138" y="161"/>
                  </a:cxn>
                  <a:cxn ang="0">
                    <a:pos x="134" y="173"/>
                  </a:cxn>
                  <a:cxn ang="0">
                    <a:pos x="134" y="183"/>
                  </a:cxn>
                  <a:cxn ang="0">
                    <a:pos x="125" y="181"/>
                  </a:cxn>
                  <a:cxn ang="0">
                    <a:pos x="110" y="183"/>
                  </a:cxn>
                  <a:cxn ang="0">
                    <a:pos x="93" y="178"/>
                  </a:cxn>
                  <a:cxn ang="0">
                    <a:pos x="80" y="174"/>
                  </a:cxn>
                  <a:cxn ang="0">
                    <a:pos x="63" y="189"/>
                  </a:cxn>
                  <a:cxn ang="0">
                    <a:pos x="48" y="198"/>
                  </a:cxn>
                  <a:cxn ang="0">
                    <a:pos x="35" y="204"/>
                  </a:cxn>
                  <a:cxn ang="0">
                    <a:pos x="20" y="204"/>
                  </a:cxn>
                  <a:cxn ang="0">
                    <a:pos x="17" y="194"/>
                  </a:cxn>
                  <a:cxn ang="0">
                    <a:pos x="8" y="169"/>
                  </a:cxn>
                  <a:cxn ang="0">
                    <a:pos x="0" y="164"/>
                  </a:cxn>
                  <a:cxn ang="0">
                    <a:pos x="25" y="95"/>
                  </a:cxn>
                  <a:cxn ang="0">
                    <a:pos x="71" y="12"/>
                  </a:cxn>
                  <a:cxn ang="0">
                    <a:pos x="83" y="10"/>
                  </a:cxn>
                  <a:cxn ang="0">
                    <a:pos x="88" y="15"/>
                  </a:cxn>
                  <a:cxn ang="0">
                    <a:pos x="88" y="20"/>
                  </a:cxn>
                  <a:cxn ang="0">
                    <a:pos x="105" y="5"/>
                  </a:cxn>
                  <a:cxn ang="0">
                    <a:pos x="115" y="7"/>
                  </a:cxn>
                  <a:cxn ang="0">
                    <a:pos x="131" y="0"/>
                  </a:cxn>
                </a:cxnLst>
                <a:rect l="0" t="0" r="r" b="b"/>
                <a:pathLst>
                  <a:path w="228" h="206">
                    <a:moveTo>
                      <a:pt x="131" y="0"/>
                    </a:moveTo>
                    <a:lnTo>
                      <a:pt x="131" y="3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1" y="8"/>
                    </a:lnTo>
                    <a:lnTo>
                      <a:pt x="134" y="12"/>
                    </a:lnTo>
                    <a:lnTo>
                      <a:pt x="136" y="13"/>
                    </a:lnTo>
                    <a:lnTo>
                      <a:pt x="139" y="15"/>
                    </a:lnTo>
                    <a:lnTo>
                      <a:pt x="141" y="16"/>
                    </a:lnTo>
                    <a:lnTo>
                      <a:pt x="143" y="20"/>
                    </a:lnTo>
                    <a:lnTo>
                      <a:pt x="144" y="20"/>
                    </a:lnTo>
                    <a:lnTo>
                      <a:pt x="146" y="23"/>
                    </a:lnTo>
                    <a:lnTo>
                      <a:pt x="148" y="28"/>
                    </a:lnTo>
                    <a:lnTo>
                      <a:pt x="149" y="30"/>
                    </a:lnTo>
                    <a:lnTo>
                      <a:pt x="151" y="33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6" y="38"/>
                    </a:lnTo>
                    <a:lnTo>
                      <a:pt x="163" y="46"/>
                    </a:lnTo>
                    <a:lnTo>
                      <a:pt x="168" y="50"/>
                    </a:lnTo>
                    <a:lnTo>
                      <a:pt x="173" y="53"/>
                    </a:lnTo>
                    <a:lnTo>
                      <a:pt x="174" y="55"/>
                    </a:lnTo>
                    <a:lnTo>
                      <a:pt x="178" y="56"/>
                    </a:lnTo>
                    <a:lnTo>
                      <a:pt x="178" y="58"/>
                    </a:lnTo>
                    <a:lnTo>
                      <a:pt x="178" y="60"/>
                    </a:lnTo>
                    <a:lnTo>
                      <a:pt x="178" y="61"/>
                    </a:lnTo>
                    <a:lnTo>
                      <a:pt x="183" y="63"/>
                    </a:lnTo>
                    <a:lnTo>
                      <a:pt x="186" y="65"/>
                    </a:lnTo>
                    <a:lnTo>
                      <a:pt x="186" y="68"/>
                    </a:lnTo>
                    <a:lnTo>
                      <a:pt x="186" y="73"/>
                    </a:lnTo>
                    <a:lnTo>
                      <a:pt x="186" y="76"/>
                    </a:lnTo>
                    <a:lnTo>
                      <a:pt x="188" y="80"/>
                    </a:lnTo>
                    <a:lnTo>
                      <a:pt x="193" y="83"/>
                    </a:lnTo>
                    <a:lnTo>
                      <a:pt x="196" y="86"/>
                    </a:lnTo>
                    <a:lnTo>
                      <a:pt x="201" y="88"/>
                    </a:lnTo>
                    <a:lnTo>
                      <a:pt x="204" y="86"/>
                    </a:lnTo>
                    <a:lnTo>
                      <a:pt x="209" y="90"/>
                    </a:lnTo>
                    <a:lnTo>
                      <a:pt x="213" y="90"/>
                    </a:lnTo>
                    <a:lnTo>
                      <a:pt x="218" y="91"/>
                    </a:lnTo>
                    <a:lnTo>
                      <a:pt x="221" y="91"/>
                    </a:lnTo>
                    <a:lnTo>
                      <a:pt x="223" y="93"/>
                    </a:lnTo>
                    <a:lnTo>
                      <a:pt x="223" y="96"/>
                    </a:lnTo>
                    <a:lnTo>
                      <a:pt x="224" y="98"/>
                    </a:lnTo>
                    <a:lnTo>
                      <a:pt x="228" y="100"/>
                    </a:lnTo>
                    <a:lnTo>
                      <a:pt x="224" y="101"/>
                    </a:lnTo>
                    <a:lnTo>
                      <a:pt x="221" y="101"/>
                    </a:lnTo>
                    <a:lnTo>
                      <a:pt x="218" y="103"/>
                    </a:lnTo>
                    <a:lnTo>
                      <a:pt x="214" y="105"/>
                    </a:lnTo>
                    <a:lnTo>
                      <a:pt x="216" y="106"/>
                    </a:lnTo>
                    <a:lnTo>
                      <a:pt x="214" y="110"/>
                    </a:lnTo>
                    <a:lnTo>
                      <a:pt x="211" y="111"/>
                    </a:lnTo>
                    <a:lnTo>
                      <a:pt x="208" y="113"/>
                    </a:lnTo>
                    <a:lnTo>
                      <a:pt x="203" y="113"/>
                    </a:lnTo>
                    <a:lnTo>
                      <a:pt x="201" y="114"/>
                    </a:lnTo>
                    <a:lnTo>
                      <a:pt x="199" y="113"/>
                    </a:lnTo>
                    <a:lnTo>
                      <a:pt x="194" y="113"/>
                    </a:lnTo>
                    <a:lnTo>
                      <a:pt x="189" y="118"/>
                    </a:lnTo>
                    <a:lnTo>
                      <a:pt x="186" y="119"/>
                    </a:lnTo>
                    <a:lnTo>
                      <a:pt x="184" y="121"/>
                    </a:lnTo>
                    <a:lnTo>
                      <a:pt x="183" y="123"/>
                    </a:lnTo>
                    <a:lnTo>
                      <a:pt x="179" y="124"/>
                    </a:lnTo>
                    <a:lnTo>
                      <a:pt x="178" y="126"/>
                    </a:lnTo>
                    <a:lnTo>
                      <a:pt x="174" y="128"/>
                    </a:lnTo>
                    <a:lnTo>
                      <a:pt x="171" y="129"/>
                    </a:lnTo>
                    <a:lnTo>
                      <a:pt x="164" y="136"/>
                    </a:lnTo>
                    <a:lnTo>
                      <a:pt x="164" y="141"/>
                    </a:lnTo>
                    <a:lnTo>
                      <a:pt x="166" y="144"/>
                    </a:lnTo>
                    <a:lnTo>
                      <a:pt x="166" y="148"/>
                    </a:lnTo>
                    <a:lnTo>
                      <a:pt x="163" y="148"/>
                    </a:lnTo>
                    <a:lnTo>
                      <a:pt x="161" y="149"/>
                    </a:lnTo>
                    <a:lnTo>
                      <a:pt x="158" y="149"/>
                    </a:lnTo>
                    <a:lnTo>
                      <a:pt x="154" y="153"/>
                    </a:lnTo>
                    <a:lnTo>
                      <a:pt x="153" y="156"/>
                    </a:lnTo>
                    <a:lnTo>
                      <a:pt x="151" y="156"/>
                    </a:lnTo>
                    <a:lnTo>
                      <a:pt x="149" y="159"/>
                    </a:lnTo>
                    <a:lnTo>
                      <a:pt x="146" y="159"/>
                    </a:lnTo>
                    <a:lnTo>
                      <a:pt x="143" y="161"/>
                    </a:lnTo>
                    <a:lnTo>
                      <a:pt x="138" y="161"/>
                    </a:lnTo>
                    <a:lnTo>
                      <a:pt x="136" y="166"/>
                    </a:lnTo>
                    <a:lnTo>
                      <a:pt x="136" y="171"/>
                    </a:lnTo>
                    <a:lnTo>
                      <a:pt x="134" y="173"/>
                    </a:lnTo>
                    <a:lnTo>
                      <a:pt x="134" y="176"/>
                    </a:lnTo>
                    <a:lnTo>
                      <a:pt x="133" y="179"/>
                    </a:lnTo>
                    <a:lnTo>
                      <a:pt x="134" y="183"/>
                    </a:lnTo>
                    <a:lnTo>
                      <a:pt x="129" y="184"/>
                    </a:lnTo>
                    <a:lnTo>
                      <a:pt x="126" y="184"/>
                    </a:lnTo>
                    <a:lnTo>
                      <a:pt x="125" y="181"/>
                    </a:lnTo>
                    <a:lnTo>
                      <a:pt x="121" y="183"/>
                    </a:lnTo>
                    <a:lnTo>
                      <a:pt x="115" y="183"/>
                    </a:lnTo>
                    <a:lnTo>
                      <a:pt x="110" y="183"/>
                    </a:lnTo>
                    <a:lnTo>
                      <a:pt x="105" y="183"/>
                    </a:lnTo>
                    <a:lnTo>
                      <a:pt x="101" y="183"/>
                    </a:lnTo>
                    <a:lnTo>
                      <a:pt x="93" y="178"/>
                    </a:lnTo>
                    <a:lnTo>
                      <a:pt x="90" y="178"/>
                    </a:lnTo>
                    <a:lnTo>
                      <a:pt x="88" y="174"/>
                    </a:lnTo>
                    <a:lnTo>
                      <a:pt x="80" y="174"/>
                    </a:lnTo>
                    <a:lnTo>
                      <a:pt x="73" y="174"/>
                    </a:lnTo>
                    <a:lnTo>
                      <a:pt x="66" y="179"/>
                    </a:lnTo>
                    <a:lnTo>
                      <a:pt x="63" y="189"/>
                    </a:lnTo>
                    <a:lnTo>
                      <a:pt x="58" y="193"/>
                    </a:lnTo>
                    <a:lnTo>
                      <a:pt x="50" y="196"/>
                    </a:lnTo>
                    <a:lnTo>
                      <a:pt x="48" y="198"/>
                    </a:lnTo>
                    <a:lnTo>
                      <a:pt x="45" y="201"/>
                    </a:lnTo>
                    <a:lnTo>
                      <a:pt x="40" y="203"/>
                    </a:lnTo>
                    <a:lnTo>
                      <a:pt x="35" y="204"/>
                    </a:lnTo>
                    <a:lnTo>
                      <a:pt x="30" y="204"/>
                    </a:lnTo>
                    <a:lnTo>
                      <a:pt x="25" y="206"/>
                    </a:lnTo>
                    <a:lnTo>
                      <a:pt x="20" y="204"/>
                    </a:lnTo>
                    <a:lnTo>
                      <a:pt x="13" y="206"/>
                    </a:lnTo>
                    <a:lnTo>
                      <a:pt x="13" y="201"/>
                    </a:lnTo>
                    <a:lnTo>
                      <a:pt x="17" y="194"/>
                    </a:lnTo>
                    <a:lnTo>
                      <a:pt x="17" y="188"/>
                    </a:lnTo>
                    <a:lnTo>
                      <a:pt x="10" y="176"/>
                    </a:lnTo>
                    <a:lnTo>
                      <a:pt x="8" y="169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3" y="95"/>
                    </a:lnTo>
                    <a:lnTo>
                      <a:pt x="25" y="95"/>
                    </a:lnTo>
                    <a:lnTo>
                      <a:pt x="30" y="16"/>
                    </a:lnTo>
                    <a:lnTo>
                      <a:pt x="48" y="16"/>
                    </a:lnTo>
                    <a:lnTo>
                      <a:pt x="71" y="12"/>
                    </a:lnTo>
                    <a:lnTo>
                      <a:pt x="78" y="10"/>
                    </a:lnTo>
                    <a:lnTo>
                      <a:pt x="81" y="10"/>
                    </a:lnTo>
                    <a:lnTo>
                      <a:pt x="83" y="10"/>
                    </a:lnTo>
                    <a:lnTo>
                      <a:pt x="85" y="10"/>
                    </a:lnTo>
                    <a:lnTo>
                      <a:pt x="86" y="13"/>
                    </a:lnTo>
                    <a:lnTo>
                      <a:pt x="88" y="15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6" y="15"/>
                    </a:lnTo>
                    <a:lnTo>
                      <a:pt x="100" y="10"/>
                    </a:lnTo>
                    <a:lnTo>
                      <a:pt x="105" y="5"/>
                    </a:lnTo>
                    <a:lnTo>
                      <a:pt x="110" y="5"/>
                    </a:lnTo>
                    <a:lnTo>
                      <a:pt x="111" y="7"/>
                    </a:lnTo>
                    <a:lnTo>
                      <a:pt x="115" y="7"/>
                    </a:lnTo>
                    <a:lnTo>
                      <a:pt x="118" y="5"/>
                    </a:lnTo>
                    <a:lnTo>
                      <a:pt x="126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4" name="Freeform 137"/>
              <p:cNvSpPr>
                <a:spLocks/>
              </p:cNvSpPr>
              <p:nvPr/>
            </p:nvSpPr>
            <p:spPr bwMode="auto">
              <a:xfrm>
                <a:off x="6562709" y="3464781"/>
                <a:ext cx="175521" cy="144225"/>
              </a:xfrm>
              <a:custGeom>
                <a:avLst/>
                <a:gdLst/>
                <a:ahLst/>
                <a:cxnLst>
                  <a:cxn ang="0">
                    <a:pos x="199" y="113"/>
                  </a:cxn>
                  <a:cxn ang="0">
                    <a:pos x="244" y="34"/>
                  </a:cxn>
                  <a:cxn ang="0">
                    <a:pos x="277" y="28"/>
                  </a:cxn>
                  <a:cxn ang="0">
                    <a:pos x="282" y="31"/>
                  </a:cxn>
                  <a:cxn ang="0">
                    <a:pos x="282" y="38"/>
                  </a:cxn>
                  <a:cxn ang="0">
                    <a:pos x="296" y="28"/>
                  </a:cxn>
                  <a:cxn ang="0">
                    <a:pos x="307" y="25"/>
                  </a:cxn>
                  <a:cxn ang="0">
                    <a:pos x="322" y="20"/>
                  </a:cxn>
                  <a:cxn ang="0">
                    <a:pos x="322" y="15"/>
                  </a:cxn>
                  <a:cxn ang="0">
                    <a:pos x="316" y="13"/>
                  </a:cxn>
                  <a:cxn ang="0">
                    <a:pos x="309" y="13"/>
                  </a:cxn>
                  <a:cxn ang="0">
                    <a:pos x="242" y="25"/>
                  </a:cxn>
                  <a:cxn ang="0">
                    <a:pos x="237" y="25"/>
                  </a:cxn>
                  <a:cxn ang="0">
                    <a:pos x="232" y="23"/>
                  </a:cxn>
                  <a:cxn ang="0">
                    <a:pos x="226" y="23"/>
                  </a:cxn>
                  <a:cxn ang="0">
                    <a:pos x="219" y="25"/>
                  </a:cxn>
                  <a:cxn ang="0">
                    <a:pos x="206" y="18"/>
                  </a:cxn>
                  <a:cxn ang="0">
                    <a:pos x="201" y="21"/>
                  </a:cxn>
                  <a:cxn ang="0">
                    <a:pos x="188" y="23"/>
                  </a:cxn>
                  <a:cxn ang="0">
                    <a:pos x="181" y="20"/>
                  </a:cxn>
                  <a:cxn ang="0">
                    <a:pos x="168" y="16"/>
                  </a:cxn>
                  <a:cxn ang="0">
                    <a:pos x="161" y="10"/>
                  </a:cxn>
                  <a:cxn ang="0">
                    <a:pos x="66" y="10"/>
                  </a:cxn>
                  <a:cxn ang="0">
                    <a:pos x="58" y="13"/>
                  </a:cxn>
                  <a:cxn ang="0">
                    <a:pos x="46" y="6"/>
                  </a:cxn>
                  <a:cxn ang="0">
                    <a:pos x="43" y="1"/>
                  </a:cxn>
                  <a:cxn ang="0">
                    <a:pos x="36" y="1"/>
                  </a:cxn>
                  <a:cxn ang="0">
                    <a:pos x="28" y="0"/>
                  </a:cxn>
                  <a:cxn ang="0">
                    <a:pos x="20" y="10"/>
                  </a:cxn>
                  <a:cxn ang="0">
                    <a:pos x="8" y="6"/>
                  </a:cxn>
                  <a:cxn ang="0">
                    <a:pos x="5" y="10"/>
                  </a:cxn>
                  <a:cxn ang="0">
                    <a:pos x="2" y="28"/>
                  </a:cxn>
                  <a:cxn ang="0">
                    <a:pos x="36" y="78"/>
                  </a:cxn>
                  <a:cxn ang="0">
                    <a:pos x="50" y="109"/>
                  </a:cxn>
                  <a:cxn ang="0">
                    <a:pos x="60" y="136"/>
                  </a:cxn>
                  <a:cxn ang="0">
                    <a:pos x="71" y="181"/>
                  </a:cxn>
                  <a:cxn ang="0">
                    <a:pos x="68" y="199"/>
                  </a:cxn>
                  <a:cxn ang="0">
                    <a:pos x="76" y="216"/>
                  </a:cxn>
                  <a:cxn ang="0">
                    <a:pos x="76" y="226"/>
                  </a:cxn>
                  <a:cxn ang="0">
                    <a:pos x="85" y="242"/>
                  </a:cxn>
                  <a:cxn ang="0">
                    <a:pos x="98" y="262"/>
                  </a:cxn>
                  <a:cxn ang="0">
                    <a:pos x="115" y="264"/>
                  </a:cxn>
                  <a:cxn ang="0">
                    <a:pos x="116" y="255"/>
                  </a:cxn>
                  <a:cxn ang="0">
                    <a:pos x="129" y="259"/>
                  </a:cxn>
                  <a:cxn ang="0">
                    <a:pos x="139" y="272"/>
                  </a:cxn>
                  <a:cxn ang="0">
                    <a:pos x="151" y="274"/>
                  </a:cxn>
                  <a:cxn ang="0">
                    <a:pos x="159" y="274"/>
                  </a:cxn>
                  <a:cxn ang="0">
                    <a:pos x="168" y="277"/>
                  </a:cxn>
                  <a:cxn ang="0">
                    <a:pos x="174" y="269"/>
                  </a:cxn>
                  <a:cxn ang="0">
                    <a:pos x="189" y="262"/>
                  </a:cxn>
                  <a:cxn ang="0">
                    <a:pos x="196" y="182"/>
                  </a:cxn>
                </a:cxnLst>
                <a:rect l="0" t="0" r="r" b="b"/>
                <a:pathLst>
                  <a:path w="327" h="277">
                    <a:moveTo>
                      <a:pt x="196" y="182"/>
                    </a:moveTo>
                    <a:lnTo>
                      <a:pt x="196" y="182"/>
                    </a:lnTo>
                    <a:lnTo>
                      <a:pt x="199" y="113"/>
                    </a:lnTo>
                    <a:lnTo>
                      <a:pt x="221" y="113"/>
                    </a:lnTo>
                    <a:lnTo>
                      <a:pt x="226" y="34"/>
                    </a:lnTo>
                    <a:lnTo>
                      <a:pt x="244" y="34"/>
                    </a:lnTo>
                    <a:lnTo>
                      <a:pt x="267" y="30"/>
                    </a:lnTo>
                    <a:lnTo>
                      <a:pt x="274" y="28"/>
                    </a:lnTo>
                    <a:lnTo>
                      <a:pt x="277" y="28"/>
                    </a:lnTo>
                    <a:lnTo>
                      <a:pt x="279" y="28"/>
                    </a:lnTo>
                    <a:lnTo>
                      <a:pt x="281" y="28"/>
                    </a:lnTo>
                    <a:lnTo>
                      <a:pt x="282" y="31"/>
                    </a:lnTo>
                    <a:lnTo>
                      <a:pt x="284" y="33"/>
                    </a:lnTo>
                    <a:lnTo>
                      <a:pt x="282" y="34"/>
                    </a:lnTo>
                    <a:lnTo>
                      <a:pt x="282" y="38"/>
                    </a:lnTo>
                    <a:lnTo>
                      <a:pt x="284" y="38"/>
                    </a:lnTo>
                    <a:lnTo>
                      <a:pt x="292" y="33"/>
                    </a:lnTo>
                    <a:lnTo>
                      <a:pt x="296" y="28"/>
                    </a:lnTo>
                    <a:lnTo>
                      <a:pt x="301" y="23"/>
                    </a:lnTo>
                    <a:lnTo>
                      <a:pt x="306" y="23"/>
                    </a:lnTo>
                    <a:lnTo>
                      <a:pt x="307" y="25"/>
                    </a:lnTo>
                    <a:lnTo>
                      <a:pt x="311" y="25"/>
                    </a:lnTo>
                    <a:lnTo>
                      <a:pt x="314" y="23"/>
                    </a:lnTo>
                    <a:lnTo>
                      <a:pt x="322" y="20"/>
                    </a:lnTo>
                    <a:lnTo>
                      <a:pt x="327" y="18"/>
                    </a:lnTo>
                    <a:lnTo>
                      <a:pt x="322" y="15"/>
                    </a:lnTo>
                    <a:lnTo>
                      <a:pt x="322" y="15"/>
                    </a:lnTo>
                    <a:lnTo>
                      <a:pt x="321" y="13"/>
                    </a:lnTo>
                    <a:lnTo>
                      <a:pt x="317" y="15"/>
                    </a:lnTo>
                    <a:lnTo>
                      <a:pt x="316" y="13"/>
                    </a:lnTo>
                    <a:lnTo>
                      <a:pt x="316" y="13"/>
                    </a:lnTo>
                    <a:lnTo>
                      <a:pt x="314" y="11"/>
                    </a:lnTo>
                    <a:lnTo>
                      <a:pt x="309" y="13"/>
                    </a:lnTo>
                    <a:lnTo>
                      <a:pt x="306" y="13"/>
                    </a:lnTo>
                    <a:lnTo>
                      <a:pt x="244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39" y="25"/>
                    </a:lnTo>
                    <a:lnTo>
                      <a:pt x="237" y="25"/>
                    </a:lnTo>
                    <a:lnTo>
                      <a:pt x="236" y="25"/>
                    </a:lnTo>
                    <a:lnTo>
                      <a:pt x="234" y="23"/>
                    </a:lnTo>
                    <a:lnTo>
                      <a:pt x="232" y="23"/>
                    </a:lnTo>
                    <a:lnTo>
                      <a:pt x="231" y="23"/>
                    </a:lnTo>
                    <a:lnTo>
                      <a:pt x="227" y="21"/>
                    </a:lnTo>
                    <a:lnTo>
                      <a:pt x="226" y="23"/>
                    </a:lnTo>
                    <a:lnTo>
                      <a:pt x="226" y="25"/>
                    </a:lnTo>
                    <a:lnTo>
                      <a:pt x="224" y="25"/>
                    </a:lnTo>
                    <a:lnTo>
                      <a:pt x="219" y="25"/>
                    </a:lnTo>
                    <a:lnTo>
                      <a:pt x="214" y="23"/>
                    </a:lnTo>
                    <a:lnTo>
                      <a:pt x="209" y="18"/>
                    </a:lnTo>
                    <a:lnTo>
                      <a:pt x="206" y="18"/>
                    </a:lnTo>
                    <a:lnTo>
                      <a:pt x="204" y="18"/>
                    </a:lnTo>
                    <a:lnTo>
                      <a:pt x="204" y="21"/>
                    </a:lnTo>
                    <a:lnTo>
                      <a:pt x="201" y="21"/>
                    </a:lnTo>
                    <a:lnTo>
                      <a:pt x="194" y="20"/>
                    </a:lnTo>
                    <a:lnTo>
                      <a:pt x="191" y="21"/>
                    </a:lnTo>
                    <a:lnTo>
                      <a:pt x="188" y="23"/>
                    </a:lnTo>
                    <a:lnTo>
                      <a:pt x="184" y="21"/>
                    </a:lnTo>
                    <a:lnTo>
                      <a:pt x="183" y="20"/>
                    </a:lnTo>
                    <a:lnTo>
                      <a:pt x="181" y="20"/>
                    </a:lnTo>
                    <a:lnTo>
                      <a:pt x="178" y="20"/>
                    </a:lnTo>
                    <a:lnTo>
                      <a:pt x="171" y="18"/>
                    </a:lnTo>
                    <a:lnTo>
                      <a:pt x="168" y="16"/>
                    </a:lnTo>
                    <a:lnTo>
                      <a:pt x="164" y="15"/>
                    </a:lnTo>
                    <a:lnTo>
                      <a:pt x="163" y="11"/>
                    </a:lnTo>
                    <a:lnTo>
                      <a:pt x="161" y="10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66" y="10"/>
                    </a:lnTo>
                    <a:lnTo>
                      <a:pt x="63" y="11"/>
                    </a:lnTo>
                    <a:lnTo>
                      <a:pt x="61" y="11"/>
                    </a:lnTo>
                    <a:lnTo>
                      <a:pt x="58" y="13"/>
                    </a:lnTo>
                    <a:lnTo>
                      <a:pt x="53" y="11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6" y="5"/>
                    </a:lnTo>
                    <a:lnTo>
                      <a:pt x="43" y="3"/>
                    </a:lnTo>
                    <a:lnTo>
                      <a:pt x="43" y="1"/>
                    </a:lnTo>
                    <a:lnTo>
                      <a:pt x="40" y="0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20" y="10"/>
                    </a:lnTo>
                    <a:lnTo>
                      <a:pt x="17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5" y="11"/>
                    </a:lnTo>
                    <a:lnTo>
                      <a:pt x="5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28"/>
                    </a:lnTo>
                    <a:lnTo>
                      <a:pt x="17" y="41"/>
                    </a:lnTo>
                    <a:lnTo>
                      <a:pt x="23" y="53"/>
                    </a:lnTo>
                    <a:lnTo>
                      <a:pt x="36" y="78"/>
                    </a:lnTo>
                    <a:lnTo>
                      <a:pt x="38" y="86"/>
                    </a:lnTo>
                    <a:lnTo>
                      <a:pt x="50" y="103"/>
                    </a:lnTo>
                    <a:lnTo>
                      <a:pt x="50" y="109"/>
                    </a:lnTo>
                    <a:lnTo>
                      <a:pt x="63" y="126"/>
                    </a:lnTo>
                    <a:lnTo>
                      <a:pt x="63" y="134"/>
                    </a:lnTo>
                    <a:lnTo>
                      <a:pt x="60" y="136"/>
                    </a:lnTo>
                    <a:lnTo>
                      <a:pt x="63" y="147"/>
                    </a:lnTo>
                    <a:lnTo>
                      <a:pt x="63" y="164"/>
                    </a:lnTo>
                    <a:lnTo>
                      <a:pt x="71" y="181"/>
                    </a:lnTo>
                    <a:lnTo>
                      <a:pt x="70" y="191"/>
                    </a:lnTo>
                    <a:lnTo>
                      <a:pt x="71" y="196"/>
                    </a:lnTo>
                    <a:lnTo>
                      <a:pt x="68" y="199"/>
                    </a:lnTo>
                    <a:lnTo>
                      <a:pt x="71" y="202"/>
                    </a:lnTo>
                    <a:lnTo>
                      <a:pt x="73" y="214"/>
                    </a:lnTo>
                    <a:lnTo>
                      <a:pt x="76" y="216"/>
                    </a:lnTo>
                    <a:lnTo>
                      <a:pt x="80" y="219"/>
                    </a:lnTo>
                    <a:lnTo>
                      <a:pt x="76" y="221"/>
                    </a:lnTo>
                    <a:lnTo>
                      <a:pt x="76" y="226"/>
                    </a:lnTo>
                    <a:lnTo>
                      <a:pt x="80" y="229"/>
                    </a:lnTo>
                    <a:lnTo>
                      <a:pt x="81" y="237"/>
                    </a:lnTo>
                    <a:lnTo>
                      <a:pt x="85" y="242"/>
                    </a:lnTo>
                    <a:lnTo>
                      <a:pt x="91" y="254"/>
                    </a:lnTo>
                    <a:lnTo>
                      <a:pt x="96" y="259"/>
                    </a:lnTo>
                    <a:lnTo>
                      <a:pt x="98" y="262"/>
                    </a:lnTo>
                    <a:lnTo>
                      <a:pt x="106" y="267"/>
                    </a:lnTo>
                    <a:lnTo>
                      <a:pt x="110" y="265"/>
                    </a:lnTo>
                    <a:lnTo>
                      <a:pt x="115" y="264"/>
                    </a:lnTo>
                    <a:lnTo>
                      <a:pt x="115" y="260"/>
                    </a:lnTo>
                    <a:lnTo>
                      <a:pt x="113" y="260"/>
                    </a:lnTo>
                    <a:lnTo>
                      <a:pt x="116" y="255"/>
                    </a:lnTo>
                    <a:lnTo>
                      <a:pt x="121" y="254"/>
                    </a:lnTo>
                    <a:lnTo>
                      <a:pt x="125" y="259"/>
                    </a:lnTo>
                    <a:lnTo>
                      <a:pt x="129" y="259"/>
                    </a:lnTo>
                    <a:lnTo>
                      <a:pt x="128" y="264"/>
                    </a:lnTo>
                    <a:lnTo>
                      <a:pt x="131" y="270"/>
                    </a:lnTo>
                    <a:lnTo>
                      <a:pt x="139" y="272"/>
                    </a:lnTo>
                    <a:lnTo>
                      <a:pt x="144" y="274"/>
                    </a:lnTo>
                    <a:lnTo>
                      <a:pt x="148" y="274"/>
                    </a:lnTo>
                    <a:lnTo>
                      <a:pt x="151" y="274"/>
                    </a:lnTo>
                    <a:lnTo>
                      <a:pt x="154" y="275"/>
                    </a:lnTo>
                    <a:lnTo>
                      <a:pt x="156" y="274"/>
                    </a:lnTo>
                    <a:lnTo>
                      <a:pt x="159" y="274"/>
                    </a:lnTo>
                    <a:lnTo>
                      <a:pt x="163" y="275"/>
                    </a:lnTo>
                    <a:lnTo>
                      <a:pt x="166" y="275"/>
                    </a:lnTo>
                    <a:lnTo>
                      <a:pt x="168" y="277"/>
                    </a:lnTo>
                    <a:lnTo>
                      <a:pt x="169" y="272"/>
                    </a:lnTo>
                    <a:lnTo>
                      <a:pt x="171" y="270"/>
                    </a:lnTo>
                    <a:lnTo>
                      <a:pt x="174" y="269"/>
                    </a:lnTo>
                    <a:lnTo>
                      <a:pt x="176" y="264"/>
                    </a:lnTo>
                    <a:lnTo>
                      <a:pt x="183" y="262"/>
                    </a:lnTo>
                    <a:lnTo>
                      <a:pt x="189" y="262"/>
                    </a:lnTo>
                    <a:lnTo>
                      <a:pt x="193" y="262"/>
                    </a:lnTo>
                    <a:lnTo>
                      <a:pt x="196" y="182"/>
                    </a:lnTo>
                    <a:lnTo>
                      <a:pt x="196" y="1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5" name="Freeform 138"/>
              <p:cNvSpPr>
                <a:spLocks noEditPoints="1"/>
              </p:cNvSpPr>
              <p:nvPr/>
            </p:nvSpPr>
            <p:spPr bwMode="auto">
              <a:xfrm>
                <a:off x="6966192" y="3407713"/>
                <a:ext cx="98463" cy="161864"/>
              </a:xfrm>
              <a:custGeom>
                <a:avLst/>
                <a:gdLst/>
                <a:ahLst/>
                <a:cxnLst>
                  <a:cxn ang="0">
                    <a:pos x="53" y="306"/>
                  </a:cxn>
                  <a:cxn ang="0">
                    <a:pos x="85" y="299"/>
                  </a:cxn>
                  <a:cxn ang="0">
                    <a:pos x="98" y="282"/>
                  </a:cxn>
                  <a:cxn ang="0">
                    <a:pos x="101" y="267"/>
                  </a:cxn>
                  <a:cxn ang="0">
                    <a:pos x="108" y="257"/>
                  </a:cxn>
                  <a:cxn ang="0">
                    <a:pos x="121" y="224"/>
                  </a:cxn>
                  <a:cxn ang="0">
                    <a:pos x="141" y="181"/>
                  </a:cxn>
                  <a:cxn ang="0">
                    <a:pos x="153" y="154"/>
                  </a:cxn>
                  <a:cxn ang="0">
                    <a:pos x="161" y="125"/>
                  </a:cxn>
                  <a:cxn ang="0">
                    <a:pos x="165" y="106"/>
                  </a:cxn>
                  <a:cxn ang="0">
                    <a:pos x="168" y="91"/>
                  </a:cxn>
                  <a:cxn ang="0">
                    <a:pos x="168" y="78"/>
                  </a:cxn>
                  <a:cxn ang="0">
                    <a:pos x="178" y="90"/>
                  </a:cxn>
                  <a:cxn ang="0">
                    <a:pos x="183" y="78"/>
                  </a:cxn>
                  <a:cxn ang="0">
                    <a:pos x="178" y="63"/>
                  </a:cxn>
                  <a:cxn ang="0">
                    <a:pos x="179" y="48"/>
                  </a:cxn>
                  <a:cxn ang="0">
                    <a:pos x="173" y="18"/>
                  </a:cxn>
                  <a:cxn ang="0">
                    <a:pos x="163" y="8"/>
                  </a:cxn>
                  <a:cxn ang="0">
                    <a:pos x="158" y="8"/>
                  </a:cxn>
                  <a:cxn ang="0">
                    <a:pos x="151" y="13"/>
                  </a:cxn>
                  <a:cxn ang="0">
                    <a:pos x="150" y="23"/>
                  </a:cxn>
                  <a:cxn ang="0">
                    <a:pos x="140" y="38"/>
                  </a:cxn>
                  <a:cxn ang="0">
                    <a:pos x="133" y="37"/>
                  </a:cxn>
                  <a:cxn ang="0">
                    <a:pos x="131" y="48"/>
                  </a:cxn>
                  <a:cxn ang="0">
                    <a:pos x="123" y="51"/>
                  </a:cxn>
                  <a:cxn ang="0">
                    <a:pos x="128" y="63"/>
                  </a:cxn>
                  <a:cxn ang="0">
                    <a:pos x="115" y="70"/>
                  </a:cxn>
                  <a:cxn ang="0">
                    <a:pos x="110" y="65"/>
                  </a:cxn>
                  <a:cxn ang="0">
                    <a:pos x="108" y="75"/>
                  </a:cxn>
                  <a:cxn ang="0">
                    <a:pos x="103" y="81"/>
                  </a:cxn>
                  <a:cxn ang="0">
                    <a:pos x="101" y="73"/>
                  </a:cxn>
                  <a:cxn ang="0">
                    <a:pos x="90" y="91"/>
                  </a:cxn>
                  <a:cxn ang="0">
                    <a:pos x="83" y="83"/>
                  </a:cxn>
                  <a:cxn ang="0">
                    <a:pos x="68" y="86"/>
                  </a:cxn>
                  <a:cxn ang="0">
                    <a:pos x="65" y="90"/>
                  </a:cxn>
                  <a:cxn ang="0">
                    <a:pos x="48" y="96"/>
                  </a:cxn>
                  <a:cxn ang="0">
                    <a:pos x="37" y="98"/>
                  </a:cxn>
                  <a:cxn ang="0">
                    <a:pos x="23" y="123"/>
                  </a:cxn>
                  <a:cxn ang="0">
                    <a:pos x="27" y="140"/>
                  </a:cxn>
                  <a:cxn ang="0">
                    <a:pos x="37" y="164"/>
                  </a:cxn>
                  <a:cxn ang="0">
                    <a:pos x="32" y="181"/>
                  </a:cxn>
                  <a:cxn ang="0">
                    <a:pos x="22" y="194"/>
                  </a:cxn>
                  <a:cxn ang="0">
                    <a:pos x="7" y="211"/>
                  </a:cxn>
                  <a:cxn ang="0">
                    <a:pos x="2" y="231"/>
                  </a:cxn>
                  <a:cxn ang="0">
                    <a:pos x="7" y="251"/>
                  </a:cxn>
                  <a:cxn ang="0">
                    <a:pos x="12" y="259"/>
                  </a:cxn>
                  <a:cxn ang="0">
                    <a:pos x="7" y="274"/>
                  </a:cxn>
                  <a:cxn ang="0">
                    <a:pos x="10" y="289"/>
                  </a:cxn>
                  <a:cxn ang="0">
                    <a:pos x="22" y="301"/>
                  </a:cxn>
                  <a:cxn ang="0">
                    <a:pos x="35" y="307"/>
                  </a:cxn>
                  <a:cxn ang="0">
                    <a:pos x="38" y="311"/>
                  </a:cxn>
                  <a:cxn ang="0">
                    <a:pos x="146" y="18"/>
                  </a:cxn>
                  <a:cxn ang="0">
                    <a:pos x="143" y="28"/>
                  </a:cxn>
                  <a:cxn ang="0">
                    <a:pos x="143" y="30"/>
                  </a:cxn>
                  <a:cxn ang="0">
                    <a:pos x="140" y="30"/>
                  </a:cxn>
                  <a:cxn ang="0">
                    <a:pos x="135" y="28"/>
                  </a:cxn>
                  <a:cxn ang="0">
                    <a:pos x="168" y="110"/>
                  </a:cxn>
                  <a:cxn ang="0">
                    <a:pos x="171" y="110"/>
                  </a:cxn>
                </a:cxnLst>
                <a:rect l="0" t="0" r="r" b="b"/>
                <a:pathLst>
                  <a:path w="184" h="311">
                    <a:moveTo>
                      <a:pt x="38" y="311"/>
                    </a:moveTo>
                    <a:lnTo>
                      <a:pt x="42" y="309"/>
                    </a:lnTo>
                    <a:lnTo>
                      <a:pt x="47" y="309"/>
                    </a:lnTo>
                    <a:lnTo>
                      <a:pt x="53" y="306"/>
                    </a:lnTo>
                    <a:lnTo>
                      <a:pt x="57" y="302"/>
                    </a:lnTo>
                    <a:lnTo>
                      <a:pt x="71" y="301"/>
                    </a:lnTo>
                    <a:lnTo>
                      <a:pt x="76" y="301"/>
                    </a:lnTo>
                    <a:lnTo>
                      <a:pt x="85" y="299"/>
                    </a:lnTo>
                    <a:lnTo>
                      <a:pt x="86" y="294"/>
                    </a:lnTo>
                    <a:lnTo>
                      <a:pt x="91" y="294"/>
                    </a:lnTo>
                    <a:lnTo>
                      <a:pt x="93" y="287"/>
                    </a:lnTo>
                    <a:lnTo>
                      <a:pt x="98" y="282"/>
                    </a:lnTo>
                    <a:lnTo>
                      <a:pt x="98" y="277"/>
                    </a:lnTo>
                    <a:lnTo>
                      <a:pt x="103" y="276"/>
                    </a:lnTo>
                    <a:lnTo>
                      <a:pt x="101" y="269"/>
                    </a:lnTo>
                    <a:lnTo>
                      <a:pt x="101" y="267"/>
                    </a:lnTo>
                    <a:lnTo>
                      <a:pt x="105" y="266"/>
                    </a:lnTo>
                    <a:lnTo>
                      <a:pt x="106" y="257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11" y="251"/>
                    </a:lnTo>
                    <a:lnTo>
                      <a:pt x="115" y="236"/>
                    </a:lnTo>
                    <a:lnTo>
                      <a:pt x="118" y="228"/>
                    </a:lnTo>
                    <a:lnTo>
                      <a:pt x="121" y="224"/>
                    </a:lnTo>
                    <a:lnTo>
                      <a:pt x="123" y="216"/>
                    </a:lnTo>
                    <a:lnTo>
                      <a:pt x="130" y="204"/>
                    </a:lnTo>
                    <a:lnTo>
                      <a:pt x="136" y="188"/>
                    </a:lnTo>
                    <a:lnTo>
                      <a:pt x="141" y="181"/>
                    </a:lnTo>
                    <a:lnTo>
                      <a:pt x="141" y="173"/>
                    </a:lnTo>
                    <a:lnTo>
                      <a:pt x="146" y="164"/>
                    </a:lnTo>
                    <a:lnTo>
                      <a:pt x="146" y="161"/>
                    </a:lnTo>
                    <a:lnTo>
                      <a:pt x="153" y="154"/>
                    </a:lnTo>
                    <a:lnTo>
                      <a:pt x="155" y="141"/>
                    </a:lnTo>
                    <a:lnTo>
                      <a:pt x="158" y="133"/>
                    </a:lnTo>
                    <a:lnTo>
                      <a:pt x="160" y="131"/>
                    </a:lnTo>
                    <a:lnTo>
                      <a:pt x="161" y="125"/>
                    </a:lnTo>
                    <a:lnTo>
                      <a:pt x="158" y="121"/>
                    </a:lnTo>
                    <a:lnTo>
                      <a:pt x="160" y="115"/>
                    </a:lnTo>
                    <a:lnTo>
                      <a:pt x="165" y="110"/>
                    </a:lnTo>
                    <a:lnTo>
                      <a:pt x="165" y="106"/>
                    </a:lnTo>
                    <a:lnTo>
                      <a:pt x="168" y="103"/>
                    </a:lnTo>
                    <a:lnTo>
                      <a:pt x="166" y="96"/>
                    </a:lnTo>
                    <a:lnTo>
                      <a:pt x="165" y="95"/>
                    </a:lnTo>
                    <a:lnTo>
                      <a:pt x="168" y="91"/>
                    </a:lnTo>
                    <a:lnTo>
                      <a:pt x="166" y="86"/>
                    </a:lnTo>
                    <a:lnTo>
                      <a:pt x="165" y="85"/>
                    </a:lnTo>
                    <a:lnTo>
                      <a:pt x="165" y="80"/>
                    </a:lnTo>
                    <a:lnTo>
                      <a:pt x="168" y="78"/>
                    </a:lnTo>
                    <a:lnTo>
                      <a:pt x="171" y="80"/>
                    </a:lnTo>
                    <a:lnTo>
                      <a:pt x="171" y="85"/>
                    </a:lnTo>
                    <a:lnTo>
                      <a:pt x="176" y="90"/>
                    </a:lnTo>
                    <a:lnTo>
                      <a:pt x="178" y="90"/>
                    </a:lnTo>
                    <a:lnTo>
                      <a:pt x="179" y="88"/>
                    </a:lnTo>
                    <a:lnTo>
                      <a:pt x="181" y="83"/>
                    </a:lnTo>
                    <a:lnTo>
                      <a:pt x="181" y="81"/>
                    </a:lnTo>
                    <a:lnTo>
                      <a:pt x="183" y="78"/>
                    </a:lnTo>
                    <a:lnTo>
                      <a:pt x="184" y="76"/>
                    </a:lnTo>
                    <a:lnTo>
                      <a:pt x="184" y="73"/>
                    </a:lnTo>
                    <a:lnTo>
                      <a:pt x="179" y="66"/>
                    </a:lnTo>
                    <a:lnTo>
                      <a:pt x="178" y="63"/>
                    </a:lnTo>
                    <a:lnTo>
                      <a:pt x="179" y="60"/>
                    </a:lnTo>
                    <a:lnTo>
                      <a:pt x="179" y="56"/>
                    </a:lnTo>
                    <a:lnTo>
                      <a:pt x="178" y="50"/>
                    </a:lnTo>
                    <a:lnTo>
                      <a:pt x="179" y="48"/>
                    </a:lnTo>
                    <a:lnTo>
                      <a:pt x="179" y="37"/>
                    </a:lnTo>
                    <a:lnTo>
                      <a:pt x="176" y="32"/>
                    </a:lnTo>
                    <a:lnTo>
                      <a:pt x="174" y="22"/>
                    </a:lnTo>
                    <a:lnTo>
                      <a:pt x="173" y="18"/>
                    </a:lnTo>
                    <a:lnTo>
                      <a:pt x="171" y="20"/>
                    </a:lnTo>
                    <a:lnTo>
                      <a:pt x="168" y="15"/>
                    </a:lnTo>
                    <a:lnTo>
                      <a:pt x="166" y="10"/>
                    </a:lnTo>
                    <a:lnTo>
                      <a:pt x="163" y="8"/>
                    </a:lnTo>
                    <a:lnTo>
                      <a:pt x="165" y="5"/>
                    </a:lnTo>
                    <a:lnTo>
                      <a:pt x="163" y="0"/>
                    </a:lnTo>
                    <a:lnTo>
                      <a:pt x="158" y="5"/>
                    </a:lnTo>
                    <a:lnTo>
                      <a:pt x="158" y="8"/>
                    </a:lnTo>
                    <a:lnTo>
                      <a:pt x="155" y="10"/>
                    </a:lnTo>
                    <a:lnTo>
                      <a:pt x="150" y="8"/>
                    </a:lnTo>
                    <a:lnTo>
                      <a:pt x="148" y="8"/>
                    </a:lnTo>
                    <a:lnTo>
                      <a:pt x="151" y="13"/>
                    </a:lnTo>
                    <a:lnTo>
                      <a:pt x="151" y="15"/>
                    </a:lnTo>
                    <a:lnTo>
                      <a:pt x="155" y="18"/>
                    </a:lnTo>
                    <a:lnTo>
                      <a:pt x="155" y="20"/>
                    </a:lnTo>
                    <a:lnTo>
                      <a:pt x="150" y="23"/>
                    </a:lnTo>
                    <a:lnTo>
                      <a:pt x="150" y="30"/>
                    </a:lnTo>
                    <a:lnTo>
                      <a:pt x="146" y="35"/>
                    </a:lnTo>
                    <a:lnTo>
                      <a:pt x="143" y="33"/>
                    </a:lnTo>
                    <a:lnTo>
                      <a:pt x="140" y="38"/>
                    </a:lnTo>
                    <a:lnTo>
                      <a:pt x="140" y="41"/>
                    </a:lnTo>
                    <a:lnTo>
                      <a:pt x="136" y="43"/>
                    </a:lnTo>
                    <a:lnTo>
                      <a:pt x="133" y="41"/>
                    </a:lnTo>
                    <a:lnTo>
                      <a:pt x="133" y="37"/>
                    </a:lnTo>
                    <a:lnTo>
                      <a:pt x="131" y="37"/>
                    </a:lnTo>
                    <a:lnTo>
                      <a:pt x="128" y="38"/>
                    </a:lnTo>
                    <a:lnTo>
                      <a:pt x="126" y="45"/>
                    </a:lnTo>
                    <a:lnTo>
                      <a:pt x="131" y="48"/>
                    </a:lnTo>
                    <a:lnTo>
                      <a:pt x="133" y="50"/>
                    </a:lnTo>
                    <a:lnTo>
                      <a:pt x="131" y="51"/>
                    </a:lnTo>
                    <a:lnTo>
                      <a:pt x="128" y="51"/>
                    </a:lnTo>
                    <a:lnTo>
                      <a:pt x="123" y="51"/>
                    </a:lnTo>
                    <a:lnTo>
                      <a:pt x="125" y="56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28" y="63"/>
                    </a:lnTo>
                    <a:lnTo>
                      <a:pt x="126" y="60"/>
                    </a:lnTo>
                    <a:lnTo>
                      <a:pt x="121" y="61"/>
                    </a:lnTo>
                    <a:lnTo>
                      <a:pt x="121" y="65"/>
                    </a:lnTo>
                    <a:lnTo>
                      <a:pt x="115" y="70"/>
                    </a:lnTo>
                    <a:lnTo>
                      <a:pt x="115" y="65"/>
                    </a:lnTo>
                    <a:lnTo>
                      <a:pt x="115" y="63"/>
                    </a:lnTo>
                    <a:lnTo>
                      <a:pt x="113" y="60"/>
                    </a:lnTo>
                    <a:lnTo>
                      <a:pt x="110" y="65"/>
                    </a:lnTo>
                    <a:lnTo>
                      <a:pt x="111" y="66"/>
                    </a:lnTo>
                    <a:lnTo>
                      <a:pt x="111" y="68"/>
                    </a:lnTo>
                    <a:lnTo>
                      <a:pt x="105" y="70"/>
                    </a:lnTo>
                    <a:lnTo>
                      <a:pt x="108" y="75"/>
                    </a:lnTo>
                    <a:lnTo>
                      <a:pt x="111" y="76"/>
                    </a:lnTo>
                    <a:lnTo>
                      <a:pt x="110" y="78"/>
                    </a:lnTo>
                    <a:lnTo>
                      <a:pt x="108" y="78"/>
                    </a:lnTo>
                    <a:lnTo>
                      <a:pt x="103" y="81"/>
                    </a:lnTo>
                    <a:lnTo>
                      <a:pt x="103" y="78"/>
                    </a:lnTo>
                    <a:lnTo>
                      <a:pt x="101" y="78"/>
                    </a:lnTo>
                    <a:lnTo>
                      <a:pt x="103" y="75"/>
                    </a:lnTo>
                    <a:lnTo>
                      <a:pt x="101" y="73"/>
                    </a:lnTo>
                    <a:lnTo>
                      <a:pt x="91" y="80"/>
                    </a:lnTo>
                    <a:lnTo>
                      <a:pt x="91" y="86"/>
                    </a:lnTo>
                    <a:lnTo>
                      <a:pt x="91" y="88"/>
                    </a:lnTo>
                    <a:lnTo>
                      <a:pt x="90" y="91"/>
                    </a:lnTo>
                    <a:lnTo>
                      <a:pt x="88" y="90"/>
                    </a:lnTo>
                    <a:lnTo>
                      <a:pt x="85" y="88"/>
                    </a:lnTo>
                    <a:lnTo>
                      <a:pt x="85" y="83"/>
                    </a:lnTo>
                    <a:lnTo>
                      <a:pt x="83" y="83"/>
                    </a:lnTo>
                    <a:lnTo>
                      <a:pt x="78" y="88"/>
                    </a:lnTo>
                    <a:lnTo>
                      <a:pt x="71" y="85"/>
                    </a:lnTo>
                    <a:lnTo>
                      <a:pt x="70" y="86"/>
                    </a:lnTo>
                    <a:lnTo>
                      <a:pt x="68" y="86"/>
                    </a:lnTo>
                    <a:lnTo>
                      <a:pt x="68" y="93"/>
                    </a:lnTo>
                    <a:lnTo>
                      <a:pt x="67" y="91"/>
                    </a:lnTo>
                    <a:lnTo>
                      <a:pt x="65" y="93"/>
                    </a:lnTo>
                    <a:lnTo>
                      <a:pt x="65" y="90"/>
                    </a:lnTo>
                    <a:lnTo>
                      <a:pt x="63" y="88"/>
                    </a:lnTo>
                    <a:lnTo>
                      <a:pt x="60" y="91"/>
                    </a:lnTo>
                    <a:lnTo>
                      <a:pt x="58" y="88"/>
                    </a:lnTo>
                    <a:lnTo>
                      <a:pt x="48" y="96"/>
                    </a:lnTo>
                    <a:lnTo>
                      <a:pt x="45" y="96"/>
                    </a:lnTo>
                    <a:lnTo>
                      <a:pt x="43" y="95"/>
                    </a:lnTo>
                    <a:lnTo>
                      <a:pt x="38" y="95"/>
                    </a:lnTo>
                    <a:lnTo>
                      <a:pt x="37" y="98"/>
                    </a:lnTo>
                    <a:lnTo>
                      <a:pt x="37" y="105"/>
                    </a:lnTo>
                    <a:lnTo>
                      <a:pt x="30" y="115"/>
                    </a:lnTo>
                    <a:lnTo>
                      <a:pt x="30" y="116"/>
                    </a:lnTo>
                    <a:lnTo>
                      <a:pt x="23" y="123"/>
                    </a:lnTo>
                    <a:lnTo>
                      <a:pt x="23" y="126"/>
                    </a:lnTo>
                    <a:lnTo>
                      <a:pt x="27" y="130"/>
                    </a:lnTo>
                    <a:lnTo>
                      <a:pt x="23" y="133"/>
                    </a:lnTo>
                    <a:lnTo>
                      <a:pt x="27" y="140"/>
                    </a:lnTo>
                    <a:lnTo>
                      <a:pt x="27" y="144"/>
                    </a:lnTo>
                    <a:lnTo>
                      <a:pt x="33" y="156"/>
                    </a:lnTo>
                    <a:lnTo>
                      <a:pt x="32" y="159"/>
                    </a:lnTo>
                    <a:lnTo>
                      <a:pt x="37" y="164"/>
                    </a:lnTo>
                    <a:lnTo>
                      <a:pt x="37" y="166"/>
                    </a:lnTo>
                    <a:lnTo>
                      <a:pt x="33" y="169"/>
                    </a:lnTo>
                    <a:lnTo>
                      <a:pt x="35" y="171"/>
                    </a:lnTo>
                    <a:lnTo>
                      <a:pt x="32" y="181"/>
                    </a:lnTo>
                    <a:lnTo>
                      <a:pt x="27" y="184"/>
                    </a:lnTo>
                    <a:lnTo>
                      <a:pt x="27" y="191"/>
                    </a:lnTo>
                    <a:lnTo>
                      <a:pt x="23" y="191"/>
                    </a:lnTo>
                    <a:lnTo>
                      <a:pt x="22" y="194"/>
                    </a:lnTo>
                    <a:lnTo>
                      <a:pt x="17" y="198"/>
                    </a:lnTo>
                    <a:lnTo>
                      <a:pt x="17" y="206"/>
                    </a:lnTo>
                    <a:lnTo>
                      <a:pt x="13" y="209"/>
                    </a:lnTo>
                    <a:lnTo>
                      <a:pt x="7" y="211"/>
                    </a:lnTo>
                    <a:lnTo>
                      <a:pt x="5" y="213"/>
                    </a:lnTo>
                    <a:lnTo>
                      <a:pt x="5" y="219"/>
                    </a:lnTo>
                    <a:lnTo>
                      <a:pt x="0" y="224"/>
                    </a:lnTo>
                    <a:lnTo>
                      <a:pt x="2" y="231"/>
                    </a:lnTo>
                    <a:lnTo>
                      <a:pt x="0" y="234"/>
                    </a:lnTo>
                    <a:lnTo>
                      <a:pt x="0" y="236"/>
                    </a:lnTo>
                    <a:lnTo>
                      <a:pt x="0" y="242"/>
                    </a:lnTo>
                    <a:lnTo>
                      <a:pt x="7" y="251"/>
                    </a:lnTo>
                    <a:lnTo>
                      <a:pt x="7" y="256"/>
                    </a:lnTo>
                    <a:lnTo>
                      <a:pt x="7" y="257"/>
                    </a:lnTo>
                    <a:lnTo>
                      <a:pt x="10" y="259"/>
                    </a:lnTo>
                    <a:lnTo>
                      <a:pt x="12" y="259"/>
                    </a:lnTo>
                    <a:lnTo>
                      <a:pt x="10" y="261"/>
                    </a:lnTo>
                    <a:lnTo>
                      <a:pt x="5" y="262"/>
                    </a:lnTo>
                    <a:lnTo>
                      <a:pt x="5" y="266"/>
                    </a:lnTo>
                    <a:lnTo>
                      <a:pt x="7" y="274"/>
                    </a:lnTo>
                    <a:lnTo>
                      <a:pt x="5" y="282"/>
                    </a:lnTo>
                    <a:lnTo>
                      <a:pt x="7" y="284"/>
                    </a:lnTo>
                    <a:lnTo>
                      <a:pt x="8" y="287"/>
                    </a:lnTo>
                    <a:lnTo>
                      <a:pt x="10" y="289"/>
                    </a:lnTo>
                    <a:lnTo>
                      <a:pt x="13" y="294"/>
                    </a:lnTo>
                    <a:lnTo>
                      <a:pt x="17" y="296"/>
                    </a:lnTo>
                    <a:lnTo>
                      <a:pt x="18" y="297"/>
                    </a:lnTo>
                    <a:lnTo>
                      <a:pt x="22" y="301"/>
                    </a:lnTo>
                    <a:lnTo>
                      <a:pt x="25" y="301"/>
                    </a:lnTo>
                    <a:lnTo>
                      <a:pt x="27" y="302"/>
                    </a:lnTo>
                    <a:lnTo>
                      <a:pt x="30" y="302"/>
                    </a:lnTo>
                    <a:lnTo>
                      <a:pt x="35" y="307"/>
                    </a:lnTo>
                    <a:lnTo>
                      <a:pt x="37" y="307"/>
                    </a:lnTo>
                    <a:lnTo>
                      <a:pt x="37" y="311"/>
                    </a:lnTo>
                    <a:lnTo>
                      <a:pt x="38" y="311"/>
                    </a:lnTo>
                    <a:lnTo>
                      <a:pt x="38" y="311"/>
                    </a:lnTo>
                    <a:close/>
                    <a:moveTo>
                      <a:pt x="145" y="22"/>
                    </a:moveTo>
                    <a:lnTo>
                      <a:pt x="143" y="20"/>
                    </a:lnTo>
                    <a:lnTo>
                      <a:pt x="146" y="17"/>
                    </a:lnTo>
                    <a:lnTo>
                      <a:pt x="146" y="18"/>
                    </a:lnTo>
                    <a:lnTo>
                      <a:pt x="145" y="22"/>
                    </a:lnTo>
                    <a:lnTo>
                      <a:pt x="145" y="22"/>
                    </a:lnTo>
                    <a:close/>
                    <a:moveTo>
                      <a:pt x="143" y="30"/>
                    </a:moveTo>
                    <a:lnTo>
                      <a:pt x="143" y="28"/>
                    </a:lnTo>
                    <a:lnTo>
                      <a:pt x="145" y="30"/>
                    </a:lnTo>
                    <a:lnTo>
                      <a:pt x="143" y="32"/>
                    </a:lnTo>
                    <a:lnTo>
                      <a:pt x="143" y="30"/>
                    </a:lnTo>
                    <a:lnTo>
                      <a:pt x="143" y="30"/>
                    </a:lnTo>
                    <a:close/>
                    <a:moveTo>
                      <a:pt x="135" y="28"/>
                    </a:moveTo>
                    <a:lnTo>
                      <a:pt x="136" y="27"/>
                    </a:lnTo>
                    <a:lnTo>
                      <a:pt x="136" y="28"/>
                    </a:lnTo>
                    <a:lnTo>
                      <a:pt x="140" y="30"/>
                    </a:lnTo>
                    <a:lnTo>
                      <a:pt x="138" y="33"/>
                    </a:lnTo>
                    <a:lnTo>
                      <a:pt x="136" y="32"/>
                    </a:lnTo>
                    <a:lnTo>
                      <a:pt x="133" y="32"/>
                    </a:lnTo>
                    <a:lnTo>
                      <a:pt x="135" y="28"/>
                    </a:lnTo>
                    <a:lnTo>
                      <a:pt x="135" y="28"/>
                    </a:lnTo>
                    <a:close/>
                    <a:moveTo>
                      <a:pt x="168" y="116"/>
                    </a:moveTo>
                    <a:lnTo>
                      <a:pt x="168" y="113"/>
                    </a:lnTo>
                    <a:lnTo>
                      <a:pt x="168" y="110"/>
                    </a:lnTo>
                    <a:lnTo>
                      <a:pt x="169" y="108"/>
                    </a:lnTo>
                    <a:lnTo>
                      <a:pt x="171" y="108"/>
                    </a:lnTo>
                    <a:lnTo>
                      <a:pt x="173" y="105"/>
                    </a:lnTo>
                    <a:lnTo>
                      <a:pt x="171" y="110"/>
                    </a:lnTo>
                    <a:lnTo>
                      <a:pt x="169" y="111"/>
                    </a:lnTo>
                    <a:lnTo>
                      <a:pt x="168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6" name="Freeform 139"/>
              <p:cNvSpPr>
                <a:spLocks/>
              </p:cNvSpPr>
              <p:nvPr/>
            </p:nvSpPr>
            <p:spPr bwMode="auto">
              <a:xfrm>
                <a:off x="6806725" y="3391112"/>
                <a:ext cx="134851" cy="190916"/>
              </a:xfrm>
              <a:custGeom>
                <a:avLst/>
                <a:gdLst/>
                <a:ahLst/>
                <a:cxnLst>
                  <a:cxn ang="0">
                    <a:pos x="45" y="229"/>
                  </a:cxn>
                  <a:cxn ang="0">
                    <a:pos x="50" y="217"/>
                  </a:cxn>
                  <a:cxn ang="0">
                    <a:pos x="55" y="201"/>
                  </a:cxn>
                  <a:cxn ang="0">
                    <a:pos x="55" y="187"/>
                  </a:cxn>
                  <a:cxn ang="0">
                    <a:pos x="57" y="174"/>
                  </a:cxn>
                  <a:cxn ang="0">
                    <a:pos x="60" y="156"/>
                  </a:cxn>
                  <a:cxn ang="0">
                    <a:pos x="62" y="141"/>
                  </a:cxn>
                  <a:cxn ang="0">
                    <a:pos x="37" y="133"/>
                  </a:cxn>
                  <a:cxn ang="0">
                    <a:pos x="15" y="126"/>
                  </a:cxn>
                  <a:cxn ang="0">
                    <a:pos x="0" y="106"/>
                  </a:cxn>
                  <a:cxn ang="0">
                    <a:pos x="45" y="88"/>
                  </a:cxn>
                  <a:cxn ang="0">
                    <a:pos x="75" y="83"/>
                  </a:cxn>
                  <a:cxn ang="0">
                    <a:pos x="86" y="89"/>
                  </a:cxn>
                  <a:cxn ang="0">
                    <a:pos x="103" y="98"/>
                  </a:cxn>
                  <a:cxn ang="0">
                    <a:pos x="93" y="121"/>
                  </a:cxn>
                  <a:cxn ang="0">
                    <a:pos x="108" y="139"/>
                  </a:cxn>
                  <a:cxn ang="0">
                    <a:pos x="118" y="149"/>
                  </a:cxn>
                  <a:cxn ang="0">
                    <a:pos x="123" y="126"/>
                  </a:cxn>
                  <a:cxn ang="0">
                    <a:pos x="130" y="108"/>
                  </a:cxn>
                  <a:cxn ang="0">
                    <a:pos x="135" y="101"/>
                  </a:cxn>
                  <a:cxn ang="0">
                    <a:pos x="128" y="83"/>
                  </a:cxn>
                  <a:cxn ang="0">
                    <a:pos x="110" y="66"/>
                  </a:cxn>
                  <a:cxn ang="0">
                    <a:pos x="131" y="21"/>
                  </a:cxn>
                  <a:cxn ang="0">
                    <a:pos x="143" y="23"/>
                  </a:cxn>
                  <a:cxn ang="0">
                    <a:pos x="160" y="23"/>
                  </a:cxn>
                  <a:cxn ang="0">
                    <a:pos x="171" y="23"/>
                  </a:cxn>
                  <a:cxn ang="0">
                    <a:pos x="186" y="16"/>
                  </a:cxn>
                  <a:cxn ang="0">
                    <a:pos x="203" y="18"/>
                  </a:cxn>
                  <a:cxn ang="0">
                    <a:pos x="223" y="11"/>
                  </a:cxn>
                  <a:cxn ang="0">
                    <a:pos x="244" y="1"/>
                  </a:cxn>
                  <a:cxn ang="0">
                    <a:pos x="253" y="6"/>
                  </a:cxn>
                  <a:cxn ang="0">
                    <a:pos x="248" y="20"/>
                  </a:cxn>
                  <a:cxn ang="0">
                    <a:pos x="248" y="36"/>
                  </a:cxn>
                  <a:cxn ang="0">
                    <a:pos x="248" y="58"/>
                  </a:cxn>
                  <a:cxn ang="0">
                    <a:pos x="243" y="81"/>
                  </a:cxn>
                  <a:cxn ang="0">
                    <a:pos x="251" y="93"/>
                  </a:cxn>
                  <a:cxn ang="0">
                    <a:pos x="244" y="101"/>
                  </a:cxn>
                  <a:cxn ang="0">
                    <a:pos x="244" y="108"/>
                  </a:cxn>
                  <a:cxn ang="0">
                    <a:pos x="229" y="128"/>
                  </a:cxn>
                  <a:cxn ang="0">
                    <a:pos x="206" y="144"/>
                  </a:cxn>
                  <a:cxn ang="0">
                    <a:pos x="168" y="161"/>
                  </a:cxn>
                  <a:cxn ang="0">
                    <a:pos x="155" y="166"/>
                  </a:cxn>
                  <a:cxn ang="0">
                    <a:pos x="141" y="182"/>
                  </a:cxn>
                  <a:cxn ang="0">
                    <a:pos x="118" y="196"/>
                  </a:cxn>
                  <a:cxn ang="0">
                    <a:pos x="101" y="204"/>
                  </a:cxn>
                  <a:cxn ang="0">
                    <a:pos x="98" y="214"/>
                  </a:cxn>
                  <a:cxn ang="0">
                    <a:pos x="101" y="236"/>
                  </a:cxn>
                  <a:cxn ang="0">
                    <a:pos x="108" y="264"/>
                  </a:cxn>
                  <a:cxn ang="0">
                    <a:pos x="115" y="264"/>
                  </a:cxn>
                  <a:cxn ang="0">
                    <a:pos x="113" y="279"/>
                  </a:cxn>
                  <a:cxn ang="0">
                    <a:pos x="106" y="295"/>
                  </a:cxn>
                  <a:cxn ang="0">
                    <a:pos x="108" y="310"/>
                  </a:cxn>
                  <a:cxn ang="0">
                    <a:pos x="48" y="337"/>
                  </a:cxn>
                  <a:cxn ang="0">
                    <a:pos x="37" y="349"/>
                  </a:cxn>
                  <a:cxn ang="0">
                    <a:pos x="45" y="357"/>
                  </a:cxn>
                  <a:cxn ang="0">
                    <a:pos x="45" y="365"/>
                  </a:cxn>
                  <a:cxn ang="0">
                    <a:pos x="28" y="365"/>
                  </a:cxn>
                  <a:cxn ang="0">
                    <a:pos x="25" y="352"/>
                  </a:cxn>
                  <a:cxn ang="0">
                    <a:pos x="25" y="329"/>
                  </a:cxn>
                  <a:cxn ang="0">
                    <a:pos x="22" y="297"/>
                  </a:cxn>
                  <a:cxn ang="0">
                    <a:pos x="17" y="269"/>
                  </a:cxn>
                </a:cxnLst>
                <a:rect l="0" t="0" r="r" b="b"/>
                <a:pathLst>
                  <a:path w="253" h="369">
                    <a:moveTo>
                      <a:pt x="17" y="269"/>
                    </a:moveTo>
                    <a:lnTo>
                      <a:pt x="43" y="246"/>
                    </a:lnTo>
                    <a:lnTo>
                      <a:pt x="43" y="237"/>
                    </a:lnTo>
                    <a:lnTo>
                      <a:pt x="45" y="236"/>
                    </a:lnTo>
                    <a:lnTo>
                      <a:pt x="45" y="229"/>
                    </a:lnTo>
                    <a:lnTo>
                      <a:pt x="47" y="226"/>
                    </a:lnTo>
                    <a:lnTo>
                      <a:pt x="45" y="222"/>
                    </a:lnTo>
                    <a:lnTo>
                      <a:pt x="45" y="219"/>
                    </a:lnTo>
                    <a:lnTo>
                      <a:pt x="48" y="219"/>
                    </a:lnTo>
                    <a:lnTo>
                      <a:pt x="50" y="217"/>
                    </a:lnTo>
                    <a:lnTo>
                      <a:pt x="55" y="214"/>
                    </a:lnTo>
                    <a:lnTo>
                      <a:pt x="58" y="209"/>
                    </a:lnTo>
                    <a:lnTo>
                      <a:pt x="57" y="206"/>
                    </a:lnTo>
                    <a:lnTo>
                      <a:pt x="55" y="204"/>
                    </a:lnTo>
                    <a:lnTo>
                      <a:pt x="55" y="201"/>
                    </a:lnTo>
                    <a:lnTo>
                      <a:pt x="57" y="199"/>
                    </a:lnTo>
                    <a:lnTo>
                      <a:pt x="57" y="194"/>
                    </a:lnTo>
                    <a:lnTo>
                      <a:pt x="52" y="192"/>
                    </a:lnTo>
                    <a:lnTo>
                      <a:pt x="52" y="189"/>
                    </a:lnTo>
                    <a:lnTo>
                      <a:pt x="55" y="187"/>
                    </a:lnTo>
                    <a:lnTo>
                      <a:pt x="55" y="184"/>
                    </a:lnTo>
                    <a:lnTo>
                      <a:pt x="55" y="179"/>
                    </a:lnTo>
                    <a:lnTo>
                      <a:pt x="58" y="177"/>
                    </a:lnTo>
                    <a:lnTo>
                      <a:pt x="60" y="174"/>
                    </a:lnTo>
                    <a:lnTo>
                      <a:pt x="57" y="174"/>
                    </a:lnTo>
                    <a:lnTo>
                      <a:pt x="55" y="173"/>
                    </a:lnTo>
                    <a:lnTo>
                      <a:pt x="57" y="169"/>
                    </a:lnTo>
                    <a:lnTo>
                      <a:pt x="58" y="163"/>
                    </a:lnTo>
                    <a:lnTo>
                      <a:pt x="60" y="159"/>
                    </a:lnTo>
                    <a:lnTo>
                      <a:pt x="60" y="156"/>
                    </a:lnTo>
                    <a:lnTo>
                      <a:pt x="60" y="154"/>
                    </a:lnTo>
                    <a:lnTo>
                      <a:pt x="60" y="151"/>
                    </a:lnTo>
                    <a:lnTo>
                      <a:pt x="60" y="148"/>
                    </a:lnTo>
                    <a:lnTo>
                      <a:pt x="62" y="144"/>
                    </a:lnTo>
                    <a:lnTo>
                      <a:pt x="62" y="141"/>
                    </a:lnTo>
                    <a:lnTo>
                      <a:pt x="57" y="139"/>
                    </a:lnTo>
                    <a:lnTo>
                      <a:pt x="53" y="138"/>
                    </a:lnTo>
                    <a:lnTo>
                      <a:pt x="48" y="134"/>
                    </a:lnTo>
                    <a:lnTo>
                      <a:pt x="42" y="133"/>
                    </a:lnTo>
                    <a:lnTo>
                      <a:pt x="37" y="133"/>
                    </a:lnTo>
                    <a:lnTo>
                      <a:pt x="33" y="128"/>
                    </a:lnTo>
                    <a:lnTo>
                      <a:pt x="27" y="124"/>
                    </a:lnTo>
                    <a:lnTo>
                      <a:pt x="20" y="123"/>
                    </a:lnTo>
                    <a:lnTo>
                      <a:pt x="18" y="124"/>
                    </a:lnTo>
                    <a:lnTo>
                      <a:pt x="15" y="126"/>
                    </a:lnTo>
                    <a:lnTo>
                      <a:pt x="13" y="123"/>
                    </a:lnTo>
                    <a:lnTo>
                      <a:pt x="10" y="123"/>
                    </a:lnTo>
                    <a:lnTo>
                      <a:pt x="2" y="123"/>
                    </a:lnTo>
                    <a:lnTo>
                      <a:pt x="2" y="113"/>
                    </a:lnTo>
                    <a:lnTo>
                      <a:pt x="0" y="106"/>
                    </a:lnTo>
                    <a:lnTo>
                      <a:pt x="2" y="103"/>
                    </a:lnTo>
                    <a:lnTo>
                      <a:pt x="10" y="98"/>
                    </a:lnTo>
                    <a:lnTo>
                      <a:pt x="15" y="98"/>
                    </a:lnTo>
                    <a:lnTo>
                      <a:pt x="40" y="88"/>
                    </a:lnTo>
                    <a:lnTo>
                      <a:pt x="45" y="88"/>
                    </a:lnTo>
                    <a:lnTo>
                      <a:pt x="60" y="83"/>
                    </a:lnTo>
                    <a:lnTo>
                      <a:pt x="67" y="79"/>
                    </a:lnTo>
                    <a:lnTo>
                      <a:pt x="73" y="79"/>
                    </a:lnTo>
                    <a:lnTo>
                      <a:pt x="75" y="81"/>
                    </a:lnTo>
                    <a:lnTo>
                      <a:pt x="75" y="83"/>
                    </a:lnTo>
                    <a:lnTo>
                      <a:pt x="78" y="86"/>
                    </a:lnTo>
                    <a:lnTo>
                      <a:pt x="78" y="88"/>
                    </a:lnTo>
                    <a:lnTo>
                      <a:pt x="81" y="89"/>
                    </a:lnTo>
                    <a:lnTo>
                      <a:pt x="83" y="89"/>
                    </a:lnTo>
                    <a:lnTo>
                      <a:pt x="86" y="89"/>
                    </a:lnTo>
                    <a:lnTo>
                      <a:pt x="90" y="88"/>
                    </a:lnTo>
                    <a:lnTo>
                      <a:pt x="95" y="88"/>
                    </a:lnTo>
                    <a:lnTo>
                      <a:pt x="100" y="88"/>
                    </a:lnTo>
                    <a:lnTo>
                      <a:pt x="103" y="91"/>
                    </a:lnTo>
                    <a:lnTo>
                      <a:pt x="103" y="98"/>
                    </a:lnTo>
                    <a:lnTo>
                      <a:pt x="101" y="103"/>
                    </a:lnTo>
                    <a:lnTo>
                      <a:pt x="96" y="108"/>
                    </a:lnTo>
                    <a:lnTo>
                      <a:pt x="96" y="113"/>
                    </a:lnTo>
                    <a:lnTo>
                      <a:pt x="93" y="118"/>
                    </a:lnTo>
                    <a:lnTo>
                      <a:pt x="93" y="121"/>
                    </a:lnTo>
                    <a:lnTo>
                      <a:pt x="95" y="126"/>
                    </a:lnTo>
                    <a:lnTo>
                      <a:pt x="96" y="129"/>
                    </a:lnTo>
                    <a:lnTo>
                      <a:pt x="100" y="133"/>
                    </a:lnTo>
                    <a:lnTo>
                      <a:pt x="105" y="138"/>
                    </a:lnTo>
                    <a:lnTo>
                      <a:pt x="108" y="139"/>
                    </a:lnTo>
                    <a:lnTo>
                      <a:pt x="110" y="141"/>
                    </a:lnTo>
                    <a:lnTo>
                      <a:pt x="113" y="144"/>
                    </a:lnTo>
                    <a:lnTo>
                      <a:pt x="111" y="148"/>
                    </a:lnTo>
                    <a:lnTo>
                      <a:pt x="113" y="151"/>
                    </a:lnTo>
                    <a:lnTo>
                      <a:pt x="118" y="149"/>
                    </a:lnTo>
                    <a:lnTo>
                      <a:pt x="118" y="146"/>
                    </a:lnTo>
                    <a:lnTo>
                      <a:pt x="116" y="139"/>
                    </a:lnTo>
                    <a:lnTo>
                      <a:pt x="120" y="136"/>
                    </a:lnTo>
                    <a:lnTo>
                      <a:pt x="120" y="133"/>
                    </a:lnTo>
                    <a:lnTo>
                      <a:pt x="123" y="126"/>
                    </a:lnTo>
                    <a:lnTo>
                      <a:pt x="128" y="124"/>
                    </a:lnTo>
                    <a:lnTo>
                      <a:pt x="131" y="123"/>
                    </a:lnTo>
                    <a:lnTo>
                      <a:pt x="133" y="119"/>
                    </a:lnTo>
                    <a:lnTo>
                      <a:pt x="133" y="111"/>
                    </a:lnTo>
                    <a:lnTo>
                      <a:pt x="130" y="108"/>
                    </a:lnTo>
                    <a:lnTo>
                      <a:pt x="131" y="106"/>
                    </a:lnTo>
                    <a:lnTo>
                      <a:pt x="130" y="104"/>
                    </a:lnTo>
                    <a:lnTo>
                      <a:pt x="130" y="103"/>
                    </a:lnTo>
                    <a:lnTo>
                      <a:pt x="133" y="103"/>
                    </a:lnTo>
                    <a:lnTo>
                      <a:pt x="135" y="101"/>
                    </a:lnTo>
                    <a:lnTo>
                      <a:pt x="136" y="99"/>
                    </a:lnTo>
                    <a:lnTo>
                      <a:pt x="136" y="98"/>
                    </a:lnTo>
                    <a:lnTo>
                      <a:pt x="135" y="94"/>
                    </a:lnTo>
                    <a:lnTo>
                      <a:pt x="133" y="89"/>
                    </a:lnTo>
                    <a:lnTo>
                      <a:pt x="128" y="83"/>
                    </a:lnTo>
                    <a:lnTo>
                      <a:pt x="126" y="78"/>
                    </a:lnTo>
                    <a:lnTo>
                      <a:pt x="118" y="71"/>
                    </a:lnTo>
                    <a:lnTo>
                      <a:pt x="115" y="71"/>
                    </a:lnTo>
                    <a:lnTo>
                      <a:pt x="113" y="68"/>
                    </a:lnTo>
                    <a:lnTo>
                      <a:pt x="110" y="66"/>
                    </a:lnTo>
                    <a:lnTo>
                      <a:pt x="103" y="61"/>
                    </a:lnTo>
                    <a:lnTo>
                      <a:pt x="98" y="41"/>
                    </a:lnTo>
                    <a:lnTo>
                      <a:pt x="105" y="21"/>
                    </a:lnTo>
                    <a:lnTo>
                      <a:pt x="128" y="21"/>
                    </a:lnTo>
                    <a:lnTo>
                      <a:pt x="131" y="21"/>
                    </a:lnTo>
                    <a:lnTo>
                      <a:pt x="133" y="20"/>
                    </a:lnTo>
                    <a:lnTo>
                      <a:pt x="136" y="18"/>
                    </a:lnTo>
                    <a:lnTo>
                      <a:pt x="136" y="21"/>
                    </a:lnTo>
                    <a:lnTo>
                      <a:pt x="140" y="21"/>
                    </a:lnTo>
                    <a:lnTo>
                      <a:pt x="143" y="23"/>
                    </a:lnTo>
                    <a:lnTo>
                      <a:pt x="146" y="23"/>
                    </a:lnTo>
                    <a:lnTo>
                      <a:pt x="148" y="26"/>
                    </a:lnTo>
                    <a:lnTo>
                      <a:pt x="148" y="28"/>
                    </a:lnTo>
                    <a:lnTo>
                      <a:pt x="155" y="26"/>
                    </a:lnTo>
                    <a:lnTo>
                      <a:pt x="160" y="23"/>
                    </a:lnTo>
                    <a:lnTo>
                      <a:pt x="163" y="21"/>
                    </a:lnTo>
                    <a:lnTo>
                      <a:pt x="165" y="21"/>
                    </a:lnTo>
                    <a:lnTo>
                      <a:pt x="166" y="21"/>
                    </a:lnTo>
                    <a:lnTo>
                      <a:pt x="168" y="23"/>
                    </a:lnTo>
                    <a:lnTo>
                      <a:pt x="171" y="23"/>
                    </a:lnTo>
                    <a:lnTo>
                      <a:pt x="173" y="25"/>
                    </a:lnTo>
                    <a:lnTo>
                      <a:pt x="178" y="23"/>
                    </a:lnTo>
                    <a:lnTo>
                      <a:pt x="184" y="23"/>
                    </a:lnTo>
                    <a:lnTo>
                      <a:pt x="188" y="20"/>
                    </a:lnTo>
                    <a:lnTo>
                      <a:pt x="186" y="16"/>
                    </a:lnTo>
                    <a:lnTo>
                      <a:pt x="188" y="16"/>
                    </a:lnTo>
                    <a:lnTo>
                      <a:pt x="191" y="16"/>
                    </a:lnTo>
                    <a:lnTo>
                      <a:pt x="196" y="16"/>
                    </a:lnTo>
                    <a:lnTo>
                      <a:pt x="198" y="18"/>
                    </a:lnTo>
                    <a:lnTo>
                      <a:pt x="203" y="18"/>
                    </a:lnTo>
                    <a:lnTo>
                      <a:pt x="204" y="16"/>
                    </a:lnTo>
                    <a:lnTo>
                      <a:pt x="214" y="13"/>
                    </a:lnTo>
                    <a:lnTo>
                      <a:pt x="218" y="15"/>
                    </a:lnTo>
                    <a:lnTo>
                      <a:pt x="221" y="13"/>
                    </a:lnTo>
                    <a:lnTo>
                      <a:pt x="223" y="11"/>
                    </a:lnTo>
                    <a:lnTo>
                      <a:pt x="229" y="11"/>
                    </a:lnTo>
                    <a:lnTo>
                      <a:pt x="233" y="8"/>
                    </a:lnTo>
                    <a:lnTo>
                      <a:pt x="238" y="8"/>
                    </a:lnTo>
                    <a:lnTo>
                      <a:pt x="241" y="5"/>
                    </a:lnTo>
                    <a:lnTo>
                      <a:pt x="244" y="1"/>
                    </a:lnTo>
                    <a:lnTo>
                      <a:pt x="248" y="3"/>
                    </a:lnTo>
                    <a:lnTo>
                      <a:pt x="251" y="0"/>
                    </a:lnTo>
                    <a:lnTo>
                      <a:pt x="251" y="0"/>
                    </a:lnTo>
                    <a:lnTo>
                      <a:pt x="253" y="1"/>
                    </a:lnTo>
                    <a:lnTo>
                      <a:pt x="253" y="6"/>
                    </a:lnTo>
                    <a:lnTo>
                      <a:pt x="251" y="8"/>
                    </a:lnTo>
                    <a:lnTo>
                      <a:pt x="253" y="10"/>
                    </a:lnTo>
                    <a:lnTo>
                      <a:pt x="248" y="16"/>
                    </a:lnTo>
                    <a:lnTo>
                      <a:pt x="246" y="18"/>
                    </a:lnTo>
                    <a:lnTo>
                      <a:pt x="248" y="20"/>
                    </a:lnTo>
                    <a:lnTo>
                      <a:pt x="248" y="21"/>
                    </a:lnTo>
                    <a:lnTo>
                      <a:pt x="246" y="23"/>
                    </a:lnTo>
                    <a:lnTo>
                      <a:pt x="248" y="31"/>
                    </a:lnTo>
                    <a:lnTo>
                      <a:pt x="249" y="36"/>
                    </a:lnTo>
                    <a:lnTo>
                      <a:pt x="248" y="36"/>
                    </a:lnTo>
                    <a:lnTo>
                      <a:pt x="248" y="43"/>
                    </a:lnTo>
                    <a:lnTo>
                      <a:pt x="249" y="45"/>
                    </a:lnTo>
                    <a:lnTo>
                      <a:pt x="249" y="50"/>
                    </a:lnTo>
                    <a:lnTo>
                      <a:pt x="248" y="51"/>
                    </a:lnTo>
                    <a:lnTo>
                      <a:pt x="248" y="58"/>
                    </a:lnTo>
                    <a:lnTo>
                      <a:pt x="246" y="68"/>
                    </a:lnTo>
                    <a:lnTo>
                      <a:pt x="246" y="68"/>
                    </a:lnTo>
                    <a:lnTo>
                      <a:pt x="248" y="70"/>
                    </a:lnTo>
                    <a:lnTo>
                      <a:pt x="248" y="79"/>
                    </a:lnTo>
                    <a:lnTo>
                      <a:pt x="243" y="81"/>
                    </a:lnTo>
                    <a:lnTo>
                      <a:pt x="243" y="81"/>
                    </a:lnTo>
                    <a:lnTo>
                      <a:pt x="244" y="83"/>
                    </a:lnTo>
                    <a:lnTo>
                      <a:pt x="249" y="83"/>
                    </a:lnTo>
                    <a:lnTo>
                      <a:pt x="251" y="84"/>
                    </a:lnTo>
                    <a:lnTo>
                      <a:pt x="251" y="93"/>
                    </a:lnTo>
                    <a:lnTo>
                      <a:pt x="249" y="96"/>
                    </a:lnTo>
                    <a:lnTo>
                      <a:pt x="246" y="98"/>
                    </a:lnTo>
                    <a:lnTo>
                      <a:pt x="248" y="99"/>
                    </a:lnTo>
                    <a:lnTo>
                      <a:pt x="248" y="101"/>
                    </a:lnTo>
                    <a:lnTo>
                      <a:pt x="244" y="101"/>
                    </a:lnTo>
                    <a:lnTo>
                      <a:pt x="241" y="104"/>
                    </a:lnTo>
                    <a:lnTo>
                      <a:pt x="243" y="106"/>
                    </a:lnTo>
                    <a:lnTo>
                      <a:pt x="243" y="104"/>
                    </a:lnTo>
                    <a:lnTo>
                      <a:pt x="246" y="104"/>
                    </a:lnTo>
                    <a:lnTo>
                      <a:pt x="244" y="108"/>
                    </a:lnTo>
                    <a:lnTo>
                      <a:pt x="243" y="113"/>
                    </a:lnTo>
                    <a:lnTo>
                      <a:pt x="241" y="113"/>
                    </a:lnTo>
                    <a:lnTo>
                      <a:pt x="234" y="119"/>
                    </a:lnTo>
                    <a:lnTo>
                      <a:pt x="234" y="121"/>
                    </a:lnTo>
                    <a:lnTo>
                      <a:pt x="229" y="128"/>
                    </a:lnTo>
                    <a:lnTo>
                      <a:pt x="226" y="128"/>
                    </a:lnTo>
                    <a:lnTo>
                      <a:pt x="226" y="133"/>
                    </a:lnTo>
                    <a:lnTo>
                      <a:pt x="211" y="141"/>
                    </a:lnTo>
                    <a:lnTo>
                      <a:pt x="208" y="141"/>
                    </a:lnTo>
                    <a:lnTo>
                      <a:pt x="206" y="144"/>
                    </a:lnTo>
                    <a:lnTo>
                      <a:pt x="191" y="151"/>
                    </a:lnTo>
                    <a:lnTo>
                      <a:pt x="184" y="151"/>
                    </a:lnTo>
                    <a:lnTo>
                      <a:pt x="184" y="151"/>
                    </a:lnTo>
                    <a:lnTo>
                      <a:pt x="178" y="154"/>
                    </a:lnTo>
                    <a:lnTo>
                      <a:pt x="168" y="161"/>
                    </a:lnTo>
                    <a:lnTo>
                      <a:pt x="166" y="159"/>
                    </a:lnTo>
                    <a:lnTo>
                      <a:pt x="166" y="161"/>
                    </a:lnTo>
                    <a:lnTo>
                      <a:pt x="160" y="168"/>
                    </a:lnTo>
                    <a:lnTo>
                      <a:pt x="156" y="169"/>
                    </a:lnTo>
                    <a:lnTo>
                      <a:pt x="155" y="166"/>
                    </a:lnTo>
                    <a:lnTo>
                      <a:pt x="155" y="171"/>
                    </a:lnTo>
                    <a:lnTo>
                      <a:pt x="151" y="173"/>
                    </a:lnTo>
                    <a:lnTo>
                      <a:pt x="151" y="176"/>
                    </a:lnTo>
                    <a:lnTo>
                      <a:pt x="141" y="181"/>
                    </a:lnTo>
                    <a:lnTo>
                      <a:pt x="141" y="182"/>
                    </a:lnTo>
                    <a:lnTo>
                      <a:pt x="138" y="184"/>
                    </a:lnTo>
                    <a:lnTo>
                      <a:pt x="136" y="186"/>
                    </a:lnTo>
                    <a:lnTo>
                      <a:pt x="136" y="189"/>
                    </a:lnTo>
                    <a:lnTo>
                      <a:pt x="130" y="189"/>
                    </a:lnTo>
                    <a:lnTo>
                      <a:pt x="118" y="196"/>
                    </a:lnTo>
                    <a:lnTo>
                      <a:pt x="118" y="201"/>
                    </a:lnTo>
                    <a:lnTo>
                      <a:pt x="113" y="204"/>
                    </a:lnTo>
                    <a:lnTo>
                      <a:pt x="108" y="204"/>
                    </a:lnTo>
                    <a:lnTo>
                      <a:pt x="105" y="207"/>
                    </a:lnTo>
                    <a:lnTo>
                      <a:pt x="101" y="204"/>
                    </a:lnTo>
                    <a:lnTo>
                      <a:pt x="98" y="204"/>
                    </a:lnTo>
                    <a:lnTo>
                      <a:pt x="98" y="207"/>
                    </a:lnTo>
                    <a:lnTo>
                      <a:pt x="101" y="209"/>
                    </a:lnTo>
                    <a:lnTo>
                      <a:pt x="101" y="212"/>
                    </a:lnTo>
                    <a:lnTo>
                      <a:pt x="98" y="214"/>
                    </a:lnTo>
                    <a:lnTo>
                      <a:pt x="100" y="217"/>
                    </a:lnTo>
                    <a:lnTo>
                      <a:pt x="96" y="221"/>
                    </a:lnTo>
                    <a:lnTo>
                      <a:pt x="103" y="231"/>
                    </a:lnTo>
                    <a:lnTo>
                      <a:pt x="105" y="232"/>
                    </a:lnTo>
                    <a:lnTo>
                      <a:pt x="101" y="236"/>
                    </a:lnTo>
                    <a:lnTo>
                      <a:pt x="103" y="236"/>
                    </a:lnTo>
                    <a:lnTo>
                      <a:pt x="106" y="241"/>
                    </a:lnTo>
                    <a:lnTo>
                      <a:pt x="106" y="246"/>
                    </a:lnTo>
                    <a:lnTo>
                      <a:pt x="110" y="251"/>
                    </a:lnTo>
                    <a:lnTo>
                      <a:pt x="108" y="264"/>
                    </a:lnTo>
                    <a:lnTo>
                      <a:pt x="110" y="269"/>
                    </a:lnTo>
                    <a:lnTo>
                      <a:pt x="111" y="269"/>
                    </a:lnTo>
                    <a:lnTo>
                      <a:pt x="111" y="264"/>
                    </a:lnTo>
                    <a:lnTo>
                      <a:pt x="113" y="259"/>
                    </a:lnTo>
                    <a:lnTo>
                      <a:pt x="115" y="264"/>
                    </a:lnTo>
                    <a:lnTo>
                      <a:pt x="115" y="264"/>
                    </a:lnTo>
                    <a:lnTo>
                      <a:pt x="115" y="269"/>
                    </a:lnTo>
                    <a:lnTo>
                      <a:pt x="113" y="272"/>
                    </a:lnTo>
                    <a:lnTo>
                      <a:pt x="113" y="277"/>
                    </a:lnTo>
                    <a:lnTo>
                      <a:pt x="113" y="279"/>
                    </a:lnTo>
                    <a:lnTo>
                      <a:pt x="111" y="285"/>
                    </a:lnTo>
                    <a:lnTo>
                      <a:pt x="111" y="289"/>
                    </a:lnTo>
                    <a:lnTo>
                      <a:pt x="108" y="292"/>
                    </a:lnTo>
                    <a:lnTo>
                      <a:pt x="108" y="295"/>
                    </a:lnTo>
                    <a:lnTo>
                      <a:pt x="106" y="295"/>
                    </a:lnTo>
                    <a:lnTo>
                      <a:pt x="108" y="300"/>
                    </a:lnTo>
                    <a:lnTo>
                      <a:pt x="111" y="299"/>
                    </a:lnTo>
                    <a:lnTo>
                      <a:pt x="113" y="300"/>
                    </a:lnTo>
                    <a:lnTo>
                      <a:pt x="110" y="305"/>
                    </a:lnTo>
                    <a:lnTo>
                      <a:pt x="108" y="310"/>
                    </a:lnTo>
                    <a:lnTo>
                      <a:pt x="98" y="319"/>
                    </a:lnTo>
                    <a:lnTo>
                      <a:pt x="83" y="325"/>
                    </a:lnTo>
                    <a:lnTo>
                      <a:pt x="62" y="329"/>
                    </a:lnTo>
                    <a:lnTo>
                      <a:pt x="53" y="335"/>
                    </a:lnTo>
                    <a:lnTo>
                      <a:pt x="48" y="337"/>
                    </a:lnTo>
                    <a:lnTo>
                      <a:pt x="45" y="340"/>
                    </a:lnTo>
                    <a:lnTo>
                      <a:pt x="43" y="342"/>
                    </a:lnTo>
                    <a:lnTo>
                      <a:pt x="42" y="347"/>
                    </a:lnTo>
                    <a:lnTo>
                      <a:pt x="38" y="347"/>
                    </a:lnTo>
                    <a:lnTo>
                      <a:pt x="37" y="349"/>
                    </a:lnTo>
                    <a:lnTo>
                      <a:pt x="37" y="350"/>
                    </a:lnTo>
                    <a:lnTo>
                      <a:pt x="40" y="354"/>
                    </a:lnTo>
                    <a:lnTo>
                      <a:pt x="40" y="359"/>
                    </a:lnTo>
                    <a:lnTo>
                      <a:pt x="42" y="355"/>
                    </a:lnTo>
                    <a:lnTo>
                      <a:pt x="45" y="357"/>
                    </a:lnTo>
                    <a:lnTo>
                      <a:pt x="47" y="354"/>
                    </a:lnTo>
                    <a:lnTo>
                      <a:pt x="48" y="352"/>
                    </a:lnTo>
                    <a:lnTo>
                      <a:pt x="48" y="355"/>
                    </a:lnTo>
                    <a:lnTo>
                      <a:pt x="47" y="360"/>
                    </a:lnTo>
                    <a:lnTo>
                      <a:pt x="45" y="365"/>
                    </a:lnTo>
                    <a:lnTo>
                      <a:pt x="45" y="369"/>
                    </a:lnTo>
                    <a:lnTo>
                      <a:pt x="40" y="369"/>
                    </a:lnTo>
                    <a:lnTo>
                      <a:pt x="32" y="367"/>
                    </a:lnTo>
                    <a:lnTo>
                      <a:pt x="28" y="367"/>
                    </a:lnTo>
                    <a:lnTo>
                      <a:pt x="28" y="365"/>
                    </a:lnTo>
                    <a:lnTo>
                      <a:pt x="30" y="362"/>
                    </a:lnTo>
                    <a:lnTo>
                      <a:pt x="30" y="359"/>
                    </a:lnTo>
                    <a:lnTo>
                      <a:pt x="30" y="357"/>
                    </a:lnTo>
                    <a:lnTo>
                      <a:pt x="28" y="354"/>
                    </a:lnTo>
                    <a:lnTo>
                      <a:pt x="25" y="352"/>
                    </a:lnTo>
                    <a:lnTo>
                      <a:pt x="23" y="350"/>
                    </a:lnTo>
                    <a:lnTo>
                      <a:pt x="23" y="350"/>
                    </a:lnTo>
                    <a:lnTo>
                      <a:pt x="23" y="342"/>
                    </a:lnTo>
                    <a:lnTo>
                      <a:pt x="23" y="335"/>
                    </a:lnTo>
                    <a:lnTo>
                      <a:pt x="25" y="329"/>
                    </a:lnTo>
                    <a:lnTo>
                      <a:pt x="25" y="312"/>
                    </a:lnTo>
                    <a:lnTo>
                      <a:pt x="23" y="307"/>
                    </a:lnTo>
                    <a:lnTo>
                      <a:pt x="22" y="302"/>
                    </a:lnTo>
                    <a:lnTo>
                      <a:pt x="22" y="299"/>
                    </a:lnTo>
                    <a:lnTo>
                      <a:pt x="22" y="297"/>
                    </a:lnTo>
                    <a:lnTo>
                      <a:pt x="22" y="287"/>
                    </a:lnTo>
                    <a:lnTo>
                      <a:pt x="20" y="282"/>
                    </a:lnTo>
                    <a:lnTo>
                      <a:pt x="18" y="275"/>
                    </a:lnTo>
                    <a:lnTo>
                      <a:pt x="17" y="271"/>
                    </a:lnTo>
                    <a:lnTo>
                      <a:pt x="17" y="2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7" name="Freeform 140"/>
              <p:cNvSpPr>
                <a:spLocks/>
              </p:cNvSpPr>
              <p:nvPr/>
            </p:nvSpPr>
            <p:spPr bwMode="auto">
              <a:xfrm>
                <a:off x="6803514" y="3568540"/>
                <a:ext cx="18194" cy="17639"/>
              </a:xfrm>
              <a:custGeom>
                <a:avLst/>
                <a:gdLst/>
                <a:ahLst/>
                <a:cxnLst>
                  <a:cxn ang="0">
                    <a:pos x="28" y="8"/>
                  </a:cxn>
                  <a:cxn ang="0">
                    <a:pos x="28" y="8"/>
                  </a:cxn>
                  <a:cxn ang="0">
                    <a:pos x="30" y="10"/>
                  </a:cxn>
                  <a:cxn ang="0">
                    <a:pos x="33" y="12"/>
                  </a:cxn>
                  <a:cxn ang="0">
                    <a:pos x="35" y="15"/>
                  </a:cxn>
                  <a:cxn ang="0">
                    <a:pos x="35" y="17"/>
                  </a:cxn>
                  <a:cxn ang="0">
                    <a:pos x="35" y="20"/>
                  </a:cxn>
                  <a:cxn ang="0">
                    <a:pos x="33" y="23"/>
                  </a:cxn>
                  <a:cxn ang="0">
                    <a:pos x="33" y="25"/>
                  </a:cxn>
                  <a:cxn ang="0">
                    <a:pos x="32" y="25"/>
                  </a:cxn>
                  <a:cxn ang="0">
                    <a:pos x="30" y="27"/>
                  </a:cxn>
                  <a:cxn ang="0">
                    <a:pos x="30" y="30"/>
                  </a:cxn>
                  <a:cxn ang="0">
                    <a:pos x="28" y="33"/>
                  </a:cxn>
                  <a:cxn ang="0">
                    <a:pos x="25" y="35"/>
                  </a:cxn>
                  <a:cxn ang="0">
                    <a:pos x="15" y="35"/>
                  </a:cxn>
                  <a:cxn ang="0">
                    <a:pos x="7" y="30"/>
                  </a:cxn>
                  <a:cxn ang="0">
                    <a:pos x="5" y="27"/>
                  </a:cxn>
                  <a:cxn ang="0">
                    <a:pos x="2" y="23"/>
                  </a:cxn>
                  <a:cxn ang="0">
                    <a:pos x="0" y="22"/>
                  </a:cxn>
                  <a:cxn ang="0">
                    <a:pos x="3" y="17"/>
                  </a:cxn>
                  <a:cxn ang="0">
                    <a:pos x="8" y="7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20" y="3"/>
                  </a:cxn>
                  <a:cxn ang="0">
                    <a:pos x="23" y="7"/>
                  </a:cxn>
                  <a:cxn ang="0">
                    <a:pos x="28" y="8"/>
                  </a:cxn>
                  <a:cxn ang="0">
                    <a:pos x="28" y="8"/>
                  </a:cxn>
                </a:cxnLst>
                <a:rect l="0" t="0" r="r" b="b"/>
                <a:pathLst>
                  <a:path w="35" h="35">
                    <a:moveTo>
                      <a:pt x="28" y="8"/>
                    </a:moveTo>
                    <a:lnTo>
                      <a:pt x="28" y="8"/>
                    </a:lnTo>
                    <a:lnTo>
                      <a:pt x="30" y="10"/>
                    </a:lnTo>
                    <a:lnTo>
                      <a:pt x="33" y="12"/>
                    </a:lnTo>
                    <a:lnTo>
                      <a:pt x="35" y="15"/>
                    </a:lnTo>
                    <a:lnTo>
                      <a:pt x="35" y="17"/>
                    </a:lnTo>
                    <a:lnTo>
                      <a:pt x="35" y="20"/>
                    </a:lnTo>
                    <a:lnTo>
                      <a:pt x="33" y="23"/>
                    </a:lnTo>
                    <a:lnTo>
                      <a:pt x="33" y="25"/>
                    </a:lnTo>
                    <a:lnTo>
                      <a:pt x="32" y="25"/>
                    </a:lnTo>
                    <a:lnTo>
                      <a:pt x="30" y="27"/>
                    </a:lnTo>
                    <a:lnTo>
                      <a:pt x="30" y="30"/>
                    </a:lnTo>
                    <a:lnTo>
                      <a:pt x="28" y="33"/>
                    </a:lnTo>
                    <a:lnTo>
                      <a:pt x="25" y="35"/>
                    </a:lnTo>
                    <a:lnTo>
                      <a:pt x="15" y="35"/>
                    </a:lnTo>
                    <a:lnTo>
                      <a:pt x="7" y="30"/>
                    </a:lnTo>
                    <a:lnTo>
                      <a:pt x="5" y="27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3" y="17"/>
                    </a:lnTo>
                    <a:lnTo>
                      <a:pt x="8" y="7"/>
                    </a:lnTo>
                    <a:lnTo>
                      <a:pt x="10" y="2"/>
                    </a:lnTo>
                    <a:lnTo>
                      <a:pt x="13" y="0"/>
                    </a:lnTo>
                    <a:lnTo>
                      <a:pt x="20" y="3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8" name="Freeform 141"/>
              <p:cNvSpPr>
                <a:spLocks noEditPoints="1"/>
              </p:cNvSpPr>
              <p:nvPr/>
            </p:nvSpPr>
            <p:spPr bwMode="auto">
              <a:xfrm>
                <a:off x="6619431" y="3525998"/>
                <a:ext cx="210839" cy="156676"/>
              </a:xfrm>
              <a:custGeom>
                <a:avLst/>
                <a:gdLst/>
                <a:ahLst/>
                <a:cxnLst>
                  <a:cxn ang="0">
                    <a:pos x="7" y="142"/>
                  </a:cxn>
                  <a:cxn ang="0">
                    <a:pos x="22" y="146"/>
                  </a:cxn>
                  <a:cxn ang="0">
                    <a:pos x="45" y="156"/>
                  </a:cxn>
                  <a:cxn ang="0">
                    <a:pos x="60" y="157"/>
                  </a:cxn>
                  <a:cxn ang="0">
                    <a:pos x="70" y="146"/>
                  </a:cxn>
                  <a:cxn ang="0">
                    <a:pos x="98" y="69"/>
                  </a:cxn>
                  <a:cxn ang="0">
                    <a:pos x="103" y="106"/>
                  </a:cxn>
                  <a:cxn ang="0">
                    <a:pos x="130" y="103"/>
                  </a:cxn>
                  <a:cxn ang="0">
                    <a:pos x="153" y="89"/>
                  </a:cxn>
                  <a:cxn ang="0">
                    <a:pos x="180" y="78"/>
                  </a:cxn>
                  <a:cxn ang="0">
                    <a:pos x="205" y="83"/>
                  </a:cxn>
                  <a:cxn ang="0">
                    <a:pos x="224" y="83"/>
                  </a:cxn>
                  <a:cxn ang="0">
                    <a:pos x="226" y="66"/>
                  </a:cxn>
                  <a:cxn ang="0">
                    <a:pos x="241" y="56"/>
                  </a:cxn>
                  <a:cxn ang="0">
                    <a:pos x="253" y="48"/>
                  </a:cxn>
                  <a:cxn ang="0">
                    <a:pos x="261" y="29"/>
                  </a:cxn>
                  <a:cxn ang="0">
                    <a:pos x="274" y="21"/>
                  </a:cxn>
                  <a:cxn ang="0">
                    <a:pos x="291" y="14"/>
                  </a:cxn>
                  <a:cxn ang="0">
                    <a:pos x="306" y="6"/>
                  </a:cxn>
                  <a:cxn ang="0">
                    <a:pos x="324" y="0"/>
                  </a:cxn>
                  <a:cxn ang="0">
                    <a:pos x="342" y="6"/>
                  </a:cxn>
                  <a:cxn ang="0">
                    <a:pos x="367" y="14"/>
                  </a:cxn>
                  <a:cxn ang="0">
                    <a:pos x="371" y="41"/>
                  </a:cxn>
                  <a:cxn ang="0">
                    <a:pos x="372" y="81"/>
                  </a:cxn>
                  <a:cxn ang="0">
                    <a:pos x="354" y="83"/>
                  </a:cxn>
                  <a:cxn ang="0">
                    <a:pos x="349" y="108"/>
                  </a:cxn>
                  <a:cxn ang="0">
                    <a:pos x="374" y="111"/>
                  </a:cxn>
                  <a:cxn ang="0">
                    <a:pos x="394" y="108"/>
                  </a:cxn>
                  <a:cxn ang="0">
                    <a:pos x="387" y="126"/>
                  </a:cxn>
                  <a:cxn ang="0">
                    <a:pos x="371" y="156"/>
                  </a:cxn>
                  <a:cxn ang="0">
                    <a:pos x="354" y="166"/>
                  </a:cxn>
                  <a:cxn ang="0">
                    <a:pos x="339" y="184"/>
                  </a:cxn>
                  <a:cxn ang="0">
                    <a:pos x="313" y="219"/>
                  </a:cxn>
                  <a:cxn ang="0">
                    <a:pos x="276" y="249"/>
                  </a:cxn>
                  <a:cxn ang="0">
                    <a:pos x="246" y="269"/>
                  </a:cxn>
                  <a:cxn ang="0">
                    <a:pos x="223" y="274"/>
                  </a:cxn>
                  <a:cxn ang="0">
                    <a:pos x="210" y="284"/>
                  </a:cxn>
                  <a:cxn ang="0">
                    <a:pos x="191" y="287"/>
                  </a:cxn>
                  <a:cxn ang="0">
                    <a:pos x="156" y="284"/>
                  </a:cxn>
                  <a:cxn ang="0">
                    <a:pos x="130" y="285"/>
                  </a:cxn>
                  <a:cxn ang="0">
                    <a:pos x="118" y="292"/>
                  </a:cxn>
                  <a:cxn ang="0">
                    <a:pos x="95" y="294"/>
                  </a:cxn>
                  <a:cxn ang="0">
                    <a:pos x="75" y="300"/>
                  </a:cxn>
                  <a:cxn ang="0">
                    <a:pos x="53" y="290"/>
                  </a:cxn>
                  <a:cxn ang="0">
                    <a:pos x="43" y="284"/>
                  </a:cxn>
                  <a:cxn ang="0">
                    <a:pos x="37" y="280"/>
                  </a:cxn>
                  <a:cxn ang="0">
                    <a:pos x="27" y="254"/>
                  </a:cxn>
                  <a:cxn ang="0">
                    <a:pos x="37" y="245"/>
                  </a:cxn>
                  <a:cxn ang="0">
                    <a:pos x="30" y="214"/>
                  </a:cxn>
                  <a:cxn ang="0">
                    <a:pos x="10" y="161"/>
                  </a:cxn>
                  <a:cxn ang="0">
                    <a:pos x="259" y="191"/>
                  </a:cxn>
                  <a:cxn ang="0">
                    <a:pos x="276" y="197"/>
                  </a:cxn>
                  <a:cxn ang="0">
                    <a:pos x="291" y="186"/>
                  </a:cxn>
                  <a:cxn ang="0">
                    <a:pos x="298" y="176"/>
                  </a:cxn>
                  <a:cxn ang="0">
                    <a:pos x="298" y="154"/>
                  </a:cxn>
                  <a:cxn ang="0">
                    <a:pos x="283" y="151"/>
                  </a:cxn>
                  <a:cxn ang="0">
                    <a:pos x="263" y="162"/>
                  </a:cxn>
                  <a:cxn ang="0">
                    <a:pos x="254" y="182"/>
                  </a:cxn>
                </a:cxnLst>
                <a:rect l="0" t="0" r="r" b="b"/>
                <a:pathLst>
                  <a:path w="394" h="302">
                    <a:moveTo>
                      <a:pt x="0" y="149"/>
                    </a:moveTo>
                    <a:lnTo>
                      <a:pt x="4" y="147"/>
                    </a:lnTo>
                    <a:lnTo>
                      <a:pt x="9" y="146"/>
                    </a:lnTo>
                    <a:lnTo>
                      <a:pt x="9" y="142"/>
                    </a:lnTo>
                    <a:lnTo>
                      <a:pt x="7" y="142"/>
                    </a:lnTo>
                    <a:lnTo>
                      <a:pt x="10" y="137"/>
                    </a:lnTo>
                    <a:lnTo>
                      <a:pt x="15" y="136"/>
                    </a:lnTo>
                    <a:lnTo>
                      <a:pt x="19" y="141"/>
                    </a:lnTo>
                    <a:lnTo>
                      <a:pt x="23" y="141"/>
                    </a:lnTo>
                    <a:lnTo>
                      <a:pt x="22" y="146"/>
                    </a:lnTo>
                    <a:lnTo>
                      <a:pt x="25" y="152"/>
                    </a:lnTo>
                    <a:lnTo>
                      <a:pt x="33" y="154"/>
                    </a:lnTo>
                    <a:lnTo>
                      <a:pt x="38" y="156"/>
                    </a:lnTo>
                    <a:lnTo>
                      <a:pt x="42" y="156"/>
                    </a:lnTo>
                    <a:lnTo>
                      <a:pt x="45" y="156"/>
                    </a:lnTo>
                    <a:lnTo>
                      <a:pt x="48" y="157"/>
                    </a:lnTo>
                    <a:lnTo>
                      <a:pt x="50" y="156"/>
                    </a:lnTo>
                    <a:lnTo>
                      <a:pt x="53" y="156"/>
                    </a:lnTo>
                    <a:lnTo>
                      <a:pt x="57" y="157"/>
                    </a:lnTo>
                    <a:lnTo>
                      <a:pt x="60" y="157"/>
                    </a:lnTo>
                    <a:lnTo>
                      <a:pt x="62" y="159"/>
                    </a:lnTo>
                    <a:lnTo>
                      <a:pt x="63" y="154"/>
                    </a:lnTo>
                    <a:lnTo>
                      <a:pt x="65" y="152"/>
                    </a:lnTo>
                    <a:lnTo>
                      <a:pt x="68" y="151"/>
                    </a:lnTo>
                    <a:lnTo>
                      <a:pt x="70" y="146"/>
                    </a:lnTo>
                    <a:lnTo>
                      <a:pt x="77" y="144"/>
                    </a:lnTo>
                    <a:lnTo>
                      <a:pt x="83" y="144"/>
                    </a:lnTo>
                    <a:lnTo>
                      <a:pt x="87" y="144"/>
                    </a:lnTo>
                    <a:lnTo>
                      <a:pt x="90" y="64"/>
                    </a:lnTo>
                    <a:lnTo>
                      <a:pt x="98" y="69"/>
                    </a:lnTo>
                    <a:lnTo>
                      <a:pt x="100" y="76"/>
                    </a:lnTo>
                    <a:lnTo>
                      <a:pt x="107" y="88"/>
                    </a:lnTo>
                    <a:lnTo>
                      <a:pt x="107" y="94"/>
                    </a:lnTo>
                    <a:lnTo>
                      <a:pt x="103" y="101"/>
                    </a:lnTo>
                    <a:lnTo>
                      <a:pt x="103" y="106"/>
                    </a:lnTo>
                    <a:lnTo>
                      <a:pt x="110" y="104"/>
                    </a:lnTo>
                    <a:lnTo>
                      <a:pt x="115" y="106"/>
                    </a:lnTo>
                    <a:lnTo>
                      <a:pt x="120" y="104"/>
                    </a:lnTo>
                    <a:lnTo>
                      <a:pt x="125" y="104"/>
                    </a:lnTo>
                    <a:lnTo>
                      <a:pt x="130" y="103"/>
                    </a:lnTo>
                    <a:lnTo>
                      <a:pt x="135" y="101"/>
                    </a:lnTo>
                    <a:lnTo>
                      <a:pt x="138" y="98"/>
                    </a:lnTo>
                    <a:lnTo>
                      <a:pt x="140" y="96"/>
                    </a:lnTo>
                    <a:lnTo>
                      <a:pt x="148" y="93"/>
                    </a:lnTo>
                    <a:lnTo>
                      <a:pt x="153" y="89"/>
                    </a:lnTo>
                    <a:lnTo>
                      <a:pt x="156" y="79"/>
                    </a:lnTo>
                    <a:lnTo>
                      <a:pt x="163" y="74"/>
                    </a:lnTo>
                    <a:lnTo>
                      <a:pt x="170" y="74"/>
                    </a:lnTo>
                    <a:lnTo>
                      <a:pt x="178" y="74"/>
                    </a:lnTo>
                    <a:lnTo>
                      <a:pt x="180" y="78"/>
                    </a:lnTo>
                    <a:lnTo>
                      <a:pt x="183" y="78"/>
                    </a:lnTo>
                    <a:lnTo>
                      <a:pt x="191" y="83"/>
                    </a:lnTo>
                    <a:lnTo>
                      <a:pt x="195" y="83"/>
                    </a:lnTo>
                    <a:lnTo>
                      <a:pt x="200" y="83"/>
                    </a:lnTo>
                    <a:lnTo>
                      <a:pt x="205" y="83"/>
                    </a:lnTo>
                    <a:lnTo>
                      <a:pt x="211" y="83"/>
                    </a:lnTo>
                    <a:lnTo>
                      <a:pt x="215" y="81"/>
                    </a:lnTo>
                    <a:lnTo>
                      <a:pt x="216" y="84"/>
                    </a:lnTo>
                    <a:lnTo>
                      <a:pt x="219" y="84"/>
                    </a:lnTo>
                    <a:lnTo>
                      <a:pt x="224" y="83"/>
                    </a:lnTo>
                    <a:lnTo>
                      <a:pt x="223" y="79"/>
                    </a:lnTo>
                    <a:lnTo>
                      <a:pt x="224" y="76"/>
                    </a:lnTo>
                    <a:lnTo>
                      <a:pt x="224" y="73"/>
                    </a:lnTo>
                    <a:lnTo>
                      <a:pt x="226" y="71"/>
                    </a:lnTo>
                    <a:lnTo>
                      <a:pt x="226" y="66"/>
                    </a:lnTo>
                    <a:lnTo>
                      <a:pt x="228" y="61"/>
                    </a:lnTo>
                    <a:lnTo>
                      <a:pt x="233" y="61"/>
                    </a:lnTo>
                    <a:lnTo>
                      <a:pt x="236" y="59"/>
                    </a:lnTo>
                    <a:lnTo>
                      <a:pt x="239" y="59"/>
                    </a:lnTo>
                    <a:lnTo>
                      <a:pt x="241" y="56"/>
                    </a:lnTo>
                    <a:lnTo>
                      <a:pt x="243" y="56"/>
                    </a:lnTo>
                    <a:lnTo>
                      <a:pt x="244" y="53"/>
                    </a:lnTo>
                    <a:lnTo>
                      <a:pt x="248" y="49"/>
                    </a:lnTo>
                    <a:lnTo>
                      <a:pt x="251" y="49"/>
                    </a:lnTo>
                    <a:lnTo>
                      <a:pt x="253" y="48"/>
                    </a:lnTo>
                    <a:lnTo>
                      <a:pt x="256" y="48"/>
                    </a:lnTo>
                    <a:lnTo>
                      <a:pt x="256" y="44"/>
                    </a:lnTo>
                    <a:lnTo>
                      <a:pt x="254" y="41"/>
                    </a:lnTo>
                    <a:lnTo>
                      <a:pt x="254" y="36"/>
                    </a:lnTo>
                    <a:lnTo>
                      <a:pt x="261" y="29"/>
                    </a:lnTo>
                    <a:lnTo>
                      <a:pt x="264" y="28"/>
                    </a:lnTo>
                    <a:lnTo>
                      <a:pt x="268" y="26"/>
                    </a:lnTo>
                    <a:lnTo>
                      <a:pt x="269" y="24"/>
                    </a:lnTo>
                    <a:lnTo>
                      <a:pt x="273" y="23"/>
                    </a:lnTo>
                    <a:lnTo>
                      <a:pt x="274" y="21"/>
                    </a:lnTo>
                    <a:lnTo>
                      <a:pt x="276" y="19"/>
                    </a:lnTo>
                    <a:lnTo>
                      <a:pt x="279" y="18"/>
                    </a:lnTo>
                    <a:lnTo>
                      <a:pt x="284" y="13"/>
                    </a:lnTo>
                    <a:lnTo>
                      <a:pt x="289" y="13"/>
                    </a:lnTo>
                    <a:lnTo>
                      <a:pt x="291" y="14"/>
                    </a:lnTo>
                    <a:lnTo>
                      <a:pt x="293" y="13"/>
                    </a:lnTo>
                    <a:lnTo>
                      <a:pt x="298" y="13"/>
                    </a:lnTo>
                    <a:lnTo>
                      <a:pt x="301" y="11"/>
                    </a:lnTo>
                    <a:lnTo>
                      <a:pt x="304" y="10"/>
                    </a:lnTo>
                    <a:lnTo>
                      <a:pt x="306" y="6"/>
                    </a:lnTo>
                    <a:lnTo>
                      <a:pt x="304" y="5"/>
                    </a:lnTo>
                    <a:lnTo>
                      <a:pt x="308" y="3"/>
                    </a:lnTo>
                    <a:lnTo>
                      <a:pt x="311" y="1"/>
                    </a:lnTo>
                    <a:lnTo>
                      <a:pt x="314" y="1"/>
                    </a:lnTo>
                    <a:lnTo>
                      <a:pt x="324" y="0"/>
                    </a:lnTo>
                    <a:lnTo>
                      <a:pt x="331" y="0"/>
                    </a:lnTo>
                    <a:lnTo>
                      <a:pt x="332" y="3"/>
                    </a:lnTo>
                    <a:lnTo>
                      <a:pt x="336" y="3"/>
                    </a:lnTo>
                    <a:lnTo>
                      <a:pt x="341" y="5"/>
                    </a:lnTo>
                    <a:lnTo>
                      <a:pt x="342" y="6"/>
                    </a:lnTo>
                    <a:lnTo>
                      <a:pt x="346" y="5"/>
                    </a:lnTo>
                    <a:lnTo>
                      <a:pt x="352" y="5"/>
                    </a:lnTo>
                    <a:lnTo>
                      <a:pt x="361" y="6"/>
                    </a:lnTo>
                    <a:lnTo>
                      <a:pt x="366" y="10"/>
                    </a:lnTo>
                    <a:lnTo>
                      <a:pt x="367" y="14"/>
                    </a:lnTo>
                    <a:lnTo>
                      <a:pt x="369" y="21"/>
                    </a:lnTo>
                    <a:lnTo>
                      <a:pt x="371" y="26"/>
                    </a:lnTo>
                    <a:lnTo>
                      <a:pt x="371" y="36"/>
                    </a:lnTo>
                    <a:lnTo>
                      <a:pt x="371" y="38"/>
                    </a:lnTo>
                    <a:lnTo>
                      <a:pt x="371" y="41"/>
                    </a:lnTo>
                    <a:lnTo>
                      <a:pt x="372" y="46"/>
                    </a:lnTo>
                    <a:lnTo>
                      <a:pt x="374" y="51"/>
                    </a:lnTo>
                    <a:lnTo>
                      <a:pt x="374" y="68"/>
                    </a:lnTo>
                    <a:lnTo>
                      <a:pt x="372" y="74"/>
                    </a:lnTo>
                    <a:lnTo>
                      <a:pt x="372" y="81"/>
                    </a:lnTo>
                    <a:lnTo>
                      <a:pt x="372" y="89"/>
                    </a:lnTo>
                    <a:lnTo>
                      <a:pt x="367" y="88"/>
                    </a:lnTo>
                    <a:lnTo>
                      <a:pt x="364" y="84"/>
                    </a:lnTo>
                    <a:lnTo>
                      <a:pt x="357" y="81"/>
                    </a:lnTo>
                    <a:lnTo>
                      <a:pt x="354" y="83"/>
                    </a:lnTo>
                    <a:lnTo>
                      <a:pt x="352" y="88"/>
                    </a:lnTo>
                    <a:lnTo>
                      <a:pt x="347" y="98"/>
                    </a:lnTo>
                    <a:lnTo>
                      <a:pt x="344" y="103"/>
                    </a:lnTo>
                    <a:lnTo>
                      <a:pt x="346" y="104"/>
                    </a:lnTo>
                    <a:lnTo>
                      <a:pt x="349" y="108"/>
                    </a:lnTo>
                    <a:lnTo>
                      <a:pt x="351" y="111"/>
                    </a:lnTo>
                    <a:lnTo>
                      <a:pt x="359" y="116"/>
                    </a:lnTo>
                    <a:lnTo>
                      <a:pt x="369" y="116"/>
                    </a:lnTo>
                    <a:lnTo>
                      <a:pt x="372" y="114"/>
                    </a:lnTo>
                    <a:lnTo>
                      <a:pt x="374" y="111"/>
                    </a:lnTo>
                    <a:lnTo>
                      <a:pt x="374" y="108"/>
                    </a:lnTo>
                    <a:lnTo>
                      <a:pt x="376" y="106"/>
                    </a:lnTo>
                    <a:lnTo>
                      <a:pt x="381" y="106"/>
                    </a:lnTo>
                    <a:lnTo>
                      <a:pt x="389" y="108"/>
                    </a:lnTo>
                    <a:lnTo>
                      <a:pt x="394" y="108"/>
                    </a:lnTo>
                    <a:lnTo>
                      <a:pt x="394" y="108"/>
                    </a:lnTo>
                    <a:lnTo>
                      <a:pt x="391" y="111"/>
                    </a:lnTo>
                    <a:lnTo>
                      <a:pt x="392" y="112"/>
                    </a:lnTo>
                    <a:lnTo>
                      <a:pt x="389" y="119"/>
                    </a:lnTo>
                    <a:lnTo>
                      <a:pt x="387" y="126"/>
                    </a:lnTo>
                    <a:lnTo>
                      <a:pt x="384" y="132"/>
                    </a:lnTo>
                    <a:lnTo>
                      <a:pt x="382" y="141"/>
                    </a:lnTo>
                    <a:lnTo>
                      <a:pt x="379" y="146"/>
                    </a:lnTo>
                    <a:lnTo>
                      <a:pt x="377" y="149"/>
                    </a:lnTo>
                    <a:lnTo>
                      <a:pt x="371" y="156"/>
                    </a:lnTo>
                    <a:lnTo>
                      <a:pt x="369" y="156"/>
                    </a:lnTo>
                    <a:lnTo>
                      <a:pt x="367" y="159"/>
                    </a:lnTo>
                    <a:lnTo>
                      <a:pt x="362" y="161"/>
                    </a:lnTo>
                    <a:lnTo>
                      <a:pt x="361" y="162"/>
                    </a:lnTo>
                    <a:lnTo>
                      <a:pt x="354" y="166"/>
                    </a:lnTo>
                    <a:lnTo>
                      <a:pt x="351" y="171"/>
                    </a:lnTo>
                    <a:lnTo>
                      <a:pt x="346" y="176"/>
                    </a:lnTo>
                    <a:lnTo>
                      <a:pt x="346" y="179"/>
                    </a:lnTo>
                    <a:lnTo>
                      <a:pt x="344" y="184"/>
                    </a:lnTo>
                    <a:lnTo>
                      <a:pt x="339" y="184"/>
                    </a:lnTo>
                    <a:lnTo>
                      <a:pt x="336" y="191"/>
                    </a:lnTo>
                    <a:lnTo>
                      <a:pt x="326" y="206"/>
                    </a:lnTo>
                    <a:lnTo>
                      <a:pt x="318" y="212"/>
                    </a:lnTo>
                    <a:lnTo>
                      <a:pt x="316" y="217"/>
                    </a:lnTo>
                    <a:lnTo>
                      <a:pt x="313" y="219"/>
                    </a:lnTo>
                    <a:lnTo>
                      <a:pt x="308" y="224"/>
                    </a:lnTo>
                    <a:lnTo>
                      <a:pt x="306" y="224"/>
                    </a:lnTo>
                    <a:lnTo>
                      <a:pt x="304" y="225"/>
                    </a:lnTo>
                    <a:lnTo>
                      <a:pt x="279" y="249"/>
                    </a:lnTo>
                    <a:lnTo>
                      <a:pt x="276" y="249"/>
                    </a:lnTo>
                    <a:lnTo>
                      <a:pt x="276" y="250"/>
                    </a:lnTo>
                    <a:lnTo>
                      <a:pt x="271" y="254"/>
                    </a:lnTo>
                    <a:lnTo>
                      <a:pt x="254" y="264"/>
                    </a:lnTo>
                    <a:lnTo>
                      <a:pt x="251" y="267"/>
                    </a:lnTo>
                    <a:lnTo>
                      <a:pt x="246" y="269"/>
                    </a:lnTo>
                    <a:lnTo>
                      <a:pt x="246" y="270"/>
                    </a:lnTo>
                    <a:lnTo>
                      <a:pt x="236" y="272"/>
                    </a:lnTo>
                    <a:lnTo>
                      <a:pt x="231" y="275"/>
                    </a:lnTo>
                    <a:lnTo>
                      <a:pt x="226" y="277"/>
                    </a:lnTo>
                    <a:lnTo>
                      <a:pt x="223" y="274"/>
                    </a:lnTo>
                    <a:lnTo>
                      <a:pt x="216" y="275"/>
                    </a:lnTo>
                    <a:lnTo>
                      <a:pt x="210" y="277"/>
                    </a:lnTo>
                    <a:lnTo>
                      <a:pt x="206" y="280"/>
                    </a:lnTo>
                    <a:lnTo>
                      <a:pt x="211" y="284"/>
                    </a:lnTo>
                    <a:lnTo>
                      <a:pt x="210" y="284"/>
                    </a:lnTo>
                    <a:lnTo>
                      <a:pt x="201" y="284"/>
                    </a:lnTo>
                    <a:lnTo>
                      <a:pt x="196" y="282"/>
                    </a:lnTo>
                    <a:lnTo>
                      <a:pt x="193" y="282"/>
                    </a:lnTo>
                    <a:lnTo>
                      <a:pt x="190" y="285"/>
                    </a:lnTo>
                    <a:lnTo>
                      <a:pt x="191" y="287"/>
                    </a:lnTo>
                    <a:lnTo>
                      <a:pt x="190" y="289"/>
                    </a:lnTo>
                    <a:lnTo>
                      <a:pt x="178" y="287"/>
                    </a:lnTo>
                    <a:lnTo>
                      <a:pt x="175" y="285"/>
                    </a:lnTo>
                    <a:lnTo>
                      <a:pt x="163" y="282"/>
                    </a:lnTo>
                    <a:lnTo>
                      <a:pt x="156" y="284"/>
                    </a:lnTo>
                    <a:lnTo>
                      <a:pt x="156" y="285"/>
                    </a:lnTo>
                    <a:lnTo>
                      <a:pt x="151" y="285"/>
                    </a:lnTo>
                    <a:lnTo>
                      <a:pt x="146" y="284"/>
                    </a:lnTo>
                    <a:lnTo>
                      <a:pt x="133" y="284"/>
                    </a:lnTo>
                    <a:lnTo>
                      <a:pt x="130" y="285"/>
                    </a:lnTo>
                    <a:lnTo>
                      <a:pt x="128" y="289"/>
                    </a:lnTo>
                    <a:lnTo>
                      <a:pt x="126" y="287"/>
                    </a:lnTo>
                    <a:lnTo>
                      <a:pt x="123" y="289"/>
                    </a:lnTo>
                    <a:lnTo>
                      <a:pt x="120" y="290"/>
                    </a:lnTo>
                    <a:lnTo>
                      <a:pt x="118" y="292"/>
                    </a:lnTo>
                    <a:lnTo>
                      <a:pt x="113" y="292"/>
                    </a:lnTo>
                    <a:lnTo>
                      <a:pt x="110" y="294"/>
                    </a:lnTo>
                    <a:lnTo>
                      <a:pt x="102" y="292"/>
                    </a:lnTo>
                    <a:lnTo>
                      <a:pt x="97" y="292"/>
                    </a:lnTo>
                    <a:lnTo>
                      <a:pt x="95" y="294"/>
                    </a:lnTo>
                    <a:lnTo>
                      <a:pt x="88" y="292"/>
                    </a:lnTo>
                    <a:lnTo>
                      <a:pt x="83" y="297"/>
                    </a:lnTo>
                    <a:lnTo>
                      <a:pt x="80" y="299"/>
                    </a:lnTo>
                    <a:lnTo>
                      <a:pt x="78" y="302"/>
                    </a:lnTo>
                    <a:lnTo>
                      <a:pt x="75" y="300"/>
                    </a:lnTo>
                    <a:lnTo>
                      <a:pt x="73" y="302"/>
                    </a:lnTo>
                    <a:lnTo>
                      <a:pt x="62" y="297"/>
                    </a:lnTo>
                    <a:lnTo>
                      <a:pt x="58" y="297"/>
                    </a:lnTo>
                    <a:lnTo>
                      <a:pt x="58" y="292"/>
                    </a:lnTo>
                    <a:lnTo>
                      <a:pt x="53" y="290"/>
                    </a:lnTo>
                    <a:lnTo>
                      <a:pt x="50" y="292"/>
                    </a:lnTo>
                    <a:lnTo>
                      <a:pt x="48" y="290"/>
                    </a:lnTo>
                    <a:lnTo>
                      <a:pt x="50" y="289"/>
                    </a:lnTo>
                    <a:lnTo>
                      <a:pt x="48" y="285"/>
                    </a:lnTo>
                    <a:lnTo>
                      <a:pt x="43" y="284"/>
                    </a:lnTo>
                    <a:lnTo>
                      <a:pt x="38" y="287"/>
                    </a:lnTo>
                    <a:lnTo>
                      <a:pt x="38" y="292"/>
                    </a:lnTo>
                    <a:lnTo>
                      <a:pt x="37" y="289"/>
                    </a:lnTo>
                    <a:lnTo>
                      <a:pt x="35" y="285"/>
                    </a:lnTo>
                    <a:lnTo>
                      <a:pt x="37" y="280"/>
                    </a:lnTo>
                    <a:lnTo>
                      <a:pt x="37" y="275"/>
                    </a:lnTo>
                    <a:lnTo>
                      <a:pt x="40" y="270"/>
                    </a:lnTo>
                    <a:lnTo>
                      <a:pt x="35" y="264"/>
                    </a:lnTo>
                    <a:lnTo>
                      <a:pt x="32" y="260"/>
                    </a:lnTo>
                    <a:lnTo>
                      <a:pt x="27" y="254"/>
                    </a:lnTo>
                    <a:lnTo>
                      <a:pt x="27" y="249"/>
                    </a:lnTo>
                    <a:lnTo>
                      <a:pt x="30" y="247"/>
                    </a:lnTo>
                    <a:lnTo>
                      <a:pt x="32" y="249"/>
                    </a:lnTo>
                    <a:lnTo>
                      <a:pt x="35" y="249"/>
                    </a:lnTo>
                    <a:lnTo>
                      <a:pt x="37" y="245"/>
                    </a:lnTo>
                    <a:lnTo>
                      <a:pt x="38" y="239"/>
                    </a:lnTo>
                    <a:lnTo>
                      <a:pt x="37" y="232"/>
                    </a:lnTo>
                    <a:lnTo>
                      <a:pt x="37" y="229"/>
                    </a:lnTo>
                    <a:lnTo>
                      <a:pt x="30" y="219"/>
                    </a:lnTo>
                    <a:lnTo>
                      <a:pt x="30" y="214"/>
                    </a:lnTo>
                    <a:lnTo>
                      <a:pt x="23" y="206"/>
                    </a:lnTo>
                    <a:lnTo>
                      <a:pt x="20" y="192"/>
                    </a:lnTo>
                    <a:lnTo>
                      <a:pt x="15" y="181"/>
                    </a:lnTo>
                    <a:lnTo>
                      <a:pt x="15" y="174"/>
                    </a:lnTo>
                    <a:lnTo>
                      <a:pt x="10" y="161"/>
                    </a:lnTo>
                    <a:lnTo>
                      <a:pt x="2" y="15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9"/>
                    </a:lnTo>
                    <a:close/>
                    <a:moveTo>
                      <a:pt x="259" y="191"/>
                    </a:moveTo>
                    <a:lnTo>
                      <a:pt x="263" y="194"/>
                    </a:lnTo>
                    <a:lnTo>
                      <a:pt x="264" y="197"/>
                    </a:lnTo>
                    <a:lnTo>
                      <a:pt x="271" y="199"/>
                    </a:lnTo>
                    <a:lnTo>
                      <a:pt x="274" y="199"/>
                    </a:lnTo>
                    <a:lnTo>
                      <a:pt x="276" y="197"/>
                    </a:lnTo>
                    <a:lnTo>
                      <a:pt x="278" y="196"/>
                    </a:lnTo>
                    <a:lnTo>
                      <a:pt x="279" y="189"/>
                    </a:lnTo>
                    <a:lnTo>
                      <a:pt x="284" y="189"/>
                    </a:lnTo>
                    <a:lnTo>
                      <a:pt x="288" y="187"/>
                    </a:lnTo>
                    <a:lnTo>
                      <a:pt x="291" y="186"/>
                    </a:lnTo>
                    <a:lnTo>
                      <a:pt x="294" y="187"/>
                    </a:lnTo>
                    <a:lnTo>
                      <a:pt x="299" y="184"/>
                    </a:lnTo>
                    <a:lnTo>
                      <a:pt x="299" y="181"/>
                    </a:lnTo>
                    <a:lnTo>
                      <a:pt x="298" y="179"/>
                    </a:lnTo>
                    <a:lnTo>
                      <a:pt x="298" y="176"/>
                    </a:lnTo>
                    <a:lnTo>
                      <a:pt x="303" y="174"/>
                    </a:lnTo>
                    <a:lnTo>
                      <a:pt x="306" y="171"/>
                    </a:lnTo>
                    <a:lnTo>
                      <a:pt x="306" y="166"/>
                    </a:lnTo>
                    <a:lnTo>
                      <a:pt x="303" y="157"/>
                    </a:lnTo>
                    <a:lnTo>
                      <a:pt x="298" y="154"/>
                    </a:lnTo>
                    <a:lnTo>
                      <a:pt x="293" y="154"/>
                    </a:lnTo>
                    <a:lnTo>
                      <a:pt x="289" y="152"/>
                    </a:lnTo>
                    <a:lnTo>
                      <a:pt x="288" y="152"/>
                    </a:lnTo>
                    <a:lnTo>
                      <a:pt x="286" y="152"/>
                    </a:lnTo>
                    <a:lnTo>
                      <a:pt x="283" y="151"/>
                    </a:lnTo>
                    <a:lnTo>
                      <a:pt x="281" y="152"/>
                    </a:lnTo>
                    <a:lnTo>
                      <a:pt x="279" y="154"/>
                    </a:lnTo>
                    <a:lnTo>
                      <a:pt x="276" y="157"/>
                    </a:lnTo>
                    <a:lnTo>
                      <a:pt x="268" y="159"/>
                    </a:lnTo>
                    <a:lnTo>
                      <a:pt x="263" y="162"/>
                    </a:lnTo>
                    <a:lnTo>
                      <a:pt x="259" y="169"/>
                    </a:lnTo>
                    <a:lnTo>
                      <a:pt x="253" y="172"/>
                    </a:lnTo>
                    <a:lnTo>
                      <a:pt x="251" y="176"/>
                    </a:lnTo>
                    <a:lnTo>
                      <a:pt x="253" y="179"/>
                    </a:lnTo>
                    <a:lnTo>
                      <a:pt x="254" y="182"/>
                    </a:lnTo>
                    <a:lnTo>
                      <a:pt x="256" y="184"/>
                    </a:lnTo>
                    <a:lnTo>
                      <a:pt x="259" y="187"/>
                    </a:lnTo>
                    <a:lnTo>
                      <a:pt x="259" y="1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99" name="Freeform 142"/>
              <p:cNvSpPr>
                <a:spLocks/>
              </p:cNvSpPr>
              <p:nvPr/>
            </p:nvSpPr>
            <p:spPr bwMode="auto">
              <a:xfrm>
                <a:off x="6754283" y="3604855"/>
                <a:ext cx="28896" cy="24902"/>
              </a:xfrm>
              <a:custGeom>
                <a:avLst/>
                <a:gdLst/>
                <a:ahLst/>
                <a:cxnLst>
                  <a:cxn ang="0">
                    <a:pos x="8" y="40"/>
                  </a:cxn>
                  <a:cxn ang="0">
                    <a:pos x="8" y="36"/>
                  </a:cxn>
                  <a:cxn ang="0">
                    <a:pos x="5" y="33"/>
                  </a:cxn>
                  <a:cxn ang="0">
                    <a:pos x="3" y="31"/>
                  </a:cxn>
                  <a:cxn ang="0">
                    <a:pos x="2" y="28"/>
                  </a:cxn>
                  <a:cxn ang="0">
                    <a:pos x="0" y="25"/>
                  </a:cxn>
                  <a:cxn ang="0">
                    <a:pos x="2" y="21"/>
                  </a:cxn>
                  <a:cxn ang="0">
                    <a:pos x="8" y="18"/>
                  </a:cxn>
                  <a:cxn ang="0">
                    <a:pos x="12" y="11"/>
                  </a:cxn>
                  <a:cxn ang="0">
                    <a:pos x="17" y="8"/>
                  </a:cxn>
                  <a:cxn ang="0">
                    <a:pos x="25" y="6"/>
                  </a:cxn>
                  <a:cxn ang="0">
                    <a:pos x="28" y="3"/>
                  </a:cxn>
                  <a:cxn ang="0">
                    <a:pos x="30" y="1"/>
                  </a:cxn>
                  <a:cxn ang="0">
                    <a:pos x="32" y="0"/>
                  </a:cxn>
                  <a:cxn ang="0">
                    <a:pos x="35" y="1"/>
                  </a:cxn>
                  <a:cxn ang="0">
                    <a:pos x="37" y="1"/>
                  </a:cxn>
                  <a:cxn ang="0">
                    <a:pos x="38" y="1"/>
                  </a:cxn>
                  <a:cxn ang="0">
                    <a:pos x="42" y="3"/>
                  </a:cxn>
                  <a:cxn ang="0">
                    <a:pos x="47" y="3"/>
                  </a:cxn>
                  <a:cxn ang="0">
                    <a:pos x="52" y="6"/>
                  </a:cxn>
                  <a:cxn ang="0">
                    <a:pos x="55" y="15"/>
                  </a:cxn>
                  <a:cxn ang="0">
                    <a:pos x="55" y="20"/>
                  </a:cxn>
                  <a:cxn ang="0">
                    <a:pos x="52" y="23"/>
                  </a:cxn>
                  <a:cxn ang="0">
                    <a:pos x="47" y="25"/>
                  </a:cxn>
                  <a:cxn ang="0">
                    <a:pos x="47" y="28"/>
                  </a:cxn>
                  <a:cxn ang="0">
                    <a:pos x="48" y="30"/>
                  </a:cxn>
                  <a:cxn ang="0">
                    <a:pos x="48" y="33"/>
                  </a:cxn>
                  <a:cxn ang="0">
                    <a:pos x="43" y="36"/>
                  </a:cxn>
                  <a:cxn ang="0">
                    <a:pos x="40" y="35"/>
                  </a:cxn>
                  <a:cxn ang="0">
                    <a:pos x="37" y="36"/>
                  </a:cxn>
                  <a:cxn ang="0">
                    <a:pos x="33" y="38"/>
                  </a:cxn>
                  <a:cxn ang="0">
                    <a:pos x="28" y="38"/>
                  </a:cxn>
                  <a:cxn ang="0">
                    <a:pos x="27" y="45"/>
                  </a:cxn>
                  <a:cxn ang="0">
                    <a:pos x="25" y="46"/>
                  </a:cxn>
                  <a:cxn ang="0">
                    <a:pos x="23" y="48"/>
                  </a:cxn>
                  <a:cxn ang="0">
                    <a:pos x="20" y="48"/>
                  </a:cxn>
                  <a:cxn ang="0">
                    <a:pos x="13" y="46"/>
                  </a:cxn>
                  <a:cxn ang="0">
                    <a:pos x="12" y="43"/>
                  </a:cxn>
                  <a:cxn ang="0">
                    <a:pos x="8" y="40"/>
                  </a:cxn>
                </a:cxnLst>
                <a:rect l="0" t="0" r="r" b="b"/>
                <a:pathLst>
                  <a:path w="55" h="48">
                    <a:moveTo>
                      <a:pt x="8" y="40"/>
                    </a:moveTo>
                    <a:lnTo>
                      <a:pt x="8" y="36"/>
                    </a:lnTo>
                    <a:lnTo>
                      <a:pt x="5" y="33"/>
                    </a:lnTo>
                    <a:lnTo>
                      <a:pt x="3" y="31"/>
                    </a:lnTo>
                    <a:lnTo>
                      <a:pt x="2" y="28"/>
                    </a:lnTo>
                    <a:lnTo>
                      <a:pt x="0" y="25"/>
                    </a:lnTo>
                    <a:lnTo>
                      <a:pt x="2" y="21"/>
                    </a:lnTo>
                    <a:lnTo>
                      <a:pt x="8" y="18"/>
                    </a:lnTo>
                    <a:lnTo>
                      <a:pt x="12" y="11"/>
                    </a:lnTo>
                    <a:lnTo>
                      <a:pt x="17" y="8"/>
                    </a:lnTo>
                    <a:lnTo>
                      <a:pt x="25" y="6"/>
                    </a:lnTo>
                    <a:lnTo>
                      <a:pt x="28" y="3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1"/>
                    </a:lnTo>
                    <a:lnTo>
                      <a:pt x="38" y="1"/>
                    </a:lnTo>
                    <a:lnTo>
                      <a:pt x="42" y="3"/>
                    </a:lnTo>
                    <a:lnTo>
                      <a:pt x="47" y="3"/>
                    </a:lnTo>
                    <a:lnTo>
                      <a:pt x="52" y="6"/>
                    </a:lnTo>
                    <a:lnTo>
                      <a:pt x="55" y="15"/>
                    </a:lnTo>
                    <a:lnTo>
                      <a:pt x="55" y="20"/>
                    </a:lnTo>
                    <a:lnTo>
                      <a:pt x="52" y="23"/>
                    </a:lnTo>
                    <a:lnTo>
                      <a:pt x="47" y="25"/>
                    </a:lnTo>
                    <a:lnTo>
                      <a:pt x="47" y="28"/>
                    </a:lnTo>
                    <a:lnTo>
                      <a:pt x="48" y="30"/>
                    </a:lnTo>
                    <a:lnTo>
                      <a:pt x="48" y="33"/>
                    </a:lnTo>
                    <a:lnTo>
                      <a:pt x="43" y="36"/>
                    </a:lnTo>
                    <a:lnTo>
                      <a:pt x="40" y="35"/>
                    </a:lnTo>
                    <a:lnTo>
                      <a:pt x="37" y="36"/>
                    </a:lnTo>
                    <a:lnTo>
                      <a:pt x="33" y="38"/>
                    </a:lnTo>
                    <a:lnTo>
                      <a:pt x="28" y="38"/>
                    </a:lnTo>
                    <a:lnTo>
                      <a:pt x="27" y="45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20" y="48"/>
                    </a:lnTo>
                    <a:lnTo>
                      <a:pt x="13" y="46"/>
                    </a:lnTo>
                    <a:lnTo>
                      <a:pt x="12" y="43"/>
                    </a:lnTo>
                    <a:lnTo>
                      <a:pt x="8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sp>
          <p:nvSpPr>
            <p:cNvPr id="7" name="Freeform 143"/>
            <p:cNvSpPr>
              <a:spLocks noEditPoints="1"/>
            </p:cNvSpPr>
            <p:nvPr/>
          </p:nvSpPr>
          <p:spPr bwMode="auto">
            <a:xfrm>
              <a:off x="7860920" y="3393187"/>
              <a:ext cx="526562" cy="494930"/>
            </a:xfrm>
            <a:custGeom>
              <a:avLst/>
              <a:gdLst/>
              <a:ahLst/>
              <a:cxnLst>
                <a:cxn ang="0">
                  <a:pos x="975" y="400"/>
                </a:cxn>
                <a:cxn ang="0">
                  <a:pos x="839" y="199"/>
                </a:cxn>
                <a:cxn ang="0">
                  <a:pos x="679" y="170"/>
                </a:cxn>
                <a:cxn ang="0">
                  <a:pos x="621" y="138"/>
                </a:cxn>
                <a:cxn ang="0">
                  <a:pos x="616" y="90"/>
                </a:cxn>
                <a:cxn ang="0">
                  <a:pos x="610" y="33"/>
                </a:cxn>
                <a:cxn ang="0">
                  <a:pos x="583" y="47"/>
                </a:cxn>
                <a:cxn ang="0">
                  <a:pos x="493" y="33"/>
                </a:cxn>
                <a:cxn ang="0">
                  <a:pos x="465" y="38"/>
                </a:cxn>
                <a:cxn ang="0">
                  <a:pos x="309" y="130"/>
                </a:cxn>
                <a:cxn ang="0">
                  <a:pos x="3" y="369"/>
                </a:cxn>
                <a:cxn ang="0">
                  <a:pos x="535" y="683"/>
                </a:cxn>
                <a:cxn ang="0">
                  <a:pos x="723" y="789"/>
                </a:cxn>
                <a:cxn ang="0">
                  <a:pos x="661" y="839"/>
                </a:cxn>
                <a:cxn ang="0">
                  <a:pos x="744" y="839"/>
                </a:cxn>
                <a:cxn ang="0">
                  <a:pos x="741" y="852"/>
                </a:cxn>
                <a:cxn ang="0">
                  <a:pos x="661" y="942"/>
                </a:cxn>
                <a:cxn ang="0">
                  <a:pos x="655" y="856"/>
                </a:cxn>
                <a:cxn ang="0">
                  <a:pos x="728" y="862"/>
                </a:cxn>
                <a:cxn ang="0">
                  <a:pos x="718" y="920"/>
                </a:cxn>
                <a:cxn ang="0">
                  <a:pos x="686" y="937"/>
                </a:cxn>
                <a:cxn ang="0">
                  <a:pos x="38" y="626"/>
                </a:cxn>
                <a:cxn ang="0">
                  <a:pos x="113" y="615"/>
                </a:cxn>
                <a:cxn ang="0">
                  <a:pos x="203" y="606"/>
                </a:cxn>
                <a:cxn ang="0">
                  <a:pos x="317" y="560"/>
                </a:cxn>
                <a:cxn ang="0">
                  <a:pos x="457" y="565"/>
                </a:cxn>
                <a:cxn ang="0">
                  <a:pos x="490" y="635"/>
                </a:cxn>
                <a:cxn ang="0">
                  <a:pos x="548" y="601"/>
                </a:cxn>
                <a:cxn ang="0">
                  <a:pos x="523" y="658"/>
                </a:cxn>
                <a:cxn ang="0">
                  <a:pos x="578" y="666"/>
                </a:cxn>
                <a:cxn ang="0">
                  <a:pos x="606" y="759"/>
                </a:cxn>
                <a:cxn ang="0">
                  <a:pos x="686" y="766"/>
                </a:cxn>
                <a:cxn ang="0">
                  <a:pos x="718" y="801"/>
                </a:cxn>
                <a:cxn ang="0">
                  <a:pos x="802" y="762"/>
                </a:cxn>
                <a:cxn ang="0">
                  <a:pos x="876" y="640"/>
                </a:cxn>
                <a:cxn ang="0">
                  <a:pos x="942" y="562"/>
                </a:cxn>
                <a:cxn ang="0">
                  <a:pos x="969" y="434"/>
                </a:cxn>
                <a:cxn ang="0">
                  <a:pos x="942" y="347"/>
                </a:cxn>
                <a:cxn ang="0">
                  <a:pos x="914" y="312"/>
                </a:cxn>
                <a:cxn ang="0">
                  <a:pos x="879" y="243"/>
                </a:cxn>
                <a:cxn ang="0">
                  <a:pos x="836" y="196"/>
                </a:cxn>
                <a:cxn ang="0">
                  <a:pos x="806" y="98"/>
                </a:cxn>
                <a:cxn ang="0">
                  <a:pos x="769" y="42"/>
                </a:cxn>
                <a:cxn ang="0">
                  <a:pos x="739" y="73"/>
                </a:cxn>
                <a:cxn ang="0">
                  <a:pos x="693" y="188"/>
                </a:cxn>
                <a:cxn ang="0">
                  <a:pos x="608" y="138"/>
                </a:cxn>
                <a:cxn ang="0">
                  <a:pos x="608" y="76"/>
                </a:cxn>
                <a:cxn ang="0">
                  <a:pos x="600" y="50"/>
                </a:cxn>
                <a:cxn ang="0">
                  <a:pos x="557" y="42"/>
                </a:cxn>
                <a:cxn ang="0">
                  <a:pos x="513" y="32"/>
                </a:cxn>
                <a:cxn ang="0">
                  <a:pos x="470" y="63"/>
                </a:cxn>
                <a:cxn ang="0">
                  <a:pos x="440" y="110"/>
                </a:cxn>
                <a:cxn ang="0">
                  <a:pos x="405" y="115"/>
                </a:cxn>
                <a:cxn ang="0">
                  <a:pos x="376" y="90"/>
                </a:cxn>
                <a:cxn ang="0">
                  <a:pos x="341" y="103"/>
                </a:cxn>
                <a:cxn ang="0">
                  <a:pos x="316" y="143"/>
                </a:cxn>
                <a:cxn ang="0">
                  <a:pos x="294" y="166"/>
                </a:cxn>
                <a:cxn ang="0">
                  <a:pos x="254" y="191"/>
                </a:cxn>
                <a:cxn ang="0">
                  <a:pos x="140" y="248"/>
                </a:cxn>
                <a:cxn ang="0">
                  <a:pos x="47" y="279"/>
                </a:cxn>
                <a:cxn ang="0">
                  <a:pos x="22" y="390"/>
                </a:cxn>
                <a:cxn ang="0">
                  <a:pos x="33" y="482"/>
                </a:cxn>
              </a:cxnLst>
              <a:rect l="0" t="0" r="r" b="b"/>
              <a:pathLst>
                <a:path w="985" h="955">
                  <a:moveTo>
                    <a:pt x="974" y="455"/>
                  </a:moveTo>
                  <a:lnTo>
                    <a:pt x="975" y="449"/>
                  </a:lnTo>
                  <a:lnTo>
                    <a:pt x="977" y="452"/>
                  </a:lnTo>
                  <a:lnTo>
                    <a:pt x="974" y="455"/>
                  </a:lnTo>
                  <a:lnTo>
                    <a:pt x="974" y="455"/>
                  </a:lnTo>
                  <a:close/>
                  <a:moveTo>
                    <a:pt x="975" y="400"/>
                  </a:moveTo>
                  <a:lnTo>
                    <a:pt x="974" y="394"/>
                  </a:lnTo>
                  <a:lnTo>
                    <a:pt x="974" y="390"/>
                  </a:lnTo>
                  <a:lnTo>
                    <a:pt x="975" y="385"/>
                  </a:lnTo>
                  <a:lnTo>
                    <a:pt x="978" y="382"/>
                  </a:lnTo>
                  <a:lnTo>
                    <a:pt x="982" y="377"/>
                  </a:lnTo>
                  <a:lnTo>
                    <a:pt x="980" y="374"/>
                  </a:lnTo>
                  <a:lnTo>
                    <a:pt x="982" y="370"/>
                  </a:lnTo>
                  <a:lnTo>
                    <a:pt x="983" y="370"/>
                  </a:lnTo>
                  <a:lnTo>
                    <a:pt x="985" y="375"/>
                  </a:lnTo>
                  <a:lnTo>
                    <a:pt x="983" y="382"/>
                  </a:lnTo>
                  <a:lnTo>
                    <a:pt x="978" y="389"/>
                  </a:lnTo>
                  <a:lnTo>
                    <a:pt x="977" y="397"/>
                  </a:lnTo>
                  <a:lnTo>
                    <a:pt x="978" y="402"/>
                  </a:lnTo>
                  <a:lnTo>
                    <a:pt x="975" y="400"/>
                  </a:lnTo>
                  <a:lnTo>
                    <a:pt x="975" y="400"/>
                  </a:lnTo>
                  <a:close/>
                  <a:moveTo>
                    <a:pt x="935" y="336"/>
                  </a:moveTo>
                  <a:lnTo>
                    <a:pt x="939" y="342"/>
                  </a:lnTo>
                  <a:lnTo>
                    <a:pt x="942" y="346"/>
                  </a:lnTo>
                  <a:lnTo>
                    <a:pt x="944" y="342"/>
                  </a:lnTo>
                  <a:lnTo>
                    <a:pt x="940" y="339"/>
                  </a:lnTo>
                  <a:lnTo>
                    <a:pt x="942" y="337"/>
                  </a:lnTo>
                  <a:lnTo>
                    <a:pt x="939" y="336"/>
                  </a:lnTo>
                  <a:lnTo>
                    <a:pt x="935" y="336"/>
                  </a:lnTo>
                  <a:lnTo>
                    <a:pt x="935" y="336"/>
                  </a:lnTo>
                  <a:lnTo>
                    <a:pt x="935" y="336"/>
                  </a:lnTo>
                  <a:close/>
                  <a:moveTo>
                    <a:pt x="929" y="306"/>
                  </a:moveTo>
                  <a:lnTo>
                    <a:pt x="929" y="302"/>
                  </a:lnTo>
                  <a:lnTo>
                    <a:pt x="927" y="304"/>
                  </a:lnTo>
                  <a:lnTo>
                    <a:pt x="929" y="306"/>
                  </a:lnTo>
                  <a:lnTo>
                    <a:pt x="929" y="306"/>
                  </a:lnTo>
                  <a:close/>
                  <a:moveTo>
                    <a:pt x="837" y="208"/>
                  </a:moveTo>
                  <a:lnTo>
                    <a:pt x="839" y="204"/>
                  </a:lnTo>
                  <a:lnTo>
                    <a:pt x="834" y="201"/>
                  </a:lnTo>
                  <a:lnTo>
                    <a:pt x="839" y="199"/>
                  </a:lnTo>
                  <a:lnTo>
                    <a:pt x="841" y="199"/>
                  </a:lnTo>
                  <a:lnTo>
                    <a:pt x="841" y="206"/>
                  </a:lnTo>
                  <a:lnTo>
                    <a:pt x="839" y="211"/>
                  </a:lnTo>
                  <a:lnTo>
                    <a:pt x="837" y="208"/>
                  </a:lnTo>
                  <a:lnTo>
                    <a:pt x="837" y="208"/>
                  </a:lnTo>
                  <a:close/>
                  <a:moveTo>
                    <a:pt x="758" y="0"/>
                  </a:moveTo>
                  <a:lnTo>
                    <a:pt x="759" y="3"/>
                  </a:lnTo>
                  <a:lnTo>
                    <a:pt x="761" y="0"/>
                  </a:lnTo>
                  <a:lnTo>
                    <a:pt x="758" y="0"/>
                  </a:lnTo>
                  <a:lnTo>
                    <a:pt x="758" y="0"/>
                  </a:lnTo>
                  <a:close/>
                  <a:moveTo>
                    <a:pt x="754" y="12"/>
                  </a:moveTo>
                  <a:lnTo>
                    <a:pt x="754" y="17"/>
                  </a:lnTo>
                  <a:lnTo>
                    <a:pt x="756" y="15"/>
                  </a:lnTo>
                  <a:lnTo>
                    <a:pt x="759" y="15"/>
                  </a:lnTo>
                  <a:lnTo>
                    <a:pt x="758" y="12"/>
                  </a:lnTo>
                  <a:lnTo>
                    <a:pt x="754" y="12"/>
                  </a:lnTo>
                  <a:lnTo>
                    <a:pt x="754" y="12"/>
                  </a:lnTo>
                  <a:close/>
                  <a:moveTo>
                    <a:pt x="676" y="170"/>
                  </a:moveTo>
                  <a:lnTo>
                    <a:pt x="678" y="171"/>
                  </a:lnTo>
                  <a:lnTo>
                    <a:pt x="679" y="170"/>
                  </a:lnTo>
                  <a:lnTo>
                    <a:pt x="679" y="168"/>
                  </a:lnTo>
                  <a:lnTo>
                    <a:pt x="676" y="170"/>
                  </a:lnTo>
                  <a:lnTo>
                    <a:pt x="676" y="170"/>
                  </a:lnTo>
                  <a:close/>
                  <a:moveTo>
                    <a:pt x="670" y="160"/>
                  </a:moveTo>
                  <a:lnTo>
                    <a:pt x="673" y="161"/>
                  </a:lnTo>
                  <a:lnTo>
                    <a:pt x="675" y="161"/>
                  </a:lnTo>
                  <a:lnTo>
                    <a:pt x="678" y="158"/>
                  </a:lnTo>
                  <a:lnTo>
                    <a:pt x="683" y="156"/>
                  </a:lnTo>
                  <a:lnTo>
                    <a:pt x="683" y="155"/>
                  </a:lnTo>
                  <a:lnTo>
                    <a:pt x="678" y="155"/>
                  </a:lnTo>
                  <a:lnTo>
                    <a:pt x="671" y="156"/>
                  </a:lnTo>
                  <a:lnTo>
                    <a:pt x="671" y="156"/>
                  </a:lnTo>
                  <a:lnTo>
                    <a:pt x="670" y="160"/>
                  </a:lnTo>
                  <a:lnTo>
                    <a:pt x="670" y="160"/>
                  </a:lnTo>
                  <a:close/>
                  <a:moveTo>
                    <a:pt x="621" y="138"/>
                  </a:moveTo>
                  <a:lnTo>
                    <a:pt x="620" y="136"/>
                  </a:lnTo>
                  <a:lnTo>
                    <a:pt x="620" y="133"/>
                  </a:lnTo>
                  <a:lnTo>
                    <a:pt x="623" y="136"/>
                  </a:lnTo>
                  <a:lnTo>
                    <a:pt x="621" y="138"/>
                  </a:lnTo>
                  <a:lnTo>
                    <a:pt x="621" y="138"/>
                  </a:lnTo>
                  <a:close/>
                  <a:moveTo>
                    <a:pt x="605" y="91"/>
                  </a:moveTo>
                  <a:lnTo>
                    <a:pt x="605" y="90"/>
                  </a:lnTo>
                  <a:lnTo>
                    <a:pt x="603" y="90"/>
                  </a:lnTo>
                  <a:lnTo>
                    <a:pt x="603" y="88"/>
                  </a:lnTo>
                  <a:lnTo>
                    <a:pt x="605" y="86"/>
                  </a:lnTo>
                  <a:lnTo>
                    <a:pt x="608" y="88"/>
                  </a:lnTo>
                  <a:lnTo>
                    <a:pt x="605" y="91"/>
                  </a:lnTo>
                  <a:lnTo>
                    <a:pt x="605" y="91"/>
                  </a:lnTo>
                  <a:close/>
                  <a:moveTo>
                    <a:pt x="611" y="96"/>
                  </a:moveTo>
                  <a:lnTo>
                    <a:pt x="608" y="98"/>
                  </a:lnTo>
                  <a:lnTo>
                    <a:pt x="610" y="100"/>
                  </a:lnTo>
                  <a:lnTo>
                    <a:pt x="615" y="98"/>
                  </a:lnTo>
                  <a:lnTo>
                    <a:pt x="621" y="98"/>
                  </a:lnTo>
                  <a:lnTo>
                    <a:pt x="621" y="95"/>
                  </a:lnTo>
                  <a:lnTo>
                    <a:pt x="620" y="95"/>
                  </a:lnTo>
                  <a:lnTo>
                    <a:pt x="618" y="95"/>
                  </a:lnTo>
                  <a:lnTo>
                    <a:pt x="618" y="93"/>
                  </a:lnTo>
                  <a:lnTo>
                    <a:pt x="621" y="90"/>
                  </a:lnTo>
                  <a:lnTo>
                    <a:pt x="621" y="90"/>
                  </a:lnTo>
                  <a:lnTo>
                    <a:pt x="616" y="90"/>
                  </a:lnTo>
                  <a:lnTo>
                    <a:pt x="616" y="86"/>
                  </a:lnTo>
                  <a:lnTo>
                    <a:pt x="613" y="88"/>
                  </a:lnTo>
                  <a:lnTo>
                    <a:pt x="613" y="90"/>
                  </a:lnTo>
                  <a:lnTo>
                    <a:pt x="610" y="90"/>
                  </a:lnTo>
                  <a:lnTo>
                    <a:pt x="610" y="91"/>
                  </a:lnTo>
                  <a:lnTo>
                    <a:pt x="610" y="91"/>
                  </a:lnTo>
                  <a:lnTo>
                    <a:pt x="611" y="96"/>
                  </a:lnTo>
                  <a:lnTo>
                    <a:pt x="611" y="96"/>
                  </a:lnTo>
                  <a:close/>
                  <a:moveTo>
                    <a:pt x="615" y="30"/>
                  </a:moveTo>
                  <a:lnTo>
                    <a:pt x="618" y="32"/>
                  </a:lnTo>
                  <a:lnTo>
                    <a:pt x="618" y="28"/>
                  </a:lnTo>
                  <a:lnTo>
                    <a:pt x="623" y="25"/>
                  </a:lnTo>
                  <a:lnTo>
                    <a:pt x="621" y="22"/>
                  </a:lnTo>
                  <a:lnTo>
                    <a:pt x="616" y="27"/>
                  </a:lnTo>
                  <a:lnTo>
                    <a:pt x="615" y="30"/>
                  </a:lnTo>
                  <a:lnTo>
                    <a:pt x="615" y="30"/>
                  </a:lnTo>
                  <a:close/>
                  <a:moveTo>
                    <a:pt x="610" y="33"/>
                  </a:moveTo>
                  <a:lnTo>
                    <a:pt x="611" y="35"/>
                  </a:lnTo>
                  <a:lnTo>
                    <a:pt x="611" y="32"/>
                  </a:lnTo>
                  <a:lnTo>
                    <a:pt x="610" y="33"/>
                  </a:lnTo>
                  <a:lnTo>
                    <a:pt x="610" y="33"/>
                  </a:lnTo>
                  <a:close/>
                  <a:moveTo>
                    <a:pt x="605" y="35"/>
                  </a:moveTo>
                  <a:lnTo>
                    <a:pt x="606" y="37"/>
                  </a:lnTo>
                  <a:lnTo>
                    <a:pt x="608" y="35"/>
                  </a:lnTo>
                  <a:lnTo>
                    <a:pt x="605" y="35"/>
                  </a:lnTo>
                  <a:lnTo>
                    <a:pt x="605" y="35"/>
                  </a:lnTo>
                  <a:close/>
                  <a:moveTo>
                    <a:pt x="596" y="38"/>
                  </a:moveTo>
                  <a:lnTo>
                    <a:pt x="600" y="40"/>
                  </a:lnTo>
                  <a:lnTo>
                    <a:pt x="600" y="37"/>
                  </a:lnTo>
                  <a:lnTo>
                    <a:pt x="596" y="38"/>
                  </a:lnTo>
                  <a:lnTo>
                    <a:pt x="596" y="38"/>
                  </a:lnTo>
                  <a:close/>
                  <a:moveTo>
                    <a:pt x="591" y="45"/>
                  </a:moveTo>
                  <a:lnTo>
                    <a:pt x="590" y="43"/>
                  </a:lnTo>
                  <a:lnTo>
                    <a:pt x="595" y="40"/>
                  </a:lnTo>
                  <a:lnTo>
                    <a:pt x="598" y="40"/>
                  </a:lnTo>
                  <a:lnTo>
                    <a:pt x="598" y="43"/>
                  </a:lnTo>
                  <a:lnTo>
                    <a:pt x="593" y="43"/>
                  </a:lnTo>
                  <a:lnTo>
                    <a:pt x="591" y="45"/>
                  </a:lnTo>
                  <a:lnTo>
                    <a:pt x="591" y="45"/>
                  </a:lnTo>
                  <a:close/>
                  <a:moveTo>
                    <a:pt x="583" y="47"/>
                  </a:moveTo>
                  <a:lnTo>
                    <a:pt x="585" y="48"/>
                  </a:lnTo>
                  <a:lnTo>
                    <a:pt x="590" y="47"/>
                  </a:lnTo>
                  <a:lnTo>
                    <a:pt x="588" y="45"/>
                  </a:lnTo>
                  <a:lnTo>
                    <a:pt x="583" y="47"/>
                  </a:lnTo>
                  <a:lnTo>
                    <a:pt x="583" y="47"/>
                  </a:lnTo>
                  <a:close/>
                  <a:moveTo>
                    <a:pt x="522" y="30"/>
                  </a:moveTo>
                  <a:lnTo>
                    <a:pt x="518" y="25"/>
                  </a:lnTo>
                  <a:lnTo>
                    <a:pt x="520" y="22"/>
                  </a:lnTo>
                  <a:lnTo>
                    <a:pt x="523" y="22"/>
                  </a:lnTo>
                  <a:lnTo>
                    <a:pt x="522" y="25"/>
                  </a:lnTo>
                  <a:lnTo>
                    <a:pt x="522" y="30"/>
                  </a:lnTo>
                  <a:lnTo>
                    <a:pt x="522" y="30"/>
                  </a:lnTo>
                  <a:close/>
                  <a:moveTo>
                    <a:pt x="469" y="27"/>
                  </a:moveTo>
                  <a:lnTo>
                    <a:pt x="469" y="32"/>
                  </a:lnTo>
                  <a:lnTo>
                    <a:pt x="472" y="37"/>
                  </a:lnTo>
                  <a:lnTo>
                    <a:pt x="475" y="40"/>
                  </a:lnTo>
                  <a:lnTo>
                    <a:pt x="482" y="43"/>
                  </a:lnTo>
                  <a:lnTo>
                    <a:pt x="490" y="35"/>
                  </a:lnTo>
                  <a:lnTo>
                    <a:pt x="493" y="35"/>
                  </a:lnTo>
                  <a:lnTo>
                    <a:pt x="493" y="33"/>
                  </a:lnTo>
                  <a:lnTo>
                    <a:pt x="495" y="32"/>
                  </a:lnTo>
                  <a:lnTo>
                    <a:pt x="493" y="30"/>
                  </a:lnTo>
                  <a:lnTo>
                    <a:pt x="492" y="27"/>
                  </a:lnTo>
                  <a:lnTo>
                    <a:pt x="490" y="27"/>
                  </a:lnTo>
                  <a:lnTo>
                    <a:pt x="487" y="28"/>
                  </a:lnTo>
                  <a:lnTo>
                    <a:pt x="480" y="28"/>
                  </a:lnTo>
                  <a:lnTo>
                    <a:pt x="479" y="32"/>
                  </a:lnTo>
                  <a:lnTo>
                    <a:pt x="475" y="30"/>
                  </a:lnTo>
                  <a:lnTo>
                    <a:pt x="474" y="28"/>
                  </a:lnTo>
                  <a:lnTo>
                    <a:pt x="472" y="28"/>
                  </a:lnTo>
                  <a:lnTo>
                    <a:pt x="469" y="25"/>
                  </a:lnTo>
                  <a:lnTo>
                    <a:pt x="467" y="25"/>
                  </a:lnTo>
                  <a:lnTo>
                    <a:pt x="469" y="27"/>
                  </a:lnTo>
                  <a:lnTo>
                    <a:pt x="469" y="27"/>
                  </a:lnTo>
                  <a:close/>
                  <a:moveTo>
                    <a:pt x="465" y="28"/>
                  </a:moveTo>
                  <a:lnTo>
                    <a:pt x="469" y="37"/>
                  </a:lnTo>
                  <a:lnTo>
                    <a:pt x="472" y="37"/>
                  </a:lnTo>
                  <a:lnTo>
                    <a:pt x="474" y="38"/>
                  </a:lnTo>
                  <a:lnTo>
                    <a:pt x="467" y="38"/>
                  </a:lnTo>
                  <a:lnTo>
                    <a:pt x="465" y="38"/>
                  </a:lnTo>
                  <a:lnTo>
                    <a:pt x="460" y="37"/>
                  </a:lnTo>
                  <a:lnTo>
                    <a:pt x="460" y="33"/>
                  </a:lnTo>
                  <a:lnTo>
                    <a:pt x="462" y="33"/>
                  </a:lnTo>
                  <a:lnTo>
                    <a:pt x="464" y="35"/>
                  </a:lnTo>
                  <a:lnTo>
                    <a:pt x="464" y="33"/>
                  </a:lnTo>
                  <a:lnTo>
                    <a:pt x="464" y="33"/>
                  </a:lnTo>
                  <a:lnTo>
                    <a:pt x="464" y="30"/>
                  </a:lnTo>
                  <a:lnTo>
                    <a:pt x="462" y="30"/>
                  </a:lnTo>
                  <a:lnTo>
                    <a:pt x="465" y="28"/>
                  </a:lnTo>
                  <a:lnTo>
                    <a:pt x="465" y="28"/>
                  </a:lnTo>
                  <a:close/>
                  <a:moveTo>
                    <a:pt x="311" y="123"/>
                  </a:moveTo>
                  <a:lnTo>
                    <a:pt x="312" y="125"/>
                  </a:lnTo>
                  <a:lnTo>
                    <a:pt x="317" y="125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1" y="123"/>
                  </a:lnTo>
                  <a:lnTo>
                    <a:pt x="311" y="123"/>
                  </a:lnTo>
                  <a:close/>
                  <a:moveTo>
                    <a:pt x="312" y="138"/>
                  </a:moveTo>
                  <a:lnTo>
                    <a:pt x="312" y="133"/>
                  </a:lnTo>
                  <a:lnTo>
                    <a:pt x="309" y="130"/>
                  </a:lnTo>
                  <a:lnTo>
                    <a:pt x="311" y="136"/>
                  </a:lnTo>
                  <a:lnTo>
                    <a:pt x="312" y="138"/>
                  </a:lnTo>
                  <a:lnTo>
                    <a:pt x="312" y="138"/>
                  </a:lnTo>
                  <a:close/>
                  <a:moveTo>
                    <a:pt x="332" y="105"/>
                  </a:moveTo>
                  <a:lnTo>
                    <a:pt x="331" y="105"/>
                  </a:lnTo>
                  <a:lnTo>
                    <a:pt x="331" y="103"/>
                  </a:lnTo>
                  <a:lnTo>
                    <a:pt x="334" y="103"/>
                  </a:lnTo>
                  <a:lnTo>
                    <a:pt x="332" y="105"/>
                  </a:lnTo>
                  <a:lnTo>
                    <a:pt x="332" y="105"/>
                  </a:lnTo>
                  <a:close/>
                  <a:moveTo>
                    <a:pt x="77" y="256"/>
                  </a:moveTo>
                  <a:lnTo>
                    <a:pt x="75" y="254"/>
                  </a:lnTo>
                  <a:lnTo>
                    <a:pt x="80" y="248"/>
                  </a:lnTo>
                  <a:lnTo>
                    <a:pt x="78" y="253"/>
                  </a:lnTo>
                  <a:lnTo>
                    <a:pt x="77" y="256"/>
                  </a:lnTo>
                  <a:lnTo>
                    <a:pt x="77" y="256"/>
                  </a:lnTo>
                  <a:close/>
                  <a:moveTo>
                    <a:pt x="3" y="369"/>
                  </a:moveTo>
                  <a:lnTo>
                    <a:pt x="5" y="361"/>
                  </a:lnTo>
                  <a:lnTo>
                    <a:pt x="7" y="366"/>
                  </a:lnTo>
                  <a:lnTo>
                    <a:pt x="7" y="366"/>
                  </a:lnTo>
                  <a:lnTo>
                    <a:pt x="3" y="369"/>
                  </a:lnTo>
                  <a:lnTo>
                    <a:pt x="3" y="369"/>
                  </a:lnTo>
                  <a:close/>
                  <a:moveTo>
                    <a:pt x="3" y="387"/>
                  </a:moveTo>
                  <a:lnTo>
                    <a:pt x="0" y="377"/>
                  </a:lnTo>
                  <a:lnTo>
                    <a:pt x="3" y="372"/>
                  </a:lnTo>
                  <a:lnTo>
                    <a:pt x="5" y="380"/>
                  </a:lnTo>
                  <a:lnTo>
                    <a:pt x="3" y="387"/>
                  </a:lnTo>
                  <a:lnTo>
                    <a:pt x="3" y="387"/>
                  </a:lnTo>
                  <a:close/>
                  <a:moveTo>
                    <a:pt x="540" y="671"/>
                  </a:moveTo>
                  <a:lnTo>
                    <a:pt x="540" y="674"/>
                  </a:lnTo>
                  <a:lnTo>
                    <a:pt x="540" y="676"/>
                  </a:lnTo>
                  <a:lnTo>
                    <a:pt x="543" y="676"/>
                  </a:lnTo>
                  <a:lnTo>
                    <a:pt x="542" y="678"/>
                  </a:lnTo>
                  <a:lnTo>
                    <a:pt x="547" y="678"/>
                  </a:lnTo>
                  <a:lnTo>
                    <a:pt x="548" y="676"/>
                  </a:lnTo>
                  <a:lnTo>
                    <a:pt x="552" y="678"/>
                  </a:lnTo>
                  <a:lnTo>
                    <a:pt x="548" y="681"/>
                  </a:lnTo>
                  <a:lnTo>
                    <a:pt x="540" y="679"/>
                  </a:lnTo>
                  <a:lnTo>
                    <a:pt x="538" y="681"/>
                  </a:lnTo>
                  <a:lnTo>
                    <a:pt x="537" y="683"/>
                  </a:lnTo>
                  <a:lnTo>
                    <a:pt x="535" y="683"/>
                  </a:lnTo>
                  <a:lnTo>
                    <a:pt x="533" y="683"/>
                  </a:lnTo>
                  <a:lnTo>
                    <a:pt x="532" y="681"/>
                  </a:lnTo>
                  <a:lnTo>
                    <a:pt x="528" y="683"/>
                  </a:lnTo>
                  <a:lnTo>
                    <a:pt x="523" y="681"/>
                  </a:lnTo>
                  <a:lnTo>
                    <a:pt x="522" y="681"/>
                  </a:lnTo>
                  <a:lnTo>
                    <a:pt x="517" y="681"/>
                  </a:lnTo>
                  <a:lnTo>
                    <a:pt x="513" y="679"/>
                  </a:lnTo>
                  <a:lnTo>
                    <a:pt x="513" y="678"/>
                  </a:lnTo>
                  <a:lnTo>
                    <a:pt x="520" y="674"/>
                  </a:lnTo>
                  <a:lnTo>
                    <a:pt x="532" y="671"/>
                  </a:lnTo>
                  <a:lnTo>
                    <a:pt x="537" y="671"/>
                  </a:lnTo>
                  <a:lnTo>
                    <a:pt x="540" y="671"/>
                  </a:lnTo>
                  <a:lnTo>
                    <a:pt x="540" y="671"/>
                  </a:lnTo>
                  <a:close/>
                  <a:moveTo>
                    <a:pt x="698" y="774"/>
                  </a:moveTo>
                  <a:lnTo>
                    <a:pt x="701" y="774"/>
                  </a:lnTo>
                  <a:lnTo>
                    <a:pt x="703" y="776"/>
                  </a:lnTo>
                  <a:lnTo>
                    <a:pt x="701" y="777"/>
                  </a:lnTo>
                  <a:lnTo>
                    <a:pt x="698" y="774"/>
                  </a:lnTo>
                  <a:lnTo>
                    <a:pt x="698" y="774"/>
                  </a:lnTo>
                  <a:close/>
                  <a:moveTo>
                    <a:pt x="723" y="789"/>
                  </a:moveTo>
                  <a:lnTo>
                    <a:pt x="726" y="791"/>
                  </a:lnTo>
                  <a:lnTo>
                    <a:pt x="728" y="789"/>
                  </a:lnTo>
                  <a:lnTo>
                    <a:pt x="723" y="789"/>
                  </a:lnTo>
                  <a:lnTo>
                    <a:pt x="723" y="789"/>
                  </a:lnTo>
                  <a:close/>
                  <a:moveTo>
                    <a:pt x="665" y="847"/>
                  </a:moveTo>
                  <a:lnTo>
                    <a:pt x="666" y="851"/>
                  </a:lnTo>
                  <a:lnTo>
                    <a:pt x="670" y="852"/>
                  </a:lnTo>
                  <a:lnTo>
                    <a:pt x="671" y="849"/>
                  </a:lnTo>
                  <a:lnTo>
                    <a:pt x="668" y="847"/>
                  </a:lnTo>
                  <a:lnTo>
                    <a:pt x="665" y="847"/>
                  </a:lnTo>
                  <a:lnTo>
                    <a:pt x="665" y="847"/>
                  </a:lnTo>
                  <a:close/>
                  <a:moveTo>
                    <a:pt x="666" y="839"/>
                  </a:moveTo>
                  <a:lnTo>
                    <a:pt x="668" y="842"/>
                  </a:lnTo>
                  <a:lnTo>
                    <a:pt x="670" y="842"/>
                  </a:lnTo>
                  <a:lnTo>
                    <a:pt x="670" y="839"/>
                  </a:lnTo>
                  <a:lnTo>
                    <a:pt x="666" y="839"/>
                  </a:lnTo>
                  <a:lnTo>
                    <a:pt x="666" y="839"/>
                  </a:lnTo>
                  <a:close/>
                  <a:moveTo>
                    <a:pt x="663" y="844"/>
                  </a:moveTo>
                  <a:lnTo>
                    <a:pt x="660" y="842"/>
                  </a:lnTo>
                  <a:lnTo>
                    <a:pt x="661" y="839"/>
                  </a:lnTo>
                  <a:lnTo>
                    <a:pt x="665" y="837"/>
                  </a:lnTo>
                  <a:lnTo>
                    <a:pt x="665" y="842"/>
                  </a:lnTo>
                  <a:lnTo>
                    <a:pt x="663" y="844"/>
                  </a:lnTo>
                  <a:lnTo>
                    <a:pt x="663" y="844"/>
                  </a:lnTo>
                  <a:close/>
                  <a:moveTo>
                    <a:pt x="648" y="829"/>
                  </a:moveTo>
                  <a:lnTo>
                    <a:pt x="648" y="826"/>
                  </a:lnTo>
                  <a:lnTo>
                    <a:pt x="646" y="822"/>
                  </a:lnTo>
                  <a:lnTo>
                    <a:pt x="650" y="817"/>
                  </a:lnTo>
                  <a:lnTo>
                    <a:pt x="650" y="814"/>
                  </a:lnTo>
                  <a:lnTo>
                    <a:pt x="653" y="811"/>
                  </a:lnTo>
                  <a:lnTo>
                    <a:pt x="656" y="809"/>
                  </a:lnTo>
                  <a:lnTo>
                    <a:pt x="658" y="811"/>
                  </a:lnTo>
                  <a:lnTo>
                    <a:pt x="658" y="817"/>
                  </a:lnTo>
                  <a:lnTo>
                    <a:pt x="660" y="821"/>
                  </a:lnTo>
                  <a:lnTo>
                    <a:pt x="656" y="826"/>
                  </a:lnTo>
                  <a:lnTo>
                    <a:pt x="655" y="827"/>
                  </a:lnTo>
                  <a:lnTo>
                    <a:pt x="651" y="831"/>
                  </a:lnTo>
                  <a:lnTo>
                    <a:pt x="648" y="829"/>
                  </a:lnTo>
                  <a:lnTo>
                    <a:pt x="648" y="829"/>
                  </a:lnTo>
                  <a:close/>
                  <a:moveTo>
                    <a:pt x="744" y="839"/>
                  </a:moveTo>
                  <a:lnTo>
                    <a:pt x="753" y="836"/>
                  </a:lnTo>
                  <a:lnTo>
                    <a:pt x="753" y="832"/>
                  </a:lnTo>
                  <a:lnTo>
                    <a:pt x="744" y="826"/>
                  </a:lnTo>
                  <a:lnTo>
                    <a:pt x="741" y="826"/>
                  </a:lnTo>
                  <a:lnTo>
                    <a:pt x="743" y="831"/>
                  </a:lnTo>
                  <a:lnTo>
                    <a:pt x="741" y="834"/>
                  </a:lnTo>
                  <a:lnTo>
                    <a:pt x="743" y="836"/>
                  </a:lnTo>
                  <a:lnTo>
                    <a:pt x="744" y="839"/>
                  </a:lnTo>
                  <a:lnTo>
                    <a:pt x="744" y="839"/>
                  </a:lnTo>
                  <a:close/>
                  <a:moveTo>
                    <a:pt x="739" y="844"/>
                  </a:moveTo>
                  <a:lnTo>
                    <a:pt x="741" y="847"/>
                  </a:lnTo>
                  <a:lnTo>
                    <a:pt x="748" y="847"/>
                  </a:lnTo>
                  <a:lnTo>
                    <a:pt x="753" y="849"/>
                  </a:lnTo>
                  <a:lnTo>
                    <a:pt x="753" y="846"/>
                  </a:lnTo>
                  <a:lnTo>
                    <a:pt x="748" y="842"/>
                  </a:lnTo>
                  <a:lnTo>
                    <a:pt x="743" y="842"/>
                  </a:lnTo>
                  <a:lnTo>
                    <a:pt x="739" y="844"/>
                  </a:lnTo>
                  <a:lnTo>
                    <a:pt x="739" y="844"/>
                  </a:lnTo>
                  <a:close/>
                  <a:moveTo>
                    <a:pt x="744" y="856"/>
                  </a:moveTo>
                  <a:lnTo>
                    <a:pt x="741" y="852"/>
                  </a:lnTo>
                  <a:lnTo>
                    <a:pt x="744" y="851"/>
                  </a:lnTo>
                  <a:lnTo>
                    <a:pt x="744" y="856"/>
                  </a:lnTo>
                  <a:lnTo>
                    <a:pt x="744" y="856"/>
                  </a:lnTo>
                  <a:close/>
                  <a:moveTo>
                    <a:pt x="718" y="925"/>
                  </a:moveTo>
                  <a:lnTo>
                    <a:pt x="718" y="922"/>
                  </a:lnTo>
                  <a:lnTo>
                    <a:pt x="721" y="924"/>
                  </a:lnTo>
                  <a:lnTo>
                    <a:pt x="718" y="925"/>
                  </a:lnTo>
                  <a:lnTo>
                    <a:pt x="718" y="925"/>
                  </a:lnTo>
                  <a:close/>
                  <a:moveTo>
                    <a:pt x="689" y="952"/>
                  </a:moveTo>
                  <a:lnTo>
                    <a:pt x="686" y="950"/>
                  </a:lnTo>
                  <a:lnTo>
                    <a:pt x="691" y="945"/>
                  </a:lnTo>
                  <a:lnTo>
                    <a:pt x="691" y="940"/>
                  </a:lnTo>
                  <a:lnTo>
                    <a:pt x="693" y="940"/>
                  </a:lnTo>
                  <a:lnTo>
                    <a:pt x="694" y="942"/>
                  </a:lnTo>
                  <a:lnTo>
                    <a:pt x="691" y="945"/>
                  </a:lnTo>
                  <a:lnTo>
                    <a:pt x="689" y="952"/>
                  </a:lnTo>
                  <a:lnTo>
                    <a:pt x="689" y="952"/>
                  </a:lnTo>
                  <a:close/>
                  <a:moveTo>
                    <a:pt x="658" y="949"/>
                  </a:moveTo>
                  <a:lnTo>
                    <a:pt x="658" y="944"/>
                  </a:lnTo>
                  <a:lnTo>
                    <a:pt x="661" y="942"/>
                  </a:lnTo>
                  <a:lnTo>
                    <a:pt x="656" y="940"/>
                  </a:lnTo>
                  <a:lnTo>
                    <a:pt x="655" y="935"/>
                  </a:lnTo>
                  <a:lnTo>
                    <a:pt x="656" y="932"/>
                  </a:lnTo>
                  <a:lnTo>
                    <a:pt x="655" y="930"/>
                  </a:lnTo>
                  <a:lnTo>
                    <a:pt x="653" y="919"/>
                  </a:lnTo>
                  <a:lnTo>
                    <a:pt x="655" y="917"/>
                  </a:lnTo>
                  <a:lnTo>
                    <a:pt x="651" y="914"/>
                  </a:lnTo>
                  <a:lnTo>
                    <a:pt x="651" y="905"/>
                  </a:lnTo>
                  <a:lnTo>
                    <a:pt x="653" y="902"/>
                  </a:lnTo>
                  <a:lnTo>
                    <a:pt x="658" y="905"/>
                  </a:lnTo>
                  <a:lnTo>
                    <a:pt x="663" y="907"/>
                  </a:lnTo>
                  <a:lnTo>
                    <a:pt x="658" y="902"/>
                  </a:lnTo>
                  <a:lnTo>
                    <a:pt x="658" y="899"/>
                  </a:lnTo>
                  <a:lnTo>
                    <a:pt x="656" y="899"/>
                  </a:lnTo>
                  <a:lnTo>
                    <a:pt x="656" y="892"/>
                  </a:lnTo>
                  <a:lnTo>
                    <a:pt x="656" y="884"/>
                  </a:lnTo>
                  <a:lnTo>
                    <a:pt x="655" y="875"/>
                  </a:lnTo>
                  <a:lnTo>
                    <a:pt x="656" y="869"/>
                  </a:lnTo>
                  <a:lnTo>
                    <a:pt x="655" y="860"/>
                  </a:lnTo>
                  <a:lnTo>
                    <a:pt x="655" y="856"/>
                  </a:lnTo>
                  <a:lnTo>
                    <a:pt x="656" y="856"/>
                  </a:lnTo>
                  <a:lnTo>
                    <a:pt x="656" y="851"/>
                  </a:lnTo>
                  <a:lnTo>
                    <a:pt x="658" y="847"/>
                  </a:lnTo>
                  <a:lnTo>
                    <a:pt x="663" y="851"/>
                  </a:lnTo>
                  <a:lnTo>
                    <a:pt x="668" y="852"/>
                  </a:lnTo>
                  <a:lnTo>
                    <a:pt x="671" y="856"/>
                  </a:lnTo>
                  <a:lnTo>
                    <a:pt x="673" y="854"/>
                  </a:lnTo>
                  <a:lnTo>
                    <a:pt x="675" y="851"/>
                  </a:lnTo>
                  <a:lnTo>
                    <a:pt x="675" y="857"/>
                  </a:lnTo>
                  <a:lnTo>
                    <a:pt x="683" y="862"/>
                  </a:lnTo>
                  <a:lnTo>
                    <a:pt x="689" y="867"/>
                  </a:lnTo>
                  <a:lnTo>
                    <a:pt x="693" y="870"/>
                  </a:lnTo>
                  <a:lnTo>
                    <a:pt x="696" y="869"/>
                  </a:lnTo>
                  <a:lnTo>
                    <a:pt x="701" y="867"/>
                  </a:lnTo>
                  <a:lnTo>
                    <a:pt x="704" y="870"/>
                  </a:lnTo>
                  <a:lnTo>
                    <a:pt x="704" y="867"/>
                  </a:lnTo>
                  <a:lnTo>
                    <a:pt x="708" y="865"/>
                  </a:lnTo>
                  <a:lnTo>
                    <a:pt x="723" y="865"/>
                  </a:lnTo>
                  <a:lnTo>
                    <a:pt x="724" y="864"/>
                  </a:lnTo>
                  <a:lnTo>
                    <a:pt x="728" y="862"/>
                  </a:lnTo>
                  <a:lnTo>
                    <a:pt x="731" y="862"/>
                  </a:lnTo>
                  <a:lnTo>
                    <a:pt x="733" y="864"/>
                  </a:lnTo>
                  <a:lnTo>
                    <a:pt x="736" y="859"/>
                  </a:lnTo>
                  <a:lnTo>
                    <a:pt x="738" y="859"/>
                  </a:lnTo>
                  <a:lnTo>
                    <a:pt x="743" y="862"/>
                  </a:lnTo>
                  <a:lnTo>
                    <a:pt x="741" y="867"/>
                  </a:lnTo>
                  <a:lnTo>
                    <a:pt x="739" y="879"/>
                  </a:lnTo>
                  <a:lnTo>
                    <a:pt x="734" y="882"/>
                  </a:lnTo>
                  <a:lnTo>
                    <a:pt x="734" y="890"/>
                  </a:lnTo>
                  <a:lnTo>
                    <a:pt x="731" y="895"/>
                  </a:lnTo>
                  <a:lnTo>
                    <a:pt x="733" y="900"/>
                  </a:lnTo>
                  <a:lnTo>
                    <a:pt x="731" y="902"/>
                  </a:lnTo>
                  <a:lnTo>
                    <a:pt x="731" y="907"/>
                  </a:lnTo>
                  <a:lnTo>
                    <a:pt x="729" y="912"/>
                  </a:lnTo>
                  <a:lnTo>
                    <a:pt x="728" y="909"/>
                  </a:lnTo>
                  <a:lnTo>
                    <a:pt x="726" y="902"/>
                  </a:lnTo>
                  <a:lnTo>
                    <a:pt x="724" y="907"/>
                  </a:lnTo>
                  <a:lnTo>
                    <a:pt x="721" y="909"/>
                  </a:lnTo>
                  <a:lnTo>
                    <a:pt x="721" y="917"/>
                  </a:lnTo>
                  <a:lnTo>
                    <a:pt x="718" y="920"/>
                  </a:lnTo>
                  <a:lnTo>
                    <a:pt x="714" y="920"/>
                  </a:lnTo>
                  <a:lnTo>
                    <a:pt x="714" y="925"/>
                  </a:lnTo>
                  <a:lnTo>
                    <a:pt x="711" y="929"/>
                  </a:lnTo>
                  <a:lnTo>
                    <a:pt x="714" y="930"/>
                  </a:lnTo>
                  <a:lnTo>
                    <a:pt x="714" y="934"/>
                  </a:lnTo>
                  <a:lnTo>
                    <a:pt x="709" y="940"/>
                  </a:lnTo>
                  <a:lnTo>
                    <a:pt x="708" y="940"/>
                  </a:lnTo>
                  <a:lnTo>
                    <a:pt x="703" y="942"/>
                  </a:lnTo>
                  <a:lnTo>
                    <a:pt x="703" y="935"/>
                  </a:lnTo>
                  <a:lnTo>
                    <a:pt x="708" y="937"/>
                  </a:lnTo>
                  <a:lnTo>
                    <a:pt x="709" y="934"/>
                  </a:lnTo>
                  <a:lnTo>
                    <a:pt x="706" y="932"/>
                  </a:lnTo>
                  <a:lnTo>
                    <a:pt x="701" y="932"/>
                  </a:lnTo>
                  <a:lnTo>
                    <a:pt x="699" y="935"/>
                  </a:lnTo>
                  <a:lnTo>
                    <a:pt x="696" y="935"/>
                  </a:lnTo>
                  <a:lnTo>
                    <a:pt x="696" y="930"/>
                  </a:lnTo>
                  <a:lnTo>
                    <a:pt x="694" y="935"/>
                  </a:lnTo>
                  <a:lnTo>
                    <a:pt x="689" y="939"/>
                  </a:lnTo>
                  <a:lnTo>
                    <a:pt x="689" y="940"/>
                  </a:lnTo>
                  <a:lnTo>
                    <a:pt x="686" y="937"/>
                  </a:lnTo>
                  <a:lnTo>
                    <a:pt x="683" y="945"/>
                  </a:lnTo>
                  <a:lnTo>
                    <a:pt x="683" y="949"/>
                  </a:lnTo>
                  <a:lnTo>
                    <a:pt x="678" y="955"/>
                  </a:lnTo>
                  <a:lnTo>
                    <a:pt x="675" y="955"/>
                  </a:lnTo>
                  <a:lnTo>
                    <a:pt x="671" y="950"/>
                  </a:lnTo>
                  <a:lnTo>
                    <a:pt x="671" y="947"/>
                  </a:lnTo>
                  <a:lnTo>
                    <a:pt x="668" y="952"/>
                  </a:lnTo>
                  <a:lnTo>
                    <a:pt x="665" y="949"/>
                  </a:lnTo>
                  <a:lnTo>
                    <a:pt x="660" y="950"/>
                  </a:lnTo>
                  <a:lnTo>
                    <a:pt x="660" y="950"/>
                  </a:lnTo>
                  <a:lnTo>
                    <a:pt x="658" y="949"/>
                  </a:lnTo>
                  <a:lnTo>
                    <a:pt x="658" y="949"/>
                  </a:lnTo>
                  <a:close/>
                  <a:moveTo>
                    <a:pt x="12" y="606"/>
                  </a:moveTo>
                  <a:lnTo>
                    <a:pt x="15" y="608"/>
                  </a:lnTo>
                  <a:lnTo>
                    <a:pt x="18" y="608"/>
                  </a:lnTo>
                  <a:lnTo>
                    <a:pt x="28" y="618"/>
                  </a:lnTo>
                  <a:lnTo>
                    <a:pt x="28" y="621"/>
                  </a:lnTo>
                  <a:lnTo>
                    <a:pt x="30" y="623"/>
                  </a:lnTo>
                  <a:lnTo>
                    <a:pt x="35" y="625"/>
                  </a:lnTo>
                  <a:lnTo>
                    <a:pt x="38" y="626"/>
                  </a:lnTo>
                  <a:lnTo>
                    <a:pt x="45" y="628"/>
                  </a:lnTo>
                  <a:lnTo>
                    <a:pt x="48" y="628"/>
                  </a:lnTo>
                  <a:lnTo>
                    <a:pt x="50" y="630"/>
                  </a:lnTo>
                  <a:lnTo>
                    <a:pt x="55" y="630"/>
                  </a:lnTo>
                  <a:lnTo>
                    <a:pt x="62" y="628"/>
                  </a:lnTo>
                  <a:lnTo>
                    <a:pt x="63" y="631"/>
                  </a:lnTo>
                  <a:lnTo>
                    <a:pt x="65" y="630"/>
                  </a:lnTo>
                  <a:lnTo>
                    <a:pt x="67" y="631"/>
                  </a:lnTo>
                  <a:lnTo>
                    <a:pt x="73" y="630"/>
                  </a:lnTo>
                  <a:lnTo>
                    <a:pt x="80" y="630"/>
                  </a:lnTo>
                  <a:lnTo>
                    <a:pt x="80" y="626"/>
                  </a:lnTo>
                  <a:lnTo>
                    <a:pt x="85" y="626"/>
                  </a:lnTo>
                  <a:lnTo>
                    <a:pt x="88" y="620"/>
                  </a:lnTo>
                  <a:lnTo>
                    <a:pt x="95" y="621"/>
                  </a:lnTo>
                  <a:lnTo>
                    <a:pt x="95" y="618"/>
                  </a:lnTo>
                  <a:lnTo>
                    <a:pt x="100" y="615"/>
                  </a:lnTo>
                  <a:lnTo>
                    <a:pt x="103" y="615"/>
                  </a:lnTo>
                  <a:lnTo>
                    <a:pt x="108" y="618"/>
                  </a:lnTo>
                  <a:lnTo>
                    <a:pt x="111" y="613"/>
                  </a:lnTo>
                  <a:lnTo>
                    <a:pt x="113" y="615"/>
                  </a:lnTo>
                  <a:lnTo>
                    <a:pt x="115" y="613"/>
                  </a:lnTo>
                  <a:lnTo>
                    <a:pt x="116" y="608"/>
                  </a:lnTo>
                  <a:lnTo>
                    <a:pt x="130" y="601"/>
                  </a:lnTo>
                  <a:lnTo>
                    <a:pt x="135" y="601"/>
                  </a:lnTo>
                  <a:lnTo>
                    <a:pt x="138" y="603"/>
                  </a:lnTo>
                  <a:lnTo>
                    <a:pt x="143" y="601"/>
                  </a:lnTo>
                  <a:lnTo>
                    <a:pt x="156" y="598"/>
                  </a:lnTo>
                  <a:lnTo>
                    <a:pt x="158" y="600"/>
                  </a:lnTo>
                  <a:lnTo>
                    <a:pt x="166" y="598"/>
                  </a:lnTo>
                  <a:lnTo>
                    <a:pt x="168" y="600"/>
                  </a:lnTo>
                  <a:lnTo>
                    <a:pt x="171" y="601"/>
                  </a:lnTo>
                  <a:lnTo>
                    <a:pt x="176" y="600"/>
                  </a:lnTo>
                  <a:lnTo>
                    <a:pt x="178" y="603"/>
                  </a:lnTo>
                  <a:lnTo>
                    <a:pt x="181" y="603"/>
                  </a:lnTo>
                  <a:lnTo>
                    <a:pt x="186" y="601"/>
                  </a:lnTo>
                  <a:lnTo>
                    <a:pt x="188" y="605"/>
                  </a:lnTo>
                  <a:lnTo>
                    <a:pt x="191" y="601"/>
                  </a:lnTo>
                  <a:lnTo>
                    <a:pt x="201" y="601"/>
                  </a:lnTo>
                  <a:lnTo>
                    <a:pt x="201" y="605"/>
                  </a:lnTo>
                  <a:lnTo>
                    <a:pt x="203" y="606"/>
                  </a:lnTo>
                  <a:lnTo>
                    <a:pt x="208" y="601"/>
                  </a:lnTo>
                  <a:lnTo>
                    <a:pt x="213" y="603"/>
                  </a:lnTo>
                  <a:lnTo>
                    <a:pt x="219" y="598"/>
                  </a:lnTo>
                  <a:lnTo>
                    <a:pt x="221" y="593"/>
                  </a:lnTo>
                  <a:lnTo>
                    <a:pt x="224" y="593"/>
                  </a:lnTo>
                  <a:lnTo>
                    <a:pt x="229" y="588"/>
                  </a:lnTo>
                  <a:lnTo>
                    <a:pt x="233" y="580"/>
                  </a:lnTo>
                  <a:lnTo>
                    <a:pt x="238" y="576"/>
                  </a:lnTo>
                  <a:lnTo>
                    <a:pt x="244" y="575"/>
                  </a:lnTo>
                  <a:lnTo>
                    <a:pt x="248" y="576"/>
                  </a:lnTo>
                  <a:lnTo>
                    <a:pt x="258" y="573"/>
                  </a:lnTo>
                  <a:lnTo>
                    <a:pt x="271" y="565"/>
                  </a:lnTo>
                  <a:lnTo>
                    <a:pt x="278" y="560"/>
                  </a:lnTo>
                  <a:lnTo>
                    <a:pt x="282" y="558"/>
                  </a:lnTo>
                  <a:lnTo>
                    <a:pt x="286" y="558"/>
                  </a:lnTo>
                  <a:lnTo>
                    <a:pt x="289" y="558"/>
                  </a:lnTo>
                  <a:lnTo>
                    <a:pt x="297" y="560"/>
                  </a:lnTo>
                  <a:lnTo>
                    <a:pt x="304" y="562"/>
                  </a:lnTo>
                  <a:lnTo>
                    <a:pt x="307" y="560"/>
                  </a:lnTo>
                  <a:lnTo>
                    <a:pt x="317" y="560"/>
                  </a:lnTo>
                  <a:lnTo>
                    <a:pt x="331" y="555"/>
                  </a:lnTo>
                  <a:lnTo>
                    <a:pt x="339" y="553"/>
                  </a:lnTo>
                  <a:lnTo>
                    <a:pt x="344" y="550"/>
                  </a:lnTo>
                  <a:lnTo>
                    <a:pt x="349" y="550"/>
                  </a:lnTo>
                  <a:lnTo>
                    <a:pt x="356" y="545"/>
                  </a:lnTo>
                  <a:lnTo>
                    <a:pt x="366" y="545"/>
                  </a:lnTo>
                  <a:lnTo>
                    <a:pt x="392" y="543"/>
                  </a:lnTo>
                  <a:lnTo>
                    <a:pt x="400" y="545"/>
                  </a:lnTo>
                  <a:lnTo>
                    <a:pt x="405" y="545"/>
                  </a:lnTo>
                  <a:lnTo>
                    <a:pt x="414" y="543"/>
                  </a:lnTo>
                  <a:lnTo>
                    <a:pt x="419" y="543"/>
                  </a:lnTo>
                  <a:lnTo>
                    <a:pt x="427" y="550"/>
                  </a:lnTo>
                  <a:lnTo>
                    <a:pt x="432" y="558"/>
                  </a:lnTo>
                  <a:lnTo>
                    <a:pt x="437" y="560"/>
                  </a:lnTo>
                  <a:lnTo>
                    <a:pt x="440" y="558"/>
                  </a:lnTo>
                  <a:lnTo>
                    <a:pt x="444" y="557"/>
                  </a:lnTo>
                  <a:lnTo>
                    <a:pt x="445" y="560"/>
                  </a:lnTo>
                  <a:lnTo>
                    <a:pt x="449" y="558"/>
                  </a:lnTo>
                  <a:lnTo>
                    <a:pt x="454" y="560"/>
                  </a:lnTo>
                  <a:lnTo>
                    <a:pt x="457" y="565"/>
                  </a:lnTo>
                  <a:lnTo>
                    <a:pt x="464" y="565"/>
                  </a:lnTo>
                  <a:lnTo>
                    <a:pt x="467" y="565"/>
                  </a:lnTo>
                  <a:lnTo>
                    <a:pt x="477" y="571"/>
                  </a:lnTo>
                  <a:lnTo>
                    <a:pt x="475" y="575"/>
                  </a:lnTo>
                  <a:lnTo>
                    <a:pt x="479" y="575"/>
                  </a:lnTo>
                  <a:lnTo>
                    <a:pt x="483" y="578"/>
                  </a:lnTo>
                  <a:lnTo>
                    <a:pt x="482" y="581"/>
                  </a:lnTo>
                  <a:lnTo>
                    <a:pt x="477" y="581"/>
                  </a:lnTo>
                  <a:lnTo>
                    <a:pt x="477" y="585"/>
                  </a:lnTo>
                  <a:lnTo>
                    <a:pt x="480" y="593"/>
                  </a:lnTo>
                  <a:lnTo>
                    <a:pt x="485" y="593"/>
                  </a:lnTo>
                  <a:lnTo>
                    <a:pt x="490" y="598"/>
                  </a:lnTo>
                  <a:lnTo>
                    <a:pt x="492" y="605"/>
                  </a:lnTo>
                  <a:lnTo>
                    <a:pt x="490" y="610"/>
                  </a:lnTo>
                  <a:lnTo>
                    <a:pt x="497" y="620"/>
                  </a:lnTo>
                  <a:lnTo>
                    <a:pt x="495" y="625"/>
                  </a:lnTo>
                  <a:lnTo>
                    <a:pt x="497" y="626"/>
                  </a:lnTo>
                  <a:lnTo>
                    <a:pt x="495" y="633"/>
                  </a:lnTo>
                  <a:lnTo>
                    <a:pt x="493" y="636"/>
                  </a:lnTo>
                  <a:lnTo>
                    <a:pt x="490" y="635"/>
                  </a:lnTo>
                  <a:lnTo>
                    <a:pt x="488" y="636"/>
                  </a:lnTo>
                  <a:lnTo>
                    <a:pt x="493" y="640"/>
                  </a:lnTo>
                  <a:lnTo>
                    <a:pt x="497" y="641"/>
                  </a:lnTo>
                  <a:lnTo>
                    <a:pt x="498" y="646"/>
                  </a:lnTo>
                  <a:lnTo>
                    <a:pt x="502" y="645"/>
                  </a:lnTo>
                  <a:lnTo>
                    <a:pt x="507" y="648"/>
                  </a:lnTo>
                  <a:lnTo>
                    <a:pt x="507" y="645"/>
                  </a:lnTo>
                  <a:lnTo>
                    <a:pt x="505" y="641"/>
                  </a:lnTo>
                  <a:lnTo>
                    <a:pt x="507" y="638"/>
                  </a:lnTo>
                  <a:lnTo>
                    <a:pt x="510" y="635"/>
                  </a:lnTo>
                  <a:lnTo>
                    <a:pt x="513" y="633"/>
                  </a:lnTo>
                  <a:lnTo>
                    <a:pt x="515" y="630"/>
                  </a:lnTo>
                  <a:lnTo>
                    <a:pt x="520" y="628"/>
                  </a:lnTo>
                  <a:lnTo>
                    <a:pt x="522" y="625"/>
                  </a:lnTo>
                  <a:lnTo>
                    <a:pt x="525" y="620"/>
                  </a:lnTo>
                  <a:lnTo>
                    <a:pt x="537" y="615"/>
                  </a:lnTo>
                  <a:lnTo>
                    <a:pt x="537" y="611"/>
                  </a:lnTo>
                  <a:lnTo>
                    <a:pt x="538" y="611"/>
                  </a:lnTo>
                  <a:lnTo>
                    <a:pt x="547" y="608"/>
                  </a:lnTo>
                  <a:lnTo>
                    <a:pt x="548" y="601"/>
                  </a:lnTo>
                  <a:lnTo>
                    <a:pt x="555" y="593"/>
                  </a:lnTo>
                  <a:lnTo>
                    <a:pt x="563" y="591"/>
                  </a:lnTo>
                  <a:lnTo>
                    <a:pt x="565" y="588"/>
                  </a:lnTo>
                  <a:lnTo>
                    <a:pt x="563" y="583"/>
                  </a:lnTo>
                  <a:lnTo>
                    <a:pt x="565" y="578"/>
                  </a:lnTo>
                  <a:lnTo>
                    <a:pt x="568" y="585"/>
                  </a:lnTo>
                  <a:lnTo>
                    <a:pt x="568" y="590"/>
                  </a:lnTo>
                  <a:lnTo>
                    <a:pt x="568" y="595"/>
                  </a:lnTo>
                  <a:lnTo>
                    <a:pt x="565" y="598"/>
                  </a:lnTo>
                  <a:lnTo>
                    <a:pt x="563" y="610"/>
                  </a:lnTo>
                  <a:lnTo>
                    <a:pt x="553" y="616"/>
                  </a:lnTo>
                  <a:lnTo>
                    <a:pt x="552" y="621"/>
                  </a:lnTo>
                  <a:lnTo>
                    <a:pt x="548" y="625"/>
                  </a:lnTo>
                  <a:lnTo>
                    <a:pt x="548" y="630"/>
                  </a:lnTo>
                  <a:lnTo>
                    <a:pt x="543" y="636"/>
                  </a:lnTo>
                  <a:lnTo>
                    <a:pt x="545" y="638"/>
                  </a:lnTo>
                  <a:lnTo>
                    <a:pt x="542" y="650"/>
                  </a:lnTo>
                  <a:lnTo>
                    <a:pt x="530" y="648"/>
                  </a:lnTo>
                  <a:lnTo>
                    <a:pt x="527" y="655"/>
                  </a:lnTo>
                  <a:lnTo>
                    <a:pt x="523" y="658"/>
                  </a:lnTo>
                  <a:lnTo>
                    <a:pt x="523" y="660"/>
                  </a:lnTo>
                  <a:lnTo>
                    <a:pt x="532" y="658"/>
                  </a:lnTo>
                  <a:lnTo>
                    <a:pt x="538" y="656"/>
                  </a:lnTo>
                  <a:lnTo>
                    <a:pt x="547" y="658"/>
                  </a:lnTo>
                  <a:lnTo>
                    <a:pt x="555" y="646"/>
                  </a:lnTo>
                  <a:lnTo>
                    <a:pt x="557" y="635"/>
                  </a:lnTo>
                  <a:lnTo>
                    <a:pt x="563" y="628"/>
                  </a:lnTo>
                  <a:lnTo>
                    <a:pt x="565" y="631"/>
                  </a:lnTo>
                  <a:lnTo>
                    <a:pt x="565" y="641"/>
                  </a:lnTo>
                  <a:lnTo>
                    <a:pt x="568" y="648"/>
                  </a:lnTo>
                  <a:lnTo>
                    <a:pt x="567" y="648"/>
                  </a:lnTo>
                  <a:lnTo>
                    <a:pt x="567" y="658"/>
                  </a:lnTo>
                  <a:lnTo>
                    <a:pt x="562" y="668"/>
                  </a:lnTo>
                  <a:lnTo>
                    <a:pt x="552" y="671"/>
                  </a:lnTo>
                  <a:lnTo>
                    <a:pt x="553" y="673"/>
                  </a:lnTo>
                  <a:lnTo>
                    <a:pt x="560" y="673"/>
                  </a:lnTo>
                  <a:lnTo>
                    <a:pt x="565" y="673"/>
                  </a:lnTo>
                  <a:lnTo>
                    <a:pt x="568" y="671"/>
                  </a:lnTo>
                  <a:lnTo>
                    <a:pt x="573" y="669"/>
                  </a:lnTo>
                  <a:lnTo>
                    <a:pt x="578" y="666"/>
                  </a:lnTo>
                  <a:lnTo>
                    <a:pt x="581" y="666"/>
                  </a:lnTo>
                  <a:lnTo>
                    <a:pt x="585" y="666"/>
                  </a:lnTo>
                  <a:lnTo>
                    <a:pt x="583" y="669"/>
                  </a:lnTo>
                  <a:lnTo>
                    <a:pt x="580" y="674"/>
                  </a:lnTo>
                  <a:lnTo>
                    <a:pt x="575" y="673"/>
                  </a:lnTo>
                  <a:lnTo>
                    <a:pt x="575" y="676"/>
                  </a:lnTo>
                  <a:lnTo>
                    <a:pt x="578" y="681"/>
                  </a:lnTo>
                  <a:lnTo>
                    <a:pt x="580" y="686"/>
                  </a:lnTo>
                  <a:lnTo>
                    <a:pt x="583" y="693"/>
                  </a:lnTo>
                  <a:lnTo>
                    <a:pt x="585" y="701"/>
                  </a:lnTo>
                  <a:lnTo>
                    <a:pt x="583" y="711"/>
                  </a:lnTo>
                  <a:lnTo>
                    <a:pt x="577" y="718"/>
                  </a:lnTo>
                  <a:lnTo>
                    <a:pt x="578" y="719"/>
                  </a:lnTo>
                  <a:lnTo>
                    <a:pt x="577" y="728"/>
                  </a:lnTo>
                  <a:lnTo>
                    <a:pt x="581" y="731"/>
                  </a:lnTo>
                  <a:lnTo>
                    <a:pt x="585" y="736"/>
                  </a:lnTo>
                  <a:lnTo>
                    <a:pt x="586" y="744"/>
                  </a:lnTo>
                  <a:lnTo>
                    <a:pt x="595" y="754"/>
                  </a:lnTo>
                  <a:lnTo>
                    <a:pt x="601" y="756"/>
                  </a:lnTo>
                  <a:lnTo>
                    <a:pt x="606" y="759"/>
                  </a:lnTo>
                  <a:lnTo>
                    <a:pt x="608" y="764"/>
                  </a:lnTo>
                  <a:lnTo>
                    <a:pt x="613" y="764"/>
                  </a:lnTo>
                  <a:lnTo>
                    <a:pt x="615" y="762"/>
                  </a:lnTo>
                  <a:lnTo>
                    <a:pt x="618" y="761"/>
                  </a:lnTo>
                  <a:lnTo>
                    <a:pt x="623" y="762"/>
                  </a:lnTo>
                  <a:lnTo>
                    <a:pt x="628" y="769"/>
                  </a:lnTo>
                  <a:lnTo>
                    <a:pt x="635" y="769"/>
                  </a:lnTo>
                  <a:lnTo>
                    <a:pt x="640" y="774"/>
                  </a:lnTo>
                  <a:lnTo>
                    <a:pt x="641" y="779"/>
                  </a:lnTo>
                  <a:lnTo>
                    <a:pt x="646" y="781"/>
                  </a:lnTo>
                  <a:lnTo>
                    <a:pt x="651" y="786"/>
                  </a:lnTo>
                  <a:lnTo>
                    <a:pt x="655" y="786"/>
                  </a:lnTo>
                  <a:lnTo>
                    <a:pt x="656" y="782"/>
                  </a:lnTo>
                  <a:lnTo>
                    <a:pt x="666" y="779"/>
                  </a:lnTo>
                  <a:lnTo>
                    <a:pt x="668" y="776"/>
                  </a:lnTo>
                  <a:lnTo>
                    <a:pt x="675" y="774"/>
                  </a:lnTo>
                  <a:lnTo>
                    <a:pt x="681" y="769"/>
                  </a:lnTo>
                  <a:lnTo>
                    <a:pt x="684" y="771"/>
                  </a:lnTo>
                  <a:lnTo>
                    <a:pt x="686" y="767"/>
                  </a:lnTo>
                  <a:lnTo>
                    <a:pt x="686" y="766"/>
                  </a:lnTo>
                  <a:lnTo>
                    <a:pt x="681" y="764"/>
                  </a:lnTo>
                  <a:lnTo>
                    <a:pt x="683" y="761"/>
                  </a:lnTo>
                  <a:lnTo>
                    <a:pt x="691" y="756"/>
                  </a:lnTo>
                  <a:lnTo>
                    <a:pt x="699" y="761"/>
                  </a:lnTo>
                  <a:lnTo>
                    <a:pt x="699" y="766"/>
                  </a:lnTo>
                  <a:lnTo>
                    <a:pt x="689" y="771"/>
                  </a:lnTo>
                  <a:lnTo>
                    <a:pt x="691" y="774"/>
                  </a:lnTo>
                  <a:lnTo>
                    <a:pt x="694" y="776"/>
                  </a:lnTo>
                  <a:lnTo>
                    <a:pt x="698" y="772"/>
                  </a:lnTo>
                  <a:lnTo>
                    <a:pt x="703" y="769"/>
                  </a:lnTo>
                  <a:lnTo>
                    <a:pt x="708" y="771"/>
                  </a:lnTo>
                  <a:lnTo>
                    <a:pt x="706" y="776"/>
                  </a:lnTo>
                  <a:lnTo>
                    <a:pt x="704" y="776"/>
                  </a:lnTo>
                  <a:lnTo>
                    <a:pt x="699" y="779"/>
                  </a:lnTo>
                  <a:lnTo>
                    <a:pt x="706" y="786"/>
                  </a:lnTo>
                  <a:lnTo>
                    <a:pt x="708" y="794"/>
                  </a:lnTo>
                  <a:lnTo>
                    <a:pt x="709" y="792"/>
                  </a:lnTo>
                  <a:lnTo>
                    <a:pt x="713" y="792"/>
                  </a:lnTo>
                  <a:lnTo>
                    <a:pt x="714" y="797"/>
                  </a:lnTo>
                  <a:lnTo>
                    <a:pt x="718" y="801"/>
                  </a:lnTo>
                  <a:lnTo>
                    <a:pt x="721" y="796"/>
                  </a:lnTo>
                  <a:lnTo>
                    <a:pt x="721" y="791"/>
                  </a:lnTo>
                  <a:lnTo>
                    <a:pt x="716" y="792"/>
                  </a:lnTo>
                  <a:lnTo>
                    <a:pt x="716" y="791"/>
                  </a:lnTo>
                  <a:lnTo>
                    <a:pt x="718" y="787"/>
                  </a:lnTo>
                  <a:lnTo>
                    <a:pt x="731" y="787"/>
                  </a:lnTo>
                  <a:lnTo>
                    <a:pt x="733" y="789"/>
                  </a:lnTo>
                  <a:lnTo>
                    <a:pt x="734" y="787"/>
                  </a:lnTo>
                  <a:lnTo>
                    <a:pt x="739" y="779"/>
                  </a:lnTo>
                  <a:lnTo>
                    <a:pt x="753" y="772"/>
                  </a:lnTo>
                  <a:lnTo>
                    <a:pt x="759" y="767"/>
                  </a:lnTo>
                  <a:lnTo>
                    <a:pt x="756" y="767"/>
                  </a:lnTo>
                  <a:lnTo>
                    <a:pt x="753" y="769"/>
                  </a:lnTo>
                  <a:lnTo>
                    <a:pt x="754" y="767"/>
                  </a:lnTo>
                  <a:lnTo>
                    <a:pt x="749" y="766"/>
                  </a:lnTo>
                  <a:lnTo>
                    <a:pt x="754" y="766"/>
                  </a:lnTo>
                  <a:lnTo>
                    <a:pt x="761" y="766"/>
                  </a:lnTo>
                  <a:lnTo>
                    <a:pt x="769" y="764"/>
                  </a:lnTo>
                  <a:lnTo>
                    <a:pt x="787" y="761"/>
                  </a:lnTo>
                  <a:lnTo>
                    <a:pt x="802" y="762"/>
                  </a:lnTo>
                  <a:lnTo>
                    <a:pt x="809" y="759"/>
                  </a:lnTo>
                  <a:lnTo>
                    <a:pt x="809" y="756"/>
                  </a:lnTo>
                  <a:lnTo>
                    <a:pt x="814" y="756"/>
                  </a:lnTo>
                  <a:lnTo>
                    <a:pt x="819" y="753"/>
                  </a:lnTo>
                  <a:lnTo>
                    <a:pt x="822" y="746"/>
                  </a:lnTo>
                  <a:lnTo>
                    <a:pt x="821" y="736"/>
                  </a:lnTo>
                  <a:lnTo>
                    <a:pt x="821" y="733"/>
                  </a:lnTo>
                  <a:lnTo>
                    <a:pt x="829" y="724"/>
                  </a:lnTo>
                  <a:lnTo>
                    <a:pt x="829" y="711"/>
                  </a:lnTo>
                  <a:lnTo>
                    <a:pt x="832" y="706"/>
                  </a:lnTo>
                  <a:lnTo>
                    <a:pt x="834" y="698"/>
                  </a:lnTo>
                  <a:lnTo>
                    <a:pt x="839" y="696"/>
                  </a:lnTo>
                  <a:lnTo>
                    <a:pt x="839" y="691"/>
                  </a:lnTo>
                  <a:lnTo>
                    <a:pt x="854" y="674"/>
                  </a:lnTo>
                  <a:lnTo>
                    <a:pt x="857" y="674"/>
                  </a:lnTo>
                  <a:lnTo>
                    <a:pt x="861" y="666"/>
                  </a:lnTo>
                  <a:lnTo>
                    <a:pt x="866" y="658"/>
                  </a:lnTo>
                  <a:lnTo>
                    <a:pt x="869" y="650"/>
                  </a:lnTo>
                  <a:lnTo>
                    <a:pt x="876" y="645"/>
                  </a:lnTo>
                  <a:lnTo>
                    <a:pt x="876" y="640"/>
                  </a:lnTo>
                  <a:lnTo>
                    <a:pt x="879" y="636"/>
                  </a:lnTo>
                  <a:lnTo>
                    <a:pt x="882" y="628"/>
                  </a:lnTo>
                  <a:lnTo>
                    <a:pt x="880" y="626"/>
                  </a:lnTo>
                  <a:lnTo>
                    <a:pt x="887" y="623"/>
                  </a:lnTo>
                  <a:lnTo>
                    <a:pt x="892" y="616"/>
                  </a:lnTo>
                  <a:lnTo>
                    <a:pt x="895" y="613"/>
                  </a:lnTo>
                  <a:lnTo>
                    <a:pt x="899" y="606"/>
                  </a:lnTo>
                  <a:lnTo>
                    <a:pt x="907" y="605"/>
                  </a:lnTo>
                  <a:lnTo>
                    <a:pt x="910" y="601"/>
                  </a:lnTo>
                  <a:lnTo>
                    <a:pt x="904" y="601"/>
                  </a:lnTo>
                  <a:lnTo>
                    <a:pt x="905" y="600"/>
                  </a:lnTo>
                  <a:lnTo>
                    <a:pt x="914" y="600"/>
                  </a:lnTo>
                  <a:lnTo>
                    <a:pt x="922" y="595"/>
                  </a:lnTo>
                  <a:lnTo>
                    <a:pt x="924" y="590"/>
                  </a:lnTo>
                  <a:lnTo>
                    <a:pt x="922" y="586"/>
                  </a:lnTo>
                  <a:lnTo>
                    <a:pt x="924" y="581"/>
                  </a:lnTo>
                  <a:lnTo>
                    <a:pt x="930" y="576"/>
                  </a:lnTo>
                  <a:lnTo>
                    <a:pt x="932" y="571"/>
                  </a:lnTo>
                  <a:lnTo>
                    <a:pt x="937" y="570"/>
                  </a:lnTo>
                  <a:lnTo>
                    <a:pt x="942" y="562"/>
                  </a:lnTo>
                  <a:lnTo>
                    <a:pt x="942" y="558"/>
                  </a:lnTo>
                  <a:lnTo>
                    <a:pt x="944" y="552"/>
                  </a:lnTo>
                  <a:lnTo>
                    <a:pt x="942" y="548"/>
                  </a:lnTo>
                  <a:lnTo>
                    <a:pt x="942" y="545"/>
                  </a:lnTo>
                  <a:lnTo>
                    <a:pt x="950" y="532"/>
                  </a:lnTo>
                  <a:lnTo>
                    <a:pt x="952" y="523"/>
                  </a:lnTo>
                  <a:lnTo>
                    <a:pt x="960" y="510"/>
                  </a:lnTo>
                  <a:lnTo>
                    <a:pt x="960" y="503"/>
                  </a:lnTo>
                  <a:lnTo>
                    <a:pt x="964" y="493"/>
                  </a:lnTo>
                  <a:lnTo>
                    <a:pt x="970" y="488"/>
                  </a:lnTo>
                  <a:lnTo>
                    <a:pt x="974" y="483"/>
                  </a:lnTo>
                  <a:lnTo>
                    <a:pt x="972" y="477"/>
                  </a:lnTo>
                  <a:lnTo>
                    <a:pt x="975" y="472"/>
                  </a:lnTo>
                  <a:lnTo>
                    <a:pt x="972" y="462"/>
                  </a:lnTo>
                  <a:lnTo>
                    <a:pt x="972" y="457"/>
                  </a:lnTo>
                  <a:lnTo>
                    <a:pt x="969" y="449"/>
                  </a:lnTo>
                  <a:lnTo>
                    <a:pt x="967" y="445"/>
                  </a:lnTo>
                  <a:lnTo>
                    <a:pt x="967" y="442"/>
                  </a:lnTo>
                  <a:lnTo>
                    <a:pt x="969" y="439"/>
                  </a:lnTo>
                  <a:lnTo>
                    <a:pt x="969" y="434"/>
                  </a:lnTo>
                  <a:lnTo>
                    <a:pt x="974" y="427"/>
                  </a:lnTo>
                  <a:lnTo>
                    <a:pt x="974" y="425"/>
                  </a:lnTo>
                  <a:lnTo>
                    <a:pt x="972" y="412"/>
                  </a:lnTo>
                  <a:lnTo>
                    <a:pt x="975" y="409"/>
                  </a:lnTo>
                  <a:lnTo>
                    <a:pt x="974" y="405"/>
                  </a:lnTo>
                  <a:lnTo>
                    <a:pt x="972" y="402"/>
                  </a:lnTo>
                  <a:lnTo>
                    <a:pt x="972" y="394"/>
                  </a:lnTo>
                  <a:lnTo>
                    <a:pt x="970" y="392"/>
                  </a:lnTo>
                  <a:lnTo>
                    <a:pt x="972" y="387"/>
                  </a:lnTo>
                  <a:lnTo>
                    <a:pt x="969" y="385"/>
                  </a:lnTo>
                  <a:lnTo>
                    <a:pt x="965" y="382"/>
                  </a:lnTo>
                  <a:lnTo>
                    <a:pt x="965" y="377"/>
                  </a:lnTo>
                  <a:lnTo>
                    <a:pt x="960" y="372"/>
                  </a:lnTo>
                  <a:lnTo>
                    <a:pt x="957" y="366"/>
                  </a:lnTo>
                  <a:lnTo>
                    <a:pt x="955" y="359"/>
                  </a:lnTo>
                  <a:lnTo>
                    <a:pt x="952" y="354"/>
                  </a:lnTo>
                  <a:lnTo>
                    <a:pt x="949" y="354"/>
                  </a:lnTo>
                  <a:lnTo>
                    <a:pt x="945" y="356"/>
                  </a:lnTo>
                  <a:lnTo>
                    <a:pt x="942" y="352"/>
                  </a:lnTo>
                  <a:lnTo>
                    <a:pt x="942" y="347"/>
                  </a:lnTo>
                  <a:lnTo>
                    <a:pt x="939" y="346"/>
                  </a:lnTo>
                  <a:lnTo>
                    <a:pt x="939" y="342"/>
                  </a:lnTo>
                  <a:lnTo>
                    <a:pt x="932" y="339"/>
                  </a:lnTo>
                  <a:lnTo>
                    <a:pt x="930" y="336"/>
                  </a:lnTo>
                  <a:lnTo>
                    <a:pt x="930" y="332"/>
                  </a:lnTo>
                  <a:lnTo>
                    <a:pt x="927" y="327"/>
                  </a:lnTo>
                  <a:lnTo>
                    <a:pt x="932" y="322"/>
                  </a:lnTo>
                  <a:lnTo>
                    <a:pt x="934" y="316"/>
                  </a:lnTo>
                  <a:lnTo>
                    <a:pt x="932" y="312"/>
                  </a:lnTo>
                  <a:lnTo>
                    <a:pt x="932" y="307"/>
                  </a:lnTo>
                  <a:lnTo>
                    <a:pt x="929" y="306"/>
                  </a:lnTo>
                  <a:lnTo>
                    <a:pt x="929" y="309"/>
                  </a:lnTo>
                  <a:lnTo>
                    <a:pt x="930" y="311"/>
                  </a:lnTo>
                  <a:lnTo>
                    <a:pt x="929" y="312"/>
                  </a:lnTo>
                  <a:lnTo>
                    <a:pt x="917" y="304"/>
                  </a:lnTo>
                  <a:lnTo>
                    <a:pt x="915" y="299"/>
                  </a:lnTo>
                  <a:lnTo>
                    <a:pt x="914" y="301"/>
                  </a:lnTo>
                  <a:lnTo>
                    <a:pt x="914" y="302"/>
                  </a:lnTo>
                  <a:lnTo>
                    <a:pt x="912" y="306"/>
                  </a:lnTo>
                  <a:lnTo>
                    <a:pt x="914" y="312"/>
                  </a:lnTo>
                  <a:lnTo>
                    <a:pt x="909" y="307"/>
                  </a:lnTo>
                  <a:lnTo>
                    <a:pt x="907" y="311"/>
                  </a:lnTo>
                  <a:lnTo>
                    <a:pt x="907" y="306"/>
                  </a:lnTo>
                  <a:lnTo>
                    <a:pt x="904" y="302"/>
                  </a:lnTo>
                  <a:lnTo>
                    <a:pt x="904" y="291"/>
                  </a:lnTo>
                  <a:lnTo>
                    <a:pt x="905" y="289"/>
                  </a:lnTo>
                  <a:lnTo>
                    <a:pt x="905" y="286"/>
                  </a:lnTo>
                  <a:lnTo>
                    <a:pt x="900" y="282"/>
                  </a:lnTo>
                  <a:lnTo>
                    <a:pt x="902" y="279"/>
                  </a:lnTo>
                  <a:lnTo>
                    <a:pt x="899" y="277"/>
                  </a:lnTo>
                  <a:lnTo>
                    <a:pt x="900" y="272"/>
                  </a:lnTo>
                  <a:lnTo>
                    <a:pt x="892" y="268"/>
                  </a:lnTo>
                  <a:lnTo>
                    <a:pt x="890" y="263"/>
                  </a:lnTo>
                  <a:lnTo>
                    <a:pt x="889" y="258"/>
                  </a:lnTo>
                  <a:lnTo>
                    <a:pt x="894" y="259"/>
                  </a:lnTo>
                  <a:lnTo>
                    <a:pt x="894" y="254"/>
                  </a:lnTo>
                  <a:lnTo>
                    <a:pt x="890" y="248"/>
                  </a:lnTo>
                  <a:lnTo>
                    <a:pt x="887" y="249"/>
                  </a:lnTo>
                  <a:lnTo>
                    <a:pt x="884" y="249"/>
                  </a:lnTo>
                  <a:lnTo>
                    <a:pt x="879" y="243"/>
                  </a:lnTo>
                  <a:lnTo>
                    <a:pt x="876" y="243"/>
                  </a:lnTo>
                  <a:lnTo>
                    <a:pt x="871" y="239"/>
                  </a:lnTo>
                  <a:lnTo>
                    <a:pt x="869" y="241"/>
                  </a:lnTo>
                  <a:lnTo>
                    <a:pt x="866" y="239"/>
                  </a:lnTo>
                  <a:lnTo>
                    <a:pt x="861" y="238"/>
                  </a:lnTo>
                  <a:lnTo>
                    <a:pt x="857" y="239"/>
                  </a:lnTo>
                  <a:lnTo>
                    <a:pt x="861" y="236"/>
                  </a:lnTo>
                  <a:lnTo>
                    <a:pt x="866" y="234"/>
                  </a:lnTo>
                  <a:lnTo>
                    <a:pt x="866" y="231"/>
                  </a:lnTo>
                  <a:lnTo>
                    <a:pt x="864" y="229"/>
                  </a:lnTo>
                  <a:lnTo>
                    <a:pt x="859" y="229"/>
                  </a:lnTo>
                  <a:lnTo>
                    <a:pt x="854" y="229"/>
                  </a:lnTo>
                  <a:lnTo>
                    <a:pt x="852" y="226"/>
                  </a:lnTo>
                  <a:lnTo>
                    <a:pt x="851" y="226"/>
                  </a:lnTo>
                  <a:lnTo>
                    <a:pt x="841" y="221"/>
                  </a:lnTo>
                  <a:lnTo>
                    <a:pt x="836" y="214"/>
                  </a:lnTo>
                  <a:lnTo>
                    <a:pt x="836" y="206"/>
                  </a:lnTo>
                  <a:lnTo>
                    <a:pt x="832" y="201"/>
                  </a:lnTo>
                  <a:lnTo>
                    <a:pt x="832" y="196"/>
                  </a:lnTo>
                  <a:lnTo>
                    <a:pt x="836" y="196"/>
                  </a:lnTo>
                  <a:lnTo>
                    <a:pt x="837" y="186"/>
                  </a:lnTo>
                  <a:lnTo>
                    <a:pt x="834" y="174"/>
                  </a:lnTo>
                  <a:lnTo>
                    <a:pt x="831" y="170"/>
                  </a:lnTo>
                  <a:lnTo>
                    <a:pt x="834" y="170"/>
                  </a:lnTo>
                  <a:lnTo>
                    <a:pt x="831" y="166"/>
                  </a:lnTo>
                  <a:lnTo>
                    <a:pt x="827" y="166"/>
                  </a:lnTo>
                  <a:lnTo>
                    <a:pt x="822" y="158"/>
                  </a:lnTo>
                  <a:lnTo>
                    <a:pt x="822" y="146"/>
                  </a:lnTo>
                  <a:lnTo>
                    <a:pt x="824" y="145"/>
                  </a:lnTo>
                  <a:lnTo>
                    <a:pt x="824" y="143"/>
                  </a:lnTo>
                  <a:lnTo>
                    <a:pt x="822" y="141"/>
                  </a:lnTo>
                  <a:lnTo>
                    <a:pt x="821" y="126"/>
                  </a:lnTo>
                  <a:lnTo>
                    <a:pt x="822" y="123"/>
                  </a:lnTo>
                  <a:lnTo>
                    <a:pt x="821" y="120"/>
                  </a:lnTo>
                  <a:lnTo>
                    <a:pt x="822" y="118"/>
                  </a:lnTo>
                  <a:lnTo>
                    <a:pt x="822" y="115"/>
                  </a:lnTo>
                  <a:lnTo>
                    <a:pt x="814" y="108"/>
                  </a:lnTo>
                  <a:lnTo>
                    <a:pt x="809" y="105"/>
                  </a:lnTo>
                  <a:lnTo>
                    <a:pt x="811" y="103"/>
                  </a:lnTo>
                  <a:lnTo>
                    <a:pt x="806" y="98"/>
                  </a:lnTo>
                  <a:lnTo>
                    <a:pt x="801" y="100"/>
                  </a:lnTo>
                  <a:lnTo>
                    <a:pt x="797" y="100"/>
                  </a:lnTo>
                  <a:lnTo>
                    <a:pt x="796" y="103"/>
                  </a:lnTo>
                  <a:lnTo>
                    <a:pt x="791" y="105"/>
                  </a:lnTo>
                  <a:lnTo>
                    <a:pt x="786" y="96"/>
                  </a:lnTo>
                  <a:lnTo>
                    <a:pt x="787" y="93"/>
                  </a:lnTo>
                  <a:lnTo>
                    <a:pt x="784" y="88"/>
                  </a:lnTo>
                  <a:lnTo>
                    <a:pt x="786" y="80"/>
                  </a:lnTo>
                  <a:lnTo>
                    <a:pt x="784" y="70"/>
                  </a:lnTo>
                  <a:lnTo>
                    <a:pt x="782" y="70"/>
                  </a:lnTo>
                  <a:lnTo>
                    <a:pt x="781" y="67"/>
                  </a:lnTo>
                  <a:lnTo>
                    <a:pt x="782" y="63"/>
                  </a:lnTo>
                  <a:lnTo>
                    <a:pt x="779" y="58"/>
                  </a:lnTo>
                  <a:lnTo>
                    <a:pt x="779" y="55"/>
                  </a:lnTo>
                  <a:lnTo>
                    <a:pt x="776" y="53"/>
                  </a:lnTo>
                  <a:lnTo>
                    <a:pt x="777" y="47"/>
                  </a:lnTo>
                  <a:lnTo>
                    <a:pt x="779" y="45"/>
                  </a:lnTo>
                  <a:lnTo>
                    <a:pt x="776" y="43"/>
                  </a:lnTo>
                  <a:lnTo>
                    <a:pt x="773" y="43"/>
                  </a:lnTo>
                  <a:lnTo>
                    <a:pt x="769" y="42"/>
                  </a:lnTo>
                  <a:lnTo>
                    <a:pt x="771" y="30"/>
                  </a:lnTo>
                  <a:lnTo>
                    <a:pt x="769" y="28"/>
                  </a:lnTo>
                  <a:lnTo>
                    <a:pt x="768" y="22"/>
                  </a:lnTo>
                  <a:lnTo>
                    <a:pt x="763" y="22"/>
                  </a:lnTo>
                  <a:lnTo>
                    <a:pt x="763" y="18"/>
                  </a:lnTo>
                  <a:lnTo>
                    <a:pt x="758" y="20"/>
                  </a:lnTo>
                  <a:lnTo>
                    <a:pt x="754" y="23"/>
                  </a:lnTo>
                  <a:lnTo>
                    <a:pt x="754" y="32"/>
                  </a:lnTo>
                  <a:lnTo>
                    <a:pt x="753" y="38"/>
                  </a:lnTo>
                  <a:lnTo>
                    <a:pt x="753" y="40"/>
                  </a:lnTo>
                  <a:lnTo>
                    <a:pt x="751" y="45"/>
                  </a:lnTo>
                  <a:lnTo>
                    <a:pt x="748" y="45"/>
                  </a:lnTo>
                  <a:lnTo>
                    <a:pt x="746" y="52"/>
                  </a:lnTo>
                  <a:lnTo>
                    <a:pt x="741" y="57"/>
                  </a:lnTo>
                  <a:lnTo>
                    <a:pt x="744" y="60"/>
                  </a:lnTo>
                  <a:lnTo>
                    <a:pt x="749" y="63"/>
                  </a:lnTo>
                  <a:lnTo>
                    <a:pt x="746" y="65"/>
                  </a:lnTo>
                  <a:lnTo>
                    <a:pt x="743" y="65"/>
                  </a:lnTo>
                  <a:lnTo>
                    <a:pt x="741" y="68"/>
                  </a:lnTo>
                  <a:lnTo>
                    <a:pt x="739" y="73"/>
                  </a:lnTo>
                  <a:lnTo>
                    <a:pt x="743" y="78"/>
                  </a:lnTo>
                  <a:lnTo>
                    <a:pt x="743" y="81"/>
                  </a:lnTo>
                  <a:lnTo>
                    <a:pt x="739" y="80"/>
                  </a:lnTo>
                  <a:lnTo>
                    <a:pt x="736" y="83"/>
                  </a:lnTo>
                  <a:lnTo>
                    <a:pt x="734" y="93"/>
                  </a:lnTo>
                  <a:lnTo>
                    <a:pt x="736" y="100"/>
                  </a:lnTo>
                  <a:lnTo>
                    <a:pt x="734" y="108"/>
                  </a:lnTo>
                  <a:lnTo>
                    <a:pt x="738" y="115"/>
                  </a:lnTo>
                  <a:lnTo>
                    <a:pt x="736" y="121"/>
                  </a:lnTo>
                  <a:lnTo>
                    <a:pt x="733" y="125"/>
                  </a:lnTo>
                  <a:lnTo>
                    <a:pt x="733" y="128"/>
                  </a:lnTo>
                  <a:lnTo>
                    <a:pt x="728" y="136"/>
                  </a:lnTo>
                  <a:lnTo>
                    <a:pt x="726" y="150"/>
                  </a:lnTo>
                  <a:lnTo>
                    <a:pt x="721" y="153"/>
                  </a:lnTo>
                  <a:lnTo>
                    <a:pt x="723" y="158"/>
                  </a:lnTo>
                  <a:lnTo>
                    <a:pt x="721" y="165"/>
                  </a:lnTo>
                  <a:lnTo>
                    <a:pt x="716" y="168"/>
                  </a:lnTo>
                  <a:lnTo>
                    <a:pt x="716" y="176"/>
                  </a:lnTo>
                  <a:lnTo>
                    <a:pt x="708" y="181"/>
                  </a:lnTo>
                  <a:lnTo>
                    <a:pt x="693" y="188"/>
                  </a:lnTo>
                  <a:lnTo>
                    <a:pt x="686" y="183"/>
                  </a:lnTo>
                  <a:lnTo>
                    <a:pt x="679" y="183"/>
                  </a:lnTo>
                  <a:lnTo>
                    <a:pt x="676" y="179"/>
                  </a:lnTo>
                  <a:lnTo>
                    <a:pt x="671" y="174"/>
                  </a:lnTo>
                  <a:lnTo>
                    <a:pt x="671" y="171"/>
                  </a:lnTo>
                  <a:lnTo>
                    <a:pt x="670" y="170"/>
                  </a:lnTo>
                  <a:lnTo>
                    <a:pt x="668" y="165"/>
                  </a:lnTo>
                  <a:lnTo>
                    <a:pt x="661" y="165"/>
                  </a:lnTo>
                  <a:lnTo>
                    <a:pt x="658" y="163"/>
                  </a:lnTo>
                  <a:lnTo>
                    <a:pt x="650" y="163"/>
                  </a:lnTo>
                  <a:lnTo>
                    <a:pt x="643" y="158"/>
                  </a:lnTo>
                  <a:lnTo>
                    <a:pt x="641" y="155"/>
                  </a:lnTo>
                  <a:lnTo>
                    <a:pt x="636" y="148"/>
                  </a:lnTo>
                  <a:lnTo>
                    <a:pt x="630" y="148"/>
                  </a:lnTo>
                  <a:lnTo>
                    <a:pt x="625" y="145"/>
                  </a:lnTo>
                  <a:lnTo>
                    <a:pt x="623" y="141"/>
                  </a:lnTo>
                  <a:lnTo>
                    <a:pt x="620" y="141"/>
                  </a:lnTo>
                  <a:lnTo>
                    <a:pt x="618" y="140"/>
                  </a:lnTo>
                  <a:lnTo>
                    <a:pt x="613" y="140"/>
                  </a:lnTo>
                  <a:lnTo>
                    <a:pt x="608" y="138"/>
                  </a:lnTo>
                  <a:lnTo>
                    <a:pt x="610" y="136"/>
                  </a:lnTo>
                  <a:lnTo>
                    <a:pt x="603" y="133"/>
                  </a:lnTo>
                  <a:lnTo>
                    <a:pt x="601" y="128"/>
                  </a:lnTo>
                  <a:lnTo>
                    <a:pt x="596" y="121"/>
                  </a:lnTo>
                  <a:lnTo>
                    <a:pt x="591" y="121"/>
                  </a:lnTo>
                  <a:lnTo>
                    <a:pt x="586" y="116"/>
                  </a:lnTo>
                  <a:lnTo>
                    <a:pt x="586" y="111"/>
                  </a:lnTo>
                  <a:lnTo>
                    <a:pt x="591" y="105"/>
                  </a:lnTo>
                  <a:lnTo>
                    <a:pt x="591" y="98"/>
                  </a:lnTo>
                  <a:lnTo>
                    <a:pt x="596" y="96"/>
                  </a:lnTo>
                  <a:lnTo>
                    <a:pt x="598" y="90"/>
                  </a:lnTo>
                  <a:lnTo>
                    <a:pt x="600" y="85"/>
                  </a:lnTo>
                  <a:lnTo>
                    <a:pt x="596" y="88"/>
                  </a:lnTo>
                  <a:lnTo>
                    <a:pt x="593" y="83"/>
                  </a:lnTo>
                  <a:lnTo>
                    <a:pt x="598" y="80"/>
                  </a:lnTo>
                  <a:lnTo>
                    <a:pt x="596" y="75"/>
                  </a:lnTo>
                  <a:lnTo>
                    <a:pt x="600" y="75"/>
                  </a:lnTo>
                  <a:lnTo>
                    <a:pt x="601" y="73"/>
                  </a:lnTo>
                  <a:lnTo>
                    <a:pt x="603" y="75"/>
                  </a:lnTo>
                  <a:lnTo>
                    <a:pt x="608" y="76"/>
                  </a:lnTo>
                  <a:lnTo>
                    <a:pt x="615" y="73"/>
                  </a:lnTo>
                  <a:lnTo>
                    <a:pt x="616" y="68"/>
                  </a:lnTo>
                  <a:lnTo>
                    <a:pt x="611" y="67"/>
                  </a:lnTo>
                  <a:lnTo>
                    <a:pt x="615" y="63"/>
                  </a:lnTo>
                  <a:lnTo>
                    <a:pt x="618" y="65"/>
                  </a:lnTo>
                  <a:lnTo>
                    <a:pt x="621" y="57"/>
                  </a:lnTo>
                  <a:lnTo>
                    <a:pt x="625" y="55"/>
                  </a:lnTo>
                  <a:lnTo>
                    <a:pt x="628" y="52"/>
                  </a:lnTo>
                  <a:lnTo>
                    <a:pt x="628" y="50"/>
                  </a:lnTo>
                  <a:lnTo>
                    <a:pt x="623" y="47"/>
                  </a:lnTo>
                  <a:lnTo>
                    <a:pt x="620" y="50"/>
                  </a:lnTo>
                  <a:lnTo>
                    <a:pt x="616" y="50"/>
                  </a:lnTo>
                  <a:lnTo>
                    <a:pt x="616" y="42"/>
                  </a:lnTo>
                  <a:lnTo>
                    <a:pt x="611" y="43"/>
                  </a:lnTo>
                  <a:lnTo>
                    <a:pt x="606" y="50"/>
                  </a:lnTo>
                  <a:lnTo>
                    <a:pt x="608" y="50"/>
                  </a:lnTo>
                  <a:lnTo>
                    <a:pt x="608" y="53"/>
                  </a:lnTo>
                  <a:lnTo>
                    <a:pt x="605" y="55"/>
                  </a:lnTo>
                  <a:lnTo>
                    <a:pt x="601" y="53"/>
                  </a:lnTo>
                  <a:lnTo>
                    <a:pt x="600" y="50"/>
                  </a:lnTo>
                  <a:lnTo>
                    <a:pt x="598" y="48"/>
                  </a:lnTo>
                  <a:lnTo>
                    <a:pt x="596" y="52"/>
                  </a:lnTo>
                  <a:lnTo>
                    <a:pt x="593" y="52"/>
                  </a:lnTo>
                  <a:lnTo>
                    <a:pt x="593" y="48"/>
                  </a:lnTo>
                  <a:lnTo>
                    <a:pt x="596" y="47"/>
                  </a:lnTo>
                  <a:lnTo>
                    <a:pt x="596" y="45"/>
                  </a:lnTo>
                  <a:lnTo>
                    <a:pt x="593" y="45"/>
                  </a:lnTo>
                  <a:lnTo>
                    <a:pt x="591" y="48"/>
                  </a:lnTo>
                  <a:lnTo>
                    <a:pt x="585" y="50"/>
                  </a:lnTo>
                  <a:lnTo>
                    <a:pt x="585" y="52"/>
                  </a:lnTo>
                  <a:lnTo>
                    <a:pt x="581" y="52"/>
                  </a:lnTo>
                  <a:lnTo>
                    <a:pt x="580" y="50"/>
                  </a:lnTo>
                  <a:lnTo>
                    <a:pt x="577" y="50"/>
                  </a:lnTo>
                  <a:lnTo>
                    <a:pt x="575" y="48"/>
                  </a:lnTo>
                  <a:lnTo>
                    <a:pt x="572" y="43"/>
                  </a:lnTo>
                  <a:lnTo>
                    <a:pt x="570" y="43"/>
                  </a:lnTo>
                  <a:lnTo>
                    <a:pt x="565" y="45"/>
                  </a:lnTo>
                  <a:lnTo>
                    <a:pt x="560" y="45"/>
                  </a:lnTo>
                  <a:lnTo>
                    <a:pt x="558" y="45"/>
                  </a:lnTo>
                  <a:lnTo>
                    <a:pt x="557" y="42"/>
                  </a:lnTo>
                  <a:lnTo>
                    <a:pt x="553" y="42"/>
                  </a:lnTo>
                  <a:lnTo>
                    <a:pt x="552" y="37"/>
                  </a:lnTo>
                  <a:lnTo>
                    <a:pt x="545" y="40"/>
                  </a:lnTo>
                  <a:lnTo>
                    <a:pt x="540" y="38"/>
                  </a:lnTo>
                  <a:lnTo>
                    <a:pt x="535" y="37"/>
                  </a:lnTo>
                  <a:lnTo>
                    <a:pt x="535" y="33"/>
                  </a:lnTo>
                  <a:lnTo>
                    <a:pt x="532" y="30"/>
                  </a:lnTo>
                  <a:lnTo>
                    <a:pt x="528" y="30"/>
                  </a:lnTo>
                  <a:lnTo>
                    <a:pt x="530" y="32"/>
                  </a:lnTo>
                  <a:lnTo>
                    <a:pt x="522" y="33"/>
                  </a:lnTo>
                  <a:lnTo>
                    <a:pt x="520" y="30"/>
                  </a:lnTo>
                  <a:lnTo>
                    <a:pt x="517" y="28"/>
                  </a:lnTo>
                  <a:lnTo>
                    <a:pt x="510" y="25"/>
                  </a:lnTo>
                  <a:lnTo>
                    <a:pt x="508" y="27"/>
                  </a:lnTo>
                  <a:lnTo>
                    <a:pt x="505" y="25"/>
                  </a:lnTo>
                  <a:lnTo>
                    <a:pt x="502" y="27"/>
                  </a:lnTo>
                  <a:lnTo>
                    <a:pt x="507" y="30"/>
                  </a:lnTo>
                  <a:lnTo>
                    <a:pt x="505" y="32"/>
                  </a:lnTo>
                  <a:lnTo>
                    <a:pt x="510" y="33"/>
                  </a:lnTo>
                  <a:lnTo>
                    <a:pt x="513" y="32"/>
                  </a:lnTo>
                  <a:lnTo>
                    <a:pt x="520" y="37"/>
                  </a:lnTo>
                  <a:lnTo>
                    <a:pt x="520" y="40"/>
                  </a:lnTo>
                  <a:lnTo>
                    <a:pt x="522" y="47"/>
                  </a:lnTo>
                  <a:lnTo>
                    <a:pt x="517" y="47"/>
                  </a:lnTo>
                  <a:lnTo>
                    <a:pt x="515" y="52"/>
                  </a:lnTo>
                  <a:lnTo>
                    <a:pt x="513" y="48"/>
                  </a:lnTo>
                  <a:lnTo>
                    <a:pt x="510" y="48"/>
                  </a:lnTo>
                  <a:lnTo>
                    <a:pt x="505" y="50"/>
                  </a:lnTo>
                  <a:lnTo>
                    <a:pt x="492" y="50"/>
                  </a:lnTo>
                  <a:lnTo>
                    <a:pt x="487" y="47"/>
                  </a:lnTo>
                  <a:lnTo>
                    <a:pt x="485" y="48"/>
                  </a:lnTo>
                  <a:lnTo>
                    <a:pt x="480" y="50"/>
                  </a:lnTo>
                  <a:lnTo>
                    <a:pt x="480" y="55"/>
                  </a:lnTo>
                  <a:lnTo>
                    <a:pt x="475" y="53"/>
                  </a:lnTo>
                  <a:lnTo>
                    <a:pt x="477" y="60"/>
                  </a:lnTo>
                  <a:lnTo>
                    <a:pt x="475" y="57"/>
                  </a:lnTo>
                  <a:lnTo>
                    <a:pt x="470" y="55"/>
                  </a:lnTo>
                  <a:lnTo>
                    <a:pt x="469" y="58"/>
                  </a:lnTo>
                  <a:lnTo>
                    <a:pt x="470" y="62"/>
                  </a:lnTo>
                  <a:lnTo>
                    <a:pt x="470" y="63"/>
                  </a:lnTo>
                  <a:lnTo>
                    <a:pt x="464" y="62"/>
                  </a:lnTo>
                  <a:lnTo>
                    <a:pt x="460" y="65"/>
                  </a:lnTo>
                  <a:lnTo>
                    <a:pt x="464" y="67"/>
                  </a:lnTo>
                  <a:lnTo>
                    <a:pt x="460" y="68"/>
                  </a:lnTo>
                  <a:lnTo>
                    <a:pt x="457" y="70"/>
                  </a:lnTo>
                  <a:lnTo>
                    <a:pt x="457" y="73"/>
                  </a:lnTo>
                  <a:lnTo>
                    <a:pt x="460" y="76"/>
                  </a:lnTo>
                  <a:lnTo>
                    <a:pt x="462" y="78"/>
                  </a:lnTo>
                  <a:lnTo>
                    <a:pt x="457" y="76"/>
                  </a:lnTo>
                  <a:lnTo>
                    <a:pt x="454" y="78"/>
                  </a:lnTo>
                  <a:lnTo>
                    <a:pt x="449" y="78"/>
                  </a:lnTo>
                  <a:lnTo>
                    <a:pt x="445" y="85"/>
                  </a:lnTo>
                  <a:lnTo>
                    <a:pt x="442" y="91"/>
                  </a:lnTo>
                  <a:lnTo>
                    <a:pt x="439" y="93"/>
                  </a:lnTo>
                  <a:lnTo>
                    <a:pt x="437" y="98"/>
                  </a:lnTo>
                  <a:lnTo>
                    <a:pt x="434" y="101"/>
                  </a:lnTo>
                  <a:lnTo>
                    <a:pt x="437" y="103"/>
                  </a:lnTo>
                  <a:lnTo>
                    <a:pt x="445" y="105"/>
                  </a:lnTo>
                  <a:lnTo>
                    <a:pt x="442" y="106"/>
                  </a:lnTo>
                  <a:lnTo>
                    <a:pt x="440" y="110"/>
                  </a:lnTo>
                  <a:lnTo>
                    <a:pt x="449" y="111"/>
                  </a:lnTo>
                  <a:lnTo>
                    <a:pt x="445" y="113"/>
                  </a:lnTo>
                  <a:lnTo>
                    <a:pt x="439" y="113"/>
                  </a:lnTo>
                  <a:lnTo>
                    <a:pt x="437" y="110"/>
                  </a:lnTo>
                  <a:lnTo>
                    <a:pt x="437" y="113"/>
                  </a:lnTo>
                  <a:lnTo>
                    <a:pt x="442" y="116"/>
                  </a:lnTo>
                  <a:lnTo>
                    <a:pt x="442" y="121"/>
                  </a:lnTo>
                  <a:lnTo>
                    <a:pt x="445" y="126"/>
                  </a:lnTo>
                  <a:lnTo>
                    <a:pt x="439" y="121"/>
                  </a:lnTo>
                  <a:lnTo>
                    <a:pt x="435" y="115"/>
                  </a:lnTo>
                  <a:lnTo>
                    <a:pt x="430" y="115"/>
                  </a:lnTo>
                  <a:lnTo>
                    <a:pt x="430" y="116"/>
                  </a:lnTo>
                  <a:lnTo>
                    <a:pt x="429" y="120"/>
                  </a:lnTo>
                  <a:lnTo>
                    <a:pt x="429" y="116"/>
                  </a:lnTo>
                  <a:lnTo>
                    <a:pt x="419" y="110"/>
                  </a:lnTo>
                  <a:lnTo>
                    <a:pt x="410" y="111"/>
                  </a:lnTo>
                  <a:lnTo>
                    <a:pt x="414" y="115"/>
                  </a:lnTo>
                  <a:lnTo>
                    <a:pt x="410" y="116"/>
                  </a:lnTo>
                  <a:lnTo>
                    <a:pt x="407" y="115"/>
                  </a:lnTo>
                  <a:lnTo>
                    <a:pt x="405" y="115"/>
                  </a:lnTo>
                  <a:lnTo>
                    <a:pt x="404" y="116"/>
                  </a:lnTo>
                  <a:lnTo>
                    <a:pt x="407" y="121"/>
                  </a:lnTo>
                  <a:lnTo>
                    <a:pt x="405" y="123"/>
                  </a:lnTo>
                  <a:lnTo>
                    <a:pt x="405" y="121"/>
                  </a:lnTo>
                  <a:lnTo>
                    <a:pt x="404" y="123"/>
                  </a:lnTo>
                  <a:lnTo>
                    <a:pt x="404" y="125"/>
                  </a:lnTo>
                  <a:lnTo>
                    <a:pt x="399" y="126"/>
                  </a:lnTo>
                  <a:lnTo>
                    <a:pt x="392" y="128"/>
                  </a:lnTo>
                  <a:lnTo>
                    <a:pt x="397" y="126"/>
                  </a:lnTo>
                  <a:lnTo>
                    <a:pt x="400" y="121"/>
                  </a:lnTo>
                  <a:lnTo>
                    <a:pt x="400" y="115"/>
                  </a:lnTo>
                  <a:lnTo>
                    <a:pt x="404" y="110"/>
                  </a:lnTo>
                  <a:lnTo>
                    <a:pt x="402" y="108"/>
                  </a:lnTo>
                  <a:lnTo>
                    <a:pt x="397" y="106"/>
                  </a:lnTo>
                  <a:lnTo>
                    <a:pt x="390" y="96"/>
                  </a:lnTo>
                  <a:lnTo>
                    <a:pt x="387" y="91"/>
                  </a:lnTo>
                  <a:lnTo>
                    <a:pt x="380" y="90"/>
                  </a:lnTo>
                  <a:lnTo>
                    <a:pt x="376" y="86"/>
                  </a:lnTo>
                  <a:lnTo>
                    <a:pt x="372" y="88"/>
                  </a:lnTo>
                  <a:lnTo>
                    <a:pt x="376" y="90"/>
                  </a:lnTo>
                  <a:lnTo>
                    <a:pt x="372" y="91"/>
                  </a:lnTo>
                  <a:lnTo>
                    <a:pt x="369" y="96"/>
                  </a:lnTo>
                  <a:lnTo>
                    <a:pt x="366" y="95"/>
                  </a:lnTo>
                  <a:lnTo>
                    <a:pt x="367" y="93"/>
                  </a:lnTo>
                  <a:lnTo>
                    <a:pt x="362" y="93"/>
                  </a:lnTo>
                  <a:lnTo>
                    <a:pt x="361" y="96"/>
                  </a:lnTo>
                  <a:lnTo>
                    <a:pt x="357" y="90"/>
                  </a:lnTo>
                  <a:lnTo>
                    <a:pt x="356" y="90"/>
                  </a:lnTo>
                  <a:lnTo>
                    <a:pt x="354" y="93"/>
                  </a:lnTo>
                  <a:lnTo>
                    <a:pt x="357" y="95"/>
                  </a:lnTo>
                  <a:lnTo>
                    <a:pt x="354" y="98"/>
                  </a:lnTo>
                  <a:lnTo>
                    <a:pt x="352" y="103"/>
                  </a:lnTo>
                  <a:lnTo>
                    <a:pt x="354" y="105"/>
                  </a:lnTo>
                  <a:lnTo>
                    <a:pt x="349" y="108"/>
                  </a:lnTo>
                  <a:lnTo>
                    <a:pt x="346" y="105"/>
                  </a:lnTo>
                  <a:lnTo>
                    <a:pt x="344" y="105"/>
                  </a:lnTo>
                  <a:lnTo>
                    <a:pt x="342" y="103"/>
                  </a:lnTo>
                  <a:lnTo>
                    <a:pt x="346" y="98"/>
                  </a:lnTo>
                  <a:lnTo>
                    <a:pt x="342" y="98"/>
                  </a:lnTo>
                  <a:lnTo>
                    <a:pt x="341" y="103"/>
                  </a:lnTo>
                  <a:lnTo>
                    <a:pt x="336" y="105"/>
                  </a:lnTo>
                  <a:lnTo>
                    <a:pt x="334" y="108"/>
                  </a:lnTo>
                  <a:lnTo>
                    <a:pt x="332" y="111"/>
                  </a:lnTo>
                  <a:lnTo>
                    <a:pt x="339" y="115"/>
                  </a:lnTo>
                  <a:lnTo>
                    <a:pt x="334" y="118"/>
                  </a:lnTo>
                  <a:lnTo>
                    <a:pt x="329" y="116"/>
                  </a:lnTo>
                  <a:lnTo>
                    <a:pt x="322" y="120"/>
                  </a:lnTo>
                  <a:lnTo>
                    <a:pt x="324" y="123"/>
                  </a:lnTo>
                  <a:lnTo>
                    <a:pt x="331" y="123"/>
                  </a:lnTo>
                  <a:lnTo>
                    <a:pt x="329" y="128"/>
                  </a:lnTo>
                  <a:lnTo>
                    <a:pt x="326" y="128"/>
                  </a:lnTo>
                  <a:lnTo>
                    <a:pt x="321" y="123"/>
                  </a:lnTo>
                  <a:lnTo>
                    <a:pt x="316" y="126"/>
                  </a:lnTo>
                  <a:lnTo>
                    <a:pt x="312" y="128"/>
                  </a:lnTo>
                  <a:lnTo>
                    <a:pt x="312" y="131"/>
                  </a:lnTo>
                  <a:lnTo>
                    <a:pt x="314" y="135"/>
                  </a:lnTo>
                  <a:lnTo>
                    <a:pt x="314" y="136"/>
                  </a:lnTo>
                  <a:lnTo>
                    <a:pt x="317" y="136"/>
                  </a:lnTo>
                  <a:lnTo>
                    <a:pt x="314" y="140"/>
                  </a:lnTo>
                  <a:lnTo>
                    <a:pt x="316" y="143"/>
                  </a:lnTo>
                  <a:lnTo>
                    <a:pt x="312" y="145"/>
                  </a:lnTo>
                  <a:lnTo>
                    <a:pt x="309" y="148"/>
                  </a:lnTo>
                  <a:lnTo>
                    <a:pt x="317" y="150"/>
                  </a:lnTo>
                  <a:lnTo>
                    <a:pt x="312" y="151"/>
                  </a:lnTo>
                  <a:lnTo>
                    <a:pt x="311" y="155"/>
                  </a:lnTo>
                  <a:lnTo>
                    <a:pt x="306" y="153"/>
                  </a:lnTo>
                  <a:lnTo>
                    <a:pt x="304" y="150"/>
                  </a:lnTo>
                  <a:lnTo>
                    <a:pt x="301" y="148"/>
                  </a:lnTo>
                  <a:lnTo>
                    <a:pt x="296" y="150"/>
                  </a:lnTo>
                  <a:lnTo>
                    <a:pt x="294" y="146"/>
                  </a:lnTo>
                  <a:lnTo>
                    <a:pt x="291" y="145"/>
                  </a:lnTo>
                  <a:lnTo>
                    <a:pt x="287" y="146"/>
                  </a:lnTo>
                  <a:lnTo>
                    <a:pt x="292" y="151"/>
                  </a:lnTo>
                  <a:lnTo>
                    <a:pt x="291" y="151"/>
                  </a:lnTo>
                  <a:lnTo>
                    <a:pt x="287" y="156"/>
                  </a:lnTo>
                  <a:lnTo>
                    <a:pt x="292" y="160"/>
                  </a:lnTo>
                  <a:lnTo>
                    <a:pt x="297" y="160"/>
                  </a:lnTo>
                  <a:lnTo>
                    <a:pt x="296" y="163"/>
                  </a:lnTo>
                  <a:lnTo>
                    <a:pt x="296" y="168"/>
                  </a:lnTo>
                  <a:lnTo>
                    <a:pt x="294" y="166"/>
                  </a:lnTo>
                  <a:lnTo>
                    <a:pt x="291" y="166"/>
                  </a:lnTo>
                  <a:lnTo>
                    <a:pt x="292" y="171"/>
                  </a:lnTo>
                  <a:lnTo>
                    <a:pt x="291" y="174"/>
                  </a:lnTo>
                  <a:lnTo>
                    <a:pt x="289" y="181"/>
                  </a:lnTo>
                  <a:lnTo>
                    <a:pt x="281" y="166"/>
                  </a:lnTo>
                  <a:lnTo>
                    <a:pt x="276" y="156"/>
                  </a:lnTo>
                  <a:lnTo>
                    <a:pt x="274" y="153"/>
                  </a:lnTo>
                  <a:lnTo>
                    <a:pt x="276" y="148"/>
                  </a:lnTo>
                  <a:lnTo>
                    <a:pt x="273" y="151"/>
                  </a:lnTo>
                  <a:lnTo>
                    <a:pt x="268" y="155"/>
                  </a:lnTo>
                  <a:lnTo>
                    <a:pt x="268" y="160"/>
                  </a:lnTo>
                  <a:lnTo>
                    <a:pt x="263" y="161"/>
                  </a:lnTo>
                  <a:lnTo>
                    <a:pt x="263" y="163"/>
                  </a:lnTo>
                  <a:lnTo>
                    <a:pt x="258" y="163"/>
                  </a:lnTo>
                  <a:lnTo>
                    <a:pt x="254" y="166"/>
                  </a:lnTo>
                  <a:lnTo>
                    <a:pt x="251" y="170"/>
                  </a:lnTo>
                  <a:lnTo>
                    <a:pt x="253" y="174"/>
                  </a:lnTo>
                  <a:lnTo>
                    <a:pt x="253" y="186"/>
                  </a:lnTo>
                  <a:lnTo>
                    <a:pt x="254" y="188"/>
                  </a:lnTo>
                  <a:lnTo>
                    <a:pt x="254" y="191"/>
                  </a:lnTo>
                  <a:lnTo>
                    <a:pt x="249" y="193"/>
                  </a:lnTo>
                  <a:lnTo>
                    <a:pt x="248" y="198"/>
                  </a:lnTo>
                  <a:lnTo>
                    <a:pt x="241" y="199"/>
                  </a:lnTo>
                  <a:lnTo>
                    <a:pt x="241" y="203"/>
                  </a:lnTo>
                  <a:lnTo>
                    <a:pt x="236" y="206"/>
                  </a:lnTo>
                  <a:lnTo>
                    <a:pt x="236" y="211"/>
                  </a:lnTo>
                  <a:lnTo>
                    <a:pt x="233" y="214"/>
                  </a:lnTo>
                  <a:lnTo>
                    <a:pt x="224" y="223"/>
                  </a:lnTo>
                  <a:lnTo>
                    <a:pt x="211" y="231"/>
                  </a:lnTo>
                  <a:lnTo>
                    <a:pt x="198" y="231"/>
                  </a:lnTo>
                  <a:lnTo>
                    <a:pt x="193" y="233"/>
                  </a:lnTo>
                  <a:lnTo>
                    <a:pt x="186" y="234"/>
                  </a:lnTo>
                  <a:lnTo>
                    <a:pt x="180" y="236"/>
                  </a:lnTo>
                  <a:lnTo>
                    <a:pt x="175" y="234"/>
                  </a:lnTo>
                  <a:lnTo>
                    <a:pt x="166" y="236"/>
                  </a:lnTo>
                  <a:lnTo>
                    <a:pt x="166" y="241"/>
                  </a:lnTo>
                  <a:lnTo>
                    <a:pt x="161" y="243"/>
                  </a:lnTo>
                  <a:lnTo>
                    <a:pt x="145" y="243"/>
                  </a:lnTo>
                  <a:lnTo>
                    <a:pt x="141" y="244"/>
                  </a:lnTo>
                  <a:lnTo>
                    <a:pt x="140" y="248"/>
                  </a:lnTo>
                  <a:lnTo>
                    <a:pt x="130" y="253"/>
                  </a:lnTo>
                  <a:lnTo>
                    <a:pt x="121" y="253"/>
                  </a:lnTo>
                  <a:lnTo>
                    <a:pt x="118" y="251"/>
                  </a:lnTo>
                  <a:lnTo>
                    <a:pt x="115" y="251"/>
                  </a:lnTo>
                  <a:lnTo>
                    <a:pt x="113" y="248"/>
                  </a:lnTo>
                  <a:lnTo>
                    <a:pt x="108" y="249"/>
                  </a:lnTo>
                  <a:lnTo>
                    <a:pt x="105" y="256"/>
                  </a:lnTo>
                  <a:lnTo>
                    <a:pt x="95" y="258"/>
                  </a:lnTo>
                  <a:lnTo>
                    <a:pt x="93" y="259"/>
                  </a:lnTo>
                  <a:lnTo>
                    <a:pt x="91" y="259"/>
                  </a:lnTo>
                  <a:lnTo>
                    <a:pt x="83" y="266"/>
                  </a:lnTo>
                  <a:lnTo>
                    <a:pt x="73" y="269"/>
                  </a:lnTo>
                  <a:lnTo>
                    <a:pt x="58" y="274"/>
                  </a:lnTo>
                  <a:lnTo>
                    <a:pt x="53" y="281"/>
                  </a:lnTo>
                  <a:lnTo>
                    <a:pt x="53" y="287"/>
                  </a:lnTo>
                  <a:lnTo>
                    <a:pt x="47" y="292"/>
                  </a:lnTo>
                  <a:lnTo>
                    <a:pt x="43" y="291"/>
                  </a:lnTo>
                  <a:lnTo>
                    <a:pt x="45" y="287"/>
                  </a:lnTo>
                  <a:lnTo>
                    <a:pt x="45" y="284"/>
                  </a:lnTo>
                  <a:lnTo>
                    <a:pt x="47" y="279"/>
                  </a:lnTo>
                  <a:lnTo>
                    <a:pt x="47" y="274"/>
                  </a:lnTo>
                  <a:lnTo>
                    <a:pt x="38" y="281"/>
                  </a:lnTo>
                  <a:lnTo>
                    <a:pt x="37" y="286"/>
                  </a:lnTo>
                  <a:lnTo>
                    <a:pt x="32" y="296"/>
                  </a:lnTo>
                  <a:lnTo>
                    <a:pt x="35" y="302"/>
                  </a:lnTo>
                  <a:lnTo>
                    <a:pt x="33" y="307"/>
                  </a:lnTo>
                  <a:lnTo>
                    <a:pt x="33" y="319"/>
                  </a:lnTo>
                  <a:lnTo>
                    <a:pt x="23" y="329"/>
                  </a:lnTo>
                  <a:lnTo>
                    <a:pt x="20" y="344"/>
                  </a:lnTo>
                  <a:lnTo>
                    <a:pt x="23" y="351"/>
                  </a:lnTo>
                  <a:lnTo>
                    <a:pt x="22" y="361"/>
                  </a:lnTo>
                  <a:lnTo>
                    <a:pt x="30" y="374"/>
                  </a:lnTo>
                  <a:lnTo>
                    <a:pt x="30" y="379"/>
                  </a:lnTo>
                  <a:lnTo>
                    <a:pt x="33" y="382"/>
                  </a:lnTo>
                  <a:lnTo>
                    <a:pt x="30" y="389"/>
                  </a:lnTo>
                  <a:lnTo>
                    <a:pt x="32" y="395"/>
                  </a:lnTo>
                  <a:lnTo>
                    <a:pt x="27" y="397"/>
                  </a:lnTo>
                  <a:lnTo>
                    <a:pt x="25" y="394"/>
                  </a:lnTo>
                  <a:lnTo>
                    <a:pt x="25" y="385"/>
                  </a:lnTo>
                  <a:lnTo>
                    <a:pt x="22" y="390"/>
                  </a:lnTo>
                  <a:lnTo>
                    <a:pt x="20" y="389"/>
                  </a:lnTo>
                  <a:lnTo>
                    <a:pt x="20" y="382"/>
                  </a:lnTo>
                  <a:lnTo>
                    <a:pt x="15" y="372"/>
                  </a:lnTo>
                  <a:lnTo>
                    <a:pt x="12" y="377"/>
                  </a:lnTo>
                  <a:lnTo>
                    <a:pt x="13" y="385"/>
                  </a:lnTo>
                  <a:lnTo>
                    <a:pt x="20" y="392"/>
                  </a:lnTo>
                  <a:lnTo>
                    <a:pt x="25" y="400"/>
                  </a:lnTo>
                  <a:lnTo>
                    <a:pt x="18" y="402"/>
                  </a:lnTo>
                  <a:lnTo>
                    <a:pt x="12" y="395"/>
                  </a:lnTo>
                  <a:lnTo>
                    <a:pt x="12" y="387"/>
                  </a:lnTo>
                  <a:lnTo>
                    <a:pt x="8" y="390"/>
                  </a:lnTo>
                  <a:lnTo>
                    <a:pt x="7" y="392"/>
                  </a:lnTo>
                  <a:lnTo>
                    <a:pt x="10" y="399"/>
                  </a:lnTo>
                  <a:lnTo>
                    <a:pt x="18" y="409"/>
                  </a:lnTo>
                  <a:lnTo>
                    <a:pt x="23" y="420"/>
                  </a:lnTo>
                  <a:lnTo>
                    <a:pt x="23" y="444"/>
                  </a:lnTo>
                  <a:lnTo>
                    <a:pt x="27" y="447"/>
                  </a:lnTo>
                  <a:lnTo>
                    <a:pt x="28" y="460"/>
                  </a:lnTo>
                  <a:lnTo>
                    <a:pt x="37" y="475"/>
                  </a:lnTo>
                  <a:lnTo>
                    <a:pt x="33" y="482"/>
                  </a:lnTo>
                  <a:lnTo>
                    <a:pt x="35" y="507"/>
                  </a:lnTo>
                  <a:lnTo>
                    <a:pt x="33" y="510"/>
                  </a:lnTo>
                  <a:lnTo>
                    <a:pt x="35" y="517"/>
                  </a:lnTo>
                  <a:lnTo>
                    <a:pt x="35" y="523"/>
                  </a:lnTo>
                  <a:lnTo>
                    <a:pt x="40" y="535"/>
                  </a:lnTo>
                  <a:lnTo>
                    <a:pt x="42" y="540"/>
                  </a:lnTo>
                  <a:lnTo>
                    <a:pt x="37" y="543"/>
                  </a:lnTo>
                  <a:lnTo>
                    <a:pt x="38" y="545"/>
                  </a:lnTo>
                  <a:lnTo>
                    <a:pt x="37" y="552"/>
                  </a:lnTo>
                  <a:lnTo>
                    <a:pt x="37" y="560"/>
                  </a:lnTo>
                  <a:lnTo>
                    <a:pt x="32" y="565"/>
                  </a:lnTo>
                  <a:lnTo>
                    <a:pt x="33" y="566"/>
                  </a:lnTo>
                  <a:lnTo>
                    <a:pt x="32" y="573"/>
                  </a:lnTo>
                  <a:lnTo>
                    <a:pt x="28" y="575"/>
                  </a:lnTo>
                  <a:lnTo>
                    <a:pt x="28" y="581"/>
                  </a:lnTo>
                  <a:lnTo>
                    <a:pt x="20" y="586"/>
                  </a:lnTo>
                  <a:lnTo>
                    <a:pt x="17" y="583"/>
                  </a:lnTo>
                  <a:lnTo>
                    <a:pt x="12" y="591"/>
                  </a:lnTo>
                  <a:lnTo>
                    <a:pt x="12" y="6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6156014" y="1963391"/>
              <a:ext cx="2252873" cy="885062"/>
              <a:chOff x="6156014" y="1963391"/>
              <a:chExt cx="2252873" cy="885062"/>
            </a:xfrm>
            <a:grpFill/>
          </p:grpSpPr>
          <p:sp>
            <p:nvSpPr>
              <p:cNvPr id="107" name="Freeform 6"/>
              <p:cNvSpPr>
                <a:spLocks noEditPoints="1"/>
              </p:cNvSpPr>
              <p:nvPr/>
            </p:nvSpPr>
            <p:spPr bwMode="auto">
              <a:xfrm>
                <a:off x="6700770" y="1963391"/>
                <a:ext cx="1708117" cy="804131"/>
              </a:xfrm>
              <a:custGeom>
                <a:avLst/>
                <a:gdLst/>
                <a:ahLst/>
                <a:cxnLst>
                  <a:cxn ang="0">
                    <a:pos x="2490" y="1201"/>
                  </a:cxn>
                  <a:cxn ang="0">
                    <a:pos x="2291" y="1125"/>
                  </a:cxn>
                  <a:cxn ang="0">
                    <a:pos x="2137" y="1103"/>
                  </a:cxn>
                  <a:cxn ang="0">
                    <a:pos x="1789" y="1206"/>
                  </a:cxn>
                  <a:cxn ang="0">
                    <a:pos x="1494" y="1221"/>
                  </a:cxn>
                  <a:cxn ang="0">
                    <a:pos x="1110" y="1140"/>
                  </a:cxn>
                  <a:cxn ang="0">
                    <a:pos x="828" y="1160"/>
                  </a:cxn>
                  <a:cxn ang="0">
                    <a:pos x="668" y="1274"/>
                  </a:cxn>
                  <a:cxn ang="0">
                    <a:pos x="550" y="1411"/>
                  </a:cxn>
                  <a:cxn ang="0">
                    <a:pos x="376" y="1489"/>
                  </a:cxn>
                  <a:cxn ang="0">
                    <a:pos x="228" y="1264"/>
                  </a:cxn>
                  <a:cxn ang="0">
                    <a:pos x="60" y="987"/>
                  </a:cxn>
                  <a:cxn ang="0">
                    <a:pos x="67" y="618"/>
                  </a:cxn>
                  <a:cxn ang="0">
                    <a:pos x="246" y="756"/>
                  </a:cxn>
                  <a:cxn ang="0">
                    <a:pos x="203" y="851"/>
                  </a:cxn>
                  <a:cxn ang="0">
                    <a:pos x="311" y="658"/>
                  </a:cxn>
                  <a:cxn ang="0">
                    <a:pos x="485" y="652"/>
                  </a:cxn>
                  <a:cxn ang="0">
                    <a:pos x="723" y="595"/>
                  </a:cxn>
                  <a:cxn ang="0">
                    <a:pos x="788" y="439"/>
                  </a:cxn>
                  <a:cxn ang="0">
                    <a:pos x="901" y="670"/>
                  </a:cxn>
                  <a:cxn ang="0">
                    <a:pos x="823" y="434"/>
                  </a:cxn>
                  <a:cxn ang="0">
                    <a:pos x="999" y="467"/>
                  </a:cxn>
                  <a:cxn ang="0">
                    <a:pos x="951" y="319"/>
                  </a:cxn>
                  <a:cxn ang="0">
                    <a:pos x="1027" y="178"/>
                  </a:cxn>
                  <a:cxn ang="0">
                    <a:pos x="1142" y="78"/>
                  </a:cxn>
                  <a:cxn ang="0">
                    <a:pos x="1351" y="47"/>
                  </a:cxn>
                  <a:cxn ang="0">
                    <a:pos x="1366" y="255"/>
                  </a:cxn>
                  <a:cxn ang="0">
                    <a:pos x="1578" y="183"/>
                  </a:cxn>
                  <a:cxn ang="0">
                    <a:pos x="1798" y="173"/>
                  </a:cxn>
                  <a:cxn ang="0">
                    <a:pos x="2019" y="205"/>
                  </a:cxn>
                  <a:cxn ang="0">
                    <a:pos x="2120" y="137"/>
                  </a:cxn>
                  <a:cxn ang="0">
                    <a:pos x="2500" y="155"/>
                  </a:cxn>
                  <a:cxn ang="0">
                    <a:pos x="2710" y="59"/>
                  </a:cxn>
                  <a:cxn ang="0">
                    <a:pos x="3053" y="105"/>
                  </a:cxn>
                  <a:cxn ang="0">
                    <a:pos x="3142" y="138"/>
                  </a:cxn>
                  <a:cxn ang="0">
                    <a:pos x="3035" y="198"/>
                  </a:cxn>
                  <a:cxn ang="0">
                    <a:pos x="3087" y="349"/>
                  </a:cxn>
                  <a:cxn ang="0">
                    <a:pos x="3053" y="595"/>
                  </a:cxn>
                  <a:cxn ang="0">
                    <a:pos x="2969" y="735"/>
                  </a:cxn>
                  <a:cxn ang="0">
                    <a:pos x="2974" y="1022"/>
                  </a:cxn>
                  <a:cxn ang="0">
                    <a:pos x="2879" y="567"/>
                  </a:cxn>
                  <a:cxn ang="0">
                    <a:pos x="2796" y="562"/>
                  </a:cxn>
                  <a:cxn ang="0">
                    <a:pos x="2681" y="735"/>
                  </a:cxn>
                  <a:cxn ang="0">
                    <a:pos x="2452" y="858"/>
                  </a:cxn>
                  <a:cxn ang="0">
                    <a:pos x="2588" y="1027"/>
                  </a:cxn>
                  <a:cxn ang="0">
                    <a:pos x="2529" y="1392"/>
                  </a:cxn>
                  <a:cxn ang="0">
                    <a:pos x="469" y="416"/>
                  </a:cxn>
                  <a:cxn ang="0">
                    <a:pos x="607" y="196"/>
                  </a:cxn>
                  <a:cxn ang="0">
                    <a:pos x="421" y="318"/>
                  </a:cxn>
                  <a:cxn ang="0">
                    <a:pos x="449" y="525"/>
                  </a:cxn>
                  <a:cxn ang="0">
                    <a:pos x="404" y="497"/>
                  </a:cxn>
                  <a:cxn ang="0">
                    <a:pos x="163" y="804"/>
                  </a:cxn>
                  <a:cxn ang="0">
                    <a:pos x="514" y="622"/>
                  </a:cxn>
                  <a:cxn ang="0">
                    <a:pos x="731" y="394"/>
                  </a:cxn>
                  <a:cxn ang="0">
                    <a:pos x="884" y="397"/>
                  </a:cxn>
                  <a:cxn ang="0">
                    <a:pos x="962" y="271"/>
                  </a:cxn>
                  <a:cxn ang="0">
                    <a:pos x="1446" y="175"/>
                  </a:cxn>
                  <a:cxn ang="0">
                    <a:pos x="2625" y="88"/>
                  </a:cxn>
                  <a:cxn ang="0">
                    <a:pos x="2653" y="1063"/>
                  </a:cxn>
                  <a:cxn ang="0">
                    <a:pos x="2666" y="1176"/>
                  </a:cxn>
                  <a:cxn ang="0">
                    <a:pos x="2663" y="723"/>
                  </a:cxn>
                  <a:cxn ang="0">
                    <a:pos x="2941" y="1117"/>
                  </a:cxn>
                  <a:cxn ang="0">
                    <a:pos x="2847" y="1274"/>
                  </a:cxn>
                </a:cxnLst>
                <a:rect l="0" t="0" r="r" b="b"/>
                <a:pathLst>
                  <a:path w="3193" h="1550">
                    <a:moveTo>
                      <a:pt x="2477" y="1409"/>
                    </a:moveTo>
                    <a:lnTo>
                      <a:pt x="2477" y="1407"/>
                    </a:lnTo>
                    <a:lnTo>
                      <a:pt x="2472" y="1404"/>
                    </a:lnTo>
                    <a:lnTo>
                      <a:pt x="2472" y="1404"/>
                    </a:lnTo>
                    <a:lnTo>
                      <a:pt x="2474" y="1402"/>
                    </a:lnTo>
                    <a:lnTo>
                      <a:pt x="2474" y="1399"/>
                    </a:lnTo>
                    <a:lnTo>
                      <a:pt x="2472" y="1399"/>
                    </a:lnTo>
                    <a:lnTo>
                      <a:pt x="2470" y="1394"/>
                    </a:lnTo>
                    <a:lnTo>
                      <a:pt x="2470" y="1392"/>
                    </a:lnTo>
                    <a:lnTo>
                      <a:pt x="2474" y="1391"/>
                    </a:lnTo>
                    <a:lnTo>
                      <a:pt x="2480" y="1392"/>
                    </a:lnTo>
                    <a:lnTo>
                      <a:pt x="2480" y="1391"/>
                    </a:lnTo>
                    <a:lnTo>
                      <a:pt x="2482" y="1387"/>
                    </a:lnTo>
                    <a:lnTo>
                      <a:pt x="2480" y="1386"/>
                    </a:lnTo>
                    <a:lnTo>
                      <a:pt x="2480" y="1382"/>
                    </a:lnTo>
                    <a:lnTo>
                      <a:pt x="2482" y="1381"/>
                    </a:lnTo>
                    <a:lnTo>
                      <a:pt x="2482" y="1376"/>
                    </a:lnTo>
                    <a:lnTo>
                      <a:pt x="2482" y="1372"/>
                    </a:lnTo>
                    <a:lnTo>
                      <a:pt x="2479" y="1371"/>
                    </a:lnTo>
                    <a:lnTo>
                      <a:pt x="2479" y="1362"/>
                    </a:lnTo>
                    <a:lnTo>
                      <a:pt x="2479" y="1359"/>
                    </a:lnTo>
                    <a:lnTo>
                      <a:pt x="2477" y="1354"/>
                    </a:lnTo>
                    <a:lnTo>
                      <a:pt x="2477" y="1351"/>
                    </a:lnTo>
                    <a:lnTo>
                      <a:pt x="2475" y="1346"/>
                    </a:lnTo>
                    <a:lnTo>
                      <a:pt x="2474" y="1344"/>
                    </a:lnTo>
                    <a:lnTo>
                      <a:pt x="2472" y="1341"/>
                    </a:lnTo>
                    <a:lnTo>
                      <a:pt x="2465" y="1333"/>
                    </a:lnTo>
                    <a:lnTo>
                      <a:pt x="2464" y="1329"/>
                    </a:lnTo>
                    <a:lnTo>
                      <a:pt x="2465" y="1328"/>
                    </a:lnTo>
                    <a:lnTo>
                      <a:pt x="2469" y="1326"/>
                    </a:lnTo>
                    <a:lnTo>
                      <a:pt x="2472" y="1324"/>
                    </a:lnTo>
                    <a:lnTo>
                      <a:pt x="2474" y="1323"/>
                    </a:lnTo>
                    <a:lnTo>
                      <a:pt x="2475" y="1319"/>
                    </a:lnTo>
                    <a:lnTo>
                      <a:pt x="2479" y="1313"/>
                    </a:lnTo>
                    <a:lnTo>
                      <a:pt x="2480" y="1313"/>
                    </a:lnTo>
                    <a:lnTo>
                      <a:pt x="2485" y="1314"/>
                    </a:lnTo>
                    <a:lnTo>
                      <a:pt x="2489" y="1314"/>
                    </a:lnTo>
                    <a:lnTo>
                      <a:pt x="2504" y="1318"/>
                    </a:lnTo>
                    <a:lnTo>
                      <a:pt x="2505" y="1318"/>
                    </a:lnTo>
                    <a:lnTo>
                      <a:pt x="2509" y="1318"/>
                    </a:lnTo>
                    <a:lnTo>
                      <a:pt x="2510" y="1316"/>
                    </a:lnTo>
                    <a:lnTo>
                      <a:pt x="2510" y="1313"/>
                    </a:lnTo>
                    <a:lnTo>
                      <a:pt x="2509" y="1309"/>
                    </a:lnTo>
                    <a:lnTo>
                      <a:pt x="2509" y="1308"/>
                    </a:lnTo>
                    <a:lnTo>
                      <a:pt x="2509" y="1306"/>
                    </a:lnTo>
                    <a:lnTo>
                      <a:pt x="2509" y="1304"/>
                    </a:lnTo>
                    <a:lnTo>
                      <a:pt x="2507" y="1301"/>
                    </a:lnTo>
                    <a:lnTo>
                      <a:pt x="2509" y="1298"/>
                    </a:lnTo>
                    <a:lnTo>
                      <a:pt x="2510" y="1296"/>
                    </a:lnTo>
                    <a:lnTo>
                      <a:pt x="2510" y="1293"/>
                    </a:lnTo>
                    <a:lnTo>
                      <a:pt x="2509" y="1289"/>
                    </a:lnTo>
                    <a:lnTo>
                      <a:pt x="2510" y="1288"/>
                    </a:lnTo>
                    <a:lnTo>
                      <a:pt x="2512" y="1288"/>
                    </a:lnTo>
                    <a:lnTo>
                      <a:pt x="2512" y="1284"/>
                    </a:lnTo>
                    <a:lnTo>
                      <a:pt x="2512" y="1283"/>
                    </a:lnTo>
                    <a:lnTo>
                      <a:pt x="2510" y="1279"/>
                    </a:lnTo>
                    <a:lnTo>
                      <a:pt x="2510" y="1278"/>
                    </a:lnTo>
                    <a:lnTo>
                      <a:pt x="2514" y="1276"/>
                    </a:lnTo>
                    <a:lnTo>
                      <a:pt x="2514" y="1274"/>
                    </a:lnTo>
                    <a:lnTo>
                      <a:pt x="2512" y="1271"/>
                    </a:lnTo>
                    <a:lnTo>
                      <a:pt x="2510" y="1268"/>
                    </a:lnTo>
                    <a:lnTo>
                      <a:pt x="2510" y="1263"/>
                    </a:lnTo>
                    <a:lnTo>
                      <a:pt x="2512" y="1261"/>
                    </a:lnTo>
                    <a:lnTo>
                      <a:pt x="2512" y="1261"/>
                    </a:lnTo>
                    <a:lnTo>
                      <a:pt x="2512" y="1259"/>
                    </a:lnTo>
                    <a:lnTo>
                      <a:pt x="2512" y="1258"/>
                    </a:lnTo>
                    <a:lnTo>
                      <a:pt x="2512" y="1255"/>
                    </a:lnTo>
                    <a:lnTo>
                      <a:pt x="2509" y="1253"/>
                    </a:lnTo>
                    <a:lnTo>
                      <a:pt x="2509" y="1251"/>
                    </a:lnTo>
                    <a:lnTo>
                      <a:pt x="2509" y="1248"/>
                    </a:lnTo>
                    <a:lnTo>
                      <a:pt x="2510" y="1245"/>
                    </a:lnTo>
                    <a:lnTo>
                      <a:pt x="2509" y="1243"/>
                    </a:lnTo>
                    <a:lnTo>
                      <a:pt x="2507" y="1241"/>
                    </a:lnTo>
                    <a:lnTo>
                      <a:pt x="2507" y="1240"/>
                    </a:lnTo>
                    <a:lnTo>
                      <a:pt x="2510" y="1235"/>
                    </a:lnTo>
                    <a:lnTo>
                      <a:pt x="2514" y="1235"/>
                    </a:lnTo>
                    <a:lnTo>
                      <a:pt x="2514" y="1233"/>
                    </a:lnTo>
                    <a:lnTo>
                      <a:pt x="2515" y="1230"/>
                    </a:lnTo>
                    <a:lnTo>
                      <a:pt x="2515" y="1225"/>
                    </a:lnTo>
                    <a:lnTo>
                      <a:pt x="2512" y="1223"/>
                    </a:lnTo>
                    <a:lnTo>
                      <a:pt x="2510" y="1221"/>
                    </a:lnTo>
                    <a:lnTo>
                      <a:pt x="2510" y="1218"/>
                    </a:lnTo>
                    <a:lnTo>
                      <a:pt x="2505" y="1213"/>
                    </a:lnTo>
                    <a:lnTo>
                      <a:pt x="2505" y="1211"/>
                    </a:lnTo>
                    <a:lnTo>
                      <a:pt x="2507" y="1210"/>
                    </a:lnTo>
                    <a:lnTo>
                      <a:pt x="2505" y="1206"/>
                    </a:lnTo>
                    <a:lnTo>
                      <a:pt x="2504" y="1203"/>
                    </a:lnTo>
                    <a:lnTo>
                      <a:pt x="2499" y="1203"/>
                    </a:lnTo>
                    <a:lnTo>
                      <a:pt x="2497" y="1201"/>
                    </a:lnTo>
                    <a:lnTo>
                      <a:pt x="2492" y="1200"/>
                    </a:lnTo>
                    <a:lnTo>
                      <a:pt x="2490" y="1201"/>
                    </a:lnTo>
                    <a:lnTo>
                      <a:pt x="2485" y="1203"/>
                    </a:lnTo>
                    <a:lnTo>
                      <a:pt x="2484" y="1205"/>
                    </a:lnTo>
                    <a:lnTo>
                      <a:pt x="2482" y="1208"/>
                    </a:lnTo>
                    <a:lnTo>
                      <a:pt x="2480" y="1208"/>
                    </a:lnTo>
                    <a:lnTo>
                      <a:pt x="2477" y="1210"/>
                    </a:lnTo>
                    <a:lnTo>
                      <a:pt x="2477" y="1213"/>
                    </a:lnTo>
                    <a:lnTo>
                      <a:pt x="2472" y="1213"/>
                    </a:lnTo>
                    <a:lnTo>
                      <a:pt x="2469" y="1213"/>
                    </a:lnTo>
                    <a:lnTo>
                      <a:pt x="2467" y="1216"/>
                    </a:lnTo>
                    <a:lnTo>
                      <a:pt x="2467" y="1220"/>
                    </a:lnTo>
                    <a:lnTo>
                      <a:pt x="2464" y="1221"/>
                    </a:lnTo>
                    <a:lnTo>
                      <a:pt x="2462" y="1226"/>
                    </a:lnTo>
                    <a:lnTo>
                      <a:pt x="2462" y="1228"/>
                    </a:lnTo>
                    <a:lnTo>
                      <a:pt x="2460" y="1230"/>
                    </a:lnTo>
                    <a:lnTo>
                      <a:pt x="2457" y="1231"/>
                    </a:lnTo>
                    <a:lnTo>
                      <a:pt x="2450" y="1233"/>
                    </a:lnTo>
                    <a:lnTo>
                      <a:pt x="2449" y="1233"/>
                    </a:lnTo>
                    <a:lnTo>
                      <a:pt x="2444" y="1233"/>
                    </a:lnTo>
                    <a:lnTo>
                      <a:pt x="2442" y="1235"/>
                    </a:lnTo>
                    <a:lnTo>
                      <a:pt x="2441" y="1236"/>
                    </a:lnTo>
                    <a:lnTo>
                      <a:pt x="2439" y="1233"/>
                    </a:lnTo>
                    <a:lnTo>
                      <a:pt x="2436" y="1230"/>
                    </a:lnTo>
                    <a:lnTo>
                      <a:pt x="2432" y="1230"/>
                    </a:lnTo>
                    <a:lnTo>
                      <a:pt x="2429" y="1231"/>
                    </a:lnTo>
                    <a:lnTo>
                      <a:pt x="2426" y="1233"/>
                    </a:lnTo>
                    <a:lnTo>
                      <a:pt x="2424" y="1231"/>
                    </a:lnTo>
                    <a:lnTo>
                      <a:pt x="2421" y="1226"/>
                    </a:lnTo>
                    <a:lnTo>
                      <a:pt x="2419" y="1225"/>
                    </a:lnTo>
                    <a:lnTo>
                      <a:pt x="2414" y="1220"/>
                    </a:lnTo>
                    <a:lnTo>
                      <a:pt x="2414" y="1216"/>
                    </a:lnTo>
                    <a:lnTo>
                      <a:pt x="2416" y="1216"/>
                    </a:lnTo>
                    <a:lnTo>
                      <a:pt x="2416" y="1211"/>
                    </a:lnTo>
                    <a:lnTo>
                      <a:pt x="2414" y="1208"/>
                    </a:lnTo>
                    <a:lnTo>
                      <a:pt x="2414" y="1205"/>
                    </a:lnTo>
                    <a:lnTo>
                      <a:pt x="2409" y="1205"/>
                    </a:lnTo>
                    <a:lnTo>
                      <a:pt x="2409" y="1201"/>
                    </a:lnTo>
                    <a:lnTo>
                      <a:pt x="2409" y="1198"/>
                    </a:lnTo>
                    <a:lnTo>
                      <a:pt x="2411" y="1196"/>
                    </a:lnTo>
                    <a:lnTo>
                      <a:pt x="2412" y="1193"/>
                    </a:lnTo>
                    <a:lnTo>
                      <a:pt x="2409" y="1193"/>
                    </a:lnTo>
                    <a:lnTo>
                      <a:pt x="2407" y="1193"/>
                    </a:lnTo>
                    <a:lnTo>
                      <a:pt x="2406" y="1195"/>
                    </a:lnTo>
                    <a:lnTo>
                      <a:pt x="2402" y="1195"/>
                    </a:lnTo>
                    <a:lnTo>
                      <a:pt x="2399" y="1195"/>
                    </a:lnTo>
                    <a:lnTo>
                      <a:pt x="2396" y="1195"/>
                    </a:lnTo>
                    <a:lnTo>
                      <a:pt x="2394" y="1193"/>
                    </a:lnTo>
                    <a:lnTo>
                      <a:pt x="2392" y="1193"/>
                    </a:lnTo>
                    <a:lnTo>
                      <a:pt x="2391" y="1191"/>
                    </a:lnTo>
                    <a:lnTo>
                      <a:pt x="2386" y="1190"/>
                    </a:lnTo>
                    <a:lnTo>
                      <a:pt x="2384" y="1188"/>
                    </a:lnTo>
                    <a:lnTo>
                      <a:pt x="2382" y="1185"/>
                    </a:lnTo>
                    <a:lnTo>
                      <a:pt x="2381" y="1186"/>
                    </a:lnTo>
                    <a:lnTo>
                      <a:pt x="2379" y="1183"/>
                    </a:lnTo>
                    <a:lnTo>
                      <a:pt x="2377" y="1181"/>
                    </a:lnTo>
                    <a:lnTo>
                      <a:pt x="2376" y="1181"/>
                    </a:lnTo>
                    <a:lnTo>
                      <a:pt x="2372" y="1178"/>
                    </a:lnTo>
                    <a:lnTo>
                      <a:pt x="2372" y="1176"/>
                    </a:lnTo>
                    <a:lnTo>
                      <a:pt x="2371" y="1175"/>
                    </a:lnTo>
                    <a:lnTo>
                      <a:pt x="2367" y="1175"/>
                    </a:lnTo>
                    <a:lnTo>
                      <a:pt x="2366" y="1178"/>
                    </a:lnTo>
                    <a:lnTo>
                      <a:pt x="2364" y="1176"/>
                    </a:lnTo>
                    <a:lnTo>
                      <a:pt x="2361" y="1178"/>
                    </a:lnTo>
                    <a:lnTo>
                      <a:pt x="2361" y="1180"/>
                    </a:lnTo>
                    <a:lnTo>
                      <a:pt x="2357" y="1178"/>
                    </a:lnTo>
                    <a:lnTo>
                      <a:pt x="2356" y="1176"/>
                    </a:lnTo>
                    <a:lnTo>
                      <a:pt x="2354" y="1175"/>
                    </a:lnTo>
                    <a:lnTo>
                      <a:pt x="2349" y="1175"/>
                    </a:lnTo>
                    <a:lnTo>
                      <a:pt x="2348" y="1173"/>
                    </a:lnTo>
                    <a:lnTo>
                      <a:pt x="2349" y="1171"/>
                    </a:lnTo>
                    <a:lnTo>
                      <a:pt x="2349" y="1170"/>
                    </a:lnTo>
                    <a:lnTo>
                      <a:pt x="2346" y="1170"/>
                    </a:lnTo>
                    <a:lnTo>
                      <a:pt x="2343" y="1171"/>
                    </a:lnTo>
                    <a:lnTo>
                      <a:pt x="2338" y="1171"/>
                    </a:lnTo>
                    <a:lnTo>
                      <a:pt x="2336" y="1173"/>
                    </a:lnTo>
                    <a:lnTo>
                      <a:pt x="2334" y="1171"/>
                    </a:lnTo>
                    <a:lnTo>
                      <a:pt x="2331" y="1171"/>
                    </a:lnTo>
                    <a:lnTo>
                      <a:pt x="2328" y="1171"/>
                    </a:lnTo>
                    <a:lnTo>
                      <a:pt x="2326" y="1168"/>
                    </a:lnTo>
                    <a:lnTo>
                      <a:pt x="2323" y="1168"/>
                    </a:lnTo>
                    <a:lnTo>
                      <a:pt x="2316" y="1161"/>
                    </a:lnTo>
                    <a:lnTo>
                      <a:pt x="2314" y="1158"/>
                    </a:lnTo>
                    <a:lnTo>
                      <a:pt x="2314" y="1155"/>
                    </a:lnTo>
                    <a:lnTo>
                      <a:pt x="2314" y="1152"/>
                    </a:lnTo>
                    <a:lnTo>
                      <a:pt x="2311" y="1152"/>
                    </a:lnTo>
                    <a:lnTo>
                      <a:pt x="2308" y="1150"/>
                    </a:lnTo>
                    <a:lnTo>
                      <a:pt x="2308" y="1145"/>
                    </a:lnTo>
                    <a:lnTo>
                      <a:pt x="2306" y="1143"/>
                    </a:lnTo>
                    <a:lnTo>
                      <a:pt x="2306" y="1140"/>
                    </a:lnTo>
                    <a:lnTo>
                      <a:pt x="2304" y="1135"/>
                    </a:lnTo>
                    <a:lnTo>
                      <a:pt x="2294" y="1130"/>
                    </a:lnTo>
                    <a:lnTo>
                      <a:pt x="2291" y="1125"/>
                    </a:lnTo>
                    <a:lnTo>
                      <a:pt x="2289" y="1122"/>
                    </a:lnTo>
                    <a:lnTo>
                      <a:pt x="2288" y="1118"/>
                    </a:lnTo>
                    <a:lnTo>
                      <a:pt x="2284" y="1120"/>
                    </a:lnTo>
                    <a:lnTo>
                      <a:pt x="2284" y="1118"/>
                    </a:lnTo>
                    <a:lnTo>
                      <a:pt x="2284" y="1117"/>
                    </a:lnTo>
                    <a:lnTo>
                      <a:pt x="2284" y="1115"/>
                    </a:lnTo>
                    <a:lnTo>
                      <a:pt x="2281" y="1112"/>
                    </a:lnTo>
                    <a:lnTo>
                      <a:pt x="2279" y="1108"/>
                    </a:lnTo>
                    <a:lnTo>
                      <a:pt x="2278" y="1107"/>
                    </a:lnTo>
                    <a:lnTo>
                      <a:pt x="2276" y="1105"/>
                    </a:lnTo>
                    <a:lnTo>
                      <a:pt x="2273" y="1100"/>
                    </a:lnTo>
                    <a:lnTo>
                      <a:pt x="2271" y="1097"/>
                    </a:lnTo>
                    <a:lnTo>
                      <a:pt x="2266" y="1093"/>
                    </a:lnTo>
                    <a:lnTo>
                      <a:pt x="2266" y="1092"/>
                    </a:lnTo>
                    <a:lnTo>
                      <a:pt x="2268" y="1088"/>
                    </a:lnTo>
                    <a:lnTo>
                      <a:pt x="2266" y="1087"/>
                    </a:lnTo>
                    <a:lnTo>
                      <a:pt x="2259" y="1087"/>
                    </a:lnTo>
                    <a:lnTo>
                      <a:pt x="2259" y="1085"/>
                    </a:lnTo>
                    <a:lnTo>
                      <a:pt x="2259" y="1082"/>
                    </a:lnTo>
                    <a:lnTo>
                      <a:pt x="2258" y="1080"/>
                    </a:lnTo>
                    <a:lnTo>
                      <a:pt x="2258" y="1077"/>
                    </a:lnTo>
                    <a:lnTo>
                      <a:pt x="2256" y="1075"/>
                    </a:lnTo>
                    <a:lnTo>
                      <a:pt x="2253" y="1073"/>
                    </a:lnTo>
                    <a:lnTo>
                      <a:pt x="2253" y="1072"/>
                    </a:lnTo>
                    <a:lnTo>
                      <a:pt x="2251" y="1070"/>
                    </a:lnTo>
                    <a:lnTo>
                      <a:pt x="2250" y="1070"/>
                    </a:lnTo>
                    <a:lnTo>
                      <a:pt x="2246" y="1068"/>
                    </a:lnTo>
                    <a:lnTo>
                      <a:pt x="2245" y="1067"/>
                    </a:lnTo>
                    <a:lnTo>
                      <a:pt x="2246" y="1065"/>
                    </a:lnTo>
                    <a:lnTo>
                      <a:pt x="2245" y="1063"/>
                    </a:lnTo>
                    <a:lnTo>
                      <a:pt x="2241" y="1062"/>
                    </a:lnTo>
                    <a:lnTo>
                      <a:pt x="2240" y="1063"/>
                    </a:lnTo>
                    <a:lnTo>
                      <a:pt x="2238" y="1062"/>
                    </a:lnTo>
                    <a:lnTo>
                      <a:pt x="2235" y="1062"/>
                    </a:lnTo>
                    <a:lnTo>
                      <a:pt x="2235" y="1060"/>
                    </a:lnTo>
                    <a:lnTo>
                      <a:pt x="2235" y="1059"/>
                    </a:lnTo>
                    <a:lnTo>
                      <a:pt x="2233" y="1055"/>
                    </a:lnTo>
                    <a:lnTo>
                      <a:pt x="2230" y="1055"/>
                    </a:lnTo>
                    <a:lnTo>
                      <a:pt x="2228" y="1055"/>
                    </a:lnTo>
                    <a:lnTo>
                      <a:pt x="2226" y="1052"/>
                    </a:lnTo>
                    <a:lnTo>
                      <a:pt x="2223" y="1054"/>
                    </a:lnTo>
                    <a:lnTo>
                      <a:pt x="2220" y="1054"/>
                    </a:lnTo>
                    <a:lnTo>
                      <a:pt x="2218" y="1052"/>
                    </a:lnTo>
                    <a:lnTo>
                      <a:pt x="2216" y="1054"/>
                    </a:lnTo>
                    <a:lnTo>
                      <a:pt x="2216" y="1057"/>
                    </a:lnTo>
                    <a:lnTo>
                      <a:pt x="2215" y="1057"/>
                    </a:lnTo>
                    <a:lnTo>
                      <a:pt x="2210" y="1055"/>
                    </a:lnTo>
                    <a:lnTo>
                      <a:pt x="2208" y="1054"/>
                    </a:lnTo>
                    <a:lnTo>
                      <a:pt x="2205" y="1055"/>
                    </a:lnTo>
                    <a:lnTo>
                      <a:pt x="2200" y="1055"/>
                    </a:lnTo>
                    <a:lnTo>
                      <a:pt x="2198" y="1054"/>
                    </a:lnTo>
                    <a:lnTo>
                      <a:pt x="2196" y="1050"/>
                    </a:lnTo>
                    <a:lnTo>
                      <a:pt x="2188" y="1050"/>
                    </a:lnTo>
                    <a:lnTo>
                      <a:pt x="2185" y="1049"/>
                    </a:lnTo>
                    <a:lnTo>
                      <a:pt x="2181" y="1047"/>
                    </a:lnTo>
                    <a:lnTo>
                      <a:pt x="2178" y="1047"/>
                    </a:lnTo>
                    <a:lnTo>
                      <a:pt x="2176" y="1047"/>
                    </a:lnTo>
                    <a:lnTo>
                      <a:pt x="2170" y="1049"/>
                    </a:lnTo>
                    <a:lnTo>
                      <a:pt x="2168" y="1052"/>
                    </a:lnTo>
                    <a:lnTo>
                      <a:pt x="2166" y="1052"/>
                    </a:lnTo>
                    <a:lnTo>
                      <a:pt x="2165" y="1054"/>
                    </a:lnTo>
                    <a:lnTo>
                      <a:pt x="2160" y="1054"/>
                    </a:lnTo>
                    <a:lnTo>
                      <a:pt x="2156" y="1054"/>
                    </a:lnTo>
                    <a:lnTo>
                      <a:pt x="2151" y="1054"/>
                    </a:lnTo>
                    <a:lnTo>
                      <a:pt x="2148" y="1055"/>
                    </a:lnTo>
                    <a:lnTo>
                      <a:pt x="2145" y="1055"/>
                    </a:lnTo>
                    <a:lnTo>
                      <a:pt x="2142" y="1059"/>
                    </a:lnTo>
                    <a:lnTo>
                      <a:pt x="2138" y="1060"/>
                    </a:lnTo>
                    <a:lnTo>
                      <a:pt x="2135" y="1060"/>
                    </a:lnTo>
                    <a:lnTo>
                      <a:pt x="2135" y="1060"/>
                    </a:lnTo>
                    <a:lnTo>
                      <a:pt x="2132" y="1062"/>
                    </a:lnTo>
                    <a:lnTo>
                      <a:pt x="2128" y="1062"/>
                    </a:lnTo>
                    <a:lnTo>
                      <a:pt x="2122" y="1062"/>
                    </a:lnTo>
                    <a:lnTo>
                      <a:pt x="2120" y="1065"/>
                    </a:lnTo>
                    <a:lnTo>
                      <a:pt x="2120" y="1067"/>
                    </a:lnTo>
                    <a:lnTo>
                      <a:pt x="2115" y="1072"/>
                    </a:lnTo>
                    <a:lnTo>
                      <a:pt x="2115" y="1075"/>
                    </a:lnTo>
                    <a:lnTo>
                      <a:pt x="2112" y="1077"/>
                    </a:lnTo>
                    <a:lnTo>
                      <a:pt x="2112" y="1080"/>
                    </a:lnTo>
                    <a:lnTo>
                      <a:pt x="2110" y="1082"/>
                    </a:lnTo>
                    <a:lnTo>
                      <a:pt x="2110" y="1087"/>
                    </a:lnTo>
                    <a:lnTo>
                      <a:pt x="2112" y="1088"/>
                    </a:lnTo>
                    <a:lnTo>
                      <a:pt x="2115" y="1088"/>
                    </a:lnTo>
                    <a:lnTo>
                      <a:pt x="2120" y="1087"/>
                    </a:lnTo>
                    <a:lnTo>
                      <a:pt x="2123" y="1085"/>
                    </a:lnTo>
                    <a:lnTo>
                      <a:pt x="2127" y="1085"/>
                    </a:lnTo>
                    <a:lnTo>
                      <a:pt x="2130" y="1090"/>
                    </a:lnTo>
                    <a:lnTo>
                      <a:pt x="2132" y="1095"/>
                    </a:lnTo>
                    <a:lnTo>
                      <a:pt x="2135" y="1097"/>
                    </a:lnTo>
                    <a:lnTo>
                      <a:pt x="2135" y="1100"/>
                    </a:lnTo>
                    <a:lnTo>
                      <a:pt x="2137" y="1103"/>
                    </a:lnTo>
                    <a:lnTo>
                      <a:pt x="2137" y="1108"/>
                    </a:lnTo>
                    <a:lnTo>
                      <a:pt x="2133" y="1110"/>
                    </a:lnTo>
                    <a:lnTo>
                      <a:pt x="2130" y="1115"/>
                    </a:lnTo>
                    <a:lnTo>
                      <a:pt x="2128" y="1120"/>
                    </a:lnTo>
                    <a:lnTo>
                      <a:pt x="2127" y="1122"/>
                    </a:lnTo>
                    <a:lnTo>
                      <a:pt x="2123" y="1127"/>
                    </a:lnTo>
                    <a:lnTo>
                      <a:pt x="2123" y="1130"/>
                    </a:lnTo>
                    <a:lnTo>
                      <a:pt x="2125" y="1133"/>
                    </a:lnTo>
                    <a:lnTo>
                      <a:pt x="2125" y="1137"/>
                    </a:lnTo>
                    <a:lnTo>
                      <a:pt x="2125" y="1140"/>
                    </a:lnTo>
                    <a:lnTo>
                      <a:pt x="2128" y="1143"/>
                    </a:lnTo>
                    <a:lnTo>
                      <a:pt x="2128" y="1147"/>
                    </a:lnTo>
                    <a:lnTo>
                      <a:pt x="2125" y="1148"/>
                    </a:lnTo>
                    <a:lnTo>
                      <a:pt x="2123" y="1152"/>
                    </a:lnTo>
                    <a:lnTo>
                      <a:pt x="2125" y="1155"/>
                    </a:lnTo>
                    <a:lnTo>
                      <a:pt x="2125" y="1161"/>
                    </a:lnTo>
                    <a:lnTo>
                      <a:pt x="2125" y="1163"/>
                    </a:lnTo>
                    <a:lnTo>
                      <a:pt x="2125" y="1170"/>
                    </a:lnTo>
                    <a:lnTo>
                      <a:pt x="2127" y="1170"/>
                    </a:lnTo>
                    <a:lnTo>
                      <a:pt x="2128" y="1171"/>
                    </a:lnTo>
                    <a:lnTo>
                      <a:pt x="2132" y="1170"/>
                    </a:lnTo>
                    <a:lnTo>
                      <a:pt x="2133" y="1171"/>
                    </a:lnTo>
                    <a:lnTo>
                      <a:pt x="2133" y="1175"/>
                    </a:lnTo>
                    <a:lnTo>
                      <a:pt x="2132" y="1180"/>
                    </a:lnTo>
                    <a:lnTo>
                      <a:pt x="2128" y="1183"/>
                    </a:lnTo>
                    <a:lnTo>
                      <a:pt x="2120" y="1185"/>
                    </a:lnTo>
                    <a:lnTo>
                      <a:pt x="2115" y="1188"/>
                    </a:lnTo>
                    <a:lnTo>
                      <a:pt x="2103" y="1198"/>
                    </a:lnTo>
                    <a:lnTo>
                      <a:pt x="2100" y="1198"/>
                    </a:lnTo>
                    <a:lnTo>
                      <a:pt x="2097" y="1195"/>
                    </a:lnTo>
                    <a:lnTo>
                      <a:pt x="2090" y="1195"/>
                    </a:lnTo>
                    <a:lnTo>
                      <a:pt x="2085" y="1195"/>
                    </a:lnTo>
                    <a:lnTo>
                      <a:pt x="2085" y="1193"/>
                    </a:lnTo>
                    <a:lnTo>
                      <a:pt x="2080" y="1193"/>
                    </a:lnTo>
                    <a:lnTo>
                      <a:pt x="2078" y="1195"/>
                    </a:lnTo>
                    <a:lnTo>
                      <a:pt x="2075" y="1191"/>
                    </a:lnTo>
                    <a:lnTo>
                      <a:pt x="2067" y="1190"/>
                    </a:lnTo>
                    <a:lnTo>
                      <a:pt x="2058" y="1190"/>
                    </a:lnTo>
                    <a:lnTo>
                      <a:pt x="2058" y="1193"/>
                    </a:lnTo>
                    <a:lnTo>
                      <a:pt x="2053" y="1196"/>
                    </a:lnTo>
                    <a:lnTo>
                      <a:pt x="2049" y="1196"/>
                    </a:lnTo>
                    <a:lnTo>
                      <a:pt x="2047" y="1195"/>
                    </a:lnTo>
                    <a:lnTo>
                      <a:pt x="2042" y="1196"/>
                    </a:lnTo>
                    <a:lnTo>
                      <a:pt x="2039" y="1195"/>
                    </a:lnTo>
                    <a:lnTo>
                      <a:pt x="2035" y="1191"/>
                    </a:lnTo>
                    <a:lnTo>
                      <a:pt x="2030" y="1188"/>
                    </a:lnTo>
                    <a:lnTo>
                      <a:pt x="2025" y="1188"/>
                    </a:lnTo>
                    <a:lnTo>
                      <a:pt x="2019" y="1190"/>
                    </a:lnTo>
                    <a:lnTo>
                      <a:pt x="2017" y="1188"/>
                    </a:lnTo>
                    <a:lnTo>
                      <a:pt x="2012" y="1188"/>
                    </a:lnTo>
                    <a:lnTo>
                      <a:pt x="2009" y="1191"/>
                    </a:lnTo>
                    <a:lnTo>
                      <a:pt x="2007" y="1196"/>
                    </a:lnTo>
                    <a:lnTo>
                      <a:pt x="2004" y="1200"/>
                    </a:lnTo>
                    <a:lnTo>
                      <a:pt x="1999" y="1201"/>
                    </a:lnTo>
                    <a:lnTo>
                      <a:pt x="1995" y="1205"/>
                    </a:lnTo>
                    <a:lnTo>
                      <a:pt x="1995" y="1208"/>
                    </a:lnTo>
                    <a:lnTo>
                      <a:pt x="1994" y="1211"/>
                    </a:lnTo>
                    <a:lnTo>
                      <a:pt x="1989" y="1215"/>
                    </a:lnTo>
                    <a:lnTo>
                      <a:pt x="1977" y="1215"/>
                    </a:lnTo>
                    <a:lnTo>
                      <a:pt x="1974" y="1216"/>
                    </a:lnTo>
                    <a:lnTo>
                      <a:pt x="1970" y="1220"/>
                    </a:lnTo>
                    <a:lnTo>
                      <a:pt x="1964" y="1220"/>
                    </a:lnTo>
                    <a:lnTo>
                      <a:pt x="1955" y="1225"/>
                    </a:lnTo>
                    <a:lnTo>
                      <a:pt x="1951" y="1230"/>
                    </a:lnTo>
                    <a:lnTo>
                      <a:pt x="1949" y="1230"/>
                    </a:lnTo>
                    <a:lnTo>
                      <a:pt x="1944" y="1228"/>
                    </a:lnTo>
                    <a:lnTo>
                      <a:pt x="1939" y="1228"/>
                    </a:lnTo>
                    <a:lnTo>
                      <a:pt x="1936" y="1230"/>
                    </a:lnTo>
                    <a:lnTo>
                      <a:pt x="1931" y="1231"/>
                    </a:lnTo>
                    <a:lnTo>
                      <a:pt x="1916" y="1231"/>
                    </a:lnTo>
                    <a:lnTo>
                      <a:pt x="1906" y="1228"/>
                    </a:lnTo>
                    <a:lnTo>
                      <a:pt x="1896" y="1230"/>
                    </a:lnTo>
                    <a:lnTo>
                      <a:pt x="1891" y="1230"/>
                    </a:lnTo>
                    <a:lnTo>
                      <a:pt x="1887" y="1225"/>
                    </a:lnTo>
                    <a:lnTo>
                      <a:pt x="1884" y="1225"/>
                    </a:lnTo>
                    <a:lnTo>
                      <a:pt x="1881" y="1223"/>
                    </a:lnTo>
                    <a:lnTo>
                      <a:pt x="1876" y="1220"/>
                    </a:lnTo>
                    <a:lnTo>
                      <a:pt x="1874" y="1213"/>
                    </a:lnTo>
                    <a:lnTo>
                      <a:pt x="1871" y="1211"/>
                    </a:lnTo>
                    <a:lnTo>
                      <a:pt x="1866" y="1211"/>
                    </a:lnTo>
                    <a:lnTo>
                      <a:pt x="1859" y="1211"/>
                    </a:lnTo>
                    <a:lnTo>
                      <a:pt x="1851" y="1210"/>
                    </a:lnTo>
                    <a:lnTo>
                      <a:pt x="1846" y="1203"/>
                    </a:lnTo>
                    <a:lnTo>
                      <a:pt x="1836" y="1203"/>
                    </a:lnTo>
                    <a:lnTo>
                      <a:pt x="1829" y="1201"/>
                    </a:lnTo>
                    <a:lnTo>
                      <a:pt x="1824" y="1200"/>
                    </a:lnTo>
                    <a:lnTo>
                      <a:pt x="1818" y="1201"/>
                    </a:lnTo>
                    <a:lnTo>
                      <a:pt x="1811" y="1201"/>
                    </a:lnTo>
                    <a:lnTo>
                      <a:pt x="1806" y="1203"/>
                    </a:lnTo>
                    <a:lnTo>
                      <a:pt x="1796" y="1205"/>
                    </a:lnTo>
                    <a:lnTo>
                      <a:pt x="1789" y="1206"/>
                    </a:lnTo>
                    <a:lnTo>
                      <a:pt x="1786" y="1211"/>
                    </a:lnTo>
                    <a:lnTo>
                      <a:pt x="1783" y="1211"/>
                    </a:lnTo>
                    <a:lnTo>
                      <a:pt x="1779" y="1210"/>
                    </a:lnTo>
                    <a:lnTo>
                      <a:pt x="1776" y="1210"/>
                    </a:lnTo>
                    <a:lnTo>
                      <a:pt x="1773" y="1213"/>
                    </a:lnTo>
                    <a:lnTo>
                      <a:pt x="1764" y="1211"/>
                    </a:lnTo>
                    <a:lnTo>
                      <a:pt x="1763" y="1213"/>
                    </a:lnTo>
                    <a:lnTo>
                      <a:pt x="1759" y="1213"/>
                    </a:lnTo>
                    <a:lnTo>
                      <a:pt x="1753" y="1210"/>
                    </a:lnTo>
                    <a:lnTo>
                      <a:pt x="1745" y="1208"/>
                    </a:lnTo>
                    <a:lnTo>
                      <a:pt x="1745" y="1206"/>
                    </a:lnTo>
                    <a:lnTo>
                      <a:pt x="1740" y="1201"/>
                    </a:lnTo>
                    <a:lnTo>
                      <a:pt x="1736" y="1201"/>
                    </a:lnTo>
                    <a:lnTo>
                      <a:pt x="1733" y="1200"/>
                    </a:lnTo>
                    <a:lnTo>
                      <a:pt x="1733" y="1195"/>
                    </a:lnTo>
                    <a:lnTo>
                      <a:pt x="1731" y="1190"/>
                    </a:lnTo>
                    <a:lnTo>
                      <a:pt x="1728" y="1188"/>
                    </a:lnTo>
                    <a:lnTo>
                      <a:pt x="1728" y="1185"/>
                    </a:lnTo>
                    <a:lnTo>
                      <a:pt x="1726" y="1181"/>
                    </a:lnTo>
                    <a:lnTo>
                      <a:pt x="1726" y="1180"/>
                    </a:lnTo>
                    <a:lnTo>
                      <a:pt x="1725" y="1176"/>
                    </a:lnTo>
                    <a:lnTo>
                      <a:pt x="1721" y="1175"/>
                    </a:lnTo>
                    <a:lnTo>
                      <a:pt x="1710" y="1175"/>
                    </a:lnTo>
                    <a:lnTo>
                      <a:pt x="1706" y="1175"/>
                    </a:lnTo>
                    <a:lnTo>
                      <a:pt x="1703" y="1173"/>
                    </a:lnTo>
                    <a:lnTo>
                      <a:pt x="1696" y="1171"/>
                    </a:lnTo>
                    <a:lnTo>
                      <a:pt x="1695" y="1170"/>
                    </a:lnTo>
                    <a:lnTo>
                      <a:pt x="1691" y="1168"/>
                    </a:lnTo>
                    <a:lnTo>
                      <a:pt x="1681" y="1168"/>
                    </a:lnTo>
                    <a:lnTo>
                      <a:pt x="1676" y="1168"/>
                    </a:lnTo>
                    <a:lnTo>
                      <a:pt x="1670" y="1166"/>
                    </a:lnTo>
                    <a:lnTo>
                      <a:pt x="1670" y="1165"/>
                    </a:lnTo>
                    <a:lnTo>
                      <a:pt x="1663" y="1161"/>
                    </a:lnTo>
                    <a:lnTo>
                      <a:pt x="1656" y="1160"/>
                    </a:lnTo>
                    <a:lnTo>
                      <a:pt x="1653" y="1158"/>
                    </a:lnTo>
                    <a:lnTo>
                      <a:pt x="1648" y="1158"/>
                    </a:lnTo>
                    <a:lnTo>
                      <a:pt x="1647" y="1160"/>
                    </a:lnTo>
                    <a:lnTo>
                      <a:pt x="1645" y="1163"/>
                    </a:lnTo>
                    <a:lnTo>
                      <a:pt x="1647" y="1168"/>
                    </a:lnTo>
                    <a:lnTo>
                      <a:pt x="1645" y="1171"/>
                    </a:lnTo>
                    <a:lnTo>
                      <a:pt x="1643" y="1170"/>
                    </a:lnTo>
                    <a:lnTo>
                      <a:pt x="1638" y="1171"/>
                    </a:lnTo>
                    <a:lnTo>
                      <a:pt x="1637" y="1175"/>
                    </a:lnTo>
                    <a:lnTo>
                      <a:pt x="1637" y="1178"/>
                    </a:lnTo>
                    <a:lnTo>
                      <a:pt x="1632" y="1183"/>
                    </a:lnTo>
                    <a:lnTo>
                      <a:pt x="1632" y="1195"/>
                    </a:lnTo>
                    <a:lnTo>
                      <a:pt x="1633" y="1200"/>
                    </a:lnTo>
                    <a:lnTo>
                      <a:pt x="1640" y="1201"/>
                    </a:lnTo>
                    <a:lnTo>
                      <a:pt x="1642" y="1205"/>
                    </a:lnTo>
                    <a:lnTo>
                      <a:pt x="1647" y="1206"/>
                    </a:lnTo>
                    <a:lnTo>
                      <a:pt x="1648" y="1208"/>
                    </a:lnTo>
                    <a:lnTo>
                      <a:pt x="1647" y="1216"/>
                    </a:lnTo>
                    <a:lnTo>
                      <a:pt x="1647" y="1223"/>
                    </a:lnTo>
                    <a:lnTo>
                      <a:pt x="1652" y="1225"/>
                    </a:lnTo>
                    <a:lnTo>
                      <a:pt x="1653" y="1228"/>
                    </a:lnTo>
                    <a:lnTo>
                      <a:pt x="1648" y="1235"/>
                    </a:lnTo>
                    <a:lnTo>
                      <a:pt x="1642" y="1236"/>
                    </a:lnTo>
                    <a:lnTo>
                      <a:pt x="1637" y="1235"/>
                    </a:lnTo>
                    <a:lnTo>
                      <a:pt x="1635" y="1236"/>
                    </a:lnTo>
                    <a:lnTo>
                      <a:pt x="1630" y="1236"/>
                    </a:lnTo>
                    <a:lnTo>
                      <a:pt x="1627" y="1235"/>
                    </a:lnTo>
                    <a:lnTo>
                      <a:pt x="1617" y="1235"/>
                    </a:lnTo>
                    <a:lnTo>
                      <a:pt x="1612" y="1236"/>
                    </a:lnTo>
                    <a:lnTo>
                      <a:pt x="1608" y="1233"/>
                    </a:lnTo>
                    <a:lnTo>
                      <a:pt x="1605" y="1231"/>
                    </a:lnTo>
                    <a:lnTo>
                      <a:pt x="1600" y="1233"/>
                    </a:lnTo>
                    <a:lnTo>
                      <a:pt x="1595" y="1236"/>
                    </a:lnTo>
                    <a:lnTo>
                      <a:pt x="1590" y="1238"/>
                    </a:lnTo>
                    <a:lnTo>
                      <a:pt x="1587" y="1240"/>
                    </a:lnTo>
                    <a:lnTo>
                      <a:pt x="1578" y="1236"/>
                    </a:lnTo>
                    <a:lnTo>
                      <a:pt x="1573" y="1233"/>
                    </a:lnTo>
                    <a:lnTo>
                      <a:pt x="1562" y="1226"/>
                    </a:lnTo>
                    <a:lnTo>
                      <a:pt x="1560" y="1223"/>
                    </a:lnTo>
                    <a:lnTo>
                      <a:pt x="1558" y="1220"/>
                    </a:lnTo>
                    <a:lnTo>
                      <a:pt x="1558" y="1216"/>
                    </a:lnTo>
                    <a:lnTo>
                      <a:pt x="1550" y="1216"/>
                    </a:lnTo>
                    <a:lnTo>
                      <a:pt x="1547" y="1218"/>
                    </a:lnTo>
                    <a:lnTo>
                      <a:pt x="1542" y="1218"/>
                    </a:lnTo>
                    <a:lnTo>
                      <a:pt x="1540" y="1220"/>
                    </a:lnTo>
                    <a:lnTo>
                      <a:pt x="1534" y="1220"/>
                    </a:lnTo>
                    <a:lnTo>
                      <a:pt x="1532" y="1216"/>
                    </a:lnTo>
                    <a:lnTo>
                      <a:pt x="1530" y="1215"/>
                    </a:lnTo>
                    <a:lnTo>
                      <a:pt x="1529" y="1211"/>
                    </a:lnTo>
                    <a:lnTo>
                      <a:pt x="1527" y="1211"/>
                    </a:lnTo>
                    <a:lnTo>
                      <a:pt x="1524" y="1213"/>
                    </a:lnTo>
                    <a:lnTo>
                      <a:pt x="1517" y="1213"/>
                    </a:lnTo>
                    <a:lnTo>
                      <a:pt x="1514" y="1213"/>
                    </a:lnTo>
                    <a:lnTo>
                      <a:pt x="1509" y="1213"/>
                    </a:lnTo>
                    <a:lnTo>
                      <a:pt x="1500" y="1215"/>
                    </a:lnTo>
                    <a:lnTo>
                      <a:pt x="1497" y="1216"/>
                    </a:lnTo>
                    <a:lnTo>
                      <a:pt x="1494" y="1221"/>
                    </a:lnTo>
                    <a:lnTo>
                      <a:pt x="1490" y="1223"/>
                    </a:lnTo>
                    <a:lnTo>
                      <a:pt x="1482" y="1221"/>
                    </a:lnTo>
                    <a:lnTo>
                      <a:pt x="1480" y="1223"/>
                    </a:lnTo>
                    <a:lnTo>
                      <a:pt x="1482" y="1226"/>
                    </a:lnTo>
                    <a:lnTo>
                      <a:pt x="1484" y="1228"/>
                    </a:lnTo>
                    <a:lnTo>
                      <a:pt x="1482" y="1230"/>
                    </a:lnTo>
                    <a:lnTo>
                      <a:pt x="1479" y="1235"/>
                    </a:lnTo>
                    <a:lnTo>
                      <a:pt x="1474" y="1235"/>
                    </a:lnTo>
                    <a:lnTo>
                      <a:pt x="1470" y="1238"/>
                    </a:lnTo>
                    <a:lnTo>
                      <a:pt x="1470" y="1241"/>
                    </a:lnTo>
                    <a:lnTo>
                      <a:pt x="1464" y="1245"/>
                    </a:lnTo>
                    <a:lnTo>
                      <a:pt x="1462" y="1248"/>
                    </a:lnTo>
                    <a:lnTo>
                      <a:pt x="1462" y="1253"/>
                    </a:lnTo>
                    <a:lnTo>
                      <a:pt x="1454" y="1256"/>
                    </a:lnTo>
                    <a:lnTo>
                      <a:pt x="1451" y="1259"/>
                    </a:lnTo>
                    <a:lnTo>
                      <a:pt x="1449" y="1261"/>
                    </a:lnTo>
                    <a:lnTo>
                      <a:pt x="1437" y="1261"/>
                    </a:lnTo>
                    <a:lnTo>
                      <a:pt x="1432" y="1263"/>
                    </a:lnTo>
                    <a:lnTo>
                      <a:pt x="1429" y="1271"/>
                    </a:lnTo>
                    <a:lnTo>
                      <a:pt x="1429" y="1271"/>
                    </a:lnTo>
                    <a:lnTo>
                      <a:pt x="1427" y="1271"/>
                    </a:lnTo>
                    <a:lnTo>
                      <a:pt x="1422" y="1269"/>
                    </a:lnTo>
                    <a:lnTo>
                      <a:pt x="1419" y="1269"/>
                    </a:lnTo>
                    <a:lnTo>
                      <a:pt x="1417" y="1269"/>
                    </a:lnTo>
                    <a:lnTo>
                      <a:pt x="1411" y="1266"/>
                    </a:lnTo>
                    <a:lnTo>
                      <a:pt x="1406" y="1263"/>
                    </a:lnTo>
                    <a:lnTo>
                      <a:pt x="1402" y="1261"/>
                    </a:lnTo>
                    <a:lnTo>
                      <a:pt x="1401" y="1258"/>
                    </a:lnTo>
                    <a:lnTo>
                      <a:pt x="1402" y="1253"/>
                    </a:lnTo>
                    <a:lnTo>
                      <a:pt x="1401" y="1251"/>
                    </a:lnTo>
                    <a:lnTo>
                      <a:pt x="1396" y="1255"/>
                    </a:lnTo>
                    <a:lnTo>
                      <a:pt x="1392" y="1258"/>
                    </a:lnTo>
                    <a:lnTo>
                      <a:pt x="1387" y="1259"/>
                    </a:lnTo>
                    <a:lnTo>
                      <a:pt x="1376" y="1259"/>
                    </a:lnTo>
                    <a:lnTo>
                      <a:pt x="1372" y="1261"/>
                    </a:lnTo>
                    <a:lnTo>
                      <a:pt x="1371" y="1264"/>
                    </a:lnTo>
                    <a:lnTo>
                      <a:pt x="1367" y="1263"/>
                    </a:lnTo>
                    <a:lnTo>
                      <a:pt x="1362" y="1261"/>
                    </a:lnTo>
                    <a:lnTo>
                      <a:pt x="1361" y="1261"/>
                    </a:lnTo>
                    <a:lnTo>
                      <a:pt x="1359" y="1259"/>
                    </a:lnTo>
                    <a:lnTo>
                      <a:pt x="1358" y="1258"/>
                    </a:lnTo>
                    <a:lnTo>
                      <a:pt x="1356" y="1255"/>
                    </a:lnTo>
                    <a:lnTo>
                      <a:pt x="1356" y="1251"/>
                    </a:lnTo>
                    <a:lnTo>
                      <a:pt x="1356" y="1250"/>
                    </a:lnTo>
                    <a:lnTo>
                      <a:pt x="1356" y="1246"/>
                    </a:lnTo>
                    <a:lnTo>
                      <a:pt x="1353" y="1245"/>
                    </a:lnTo>
                    <a:lnTo>
                      <a:pt x="1351" y="1245"/>
                    </a:lnTo>
                    <a:lnTo>
                      <a:pt x="1346" y="1241"/>
                    </a:lnTo>
                    <a:lnTo>
                      <a:pt x="1341" y="1240"/>
                    </a:lnTo>
                    <a:lnTo>
                      <a:pt x="1338" y="1240"/>
                    </a:lnTo>
                    <a:lnTo>
                      <a:pt x="1336" y="1235"/>
                    </a:lnTo>
                    <a:lnTo>
                      <a:pt x="1331" y="1228"/>
                    </a:lnTo>
                    <a:lnTo>
                      <a:pt x="1324" y="1225"/>
                    </a:lnTo>
                    <a:lnTo>
                      <a:pt x="1318" y="1221"/>
                    </a:lnTo>
                    <a:lnTo>
                      <a:pt x="1308" y="1221"/>
                    </a:lnTo>
                    <a:lnTo>
                      <a:pt x="1301" y="1223"/>
                    </a:lnTo>
                    <a:lnTo>
                      <a:pt x="1299" y="1225"/>
                    </a:lnTo>
                    <a:lnTo>
                      <a:pt x="1301" y="1228"/>
                    </a:lnTo>
                    <a:lnTo>
                      <a:pt x="1299" y="1230"/>
                    </a:lnTo>
                    <a:lnTo>
                      <a:pt x="1294" y="1231"/>
                    </a:lnTo>
                    <a:lnTo>
                      <a:pt x="1291" y="1231"/>
                    </a:lnTo>
                    <a:lnTo>
                      <a:pt x="1286" y="1233"/>
                    </a:lnTo>
                    <a:lnTo>
                      <a:pt x="1279" y="1230"/>
                    </a:lnTo>
                    <a:lnTo>
                      <a:pt x="1276" y="1230"/>
                    </a:lnTo>
                    <a:lnTo>
                      <a:pt x="1273" y="1233"/>
                    </a:lnTo>
                    <a:lnTo>
                      <a:pt x="1268" y="1233"/>
                    </a:lnTo>
                    <a:lnTo>
                      <a:pt x="1264" y="1230"/>
                    </a:lnTo>
                    <a:lnTo>
                      <a:pt x="1259" y="1228"/>
                    </a:lnTo>
                    <a:lnTo>
                      <a:pt x="1258" y="1225"/>
                    </a:lnTo>
                    <a:lnTo>
                      <a:pt x="1259" y="1221"/>
                    </a:lnTo>
                    <a:lnTo>
                      <a:pt x="1253" y="1218"/>
                    </a:lnTo>
                    <a:lnTo>
                      <a:pt x="1248" y="1220"/>
                    </a:lnTo>
                    <a:lnTo>
                      <a:pt x="1248" y="1225"/>
                    </a:lnTo>
                    <a:lnTo>
                      <a:pt x="1250" y="1226"/>
                    </a:lnTo>
                    <a:lnTo>
                      <a:pt x="1250" y="1228"/>
                    </a:lnTo>
                    <a:lnTo>
                      <a:pt x="1245" y="1231"/>
                    </a:lnTo>
                    <a:lnTo>
                      <a:pt x="1240" y="1231"/>
                    </a:lnTo>
                    <a:lnTo>
                      <a:pt x="1180" y="1165"/>
                    </a:lnTo>
                    <a:lnTo>
                      <a:pt x="1137" y="1135"/>
                    </a:lnTo>
                    <a:lnTo>
                      <a:pt x="1133" y="1132"/>
                    </a:lnTo>
                    <a:lnTo>
                      <a:pt x="1138" y="1132"/>
                    </a:lnTo>
                    <a:lnTo>
                      <a:pt x="1142" y="1127"/>
                    </a:lnTo>
                    <a:lnTo>
                      <a:pt x="1142" y="1123"/>
                    </a:lnTo>
                    <a:lnTo>
                      <a:pt x="1140" y="1122"/>
                    </a:lnTo>
                    <a:lnTo>
                      <a:pt x="1133" y="1123"/>
                    </a:lnTo>
                    <a:lnTo>
                      <a:pt x="1128" y="1125"/>
                    </a:lnTo>
                    <a:lnTo>
                      <a:pt x="1123" y="1128"/>
                    </a:lnTo>
                    <a:lnTo>
                      <a:pt x="1120" y="1130"/>
                    </a:lnTo>
                    <a:lnTo>
                      <a:pt x="1115" y="1133"/>
                    </a:lnTo>
                    <a:lnTo>
                      <a:pt x="1115" y="1137"/>
                    </a:lnTo>
                    <a:lnTo>
                      <a:pt x="1110" y="1140"/>
                    </a:lnTo>
                    <a:lnTo>
                      <a:pt x="1108" y="1143"/>
                    </a:lnTo>
                    <a:lnTo>
                      <a:pt x="1105" y="1147"/>
                    </a:lnTo>
                    <a:lnTo>
                      <a:pt x="1097" y="1147"/>
                    </a:lnTo>
                    <a:lnTo>
                      <a:pt x="1093" y="1148"/>
                    </a:lnTo>
                    <a:lnTo>
                      <a:pt x="1093" y="1153"/>
                    </a:lnTo>
                    <a:lnTo>
                      <a:pt x="1090" y="1157"/>
                    </a:lnTo>
                    <a:lnTo>
                      <a:pt x="1088" y="1155"/>
                    </a:lnTo>
                    <a:lnTo>
                      <a:pt x="1078" y="1152"/>
                    </a:lnTo>
                    <a:lnTo>
                      <a:pt x="1073" y="1153"/>
                    </a:lnTo>
                    <a:lnTo>
                      <a:pt x="1070" y="1157"/>
                    </a:lnTo>
                    <a:lnTo>
                      <a:pt x="1067" y="1157"/>
                    </a:lnTo>
                    <a:lnTo>
                      <a:pt x="1063" y="1153"/>
                    </a:lnTo>
                    <a:lnTo>
                      <a:pt x="1063" y="1147"/>
                    </a:lnTo>
                    <a:lnTo>
                      <a:pt x="1067" y="1145"/>
                    </a:lnTo>
                    <a:lnTo>
                      <a:pt x="1068" y="1140"/>
                    </a:lnTo>
                    <a:lnTo>
                      <a:pt x="1065" y="1140"/>
                    </a:lnTo>
                    <a:lnTo>
                      <a:pt x="1062" y="1142"/>
                    </a:lnTo>
                    <a:lnTo>
                      <a:pt x="1059" y="1142"/>
                    </a:lnTo>
                    <a:lnTo>
                      <a:pt x="1050" y="1138"/>
                    </a:lnTo>
                    <a:lnTo>
                      <a:pt x="1045" y="1138"/>
                    </a:lnTo>
                    <a:lnTo>
                      <a:pt x="1047" y="1142"/>
                    </a:lnTo>
                    <a:lnTo>
                      <a:pt x="1049" y="1143"/>
                    </a:lnTo>
                    <a:lnTo>
                      <a:pt x="1045" y="1147"/>
                    </a:lnTo>
                    <a:lnTo>
                      <a:pt x="1042" y="1147"/>
                    </a:lnTo>
                    <a:lnTo>
                      <a:pt x="1039" y="1142"/>
                    </a:lnTo>
                    <a:lnTo>
                      <a:pt x="1039" y="1133"/>
                    </a:lnTo>
                    <a:lnTo>
                      <a:pt x="1030" y="1128"/>
                    </a:lnTo>
                    <a:lnTo>
                      <a:pt x="1029" y="1130"/>
                    </a:lnTo>
                    <a:lnTo>
                      <a:pt x="1030" y="1133"/>
                    </a:lnTo>
                    <a:lnTo>
                      <a:pt x="1030" y="1137"/>
                    </a:lnTo>
                    <a:lnTo>
                      <a:pt x="1027" y="1137"/>
                    </a:lnTo>
                    <a:lnTo>
                      <a:pt x="1025" y="1133"/>
                    </a:lnTo>
                    <a:lnTo>
                      <a:pt x="1022" y="1133"/>
                    </a:lnTo>
                    <a:lnTo>
                      <a:pt x="1022" y="1138"/>
                    </a:lnTo>
                    <a:lnTo>
                      <a:pt x="1019" y="1138"/>
                    </a:lnTo>
                    <a:lnTo>
                      <a:pt x="1015" y="1137"/>
                    </a:lnTo>
                    <a:lnTo>
                      <a:pt x="1009" y="1138"/>
                    </a:lnTo>
                    <a:lnTo>
                      <a:pt x="1007" y="1137"/>
                    </a:lnTo>
                    <a:lnTo>
                      <a:pt x="1004" y="1133"/>
                    </a:lnTo>
                    <a:lnTo>
                      <a:pt x="1009" y="1132"/>
                    </a:lnTo>
                    <a:lnTo>
                      <a:pt x="1009" y="1130"/>
                    </a:lnTo>
                    <a:lnTo>
                      <a:pt x="1007" y="1127"/>
                    </a:lnTo>
                    <a:lnTo>
                      <a:pt x="1009" y="1122"/>
                    </a:lnTo>
                    <a:lnTo>
                      <a:pt x="1009" y="1120"/>
                    </a:lnTo>
                    <a:lnTo>
                      <a:pt x="1005" y="1118"/>
                    </a:lnTo>
                    <a:lnTo>
                      <a:pt x="1002" y="1115"/>
                    </a:lnTo>
                    <a:lnTo>
                      <a:pt x="1000" y="1110"/>
                    </a:lnTo>
                    <a:lnTo>
                      <a:pt x="999" y="1108"/>
                    </a:lnTo>
                    <a:lnTo>
                      <a:pt x="995" y="1103"/>
                    </a:lnTo>
                    <a:lnTo>
                      <a:pt x="990" y="1103"/>
                    </a:lnTo>
                    <a:lnTo>
                      <a:pt x="985" y="1105"/>
                    </a:lnTo>
                    <a:lnTo>
                      <a:pt x="980" y="1105"/>
                    </a:lnTo>
                    <a:lnTo>
                      <a:pt x="974" y="1102"/>
                    </a:lnTo>
                    <a:lnTo>
                      <a:pt x="967" y="1102"/>
                    </a:lnTo>
                    <a:lnTo>
                      <a:pt x="962" y="1100"/>
                    </a:lnTo>
                    <a:lnTo>
                      <a:pt x="957" y="1102"/>
                    </a:lnTo>
                    <a:lnTo>
                      <a:pt x="956" y="1100"/>
                    </a:lnTo>
                    <a:lnTo>
                      <a:pt x="951" y="1103"/>
                    </a:lnTo>
                    <a:lnTo>
                      <a:pt x="949" y="1107"/>
                    </a:lnTo>
                    <a:lnTo>
                      <a:pt x="942" y="1107"/>
                    </a:lnTo>
                    <a:lnTo>
                      <a:pt x="941" y="1108"/>
                    </a:lnTo>
                    <a:lnTo>
                      <a:pt x="942" y="1112"/>
                    </a:lnTo>
                    <a:lnTo>
                      <a:pt x="942" y="1115"/>
                    </a:lnTo>
                    <a:lnTo>
                      <a:pt x="936" y="1117"/>
                    </a:lnTo>
                    <a:lnTo>
                      <a:pt x="932" y="1115"/>
                    </a:lnTo>
                    <a:lnTo>
                      <a:pt x="929" y="1120"/>
                    </a:lnTo>
                    <a:lnTo>
                      <a:pt x="924" y="1120"/>
                    </a:lnTo>
                    <a:lnTo>
                      <a:pt x="922" y="1122"/>
                    </a:lnTo>
                    <a:lnTo>
                      <a:pt x="919" y="1122"/>
                    </a:lnTo>
                    <a:lnTo>
                      <a:pt x="909" y="1128"/>
                    </a:lnTo>
                    <a:lnTo>
                      <a:pt x="904" y="1130"/>
                    </a:lnTo>
                    <a:lnTo>
                      <a:pt x="899" y="1132"/>
                    </a:lnTo>
                    <a:lnTo>
                      <a:pt x="896" y="1132"/>
                    </a:lnTo>
                    <a:lnTo>
                      <a:pt x="892" y="1130"/>
                    </a:lnTo>
                    <a:lnTo>
                      <a:pt x="889" y="1132"/>
                    </a:lnTo>
                    <a:lnTo>
                      <a:pt x="889" y="1135"/>
                    </a:lnTo>
                    <a:lnTo>
                      <a:pt x="884" y="1135"/>
                    </a:lnTo>
                    <a:lnTo>
                      <a:pt x="881" y="1137"/>
                    </a:lnTo>
                    <a:lnTo>
                      <a:pt x="881" y="1142"/>
                    </a:lnTo>
                    <a:lnTo>
                      <a:pt x="879" y="1143"/>
                    </a:lnTo>
                    <a:lnTo>
                      <a:pt x="876" y="1142"/>
                    </a:lnTo>
                    <a:lnTo>
                      <a:pt x="872" y="1142"/>
                    </a:lnTo>
                    <a:lnTo>
                      <a:pt x="869" y="1145"/>
                    </a:lnTo>
                    <a:lnTo>
                      <a:pt x="862" y="1145"/>
                    </a:lnTo>
                    <a:lnTo>
                      <a:pt x="856" y="1148"/>
                    </a:lnTo>
                    <a:lnTo>
                      <a:pt x="854" y="1150"/>
                    </a:lnTo>
                    <a:lnTo>
                      <a:pt x="849" y="1150"/>
                    </a:lnTo>
                    <a:lnTo>
                      <a:pt x="843" y="1153"/>
                    </a:lnTo>
                    <a:lnTo>
                      <a:pt x="838" y="1153"/>
                    </a:lnTo>
                    <a:lnTo>
                      <a:pt x="829" y="1157"/>
                    </a:lnTo>
                    <a:lnTo>
                      <a:pt x="828" y="1160"/>
                    </a:lnTo>
                    <a:lnTo>
                      <a:pt x="826" y="1161"/>
                    </a:lnTo>
                    <a:lnTo>
                      <a:pt x="823" y="1158"/>
                    </a:lnTo>
                    <a:lnTo>
                      <a:pt x="819" y="1158"/>
                    </a:lnTo>
                    <a:lnTo>
                      <a:pt x="814" y="1160"/>
                    </a:lnTo>
                    <a:lnTo>
                      <a:pt x="814" y="1163"/>
                    </a:lnTo>
                    <a:lnTo>
                      <a:pt x="813" y="1165"/>
                    </a:lnTo>
                    <a:lnTo>
                      <a:pt x="808" y="1161"/>
                    </a:lnTo>
                    <a:lnTo>
                      <a:pt x="803" y="1163"/>
                    </a:lnTo>
                    <a:lnTo>
                      <a:pt x="801" y="1160"/>
                    </a:lnTo>
                    <a:lnTo>
                      <a:pt x="798" y="1160"/>
                    </a:lnTo>
                    <a:lnTo>
                      <a:pt x="794" y="1163"/>
                    </a:lnTo>
                    <a:lnTo>
                      <a:pt x="789" y="1163"/>
                    </a:lnTo>
                    <a:lnTo>
                      <a:pt x="788" y="1165"/>
                    </a:lnTo>
                    <a:lnTo>
                      <a:pt x="791" y="1170"/>
                    </a:lnTo>
                    <a:lnTo>
                      <a:pt x="788" y="1171"/>
                    </a:lnTo>
                    <a:lnTo>
                      <a:pt x="793" y="1173"/>
                    </a:lnTo>
                    <a:lnTo>
                      <a:pt x="799" y="1173"/>
                    </a:lnTo>
                    <a:lnTo>
                      <a:pt x="801" y="1178"/>
                    </a:lnTo>
                    <a:lnTo>
                      <a:pt x="794" y="1178"/>
                    </a:lnTo>
                    <a:lnTo>
                      <a:pt x="793" y="1180"/>
                    </a:lnTo>
                    <a:lnTo>
                      <a:pt x="793" y="1181"/>
                    </a:lnTo>
                    <a:lnTo>
                      <a:pt x="799" y="1181"/>
                    </a:lnTo>
                    <a:lnTo>
                      <a:pt x="804" y="1185"/>
                    </a:lnTo>
                    <a:lnTo>
                      <a:pt x="806" y="1181"/>
                    </a:lnTo>
                    <a:lnTo>
                      <a:pt x="811" y="1181"/>
                    </a:lnTo>
                    <a:lnTo>
                      <a:pt x="814" y="1185"/>
                    </a:lnTo>
                    <a:lnTo>
                      <a:pt x="819" y="1186"/>
                    </a:lnTo>
                    <a:lnTo>
                      <a:pt x="819" y="1191"/>
                    </a:lnTo>
                    <a:lnTo>
                      <a:pt x="816" y="1193"/>
                    </a:lnTo>
                    <a:lnTo>
                      <a:pt x="813" y="1191"/>
                    </a:lnTo>
                    <a:lnTo>
                      <a:pt x="803" y="1193"/>
                    </a:lnTo>
                    <a:lnTo>
                      <a:pt x="796" y="1196"/>
                    </a:lnTo>
                    <a:lnTo>
                      <a:pt x="791" y="1205"/>
                    </a:lnTo>
                    <a:lnTo>
                      <a:pt x="791" y="1210"/>
                    </a:lnTo>
                    <a:lnTo>
                      <a:pt x="794" y="1210"/>
                    </a:lnTo>
                    <a:lnTo>
                      <a:pt x="796" y="1215"/>
                    </a:lnTo>
                    <a:lnTo>
                      <a:pt x="793" y="1218"/>
                    </a:lnTo>
                    <a:lnTo>
                      <a:pt x="791" y="1223"/>
                    </a:lnTo>
                    <a:lnTo>
                      <a:pt x="788" y="1223"/>
                    </a:lnTo>
                    <a:lnTo>
                      <a:pt x="786" y="1226"/>
                    </a:lnTo>
                    <a:lnTo>
                      <a:pt x="788" y="1228"/>
                    </a:lnTo>
                    <a:lnTo>
                      <a:pt x="788" y="1231"/>
                    </a:lnTo>
                    <a:lnTo>
                      <a:pt x="794" y="1231"/>
                    </a:lnTo>
                    <a:lnTo>
                      <a:pt x="798" y="1235"/>
                    </a:lnTo>
                    <a:lnTo>
                      <a:pt x="803" y="1235"/>
                    </a:lnTo>
                    <a:lnTo>
                      <a:pt x="804" y="1238"/>
                    </a:lnTo>
                    <a:lnTo>
                      <a:pt x="808" y="1241"/>
                    </a:lnTo>
                    <a:lnTo>
                      <a:pt x="816" y="1241"/>
                    </a:lnTo>
                    <a:lnTo>
                      <a:pt x="818" y="1243"/>
                    </a:lnTo>
                    <a:lnTo>
                      <a:pt x="819" y="1259"/>
                    </a:lnTo>
                    <a:lnTo>
                      <a:pt x="816" y="1263"/>
                    </a:lnTo>
                    <a:lnTo>
                      <a:pt x="809" y="1266"/>
                    </a:lnTo>
                    <a:lnTo>
                      <a:pt x="801" y="1264"/>
                    </a:lnTo>
                    <a:lnTo>
                      <a:pt x="794" y="1261"/>
                    </a:lnTo>
                    <a:lnTo>
                      <a:pt x="791" y="1263"/>
                    </a:lnTo>
                    <a:lnTo>
                      <a:pt x="791" y="1268"/>
                    </a:lnTo>
                    <a:lnTo>
                      <a:pt x="789" y="1273"/>
                    </a:lnTo>
                    <a:lnTo>
                      <a:pt x="783" y="1273"/>
                    </a:lnTo>
                    <a:lnTo>
                      <a:pt x="774" y="1268"/>
                    </a:lnTo>
                    <a:lnTo>
                      <a:pt x="768" y="1269"/>
                    </a:lnTo>
                    <a:lnTo>
                      <a:pt x="764" y="1268"/>
                    </a:lnTo>
                    <a:lnTo>
                      <a:pt x="763" y="1268"/>
                    </a:lnTo>
                    <a:lnTo>
                      <a:pt x="758" y="1268"/>
                    </a:lnTo>
                    <a:lnTo>
                      <a:pt x="753" y="1263"/>
                    </a:lnTo>
                    <a:lnTo>
                      <a:pt x="756" y="1261"/>
                    </a:lnTo>
                    <a:lnTo>
                      <a:pt x="758" y="1258"/>
                    </a:lnTo>
                    <a:lnTo>
                      <a:pt x="755" y="1256"/>
                    </a:lnTo>
                    <a:lnTo>
                      <a:pt x="750" y="1253"/>
                    </a:lnTo>
                    <a:lnTo>
                      <a:pt x="746" y="1256"/>
                    </a:lnTo>
                    <a:lnTo>
                      <a:pt x="741" y="1256"/>
                    </a:lnTo>
                    <a:lnTo>
                      <a:pt x="738" y="1256"/>
                    </a:lnTo>
                    <a:lnTo>
                      <a:pt x="738" y="1263"/>
                    </a:lnTo>
                    <a:lnTo>
                      <a:pt x="731" y="1263"/>
                    </a:lnTo>
                    <a:lnTo>
                      <a:pt x="730" y="1259"/>
                    </a:lnTo>
                    <a:lnTo>
                      <a:pt x="723" y="1255"/>
                    </a:lnTo>
                    <a:lnTo>
                      <a:pt x="718" y="1255"/>
                    </a:lnTo>
                    <a:lnTo>
                      <a:pt x="715" y="1259"/>
                    </a:lnTo>
                    <a:lnTo>
                      <a:pt x="713" y="1256"/>
                    </a:lnTo>
                    <a:lnTo>
                      <a:pt x="708" y="1256"/>
                    </a:lnTo>
                    <a:lnTo>
                      <a:pt x="708" y="1261"/>
                    </a:lnTo>
                    <a:lnTo>
                      <a:pt x="703" y="1261"/>
                    </a:lnTo>
                    <a:lnTo>
                      <a:pt x="703" y="1269"/>
                    </a:lnTo>
                    <a:lnTo>
                      <a:pt x="696" y="1273"/>
                    </a:lnTo>
                    <a:lnTo>
                      <a:pt x="693" y="1273"/>
                    </a:lnTo>
                    <a:lnTo>
                      <a:pt x="690" y="1268"/>
                    </a:lnTo>
                    <a:lnTo>
                      <a:pt x="681" y="1266"/>
                    </a:lnTo>
                    <a:lnTo>
                      <a:pt x="678" y="1263"/>
                    </a:lnTo>
                    <a:lnTo>
                      <a:pt x="673" y="1264"/>
                    </a:lnTo>
                    <a:lnTo>
                      <a:pt x="673" y="1271"/>
                    </a:lnTo>
                    <a:lnTo>
                      <a:pt x="670" y="1274"/>
                    </a:lnTo>
                    <a:lnTo>
                      <a:pt x="668" y="1274"/>
                    </a:lnTo>
                    <a:lnTo>
                      <a:pt x="666" y="1269"/>
                    </a:lnTo>
                    <a:lnTo>
                      <a:pt x="665" y="1266"/>
                    </a:lnTo>
                    <a:lnTo>
                      <a:pt x="662" y="1266"/>
                    </a:lnTo>
                    <a:lnTo>
                      <a:pt x="655" y="1261"/>
                    </a:lnTo>
                    <a:lnTo>
                      <a:pt x="652" y="1256"/>
                    </a:lnTo>
                    <a:lnTo>
                      <a:pt x="645" y="1256"/>
                    </a:lnTo>
                    <a:lnTo>
                      <a:pt x="640" y="1251"/>
                    </a:lnTo>
                    <a:lnTo>
                      <a:pt x="638" y="1251"/>
                    </a:lnTo>
                    <a:lnTo>
                      <a:pt x="635" y="1248"/>
                    </a:lnTo>
                    <a:lnTo>
                      <a:pt x="632" y="1248"/>
                    </a:lnTo>
                    <a:lnTo>
                      <a:pt x="623" y="1250"/>
                    </a:lnTo>
                    <a:lnTo>
                      <a:pt x="617" y="1246"/>
                    </a:lnTo>
                    <a:lnTo>
                      <a:pt x="615" y="1241"/>
                    </a:lnTo>
                    <a:lnTo>
                      <a:pt x="610" y="1241"/>
                    </a:lnTo>
                    <a:lnTo>
                      <a:pt x="605" y="1245"/>
                    </a:lnTo>
                    <a:lnTo>
                      <a:pt x="600" y="1245"/>
                    </a:lnTo>
                    <a:lnTo>
                      <a:pt x="600" y="1246"/>
                    </a:lnTo>
                    <a:lnTo>
                      <a:pt x="597" y="1250"/>
                    </a:lnTo>
                    <a:lnTo>
                      <a:pt x="597" y="1246"/>
                    </a:lnTo>
                    <a:lnTo>
                      <a:pt x="593" y="1248"/>
                    </a:lnTo>
                    <a:lnTo>
                      <a:pt x="592" y="1251"/>
                    </a:lnTo>
                    <a:lnTo>
                      <a:pt x="587" y="1255"/>
                    </a:lnTo>
                    <a:lnTo>
                      <a:pt x="585" y="1251"/>
                    </a:lnTo>
                    <a:lnTo>
                      <a:pt x="588" y="1248"/>
                    </a:lnTo>
                    <a:lnTo>
                      <a:pt x="588" y="1245"/>
                    </a:lnTo>
                    <a:lnTo>
                      <a:pt x="583" y="1243"/>
                    </a:lnTo>
                    <a:lnTo>
                      <a:pt x="577" y="1240"/>
                    </a:lnTo>
                    <a:lnTo>
                      <a:pt x="575" y="1241"/>
                    </a:lnTo>
                    <a:lnTo>
                      <a:pt x="577" y="1246"/>
                    </a:lnTo>
                    <a:lnTo>
                      <a:pt x="575" y="1250"/>
                    </a:lnTo>
                    <a:lnTo>
                      <a:pt x="570" y="1248"/>
                    </a:lnTo>
                    <a:lnTo>
                      <a:pt x="567" y="1251"/>
                    </a:lnTo>
                    <a:lnTo>
                      <a:pt x="565" y="1256"/>
                    </a:lnTo>
                    <a:lnTo>
                      <a:pt x="562" y="1258"/>
                    </a:lnTo>
                    <a:lnTo>
                      <a:pt x="554" y="1261"/>
                    </a:lnTo>
                    <a:lnTo>
                      <a:pt x="552" y="1266"/>
                    </a:lnTo>
                    <a:lnTo>
                      <a:pt x="555" y="1269"/>
                    </a:lnTo>
                    <a:lnTo>
                      <a:pt x="555" y="1276"/>
                    </a:lnTo>
                    <a:lnTo>
                      <a:pt x="549" y="1276"/>
                    </a:lnTo>
                    <a:lnTo>
                      <a:pt x="540" y="1276"/>
                    </a:lnTo>
                    <a:lnTo>
                      <a:pt x="547" y="1294"/>
                    </a:lnTo>
                    <a:lnTo>
                      <a:pt x="544" y="1296"/>
                    </a:lnTo>
                    <a:lnTo>
                      <a:pt x="544" y="1303"/>
                    </a:lnTo>
                    <a:lnTo>
                      <a:pt x="537" y="1303"/>
                    </a:lnTo>
                    <a:lnTo>
                      <a:pt x="529" y="1299"/>
                    </a:lnTo>
                    <a:lnTo>
                      <a:pt x="527" y="1294"/>
                    </a:lnTo>
                    <a:lnTo>
                      <a:pt x="515" y="1284"/>
                    </a:lnTo>
                    <a:lnTo>
                      <a:pt x="510" y="1289"/>
                    </a:lnTo>
                    <a:lnTo>
                      <a:pt x="510" y="1294"/>
                    </a:lnTo>
                    <a:lnTo>
                      <a:pt x="505" y="1301"/>
                    </a:lnTo>
                    <a:lnTo>
                      <a:pt x="500" y="1303"/>
                    </a:lnTo>
                    <a:lnTo>
                      <a:pt x="502" y="1314"/>
                    </a:lnTo>
                    <a:lnTo>
                      <a:pt x="505" y="1318"/>
                    </a:lnTo>
                    <a:lnTo>
                      <a:pt x="502" y="1331"/>
                    </a:lnTo>
                    <a:lnTo>
                      <a:pt x="499" y="1339"/>
                    </a:lnTo>
                    <a:lnTo>
                      <a:pt x="509" y="1343"/>
                    </a:lnTo>
                    <a:lnTo>
                      <a:pt x="514" y="1348"/>
                    </a:lnTo>
                    <a:lnTo>
                      <a:pt x="512" y="1351"/>
                    </a:lnTo>
                    <a:lnTo>
                      <a:pt x="520" y="1357"/>
                    </a:lnTo>
                    <a:lnTo>
                      <a:pt x="522" y="1354"/>
                    </a:lnTo>
                    <a:lnTo>
                      <a:pt x="537" y="1357"/>
                    </a:lnTo>
                    <a:lnTo>
                      <a:pt x="549" y="1367"/>
                    </a:lnTo>
                    <a:lnTo>
                      <a:pt x="559" y="1382"/>
                    </a:lnTo>
                    <a:lnTo>
                      <a:pt x="549" y="1382"/>
                    </a:lnTo>
                    <a:lnTo>
                      <a:pt x="549" y="1386"/>
                    </a:lnTo>
                    <a:lnTo>
                      <a:pt x="557" y="1391"/>
                    </a:lnTo>
                    <a:lnTo>
                      <a:pt x="564" y="1389"/>
                    </a:lnTo>
                    <a:lnTo>
                      <a:pt x="570" y="1392"/>
                    </a:lnTo>
                    <a:lnTo>
                      <a:pt x="570" y="1392"/>
                    </a:lnTo>
                    <a:lnTo>
                      <a:pt x="568" y="1392"/>
                    </a:lnTo>
                    <a:lnTo>
                      <a:pt x="568" y="1396"/>
                    </a:lnTo>
                    <a:lnTo>
                      <a:pt x="568" y="1397"/>
                    </a:lnTo>
                    <a:lnTo>
                      <a:pt x="565" y="1397"/>
                    </a:lnTo>
                    <a:lnTo>
                      <a:pt x="567" y="1399"/>
                    </a:lnTo>
                    <a:lnTo>
                      <a:pt x="567" y="1402"/>
                    </a:lnTo>
                    <a:lnTo>
                      <a:pt x="565" y="1402"/>
                    </a:lnTo>
                    <a:lnTo>
                      <a:pt x="567" y="1404"/>
                    </a:lnTo>
                    <a:lnTo>
                      <a:pt x="567" y="1406"/>
                    </a:lnTo>
                    <a:lnTo>
                      <a:pt x="564" y="1406"/>
                    </a:lnTo>
                    <a:lnTo>
                      <a:pt x="562" y="1406"/>
                    </a:lnTo>
                    <a:lnTo>
                      <a:pt x="557" y="1404"/>
                    </a:lnTo>
                    <a:lnTo>
                      <a:pt x="554" y="1406"/>
                    </a:lnTo>
                    <a:lnTo>
                      <a:pt x="560" y="1409"/>
                    </a:lnTo>
                    <a:lnTo>
                      <a:pt x="562" y="1411"/>
                    </a:lnTo>
                    <a:lnTo>
                      <a:pt x="560" y="1412"/>
                    </a:lnTo>
                    <a:lnTo>
                      <a:pt x="557" y="1411"/>
                    </a:lnTo>
                    <a:lnTo>
                      <a:pt x="557" y="1411"/>
                    </a:lnTo>
                    <a:lnTo>
                      <a:pt x="554" y="1412"/>
                    </a:lnTo>
                    <a:lnTo>
                      <a:pt x="554" y="1412"/>
                    </a:lnTo>
                    <a:lnTo>
                      <a:pt x="552" y="1411"/>
                    </a:lnTo>
                    <a:lnTo>
                      <a:pt x="550" y="1411"/>
                    </a:lnTo>
                    <a:lnTo>
                      <a:pt x="554" y="1412"/>
                    </a:lnTo>
                    <a:lnTo>
                      <a:pt x="554" y="1414"/>
                    </a:lnTo>
                    <a:lnTo>
                      <a:pt x="550" y="1416"/>
                    </a:lnTo>
                    <a:lnTo>
                      <a:pt x="547" y="1416"/>
                    </a:lnTo>
                    <a:lnTo>
                      <a:pt x="545" y="1417"/>
                    </a:lnTo>
                    <a:lnTo>
                      <a:pt x="544" y="1416"/>
                    </a:lnTo>
                    <a:lnTo>
                      <a:pt x="542" y="1419"/>
                    </a:lnTo>
                    <a:lnTo>
                      <a:pt x="540" y="1419"/>
                    </a:lnTo>
                    <a:lnTo>
                      <a:pt x="537" y="1417"/>
                    </a:lnTo>
                    <a:lnTo>
                      <a:pt x="535" y="1417"/>
                    </a:lnTo>
                    <a:lnTo>
                      <a:pt x="535" y="1419"/>
                    </a:lnTo>
                    <a:lnTo>
                      <a:pt x="532" y="1424"/>
                    </a:lnTo>
                    <a:lnTo>
                      <a:pt x="532" y="1427"/>
                    </a:lnTo>
                    <a:lnTo>
                      <a:pt x="529" y="1429"/>
                    </a:lnTo>
                    <a:lnTo>
                      <a:pt x="527" y="1434"/>
                    </a:lnTo>
                    <a:lnTo>
                      <a:pt x="525" y="1437"/>
                    </a:lnTo>
                    <a:lnTo>
                      <a:pt x="525" y="1446"/>
                    </a:lnTo>
                    <a:lnTo>
                      <a:pt x="524" y="1447"/>
                    </a:lnTo>
                    <a:lnTo>
                      <a:pt x="522" y="1452"/>
                    </a:lnTo>
                    <a:lnTo>
                      <a:pt x="524" y="1459"/>
                    </a:lnTo>
                    <a:lnTo>
                      <a:pt x="527" y="1459"/>
                    </a:lnTo>
                    <a:lnTo>
                      <a:pt x="530" y="1459"/>
                    </a:lnTo>
                    <a:lnTo>
                      <a:pt x="534" y="1462"/>
                    </a:lnTo>
                    <a:lnTo>
                      <a:pt x="539" y="1464"/>
                    </a:lnTo>
                    <a:lnTo>
                      <a:pt x="539" y="1470"/>
                    </a:lnTo>
                    <a:lnTo>
                      <a:pt x="544" y="1474"/>
                    </a:lnTo>
                    <a:lnTo>
                      <a:pt x="547" y="1472"/>
                    </a:lnTo>
                    <a:lnTo>
                      <a:pt x="549" y="1472"/>
                    </a:lnTo>
                    <a:lnTo>
                      <a:pt x="547" y="1475"/>
                    </a:lnTo>
                    <a:lnTo>
                      <a:pt x="545" y="1479"/>
                    </a:lnTo>
                    <a:lnTo>
                      <a:pt x="544" y="1479"/>
                    </a:lnTo>
                    <a:lnTo>
                      <a:pt x="544" y="1482"/>
                    </a:lnTo>
                    <a:lnTo>
                      <a:pt x="547" y="1482"/>
                    </a:lnTo>
                    <a:lnTo>
                      <a:pt x="547" y="1484"/>
                    </a:lnTo>
                    <a:lnTo>
                      <a:pt x="549" y="1487"/>
                    </a:lnTo>
                    <a:lnTo>
                      <a:pt x="549" y="1494"/>
                    </a:lnTo>
                    <a:lnTo>
                      <a:pt x="552" y="1497"/>
                    </a:lnTo>
                    <a:lnTo>
                      <a:pt x="554" y="1504"/>
                    </a:lnTo>
                    <a:lnTo>
                      <a:pt x="564" y="1514"/>
                    </a:lnTo>
                    <a:lnTo>
                      <a:pt x="577" y="1524"/>
                    </a:lnTo>
                    <a:lnTo>
                      <a:pt x="578" y="1525"/>
                    </a:lnTo>
                    <a:lnTo>
                      <a:pt x="578" y="1525"/>
                    </a:lnTo>
                    <a:lnTo>
                      <a:pt x="570" y="1534"/>
                    </a:lnTo>
                    <a:lnTo>
                      <a:pt x="564" y="1537"/>
                    </a:lnTo>
                    <a:lnTo>
                      <a:pt x="560" y="1542"/>
                    </a:lnTo>
                    <a:lnTo>
                      <a:pt x="550" y="1540"/>
                    </a:lnTo>
                    <a:lnTo>
                      <a:pt x="547" y="1535"/>
                    </a:lnTo>
                    <a:lnTo>
                      <a:pt x="535" y="1527"/>
                    </a:lnTo>
                    <a:lnTo>
                      <a:pt x="529" y="1527"/>
                    </a:lnTo>
                    <a:lnTo>
                      <a:pt x="525" y="1534"/>
                    </a:lnTo>
                    <a:lnTo>
                      <a:pt x="532" y="1537"/>
                    </a:lnTo>
                    <a:lnTo>
                      <a:pt x="535" y="1542"/>
                    </a:lnTo>
                    <a:lnTo>
                      <a:pt x="534" y="1550"/>
                    </a:lnTo>
                    <a:lnTo>
                      <a:pt x="525" y="1545"/>
                    </a:lnTo>
                    <a:lnTo>
                      <a:pt x="517" y="1545"/>
                    </a:lnTo>
                    <a:lnTo>
                      <a:pt x="502" y="1539"/>
                    </a:lnTo>
                    <a:lnTo>
                      <a:pt x="494" y="1542"/>
                    </a:lnTo>
                    <a:lnTo>
                      <a:pt x="494" y="1545"/>
                    </a:lnTo>
                    <a:lnTo>
                      <a:pt x="497" y="1550"/>
                    </a:lnTo>
                    <a:lnTo>
                      <a:pt x="492" y="1545"/>
                    </a:lnTo>
                    <a:lnTo>
                      <a:pt x="479" y="1545"/>
                    </a:lnTo>
                    <a:lnTo>
                      <a:pt x="475" y="1544"/>
                    </a:lnTo>
                    <a:lnTo>
                      <a:pt x="464" y="1547"/>
                    </a:lnTo>
                    <a:lnTo>
                      <a:pt x="457" y="1549"/>
                    </a:lnTo>
                    <a:lnTo>
                      <a:pt x="457" y="1549"/>
                    </a:lnTo>
                    <a:lnTo>
                      <a:pt x="452" y="1547"/>
                    </a:lnTo>
                    <a:lnTo>
                      <a:pt x="442" y="1540"/>
                    </a:lnTo>
                    <a:lnTo>
                      <a:pt x="437" y="1539"/>
                    </a:lnTo>
                    <a:lnTo>
                      <a:pt x="434" y="1542"/>
                    </a:lnTo>
                    <a:lnTo>
                      <a:pt x="432" y="1542"/>
                    </a:lnTo>
                    <a:lnTo>
                      <a:pt x="426" y="1540"/>
                    </a:lnTo>
                    <a:lnTo>
                      <a:pt x="422" y="1542"/>
                    </a:lnTo>
                    <a:lnTo>
                      <a:pt x="421" y="1542"/>
                    </a:lnTo>
                    <a:lnTo>
                      <a:pt x="419" y="1537"/>
                    </a:lnTo>
                    <a:lnTo>
                      <a:pt x="416" y="1537"/>
                    </a:lnTo>
                    <a:lnTo>
                      <a:pt x="416" y="1537"/>
                    </a:lnTo>
                    <a:lnTo>
                      <a:pt x="417" y="1537"/>
                    </a:lnTo>
                    <a:lnTo>
                      <a:pt x="416" y="1532"/>
                    </a:lnTo>
                    <a:lnTo>
                      <a:pt x="417" y="1530"/>
                    </a:lnTo>
                    <a:lnTo>
                      <a:pt x="412" y="1524"/>
                    </a:lnTo>
                    <a:lnTo>
                      <a:pt x="412" y="1514"/>
                    </a:lnTo>
                    <a:lnTo>
                      <a:pt x="409" y="1510"/>
                    </a:lnTo>
                    <a:lnTo>
                      <a:pt x="404" y="1504"/>
                    </a:lnTo>
                    <a:lnTo>
                      <a:pt x="397" y="1502"/>
                    </a:lnTo>
                    <a:lnTo>
                      <a:pt x="397" y="1500"/>
                    </a:lnTo>
                    <a:lnTo>
                      <a:pt x="391" y="1495"/>
                    </a:lnTo>
                    <a:lnTo>
                      <a:pt x="389" y="1497"/>
                    </a:lnTo>
                    <a:lnTo>
                      <a:pt x="386" y="1495"/>
                    </a:lnTo>
                    <a:lnTo>
                      <a:pt x="381" y="1495"/>
                    </a:lnTo>
                    <a:lnTo>
                      <a:pt x="377" y="1489"/>
                    </a:lnTo>
                    <a:lnTo>
                      <a:pt x="376" y="1489"/>
                    </a:lnTo>
                    <a:lnTo>
                      <a:pt x="371" y="1487"/>
                    </a:lnTo>
                    <a:lnTo>
                      <a:pt x="369" y="1485"/>
                    </a:lnTo>
                    <a:lnTo>
                      <a:pt x="366" y="1485"/>
                    </a:lnTo>
                    <a:lnTo>
                      <a:pt x="361" y="1482"/>
                    </a:lnTo>
                    <a:lnTo>
                      <a:pt x="359" y="1479"/>
                    </a:lnTo>
                    <a:lnTo>
                      <a:pt x="356" y="1477"/>
                    </a:lnTo>
                    <a:lnTo>
                      <a:pt x="353" y="1472"/>
                    </a:lnTo>
                    <a:lnTo>
                      <a:pt x="338" y="1462"/>
                    </a:lnTo>
                    <a:lnTo>
                      <a:pt x="331" y="1460"/>
                    </a:lnTo>
                    <a:lnTo>
                      <a:pt x="321" y="1455"/>
                    </a:lnTo>
                    <a:lnTo>
                      <a:pt x="313" y="1455"/>
                    </a:lnTo>
                    <a:lnTo>
                      <a:pt x="306" y="1451"/>
                    </a:lnTo>
                    <a:lnTo>
                      <a:pt x="306" y="1447"/>
                    </a:lnTo>
                    <a:lnTo>
                      <a:pt x="299" y="1442"/>
                    </a:lnTo>
                    <a:lnTo>
                      <a:pt x="298" y="1444"/>
                    </a:lnTo>
                    <a:lnTo>
                      <a:pt x="291" y="1442"/>
                    </a:lnTo>
                    <a:lnTo>
                      <a:pt x="294" y="1441"/>
                    </a:lnTo>
                    <a:lnTo>
                      <a:pt x="298" y="1439"/>
                    </a:lnTo>
                    <a:lnTo>
                      <a:pt x="296" y="1436"/>
                    </a:lnTo>
                    <a:lnTo>
                      <a:pt x="296" y="1434"/>
                    </a:lnTo>
                    <a:lnTo>
                      <a:pt x="303" y="1434"/>
                    </a:lnTo>
                    <a:lnTo>
                      <a:pt x="306" y="1437"/>
                    </a:lnTo>
                    <a:lnTo>
                      <a:pt x="308" y="1437"/>
                    </a:lnTo>
                    <a:lnTo>
                      <a:pt x="311" y="1437"/>
                    </a:lnTo>
                    <a:lnTo>
                      <a:pt x="313" y="1431"/>
                    </a:lnTo>
                    <a:lnTo>
                      <a:pt x="311" y="1429"/>
                    </a:lnTo>
                    <a:lnTo>
                      <a:pt x="311" y="1426"/>
                    </a:lnTo>
                    <a:lnTo>
                      <a:pt x="316" y="1421"/>
                    </a:lnTo>
                    <a:lnTo>
                      <a:pt x="316" y="1419"/>
                    </a:lnTo>
                    <a:lnTo>
                      <a:pt x="318" y="1417"/>
                    </a:lnTo>
                    <a:lnTo>
                      <a:pt x="321" y="1417"/>
                    </a:lnTo>
                    <a:lnTo>
                      <a:pt x="323" y="1414"/>
                    </a:lnTo>
                    <a:lnTo>
                      <a:pt x="326" y="1414"/>
                    </a:lnTo>
                    <a:lnTo>
                      <a:pt x="326" y="1412"/>
                    </a:lnTo>
                    <a:lnTo>
                      <a:pt x="321" y="1411"/>
                    </a:lnTo>
                    <a:lnTo>
                      <a:pt x="319" y="1409"/>
                    </a:lnTo>
                    <a:lnTo>
                      <a:pt x="318" y="1411"/>
                    </a:lnTo>
                    <a:lnTo>
                      <a:pt x="314" y="1407"/>
                    </a:lnTo>
                    <a:lnTo>
                      <a:pt x="311" y="1401"/>
                    </a:lnTo>
                    <a:lnTo>
                      <a:pt x="319" y="1401"/>
                    </a:lnTo>
                    <a:lnTo>
                      <a:pt x="324" y="1401"/>
                    </a:lnTo>
                    <a:lnTo>
                      <a:pt x="328" y="1397"/>
                    </a:lnTo>
                    <a:lnTo>
                      <a:pt x="324" y="1397"/>
                    </a:lnTo>
                    <a:lnTo>
                      <a:pt x="323" y="1396"/>
                    </a:lnTo>
                    <a:lnTo>
                      <a:pt x="328" y="1392"/>
                    </a:lnTo>
                    <a:lnTo>
                      <a:pt x="341" y="1386"/>
                    </a:lnTo>
                    <a:lnTo>
                      <a:pt x="341" y="1382"/>
                    </a:lnTo>
                    <a:lnTo>
                      <a:pt x="339" y="1381"/>
                    </a:lnTo>
                    <a:lnTo>
                      <a:pt x="334" y="1381"/>
                    </a:lnTo>
                    <a:lnTo>
                      <a:pt x="328" y="1384"/>
                    </a:lnTo>
                    <a:lnTo>
                      <a:pt x="323" y="1384"/>
                    </a:lnTo>
                    <a:lnTo>
                      <a:pt x="323" y="1384"/>
                    </a:lnTo>
                    <a:lnTo>
                      <a:pt x="323" y="1384"/>
                    </a:lnTo>
                    <a:lnTo>
                      <a:pt x="324" y="1374"/>
                    </a:lnTo>
                    <a:lnTo>
                      <a:pt x="326" y="1372"/>
                    </a:lnTo>
                    <a:lnTo>
                      <a:pt x="333" y="1366"/>
                    </a:lnTo>
                    <a:lnTo>
                      <a:pt x="344" y="1364"/>
                    </a:lnTo>
                    <a:lnTo>
                      <a:pt x="348" y="1362"/>
                    </a:lnTo>
                    <a:lnTo>
                      <a:pt x="348" y="1356"/>
                    </a:lnTo>
                    <a:lnTo>
                      <a:pt x="351" y="1348"/>
                    </a:lnTo>
                    <a:lnTo>
                      <a:pt x="349" y="1343"/>
                    </a:lnTo>
                    <a:lnTo>
                      <a:pt x="343" y="1338"/>
                    </a:lnTo>
                    <a:lnTo>
                      <a:pt x="344" y="1328"/>
                    </a:lnTo>
                    <a:lnTo>
                      <a:pt x="349" y="1328"/>
                    </a:lnTo>
                    <a:lnTo>
                      <a:pt x="353" y="1323"/>
                    </a:lnTo>
                    <a:lnTo>
                      <a:pt x="353" y="1316"/>
                    </a:lnTo>
                    <a:lnTo>
                      <a:pt x="349" y="1314"/>
                    </a:lnTo>
                    <a:lnTo>
                      <a:pt x="348" y="1309"/>
                    </a:lnTo>
                    <a:lnTo>
                      <a:pt x="344" y="1313"/>
                    </a:lnTo>
                    <a:lnTo>
                      <a:pt x="336" y="1311"/>
                    </a:lnTo>
                    <a:lnTo>
                      <a:pt x="329" y="1308"/>
                    </a:lnTo>
                    <a:lnTo>
                      <a:pt x="324" y="1309"/>
                    </a:lnTo>
                    <a:lnTo>
                      <a:pt x="319" y="1306"/>
                    </a:lnTo>
                    <a:lnTo>
                      <a:pt x="314" y="1306"/>
                    </a:lnTo>
                    <a:lnTo>
                      <a:pt x="304" y="1304"/>
                    </a:lnTo>
                    <a:lnTo>
                      <a:pt x="301" y="1308"/>
                    </a:lnTo>
                    <a:lnTo>
                      <a:pt x="299" y="1303"/>
                    </a:lnTo>
                    <a:lnTo>
                      <a:pt x="291" y="1299"/>
                    </a:lnTo>
                    <a:lnTo>
                      <a:pt x="286" y="1288"/>
                    </a:lnTo>
                    <a:lnTo>
                      <a:pt x="283" y="1289"/>
                    </a:lnTo>
                    <a:lnTo>
                      <a:pt x="274" y="1294"/>
                    </a:lnTo>
                    <a:lnTo>
                      <a:pt x="269" y="1293"/>
                    </a:lnTo>
                    <a:lnTo>
                      <a:pt x="263" y="1294"/>
                    </a:lnTo>
                    <a:lnTo>
                      <a:pt x="256" y="1291"/>
                    </a:lnTo>
                    <a:lnTo>
                      <a:pt x="253" y="1296"/>
                    </a:lnTo>
                    <a:lnTo>
                      <a:pt x="241" y="1286"/>
                    </a:lnTo>
                    <a:lnTo>
                      <a:pt x="240" y="1279"/>
                    </a:lnTo>
                    <a:lnTo>
                      <a:pt x="240" y="1273"/>
                    </a:lnTo>
                    <a:lnTo>
                      <a:pt x="235" y="1273"/>
                    </a:lnTo>
                    <a:lnTo>
                      <a:pt x="233" y="1268"/>
                    </a:lnTo>
                    <a:lnTo>
                      <a:pt x="228" y="1264"/>
                    </a:lnTo>
                    <a:lnTo>
                      <a:pt x="215" y="1266"/>
                    </a:lnTo>
                    <a:lnTo>
                      <a:pt x="208" y="1258"/>
                    </a:lnTo>
                    <a:lnTo>
                      <a:pt x="211" y="1253"/>
                    </a:lnTo>
                    <a:lnTo>
                      <a:pt x="206" y="1250"/>
                    </a:lnTo>
                    <a:lnTo>
                      <a:pt x="203" y="1240"/>
                    </a:lnTo>
                    <a:lnTo>
                      <a:pt x="196" y="1240"/>
                    </a:lnTo>
                    <a:lnTo>
                      <a:pt x="191" y="1241"/>
                    </a:lnTo>
                    <a:lnTo>
                      <a:pt x="178" y="1241"/>
                    </a:lnTo>
                    <a:lnTo>
                      <a:pt x="167" y="1238"/>
                    </a:lnTo>
                    <a:lnTo>
                      <a:pt x="163" y="1241"/>
                    </a:lnTo>
                    <a:lnTo>
                      <a:pt x="163" y="1246"/>
                    </a:lnTo>
                    <a:lnTo>
                      <a:pt x="158" y="1246"/>
                    </a:lnTo>
                    <a:lnTo>
                      <a:pt x="153" y="1246"/>
                    </a:lnTo>
                    <a:lnTo>
                      <a:pt x="153" y="1241"/>
                    </a:lnTo>
                    <a:lnTo>
                      <a:pt x="148" y="1235"/>
                    </a:lnTo>
                    <a:lnTo>
                      <a:pt x="148" y="1230"/>
                    </a:lnTo>
                    <a:lnTo>
                      <a:pt x="145" y="1221"/>
                    </a:lnTo>
                    <a:lnTo>
                      <a:pt x="143" y="1216"/>
                    </a:lnTo>
                    <a:lnTo>
                      <a:pt x="147" y="1213"/>
                    </a:lnTo>
                    <a:lnTo>
                      <a:pt x="152" y="1218"/>
                    </a:lnTo>
                    <a:lnTo>
                      <a:pt x="163" y="1216"/>
                    </a:lnTo>
                    <a:lnTo>
                      <a:pt x="168" y="1208"/>
                    </a:lnTo>
                    <a:lnTo>
                      <a:pt x="171" y="1206"/>
                    </a:lnTo>
                    <a:lnTo>
                      <a:pt x="165" y="1203"/>
                    </a:lnTo>
                    <a:lnTo>
                      <a:pt x="165" y="1198"/>
                    </a:lnTo>
                    <a:lnTo>
                      <a:pt x="155" y="1191"/>
                    </a:lnTo>
                    <a:lnTo>
                      <a:pt x="147" y="1190"/>
                    </a:lnTo>
                    <a:lnTo>
                      <a:pt x="145" y="1181"/>
                    </a:lnTo>
                    <a:lnTo>
                      <a:pt x="140" y="1180"/>
                    </a:lnTo>
                    <a:lnTo>
                      <a:pt x="133" y="1171"/>
                    </a:lnTo>
                    <a:lnTo>
                      <a:pt x="132" y="1165"/>
                    </a:lnTo>
                    <a:lnTo>
                      <a:pt x="125" y="1160"/>
                    </a:lnTo>
                    <a:lnTo>
                      <a:pt x="125" y="1153"/>
                    </a:lnTo>
                    <a:lnTo>
                      <a:pt x="122" y="1148"/>
                    </a:lnTo>
                    <a:lnTo>
                      <a:pt x="123" y="1143"/>
                    </a:lnTo>
                    <a:lnTo>
                      <a:pt x="122" y="1138"/>
                    </a:lnTo>
                    <a:lnTo>
                      <a:pt x="112" y="1135"/>
                    </a:lnTo>
                    <a:lnTo>
                      <a:pt x="108" y="1135"/>
                    </a:lnTo>
                    <a:lnTo>
                      <a:pt x="105" y="1132"/>
                    </a:lnTo>
                    <a:lnTo>
                      <a:pt x="98" y="1133"/>
                    </a:lnTo>
                    <a:lnTo>
                      <a:pt x="92" y="1138"/>
                    </a:lnTo>
                    <a:lnTo>
                      <a:pt x="87" y="1130"/>
                    </a:lnTo>
                    <a:lnTo>
                      <a:pt x="82" y="1130"/>
                    </a:lnTo>
                    <a:lnTo>
                      <a:pt x="77" y="1132"/>
                    </a:lnTo>
                    <a:lnTo>
                      <a:pt x="72" y="1125"/>
                    </a:lnTo>
                    <a:lnTo>
                      <a:pt x="65" y="1128"/>
                    </a:lnTo>
                    <a:lnTo>
                      <a:pt x="62" y="1125"/>
                    </a:lnTo>
                    <a:lnTo>
                      <a:pt x="60" y="1127"/>
                    </a:lnTo>
                    <a:lnTo>
                      <a:pt x="59" y="1120"/>
                    </a:lnTo>
                    <a:lnTo>
                      <a:pt x="55" y="1115"/>
                    </a:lnTo>
                    <a:lnTo>
                      <a:pt x="54" y="1110"/>
                    </a:lnTo>
                    <a:lnTo>
                      <a:pt x="52" y="1107"/>
                    </a:lnTo>
                    <a:lnTo>
                      <a:pt x="49" y="1102"/>
                    </a:lnTo>
                    <a:lnTo>
                      <a:pt x="49" y="1098"/>
                    </a:lnTo>
                    <a:lnTo>
                      <a:pt x="47" y="1095"/>
                    </a:lnTo>
                    <a:lnTo>
                      <a:pt x="45" y="1093"/>
                    </a:lnTo>
                    <a:lnTo>
                      <a:pt x="47" y="1092"/>
                    </a:lnTo>
                    <a:lnTo>
                      <a:pt x="45" y="1088"/>
                    </a:lnTo>
                    <a:lnTo>
                      <a:pt x="40" y="1087"/>
                    </a:lnTo>
                    <a:lnTo>
                      <a:pt x="45" y="1082"/>
                    </a:lnTo>
                    <a:lnTo>
                      <a:pt x="44" y="1078"/>
                    </a:lnTo>
                    <a:lnTo>
                      <a:pt x="47" y="1075"/>
                    </a:lnTo>
                    <a:lnTo>
                      <a:pt x="47" y="1070"/>
                    </a:lnTo>
                    <a:lnTo>
                      <a:pt x="37" y="1052"/>
                    </a:lnTo>
                    <a:lnTo>
                      <a:pt x="39" y="1037"/>
                    </a:lnTo>
                    <a:lnTo>
                      <a:pt x="40" y="1035"/>
                    </a:lnTo>
                    <a:lnTo>
                      <a:pt x="42" y="1029"/>
                    </a:lnTo>
                    <a:lnTo>
                      <a:pt x="47" y="1024"/>
                    </a:lnTo>
                    <a:lnTo>
                      <a:pt x="47" y="1022"/>
                    </a:lnTo>
                    <a:lnTo>
                      <a:pt x="47" y="1022"/>
                    </a:lnTo>
                    <a:lnTo>
                      <a:pt x="45" y="1019"/>
                    </a:lnTo>
                    <a:lnTo>
                      <a:pt x="45" y="1019"/>
                    </a:lnTo>
                    <a:lnTo>
                      <a:pt x="47" y="1014"/>
                    </a:lnTo>
                    <a:lnTo>
                      <a:pt x="44" y="1010"/>
                    </a:lnTo>
                    <a:lnTo>
                      <a:pt x="44" y="1007"/>
                    </a:lnTo>
                    <a:lnTo>
                      <a:pt x="47" y="1007"/>
                    </a:lnTo>
                    <a:lnTo>
                      <a:pt x="49" y="1010"/>
                    </a:lnTo>
                    <a:lnTo>
                      <a:pt x="52" y="1009"/>
                    </a:lnTo>
                    <a:lnTo>
                      <a:pt x="52" y="1005"/>
                    </a:lnTo>
                    <a:lnTo>
                      <a:pt x="55" y="1002"/>
                    </a:lnTo>
                    <a:lnTo>
                      <a:pt x="60" y="1005"/>
                    </a:lnTo>
                    <a:lnTo>
                      <a:pt x="65" y="1002"/>
                    </a:lnTo>
                    <a:lnTo>
                      <a:pt x="67" y="997"/>
                    </a:lnTo>
                    <a:lnTo>
                      <a:pt x="70" y="997"/>
                    </a:lnTo>
                    <a:lnTo>
                      <a:pt x="77" y="999"/>
                    </a:lnTo>
                    <a:lnTo>
                      <a:pt x="80" y="995"/>
                    </a:lnTo>
                    <a:lnTo>
                      <a:pt x="75" y="990"/>
                    </a:lnTo>
                    <a:lnTo>
                      <a:pt x="72" y="990"/>
                    </a:lnTo>
                    <a:lnTo>
                      <a:pt x="70" y="990"/>
                    </a:lnTo>
                    <a:lnTo>
                      <a:pt x="64" y="990"/>
                    </a:lnTo>
                    <a:lnTo>
                      <a:pt x="60" y="987"/>
                    </a:lnTo>
                    <a:lnTo>
                      <a:pt x="55" y="987"/>
                    </a:lnTo>
                    <a:lnTo>
                      <a:pt x="50" y="980"/>
                    </a:lnTo>
                    <a:lnTo>
                      <a:pt x="50" y="977"/>
                    </a:lnTo>
                    <a:lnTo>
                      <a:pt x="55" y="982"/>
                    </a:lnTo>
                    <a:lnTo>
                      <a:pt x="55" y="979"/>
                    </a:lnTo>
                    <a:lnTo>
                      <a:pt x="54" y="975"/>
                    </a:lnTo>
                    <a:lnTo>
                      <a:pt x="57" y="972"/>
                    </a:lnTo>
                    <a:lnTo>
                      <a:pt x="52" y="974"/>
                    </a:lnTo>
                    <a:lnTo>
                      <a:pt x="52" y="974"/>
                    </a:lnTo>
                    <a:lnTo>
                      <a:pt x="45" y="977"/>
                    </a:lnTo>
                    <a:lnTo>
                      <a:pt x="45" y="977"/>
                    </a:lnTo>
                    <a:lnTo>
                      <a:pt x="45" y="977"/>
                    </a:lnTo>
                    <a:lnTo>
                      <a:pt x="44" y="977"/>
                    </a:lnTo>
                    <a:lnTo>
                      <a:pt x="44" y="972"/>
                    </a:lnTo>
                    <a:lnTo>
                      <a:pt x="55" y="962"/>
                    </a:lnTo>
                    <a:lnTo>
                      <a:pt x="60" y="961"/>
                    </a:lnTo>
                    <a:lnTo>
                      <a:pt x="67" y="949"/>
                    </a:lnTo>
                    <a:lnTo>
                      <a:pt x="73" y="941"/>
                    </a:lnTo>
                    <a:lnTo>
                      <a:pt x="78" y="929"/>
                    </a:lnTo>
                    <a:lnTo>
                      <a:pt x="88" y="914"/>
                    </a:lnTo>
                    <a:lnTo>
                      <a:pt x="95" y="899"/>
                    </a:lnTo>
                    <a:lnTo>
                      <a:pt x="93" y="892"/>
                    </a:lnTo>
                    <a:lnTo>
                      <a:pt x="83" y="881"/>
                    </a:lnTo>
                    <a:lnTo>
                      <a:pt x="77" y="879"/>
                    </a:lnTo>
                    <a:lnTo>
                      <a:pt x="65" y="866"/>
                    </a:lnTo>
                    <a:lnTo>
                      <a:pt x="68" y="859"/>
                    </a:lnTo>
                    <a:lnTo>
                      <a:pt x="72" y="853"/>
                    </a:lnTo>
                    <a:lnTo>
                      <a:pt x="72" y="846"/>
                    </a:lnTo>
                    <a:lnTo>
                      <a:pt x="65" y="843"/>
                    </a:lnTo>
                    <a:lnTo>
                      <a:pt x="62" y="838"/>
                    </a:lnTo>
                    <a:lnTo>
                      <a:pt x="62" y="829"/>
                    </a:lnTo>
                    <a:lnTo>
                      <a:pt x="64" y="826"/>
                    </a:lnTo>
                    <a:lnTo>
                      <a:pt x="62" y="823"/>
                    </a:lnTo>
                    <a:lnTo>
                      <a:pt x="55" y="821"/>
                    </a:lnTo>
                    <a:lnTo>
                      <a:pt x="52" y="818"/>
                    </a:lnTo>
                    <a:lnTo>
                      <a:pt x="52" y="811"/>
                    </a:lnTo>
                    <a:lnTo>
                      <a:pt x="55" y="806"/>
                    </a:lnTo>
                    <a:lnTo>
                      <a:pt x="50" y="806"/>
                    </a:lnTo>
                    <a:lnTo>
                      <a:pt x="50" y="803"/>
                    </a:lnTo>
                    <a:lnTo>
                      <a:pt x="52" y="788"/>
                    </a:lnTo>
                    <a:lnTo>
                      <a:pt x="57" y="786"/>
                    </a:lnTo>
                    <a:lnTo>
                      <a:pt x="45" y="764"/>
                    </a:lnTo>
                    <a:lnTo>
                      <a:pt x="35" y="748"/>
                    </a:lnTo>
                    <a:lnTo>
                      <a:pt x="34" y="741"/>
                    </a:lnTo>
                    <a:lnTo>
                      <a:pt x="27" y="736"/>
                    </a:lnTo>
                    <a:lnTo>
                      <a:pt x="32" y="725"/>
                    </a:lnTo>
                    <a:lnTo>
                      <a:pt x="37" y="718"/>
                    </a:lnTo>
                    <a:lnTo>
                      <a:pt x="39" y="711"/>
                    </a:lnTo>
                    <a:lnTo>
                      <a:pt x="35" y="710"/>
                    </a:lnTo>
                    <a:lnTo>
                      <a:pt x="25" y="703"/>
                    </a:lnTo>
                    <a:lnTo>
                      <a:pt x="24" y="698"/>
                    </a:lnTo>
                    <a:lnTo>
                      <a:pt x="19" y="693"/>
                    </a:lnTo>
                    <a:lnTo>
                      <a:pt x="12" y="690"/>
                    </a:lnTo>
                    <a:lnTo>
                      <a:pt x="9" y="690"/>
                    </a:lnTo>
                    <a:lnTo>
                      <a:pt x="5" y="680"/>
                    </a:lnTo>
                    <a:lnTo>
                      <a:pt x="2" y="676"/>
                    </a:lnTo>
                    <a:lnTo>
                      <a:pt x="4" y="668"/>
                    </a:lnTo>
                    <a:lnTo>
                      <a:pt x="5" y="663"/>
                    </a:lnTo>
                    <a:lnTo>
                      <a:pt x="0" y="662"/>
                    </a:lnTo>
                    <a:lnTo>
                      <a:pt x="5" y="660"/>
                    </a:lnTo>
                    <a:lnTo>
                      <a:pt x="10" y="657"/>
                    </a:lnTo>
                    <a:lnTo>
                      <a:pt x="10" y="657"/>
                    </a:lnTo>
                    <a:lnTo>
                      <a:pt x="14" y="657"/>
                    </a:lnTo>
                    <a:lnTo>
                      <a:pt x="14" y="648"/>
                    </a:lnTo>
                    <a:lnTo>
                      <a:pt x="20" y="643"/>
                    </a:lnTo>
                    <a:lnTo>
                      <a:pt x="27" y="643"/>
                    </a:lnTo>
                    <a:lnTo>
                      <a:pt x="30" y="638"/>
                    </a:lnTo>
                    <a:lnTo>
                      <a:pt x="30" y="632"/>
                    </a:lnTo>
                    <a:lnTo>
                      <a:pt x="34" y="632"/>
                    </a:lnTo>
                    <a:lnTo>
                      <a:pt x="39" y="633"/>
                    </a:lnTo>
                    <a:lnTo>
                      <a:pt x="42" y="630"/>
                    </a:lnTo>
                    <a:lnTo>
                      <a:pt x="42" y="625"/>
                    </a:lnTo>
                    <a:lnTo>
                      <a:pt x="42" y="625"/>
                    </a:lnTo>
                    <a:lnTo>
                      <a:pt x="47" y="625"/>
                    </a:lnTo>
                    <a:lnTo>
                      <a:pt x="49" y="627"/>
                    </a:lnTo>
                    <a:lnTo>
                      <a:pt x="49" y="632"/>
                    </a:lnTo>
                    <a:lnTo>
                      <a:pt x="50" y="635"/>
                    </a:lnTo>
                    <a:lnTo>
                      <a:pt x="52" y="628"/>
                    </a:lnTo>
                    <a:lnTo>
                      <a:pt x="54" y="627"/>
                    </a:lnTo>
                    <a:lnTo>
                      <a:pt x="57" y="627"/>
                    </a:lnTo>
                    <a:lnTo>
                      <a:pt x="59" y="625"/>
                    </a:lnTo>
                    <a:lnTo>
                      <a:pt x="55" y="623"/>
                    </a:lnTo>
                    <a:lnTo>
                      <a:pt x="55" y="622"/>
                    </a:lnTo>
                    <a:lnTo>
                      <a:pt x="57" y="622"/>
                    </a:lnTo>
                    <a:lnTo>
                      <a:pt x="60" y="622"/>
                    </a:lnTo>
                    <a:lnTo>
                      <a:pt x="60" y="620"/>
                    </a:lnTo>
                    <a:lnTo>
                      <a:pt x="59" y="618"/>
                    </a:lnTo>
                    <a:lnTo>
                      <a:pt x="57" y="617"/>
                    </a:lnTo>
                    <a:lnTo>
                      <a:pt x="59" y="615"/>
                    </a:lnTo>
                    <a:lnTo>
                      <a:pt x="62" y="615"/>
                    </a:lnTo>
                    <a:lnTo>
                      <a:pt x="67" y="618"/>
                    </a:lnTo>
                    <a:lnTo>
                      <a:pt x="70" y="622"/>
                    </a:lnTo>
                    <a:lnTo>
                      <a:pt x="72" y="623"/>
                    </a:lnTo>
                    <a:lnTo>
                      <a:pt x="75" y="622"/>
                    </a:lnTo>
                    <a:lnTo>
                      <a:pt x="78" y="623"/>
                    </a:lnTo>
                    <a:lnTo>
                      <a:pt x="80" y="623"/>
                    </a:lnTo>
                    <a:lnTo>
                      <a:pt x="82" y="625"/>
                    </a:lnTo>
                    <a:lnTo>
                      <a:pt x="83" y="628"/>
                    </a:lnTo>
                    <a:lnTo>
                      <a:pt x="78" y="632"/>
                    </a:lnTo>
                    <a:lnTo>
                      <a:pt x="75" y="630"/>
                    </a:lnTo>
                    <a:lnTo>
                      <a:pt x="68" y="630"/>
                    </a:lnTo>
                    <a:lnTo>
                      <a:pt x="65" y="627"/>
                    </a:lnTo>
                    <a:lnTo>
                      <a:pt x="65" y="623"/>
                    </a:lnTo>
                    <a:lnTo>
                      <a:pt x="62" y="627"/>
                    </a:lnTo>
                    <a:lnTo>
                      <a:pt x="62" y="632"/>
                    </a:lnTo>
                    <a:lnTo>
                      <a:pt x="64" y="637"/>
                    </a:lnTo>
                    <a:lnTo>
                      <a:pt x="67" y="633"/>
                    </a:lnTo>
                    <a:lnTo>
                      <a:pt x="68" y="635"/>
                    </a:lnTo>
                    <a:lnTo>
                      <a:pt x="70" y="638"/>
                    </a:lnTo>
                    <a:lnTo>
                      <a:pt x="73" y="635"/>
                    </a:lnTo>
                    <a:lnTo>
                      <a:pt x="78" y="637"/>
                    </a:lnTo>
                    <a:lnTo>
                      <a:pt x="78" y="640"/>
                    </a:lnTo>
                    <a:lnTo>
                      <a:pt x="80" y="640"/>
                    </a:lnTo>
                    <a:lnTo>
                      <a:pt x="82" y="637"/>
                    </a:lnTo>
                    <a:lnTo>
                      <a:pt x="83" y="638"/>
                    </a:lnTo>
                    <a:lnTo>
                      <a:pt x="83" y="640"/>
                    </a:lnTo>
                    <a:lnTo>
                      <a:pt x="83" y="642"/>
                    </a:lnTo>
                    <a:lnTo>
                      <a:pt x="87" y="638"/>
                    </a:lnTo>
                    <a:lnTo>
                      <a:pt x="88" y="635"/>
                    </a:lnTo>
                    <a:lnTo>
                      <a:pt x="92" y="637"/>
                    </a:lnTo>
                    <a:lnTo>
                      <a:pt x="90" y="638"/>
                    </a:lnTo>
                    <a:lnTo>
                      <a:pt x="88" y="642"/>
                    </a:lnTo>
                    <a:lnTo>
                      <a:pt x="92" y="642"/>
                    </a:lnTo>
                    <a:lnTo>
                      <a:pt x="93" y="643"/>
                    </a:lnTo>
                    <a:lnTo>
                      <a:pt x="92" y="645"/>
                    </a:lnTo>
                    <a:lnTo>
                      <a:pt x="88" y="648"/>
                    </a:lnTo>
                    <a:lnTo>
                      <a:pt x="93" y="648"/>
                    </a:lnTo>
                    <a:lnTo>
                      <a:pt x="97" y="643"/>
                    </a:lnTo>
                    <a:lnTo>
                      <a:pt x="95" y="640"/>
                    </a:lnTo>
                    <a:lnTo>
                      <a:pt x="97" y="638"/>
                    </a:lnTo>
                    <a:lnTo>
                      <a:pt x="102" y="638"/>
                    </a:lnTo>
                    <a:lnTo>
                      <a:pt x="105" y="640"/>
                    </a:lnTo>
                    <a:lnTo>
                      <a:pt x="107" y="638"/>
                    </a:lnTo>
                    <a:lnTo>
                      <a:pt x="103" y="635"/>
                    </a:lnTo>
                    <a:lnTo>
                      <a:pt x="103" y="633"/>
                    </a:lnTo>
                    <a:lnTo>
                      <a:pt x="108" y="635"/>
                    </a:lnTo>
                    <a:lnTo>
                      <a:pt x="112" y="640"/>
                    </a:lnTo>
                    <a:lnTo>
                      <a:pt x="118" y="640"/>
                    </a:lnTo>
                    <a:lnTo>
                      <a:pt x="123" y="642"/>
                    </a:lnTo>
                    <a:lnTo>
                      <a:pt x="127" y="640"/>
                    </a:lnTo>
                    <a:lnTo>
                      <a:pt x="127" y="637"/>
                    </a:lnTo>
                    <a:lnTo>
                      <a:pt x="132" y="638"/>
                    </a:lnTo>
                    <a:lnTo>
                      <a:pt x="138" y="642"/>
                    </a:lnTo>
                    <a:lnTo>
                      <a:pt x="138" y="640"/>
                    </a:lnTo>
                    <a:lnTo>
                      <a:pt x="143" y="642"/>
                    </a:lnTo>
                    <a:lnTo>
                      <a:pt x="168" y="653"/>
                    </a:lnTo>
                    <a:lnTo>
                      <a:pt x="185" y="663"/>
                    </a:lnTo>
                    <a:lnTo>
                      <a:pt x="188" y="666"/>
                    </a:lnTo>
                    <a:lnTo>
                      <a:pt x="193" y="668"/>
                    </a:lnTo>
                    <a:lnTo>
                      <a:pt x="200" y="676"/>
                    </a:lnTo>
                    <a:lnTo>
                      <a:pt x="203" y="676"/>
                    </a:lnTo>
                    <a:lnTo>
                      <a:pt x="201" y="675"/>
                    </a:lnTo>
                    <a:lnTo>
                      <a:pt x="201" y="673"/>
                    </a:lnTo>
                    <a:lnTo>
                      <a:pt x="205" y="673"/>
                    </a:lnTo>
                    <a:lnTo>
                      <a:pt x="211" y="678"/>
                    </a:lnTo>
                    <a:lnTo>
                      <a:pt x="215" y="678"/>
                    </a:lnTo>
                    <a:lnTo>
                      <a:pt x="221" y="683"/>
                    </a:lnTo>
                    <a:lnTo>
                      <a:pt x="225" y="681"/>
                    </a:lnTo>
                    <a:lnTo>
                      <a:pt x="221" y="676"/>
                    </a:lnTo>
                    <a:lnTo>
                      <a:pt x="220" y="675"/>
                    </a:lnTo>
                    <a:lnTo>
                      <a:pt x="223" y="675"/>
                    </a:lnTo>
                    <a:lnTo>
                      <a:pt x="228" y="680"/>
                    </a:lnTo>
                    <a:lnTo>
                      <a:pt x="226" y="683"/>
                    </a:lnTo>
                    <a:lnTo>
                      <a:pt x="236" y="690"/>
                    </a:lnTo>
                    <a:lnTo>
                      <a:pt x="236" y="693"/>
                    </a:lnTo>
                    <a:lnTo>
                      <a:pt x="241" y="695"/>
                    </a:lnTo>
                    <a:lnTo>
                      <a:pt x="243" y="693"/>
                    </a:lnTo>
                    <a:lnTo>
                      <a:pt x="246" y="693"/>
                    </a:lnTo>
                    <a:lnTo>
                      <a:pt x="251" y="698"/>
                    </a:lnTo>
                    <a:lnTo>
                      <a:pt x="253" y="705"/>
                    </a:lnTo>
                    <a:lnTo>
                      <a:pt x="256" y="706"/>
                    </a:lnTo>
                    <a:lnTo>
                      <a:pt x="261" y="711"/>
                    </a:lnTo>
                    <a:lnTo>
                      <a:pt x="263" y="711"/>
                    </a:lnTo>
                    <a:lnTo>
                      <a:pt x="265" y="713"/>
                    </a:lnTo>
                    <a:lnTo>
                      <a:pt x="265" y="718"/>
                    </a:lnTo>
                    <a:lnTo>
                      <a:pt x="265" y="723"/>
                    </a:lnTo>
                    <a:lnTo>
                      <a:pt x="263" y="730"/>
                    </a:lnTo>
                    <a:lnTo>
                      <a:pt x="261" y="733"/>
                    </a:lnTo>
                    <a:lnTo>
                      <a:pt x="261" y="736"/>
                    </a:lnTo>
                    <a:lnTo>
                      <a:pt x="256" y="741"/>
                    </a:lnTo>
                    <a:lnTo>
                      <a:pt x="256" y="745"/>
                    </a:lnTo>
                    <a:lnTo>
                      <a:pt x="246" y="756"/>
                    </a:lnTo>
                    <a:lnTo>
                      <a:pt x="240" y="760"/>
                    </a:lnTo>
                    <a:lnTo>
                      <a:pt x="231" y="761"/>
                    </a:lnTo>
                    <a:lnTo>
                      <a:pt x="228" y="763"/>
                    </a:lnTo>
                    <a:lnTo>
                      <a:pt x="221" y="763"/>
                    </a:lnTo>
                    <a:lnTo>
                      <a:pt x="220" y="764"/>
                    </a:lnTo>
                    <a:lnTo>
                      <a:pt x="208" y="766"/>
                    </a:lnTo>
                    <a:lnTo>
                      <a:pt x="195" y="766"/>
                    </a:lnTo>
                    <a:lnTo>
                      <a:pt x="186" y="763"/>
                    </a:lnTo>
                    <a:lnTo>
                      <a:pt x="181" y="760"/>
                    </a:lnTo>
                    <a:lnTo>
                      <a:pt x="178" y="761"/>
                    </a:lnTo>
                    <a:lnTo>
                      <a:pt x="173" y="761"/>
                    </a:lnTo>
                    <a:lnTo>
                      <a:pt x="167" y="761"/>
                    </a:lnTo>
                    <a:lnTo>
                      <a:pt x="167" y="758"/>
                    </a:lnTo>
                    <a:lnTo>
                      <a:pt x="162" y="758"/>
                    </a:lnTo>
                    <a:lnTo>
                      <a:pt x="158" y="760"/>
                    </a:lnTo>
                    <a:lnTo>
                      <a:pt x="152" y="755"/>
                    </a:lnTo>
                    <a:lnTo>
                      <a:pt x="152" y="751"/>
                    </a:lnTo>
                    <a:lnTo>
                      <a:pt x="148" y="753"/>
                    </a:lnTo>
                    <a:lnTo>
                      <a:pt x="143" y="751"/>
                    </a:lnTo>
                    <a:lnTo>
                      <a:pt x="145" y="751"/>
                    </a:lnTo>
                    <a:lnTo>
                      <a:pt x="138" y="751"/>
                    </a:lnTo>
                    <a:lnTo>
                      <a:pt x="135" y="753"/>
                    </a:lnTo>
                    <a:lnTo>
                      <a:pt x="130" y="753"/>
                    </a:lnTo>
                    <a:lnTo>
                      <a:pt x="130" y="750"/>
                    </a:lnTo>
                    <a:lnTo>
                      <a:pt x="128" y="750"/>
                    </a:lnTo>
                    <a:lnTo>
                      <a:pt x="132" y="748"/>
                    </a:lnTo>
                    <a:lnTo>
                      <a:pt x="128" y="745"/>
                    </a:lnTo>
                    <a:lnTo>
                      <a:pt x="128" y="746"/>
                    </a:lnTo>
                    <a:lnTo>
                      <a:pt x="120" y="746"/>
                    </a:lnTo>
                    <a:lnTo>
                      <a:pt x="115" y="743"/>
                    </a:lnTo>
                    <a:lnTo>
                      <a:pt x="113" y="745"/>
                    </a:lnTo>
                    <a:lnTo>
                      <a:pt x="110" y="745"/>
                    </a:lnTo>
                    <a:lnTo>
                      <a:pt x="100" y="736"/>
                    </a:lnTo>
                    <a:lnTo>
                      <a:pt x="100" y="731"/>
                    </a:lnTo>
                    <a:lnTo>
                      <a:pt x="93" y="731"/>
                    </a:lnTo>
                    <a:lnTo>
                      <a:pt x="92" y="730"/>
                    </a:lnTo>
                    <a:lnTo>
                      <a:pt x="87" y="730"/>
                    </a:lnTo>
                    <a:lnTo>
                      <a:pt x="87" y="731"/>
                    </a:lnTo>
                    <a:lnTo>
                      <a:pt x="92" y="735"/>
                    </a:lnTo>
                    <a:lnTo>
                      <a:pt x="93" y="741"/>
                    </a:lnTo>
                    <a:lnTo>
                      <a:pt x="98" y="745"/>
                    </a:lnTo>
                    <a:lnTo>
                      <a:pt x="100" y="748"/>
                    </a:lnTo>
                    <a:lnTo>
                      <a:pt x="107" y="750"/>
                    </a:lnTo>
                    <a:lnTo>
                      <a:pt x="108" y="751"/>
                    </a:lnTo>
                    <a:lnTo>
                      <a:pt x="103" y="753"/>
                    </a:lnTo>
                    <a:lnTo>
                      <a:pt x="102" y="756"/>
                    </a:lnTo>
                    <a:lnTo>
                      <a:pt x="102" y="756"/>
                    </a:lnTo>
                    <a:lnTo>
                      <a:pt x="110" y="755"/>
                    </a:lnTo>
                    <a:lnTo>
                      <a:pt x="113" y="753"/>
                    </a:lnTo>
                    <a:lnTo>
                      <a:pt x="117" y="755"/>
                    </a:lnTo>
                    <a:lnTo>
                      <a:pt x="113" y="756"/>
                    </a:lnTo>
                    <a:lnTo>
                      <a:pt x="113" y="758"/>
                    </a:lnTo>
                    <a:lnTo>
                      <a:pt x="118" y="758"/>
                    </a:lnTo>
                    <a:lnTo>
                      <a:pt x="117" y="761"/>
                    </a:lnTo>
                    <a:lnTo>
                      <a:pt x="113" y="763"/>
                    </a:lnTo>
                    <a:lnTo>
                      <a:pt x="110" y="764"/>
                    </a:lnTo>
                    <a:lnTo>
                      <a:pt x="117" y="766"/>
                    </a:lnTo>
                    <a:lnTo>
                      <a:pt x="118" y="764"/>
                    </a:lnTo>
                    <a:lnTo>
                      <a:pt x="122" y="764"/>
                    </a:lnTo>
                    <a:lnTo>
                      <a:pt x="125" y="766"/>
                    </a:lnTo>
                    <a:lnTo>
                      <a:pt x="127" y="764"/>
                    </a:lnTo>
                    <a:lnTo>
                      <a:pt x="138" y="768"/>
                    </a:lnTo>
                    <a:lnTo>
                      <a:pt x="143" y="774"/>
                    </a:lnTo>
                    <a:lnTo>
                      <a:pt x="147" y="776"/>
                    </a:lnTo>
                    <a:lnTo>
                      <a:pt x="145" y="778"/>
                    </a:lnTo>
                    <a:lnTo>
                      <a:pt x="145" y="781"/>
                    </a:lnTo>
                    <a:lnTo>
                      <a:pt x="147" y="781"/>
                    </a:lnTo>
                    <a:lnTo>
                      <a:pt x="147" y="786"/>
                    </a:lnTo>
                    <a:lnTo>
                      <a:pt x="145" y="793"/>
                    </a:lnTo>
                    <a:lnTo>
                      <a:pt x="142" y="794"/>
                    </a:lnTo>
                    <a:lnTo>
                      <a:pt x="142" y="798"/>
                    </a:lnTo>
                    <a:lnTo>
                      <a:pt x="145" y="799"/>
                    </a:lnTo>
                    <a:lnTo>
                      <a:pt x="145" y="804"/>
                    </a:lnTo>
                    <a:lnTo>
                      <a:pt x="152" y="809"/>
                    </a:lnTo>
                    <a:lnTo>
                      <a:pt x="152" y="813"/>
                    </a:lnTo>
                    <a:lnTo>
                      <a:pt x="157" y="816"/>
                    </a:lnTo>
                    <a:lnTo>
                      <a:pt x="157" y="821"/>
                    </a:lnTo>
                    <a:lnTo>
                      <a:pt x="157" y="826"/>
                    </a:lnTo>
                    <a:lnTo>
                      <a:pt x="155" y="829"/>
                    </a:lnTo>
                    <a:lnTo>
                      <a:pt x="158" y="831"/>
                    </a:lnTo>
                    <a:lnTo>
                      <a:pt x="160" y="834"/>
                    </a:lnTo>
                    <a:lnTo>
                      <a:pt x="170" y="838"/>
                    </a:lnTo>
                    <a:lnTo>
                      <a:pt x="173" y="834"/>
                    </a:lnTo>
                    <a:lnTo>
                      <a:pt x="176" y="836"/>
                    </a:lnTo>
                    <a:lnTo>
                      <a:pt x="180" y="839"/>
                    </a:lnTo>
                    <a:lnTo>
                      <a:pt x="183" y="841"/>
                    </a:lnTo>
                    <a:lnTo>
                      <a:pt x="183" y="848"/>
                    </a:lnTo>
                    <a:lnTo>
                      <a:pt x="186" y="849"/>
                    </a:lnTo>
                    <a:lnTo>
                      <a:pt x="193" y="849"/>
                    </a:lnTo>
                    <a:lnTo>
                      <a:pt x="196" y="851"/>
                    </a:lnTo>
                    <a:lnTo>
                      <a:pt x="203" y="851"/>
                    </a:lnTo>
                    <a:lnTo>
                      <a:pt x="208" y="854"/>
                    </a:lnTo>
                    <a:lnTo>
                      <a:pt x="211" y="854"/>
                    </a:lnTo>
                    <a:lnTo>
                      <a:pt x="216" y="849"/>
                    </a:lnTo>
                    <a:lnTo>
                      <a:pt x="220" y="849"/>
                    </a:lnTo>
                    <a:lnTo>
                      <a:pt x="223" y="848"/>
                    </a:lnTo>
                    <a:lnTo>
                      <a:pt x="223" y="841"/>
                    </a:lnTo>
                    <a:lnTo>
                      <a:pt x="220" y="839"/>
                    </a:lnTo>
                    <a:lnTo>
                      <a:pt x="221" y="836"/>
                    </a:lnTo>
                    <a:lnTo>
                      <a:pt x="221" y="834"/>
                    </a:lnTo>
                    <a:lnTo>
                      <a:pt x="216" y="833"/>
                    </a:lnTo>
                    <a:lnTo>
                      <a:pt x="215" y="829"/>
                    </a:lnTo>
                    <a:lnTo>
                      <a:pt x="211" y="833"/>
                    </a:lnTo>
                    <a:lnTo>
                      <a:pt x="208" y="833"/>
                    </a:lnTo>
                    <a:lnTo>
                      <a:pt x="203" y="834"/>
                    </a:lnTo>
                    <a:lnTo>
                      <a:pt x="198" y="831"/>
                    </a:lnTo>
                    <a:lnTo>
                      <a:pt x="193" y="826"/>
                    </a:lnTo>
                    <a:lnTo>
                      <a:pt x="186" y="823"/>
                    </a:lnTo>
                    <a:lnTo>
                      <a:pt x="186" y="818"/>
                    </a:lnTo>
                    <a:lnTo>
                      <a:pt x="183" y="813"/>
                    </a:lnTo>
                    <a:lnTo>
                      <a:pt x="186" y="813"/>
                    </a:lnTo>
                    <a:lnTo>
                      <a:pt x="190" y="809"/>
                    </a:lnTo>
                    <a:lnTo>
                      <a:pt x="188" y="808"/>
                    </a:lnTo>
                    <a:lnTo>
                      <a:pt x="190" y="804"/>
                    </a:lnTo>
                    <a:lnTo>
                      <a:pt x="188" y="803"/>
                    </a:lnTo>
                    <a:lnTo>
                      <a:pt x="190" y="799"/>
                    </a:lnTo>
                    <a:lnTo>
                      <a:pt x="195" y="799"/>
                    </a:lnTo>
                    <a:lnTo>
                      <a:pt x="200" y="803"/>
                    </a:lnTo>
                    <a:lnTo>
                      <a:pt x="206" y="804"/>
                    </a:lnTo>
                    <a:lnTo>
                      <a:pt x="210" y="808"/>
                    </a:lnTo>
                    <a:lnTo>
                      <a:pt x="215" y="811"/>
                    </a:lnTo>
                    <a:lnTo>
                      <a:pt x="223" y="813"/>
                    </a:lnTo>
                    <a:lnTo>
                      <a:pt x="225" y="814"/>
                    </a:lnTo>
                    <a:lnTo>
                      <a:pt x="230" y="816"/>
                    </a:lnTo>
                    <a:lnTo>
                      <a:pt x="246" y="823"/>
                    </a:lnTo>
                    <a:lnTo>
                      <a:pt x="251" y="828"/>
                    </a:lnTo>
                    <a:lnTo>
                      <a:pt x="255" y="824"/>
                    </a:lnTo>
                    <a:lnTo>
                      <a:pt x="260" y="821"/>
                    </a:lnTo>
                    <a:lnTo>
                      <a:pt x="258" y="816"/>
                    </a:lnTo>
                    <a:lnTo>
                      <a:pt x="263" y="816"/>
                    </a:lnTo>
                    <a:lnTo>
                      <a:pt x="266" y="813"/>
                    </a:lnTo>
                    <a:lnTo>
                      <a:pt x="260" y="803"/>
                    </a:lnTo>
                    <a:lnTo>
                      <a:pt x="250" y="793"/>
                    </a:lnTo>
                    <a:lnTo>
                      <a:pt x="246" y="788"/>
                    </a:lnTo>
                    <a:lnTo>
                      <a:pt x="246" y="783"/>
                    </a:lnTo>
                    <a:lnTo>
                      <a:pt x="253" y="778"/>
                    </a:lnTo>
                    <a:lnTo>
                      <a:pt x="260" y="773"/>
                    </a:lnTo>
                    <a:lnTo>
                      <a:pt x="260" y="766"/>
                    </a:lnTo>
                    <a:lnTo>
                      <a:pt x="265" y="763"/>
                    </a:lnTo>
                    <a:lnTo>
                      <a:pt x="269" y="761"/>
                    </a:lnTo>
                    <a:lnTo>
                      <a:pt x="278" y="756"/>
                    </a:lnTo>
                    <a:lnTo>
                      <a:pt x="283" y="746"/>
                    </a:lnTo>
                    <a:lnTo>
                      <a:pt x="286" y="743"/>
                    </a:lnTo>
                    <a:lnTo>
                      <a:pt x="293" y="745"/>
                    </a:lnTo>
                    <a:lnTo>
                      <a:pt x="298" y="748"/>
                    </a:lnTo>
                    <a:lnTo>
                      <a:pt x="304" y="746"/>
                    </a:lnTo>
                    <a:lnTo>
                      <a:pt x="313" y="748"/>
                    </a:lnTo>
                    <a:lnTo>
                      <a:pt x="314" y="751"/>
                    </a:lnTo>
                    <a:lnTo>
                      <a:pt x="314" y="755"/>
                    </a:lnTo>
                    <a:lnTo>
                      <a:pt x="319" y="750"/>
                    </a:lnTo>
                    <a:lnTo>
                      <a:pt x="326" y="755"/>
                    </a:lnTo>
                    <a:lnTo>
                      <a:pt x="328" y="760"/>
                    </a:lnTo>
                    <a:lnTo>
                      <a:pt x="331" y="763"/>
                    </a:lnTo>
                    <a:lnTo>
                      <a:pt x="329" y="755"/>
                    </a:lnTo>
                    <a:lnTo>
                      <a:pt x="326" y="748"/>
                    </a:lnTo>
                    <a:lnTo>
                      <a:pt x="329" y="746"/>
                    </a:lnTo>
                    <a:lnTo>
                      <a:pt x="329" y="736"/>
                    </a:lnTo>
                    <a:lnTo>
                      <a:pt x="329" y="733"/>
                    </a:lnTo>
                    <a:lnTo>
                      <a:pt x="328" y="731"/>
                    </a:lnTo>
                    <a:lnTo>
                      <a:pt x="328" y="730"/>
                    </a:lnTo>
                    <a:lnTo>
                      <a:pt x="329" y="726"/>
                    </a:lnTo>
                    <a:lnTo>
                      <a:pt x="328" y="723"/>
                    </a:lnTo>
                    <a:lnTo>
                      <a:pt x="329" y="721"/>
                    </a:lnTo>
                    <a:lnTo>
                      <a:pt x="326" y="718"/>
                    </a:lnTo>
                    <a:lnTo>
                      <a:pt x="319" y="715"/>
                    </a:lnTo>
                    <a:lnTo>
                      <a:pt x="313" y="716"/>
                    </a:lnTo>
                    <a:lnTo>
                      <a:pt x="311" y="710"/>
                    </a:lnTo>
                    <a:lnTo>
                      <a:pt x="313" y="705"/>
                    </a:lnTo>
                    <a:lnTo>
                      <a:pt x="313" y="695"/>
                    </a:lnTo>
                    <a:lnTo>
                      <a:pt x="314" y="693"/>
                    </a:lnTo>
                    <a:lnTo>
                      <a:pt x="313" y="690"/>
                    </a:lnTo>
                    <a:lnTo>
                      <a:pt x="313" y="686"/>
                    </a:lnTo>
                    <a:lnTo>
                      <a:pt x="316" y="685"/>
                    </a:lnTo>
                    <a:lnTo>
                      <a:pt x="313" y="681"/>
                    </a:lnTo>
                    <a:lnTo>
                      <a:pt x="313" y="676"/>
                    </a:lnTo>
                    <a:lnTo>
                      <a:pt x="309" y="666"/>
                    </a:lnTo>
                    <a:lnTo>
                      <a:pt x="303" y="663"/>
                    </a:lnTo>
                    <a:lnTo>
                      <a:pt x="291" y="653"/>
                    </a:lnTo>
                    <a:lnTo>
                      <a:pt x="289" y="652"/>
                    </a:lnTo>
                    <a:lnTo>
                      <a:pt x="296" y="652"/>
                    </a:lnTo>
                    <a:lnTo>
                      <a:pt x="306" y="658"/>
                    </a:lnTo>
                    <a:lnTo>
                      <a:pt x="311" y="658"/>
                    </a:lnTo>
                    <a:lnTo>
                      <a:pt x="316" y="655"/>
                    </a:lnTo>
                    <a:lnTo>
                      <a:pt x="324" y="655"/>
                    </a:lnTo>
                    <a:lnTo>
                      <a:pt x="338" y="657"/>
                    </a:lnTo>
                    <a:lnTo>
                      <a:pt x="343" y="660"/>
                    </a:lnTo>
                    <a:lnTo>
                      <a:pt x="343" y="663"/>
                    </a:lnTo>
                    <a:lnTo>
                      <a:pt x="348" y="670"/>
                    </a:lnTo>
                    <a:lnTo>
                      <a:pt x="354" y="670"/>
                    </a:lnTo>
                    <a:lnTo>
                      <a:pt x="354" y="673"/>
                    </a:lnTo>
                    <a:lnTo>
                      <a:pt x="361" y="681"/>
                    </a:lnTo>
                    <a:lnTo>
                      <a:pt x="361" y="685"/>
                    </a:lnTo>
                    <a:lnTo>
                      <a:pt x="353" y="685"/>
                    </a:lnTo>
                    <a:lnTo>
                      <a:pt x="349" y="686"/>
                    </a:lnTo>
                    <a:lnTo>
                      <a:pt x="343" y="686"/>
                    </a:lnTo>
                    <a:lnTo>
                      <a:pt x="339" y="690"/>
                    </a:lnTo>
                    <a:lnTo>
                      <a:pt x="341" y="691"/>
                    </a:lnTo>
                    <a:lnTo>
                      <a:pt x="339" y="695"/>
                    </a:lnTo>
                    <a:lnTo>
                      <a:pt x="336" y="693"/>
                    </a:lnTo>
                    <a:lnTo>
                      <a:pt x="334" y="696"/>
                    </a:lnTo>
                    <a:lnTo>
                      <a:pt x="334" y="703"/>
                    </a:lnTo>
                    <a:lnTo>
                      <a:pt x="338" y="705"/>
                    </a:lnTo>
                    <a:lnTo>
                      <a:pt x="348" y="711"/>
                    </a:lnTo>
                    <a:lnTo>
                      <a:pt x="358" y="723"/>
                    </a:lnTo>
                    <a:lnTo>
                      <a:pt x="363" y="723"/>
                    </a:lnTo>
                    <a:lnTo>
                      <a:pt x="367" y="720"/>
                    </a:lnTo>
                    <a:lnTo>
                      <a:pt x="371" y="725"/>
                    </a:lnTo>
                    <a:lnTo>
                      <a:pt x="374" y="721"/>
                    </a:lnTo>
                    <a:lnTo>
                      <a:pt x="379" y="721"/>
                    </a:lnTo>
                    <a:lnTo>
                      <a:pt x="379" y="720"/>
                    </a:lnTo>
                    <a:lnTo>
                      <a:pt x="389" y="716"/>
                    </a:lnTo>
                    <a:lnTo>
                      <a:pt x="391" y="711"/>
                    </a:lnTo>
                    <a:lnTo>
                      <a:pt x="387" y="705"/>
                    </a:lnTo>
                    <a:lnTo>
                      <a:pt x="391" y="700"/>
                    </a:lnTo>
                    <a:lnTo>
                      <a:pt x="391" y="695"/>
                    </a:lnTo>
                    <a:lnTo>
                      <a:pt x="387" y="691"/>
                    </a:lnTo>
                    <a:lnTo>
                      <a:pt x="389" y="690"/>
                    </a:lnTo>
                    <a:lnTo>
                      <a:pt x="402" y="688"/>
                    </a:lnTo>
                    <a:lnTo>
                      <a:pt x="404" y="686"/>
                    </a:lnTo>
                    <a:lnTo>
                      <a:pt x="412" y="688"/>
                    </a:lnTo>
                    <a:lnTo>
                      <a:pt x="412" y="685"/>
                    </a:lnTo>
                    <a:lnTo>
                      <a:pt x="406" y="681"/>
                    </a:lnTo>
                    <a:lnTo>
                      <a:pt x="402" y="676"/>
                    </a:lnTo>
                    <a:lnTo>
                      <a:pt x="406" y="676"/>
                    </a:lnTo>
                    <a:lnTo>
                      <a:pt x="409" y="680"/>
                    </a:lnTo>
                    <a:lnTo>
                      <a:pt x="414" y="678"/>
                    </a:lnTo>
                    <a:lnTo>
                      <a:pt x="422" y="668"/>
                    </a:lnTo>
                    <a:lnTo>
                      <a:pt x="426" y="666"/>
                    </a:lnTo>
                    <a:lnTo>
                      <a:pt x="436" y="657"/>
                    </a:lnTo>
                    <a:lnTo>
                      <a:pt x="436" y="653"/>
                    </a:lnTo>
                    <a:lnTo>
                      <a:pt x="437" y="652"/>
                    </a:lnTo>
                    <a:lnTo>
                      <a:pt x="442" y="653"/>
                    </a:lnTo>
                    <a:lnTo>
                      <a:pt x="449" y="650"/>
                    </a:lnTo>
                    <a:lnTo>
                      <a:pt x="451" y="648"/>
                    </a:lnTo>
                    <a:lnTo>
                      <a:pt x="461" y="645"/>
                    </a:lnTo>
                    <a:lnTo>
                      <a:pt x="461" y="648"/>
                    </a:lnTo>
                    <a:lnTo>
                      <a:pt x="462" y="648"/>
                    </a:lnTo>
                    <a:lnTo>
                      <a:pt x="464" y="652"/>
                    </a:lnTo>
                    <a:lnTo>
                      <a:pt x="462" y="655"/>
                    </a:lnTo>
                    <a:lnTo>
                      <a:pt x="464" y="657"/>
                    </a:lnTo>
                    <a:lnTo>
                      <a:pt x="470" y="652"/>
                    </a:lnTo>
                    <a:lnTo>
                      <a:pt x="470" y="648"/>
                    </a:lnTo>
                    <a:lnTo>
                      <a:pt x="467" y="647"/>
                    </a:lnTo>
                    <a:lnTo>
                      <a:pt x="464" y="643"/>
                    </a:lnTo>
                    <a:lnTo>
                      <a:pt x="464" y="642"/>
                    </a:lnTo>
                    <a:lnTo>
                      <a:pt x="472" y="633"/>
                    </a:lnTo>
                    <a:lnTo>
                      <a:pt x="474" y="633"/>
                    </a:lnTo>
                    <a:lnTo>
                      <a:pt x="475" y="637"/>
                    </a:lnTo>
                    <a:lnTo>
                      <a:pt x="474" y="637"/>
                    </a:lnTo>
                    <a:lnTo>
                      <a:pt x="472" y="638"/>
                    </a:lnTo>
                    <a:lnTo>
                      <a:pt x="475" y="643"/>
                    </a:lnTo>
                    <a:lnTo>
                      <a:pt x="479" y="643"/>
                    </a:lnTo>
                    <a:lnTo>
                      <a:pt x="482" y="640"/>
                    </a:lnTo>
                    <a:lnTo>
                      <a:pt x="480" y="637"/>
                    </a:lnTo>
                    <a:lnTo>
                      <a:pt x="479" y="633"/>
                    </a:lnTo>
                    <a:lnTo>
                      <a:pt x="477" y="632"/>
                    </a:lnTo>
                    <a:lnTo>
                      <a:pt x="480" y="628"/>
                    </a:lnTo>
                    <a:lnTo>
                      <a:pt x="494" y="623"/>
                    </a:lnTo>
                    <a:lnTo>
                      <a:pt x="502" y="622"/>
                    </a:lnTo>
                    <a:lnTo>
                      <a:pt x="504" y="623"/>
                    </a:lnTo>
                    <a:lnTo>
                      <a:pt x="499" y="627"/>
                    </a:lnTo>
                    <a:lnTo>
                      <a:pt x="494" y="627"/>
                    </a:lnTo>
                    <a:lnTo>
                      <a:pt x="485" y="630"/>
                    </a:lnTo>
                    <a:lnTo>
                      <a:pt x="487" y="632"/>
                    </a:lnTo>
                    <a:lnTo>
                      <a:pt x="490" y="633"/>
                    </a:lnTo>
                    <a:lnTo>
                      <a:pt x="494" y="632"/>
                    </a:lnTo>
                    <a:lnTo>
                      <a:pt x="499" y="637"/>
                    </a:lnTo>
                    <a:lnTo>
                      <a:pt x="495" y="638"/>
                    </a:lnTo>
                    <a:lnTo>
                      <a:pt x="495" y="640"/>
                    </a:lnTo>
                    <a:lnTo>
                      <a:pt x="497" y="643"/>
                    </a:lnTo>
                    <a:lnTo>
                      <a:pt x="495" y="647"/>
                    </a:lnTo>
                    <a:lnTo>
                      <a:pt x="490" y="647"/>
                    </a:lnTo>
                    <a:lnTo>
                      <a:pt x="485" y="652"/>
                    </a:lnTo>
                    <a:lnTo>
                      <a:pt x="487" y="655"/>
                    </a:lnTo>
                    <a:lnTo>
                      <a:pt x="490" y="657"/>
                    </a:lnTo>
                    <a:lnTo>
                      <a:pt x="494" y="655"/>
                    </a:lnTo>
                    <a:lnTo>
                      <a:pt x="497" y="655"/>
                    </a:lnTo>
                    <a:lnTo>
                      <a:pt x="500" y="653"/>
                    </a:lnTo>
                    <a:lnTo>
                      <a:pt x="505" y="655"/>
                    </a:lnTo>
                    <a:lnTo>
                      <a:pt x="505" y="660"/>
                    </a:lnTo>
                    <a:lnTo>
                      <a:pt x="509" y="655"/>
                    </a:lnTo>
                    <a:lnTo>
                      <a:pt x="514" y="650"/>
                    </a:lnTo>
                    <a:lnTo>
                      <a:pt x="515" y="650"/>
                    </a:lnTo>
                    <a:lnTo>
                      <a:pt x="517" y="652"/>
                    </a:lnTo>
                    <a:lnTo>
                      <a:pt x="522" y="655"/>
                    </a:lnTo>
                    <a:lnTo>
                      <a:pt x="524" y="653"/>
                    </a:lnTo>
                    <a:lnTo>
                      <a:pt x="522" y="650"/>
                    </a:lnTo>
                    <a:lnTo>
                      <a:pt x="524" y="648"/>
                    </a:lnTo>
                    <a:lnTo>
                      <a:pt x="520" y="645"/>
                    </a:lnTo>
                    <a:lnTo>
                      <a:pt x="520" y="643"/>
                    </a:lnTo>
                    <a:lnTo>
                      <a:pt x="524" y="640"/>
                    </a:lnTo>
                    <a:lnTo>
                      <a:pt x="529" y="638"/>
                    </a:lnTo>
                    <a:lnTo>
                      <a:pt x="530" y="637"/>
                    </a:lnTo>
                    <a:lnTo>
                      <a:pt x="537" y="633"/>
                    </a:lnTo>
                    <a:lnTo>
                      <a:pt x="539" y="635"/>
                    </a:lnTo>
                    <a:lnTo>
                      <a:pt x="542" y="635"/>
                    </a:lnTo>
                    <a:lnTo>
                      <a:pt x="545" y="633"/>
                    </a:lnTo>
                    <a:lnTo>
                      <a:pt x="549" y="635"/>
                    </a:lnTo>
                    <a:lnTo>
                      <a:pt x="559" y="635"/>
                    </a:lnTo>
                    <a:lnTo>
                      <a:pt x="562" y="632"/>
                    </a:lnTo>
                    <a:lnTo>
                      <a:pt x="562" y="630"/>
                    </a:lnTo>
                    <a:lnTo>
                      <a:pt x="565" y="627"/>
                    </a:lnTo>
                    <a:lnTo>
                      <a:pt x="572" y="627"/>
                    </a:lnTo>
                    <a:lnTo>
                      <a:pt x="572" y="625"/>
                    </a:lnTo>
                    <a:lnTo>
                      <a:pt x="577" y="620"/>
                    </a:lnTo>
                    <a:lnTo>
                      <a:pt x="580" y="620"/>
                    </a:lnTo>
                    <a:lnTo>
                      <a:pt x="587" y="613"/>
                    </a:lnTo>
                    <a:lnTo>
                      <a:pt x="588" y="613"/>
                    </a:lnTo>
                    <a:lnTo>
                      <a:pt x="592" y="612"/>
                    </a:lnTo>
                    <a:lnTo>
                      <a:pt x="593" y="613"/>
                    </a:lnTo>
                    <a:lnTo>
                      <a:pt x="590" y="618"/>
                    </a:lnTo>
                    <a:lnTo>
                      <a:pt x="593" y="618"/>
                    </a:lnTo>
                    <a:lnTo>
                      <a:pt x="598" y="623"/>
                    </a:lnTo>
                    <a:lnTo>
                      <a:pt x="598" y="625"/>
                    </a:lnTo>
                    <a:lnTo>
                      <a:pt x="595" y="628"/>
                    </a:lnTo>
                    <a:lnTo>
                      <a:pt x="597" y="633"/>
                    </a:lnTo>
                    <a:lnTo>
                      <a:pt x="595" y="637"/>
                    </a:lnTo>
                    <a:lnTo>
                      <a:pt x="598" y="640"/>
                    </a:lnTo>
                    <a:lnTo>
                      <a:pt x="612" y="640"/>
                    </a:lnTo>
                    <a:lnTo>
                      <a:pt x="613" y="638"/>
                    </a:lnTo>
                    <a:lnTo>
                      <a:pt x="613" y="635"/>
                    </a:lnTo>
                    <a:lnTo>
                      <a:pt x="612" y="633"/>
                    </a:lnTo>
                    <a:lnTo>
                      <a:pt x="607" y="628"/>
                    </a:lnTo>
                    <a:lnTo>
                      <a:pt x="607" y="625"/>
                    </a:lnTo>
                    <a:lnTo>
                      <a:pt x="610" y="623"/>
                    </a:lnTo>
                    <a:lnTo>
                      <a:pt x="617" y="625"/>
                    </a:lnTo>
                    <a:lnTo>
                      <a:pt x="622" y="623"/>
                    </a:lnTo>
                    <a:lnTo>
                      <a:pt x="623" y="615"/>
                    </a:lnTo>
                    <a:lnTo>
                      <a:pt x="627" y="615"/>
                    </a:lnTo>
                    <a:lnTo>
                      <a:pt x="630" y="617"/>
                    </a:lnTo>
                    <a:lnTo>
                      <a:pt x="637" y="618"/>
                    </a:lnTo>
                    <a:lnTo>
                      <a:pt x="630" y="612"/>
                    </a:lnTo>
                    <a:lnTo>
                      <a:pt x="623" y="610"/>
                    </a:lnTo>
                    <a:lnTo>
                      <a:pt x="623" y="607"/>
                    </a:lnTo>
                    <a:lnTo>
                      <a:pt x="618" y="600"/>
                    </a:lnTo>
                    <a:lnTo>
                      <a:pt x="617" y="598"/>
                    </a:lnTo>
                    <a:lnTo>
                      <a:pt x="615" y="603"/>
                    </a:lnTo>
                    <a:lnTo>
                      <a:pt x="613" y="598"/>
                    </a:lnTo>
                    <a:lnTo>
                      <a:pt x="610" y="592"/>
                    </a:lnTo>
                    <a:lnTo>
                      <a:pt x="607" y="590"/>
                    </a:lnTo>
                    <a:lnTo>
                      <a:pt x="603" y="585"/>
                    </a:lnTo>
                    <a:lnTo>
                      <a:pt x="603" y="583"/>
                    </a:lnTo>
                    <a:lnTo>
                      <a:pt x="608" y="582"/>
                    </a:lnTo>
                    <a:lnTo>
                      <a:pt x="608" y="577"/>
                    </a:lnTo>
                    <a:lnTo>
                      <a:pt x="607" y="573"/>
                    </a:lnTo>
                    <a:lnTo>
                      <a:pt x="610" y="570"/>
                    </a:lnTo>
                    <a:lnTo>
                      <a:pt x="613" y="572"/>
                    </a:lnTo>
                    <a:lnTo>
                      <a:pt x="615" y="570"/>
                    </a:lnTo>
                    <a:lnTo>
                      <a:pt x="620" y="572"/>
                    </a:lnTo>
                    <a:lnTo>
                      <a:pt x="623" y="572"/>
                    </a:lnTo>
                    <a:lnTo>
                      <a:pt x="628" y="573"/>
                    </a:lnTo>
                    <a:lnTo>
                      <a:pt x="647" y="570"/>
                    </a:lnTo>
                    <a:lnTo>
                      <a:pt x="670" y="572"/>
                    </a:lnTo>
                    <a:lnTo>
                      <a:pt x="676" y="577"/>
                    </a:lnTo>
                    <a:lnTo>
                      <a:pt x="693" y="582"/>
                    </a:lnTo>
                    <a:lnTo>
                      <a:pt x="693" y="585"/>
                    </a:lnTo>
                    <a:lnTo>
                      <a:pt x="693" y="587"/>
                    </a:lnTo>
                    <a:lnTo>
                      <a:pt x="695" y="592"/>
                    </a:lnTo>
                    <a:lnTo>
                      <a:pt x="700" y="588"/>
                    </a:lnTo>
                    <a:lnTo>
                      <a:pt x="706" y="585"/>
                    </a:lnTo>
                    <a:lnTo>
                      <a:pt x="710" y="588"/>
                    </a:lnTo>
                    <a:lnTo>
                      <a:pt x="713" y="590"/>
                    </a:lnTo>
                    <a:lnTo>
                      <a:pt x="715" y="593"/>
                    </a:lnTo>
                    <a:lnTo>
                      <a:pt x="723" y="595"/>
                    </a:lnTo>
                    <a:lnTo>
                      <a:pt x="736" y="602"/>
                    </a:lnTo>
                    <a:lnTo>
                      <a:pt x="750" y="602"/>
                    </a:lnTo>
                    <a:lnTo>
                      <a:pt x="755" y="607"/>
                    </a:lnTo>
                    <a:lnTo>
                      <a:pt x="758" y="612"/>
                    </a:lnTo>
                    <a:lnTo>
                      <a:pt x="764" y="613"/>
                    </a:lnTo>
                    <a:lnTo>
                      <a:pt x="771" y="618"/>
                    </a:lnTo>
                    <a:lnTo>
                      <a:pt x="778" y="628"/>
                    </a:lnTo>
                    <a:lnTo>
                      <a:pt x="783" y="628"/>
                    </a:lnTo>
                    <a:lnTo>
                      <a:pt x="783" y="627"/>
                    </a:lnTo>
                    <a:lnTo>
                      <a:pt x="781" y="620"/>
                    </a:lnTo>
                    <a:lnTo>
                      <a:pt x="784" y="620"/>
                    </a:lnTo>
                    <a:lnTo>
                      <a:pt x="786" y="618"/>
                    </a:lnTo>
                    <a:lnTo>
                      <a:pt x="783" y="613"/>
                    </a:lnTo>
                    <a:lnTo>
                      <a:pt x="783" y="610"/>
                    </a:lnTo>
                    <a:lnTo>
                      <a:pt x="783" y="598"/>
                    </a:lnTo>
                    <a:lnTo>
                      <a:pt x="788" y="595"/>
                    </a:lnTo>
                    <a:lnTo>
                      <a:pt x="783" y="595"/>
                    </a:lnTo>
                    <a:lnTo>
                      <a:pt x="783" y="593"/>
                    </a:lnTo>
                    <a:lnTo>
                      <a:pt x="778" y="593"/>
                    </a:lnTo>
                    <a:lnTo>
                      <a:pt x="774" y="595"/>
                    </a:lnTo>
                    <a:lnTo>
                      <a:pt x="769" y="595"/>
                    </a:lnTo>
                    <a:lnTo>
                      <a:pt x="760" y="583"/>
                    </a:lnTo>
                    <a:lnTo>
                      <a:pt x="756" y="583"/>
                    </a:lnTo>
                    <a:lnTo>
                      <a:pt x="753" y="578"/>
                    </a:lnTo>
                    <a:lnTo>
                      <a:pt x="753" y="572"/>
                    </a:lnTo>
                    <a:lnTo>
                      <a:pt x="751" y="568"/>
                    </a:lnTo>
                    <a:lnTo>
                      <a:pt x="746" y="575"/>
                    </a:lnTo>
                    <a:lnTo>
                      <a:pt x="741" y="572"/>
                    </a:lnTo>
                    <a:lnTo>
                      <a:pt x="735" y="572"/>
                    </a:lnTo>
                    <a:lnTo>
                      <a:pt x="731" y="568"/>
                    </a:lnTo>
                    <a:lnTo>
                      <a:pt x="728" y="572"/>
                    </a:lnTo>
                    <a:lnTo>
                      <a:pt x="726" y="565"/>
                    </a:lnTo>
                    <a:lnTo>
                      <a:pt x="723" y="562"/>
                    </a:lnTo>
                    <a:lnTo>
                      <a:pt x="720" y="552"/>
                    </a:lnTo>
                    <a:lnTo>
                      <a:pt x="720" y="549"/>
                    </a:lnTo>
                    <a:lnTo>
                      <a:pt x="723" y="552"/>
                    </a:lnTo>
                    <a:lnTo>
                      <a:pt x="726" y="549"/>
                    </a:lnTo>
                    <a:lnTo>
                      <a:pt x="726" y="544"/>
                    </a:lnTo>
                    <a:lnTo>
                      <a:pt x="718" y="539"/>
                    </a:lnTo>
                    <a:lnTo>
                      <a:pt x="718" y="534"/>
                    </a:lnTo>
                    <a:lnTo>
                      <a:pt x="721" y="529"/>
                    </a:lnTo>
                    <a:lnTo>
                      <a:pt x="725" y="530"/>
                    </a:lnTo>
                    <a:lnTo>
                      <a:pt x="721" y="527"/>
                    </a:lnTo>
                    <a:lnTo>
                      <a:pt x="715" y="525"/>
                    </a:lnTo>
                    <a:lnTo>
                      <a:pt x="711" y="519"/>
                    </a:lnTo>
                    <a:lnTo>
                      <a:pt x="708" y="515"/>
                    </a:lnTo>
                    <a:lnTo>
                      <a:pt x="705" y="517"/>
                    </a:lnTo>
                    <a:lnTo>
                      <a:pt x="700" y="512"/>
                    </a:lnTo>
                    <a:lnTo>
                      <a:pt x="700" y="505"/>
                    </a:lnTo>
                    <a:lnTo>
                      <a:pt x="703" y="500"/>
                    </a:lnTo>
                    <a:lnTo>
                      <a:pt x="700" y="497"/>
                    </a:lnTo>
                    <a:lnTo>
                      <a:pt x="700" y="494"/>
                    </a:lnTo>
                    <a:lnTo>
                      <a:pt x="703" y="490"/>
                    </a:lnTo>
                    <a:lnTo>
                      <a:pt x="711" y="479"/>
                    </a:lnTo>
                    <a:lnTo>
                      <a:pt x="716" y="475"/>
                    </a:lnTo>
                    <a:lnTo>
                      <a:pt x="718" y="474"/>
                    </a:lnTo>
                    <a:lnTo>
                      <a:pt x="715" y="467"/>
                    </a:lnTo>
                    <a:lnTo>
                      <a:pt x="715" y="464"/>
                    </a:lnTo>
                    <a:lnTo>
                      <a:pt x="718" y="457"/>
                    </a:lnTo>
                    <a:lnTo>
                      <a:pt x="715" y="452"/>
                    </a:lnTo>
                    <a:lnTo>
                      <a:pt x="713" y="446"/>
                    </a:lnTo>
                    <a:lnTo>
                      <a:pt x="716" y="442"/>
                    </a:lnTo>
                    <a:lnTo>
                      <a:pt x="715" y="439"/>
                    </a:lnTo>
                    <a:lnTo>
                      <a:pt x="715" y="434"/>
                    </a:lnTo>
                    <a:lnTo>
                      <a:pt x="711" y="432"/>
                    </a:lnTo>
                    <a:lnTo>
                      <a:pt x="713" y="424"/>
                    </a:lnTo>
                    <a:lnTo>
                      <a:pt x="715" y="422"/>
                    </a:lnTo>
                    <a:lnTo>
                      <a:pt x="711" y="417"/>
                    </a:lnTo>
                    <a:lnTo>
                      <a:pt x="713" y="409"/>
                    </a:lnTo>
                    <a:lnTo>
                      <a:pt x="711" y="401"/>
                    </a:lnTo>
                    <a:lnTo>
                      <a:pt x="716" y="399"/>
                    </a:lnTo>
                    <a:lnTo>
                      <a:pt x="720" y="401"/>
                    </a:lnTo>
                    <a:lnTo>
                      <a:pt x="718" y="402"/>
                    </a:lnTo>
                    <a:lnTo>
                      <a:pt x="720" y="406"/>
                    </a:lnTo>
                    <a:lnTo>
                      <a:pt x="725" y="402"/>
                    </a:lnTo>
                    <a:lnTo>
                      <a:pt x="731" y="402"/>
                    </a:lnTo>
                    <a:lnTo>
                      <a:pt x="738" y="399"/>
                    </a:lnTo>
                    <a:lnTo>
                      <a:pt x="743" y="401"/>
                    </a:lnTo>
                    <a:lnTo>
                      <a:pt x="746" y="402"/>
                    </a:lnTo>
                    <a:lnTo>
                      <a:pt x="750" y="399"/>
                    </a:lnTo>
                    <a:lnTo>
                      <a:pt x="755" y="399"/>
                    </a:lnTo>
                    <a:lnTo>
                      <a:pt x="769" y="406"/>
                    </a:lnTo>
                    <a:lnTo>
                      <a:pt x="776" y="406"/>
                    </a:lnTo>
                    <a:lnTo>
                      <a:pt x="781" y="406"/>
                    </a:lnTo>
                    <a:lnTo>
                      <a:pt x="783" y="411"/>
                    </a:lnTo>
                    <a:lnTo>
                      <a:pt x="779" y="412"/>
                    </a:lnTo>
                    <a:lnTo>
                      <a:pt x="783" y="417"/>
                    </a:lnTo>
                    <a:lnTo>
                      <a:pt x="783" y="422"/>
                    </a:lnTo>
                    <a:lnTo>
                      <a:pt x="784" y="424"/>
                    </a:lnTo>
                    <a:lnTo>
                      <a:pt x="784" y="432"/>
                    </a:lnTo>
                    <a:lnTo>
                      <a:pt x="788" y="439"/>
                    </a:lnTo>
                    <a:lnTo>
                      <a:pt x="786" y="451"/>
                    </a:lnTo>
                    <a:lnTo>
                      <a:pt x="788" y="454"/>
                    </a:lnTo>
                    <a:lnTo>
                      <a:pt x="788" y="457"/>
                    </a:lnTo>
                    <a:lnTo>
                      <a:pt x="789" y="461"/>
                    </a:lnTo>
                    <a:lnTo>
                      <a:pt x="788" y="466"/>
                    </a:lnTo>
                    <a:lnTo>
                      <a:pt x="786" y="467"/>
                    </a:lnTo>
                    <a:lnTo>
                      <a:pt x="788" y="472"/>
                    </a:lnTo>
                    <a:lnTo>
                      <a:pt x="793" y="475"/>
                    </a:lnTo>
                    <a:lnTo>
                      <a:pt x="796" y="482"/>
                    </a:lnTo>
                    <a:lnTo>
                      <a:pt x="801" y="484"/>
                    </a:lnTo>
                    <a:lnTo>
                      <a:pt x="801" y="484"/>
                    </a:lnTo>
                    <a:lnTo>
                      <a:pt x="804" y="484"/>
                    </a:lnTo>
                    <a:lnTo>
                      <a:pt x="808" y="485"/>
                    </a:lnTo>
                    <a:lnTo>
                      <a:pt x="809" y="494"/>
                    </a:lnTo>
                    <a:lnTo>
                      <a:pt x="816" y="497"/>
                    </a:lnTo>
                    <a:lnTo>
                      <a:pt x="818" y="502"/>
                    </a:lnTo>
                    <a:lnTo>
                      <a:pt x="821" y="515"/>
                    </a:lnTo>
                    <a:lnTo>
                      <a:pt x="824" y="519"/>
                    </a:lnTo>
                    <a:lnTo>
                      <a:pt x="824" y="522"/>
                    </a:lnTo>
                    <a:lnTo>
                      <a:pt x="823" y="525"/>
                    </a:lnTo>
                    <a:lnTo>
                      <a:pt x="828" y="530"/>
                    </a:lnTo>
                    <a:lnTo>
                      <a:pt x="828" y="537"/>
                    </a:lnTo>
                    <a:lnTo>
                      <a:pt x="836" y="547"/>
                    </a:lnTo>
                    <a:lnTo>
                      <a:pt x="834" y="552"/>
                    </a:lnTo>
                    <a:lnTo>
                      <a:pt x="836" y="557"/>
                    </a:lnTo>
                    <a:lnTo>
                      <a:pt x="841" y="560"/>
                    </a:lnTo>
                    <a:lnTo>
                      <a:pt x="839" y="564"/>
                    </a:lnTo>
                    <a:lnTo>
                      <a:pt x="841" y="565"/>
                    </a:lnTo>
                    <a:lnTo>
                      <a:pt x="844" y="575"/>
                    </a:lnTo>
                    <a:lnTo>
                      <a:pt x="854" y="587"/>
                    </a:lnTo>
                    <a:lnTo>
                      <a:pt x="861" y="588"/>
                    </a:lnTo>
                    <a:lnTo>
                      <a:pt x="864" y="592"/>
                    </a:lnTo>
                    <a:lnTo>
                      <a:pt x="867" y="593"/>
                    </a:lnTo>
                    <a:lnTo>
                      <a:pt x="876" y="600"/>
                    </a:lnTo>
                    <a:lnTo>
                      <a:pt x="876" y="603"/>
                    </a:lnTo>
                    <a:lnTo>
                      <a:pt x="872" y="602"/>
                    </a:lnTo>
                    <a:lnTo>
                      <a:pt x="872" y="607"/>
                    </a:lnTo>
                    <a:lnTo>
                      <a:pt x="871" y="613"/>
                    </a:lnTo>
                    <a:lnTo>
                      <a:pt x="874" y="622"/>
                    </a:lnTo>
                    <a:lnTo>
                      <a:pt x="881" y="627"/>
                    </a:lnTo>
                    <a:lnTo>
                      <a:pt x="881" y="633"/>
                    </a:lnTo>
                    <a:lnTo>
                      <a:pt x="876" y="637"/>
                    </a:lnTo>
                    <a:lnTo>
                      <a:pt x="877" y="638"/>
                    </a:lnTo>
                    <a:lnTo>
                      <a:pt x="874" y="642"/>
                    </a:lnTo>
                    <a:lnTo>
                      <a:pt x="876" y="645"/>
                    </a:lnTo>
                    <a:lnTo>
                      <a:pt x="876" y="655"/>
                    </a:lnTo>
                    <a:lnTo>
                      <a:pt x="869" y="657"/>
                    </a:lnTo>
                    <a:lnTo>
                      <a:pt x="871" y="658"/>
                    </a:lnTo>
                    <a:lnTo>
                      <a:pt x="874" y="658"/>
                    </a:lnTo>
                    <a:lnTo>
                      <a:pt x="876" y="660"/>
                    </a:lnTo>
                    <a:lnTo>
                      <a:pt x="869" y="663"/>
                    </a:lnTo>
                    <a:lnTo>
                      <a:pt x="869" y="673"/>
                    </a:lnTo>
                    <a:lnTo>
                      <a:pt x="867" y="675"/>
                    </a:lnTo>
                    <a:lnTo>
                      <a:pt x="861" y="673"/>
                    </a:lnTo>
                    <a:lnTo>
                      <a:pt x="861" y="675"/>
                    </a:lnTo>
                    <a:lnTo>
                      <a:pt x="866" y="680"/>
                    </a:lnTo>
                    <a:lnTo>
                      <a:pt x="867" y="683"/>
                    </a:lnTo>
                    <a:lnTo>
                      <a:pt x="861" y="686"/>
                    </a:lnTo>
                    <a:lnTo>
                      <a:pt x="858" y="690"/>
                    </a:lnTo>
                    <a:lnTo>
                      <a:pt x="849" y="691"/>
                    </a:lnTo>
                    <a:lnTo>
                      <a:pt x="844" y="686"/>
                    </a:lnTo>
                    <a:lnTo>
                      <a:pt x="851" y="683"/>
                    </a:lnTo>
                    <a:lnTo>
                      <a:pt x="853" y="680"/>
                    </a:lnTo>
                    <a:lnTo>
                      <a:pt x="846" y="680"/>
                    </a:lnTo>
                    <a:lnTo>
                      <a:pt x="846" y="683"/>
                    </a:lnTo>
                    <a:lnTo>
                      <a:pt x="843" y="683"/>
                    </a:lnTo>
                    <a:lnTo>
                      <a:pt x="831" y="678"/>
                    </a:lnTo>
                    <a:lnTo>
                      <a:pt x="829" y="680"/>
                    </a:lnTo>
                    <a:lnTo>
                      <a:pt x="814" y="681"/>
                    </a:lnTo>
                    <a:lnTo>
                      <a:pt x="808" y="683"/>
                    </a:lnTo>
                    <a:lnTo>
                      <a:pt x="804" y="688"/>
                    </a:lnTo>
                    <a:lnTo>
                      <a:pt x="808" y="690"/>
                    </a:lnTo>
                    <a:lnTo>
                      <a:pt x="809" y="691"/>
                    </a:lnTo>
                    <a:lnTo>
                      <a:pt x="813" y="686"/>
                    </a:lnTo>
                    <a:lnTo>
                      <a:pt x="819" y="685"/>
                    </a:lnTo>
                    <a:lnTo>
                      <a:pt x="821" y="690"/>
                    </a:lnTo>
                    <a:lnTo>
                      <a:pt x="828" y="695"/>
                    </a:lnTo>
                    <a:lnTo>
                      <a:pt x="846" y="698"/>
                    </a:lnTo>
                    <a:lnTo>
                      <a:pt x="854" y="700"/>
                    </a:lnTo>
                    <a:lnTo>
                      <a:pt x="862" y="698"/>
                    </a:lnTo>
                    <a:lnTo>
                      <a:pt x="871" y="698"/>
                    </a:lnTo>
                    <a:lnTo>
                      <a:pt x="872" y="700"/>
                    </a:lnTo>
                    <a:lnTo>
                      <a:pt x="882" y="703"/>
                    </a:lnTo>
                    <a:lnTo>
                      <a:pt x="889" y="698"/>
                    </a:lnTo>
                    <a:lnTo>
                      <a:pt x="889" y="695"/>
                    </a:lnTo>
                    <a:lnTo>
                      <a:pt x="886" y="691"/>
                    </a:lnTo>
                    <a:lnTo>
                      <a:pt x="886" y="685"/>
                    </a:lnTo>
                    <a:lnTo>
                      <a:pt x="889" y="681"/>
                    </a:lnTo>
                    <a:lnTo>
                      <a:pt x="894" y="680"/>
                    </a:lnTo>
                    <a:lnTo>
                      <a:pt x="894" y="676"/>
                    </a:lnTo>
                    <a:lnTo>
                      <a:pt x="901" y="670"/>
                    </a:lnTo>
                    <a:lnTo>
                      <a:pt x="902" y="666"/>
                    </a:lnTo>
                    <a:lnTo>
                      <a:pt x="906" y="657"/>
                    </a:lnTo>
                    <a:lnTo>
                      <a:pt x="902" y="650"/>
                    </a:lnTo>
                    <a:lnTo>
                      <a:pt x="902" y="643"/>
                    </a:lnTo>
                    <a:lnTo>
                      <a:pt x="911" y="630"/>
                    </a:lnTo>
                    <a:lnTo>
                      <a:pt x="911" y="627"/>
                    </a:lnTo>
                    <a:lnTo>
                      <a:pt x="904" y="610"/>
                    </a:lnTo>
                    <a:lnTo>
                      <a:pt x="894" y="605"/>
                    </a:lnTo>
                    <a:lnTo>
                      <a:pt x="891" y="602"/>
                    </a:lnTo>
                    <a:lnTo>
                      <a:pt x="891" y="588"/>
                    </a:lnTo>
                    <a:lnTo>
                      <a:pt x="897" y="583"/>
                    </a:lnTo>
                    <a:lnTo>
                      <a:pt x="901" y="578"/>
                    </a:lnTo>
                    <a:lnTo>
                      <a:pt x="907" y="577"/>
                    </a:lnTo>
                    <a:lnTo>
                      <a:pt x="917" y="568"/>
                    </a:lnTo>
                    <a:lnTo>
                      <a:pt x="924" y="568"/>
                    </a:lnTo>
                    <a:lnTo>
                      <a:pt x="932" y="575"/>
                    </a:lnTo>
                    <a:lnTo>
                      <a:pt x="932" y="582"/>
                    </a:lnTo>
                    <a:lnTo>
                      <a:pt x="941" y="585"/>
                    </a:lnTo>
                    <a:lnTo>
                      <a:pt x="942" y="588"/>
                    </a:lnTo>
                    <a:lnTo>
                      <a:pt x="944" y="588"/>
                    </a:lnTo>
                    <a:lnTo>
                      <a:pt x="951" y="595"/>
                    </a:lnTo>
                    <a:lnTo>
                      <a:pt x="949" y="600"/>
                    </a:lnTo>
                    <a:lnTo>
                      <a:pt x="954" y="603"/>
                    </a:lnTo>
                    <a:lnTo>
                      <a:pt x="956" y="608"/>
                    </a:lnTo>
                    <a:lnTo>
                      <a:pt x="959" y="613"/>
                    </a:lnTo>
                    <a:lnTo>
                      <a:pt x="961" y="618"/>
                    </a:lnTo>
                    <a:lnTo>
                      <a:pt x="957" y="620"/>
                    </a:lnTo>
                    <a:lnTo>
                      <a:pt x="962" y="625"/>
                    </a:lnTo>
                    <a:lnTo>
                      <a:pt x="967" y="625"/>
                    </a:lnTo>
                    <a:lnTo>
                      <a:pt x="974" y="630"/>
                    </a:lnTo>
                    <a:lnTo>
                      <a:pt x="980" y="628"/>
                    </a:lnTo>
                    <a:lnTo>
                      <a:pt x="984" y="627"/>
                    </a:lnTo>
                    <a:lnTo>
                      <a:pt x="992" y="627"/>
                    </a:lnTo>
                    <a:lnTo>
                      <a:pt x="994" y="623"/>
                    </a:lnTo>
                    <a:lnTo>
                      <a:pt x="995" y="623"/>
                    </a:lnTo>
                    <a:lnTo>
                      <a:pt x="992" y="622"/>
                    </a:lnTo>
                    <a:lnTo>
                      <a:pt x="989" y="623"/>
                    </a:lnTo>
                    <a:lnTo>
                      <a:pt x="987" y="620"/>
                    </a:lnTo>
                    <a:lnTo>
                      <a:pt x="982" y="625"/>
                    </a:lnTo>
                    <a:lnTo>
                      <a:pt x="975" y="625"/>
                    </a:lnTo>
                    <a:lnTo>
                      <a:pt x="972" y="622"/>
                    </a:lnTo>
                    <a:lnTo>
                      <a:pt x="967" y="622"/>
                    </a:lnTo>
                    <a:lnTo>
                      <a:pt x="964" y="617"/>
                    </a:lnTo>
                    <a:lnTo>
                      <a:pt x="965" y="613"/>
                    </a:lnTo>
                    <a:lnTo>
                      <a:pt x="962" y="612"/>
                    </a:lnTo>
                    <a:lnTo>
                      <a:pt x="959" y="605"/>
                    </a:lnTo>
                    <a:lnTo>
                      <a:pt x="961" y="598"/>
                    </a:lnTo>
                    <a:lnTo>
                      <a:pt x="965" y="597"/>
                    </a:lnTo>
                    <a:lnTo>
                      <a:pt x="969" y="593"/>
                    </a:lnTo>
                    <a:lnTo>
                      <a:pt x="965" y="592"/>
                    </a:lnTo>
                    <a:lnTo>
                      <a:pt x="964" y="588"/>
                    </a:lnTo>
                    <a:lnTo>
                      <a:pt x="962" y="587"/>
                    </a:lnTo>
                    <a:lnTo>
                      <a:pt x="961" y="583"/>
                    </a:lnTo>
                    <a:lnTo>
                      <a:pt x="954" y="580"/>
                    </a:lnTo>
                    <a:lnTo>
                      <a:pt x="954" y="577"/>
                    </a:lnTo>
                    <a:lnTo>
                      <a:pt x="947" y="570"/>
                    </a:lnTo>
                    <a:lnTo>
                      <a:pt x="939" y="570"/>
                    </a:lnTo>
                    <a:lnTo>
                      <a:pt x="927" y="565"/>
                    </a:lnTo>
                    <a:lnTo>
                      <a:pt x="926" y="560"/>
                    </a:lnTo>
                    <a:lnTo>
                      <a:pt x="921" y="562"/>
                    </a:lnTo>
                    <a:lnTo>
                      <a:pt x="911" y="559"/>
                    </a:lnTo>
                    <a:lnTo>
                      <a:pt x="907" y="559"/>
                    </a:lnTo>
                    <a:lnTo>
                      <a:pt x="901" y="557"/>
                    </a:lnTo>
                    <a:lnTo>
                      <a:pt x="896" y="564"/>
                    </a:lnTo>
                    <a:lnTo>
                      <a:pt x="894" y="568"/>
                    </a:lnTo>
                    <a:lnTo>
                      <a:pt x="891" y="572"/>
                    </a:lnTo>
                    <a:lnTo>
                      <a:pt x="881" y="568"/>
                    </a:lnTo>
                    <a:lnTo>
                      <a:pt x="874" y="573"/>
                    </a:lnTo>
                    <a:lnTo>
                      <a:pt x="867" y="572"/>
                    </a:lnTo>
                    <a:lnTo>
                      <a:pt x="864" y="568"/>
                    </a:lnTo>
                    <a:lnTo>
                      <a:pt x="866" y="562"/>
                    </a:lnTo>
                    <a:lnTo>
                      <a:pt x="864" y="559"/>
                    </a:lnTo>
                    <a:lnTo>
                      <a:pt x="856" y="549"/>
                    </a:lnTo>
                    <a:lnTo>
                      <a:pt x="853" y="544"/>
                    </a:lnTo>
                    <a:lnTo>
                      <a:pt x="854" y="534"/>
                    </a:lnTo>
                    <a:lnTo>
                      <a:pt x="848" y="527"/>
                    </a:lnTo>
                    <a:lnTo>
                      <a:pt x="849" y="520"/>
                    </a:lnTo>
                    <a:lnTo>
                      <a:pt x="851" y="507"/>
                    </a:lnTo>
                    <a:lnTo>
                      <a:pt x="846" y="499"/>
                    </a:lnTo>
                    <a:lnTo>
                      <a:pt x="841" y="492"/>
                    </a:lnTo>
                    <a:lnTo>
                      <a:pt x="834" y="492"/>
                    </a:lnTo>
                    <a:lnTo>
                      <a:pt x="833" y="487"/>
                    </a:lnTo>
                    <a:lnTo>
                      <a:pt x="821" y="479"/>
                    </a:lnTo>
                    <a:lnTo>
                      <a:pt x="813" y="474"/>
                    </a:lnTo>
                    <a:lnTo>
                      <a:pt x="813" y="467"/>
                    </a:lnTo>
                    <a:lnTo>
                      <a:pt x="816" y="459"/>
                    </a:lnTo>
                    <a:lnTo>
                      <a:pt x="814" y="452"/>
                    </a:lnTo>
                    <a:lnTo>
                      <a:pt x="811" y="449"/>
                    </a:lnTo>
                    <a:lnTo>
                      <a:pt x="811" y="447"/>
                    </a:lnTo>
                    <a:lnTo>
                      <a:pt x="816" y="442"/>
                    </a:lnTo>
                    <a:lnTo>
                      <a:pt x="823" y="434"/>
                    </a:lnTo>
                    <a:lnTo>
                      <a:pt x="826" y="424"/>
                    </a:lnTo>
                    <a:lnTo>
                      <a:pt x="823" y="412"/>
                    </a:lnTo>
                    <a:lnTo>
                      <a:pt x="813" y="394"/>
                    </a:lnTo>
                    <a:lnTo>
                      <a:pt x="816" y="394"/>
                    </a:lnTo>
                    <a:lnTo>
                      <a:pt x="823" y="397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9" y="407"/>
                    </a:lnTo>
                    <a:lnTo>
                      <a:pt x="829" y="414"/>
                    </a:lnTo>
                    <a:lnTo>
                      <a:pt x="834" y="419"/>
                    </a:lnTo>
                    <a:lnTo>
                      <a:pt x="834" y="427"/>
                    </a:lnTo>
                    <a:lnTo>
                      <a:pt x="838" y="434"/>
                    </a:lnTo>
                    <a:lnTo>
                      <a:pt x="836" y="439"/>
                    </a:lnTo>
                    <a:lnTo>
                      <a:pt x="839" y="444"/>
                    </a:lnTo>
                    <a:lnTo>
                      <a:pt x="846" y="451"/>
                    </a:lnTo>
                    <a:lnTo>
                      <a:pt x="846" y="454"/>
                    </a:lnTo>
                    <a:lnTo>
                      <a:pt x="851" y="457"/>
                    </a:lnTo>
                    <a:lnTo>
                      <a:pt x="851" y="461"/>
                    </a:lnTo>
                    <a:lnTo>
                      <a:pt x="846" y="462"/>
                    </a:lnTo>
                    <a:lnTo>
                      <a:pt x="849" y="466"/>
                    </a:lnTo>
                    <a:lnTo>
                      <a:pt x="854" y="466"/>
                    </a:lnTo>
                    <a:lnTo>
                      <a:pt x="861" y="469"/>
                    </a:lnTo>
                    <a:lnTo>
                      <a:pt x="869" y="469"/>
                    </a:lnTo>
                    <a:lnTo>
                      <a:pt x="874" y="467"/>
                    </a:lnTo>
                    <a:lnTo>
                      <a:pt x="879" y="470"/>
                    </a:lnTo>
                    <a:lnTo>
                      <a:pt x="881" y="474"/>
                    </a:lnTo>
                    <a:lnTo>
                      <a:pt x="886" y="469"/>
                    </a:lnTo>
                    <a:lnTo>
                      <a:pt x="891" y="467"/>
                    </a:lnTo>
                    <a:lnTo>
                      <a:pt x="896" y="466"/>
                    </a:lnTo>
                    <a:lnTo>
                      <a:pt x="899" y="467"/>
                    </a:lnTo>
                    <a:lnTo>
                      <a:pt x="906" y="474"/>
                    </a:lnTo>
                    <a:lnTo>
                      <a:pt x="911" y="474"/>
                    </a:lnTo>
                    <a:lnTo>
                      <a:pt x="917" y="477"/>
                    </a:lnTo>
                    <a:lnTo>
                      <a:pt x="927" y="475"/>
                    </a:lnTo>
                    <a:lnTo>
                      <a:pt x="931" y="472"/>
                    </a:lnTo>
                    <a:lnTo>
                      <a:pt x="926" y="474"/>
                    </a:lnTo>
                    <a:lnTo>
                      <a:pt x="916" y="474"/>
                    </a:lnTo>
                    <a:lnTo>
                      <a:pt x="916" y="469"/>
                    </a:lnTo>
                    <a:lnTo>
                      <a:pt x="912" y="469"/>
                    </a:lnTo>
                    <a:lnTo>
                      <a:pt x="909" y="462"/>
                    </a:lnTo>
                    <a:lnTo>
                      <a:pt x="901" y="462"/>
                    </a:lnTo>
                    <a:lnTo>
                      <a:pt x="901" y="459"/>
                    </a:lnTo>
                    <a:lnTo>
                      <a:pt x="897" y="457"/>
                    </a:lnTo>
                    <a:lnTo>
                      <a:pt x="894" y="461"/>
                    </a:lnTo>
                    <a:lnTo>
                      <a:pt x="882" y="461"/>
                    </a:lnTo>
                    <a:lnTo>
                      <a:pt x="879" y="457"/>
                    </a:lnTo>
                    <a:lnTo>
                      <a:pt x="871" y="456"/>
                    </a:lnTo>
                    <a:lnTo>
                      <a:pt x="862" y="449"/>
                    </a:lnTo>
                    <a:lnTo>
                      <a:pt x="861" y="444"/>
                    </a:lnTo>
                    <a:lnTo>
                      <a:pt x="858" y="444"/>
                    </a:lnTo>
                    <a:lnTo>
                      <a:pt x="849" y="434"/>
                    </a:lnTo>
                    <a:lnTo>
                      <a:pt x="853" y="432"/>
                    </a:lnTo>
                    <a:lnTo>
                      <a:pt x="856" y="431"/>
                    </a:lnTo>
                    <a:lnTo>
                      <a:pt x="862" y="426"/>
                    </a:lnTo>
                    <a:lnTo>
                      <a:pt x="866" y="426"/>
                    </a:lnTo>
                    <a:lnTo>
                      <a:pt x="872" y="432"/>
                    </a:lnTo>
                    <a:lnTo>
                      <a:pt x="884" y="437"/>
                    </a:lnTo>
                    <a:lnTo>
                      <a:pt x="891" y="436"/>
                    </a:lnTo>
                    <a:lnTo>
                      <a:pt x="896" y="427"/>
                    </a:lnTo>
                    <a:lnTo>
                      <a:pt x="891" y="419"/>
                    </a:lnTo>
                    <a:lnTo>
                      <a:pt x="882" y="417"/>
                    </a:lnTo>
                    <a:lnTo>
                      <a:pt x="874" y="421"/>
                    </a:lnTo>
                    <a:lnTo>
                      <a:pt x="871" y="419"/>
                    </a:lnTo>
                    <a:lnTo>
                      <a:pt x="872" y="416"/>
                    </a:lnTo>
                    <a:lnTo>
                      <a:pt x="874" y="417"/>
                    </a:lnTo>
                    <a:lnTo>
                      <a:pt x="877" y="416"/>
                    </a:lnTo>
                    <a:lnTo>
                      <a:pt x="877" y="411"/>
                    </a:lnTo>
                    <a:lnTo>
                      <a:pt x="884" y="402"/>
                    </a:lnTo>
                    <a:lnTo>
                      <a:pt x="889" y="399"/>
                    </a:lnTo>
                    <a:lnTo>
                      <a:pt x="894" y="401"/>
                    </a:lnTo>
                    <a:lnTo>
                      <a:pt x="911" y="401"/>
                    </a:lnTo>
                    <a:lnTo>
                      <a:pt x="917" y="406"/>
                    </a:lnTo>
                    <a:lnTo>
                      <a:pt x="922" y="411"/>
                    </a:lnTo>
                    <a:lnTo>
                      <a:pt x="937" y="412"/>
                    </a:lnTo>
                    <a:lnTo>
                      <a:pt x="937" y="416"/>
                    </a:lnTo>
                    <a:lnTo>
                      <a:pt x="944" y="419"/>
                    </a:lnTo>
                    <a:lnTo>
                      <a:pt x="954" y="427"/>
                    </a:lnTo>
                    <a:lnTo>
                      <a:pt x="961" y="429"/>
                    </a:lnTo>
                    <a:lnTo>
                      <a:pt x="974" y="427"/>
                    </a:lnTo>
                    <a:lnTo>
                      <a:pt x="984" y="421"/>
                    </a:lnTo>
                    <a:lnTo>
                      <a:pt x="987" y="424"/>
                    </a:lnTo>
                    <a:lnTo>
                      <a:pt x="989" y="424"/>
                    </a:lnTo>
                    <a:lnTo>
                      <a:pt x="995" y="424"/>
                    </a:lnTo>
                    <a:lnTo>
                      <a:pt x="994" y="432"/>
                    </a:lnTo>
                    <a:lnTo>
                      <a:pt x="995" y="436"/>
                    </a:lnTo>
                    <a:lnTo>
                      <a:pt x="994" y="439"/>
                    </a:lnTo>
                    <a:lnTo>
                      <a:pt x="987" y="444"/>
                    </a:lnTo>
                    <a:lnTo>
                      <a:pt x="987" y="449"/>
                    </a:lnTo>
                    <a:lnTo>
                      <a:pt x="990" y="454"/>
                    </a:lnTo>
                    <a:lnTo>
                      <a:pt x="990" y="462"/>
                    </a:lnTo>
                    <a:lnTo>
                      <a:pt x="999" y="467"/>
                    </a:lnTo>
                    <a:lnTo>
                      <a:pt x="999" y="472"/>
                    </a:lnTo>
                    <a:lnTo>
                      <a:pt x="995" y="475"/>
                    </a:lnTo>
                    <a:lnTo>
                      <a:pt x="997" y="490"/>
                    </a:lnTo>
                    <a:lnTo>
                      <a:pt x="1000" y="489"/>
                    </a:lnTo>
                    <a:lnTo>
                      <a:pt x="1002" y="485"/>
                    </a:lnTo>
                    <a:lnTo>
                      <a:pt x="1000" y="482"/>
                    </a:lnTo>
                    <a:lnTo>
                      <a:pt x="1004" y="479"/>
                    </a:lnTo>
                    <a:lnTo>
                      <a:pt x="1004" y="474"/>
                    </a:lnTo>
                    <a:lnTo>
                      <a:pt x="1007" y="472"/>
                    </a:lnTo>
                    <a:lnTo>
                      <a:pt x="1010" y="466"/>
                    </a:lnTo>
                    <a:lnTo>
                      <a:pt x="1014" y="467"/>
                    </a:lnTo>
                    <a:lnTo>
                      <a:pt x="1017" y="475"/>
                    </a:lnTo>
                    <a:lnTo>
                      <a:pt x="1017" y="485"/>
                    </a:lnTo>
                    <a:lnTo>
                      <a:pt x="1019" y="489"/>
                    </a:lnTo>
                    <a:lnTo>
                      <a:pt x="1015" y="490"/>
                    </a:lnTo>
                    <a:lnTo>
                      <a:pt x="1015" y="495"/>
                    </a:lnTo>
                    <a:lnTo>
                      <a:pt x="1012" y="497"/>
                    </a:lnTo>
                    <a:lnTo>
                      <a:pt x="1022" y="502"/>
                    </a:lnTo>
                    <a:lnTo>
                      <a:pt x="1029" y="502"/>
                    </a:lnTo>
                    <a:lnTo>
                      <a:pt x="1037" y="504"/>
                    </a:lnTo>
                    <a:lnTo>
                      <a:pt x="1042" y="509"/>
                    </a:lnTo>
                    <a:lnTo>
                      <a:pt x="1040" y="514"/>
                    </a:lnTo>
                    <a:lnTo>
                      <a:pt x="1047" y="517"/>
                    </a:lnTo>
                    <a:lnTo>
                      <a:pt x="1057" y="519"/>
                    </a:lnTo>
                    <a:lnTo>
                      <a:pt x="1065" y="527"/>
                    </a:lnTo>
                    <a:lnTo>
                      <a:pt x="1065" y="524"/>
                    </a:lnTo>
                    <a:lnTo>
                      <a:pt x="1065" y="517"/>
                    </a:lnTo>
                    <a:lnTo>
                      <a:pt x="1072" y="510"/>
                    </a:lnTo>
                    <a:lnTo>
                      <a:pt x="1078" y="510"/>
                    </a:lnTo>
                    <a:lnTo>
                      <a:pt x="1088" y="519"/>
                    </a:lnTo>
                    <a:lnTo>
                      <a:pt x="1095" y="519"/>
                    </a:lnTo>
                    <a:lnTo>
                      <a:pt x="1100" y="522"/>
                    </a:lnTo>
                    <a:lnTo>
                      <a:pt x="1102" y="530"/>
                    </a:lnTo>
                    <a:lnTo>
                      <a:pt x="1100" y="522"/>
                    </a:lnTo>
                    <a:lnTo>
                      <a:pt x="1098" y="515"/>
                    </a:lnTo>
                    <a:lnTo>
                      <a:pt x="1093" y="515"/>
                    </a:lnTo>
                    <a:lnTo>
                      <a:pt x="1087" y="514"/>
                    </a:lnTo>
                    <a:lnTo>
                      <a:pt x="1078" y="509"/>
                    </a:lnTo>
                    <a:lnTo>
                      <a:pt x="1070" y="510"/>
                    </a:lnTo>
                    <a:lnTo>
                      <a:pt x="1062" y="515"/>
                    </a:lnTo>
                    <a:lnTo>
                      <a:pt x="1059" y="514"/>
                    </a:lnTo>
                    <a:lnTo>
                      <a:pt x="1057" y="515"/>
                    </a:lnTo>
                    <a:lnTo>
                      <a:pt x="1049" y="512"/>
                    </a:lnTo>
                    <a:lnTo>
                      <a:pt x="1040" y="504"/>
                    </a:lnTo>
                    <a:lnTo>
                      <a:pt x="1035" y="500"/>
                    </a:lnTo>
                    <a:lnTo>
                      <a:pt x="1027" y="499"/>
                    </a:lnTo>
                    <a:lnTo>
                      <a:pt x="1022" y="492"/>
                    </a:lnTo>
                    <a:lnTo>
                      <a:pt x="1027" y="494"/>
                    </a:lnTo>
                    <a:lnTo>
                      <a:pt x="1029" y="494"/>
                    </a:lnTo>
                    <a:lnTo>
                      <a:pt x="1035" y="484"/>
                    </a:lnTo>
                    <a:lnTo>
                      <a:pt x="1034" y="479"/>
                    </a:lnTo>
                    <a:lnTo>
                      <a:pt x="1027" y="474"/>
                    </a:lnTo>
                    <a:lnTo>
                      <a:pt x="1024" y="464"/>
                    </a:lnTo>
                    <a:lnTo>
                      <a:pt x="1015" y="454"/>
                    </a:lnTo>
                    <a:lnTo>
                      <a:pt x="1010" y="451"/>
                    </a:lnTo>
                    <a:lnTo>
                      <a:pt x="1005" y="446"/>
                    </a:lnTo>
                    <a:lnTo>
                      <a:pt x="1007" y="441"/>
                    </a:lnTo>
                    <a:lnTo>
                      <a:pt x="1005" y="436"/>
                    </a:lnTo>
                    <a:lnTo>
                      <a:pt x="1004" y="424"/>
                    </a:lnTo>
                    <a:lnTo>
                      <a:pt x="999" y="419"/>
                    </a:lnTo>
                    <a:lnTo>
                      <a:pt x="995" y="419"/>
                    </a:lnTo>
                    <a:lnTo>
                      <a:pt x="987" y="414"/>
                    </a:lnTo>
                    <a:lnTo>
                      <a:pt x="974" y="414"/>
                    </a:lnTo>
                    <a:lnTo>
                      <a:pt x="970" y="407"/>
                    </a:lnTo>
                    <a:lnTo>
                      <a:pt x="964" y="404"/>
                    </a:lnTo>
                    <a:lnTo>
                      <a:pt x="964" y="399"/>
                    </a:lnTo>
                    <a:lnTo>
                      <a:pt x="961" y="394"/>
                    </a:lnTo>
                    <a:lnTo>
                      <a:pt x="961" y="392"/>
                    </a:lnTo>
                    <a:lnTo>
                      <a:pt x="956" y="394"/>
                    </a:lnTo>
                    <a:lnTo>
                      <a:pt x="939" y="394"/>
                    </a:lnTo>
                    <a:lnTo>
                      <a:pt x="934" y="394"/>
                    </a:lnTo>
                    <a:lnTo>
                      <a:pt x="926" y="391"/>
                    </a:lnTo>
                    <a:lnTo>
                      <a:pt x="926" y="384"/>
                    </a:lnTo>
                    <a:lnTo>
                      <a:pt x="922" y="384"/>
                    </a:lnTo>
                    <a:lnTo>
                      <a:pt x="921" y="381"/>
                    </a:lnTo>
                    <a:lnTo>
                      <a:pt x="922" y="372"/>
                    </a:lnTo>
                    <a:lnTo>
                      <a:pt x="916" y="363"/>
                    </a:lnTo>
                    <a:lnTo>
                      <a:pt x="907" y="359"/>
                    </a:lnTo>
                    <a:lnTo>
                      <a:pt x="909" y="356"/>
                    </a:lnTo>
                    <a:lnTo>
                      <a:pt x="907" y="353"/>
                    </a:lnTo>
                    <a:lnTo>
                      <a:pt x="904" y="353"/>
                    </a:lnTo>
                    <a:lnTo>
                      <a:pt x="901" y="349"/>
                    </a:lnTo>
                    <a:lnTo>
                      <a:pt x="902" y="346"/>
                    </a:lnTo>
                    <a:lnTo>
                      <a:pt x="902" y="341"/>
                    </a:lnTo>
                    <a:lnTo>
                      <a:pt x="897" y="336"/>
                    </a:lnTo>
                    <a:lnTo>
                      <a:pt x="901" y="334"/>
                    </a:lnTo>
                    <a:lnTo>
                      <a:pt x="907" y="334"/>
                    </a:lnTo>
                    <a:lnTo>
                      <a:pt x="914" y="328"/>
                    </a:lnTo>
                    <a:lnTo>
                      <a:pt x="919" y="328"/>
                    </a:lnTo>
                    <a:lnTo>
                      <a:pt x="932" y="326"/>
                    </a:lnTo>
                    <a:lnTo>
                      <a:pt x="951" y="319"/>
                    </a:lnTo>
                    <a:lnTo>
                      <a:pt x="957" y="314"/>
                    </a:lnTo>
                    <a:lnTo>
                      <a:pt x="964" y="313"/>
                    </a:lnTo>
                    <a:lnTo>
                      <a:pt x="969" y="314"/>
                    </a:lnTo>
                    <a:lnTo>
                      <a:pt x="974" y="313"/>
                    </a:lnTo>
                    <a:lnTo>
                      <a:pt x="977" y="308"/>
                    </a:lnTo>
                    <a:lnTo>
                      <a:pt x="985" y="304"/>
                    </a:lnTo>
                    <a:lnTo>
                      <a:pt x="1002" y="298"/>
                    </a:lnTo>
                    <a:lnTo>
                      <a:pt x="1004" y="299"/>
                    </a:lnTo>
                    <a:lnTo>
                      <a:pt x="1002" y="304"/>
                    </a:lnTo>
                    <a:lnTo>
                      <a:pt x="1002" y="308"/>
                    </a:lnTo>
                    <a:lnTo>
                      <a:pt x="999" y="309"/>
                    </a:lnTo>
                    <a:lnTo>
                      <a:pt x="994" y="319"/>
                    </a:lnTo>
                    <a:lnTo>
                      <a:pt x="994" y="323"/>
                    </a:lnTo>
                    <a:lnTo>
                      <a:pt x="1004" y="331"/>
                    </a:lnTo>
                    <a:lnTo>
                      <a:pt x="1012" y="331"/>
                    </a:lnTo>
                    <a:lnTo>
                      <a:pt x="1007" y="328"/>
                    </a:lnTo>
                    <a:lnTo>
                      <a:pt x="999" y="321"/>
                    </a:lnTo>
                    <a:lnTo>
                      <a:pt x="999" y="318"/>
                    </a:lnTo>
                    <a:lnTo>
                      <a:pt x="1002" y="313"/>
                    </a:lnTo>
                    <a:lnTo>
                      <a:pt x="1012" y="308"/>
                    </a:lnTo>
                    <a:lnTo>
                      <a:pt x="1015" y="299"/>
                    </a:lnTo>
                    <a:lnTo>
                      <a:pt x="1012" y="293"/>
                    </a:lnTo>
                    <a:lnTo>
                      <a:pt x="1007" y="293"/>
                    </a:lnTo>
                    <a:lnTo>
                      <a:pt x="1000" y="289"/>
                    </a:lnTo>
                    <a:lnTo>
                      <a:pt x="1000" y="286"/>
                    </a:lnTo>
                    <a:lnTo>
                      <a:pt x="994" y="284"/>
                    </a:lnTo>
                    <a:lnTo>
                      <a:pt x="990" y="288"/>
                    </a:lnTo>
                    <a:lnTo>
                      <a:pt x="989" y="286"/>
                    </a:lnTo>
                    <a:lnTo>
                      <a:pt x="985" y="279"/>
                    </a:lnTo>
                    <a:lnTo>
                      <a:pt x="977" y="279"/>
                    </a:lnTo>
                    <a:lnTo>
                      <a:pt x="974" y="281"/>
                    </a:lnTo>
                    <a:lnTo>
                      <a:pt x="969" y="274"/>
                    </a:lnTo>
                    <a:lnTo>
                      <a:pt x="970" y="274"/>
                    </a:lnTo>
                    <a:lnTo>
                      <a:pt x="972" y="270"/>
                    </a:lnTo>
                    <a:lnTo>
                      <a:pt x="974" y="270"/>
                    </a:lnTo>
                    <a:lnTo>
                      <a:pt x="979" y="273"/>
                    </a:lnTo>
                    <a:lnTo>
                      <a:pt x="985" y="273"/>
                    </a:lnTo>
                    <a:lnTo>
                      <a:pt x="989" y="270"/>
                    </a:lnTo>
                    <a:lnTo>
                      <a:pt x="987" y="268"/>
                    </a:lnTo>
                    <a:lnTo>
                      <a:pt x="985" y="270"/>
                    </a:lnTo>
                    <a:lnTo>
                      <a:pt x="980" y="270"/>
                    </a:lnTo>
                    <a:lnTo>
                      <a:pt x="975" y="266"/>
                    </a:lnTo>
                    <a:lnTo>
                      <a:pt x="975" y="263"/>
                    </a:lnTo>
                    <a:lnTo>
                      <a:pt x="969" y="261"/>
                    </a:lnTo>
                    <a:lnTo>
                      <a:pt x="962" y="260"/>
                    </a:lnTo>
                    <a:lnTo>
                      <a:pt x="957" y="261"/>
                    </a:lnTo>
                    <a:lnTo>
                      <a:pt x="954" y="258"/>
                    </a:lnTo>
                    <a:lnTo>
                      <a:pt x="957" y="255"/>
                    </a:lnTo>
                    <a:lnTo>
                      <a:pt x="956" y="250"/>
                    </a:lnTo>
                    <a:lnTo>
                      <a:pt x="954" y="248"/>
                    </a:lnTo>
                    <a:lnTo>
                      <a:pt x="954" y="246"/>
                    </a:lnTo>
                    <a:lnTo>
                      <a:pt x="957" y="246"/>
                    </a:lnTo>
                    <a:lnTo>
                      <a:pt x="962" y="253"/>
                    </a:lnTo>
                    <a:lnTo>
                      <a:pt x="967" y="251"/>
                    </a:lnTo>
                    <a:lnTo>
                      <a:pt x="972" y="260"/>
                    </a:lnTo>
                    <a:lnTo>
                      <a:pt x="974" y="255"/>
                    </a:lnTo>
                    <a:lnTo>
                      <a:pt x="972" y="251"/>
                    </a:lnTo>
                    <a:lnTo>
                      <a:pt x="977" y="248"/>
                    </a:lnTo>
                    <a:lnTo>
                      <a:pt x="977" y="240"/>
                    </a:lnTo>
                    <a:lnTo>
                      <a:pt x="974" y="238"/>
                    </a:lnTo>
                    <a:lnTo>
                      <a:pt x="975" y="236"/>
                    </a:lnTo>
                    <a:lnTo>
                      <a:pt x="980" y="236"/>
                    </a:lnTo>
                    <a:lnTo>
                      <a:pt x="982" y="233"/>
                    </a:lnTo>
                    <a:lnTo>
                      <a:pt x="970" y="231"/>
                    </a:lnTo>
                    <a:lnTo>
                      <a:pt x="969" y="233"/>
                    </a:lnTo>
                    <a:lnTo>
                      <a:pt x="965" y="233"/>
                    </a:lnTo>
                    <a:lnTo>
                      <a:pt x="965" y="230"/>
                    </a:lnTo>
                    <a:lnTo>
                      <a:pt x="970" y="226"/>
                    </a:lnTo>
                    <a:lnTo>
                      <a:pt x="979" y="225"/>
                    </a:lnTo>
                    <a:lnTo>
                      <a:pt x="984" y="223"/>
                    </a:lnTo>
                    <a:lnTo>
                      <a:pt x="984" y="220"/>
                    </a:lnTo>
                    <a:lnTo>
                      <a:pt x="989" y="215"/>
                    </a:lnTo>
                    <a:lnTo>
                      <a:pt x="989" y="211"/>
                    </a:lnTo>
                    <a:lnTo>
                      <a:pt x="990" y="210"/>
                    </a:lnTo>
                    <a:lnTo>
                      <a:pt x="989" y="206"/>
                    </a:lnTo>
                    <a:lnTo>
                      <a:pt x="994" y="201"/>
                    </a:lnTo>
                    <a:lnTo>
                      <a:pt x="995" y="201"/>
                    </a:lnTo>
                    <a:lnTo>
                      <a:pt x="997" y="203"/>
                    </a:lnTo>
                    <a:lnTo>
                      <a:pt x="1000" y="203"/>
                    </a:lnTo>
                    <a:lnTo>
                      <a:pt x="1002" y="198"/>
                    </a:lnTo>
                    <a:lnTo>
                      <a:pt x="1004" y="198"/>
                    </a:lnTo>
                    <a:lnTo>
                      <a:pt x="1000" y="195"/>
                    </a:lnTo>
                    <a:lnTo>
                      <a:pt x="1002" y="191"/>
                    </a:lnTo>
                    <a:lnTo>
                      <a:pt x="1009" y="190"/>
                    </a:lnTo>
                    <a:lnTo>
                      <a:pt x="1012" y="190"/>
                    </a:lnTo>
                    <a:lnTo>
                      <a:pt x="1014" y="185"/>
                    </a:lnTo>
                    <a:lnTo>
                      <a:pt x="1015" y="185"/>
                    </a:lnTo>
                    <a:lnTo>
                      <a:pt x="1020" y="186"/>
                    </a:lnTo>
                    <a:lnTo>
                      <a:pt x="1029" y="185"/>
                    </a:lnTo>
                    <a:lnTo>
                      <a:pt x="1027" y="181"/>
                    </a:lnTo>
                    <a:lnTo>
                      <a:pt x="1027" y="178"/>
                    </a:lnTo>
                    <a:lnTo>
                      <a:pt x="1037" y="176"/>
                    </a:lnTo>
                    <a:lnTo>
                      <a:pt x="1044" y="175"/>
                    </a:lnTo>
                    <a:lnTo>
                      <a:pt x="1045" y="170"/>
                    </a:lnTo>
                    <a:lnTo>
                      <a:pt x="1060" y="165"/>
                    </a:lnTo>
                    <a:lnTo>
                      <a:pt x="1060" y="160"/>
                    </a:lnTo>
                    <a:lnTo>
                      <a:pt x="1059" y="160"/>
                    </a:lnTo>
                    <a:lnTo>
                      <a:pt x="1050" y="163"/>
                    </a:lnTo>
                    <a:lnTo>
                      <a:pt x="1047" y="162"/>
                    </a:lnTo>
                    <a:lnTo>
                      <a:pt x="1042" y="167"/>
                    </a:lnTo>
                    <a:lnTo>
                      <a:pt x="1039" y="163"/>
                    </a:lnTo>
                    <a:lnTo>
                      <a:pt x="1039" y="155"/>
                    </a:lnTo>
                    <a:lnTo>
                      <a:pt x="1042" y="153"/>
                    </a:lnTo>
                    <a:lnTo>
                      <a:pt x="1044" y="148"/>
                    </a:lnTo>
                    <a:lnTo>
                      <a:pt x="1045" y="150"/>
                    </a:lnTo>
                    <a:lnTo>
                      <a:pt x="1045" y="152"/>
                    </a:lnTo>
                    <a:lnTo>
                      <a:pt x="1047" y="152"/>
                    </a:lnTo>
                    <a:lnTo>
                      <a:pt x="1052" y="148"/>
                    </a:lnTo>
                    <a:lnTo>
                      <a:pt x="1045" y="145"/>
                    </a:lnTo>
                    <a:lnTo>
                      <a:pt x="1052" y="143"/>
                    </a:lnTo>
                    <a:lnTo>
                      <a:pt x="1057" y="147"/>
                    </a:lnTo>
                    <a:lnTo>
                      <a:pt x="1060" y="147"/>
                    </a:lnTo>
                    <a:lnTo>
                      <a:pt x="1067" y="142"/>
                    </a:lnTo>
                    <a:lnTo>
                      <a:pt x="1072" y="143"/>
                    </a:lnTo>
                    <a:lnTo>
                      <a:pt x="1085" y="140"/>
                    </a:lnTo>
                    <a:lnTo>
                      <a:pt x="1090" y="140"/>
                    </a:lnTo>
                    <a:lnTo>
                      <a:pt x="1092" y="143"/>
                    </a:lnTo>
                    <a:lnTo>
                      <a:pt x="1087" y="153"/>
                    </a:lnTo>
                    <a:lnTo>
                      <a:pt x="1087" y="157"/>
                    </a:lnTo>
                    <a:lnTo>
                      <a:pt x="1092" y="160"/>
                    </a:lnTo>
                    <a:lnTo>
                      <a:pt x="1093" y="153"/>
                    </a:lnTo>
                    <a:lnTo>
                      <a:pt x="1098" y="147"/>
                    </a:lnTo>
                    <a:lnTo>
                      <a:pt x="1097" y="143"/>
                    </a:lnTo>
                    <a:lnTo>
                      <a:pt x="1098" y="142"/>
                    </a:lnTo>
                    <a:lnTo>
                      <a:pt x="1102" y="145"/>
                    </a:lnTo>
                    <a:lnTo>
                      <a:pt x="1103" y="152"/>
                    </a:lnTo>
                    <a:lnTo>
                      <a:pt x="1107" y="152"/>
                    </a:lnTo>
                    <a:lnTo>
                      <a:pt x="1108" y="147"/>
                    </a:lnTo>
                    <a:lnTo>
                      <a:pt x="1107" y="143"/>
                    </a:lnTo>
                    <a:lnTo>
                      <a:pt x="1112" y="140"/>
                    </a:lnTo>
                    <a:lnTo>
                      <a:pt x="1113" y="140"/>
                    </a:lnTo>
                    <a:lnTo>
                      <a:pt x="1113" y="145"/>
                    </a:lnTo>
                    <a:lnTo>
                      <a:pt x="1122" y="140"/>
                    </a:lnTo>
                    <a:lnTo>
                      <a:pt x="1122" y="138"/>
                    </a:lnTo>
                    <a:lnTo>
                      <a:pt x="1118" y="133"/>
                    </a:lnTo>
                    <a:lnTo>
                      <a:pt x="1123" y="135"/>
                    </a:lnTo>
                    <a:lnTo>
                      <a:pt x="1127" y="132"/>
                    </a:lnTo>
                    <a:lnTo>
                      <a:pt x="1122" y="130"/>
                    </a:lnTo>
                    <a:lnTo>
                      <a:pt x="1127" y="125"/>
                    </a:lnTo>
                    <a:lnTo>
                      <a:pt x="1133" y="125"/>
                    </a:lnTo>
                    <a:lnTo>
                      <a:pt x="1138" y="122"/>
                    </a:lnTo>
                    <a:lnTo>
                      <a:pt x="1140" y="123"/>
                    </a:lnTo>
                    <a:lnTo>
                      <a:pt x="1140" y="127"/>
                    </a:lnTo>
                    <a:lnTo>
                      <a:pt x="1143" y="127"/>
                    </a:lnTo>
                    <a:lnTo>
                      <a:pt x="1150" y="128"/>
                    </a:lnTo>
                    <a:lnTo>
                      <a:pt x="1150" y="133"/>
                    </a:lnTo>
                    <a:lnTo>
                      <a:pt x="1153" y="137"/>
                    </a:lnTo>
                    <a:lnTo>
                      <a:pt x="1148" y="147"/>
                    </a:lnTo>
                    <a:lnTo>
                      <a:pt x="1155" y="143"/>
                    </a:lnTo>
                    <a:lnTo>
                      <a:pt x="1160" y="135"/>
                    </a:lnTo>
                    <a:lnTo>
                      <a:pt x="1155" y="125"/>
                    </a:lnTo>
                    <a:lnTo>
                      <a:pt x="1148" y="122"/>
                    </a:lnTo>
                    <a:lnTo>
                      <a:pt x="1143" y="117"/>
                    </a:lnTo>
                    <a:lnTo>
                      <a:pt x="1138" y="120"/>
                    </a:lnTo>
                    <a:lnTo>
                      <a:pt x="1137" y="117"/>
                    </a:lnTo>
                    <a:lnTo>
                      <a:pt x="1130" y="118"/>
                    </a:lnTo>
                    <a:lnTo>
                      <a:pt x="1130" y="115"/>
                    </a:lnTo>
                    <a:lnTo>
                      <a:pt x="1125" y="113"/>
                    </a:lnTo>
                    <a:lnTo>
                      <a:pt x="1123" y="112"/>
                    </a:lnTo>
                    <a:lnTo>
                      <a:pt x="1127" y="108"/>
                    </a:lnTo>
                    <a:lnTo>
                      <a:pt x="1137" y="108"/>
                    </a:lnTo>
                    <a:lnTo>
                      <a:pt x="1140" y="105"/>
                    </a:lnTo>
                    <a:lnTo>
                      <a:pt x="1145" y="105"/>
                    </a:lnTo>
                    <a:lnTo>
                      <a:pt x="1150" y="107"/>
                    </a:lnTo>
                    <a:lnTo>
                      <a:pt x="1153" y="105"/>
                    </a:lnTo>
                    <a:lnTo>
                      <a:pt x="1157" y="107"/>
                    </a:lnTo>
                    <a:lnTo>
                      <a:pt x="1168" y="102"/>
                    </a:lnTo>
                    <a:lnTo>
                      <a:pt x="1175" y="105"/>
                    </a:lnTo>
                    <a:lnTo>
                      <a:pt x="1178" y="105"/>
                    </a:lnTo>
                    <a:lnTo>
                      <a:pt x="1181" y="105"/>
                    </a:lnTo>
                    <a:lnTo>
                      <a:pt x="1186" y="102"/>
                    </a:lnTo>
                    <a:lnTo>
                      <a:pt x="1185" y="100"/>
                    </a:lnTo>
                    <a:lnTo>
                      <a:pt x="1176" y="100"/>
                    </a:lnTo>
                    <a:lnTo>
                      <a:pt x="1168" y="97"/>
                    </a:lnTo>
                    <a:lnTo>
                      <a:pt x="1163" y="98"/>
                    </a:lnTo>
                    <a:lnTo>
                      <a:pt x="1155" y="98"/>
                    </a:lnTo>
                    <a:lnTo>
                      <a:pt x="1155" y="95"/>
                    </a:lnTo>
                    <a:lnTo>
                      <a:pt x="1152" y="90"/>
                    </a:lnTo>
                    <a:lnTo>
                      <a:pt x="1158" y="85"/>
                    </a:lnTo>
                    <a:lnTo>
                      <a:pt x="1152" y="83"/>
                    </a:lnTo>
                    <a:lnTo>
                      <a:pt x="1147" y="77"/>
                    </a:lnTo>
                    <a:lnTo>
                      <a:pt x="1142" y="78"/>
                    </a:lnTo>
                    <a:lnTo>
                      <a:pt x="1137" y="72"/>
                    </a:lnTo>
                    <a:lnTo>
                      <a:pt x="1137" y="67"/>
                    </a:lnTo>
                    <a:lnTo>
                      <a:pt x="1142" y="67"/>
                    </a:lnTo>
                    <a:lnTo>
                      <a:pt x="1142" y="62"/>
                    </a:lnTo>
                    <a:lnTo>
                      <a:pt x="1135" y="57"/>
                    </a:lnTo>
                    <a:lnTo>
                      <a:pt x="1137" y="37"/>
                    </a:lnTo>
                    <a:lnTo>
                      <a:pt x="1142" y="32"/>
                    </a:lnTo>
                    <a:lnTo>
                      <a:pt x="1140" y="27"/>
                    </a:lnTo>
                    <a:lnTo>
                      <a:pt x="1140" y="19"/>
                    </a:lnTo>
                    <a:lnTo>
                      <a:pt x="1145" y="15"/>
                    </a:lnTo>
                    <a:lnTo>
                      <a:pt x="1142" y="10"/>
                    </a:lnTo>
                    <a:lnTo>
                      <a:pt x="1147" y="9"/>
                    </a:lnTo>
                    <a:lnTo>
                      <a:pt x="1147" y="5"/>
                    </a:lnTo>
                    <a:lnTo>
                      <a:pt x="1155" y="0"/>
                    </a:lnTo>
                    <a:lnTo>
                      <a:pt x="1158" y="0"/>
                    </a:lnTo>
                    <a:lnTo>
                      <a:pt x="1163" y="7"/>
                    </a:lnTo>
                    <a:lnTo>
                      <a:pt x="1168" y="2"/>
                    </a:lnTo>
                    <a:lnTo>
                      <a:pt x="1171" y="2"/>
                    </a:lnTo>
                    <a:lnTo>
                      <a:pt x="1175" y="9"/>
                    </a:lnTo>
                    <a:lnTo>
                      <a:pt x="1181" y="9"/>
                    </a:lnTo>
                    <a:lnTo>
                      <a:pt x="1188" y="4"/>
                    </a:lnTo>
                    <a:lnTo>
                      <a:pt x="1190" y="5"/>
                    </a:lnTo>
                    <a:lnTo>
                      <a:pt x="1190" y="12"/>
                    </a:lnTo>
                    <a:lnTo>
                      <a:pt x="1191" y="14"/>
                    </a:lnTo>
                    <a:lnTo>
                      <a:pt x="1200" y="15"/>
                    </a:lnTo>
                    <a:lnTo>
                      <a:pt x="1200" y="17"/>
                    </a:lnTo>
                    <a:lnTo>
                      <a:pt x="1195" y="20"/>
                    </a:lnTo>
                    <a:lnTo>
                      <a:pt x="1195" y="22"/>
                    </a:lnTo>
                    <a:lnTo>
                      <a:pt x="1193" y="25"/>
                    </a:lnTo>
                    <a:lnTo>
                      <a:pt x="1195" y="30"/>
                    </a:lnTo>
                    <a:lnTo>
                      <a:pt x="1190" y="37"/>
                    </a:lnTo>
                    <a:lnTo>
                      <a:pt x="1183" y="39"/>
                    </a:lnTo>
                    <a:lnTo>
                      <a:pt x="1180" y="44"/>
                    </a:lnTo>
                    <a:lnTo>
                      <a:pt x="1183" y="45"/>
                    </a:lnTo>
                    <a:lnTo>
                      <a:pt x="1195" y="40"/>
                    </a:lnTo>
                    <a:lnTo>
                      <a:pt x="1203" y="30"/>
                    </a:lnTo>
                    <a:lnTo>
                      <a:pt x="1206" y="30"/>
                    </a:lnTo>
                    <a:lnTo>
                      <a:pt x="1206" y="34"/>
                    </a:lnTo>
                    <a:lnTo>
                      <a:pt x="1203" y="39"/>
                    </a:lnTo>
                    <a:lnTo>
                      <a:pt x="1203" y="42"/>
                    </a:lnTo>
                    <a:lnTo>
                      <a:pt x="1208" y="42"/>
                    </a:lnTo>
                    <a:lnTo>
                      <a:pt x="1211" y="35"/>
                    </a:lnTo>
                    <a:lnTo>
                      <a:pt x="1216" y="34"/>
                    </a:lnTo>
                    <a:lnTo>
                      <a:pt x="1220" y="35"/>
                    </a:lnTo>
                    <a:lnTo>
                      <a:pt x="1225" y="35"/>
                    </a:lnTo>
                    <a:lnTo>
                      <a:pt x="1226" y="30"/>
                    </a:lnTo>
                    <a:lnTo>
                      <a:pt x="1230" y="30"/>
                    </a:lnTo>
                    <a:lnTo>
                      <a:pt x="1233" y="32"/>
                    </a:lnTo>
                    <a:lnTo>
                      <a:pt x="1236" y="30"/>
                    </a:lnTo>
                    <a:lnTo>
                      <a:pt x="1243" y="35"/>
                    </a:lnTo>
                    <a:lnTo>
                      <a:pt x="1243" y="40"/>
                    </a:lnTo>
                    <a:lnTo>
                      <a:pt x="1246" y="47"/>
                    </a:lnTo>
                    <a:lnTo>
                      <a:pt x="1245" y="49"/>
                    </a:lnTo>
                    <a:lnTo>
                      <a:pt x="1243" y="54"/>
                    </a:lnTo>
                    <a:lnTo>
                      <a:pt x="1240" y="60"/>
                    </a:lnTo>
                    <a:lnTo>
                      <a:pt x="1246" y="69"/>
                    </a:lnTo>
                    <a:lnTo>
                      <a:pt x="1246" y="74"/>
                    </a:lnTo>
                    <a:lnTo>
                      <a:pt x="1241" y="75"/>
                    </a:lnTo>
                    <a:lnTo>
                      <a:pt x="1238" y="78"/>
                    </a:lnTo>
                    <a:lnTo>
                      <a:pt x="1241" y="78"/>
                    </a:lnTo>
                    <a:lnTo>
                      <a:pt x="1251" y="77"/>
                    </a:lnTo>
                    <a:lnTo>
                      <a:pt x="1256" y="72"/>
                    </a:lnTo>
                    <a:lnTo>
                      <a:pt x="1263" y="70"/>
                    </a:lnTo>
                    <a:lnTo>
                      <a:pt x="1266" y="65"/>
                    </a:lnTo>
                    <a:lnTo>
                      <a:pt x="1266" y="57"/>
                    </a:lnTo>
                    <a:lnTo>
                      <a:pt x="1263" y="50"/>
                    </a:lnTo>
                    <a:lnTo>
                      <a:pt x="1261" y="52"/>
                    </a:lnTo>
                    <a:lnTo>
                      <a:pt x="1258" y="50"/>
                    </a:lnTo>
                    <a:lnTo>
                      <a:pt x="1256" y="45"/>
                    </a:lnTo>
                    <a:lnTo>
                      <a:pt x="1259" y="44"/>
                    </a:lnTo>
                    <a:lnTo>
                      <a:pt x="1263" y="44"/>
                    </a:lnTo>
                    <a:lnTo>
                      <a:pt x="1264" y="45"/>
                    </a:lnTo>
                    <a:lnTo>
                      <a:pt x="1268" y="45"/>
                    </a:lnTo>
                    <a:lnTo>
                      <a:pt x="1276" y="42"/>
                    </a:lnTo>
                    <a:lnTo>
                      <a:pt x="1283" y="37"/>
                    </a:lnTo>
                    <a:lnTo>
                      <a:pt x="1286" y="37"/>
                    </a:lnTo>
                    <a:lnTo>
                      <a:pt x="1293" y="37"/>
                    </a:lnTo>
                    <a:lnTo>
                      <a:pt x="1294" y="34"/>
                    </a:lnTo>
                    <a:lnTo>
                      <a:pt x="1299" y="30"/>
                    </a:lnTo>
                    <a:lnTo>
                      <a:pt x="1301" y="30"/>
                    </a:lnTo>
                    <a:lnTo>
                      <a:pt x="1304" y="27"/>
                    </a:lnTo>
                    <a:lnTo>
                      <a:pt x="1309" y="27"/>
                    </a:lnTo>
                    <a:lnTo>
                      <a:pt x="1311" y="29"/>
                    </a:lnTo>
                    <a:lnTo>
                      <a:pt x="1316" y="27"/>
                    </a:lnTo>
                    <a:lnTo>
                      <a:pt x="1318" y="30"/>
                    </a:lnTo>
                    <a:lnTo>
                      <a:pt x="1316" y="32"/>
                    </a:lnTo>
                    <a:lnTo>
                      <a:pt x="1316" y="35"/>
                    </a:lnTo>
                    <a:lnTo>
                      <a:pt x="1328" y="35"/>
                    </a:lnTo>
                    <a:lnTo>
                      <a:pt x="1328" y="37"/>
                    </a:lnTo>
                    <a:lnTo>
                      <a:pt x="1333" y="37"/>
                    </a:lnTo>
                    <a:lnTo>
                      <a:pt x="1351" y="47"/>
                    </a:lnTo>
                    <a:lnTo>
                      <a:pt x="1356" y="49"/>
                    </a:lnTo>
                    <a:lnTo>
                      <a:pt x="1358" y="54"/>
                    </a:lnTo>
                    <a:lnTo>
                      <a:pt x="1358" y="55"/>
                    </a:lnTo>
                    <a:lnTo>
                      <a:pt x="1366" y="65"/>
                    </a:lnTo>
                    <a:lnTo>
                      <a:pt x="1367" y="64"/>
                    </a:lnTo>
                    <a:lnTo>
                      <a:pt x="1367" y="60"/>
                    </a:lnTo>
                    <a:lnTo>
                      <a:pt x="1371" y="59"/>
                    </a:lnTo>
                    <a:lnTo>
                      <a:pt x="1372" y="57"/>
                    </a:lnTo>
                    <a:lnTo>
                      <a:pt x="1369" y="55"/>
                    </a:lnTo>
                    <a:lnTo>
                      <a:pt x="1364" y="54"/>
                    </a:lnTo>
                    <a:lnTo>
                      <a:pt x="1364" y="50"/>
                    </a:lnTo>
                    <a:lnTo>
                      <a:pt x="1367" y="47"/>
                    </a:lnTo>
                    <a:lnTo>
                      <a:pt x="1371" y="49"/>
                    </a:lnTo>
                    <a:lnTo>
                      <a:pt x="1374" y="52"/>
                    </a:lnTo>
                    <a:lnTo>
                      <a:pt x="1377" y="54"/>
                    </a:lnTo>
                    <a:lnTo>
                      <a:pt x="1377" y="59"/>
                    </a:lnTo>
                    <a:lnTo>
                      <a:pt x="1384" y="64"/>
                    </a:lnTo>
                    <a:lnTo>
                      <a:pt x="1386" y="69"/>
                    </a:lnTo>
                    <a:lnTo>
                      <a:pt x="1389" y="70"/>
                    </a:lnTo>
                    <a:lnTo>
                      <a:pt x="1391" y="69"/>
                    </a:lnTo>
                    <a:lnTo>
                      <a:pt x="1394" y="69"/>
                    </a:lnTo>
                    <a:lnTo>
                      <a:pt x="1396" y="70"/>
                    </a:lnTo>
                    <a:lnTo>
                      <a:pt x="1399" y="74"/>
                    </a:lnTo>
                    <a:lnTo>
                      <a:pt x="1401" y="78"/>
                    </a:lnTo>
                    <a:lnTo>
                      <a:pt x="1404" y="83"/>
                    </a:lnTo>
                    <a:lnTo>
                      <a:pt x="1404" y="87"/>
                    </a:lnTo>
                    <a:lnTo>
                      <a:pt x="1402" y="85"/>
                    </a:lnTo>
                    <a:lnTo>
                      <a:pt x="1401" y="83"/>
                    </a:lnTo>
                    <a:lnTo>
                      <a:pt x="1399" y="80"/>
                    </a:lnTo>
                    <a:lnTo>
                      <a:pt x="1397" y="80"/>
                    </a:lnTo>
                    <a:lnTo>
                      <a:pt x="1396" y="83"/>
                    </a:lnTo>
                    <a:lnTo>
                      <a:pt x="1391" y="80"/>
                    </a:lnTo>
                    <a:lnTo>
                      <a:pt x="1382" y="77"/>
                    </a:lnTo>
                    <a:lnTo>
                      <a:pt x="1376" y="77"/>
                    </a:lnTo>
                    <a:lnTo>
                      <a:pt x="1376" y="78"/>
                    </a:lnTo>
                    <a:lnTo>
                      <a:pt x="1379" y="82"/>
                    </a:lnTo>
                    <a:lnTo>
                      <a:pt x="1386" y="83"/>
                    </a:lnTo>
                    <a:lnTo>
                      <a:pt x="1387" y="85"/>
                    </a:lnTo>
                    <a:lnTo>
                      <a:pt x="1386" y="87"/>
                    </a:lnTo>
                    <a:lnTo>
                      <a:pt x="1389" y="92"/>
                    </a:lnTo>
                    <a:lnTo>
                      <a:pt x="1392" y="93"/>
                    </a:lnTo>
                    <a:lnTo>
                      <a:pt x="1394" y="92"/>
                    </a:lnTo>
                    <a:lnTo>
                      <a:pt x="1396" y="87"/>
                    </a:lnTo>
                    <a:lnTo>
                      <a:pt x="1397" y="87"/>
                    </a:lnTo>
                    <a:lnTo>
                      <a:pt x="1401" y="90"/>
                    </a:lnTo>
                    <a:lnTo>
                      <a:pt x="1404" y="92"/>
                    </a:lnTo>
                    <a:lnTo>
                      <a:pt x="1406" y="90"/>
                    </a:lnTo>
                    <a:lnTo>
                      <a:pt x="1409" y="92"/>
                    </a:lnTo>
                    <a:lnTo>
                      <a:pt x="1411" y="93"/>
                    </a:lnTo>
                    <a:lnTo>
                      <a:pt x="1409" y="97"/>
                    </a:lnTo>
                    <a:lnTo>
                      <a:pt x="1412" y="103"/>
                    </a:lnTo>
                    <a:lnTo>
                      <a:pt x="1414" y="110"/>
                    </a:lnTo>
                    <a:lnTo>
                      <a:pt x="1414" y="120"/>
                    </a:lnTo>
                    <a:lnTo>
                      <a:pt x="1411" y="127"/>
                    </a:lnTo>
                    <a:lnTo>
                      <a:pt x="1409" y="127"/>
                    </a:lnTo>
                    <a:lnTo>
                      <a:pt x="1407" y="130"/>
                    </a:lnTo>
                    <a:lnTo>
                      <a:pt x="1409" y="135"/>
                    </a:lnTo>
                    <a:lnTo>
                      <a:pt x="1404" y="140"/>
                    </a:lnTo>
                    <a:lnTo>
                      <a:pt x="1406" y="142"/>
                    </a:lnTo>
                    <a:lnTo>
                      <a:pt x="1407" y="145"/>
                    </a:lnTo>
                    <a:lnTo>
                      <a:pt x="1409" y="148"/>
                    </a:lnTo>
                    <a:lnTo>
                      <a:pt x="1402" y="152"/>
                    </a:lnTo>
                    <a:lnTo>
                      <a:pt x="1401" y="155"/>
                    </a:lnTo>
                    <a:lnTo>
                      <a:pt x="1402" y="158"/>
                    </a:lnTo>
                    <a:lnTo>
                      <a:pt x="1397" y="165"/>
                    </a:lnTo>
                    <a:lnTo>
                      <a:pt x="1396" y="168"/>
                    </a:lnTo>
                    <a:lnTo>
                      <a:pt x="1396" y="170"/>
                    </a:lnTo>
                    <a:lnTo>
                      <a:pt x="1394" y="175"/>
                    </a:lnTo>
                    <a:lnTo>
                      <a:pt x="1389" y="176"/>
                    </a:lnTo>
                    <a:lnTo>
                      <a:pt x="1384" y="181"/>
                    </a:lnTo>
                    <a:lnTo>
                      <a:pt x="1379" y="181"/>
                    </a:lnTo>
                    <a:lnTo>
                      <a:pt x="1384" y="183"/>
                    </a:lnTo>
                    <a:lnTo>
                      <a:pt x="1387" y="181"/>
                    </a:lnTo>
                    <a:lnTo>
                      <a:pt x="1391" y="180"/>
                    </a:lnTo>
                    <a:lnTo>
                      <a:pt x="1392" y="180"/>
                    </a:lnTo>
                    <a:lnTo>
                      <a:pt x="1396" y="185"/>
                    </a:lnTo>
                    <a:lnTo>
                      <a:pt x="1391" y="193"/>
                    </a:lnTo>
                    <a:lnTo>
                      <a:pt x="1387" y="198"/>
                    </a:lnTo>
                    <a:lnTo>
                      <a:pt x="1384" y="208"/>
                    </a:lnTo>
                    <a:lnTo>
                      <a:pt x="1387" y="213"/>
                    </a:lnTo>
                    <a:lnTo>
                      <a:pt x="1387" y="216"/>
                    </a:lnTo>
                    <a:lnTo>
                      <a:pt x="1384" y="226"/>
                    </a:lnTo>
                    <a:lnTo>
                      <a:pt x="1377" y="228"/>
                    </a:lnTo>
                    <a:lnTo>
                      <a:pt x="1376" y="228"/>
                    </a:lnTo>
                    <a:lnTo>
                      <a:pt x="1372" y="228"/>
                    </a:lnTo>
                    <a:lnTo>
                      <a:pt x="1371" y="231"/>
                    </a:lnTo>
                    <a:lnTo>
                      <a:pt x="1372" y="233"/>
                    </a:lnTo>
                    <a:lnTo>
                      <a:pt x="1374" y="241"/>
                    </a:lnTo>
                    <a:lnTo>
                      <a:pt x="1372" y="246"/>
                    </a:lnTo>
                    <a:lnTo>
                      <a:pt x="1367" y="248"/>
                    </a:lnTo>
                    <a:lnTo>
                      <a:pt x="1366" y="255"/>
                    </a:lnTo>
                    <a:lnTo>
                      <a:pt x="1367" y="260"/>
                    </a:lnTo>
                    <a:lnTo>
                      <a:pt x="1367" y="266"/>
                    </a:lnTo>
                    <a:lnTo>
                      <a:pt x="1366" y="268"/>
                    </a:lnTo>
                    <a:lnTo>
                      <a:pt x="1367" y="271"/>
                    </a:lnTo>
                    <a:lnTo>
                      <a:pt x="1371" y="273"/>
                    </a:lnTo>
                    <a:lnTo>
                      <a:pt x="1367" y="284"/>
                    </a:lnTo>
                    <a:lnTo>
                      <a:pt x="1362" y="288"/>
                    </a:lnTo>
                    <a:lnTo>
                      <a:pt x="1362" y="293"/>
                    </a:lnTo>
                    <a:lnTo>
                      <a:pt x="1364" y="289"/>
                    </a:lnTo>
                    <a:lnTo>
                      <a:pt x="1367" y="289"/>
                    </a:lnTo>
                    <a:lnTo>
                      <a:pt x="1372" y="284"/>
                    </a:lnTo>
                    <a:lnTo>
                      <a:pt x="1374" y="281"/>
                    </a:lnTo>
                    <a:lnTo>
                      <a:pt x="1374" y="279"/>
                    </a:lnTo>
                    <a:lnTo>
                      <a:pt x="1376" y="276"/>
                    </a:lnTo>
                    <a:lnTo>
                      <a:pt x="1382" y="276"/>
                    </a:lnTo>
                    <a:lnTo>
                      <a:pt x="1386" y="274"/>
                    </a:lnTo>
                    <a:lnTo>
                      <a:pt x="1381" y="274"/>
                    </a:lnTo>
                    <a:lnTo>
                      <a:pt x="1374" y="266"/>
                    </a:lnTo>
                    <a:lnTo>
                      <a:pt x="1371" y="260"/>
                    </a:lnTo>
                    <a:lnTo>
                      <a:pt x="1374" y="256"/>
                    </a:lnTo>
                    <a:lnTo>
                      <a:pt x="1382" y="255"/>
                    </a:lnTo>
                    <a:lnTo>
                      <a:pt x="1391" y="255"/>
                    </a:lnTo>
                    <a:lnTo>
                      <a:pt x="1397" y="248"/>
                    </a:lnTo>
                    <a:lnTo>
                      <a:pt x="1401" y="248"/>
                    </a:lnTo>
                    <a:lnTo>
                      <a:pt x="1404" y="246"/>
                    </a:lnTo>
                    <a:lnTo>
                      <a:pt x="1401" y="243"/>
                    </a:lnTo>
                    <a:lnTo>
                      <a:pt x="1409" y="236"/>
                    </a:lnTo>
                    <a:lnTo>
                      <a:pt x="1412" y="231"/>
                    </a:lnTo>
                    <a:lnTo>
                      <a:pt x="1409" y="228"/>
                    </a:lnTo>
                    <a:lnTo>
                      <a:pt x="1409" y="226"/>
                    </a:lnTo>
                    <a:lnTo>
                      <a:pt x="1414" y="228"/>
                    </a:lnTo>
                    <a:lnTo>
                      <a:pt x="1421" y="226"/>
                    </a:lnTo>
                    <a:lnTo>
                      <a:pt x="1424" y="221"/>
                    </a:lnTo>
                    <a:lnTo>
                      <a:pt x="1421" y="218"/>
                    </a:lnTo>
                    <a:lnTo>
                      <a:pt x="1431" y="213"/>
                    </a:lnTo>
                    <a:lnTo>
                      <a:pt x="1431" y="208"/>
                    </a:lnTo>
                    <a:lnTo>
                      <a:pt x="1429" y="205"/>
                    </a:lnTo>
                    <a:lnTo>
                      <a:pt x="1419" y="210"/>
                    </a:lnTo>
                    <a:lnTo>
                      <a:pt x="1419" y="211"/>
                    </a:lnTo>
                    <a:lnTo>
                      <a:pt x="1412" y="216"/>
                    </a:lnTo>
                    <a:lnTo>
                      <a:pt x="1406" y="215"/>
                    </a:lnTo>
                    <a:lnTo>
                      <a:pt x="1402" y="208"/>
                    </a:lnTo>
                    <a:lnTo>
                      <a:pt x="1407" y="203"/>
                    </a:lnTo>
                    <a:lnTo>
                      <a:pt x="1406" y="196"/>
                    </a:lnTo>
                    <a:lnTo>
                      <a:pt x="1411" y="193"/>
                    </a:lnTo>
                    <a:lnTo>
                      <a:pt x="1417" y="193"/>
                    </a:lnTo>
                    <a:lnTo>
                      <a:pt x="1426" y="198"/>
                    </a:lnTo>
                    <a:lnTo>
                      <a:pt x="1429" y="195"/>
                    </a:lnTo>
                    <a:lnTo>
                      <a:pt x="1429" y="190"/>
                    </a:lnTo>
                    <a:lnTo>
                      <a:pt x="1436" y="186"/>
                    </a:lnTo>
                    <a:lnTo>
                      <a:pt x="1436" y="190"/>
                    </a:lnTo>
                    <a:lnTo>
                      <a:pt x="1432" y="193"/>
                    </a:lnTo>
                    <a:lnTo>
                      <a:pt x="1434" y="196"/>
                    </a:lnTo>
                    <a:lnTo>
                      <a:pt x="1447" y="206"/>
                    </a:lnTo>
                    <a:lnTo>
                      <a:pt x="1454" y="208"/>
                    </a:lnTo>
                    <a:lnTo>
                      <a:pt x="1456" y="205"/>
                    </a:lnTo>
                    <a:lnTo>
                      <a:pt x="1465" y="205"/>
                    </a:lnTo>
                    <a:lnTo>
                      <a:pt x="1469" y="200"/>
                    </a:lnTo>
                    <a:lnTo>
                      <a:pt x="1469" y="195"/>
                    </a:lnTo>
                    <a:lnTo>
                      <a:pt x="1460" y="188"/>
                    </a:lnTo>
                    <a:lnTo>
                      <a:pt x="1460" y="185"/>
                    </a:lnTo>
                    <a:lnTo>
                      <a:pt x="1464" y="185"/>
                    </a:lnTo>
                    <a:lnTo>
                      <a:pt x="1474" y="193"/>
                    </a:lnTo>
                    <a:lnTo>
                      <a:pt x="1477" y="195"/>
                    </a:lnTo>
                    <a:lnTo>
                      <a:pt x="1482" y="198"/>
                    </a:lnTo>
                    <a:lnTo>
                      <a:pt x="1480" y="201"/>
                    </a:lnTo>
                    <a:lnTo>
                      <a:pt x="1482" y="205"/>
                    </a:lnTo>
                    <a:lnTo>
                      <a:pt x="1487" y="210"/>
                    </a:lnTo>
                    <a:lnTo>
                      <a:pt x="1489" y="218"/>
                    </a:lnTo>
                    <a:lnTo>
                      <a:pt x="1490" y="220"/>
                    </a:lnTo>
                    <a:lnTo>
                      <a:pt x="1490" y="216"/>
                    </a:lnTo>
                    <a:lnTo>
                      <a:pt x="1495" y="213"/>
                    </a:lnTo>
                    <a:lnTo>
                      <a:pt x="1497" y="211"/>
                    </a:lnTo>
                    <a:lnTo>
                      <a:pt x="1500" y="208"/>
                    </a:lnTo>
                    <a:lnTo>
                      <a:pt x="1497" y="208"/>
                    </a:lnTo>
                    <a:lnTo>
                      <a:pt x="1494" y="210"/>
                    </a:lnTo>
                    <a:lnTo>
                      <a:pt x="1490" y="208"/>
                    </a:lnTo>
                    <a:lnTo>
                      <a:pt x="1487" y="203"/>
                    </a:lnTo>
                    <a:lnTo>
                      <a:pt x="1494" y="198"/>
                    </a:lnTo>
                    <a:lnTo>
                      <a:pt x="1499" y="195"/>
                    </a:lnTo>
                    <a:lnTo>
                      <a:pt x="1500" y="191"/>
                    </a:lnTo>
                    <a:lnTo>
                      <a:pt x="1504" y="191"/>
                    </a:lnTo>
                    <a:lnTo>
                      <a:pt x="1505" y="188"/>
                    </a:lnTo>
                    <a:lnTo>
                      <a:pt x="1515" y="186"/>
                    </a:lnTo>
                    <a:lnTo>
                      <a:pt x="1532" y="183"/>
                    </a:lnTo>
                    <a:lnTo>
                      <a:pt x="1552" y="183"/>
                    </a:lnTo>
                    <a:lnTo>
                      <a:pt x="1567" y="176"/>
                    </a:lnTo>
                    <a:lnTo>
                      <a:pt x="1573" y="176"/>
                    </a:lnTo>
                    <a:lnTo>
                      <a:pt x="1580" y="178"/>
                    </a:lnTo>
                    <a:lnTo>
                      <a:pt x="1580" y="181"/>
                    </a:lnTo>
                    <a:lnTo>
                      <a:pt x="1578" y="183"/>
                    </a:lnTo>
                    <a:lnTo>
                      <a:pt x="1575" y="188"/>
                    </a:lnTo>
                    <a:lnTo>
                      <a:pt x="1577" y="196"/>
                    </a:lnTo>
                    <a:lnTo>
                      <a:pt x="1583" y="201"/>
                    </a:lnTo>
                    <a:lnTo>
                      <a:pt x="1605" y="201"/>
                    </a:lnTo>
                    <a:lnTo>
                      <a:pt x="1610" y="203"/>
                    </a:lnTo>
                    <a:lnTo>
                      <a:pt x="1612" y="201"/>
                    </a:lnTo>
                    <a:lnTo>
                      <a:pt x="1618" y="203"/>
                    </a:lnTo>
                    <a:lnTo>
                      <a:pt x="1625" y="205"/>
                    </a:lnTo>
                    <a:lnTo>
                      <a:pt x="1640" y="201"/>
                    </a:lnTo>
                    <a:lnTo>
                      <a:pt x="1650" y="196"/>
                    </a:lnTo>
                    <a:lnTo>
                      <a:pt x="1655" y="198"/>
                    </a:lnTo>
                    <a:lnTo>
                      <a:pt x="1660" y="198"/>
                    </a:lnTo>
                    <a:lnTo>
                      <a:pt x="1661" y="193"/>
                    </a:lnTo>
                    <a:lnTo>
                      <a:pt x="1660" y="190"/>
                    </a:lnTo>
                    <a:lnTo>
                      <a:pt x="1665" y="190"/>
                    </a:lnTo>
                    <a:lnTo>
                      <a:pt x="1670" y="190"/>
                    </a:lnTo>
                    <a:lnTo>
                      <a:pt x="1675" y="188"/>
                    </a:lnTo>
                    <a:lnTo>
                      <a:pt x="1676" y="191"/>
                    </a:lnTo>
                    <a:lnTo>
                      <a:pt x="1680" y="193"/>
                    </a:lnTo>
                    <a:lnTo>
                      <a:pt x="1683" y="188"/>
                    </a:lnTo>
                    <a:lnTo>
                      <a:pt x="1681" y="185"/>
                    </a:lnTo>
                    <a:lnTo>
                      <a:pt x="1676" y="181"/>
                    </a:lnTo>
                    <a:lnTo>
                      <a:pt x="1678" y="176"/>
                    </a:lnTo>
                    <a:lnTo>
                      <a:pt x="1675" y="173"/>
                    </a:lnTo>
                    <a:lnTo>
                      <a:pt x="1670" y="173"/>
                    </a:lnTo>
                    <a:lnTo>
                      <a:pt x="1670" y="167"/>
                    </a:lnTo>
                    <a:lnTo>
                      <a:pt x="1666" y="167"/>
                    </a:lnTo>
                    <a:lnTo>
                      <a:pt x="1665" y="162"/>
                    </a:lnTo>
                    <a:lnTo>
                      <a:pt x="1661" y="158"/>
                    </a:lnTo>
                    <a:lnTo>
                      <a:pt x="1661" y="153"/>
                    </a:lnTo>
                    <a:lnTo>
                      <a:pt x="1663" y="148"/>
                    </a:lnTo>
                    <a:lnTo>
                      <a:pt x="1665" y="152"/>
                    </a:lnTo>
                    <a:lnTo>
                      <a:pt x="1666" y="153"/>
                    </a:lnTo>
                    <a:lnTo>
                      <a:pt x="1673" y="148"/>
                    </a:lnTo>
                    <a:lnTo>
                      <a:pt x="1671" y="147"/>
                    </a:lnTo>
                    <a:lnTo>
                      <a:pt x="1670" y="143"/>
                    </a:lnTo>
                    <a:lnTo>
                      <a:pt x="1673" y="143"/>
                    </a:lnTo>
                    <a:lnTo>
                      <a:pt x="1680" y="147"/>
                    </a:lnTo>
                    <a:lnTo>
                      <a:pt x="1683" y="145"/>
                    </a:lnTo>
                    <a:lnTo>
                      <a:pt x="1683" y="142"/>
                    </a:lnTo>
                    <a:lnTo>
                      <a:pt x="1685" y="143"/>
                    </a:lnTo>
                    <a:lnTo>
                      <a:pt x="1691" y="143"/>
                    </a:lnTo>
                    <a:lnTo>
                      <a:pt x="1695" y="143"/>
                    </a:lnTo>
                    <a:lnTo>
                      <a:pt x="1696" y="140"/>
                    </a:lnTo>
                    <a:lnTo>
                      <a:pt x="1701" y="145"/>
                    </a:lnTo>
                    <a:lnTo>
                      <a:pt x="1705" y="145"/>
                    </a:lnTo>
                    <a:lnTo>
                      <a:pt x="1708" y="150"/>
                    </a:lnTo>
                    <a:lnTo>
                      <a:pt x="1711" y="147"/>
                    </a:lnTo>
                    <a:lnTo>
                      <a:pt x="1711" y="143"/>
                    </a:lnTo>
                    <a:lnTo>
                      <a:pt x="1715" y="143"/>
                    </a:lnTo>
                    <a:lnTo>
                      <a:pt x="1718" y="148"/>
                    </a:lnTo>
                    <a:lnTo>
                      <a:pt x="1715" y="150"/>
                    </a:lnTo>
                    <a:lnTo>
                      <a:pt x="1713" y="155"/>
                    </a:lnTo>
                    <a:lnTo>
                      <a:pt x="1715" y="155"/>
                    </a:lnTo>
                    <a:lnTo>
                      <a:pt x="1720" y="155"/>
                    </a:lnTo>
                    <a:lnTo>
                      <a:pt x="1721" y="155"/>
                    </a:lnTo>
                    <a:lnTo>
                      <a:pt x="1721" y="152"/>
                    </a:lnTo>
                    <a:lnTo>
                      <a:pt x="1723" y="150"/>
                    </a:lnTo>
                    <a:lnTo>
                      <a:pt x="1726" y="152"/>
                    </a:lnTo>
                    <a:lnTo>
                      <a:pt x="1725" y="147"/>
                    </a:lnTo>
                    <a:lnTo>
                      <a:pt x="1723" y="145"/>
                    </a:lnTo>
                    <a:lnTo>
                      <a:pt x="1723" y="143"/>
                    </a:lnTo>
                    <a:lnTo>
                      <a:pt x="1728" y="143"/>
                    </a:lnTo>
                    <a:lnTo>
                      <a:pt x="1735" y="142"/>
                    </a:lnTo>
                    <a:lnTo>
                      <a:pt x="1738" y="143"/>
                    </a:lnTo>
                    <a:lnTo>
                      <a:pt x="1741" y="142"/>
                    </a:lnTo>
                    <a:lnTo>
                      <a:pt x="1746" y="142"/>
                    </a:lnTo>
                    <a:lnTo>
                      <a:pt x="1748" y="145"/>
                    </a:lnTo>
                    <a:lnTo>
                      <a:pt x="1748" y="150"/>
                    </a:lnTo>
                    <a:lnTo>
                      <a:pt x="1750" y="148"/>
                    </a:lnTo>
                    <a:lnTo>
                      <a:pt x="1753" y="148"/>
                    </a:lnTo>
                    <a:lnTo>
                      <a:pt x="1756" y="143"/>
                    </a:lnTo>
                    <a:lnTo>
                      <a:pt x="1758" y="150"/>
                    </a:lnTo>
                    <a:lnTo>
                      <a:pt x="1761" y="150"/>
                    </a:lnTo>
                    <a:lnTo>
                      <a:pt x="1766" y="147"/>
                    </a:lnTo>
                    <a:lnTo>
                      <a:pt x="1769" y="150"/>
                    </a:lnTo>
                    <a:lnTo>
                      <a:pt x="1771" y="158"/>
                    </a:lnTo>
                    <a:lnTo>
                      <a:pt x="1774" y="153"/>
                    </a:lnTo>
                    <a:lnTo>
                      <a:pt x="1778" y="152"/>
                    </a:lnTo>
                    <a:lnTo>
                      <a:pt x="1779" y="153"/>
                    </a:lnTo>
                    <a:lnTo>
                      <a:pt x="1778" y="160"/>
                    </a:lnTo>
                    <a:lnTo>
                      <a:pt x="1781" y="162"/>
                    </a:lnTo>
                    <a:lnTo>
                      <a:pt x="1783" y="163"/>
                    </a:lnTo>
                    <a:lnTo>
                      <a:pt x="1788" y="163"/>
                    </a:lnTo>
                    <a:lnTo>
                      <a:pt x="1788" y="168"/>
                    </a:lnTo>
                    <a:lnTo>
                      <a:pt x="1791" y="167"/>
                    </a:lnTo>
                    <a:lnTo>
                      <a:pt x="1793" y="167"/>
                    </a:lnTo>
                    <a:lnTo>
                      <a:pt x="1794" y="170"/>
                    </a:lnTo>
                    <a:lnTo>
                      <a:pt x="1789" y="175"/>
                    </a:lnTo>
                    <a:lnTo>
                      <a:pt x="1791" y="180"/>
                    </a:lnTo>
                    <a:lnTo>
                      <a:pt x="1798" y="173"/>
                    </a:lnTo>
                    <a:lnTo>
                      <a:pt x="1801" y="173"/>
                    </a:lnTo>
                    <a:lnTo>
                      <a:pt x="1803" y="176"/>
                    </a:lnTo>
                    <a:lnTo>
                      <a:pt x="1793" y="185"/>
                    </a:lnTo>
                    <a:lnTo>
                      <a:pt x="1794" y="190"/>
                    </a:lnTo>
                    <a:lnTo>
                      <a:pt x="1801" y="191"/>
                    </a:lnTo>
                    <a:lnTo>
                      <a:pt x="1803" y="188"/>
                    </a:lnTo>
                    <a:lnTo>
                      <a:pt x="1806" y="186"/>
                    </a:lnTo>
                    <a:lnTo>
                      <a:pt x="1809" y="188"/>
                    </a:lnTo>
                    <a:lnTo>
                      <a:pt x="1811" y="191"/>
                    </a:lnTo>
                    <a:lnTo>
                      <a:pt x="1814" y="190"/>
                    </a:lnTo>
                    <a:lnTo>
                      <a:pt x="1819" y="195"/>
                    </a:lnTo>
                    <a:lnTo>
                      <a:pt x="1818" y="201"/>
                    </a:lnTo>
                    <a:lnTo>
                      <a:pt x="1823" y="201"/>
                    </a:lnTo>
                    <a:lnTo>
                      <a:pt x="1823" y="205"/>
                    </a:lnTo>
                    <a:lnTo>
                      <a:pt x="1828" y="203"/>
                    </a:lnTo>
                    <a:lnTo>
                      <a:pt x="1828" y="206"/>
                    </a:lnTo>
                    <a:lnTo>
                      <a:pt x="1824" y="213"/>
                    </a:lnTo>
                    <a:lnTo>
                      <a:pt x="1818" y="215"/>
                    </a:lnTo>
                    <a:lnTo>
                      <a:pt x="1814" y="213"/>
                    </a:lnTo>
                    <a:lnTo>
                      <a:pt x="1804" y="210"/>
                    </a:lnTo>
                    <a:lnTo>
                      <a:pt x="1794" y="210"/>
                    </a:lnTo>
                    <a:lnTo>
                      <a:pt x="1798" y="213"/>
                    </a:lnTo>
                    <a:lnTo>
                      <a:pt x="1799" y="218"/>
                    </a:lnTo>
                    <a:lnTo>
                      <a:pt x="1809" y="218"/>
                    </a:lnTo>
                    <a:lnTo>
                      <a:pt x="1811" y="221"/>
                    </a:lnTo>
                    <a:lnTo>
                      <a:pt x="1821" y="228"/>
                    </a:lnTo>
                    <a:lnTo>
                      <a:pt x="1829" y="230"/>
                    </a:lnTo>
                    <a:lnTo>
                      <a:pt x="1834" y="226"/>
                    </a:lnTo>
                    <a:lnTo>
                      <a:pt x="1836" y="221"/>
                    </a:lnTo>
                    <a:lnTo>
                      <a:pt x="1831" y="218"/>
                    </a:lnTo>
                    <a:lnTo>
                      <a:pt x="1829" y="215"/>
                    </a:lnTo>
                    <a:lnTo>
                      <a:pt x="1831" y="215"/>
                    </a:lnTo>
                    <a:lnTo>
                      <a:pt x="1836" y="220"/>
                    </a:lnTo>
                    <a:lnTo>
                      <a:pt x="1843" y="223"/>
                    </a:lnTo>
                    <a:lnTo>
                      <a:pt x="1844" y="225"/>
                    </a:lnTo>
                    <a:lnTo>
                      <a:pt x="1841" y="225"/>
                    </a:lnTo>
                    <a:lnTo>
                      <a:pt x="1831" y="233"/>
                    </a:lnTo>
                    <a:lnTo>
                      <a:pt x="1834" y="235"/>
                    </a:lnTo>
                    <a:lnTo>
                      <a:pt x="1838" y="235"/>
                    </a:lnTo>
                    <a:lnTo>
                      <a:pt x="1841" y="233"/>
                    </a:lnTo>
                    <a:lnTo>
                      <a:pt x="1844" y="233"/>
                    </a:lnTo>
                    <a:lnTo>
                      <a:pt x="1859" y="246"/>
                    </a:lnTo>
                    <a:lnTo>
                      <a:pt x="1864" y="248"/>
                    </a:lnTo>
                    <a:lnTo>
                      <a:pt x="1869" y="253"/>
                    </a:lnTo>
                    <a:lnTo>
                      <a:pt x="1881" y="255"/>
                    </a:lnTo>
                    <a:lnTo>
                      <a:pt x="1887" y="261"/>
                    </a:lnTo>
                    <a:lnTo>
                      <a:pt x="1894" y="263"/>
                    </a:lnTo>
                    <a:lnTo>
                      <a:pt x="1896" y="261"/>
                    </a:lnTo>
                    <a:lnTo>
                      <a:pt x="1894" y="258"/>
                    </a:lnTo>
                    <a:lnTo>
                      <a:pt x="1897" y="256"/>
                    </a:lnTo>
                    <a:lnTo>
                      <a:pt x="1901" y="260"/>
                    </a:lnTo>
                    <a:lnTo>
                      <a:pt x="1902" y="263"/>
                    </a:lnTo>
                    <a:lnTo>
                      <a:pt x="1906" y="268"/>
                    </a:lnTo>
                    <a:lnTo>
                      <a:pt x="1907" y="268"/>
                    </a:lnTo>
                    <a:lnTo>
                      <a:pt x="1909" y="263"/>
                    </a:lnTo>
                    <a:lnTo>
                      <a:pt x="1904" y="240"/>
                    </a:lnTo>
                    <a:lnTo>
                      <a:pt x="1899" y="228"/>
                    </a:lnTo>
                    <a:lnTo>
                      <a:pt x="1892" y="216"/>
                    </a:lnTo>
                    <a:lnTo>
                      <a:pt x="1891" y="205"/>
                    </a:lnTo>
                    <a:lnTo>
                      <a:pt x="1887" y="196"/>
                    </a:lnTo>
                    <a:lnTo>
                      <a:pt x="1887" y="193"/>
                    </a:lnTo>
                    <a:lnTo>
                      <a:pt x="1891" y="195"/>
                    </a:lnTo>
                    <a:lnTo>
                      <a:pt x="1894" y="201"/>
                    </a:lnTo>
                    <a:lnTo>
                      <a:pt x="1899" y="206"/>
                    </a:lnTo>
                    <a:lnTo>
                      <a:pt x="1906" y="208"/>
                    </a:lnTo>
                    <a:lnTo>
                      <a:pt x="1911" y="213"/>
                    </a:lnTo>
                    <a:lnTo>
                      <a:pt x="1919" y="213"/>
                    </a:lnTo>
                    <a:lnTo>
                      <a:pt x="1939" y="211"/>
                    </a:lnTo>
                    <a:lnTo>
                      <a:pt x="1942" y="213"/>
                    </a:lnTo>
                    <a:lnTo>
                      <a:pt x="1946" y="211"/>
                    </a:lnTo>
                    <a:lnTo>
                      <a:pt x="1951" y="215"/>
                    </a:lnTo>
                    <a:lnTo>
                      <a:pt x="1952" y="213"/>
                    </a:lnTo>
                    <a:lnTo>
                      <a:pt x="1949" y="208"/>
                    </a:lnTo>
                    <a:lnTo>
                      <a:pt x="1949" y="206"/>
                    </a:lnTo>
                    <a:lnTo>
                      <a:pt x="1946" y="203"/>
                    </a:lnTo>
                    <a:lnTo>
                      <a:pt x="1947" y="201"/>
                    </a:lnTo>
                    <a:lnTo>
                      <a:pt x="1949" y="196"/>
                    </a:lnTo>
                    <a:lnTo>
                      <a:pt x="1965" y="190"/>
                    </a:lnTo>
                    <a:lnTo>
                      <a:pt x="1967" y="191"/>
                    </a:lnTo>
                    <a:lnTo>
                      <a:pt x="1970" y="191"/>
                    </a:lnTo>
                    <a:lnTo>
                      <a:pt x="1977" y="193"/>
                    </a:lnTo>
                    <a:lnTo>
                      <a:pt x="1984" y="193"/>
                    </a:lnTo>
                    <a:lnTo>
                      <a:pt x="1990" y="198"/>
                    </a:lnTo>
                    <a:lnTo>
                      <a:pt x="1995" y="200"/>
                    </a:lnTo>
                    <a:lnTo>
                      <a:pt x="1999" y="205"/>
                    </a:lnTo>
                    <a:lnTo>
                      <a:pt x="2007" y="205"/>
                    </a:lnTo>
                    <a:lnTo>
                      <a:pt x="2009" y="210"/>
                    </a:lnTo>
                    <a:lnTo>
                      <a:pt x="2020" y="210"/>
                    </a:lnTo>
                    <a:lnTo>
                      <a:pt x="2014" y="206"/>
                    </a:lnTo>
                    <a:lnTo>
                      <a:pt x="2012" y="203"/>
                    </a:lnTo>
                    <a:lnTo>
                      <a:pt x="2019" y="205"/>
                    </a:lnTo>
                    <a:lnTo>
                      <a:pt x="2024" y="201"/>
                    </a:lnTo>
                    <a:lnTo>
                      <a:pt x="2019" y="200"/>
                    </a:lnTo>
                    <a:lnTo>
                      <a:pt x="2022" y="196"/>
                    </a:lnTo>
                    <a:lnTo>
                      <a:pt x="2019" y="193"/>
                    </a:lnTo>
                    <a:lnTo>
                      <a:pt x="2012" y="196"/>
                    </a:lnTo>
                    <a:lnTo>
                      <a:pt x="2007" y="195"/>
                    </a:lnTo>
                    <a:lnTo>
                      <a:pt x="2005" y="188"/>
                    </a:lnTo>
                    <a:lnTo>
                      <a:pt x="2004" y="183"/>
                    </a:lnTo>
                    <a:lnTo>
                      <a:pt x="2007" y="180"/>
                    </a:lnTo>
                    <a:lnTo>
                      <a:pt x="2009" y="183"/>
                    </a:lnTo>
                    <a:lnTo>
                      <a:pt x="2014" y="180"/>
                    </a:lnTo>
                    <a:lnTo>
                      <a:pt x="2010" y="176"/>
                    </a:lnTo>
                    <a:lnTo>
                      <a:pt x="2015" y="175"/>
                    </a:lnTo>
                    <a:lnTo>
                      <a:pt x="2022" y="180"/>
                    </a:lnTo>
                    <a:lnTo>
                      <a:pt x="2024" y="185"/>
                    </a:lnTo>
                    <a:lnTo>
                      <a:pt x="2027" y="185"/>
                    </a:lnTo>
                    <a:lnTo>
                      <a:pt x="2030" y="186"/>
                    </a:lnTo>
                    <a:lnTo>
                      <a:pt x="2034" y="185"/>
                    </a:lnTo>
                    <a:lnTo>
                      <a:pt x="2032" y="180"/>
                    </a:lnTo>
                    <a:lnTo>
                      <a:pt x="2037" y="178"/>
                    </a:lnTo>
                    <a:lnTo>
                      <a:pt x="2040" y="180"/>
                    </a:lnTo>
                    <a:lnTo>
                      <a:pt x="2042" y="176"/>
                    </a:lnTo>
                    <a:lnTo>
                      <a:pt x="2034" y="168"/>
                    </a:lnTo>
                    <a:lnTo>
                      <a:pt x="2029" y="168"/>
                    </a:lnTo>
                    <a:lnTo>
                      <a:pt x="2022" y="163"/>
                    </a:lnTo>
                    <a:lnTo>
                      <a:pt x="2024" y="158"/>
                    </a:lnTo>
                    <a:lnTo>
                      <a:pt x="2020" y="155"/>
                    </a:lnTo>
                    <a:lnTo>
                      <a:pt x="2015" y="157"/>
                    </a:lnTo>
                    <a:lnTo>
                      <a:pt x="2010" y="155"/>
                    </a:lnTo>
                    <a:lnTo>
                      <a:pt x="2017" y="152"/>
                    </a:lnTo>
                    <a:lnTo>
                      <a:pt x="2014" y="148"/>
                    </a:lnTo>
                    <a:lnTo>
                      <a:pt x="2015" y="147"/>
                    </a:lnTo>
                    <a:lnTo>
                      <a:pt x="2012" y="142"/>
                    </a:lnTo>
                    <a:lnTo>
                      <a:pt x="2020" y="142"/>
                    </a:lnTo>
                    <a:lnTo>
                      <a:pt x="2022" y="133"/>
                    </a:lnTo>
                    <a:lnTo>
                      <a:pt x="2012" y="137"/>
                    </a:lnTo>
                    <a:lnTo>
                      <a:pt x="2007" y="140"/>
                    </a:lnTo>
                    <a:lnTo>
                      <a:pt x="2007" y="145"/>
                    </a:lnTo>
                    <a:lnTo>
                      <a:pt x="1997" y="143"/>
                    </a:lnTo>
                    <a:lnTo>
                      <a:pt x="1992" y="135"/>
                    </a:lnTo>
                    <a:lnTo>
                      <a:pt x="1995" y="130"/>
                    </a:lnTo>
                    <a:lnTo>
                      <a:pt x="1997" y="125"/>
                    </a:lnTo>
                    <a:lnTo>
                      <a:pt x="2005" y="122"/>
                    </a:lnTo>
                    <a:lnTo>
                      <a:pt x="2010" y="122"/>
                    </a:lnTo>
                    <a:lnTo>
                      <a:pt x="2019" y="115"/>
                    </a:lnTo>
                    <a:lnTo>
                      <a:pt x="2019" y="112"/>
                    </a:lnTo>
                    <a:lnTo>
                      <a:pt x="2014" y="107"/>
                    </a:lnTo>
                    <a:lnTo>
                      <a:pt x="2009" y="107"/>
                    </a:lnTo>
                    <a:lnTo>
                      <a:pt x="2005" y="105"/>
                    </a:lnTo>
                    <a:lnTo>
                      <a:pt x="1997" y="105"/>
                    </a:lnTo>
                    <a:lnTo>
                      <a:pt x="1990" y="100"/>
                    </a:lnTo>
                    <a:lnTo>
                      <a:pt x="1999" y="97"/>
                    </a:lnTo>
                    <a:lnTo>
                      <a:pt x="2007" y="97"/>
                    </a:lnTo>
                    <a:lnTo>
                      <a:pt x="2019" y="100"/>
                    </a:lnTo>
                    <a:lnTo>
                      <a:pt x="2029" y="98"/>
                    </a:lnTo>
                    <a:lnTo>
                      <a:pt x="2045" y="98"/>
                    </a:lnTo>
                    <a:lnTo>
                      <a:pt x="2073" y="97"/>
                    </a:lnTo>
                    <a:lnTo>
                      <a:pt x="2077" y="93"/>
                    </a:lnTo>
                    <a:lnTo>
                      <a:pt x="2098" y="93"/>
                    </a:lnTo>
                    <a:lnTo>
                      <a:pt x="2107" y="95"/>
                    </a:lnTo>
                    <a:lnTo>
                      <a:pt x="2115" y="93"/>
                    </a:lnTo>
                    <a:lnTo>
                      <a:pt x="2127" y="93"/>
                    </a:lnTo>
                    <a:lnTo>
                      <a:pt x="2120" y="95"/>
                    </a:lnTo>
                    <a:lnTo>
                      <a:pt x="2103" y="102"/>
                    </a:lnTo>
                    <a:lnTo>
                      <a:pt x="2098" y="100"/>
                    </a:lnTo>
                    <a:lnTo>
                      <a:pt x="2095" y="100"/>
                    </a:lnTo>
                    <a:lnTo>
                      <a:pt x="2090" y="98"/>
                    </a:lnTo>
                    <a:lnTo>
                      <a:pt x="2088" y="108"/>
                    </a:lnTo>
                    <a:lnTo>
                      <a:pt x="2092" y="113"/>
                    </a:lnTo>
                    <a:lnTo>
                      <a:pt x="2088" y="115"/>
                    </a:lnTo>
                    <a:lnTo>
                      <a:pt x="2087" y="118"/>
                    </a:lnTo>
                    <a:lnTo>
                      <a:pt x="2092" y="120"/>
                    </a:lnTo>
                    <a:lnTo>
                      <a:pt x="2100" y="115"/>
                    </a:lnTo>
                    <a:lnTo>
                      <a:pt x="2100" y="112"/>
                    </a:lnTo>
                    <a:lnTo>
                      <a:pt x="2112" y="103"/>
                    </a:lnTo>
                    <a:lnTo>
                      <a:pt x="2128" y="97"/>
                    </a:lnTo>
                    <a:lnTo>
                      <a:pt x="2132" y="105"/>
                    </a:lnTo>
                    <a:lnTo>
                      <a:pt x="2132" y="117"/>
                    </a:lnTo>
                    <a:lnTo>
                      <a:pt x="2130" y="118"/>
                    </a:lnTo>
                    <a:lnTo>
                      <a:pt x="2127" y="112"/>
                    </a:lnTo>
                    <a:lnTo>
                      <a:pt x="2123" y="108"/>
                    </a:lnTo>
                    <a:lnTo>
                      <a:pt x="2122" y="103"/>
                    </a:lnTo>
                    <a:lnTo>
                      <a:pt x="2117" y="107"/>
                    </a:lnTo>
                    <a:lnTo>
                      <a:pt x="2115" y="107"/>
                    </a:lnTo>
                    <a:lnTo>
                      <a:pt x="2117" y="113"/>
                    </a:lnTo>
                    <a:lnTo>
                      <a:pt x="2122" y="115"/>
                    </a:lnTo>
                    <a:lnTo>
                      <a:pt x="2123" y="125"/>
                    </a:lnTo>
                    <a:lnTo>
                      <a:pt x="2120" y="132"/>
                    </a:lnTo>
                    <a:lnTo>
                      <a:pt x="2117" y="130"/>
                    </a:lnTo>
                    <a:lnTo>
                      <a:pt x="2113" y="133"/>
                    </a:lnTo>
                    <a:lnTo>
                      <a:pt x="2120" y="137"/>
                    </a:lnTo>
                    <a:lnTo>
                      <a:pt x="2120" y="140"/>
                    </a:lnTo>
                    <a:lnTo>
                      <a:pt x="2122" y="142"/>
                    </a:lnTo>
                    <a:lnTo>
                      <a:pt x="2125" y="142"/>
                    </a:lnTo>
                    <a:lnTo>
                      <a:pt x="2132" y="137"/>
                    </a:lnTo>
                    <a:lnTo>
                      <a:pt x="2132" y="132"/>
                    </a:lnTo>
                    <a:lnTo>
                      <a:pt x="2137" y="125"/>
                    </a:lnTo>
                    <a:lnTo>
                      <a:pt x="2135" y="120"/>
                    </a:lnTo>
                    <a:lnTo>
                      <a:pt x="2135" y="115"/>
                    </a:lnTo>
                    <a:lnTo>
                      <a:pt x="2133" y="92"/>
                    </a:lnTo>
                    <a:lnTo>
                      <a:pt x="2142" y="87"/>
                    </a:lnTo>
                    <a:lnTo>
                      <a:pt x="2155" y="83"/>
                    </a:lnTo>
                    <a:lnTo>
                      <a:pt x="2168" y="80"/>
                    </a:lnTo>
                    <a:lnTo>
                      <a:pt x="2181" y="82"/>
                    </a:lnTo>
                    <a:lnTo>
                      <a:pt x="2198" y="87"/>
                    </a:lnTo>
                    <a:lnTo>
                      <a:pt x="2206" y="97"/>
                    </a:lnTo>
                    <a:lnTo>
                      <a:pt x="2205" y="102"/>
                    </a:lnTo>
                    <a:lnTo>
                      <a:pt x="2201" y="105"/>
                    </a:lnTo>
                    <a:lnTo>
                      <a:pt x="2191" y="98"/>
                    </a:lnTo>
                    <a:lnTo>
                      <a:pt x="2191" y="100"/>
                    </a:lnTo>
                    <a:lnTo>
                      <a:pt x="2193" y="103"/>
                    </a:lnTo>
                    <a:lnTo>
                      <a:pt x="2193" y="108"/>
                    </a:lnTo>
                    <a:lnTo>
                      <a:pt x="2193" y="113"/>
                    </a:lnTo>
                    <a:lnTo>
                      <a:pt x="2190" y="115"/>
                    </a:lnTo>
                    <a:lnTo>
                      <a:pt x="2193" y="117"/>
                    </a:lnTo>
                    <a:lnTo>
                      <a:pt x="2198" y="113"/>
                    </a:lnTo>
                    <a:lnTo>
                      <a:pt x="2206" y="113"/>
                    </a:lnTo>
                    <a:lnTo>
                      <a:pt x="2211" y="108"/>
                    </a:lnTo>
                    <a:lnTo>
                      <a:pt x="2213" y="115"/>
                    </a:lnTo>
                    <a:lnTo>
                      <a:pt x="2216" y="120"/>
                    </a:lnTo>
                    <a:lnTo>
                      <a:pt x="2216" y="125"/>
                    </a:lnTo>
                    <a:lnTo>
                      <a:pt x="2220" y="128"/>
                    </a:lnTo>
                    <a:lnTo>
                      <a:pt x="2223" y="123"/>
                    </a:lnTo>
                    <a:lnTo>
                      <a:pt x="2223" y="120"/>
                    </a:lnTo>
                    <a:lnTo>
                      <a:pt x="2228" y="115"/>
                    </a:lnTo>
                    <a:lnTo>
                      <a:pt x="2235" y="118"/>
                    </a:lnTo>
                    <a:lnTo>
                      <a:pt x="2236" y="123"/>
                    </a:lnTo>
                    <a:lnTo>
                      <a:pt x="2235" y="127"/>
                    </a:lnTo>
                    <a:lnTo>
                      <a:pt x="2233" y="133"/>
                    </a:lnTo>
                    <a:lnTo>
                      <a:pt x="2233" y="135"/>
                    </a:lnTo>
                    <a:lnTo>
                      <a:pt x="2238" y="133"/>
                    </a:lnTo>
                    <a:lnTo>
                      <a:pt x="2240" y="128"/>
                    </a:lnTo>
                    <a:lnTo>
                      <a:pt x="2243" y="127"/>
                    </a:lnTo>
                    <a:lnTo>
                      <a:pt x="2245" y="130"/>
                    </a:lnTo>
                    <a:lnTo>
                      <a:pt x="2245" y="125"/>
                    </a:lnTo>
                    <a:lnTo>
                      <a:pt x="2250" y="117"/>
                    </a:lnTo>
                    <a:lnTo>
                      <a:pt x="2251" y="115"/>
                    </a:lnTo>
                    <a:lnTo>
                      <a:pt x="2254" y="117"/>
                    </a:lnTo>
                    <a:lnTo>
                      <a:pt x="2266" y="123"/>
                    </a:lnTo>
                    <a:lnTo>
                      <a:pt x="2278" y="127"/>
                    </a:lnTo>
                    <a:lnTo>
                      <a:pt x="2284" y="133"/>
                    </a:lnTo>
                    <a:lnTo>
                      <a:pt x="2284" y="137"/>
                    </a:lnTo>
                    <a:lnTo>
                      <a:pt x="2276" y="142"/>
                    </a:lnTo>
                    <a:lnTo>
                      <a:pt x="2271" y="147"/>
                    </a:lnTo>
                    <a:lnTo>
                      <a:pt x="2278" y="143"/>
                    </a:lnTo>
                    <a:lnTo>
                      <a:pt x="2288" y="142"/>
                    </a:lnTo>
                    <a:lnTo>
                      <a:pt x="2294" y="143"/>
                    </a:lnTo>
                    <a:lnTo>
                      <a:pt x="2303" y="142"/>
                    </a:lnTo>
                    <a:lnTo>
                      <a:pt x="2309" y="137"/>
                    </a:lnTo>
                    <a:lnTo>
                      <a:pt x="2314" y="135"/>
                    </a:lnTo>
                    <a:lnTo>
                      <a:pt x="2324" y="127"/>
                    </a:lnTo>
                    <a:lnTo>
                      <a:pt x="2329" y="125"/>
                    </a:lnTo>
                    <a:lnTo>
                      <a:pt x="2336" y="118"/>
                    </a:lnTo>
                    <a:lnTo>
                      <a:pt x="2343" y="117"/>
                    </a:lnTo>
                    <a:lnTo>
                      <a:pt x="2361" y="108"/>
                    </a:lnTo>
                    <a:lnTo>
                      <a:pt x="2371" y="105"/>
                    </a:lnTo>
                    <a:lnTo>
                      <a:pt x="2376" y="107"/>
                    </a:lnTo>
                    <a:lnTo>
                      <a:pt x="2376" y="105"/>
                    </a:lnTo>
                    <a:lnTo>
                      <a:pt x="2386" y="98"/>
                    </a:lnTo>
                    <a:lnTo>
                      <a:pt x="2392" y="98"/>
                    </a:lnTo>
                    <a:lnTo>
                      <a:pt x="2404" y="98"/>
                    </a:lnTo>
                    <a:lnTo>
                      <a:pt x="2429" y="105"/>
                    </a:lnTo>
                    <a:lnTo>
                      <a:pt x="2439" y="115"/>
                    </a:lnTo>
                    <a:lnTo>
                      <a:pt x="2449" y="120"/>
                    </a:lnTo>
                    <a:lnTo>
                      <a:pt x="2457" y="128"/>
                    </a:lnTo>
                    <a:lnTo>
                      <a:pt x="2462" y="137"/>
                    </a:lnTo>
                    <a:lnTo>
                      <a:pt x="2462" y="140"/>
                    </a:lnTo>
                    <a:lnTo>
                      <a:pt x="2464" y="143"/>
                    </a:lnTo>
                    <a:lnTo>
                      <a:pt x="2464" y="150"/>
                    </a:lnTo>
                    <a:lnTo>
                      <a:pt x="2469" y="158"/>
                    </a:lnTo>
                    <a:lnTo>
                      <a:pt x="2469" y="162"/>
                    </a:lnTo>
                    <a:lnTo>
                      <a:pt x="2465" y="167"/>
                    </a:lnTo>
                    <a:lnTo>
                      <a:pt x="2472" y="165"/>
                    </a:lnTo>
                    <a:lnTo>
                      <a:pt x="2477" y="160"/>
                    </a:lnTo>
                    <a:lnTo>
                      <a:pt x="2484" y="160"/>
                    </a:lnTo>
                    <a:lnTo>
                      <a:pt x="2487" y="162"/>
                    </a:lnTo>
                    <a:lnTo>
                      <a:pt x="2487" y="158"/>
                    </a:lnTo>
                    <a:lnTo>
                      <a:pt x="2494" y="158"/>
                    </a:lnTo>
                    <a:lnTo>
                      <a:pt x="2499" y="162"/>
                    </a:lnTo>
                    <a:lnTo>
                      <a:pt x="2502" y="167"/>
                    </a:lnTo>
                    <a:lnTo>
                      <a:pt x="2502" y="162"/>
                    </a:lnTo>
                    <a:lnTo>
                      <a:pt x="2500" y="155"/>
                    </a:lnTo>
                    <a:lnTo>
                      <a:pt x="2505" y="155"/>
                    </a:lnTo>
                    <a:lnTo>
                      <a:pt x="2509" y="160"/>
                    </a:lnTo>
                    <a:lnTo>
                      <a:pt x="2517" y="168"/>
                    </a:lnTo>
                    <a:lnTo>
                      <a:pt x="2519" y="175"/>
                    </a:lnTo>
                    <a:lnTo>
                      <a:pt x="2522" y="175"/>
                    </a:lnTo>
                    <a:lnTo>
                      <a:pt x="2530" y="183"/>
                    </a:lnTo>
                    <a:lnTo>
                      <a:pt x="2529" y="181"/>
                    </a:lnTo>
                    <a:lnTo>
                      <a:pt x="2527" y="175"/>
                    </a:lnTo>
                    <a:lnTo>
                      <a:pt x="2522" y="172"/>
                    </a:lnTo>
                    <a:lnTo>
                      <a:pt x="2522" y="168"/>
                    </a:lnTo>
                    <a:lnTo>
                      <a:pt x="2527" y="172"/>
                    </a:lnTo>
                    <a:lnTo>
                      <a:pt x="2530" y="170"/>
                    </a:lnTo>
                    <a:lnTo>
                      <a:pt x="2535" y="175"/>
                    </a:lnTo>
                    <a:lnTo>
                      <a:pt x="2542" y="183"/>
                    </a:lnTo>
                    <a:lnTo>
                      <a:pt x="2540" y="176"/>
                    </a:lnTo>
                    <a:lnTo>
                      <a:pt x="2532" y="165"/>
                    </a:lnTo>
                    <a:lnTo>
                      <a:pt x="2532" y="155"/>
                    </a:lnTo>
                    <a:lnTo>
                      <a:pt x="2532" y="147"/>
                    </a:lnTo>
                    <a:lnTo>
                      <a:pt x="2539" y="140"/>
                    </a:lnTo>
                    <a:lnTo>
                      <a:pt x="2547" y="140"/>
                    </a:lnTo>
                    <a:lnTo>
                      <a:pt x="2552" y="137"/>
                    </a:lnTo>
                    <a:lnTo>
                      <a:pt x="2560" y="133"/>
                    </a:lnTo>
                    <a:lnTo>
                      <a:pt x="2560" y="130"/>
                    </a:lnTo>
                    <a:lnTo>
                      <a:pt x="2562" y="128"/>
                    </a:lnTo>
                    <a:lnTo>
                      <a:pt x="2565" y="128"/>
                    </a:lnTo>
                    <a:lnTo>
                      <a:pt x="2570" y="132"/>
                    </a:lnTo>
                    <a:lnTo>
                      <a:pt x="2573" y="133"/>
                    </a:lnTo>
                    <a:lnTo>
                      <a:pt x="2580" y="132"/>
                    </a:lnTo>
                    <a:lnTo>
                      <a:pt x="2587" y="128"/>
                    </a:lnTo>
                    <a:lnTo>
                      <a:pt x="2590" y="128"/>
                    </a:lnTo>
                    <a:lnTo>
                      <a:pt x="2600" y="127"/>
                    </a:lnTo>
                    <a:lnTo>
                      <a:pt x="2610" y="127"/>
                    </a:lnTo>
                    <a:lnTo>
                      <a:pt x="2613" y="123"/>
                    </a:lnTo>
                    <a:lnTo>
                      <a:pt x="2617" y="123"/>
                    </a:lnTo>
                    <a:lnTo>
                      <a:pt x="2617" y="127"/>
                    </a:lnTo>
                    <a:lnTo>
                      <a:pt x="2620" y="130"/>
                    </a:lnTo>
                    <a:lnTo>
                      <a:pt x="2622" y="125"/>
                    </a:lnTo>
                    <a:lnTo>
                      <a:pt x="2628" y="118"/>
                    </a:lnTo>
                    <a:lnTo>
                      <a:pt x="2627" y="115"/>
                    </a:lnTo>
                    <a:lnTo>
                      <a:pt x="2627" y="108"/>
                    </a:lnTo>
                    <a:lnTo>
                      <a:pt x="2627" y="103"/>
                    </a:lnTo>
                    <a:lnTo>
                      <a:pt x="2630" y="102"/>
                    </a:lnTo>
                    <a:lnTo>
                      <a:pt x="2638" y="103"/>
                    </a:lnTo>
                    <a:lnTo>
                      <a:pt x="2640" y="108"/>
                    </a:lnTo>
                    <a:lnTo>
                      <a:pt x="2642" y="112"/>
                    </a:lnTo>
                    <a:lnTo>
                      <a:pt x="2648" y="112"/>
                    </a:lnTo>
                    <a:lnTo>
                      <a:pt x="2651" y="115"/>
                    </a:lnTo>
                    <a:lnTo>
                      <a:pt x="2651" y="120"/>
                    </a:lnTo>
                    <a:lnTo>
                      <a:pt x="2658" y="127"/>
                    </a:lnTo>
                    <a:lnTo>
                      <a:pt x="2661" y="128"/>
                    </a:lnTo>
                    <a:lnTo>
                      <a:pt x="2670" y="128"/>
                    </a:lnTo>
                    <a:lnTo>
                      <a:pt x="2681" y="130"/>
                    </a:lnTo>
                    <a:lnTo>
                      <a:pt x="2683" y="128"/>
                    </a:lnTo>
                    <a:lnTo>
                      <a:pt x="2686" y="130"/>
                    </a:lnTo>
                    <a:lnTo>
                      <a:pt x="2695" y="140"/>
                    </a:lnTo>
                    <a:lnTo>
                      <a:pt x="2695" y="145"/>
                    </a:lnTo>
                    <a:lnTo>
                      <a:pt x="2698" y="147"/>
                    </a:lnTo>
                    <a:lnTo>
                      <a:pt x="2705" y="148"/>
                    </a:lnTo>
                    <a:lnTo>
                      <a:pt x="2710" y="145"/>
                    </a:lnTo>
                    <a:lnTo>
                      <a:pt x="2715" y="145"/>
                    </a:lnTo>
                    <a:lnTo>
                      <a:pt x="2715" y="142"/>
                    </a:lnTo>
                    <a:lnTo>
                      <a:pt x="2720" y="138"/>
                    </a:lnTo>
                    <a:lnTo>
                      <a:pt x="2723" y="138"/>
                    </a:lnTo>
                    <a:lnTo>
                      <a:pt x="2726" y="137"/>
                    </a:lnTo>
                    <a:lnTo>
                      <a:pt x="2723" y="133"/>
                    </a:lnTo>
                    <a:lnTo>
                      <a:pt x="2725" y="132"/>
                    </a:lnTo>
                    <a:lnTo>
                      <a:pt x="2723" y="128"/>
                    </a:lnTo>
                    <a:lnTo>
                      <a:pt x="2723" y="125"/>
                    </a:lnTo>
                    <a:lnTo>
                      <a:pt x="2718" y="120"/>
                    </a:lnTo>
                    <a:lnTo>
                      <a:pt x="2711" y="118"/>
                    </a:lnTo>
                    <a:lnTo>
                      <a:pt x="2710" y="112"/>
                    </a:lnTo>
                    <a:lnTo>
                      <a:pt x="2701" y="103"/>
                    </a:lnTo>
                    <a:lnTo>
                      <a:pt x="2698" y="102"/>
                    </a:lnTo>
                    <a:lnTo>
                      <a:pt x="2696" y="98"/>
                    </a:lnTo>
                    <a:lnTo>
                      <a:pt x="2686" y="95"/>
                    </a:lnTo>
                    <a:lnTo>
                      <a:pt x="2683" y="98"/>
                    </a:lnTo>
                    <a:lnTo>
                      <a:pt x="2680" y="98"/>
                    </a:lnTo>
                    <a:lnTo>
                      <a:pt x="2680" y="93"/>
                    </a:lnTo>
                    <a:lnTo>
                      <a:pt x="2681" y="90"/>
                    </a:lnTo>
                    <a:lnTo>
                      <a:pt x="2678" y="83"/>
                    </a:lnTo>
                    <a:lnTo>
                      <a:pt x="2676" y="80"/>
                    </a:lnTo>
                    <a:lnTo>
                      <a:pt x="2673" y="77"/>
                    </a:lnTo>
                    <a:lnTo>
                      <a:pt x="2670" y="70"/>
                    </a:lnTo>
                    <a:lnTo>
                      <a:pt x="2663" y="65"/>
                    </a:lnTo>
                    <a:lnTo>
                      <a:pt x="2665" y="65"/>
                    </a:lnTo>
                    <a:lnTo>
                      <a:pt x="2676" y="64"/>
                    </a:lnTo>
                    <a:lnTo>
                      <a:pt x="2680" y="65"/>
                    </a:lnTo>
                    <a:lnTo>
                      <a:pt x="2691" y="64"/>
                    </a:lnTo>
                    <a:lnTo>
                      <a:pt x="2703" y="64"/>
                    </a:lnTo>
                    <a:lnTo>
                      <a:pt x="2703" y="60"/>
                    </a:lnTo>
                    <a:lnTo>
                      <a:pt x="2710" y="59"/>
                    </a:lnTo>
                    <a:lnTo>
                      <a:pt x="2716" y="62"/>
                    </a:lnTo>
                    <a:lnTo>
                      <a:pt x="2720" y="60"/>
                    </a:lnTo>
                    <a:lnTo>
                      <a:pt x="2723" y="62"/>
                    </a:lnTo>
                    <a:lnTo>
                      <a:pt x="2723" y="57"/>
                    </a:lnTo>
                    <a:lnTo>
                      <a:pt x="2730" y="57"/>
                    </a:lnTo>
                    <a:lnTo>
                      <a:pt x="2731" y="60"/>
                    </a:lnTo>
                    <a:lnTo>
                      <a:pt x="2733" y="59"/>
                    </a:lnTo>
                    <a:lnTo>
                      <a:pt x="2736" y="55"/>
                    </a:lnTo>
                    <a:lnTo>
                      <a:pt x="2741" y="55"/>
                    </a:lnTo>
                    <a:lnTo>
                      <a:pt x="2741" y="52"/>
                    </a:lnTo>
                    <a:lnTo>
                      <a:pt x="2761" y="47"/>
                    </a:lnTo>
                    <a:lnTo>
                      <a:pt x="2763" y="52"/>
                    </a:lnTo>
                    <a:lnTo>
                      <a:pt x="2764" y="47"/>
                    </a:lnTo>
                    <a:lnTo>
                      <a:pt x="2766" y="44"/>
                    </a:lnTo>
                    <a:lnTo>
                      <a:pt x="2769" y="45"/>
                    </a:lnTo>
                    <a:lnTo>
                      <a:pt x="2776" y="44"/>
                    </a:lnTo>
                    <a:lnTo>
                      <a:pt x="2779" y="44"/>
                    </a:lnTo>
                    <a:lnTo>
                      <a:pt x="2783" y="47"/>
                    </a:lnTo>
                    <a:lnTo>
                      <a:pt x="2793" y="47"/>
                    </a:lnTo>
                    <a:lnTo>
                      <a:pt x="2796" y="45"/>
                    </a:lnTo>
                    <a:lnTo>
                      <a:pt x="2799" y="49"/>
                    </a:lnTo>
                    <a:lnTo>
                      <a:pt x="2803" y="50"/>
                    </a:lnTo>
                    <a:lnTo>
                      <a:pt x="2804" y="47"/>
                    </a:lnTo>
                    <a:lnTo>
                      <a:pt x="2813" y="45"/>
                    </a:lnTo>
                    <a:lnTo>
                      <a:pt x="2828" y="50"/>
                    </a:lnTo>
                    <a:lnTo>
                      <a:pt x="2834" y="52"/>
                    </a:lnTo>
                    <a:lnTo>
                      <a:pt x="2838" y="52"/>
                    </a:lnTo>
                    <a:lnTo>
                      <a:pt x="2836" y="50"/>
                    </a:lnTo>
                    <a:lnTo>
                      <a:pt x="2841" y="49"/>
                    </a:lnTo>
                    <a:lnTo>
                      <a:pt x="2844" y="52"/>
                    </a:lnTo>
                    <a:lnTo>
                      <a:pt x="2841" y="54"/>
                    </a:lnTo>
                    <a:lnTo>
                      <a:pt x="2844" y="55"/>
                    </a:lnTo>
                    <a:lnTo>
                      <a:pt x="2851" y="54"/>
                    </a:lnTo>
                    <a:lnTo>
                      <a:pt x="2867" y="55"/>
                    </a:lnTo>
                    <a:lnTo>
                      <a:pt x="2882" y="64"/>
                    </a:lnTo>
                    <a:lnTo>
                      <a:pt x="2881" y="65"/>
                    </a:lnTo>
                    <a:lnTo>
                      <a:pt x="2877" y="64"/>
                    </a:lnTo>
                    <a:lnTo>
                      <a:pt x="2869" y="60"/>
                    </a:lnTo>
                    <a:lnTo>
                      <a:pt x="2867" y="62"/>
                    </a:lnTo>
                    <a:lnTo>
                      <a:pt x="2882" y="67"/>
                    </a:lnTo>
                    <a:lnTo>
                      <a:pt x="2889" y="67"/>
                    </a:lnTo>
                    <a:lnTo>
                      <a:pt x="2891" y="64"/>
                    </a:lnTo>
                    <a:lnTo>
                      <a:pt x="2897" y="64"/>
                    </a:lnTo>
                    <a:lnTo>
                      <a:pt x="2904" y="64"/>
                    </a:lnTo>
                    <a:lnTo>
                      <a:pt x="2902" y="60"/>
                    </a:lnTo>
                    <a:lnTo>
                      <a:pt x="2906" y="59"/>
                    </a:lnTo>
                    <a:lnTo>
                      <a:pt x="2911" y="62"/>
                    </a:lnTo>
                    <a:lnTo>
                      <a:pt x="2916" y="64"/>
                    </a:lnTo>
                    <a:lnTo>
                      <a:pt x="2917" y="65"/>
                    </a:lnTo>
                    <a:lnTo>
                      <a:pt x="2917" y="62"/>
                    </a:lnTo>
                    <a:lnTo>
                      <a:pt x="2919" y="62"/>
                    </a:lnTo>
                    <a:lnTo>
                      <a:pt x="2926" y="64"/>
                    </a:lnTo>
                    <a:lnTo>
                      <a:pt x="2926" y="65"/>
                    </a:lnTo>
                    <a:lnTo>
                      <a:pt x="2934" y="69"/>
                    </a:lnTo>
                    <a:lnTo>
                      <a:pt x="2939" y="67"/>
                    </a:lnTo>
                    <a:lnTo>
                      <a:pt x="2960" y="70"/>
                    </a:lnTo>
                    <a:lnTo>
                      <a:pt x="2957" y="67"/>
                    </a:lnTo>
                    <a:lnTo>
                      <a:pt x="2965" y="67"/>
                    </a:lnTo>
                    <a:lnTo>
                      <a:pt x="2967" y="70"/>
                    </a:lnTo>
                    <a:lnTo>
                      <a:pt x="2970" y="72"/>
                    </a:lnTo>
                    <a:lnTo>
                      <a:pt x="2970" y="67"/>
                    </a:lnTo>
                    <a:lnTo>
                      <a:pt x="2972" y="67"/>
                    </a:lnTo>
                    <a:lnTo>
                      <a:pt x="2980" y="69"/>
                    </a:lnTo>
                    <a:lnTo>
                      <a:pt x="2979" y="70"/>
                    </a:lnTo>
                    <a:lnTo>
                      <a:pt x="2982" y="74"/>
                    </a:lnTo>
                    <a:lnTo>
                      <a:pt x="2989" y="72"/>
                    </a:lnTo>
                    <a:lnTo>
                      <a:pt x="2989" y="70"/>
                    </a:lnTo>
                    <a:lnTo>
                      <a:pt x="2987" y="69"/>
                    </a:lnTo>
                    <a:lnTo>
                      <a:pt x="2994" y="69"/>
                    </a:lnTo>
                    <a:lnTo>
                      <a:pt x="2997" y="70"/>
                    </a:lnTo>
                    <a:lnTo>
                      <a:pt x="2995" y="74"/>
                    </a:lnTo>
                    <a:lnTo>
                      <a:pt x="3000" y="78"/>
                    </a:lnTo>
                    <a:lnTo>
                      <a:pt x="3009" y="80"/>
                    </a:lnTo>
                    <a:lnTo>
                      <a:pt x="3015" y="78"/>
                    </a:lnTo>
                    <a:lnTo>
                      <a:pt x="3005" y="75"/>
                    </a:lnTo>
                    <a:lnTo>
                      <a:pt x="3002" y="74"/>
                    </a:lnTo>
                    <a:lnTo>
                      <a:pt x="3000" y="70"/>
                    </a:lnTo>
                    <a:lnTo>
                      <a:pt x="3005" y="70"/>
                    </a:lnTo>
                    <a:lnTo>
                      <a:pt x="3010" y="70"/>
                    </a:lnTo>
                    <a:lnTo>
                      <a:pt x="3020" y="75"/>
                    </a:lnTo>
                    <a:lnTo>
                      <a:pt x="3024" y="80"/>
                    </a:lnTo>
                    <a:lnTo>
                      <a:pt x="3025" y="82"/>
                    </a:lnTo>
                    <a:lnTo>
                      <a:pt x="3027" y="77"/>
                    </a:lnTo>
                    <a:lnTo>
                      <a:pt x="3025" y="75"/>
                    </a:lnTo>
                    <a:lnTo>
                      <a:pt x="3029" y="77"/>
                    </a:lnTo>
                    <a:lnTo>
                      <a:pt x="3032" y="78"/>
                    </a:lnTo>
                    <a:lnTo>
                      <a:pt x="3032" y="80"/>
                    </a:lnTo>
                    <a:lnTo>
                      <a:pt x="3037" y="87"/>
                    </a:lnTo>
                    <a:lnTo>
                      <a:pt x="3044" y="98"/>
                    </a:lnTo>
                    <a:lnTo>
                      <a:pt x="3052" y="102"/>
                    </a:lnTo>
                    <a:lnTo>
                      <a:pt x="3053" y="105"/>
                    </a:lnTo>
                    <a:lnTo>
                      <a:pt x="3058" y="110"/>
                    </a:lnTo>
                    <a:lnTo>
                      <a:pt x="3060" y="113"/>
                    </a:lnTo>
                    <a:lnTo>
                      <a:pt x="3058" y="117"/>
                    </a:lnTo>
                    <a:lnTo>
                      <a:pt x="3060" y="120"/>
                    </a:lnTo>
                    <a:lnTo>
                      <a:pt x="3063" y="122"/>
                    </a:lnTo>
                    <a:lnTo>
                      <a:pt x="3068" y="118"/>
                    </a:lnTo>
                    <a:lnTo>
                      <a:pt x="3075" y="118"/>
                    </a:lnTo>
                    <a:lnTo>
                      <a:pt x="3078" y="125"/>
                    </a:lnTo>
                    <a:lnTo>
                      <a:pt x="3083" y="127"/>
                    </a:lnTo>
                    <a:lnTo>
                      <a:pt x="3083" y="125"/>
                    </a:lnTo>
                    <a:lnTo>
                      <a:pt x="3082" y="123"/>
                    </a:lnTo>
                    <a:lnTo>
                      <a:pt x="3080" y="120"/>
                    </a:lnTo>
                    <a:lnTo>
                      <a:pt x="3083" y="115"/>
                    </a:lnTo>
                    <a:lnTo>
                      <a:pt x="3087" y="117"/>
                    </a:lnTo>
                    <a:lnTo>
                      <a:pt x="3088" y="122"/>
                    </a:lnTo>
                    <a:lnTo>
                      <a:pt x="3093" y="127"/>
                    </a:lnTo>
                    <a:lnTo>
                      <a:pt x="3093" y="125"/>
                    </a:lnTo>
                    <a:lnTo>
                      <a:pt x="3090" y="118"/>
                    </a:lnTo>
                    <a:lnTo>
                      <a:pt x="3090" y="113"/>
                    </a:lnTo>
                    <a:lnTo>
                      <a:pt x="3087" y="110"/>
                    </a:lnTo>
                    <a:lnTo>
                      <a:pt x="3080" y="113"/>
                    </a:lnTo>
                    <a:lnTo>
                      <a:pt x="3073" y="113"/>
                    </a:lnTo>
                    <a:lnTo>
                      <a:pt x="3073" y="110"/>
                    </a:lnTo>
                    <a:lnTo>
                      <a:pt x="3077" y="107"/>
                    </a:lnTo>
                    <a:lnTo>
                      <a:pt x="3075" y="102"/>
                    </a:lnTo>
                    <a:lnTo>
                      <a:pt x="3065" y="97"/>
                    </a:lnTo>
                    <a:lnTo>
                      <a:pt x="3062" y="93"/>
                    </a:lnTo>
                    <a:lnTo>
                      <a:pt x="3058" y="88"/>
                    </a:lnTo>
                    <a:lnTo>
                      <a:pt x="3055" y="88"/>
                    </a:lnTo>
                    <a:lnTo>
                      <a:pt x="3050" y="93"/>
                    </a:lnTo>
                    <a:lnTo>
                      <a:pt x="3048" y="90"/>
                    </a:lnTo>
                    <a:lnTo>
                      <a:pt x="3053" y="87"/>
                    </a:lnTo>
                    <a:lnTo>
                      <a:pt x="3057" y="80"/>
                    </a:lnTo>
                    <a:lnTo>
                      <a:pt x="3063" y="72"/>
                    </a:lnTo>
                    <a:lnTo>
                      <a:pt x="3067" y="72"/>
                    </a:lnTo>
                    <a:lnTo>
                      <a:pt x="3067" y="74"/>
                    </a:lnTo>
                    <a:lnTo>
                      <a:pt x="3070" y="82"/>
                    </a:lnTo>
                    <a:lnTo>
                      <a:pt x="3075" y="83"/>
                    </a:lnTo>
                    <a:lnTo>
                      <a:pt x="3077" y="82"/>
                    </a:lnTo>
                    <a:lnTo>
                      <a:pt x="3072" y="78"/>
                    </a:lnTo>
                    <a:lnTo>
                      <a:pt x="3070" y="75"/>
                    </a:lnTo>
                    <a:lnTo>
                      <a:pt x="3072" y="74"/>
                    </a:lnTo>
                    <a:lnTo>
                      <a:pt x="3078" y="70"/>
                    </a:lnTo>
                    <a:lnTo>
                      <a:pt x="3080" y="69"/>
                    </a:lnTo>
                    <a:lnTo>
                      <a:pt x="3073" y="69"/>
                    </a:lnTo>
                    <a:lnTo>
                      <a:pt x="3077" y="65"/>
                    </a:lnTo>
                    <a:lnTo>
                      <a:pt x="3078" y="65"/>
                    </a:lnTo>
                    <a:lnTo>
                      <a:pt x="3083" y="64"/>
                    </a:lnTo>
                    <a:lnTo>
                      <a:pt x="3087" y="57"/>
                    </a:lnTo>
                    <a:lnTo>
                      <a:pt x="3092" y="59"/>
                    </a:lnTo>
                    <a:lnTo>
                      <a:pt x="3093" y="60"/>
                    </a:lnTo>
                    <a:lnTo>
                      <a:pt x="3097" y="60"/>
                    </a:lnTo>
                    <a:lnTo>
                      <a:pt x="3100" y="60"/>
                    </a:lnTo>
                    <a:lnTo>
                      <a:pt x="3102" y="64"/>
                    </a:lnTo>
                    <a:lnTo>
                      <a:pt x="3105" y="67"/>
                    </a:lnTo>
                    <a:lnTo>
                      <a:pt x="3112" y="67"/>
                    </a:lnTo>
                    <a:lnTo>
                      <a:pt x="3115" y="65"/>
                    </a:lnTo>
                    <a:lnTo>
                      <a:pt x="3130" y="69"/>
                    </a:lnTo>
                    <a:lnTo>
                      <a:pt x="3130" y="74"/>
                    </a:lnTo>
                    <a:lnTo>
                      <a:pt x="3130" y="75"/>
                    </a:lnTo>
                    <a:lnTo>
                      <a:pt x="3133" y="74"/>
                    </a:lnTo>
                    <a:lnTo>
                      <a:pt x="3133" y="70"/>
                    </a:lnTo>
                    <a:lnTo>
                      <a:pt x="3138" y="72"/>
                    </a:lnTo>
                    <a:lnTo>
                      <a:pt x="3138" y="77"/>
                    </a:lnTo>
                    <a:lnTo>
                      <a:pt x="3143" y="74"/>
                    </a:lnTo>
                    <a:lnTo>
                      <a:pt x="3146" y="69"/>
                    </a:lnTo>
                    <a:lnTo>
                      <a:pt x="3151" y="70"/>
                    </a:lnTo>
                    <a:lnTo>
                      <a:pt x="3151" y="74"/>
                    </a:lnTo>
                    <a:lnTo>
                      <a:pt x="3148" y="77"/>
                    </a:lnTo>
                    <a:lnTo>
                      <a:pt x="3148" y="80"/>
                    </a:lnTo>
                    <a:lnTo>
                      <a:pt x="3151" y="92"/>
                    </a:lnTo>
                    <a:lnTo>
                      <a:pt x="3150" y="97"/>
                    </a:lnTo>
                    <a:lnTo>
                      <a:pt x="3151" y="100"/>
                    </a:lnTo>
                    <a:lnTo>
                      <a:pt x="3155" y="98"/>
                    </a:lnTo>
                    <a:lnTo>
                      <a:pt x="3158" y="103"/>
                    </a:lnTo>
                    <a:lnTo>
                      <a:pt x="3163" y="105"/>
                    </a:lnTo>
                    <a:lnTo>
                      <a:pt x="3165" y="110"/>
                    </a:lnTo>
                    <a:lnTo>
                      <a:pt x="3163" y="113"/>
                    </a:lnTo>
                    <a:lnTo>
                      <a:pt x="3155" y="113"/>
                    </a:lnTo>
                    <a:lnTo>
                      <a:pt x="3146" y="113"/>
                    </a:lnTo>
                    <a:lnTo>
                      <a:pt x="3158" y="117"/>
                    </a:lnTo>
                    <a:lnTo>
                      <a:pt x="3161" y="120"/>
                    </a:lnTo>
                    <a:lnTo>
                      <a:pt x="3160" y="123"/>
                    </a:lnTo>
                    <a:lnTo>
                      <a:pt x="3155" y="125"/>
                    </a:lnTo>
                    <a:lnTo>
                      <a:pt x="3150" y="132"/>
                    </a:lnTo>
                    <a:lnTo>
                      <a:pt x="3148" y="130"/>
                    </a:lnTo>
                    <a:lnTo>
                      <a:pt x="3142" y="135"/>
                    </a:lnTo>
                    <a:lnTo>
                      <a:pt x="3135" y="133"/>
                    </a:lnTo>
                    <a:lnTo>
                      <a:pt x="3130" y="138"/>
                    </a:lnTo>
                    <a:lnTo>
                      <a:pt x="3138" y="137"/>
                    </a:lnTo>
                    <a:lnTo>
                      <a:pt x="3142" y="138"/>
                    </a:lnTo>
                    <a:lnTo>
                      <a:pt x="3143" y="142"/>
                    </a:lnTo>
                    <a:lnTo>
                      <a:pt x="3146" y="138"/>
                    </a:lnTo>
                    <a:lnTo>
                      <a:pt x="3150" y="138"/>
                    </a:lnTo>
                    <a:lnTo>
                      <a:pt x="3150" y="143"/>
                    </a:lnTo>
                    <a:lnTo>
                      <a:pt x="3155" y="148"/>
                    </a:lnTo>
                    <a:lnTo>
                      <a:pt x="3150" y="150"/>
                    </a:lnTo>
                    <a:lnTo>
                      <a:pt x="3150" y="158"/>
                    </a:lnTo>
                    <a:lnTo>
                      <a:pt x="3155" y="152"/>
                    </a:lnTo>
                    <a:lnTo>
                      <a:pt x="3161" y="152"/>
                    </a:lnTo>
                    <a:lnTo>
                      <a:pt x="3168" y="157"/>
                    </a:lnTo>
                    <a:lnTo>
                      <a:pt x="3166" y="160"/>
                    </a:lnTo>
                    <a:lnTo>
                      <a:pt x="3171" y="165"/>
                    </a:lnTo>
                    <a:lnTo>
                      <a:pt x="3165" y="168"/>
                    </a:lnTo>
                    <a:lnTo>
                      <a:pt x="3168" y="170"/>
                    </a:lnTo>
                    <a:lnTo>
                      <a:pt x="3170" y="176"/>
                    </a:lnTo>
                    <a:lnTo>
                      <a:pt x="3163" y="178"/>
                    </a:lnTo>
                    <a:lnTo>
                      <a:pt x="3163" y="181"/>
                    </a:lnTo>
                    <a:lnTo>
                      <a:pt x="3165" y="185"/>
                    </a:lnTo>
                    <a:lnTo>
                      <a:pt x="3166" y="181"/>
                    </a:lnTo>
                    <a:lnTo>
                      <a:pt x="3170" y="180"/>
                    </a:lnTo>
                    <a:lnTo>
                      <a:pt x="3173" y="183"/>
                    </a:lnTo>
                    <a:lnTo>
                      <a:pt x="3171" y="190"/>
                    </a:lnTo>
                    <a:lnTo>
                      <a:pt x="3178" y="188"/>
                    </a:lnTo>
                    <a:lnTo>
                      <a:pt x="3180" y="191"/>
                    </a:lnTo>
                    <a:lnTo>
                      <a:pt x="3180" y="188"/>
                    </a:lnTo>
                    <a:lnTo>
                      <a:pt x="3183" y="185"/>
                    </a:lnTo>
                    <a:lnTo>
                      <a:pt x="3186" y="186"/>
                    </a:lnTo>
                    <a:lnTo>
                      <a:pt x="3191" y="188"/>
                    </a:lnTo>
                    <a:lnTo>
                      <a:pt x="3191" y="193"/>
                    </a:lnTo>
                    <a:lnTo>
                      <a:pt x="3188" y="195"/>
                    </a:lnTo>
                    <a:lnTo>
                      <a:pt x="3183" y="191"/>
                    </a:lnTo>
                    <a:lnTo>
                      <a:pt x="3180" y="196"/>
                    </a:lnTo>
                    <a:lnTo>
                      <a:pt x="3185" y="198"/>
                    </a:lnTo>
                    <a:lnTo>
                      <a:pt x="3190" y="198"/>
                    </a:lnTo>
                    <a:lnTo>
                      <a:pt x="3193" y="205"/>
                    </a:lnTo>
                    <a:lnTo>
                      <a:pt x="3193" y="206"/>
                    </a:lnTo>
                    <a:lnTo>
                      <a:pt x="3186" y="210"/>
                    </a:lnTo>
                    <a:lnTo>
                      <a:pt x="3180" y="203"/>
                    </a:lnTo>
                    <a:lnTo>
                      <a:pt x="3178" y="201"/>
                    </a:lnTo>
                    <a:lnTo>
                      <a:pt x="3181" y="210"/>
                    </a:lnTo>
                    <a:lnTo>
                      <a:pt x="3178" y="213"/>
                    </a:lnTo>
                    <a:lnTo>
                      <a:pt x="3175" y="213"/>
                    </a:lnTo>
                    <a:lnTo>
                      <a:pt x="3175" y="211"/>
                    </a:lnTo>
                    <a:lnTo>
                      <a:pt x="3170" y="211"/>
                    </a:lnTo>
                    <a:lnTo>
                      <a:pt x="3166" y="210"/>
                    </a:lnTo>
                    <a:lnTo>
                      <a:pt x="3156" y="208"/>
                    </a:lnTo>
                    <a:lnTo>
                      <a:pt x="3151" y="211"/>
                    </a:lnTo>
                    <a:lnTo>
                      <a:pt x="3146" y="211"/>
                    </a:lnTo>
                    <a:lnTo>
                      <a:pt x="3148" y="208"/>
                    </a:lnTo>
                    <a:lnTo>
                      <a:pt x="3146" y="205"/>
                    </a:lnTo>
                    <a:lnTo>
                      <a:pt x="3143" y="205"/>
                    </a:lnTo>
                    <a:lnTo>
                      <a:pt x="3143" y="210"/>
                    </a:lnTo>
                    <a:lnTo>
                      <a:pt x="3142" y="210"/>
                    </a:lnTo>
                    <a:lnTo>
                      <a:pt x="3140" y="211"/>
                    </a:lnTo>
                    <a:lnTo>
                      <a:pt x="3142" y="215"/>
                    </a:lnTo>
                    <a:lnTo>
                      <a:pt x="3138" y="218"/>
                    </a:lnTo>
                    <a:lnTo>
                      <a:pt x="3137" y="218"/>
                    </a:lnTo>
                    <a:lnTo>
                      <a:pt x="3137" y="216"/>
                    </a:lnTo>
                    <a:lnTo>
                      <a:pt x="3135" y="215"/>
                    </a:lnTo>
                    <a:lnTo>
                      <a:pt x="3125" y="218"/>
                    </a:lnTo>
                    <a:lnTo>
                      <a:pt x="3122" y="216"/>
                    </a:lnTo>
                    <a:lnTo>
                      <a:pt x="3123" y="213"/>
                    </a:lnTo>
                    <a:lnTo>
                      <a:pt x="3122" y="208"/>
                    </a:lnTo>
                    <a:lnTo>
                      <a:pt x="3118" y="206"/>
                    </a:lnTo>
                    <a:lnTo>
                      <a:pt x="3107" y="200"/>
                    </a:lnTo>
                    <a:lnTo>
                      <a:pt x="3107" y="198"/>
                    </a:lnTo>
                    <a:lnTo>
                      <a:pt x="3107" y="196"/>
                    </a:lnTo>
                    <a:lnTo>
                      <a:pt x="3098" y="193"/>
                    </a:lnTo>
                    <a:lnTo>
                      <a:pt x="3098" y="198"/>
                    </a:lnTo>
                    <a:lnTo>
                      <a:pt x="3090" y="200"/>
                    </a:lnTo>
                    <a:lnTo>
                      <a:pt x="3085" y="205"/>
                    </a:lnTo>
                    <a:lnTo>
                      <a:pt x="3083" y="205"/>
                    </a:lnTo>
                    <a:lnTo>
                      <a:pt x="3082" y="198"/>
                    </a:lnTo>
                    <a:lnTo>
                      <a:pt x="3080" y="195"/>
                    </a:lnTo>
                    <a:lnTo>
                      <a:pt x="3080" y="198"/>
                    </a:lnTo>
                    <a:lnTo>
                      <a:pt x="3080" y="208"/>
                    </a:lnTo>
                    <a:lnTo>
                      <a:pt x="3082" y="213"/>
                    </a:lnTo>
                    <a:lnTo>
                      <a:pt x="3080" y="218"/>
                    </a:lnTo>
                    <a:lnTo>
                      <a:pt x="3072" y="230"/>
                    </a:lnTo>
                    <a:lnTo>
                      <a:pt x="3067" y="228"/>
                    </a:lnTo>
                    <a:lnTo>
                      <a:pt x="3067" y="221"/>
                    </a:lnTo>
                    <a:lnTo>
                      <a:pt x="3062" y="220"/>
                    </a:lnTo>
                    <a:lnTo>
                      <a:pt x="3057" y="221"/>
                    </a:lnTo>
                    <a:lnTo>
                      <a:pt x="3045" y="213"/>
                    </a:lnTo>
                    <a:lnTo>
                      <a:pt x="3045" y="210"/>
                    </a:lnTo>
                    <a:lnTo>
                      <a:pt x="3044" y="200"/>
                    </a:lnTo>
                    <a:lnTo>
                      <a:pt x="3040" y="198"/>
                    </a:lnTo>
                    <a:lnTo>
                      <a:pt x="3039" y="195"/>
                    </a:lnTo>
                    <a:lnTo>
                      <a:pt x="3035" y="191"/>
                    </a:lnTo>
                    <a:lnTo>
                      <a:pt x="3034" y="195"/>
                    </a:lnTo>
                    <a:lnTo>
                      <a:pt x="3035" y="198"/>
                    </a:lnTo>
                    <a:lnTo>
                      <a:pt x="3034" y="201"/>
                    </a:lnTo>
                    <a:lnTo>
                      <a:pt x="3037" y="205"/>
                    </a:lnTo>
                    <a:lnTo>
                      <a:pt x="3035" y="208"/>
                    </a:lnTo>
                    <a:lnTo>
                      <a:pt x="3029" y="203"/>
                    </a:lnTo>
                    <a:lnTo>
                      <a:pt x="3024" y="198"/>
                    </a:lnTo>
                    <a:lnTo>
                      <a:pt x="3022" y="198"/>
                    </a:lnTo>
                    <a:lnTo>
                      <a:pt x="3025" y="203"/>
                    </a:lnTo>
                    <a:lnTo>
                      <a:pt x="3022" y="206"/>
                    </a:lnTo>
                    <a:lnTo>
                      <a:pt x="3024" y="208"/>
                    </a:lnTo>
                    <a:lnTo>
                      <a:pt x="3030" y="208"/>
                    </a:lnTo>
                    <a:lnTo>
                      <a:pt x="3032" y="211"/>
                    </a:lnTo>
                    <a:lnTo>
                      <a:pt x="3030" y="216"/>
                    </a:lnTo>
                    <a:lnTo>
                      <a:pt x="3024" y="216"/>
                    </a:lnTo>
                    <a:lnTo>
                      <a:pt x="3024" y="220"/>
                    </a:lnTo>
                    <a:lnTo>
                      <a:pt x="3025" y="221"/>
                    </a:lnTo>
                    <a:lnTo>
                      <a:pt x="3040" y="235"/>
                    </a:lnTo>
                    <a:lnTo>
                      <a:pt x="3048" y="238"/>
                    </a:lnTo>
                    <a:lnTo>
                      <a:pt x="3055" y="235"/>
                    </a:lnTo>
                    <a:lnTo>
                      <a:pt x="3060" y="238"/>
                    </a:lnTo>
                    <a:lnTo>
                      <a:pt x="3063" y="245"/>
                    </a:lnTo>
                    <a:lnTo>
                      <a:pt x="3062" y="245"/>
                    </a:lnTo>
                    <a:lnTo>
                      <a:pt x="3057" y="240"/>
                    </a:lnTo>
                    <a:lnTo>
                      <a:pt x="3055" y="240"/>
                    </a:lnTo>
                    <a:lnTo>
                      <a:pt x="3058" y="246"/>
                    </a:lnTo>
                    <a:lnTo>
                      <a:pt x="3065" y="250"/>
                    </a:lnTo>
                    <a:lnTo>
                      <a:pt x="3067" y="256"/>
                    </a:lnTo>
                    <a:lnTo>
                      <a:pt x="3072" y="261"/>
                    </a:lnTo>
                    <a:lnTo>
                      <a:pt x="3072" y="270"/>
                    </a:lnTo>
                    <a:lnTo>
                      <a:pt x="3067" y="284"/>
                    </a:lnTo>
                    <a:lnTo>
                      <a:pt x="3070" y="293"/>
                    </a:lnTo>
                    <a:lnTo>
                      <a:pt x="3070" y="299"/>
                    </a:lnTo>
                    <a:lnTo>
                      <a:pt x="3072" y="301"/>
                    </a:lnTo>
                    <a:lnTo>
                      <a:pt x="3065" y="309"/>
                    </a:lnTo>
                    <a:lnTo>
                      <a:pt x="3065" y="316"/>
                    </a:lnTo>
                    <a:lnTo>
                      <a:pt x="3062" y="318"/>
                    </a:lnTo>
                    <a:lnTo>
                      <a:pt x="3062" y="314"/>
                    </a:lnTo>
                    <a:lnTo>
                      <a:pt x="3062" y="313"/>
                    </a:lnTo>
                    <a:lnTo>
                      <a:pt x="3050" y="319"/>
                    </a:lnTo>
                    <a:lnTo>
                      <a:pt x="3047" y="318"/>
                    </a:lnTo>
                    <a:lnTo>
                      <a:pt x="3042" y="319"/>
                    </a:lnTo>
                    <a:lnTo>
                      <a:pt x="3039" y="319"/>
                    </a:lnTo>
                    <a:lnTo>
                      <a:pt x="3035" y="316"/>
                    </a:lnTo>
                    <a:lnTo>
                      <a:pt x="3030" y="314"/>
                    </a:lnTo>
                    <a:lnTo>
                      <a:pt x="3024" y="308"/>
                    </a:lnTo>
                    <a:lnTo>
                      <a:pt x="3019" y="304"/>
                    </a:lnTo>
                    <a:lnTo>
                      <a:pt x="3012" y="304"/>
                    </a:lnTo>
                    <a:lnTo>
                      <a:pt x="3009" y="301"/>
                    </a:lnTo>
                    <a:lnTo>
                      <a:pt x="3004" y="303"/>
                    </a:lnTo>
                    <a:lnTo>
                      <a:pt x="2999" y="308"/>
                    </a:lnTo>
                    <a:lnTo>
                      <a:pt x="2994" y="308"/>
                    </a:lnTo>
                    <a:lnTo>
                      <a:pt x="2999" y="309"/>
                    </a:lnTo>
                    <a:lnTo>
                      <a:pt x="3005" y="309"/>
                    </a:lnTo>
                    <a:lnTo>
                      <a:pt x="3009" y="306"/>
                    </a:lnTo>
                    <a:lnTo>
                      <a:pt x="3022" y="311"/>
                    </a:lnTo>
                    <a:lnTo>
                      <a:pt x="3025" y="314"/>
                    </a:lnTo>
                    <a:lnTo>
                      <a:pt x="3019" y="318"/>
                    </a:lnTo>
                    <a:lnTo>
                      <a:pt x="3014" y="316"/>
                    </a:lnTo>
                    <a:lnTo>
                      <a:pt x="3009" y="316"/>
                    </a:lnTo>
                    <a:lnTo>
                      <a:pt x="3009" y="321"/>
                    </a:lnTo>
                    <a:lnTo>
                      <a:pt x="3004" y="316"/>
                    </a:lnTo>
                    <a:lnTo>
                      <a:pt x="2999" y="316"/>
                    </a:lnTo>
                    <a:lnTo>
                      <a:pt x="3002" y="316"/>
                    </a:lnTo>
                    <a:lnTo>
                      <a:pt x="3004" y="323"/>
                    </a:lnTo>
                    <a:lnTo>
                      <a:pt x="3010" y="326"/>
                    </a:lnTo>
                    <a:lnTo>
                      <a:pt x="3009" y="333"/>
                    </a:lnTo>
                    <a:lnTo>
                      <a:pt x="3012" y="339"/>
                    </a:lnTo>
                    <a:lnTo>
                      <a:pt x="3017" y="343"/>
                    </a:lnTo>
                    <a:lnTo>
                      <a:pt x="3014" y="339"/>
                    </a:lnTo>
                    <a:lnTo>
                      <a:pt x="3015" y="331"/>
                    </a:lnTo>
                    <a:lnTo>
                      <a:pt x="3019" y="328"/>
                    </a:lnTo>
                    <a:lnTo>
                      <a:pt x="3022" y="329"/>
                    </a:lnTo>
                    <a:lnTo>
                      <a:pt x="3022" y="328"/>
                    </a:lnTo>
                    <a:lnTo>
                      <a:pt x="3030" y="321"/>
                    </a:lnTo>
                    <a:lnTo>
                      <a:pt x="3034" y="319"/>
                    </a:lnTo>
                    <a:lnTo>
                      <a:pt x="3037" y="323"/>
                    </a:lnTo>
                    <a:lnTo>
                      <a:pt x="3037" y="324"/>
                    </a:lnTo>
                    <a:lnTo>
                      <a:pt x="3044" y="333"/>
                    </a:lnTo>
                    <a:lnTo>
                      <a:pt x="3048" y="334"/>
                    </a:lnTo>
                    <a:lnTo>
                      <a:pt x="3055" y="339"/>
                    </a:lnTo>
                    <a:lnTo>
                      <a:pt x="3062" y="339"/>
                    </a:lnTo>
                    <a:lnTo>
                      <a:pt x="3063" y="336"/>
                    </a:lnTo>
                    <a:lnTo>
                      <a:pt x="3062" y="333"/>
                    </a:lnTo>
                    <a:lnTo>
                      <a:pt x="3065" y="333"/>
                    </a:lnTo>
                    <a:lnTo>
                      <a:pt x="3077" y="343"/>
                    </a:lnTo>
                    <a:lnTo>
                      <a:pt x="3078" y="346"/>
                    </a:lnTo>
                    <a:lnTo>
                      <a:pt x="3075" y="346"/>
                    </a:lnTo>
                    <a:lnTo>
                      <a:pt x="3073" y="349"/>
                    </a:lnTo>
                    <a:lnTo>
                      <a:pt x="3083" y="358"/>
                    </a:lnTo>
                    <a:lnTo>
                      <a:pt x="3087" y="358"/>
                    </a:lnTo>
                    <a:lnTo>
                      <a:pt x="3085" y="354"/>
                    </a:lnTo>
                    <a:lnTo>
                      <a:pt x="3087" y="349"/>
                    </a:lnTo>
                    <a:lnTo>
                      <a:pt x="3093" y="353"/>
                    </a:lnTo>
                    <a:lnTo>
                      <a:pt x="3103" y="368"/>
                    </a:lnTo>
                    <a:lnTo>
                      <a:pt x="3098" y="364"/>
                    </a:lnTo>
                    <a:lnTo>
                      <a:pt x="3097" y="364"/>
                    </a:lnTo>
                    <a:lnTo>
                      <a:pt x="3095" y="366"/>
                    </a:lnTo>
                    <a:lnTo>
                      <a:pt x="3098" y="371"/>
                    </a:lnTo>
                    <a:lnTo>
                      <a:pt x="3093" y="372"/>
                    </a:lnTo>
                    <a:lnTo>
                      <a:pt x="3093" y="377"/>
                    </a:lnTo>
                    <a:lnTo>
                      <a:pt x="3095" y="381"/>
                    </a:lnTo>
                    <a:lnTo>
                      <a:pt x="3100" y="379"/>
                    </a:lnTo>
                    <a:lnTo>
                      <a:pt x="3100" y="374"/>
                    </a:lnTo>
                    <a:lnTo>
                      <a:pt x="3103" y="372"/>
                    </a:lnTo>
                    <a:lnTo>
                      <a:pt x="3107" y="374"/>
                    </a:lnTo>
                    <a:lnTo>
                      <a:pt x="3107" y="371"/>
                    </a:lnTo>
                    <a:lnTo>
                      <a:pt x="3112" y="376"/>
                    </a:lnTo>
                    <a:lnTo>
                      <a:pt x="3122" y="382"/>
                    </a:lnTo>
                    <a:lnTo>
                      <a:pt x="3133" y="386"/>
                    </a:lnTo>
                    <a:lnTo>
                      <a:pt x="3140" y="391"/>
                    </a:lnTo>
                    <a:lnTo>
                      <a:pt x="3137" y="394"/>
                    </a:lnTo>
                    <a:lnTo>
                      <a:pt x="3143" y="402"/>
                    </a:lnTo>
                    <a:lnTo>
                      <a:pt x="3148" y="402"/>
                    </a:lnTo>
                    <a:lnTo>
                      <a:pt x="3155" y="412"/>
                    </a:lnTo>
                    <a:lnTo>
                      <a:pt x="3155" y="426"/>
                    </a:lnTo>
                    <a:lnTo>
                      <a:pt x="3151" y="426"/>
                    </a:lnTo>
                    <a:lnTo>
                      <a:pt x="3151" y="429"/>
                    </a:lnTo>
                    <a:lnTo>
                      <a:pt x="3156" y="431"/>
                    </a:lnTo>
                    <a:lnTo>
                      <a:pt x="3158" y="436"/>
                    </a:lnTo>
                    <a:lnTo>
                      <a:pt x="3156" y="437"/>
                    </a:lnTo>
                    <a:lnTo>
                      <a:pt x="3153" y="434"/>
                    </a:lnTo>
                    <a:lnTo>
                      <a:pt x="3135" y="434"/>
                    </a:lnTo>
                    <a:lnTo>
                      <a:pt x="3130" y="432"/>
                    </a:lnTo>
                    <a:lnTo>
                      <a:pt x="3127" y="434"/>
                    </a:lnTo>
                    <a:lnTo>
                      <a:pt x="3122" y="432"/>
                    </a:lnTo>
                    <a:lnTo>
                      <a:pt x="3122" y="429"/>
                    </a:lnTo>
                    <a:lnTo>
                      <a:pt x="3118" y="427"/>
                    </a:lnTo>
                    <a:lnTo>
                      <a:pt x="3117" y="429"/>
                    </a:lnTo>
                    <a:lnTo>
                      <a:pt x="3120" y="432"/>
                    </a:lnTo>
                    <a:lnTo>
                      <a:pt x="3112" y="437"/>
                    </a:lnTo>
                    <a:lnTo>
                      <a:pt x="3105" y="436"/>
                    </a:lnTo>
                    <a:lnTo>
                      <a:pt x="3103" y="439"/>
                    </a:lnTo>
                    <a:lnTo>
                      <a:pt x="3107" y="441"/>
                    </a:lnTo>
                    <a:lnTo>
                      <a:pt x="3098" y="447"/>
                    </a:lnTo>
                    <a:lnTo>
                      <a:pt x="3095" y="447"/>
                    </a:lnTo>
                    <a:lnTo>
                      <a:pt x="3095" y="451"/>
                    </a:lnTo>
                    <a:lnTo>
                      <a:pt x="3098" y="452"/>
                    </a:lnTo>
                    <a:lnTo>
                      <a:pt x="3090" y="461"/>
                    </a:lnTo>
                    <a:lnTo>
                      <a:pt x="3088" y="464"/>
                    </a:lnTo>
                    <a:lnTo>
                      <a:pt x="3087" y="462"/>
                    </a:lnTo>
                    <a:lnTo>
                      <a:pt x="3083" y="462"/>
                    </a:lnTo>
                    <a:lnTo>
                      <a:pt x="3083" y="469"/>
                    </a:lnTo>
                    <a:lnTo>
                      <a:pt x="3087" y="474"/>
                    </a:lnTo>
                    <a:lnTo>
                      <a:pt x="3082" y="479"/>
                    </a:lnTo>
                    <a:lnTo>
                      <a:pt x="3078" y="475"/>
                    </a:lnTo>
                    <a:lnTo>
                      <a:pt x="3077" y="480"/>
                    </a:lnTo>
                    <a:lnTo>
                      <a:pt x="3080" y="484"/>
                    </a:lnTo>
                    <a:lnTo>
                      <a:pt x="3073" y="489"/>
                    </a:lnTo>
                    <a:lnTo>
                      <a:pt x="3070" y="490"/>
                    </a:lnTo>
                    <a:lnTo>
                      <a:pt x="3073" y="492"/>
                    </a:lnTo>
                    <a:lnTo>
                      <a:pt x="3072" y="494"/>
                    </a:lnTo>
                    <a:lnTo>
                      <a:pt x="3070" y="499"/>
                    </a:lnTo>
                    <a:lnTo>
                      <a:pt x="3067" y="497"/>
                    </a:lnTo>
                    <a:lnTo>
                      <a:pt x="3063" y="499"/>
                    </a:lnTo>
                    <a:lnTo>
                      <a:pt x="3065" y="502"/>
                    </a:lnTo>
                    <a:lnTo>
                      <a:pt x="3067" y="505"/>
                    </a:lnTo>
                    <a:lnTo>
                      <a:pt x="3062" y="509"/>
                    </a:lnTo>
                    <a:lnTo>
                      <a:pt x="3063" y="512"/>
                    </a:lnTo>
                    <a:lnTo>
                      <a:pt x="3062" y="515"/>
                    </a:lnTo>
                    <a:lnTo>
                      <a:pt x="3058" y="515"/>
                    </a:lnTo>
                    <a:lnTo>
                      <a:pt x="3057" y="514"/>
                    </a:lnTo>
                    <a:lnTo>
                      <a:pt x="3053" y="514"/>
                    </a:lnTo>
                    <a:lnTo>
                      <a:pt x="3057" y="519"/>
                    </a:lnTo>
                    <a:lnTo>
                      <a:pt x="3063" y="520"/>
                    </a:lnTo>
                    <a:lnTo>
                      <a:pt x="3060" y="525"/>
                    </a:lnTo>
                    <a:lnTo>
                      <a:pt x="3053" y="527"/>
                    </a:lnTo>
                    <a:lnTo>
                      <a:pt x="3053" y="529"/>
                    </a:lnTo>
                    <a:lnTo>
                      <a:pt x="3057" y="530"/>
                    </a:lnTo>
                    <a:lnTo>
                      <a:pt x="3060" y="537"/>
                    </a:lnTo>
                    <a:lnTo>
                      <a:pt x="3058" y="540"/>
                    </a:lnTo>
                    <a:lnTo>
                      <a:pt x="3060" y="542"/>
                    </a:lnTo>
                    <a:lnTo>
                      <a:pt x="3055" y="549"/>
                    </a:lnTo>
                    <a:lnTo>
                      <a:pt x="3055" y="552"/>
                    </a:lnTo>
                    <a:lnTo>
                      <a:pt x="3052" y="560"/>
                    </a:lnTo>
                    <a:lnTo>
                      <a:pt x="3050" y="570"/>
                    </a:lnTo>
                    <a:lnTo>
                      <a:pt x="3048" y="573"/>
                    </a:lnTo>
                    <a:lnTo>
                      <a:pt x="3047" y="578"/>
                    </a:lnTo>
                    <a:lnTo>
                      <a:pt x="3050" y="578"/>
                    </a:lnTo>
                    <a:lnTo>
                      <a:pt x="3052" y="582"/>
                    </a:lnTo>
                    <a:lnTo>
                      <a:pt x="3050" y="585"/>
                    </a:lnTo>
                    <a:lnTo>
                      <a:pt x="3057" y="593"/>
                    </a:lnTo>
                    <a:lnTo>
                      <a:pt x="3057" y="597"/>
                    </a:lnTo>
                    <a:lnTo>
                      <a:pt x="3053" y="595"/>
                    </a:lnTo>
                    <a:lnTo>
                      <a:pt x="3048" y="597"/>
                    </a:lnTo>
                    <a:lnTo>
                      <a:pt x="3044" y="592"/>
                    </a:lnTo>
                    <a:lnTo>
                      <a:pt x="3042" y="595"/>
                    </a:lnTo>
                    <a:lnTo>
                      <a:pt x="3034" y="587"/>
                    </a:lnTo>
                    <a:lnTo>
                      <a:pt x="3037" y="587"/>
                    </a:lnTo>
                    <a:lnTo>
                      <a:pt x="3034" y="585"/>
                    </a:lnTo>
                    <a:lnTo>
                      <a:pt x="3030" y="585"/>
                    </a:lnTo>
                    <a:lnTo>
                      <a:pt x="3027" y="585"/>
                    </a:lnTo>
                    <a:lnTo>
                      <a:pt x="3025" y="582"/>
                    </a:lnTo>
                    <a:lnTo>
                      <a:pt x="3012" y="575"/>
                    </a:lnTo>
                    <a:lnTo>
                      <a:pt x="3005" y="573"/>
                    </a:lnTo>
                    <a:lnTo>
                      <a:pt x="2997" y="578"/>
                    </a:lnTo>
                    <a:lnTo>
                      <a:pt x="2995" y="577"/>
                    </a:lnTo>
                    <a:lnTo>
                      <a:pt x="2990" y="577"/>
                    </a:lnTo>
                    <a:lnTo>
                      <a:pt x="2985" y="583"/>
                    </a:lnTo>
                    <a:lnTo>
                      <a:pt x="2980" y="583"/>
                    </a:lnTo>
                    <a:lnTo>
                      <a:pt x="2977" y="592"/>
                    </a:lnTo>
                    <a:lnTo>
                      <a:pt x="2974" y="595"/>
                    </a:lnTo>
                    <a:lnTo>
                      <a:pt x="2970" y="592"/>
                    </a:lnTo>
                    <a:lnTo>
                      <a:pt x="2974" y="598"/>
                    </a:lnTo>
                    <a:lnTo>
                      <a:pt x="2970" y="602"/>
                    </a:lnTo>
                    <a:lnTo>
                      <a:pt x="2972" y="607"/>
                    </a:lnTo>
                    <a:lnTo>
                      <a:pt x="2970" y="610"/>
                    </a:lnTo>
                    <a:lnTo>
                      <a:pt x="2969" y="622"/>
                    </a:lnTo>
                    <a:lnTo>
                      <a:pt x="2965" y="623"/>
                    </a:lnTo>
                    <a:lnTo>
                      <a:pt x="2962" y="620"/>
                    </a:lnTo>
                    <a:lnTo>
                      <a:pt x="2957" y="607"/>
                    </a:lnTo>
                    <a:lnTo>
                      <a:pt x="2957" y="602"/>
                    </a:lnTo>
                    <a:lnTo>
                      <a:pt x="2952" y="600"/>
                    </a:lnTo>
                    <a:lnTo>
                      <a:pt x="2949" y="595"/>
                    </a:lnTo>
                    <a:lnTo>
                      <a:pt x="2947" y="600"/>
                    </a:lnTo>
                    <a:lnTo>
                      <a:pt x="2942" y="610"/>
                    </a:lnTo>
                    <a:lnTo>
                      <a:pt x="2939" y="612"/>
                    </a:lnTo>
                    <a:lnTo>
                      <a:pt x="2937" y="617"/>
                    </a:lnTo>
                    <a:lnTo>
                      <a:pt x="2942" y="618"/>
                    </a:lnTo>
                    <a:lnTo>
                      <a:pt x="2937" y="628"/>
                    </a:lnTo>
                    <a:lnTo>
                      <a:pt x="2934" y="623"/>
                    </a:lnTo>
                    <a:lnTo>
                      <a:pt x="2931" y="623"/>
                    </a:lnTo>
                    <a:lnTo>
                      <a:pt x="2929" y="620"/>
                    </a:lnTo>
                    <a:lnTo>
                      <a:pt x="2926" y="620"/>
                    </a:lnTo>
                    <a:lnTo>
                      <a:pt x="2924" y="627"/>
                    </a:lnTo>
                    <a:lnTo>
                      <a:pt x="2921" y="627"/>
                    </a:lnTo>
                    <a:lnTo>
                      <a:pt x="2916" y="625"/>
                    </a:lnTo>
                    <a:lnTo>
                      <a:pt x="2912" y="625"/>
                    </a:lnTo>
                    <a:lnTo>
                      <a:pt x="2912" y="628"/>
                    </a:lnTo>
                    <a:lnTo>
                      <a:pt x="2914" y="632"/>
                    </a:lnTo>
                    <a:lnTo>
                      <a:pt x="2912" y="633"/>
                    </a:lnTo>
                    <a:lnTo>
                      <a:pt x="2911" y="637"/>
                    </a:lnTo>
                    <a:lnTo>
                      <a:pt x="2911" y="642"/>
                    </a:lnTo>
                    <a:lnTo>
                      <a:pt x="2914" y="645"/>
                    </a:lnTo>
                    <a:lnTo>
                      <a:pt x="2916" y="650"/>
                    </a:lnTo>
                    <a:lnTo>
                      <a:pt x="2914" y="652"/>
                    </a:lnTo>
                    <a:lnTo>
                      <a:pt x="2914" y="655"/>
                    </a:lnTo>
                    <a:lnTo>
                      <a:pt x="2919" y="657"/>
                    </a:lnTo>
                    <a:lnTo>
                      <a:pt x="2924" y="660"/>
                    </a:lnTo>
                    <a:lnTo>
                      <a:pt x="2924" y="662"/>
                    </a:lnTo>
                    <a:lnTo>
                      <a:pt x="2922" y="662"/>
                    </a:lnTo>
                    <a:lnTo>
                      <a:pt x="2921" y="665"/>
                    </a:lnTo>
                    <a:lnTo>
                      <a:pt x="2924" y="668"/>
                    </a:lnTo>
                    <a:lnTo>
                      <a:pt x="2927" y="671"/>
                    </a:lnTo>
                    <a:lnTo>
                      <a:pt x="2927" y="673"/>
                    </a:lnTo>
                    <a:lnTo>
                      <a:pt x="2924" y="670"/>
                    </a:lnTo>
                    <a:lnTo>
                      <a:pt x="2921" y="671"/>
                    </a:lnTo>
                    <a:lnTo>
                      <a:pt x="2919" y="673"/>
                    </a:lnTo>
                    <a:lnTo>
                      <a:pt x="2924" y="678"/>
                    </a:lnTo>
                    <a:lnTo>
                      <a:pt x="2927" y="676"/>
                    </a:lnTo>
                    <a:lnTo>
                      <a:pt x="2927" y="681"/>
                    </a:lnTo>
                    <a:lnTo>
                      <a:pt x="2926" y="686"/>
                    </a:lnTo>
                    <a:lnTo>
                      <a:pt x="2926" y="690"/>
                    </a:lnTo>
                    <a:lnTo>
                      <a:pt x="2922" y="693"/>
                    </a:lnTo>
                    <a:lnTo>
                      <a:pt x="2926" y="700"/>
                    </a:lnTo>
                    <a:lnTo>
                      <a:pt x="2924" y="703"/>
                    </a:lnTo>
                    <a:lnTo>
                      <a:pt x="2926" y="706"/>
                    </a:lnTo>
                    <a:lnTo>
                      <a:pt x="2926" y="710"/>
                    </a:lnTo>
                    <a:lnTo>
                      <a:pt x="2926" y="715"/>
                    </a:lnTo>
                    <a:lnTo>
                      <a:pt x="2931" y="723"/>
                    </a:lnTo>
                    <a:lnTo>
                      <a:pt x="2927" y="725"/>
                    </a:lnTo>
                    <a:lnTo>
                      <a:pt x="2932" y="726"/>
                    </a:lnTo>
                    <a:lnTo>
                      <a:pt x="2936" y="731"/>
                    </a:lnTo>
                    <a:lnTo>
                      <a:pt x="2942" y="738"/>
                    </a:lnTo>
                    <a:lnTo>
                      <a:pt x="2949" y="741"/>
                    </a:lnTo>
                    <a:lnTo>
                      <a:pt x="2950" y="740"/>
                    </a:lnTo>
                    <a:lnTo>
                      <a:pt x="2950" y="736"/>
                    </a:lnTo>
                    <a:lnTo>
                      <a:pt x="2945" y="730"/>
                    </a:lnTo>
                    <a:lnTo>
                      <a:pt x="2945" y="726"/>
                    </a:lnTo>
                    <a:lnTo>
                      <a:pt x="2949" y="723"/>
                    </a:lnTo>
                    <a:lnTo>
                      <a:pt x="2954" y="725"/>
                    </a:lnTo>
                    <a:lnTo>
                      <a:pt x="2962" y="730"/>
                    </a:lnTo>
                    <a:lnTo>
                      <a:pt x="2965" y="730"/>
                    </a:lnTo>
                    <a:lnTo>
                      <a:pt x="2969" y="731"/>
                    </a:lnTo>
                    <a:lnTo>
                      <a:pt x="2969" y="735"/>
                    </a:lnTo>
                    <a:lnTo>
                      <a:pt x="2969" y="736"/>
                    </a:lnTo>
                    <a:lnTo>
                      <a:pt x="2970" y="740"/>
                    </a:lnTo>
                    <a:lnTo>
                      <a:pt x="2969" y="745"/>
                    </a:lnTo>
                    <a:lnTo>
                      <a:pt x="2969" y="748"/>
                    </a:lnTo>
                    <a:lnTo>
                      <a:pt x="2967" y="750"/>
                    </a:lnTo>
                    <a:lnTo>
                      <a:pt x="2964" y="753"/>
                    </a:lnTo>
                    <a:lnTo>
                      <a:pt x="2969" y="761"/>
                    </a:lnTo>
                    <a:lnTo>
                      <a:pt x="2972" y="766"/>
                    </a:lnTo>
                    <a:lnTo>
                      <a:pt x="2972" y="774"/>
                    </a:lnTo>
                    <a:lnTo>
                      <a:pt x="2977" y="778"/>
                    </a:lnTo>
                    <a:lnTo>
                      <a:pt x="2979" y="776"/>
                    </a:lnTo>
                    <a:lnTo>
                      <a:pt x="2979" y="773"/>
                    </a:lnTo>
                    <a:lnTo>
                      <a:pt x="2984" y="771"/>
                    </a:lnTo>
                    <a:lnTo>
                      <a:pt x="2985" y="769"/>
                    </a:lnTo>
                    <a:lnTo>
                      <a:pt x="2985" y="769"/>
                    </a:lnTo>
                    <a:lnTo>
                      <a:pt x="2990" y="773"/>
                    </a:lnTo>
                    <a:lnTo>
                      <a:pt x="2990" y="783"/>
                    </a:lnTo>
                    <a:lnTo>
                      <a:pt x="3002" y="791"/>
                    </a:lnTo>
                    <a:lnTo>
                      <a:pt x="3005" y="798"/>
                    </a:lnTo>
                    <a:lnTo>
                      <a:pt x="3004" y="801"/>
                    </a:lnTo>
                    <a:lnTo>
                      <a:pt x="3004" y="806"/>
                    </a:lnTo>
                    <a:lnTo>
                      <a:pt x="3000" y="808"/>
                    </a:lnTo>
                    <a:lnTo>
                      <a:pt x="2994" y="804"/>
                    </a:lnTo>
                    <a:lnTo>
                      <a:pt x="2985" y="801"/>
                    </a:lnTo>
                    <a:lnTo>
                      <a:pt x="2985" y="794"/>
                    </a:lnTo>
                    <a:lnTo>
                      <a:pt x="2987" y="791"/>
                    </a:lnTo>
                    <a:lnTo>
                      <a:pt x="2989" y="784"/>
                    </a:lnTo>
                    <a:lnTo>
                      <a:pt x="2987" y="781"/>
                    </a:lnTo>
                    <a:lnTo>
                      <a:pt x="2984" y="783"/>
                    </a:lnTo>
                    <a:lnTo>
                      <a:pt x="2985" y="784"/>
                    </a:lnTo>
                    <a:lnTo>
                      <a:pt x="2985" y="788"/>
                    </a:lnTo>
                    <a:lnTo>
                      <a:pt x="2980" y="789"/>
                    </a:lnTo>
                    <a:lnTo>
                      <a:pt x="2975" y="796"/>
                    </a:lnTo>
                    <a:lnTo>
                      <a:pt x="2977" y="798"/>
                    </a:lnTo>
                    <a:lnTo>
                      <a:pt x="2984" y="796"/>
                    </a:lnTo>
                    <a:lnTo>
                      <a:pt x="2984" y="801"/>
                    </a:lnTo>
                    <a:lnTo>
                      <a:pt x="2980" y="806"/>
                    </a:lnTo>
                    <a:lnTo>
                      <a:pt x="2982" y="813"/>
                    </a:lnTo>
                    <a:lnTo>
                      <a:pt x="2980" y="816"/>
                    </a:lnTo>
                    <a:lnTo>
                      <a:pt x="2980" y="831"/>
                    </a:lnTo>
                    <a:lnTo>
                      <a:pt x="2985" y="834"/>
                    </a:lnTo>
                    <a:lnTo>
                      <a:pt x="2984" y="838"/>
                    </a:lnTo>
                    <a:lnTo>
                      <a:pt x="2997" y="854"/>
                    </a:lnTo>
                    <a:lnTo>
                      <a:pt x="3000" y="854"/>
                    </a:lnTo>
                    <a:lnTo>
                      <a:pt x="3009" y="864"/>
                    </a:lnTo>
                    <a:lnTo>
                      <a:pt x="3014" y="867"/>
                    </a:lnTo>
                    <a:lnTo>
                      <a:pt x="3010" y="871"/>
                    </a:lnTo>
                    <a:lnTo>
                      <a:pt x="3012" y="876"/>
                    </a:lnTo>
                    <a:lnTo>
                      <a:pt x="2997" y="881"/>
                    </a:lnTo>
                    <a:lnTo>
                      <a:pt x="2995" y="879"/>
                    </a:lnTo>
                    <a:lnTo>
                      <a:pt x="2989" y="884"/>
                    </a:lnTo>
                    <a:lnTo>
                      <a:pt x="2984" y="882"/>
                    </a:lnTo>
                    <a:lnTo>
                      <a:pt x="2987" y="884"/>
                    </a:lnTo>
                    <a:lnTo>
                      <a:pt x="2982" y="894"/>
                    </a:lnTo>
                    <a:lnTo>
                      <a:pt x="2980" y="899"/>
                    </a:lnTo>
                    <a:lnTo>
                      <a:pt x="2979" y="902"/>
                    </a:lnTo>
                    <a:lnTo>
                      <a:pt x="2982" y="906"/>
                    </a:lnTo>
                    <a:lnTo>
                      <a:pt x="2979" y="917"/>
                    </a:lnTo>
                    <a:lnTo>
                      <a:pt x="2984" y="929"/>
                    </a:lnTo>
                    <a:lnTo>
                      <a:pt x="2990" y="932"/>
                    </a:lnTo>
                    <a:lnTo>
                      <a:pt x="2990" y="939"/>
                    </a:lnTo>
                    <a:lnTo>
                      <a:pt x="2997" y="941"/>
                    </a:lnTo>
                    <a:lnTo>
                      <a:pt x="3000" y="946"/>
                    </a:lnTo>
                    <a:lnTo>
                      <a:pt x="2995" y="946"/>
                    </a:lnTo>
                    <a:lnTo>
                      <a:pt x="2994" y="944"/>
                    </a:lnTo>
                    <a:lnTo>
                      <a:pt x="2989" y="946"/>
                    </a:lnTo>
                    <a:lnTo>
                      <a:pt x="2985" y="949"/>
                    </a:lnTo>
                    <a:lnTo>
                      <a:pt x="2980" y="949"/>
                    </a:lnTo>
                    <a:lnTo>
                      <a:pt x="2974" y="956"/>
                    </a:lnTo>
                    <a:lnTo>
                      <a:pt x="2969" y="952"/>
                    </a:lnTo>
                    <a:lnTo>
                      <a:pt x="2967" y="956"/>
                    </a:lnTo>
                    <a:lnTo>
                      <a:pt x="2969" y="959"/>
                    </a:lnTo>
                    <a:lnTo>
                      <a:pt x="2975" y="957"/>
                    </a:lnTo>
                    <a:lnTo>
                      <a:pt x="2974" y="962"/>
                    </a:lnTo>
                    <a:lnTo>
                      <a:pt x="2972" y="965"/>
                    </a:lnTo>
                    <a:lnTo>
                      <a:pt x="2977" y="970"/>
                    </a:lnTo>
                    <a:lnTo>
                      <a:pt x="2975" y="972"/>
                    </a:lnTo>
                    <a:lnTo>
                      <a:pt x="2972" y="970"/>
                    </a:lnTo>
                    <a:lnTo>
                      <a:pt x="2975" y="977"/>
                    </a:lnTo>
                    <a:lnTo>
                      <a:pt x="2974" y="980"/>
                    </a:lnTo>
                    <a:lnTo>
                      <a:pt x="2977" y="982"/>
                    </a:lnTo>
                    <a:lnTo>
                      <a:pt x="2980" y="980"/>
                    </a:lnTo>
                    <a:lnTo>
                      <a:pt x="2984" y="984"/>
                    </a:lnTo>
                    <a:lnTo>
                      <a:pt x="2980" y="987"/>
                    </a:lnTo>
                    <a:lnTo>
                      <a:pt x="2980" y="994"/>
                    </a:lnTo>
                    <a:lnTo>
                      <a:pt x="2982" y="997"/>
                    </a:lnTo>
                    <a:lnTo>
                      <a:pt x="2980" y="1007"/>
                    </a:lnTo>
                    <a:lnTo>
                      <a:pt x="2979" y="1010"/>
                    </a:lnTo>
                    <a:lnTo>
                      <a:pt x="2980" y="1014"/>
                    </a:lnTo>
                    <a:lnTo>
                      <a:pt x="2979" y="1017"/>
                    </a:lnTo>
                    <a:lnTo>
                      <a:pt x="2974" y="1022"/>
                    </a:lnTo>
                    <a:lnTo>
                      <a:pt x="2972" y="1025"/>
                    </a:lnTo>
                    <a:lnTo>
                      <a:pt x="2970" y="1027"/>
                    </a:lnTo>
                    <a:lnTo>
                      <a:pt x="2969" y="1037"/>
                    </a:lnTo>
                    <a:lnTo>
                      <a:pt x="2964" y="1047"/>
                    </a:lnTo>
                    <a:lnTo>
                      <a:pt x="2964" y="1042"/>
                    </a:lnTo>
                    <a:lnTo>
                      <a:pt x="2962" y="1039"/>
                    </a:lnTo>
                    <a:lnTo>
                      <a:pt x="2964" y="1034"/>
                    </a:lnTo>
                    <a:lnTo>
                      <a:pt x="2962" y="1032"/>
                    </a:lnTo>
                    <a:lnTo>
                      <a:pt x="2952" y="1030"/>
                    </a:lnTo>
                    <a:lnTo>
                      <a:pt x="2947" y="1024"/>
                    </a:lnTo>
                    <a:lnTo>
                      <a:pt x="2945" y="1015"/>
                    </a:lnTo>
                    <a:lnTo>
                      <a:pt x="2937" y="997"/>
                    </a:lnTo>
                    <a:lnTo>
                      <a:pt x="2931" y="989"/>
                    </a:lnTo>
                    <a:lnTo>
                      <a:pt x="2934" y="989"/>
                    </a:lnTo>
                    <a:lnTo>
                      <a:pt x="2937" y="987"/>
                    </a:lnTo>
                    <a:lnTo>
                      <a:pt x="2939" y="982"/>
                    </a:lnTo>
                    <a:lnTo>
                      <a:pt x="2936" y="984"/>
                    </a:lnTo>
                    <a:lnTo>
                      <a:pt x="2929" y="984"/>
                    </a:lnTo>
                    <a:lnTo>
                      <a:pt x="2921" y="980"/>
                    </a:lnTo>
                    <a:lnTo>
                      <a:pt x="2902" y="949"/>
                    </a:lnTo>
                    <a:lnTo>
                      <a:pt x="2886" y="932"/>
                    </a:lnTo>
                    <a:lnTo>
                      <a:pt x="2884" y="926"/>
                    </a:lnTo>
                    <a:lnTo>
                      <a:pt x="2879" y="919"/>
                    </a:lnTo>
                    <a:lnTo>
                      <a:pt x="2866" y="899"/>
                    </a:lnTo>
                    <a:lnTo>
                      <a:pt x="2852" y="876"/>
                    </a:lnTo>
                    <a:lnTo>
                      <a:pt x="2841" y="854"/>
                    </a:lnTo>
                    <a:lnTo>
                      <a:pt x="2841" y="848"/>
                    </a:lnTo>
                    <a:lnTo>
                      <a:pt x="2834" y="838"/>
                    </a:lnTo>
                    <a:lnTo>
                      <a:pt x="2833" y="823"/>
                    </a:lnTo>
                    <a:lnTo>
                      <a:pt x="2829" y="814"/>
                    </a:lnTo>
                    <a:lnTo>
                      <a:pt x="2829" y="804"/>
                    </a:lnTo>
                    <a:lnTo>
                      <a:pt x="2836" y="799"/>
                    </a:lnTo>
                    <a:lnTo>
                      <a:pt x="2836" y="791"/>
                    </a:lnTo>
                    <a:lnTo>
                      <a:pt x="2841" y="791"/>
                    </a:lnTo>
                    <a:lnTo>
                      <a:pt x="2838" y="788"/>
                    </a:lnTo>
                    <a:lnTo>
                      <a:pt x="2839" y="784"/>
                    </a:lnTo>
                    <a:lnTo>
                      <a:pt x="2841" y="774"/>
                    </a:lnTo>
                    <a:lnTo>
                      <a:pt x="2831" y="763"/>
                    </a:lnTo>
                    <a:lnTo>
                      <a:pt x="2824" y="763"/>
                    </a:lnTo>
                    <a:lnTo>
                      <a:pt x="2824" y="760"/>
                    </a:lnTo>
                    <a:lnTo>
                      <a:pt x="2829" y="756"/>
                    </a:lnTo>
                    <a:lnTo>
                      <a:pt x="2839" y="760"/>
                    </a:lnTo>
                    <a:lnTo>
                      <a:pt x="2844" y="755"/>
                    </a:lnTo>
                    <a:lnTo>
                      <a:pt x="2843" y="751"/>
                    </a:lnTo>
                    <a:lnTo>
                      <a:pt x="2843" y="743"/>
                    </a:lnTo>
                    <a:lnTo>
                      <a:pt x="2851" y="741"/>
                    </a:lnTo>
                    <a:lnTo>
                      <a:pt x="2856" y="743"/>
                    </a:lnTo>
                    <a:lnTo>
                      <a:pt x="2851" y="738"/>
                    </a:lnTo>
                    <a:lnTo>
                      <a:pt x="2859" y="725"/>
                    </a:lnTo>
                    <a:lnTo>
                      <a:pt x="2856" y="716"/>
                    </a:lnTo>
                    <a:lnTo>
                      <a:pt x="2856" y="708"/>
                    </a:lnTo>
                    <a:lnTo>
                      <a:pt x="2852" y="703"/>
                    </a:lnTo>
                    <a:lnTo>
                      <a:pt x="2857" y="700"/>
                    </a:lnTo>
                    <a:lnTo>
                      <a:pt x="2857" y="693"/>
                    </a:lnTo>
                    <a:lnTo>
                      <a:pt x="2856" y="691"/>
                    </a:lnTo>
                    <a:lnTo>
                      <a:pt x="2857" y="683"/>
                    </a:lnTo>
                    <a:lnTo>
                      <a:pt x="2861" y="683"/>
                    </a:lnTo>
                    <a:lnTo>
                      <a:pt x="2856" y="680"/>
                    </a:lnTo>
                    <a:lnTo>
                      <a:pt x="2856" y="676"/>
                    </a:lnTo>
                    <a:lnTo>
                      <a:pt x="2857" y="675"/>
                    </a:lnTo>
                    <a:lnTo>
                      <a:pt x="2857" y="666"/>
                    </a:lnTo>
                    <a:lnTo>
                      <a:pt x="2856" y="665"/>
                    </a:lnTo>
                    <a:lnTo>
                      <a:pt x="2857" y="660"/>
                    </a:lnTo>
                    <a:lnTo>
                      <a:pt x="2862" y="658"/>
                    </a:lnTo>
                    <a:lnTo>
                      <a:pt x="2864" y="655"/>
                    </a:lnTo>
                    <a:lnTo>
                      <a:pt x="2862" y="648"/>
                    </a:lnTo>
                    <a:lnTo>
                      <a:pt x="2864" y="638"/>
                    </a:lnTo>
                    <a:lnTo>
                      <a:pt x="2862" y="637"/>
                    </a:lnTo>
                    <a:lnTo>
                      <a:pt x="2861" y="635"/>
                    </a:lnTo>
                    <a:lnTo>
                      <a:pt x="2866" y="628"/>
                    </a:lnTo>
                    <a:lnTo>
                      <a:pt x="2866" y="622"/>
                    </a:lnTo>
                    <a:lnTo>
                      <a:pt x="2862" y="623"/>
                    </a:lnTo>
                    <a:lnTo>
                      <a:pt x="2861" y="617"/>
                    </a:lnTo>
                    <a:lnTo>
                      <a:pt x="2862" y="613"/>
                    </a:lnTo>
                    <a:lnTo>
                      <a:pt x="2864" y="610"/>
                    </a:lnTo>
                    <a:lnTo>
                      <a:pt x="2867" y="608"/>
                    </a:lnTo>
                    <a:lnTo>
                      <a:pt x="2867" y="607"/>
                    </a:lnTo>
                    <a:lnTo>
                      <a:pt x="2874" y="603"/>
                    </a:lnTo>
                    <a:lnTo>
                      <a:pt x="2874" y="598"/>
                    </a:lnTo>
                    <a:lnTo>
                      <a:pt x="2881" y="593"/>
                    </a:lnTo>
                    <a:lnTo>
                      <a:pt x="2882" y="593"/>
                    </a:lnTo>
                    <a:lnTo>
                      <a:pt x="2886" y="590"/>
                    </a:lnTo>
                    <a:lnTo>
                      <a:pt x="2889" y="590"/>
                    </a:lnTo>
                    <a:lnTo>
                      <a:pt x="2891" y="588"/>
                    </a:lnTo>
                    <a:lnTo>
                      <a:pt x="2889" y="587"/>
                    </a:lnTo>
                    <a:lnTo>
                      <a:pt x="2884" y="585"/>
                    </a:lnTo>
                    <a:lnTo>
                      <a:pt x="2881" y="587"/>
                    </a:lnTo>
                    <a:lnTo>
                      <a:pt x="2877" y="585"/>
                    </a:lnTo>
                    <a:lnTo>
                      <a:pt x="2877" y="577"/>
                    </a:lnTo>
                    <a:lnTo>
                      <a:pt x="2881" y="570"/>
                    </a:lnTo>
                    <a:lnTo>
                      <a:pt x="2879" y="567"/>
                    </a:lnTo>
                    <a:lnTo>
                      <a:pt x="2876" y="562"/>
                    </a:lnTo>
                    <a:lnTo>
                      <a:pt x="2874" y="562"/>
                    </a:lnTo>
                    <a:lnTo>
                      <a:pt x="2872" y="565"/>
                    </a:lnTo>
                    <a:lnTo>
                      <a:pt x="2871" y="565"/>
                    </a:lnTo>
                    <a:lnTo>
                      <a:pt x="2869" y="554"/>
                    </a:lnTo>
                    <a:lnTo>
                      <a:pt x="2872" y="552"/>
                    </a:lnTo>
                    <a:lnTo>
                      <a:pt x="2872" y="550"/>
                    </a:lnTo>
                    <a:lnTo>
                      <a:pt x="2871" y="544"/>
                    </a:lnTo>
                    <a:lnTo>
                      <a:pt x="2866" y="542"/>
                    </a:lnTo>
                    <a:lnTo>
                      <a:pt x="2867" y="540"/>
                    </a:lnTo>
                    <a:lnTo>
                      <a:pt x="2866" y="540"/>
                    </a:lnTo>
                    <a:lnTo>
                      <a:pt x="2866" y="539"/>
                    </a:lnTo>
                    <a:lnTo>
                      <a:pt x="2861" y="532"/>
                    </a:lnTo>
                    <a:lnTo>
                      <a:pt x="2859" y="529"/>
                    </a:lnTo>
                    <a:lnTo>
                      <a:pt x="2857" y="527"/>
                    </a:lnTo>
                    <a:lnTo>
                      <a:pt x="2856" y="522"/>
                    </a:lnTo>
                    <a:lnTo>
                      <a:pt x="2854" y="517"/>
                    </a:lnTo>
                    <a:lnTo>
                      <a:pt x="2854" y="514"/>
                    </a:lnTo>
                    <a:lnTo>
                      <a:pt x="2861" y="507"/>
                    </a:lnTo>
                    <a:lnTo>
                      <a:pt x="2866" y="509"/>
                    </a:lnTo>
                    <a:lnTo>
                      <a:pt x="2871" y="507"/>
                    </a:lnTo>
                    <a:lnTo>
                      <a:pt x="2867" y="504"/>
                    </a:lnTo>
                    <a:lnTo>
                      <a:pt x="2874" y="502"/>
                    </a:lnTo>
                    <a:lnTo>
                      <a:pt x="2871" y="502"/>
                    </a:lnTo>
                    <a:lnTo>
                      <a:pt x="2866" y="502"/>
                    </a:lnTo>
                    <a:lnTo>
                      <a:pt x="2864" y="500"/>
                    </a:lnTo>
                    <a:lnTo>
                      <a:pt x="2857" y="500"/>
                    </a:lnTo>
                    <a:lnTo>
                      <a:pt x="2851" y="495"/>
                    </a:lnTo>
                    <a:lnTo>
                      <a:pt x="2847" y="497"/>
                    </a:lnTo>
                    <a:lnTo>
                      <a:pt x="2843" y="497"/>
                    </a:lnTo>
                    <a:lnTo>
                      <a:pt x="2838" y="502"/>
                    </a:lnTo>
                    <a:lnTo>
                      <a:pt x="2833" y="502"/>
                    </a:lnTo>
                    <a:lnTo>
                      <a:pt x="2826" y="507"/>
                    </a:lnTo>
                    <a:lnTo>
                      <a:pt x="2829" y="509"/>
                    </a:lnTo>
                    <a:lnTo>
                      <a:pt x="2828" y="514"/>
                    </a:lnTo>
                    <a:lnTo>
                      <a:pt x="2833" y="517"/>
                    </a:lnTo>
                    <a:lnTo>
                      <a:pt x="2834" y="522"/>
                    </a:lnTo>
                    <a:lnTo>
                      <a:pt x="2833" y="524"/>
                    </a:lnTo>
                    <a:lnTo>
                      <a:pt x="2834" y="530"/>
                    </a:lnTo>
                    <a:lnTo>
                      <a:pt x="2839" y="532"/>
                    </a:lnTo>
                    <a:lnTo>
                      <a:pt x="2839" y="535"/>
                    </a:lnTo>
                    <a:lnTo>
                      <a:pt x="2843" y="537"/>
                    </a:lnTo>
                    <a:lnTo>
                      <a:pt x="2844" y="545"/>
                    </a:lnTo>
                    <a:lnTo>
                      <a:pt x="2851" y="549"/>
                    </a:lnTo>
                    <a:lnTo>
                      <a:pt x="2851" y="554"/>
                    </a:lnTo>
                    <a:lnTo>
                      <a:pt x="2854" y="557"/>
                    </a:lnTo>
                    <a:lnTo>
                      <a:pt x="2852" y="559"/>
                    </a:lnTo>
                    <a:lnTo>
                      <a:pt x="2847" y="557"/>
                    </a:lnTo>
                    <a:lnTo>
                      <a:pt x="2846" y="554"/>
                    </a:lnTo>
                    <a:lnTo>
                      <a:pt x="2839" y="554"/>
                    </a:lnTo>
                    <a:lnTo>
                      <a:pt x="2836" y="557"/>
                    </a:lnTo>
                    <a:lnTo>
                      <a:pt x="2834" y="564"/>
                    </a:lnTo>
                    <a:lnTo>
                      <a:pt x="2836" y="567"/>
                    </a:lnTo>
                    <a:lnTo>
                      <a:pt x="2836" y="573"/>
                    </a:lnTo>
                    <a:lnTo>
                      <a:pt x="2834" y="573"/>
                    </a:lnTo>
                    <a:lnTo>
                      <a:pt x="2833" y="575"/>
                    </a:lnTo>
                    <a:lnTo>
                      <a:pt x="2836" y="577"/>
                    </a:lnTo>
                    <a:lnTo>
                      <a:pt x="2834" y="580"/>
                    </a:lnTo>
                    <a:lnTo>
                      <a:pt x="2831" y="583"/>
                    </a:lnTo>
                    <a:lnTo>
                      <a:pt x="2834" y="587"/>
                    </a:lnTo>
                    <a:lnTo>
                      <a:pt x="2831" y="590"/>
                    </a:lnTo>
                    <a:lnTo>
                      <a:pt x="2831" y="600"/>
                    </a:lnTo>
                    <a:lnTo>
                      <a:pt x="2829" y="603"/>
                    </a:lnTo>
                    <a:lnTo>
                      <a:pt x="2829" y="605"/>
                    </a:lnTo>
                    <a:lnTo>
                      <a:pt x="2826" y="608"/>
                    </a:lnTo>
                    <a:lnTo>
                      <a:pt x="2823" y="613"/>
                    </a:lnTo>
                    <a:lnTo>
                      <a:pt x="2821" y="610"/>
                    </a:lnTo>
                    <a:lnTo>
                      <a:pt x="2816" y="605"/>
                    </a:lnTo>
                    <a:lnTo>
                      <a:pt x="2821" y="600"/>
                    </a:lnTo>
                    <a:lnTo>
                      <a:pt x="2819" y="597"/>
                    </a:lnTo>
                    <a:lnTo>
                      <a:pt x="2816" y="597"/>
                    </a:lnTo>
                    <a:lnTo>
                      <a:pt x="2811" y="600"/>
                    </a:lnTo>
                    <a:lnTo>
                      <a:pt x="2811" y="603"/>
                    </a:lnTo>
                    <a:lnTo>
                      <a:pt x="2808" y="605"/>
                    </a:lnTo>
                    <a:lnTo>
                      <a:pt x="2808" y="597"/>
                    </a:lnTo>
                    <a:lnTo>
                      <a:pt x="2803" y="597"/>
                    </a:lnTo>
                    <a:lnTo>
                      <a:pt x="2801" y="593"/>
                    </a:lnTo>
                    <a:lnTo>
                      <a:pt x="2796" y="597"/>
                    </a:lnTo>
                    <a:lnTo>
                      <a:pt x="2794" y="595"/>
                    </a:lnTo>
                    <a:lnTo>
                      <a:pt x="2796" y="593"/>
                    </a:lnTo>
                    <a:lnTo>
                      <a:pt x="2799" y="590"/>
                    </a:lnTo>
                    <a:lnTo>
                      <a:pt x="2798" y="588"/>
                    </a:lnTo>
                    <a:lnTo>
                      <a:pt x="2798" y="585"/>
                    </a:lnTo>
                    <a:lnTo>
                      <a:pt x="2799" y="585"/>
                    </a:lnTo>
                    <a:lnTo>
                      <a:pt x="2798" y="580"/>
                    </a:lnTo>
                    <a:lnTo>
                      <a:pt x="2794" y="578"/>
                    </a:lnTo>
                    <a:lnTo>
                      <a:pt x="2798" y="575"/>
                    </a:lnTo>
                    <a:lnTo>
                      <a:pt x="2796" y="572"/>
                    </a:lnTo>
                    <a:lnTo>
                      <a:pt x="2794" y="570"/>
                    </a:lnTo>
                    <a:lnTo>
                      <a:pt x="2796" y="567"/>
                    </a:lnTo>
                    <a:lnTo>
                      <a:pt x="2796" y="562"/>
                    </a:lnTo>
                    <a:lnTo>
                      <a:pt x="2791" y="559"/>
                    </a:lnTo>
                    <a:lnTo>
                      <a:pt x="2789" y="555"/>
                    </a:lnTo>
                    <a:lnTo>
                      <a:pt x="2788" y="555"/>
                    </a:lnTo>
                    <a:lnTo>
                      <a:pt x="2786" y="562"/>
                    </a:lnTo>
                    <a:lnTo>
                      <a:pt x="2783" y="562"/>
                    </a:lnTo>
                    <a:lnTo>
                      <a:pt x="2783" y="567"/>
                    </a:lnTo>
                    <a:lnTo>
                      <a:pt x="2779" y="572"/>
                    </a:lnTo>
                    <a:lnTo>
                      <a:pt x="2778" y="572"/>
                    </a:lnTo>
                    <a:lnTo>
                      <a:pt x="2774" y="567"/>
                    </a:lnTo>
                    <a:lnTo>
                      <a:pt x="2773" y="567"/>
                    </a:lnTo>
                    <a:lnTo>
                      <a:pt x="2771" y="567"/>
                    </a:lnTo>
                    <a:lnTo>
                      <a:pt x="2769" y="564"/>
                    </a:lnTo>
                    <a:lnTo>
                      <a:pt x="2764" y="564"/>
                    </a:lnTo>
                    <a:lnTo>
                      <a:pt x="2763" y="565"/>
                    </a:lnTo>
                    <a:lnTo>
                      <a:pt x="2761" y="565"/>
                    </a:lnTo>
                    <a:lnTo>
                      <a:pt x="2759" y="568"/>
                    </a:lnTo>
                    <a:lnTo>
                      <a:pt x="2756" y="570"/>
                    </a:lnTo>
                    <a:lnTo>
                      <a:pt x="2754" y="572"/>
                    </a:lnTo>
                    <a:lnTo>
                      <a:pt x="2746" y="572"/>
                    </a:lnTo>
                    <a:lnTo>
                      <a:pt x="2743" y="575"/>
                    </a:lnTo>
                    <a:lnTo>
                      <a:pt x="2740" y="575"/>
                    </a:lnTo>
                    <a:lnTo>
                      <a:pt x="2738" y="577"/>
                    </a:lnTo>
                    <a:lnTo>
                      <a:pt x="2731" y="575"/>
                    </a:lnTo>
                    <a:lnTo>
                      <a:pt x="2726" y="583"/>
                    </a:lnTo>
                    <a:lnTo>
                      <a:pt x="2723" y="585"/>
                    </a:lnTo>
                    <a:lnTo>
                      <a:pt x="2725" y="592"/>
                    </a:lnTo>
                    <a:lnTo>
                      <a:pt x="2720" y="593"/>
                    </a:lnTo>
                    <a:lnTo>
                      <a:pt x="2720" y="597"/>
                    </a:lnTo>
                    <a:lnTo>
                      <a:pt x="2723" y="598"/>
                    </a:lnTo>
                    <a:lnTo>
                      <a:pt x="2723" y="603"/>
                    </a:lnTo>
                    <a:lnTo>
                      <a:pt x="2728" y="610"/>
                    </a:lnTo>
                    <a:lnTo>
                      <a:pt x="2725" y="613"/>
                    </a:lnTo>
                    <a:lnTo>
                      <a:pt x="2721" y="628"/>
                    </a:lnTo>
                    <a:lnTo>
                      <a:pt x="2728" y="635"/>
                    </a:lnTo>
                    <a:lnTo>
                      <a:pt x="2723" y="637"/>
                    </a:lnTo>
                    <a:lnTo>
                      <a:pt x="2725" y="637"/>
                    </a:lnTo>
                    <a:lnTo>
                      <a:pt x="2725" y="642"/>
                    </a:lnTo>
                    <a:lnTo>
                      <a:pt x="2720" y="647"/>
                    </a:lnTo>
                    <a:lnTo>
                      <a:pt x="2720" y="653"/>
                    </a:lnTo>
                    <a:lnTo>
                      <a:pt x="2716" y="657"/>
                    </a:lnTo>
                    <a:lnTo>
                      <a:pt x="2716" y="662"/>
                    </a:lnTo>
                    <a:lnTo>
                      <a:pt x="2713" y="670"/>
                    </a:lnTo>
                    <a:lnTo>
                      <a:pt x="2718" y="675"/>
                    </a:lnTo>
                    <a:lnTo>
                      <a:pt x="2715" y="678"/>
                    </a:lnTo>
                    <a:lnTo>
                      <a:pt x="2721" y="686"/>
                    </a:lnTo>
                    <a:lnTo>
                      <a:pt x="2718" y="688"/>
                    </a:lnTo>
                    <a:lnTo>
                      <a:pt x="2716" y="691"/>
                    </a:lnTo>
                    <a:lnTo>
                      <a:pt x="2721" y="693"/>
                    </a:lnTo>
                    <a:lnTo>
                      <a:pt x="2723" y="691"/>
                    </a:lnTo>
                    <a:lnTo>
                      <a:pt x="2728" y="691"/>
                    </a:lnTo>
                    <a:lnTo>
                      <a:pt x="2726" y="690"/>
                    </a:lnTo>
                    <a:lnTo>
                      <a:pt x="2728" y="688"/>
                    </a:lnTo>
                    <a:lnTo>
                      <a:pt x="2733" y="691"/>
                    </a:lnTo>
                    <a:lnTo>
                      <a:pt x="2735" y="691"/>
                    </a:lnTo>
                    <a:lnTo>
                      <a:pt x="2735" y="688"/>
                    </a:lnTo>
                    <a:lnTo>
                      <a:pt x="2735" y="688"/>
                    </a:lnTo>
                    <a:lnTo>
                      <a:pt x="2738" y="690"/>
                    </a:lnTo>
                    <a:lnTo>
                      <a:pt x="2743" y="691"/>
                    </a:lnTo>
                    <a:lnTo>
                      <a:pt x="2743" y="693"/>
                    </a:lnTo>
                    <a:lnTo>
                      <a:pt x="2743" y="695"/>
                    </a:lnTo>
                    <a:lnTo>
                      <a:pt x="2746" y="700"/>
                    </a:lnTo>
                    <a:lnTo>
                      <a:pt x="2746" y="701"/>
                    </a:lnTo>
                    <a:lnTo>
                      <a:pt x="2743" y="701"/>
                    </a:lnTo>
                    <a:lnTo>
                      <a:pt x="2740" y="703"/>
                    </a:lnTo>
                    <a:lnTo>
                      <a:pt x="2736" y="701"/>
                    </a:lnTo>
                    <a:lnTo>
                      <a:pt x="2733" y="703"/>
                    </a:lnTo>
                    <a:lnTo>
                      <a:pt x="2731" y="705"/>
                    </a:lnTo>
                    <a:lnTo>
                      <a:pt x="2735" y="708"/>
                    </a:lnTo>
                    <a:lnTo>
                      <a:pt x="2728" y="713"/>
                    </a:lnTo>
                    <a:lnTo>
                      <a:pt x="2725" y="711"/>
                    </a:lnTo>
                    <a:lnTo>
                      <a:pt x="2725" y="708"/>
                    </a:lnTo>
                    <a:lnTo>
                      <a:pt x="2721" y="706"/>
                    </a:lnTo>
                    <a:lnTo>
                      <a:pt x="2718" y="708"/>
                    </a:lnTo>
                    <a:lnTo>
                      <a:pt x="2716" y="706"/>
                    </a:lnTo>
                    <a:lnTo>
                      <a:pt x="2713" y="708"/>
                    </a:lnTo>
                    <a:lnTo>
                      <a:pt x="2713" y="710"/>
                    </a:lnTo>
                    <a:lnTo>
                      <a:pt x="2713" y="715"/>
                    </a:lnTo>
                    <a:lnTo>
                      <a:pt x="2711" y="715"/>
                    </a:lnTo>
                    <a:lnTo>
                      <a:pt x="2710" y="716"/>
                    </a:lnTo>
                    <a:lnTo>
                      <a:pt x="2706" y="720"/>
                    </a:lnTo>
                    <a:lnTo>
                      <a:pt x="2708" y="721"/>
                    </a:lnTo>
                    <a:lnTo>
                      <a:pt x="2706" y="723"/>
                    </a:lnTo>
                    <a:lnTo>
                      <a:pt x="2703" y="723"/>
                    </a:lnTo>
                    <a:lnTo>
                      <a:pt x="2696" y="718"/>
                    </a:lnTo>
                    <a:lnTo>
                      <a:pt x="2693" y="718"/>
                    </a:lnTo>
                    <a:lnTo>
                      <a:pt x="2698" y="723"/>
                    </a:lnTo>
                    <a:lnTo>
                      <a:pt x="2693" y="725"/>
                    </a:lnTo>
                    <a:lnTo>
                      <a:pt x="2693" y="726"/>
                    </a:lnTo>
                    <a:lnTo>
                      <a:pt x="2690" y="730"/>
                    </a:lnTo>
                    <a:lnTo>
                      <a:pt x="2683" y="731"/>
                    </a:lnTo>
                    <a:lnTo>
                      <a:pt x="2681" y="735"/>
                    </a:lnTo>
                    <a:lnTo>
                      <a:pt x="2675" y="726"/>
                    </a:lnTo>
                    <a:lnTo>
                      <a:pt x="2671" y="726"/>
                    </a:lnTo>
                    <a:lnTo>
                      <a:pt x="2668" y="725"/>
                    </a:lnTo>
                    <a:lnTo>
                      <a:pt x="2670" y="723"/>
                    </a:lnTo>
                    <a:lnTo>
                      <a:pt x="2675" y="723"/>
                    </a:lnTo>
                    <a:lnTo>
                      <a:pt x="2673" y="718"/>
                    </a:lnTo>
                    <a:lnTo>
                      <a:pt x="2675" y="716"/>
                    </a:lnTo>
                    <a:lnTo>
                      <a:pt x="2683" y="716"/>
                    </a:lnTo>
                    <a:lnTo>
                      <a:pt x="2691" y="710"/>
                    </a:lnTo>
                    <a:lnTo>
                      <a:pt x="2690" y="708"/>
                    </a:lnTo>
                    <a:lnTo>
                      <a:pt x="2686" y="706"/>
                    </a:lnTo>
                    <a:lnTo>
                      <a:pt x="2681" y="711"/>
                    </a:lnTo>
                    <a:lnTo>
                      <a:pt x="2676" y="710"/>
                    </a:lnTo>
                    <a:lnTo>
                      <a:pt x="2675" y="708"/>
                    </a:lnTo>
                    <a:lnTo>
                      <a:pt x="2671" y="705"/>
                    </a:lnTo>
                    <a:lnTo>
                      <a:pt x="2666" y="705"/>
                    </a:lnTo>
                    <a:lnTo>
                      <a:pt x="2660" y="703"/>
                    </a:lnTo>
                    <a:lnTo>
                      <a:pt x="2653" y="703"/>
                    </a:lnTo>
                    <a:lnTo>
                      <a:pt x="2655" y="706"/>
                    </a:lnTo>
                    <a:lnTo>
                      <a:pt x="2651" y="706"/>
                    </a:lnTo>
                    <a:lnTo>
                      <a:pt x="2648" y="705"/>
                    </a:lnTo>
                    <a:lnTo>
                      <a:pt x="2648" y="703"/>
                    </a:lnTo>
                    <a:lnTo>
                      <a:pt x="2642" y="703"/>
                    </a:lnTo>
                    <a:lnTo>
                      <a:pt x="2633" y="701"/>
                    </a:lnTo>
                    <a:lnTo>
                      <a:pt x="2630" y="703"/>
                    </a:lnTo>
                    <a:lnTo>
                      <a:pt x="2627" y="701"/>
                    </a:lnTo>
                    <a:lnTo>
                      <a:pt x="2620" y="700"/>
                    </a:lnTo>
                    <a:lnTo>
                      <a:pt x="2613" y="708"/>
                    </a:lnTo>
                    <a:lnTo>
                      <a:pt x="2610" y="708"/>
                    </a:lnTo>
                    <a:lnTo>
                      <a:pt x="2610" y="710"/>
                    </a:lnTo>
                    <a:lnTo>
                      <a:pt x="2617" y="715"/>
                    </a:lnTo>
                    <a:lnTo>
                      <a:pt x="2608" y="716"/>
                    </a:lnTo>
                    <a:lnTo>
                      <a:pt x="2608" y="713"/>
                    </a:lnTo>
                    <a:lnTo>
                      <a:pt x="2605" y="718"/>
                    </a:lnTo>
                    <a:lnTo>
                      <a:pt x="2610" y="721"/>
                    </a:lnTo>
                    <a:lnTo>
                      <a:pt x="2612" y="720"/>
                    </a:lnTo>
                    <a:lnTo>
                      <a:pt x="2615" y="721"/>
                    </a:lnTo>
                    <a:lnTo>
                      <a:pt x="2615" y="725"/>
                    </a:lnTo>
                    <a:lnTo>
                      <a:pt x="2605" y="728"/>
                    </a:lnTo>
                    <a:lnTo>
                      <a:pt x="2602" y="725"/>
                    </a:lnTo>
                    <a:lnTo>
                      <a:pt x="2595" y="725"/>
                    </a:lnTo>
                    <a:lnTo>
                      <a:pt x="2592" y="726"/>
                    </a:lnTo>
                    <a:lnTo>
                      <a:pt x="2593" y="730"/>
                    </a:lnTo>
                    <a:lnTo>
                      <a:pt x="2588" y="730"/>
                    </a:lnTo>
                    <a:lnTo>
                      <a:pt x="2587" y="731"/>
                    </a:lnTo>
                    <a:lnTo>
                      <a:pt x="2583" y="731"/>
                    </a:lnTo>
                    <a:lnTo>
                      <a:pt x="2582" y="728"/>
                    </a:lnTo>
                    <a:lnTo>
                      <a:pt x="2572" y="728"/>
                    </a:lnTo>
                    <a:lnTo>
                      <a:pt x="2568" y="730"/>
                    </a:lnTo>
                    <a:lnTo>
                      <a:pt x="2558" y="730"/>
                    </a:lnTo>
                    <a:lnTo>
                      <a:pt x="2553" y="731"/>
                    </a:lnTo>
                    <a:lnTo>
                      <a:pt x="2553" y="735"/>
                    </a:lnTo>
                    <a:lnTo>
                      <a:pt x="2560" y="738"/>
                    </a:lnTo>
                    <a:lnTo>
                      <a:pt x="2557" y="741"/>
                    </a:lnTo>
                    <a:lnTo>
                      <a:pt x="2555" y="746"/>
                    </a:lnTo>
                    <a:lnTo>
                      <a:pt x="2550" y="743"/>
                    </a:lnTo>
                    <a:lnTo>
                      <a:pt x="2547" y="741"/>
                    </a:lnTo>
                    <a:lnTo>
                      <a:pt x="2548" y="736"/>
                    </a:lnTo>
                    <a:lnTo>
                      <a:pt x="2544" y="733"/>
                    </a:lnTo>
                    <a:lnTo>
                      <a:pt x="2542" y="736"/>
                    </a:lnTo>
                    <a:lnTo>
                      <a:pt x="2539" y="738"/>
                    </a:lnTo>
                    <a:lnTo>
                      <a:pt x="2534" y="738"/>
                    </a:lnTo>
                    <a:lnTo>
                      <a:pt x="2529" y="741"/>
                    </a:lnTo>
                    <a:lnTo>
                      <a:pt x="2524" y="740"/>
                    </a:lnTo>
                    <a:lnTo>
                      <a:pt x="2517" y="745"/>
                    </a:lnTo>
                    <a:lnTo>
                      <a:pt x="2509" y="745"/>
                    </a:lnTo>
                    <a:lnTo>
                      <a:pt x="2500" y="751"/>
                    </a:lnTo>
                    <a:lnTo>
                      <a:pt x="2495" y="751"/>
                    </a:lnTo>
                    <a:lnTo>
                      <a:pt x="2492" y="748"/>
                    </a:lnTo>
                    <a:lnTo>
                      <a:pt x="2489" y="748"/>
                    </a:lnTo>
                    <a:lnTo>
                      <a:pt x="2489" y="753"/>
                    </a:lnTo>
                    <a:lnTo>
                      <a:pt x="2479" y="760"/>
                    </a:lnTo>
                    <a:lnTo>
                      <a:pt x="2479" y="763"/>
                    </a:lnTo>
                    <a:lnTo>
                      <a:pt x="2474" y="768"/>
                    </a:lnTo>
                    <a:lnTo>
                      <a:pt x="2472" y="773"/>
                    </a:lnTo>
                    <a:lnTo>
                      <a:pt x="2479" y="781"/>
                    </a:lnTo>
                    <a:lnTo>
                      <a:pt x="2477" y="789"/>
                    </a:lnTo>
                    <a:lnTo>
                      <a:pt x="2470" y="796"/>
                    </a:lnTo>
                    <a:lnTo>
                      <a:pt x="2467" y="804"/>
                    </a:lnTo>
                    <a:lnTo>
                      <a:pt x="2469" y="809"/>
                    </a:lnTo>
                    <a:lnTo>
                      <a:pt x="2467" y="818"/>
                    </a:lnTo>
                    <a:lnTo>
                      <a:pt x="2470" y="821"/>
                    </a:lnTo>
                    <a:lnTo>
                      <a:pt x="2470" y="826"/>
                    </a:lnTo>
                    <a:lnTo>
                      <a:pt x="2467" y="826"/>
                    </a:lnTo>
                    <a:lnTo>
                      <a:pt x="2465" y="828"/>
                    </a:lnTo>
                    <a:lnTo>
                      <a:pt x="2464" y="833"/>
                    </a:lnTo>
                    <a:lnTo>
                      <a:pt x="2462" y="834"/>
                    </a:lnTo>
                    <a:lnTo>
                      <a:pt x="2465" y="841"/>
                    </a:lnTo>
                    <a:lnTo>
                      <a:pt x="2460" y="844"/>
                    </a:lnTo>
                    <a:lnTo>
                      <a:pt x="2459" y="851"/>
                    </a:lnTo>
                    <a:lnTo>
                      <a:pt x="2452" y="858"/>
                    </a:lnTo>
                    <a:lnTo>
                      <a:pt x="2454" y="863"/>
                    </a:lnTo>
                    <a:lnTo>
                      <a:pt x="2450" y="864"/>
                    </a:lnTo>
                    <a:lnTo>
                      <a:pt x="2449" y="872"/>
                    </a:lnTo>
                    <a:lnTo>
                      <a:pt x="2447" y="872"/>
                    </a:lnTo>
                    <a:lnTo>
                      <a:pt x="2444" y="882"/>
                    </a:lnTo>
                    <a:lnTo>
                      <a:pt x="2444" y="891"/>
                    </a:lnTo>
                    <a:lnTo>
                      <a:pt x="2442" y="894"/>
                    </a:lnTo>
                    <a:lnTo>
                      <a:pt x="2446" y="899"/>
                    </a:lnTo>
                    <a:lnTo>
                      <a:pt x="2442" y="904"/>
                    </a:lnTo>
                    <a:lnTo>
                      <a:pt x="2441" y="909"/>
                    </a:lnTo>
                    <a:lnTo>
                      <a:pt x="2436" y="916"/>
                    </a:lnTo>
                    <a:lnTo>
                      <a:pt x="2436" y="917"/>
                    </a:lnTo>
                    <a:lnTo>
                      <a:pt x="2434" y="917"/>
                    </a:lnTo>
                    <a:lnTo>
                      <a:pt x="2434" y="924"/>
                    </a:lnTo>
                    <a:lnTo>
                      <a:pt x="2427" y="929"/>
                    </a:lnTo>
                    <a:lnTo>
                      <a:pt x="2426" y="937"/>
                    </a:lnTo>
                    <a:lnTo>
                      <a:pt x="2419" y="942"/>
                    </a:lnTo>
                    <a:lnTo>
                      <a:pt x="2419" y="946"/>
                    </a:lnTo>
                    <a:lnTo>
                      <a:pt x="2414" y="952"/>
                    </a:lnTo>
                    <a:lnTo>
                      <a:pt x="2414" y="957"/>
                    </a:lnTo>
                    <a:lnTo>
                      <a:pt x="2411" y="961"/>
                    </a:lnTo>
                    <a:lnTo>
                      <a:pt x="2414" y="964"/>
                    </a:lnTo>
                    <a:lnTo>
                      <a:pt x="2417" y="967"/>
                    </a:lnTo>
                    <a:lnTo>
                      <a:pt x="2422" y="965"/>
                    </a:lnTo>
                    <a:lnTo>
                      <a:pt x="2427" y="969"/>
                    </a:lnTo>
                    <a:lnTo>
                      <a:pt x="2431" y="969"/>
                    </a:lnTo>
                    <a:lnTo>
                      <a:pt x="2437" y="965"/>
                    </a:lnTo>
                    <a:lnTo>
                      <a:pt x="2441" y="964"/>
                    </a:lnTo>
                    <a:lnTo>
                      <a:pt x="2446" y="962"/>
                    </a:lnTo>
                    <a:lnTo>
                      <a:pt x="2447" y="962"/>
                    </a:lnTo>
                    <a:lnTo>
                      <a:pt x="2452" y="961"/>
                    </a:lnTo>
                    <a:lnTo>
                      <a:pt x="2452" y="972"/>
                    </a:lnTo>
                    <a:lnTo>
                      <a:pt x="2459" y="979"/>
                    </a:lnTo>
                    <a:lnTo>
                      <a:pt x="2460" y="985"/>
                    </a:lnTo>
                    <a:lnTo>
                      <a:pt x="2459" y="992"/>
                    </a:lnTo>
                    <a:lnTo>
                      <a:pt x="2465" y="995"/>
                    </a:lnTo>
                    <a:lnTo>
                      <a:pt x="2469" y="992"/>
                    </a:lnTo>
                    <a:lnTo>
                      <a:pt x="2470" y="992"/>
                    </a:lnTo>
                    <a:lnTo>
                      <a:pt x="2474" y="990"/>
                    </a:lnTo>
                    <a:lnTo>
                      <a:pt x="2475" y="987"/>
                    </a:lnTo>
                    <a:lnTo>
                      <a:pt x="2479" y="985"/>
                    </a:lnTo>
                    <a:lnTo>
                      <a:pt x="2480" y="989"/>
                    </a:lnTo>
                    <a:lnTo>
                      <a:pt x="2484" y="985"/>
                    </a:lnTo>
                    <a:lnTo>
                      <a:pt x="2489" y="985"/>
                    </a:lnTo>
                    <a:lnTo>
                      <a:pt x="2487" y="989"/>
                    </a:lnTo>
                    <a:lnTo>
                      <a:pt x="2484" y="992"/>
                    </a:lnTo>
                    <a:lnTo>
                      <a:pt x="2485" y="997"/>
                    </a:lnTo>
                    <a:lnTo>
                      <a:pt x="2482" y="997"/>
                    </a:lnTo>
                    <a:lnTo>
                      <a:pt x="2479" y="1000"/>
                    </a:lnTo>
                    <a:lnTo>
                      <a:pt x="2480" y="1002"/>
                    </a:lnTo>
                    <a:lnTo>
                      <a:pt x="2490" y="1002"/>
                    </a:lnTo>
                    <a:lnTo>
                      <a:pt x="2495" y="999"/>
                    </a:lnTo>
                    <a:lnTo>
                      <a:pt x="2499" y="992"/>
                    </a:lnTo>
                    <a:lnTo>
                      <a:pt x="2497" y="987"/>
                    </a:lnTo>
                    <a:lnTo>
                      <a:pt x="2499" y="984"/>
                    </a:lnTo>
                    <a:lnTo>
                      <a:pt x="2502" y="990"/>
                    </a:lnTo>
                    <a:lnTo>
                      <a:pt x="2500" y="995"/>
                    </a:lnTo>
                    <a:lnTo>
                      <a:pt x="2502" y="1000"/>
                    </a:lnTo>
                    <a:lnTo>
                      <a:pt x="2505" y="999"/>
                    </a:lnTo>
                    <a:lnTo>
                      <a:pt x="2507" y="994"/>
                    </a:lnTo>
                    <a:lnTo>
                      <a:pt x="2504" y="985"/>
                    </a:lnTo>
                    <a:lnTo>
                      <a:pt x="2505" y="982"/>
                    </a:lnTo>
                    <a:lnTo>
                      <a:pt x="2502" y="979"/>
                    </a:lnTo>
                    <a:lnTo>
                      <a:pt x="2499" y="970"/>
                    </a:lnTo>
                    <a:lnTo>
                      <a:pt x="2504" y="970"/>
                    </a:lnTo>
                    <a:lnTo>
                      <a:pt x="2509" y="972"/>
                    </a:lnTo>
                    <a:lnTo>
                      <a:pt x="2509" y="975"/>
                    </a:lnTo>
                    <a:lnTo>
                      <a:pt x="2510" y="977"/>
                    </a:lnTo>
                    <a:lnTo>
                      <a:pt x="2512" y="977"/>
                    </a:lnTo>
                    <a:lnTo>
                      <a:pt x="2515" y="974"/>
                    </a:lnTo>
                    <a:lnTo>
                      <a:pt x="2519" y="974"/>
                    </a:lnTo>
                    <a:lnTo>
                      <a:pt x="2525" y="970"/>
                    </a:lnTo>
                    <a:lnTo>
                      <a:pt x="2530" y="974"/>
                    </a:lnTo>
                    <a:lnTo>
                      <a:pt x="2535" y="974"/>
                    </a:lnTo>
                    <a:lnTo>
                      <a:pt x="2540" y="977"/>
                    </a:lnTo>
                    <a:lnTo>
                      <a:pt x="2542" y="982"/>
                    </a:lnTo>
                    <a:lnTo>
                      <a:pt x="2545" y="984"/>
                    </a:lnTo>
                    <a:lnTo>
                      <a:pt x="2552" y="985"/>
                    </a:lnTo>
                    <a:lnTo>
                      <a:pt x="2555" y="989"/>
                    </a:lnTo>
                    <a:lnTo>
                      <a:pt x="2565" y="992"/>
                    </a:lnTo>
                    <a:lnTo>
                      <a:pt x="2567" y="994"/>
                    </a:lnTo>
                    <a:lnTo>
                      <a:pt x="2570" y="995"/>
                    </a:lnTo>
                    <a:lnTo>
                      <a:pt x="2573" y="999"/>
                    </a:lnTo>
                    <a:lnTo>
                      <a:pt x="2577" y="999"/>
                    </a:lnTo>
                    <a:lnTo>
                      <a:pt x="2580" y="1005"/>
                    </a:lnTo>
                    <a:lnTo>
                      <a:pt x="2578" y="1009"/>
                    </a:lnTo>
                    <a:lnTo>
                      <a:pt x="2577" y="1012"/>
                    </a:lnTo>
                    <a:lnTo>
                      <a:pt x="2573" y="1014"/>
                    </a:lnTo>
                    <a:lnTo>
                      <a:pt x="2578" y="1019"/>
                    </a:lnTo>
                    <a:lnTo>
                      <a:pt x="2582" y="1019"/>
                    </a:lnTo>
                    <a:lnTo>
                      <a:pt x="2588" y="1027"/>
                    </a:lnTo>
                    <a:lnTo>
                      <a:pt x="2588" y="1030"/>
                    </a:lnTo>
                    <a:lnTo>
                      <a:pt x="2587" y="1034"/>
                    </a:lnTo>
                    <a:lnTo>
                      <a:pt x="2587" y="1039"/>
                    </a:lnTo>
                    <a:lnTo>
                      <a:pt x="2592" y="1042"/>
                    </a:lnTo>
                    <a:lnTo>
                      <a:pt x="2595" y="1044"/>
                    </a:lnTo>
                    <a:lnTo>
                      <a:pt x="2598" y="1040"/>
                    </a:lnTo>
                    <a:lnTo>
                      <a:pt x="2598" y="1044"/>
                    </a:lnTo>
                    <a:lnTo>
                      <a:pt x="2597" y="1047"/>
                    </a:lnTo>
                    <a:lnTo>
                      <a:pt x="2598" y="1052"/>
                    </a:lnTo>
                    <a:lnTo>
                      <a:pt x="2602" y="1055"/>
                    </a:lnTo>
                    <a:lnTo>
                      <a:pt x="2598" y="1057"/>
                    </a:lnTo>
                    <a:lnTo>
                      <a:pt x="2598" y="1060"/>
                    </a:lnTo>
                    <a:lnTo>
                      <a:pt x="2600" y="1065"/>
                    </a:lnTo>
                    <a:lnTo>
                      <a:pt x="2598" y="1068"/>
                    </a:lnTo>
                    <a:lnTo>
                      <a:pt x="2600" y="1070"/>
                    </a:lnTo>
                    <a:lnTo>
                      <a:pt x="2600" y="1073"/>
                    </a:lnTo>
                    <a:lnTo>
                      <a:pt x="2598" y="1075"/>
                    </a:lnTo>
                    <a:lnTo>
                      <a:pt x="2600" y="1077"/>
                    </a:lnTo>
                    <a:lnTo>
                      <a:pt x="2598" y="1080"/>
                    </a:lnTo>
                    <a:lnTo>
                      <a:pt x="2602" y="1090"/>
                    </a:lnTo>
                    <a:lnTo>
                      <a:pt x="2600" y="1093"/>
                    </a:lnTo>
                    <a:lnTo>
                      <a:pt x="2602" y="1102"/>
                    </a:lnTo>
                    <a:lnTo>
                      <a:pt x="2602" y="1105"/>
                    </a:lnTo>
                    <a:lnTo>
                      <a:pt x="2602" y="1108"/>
                    </a:lnTo>
                    <a:lnTo>
                      <a:pt x="2607" y="1123"/>
                    </a:lnTo>
                    <a:lnTo>
                      <a:pt x="2610" y="1123"/>
                    </a:lnTo>
                    <a:lnTo>
                      <a:pt x="2615" y="1120"/>
                    </a:lnTo>
                    <a:lnTo>
                      <a:pt x="2615" y="1123"/>
                    </a:lnTo>
                    <a:lnTo>
                      <a:pt x="2612" y="1128"/>
                    </a:lnTo>
                    <a:lnTo>
                      <a:pt x="2610" y="1130"/>
                    </a:lnTo>
                    <a:lnTo>
                      <a:pt x="2612" y="1135"/>
                    </a:lnTo>
                    <a:lnTo>
                      <a:pt x="2613" y="1135"/>
                    </a:lnTo>
                    <a:lnTo>
                      <a:pt x="2622" y="1142"/>
                    </a:lnTo>
                    <a:lnTo>
                      <a:pt x="2620" y="1150"/>
                    </a:lnTo>
                    <a:lnTo>
                      <a:pt x="2622" y="1152"/>
                    </a:lnTo>
                    <a:lnTo>
                      <a:pt x="2622" y="1155"/>
                    </a:lnTo>
                    <a:lnTo>
                      <a:pt x="2623" y="1165"/>
                    </a:lnTo>
                    <a:lnTo>
                      <a:pt x="2627" y="1165"/>
                    </a:lnTo>
                    <a:lnTo>
                      <a:pt x="2627" y="1170"/>
                    </a:lnTo>
                    <a:lnTo>
                      <a:pt x="2625" y="1171"/>
                    </a:lnTo>
                    <a:lnTo>
                      <a:pt x="2625" y="1178"/>
                    </a:lnTo>
                    <a:lnTo>
                      <a:pt x="2628" y="1183"/>
                    </a:lnTo>
                    <a:lnTo>
                      <a:pt x="2628" y="1188"/>
                    </a:lnTo>
                    <a:lnTo>
                      <a:pt x="2622" y="1195"/>
                    </a:lnTo>
                    <a:lnTo>
                      <a:pt x="2620" y="1201"/>
                    </a:lnTo>
                    <a:lnTo>
                      <a:pt x="2617" y="1208"/>
                    </a:lnTo>
                    <a:lnTo>
                      <a:pt x="2618" y="1216"/>
                    </a:lnTo>
                    <a:lnTo>
                      <a:pt x="2620" y="1216"/>
                    </a:lnTo>
                    <a:lnTo>
                      <a:pt x="2618" y="1223"/>
                    </a:lnTo>
                    <a:lnTo>
                      <a:pt x="2615" y="1226"/>
                    </a:lnTo>
                    <a:lnTo>
                      <a:pt x="2615" y="1233"/>
                    </a:lnTo>
                    <a:lnTo>
                      <a:pt x="2612" y="1240"/>
                    </a:lnTo>
                    <a:lnTo>
                      <a:pt x="2613" y="1240"/>
                    </a:lnTo>
                    <a:lnTo>
                      <a:pt x="2613" y="1243"/>
                    </a:lnTo>
                    <a:lnTo>
                      <a:pt x="2610" y="1248"/>
                    </a:lnTo>
                    <a:lnTo>
                      <a:pt x="2612" y="1258"/>
                    </a:lnTo>
                    <a:lnTo>
                      <a:pt x="2607" y="1263"/>
                    </a:lnTo>
                    <a:lnTo>
                      <a:pt x="2608" y="1268"/>
                    </a:lnTo>
                    <a:lnTo>
                      <a:pt x="2610" y="1269"/>
                    </a:lnTo>
                    <a:lnTo>
                      <a:pt x="2610" y="1273"/>
                    </a:lnTo>
                    <a:lnTo>
                      <a:pt x="2605" y="1279"/>
                    </a:lnTo>
                    <a:lnTo>
                      <a:pt x="2603" y="1284"/>
                    </a:lnTo>
                    <a:lnTo>
                      <a:pt x="2598" y="1289"/>
                    </a:lnTo>
                    <a:lnTo>
                      <a:pt x="2598" y="1293"/>
                    </a:lnTo>
                    <a:lnTo>
                      <a:pt x="2593" y="1299"/>
                    </a:lnTo>
                    <a:lnTo>
                      <a:pt x="2588" y="1318"/>
                    </a:lnTo>
                    <a:lnTo>
                      <a:pt x="2585" y="1319"/>
                    </a:lnTo>
                    <a:lnTo>
                      <a:pt x="2585" y="1324"/>
                    </a:lnTo>
                    <a:lnTo>
                      <a:pt x="2587" y="1326"/>
                    </a:lnTo>
                    <a:lnTo>
                      <a:pt x="2587" y="1328"/>
                    </a:lnTo>
                    <a:lnTo>
                      <a:pt x="2580" y="1331"/>
                    </a:lnTo>
                    <a:lnTo>
                      <a:pt x="2580" y="1336"/>
                    </a:lnTo>
                    <a:lnTo>
                      <a:pt x="2575" y="1338"/>
                    </a:lnTo>
                    <a:lnTo>
                      <a:pt x="2575" y="1346"/>
                    </a:lnTo>
                    <a:lnTo>
                      <a:pt x="2573" y="1346"/>
                    </a:lnTo>
                    <a:lnTo>
                      <a:pt x="2575" y="1349"/>
                    </a:lnTo>
                    <a:lnTo>
                      <a:pt x="2570" y="1357"/>
                    </a:lnTo>
                    <a:lnTo>
                      <a:pt x="2568" y="1356"/>
                    </a:lnTo>
                    <a:lnTo>
                      <a:pt x="2565" y="1356"/>
                    </a:lnTo>
                    <a:lnTo>
                      <a:pt x="2567" y="1359"/>
                    </a:lnTo>
                    <a:lnTo>
                      <a:pt x="2567" y="1364"/>
                    </a:lnTo>
                    <a:lnTo>
                      <a:pt x="2562" y="1367"/>
                    </a:lnTo>
                    <a:lnTo>
                      <a:pt x="2563" y="1369"/>
                    </a:lnTo>
                    <a:lnTo>
                      <a:pt x="2555" y="1379"/>
                    </a:lnTo>
                    <a:lnTo>
                      <a:pt x="2552" y="1384"/>
                    </a:lnTo>
                    <a:lnTo>
                      <a:pt x="2548" y="1384"/>
                    </a:lnTo>
                    <a:lnTo>
                      <a:pt x="2547" y="1387"/>
                    </a:lnTo>
                    <a:lnTo>
                      <a:pt x="2540" y="1387"/>
                    </a:lnTo>
                    <a:lnTo>
                      <a:pt x="2535" y="1394"/>
                    </a:lnTo>
                    <a:lnTo>
                      <a:pt x="2532" y="1391"/>
                    </a:lnTo>
                    <a:lnTo>
                      <a:pt x="2529" y="1392"/>
                    </a:lnTo>
                    <a:lnTo>
                      <a:pt x="2522" y="1389"/>
                    </a:lnTo>
                    <a:lnTo>
                      <a:pt x="2514" y="1387"/>
                    </a:lnTo>
                    <a:lnTo>
                      <a:pt x="2514" y="1379"/>
                    </a:lnTo>
                    <a:lnTo>
                      <a:pt x="2510" y="1377"/>
                    </a:lnTo>
                    <a:lnTo>
                      <a:pt x="2505" y="1379"/>
                    </a:lnTo>
                    <a:lnTo>
                      <a:pt x="2500" y="1376"/>
                    </a:lnTo>
                    <a:lnTo>
                      <a:pt x="2499" y="1379"/>
                    </a:lnTo>
                    <a:lnTo>
                      <a:pt x="2499" y="1382"/>
                    </a:lnTo>
                    <a:lnTo>
                      <a:pt x="2494" y="1386"/>
                    </a:lnTo>
                    <a:lnTo>
                      <a:pt x="2494" y="1394"/>
                    </a:lnTo>
                    <a:lnTo>
                      <a:pt x="2490" y="1396"/>
                    </a:lnTo>
                    <a:lnTo>
                      <a:pt x="2489" y="1402"/>
                    </a:lnTo>
                    <a:lnTo>
                      <a:pt x="2487" y="1401"/>
                    </a:lnTo>
                    <a:lnTo>
                      <a:pt x="2480" y="1402"/>
                    </a:lnTo>
                    <a:lnTo>
                      <a:pt x="2479" y="1409"/>
                    </a:lnTo>
                    <a:lnTo>
                      <a:pt x="2477" y="1409"/>
                    </a:lnTo>
                    <a:lnTo>
                      <a:pt x="2477" y="1409"/>
                    </a:lnTo>
                    <a:close/>
                    <a:moveTo>
                      <a:pt x="804" y="1424"/>
                    </a:moveTo>
                    <a:lnTo>
                      <a:pt x="799" y="1419"/>
                    </a:lnTo>
                    <a:lnTo>
                      <a:pt x="769" y="1424"/>
                    </a:lnTo>
                    <a:lnTo>
                      <a:pt x="804" y="1424"/>
                    </a:lnTo>
                    <a:lnTo>
                      <a:pt x="804" y="1424"/>
                    </a:lnTo>
                    <a:close/>
                    <a:moveTo>
                      <a:pt x="2834" y="1331"/>
                    </a:moveTo>
                    <a:lnTo>
                      <a:pt x="2836" y="1331"/>
                    </a:lnTo>
                    <a:lnTo>
                      <a:pt x="2841" y="1329"/>
                    </a:lnTo>
                    <a:lnTo>
                      <a:pt x="2841" y="1326"/>
                    </a:lnTo>
                    <a:lnTo>
                      <a:pt x="2838" y="1328"/>
                    </a:lnTo>
                    <a:lnTo>
                      <a:pt x="2834" y="1331"/>
                    </a:lnTo>
                    <a:lnTo>
                      <a:pt x="2834" y="1331"/>
                    </a:lnTo>
                    <a:close/>
                    <a:moveTo>
                      <a:pt x="2475" y="85"/>
                    </a:moveTo>
                    <a:lnTo>
                      <a:pt x="2477" y="83"/>
                    </a:lnTo>
                    <a:lnTo>
                      <a:pt x="2479" y="82"/>
                    </a:lnTo>
                    <a:lnTo>
                      <a:pt x="2475" y="78"/>
                    </a:lnTo>
                    <a:lnTo>
                      <a:pt x="2474" y="82"/>
                    </a:lnTo>
                    <a:lnTo>
                      <a:pt x="2475" y="85"/>
                    </a:lnTo>
                    <a:lnTo>
                      <a:pt x="2475" y="85"/>
                    </a:lnTo>
                    <a:close/>
                    <a:moveTo>
                      <a:pt x="2457" y="80"/>
                    </a:moveTo>
                    <a:lnTo>
                      <a:pt x="2460" y="80"/>
                    </a:lnTo>
                    <a:lnTo>
                      <a:pt x="2462" y="78"/>
                    </a:lnTo>
                    <a:lnTo>
                      <a:pt x="2455" y="77"/>
                    </a:lnTo>
                    <a:lnTo>
                      <a:pt x="2454" y="78"/>
                    </a:lnTo>
                    <a:lnTo>
                      <a:pt x="2457" y="80"/>
                    </a:lnTo>
                    <a:lnTo>
                      <a:pt x="2457" y="80"/>
                    </a:lnTo>
                    <a:close/>
                    <a:moveTo>
                      <a:pt x="2439" y="87"/>
                    </a:moveTo>
                    <a:lnTo>
                      <a:pt x="2441" y="87"/>
                    </a:lnTo>
                    <a:lnTo>
                      <a:pt x="2442" y="85"/>
                    </a:lnTo>
                    <a:lnTo>
                      <a:pt x="2441" y="82"/>
                    </a:lnTo>
                    <a:lnTo>
                      <a:pt x="2437" y="80"/>
                    </a:lnTo>
                    <a:lnTo>
                      <a:pt x="2436" y="83"/>
                    </a:lnTo>
                    <a:lnTo>
                      <a:pt x="2439" y="87"/>
                    </a:lnTo>
                    <a:lnTo>
                      <a:pt x="2439" y="87"/>
                    </a:lnTo>
                    <a:close/>
                    <a:moveTo>
                      <a:pt x="2859" y="552"/>
                    </a:moveTo>
                    <a:lnTo>
                      <a:pt x="2857" y="552"/>
                    </a:lnTo>
                    <a:lnTo>
                      <a:pt x="2859" y="557"/>
                    </a:lnTo>
                    <a:lnTo>
                      <a:pt x="2861" y="555"/>
                    </a:lnTo>
                    <a:lnTo>
                      <a:pt x="2861" y="552"/>
                    </a:lnTo>
                    <a:lnTo>
                      <a:pt x="2859" y="550"/>
                    </a:lnTo>
                    <a:lnTo>
                      <a:pt x="2859" y="552"/>
                    </a:lnTo>
                    <a:lnTo>
                      <a:pt x="2859" y="552"/>
                    </a:lnTo>
                    <a:close/>
                    <a:moveTo>
                      <a:pt x="2852" y="544"/>
                    </a:moveTo>
                    <a:lnTo>
                      <a:pt x="2857" y="547"/>
                    </a:lnTo>
                    <a:lnTo>
                      <a:pt x="2859" y="547"/>
                    </a:lnTo>
                    <a:lnTo>
                      <a:pt x="2859" y="545"/>
                    </a:lnTo>
                    <a:lnTo>
                      <a:pt x="2856" y="540"/>
                    </a:lnTo>
                    <a:lnTo>
                      <a:pt x="2852" y="540"/>
                    </a:lnTo>
                    <a:lnTo>
                      <a:pt x="2852" y="544"/>
                    </a:lnTo>
                    <a:lnTo>
                      <a:pt x="2852" y="544"/>
                    </a:lnTo>
                    <a:close/>
                    <a:moveTo>
                      <a:pt x="456" y="278"/>
                    </a:moveTo>
                    <a:lnTo>
                      <a:pt x="457" y="276"/>
                    </a:lnTo>
                    <a:lnTo>
                      <a:pt x="459" y="274"/>
                    </a:lnTo>
                    <a:lnTo>
                      <a:pt x="465" y="271"/>
                    </a:lnTo>
                    <a:lnTo>
                      <a:pt x="465" y="268"/>
                    </a:lnTo>
                    <a:lnTo>
                      <a:pt x="464" y="268"/>
                    </a:lnTo>
                    <a:lnTo>
                      <a:pt x="459" y="271"/>
                    </a:lnTo>
                    <a:lnTo>
                      <a:pt x="456" y="271"/>
                    </a:lnTo>
                    <a:lnTo>
                      <a:pt x="454" y="274"/>
                    </a:lnTo>
                    <a:lnTo>
                      <a:pt x="456" y="278"/>
                    </a:lnTo>
                    <a:lnTo>
                      <a:pt x="456" y="278"/>
                    </a:lnTo>
                    <a:close/>
                    <a:moveTo>
                      <a:pt x="426" y="417"/>
                    </a:moveTo>
                    <a:lnTo>
                      <a:pt x="432" y="417"/>
                    </a:lnTo>
                    <a:lnTo>
                      <a:pt x="441" y="414"/>
                    </a:lnTo>
                    <a:lnTo>
                      <a:pt x="446" y="412"/>
                    </a:lnTo>
                    <a:lnTo>
                      <a:pt x="451" y="414"/>
                    </a:lnTo>
                    <a:lnTo>
                      <a:pt x="452" y="416"/>
                    </a:lnTo>
                    <a:lnTo>
                      <a:pt x="457" y="417"/>
                    </a:lnTo>
                    <a:lnTo>
                      <a:pt x="462" y="416"/>
                    </a:lnTo>
                    <a:lnTo>
                      <a:pt x="459" y="412"/>
                    </a:lnTo>
                    <a:lnTo>
                      <a:pt x="459" y="409"/>
                    </a:lnTo>
                    <a:lnTo>
                      <a:pt x="462" y="411"/>
                    </a:lnTo>
                    <a:lnTo>
                      <a:pt x="464" y="414"/>
                    </a:lnTo>
                    <a:lnTo>
                      <a:pt x="469" y="416"/>
                    </a:lnTo>
                    <a:lnTo>
                      <a:pt x="475" y="416"/>
                    </a:lnTo>
                    <a:lnTo>
                      <a:pt x="475" y="414"/>
                    </a:lnTo>
                    <a:lnTo>
                      <a:pt x="480" y="414"/>
                    </a:lnTo>
                    <a:lnTo>
                      <a:pt x="482" y="407"/>
                    </a:lnTo>
                    <a:lnTo>
                      <a:pt x="482" y="402"/>
                    </a:lnTo>
                    <a:lnTo>
                      <a:pt x="485" y="399"/>
                    </a:lnTo>
                    <a:lnTo>
                      <a:pt x="485" y="394"/>
                    </a:lnTo>
                    <a:lnTo>
                      <a:pt x="482" y="392"/>
                    </a:lnTo>
                    <a:lnTo>
                      <a:pt x="480" y="386"/>
                    </a:lnTo>
                    <a:lnTo>
                      <a:pt x="475" y="386"/>
                    </a:lnTo>
                    <a:lnTo>
                      <a:pt x="472" y="386"/>
                    </a:lnTo>
                    <a:lnTo>
                      <a:pt x="470" y="384"/>
                    </a:lnTo>
                    <a:lnTo>
                      <a:pt x="474" y="382"/>
                    </a:lnTo>
                    <a:lnTo>
                      <a:pt x="477" y="382"/>
                    </a:lnTo>
                    <a:lnTo>
                      <a:pt x="480" y="382"/>
                    </a:lnTo>
                    <a:lnTo>
                      <a:pt x="482" y="386"/>
                    </a:lnTo>
                    <a:lnTo>
                      <a:pt x="482" y="389"/>
                    </a:lnTo>
                    <a:lnTo>
                      <a:pt x="485" y="389"/>
                    </a:lnTo>
                    <a:lnTo>
                      <a:pt x="487" y="387"/>
                    </a:lnTo>
                    <a:lnTo>
                      <a:pt x="485" y="381"/>
                    </a:lnTo>
                    <a:lnTo>
                      <a:pt x="480" y="374"/>
                    </a:lnTo>
                    <a:lnTo>
                      <a:pt x="475" y="368"/>
                    </a:lnTo>
                    <a:lnTo>
                      <a:pt x="477" y="366"/>
                    </a:lnTo>
                    <a:lnTo>
                      <a:pt x="480" y="369"/>
                    </a:lnTo>
                    <a:lnTo>
                      <a:pt x="480" y="372"/>
                    </a:lnTo>
                    <a:lnTo>
                      <a:pt x="485" y="374"/>
                    </a:lnTo>
                    <a:lnTo>
                      <a:pt x="490" y="376"/>
                    </a:lnTo>
                    <a:lnTo>
                      <a:pt x="490" y="372"/>
                    </a:lnTo>
                    <a:lnTo>
                      <a:pt x="490" y="369"/>
                    </a:lnTo>
                    <a:lnTo>
                      <a:pt x="489" y="368"/>
                    </a:lnTo>
                    <a:lnTo>
                      <a:pt x="489" y="366"/>
                    </a:lnTo>
                    <a:lnTo>
                      <a:pt x="492" y="361"/>
                    </a:lnTo>
                    <a:lnTo>
                      <a:pt x="492" y="358"/>
                    </a:lnTo>
                    <a:lnTo>
                      <a:pt x="487" y="353"/>
                    </a:lnTo>
                    <a:lnTo>
                      <a:pt x="482" y="348"/>
                    </a:lnTo>
                    <a:lnTo>
                      <a:pt x="485" y="348"/>
                    </a:lnTo>
                    <a:lnTo>
                      <a:pt x="490" y="349"/>
                    </a:lnTo>
                    <a:lnTo>
                      <a:pt x="494" y="349"/>
                    </a:lnTo>
                    <a:lnTo>
                      <a:pt x="495" y="344"/>
                    </a:lnTo>
                    <a:lnTo>
                      <a:pt x="494" y="343"/>
                    </a:lnTo>
                    <a:lnTo>
                      <a:pt x="490" y="343"/>
                    </a:lnTo>
                    <a:lnTo>
                      <a:pt x="490" y="338"/>
                    </a:lnTo>
                    <a:lnTo>
                      <a:pt x="494" y="336"/>
                    </a:lnTo>
                    <a:lnTo>
                      <a:pt x="499" y="339"/>
                    </a:lnTo>
                    <a:lnTo>
                      <a:pt x="504" y="341"/>
                    </a:lnTo>
                    <a:lnTo>
                      <a:pt x="507" y="339"/>
                    </a:lnTo>
                    <a:lnTo>
                      <a:pt x="504" y="338"/>
                    </a:lnTo>
                    <a:lnTo>
                      <a:pt x="502" y="334"/>
                    </a:lnTo>
                    <a:lnTo>
                      <a:pt x="507" y="334"/>
                    </a:lnTo>
                    <a:lnTo>
                      <a:pt x="509" y="336"/>
                    </a:lnTo>
                    <a:lnTo>
                      <a:pt x="512" y="333"/>
                    </a:lnTo>
                    <a:lnTo>
                      <a:pt x="514" y="329"/>
                    </a:lnTo>
                    <a:lnTo>
                      <a:pt x="512" y="328"/>
                    </a:lnTo>
                    <a:lnTo>
                      <a:pt x="512" y="326"/>
                    </a:lnTo>
                    <a:lnTo>
                      <a:pt x="519" y="323"/>
                    </a:lnTo>
                    <a:lnTo>
                      <a:pt x="520" y="319"/>
                    </a:lnTo>
                    <a:lnTo>
                      <a:pt x="515" y="318"/>
                    </a:lnTo>
                    <a:lnTo>
                      <a:pt x="514" y="314"/>
                    </a:lnTo>
                    <a:lnTo>
                      <a:pt x="517" y="311"/>
                    </a:lnTo>
                    <a:lnTo>
                      <a:pt x="519" y="314"/>
                    </a:lnTo>
                    <a:lnTo>
                      <a:pt x="522" y="313"/>
                    </a:lnTo>
                    <a:lnTo>
                      <a:pt x="529" y="304"/>
                    </a:lnTo>
                    <a:lnTo>
                      <a:pt x="530" y="299"/>
                    </a:lnTo>
                    <a:lnTo>
                      <a:pt x="534" y="296"/>
                    </a:lnTo>
                    <a:lnTo>
                      <a:pt x="534" y="291"/>
                    </a:lnTo>
                    <a:lnTo>
                      <a:pt x="540" y="288"/>
                    </a:lnTo>
                    <a:lnTo>
                      <a:pt x="544" y="281"/>
                    </a:lnTo>
                    <a:lnTo>
                      <a:pt x="547" y="273"/>
                    </a:lnTo>
                    <a:lnTo>
                      <a:pt x="550" y="273"/>
                    </a:lnTo>
                    <a:lnTo>
                      <a:pt x="560" y="268"/>
                    </a:lnTo>
                    <a:lnTo>
                      <a:pt x="570" y="256"/>
                    </a:lnTo>
                    <a:lnTo>
                      <a:pt x="577" y="251"/>
                    </a:lnTo>
                    <a:lnTo>
                      <a:pt x="580" y="251"/>
                    </a:lnTo>
                    <a:lnTo>
                      <a:pt x="587" y="246"/>
                    </a:lnTo>
                    <a:lnTo>
                      <a:pt x="595" y="245"/>
                    </a:lnTo>
                    <a:lnTo>
                      <a:pt x="598" y="241"/>
                    </a:lnTo>
                    <a:lnTo>
                      <a:pt x="605" y="233"/>
                    </a:lnTo>
                    <a:lnTo>
                      <a:pt x="610" y="231"/>
                    </a:lnTo>
                    <a:lnTo>
                      <a:pt x="612" y="231"/>
                    </a:lnTo>
                    <a:lnTo>
                      <a:pt x="617" y="230"/>
                    </a:lnTo>
                    <a:lnTo>
                      <a:pt x="617" y="226"/>
                    </a:lnTo>
                    <a:lnTo>
                      <a:pt x="615" y="225"/>
                    </a:lnTo>
                    <a:lnTo>
                      <a:pt x="617" y="221"/>
                    </a:lnTo>
                    <a:lnTo>
                      <a:pt x="617" y="216"/>
                    </a:lnTo>
                    <a:lnTo>
                      <a:pt x="617" y="211"/>
                    </a:lnTo>
                    <a:lnTo>
                      <a:pt x="615" y="210"/>
                    </a:lnTo>
                    <a:lnTo>
                      <a:pt x="612" y="210"/>
                    </a:lnTo>
                    <a:lnTo>
                      <a:pt x="612" y="205"/>
                    </a:lnTo>
                    <a:lnTo>
                      <a:pt x="613" y="198"/>
                    </a:lnTo>
                    <a:lnTo>
                      <a:pt x="612" y="196"/>
                    </a:lnTo>
                    <a:lnTo>
                      <a:pt x="607" y="196"/>
                    </a:lnTo>
                    <a:lnTo>
                      <a:pt x="605" y="193"/>
                    </a:lnTo>
                    <a:lnTo>
                      <a:pt x="600" y="193"/>
                    </a:lnTo>
                    <a:lnTo>
                      <a:pt x="598" y="190"/>
                    </a:lnTo>
                    <a:lnTo>
                      <a:pt x="597" y="186"/>
                    </a:lnTo>
                    <a:lnTo>
                      <a:pt x="595" y="185"/>
                    </a:lnTo>
                    <a:lnTo>
                      <a:pt x="590" y="186"/>
                    </a:lnTo>
                    <a:lnTo>
                      <a:pt x="588" y="190"/>
                    </a:lnTo>
                    <a:lnTo>
                      <a:pt x="587" y="188"/>
                    </a:lnTo>
                    <a:lnTo>
                      <a:pt x="582" y="186"/>
                    </a:lnTo>
                    <a:lnTo>
                      <a:pt x="578" y="188"/>
                    </a:lnTo>
                    <a:lnTo>
                      <a:pt x="572" y="191"/>
                    </a:lnTo>
                    <a:lnTo>
                      <a:pt x="572" y="195"/>
                    </a:lnTo>
                    <a:lnTo>
                      <a:pt x="568" y="198"/>
                    </a:lnTo>
                    <a:lnTo>
                      <a:pt x="565" y="198"/>
                    </a:lnTo>
                    <a:lnTo>
                      <a:pt x="562" y="201"/>
                    </a:lnTo>
                    <a:lnTo>
                      <a:pt x="562" y="203"/>
                    </a:lnTo>
                    <a:lnTo>
                      <a:pt x="559" y="208"/>
                    </a:lnTo>
                    <a:lnTo>
                      <a:pt x="557" y="210"/>
                    </a:lnTo>
                    <a:lnTo>
                      <a:pt x="560" y="215"/>
                    </a:lnTo>
                    <a:lnTo>
                      <a:pt x="560" y="216"/>
                    </a:lnTo>
                    <a:lnTo>
                      <a:pt x="557" y="216"/>
                    </a:lnTo>
                    <a:lnTo>
                      <a:pt x="554" y="220"/>
                    </a:lnTo>
                    <a:lnTo>
                      <a:pt x="554" y="223"/>
                    </a:lnTo>
                    <a:lnTo>
                      <a:pt x="552" y="223"/>
                    </a:lnTo>
                    <a:lnTo>
                      <a:pt x="549" y="226"/>
                    </a:lnTo>
                    <a:lnTo>
                      <a:pt x="540" y="231"/>
                    </a:lnTo>
                    <a:lnTo>
                      <a:pt x="539" y="235"/>
                    </a:lnTo>
                    <a:lnTo>
                      <a:pt x="535" y="233"/>
                    </a:lnTo>
                    <a:lnTo>
                      <a:pt x="532" y="233"/>
                    </a:lnTo>
                    <a:lnTo>
                      <a:pt x="529" y="236"/>
                    </a:lnTo>
                    <a:lnTo>
                      <a:pt x="524" y="241"/>
                    </a:lnTo>
                    <a:lnTo>
                      <a:pt x="520" y="243"/>
                    </a:lnTo>
                    <a:lnTo>
                      <a:pt x="519" y="243"/>
                    </a:lnTo>
                    <a:lnTo>
                      <a:pt x="517" y="240"/>
                    </a:lnTo>
                    <a:lnTo>
                      <a:pt x="515" y="240"/>
                    </a:lnTo>
                    <a:lnTo>
                      <a:pt x="515" y="241"/>
                    </a:lnTo>
                    <a:lnTo>
                      <a:pt x="515" y="246"/>
                    </a:lnTo>
                    <a:lnTo>
                      <a:pt x="514" y="248"/>
                    </a:lnTo>
                    <a:lnTo>
                      <a:pt x="512" y="245"/>
                    </a:lnTo>
                    <a:lnTo>
                      <a:pt x="510" y="241"/>
                    </a:lnTo>
                    <a:lnTo>
                      <a:pt x="502" y="241"/>
                    </a:lnTo>
                    <a:lnTo>
                      <a:pt x="494" y="243"/>
                    </a:lnTo>
                    <a:lnTo>
                      <a:pt x="492" y="245"/>
                    </a:lnTo>
                    <a:lnTo>
                      <a:pt x="489" y="246"/>
                    </a:lnTo>
                    <a:lnTo>
                      <a:pt x="487" y="248"/>
                    </a:lnTo>
                    <a:lnTo>
                      <a:pt x="489" y="253"/>
                    </a:lnTo>
                    <a:lnTo>
                      <a:pt x="492" y="256"/>
                    </a:lnTo>
                    <a:lnTo>
                      <a:pt x="490" y="258"/>
                    </a:lnTo>
                    <a:lnTo>
                      <a:pt x="489" y="258"/>
                    </a:lnTo>
                    <a:lnTo>
                      <a:pt x="485" y="261"/>
                    </a:lnTo>
                    <a:lnTo>
                      <a:pt x="484" y="261"/>
                    </a:lnTo>
                    <a:lnTo>
                      <a:pt x="484" y="260"/>
                    </a:lnTo>
                    <a:lnTo>
                      <a:pt x="485" y="258"/>
                    </a:lnTo>
                    <a:lnTo>
                      <a:pt x="485" y="255"/>
                    </a:lnTo>
                    <a:lnTo>
                      <a:pt x="482" y="255"/>
                    </a:lnTo>
                    <a:lnTo>
                      <a:pt x="479" y="260"/>
                    </a:lnTo>
                    <a:lnTo>
                      <a:pt x="475" y="261"/>
                    </a:lnTo>
                    <a:lnTo>
                      <a:pt x="475" y="265"/>
                    </a:lnTo>
                    <a:lnTo>
                      <a:pt x="479" y="266"/>
                    </a:lnTo>
                    <a:lnTo>
                      <a:pt x="475" y="268"/>
                    </a:lnTo>
                    <a:lnTo>
                      <a:pt x="474" y="271"/>
                    </a:lnTo>
                    <a:lnTo>
                      <a:pt x="469" y="271"/>
                    </a:lnTo>
                    <a:lnTo>
                      <a:pt x="465" y="273"/>
                    </a:lnTo>
                    <a:lnTo>
                      <a:pt x="465" y="276"/>
                    </a:lnTo>
                    <a:lnTo>
                      <a:pt x="461" y="278"/>
                    </a:lnTo>
                    <a:lnTo>
                      <a:pt x="459" y="279"/>
                    </a:lnTo>
                    <a:lnTo>
                      <a:pt x="457" y="286"/>
                    </a:lnTo>
                    <a:lnTo>
                      <a:pt x="459" y="288"/>
                    </a:lnTo>
                    <a:lnTo>
                      <a:pt x="461" y="288"/>
                    </a:lnTo>
                    <a:lnTo>
                      <a:pt x="457" y="291"/>
                    </a:lnTo>
                    <a:lnTo>
                      <a:pt x="451" y="291"/>
                    </a:lnTo>
                    <a:lnTo>
                      <a:pt x="447" y="293"/>
                    </a:lnTo>
                    <a:lnTo>
                      <a:pt x="447" y="298"/>
                    </a:lnTo>
                    <a:lnTo>
                      <a:pt x="447" y="301"/>
                    </a:lnTo>
                    <a:lnTo>
                      <a:pt x="451" y="303"/>
                    </a:lnTo>
                    <a:lnTo>
                      <a:pt x="454" y="301"/>
                    </a:lnTo>
                    <a:lnTo>
                      <a:pt x="456" y="303"/>
                    </a:lnTo>
                    <a:lnTo>
                      <a:pt x="454" y="306"/>
                    </a:lnTo>
                    <a:lnTo>
                      <a:pt x="456" y="309"/>
                    </a:lnTo>
                    <a:lnTo>
                      <a:pt x="452" y="311"/>
                    </a:lnTo>
                    <a:lnTo>
                      <a:pt x="449" y="311"/>
                    </a:lnTo>
                    <a:lnTo>
                      <a:pt x="442" y="309"/>
                    </a:lnTo>
                    <a:lnTo>
                      <a:pt x="437" y="311"/>
                    </a:lnTo>
                    <a:lnTo>
                      <a:pt x="436" y="314"/>
                    </a:lnTo>
                    <a:lnTo>
                      <a:pt x="437" y="318"/>
                    </a:lnTo>
                    <a:lnTo>
                      <a:pt x="434" y="321"/>
                    </a:lnTo>
                    <a:lnTo>
                      <a:pt x="431" y="324"/>
                    </a:lnTo>
                    <a:lnTo>
                      <a:pt x="427" y="323"/>
                    </a:lnTo>
                    <a:lnTo>
                      <a:pt x="424" y="321"/>
                    </a:lnTo>
                    <a:lnTo>
                      <a:pt x="422" y="318"/>
                    </a:lnTo>
                    <a:lnTo>
                      <a:pt x="421" y="318"/>
                    </a:lnTo>
                    <a:lnTo>
                      <a:pt x="419" y="324"/>
                    </a:lnTo>
                    <a:lnTo>
                      <a:pt x="421" y="328"/>
                    </a:lnTo>
                    <a:lnTo>
                      <a:pt x="426" y="331"/>
                    </a:lnTo>
                    <a:lnTo>
                      <a:pt x="427" y="331"/>
                    </a:lnTo>
                    <a:lnTo>
                      <a:pt x="429" y="331"/>
                    </a:lnTo>
                    <a:lnTo>
                      <a:pt x="429" y="334"/>
                    </a:lnTo>
                    <a:lnTo>
                      <a:pt x="427" y="339"/>
                    </a:lnTo>
                    <a:lnTo>
                      <a:pt x="429" y="341"/>
                    </a:lnTo>
                    <a:lnTo>
                      <a:pt x="431" y="343"/>
                    </a:lnTo>
                    <a:lnTo>
                      <a:pt x="434" y="339"/>
                    </a:lnTo>
                    <a:lnTo>
                      <a:pt x="436" y="339"/>
                    </a:lnTo>
                    <a:lnTo>
                      <a:pt x="437" y="341"/>
                    </a:lnTo>
                    <a:lnTo>
                      <a:pt x="442" y="341"/>
                    </a:lnTo>
                    <a:lnTo>
                      <a:pt x="446" y="339"/>
                    </a:lnTo>
                    <a:lnTo>
                      <a:pt x="447" y="341"/>
                    </a:lnTo>
                    <a:lnTo>
                      <a:pt x="446" y="343"/>
                    </a:lnTo>
                    <a:lnTo>
                      <a:pt x="442" y="344"/>
                    </a:lnTo>
                    <a:lnTo>
                      <a:pt x="436" y="344"/>
                    </a:lnTo>
                    <a:lnTo>
                      <a:pt x="434" y="346"/>
                    </a:lnTo>
                    <a:lnTo>
                      <a:pt x="431" y="346"/>
                    </a:lnTo>
                    <a:lnTo>
                      <a:pt x="429" y="348"/>
                    </a:lnTo>
                    <a:lnTo>
                      <a:pt x="431" y="353"/>
                    </a:lnTo>
                    <a:lnTo>
                      <a:pt x="434" y="354"/>
                    </a:lnTo>
                    <a:lnTo>
                      <a:pt x="437" y="356"/>
                    </a:lnTo>
                    <a:lnTo>
                      <a:pt x="441" y="354"/>
                    </a:lnTo>
                    <a:lnTo>
                      <a:pt x="442" y="356"/>
                    </a:lnTo>
                    <a:lnTo>
                      <a:pt x="441" y="358"/>
                    </a:lnTo>
                    <a:lnTo>
                      <a:pt x="436" y="359"/>
                    </a:lnTo>
                    <a:lnTo>
                      <a:pt x="431" y="359"/>
                    </a:lnTo>
                    <a:lnTo>
                      <a:pt x="427" y="361"/>
                    </a:lnTo>
                    <a:lnTo>
                      <a:pt x="427" y="363"/>
                    </a:lnTo>
                    <a:lnTo>
                      <a:pt x="429" y="364"/>
                    </a:lnTo>
                    <a:lnTo>
                      <a:pt x="434" y="364"/>
                    </a:lnTo>
                    <a:lnTo>
                      <a:pt x="437" y="364"/>
                    </a:lnTo>
                    <a:lnTo>
                      <a:pt x="437" y="366"/>
                    </a:lnTo>
                    <a:lnTo>
                      <a:pt x="436" y="368"/>
                    </a:lnTo>
                    <a:lnTo>
                      <a:pt x="431" y="368"/>
                    </a:lnTo>
                    <a:lnTo>
                      <a:pt x="431" y="371"/>
                    </a:lnTo>
                    <a:lnTo>
                      <a:pt x="432" y="371"/>
                    </a:lnTo>
                    <a:lnTo>
                      <a:pt x="437" y="371"/>
                    </a:lnTo>
                    <a:lnTo>
                      <a:pt x="446" y="376"/>
                    </a:lnTo>
                    <a:lnTo>
                      <a:pt x="449" y="377"/>
                    </a:lnTo>
                    <a:lnTo>
                      <a:pt x="449" y="377"/>
                    </a:lnTo>
                    <a:lnTo>
                      <a:pt x="449" y="381"/>
                    </a:lnTo>
                    <a:lnTo>
                      <a:pt x="446" y="377"/>
                    </a:lnTo>
                    <a:lnTo>
                      <a:pt x="441" y="376"/>
                    </a:lnTo>
                    <a:lnTo>
                      <a:pt x="437" y="376"/>
                    </a:lnTo>
                    <a:lnTo>
                      <a:pt x="432" y="372"/>
                    </a:lnTo>
                    <a:lnTo>
                      <a:pt x="429" y="372"/>
                    </a:lnTo>
                    <a:lnTo>
                      <a:pt x="426" y="376"/>
                    </a:lnTo>
                    <a:lnTo>
                      <a:pt x="426" y="379"/>
                    </a:lnTo>
                    <a:lnTo>
                      <a:pt x="422" y="381"/>
                    </a:lnTo>
                    <a:lnTo>
                      <a:pt x="424" y="382"/>
                    </a:lnTo>
                    <a:lnTo>
                      <a:pt x="426" y="384"/>
                    </a:lnTo>
                    <a:lnTo>
                      <a:pt x="424" y="386"/>
                    </a:lnTo>
                    <a:lnTo>
                      <a:pt x="422" y="387"/>
                    </a:lnTo>
                    <a:lnTo>
                      <a:pt x="421" y="387"/>
                    </a:lnTo>
                    <a:lnTo>
                      <a:pt x="417" y="389"/>
                    </a:lnTo>
                    <a:lnTo>
                      <a:pt x="416" y="394"/>
                    </a:lnTo>
                    <a:lnTo>
                      <a:pt x="416" y="396"/>
                    </a:lnTo>
                    <a:lnTo>
                      <a:pt x="416" y="397"/>
                    </a:lnTo>
                    <a:lnTo>
                      <a:pt x="411" y="397"/>
                    </a:lnTo>
                    <a:lnTo>
                      <a:pt x="411" y="399"/>
                    </a:lnTo>
                    <a:lnTo>
                      <a:pt x="416" y="404"/>
                    </a:lnTo>
                    <a:lnTo>
                      <a:pt x="421" y="406"/>
                    </a:lnTo>
                    <a:lnTo>
                      <a:pt x="422" y="404"/>
                    </a:lnTo>
                    <a:lnTo>
                      <a:pt x="424" y="402"/>
                    </a:lnTo>
                    <a:lnTo>
                      <a:pt x="427" y="401"/>
                    </a:lnTo>
                    <a:lnTo>
                      <a:pt x="434" y="396"/>
                    </a:lnTo>
                    <a:lnTo>
                      <a:pt x="439" y="394"/>
                    </a:lnTo>
                    <a:lnTo>
                      <a:pt x="444" y="396"/>
                    </a:lnTo>
                    <a:lnTo>
                      <a:pt x="446" y="397"/>
                    </a:lnTo>
                    <a:lnTo>
                      <a:pt x="446" y="399"/>
                    </a:lnTo>
                    <a:lnTo>
                      <a:pt x="444" y="399"/>
                    </a:lnTo>
                    <a:lnTo>
                      <a:pt x="441" y="397"/>
                    </a:lnTo>
                    <a:lnTo>
                      <a:pt x="437" y="397"/>
                    </a:lnTo>
                    <a:lnTo>
                      <a:pt x="436" y="399"/>
                    </a:lnTo>
                    <a:lnTo>
                      <a:pt x="429" y="402"/>
                    </a:lnTo>
                    <a:lnTo>
                      <a:pt x="427" y="406"/>
                    </a:lnTo>
                    <a:lnTo>
                      <a:pt x="426" y="411"/>
                    </a:lnTo>
                    <a:lnTo>
                      <a:pt x="427" y="414"/>
                    </a:lnTo>
                    <a:lnTo>
                      <a:pt x="426" y="416"/>
                    </a:lnTo>
                    <a:lnTo>
                      <a:pt x="426" y="416"/>
                    </a:lnTo>
                    <a:lnTo>
                      <a:pt x="426" y="417"/>
                    </a:lnTo>
                    <a:lnTo>
                      <a:pt x="426" y="417"/>
                    </a:lnTo>
                    <a:close/>
                    <a:moveTo>
                      <a:pt x="447" y="537"/>
                    </a:moveTo>
                    <a:lnTo>
                      <a:pt x="449" y="537"/>
                    </a:lnTo>
                    <a:lnTo>
                      <a:pt x="451" y="535"/>
                    </a:lnTo>
                    <a:lnTo>
                      <a:pt x="447" y="532"/>
                    </a:lnTo>
                    <a:lnTo>
                      <a:pt x="451" y="529"/>
                    </a:lnTo>
                    <a:lnTo>
                      <a:pt x="449" y="525"/>
                    </a:lnTo>
                    <a:lnTo>
                      <a:pt x="442" y="524"/>
                    </a:lnTo>
                    <a:lnTo>
                      <a:pt x="442" y="520"/>
                    </a:lnTo>
                    <a:lnTo>
                      <a:pt x="439" y="519"/>
                    </a:lnTo>
                    <a:lnTo>
                      <a:pt x="432" y="520"/>
                    </a:lnTo>
                    <a:lnTo>
                      <a:pt x="429" y="522"/>
                    </a:lnTo>
                    <a:lnTo>
                      <a:pt x="431" y="525"/>
                    </a:lnTo>
                    <a:lnTo>
                      <a:pt x="434" y="527"/>
                    </a:lnTo>
                    <a:lnTo>
                      <a:pt x="436" y="525"/>
                    </a:lnTo>
                    <a:lnTo>
                      <a:pt x="439" y="527"/>
                    </a:lnTo>
                    <a:lnTo>
                      <a:pt x="441" y="530"/>
                    </a:lnTo>
                    <a:lnTo>
                      <a:pt x="444" y="532"/>
                    </a:lnTo>
                    <a:lnTo>
                      <a:pt x="447" y="537"/>
                    </a:lnTo>
                    <a:lnTo>
                      <a:pt x="447" y="537"/>
                    </a:lnTo>
                    <a:close/>
                    <a:moveTo>
                      <a:pt x="534" y="535"/>
                    </a:moveTo>
                    <a:lnTo>
                      <a:pt x="529" y="532"/>
                    </a:lnTo>
                    <a:lnTo>
                      <a:pt x="527" y="534"/>
                    </a:lnTo>
                    <a:lnTo>
                      <a:pt x="522" y="532"/>
                    </a:lnTo>
                    <a:lnTo>
                      <a:pt x="519" y="527"/>
                    </a:lnTo>
                    <a:lnTo>
                      <a:pt x="514" y="527"/>
                    </a:lnTo>
                    <a:lnTo>
                      <a:pt x="505" y="522"/>
                    </a:lnTo>
                    <a:lnTo>
                      <a:pt x="504" y="517"/>
                    </a:lnTo>
                    <a:lnTo>
                      <a:pt x="499" y="517"/>
                    </a:lnTo>
                    <a:lnTo>
                      <a:pt x="492" y="507"/>
                    </a:lnTo>
                    <a:lnTo>
                      <a:pt x="484" y="499"/>
                    </a:lnTo>
                    <a:lnTo>
                      <a:pt x="480" y="489"/>
                    </a:lnTo>
                    <a:lnTo>
                      <a:pt x="475" y="482"/>
                    </a:lnTo>
                    <a:lnTo>
                      <a:pt x="475" y="470"/>
                    </a:lnTo>
                    <a:lnTo>
                      <a:pt x="472" y="466"/>
                    </a:lnTo>
                    <a:lnTo>
                      <a:pt x="470" y="452"/>
                    </a:lnTo>
                    <a:lnTo>
                      <a:pt x="469" y="451"/>
                    </a:lnTo>
                    <a:lnTo>
                      <a:pt x="470" y="446"/>
                    </a:lnTo>
                    <a:lnTo>
                      <a:pt x="470" y="444"/>
                    </a:lnTo>
                    <a:lnTo>
                      <a:pt x="467" y="442"/>
                    </a:lnTo>
                    <a:lnTo>
                      <a:pt x="462" y="444"/>
                    </a:lnTo>
                    <a:lnTo>
                      <a:pt x="461" y="442"/>
                    </a:lnTo>
                    <a:lnTo>
                      <a:pt x="461" y="441"/>
                    </a:lnTo>
                    <a:lnTo>
                      <a:pt x="467" y="441"/>
                    </a:lnTo>
                    <a:lnTo>
                      <a:pt x="472" y="439"/>
                    </a:lnTo>
                    <a:lnTo>
                      <a:pt x="474" y="431"/>
                    </a:lnTo>
                    <a:lnTo>
                      <a:pt x="472" y="426"/>
                    </a:lnTo>
                    <a:lnTo>
                      <a:pt x="469" y="427"/>
                    </a:lnTo>
                    <a:lnTo>
                      <a:pt x="464" y="427"/>
                    </a:lnTo>
                    <a:lnTo>
                      <a:pt x="465" y="426"/>
                    </a:lnTo>
                    <a:lnTo>
                      <a:pt x="472" y="424"/>
                    </a:lnTo>
                    <a:lnTo>
                      <a:pt x="474" y="421"/>
                    </a:lnTo>
                    <a:lnTo>
                      <a:pt x="472" y="419"/>
                    </a:lnTo>
                    <a:lnTo>
                      <a:pt x="462" y="419"/>
                    </a:lnTo>
                    <a:lnTo>
                      <a:pt x="451" y="417"/>
                    </a:lnTo>
                    <a:lnTo>
                      <a:pt x="447" y="416"/>
                    </a:lnTo>
                    <a:lnTo>
                      <a:pt x="442" y="416"/>
                    </a:lnTo>
                    <a:lnTo>
                      <a:pt x="434" y="421"/>
                    </a:lnTo>
                    <a:lnTo>
                      <a:pt x="426" y="421"/>
                    </a:lnTo>
                    <a:lnTo>
                      <a:pt x="422" y="422"/>
                    </a:lnTo>
                    <a:lnTo>
                      <a:pt x="417" y="426"/>
                    </a:lnTo>
                    <a:lnTo>
                      <a:pt x="416" y="431"/>
                    </a:lnTo>
                    <a:lnTo>
                      <a:pt x="414" y="434"/>
                    </a:lnTo>
                    <a:lnTo>
                      <a:pt x="416" y="439"/>
                    </a:lnTo>
                    <a:lnTo>
                      <a:pt x="421" y="439"/>
                    </a:lnTo>
                    <a:lnTo>
                      <a:pt x="422" y="441"/>
                    </a:lnTo>
                    <a:lnTo>
                      <a:pt x="421" y="442"/>
                    </a:lnTo>
                    <a:lnTo>
                      <a:pt x="416" y="442"/>
                    </a:lnTo>
                    <a:lnTo>
                      <a:pt x="411" y="444"/>
                    </a:lnTo>
                    <a:lnTo>
                      <a:pt x="407" y="451"/>
                    </a:lnTo>
                    <a:lnTo>
                      <a:pt x="407" y="456"/>
                    </a:lnTo>
                    <a:lnTo>
                      <a:pt x="409" y="457"/>
                    </a:lnTo>
                    <a:lnTo>
                      <a:pt x="412" y="457"/>
                    </a:lnTo>
                    <a:lnTo>
                      <a:pt x="419" y="454"/>
                    </a:lnTo>
                    <a:lnTo>
                      <a:pt x="421" y="456"/>
                    </a:lnTo>
                    <a:lnTo>
                      <a:pt x="416" y="459"/>
                    </a:lnTo>
                    <a:lnTo>
                      <a:pt x="416" y="462"/>
                    </a:lnTo>
                    <a:lnTo>
                      <a:pt x="417" y="462"/>
                    </a:lnTo>
                    <a:lnTo>
                      <a:pt x="421" y="459"/>
                    </a:lnTo>
                    <a:lnTo>
                      <a:pt x="424" y="459"/>
                    </a:lnTo>
                    <a:lnTo>
                      <a:pt x="426" y="461"/>
                    </a:lnTo>
                    <a:lnTo>
                      <a:pt x="421" y="464"/>
                    </a:lnTo>
                    <a:lnTo>
                      <a:pt x="421" y="467"/>
                    </a:lnTo>
                    <a:lnTo>
                      <a:pt x="424" y="470"/>
                    </a:lnTo>
                    <a:lnTo>
                      <a:pt x="429" y="470"/>
                    </a:lnTo>
                    <a:lnTo>
                      <a:pt x="426" y="472"/>
                    </a:lnTo>
                    <a:lnTo>
                      <a:pt x="422" y="472"/>
                    </a:lnTo>
                    <a:lnTo>
                      <a:pt x="419" y="474"/>
                    </a:lnTo>
                    <a:lnTo>
                      <a:pt x="419" y="477"/>
                    </a:lnTo>
                    <a:lnTo>
                      <a:pt x="422" y="482"/>
                    </a:lnTo>
                    <a:lnTo>
                      <a:pt x="421" y="484"/>
                    </a:lnTo>
                    <a:lnTo>
                      <a:pt x="417" y="482"/>
                    </a:lnTo>
                    <a:lnTo>
                      <a:pt x="414" y="484"/>
                    </a:lnTo>
                    <a:lnTo>
                      <a:pt x="409" y="482"/>
                    </a:lnTo>
                    <a:lnTo>
                      <a:pt x="407" y="482"/>
                    </a:lnTo>
                    <a:lnTo>
                      <a:pt x="402" y="487"/>
                    </a:lnTo>
                    <a:lnTo>
                      <a:pt x="402" y="490"/>
                    </a:lnTo>
                    <a:lnTo>
                      <a:pt x="404" y="497"/>
                    </a:lnTo>
                    <a:lnTo>
                      <a:pt x="402" y="502"/>
                    </a:lnTo>
                    <a:lnTo>
                      <a:pt x="404" y="505"/>
                    </a:lnTo>
                    <a:lnTo>
                      <a:pt x="411" y="510"/>
                    </a:lnTo>
                    <a:lnTo>
                      <a:pt x="411" y="514"/>
                    </a:lnTo>
                    <a:lnTo>
                      <a:pt x="417" y="517"/>
                    </a:lnTo>
                    <a:lnTo>
                      <a:pt x="422" y="519"/>
                    </a:lnTo>
                    <a:lnTo>
                      <a:pt x="424" y="517"/>
                    </a:lnTo>
                    <a:lnTo>
                      <a:pt x="427" y="517"/>
                    </a:lnTo>
                    <a:lnTo>
                      <a:pt x="432" y="512"/>
                    </a:lnTo>
                    <a:lnTo>
                      <a:pt x="431" y="505"/>
                    </a:lnTo>
                    <a:lnTo>
                      <a:pt x="431" y="502"/>
                    </a:lnTo>
                    <a:lnTo>
                      <a:pt x="434" y="497"/>
                    </a:lnTo>
                    <a:lnTo>
                      <a:pt x="432" y="502"/>
                    </a:lnTo>
                    <a:lnTo>
                      <a:pt x="432" y="505"/>
                    </a:lnTo>
                    <a:lnTo>
                      <a:pt x="434" y="509"/>
                    </a:lnTo>
                    <a:lnTo>
                      <a:pt x="436" y="514"/>
                    </a:lnTo>
                    <a:lnTo>
                      <a:pt x="439" y="515"/>
                    </a:lnTo>
                    <a:lnTo>
                      <a:pt x="442" y="514"/>
                    </a:lnTo>
                    <a:lnTo>
                      <a:pt x="442" y="510"/>
                    </a:lnTo>
                    <a:lnTo>
                      <a:pt x="444" y="505"/>
                    </a:lnTo>
                    <a:lnTo>
                      <a:pt x="446" y="507"/>
                    </a:lnTo>
                    <a:lnTo>
                      <a:pt x="446" y="510"/>
                    </a:lnTo>
                    <a:lnTo>
                      <a:pt x="446" y="514"/>
                    </a:lnTo>
                    <a:lnTo>
                      <a:pt x="451" y="520"/>
                    </a:lnTo>
                    <a:lnTo>
                      <a:pt x="456" y="524"/>
                    </a:lnTo>
                    <a:lnTo>
                      <a:pt x="459" y="524"/>
                    </a:lnTo>
                    <a:lnTo>
                      <a:pt x="462" y="520"/>
                    </a:lnTo>
                    <a:lnTo>
                      <a:pt x="465" y="522"/>
                    </a:lnTo>
                    <a:lnTo>
                      <a:pt x="464" y="524"/>
                    </a:lnTo>
                    <a:lnTo>
                      <a:pt x="461" y="524"/>
                    </a:lnTo>
                    <a:lnTo>
                      <a:pt x="459" y="527"/>
                    </a:lnTo>
                    <a:lnTo>
                      <a:pt x="456" y="529"/>
                    </a:lnTo>
                    <a:lnTo>
                      <a:pt x="456" y="530"/>
                    </a:lnTo>
                    <a:lnTo>
                      <a:pt x="459" y="534"/>
                    </a:lnTo>
                    <a:lnTo>
                      <a:pt x="461" y="537"/>
                    </a:lnTo>
                    <a:lnTo>
                      <a:pt x="457" y="537"/>
                    </a:lnTo>
                    <a:lnTo>
                      <a:pt x="454" y="537"/>
                    </a:lnTo>
                    <a:lnTo>
                      <a:pt x="454" y="540"/>
                    </a:lnTo>
                    <a:lnTo>
                      <a:pt x="457" y="542"/>
                    </a:lnTo>
                    <a:lnTo>
                      <a:pt x="464" y="542"/>
                    </a:lnTo>
                    <a:lnTo>
                      <a:pt x="469" y="545"/>
                    </a:lnTo>
                    <a:lnTo>
                      <a:pt x="474" y="544"/>
                    </a:lnTo>
                    <a:lnTo>
                      <a:pt x="480" y="545"/>
                    </a:lnTo>
                    <a:lnTo>
                      <a:pt x="480" y="542"/>
                    </a:lnTo>
                    <a:lnTo>
                      <a:pt x="482" y="542"/>
                    </a:lnTo>
                    <a:lnTo>
                      <a:pt x="484" y="545"/>
                    </a:lnTo>
                    <a:lnTo>
                      <a:pt x="485" y="552"/>
                    </a:lnTo>
                    <a:lnTo>
                      <a:pt x="490" y="554"/>
                    </a:lnTo>
                    <a:lnTo>
                      <a:pt x="494" y="554"/>
                    </a:lnTo>
                    <a:lnTo>
                      <a:pt x="497" y="550"/>
                    </a:lnTo>
                    <a:lnTo>
                      <a:pt x="495" y="545"/>
                    </a:lnTo>
                    <a:lnTo>
                      <a:pt x="489" y="544"/>
                    </a:lnTo>
                    <a:lnTo>
                      <a:pt x="487" y="542"/>
                    </a:lnTo>
                    <a:lnTo>
                      <a:pt x="489" y="540"/>
                    </a:lnTo>
                    <a:lnTo>
                      <a:pt x="492" y="542"/>
                    </a:lnTo>
                    <a:lnTo>
                      <a:pt x="497" y="544"/>
                    </a:lnTo>
                    <a:lnTo>
                      <a:pt x="499" y="547"/>
                    </a:lnTo>
                    <a:lnTo>
                      <a:pt x="502" y="552"/>
                    </a:lnTo>
                    <a:lnTo>
                      <a:pt x="504" y="552"/>
                    </a:lnTo>
                    <a:lnTo>
                      <a:pt x="504" y="549"/>
                    </a:lnTo>
                    <a:lnTo>
                      <a:pt x="507" y="547"/>
                    </a:lnTo>
                    <a:lnTo>
                      <a:pt x="509" y="550"/>
                    </a:lnTo>
                    <a:lnTo>
                      <a:pt x="515" y="554"/>
                    </a:lnTo>
                    <a:lnTo>
                      <a:pt x="519" y="552"/>
                    </a:lnTo>
                    <a:lnTo>
                      <a:pt x="519" y="550"/>
                    </a:lnTo>
                    <a:lnTo>
                      <a:pt x="514" y="547"/>
                    </a:lnTo>
                    <a:lnTo>
                      <a:pt x="514" y="545"/>
                    </a:lnTo>
                    <a:lnTo>
                      <a:pt x="515" y="545"/>
                    </a:lnTo>
                    <a:lnTo>
                      <a:pt x="520" y="547"/>
                    </a:lnTo>
                    <a:lnTo>
                      <a:pt x="522" y="549"/>
                    </a:lnTo>
                    <a:lnTo>
                      <a:pt x="524" y="549"/>
                    </a:lnTo>
                    <a:lnTo>
                      <a:pt x="525" y="554"/>
                    </a:lnTo>
                    <a:lnTo>
                      <a:pt x="529" y="555"/>
                    </a:lnTo>
                    <a:lnTo>
                      <a:pt x="530" y="554"/>
                    </a:lnTo>
                    <a:lnTo>
                      <a:pt x="532" y="550"/>
                    </a:lnTo>
                    <a:lnTo>
                      <a:pt x="530" y="547"/>
                    </a:lnTo>
                    <a:lnTo>
                      <a:pt x="527" y="547"/>
                    </a:lnTo>
                    <a:lnTo>
                      <a:pt x="524" y="545"/>
                    </a:lnTo>
                    <a:lnTo>
                      <a:pt x="525" y="544"/>
                    </a:lnTo>
                    <a:lnTo>
                      <a:pt x="527" y="545"/>
                    </a:lnTo>
                    <a:lnTo>
                      <a:pt x="530" y="545"/>
                    </a:lnTo>
                    <a:lnTo>
                      <a:pt x="534" y="540"/>
                    </a:lnTo>
                    <a:lnTo>
                      <a:pt x="535" y="539"/>
                    </a:lnTo>
                    <a:lnTo>
                      <a:pt x="534" y="535"/>
                    </a:lnTo>
                    <a:lnTo>
                      <a:pt x="534" y="535"/>
                    </a:lnTo>
                    <a:close/>
                    <a:moveTo>
                      <a:pt x="170" y="809"/>
                    </a:moveTo>
                    <a:lnTo>
                      <a:pt x="168" y="806"/>
                    </a:lnTo>
                    <a:lnTo>
                      <a:pt x="170" y="804"/>
                    </a:lnTo>
                    <a:lnTo>
                      <a:pt x="170" y="801"/>
                    </a:lnTo>
                    <a:lnTo>
                      <a:pt x="167" y="801"/>
                    </a:lnTo>
                    <a:lnTo>
                      <a:pt x="163" y="804"/>
                    </a:lnTo>
                    <a:lnTo>
                      <a:pt x="163" y="808"/>
                    </a:lnTo>
                    <a:lnTo>
                      <a:pt x="167" y="809"/>
                    </a:lnTo>
                    <a:lnTo>
                      <a:pt x="168" y="811"/>
                    </a:lnTo>
                    <a:lnTo>
                      <a:pt x="170" y="811"/>
                    </a:lnTo>
                    <a:lnTo>
                      <a:pt x="170" y="809"/>
                    </a:lnTo>
                    <a:lnTo>
                      <a:pt x="170" y="809"/>
                    </a:lnTo>
                    <a:close/>
                    <a:moveTo>
                      <a:pt x="296" y="738"/>
                    </a:moveTo>
                    <a:lnTo>
                      <a:pt x="298" y="738"/>
                    </a:lnTo>
                    <a:lnTo>
                      <a:pt x="298" y="735"/>
                    </a:lnTo>
                    <a:lnTo>
                      <a:pt x="294" y="733"/>
                    </a:lnTo>
                    <a:lnTo>
                      <a:pt x="293" y="733"/>
                    </a:lnTo>
                    <a:lnTo>
                      <a:pt x="293" y="735"/>
                    </a:lnTo>
                    <a:lnTo>
                      <a:pt x="296" y="738"/>
                    </a:lnTo>
                    <a:lnTo>
                      <a:pt x="296" y="738"/>
                    </a:lnTo>
                    <a:close/>
                    <a:moveTo>
                      <a:pt x="392" y="643"/>
                    </a:moveTo>
                    <a:lnTo>
                      <a:pt x="399" y="642"/>
                    </a:lnTo>
                    <a:lnTo>
                      <a:pt x="404" y="637"/>
                    </a:lnTo>
                    <a:lnTo>
                      <a:pt x="409" y="633"/>
                    </a:lnTo>
                    <a:lnTo>
                      <a:pt x="409" y="625"/>
                    </a:lnTo>
                    <a:lnTo>
                      <a:pt x="412" y="622"/>
                    </a:lnTo>
                    <a:lnTo>
                      <a:pt x="414" y="627"/>
                    </a:lnTo>
                    <a:lnTo>
                      <a:pt x="412" y="632"/>
                    </a:lnTo>
                    <a:lnTo>
                      <a:pt x="416" y="627"/>
                    </a:lnTo>
                    <a:lnTo>
                      <a:pt x="416" y="622"/>
                    </a:lnTo>
                    <a:lnTo>
                      <a:pt x="411" y="617"/>
                    </a:lnTo>
                    <a:lnTo>
                      <a:pt x="394" y="610"/>
                    </a:lnTo>
                    <a:lnTo>
                      <a:pt x="386" y="608"/>
                    </a:lnTo>
                    <a:lnTo>
                      <a:pt x="381" y="612"/>
                    </a:lnTo>
                    <a:lnTo>
                      <a:pt x="377" y="620"/>
                    </a:lnTo>
                    <a:lnTo>
                      <a:pt x="377" y="632"/>
                    </a:lnTo>
                    <a:lnTo>
                      <a:pt x="381" y="637"/>
                    </a:lnTo>
                    <a:lnTo>
                      <a:pt x="382" y="642"/>
                    </a:lnTo>
                    <a:lnTo>
                      <a:pt x="384" y="640"/>
                    </a:lnTo>
                    <a:lnTo>
                      <a:pt x="387" y="643"/>
                    </a:lnTo>
                    <a:lnTo>
                      <a:pt x="386" y="645"/>
                    </a:lnTo>
                    <a:lnTo>
                      <a:pt x="389" y="645"/>
                    </a:lnTo>
                    <a:lnTo>
                      <a:pt x="392" y="643"/>
                    </a:lnTo>
                    <a:lnTo>
                      <a:pt x="392" y="643"/>
                    </a:lnTo>
                    <a:close/>
                    <a:moveTo>
                      <a:pt x="437" y="652"/>
                    </a:moveTo>
                    <a:lnTo>
                      <a:pt x="439" y="652"/>
                    </a:lnTo>
                    <a:lnTo>
                      <a:pt x="439" y="650"/>
                    </a:lnTo>
                    <a:lnTo>
                      <a:pt x="446" y="648"/>
                    </a:lnTo>
                    <a:lnTo>
                      <a:pt x="447" y="647"/>
                    </a:lnTo>
                    <a:lnTo>
                      <a:pt x="442" y="647"/>
                    </a:lnTo>
                    <a:lnTo>
                      <a:pt x="437" y="648"/>
                    </a:lnTo>
                    <a:lnTo>
                      <a:pt x="437" y="652"/>
                    </a:lnTo>
                    <a:lnTo>
                      <a:pt x="437" y="652"/>
                    </a:lnTo>
                    <a:close/>
                    <a:moveTo>
                      <a:pt x="507" y="650"/>
                    </a:moveTo>
                    <a:lnTo>
                      <a:pt x="509" y="652"/>
                    </a:lnTo>
                    <a:lnTo>
                      <a:pt x="512" y="647"/>
                    </a:lnTo>
                    <a:lnTo>
                      <a:pt x="512" y="643"/>
                    </a:lnTo>
                    <a:lnTo>
                      <a:pt x="509" y="645"/>
                    </a:lnTo>
                    <a:lnTo>
                      <a:pt x="507" y="647"/>
                    </a:lnTo>
                    <a:lnTo>
                      <a:pt x="507" y="650"/>
                    </a:lnTo>
                    <a:lnTo>
                      <a:pt x="507" y="650"/>
                    </a:lnTo>
                    <a:close/>
                    <a:moveTo>
                      <a:pt x="497" y="650"/>
                    </a:moveTo>
                    <a:lnTo>
                      <a:pt x="500" y="652"/>
                    </a:lnTo>
                    <a:lnTo>
                      <a:pt x="502" y="648"/>
                    </a:lnTo>
                    <a:lnTo>
                      <a:pt x="500" y="647"/>
                    </a:lnTo>
                    <a:lnTo>
                      <a:pt x="499" y="647"/>
                    </a:lnTo>
                    <a:lnTo>
                      <a:pt x="497" y="650"/>
                    </a:lnTo>
                    <a:lnTo>
                      <a:pt x="497" y="650"/>
                    </a:lnTo>
                    <a:close/>
                    <a:moveTo>
                      <a:pt x="555" y="628"/>
                    </a:moveTo>
                    <a:lnTo>
                      <a:pt x="557" y="628"/>
                    </a:lnTo>
                    <a:lnTo>
                      <a:pt x="560" y="627"/>
                    </a:lnTo>
                    <a:lnTo>
                      <a:pt x="567" y="625"/>
                    </a:lnTo>
                    <a:lnTo>
                      <a:pt x="568" y="623"/>
                    </a:lnTo>
                    <a:lnTo>
                      <a:pt x="564" y="622"/>
                    </a:lnTo>
                    <a:lnTo>
                      <a:pt x="557" y="625"/>
                    </a:lnTo>
                    <a:lnTo>
                      <a:pt x="555" y="628"/>
                    </a:lnTo>
                    <a:lnTo>
                      <a:pt x="555" y="628"/>
                    </a:lnTo>
                    <a:close/>
                    <a:moveTo>
                      <a:pt x="532" y="623"/>
                    </a:moveTo>
                    <a:lnTo>
                      <a:pt x="534" y="627"/>
                    </a:lnTo>
                    <a:lnTo>
                      <a:pt x="537" y="627"/>
                    </a:lnTo>
                    <a:lnTo>
                      <a:pt x="537" y="623"/>
                    </a:lnTo>
                    <a:lnTo>
                      <a:pt x="534" y="622"/>
                    </a:lnTo>
                    <a:lnTo>
                      <a:pt x="532" y="623"/>
                    </a:lnTo>
                    <a:lnTo>
                      <a:pt x="532" y="623"/>
                    </a:lnTo>
                    <a:close/>
                    <a:moveTo>
                      <a:pt x="517" y="623"/>
                    </a:moveTo>
                    <a:lnTo>
                      <a:pt x="520" y="623"/>
                    </a:lnTo>
                    <a:lnTo>
                      <a:pt x="522" y="625"/>
                    </a:lnTo>
                    <a:lnTo>
                      <a:pt x="527" y="627"/>
                    </a:lnTo>
                    <a:lnTo>
                      <a:pt x="525" y="622"/>
                    </a:lnTo>
                    <a:lnTo>
                      <a:pt x="520" y="620"/>
                    </a:lnTo>
                    <a:lnTo>
                      <a:pt x="517" y="623"/>
                    </a:lnTo>
                    <a:lnTo>
                      <a:pt x="517" y="623"/>
                    </a:lnTo>
                    <a:close/>
                    <a:moveTo>
                      <a:pt x="510" y="623"/>
                    </a:moveTo>
                    <a:lnTo>
                      <a:pt x="510" y="625"/>
                    </a:lnTo>
                    <a:lnTo>
                      <a:pt x="514" y="625"/>
                    </a:lnTo>
                    <a:lnTo>
                      <a:pt x="515" y="622"/>
                    </a:lnTo>
                    <a:lnTo>
                      <a:pt x="514" y="622"/>
                    </a:lnTo>
                    <a:lnTo>
                      <a:pt x="510" y="623"/>
                    </a:lnTo>
                    <a:lnTo>
                      <a:pt x="510" y="623"/>
                    </a:lnTo>
                    <a:close/>
                    <a:moveTo>
                      <a:pt x="1027" y="480"/>
                    </a:moveTo>
                    <a:lnTo>
                      <a:pt x="1027" y="485"/>
                    </a:lnTo>
                    <a:lnTo>
                      <a:pt x="1030" y="489"/>
                    </a:lnTo>
                    <a:lnTo>
                      <a:pt x="1030" y="484"/>
                    </a:lnTo>
                    <a:lnTo>
                      <a:pt x="1029" y="480"/>
                    </a:lnTo>
                    <a:lnTo>
                      <a:pt x="1027" y="480"/>
                    </a:lnTo>
                    <a:lnTo>
                      <a:pt x="1027" y="480"/>
                    </a:lnTo>
                    <a:close/>
                    <a:moveTo>
                      <a:pt x="1019" y="467"/>
                    </a:moveTo>
                    <a:lnTo>
                      <a:pt x="1019" y="475"/>
                    </a:lnTo>
                    <a:lnTo>
                      <a:pt x="1020" y="480"/>
                    </a:lnTo>
                    <a:lnTo>
                      <a:pt x="1020" y="487"/>
                    </a:lnTo>
                    <a:lnTo>
                      <a:pt x="1022" y="489"/>
                    </a:lnTo>
                    <a:lnTo>
                      <a:pt x="1024" y="485"/>
                    </a:lnTo>
                    <a:lnTo>
                      <a:pt x="1022" y="472"/>
                    </a:lnTo>
                    <a:lnTo>
                      <a:pt x="1020" y="467"/>
                    </a:lnTo>
                    <a:lnTo>
                      <a:pt x="1019" y="467"/>
                    </a:lnTo>
                    <a:lnTo>
                      <a:pt x="1019" y="467"/>
                    </a:lnTo>
                    <a:close/>
                    <a:moveTo>
                      <a:pt x="1012" y="459"/>
                    </a:moveTo>
                    <a:lnTo>
                      <a:pt x="1014" y="464"/>
                    </a:lnTo>
                    <a:lnTo>
                      <a:pt x="1017" y="466"/>
                    </a:lnTo>
                    <a:lnTo>
                      <a:pt x="1017" y="462"/>
                    </a:lnTo>
                    <a:lnTo>
                      <a:pt x="1014" y="459"/>
                    </a:lnTo>
                    <a:lnTo>
                      <a:pt x="1012" y="459"/>
                    </a:lnTo>
                    <a:lnTo>
                      <a:pt x="1012" y="459"/>
                    </a:lnTo>
                    <a:close/>
                    <a:moveTo>
                      <a:pt x="570" y="592"/>
                    </a:moveTo>
                    <a:lnTo>
                      <a:pt x="572" y="590"/>
                    </a:lnTo>
                    <a:lnTo>
                      <a:pt x="573" y="587"/>
                    </a:lnTo>
                    <a:lnTo>
                      <a:pt x="570" y="585"/>
                    </a:lnTo>
                    <a:lnTo>
                      <a:pt x="570" y="592"/>
                    </a:lnTo>
                    <a:lnTo>
                      <a:pt x="570" y="592"/>
                    </a:lnTo>
                    <a:close/>
                    <a:moveTo>
                      <a:pt x="593" y="608"/>
                    </a:moveTo>
                    <a:lnTo>
                      <a:pt x="593" y="608"/>
                    </a:lnTo>
                    <a:lnTo>
                      <a:pt x="597" y="605"/>
                    </a:lnTo>
                    <a:lnTo>
                      <a:pt x="593" y="607"/>
                    </a:lnTo>
                    <a:lnTo>
                      <a:pt x="593" y="608"/>
                    </a:lnTo>
                    <a:lnTo>
                      <a:pt x="593" y="608"/>
                    </a:lnTo>
                    <a:close/>
                    <a:moveTo>
                      <a:pt x="590" y="602"/>
                    </a:moveTo>
                    <a:lnTo>
                      <a:pt x="588" y="597"/>
                    </a:lnTo>
                    <a:lnTo>
                      <a:pt x="582" y="593"/>
                    </a:lnTo>
                    <a:lnTo>
                      <a:pt x="578" y="590"/>
                    </a:lnTo>
                    <a:lnTo>
                      <a:pt x="577" y="593"/>
                    </a:lnTo>
                    <a:lnTo>
                      <a:pt x="582" y="597"/>
                    </a:lnTo>
                    <a:lnTo>
                      <a:pt x="590" y="602"/>
                    </a:lnTo>
                    <a:lnTo>
                      <a:pt x="590" y="602"/>
                    </a:lnTo>
                    <a:close/>
                    <a:moveTo>
                      <a:pt x="602" y="582"/>
                    </a:moveTo>
                    <a:lnTo>
                      <a:pt x="605" y="577"/>
                    </a:lnTo>
                    <a:lnTo>
                      <a:pt x="603" y="570"/>
                    </a:lnTo>
                    <a:lnTo>
                      <a:pt x="595" y="565"/>
                    </a:lnTo>
                    <a:lnTo>
                      <a:pt x="588" y="559"/>
                    </a:lnTo>
                    <a:lnTo>
                      <a:pt x="583" y="559"/>
                    </a:lnTo>
                    <a:lnTo>
                      <a:pt x="578" y="554"/>
                    </a:lnTo>
                    <a:lnTo>
                      <a:pt x="573" y="552"/>
                    </a:lnTo>
                    <a:lnTo>
                      <a:pt x="572" y="549"/>
                    </a:lnTo>
                    <a:lnTo>
                      <a:pt x="567" y="544"/>
                    </a:lnTo>
                    <a:lnTo>
                      <a:pt x="564" y="544"/>
                    </a:lnTo>
                    <a:lnTo>
                      <a:pt x="560" y="545"/>
                    </a:lnTo>
                    <a:lnTo>
                      <a:pt x="560" y="549"/>
                    </a:lnTo>
                    <a:lnTo>
                      <a:pt x="557" y="550"/>
                    </a:lnTo>
                    <a:lnTo>
                      <a:pt x="560" y="555"/>
                    </a:lnTo>
                    <a:lnTo>
                      <a:pt x="564" y="555"/>
                    </a:lnTo>
                    <a:lnTo>
                      <a:pt x="564" y="557"/>
                    </a:lnTo>
                    <a:lnTo>
                      <a:pt x="560" y="559"/>
                    </a:lnTo>
                    <a:lnTo>
                      <a:pt x="557" y="555"/>
                    </a:lnTo>
                    <a:lnTo>
                      <a:pt x="555" y="555"/>
                    </a:lnTo>
                    <a:lnTo>
                      <a:pt x="557" y="559"/>
                    </a:lnTo>
                    <a:lnTo>
                      <a:pt x="565" y="568"/>
                    </a:lnTo>
                    <a:lnTo>
                      <a:pt x="570" y="570"/>
                    </a:lnTo>
                    <a:lnTo>
                      <a:pt x="573" y="573"/>
                    </a:lnTo>
                    <a:lnTo>
                      <a:pt x="575" y="575"/>
                    </a:lnTo>
                    <a:lnTo>
                      <a:pt x="575" y="570"/>
                    </a:lnTo>
                    <a:lnTo>
                      <a:pt x="580" y="572"/>
                    </a:lnTo>
                    <a:lnTo>
                      <a:pt x="583" y="570"/>
                    </a:lnTo>
                    <a:lnTo>
                      <a:pt x="585" y="572"/>
                    </a:lnTo>
                    <a:lnTo>
                      <a:pt x="587" y="577"/>
                    </a:lnTo>
                    <a:lnTo>
                      <a:pt x="585" y="580"/>
                    </a:lnTo>
                    <a:lnTo>
                      <a:pt x="588" y="582"/>
                    </a:lnTo>
                    <a:lnTo>
                      <a:pt x="595" y="583"/>
                    </a:lnTo>
                    <a:lnTo>
                      <a:pt x="597" y="580"/>
                    </a:lnTo>
                    <a:lnTo>
                      <a:pt x="602" y="582"/>
                    </a:lnTo>
                    <a:lnTo>
                      <a:pt x="602" y="582"/>
                    </a:lnTo>
                    <a:close/>
                    <a:moveTo>
                      <a:pt x="718" y="396"/>
                    </a:moveTo>
                    <a:lnTo>
                      <a:pt x="720" y="396"/>
                    </a:lnTo>
                    <a:lnTo>
                      <a:pt x="718" y="392"/>
                    </a:lnTo>
                    <a:lnTo>
                      <a:pt x="718" y="391"/>
                    </a:lnTo>
                    <a:lnTo>
                      <a:pt x="721" y="391"/>
                    </a:lnTo>
                    <a:lnTo>
                      <a:pt x="723" y="394"/>
                    </a:lnTo>
                    <a:lnTo>
                      <a:pt x="726" y="394"/>
                    </a:lnTo>
                    <a:lnTo>
                      <a:pt x="728" y="394"/>
                    </a:lnTo>
                    <a:lnTo>
                      <a:pt x="731" y="394"/>
                    </a:lnTo>
                    <a:lnTo>
                      <a:pt x="733" y="389"/>
                    </a:lnTo>
                    <a:lnTo>
                      <a:pt x="738" y="386"/>
                    </a:lnTo>
                    <a:lnTo>
                      <a:pt x="743" y="384"/>
                    </a:lnTo>
                    <a:lnTo>
                      <a:pt x="743" y="382"/>
                    </a:lnTo>
                    <a:lnTo>
                      <a:pt x="741" y="377"/>
                    </a:lnTo>
                    <a:lnTo>
                      <a:pt x="735" y="374"/>
                    </a:lnTo>
                    <a:lnTo>
                      <a:pt x="733" y="371"/>
                    </a:lnTo>
                    <a:lnTo>
                      <a:pt x="730" y="368"/>
                    </a:lnTo>
                    <a:lnTo>
                      <a:pt x="726" y="366"/>
                    </a:lnTo>
                    <a:lnTo>
                      <a:pt x="723" y="366"/>
                    </a:lnTo>
                    <a:lnTo>
                      <a:pt x="718" y="371"/>
                    </a:lnTo>
                    <a:lnTo>
                      <a:pt x="715" y="371"/>
                    </a:lnTo>
                    <a:lnTo>
                      <a:pt x="710" y="374"/>
                    </a:lnTo>
                    <a:lnTo>
                      <a:pt x="710" y="377"/>
                    </a:lnTo>
                    <a:lnTo>
                      <a:pt x="713" y="382"/>
                    </a:lnTo>
                    <a:lnTo>
                      <a:pt x="715" y="386"/>
                    </a:lnTo>
                    <a:lnTo>
                      <a:pt x="713" y="392"/>
                    </a:lnTo>
                    <a:lnTo>
                      <a:pt x="718" y="396"/>
                    </a:lnTo>
                    <a:lnTo>
                      <a:pt x="718" y="396"/>
                    </a:lnTo>
                    <a:close/>
                    <a:moveTo>
                      <a:pt x="731" y="580"/>
                    </a:moveTo>
                    <a:lnTo>
                      <a:pt x="731" y="580"/>
                    </a:lnTo>
                    <a:lnTo>
                      <a:pt x="733" y="582"/>
                    </a:lnTo>
                    <a:lnTo>
                      <a:pt x="736" y="582"/>
                    </a:lnTo>
                    <a:lnTo>
                      <a:pt x="740" y="580"/>
                    </a:lnTo>
                    <a:lnTo>
                      <a:pt x="738" y="577"/>
                    </a:lnTo>
                    <a:lnTo>
                      <a:pt x="736" y="573"/>
                    </a:lnTo>
                    <a:lnTo>
                      <a:pt x="733" y="575"/>
                    </a:lnTo>
                    <a:lnTo>
                      <a:pt x="733" y="577"/>
                    </a:lnTo>
                    <a:lnTo>
                      <a:pt x="731" y="580"/>
                    </a:lnTo>
                    <a:lnTo>
                      <a:pt x="731" y="580"/>
                    </a:lnTo>
                    <a:close/>
                    <a:moveTo>
                      <a:pt x="823" y="683"/>
                    </a:moveTo>
                    <a:lnTo>
                      <a:pt x="823" y="685"/>
                    </a:lnTo>
                    <a:lnTo>
                      <a:pt x="826" y="686"/>
                    </a:lnTo>
                    <a:lnTo>
                      <a:pt x="826" y="690"/>
                    </a:lnTo>
                    <a:lnTo>
                      <a:pt x="833" y="691"/>
                    </a:lnTo>
                    <a:lnTo>
                      <a:pt x="838" y="691"/>
                    </a:lnTo>
                    <a:lnTo>
                      <a:pt x="839" y="688"/>
                    </a:lnTo>
                    <a:lnTo>
                      <a:pt x="838" y="685"/>
                    </a:lnTo>
                    <a:lnTo>
                      <a:pt x="833" y="683"/>
                    </a:lnTo>
                    <a:lnTo>
                      <a:pt x="829" y="685"/>
                    </a:lnTo>
                    <a:lnTo>
                      <a:pt x="826" y="683"/>
                    </a:lnTo>
                    <a:lnTo>
                      <a:pt x="823" y="683"/>
                    </a:lnTo>
                    <a:lnTo>
                      <a:pt x="823" y="683"/>
                    </a:lnTo>
                    <a:close/>
                    <a:moveTo>
                      <a:pt x="806" y="392"/>
                    </a:moveTo>
                    <a:lnTo>
                      <a:pt x="806" y="389"/>
                    </a:lnTo>
                    <a:lnTo>
                      <a:pt x="803" y="386"/>
                    </a:lnTo>
                    <a:lnTo>
                      <a:pt x="803" y="382"/>
                    </a:lnTo>
                    <a:lnTo>
                      <a:pt x="806" y="381"/>
                    </a:lnTo>
                    <a:lnTo>
                      <a:pt x="804" y="377"/>
                    </a:lnTo>
                    <a:lnTo>
                      <a:pt x="799" y="377"/>
                    </a:lnTo>
                    <a:lnTo>
                      <a:pt x="796" y="379"/>
                    </a:lnTo>
                    <a:lnTo>
                      <a:pt x="794" y="386"/>
                    </a:lnTo>
                    <a:lnTo>
                      <a:pt x="796" y="389"/>
                    </a:lnTo>
                    <a:lnTo>
                      <a:pt x="799" y="389"/>
                    </a:lnTo>
                    <a:lnTo>
                      <a:pt x="803" y="392"/>
                    </a:lnTo>
                    <a:lnTo>
                      <a:pt x="806" y="392"/>
                    </a:lnTo>
                    <a:lnTo>
                      <a:pt x="806" y="392"/>
                    </a:lnTo>
                    <a:close/>
                    <a:moveTo>
                      <a:pt x="798" y="361"/>
                    </a:moveTo>
                    <a:lnTo>
                      <a:pt x="803" y="358"/>
                    </a:lnTo>
                    <a:lnTo>
                      <a:pt x="806" y="358"/>
                    </a:lnTo>
                    <a:lnTo>
                      <a:pt x="809" y="356"/>
                    </a:lnTo>
                    <a:lnTo>
                      <a:pt x="809" y="353"/>
                    </a:lnTo>
                    <a:lnTo>
                      <a:pt x="809" y="351"/>
                    </a:lnTo>
                    <a:lnTo>
                      <a:pt x="813" y="349"/>
                    </a:lnTo>
                    <a:lnTo>
                      <a:pt x="811" y="348"/>
                    </a:lnTo>
                    <a:lnTo>
                      <a:pt x="808" y="348"/>
                    </a:lnTo>
                    <a:lnTo>
                      <a:pt x="801" y="353"/>
                    </a:lnTo>
                    <a:lnTo>
                      <a:pt x="798" y="358"/>
                    </a:lnTo>
                    <a:lnTo>
                      <a:pt x="798" y="361"/>
                    </a:lnTo>
                    <a:lnTo>
                      <a:pt x="798" y="361"/>
                    </a:lnTo>
                    <a:close/>
                    <a:moveTo>
                      <a:pt x="819" y="366"/>
                    </a:moveTo>
                    <a:lnTo>
                      <a:pt x="824" y="369"/>
                    </a:lnTo>
                    <a:lnTo>
                      <a:pt x="831" y="371"/>
                    </a:lnTo>
                    <a:lnTo>
                      <a:pt x="834" y="371"/>
                    </a:lnTo>
                    <a:lnTo>
                      <a:pt x="834" y="368"/>
                    </a:lnTo>
                    <a:lnTo>
                      <a:pt x="826" y="366"/>
                    </a:lnTo>
                    <a:lnTo>
                      <a:pt x="823" y="364"/>
                    </a:lnTo>
                    <a:lnTo>
                      <a:pt x="819" y="366"/>
                    </a:lnTo>
                    <a:lnTo>
                      <a:pt x="819" y="366"/>
                    </a:lnTo>
                    <a:close/>
                    <a:moveTo>
                      <a:pt x="866" y="397"/>
                    </a:moveTo>
                    <a:lnTo>
                      <a:pt x="866" y="401"/>
                    </a:lnTo>
                    <a:lnTo>
                      <a:pt x="864" y="406"/>
                    </a:lnTo>
                    <a:lnTo>
                      <a:pt x="861" y="407"/>
                    </a:lnTo>
                    <a:lnTo>
                      <a:pt x="859" y="411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9" y="411"/>
                    </a:lnTo>
                    <a:lnTo>
                      <a:pt x="872" y="409"/>
                    </a:lnTo>
                    <a:lnTo>
                      <a:pt x="876" y="404"/>
                    </a:lnTo>
                    <a:lnTo>
                      <a:pt x="879" y="402"/>
                    </a:lnTo>
                    <a:lnTo>
                      <a:pt x="884" y="397"/>
                    </a:lnTo>
                    <a:lnTo>
                      <a:pt x="884" y="394"/>
                    </a:lnTo>
                    <a:lnTo>
                      <a:pt x="881" y="392"/>
                    </a:lnTo>
                    <a:lnTo>
                      <a:pt x="876" y="392"/>
                    </a:lnTo>
                    <a:lnTo>
                      <a:pt x="869" y="394"/>
                    </a:lnTo>
                    <a:lnTo>
                      <a:pt x="866" y="397"/>
                    </a:lnTo>
                    <a:lnTo>
                      <a:pt x="866" y="397"/>
                    </a:lnTo>
                    <a:close/>
                    <a:moveTo>
                      <a:pt x="884" y="358"/>
                    </a:moveTo>
                    <a:lnTo>
                      <a:pt x="879" y="363"/>
                    </a:lnTo>
                    <a:lnTo>
                      <a:pt x="877" y="369"/>
                    </a:lnTo>
                    <a:lnTo>
                      <a:pt x="876" y="374"/>
                    </a:lnTo>
                    <a:lnTo>
                      <a:pt x="876" y="377"/>
                    </a:lnTo>
                    <a:lnTo>
                      <a:pt x="881" y="379"/>
                    </a:lnTo>
                    <a:lnTo>
                      <a:pt x="882" y="381"/>
                    </a:lnTo>
                    <a:lnTo>
                      <a:pt x="887" y="381"/>
                    </a:lnTo>
                    <a:lnTo>
                      <a:pt x="892" y="382"/>
                    </a:lnTo>
                    <a:lnTo>
                      <a:pt x="896" y="382"/>
                    </a:lnTo>
                    <a:lnTo>
                      <a:pt x="896" y="379"/>
                    </a:lnTo>
                    <a:lnTo>
                      <a:pt x="892" y="372"/>
                    </a:lnTo>
                    <a:lnTo>
                      <a:pt x="891" y="366"/>
                    </a:lnTo>
                    <a:lnTo>
                      <a:pt x="886" y="363"/>
                    </a:lnTo>
                    <a:lnTo>
                      <a:pt x="884" y="358"/>
                    </a:lnTo>
                    <a:lnTo>
                      <a:pt x="884" y="358"/>
                    </a:lnTo>
                    <a:close/>
                    <a:moveTo>
                      <a:pt x="912" y="304"/>
                    </a:moveTo>
                    <a:lnTo>
                      <a:pt x="917" y="299"/>
                    </a:lnTo>
                    <a:lnTo>
                      <a:pt x="914" y="298"/>
                    </a:lnTo>
                    <a:lnTo>
                      <a:pt x="911" y="298"/>
                    </a:lnTo>
                    <a:lnTo>
                      <a:pt x="907" y="301"/>
                    </a:lnTo>
                    <a:lnTo>
                      <a:pt x="909" y="304"/>
                    </a:lnTo>
                    <a:lnTo>
                      <a:pt x="912" y="304"/>
                    </a:lnTo>
                    <a:lnTo>
                      <a:pt x="912" y="304"/>
                    </a:lnTo>
                    <a:close/>
                    <a:moveTo>
                      <a:pt x="927" y="301"/>
                    </a:moveTo>
                    <a:lnTo>
                      <a:pt x="931" y="298"/>
                    </a:lnTo>
                    <a:lnTo>
                      <a:pt x="931" y="296"/>
                    </a:lnTo>
                    <a:lnTo>
                      <a:pt x="926" y="294"/>
                    </a:lnTo>
                    <a:lnTo>
                      <a:pt x="924" y="296"/>
                    </a:lnTo>
                    <a:lnTo>
                      <a:pt x="921" y="298"/>
                    </a:lnTo>
                    <a:lnTo>
                      <a:pt x="922" y="299"/>
                    </a:lnTo>
                    <a:lnTo>
                      <a:pt x="927" y="301"/>
                    </a:lnTo>
                    <a:lnTo>
                      <a:pt x="927" y="301"/>
                    </a:lnTo>
                    <a:close/>
                    <a:moveTo>
                      <a:pt x="949" y="304"/>
                    </a:moveTo>
                    <a:lnTo>
                      <a:pt x="951" y="303"/>
                    </a:lnTo>
                    <a:lnTo>
                      <a:pt x="946" y="299"/>
                    </a:lnTo>
                    <a:lnTo>
                      <a:pt x="941" y="303"/>
                    </a:lnTo>
                    <a:lnTo>
                      <a:pt x="942" y="303"/>
                    </a:lnTo>
                    <a:lnTo>
                      <a:pt x="949" y="304"/>
                    </a:lnTo>
                    <a:lnTo>
                      <a:pt x="949" y="304"/>
                    </a:lnTo>
                    <a:close/>
                    <a:moveTo>
                      <a:pt x="984" y="294"/>
                    </a:moveTo>
                    <a:lnTo>
                      <a:pt x="985" y="299"/>
                    </a:lnTo>
                    <a:lnTo>
                      <a:pt x="989" y="301"/>
                    </a:lnTo>
                    <a:lnTo>
                      <a:pt x="990" y="298"/>
                    </a:lnTo>
                    <a:lnTo>
                      <a:pt x="987" y="294"/>
                    </a:lnTo>
                    <a:lnTo>
                      <a:pt x="984" y="294"/>
                    </a:lnTo>
                    <a:lnTo>
                      <a:pt x="984" y="294"/>
                    </a:lnTo>
                    <a:close/>
                    <a:moveTo>
                      <a:pt x="964" y="291"/>
                    </a:moveTo>
                    <a:lnTo>
                      <a:pt x="969" y="291"/>
                    </a:lnTo>
                    <a:lnTo>
                      <a:pt x="970" y="288"/>
                    </a:lnTo>
                    <a:lnTo>
                      <a:pt x="967" y="286"/>
                    </a:lnTo>
                    <a:lnTo>
                      <a:pt x="964" y="286"/>
                    </a:lnTo>
                    <a:lnTo>
                      <a:pt x="964" y="288"/>
                    </a:lnTo>
                    <a:lnTo>
                      <a:pt x="964" y="291"/>
                    </a:lnTo>
                    <a:lnTo>
                      <a:pt x="964" y="291"/>
                    </a:lnTo>
                    <a:close/>
                    <a:moveTo>
                      <a:pt x="947" y="273"/>
                    </a:moveTo>
                    <a:lnTo>
                      <a:pt x="947" y="270"/>
                    </a:lnTo>
                    <a:lnTo>
                      <a:pt x="946" y="270"/>
                    </a:lnTo>
                    <a:lnTo>
                      <a:pt x="939" y="274"/>
                    </a:lnTo>
                    <a:lnTo>
                      <a:pt x="939" y="276"/>
                    </a:lnTo>
                    <a:lnTo>
                      <a:pt x="944" y="278"/>
                    </a:lnTo>
                    <a:lnTo>
                      <a:pt x="946" y="276"/>
                    </a:lnTo>
                    <a:lnTo>
                      <a:pt x="944" y="274"/>
                    </a:lnTo>
                    <a:lnTo>
                      <a:pt x="944" y="274"/>
                    </a:lnTo>
                    <a:lnTo>
                      <a:pt x="947" y="273"/>
                    </a:lnTo>
                    <a:lnTo>
                      <a:pt x="947" y="273"/>
                    </a:lnTo>
                    <a:close/>
                    <a:moveTo>
                      <a:pt x="961" y="270"/>
                    </a:moveTo>
                    <a:lnTo>
                      <a:pt x="959" y="266"/>
                    </a:lnTo>
                    <a:lnTo>
                      <a:pt x="954" y="266"/>
                    </a:lnTo>
                    <a:lnTo>
                      <a:pt x="952" y="268"/>
                    </a:lnTo>
                    <a:lnTo>
                      <a:pt x="954" y="271"/>
                    </a:lnTo>
                    <a:lnTo>
                      <a:pt x="957" y="271"/>
                    </a:lnTo>
                    <a:lnTo>
                      <a:pt x="961" y="271"/>
                    </a:lnTo>
                    <a:lnTo>
                      <a:pt x="961" y="270"/>
                    </a:lnTo>
                    <a:lnTo>
                      <a:pt x="961" y="270"/>
                    </a:lnTo>
                    <a:close/>
                    <a:moveTo>
                      <a:pt x="962" y="271"/>
                    </a:moveTo>
                    <a:lnTo>
                      <a:pt x="964" y="273"/>
                    </a:lnTo>
                    <a:lnTo>
                      <a:pt x="965" y="271"/>
                    </a:lnTo>
                    <a:lnTo>
                      <a:pt x="970" y="268"/>
                    </a:lnTo>
                    <a:lnTo>
                      <a:pt x="970" y="265"/>
                    </a:lnTo>
                    <a:lnTo>
                      <a:pt x="967" y="263"/>
                    </a:lnTo>
                    <a:lnTo>
                      <a:pt x="964" y="263"/>
                    </a:lnTo>
                    <a:lnTo>
                      <a:pt x="962" y="266"/>
                    </a:lnTo>
                    <a:lnTo>
                      <a:pt x="964" y="268"/>
                    </a:lnTo>
                    <a:lnTo>
                      <a:pt x="962" y="271"/>
                    </a:lnTo>
                    <a:lnTo>
                      <a:pt x="962" y="271"/>
                    </a:lnTo>
                    <a:close/>
                    <a:moveTo>
                      <a:pt x="947" y="258"/>
                    </a:moveTo>
                    <a:lnTo>
                      <a:pt x="951" y="255"/>
                    </a:lnTo>
                    <a:lnTo>
                      <a:pt x="951" y="251"/>
                    </a:lnTo>
                    <a:lnTo>
                      <a:pt x="947" y="251"/>
                    </a:lnTo>
                    <a:lnTo>
                      <a:pt x="944" y="253"/>
                    </a:lnTo>
                    <a:lnTo>
                      <a:pt x="939" y="253"/>
                    </a:lnTo>
                    <a:lnTo>
                      <a:pt x="939" y="255"/>
                    </a:lnTo>
                    <a:lnTo>
                      <a:pt x="946" y="256"/>
                    </a:lnTo>
                    <a:lnTo>
                      <a:pt x="947" y="258"/>
                    </a:lnTo>
                    <a:lnTo>
                      <a:pt x="947" y="258"/>
                    </a:lnTo>
                    <a:close/>
                    <a:moveTo>
                      <a:pt x="970" y="248"/>
                    </a:moveTo>
                    <a:lnTo>
                      <a:pt x="972" y="246"/>
                    </a:lnTo>
                    <a:lnTo>
                      <a:pt x="972" y="245"/>
                    </a:lnTo>
                    <a:lnTo>
                      <a:pt x="970" y="243"/>
                    </a:lnTo>
                    <a:lnTo>
                      <a:pt x="974" y="243"/>
                    </a:lnTo>
                    <a:lnTo>
                      <a:pt x="974" y="240"/>
                    </a:lnTo>
                    <a:lnTo>
                      <a:pt x="970" y="238"/>
                    </a:lnTo>
                    <a:lnTo>
                      <a:pt x="965" y="236"/>
                    </a:lnTo>
                    <a:lnTo>
                      <a:pt x="962" y="238"/>
                    </a:lnTo>
                    <a:lnTo>
                      <a:pt x="964" y="241"/>
                    </a:lnTo>
                    <a:lnTo>
                      <a:pt x="962" y="241"/>
                    </a:lnTo>
                    <a:lnTo>
                      <a:pt x="959" y="240"/>
                    </a:lnTo>
                    <a:lnTo>
                      <a:pt x="957" y="240"/>
                    </a:lnTo>
                    <a:lnTo>
                      <a:pt x="959" y="245"/>
                    </a:lnTo>
                    <a:lnTo>
                      <a:pt x="962" y="245"/>
                    </a:lnTo>
                    <a:lnTo>
                      <a:pt x="967" y="246"/>
                    </a:lnTo>
                    <a:lnTo>
                      <a:pt x="970" y="248"/>
                    </a:lnTo>
                    <a:lnTo>
                      <a:pt x="970" y="248"/>
                    </a:lnTo>
                    <a:close/>
                    <a:moveTo>
                      <a:pt x="1072" y="135"/>
                    </a:moveTo>
                    <a:lnTo>
                      <a:pt x="1077" y="135"/>
                    </a:lnTo>
                    <a:lnTo>
                      <a:pt x="1078" y="137"/>
                    </a:lnTo>
                    <a:lnTo>
                      <a:pt x="1083" y="137"/>
                    </a:lnTo>
                    <a:lnTo>
                      <a:pt x="1087" y="137"/>
                    </a:lnTo>
                    <a:lnTo>
                      <a:pt x="1092" y="137"/>
                    </a:lnTo>
                    <a:lnTo>
                      <a:pt x="1095" y="137"/>
                    </a:lnTo>
                    <a:lnTo>
                      <a:pt x="1097" y="133"/>
                    </a:lnTo>
                    <a:lnTo>
                      <a:pt x="1097" y="132"/>
                    </a:lnTo>
                    <a:lnTo>
                      <a:pt x="1095" y="132"/>
                    </a:lnTo>
                    <a:lnTo>
                      <a:pt x="1097" y="128"/>
                    </a:lnTo>
                    <a:lnTo>
                      <a:pt x="1095" y="125"/>
                    </a:lnTo>
                    <a:lnTo>
                      <a:pt x="1090" y="125"/>
                    </a:lnTo>
                    <a:lnTo>
                      <a:pt x="1088" y="127"/>
                    </a:lnTo>
                    <a:lnTo>
                      <a:pt x="1088" y="130"/>
                    </a:lnTo>
                    <a:lnTo>
                      <a:pt x="1087" y="130"/>
                    </a:lnTo>
                    <a:lnTo>
                      <a:pt x="1085" y="130"/>
                    </a:lnTo>
                    <a:lnTo>
                      <a:pt x="1083" y="128"/>
                    </a:lnTo>
                    <a:lnTo>
                      <a:pt x="1082" y="128"/>
                    </a:lnTo>
                    <a:lnTo>
                      <a:pt x="1080" y="130"/>
                    </a:lnTo>
                    <a:lnTo>
                      <a:pt x="1077" y="132"/>
                    </a:lnTo>
                    <a:lnTo>
                      <a:pt x="1073" y="132"/>
                    </a:lnTo>
                    <a:lnTo>
                      <a:pt x="1072" y="133"/>
                    </a:lnTo>
                    <a:lnTo>
                      <a:pt x="1072" y="135"/>
                    </a:lnTo>
                    <a:lnTo>
                      <a:pt x="1072" y="135"/>
                    </a:lnTo>
                    <a:close/>
                    <a:moveTo>
                      <a:pt x="1218" y="7"/>
                    </a:moveTo>
                    <a:lnTo>
                      <a:pt x="1218" y="10"/>
                    </a:lnTo>
                    <a:lnTo>
                      <a:pt x="1223" y="15"/>
                    </a:lnTo>
                    <a:lnTo>
                      <a:pt x="1221" y="17"/>
                    </a:lnTo>
                    <a:lnTo>
                      <a:pt x="1221" y="20"/>
                    </a:lnTo>
                    <a:lnTo>
                      <a:pt x="1226" y="19"/>
                    </a:lnTo>
                    <a:lnTo>
                      <a:pt x="1228" y="14"/>
                    </a:lnTo>
                    <a:lnTo>
                      <a:pt x="1225" y="7"/>
                    </a:lnTo>
                    <a:lnTo>
                      <a:pt x="1220" y="7"/>
                    </a:lnTo>
                    <a:lnTo>
                      <a:pt x="1218" y="7"/>
                    </a:lnTo>
                    <a:lnTo>
                      <a:pt x="1218" y="7"/>
                    </a:lnTo>
                    <a:close/>
                    <a:moveTo>
                      <a:pt x="1670" y="140"/>
                    </a:moveTo>
                    <a:lnTo>
                      <a:pt x="1671" y="138"/>
                    </a:lnTo>
                    <a:lnTo>
                      <a:pt x="1673" y="133"/>
                    </a:lnTo>
                    <a:lnTo>
                      <a:pt x="1671" y="130"/>
                    </a:lnTo>
                    <a:lnTo>
                      <a:pt x="1666" y="133"/>
                    </a:lnTo>
                    <a:lnTo>
                      <a:pt x="1665" y="135"/>
                    </a:lnTo>
                    <a:lnTo>
                      <a:pt x="1665" y="138"/>
                    </a:lnTo>
                    <a:lnTo>
                      <a:pt x="1668" y="138"/>
                    </a:lnTo>
                    <a:lnTo>
                      <a:pt x="1670" y="140"/>
                    </a:lnTo>
                    <a:lnTo>
                      <a:pt x="1670" y="140"/>
                    </a:lnTo>
                    <a:close/>
                    <a:moveTo>
                      <a:pt x="1608" y="201"/>
                    </a:moveTo>
                    <a:lnTo>
                      <a:pt x="1615" y="201"/>
                    </a:lnTo>
                    <a:lnTo>
                      <a:pt x="1617" y="200"/>
                    </a:lnTo>
                    <a:lnTo>
                      <a:pt x="1620" y="200"/>
                    </a:lnTo>
                    <a:lnTo>
                      <a:pt x="1620" y="198"/>
                    </a:lnTo>
                    <a:lnTo>
                      <a:pt x="1617" y="195"/>
                    </a:lnTo>
                    <a:lnTo>
                      <a:pt x="1612" y="191"/>
                    </a:lnTo>
                    <a:lnTo>
                      <a:pt x="1608" y="191"/>
                    </a:lnTo>
                    <a:lnTo>
                      <a:pt x="1605" y="193"/>
                    </a:lnTo>
                    <a:lnTo>
                      <a:pt x="1605" y="195"/>
                    </a:lnTo>
                    <a:lnTo>
                      <a:pt x="1608" y="198"/>
                    </a:lnTo>
                    <a:lnTo>
                      <a:pt x="1608" y="198"/>
                    </a:lnTo>
                    <a:lnTo>
                      <a:pt x="1608" y="201"/>
                    </a:lnTo>
                    <a:lnTo>
                      <a:pt x="1608" y="201"/>
                    </a:lnTo>
                    <a:close/>
                    <a:moveTo>
                      <a:pt x="1441" y="173"/>
                    </a:moveTo>
                    <a:lnTo>
                      <a:pt x="1446" y="175"/>
                    </a:lnTo>
                    <a:lnTo>
                      <a:pt x="1449" y="176"/>
                    </a:lnTo>
                    <a:lnTo>
                      <a:pt x="1452" y="175"/>
                    </a:lnTo>
                    <a:lnTo>
                      <a:pt x="1454" y="172"/>
                    </a:lnTo>
                    <a:lnTo>
                      <a:pt x="1456" y="168"/>
                    </a:lnTo>
                    <a:lnTo>
                      <a:pt x="1456" y="167"/>
                    </a:lnTo>
                    <a:lnTo>
                      <a:pt x="1454" y="163"/>
                    </a:lnTo>
                    <a:lnTo>
                      <a:pt x="1452" y="157"/>
                    </a:lnTo>
                    <a:lnTo>
                      <a:pt x="1451" y="153"/>
                    </a:lnTo>
                    <a:lnTo>
                      <a:pt x="1447" y="148"/>
                    </a:lnTo>
                    <a:lnTo>
                      <a:pt x="1447" y="147"/>
                    </a:lnTo>
                    <a:lnTo>
                      <a:pt x="1444" y="145"/>
                    </a:lnTo>
                    <a:lnTo>
                      <a:pt x="1436" y="148"/>
                    </a:lnTo>
                    <a:lnTo>
                      <a:pt x="1426" y="153"/>
                    </a:lnTo>
                    <a:lnTo>
                      <a:pt x="1422" y="153"/>
                    </a:lnTo>
                    <a:lnTo>
                      <a:pt x="1421" y="155"/>
                    </a:lnTo>
                    <a:lnTo>
                      <a:pt x="1422" y="160"/>
                    </a:lnTo>
                    <a:lnTo>
                      <a:pt x="1426" y="162"/>
                    </a:lnTo>
                    <a:lnTo>
                      <a:pt x="1427" y="165"/>
                    </a:lnTo>
                    <a:lnTo>
                      <a:pt x="1426" y="167"/>
                    </a:lnTo>
                    <a:lnTo>
                      <a:pt x="1421" y="167"/>
                    </a:lnTo>
                    <a:lnTo>
                      <a:pt x="1419" y="168"/>
                    </a:lnTo>
                    <a:lnTo>
                      <a:pt x="1422" y="172"/>
                    </a:lnTo>
                    <a:lnTo>
                      <a:pt x="1429" y="172"/>
                    </a:lnTo>
                    <a:lnTo>
                      <a:pt x="1441" y="173"/>
                    </a:lnTo>
                    <a:lnTo>
                      <a:pt x="1441" y="173"/>
                    </a:lnTo>
                    <a:close/>
                    <a:moveTo>
                      <a:pt x="1987" y="190"/>
                    </a:moveTo>
                    <a:lnTo>
                      <a:pt x="1990" y="195"/>
                    </a:lnTo>
                    <a:lnTo>
                      <a:pt x="1995" y="196"/>
                    </a:lnTo>
                    <a:lnTo>
                      <a:pt x="1995" y="195"/>
                    </a:lnTo>
                    <a:lnTo>
                      <a:pt x="2002" y="193"/>
                    </a:lnTo>
                    <a:lnTo>
                      <a:pt x="2004" y="191"/>
                    </a:lnTo>
                    <a:lnTo>
                      <a:pt x="2002" y="188"/>
                    </a:lnTo>
                    <a:lnTo>
                      <a:pt x="2000" y="183"/>
                    </a:lnTo>
                    <a:lnTo>
                      <a:pt x="1997" y="183"/>
                    </a:lnTo>
                    <a:lnTo>
                      <a:pt x="1997" y="186"/>
                    </a:lnTo>
                    <a:lnTo>
                      <a:pt x="1992" y="190"/>
                    </a:lnTo>
                    <a:lnTo>
                      <a:pt x="1992" y="190"/>
                    </a:lnTo>
                    <a:lnTo>
                      <a:pt x="1987" y="190"/>
                    </a:lnTo>
                    <a:lnTo>
                      <a:pt x="1987" y="190"/>
                    </a:lnTo>
                    <a:close/>
                    <a:moveTo>
                      <a:pt x="2527" y="152"/>
                    </a:moveTo>
                    <a:lnTo>
                      <a:pt x="2530" y="152"/>
                    </a:lnTo>
                    <a:lnTo>
                      <a:pt x="2530" y="148"/>
                    </a:lnTo>
                    <a:lnTo>
                      <a:pt x="2529" y="145"/>
                    </a:lnTo>
                    <a:lnTo>
                      <a:pt x="2527" y="145"/>
                    </a:lnTo>
                    <a:lnTo>
                      <a:pt x="2525" y="147"/>
                    </a:lnTo>
                    <a:lnTo>
                      <a:pt x="2527" y="152"/>
                    </a:lnTo>
                    <a:lnTo>
                      <a:pt x="2527" y="152"/>
                    </a:lnTo>
                    <a:close/>
                    <a:moveTo>
                      <a:pt x="2524" y="157"/>
                    </a:moveTo>
                    <a:lnTo>
                      <a:pt x="2527" y="157"/>
                    </a:lnTo>
                    <a:lnTo>
                      <a:pt x="2527" y="153"/>
                    </a:lnTo>
                    <a:lnTo>
                      <a:pt x="2524" y="150"/>
                    </a:lnTo>
                    <a:lnTo>
                      <a:pt x="2520" y="150"/>
                    </a:lnTo>
                    <a:lnTo>
                      <a:pt x="2520" y="152"/>
                    </a:lnTo>
                    <a:lnTo>
                      <a:pt x="2524" y="157"/>
                    </a:lnTo>
                    <a:lnTo>
                      <a:pt x="2524" y="157"/>
                    </a:lnTo>
                    <a:close/>
                    <a:moveTo>
                      <a:pt x="2520" y="158"/>
                    </a:moveTo>
                    <a:lnTo>
                      <a:pt x="2524" y="163"/>
                    </a:lnTo>
                    <a:lnTo>
                      <a:pt x="2527" y="167"/>
                    </a:lnTo>
                    <a:lnTo>
                      <a:pt x="2527" y="165"/>
                    </a:lnTo>
                    <a:lnTo>
                      <a:pt x="2525" y="160"/>
                    </a:lnTo>
                    <a:lnTo>
                      <a:pt x="2522" y="157"/>
                    </a:lnTo>
                    <a:lnTo>
                      <a:pt x="2520" y="157"/>
                    </a:lnTo>
                    <a:lnTo>
                      <a:pt x="2520" y="158"/>
                    </a:lnTo>
                    <a:lnTo>
                      <a:pt x="2520" y="158"/>
                    </a:lnTo>
                    <a:close/>
                    <a:moveTo>
                      <a:pt x="2507" y="155"/>
                    </a:moveTo>
                    <a:lnTo>
                      <a:pt x="2510" y="160"/>
                    </a:lnTo>
                    <a:lnTo>
                      <a:pt x="2514" y="162"/>
                    </a:lnTo>
                    <a:lnTo>
                      <a:pt x="2515" y="160"/>
                    </a:lnTo>
                    <a:lnTo>
                      <a:pt x="2517" y="158"/>
                    </a:lnTo>
                    <a:lnTo>
                      <a:pt x="2515" y="155"/>
                    </a:lnTo>
                    <a:lnTo>
                      <a:pt x="2512" y="153"/>
                    </a:lnTo>
                    <a:lnTo>
                      <a:pt x="2512" y="155"/>
                    </a:lnTo>
                    <a:lnTo>
                      <a:pt x="2507" y="155"/>
                    </a:lnTo>
                    <a:lnTo>
                      <a:pt x="2507" y="155"/>
                    </a:lnTo>
                    <a:close/>
                    <a:moveTo>
                      <a:pt x="2643" y="105"/>
                    </a:moveTo>
                    <a:lnTo>
                      <a:pt x="2648" y="108"/>
                    </a:lnTo>
                    <a:lnTo>
                      <a:pt x="2653" y="107"/>
                    </a:lnTo>
                    <a:lnTo>
                      <a:pt x="2656" y="102"/>
                    </a:lnTo>
                    <a:lnTo>
                      <a:pt x="2655" y="97"/>
                    </a:lnTo>
                    <a:lnTo>
                      <a:pt x="2651" y="93"/>
                    </a:lnTo>
                    <a:lnTo>
                      <a:pt x="2653" y="92"/>
                    </a:lnTo>
                    <a:lnTo>
                      <a:pt x="2651" y="88"/>
                    </a:lnTo>
                    <a:lnTo>
                      <a:pt x="2647" y="85"/>
                    </a:lnTo>
                    <a:lnTo>
                      <a:pt x="2645" y="87"/>
                    </a:lnTo>
                    <a:lnTo>
                      <a:pt x="2642" y="87"/>
                    </a:lnTo>
                    <a:lnTo>
                      <a:pt x="2637" y="83"/>
                    </a:lnTo>
                    <a:lnTo>
                      <a:pt x="2632" y="83"/>
                    </a:lnTo>
                    <a:lnTo>
                      <a:pt x="2632" y="85"/>
                    </a:lnTo>
                    <a:lnTo>
                      <a:pt x="2628" y="87"/>
                    </a:lnTo>
                    <a:lnTo>
                      <a:pt x="2628" y="88"/>
                    </a:lnTo>
                    <a:lnTo>
                      <a:pt x="2625" y="88"/>
                    </a:lnTo>
                    <a:lnTo>
                      <a:pt x="2623" y="92"/>
                    </a:lnTo>
                    <a:lnTo>
                      <a:pt x="2623" y="100"/>
                    </a:lnTo>
                    <a:lnTo>
                      <a:pt x="2627" y="100"/>
                    </a:lnTo>
                    <a:lnTo>
                      <a:pt x="2630" y="100"/>
                    </a:lnTo>
                    <a:lnTo>
                      <a:pt x="2637" y="102"/>
                    </a:lnTo>
                    <a:lnTo>
                      <a:pt x="2643" y="105"/>
                    </a:lnTo>
                    <a:lnTo>
                      <a:pt x="2643" y="105"/>
                    </a:lnTo>
                    <a:close/>
                    <a:moveTo>
                      <a:pt x="2673" y="95"/>
                    </a:moveTo>
                    <a:lnTo>
                      <a:pt x="2675" y="92"/>
                    </a:lnTo>
                    <a:lnTo>
                      <a:pt x="2676" y="90"/>
                    </a:lnTo>
                    <a:lnTo>
                      <a:pt x="2671" y="90"/>
                    </a:lnTo>
                    <a:lnTo>
                      <a:pt x="2670" y="92"/>
                    </a:lnTo>
                    <a:lnTo>
                      <a:pt x="2673" y="95"/>
                    </a:lnTo>
                    <a:lnTo>
                      <a:pt x="2673" y="95"/>
                    </a:lnTo>
                    <a:close/>
                    <a:moveTo>
                      <a:pt x="2706" y="1269"/>
                    </a:moveTo>
                    <a:lnTo>
                      <a:pt x="2705" y="1264"/>
                    </a:lnTo>
                    <a:lnTo>
                      <a:pt x="2706" y="1259"/>
                    </a:lnTo>
                    <a:lnTo>
                      <a:pt x="2705" y="1256"/>
                    </a:lnTo>
                    <a:lnTo>
                      <a:pt x="2703" y="1251"/>
                    </a:lnTo>
                    <a:lnTo>
                      <a:pt x="2703" y="1245"/>
                    </a:lnTo>
                    <a:lnTo>
                      <a:pt x="2708" y="1240"/>
                    </a:lnTo>
                    <a:lnTo>
                      <a:pt x="2710" y="1241"/>
                    </a:lnTo>
                    <a:lnTo>
                      <a:pt x="2710" y="1245"/>
                    </a:lnTo>
                    <a:lnTo>
                      <a:pt x="2713" y="1246"/>
                    </a:lnTo>
                    <a:lnTo>
                      <a:pt x="2723" y="1245"/>
                    </a:lnTo>
                    <a:lnTo>
                      <a:pt x="2723" y="1243"/>
                    </a:lnTo>
                    <a:lnTo>
                      <a:pt x="2726" y="1243"/>
                    </a:lnTo>
                    <a:lnTo>
                      <a:pt x="2728" y="1245"/>
                    </a:lnTo>
                    <a:lnTo>
                      <a:pt x="2726" y="1246"/>
                    </a:lnTo>
                    <a:lnTo>
                      <a:pt x="2726" y="1250"/>
                    </a:lnTo>
                    <a:lnTo>
                      <a:pt x="2731" y="1255"/>
                    </a:lnTo>
                    <a:lnTo>
                      <a:pt x="2731" y="1259"/>
                    </a:lnTo>
                    <a:lnTo>
                      <a:pt x="2735" y="1261"/>
                    </a:lnTo>
                    <a:lnTo>
                      <a:pt x="2735" y="1258"/>
                    </a:lnTo>
                    <a:lnTo>
                      <a:pt x="2735" y="1256"/>
                    </a:lnTo>
                    <a:lnTo>
                      <a:pt x="2735" y="1251"/>
                    </a:lnTo>
                    <a:lnTo>
                      <a:pt x="2735" y="1246"/>
                    </a:lnTo>
                    <a:lnTo>
                      <a:pt x="2730" y="1243"/>
                    </a:lnTo>
                    <a:lnTo>
                      <a:pt x="2728" y="1238"/>
                    </a:lnTo>
                    <a:lnTo>
                      <a:pt x="2726" y="1233"/>
                    </a:lnTo>
                    <a:lnTo>
                      <a:pt x="2723" y="1235"/>
                    </a:lnTo>
                    <a:lnTo>
                      <a:pt x="2720" y="1235"/>
                    </a:lnTo>
                    <a:lnTo>
                      <a:pt x="2713" y="1231"/>
                    </a:lnTo>
                    <a:lnTo>
                      <a:pt x="2713" y="1225"/>
                    </a:lnTo>
                    <a:lnTo>
                      <a:pt x="2710" y="1220"/>
                    </a:lnTo>
                    <a:lnTo>
                      <a:pt x="2703" y="1215"/>
                    </a:lnTo>
                    <a:lnTo>
                      <a:pt x="2700" y="1215"/>
                    </a:lnTo>
                    <a:lnTo>
                      <a:pt x="2696" y="1210"/>
                    </a:lnTo>
                    <a:lnTo>
                      <a:pt x="2693" y="1203"/>
                    </a:lnTo>
                    <a:lnTo>
                      <a:pt x="2690" y="1196"/>
                    </a:lnTo>
                    <a:lnTo>
                      <a:pt x="2688" y="1191"/>
                    </a:lnTo>
                    <a:lnTo>
                      <a:pt x="2688" y="1185"/>
                    </a:lnTo>
                    <a:lnTo>
                      <a:pt x="2688" y="1176"/>
                    </a:lnTo>
                    <a:lnTo>
                      <a:pt x="2685" y="1171"/>
                    </a:lnTo>
                    <a:lnTo>
                      <a:pt x="2686" y="1163"/>
                    </a:lnTo>
                    <a:lnTo>
                      <a:pt x="2685" y="1160"/>
                    </a:lnTo>
                    <a:lnTo>
                      <a:pt x="2681" y="1155"/>
                    </a:lnTo>
                    <a:lnTo>
                      <a:pt x="2685" y="1152"/>
                    </a:lnTo>
                    <a:lnTo>
                      <a:pt x="2685" y="1148"/>
                    </a:lnTo>
                    <a:lnTo>
                      <a:pt x="2685" y="1145"/>
                    </a:lnTo>
                    <a:lnTo>
                      <a:pt x="2688" y="1145"/>
                    </a:lnTo>
                    <a:lnTo>
                      <a:pt x="2690" y="1145"/>
                    </a:lnTo>
                    <a:lnTo>
                      <a:pt x="2696" y="1145"/>
                    </a:lnTo>
                    <a:lnTo>
                      <a:pt x="2701" y="1145"/>
                    </a:lnTo>
                    <a:lnTo>
                      <a:pt x="2706" y="1148"/>
                    </a:lnTo>
                    <a:lnTo>
                      <a:pt x="2710" y="1155"/>
                    </a:lnTo>
                    <a:lnTo>
                      <a:pt x="2715" y="1157"/>
                    </a:lnTo>
                    <a:lnTo>
                      <a:pt x="2720" y="1158"/>
                    </a:lnTo>
                    <a:lnTo>
                      <a:pt x="2725" y="1165"/>
                    </a:lnTo>
                    <a:lnTo>
                      <a:pt x="2726" y="1166"/>
                    </a:lnTo>
                    <a:lnTo>
                      <a:pt x="2725" y="1160"/>
                    </a:lnTo>
                    <a:lnTo>
                      <a:pt x="2720" y="1155"/>
                    </a:lnTo>
                    <a:lnTo>
                      <a:pt x="2713" y="1150"/>
                    </a:lnTo>
                    <a:lnTo>
                      <a:pt x="2708" y="1145"/>
                    </a:lnTo>
                    <a:lnTo>
                      <a:pt x="2705" y="1138"/>
                    </a:lnTo>
                    <a:lnTo>
                      <a:pt x="2705" y="1137"/>
                    </a:lnTo>
                    <a:lnTo>
                      <a:pt x="2701" y="1133"/>
                    </a:lnTo>
                    <a:lnTo>
                      <a:pt x="2696" y="1127"/>
                    </a:lnTo>
                    <a:lnTo>
                      <a:pt x="2695" y="1122"/>
                    </a:lnTo>
                    <a:lnTo>
                      <a:pt x="2691" y="1120"/>
                    </a:lnTo>
                    <a:lnTo>
                      <a:pt x="2691" y="1115"/>
                    </a:lnTo>
                    <a:lnTo>
                      <a:pt x="2683" y="1108"/>
                    </a:lnTo>
                    <a:lnTo>
                      <a:pt x="2676" y="1097"/>
                    </a:lnTo>
                    <a:lnTo>
                      <a:pt x="2675" y="1092"/>
                    </a:lnTo>
                    <a:lnTo>
                      <a:pt x="2666" y="1082"/>
                    </a:lnTo>
                    <a:lnTo>
                      <a:pt x="2663" y="1073"/>
                    </a:lnTo>
                    <a:lnTo>
                      <a:pt x="2660" y="1072"/>
                    </a:lnTo>
                    <a:lnTo>
                      <a:pt x="2660" y="1067"/>
                    </a:lnTo>
                    <a:lnTo>
                      <a:pt x="2656" y="1063"/>
                    </a:lnTo>
                    <a:lnTo>
                      <a:pt x="2653" y="1062"/>
                    </a:lnTo>
                    <a:lnTo>
                      <a:pt x="2653" y="1063"/>
                    </a:lnTo>
                    <a:lnTo>
                      <a:pt x="2650" y="1063"/>
                    </a:lnTo>
                    <a:lnTo>
                      <a:pt x="2648" y="1062"/>
                    </a:lnTo>
                    <a:lnTo>
                      <a:pt x="2650" y="1059"/>
                    </a:lnTo>
                    <a:lnTo>
                      <a:pt x="2648" y="1055"/>
                    </a:lnTo>
                    <a:lnTo>
                      <a:pt x="2645" y="1052"/>
                    </a:lnTo>
                    <a:lnTo>
                      <a:pt x="2640" y="1047"/>
                    </a:lnTo>
                    <a:lnTo>
                      <a:pt x="2637" y="1042"/>
                    </a:lnTo>
                    <a:lnTo>
                      <a:pt x="2635" y="1039"/>
                    </a:lnTo>
                    <a:lnTo>
                      <a:pt x="2635" y="1034"/>
                    </a:lnTo>
                    <a:lnTo>
                      <a:pt x="2635" y="1030"/>
                    </a:lnTo>
                    <a:lnTo>
                      <a:pt x="2637" y="1030"/>
                    </a:lnTo>
                    <a:lnTo>
                      <a:pt x="2635" y="1024"/>
                    </a:lnTo>
                    <a:lnTo>
                      <a:pt x="2635" y="1017"/>
                    </a:lnTo>
                    <a:lnTo>
                      <a:pt x="2633" y="1012"/>
                    </a:lnTo>
                    <a:lnTo>
                      <a:pt x="2628" y="1010"/>
                    </a:lnTo>
                    <a:lnTo>
                      <a:pt x="2623" y="1005"/>
                    </a:lnTo>
                    <a:lnTo>
                      <a:pt x="2623" y="1002"/>
                    </a:lnTo>
                    <a:lnTo>
                      <a:pt x="2620" y="1000"/>
                    </a:lnTo>
                    <a:lnTo>
                      <a:pt x="2620" y="999"/>
                    </a:lnTo>
                    <a:lnTo>
                      <a:pt x="2622" y="997"/>
                    </a:lnTo>
                    <a:lnTo>
                      <a:pt x="2627" y="1002"/>
                    </a:lnTo>
                    <a:lnTo>
                      <a:pt x="2632" y="1007"/>
                    </a:lnTo>
                    <a:lnTo>
                      <a:pt x="2628" y="1002"/>
                    </a:lnTo>
                    <a:lnTo>
                      <a:pt x="2623" y="995"/>
                    </a:lnTo>
                    <a:lnTo>
                      <a:pt x="2618" y="989"/>
                    </a:lnTo>
                    <a:lnTo>
                      <a:pt x="2615" y="989"/>
                    </a:lnTo>
                    <a:lnTo>
                      <a:pt x="2615" y="985"/>
                    </a:lnTo>
                    <a:lnTo>
                      <a:pt x="2605" y="979"/>
                    </a:lnTo>
                    <a:lnTo>
                      <a:pt x="2602" y="974"/>
                    </a:lnTo>
                    <a:lnTo>
                      <a:pt x="2602" y="965"/>
                    </a:lnTo>
                    <a:lnTo>
                      <a:pt x="2598" y="964"/>
                    </a:lnTo>
                    <a:lnTo>
                      <a:pt x="2592" y="961"/>
                    </a:lnTo>
                    <a:lnTo>
                      <a:pt x="2588" y="956"/>
                    </a:lnTo>
                    <a:lnTo>
                      <a:pt x="2587" y="952"/>
                    </a:lnTo>
                    <a:lnTo>
                      <a:pt x="2585" y="956"/>
                    </a:lnTo>
                    <a:lnTo>
                      <a:pt x="2587" y="957"/>
                    </a:lnTo>
                    <a:lnTo>
                      <a:pt x="2587" y="961"/>
                    </a:lnTo>
                    <a:lnTo>
                      <a:pt x="2583" y="961"/>
                    </a:lnTo>
                    <a:lnTo>
                      <a:pt x="2580" y="959"/>
                    </a:lnTo>
                    <a:lnTo>
                      <a:pt x="2577" y="959"/>
                    </a:lnTo>
                    <a:lnTo>
                      <a:pt x="2582" y="965"/>
                    </a:lnTo>
                    <a:lnTo>
                      <a:pt x="2590" y="969"/>
                    </a:lnTo>
                    <a:lnTo>
                      <a:pt x="2593" y="974"/>
                    </a:lnTo>
                    <a:lnTo>
                      <a:pt x="2593" y="977"/>
                    </a:lnTo>
                    <a:lnTo>
                      <a:pt x="2595" y="975"/>
                    </a:lnTo>
                    <a:lnTo>
                      <a:pt x="2598" y="975"/>
                    </a:lnTo>
                    <a:lnTo>
                      <a:pt x="2598" y="979"/>
                    </a:lnTo>
                    <a:lnTo>
                      <a:pt x="2597" y="980"/>
                    </a:lnTo>
                    <a:lnTo>
                      <a:pt x="2593" y="982"/>
                    </a:lnTo>
                    <a:lnTo>
                      <a:pt x="2595" y="985"/>
                    </a:lnTo>
                    <a:lnTo>
                      <a:pt x="2598" y="985"/>
                    </a:lnTo>
                    <a:lnTo>
                      <a:pt x="2600" y="989"/>
                    </a:lnTo>
                    <a:lnTo>
                      <a:pt x="2595" y="992"/>
                    </a:lnTo>
                    <a:lnTo>
                      <a:pt x="2592" y="990"/>
                    </a:lnTo>
                    <a:lnTo>
                      <a:pt x="2588" y="987"/>
                    </a:lnTo>
                    <a:lnTo>
                      <a:pt x="2585" y="990"/>
                    </a:lnTo>
                    <a:lnTo>
                      <a:pt x="2583" y="995"/>
                    </a:lnTo>
                    <a:lnTo>
                      <a:pt x="2587" y="1000"/>
                    </a:lnTo>
                    <a:lnTo>
                      <a:pt x="2588" y="1005"/>
                    </a:lnTo>
                    <a:lnTo>
                      <a:pt x="2593" y="1010"/>
                    </a:lnTo>
                    <a:lnTo>
                      <a:pt x="2598" y="1017"/>
                    </a:lnTo>
                    <a:lnTo>
                      <a:pt x="2598" y="1027"/>
                    </a:lnTo>
                    <a:lnTo>
                      <a:pt x="2600" y="1029"/>
                    </a:lnTo>
                    <a:lnTo>
                      <a:pt x="2602" y="1035"/>
                    </a:lnTo>
                    <a:lnTo>
                      <a:pt x="2605" y="1047"/>
                    </a:lnTo>
                    <a:lnTo>
                      <a:pt x="2608" y="1054"/>
                    </a:lnTo>
                    <a:lnTo>
                      <a:pt x="2613" y="1055"/>
                    </a:lnTo>
                    <a:lnTo>
                      <a:pt x="2613" y="1059"/>
                    </a:lnTo>
                    <a:lnTo>
                      <a:pt x="2612" y="1059"/>
                    </a:lnTo>
                    <a:lnTo>
                      <a:pt x="2623" y="1070"/>
                    </a:lnTo>
                    <a:lnTo>
                      <a:pt x="2628" y="1072"/>
                    </a:lnTo>
                    <a:lnTo>
                      <a:pt x="2633" y="1078"/>
                    </a:lnTo>
                    <a:lnTo>
                      <a:pt x="2635" y="1085"/>
                    </a:lnTo>
                    <a:lnTo>
                      <a:pt x="2635" y="1092"/>
                    </a:lnTo>
                    <a:lnTo>
                      <a:pt x="2638" y="1097"/>
                    </a:lnTo>
                    <a:lnTo>
                      <a:pt x="2638" y="1102"/>
                    </a:lnTo>
                    <a:lnTo>
                      <a:pt x="2642" y="1105"/>
                    </a:lnTo>
                    <a:lnTo>
                      <a:pt x="2647" y="1108"/>
                    </a:lnTo>
                    <a:lnTo>
                      <a:pt x="2645" y="1110"/>
                    </a:lnTo>
                    <a:lnTo>
                      <a:pt x="2647" y="1113"/>
                    </a:lnTo>
                    <a:lnTo>
                      <a:pt x="2651" y="1122"/>
                    </a:lnTo>
                    <a:lnTo>
                      <a:pt x="2653" y="1127"/>
                    </a:lnTo>
                    <a:lnTo>
                      <a:pt x="2655" y="1132"/>
                    </a:lnTo>
                    <a:lnTo>
                      <a:pt x="2655" y="1140"/>
                    </a:lnTo>
                    <a:lnTo>
                      <a:pt x="2658" y="1143"/>
                    </a:lnTo>
                    <a:lnTo>
                      <a:pt x="2656" y="1147"/>
                    </a:lnTo>
                    <a:lnTo>
                      <a:pt x="2658" y="1155"/>
                    </a:lnTo>
                    <a:lnTo>
                      <a:pt x="2661" y="1163"/>
                    </a:lnTo>
                    <a:lnTo>
                      <a:pt x="2660" y="1166"/>
                    </a:lnTo>
                    <a:lnTo>
                      <a:pt x="2661" y="1171"/>
                    </a:lnTo>
                    <a:lnTo>
                      <a:pt x="2666" y="1176"/>
                    </a:lnTo>
                    <a:lnTo>
                      <a:pt x="2675" y="1186"/>
                    </a:lnTo>
                    <a:lnTo>
                      <a:pt x="2675" y="1190"/>
                    </a:lnTo>
                    <a:lnTo>
                      <a:pt x="2678" y="1196"/>
                    </a:lnTo>
                    <a:lnTo>
                      <a:pt x="2678" y="1205"/>
                    </a:lnTo>
                    <a:lnTo>
                      <a:pt x="2678" y="1213"/>
                    </a:lnTo>
                    <a:lnTo>
                      <a:pt x="2683" y="1220"/>
                    </a:lnTo>
                    <a:lnTo>
                      <a:pt x="2685" y="1225"/>
                    </a:lnTo>
                    <a:lnTo>
                      <a:pt x="2690" y="1231"/>
                    </a:lnTo>
                    <a:lnTo>
                      <a:pt x="2691" y="1235"/>
                    </a:lnTo>
                    <a:lnTo>
                      <a:pt x="2690" y="1241"/>
                    </a:lnTo>
                    <a:lnTo>
                      <a:pt x="2690" y="1251"/>
                    </a:lnTo>
                    <a:lnTo>
                      <a:pt x="2691" y="1256"/>
                    </a:lnTo>
                    <a:lnTo>
                      <a:pt x="2696" y="1259"/>
                    </a:lnTo>
                    <a:lnTo>
                      <a:pt x="2700" y="1266"/>
                    </a:lnTo>
                    <a:lnTo>
                      <a:pt x="2706" y="1269"/>
                    </a:lnTo>
                    <a:lnTo>
                      <a:pt x="2706" y="1269"/>
                    </a:lnTo>
                    <a:close/>
                    <a:moveTo>
                      <a:pt x="2459" y="959"/>
                    </a:moveTo>
                    <a:lnTo>
                      <a:pt x="2460" y="959"/>
                    </a:lnTo>
                    <a:lnTo>
                      <a:pt x="2460" y="957"/>
                    </a:lnTo>
                    <a:lnTo>
                      <a:pt x="2462" y="956"/>
                    </a:lnTo>
                    <a:lnTo>
                      <a:pt x="2464" y="956"/>
                    </a:lnTo>
                    <a:lnTo>
                      <a:pt x="2467" y="959"/>
                    </a:lnTo>
                    <a:lnTo>
                      <a:pt x="2472" y="961"/>
                    </a:lnTo>
                    <a:lnTo>
                      <a:pt x="2474" y="957"/>
                    </a:lnTo>
                    <a:lnTo>
                      <a:pt x="2475" y="956"/>
                    </a:lnTo>
                    <a:lnTo>
                      <a:pt x="2474" y="952"/>
                    </a:lnTo>
                    <a:lnTo>
                      <a:pt x="2474" y="951"/>
                    </a:lnTo>
                    <a:lnTo>
                      <a:pt x="2477" y="947"/>
                    </a:lnTo>
                    <a:lnTo>
                      <a:pt x="2477" y="946"/>
                    </a:lnTo>
                    <a:lnTo>
                      <a:pt x="2474" y="946"/>
                    </a:lnTo>
                    <a:lnTo>
                      <a:pt x="2474" y="947"/>
                    </a:lnTo>
                    <a:lnTo>
                      <a:pt x="2470" y="949"/>
                    </a:lnTo>
                    <a:lnTo>
                      <a:pt x="2469" y="947"/>
                    </a:lnTo>
                    <a:lnTo>
                      <a:pt x="2472" y="946"/>
                    </a:lnTo>
                    <a:lnTo>
                      <a:pt x="2472" y="944"/>
                    </a:lnTo>
                    <a:lnTo>
                      <a:pt x="2470" y="942"/>
                    </a:lnTo>
                    <a:lnTo>
                      <a:pt x="2465" y="944"/>
                    </a:lnTo>
                    <a:lnTo>
                      <a:pt x="2462" y="942"/>
                    </a:lnTo>
                    <a:lnTo>
                      <a:pt x="2459" y="944"/>
                    </a:lnTo>
                    <a:lnTo>
                      <a:pt x="2457" y="949"/>
                    </a:lnTo>
                    <a:lnTo>
                      <a:pt x="2455" y="951"/>
                    </a:lnTo>
                    <a:lnTo>
                      <a:pt x="2455" y="954"/>
                    </a:lnTo>
                    <a:lnTo>
                      <a:pt x="2459" y="959"/>
                    </a:lnTo>
                    <a:lnTo>
                      <a:pt x="2459" y="959"/>
                    </a:lnTo>
                    <a:close/>
                    <a:moveTo>
                      <a:pt x="2442" y="956"/>
                    </a:moveTo>
                    <a:lnTo>
                      <a:pt x="2444" y="956"/>
                    </a:lnTo>
                    <a:lnTo>
                      <a:pt x="2444" y="954"/>
                    </a:lnTo>
                    <a:lnTo>
                      <a:pt x="2446" y="952"/>
                    </a:lnTo>
                    <a:lnTo>
                      <a:pt x="2449" y="954"/>
                    </a:lnTo>
                    <a:lnTo>
                      <a:pt x="2450" y="954"/>
                    </a:lnTo>
                    <a:lnTo>
                      <a:pt x="2449" y="951"/>
                    </a:lnTo>
                    <a:lnTo>
                      <a:pt x="2450" y="947"/>
                    </a:lnTo>
                    <a:lnTo>
                      <a:pt x="2450" y="946"/>
                    </a:lnTo>
                    <a:lnTo>
                      <a:pt x="2449" y="946"/>
                    </a:lnTo>
                    <a:lnTo>
                      <a:pt x="2446" y="949"/>
                    </a:lnTo>
                    <a:lnTo>
                      <a:pt x="2441" y="951"/>
                    </a:lnTo>
                    <a:lnTo>
                      <a:pt x="2441" y="954"/>
                    </a:lnTo>
                    <a:lnTo>
                      <a:pt x="2442" y="956"/>
                    </a:lnTo>
                    <a:lnTo>
                      <a:pt x="2442" y="956"/>
                    </a:lnTo>
                    <a:close/>
                    <a:moveTo>
                      <a:pt x="2475" y="970"/>
                    </a:moveTo>
                    <a:lnTo>
                      <a:pt x="2477" y="972"/>
                    </a:lnTo>
                    <a:lnTo>
                      <a:pt x="2480" y="970"/>
                    </a:lnTo>
                    <a:lnTo>
                      <a:pt x="2480" y="967"/>
                    </a:lnTo>
                    <a:lnTo>
                      <a:pt x="2479" y="965"/>
                    </a:lnTo>
                    <a:lnTo>
                      <a:pt x="2477" y="967"/>
                    </a:lnTo>
                    <a:lnTo>
                      <a:pt x="2477" y="967"/>
                    </a:lnTo>
                    <a:lnTo>
                      <a:pt x="2475" y="970"/>
                    </a:lnTo>
                    <a:lnTo>
                      <a:pt x="2475" y="970"/>
                    </a:lnTo>
                    <a:close/>
                    <a:moveTo>
                      <a:pt x="2470" y="965"/>
                    </a:moveTo>
                    <a:lnTo>
                      <a:pt x="2470" y="969"/>
                    </a:lnTo>
                    <a:lnTo>
                      <a:pt x="2472" y="970"/>
                    </a:lnTo>
                    <a:lnTo>
                      <a:pt x="2474" y="969"/>
                    </a:lnTo>
                    <a:lnTo>
                      <a:pt x="2474" y="965"/>
                    </a:lnTo>
                    <a:lnTo>
                      <a:pt x="2472" y="964"/>
                    </a:lnTo>
                    <a:lnTo>
                      <a:pt x="2470" y="965"/>
                    </a:lnTo>
                    <a:lnTo>
                      <a:pt x="2470" y="965"/>
                    </a:lnTo>
                    <a:close/>
                    <a:moveTo>
                      <a:pt x="2472" y="985"/>
                    </a:moveTo>
                    <a:lnTo>
                      <a:pt x="2475" y="982"/>
                    </a:lnTo>
                    <a:lnTo>
                      <a:pt x="2477" y="980"/>
                    </a:lnTo>
                    <a:lnTo>
                      <a:pt x="2479" y="977"/>
                    </a:lnTo>
                    <a:lnTo>
                      <a:pt x="2479" y="977"/>
                    </a:lnTo>
                    <a:lnTo>
                      <a:pt x="2479" y="974"/>
                    </a:lnTo>
                    <a:lnTo>
                      <a:pt x="2472" y="975"/>
                    </a:lnTo>
                    <a:lnTo>
                      <a:pt x="2469" y="980"/>
                    </a:lnTo>
                    <a:lnTo>
                      <a:pt x="2469" y="984"/>
                    </a:lnTo>
                    <a:lnTo>
                      <a:pt x="2472" y="985"/>
                    </a:lnTo>
                    <a:lnTo>
                      <a:pt x="2472" y="985"/>
                    </a:lnTo>
                    <a:close/>
                    <a:moveTo>
                      <a:pt x="2658" y="730"/>
                    </a:moveTo>
                    <a:lnTo>
                      <a:pt x="2660" y="730"/>
                    </a:lnTo>
                    <a:lnTo>
                      <a:pt x="2663" y="726"/>
                    </a:lnTo>
                    <a:lnTo>
                      <a:pt x="2663" y="723"/>
                    </a:lnTo>
                    <a:lnTo>
                      <a:pt x="2660" y="723"/>
                    </a:lnTo>
                    <a:lnTo>
                      <a:pt x="2658" y="726"/>
                    </a:lnTo>
                    <a:lnTo>
                      <a:pt x="2658" y="730"/>
                    </a:lnTo>
                    <a:lnTo>
                      <a:pt x="2658" y="730"/>
                    </a:lnTo>
                    <a:close/>
                    <a:moveTo>
                      <a:pt x="2954" y="701"/>
                    </a:moveTo>
                    <a:lnTo>
                      <a:pt x="2955" y="703"/>
                    </a:lnTo>
                    <a:lnTo>
                      <a:pt x="2955" y="698"/>
                    </a:lnTo>
                    <a:lnTo>
                      <a:pt x="2952" y="693"/>
                    </a:lnTo>
                    <a:lnTo>
                      <a:pt x="2954" y="691"/>
                    </a:lnTo>
                    <a:lnTo>
                      <a:pt x="2954" y="688"/>
                    </a:lnTo>
                    <a:lnTo>
                      <a:pt x="2957" y="683"/>
                    </a:lnTo>
                    <a:lnTo>
                      <a:pt x="2960" y="680"/>
                    </a:lnTo>
                    <a:lnTo>
                      <a:pt x="2965" y="675"/>
                    </a:lnTo>
                    <a:lnTo>
                      <a:pt x="2969" y="675"/>
                    </a:lnTo>
                    <a:lnTo>
                      <a:pt x="2967" y="670"/>
                    </a:lnTo>
                    <a:lnTo>
                      <a:pt x="2965" y="663"/>
                    </a:lnTo>
                    <a:lnTo>
                      <a:pt x="2959" y="658"/>
                    </a:lnTo>
                    <a:lnTo>
                      <a:pt x="2957" y="658"/>
                    </a:lnTo>
                    <a:lnTo>
                      <a:pt x="2954" y="660"/>
                    </a:lnTo>
                    <a:lnTo>
                      <a:pt x="2954" y="662"/>
                    </a:lnTo>
                    <a:lnTo>
                      <a:pt x="2950" y="663"/>
                    </a:lnTo>
                    <a:lnTo>
                      <a:pt x="2945" y="670"/>
                    </a:lnTo>
                    <a:lnTo>
                      <a:pt x="2942" y="670"/>
                    </a:lnTo>
                    <a:lnTo>
                      <a:pt x="2941" y="675"/>
                    </a:lnTo>
                    <a:lnTo>
                      <a:pt x="2942" y="675"/>
                    </a:lnTo>
                    <a:lnTo>
                      <a:pt x="2947" y="673"/>
                    </a:lnTo>
                    <a:lnTo>
                      <a:pt x="2947" y="673"/>
                    </a:lnTo>
                    <a:lnTo>
                      <a:pt x="2945" y="678"/>
                    </a:lnTo>
                    <a:lnTo>
                      <a:pt x="2947" y="685"/>
                    </a:lnTo>
                    <a:lnTo>
                      <a:pt x="2950" y="688"/>
                    </a:lnTo>
                    <a:lnTo>
                      <a:pt x="2950" y="693"/>
                    </a:lnTo>
                    <a:lnTo>
                      <a:pt x="2949" y="695"/>
                    </a:lnTo>
                    <a:lnTo>
                      <a:pt x="2949" y="698"/>
                    </a:lnTo>
                    <a:lnTo>
                      <a:pt x="2954" y="701"/>
                    </a:lnTo>
                    <a:lnTo>
                      <a:pt x="2954" y="701"/>
                    </a:lnTo>
                    <a:close/>
                    <a:moveTo>
                      <a:pt x="2959" y="1055"/>
                    </a:moveTo>
                    <a:lnTo>
                      <a:pt x="2960" y="1055"/>
                    </a:lnTo>
                    <a:lnTo>
                      <a:pt x="2962" y="1054"/>
                    </a:lnTo>
                    <a:lnTo>
                      <a:pt x="2962" y="1050"/>
                    </a:lnTo>
                    <a:lnTo>
                      <a:pt x="2959" y="1047"/>
                    </a:lnTo>
                    <a:lnTo>
                      <a:pt x="2955" y="1050"/>
                    </a:lnTo>
                    <a:lnTo>
                      <a:pt x="2955" y="1052"/>
                    </a:lnTo>
                    <a:lnTo>
                      <a:pt x="2959" y="1055"/>
                    </a:lnTo>
                    <a:lnTo>
                      <a:pt x="2959" y="1055"/>
                    </a:lnTo>
                    <a:close/>
                    <a:moveTo>
                      <a:pt x="2934" y="1050"/>
                    </a:moveTo>
                    <a:lnTo>
                      <a:pt x="2932" y="1054"/>
                    </a:lnTo>
                    <a:lnTo>
                      <a:pt x="2936" y="1055"/>
                    </a:lnTo>
                    <a:lnTo>
                      <a:pt x="2941" y="1055"/>
                    </a:lnTo>
                    <a:lnTo>
                      <a:pt x="2941" y="1052"/>
                    </a:lnTo>
                    <a:lnTo>
                      <a:pt x="2936" y="1049"/>
                    </a:lnTo>
                    <a:lnTo>
                      <a:pt x="2934" y="1050"/>
                    </a:lnTo>
                    <a:lnTo>
                      <a:pt x="2934" y="1050"/>
                    </a:lnTo>
                    <a:close/>
                    <a:moveTo>
                      <a:pt x="2947" y="1087"/>
                    </a:moveTo>
                    <a:lnTo>
                      <a:pt x="2949" y="1087"/>
                    </a:lnTo>
                    <a:lnTo>
                      <a:pt x="2949" y="1082"/>
                    </a:lnTo>
                    <a:lnTo>
                      <a:pt x="2949" y="1078"/>
                    </a:lnTo>
                    <a:lnTo>
                      <a:pt x="2954" y="1077"/>
                    </a:lnTo>
                    <a:lnTo>
                      <a:pt x="2955" y="1072"/>
                    </a:lnTo>
                    <a:lnTo>
                      <a:pt x="2955" y="1068"/>
                    </a:lnTo>
                    <a:lnTo>
                      <a:pt x="2957" y="1065"/>
                    </a:lnTo>
                    <a:lnTo>
                      <a:pt x="2959" y="1062"/>
                    </a:lnTo>
                    <a:lnTo>
                      <a:pt x="2957" y="1059"/>
                    </a:lnTo>
                    <a:lnTo>
                      <a:pt x="2950" y="1052"/>
                    </a:lnTo>
                    <a:lnTo>
                      <a:pt x="2949" y="1055"/>
                    </a:lnTo>
                    <a:lnTo>
                      <a:pt x="2949" y="1063"/>
                    </a:lnTo>
                    <a:lnTo>
                      <a:pt x="2949" y="1067"/>
                    </a:lnTo>
                    <a:lnTo>
                      <a:pt x="2945" y="1068"/>
                    </a:lnTo>
                    <a:lnTo>
                      <a:pt x="2942" y="1073"/>
                    </a:lnTo>
                    <a:lnTo>
                      <a:pt x="2939" y="1073"/>
                    </a:lnTo>
                    <a:lnTo>
                      <a:pt x="2939" y="1075"/>
                    </a:lnTo>
                    <a:lnTo>
                      <a:pt x="2942" y="1078"/>
                    </a:lnTo>
                    <a:lnTo>
                      <a:pt x="2942" y="1082"/>
                    </a:lnTo>
                    <a:lnTo>
                      <a:pt x="2939" y="1083"/>
                    </a:lnTo>
                    <a:lnTo>
                      <a:pt x="2941" y="1085"/>
                    </a:lnTo>
                    <a:lnTo>
                      <a:pt x="2945" y="1083"/>
                    </a:lnTo>
                    <a:lnTo>
                      <a:pt x="2947" y="1087"/>
                    </a:lnTo>
                    <a:lnTo>
                      <a:pt x="2947" y="1087"/>
                    </a:lnTo>
                    <a:close/>
                    <a:moveTo>
                      <a:pt x="2942" y="1113"/>
                    </a:moveTo>
                    <a:lnTo>
                      <a:pt x="2942" y="1113"/>
                    </a:lnTo>
                    <a:lnTo>
                      <a:pt x="2944" y="1110"/>
                    </a:lnTo>
                    <a:lnTo>
                      <a:pt x="2942" y="1107"/>
                    </a:lnTo>
                    <a:lnTo>
                      <a:pt x="2942" y="1103"/>
                    </a:lnTo>
                    <a:lnTo>
                      <a:pt x="2941" y="1102"/>
                    </a:lnTo>
                    <a:lnTo>
                      <a:pt x="2941" y="1107"/>
                    </a:lnTo>
                    <a:lnTo>
                      <a:pt x="2939" y="1110"/>
                    </a:lnTo>
                    <a:lnTo>
                      <a:pt x="2942" y="1113"/>
                    </a:lnTo>
                    <a:lnTo>
                      <a:pt x="2942" y="1113"/>
                    </a:lnTo>
                    <a:close/>
                    <a:moveTo>
                      <a:pt x="2944" y="1122"/>
                    </a:moveTo>
                    <a:lnTo>
                      <a:pt x="2945" y="1122"/>
                    </a:lnTo>
                    <a:lnTo>
                      <a:pt x="2945" y="1118"/>
                    </a:lnTo>
                    <a:lnTo>
                      <a:pt x="2941" y="1117"/>
                    </a:lnTo>
                    <a:lnTo>
                      <a:pt x="2941" y="1118"/>
                    </a:lnTo>
                    <a:lnTo>
                      <a:pt x="2941" y="1120"/>
                    </a:lnTo>
                    <a:lnTo>
                      <a:pt x="2944" y="1122"/>
                    </a:lnTo>
                    <a:lnTo>
                      <a:pt x="2944" y="1122"/>
                    </a:lnTo>
                    <a:close/>
                    <a:moveTo>
                      <a:pt x="2934" y="1128"/>
                    </a:moveTo>
                    <a:lnTo>
                      <a:pt x="2936" y="1128"/>
                    </a:lnTo>
                    <a:lnTo>
                      <a:pt x="2936" y="1127"/>
                    </a:lnTo>
                    <a:lnTo>
                      <a:pt x="2934" y="1125"/>
                    </a:lnTo>
                    <a:lnTo>
                      <a:pt x="2932" y="1127"/>
                    </a:lnTo>
                    <a:lnTo>
                      <a:pt x="2934" y="1128"/>
                    </a:lnTo>
                    <a:lnTo>
                      <a:pt x="2934" y="1128"/>
                    </a:lnTo>
                    <a:close/>
                    <a:moveTo>
                      <a:pt x="2937" y="1138"/>
                    </a:moveTo>
                    <a:lnTo>
                      <a:pt x="2939" y="1137"/>
                    </a:lnTo>
                    <a:lnTo>
                      <a:pt x="2942" y="1135"/>
                    </a:lnTo>
                    <a:lnTo>
                      <a:pt x="2942" y="1132"/>
                    </a:lnTo>
                    <a:lnTo>
                      <a:pt x="2941" y="1130"/>
                    </a:lnTo>
                    <a:lnTo>
                      <a:pt x="2939" y="1133"/>
                    </a:lnTo>
                    <a:lnTo>
                      <a:pt x="2937" y="1138"/>
                    </a:lnTo>
                    <a:lnTo>
                      <a:pt x="2937" y="1138"/>
                    </a:lnTo>
                    <a:close/>
                    <a:moveTo>
                      <a:pt x="2932" y="1165"/>
                    </a:moveTo>
                    <a:lnTo>
                      <a:pt x="2934" y="1163"/>
                    </a:lnTo>
                    <a:lnTo>
                      <a:pt x="2931" y="1163"/>
                    </a:lnTo>
                    <a:lnTo>
                      <a:pt x="2929" y="1163"/>
                    </a:lnTo>
                    <a:lnTo>
                      <a:pt x="2932" y="1165"/>
                    </a:lnTo>
                    <a:lnTo>
                      <a:pt x="2932" y="1165"/>
                    </a:lnTo>
                    <a:close/>
                    <a:moveTo>
                      <a:pt x="2931" y="1180"/>
                    </a:moveTo>
                    <a:lnTo>
                      <a:pt x="2932" y="1176"/>
                    </a:lnTo>
                    <a:lnTo>
                      <a:pt x="2931" y="1175"/>
                    </a:lnTo>
                    <a:lnTo>
                      <a:pt x="2929" y="1176"/>
                    </a:lnTo>
                    <a:lnTo>
                      <a:pt x="2931" y="1180"/>
                    </a:lnTo>
                    <a:lnTo>
                      <a:pt x="2931" y="1180"/>
                    </a:lnTo>
                    <a:close/>
                    <a:moveTo>
                      <a:pt x="2929" y="1183"/>
                    </a:moveTo>
                    <a:lnTo>
                      <a:pt x="2931" y="1186"/>
                    </a:lnTo>
                    <a:lnTo>
                      <a:pt x="2931" y="1185"/>
                    </a:lnTo>
                    <a:lnTo>
                      <a:pt x="2929" y="1183"/>
                    </a:lnTo>
                    <a:lnTo>
                      <a:pt x="2929" y="1183"/>
                    </a:lnTo>
                    <a:close/>
                    <a:moveTo>
                      <a:pt x="2924" y="1191"/>
                    </a:moveTo>
                    <a:lnTo>
                      <a:pt x="2926" y="1193"/>
                    </a:lnTo>
                    <a:lnTo>
                      <a:pt x="2927" y="1193"/>
                    </a:lnTo>
                    <a:lnTo>
                      <a:pt x="2927" y="1191"/>
                    </a:lnTo>
                    <a:lnTo>
                      <a:pt x="2926" y="1190"/>
                    </a:lnTo>
                    <a:lnTo>
                      <a:pt x="2924" y="1191"/>
                    </a:lnTo>
                    <a:lnTo>
                      <a:pt x="2924" y="1191"/>
                    </a:lnTo>
                    <a:close/>
                    <a:moveTo>
                      <a:pt x="2921" y="1210"/>
                    </a:moveTo>
                    <a:lnTo>
                      <a:pt x="2922" y="1208"/>
                    </a:lnTo>
                    <a:lnTo>
                      <a:pt x="2924" y="1200"/>
                    </a:lnTo>
                    <a:lnTo>
                      <a:pt x="2921" y="1200"/>
                    </a:lnTo>
                    <a:lnTo>
                      <a:pt x="2921" y="1203"/>
                    </a:lnTo>
                    <a:lnTo>
                      <a:pt x="2919" y="1210"/>
                    </a:lnTo>
                    <a:lnTo>
                      <a:pt x="2921" y="1210"/>
                    </a:lnTo>
                    <a:lnTo>
                      <a:pt x="2921" y="1210"/>
                    </a:lnTo>
                    <a:close/>
                    <a:moveTo>
                      <a:pt x="2879" y="1259"/>
                    </a:moveTo>
                    <a:lnTo>
                      <a:pt x="2881" y="1261"/>
                    </a:lnTo>
                    <a:lnTo>
                      <a:pt x="2886" y="1256"/>
                    </a:lnTo>
                    <a:lnTo>
                      <a:pt x="2889" y="1251"/>
                    </a:lnTo>
                    <a:lnTo>
                      <a:pt x="2892" y="1248"/>
                    </a:lnTo>
                    <a:lnTo>
                      <a:pt x="2892" y="1245"/>
                    </a:lnTo>
                    <a:lnTo>
                      <a:pt x="2894" y="1240"/>
                    </a:lnTo>
                    <a:lnTo>
                      <a:pt x="2899" y="1233"/>
                    </a:lnTo>
                    <a:lnTo>
                      <a:pt x="2897" y="1235"/>
                    </a:lnTo>
                    <a:lnTo>
                      <a:pt x="2892" y="1235"/>
                    </a:lnTo>
                    <a:lnTo>
                      <a:pt x="2889" y="1240"/>
                    </a:lnTo>
                    <a:lnTo>
                      <a:pt x="2887" y="1241"/>
                    </a:lnTo>
                    <a:lnTo>
                      <a:pt x="2886" y="1245"/>
                    </a:lnTo>
                    <a:lnTo>
                      <a:pt x="2884" y="1248"/>
                    </a:lnTo>
                    <a:lnTo>
                      <a:pt x="2884" y="1250"/>
                    </a:lnTo>
                    <a:lnTo>
                      <a:pt x="2881" y="1253"/>
                    </a:lnTo>
                    <a:lnTo>
                      <a:pt x="2879" y="1259"/>
                    </a:lnTo>
                    <a:lnTo>
                      <a:pt x="2879" y="1259"/>
                    </a:lnTo>
                    <a:close/>
                    <a:moveTo>
                      <a:pt x="2834" y="1308"/>
                    </a:moveTo>
                    <a:lnTo>
                      <a:pt x="2836" y="1308"/>
                    </a:lnTo>
                    <a:lnTo>
                      <a:pt x="2838" y="1303"/>
                    </a:lnTo>
                    <a:lnTo>
                      <a:pt x="2841" y="1299"/>
                    </a:lnTo>
                    <a:lnTo>
                      <a:pt x="2839" y="1294"/>
                    </a:lnTo>
                    <a:lnTo>
                      <a:pt x="2843" y="1293"/>
                    </a:lnTo>
                    <a:lnTo>
                      <a:pt x="2843" y="1289"/>
                    </a:lnTo>
                    <a:lnTo>
                      <a:pt x="2844" y="1288"/>
                    </a:lnTo>
                    <a:lnTo>
                      <a:pt x="2847" y="1289"/>
                    </a:lnTo>
                    <a:lnTo>
                      <a:pt x="2851" y="1286"/>
                    </a:lnTo>
                    <a:lnTo>
                      <a:pt x="2854" y="1279"/>
                    </a:lnTo>
                    <a:lnTo>
                      <a:pt x="2859" y="1274"/>
                    </a:lnTo>
                    <a:lnTo>
                      <a:pt x="2864" y="1274"/>
                    </a:lnTo>
                    <a:lnTo>
                      <a:pt x="2867" y="1271"/>
                    </a:lnTo>
                    <a:lnTo>
                      <a:pt x="2867" y="1268"/>
                    </a:lnTo>
                    <a:lnTo>
                      <a:pt x="2866" y="1263"/>
                    </a:lnTo>
                    <a:lnTo>
                      <a:pt x="2862" y="1264"/>
                    </a:lnTo>
                    <a:lnTo>
                      <a:pt x="2857" y="1269"/>
                    </a:lnTo>
                    <a:lnTo>
                      <a:pt x="2857" y="1273"/>
                    </a:lnTo>
                    <a:lnTo>
                      <a:pt x="2854" y="1273"/>
                    </a:lnTo>
                    <a:lnTo>
                      <a:pt x="2851" y="1274"/>
                    </a:lnTo>
                    <a:lnTo>
                      <a:pt x="2847" y="1274"/>
                    </a:lnTo>
                    <a:lnTo>
                      <a:pt x="2846" y="1271"/>
                    </a:lnTo>
                    <a:lnTo>
                      <a:pt x="2844" y="1271"/>
                    </a:lnTo>
                    <a:lnTo>
                      <a:pt x="2843" y="1274"/>
                    </a:lnTo>
                    <a:lnTo>
                      <a:pt x="2844" y="1278"/>
                    </a:lnTo>
                    <a:lnTo>
                      <a:pt x="2843" y="1281"/>
                    </a:lnTo>
                    <a:lnTo>
                      <a:pt x="2841" y="1284"/>
                    </a:lnTo>
                    <a:lnTo>
                      <a:pt x="2838" y="1284"/>
                    </a:lnTo>
                    <a:lnTo>
                      <a:pt x="2838" y="1288"/>
                    </a:lnTo>
                    <a:lnTo>
                      <a:pt x="2838" y="1291"/>
                    </a:lnTo>
                    <a:lnTo>
                      <a:pt x="2833" y="1293"/>
                    </a:lnTo>
                    <a:lnTo>
                      <a:pt x="2833" y="1296"/>
                    </a:lnTo>
                    <a:lnTo>
                      <a:pt x="2834" y="1298"/>
                    </a:lnTo>
                    <a:lnTo>
                      <a:pt x="2833" y="1299"/>
                    </a:lnTo>
                    <a:lnTo>
                      <a:pt x="2833" y="1303"/>
                    </a:lnTo>
                    <a:lnTo>
                      <a:pt x="2834" y="1308"/>
                    </a:lnTo>
                    <a:lnTo>
                      <a:pt x="2834" y="1308"/>
                    </a:lnTo>
                    <a:close/>
                    <a:moveTo>
                      <a:pt x="2813" y="1338"/>
                    </a:moveTo>
                    <a:lnTo>
                      <a:pt x="2813" y="1338"/>
                    </a:lnTo>
                    <a:lnTo>
                      <a:pt x="2814" y="1331"/>
                    </a:lnTo>
                    <a:lnTo>
                      <a:pt x="2816" y="1321"/>
                    </a:lnTo>
                    <a:lnTo>
                      <a:pt x="2818" y="1319"/>
                    </a:lnTo>
                    <a:lnTo>
                      <a:pt x="2824" y="1314"/>
                    </a:lnTo>
                    <a:lnTo>
                      <a:pt x="2824" y="1309"/>
                    </a:lnTo>
                    <a:lnTo>
                      <a:pt x="2823" y="1309"/>
                    </a:lnTo>
                    <a:lnTo>
                      <a:pt x="2819" y="1311"/>
                    </a:lnTo>
                    <a:lnTo>
                      <a:pt x="2818" y="1309"/>
                    </a:lnTo>
                    <a:lnTo>
                      <a:pt x="2814" y="1308"/>
                    </a:lnTo>
                    <a:lnTo>
                      <a:pt x="2813" y="1309"/>
                    </a:lnTo>
                    <a:lnTo>
                      <a:pt x="2813" y="1314"/>
                    </a:lnTo>
                    <a:lnTo>
                      <a:pt x="2811" y="1319"/>
                    </a:lnTo>
                    <a:lnTo>
                      <a:pt x="2811" y="1326"/>
                    </a:lnTo>
                    <a:lnTo>
                      <a:pt x="2808" y="1329"/>
                    </a:lnTo>
                    <a:lnTo>
                      <a:pt x="2809" y="1333"/>
                    </a:lnTo>
                    <a:lnTo>
                      <a:pt x="2813" y="1338"/>
                    </a:lnTo>
                    <a:lnTo>
                      <a:pt x="2813" y="1338"/>
                    </a:lnTo>
                    <a:close/>
                    <a:moveTo>
                      <a:pt x="50" y="985"/>
                    </a:moveTo>
                    <a:lnTo>
                      <a:pt x="50" y="985"/>
                    </a:lnTo>
                    <a:lnTo>
                      <a:pt x="49" y="989"/>
                    </a:lnTo>
                    <a:lnTo>
                      <a:pt x="54" y="992"/>
                    </a:lnTo>
                    <a:lnTo>
                      <a:pt x="55" y="989"/>
                    </a:lnTo>
                    <a:lnTo>
                      <a:pt x="50" y="9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8" name="Freeform 32"/>
              <p:cNvSpPr>
                <a:spLocks noEditPoints="1"/>
              </p:cNvSpPr>
              <p:nvPr/>
            </p:nvSpPr>
            <p:spPr bwMode="auto">
              <a:xfrm>
                <a:off x="6501704" y="2523688"/>
                <a:ext cx="82409" cy="56030"/>
              </a:xfrm>
              <a:custGeom>
                <a:avLst/>
                <a:gdLst/>
                <a:ahLst/>
                <a:cxnLst>
                  <a:cxn ang="0">
                    <a:pos x="120" y="104"/>
                  </a:cxn>
                  <a:cxn ang="0">
                    <a:pos x="121" y="96"/>
                  </a:cxn>
                  <a:cxn ang="0">
                    <a:pos x="111" y="96"/>
                  </a:cxn>
                  <a:cxn ang="0">
                    <a:pos x="111" y="103"/>
                  </a:cxn>
                  <a:cxn ang="0">
                    <a:pos x="144" y="81"/>
                  </a:cxn>
                  <a:cxn ang="0">
                    <a:pos x="149" y="78"/>
                  </a:cxn>
                  <a:cxn ang="0">
                    <a:pos x="96" y="70"/>
                  </a:cxn>
                  <a:cxn ang="0">
                    <a:pos x="86" y="86"/>
                  </a:cxn>
                  <a:cxn ang="0">
                    <a:pos x="81" y="79"/>
                  </a:cxn>
                  <a:cxn ang="0">
                    <a:pos x="70" y="71"/>
                  </a:cxn>
                  <a:cxn ang="0">
                    <a:pos x="73" y="61"/>
                  </a:cxn>
                  <a:cxn ang="0">
                    <a:pos x="81" y="68"/>
                  </a:cxn>
                  <a:cxn ang="0">
                    <a:pos x="81" y="63"/>
                  </a:cxn>
                  <a:cxn ang="0">
                    <a:pos x="95" y="55"/>
                  </a:cxn>
                  <a:cxn ang="0">
                    <a:pos x="90" y="71"/>
                  </a:cxn>
                  <a:cxn ang="0">
                    <a:pos x="93" y="79"/>
                  </a:cxn>
                  <a:cxn ang="0">
                    <a:pos x="86" y="86"/>
                  </a:cxn>
                  <a:cxn ang="0">
                    <a:pos x="95" y="86"/>
                  </a:cxn>
                  <a:cxn ang="0">
                    <a:pos x="88" y="88"/>
                  </a:cxn>
                  <a:cxn ang="0">
                    <a:pos x="80" y="93"/>
                  </a:cxn>
                  <a:cxn ang="0">
                    <a:pos x="88" y="91"/>
                  </a:cxn>
                  <a:cxn ang="0">
                    <a:pos x="83" y="94"/>
                  </a:cxn>
                  <a:cxn ang="0">
                    <a:pos x="65" y="93"/>
                  </a:cxn>
                  <a:cxn ang="0">
                    <a:pos x="70" y="88"/>
                  </a:cxn>
                  <a:cxn ang="0">
                    <a:pos x="55" y="56"/>
                  </a:cxn>
                  <a:cxn ang="0">
                    <a:pos x="53" y="66"/>
                  </a:cxn>
                  <a:cxn ang="0">
                    <a:pos x="50" y="89"/>
                  </a:cxn>
                  <a:cxn ang="0">
                    <a:pos x="58" y="91"/>
                  </a:cxn>
                  <a:cxn ang="0">
                    <a:pos x="65" y="84"/>
                  </a:cxn>
                  <a:cxn ang="0">
                    <a:pos x="46" y="70"/>
                  </a:cxn>
                  <a:cxn ang="0">
                    <a:pos x="60" y="81"/>
                  </a:cxn>
                  <a:cxn ang="0">
                    <a:pos x="45" y="84"/>
                  </a:cxn>
                  <a:cxn ang="0">
                    <a:pos x="40" y="71"/>
                  </a:cxn>
                  <a:cxn ang="0">
                    <a:pos x="63" y="16"/>
                  </a:cxn>
                  <a:cxn ang="0">
                    <a:pos x="15" y="31"/>
                  </a:cxn>
                  <a:cxn ang="0">
                    <a:pos x="18" y="35"/>
                  </a:cxn>
                  <a:cxn ang="0">
                    <a:pos x="13" y="33"/>
                  </a:cxn>
                  <a:cxn ang="0">
                    <a:pos x="27" y="25"/>
                  </a:cxn>
                  <a:cxn ang="0">
                    <a:pos x="45" y="26"/>
                  </a:cxn>
                  <a:cxn ang="0">
                    <a:pos x="51" y="11"/>
                  </a:cxn>
                  <a:cxn ang="0">
                    <a:pos x="46" y="6"/>
                  </a:cxn>
                  <a:cxn ang="0">
                    <a:pos x="32" y="18"/>
                  </a:cxn>
                  <a:cxn ang="0">
                    <a:pos x="13" y="25"/>
                  </a:cxn>
                  <a:cxn ang="0">
                    <a:pos x="7" y="35"/>
                  </a:cxn>
                  <a:cxn ang="0">
                    <a:pos x="35" y="91"/>
                  </a:cxn>
                  <a:cxn ang="0">
                    <a:pos x="32" y="84"/>
                  </a:cxn>
                  <a:cxn ang="0">
                    <a:pos x="32" y="75"/>
                  </a:cxn>
                  <a:cxn ang="0">
                    <a:pos x="43" y="63"/>
                  </a:cxn>
                  <a:cxn ang="0">
                    <a:pos x="48" y="53"/>
                  </a:cxn>
                  <a:cxn ang="0">
                    <a:pos x="60" y="51"/>
                  </a:cxn>
                  <a:cxn ang="0">
                    <a:pos x="60" y="41"/>
                  </a:cxn>
                  <a:cxn ang="0">
                    <a:pos x="46" y="36"/>
                  </a:cxn>
                  <a:cxn ang="0">
                    <a:pos x="41" y="26"/>
                  </a:cxn>
                  <a:cxn ang="0">
                    <a:pos x="25" y="30"/>
                  </a:cxn>
                  <a:cxn ang="0">
                    <a:pos x="32" y="43"/>
                  </a:cxn>
                  <a:cxn ang="0">
                    <a:pos x="27" y="38"/>
                  </a:cxn>
                  <a:cxn ang="0">
                    <a:pos x="20" y="41"/>
                  </a:cxn>
                  <a:cxn ang="0">
                    <a:pos x="7" y="40"/>
                  </a:cxn>
                  <a:cxn ang="0">
                    <a:pos x="5" y="48"/>
                  </a:cxn>
                  <a:cxn ang="0">
                    <a:pos x="7" y="61"/>
                  </a:cxn>
                  <a:cxn ang="0">
                    <a:pos x="3" y="75"/>
                  </a:cxn>
                  <a:cxn ang="0">
                    <a:pos x="12" y="84"/>
                  </a:cxn>
                  <a:cxn ang="0">
                    <a:pos x="32" y="91"/>
                  </a:cxn>
                </a:cxnLst>
                <a:rect l="0" t="0" r="r" b="b"/>
                <a:pathLst>
                  <a:path w="153" h="108">
                    <a:moveTo>
                      <a:pt x="110" y="106"/>
                    </a:moveTo>
                    <a:lnTo>
                      <a:pt x="111" y="106"/>
                    </a:lnTo>
                    <a:lnTo>
                      <a:pt x="116" y="108"/>
                    </a:lnTo>
                    <a:lnTo>
                      <a:pt x="120" y="104"/>
                    </a:lnTo>
                    <a:lnTo>
                      <a:pt x="123" y="106"/>
                    </a:lnTo>
                    <a:lnTo>
                      <a:pt x="123" y="103"/>
                    </a:lnTo>
                    <a:lnTo>
                      <a:pt x="121" y="99"/>
                    </a:lnTo>
                    <a:lnTo>
                      <a:pt x="121" y="96"/>
                    </a:lnTo>
                    <a:lnTo>
                      <a:pt x="118" y="96"/>
                    </a:lnTo>
                    <a:lnTo>
                      <a:pt x="116" y="96"/>
                    </a:lnTo>
                    <a:lnTo>
                      <a:pt x="115" y="96"/>
                    </a:lnTo>
                    <a:lnTo>
                      <a:pt x="111" y="96"/>
                    </a:lnTo>
                    <a:lnTo>
                      <a:pt x="111" y="99"/>
                    </a:lnTo>
                    <a:lnTo>
                      <a:pt x="115" y="99"/>
                    </a:lnTo>
                    <a:lnTo>
                      <a:pt x="115" y="101"/>
                    </a:lnTo>
                    <a:lnTo>
                      <a:pt x="111" y="103"/>
                    </a:lnTo>
                    <a:lnTo>
                      <a:pt x="110" y="106"/>
                    </a:lnTo>
                    <a:lnTo>
                      <a:pt x="110" y="106"/>
                    </a:lnTo>
                    <a:close/>
                    <a:moveTo>
                      <a:pt x="144" y="75"/>
                    </a:moveTo>
                    <a:lnTo>
                      <a:pt x="144" y="81"/>
                    </a:lnTo>
                    <a:lnTo>
                      <a:pt x="144" y="84"/>
                    </a:lnTo>
                    <a:lnTo>
                      <a:pt x="153" y="88"/>
                    </a:lnTo>
                    <a:lnTo>
                      <a:pt x="153" y="83"/>
                    </a:lnTo>
                    <a:lnTo>
                      <a:pt x="149" y="78"/>
                    </a:lnTo>
                    <a:lnTo>
                      <a:pt x="144" y="75"/>
                    </a:lnTo>
                    <a:lnTo>
                      <a:pt x="144" y="75"/>
                    </a:lnTo>
                    <a:close/>
                    <a:moveTo>
                      <a:pt x="98" y="65"/>
                    </a:moveTo>
                    <a:lnTo>
                      <a:pt x="96" y="70"/>
                    </a:lnTo>
                    <a:lnTo>
                      <a:pt x="100" y="71"/>
                    </a:lnTo>
                    <a:lnTo>
                      <a:pt x="98" y="65"/>
                    </a:lnTo>
                    <a:lnTo>
                      <a:pt x="98" y="65"/>
                    </a:lnTo>
                    <a:close/>
                    <a:moveTo>
                      <a:pt x="86" y="86"/>
                    </a:moveTo>
                    <a:lnTo>
                      <a:pt x="81" y="86"/>
                    </a:lnTo>
                    <a:lnTo>
                      <a:pt x="80" y="84"/>
                    </a:lnTo>
                    <a:lnTo>
                      <a:pt x="81" y="83"/>
                    </a:lnTo>
                    <a:lnTo>
                      <a:pt x="81" y="79"/>
                    </a:lnTo>
                    <a:lnTo>
                      <a:pt x="76" y="79"/>
                    </a:lnTo>
                    <a:lnTo>
                      <a:pt x="73" y="79"/>
                    </a:lnTo>
                    <a:lnTo>
                      <a:pt x="70" y="76"/>
                    </a:lnTo>
                    <a:lnTo>
                      <a:pt x="70" y="71"/>
                    </a:lnTo>
                    <a:lnTo>
                      <a:pt x="68" y="68"/>
                    </a:lnTo>
                    <a:lnTo>
                      <a:pt x="68" y="66"/>
                    </a:lnTo>
                    <a:lnTo>
                      <a:pt x="70" y="65"/>
                    </a:lnTo>
                    <a:lnTo>
                      <a:pt x="73" y="61"/>
                    </a:lnTo>
                    <a:lnTo>
                      <a:pt x="75" y="60"/>
                    </a:lnTo>
                    <a:lnTo>
                      <a:pt x="76" y="63"/>
                    </a:lnTo>
                    <a:lnTo>
                      <a:pt x="76" y="65"/>
                    </a:lnTo>
                    <a:lnTo>
                      <a:pt x="81" y="68"/>
                    </a:lnTo>
                    <a:lnTo>
                      <a:pt x="83" y="66"/>
                    </a:lnTo>
                    <a:lnTo>
                      <a:pt x="85" y="66"/>
                    </a:lnTo>
                    <a:lnTo>
                      <a:pt x="85" y="65"/>
                    </a:lnTo>
                    <a:lnTo>
                      <a:pt x="81" y="63"/>
                    </a:lnTo>
                    <a:lnTo>
                      <a:pt x="80" y="60"/>
                    </a:lnTo>
                    <a:lnTo>
                      <a:pt x="83" y="56"/>
                    </a:lnTo>
                    <a:lnTo>
                      <a:pt x="88" y="55"/>
                    </a:lnTo>
                    <a:lnTo>
                      <a:pt x="95" y="55"/>
                    </a:lnTo>
                    <a:lnTo>
                      <a:pt x="96" y="58"/>
                    </a:lnTo>
                    <a:lnTo>
                      <a:pt x="96" y="63"/>
                    </a:lnTo>
                    <a:lnTo>
                      <a:pt x="95" y="68"/>
                    </a:lnTo>
                    <a:lnTo>
                      <a:pt x="90" y="71"/>
                    </a:lnTo>
                    <a:lnTo>
                      <a:pt x="90" y="73"/>
                    </a:lnTo>
                    <a:lnTo>
                      <a:pt x="95" y="75"/>
                    </a:lnTo>
                    <a:lnTo>
                      <a:pt x="95" y="78"/>
                    </a:lnTo>
                    <a:lnTo>
                      <a:pt x="93" y="79"/>
                    </a:lnTo>
                    <a:lnTo>
                      <a:pt x="88" y="81"/>
                    </a:lnTo>
                    <a:lnTo>
                      <a:pt x="88" y="84"/>
                    </a:lnTo>
                    <a:lnTo>
                      <a:pt x="86" y="86"/>
                    </a:lnTo>
                    <a:lnTo>
                      <a:pt x="86" y="86"/>
                    </a:lnTo>
                    <a:close/>
                    <a:moveTo>
                      <a:pt x="88" y="88"/>
                    </a:moveTo>
                    <a:lnTo>
                      <a:pt x="90" y="89"/>
                    </a:lnTo>
                    <a:lnTo>
                      <a:pt x="91" y="86"/>
                    </a:lnTo>
                    <a:lnTo>
                      <a:pt x="95" y="86"/>
                    </a:lnTo>
                    <a:lnTo>
                      <a:pt x="95" y="84"/>
                    </a:lnTo>
                    <a:lnTo>
                      <a:pt x="90" y="84"/>
                    </a:lnTo>
                    <a:lnTo>
                      <a:pt x="88" y="88"/>
                    </a:lnTo>
                    <a:lnTo>
                      <a:pt x="88" y="88"/>
                    </a:lnTo>
                    <a:close/>
                    <a:moveTo>
                      <a:pt x="70" y="88"/>
                    </a:moveTo>
                    <a:lnTo>
                      <a:pt x="75" y="93"/>
                    </a:lnTo>
                    <a:lnTo>
                      <a:pt x="78" y="93"/>
                    </a:lnTo>
                    <a:lnTo>
                      <a:pt x="80" y="93"/>
                    </a:lnTo>
                    <a:lnTo>
                      <a:pt x="81" y="89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8" y="91"/>
                    </a:lnTo>
                    <a:lnTo>
                      <a:pt x="85" y="94"/>
                    </a:lnTo>
                    <a:lnTo>
                      <a:pt x="85" y="99"/>
                    </a:lnTo>
                    <a:lnTo>
                      <a:pt x="85" y="98"/>
                    </a:lnTo>
                    <a:lnTo>
                      <a:pt x="83" y="94"/>
                    </a:lnTo>
                    <a:lnTo>
                      <a:pt x="81" y="98"/>
                    </a:lnTo>
                    <a:lnTo>
                      <a:pt x="73" y="98"/>
                    </a:lnTo>
                    <a:lnTo>
                      <a:pt x="66" y="96"/>
                    </a:lnTo>
                    <a:lnTo>
                      <a:pt x="65" y="93"/>
                    </a:lnTo>
                    <a:lnTo>
                      <a:pt x="68" y="93"/>
                    </a:lnTo>
                    <a:lnTo>
                      <a:pt x="66" y="91"/>
                    </a:lnTo>
                    <a:lnTo>
                      <a:pt x="68" y="88"/>
                    </a:lnTo>
                    <a:lnTo>
                      <a:pt x="70" y="88"/>
                    </a:lnTo>
                    <a:lnTo>
                      <a:pt x="70" y="88"/>
                    </a:lnTo>
                    <a:close/>
                    <a:moveTo>
                      <a:pt x="53" y="66"/>
                    </a:moveTo>
                    <a:lnTo>
                      <a:pt x="55" y="61"/>
                    </a:lnTo>
                    <a:lnTo>
                      <a:pt x="55" y="56"/>
                    </a:lnTo>
                    <a:lnTo>
                      <a:pt x="56" y="61"/>
                    </a:lnTo>
                    <a:lnTo>
                      <a:pt x="56" y="65"/>
                    </a:lnTo>
                    <a:lnTo>
                      <a:pt x="53" y="66"/>
                    </a:lnTo>
                    <a:lnTo>
                      <a:pt x="53" y="66"/>
                    </a:lnTo>
                    <a:close/>
                    <a:moveTo>
                      <a:pt x="50" y="89"/>
                    </a:moveTo>
                    <a:lnTo>
                      <a:pt x="55" y="93"/>
                    </a:lnTo>
                    <a:lnTo>
                      <a:pt x="56" y="91"/>
                    </a:lnTo>
                    <a:lnTo>
                      <a:pt x="50" y="89"/>
                    </a:lnTo>
                    <a:lnTo>
                      <a:pt x="50" y="89"/>
                    </a:lnTo>
                    <a:close/>
                    <a:moveTo>
                      <a:pt x="61" y="81"/>
                    </a:moveTo>
                    <a:lnTo>
                      <a:pt x="60" y="88"/>
                    </a:lnTo>
                    <a:lnTo>
                      <a:pt x="58" y="91"/>
                    </a:lnTo>
                    <a:lnTo>
                      <a:pt x="60" y="93"/>
                    </a:lnTo>
                    <a:lnTo>
                      <a:pt x="61" y="89"/>
                    </a:lnTo>
                    <a:lnTo>
                      <a:pt x="65" y="84"/>
                    </a:lnTo>
                    <a:lnTo>
                      <a:pt x="65" y="84"/>
                    </a:lnTo>
                    <a:lnTo>
                      <a:pt x="61" y="81"/>
                    </a:lnTo>
                    <a:lnTo>
                      <a:pt x="61" y="81"/>
                    </a:lnTo>
                    <a:close/>
                    <a:moveTo>
                      <a:pt x="40" y="71"/>
                    </a:moveTo>
                    <a:lnTo>
                      <a:pt x="46" y="70"/>
                    </a:lnTo>
                    <a:lnTo>
                      <a:pt x="51" y="71"/>
                    </a:lnTo>
                    <a:lnTo>
                      <a:pt x="55" y="71"/>
                    </a:lnTo>
                    <a:lnTo>
                      <a:pt x="58" y="78"/>
                    </a:lnTo>
                    <a:lnTo>
                      <a:pt x="60" y="81"/>
                    </a:lnTo>
                    <a:lnTo>
                      <a:pt x="56" y="86"/>
                    </a:lnTo>
                    <a:lnTo>
                      <a:pt x="51" y="88"/>
                    </a:lnTo>
                    <a:lnTo>
                      <a:pt x="50" y="86"/>
                    </a:lnTo>
                    <a:lnTo>
                      <a:pt x="45" y="84"/>
                    </a:lnTo>
                    <a:lnTo>
                      <a:pt x="41" y="81"/>
                    </a:lnTo>
                    <a:lnTo>
                      <a:pt x="38" y="76"/>
                    </a:lnTo>
                    <a:lnTo>
                      <a:pt x="40" y="71"/>
                    </a:lnTo>
                    <a:lnTo>
                      <a:pt x="40" y="71"/>
                    </a:lnTo>
                    <a:close/>
                    <a:moveTo>
                      <a:pt x="58" y="16"/>
                    </a:moveTo>
                    <a:lnTo>
                      <a:pt x="61" y="13"/>
                    </a:lnTo>
                    <a:lnTo>
                      <a:pt x="66" y="13"/>
                    </a:lnTo>
                    <a:lnTo>
                      <a:pt x="63" y="16"/>
                    </a:lnTo>
                    <a:lnTo>
                      <a:pt x="58" y="16"/>
                    </a:lnTo>
                    <a:lnTo>
                      <a:pt x="58" y="16"/>
                    </a:lnTo>
                    <a:close/>
                    <a:moveTo>
                      <a:pt x="15" y="36"/>
                    </a:moveTo>
                    <a:lnTo>
                      <a:pt x="15" y="31"/>
                    </a:lnTo>
                    <a:lnTo>
                      <a:pt x="18" y="28"/>
                    </a:lnTo>
                    <a:lnTo>
                      <a:pt x="23" y="28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15" y="36"/>
                    </a:lnTo>
                    <a:lnTo>
                      <a:pt x="15" y="36"/>
                    </a:lnTo>
                    <a:close/>
                    <a:moveTo>
                      <a:pt x="15" y="38"/>
                    </a:moveTo>
                    <a:lnTo>
                      <a:pt x="13" y="33"/>
                    </a:lnTo>
                    <a:lnTo>
                      <a:pt x="15" y="30"/>
                    </a:lnTo>
                    <a:lnTo>
                      <a:pt x="22" y="25"/>
                    </a:lnTo>
                    <a:lnTo>
                      <a:pt x="23" y="26"/>
                    </a:lnTo>
                    <a:lnTo>
                      <a:pt x="27" y="25"/>
                    </a:lnTo>
                    <a:lnTo>
                      <a:pt x="33" y="26"/>
                    </a:lnTo>
                    <a:lnTo>
                      <a:pt x="37" y="25"/>
                    </a:lnTo>
                    <a:lnTo>
                      <a:pt x="41" y="25"/>
                    </a:lnTo>
                    <a:lnTo>
                      <a:pt x="45" y="26"/>
                    </a:lnTo>
                    <a:lnTo>
                      <a:pt x="48" y="26"/>
                    </a:lnTo>
                    <a:lnTo>
                      <a:pt x="51" y="18"/>
                    </a:lnTo>
                    <a:lnTo>
                      <a:pt x="51" y="13"/>
                    </a:lnTo>
                    <a:lnTo>
                      <a:pt x="51" y="11"/>
                    </a:lnTo>
                    <a:lnTo>
                      <a:pt x="51" y="8"/>
                    </a:lnTo>
                    <a:lnTo>
                      <a:pt x="55" y="1"/>
                    </a:lnTo>
                    <a:lnTo>
                      <a:pt x="53" y="0"/>
                    </a:lnTo>
                    <a:lnTo>
                      <a:pt x="46" y="6"/>
                    </a:lnTo>
                    <a:lnTo>
                      <a:pt x="41" y="8"/>
                    </a:lnTo>
                    <a:lnTo>
                      <a:pt x="37" y="10"/>
                    </a:lnTo>
                    <a:lnTo>
                      <a:pt x="33" y="13"/>
                    </a:lnTo>
                    <a:lnTo>
                      <a:pt x="32" y="18"/>
                    </a:lnTo>
                    <a:lnTo>
                      <a:pt x="27" y="21"/>
                    </a:lnTo>
                    <a:lnTo>
                      <a:pt x="22" y="21"/>
                    </a:lnTo>
                    <a:lnTo>
                      <a:pt x="15" y="26"/>
                    </a:lnTo>
                    <a:lnTo>
                      <a:pt x="13" y="25"/>
                    </a:lnTo>
                    <a:lnTo>
                      <a:pt x="10" y="25"/>
                    </a:lnTo>
                    <a:lnTo>
                      <a:pt x="8" y="30"/>
                    </a:lnTo>
                    <a:lnTo>
                      <a:pt x="5" y="33"/>
                    </a:lnTo>
                    <a:lnTo>
                      <a:pt x="7" y="35"/>
                    </a:lnTo>
                    <a:lnTo>
                      <a:pt x="8" y="33"/>
                    </a:lnTo>
                    <a:lnTo>
                      <a:pt x="15" y="38"/>
                    </a:lnTo>
                    <a:lnTo>
                      <a:pt x="15" y="38"/>
                    </a:lnTo>
                    <a:close/>
                    <a:moveTo>
                      <a:pt x="35" y="91"/>
                    </a:moveTo>
                    <a:lnTo>
                      <a:pt x="35" y="89"/>
                    </a:lnTo>
                    <a:lnTo>
                      <a:pt x="37" y="88"/>
                    </a:lnTo>
                    <a:lnTo>
                      <a:pt x="33" y="84"/>
                    </a:lnTo>
                    <a:lnTo>
                      <a:pt x="32" y="84"/>
                    </a:lnTo>
                    <a:lnTo>
                      <a:pt x="32" y="81"/>
                    </a:lnTo>
                    <a:lnTo>
                      <a:pt x="33" y="79"/>
                    </a:lnTo>
                    <a:lnTo>
                      <a:pt x="35" y="76"/>
                    </a:lnTo>
                    <a:lnTo>
                      <a:pt x="32" y="75"/>
                    </a:lnTo>
                    <a:lnTo>
                      <a:pt x="32" y="73"/>
                    </a:lnTo>
                    <a:lnTo>
                      <a:pt x="41" y="68"/>
                    </a:lnTo>
                    <a:lnTo>
                      <a:pt x="40" y="66"/>
                    </a:lnTo>
                    <a:lnTo>
                      <a:pt x="43" y="63"/>
                    </a:lnTo>
                    <a:lnTo>
                      <a:pt x="45" y="65"/>
                    </a:lnTo>
                    <a:lnTo>
                      <a:pt x="50" y="63"/>
                    </a:lnTo>
                    <a:lnTo>
                      <a:pt x="50" y="56"/>
                    </a:lnTo>
                    <a:lnTo>
                      <a:pt x="48" y="53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8" y="53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3" y="50"/>
                    </a:lnTo>
                    <a:lnTo>
                      <a:pt x="65" y="46"/>
                    </a:lnTo>
                    <a:lnTo>
                      <a:pt x="60" y="41"/>
                    </a:lnTo>
                    <a:lnTo>
                      <a:pt x="58" y="43"/>
                    </a:lnTo>
                    <a:lnTo>
                      <a:pt x="51" y="43"/>
                    </a:lnTo>
                    <a:lnTo>
                      <a:pt x="50" y="41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6" y="35"/>
                    </a:lnTo>
                    <a:lnTo>
                      <a:pt x="46" y="30"/>
                    </a:lnTo>
                    <a:lnTo>
                      <a:pt x="41" y="26"/>
                    </a:lnTo>
                    <a:lnTo>
                      <a:pt x="35" y="28"/>
                    </a:lnTo>
                    <a:lnTo>
                      <a:pt x="32" y="30"/>
                    </a:lnTo>
                    <a:lnTo>
                      <a:pt x="27" y="28"/>
                    </a:lnTo>
                    <a:lnTo>
                      <a:pt x="25" y="30"/>
                    </a:lnTo>
                    <a:lnTo>
                      <a:pt x="30" y="35"/>
                    </a:lnTo>
                    <a:lnTo>
                      <a:pt x="28" y="36"/>
                    </a:lnTo>
                    <a:lnTo>
                      <a:pt x="32" y="41"/>
                    </a:lnTo>
                    <a:lnTo>
                      <a:pt x="32" y="43"/>
                    </a:lnTo>
                    <a:lnTo>
                      <a:pt x="28" y="41"/>
                    </a:lnTo>
                    <a:lnTo>
                      <a:pt x="23" y="41"/>
                    </a:lnTo>
                    <a:lnTo>
                      <a:pt x="23" y="40"/>
                    </a:lnTo>
                    <a:lnTo>
                      <a:pt x="27" y="38"/>
                    </a:lnTo>
                    <a:lnTo>
                      <a:pt x="23" y="33"/>
                    </a:lnTo>
                    <a:lnTo>
                      <a:pt x="22" y="33"/>
                    </a:lnTo>
                    <a:lnTo>
                      <a:pt x="18" y="38"/>
                    </a:lnTo>
                    <a:lnTo>
                      <a:pt x="20" y="41"/>
                    </a:lnTo>
                    <a:lnTo>
                      <a:pt x="15" y="43"/>
                    </a:lnTo>
                    <a:lnTo>
                      <a:pt x="13" y="41"/>
                    </a:lnTo>
                    <a:lnTo>
                      <a:pt x="8" y="41"/>
                    </a:lnTo>
                    <a:lnTo>
                      <a:pt x="7" y="40"/>
                    </a:lnTo>
                    <a:lnTo>
                      <a:pt x="3" y="43"/>
                    </a:lnTo>
                    <a:lnTo>
                      <a:pt x="8" y="46"/>
                    </a:lnTo>
                    <a:lnTo>
                      <a:pt x="8" y="50"/>
                    </a:lnTo>
                    <a:lnTo>
                      <a:pt x="5" y="48"/>
                    </a:lnTo>
                    <a:lnTo>
                      <a:pt x="3" y="48"/>
                    </a:lnTo>
                    <a:lnTo>
                      <a:pt x="3" y="55"/>
                    </a:lnTo>
                    <a:lnTo>
                      <a:pt x="7" y="56"/>
                    </a:lnTo>
                    <a:lnTo>
                      <a:pt x="7" y="61"/>
                    </a:lnTo>
                    <a:lnTo>
                      <a:pt x="10" y="63"/>
                    </a:lnTo>
                    <a:lnTo>
                      <a:pt x="3" y="66"/>
                    </a:lnTo>
                    <a:lnTo>
                      <a:pt x="0" y="73"/>
                    </a:lnTo>
                    <a:lnTo>
                      <a:pt x="3" y="75"/>
                    </a:lnTo>
                    <a:lnTo>
                      <a:pt x="7" y="73"/>
                    </a:lnTo>
                    <a:lnTo>
                      <a:pt x="13" y="76"/>
                    </a:lnTo>
                    <a:lnTo>
                      <a:pt x="13" y="83"/>
                    </a:lnTo>
                    <a:lnTo>
                      <a:pt x="12" y="84"/>
                    </a:lnTo>
                    <a:lnTo>
                      <a:pt x="13" y="88"/>
                    </a:lnTo>
                    <a:lnTo>
                      <a:pt x="20" y="88"/>
                    </a:lnTo>
                    <a:lnTo>
                      <a:pt x="28" y="89"/>
                    </a:lnTo>
                    <a:lnTo>
                      <a:pt x="32" y="91"/>
                    </a:lnTo>
                    <a:lnTo>
                      <a:pt x="35" y="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9" name="Freeform 33"/>
              <p:cNvSpPr>
                <a:spLocks noEditPoints="1"/>
              </p:cNvSpPr>
              <p:nvPr/>
            </p:nvSpPr>
            <p:spPr bwMode="auto">
              <a:xfrm>
                <a:off x="6461035" y="2255991"/>
                <a:ext cx="264351" cy="266660"/>
              </a:xfrm>
              <a:custGeom>
                <a:avLst/>
                <a:gdLst/>
                <a:ahLst/>
                <a:cxnLst>
                  <a:cxn ang="0">
                    <a:pos x="473" y="63"/>
                  </a:cxn>
                  <a:cxn ang="0">
                    <a:pos x="488" y="35"/>
                  </a:cxn>
                  <a:cxn ang="0">
                    <a:pos x="451" y="23"/>
                  </a:cxn>
                  <a:cxn ang="0">
                    <a:pos x="431" y="23"/>
                  </a:cxn>
                  <a:cxn ang="0">
                    <a:pos x="416" y="0"/>
                  </a:cxn>
                  <a:cxn ang="0">
                    <a:pos x="400" y="32"/>
                  </a:cxn>
                  <a:cxn ang="0">
                    <a:pos x="370" y="47"/>
                  </a:cxn>
                  <a:cxn ang="0">
                    <a:pos x="353" y="17"/>
                  </a:cxn>
                  <a:cxn ang="0">
                    <a:pos x="340" y="53"/>
                  </a:cxn>
                  <a:cxn ang="0">
                    <a:pos x="312" y="58"/>
                  </a:cxn>
                  <a:cxn ang="0">
                    <a:pos x="280" y="87"/>
                  </a:cxn>
                  <a:cxn ang="0">
                    <a:pos x="269" y="95"/>
                  </a:cxn>
                  <a:cxn ang="0">
                    <a:pos x="240" y="95"/>
                  </a:cxn>
                  <a:cxn ang="0">
                    <a:pos x="217" y="125"/>
                  </a:cxn>
                  <a:cxn ang="0">
                    <a:pos x="214" y="140"/>
                  </a:cxn>
                  <a:cxn ang="0">
                    <a:pos x="191" y="156"/>
                  </a:cxn>
                  <a:cxn ang="0">
                    <a:pos x="194" y="175"/>
                  </a:cxn>
                  <a:cxn ang="0">
                    <a:pos x="169" y="198"/>
                  </a:cxn>
                  <a:cxn ang="0">
                    <a:pos x="166" y="218"/>
                  </a:cxn>
                  <a:cxn ang="0">
                    <a:pos x="156" y="246"/>
                  </a:cxn>
                  <a:cxn ang="0">
                    <a:pos x="129" y="276"/>
                  </a:cxn>
                  <a:cxn ang="0">
                    <a:pos x="98" y="311"/>
                  </a:cxn>
                  <a:cxn ang="0">
                    <a:pos x="134" y="307"/>
                  </a:cxn>
                  <a:cxn ang="0">
                    <a:pos x="89" y="321"/>
                  </a:cxn>
                  <a:cxn ang="0">
                    <a:pos x="76" y="341"/>
                  </a:cxn>
                  <a:cxn ang="0">
                    <a:pos x="56" y="346"/>
                  </a:cxn>
                  <a:cxn ang="0">
                    <a:pos x="46" y="364"/>
                  </a:cxn>
                  <a:cxn ang="0">
                    <a:pos x="8" y="369"/>
                  </a:cxn>
                  <a:cxn ang="0">
                    <a:pos x="15" y="391"/>
                  </a:cxn>
                  <a:cxn ang="0">
                    <a:pos x="38" y="399"/>
                  </a:cxn>
                  <a:cxn ang="0">
                    <a:pos x="46" y="407"/>
                  </a:cxn>
                  <a:cxn ang="0">
                    <a:pos x="13" y="419"/>
                  </a:cxn>
                  <a:cxn ang="0">
                    <a:pos x="44" y="427"/>
                  </a:cxn>
                  <a:cxn ang="0">
                    <a:pos x="19" y="457"/>
                  </a:cxn>
                  <a:cxn ang="0">
                    <a:pos x="34" y="480"/>
                  </a:cxn>
                  <a:cxn ang="0">
                    <a:pos x="58" y="513"/>
                  </a:cxn>
                  <a:cxn ang="0">
                    <a:pos x="103" y="475"/>
                  </a:cxn>
                  <a:cxn ang="0">
                    <a:pos x="121" y="462"/>
                  </a:cxn>
                  <a:cxn ang="0">
                    <a:pos x="151" y="477"/>
                  </a:cxn>
                  <a:cxn ang="0">
                    <a:pos x="154" y="361"/>
                  </a:cxn>
                  <a:cxn ang="0">
                    <a:pos x="187" y="216"/>
                  </a:cxn>
                  <a:cxn ang="0">
                    <a:pos x="249" y="133"/>
                  </a:cxn>
                  <a:cxn ang="0">
                    <a:pos x="292" y="98"/>
                  </a:cxn>
                  <a:cxn ang="0">
                    <a:pos x="377" y="108"/>
                  </a:cxn>
                  <a:cxn ang="0">
                    <a:pos x="433" y="52"/>
                  </a:cxn>
                  <a:cxn ang="0">
                    <a:pos x="11" y="447"/>
                  </a:cxn>
                  <a:cxn ang="0">
                    <a:pos x="5" y="424"/>
                  </a:cxn>
                  <a:cxn ang="0">
                    <a:pos x="3" y="381"/>
                  </a:cxn>
                  <a:cxn ang="0">
                    <a:pos x="69" y="326"/>
                  </a:cxn>
                  <a:cxn ang="0">
                    <a:pos x="81" y="316"/>
                  </a:cxn>
                  <a:cxn ang="0">
                    <a:pos x="129" y="271"/>
                  </a:cxn>
                  <a:cxn ang="0">
                    <a:pos x="177" y="178"/>
                  </a:cxn>
                  <a:cxn ang="0">
                    <a:pos x="162" y="138"/>
                  </a:cxn>
                  <a:cxn ang="0">
                    <a:pos x="191" y="103"/>
                  </a:cxn>
                  <a:cxn ang="0">
                    <a:pos x="209" y="92"/>
                  </a:cxn>
                  <a:cxn ang="0">
                    <a:pos x="201" y="118"/>
                  </a:cxn>
                  <a:cxn ang="0">
                    <a:pos x="242" y="92"/>
                  </a:cxn>
                  <a:cxn ang="0">
                    <a:pos x="242" y="73"/>
                  </a:cxn>
                  <a:cxn ang="0">
                    <a:pos x="259" y="53"/>
                  </a:cxn>
                  <a:cxn ang="0">
                    <a:pos x="270" y="53"/>
                  </a:cxn>
                  <a:cxn ang="0">
                    <a:pos x="322" y="37"/>
                  </a:cxn>
                  <a:cxn ang="0">
                    <a:pos x="335" y="18"/>
                  </a:cxn>
                  <a:cxn ang="0">
                    <a:pos x="360" y="5"/>
                  </a:cxn>
                </a:cxnLst>
                <a:rect l="0" t="0" r="r" b="b"/>
                <a:pathLst>
                  <a:path w="493" h="513">
                    <a:moveTo>
                      <a:pt x="456" y="92"/>
                    </a:moveTo>
                    <a:lnTo>
                      <a:pt x="460" y="92"/>
                    </a:lnTo>
                    <a:lnTo>
                      <a:pt x="460" y="83"/>
                    </a:lnTo>
                    <a:lnTo>
                      <a:pt x="466" y="78"/>
                    </a:lnTo>
                    <a:lnTo>
                      <a:pt x="473" y="78"/>
                    </a:lnTo>
                    <a:lnTo>
                      <a:pt x="476" y="73"/>
                    </a:lnTo>
                    <a:lnTo>
                      <a:pt x="476" y="67"/>
                    </a:lnTo>
                    <a:lnTo>
                      <a:pt x="480" y="67"/>
                    </a:lnTo>
                    <a:lnTo>
                      <a:pt x="485" y="68"/>
                    </a:lnTo>
                    <a:lnTo>
                      <a:pt x="488" y="65"/>
                    </a:lnTo>
                    <a:lnTo>
                      <a:pt x="488" y="60"/>
                    </a:lnTo>
                    <a:lnTo>
                      <a:pt x="486" y="60"/>
                    </a:lnTo>
                    <a:lnTo>
                      <a:pt x="483" y="58"/>
                    </a:lnTo>
                    <a:lnTo>
                      <a:pt x="481" y="58"/>
                    </a:lnTo>
                    <a:lnTo>
                      <a:pt x="480" y="58"/>
                    </a:lnTo>
                    <a:lnTo>
                      <a:pt x="478" y="62"/>
                    </a:lnTo>
                    <a:lnTo>
                      <a:pt x="476" y="60"/>
                    </a:lnTo>
                    <a:lnTo>
                      <a:pt x="476" y="57"/>
                    </a:lnTo>
                    <a:lnTo>
                      <a:pt x="473" y="57"/>
                    </a:lnTo>
                    <a:lnTo>
                      <a:pt x="473" y="60"/>
                    </a:lnTo>
                    <a:lnTo>
                      <a:pt x="473" y="63"/>
                    </a:lnTo>
                    <a:lnTo>
                      <a:pt x="471" y="63"/>
                    </a:lnTo>
                    <a:lnTo>
                      <a:pt x="470" y="60"/>
                    </a:lnTo>
                    <a:lnTo>
                      <a:pt x="465" y="62"/>
                    </a:lnTo>
                    <a:lnTo>
                      <a:pt x="465" y="65"/>
                    </a:lnTo>
                    <a:lnTo>
                      <a:pt x="463" y="60"/>
                    </a:lnTo>
                    <a:lnTo>
                      <a:pt x="461" y="57"/>
                    </a:lnTo>
                    <a:lnTo>
                      <a:pt x="460" y="57"/>
                    </a:lnTo>
                    <a:lnTo>
                      <a:pt x="458" y="52"/>
                    </a:lnTo>
                    <a:lnTo>
                      <a:pt x="456" y="50"/>
                    </a:lnTo>
                    <a:lnTo>
                      <a:pt x="451" y="50"/>
                    </a:lnTo>
                    <a:lnTo>
                      <a:pt x="448" y="50"/>
                    </a:lnTo>
                    <a:lnTo>
                      <a:pt x="443" y="48"/>
                    </a:lnTo>
                    <a:lnTo>
                      <a:pt x="440" y="45"/>
                    </a:lnTo>
                    <a:lnTo>
                      <a:pt x="441" y="45"/>
                    </a:lnTo>
                    <a:lnTo>
                      <a:pt x="448" y="47"/>
                    </a:lnTo>
                    <a:lnTo>
                      <a:pt x="455" y="45"/>
                    </a:lnTo>
                    <a:lnTo>
                      <a:pt x="460" y="47"/>
                    </a:lnTo>
                    <a:lnTo>
                      <a:pt x="468" y="47"/>
                    </a:lnTo>
                    <a:lnTo>
                      <a:pt x="475" y="45"/>
                    </a:lnTo>
                    <a:lnTo>
                      <a:pt x="480" y="38"/>
                    </a:lnTo>
                    <a:lnTo>
                      <a:pt x="488" y="35"/>
                    </a:lnTo>
                    <a:lnTo>
                      <a:pt x="493" y="32"/>
                    </a:lnTo>
                    <a:lnTo>
                      <a:pt x="493" y="32"/>
                    </a:lnTo>
                    <a:lnTo>
                      <a:pt x="490" y="30"/>
                    </a:lnTo>
                    <a:lnTo>
                      <a:pt x="490" y="28"/>
                    </a:lnTo>
                    <a:lnTo>
                      <a:pt x="486" y="28"/>
                    </a:lnTo>
                    <a:lnTo>
                      <a:pt x="481" y="28"/>
                    </a:lnTo>
                    <a:lnTo>
                      <a:pt x="475" y="23"/>
                    </a:lnTo>
                    <a:lnTo>
                      <a:pt x="471" y="23"/>
                    </a:lnTo>
                    <a:lnTo>
                      <a:pt x="468" y="28"/>
                    </a:lnTo>
                    <a:lnTo>
                      <a:pt x="466" y="28"/>
                    </a:lnTo>
                    <a:lnTo>
                      <a:pt x="465" y="27"/>
                    </a:lnTo>
                    <a:lnTo>
                      <a:pt x="470" y="23"/>
                    </a:lnTo>
                    <a:lnTo>
                      <a:pt x="470" y="22"/>
                    </a:lnTo>
                    <a:lnTo>
                      <a:pt x="465" y="20"/>
                    </a:lnTo>
                    <a:lnTo>
                      <a:pt x="465" y="18"/>
                    </a:lnTo>
                    <a:lnTo>
                      <a:pt x="461" y="18"/>
                    </a:lnTo>
                    <a:lnTo>
                      <a:pt x="458" y="23"/>
                    </a:lnTo>
                    <a:lnTo>
                      <a:pt x="456" y="23"/>
                    </a:lnTo>
                    <a:lnTo>
                      <a:pt x="456" y="20"/>
                    </a:lnTo>
                    <a:lnTo>
                      <a:pt x="455" y="20"/>
                    </a:lnTo>
                    <a:lnTo>
                      <a:pt x="451" y="23"/>
                    </a:lnTo>
                    <a:lnTo>
                      <a:pt x="450" y="22"/>
                    </a:lnTo>
                    <a:lnTo>
                      <a:pt x="450" y="20"/>
                    </a:lnTo>
                    <a:lnTo>
                      <a:pt x="453" y="18"/>
                    </a:lnTo>
                    <a:lnTo>
                      <a:pt x="453" y="15"/>
                    </a:lnTo>
                    <a:lnTo>
                      <a:pt x="448" y="13"/>
                    </a:lnTo>
                    <a:lnTo>
                      <a:pt x="443" y="13"/>
                    </a:lnTo>
                    <a:lnTo>
                      <a:pt x="440" y="15"/>
                    </a:lnTo>
                    <a:lnTo>
                      <a:pt x="440" y="20"/>
                    </a:lnTo>
                    <a:lnTo>
                      <a:pt x="436" y="22"/>
                    </a:lnTo>
                    <a:lnTo>
                      <a:pt x="436" y="23"/>
                    </a:lnTo>
                    <a:lnTo>
                      <a:pt x="438" y="30"/>
                    </a:lnTo>
                    <a:lnTo>
                      <a:pt x="438" y="33"/>
                    </a:lnTo>
                    <a:lnTo>
                      <a:pt x="436" y="35"/>
                    </a:lnTo>
                    <a:lnTo>
                      <a:pt x="435" y="32"/>
                    </a:lnTo>
                    <a:lnTo>
                      <a:pt x="431" y="32"/>
                    </a:lnTo>
                    <a:lnTo>
                      <a:pt x="430" y="32"/>
                    </a:lnTo>
                    <a:lnTo>
                      <a:pt x="426" y="32"/>
                    </a:lnTo>
                    <a:lnTo>
                      <a:pt x="420" y="33"/>
                    </a:lnTo>
                    <a:lnTo>
                      <a:pt x="425" y="28"/>
                    </a:lnTo>
                    <a:lnTo>
                      <a:pt x="428" y="27"/>
                    </a:lnTo>
                    <a:lnTo>
                      <a:pt x="431" y="23"/>
                    </a:lnTo>
                    <a:lnTo>
                      <a:pt x="430" y="22"/>
                    </a:lnTo>
                    <a:lnTo>
                      <a:pt x="428" y="22"/>
                    </a:lnTo>
                    <a:lnTo>
                      <a:pt x="423" y="25"/>
                    </a:lnTo>
                    <a:lnTo>
                      <a:pt x="421" y="23"/>
                    </a:lnTo>
                    <a:lnTo>
                      <a:pt x="421" y="22"/>
                    </a:lnTo>
                    <a:lnTo>
                      <a:pt x="425" y="20"/>
                    </a:lnTo>
                    <a:lnTo>
                      <a:pt x="425" y="18"/>
                    </a:lnTo>
                    <a:lnTo>
                      <a:pt x="421" y="17"/>
                    </a:lnTo>
                    <a:lnTo>
                      <a:pt x="420" y="15"/>
                    </a:lnTo>
                    <a:lnTo>
                      <a:pt x="423" y="15"/>
                    </a:lnTo>
                    <a:lnTo>
                      <a:pt x="425" y="15"/>
                    </a:lnTo>
                    <a:lnTo>
                      <a:pt x="430" y="15"/>
                    </a:lnTo>
                    <a:lnTo>
                      <a:pt x="433" y="8"/>
                    </a:lnTo>
                    <a:lnTo>
                      <a:pt x="431" y="7"/>
                    </a:lnTo>
                    <a:lnTo>
                      <a:pt x="428" y="7"/>
                    </a:lnTo>
                    <a:lnTo>
                      <a:pt x="425" y="5"/>
                    </a:lnTo>
                    <a:lnTo>
                      <a:pt x="426" y="3"/>
                    </a:lnTo>
                    <a:lnTo>
                      <a:pt x="425" y="0"/>
                    </a:lnTo>
                    <a:lnTo>
                      <a:pt x="421" y="2"/>
                    </a:lnTo>
                    <a:lnTo>
                      <a:pt x="420" y="2"/>
                    </a:lnTo>
                    <a:lnTo>
                      <a:pt x="416" y="0"/>
                    </a:lnTo>
                    <a:lnTo>
                      <a:pt x="413" y="3"/>
                    </a:lnTo>
                    <a:lnTo>
                      <a:pt x="413" y="5"/>
                    </a:lnTo>
                    <a:lnTo>
                      <a:pt x="416" y="8"/>
                    </a:lnTo>
                    <a:lnTo>
                      <a:pt x="415" y="10"/>
                    </a:lnTo>
                    <a:lnTo>
                      <a:pt x="412" y="10"/>
                    </a:lnTo>
                    <a:lnTo>
                      <a:pt x="408" y="7"/>
                    </a:lnTo>
                    <a:lnTo>
                      <a:pt x="407" y="8"/>
                    </a:lnTo>
                    <a:lnTo>
                      <a:pt x="405" y="12"/>
                    </a:lnTo>
                    <a:lnTo>
                      <a:pt x="407" y="13"/>
                    </a:lnTo>
                    <a:lnTo>
                      <a:pt x="410" y="13"/>
                    </a:lnTo>
                    <a:lnTo>
                      <a:pt x="412" y="15"/>
                    </a:lnTo>
                    <a:lnTo>
                      <a:pt x="412" y="17"/>
                    </a:lnTo>
                    <a:lnTo>
                      <a:pt x="408" y="18"/>
                    </a:lnTo>
                    <a:lnTo>
                      <a:pt x="408" y="22"/>
                    </a:lnTo>
                    <a:lnTo>
                      <a:pt x="405" y="22"/>
                    </a:lnTo>
                    <a:lnTo>
                      <a:pt x="405" y="25"/>
                    </a:lnTo>
                    <a:lnTo>
                      <a:pt x="407" y="27"/>
                    </a:lnTo>
                    <a:lnTo>
                      <a:pt x="403" y="28"/>
                    </a:lnTo>
                    <a:lnTo>
                      <a:pt x="405" y="32"/>
                    </a:lnTo>
                    <a:lnTo>
                      <a:pt x="403" y="33"/>
                    </a:lnTo>
                    <a:lnTo>
                      <a:pt x="400" y="32"/>
                    </a:lnTo>
                    <a:lnTo>
                      <a:pt x="398" y="33"/>
                    </a:lnTo>
                    <a:lnTo>
                      <a:pt x="397" y="35"/>
                    </a:lnTo>
                    <a:lnTo>
                      <a:pt x="393" y="38"/>
                    </a:lnTo>
                    <a:lnTo>
                      <a:pt x="393" y="33"/>
                    </a:lnTo>
                    <a:lnTo>
                      <a:pt x="398" y="25"/>
                    </a:lnTo>
                    <a:lnTo>
                      <a:pt x="393" y="25"/>
                    </a:lnTo>
                    <a:lnTo>
                      <a:pt x="395" y="22"/>
                    </a:lnTo>
                    <a:lnTo>
                      <a:pt x="397" y="20"/>
                    </a:lnTo>
                    <a:lnTo>
                      <a:pt x="397" y="13"/>
                    </a:lnTo>
                    <a:lnTo>
                      <a:pt x="395" y="12"/>
                    </a:lnTo>
                    <a:lnTo>
                      <a:pt x="393" y="12"/>
                    </a:lnTo>
                    <a:lnTo>
                      <a:pt x="387" y="20"/>
                    </a:lnTo>
                    <a:lnTo>
                      <a:pt x="387" y="25"/>
                    </a:lnTo>
                    <a:lnTo>
                      <a:pt x="382" y="33"/>
                    </a:lnTo>
                    <a:lnTo>
                      <a:pt x="380" y="38"/>
                    </a:lnTo>
                    <a:lnTo>
                      <a:pt x="380" y="40"/>
                    </a:lnTo>
                    <a:lnTo>
                      <a:pt x="380" y="45"/>
                    </a:lnTo>
                    <a:lnTo>
                      <a:pt x="373" y="52"/>
                    </a:lnTo>
                    <a:lnTo>
                      <a:pt x="370" y="53"/>
                    </a:lnTo>
                    <a:lnTo>
                      <a:pt x="370" y="48"/>
                    </a:lnTo>
                    <a:lnTo>
                      <a:pt x="370" y="47"/>
                    </a:lnTo>
                    <a:lnTo>
                      <a:pt x="373" y="40"/>
                    </a:lnTo>
                    <a:lnTo>
                      <a:pt x="372" y="37"/>
                    </a:lnTo>
                    <a:lnTo>
                      <a:pt x="373" y="33"/>
                    </a:lnTo>
                    <a:lnTo>
                      <a:pt x="372" y="30"/>
                    </a:lnTo>
                    <a:lnTo>
                      <a:pt x="380" y="23"/>
                    </a:lnTo>
                    <a:lnTo>
                      <a:pt x="380" y="18"/>
                    </a:lnTo>
                    <a:lnTo>
                      <a:pt x="382" y="18"/>
                    </a:lnTo>
                    <a:lnTo>
                      <a:pt x="382" y="15"/>
                    </a:lnTo>
                    <a:lnTo>
                      <a:pt x="377" y="15"/>
                    </a:lnTo>
                    <a:lnTo>
                      <a:pt x="373" y="12"/>
                    </a:lnTo>
                    <a:lnTo>
                      <a:pt x="372" y="12"/>
                    </a:lnTo>
                    <a:lnTo>
                      <a:pt x="372" y="17"/>
                    </a:lnTo>
                    <a:lnTo>
                      <a:pt x="370" y="18"/>
                    </a:lnTo>
                    <a:lnTo>
                      <a:pt x="370" y="15"/>
                    </a:lnTo>
                    <a:lnTo>
                      <a:pt x="367" y="12"/>
                    </a:lnTo>
                    <a:lnTo>
                      <a:pt x="362" y="12"/>
                    </a:lnTo>
                    <a:lnTo>
                      <a:pt x="358" y="13"/>
                    </a:lnTo>
                    <a:lnTo>
                      <a:pt x="360" y="18"/>
                    </a:lnTo>
                    <a:lnTo>
                      <a:pt x="358" y="20"/>
                    </a:lnTo>
                    <a:lnTo>
                      <a:pt x="357" y="18"/>
                    </a:lnTo>
                    <a:lnTo>
                      <a:pt x="353" y="17"/>
                    </a:lnTo>
                    <a:lnTo>
                      <a:pt x="352" y="18"/>
                    </a:lnTo>
                    <a:lnTo>
                      <a:pt x="352" y="20"/>
                    </a:lnTo>
                    <a:lnTo>
                      <a:pt x="358" y="23"/>
                    </a:lnTo>
                    <a:lnTo>
                      <a:pt x="358" y="28"/>
                    </a:lnTo>
                    <a:lnTo>
                      <a:pt x="358" y="28"/>
                    </a:lnTo>
                    <a:lnTo>
                      <a:pt x="355" y="27"/>
                    </a:lnTo>
                    <a:lnTo>
                      <a:pt x="352" y="28"/>
                    </a:lnTo>
                    <a:lnTo>
                      <a:pt x="352" y="32"/>
                    </a:lnTo>
                    <a:lnTo>
                      <a:pt x="353" y="33"/>
                    </a:lnTo>
                    <a:lnTo>
                      <a:pt x="352" y="35"/>
                    </a:lnTo>
                    <a:lnTo>
                      <a:pt x="348" y="32"/>
                    </a:lnTo>
                    <a:lnTo>
                      <a:pt x="345" y="32"/>
                    </a:lnTo>
                    <a:lnTo>
                      <a:pt x="343" y="37"/>
                    </a:lnTo>
                    <a:lnTo>
                      <a:pt x="340" y="38"/>
                    </a:lnTo>
                    <a:lnTo>
                      <a:pt x="340" y="40"/>
                    </a:lnTo>
                    <a:lnTo>
                      <a:pt x="342" y="40"/>
                    </a:lnTo>
                    <a:lnTo>
                      <a:pt x="337" y="43"/>
                    </a:lnTo>
                    <a:lnTo>
                      <a:pt x="337" y="47"/>
                    </a:lnTo>
                    <a:lnTo>
                      <a:pt x="340" y="50"/>
                    </a:lnTo>
                    <a:lnTo>
                      <a:pt x="337" y="53"/>
                    </a:lnTo>
                    <a:lnTo>
                      <a:pt x="340" y="53"/>
                    </a:lnTo>
                    <a:lnTo>
                      <a:pt x="342" y="55"/>
                    </a:lnTo>
                    <a:lnTo>
                      <a:pt x="340" y="58"/>
                    </a:lnTo>
                    <a:lnTo>
                      <a:pt x="335" y="57"/>
                    </a:lnTo>
                    <a:lnTo>
                      <a:pt x="333" y="52"/>
                    </a:lnTo>
                    <a:lnTo>
                      <a:pt x="330" y="50"/>
                    </a:lnTo>
                    <a:lnTo>
                      <a:pt x="333" y="48"/>
                    </a:lnTo>
                    <a:lnTo>
                      <a:pt x="328" y="47"/>
                    </a:lnTo>
                    <a:lnTo>
                      <a:pt x="325" y="47"/>
                    </a:lnTo>
                    <a:lnTo>
                      <a:pt x="320" y="47"/>
                    </a:lnTo>
                    <a:lnTo>
                      <a:pt x="312" y="42"/>
                    </a:lnTo>
                    <a:lnTo>
                      <a:pt x="310" y="42"/>
                    </a:lnTo>
                    <a:lnTo>
                      <a:pt x="307" y="43"/>
                    </a:lnTo>
                    <a:lnTo>
                      <a:pt x="305" y="40"/>
                    </a:lnTo>
                    <a:lnTo>
                      <a:pt x="302" y="43"/>
                    </a:lnTo>
                    <a:lnTo>
                      <a:pt x="299" y="45"/>
                    </a:lnTo>
                    <a:lnTo>
                      <a:pt x="297" y="47"/>
                    </a:lnTo>
                    <a:lnTo>
                      <a:pt x="304" y="52"/>
                    </a:lnTo>
                    <a:lnTo>
                      <a:pt x="307" y="52"/>
                    </a:lnTo>
                    <a:lnTo>
                      <a:pt x="309" y="55"/>
                    </a:lnTo>
                    <a:lnTo>
                      <a:pt x="314" y="55"/>
                    </a:lnTo>
                    <a:lnTo>
                      <a:pt x="312" y="58"/>
                    </a:lnTo>
                    <a:lnTo>
                      <a:pt x="312" y="62"/>
                    </a:lnTo>
                    <a:lnTo>
                      <a:pt x="315" y="67"/>
                    </a:lnTo>
                    <a:lnTo>
                      <a:pt x="315" y="70"/>
                    </a:lnTo>
                    <a:lnTo>
                      <a:pt x="312" y="68"/>
                    </a:lnTo>
                    <a:lnTo>
                      <a:pt x="309" y="63"/>
                    </a:lnTo>
                    <a:lnTo>
                      <a:pt x="305" y="62"/>
                    </a:lnTo>
                    <a:lnTo>
                      <a:pt x="302" y="58"/>
                    </a:lnTo>
                    <a:lnTo>
                      <a:pt x="300" y="62"/>
                    </a:lnTo>
                    <a:lnTo>
                      <a:pt x="297" y="65"/>
                    </a:lnTo>
                    <a:lnTo>
                      <a:pt x="297" y="60"/>
                    </a:lnTo>
                    <a:lnTo>
                      <a:pt x="294" y="63"/>
                    </a:lnTo>
                    <a:lnTo>
                      <a:pt x="294" y="65"/>
                    </a:lnTo>
                    <a:lnTo>
                      <a:pt x="289" y="68"/>
                    </a:lnTo>
                    <a:lnTo>
                      <a:pt x="289" y="72"/>
                    </a:lnTo>
                    <a:lnTo>
                      <a:pt x="294" y="73"/>
                    </a:lnTo>
                    <a:lnTo>
                      <a:pt x="295" y="78"/>
                    </a:lnTo>
                    <a:lnTo>
                      <a:pt x="292" y="77"/>
                    </a:lnTo>
                    <a:lnTo>
                      <a:pt x="290" y="75"/>
                    </a:lnTo>
                    <a:lnTo>
                      <a:pt x="287" y="80"/>
                    </a:lnTo>
                    <a:lnTo>
                      <a:pt x="285" y="83"/>
                    </a:lnTo>
                    <a:lnTo>
                      <a:pt x="280" y="87"/>
                    </a:lnTo>
                    <a:lnTo>
                      <a:pt x="280" y="85"/>
                    </a:lnTo>
                    <a:lnTo>
                      <a:pt x="284" y="82"/>
                    </a:lnTo>
                    <a:lnTo>
                      <a:pt x="282" y="80"/>
                    </a:lnTo>
                    <a:lnTo>
                      <a:pt x="285" y="73"/>
                    </a:lnTo>
                    <a:lnTo>
                      <a:pt x="284" y="60"/>
                    </a:lnTo>
                    <a:lnTo>
                      <a:pt x="280" y="63"/>
                    </a:lnTo>
                    <a:lnTo>
                      <a:pt x="274" y="70"/>
                    </a:lnTo>
                    <a:lnTo>
                      <a:pt x="274" y="77"/>
                    </a:lnTo>
                    <a:lnTo>
                      <a:pt x="275" y="78"/>
                    </a:lnTo>
                    <a:lnTo>
                      <a:pt x="272" y="82"/>
                    </a:lnTo>
                    <a:lnTo>
                      <a:pt x="270" y="78"/>
                    </a:lnTo>
                    <a:lnTo>
                      <a:pt x="274" y="73"/>
                    </a:lnTo>
                    <a:lnTo>
                      <a:pt x="272" y="68"/>
                    </a:lnTo>
                    <a:lnTo>
                      <a:pt x="269" y="67"/>
                    </a:lnTo>
                    <a:lnTo>
                      <a:pt x="264" y="70"/>
                    </a:lnTo>
                    <a:lnTo>
                      <a:pt x="262" y="75"/>
                    </a:lnTo>
                    <a:lnTo>
                      <a:pt x="264" y="80"/>
                    </a:lnTo>
                    <a:lnTo>
                      <a:pt x="264" y="83"/>
                    </a:lnTo>
                    <a:lnTo>
                      <a:pt x="270" y="88"/>
                    </a:lnTo>
                    <a:lnTo>
                      <a:pt x="272" y="90"/>
                    </a:lnTo>
                    <a:lnTo>
                      <a:pt x="269" y="95"/>
                    </a:lnTo>
                    <a:lnTo>
                      <a:pt x="267" y="90"/>
                    </a:lnTo>
                    <a:lnTo>
                      <a:pt x="262" y="88"/>
                    </a:lnTo>
                    <a:lnTo>
                      <a:pt x="259" y="80"/>
                    </a:lnTo>
                    <a:lnTo>
                      <a:pt x="257" y="78"/>
                    </a:lnTo>
                    <a:lnTo>
                      <a:pt x="250" y="82"/>
                    </a:lnTo>
                    <a:lnTo>
                      <a:pt x="250" y="83"/>
                    </a:lnTo>
                    <a:lnTo>
                      <a:pt x="257" y="88"/>
                    </a:lnTo>
                    <a:lnTo>
                      <a:pt x="259" y="88"/>
                    </a:lnTo>
                    <a:lnTo>
                      <a:pt x="260" y="90"/>
                    </a:lnTo>
                    <a:lnTo>
                      <a:pt x="257" y="90"/>
                    </a:lnTo>
                    <a:lnTo>
                      <a:pt x="252" y="90"/>
                    </a:lnTo>
                    <a:lnTo>
                      <a:pt x="255" y="95"/>
                    </a:lnTo>
                    <a:lnTo>
                      <a:pt x="250" y="92"/>
                    </a:lnTo>
                    <a:lnTo>
                      <a:pt x="250" y="87"/>
                    </a:lnTo>
                    <a:lnTo>
                      <a:pt x="249" y="87"/>
                    </a:lnTo>
                    <a:lnTo>
                      <a:pt x="247" y="82"/>
                    </a:lnTo>
                    <a:lnTo>
                      <a:pt x="245" y="85"/>
                    </a:lnTo>
                    <a:lnTo>
                      <a:pt x="244" y="90"/>
                    </a:lnTo>
                    <a:lnTo>
                      <a:pt x="245" y="92"/>
                    </a:lnTo>
                    <a:lnTo>
                      <a:pt x="245" y="97"/>
                    </a:lnTo>
                    <a:lnTo>
                      <a:pt x="240" y="95"/>
                    </a:lnTo>
                    <a:lnTo>
                      <a:pt x="237" y="97"/>
                    </a:lnTo>
                    <a:lnTo>
                      <a:pt x="234" y="101"/>
                    </a:lnTo>
                    <a:lnTo>
                      <a:pt x="234" y="101"/>
                    </a:lnTo>
                    <a:lnTo>
                      <a:pt x="237" y="101"/>
                    </a:lnTo>
                    <a:lnTo>
                      <a:pt x="240" y="105"/>
                    </a:lnTo>
                    <a:lnTo>
                      <a:pt x="237" y="105"/>
                    </a:lnTo>
                    <a:lnTo>
                      <a:pt x="234" y="106"/>
                    </a:lnTo>
                    <a:lnTo>
                      <a:pt x="235" y="108"/>
                    </a:lnTo>
                    <a:lnTo>
                      <a:pt x="234" y="110"/>
                    </a:lnTo>
                    <a:lnTo>
                      <a:pt x="230" y="110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29" y="115"/>
                    </a:lnTo>
                    <a:lnTo>
                      <a:pt x="227" y="111"/>
                    </a:lnTo>
                    <a:lnTo>
                      <a:pt x="224" y="113"/>
                    </a:lnTo>
                    <a:lnTo>
                      <a:pt x="220" y="116"/>
                    </a:lnTo>
                    <a:lnTo>
                      <a:pt x="222" y="118"/>
                    </a:lnTo>
                    <a:lnTo>
                      <a:pt x="220" y="120"/>
                    </a:lnTo>
                    <a:lnTo>
                      <a:pt x="216" y="120"/>
                    </a:lnTo>
                    <a:lnTo>
                      <a:pt x="214" y="125"/>
                    </a:lnTo>
                    <a:lnTo>
                      <a:pt x="217" y="125"/>
                    </a:lnTo>
                    <a:lnTo>
                      <a:pt x="227" y="123"/>
                    </a:lnTo>
                    <a:lnTo>
                      <a:pt x="230" y="125"/>
                    </a:lnTo>
                    <a:lnTo>
                      <a:pt x="235" y="121"/>
                    </a:lnTo>
                    <a:lnTo>
                      <a:pt x="237" y="121"/>
                    </a:lnTo>
                    <a:lnTo>
                      <a:pt x="237" y="125"/>
                    </a:lnTo>
                    <a:lnTo>
                      <a:pt x="234" y="128"/>
                    </a:lnTo>
                    <a:lnTo>
                      <a:pt x="234" y="133"/>
                    </a:lnTo>
                    <a:lnTo>
                      <a:pt x="232" y="135"/>
                    </a:lnTo>
                    <a:lnTo>
                      <a:pt x="230" y="133"/>
                    </a:lnTo>
                    <a:lnTo>
                      <a:pt x="230" y="130"/>
                    </a:lnTo>
                    <a:lnTo>
                      <a:pt x="225" y="131"/>
                    </a:lnTo>
                    <a:lnTo>
                      <a:pt x="224" y="130"/>
                    </a:lnTo>
                    <a:lnTo>
                      <a:pt x="219" y="130"/>
                    </a:lnTo>
                    <a:lnTo>
                      <a:pt x="220" y="130"/>
                    </a:lnTo>
                    <a:lnTo>
                      <a:pt x="219" y="133"/>
                    </a:lnTo>
                    <a:lnTo>
                      <a:pt x="216" y="131"/>
                    </a:lnTo>
                    <a:lnTo>
                      <a:pt x="214" y="131"/>
                    </a:lnTo>
                    <a:lnTo>
                      <a:pt x="217" y="133"/>
                    </a:lnTo>
                    <a:lnTo>
                      <a:pt x="219" y="136"/>
                    </a:lnTo>
                    <a:lnTo>
                      <a:pt x="216" y="138"/>
                    </a:lnTo>
                    <a:lnTo>
                      <a:pt x="214" y="140"/>
                    </a:lnTo>
                    <a:lnTo>
                      <a:pt x="216" y="143"/>
                    </a:lnTo>
                    <a:lnTo>
                      <a:pt x="214" y="145"/>
                    </a:lnTo>
                    <a:lnTo>
                      <a:pt x="212" y="141"/>
                    </a:lnTo>
                    <a:lnTo>
                      <a:pt x="212" y="138"/>
                    </a:lnTo>
                    <a:lnTo>
                      <a:pt x="209" y="135"/>
                    </a:lnTo>
                    <a:lnTo>
                      <a:pt x="206" y="138"/>
                    </a:lnTo>
                    <a:lnTo>
                      <a:pt x="202" y="138"/>
                    </a:lnTo>
                    <a:lnTo>
                      <a:pt x="201" y="136"/>
                    </a:lnTo>
                    <a:lnTo>
                      <a:pt x="202" y="135"/>
                    </a:lnTo>
                    <a:lnTo>
                      <a:pt x="199" y="133"/>
                    </a:lnTo>
                    <a:lnTo>
                      <a:pt x="196" y="138"/>
                    </a:lnTo>
                    <a:lnTo>
                      <a:pt x="199" y="141"/>
                    </a:lnTo>
                    <a:lnTo>
                      <a:pt x="204" y="140"/>
                    </a:lnTo>
                    <a:lnTo>
                      <a:pt x="209" y="143"/>
                    </a:lnTo>
                    <a:lnTo>
                      <a:pt x="206" y="146"/>
                    </a:lnTo>
                    <a:lnTo>
                      <a:pt x="197" y="148"/>
                    </a:lnTo>
                    <a:lnTo>
                      <a:pt x="196" y="146"/>
                    </a:lnTo>
                    <a:lnTo>
                      <a:pt x="192" y="146"/>
                    </a:lnTo>
                    <a:lnTo>
                      <a:pt x="191" y="150"/>
                    </a:lnTo>
                    <a:lnTo>
                      <a:pt x="192" y="153"/>
                    </a:lnTo>
                    <a:lnTo>
                      <a:pt x="191" y="156"/>
                    </a:lnTo>
                    <a:lnTo>
                      <a:pt x="194" y="155"/>
                    </a:lnTo>
                    <a:lnTo>
                      <a:pt x="197" y="151"/>
                    </a:lnTo>
                    <a:lnTo>
                      <a:pt x="202" y="151"/>
                    </a:lnTo>
                    <a:lnTo>
                      <a:pt x="204" y="153"/>
                    </a:lnTo>
                    <a:lnTo>
                      <a:pt x="197" y="155"/>
                    </a:lnTo>
                    <a:lnTo>
                      <a:pt x="197" y="158"/>
                    </a:lnTo>
                    <a:lnTo>
                      <a:pt x="199" y="161"/>
                    </a:lnTo>
                    <a:lnTo>
                      <a:pt x="204" y="165"/>
                    </a:lnTo>
                    <a:lnTo>
                      <a:pt x="204" y="168"/>
                    </a:lnTo>
                    <a:lnTo>
                      <a:pt x="201" y="165"/>
                    </a:lnTo>
                    <a:lnTo>
                      <a:pt x="197" y="166"/>
                    </a:lnTo>
                    <a:lnTo>
                      <a:pt x="194" y="161"/>
                    </a:lnTo>
                    <a:lnTo>
                      <a:pt x="192" y="161"/>
                    </a:lnTo>
                    <a:lnTo>
                      <a:pt x="189" y="165"/>
                    </a:lnTo>
                    <a:lnTo>
                      <a:pt x="192" y="166"/>
                    </a:lnTo>
                    <a:lnTo>
                      <a:pt x="187" y="168"/>
                    </a:lnTo>
                    <a:lnTo>
                      <a:pt x="184" y="170"/>
                    </a:lnTo>
                    <a:lnTo>
                      <a:pt x="184" y="173"/>
                    </a:lnTo>
                    <a:lnTo>
                      <a:pt x="187" y="175"/>
                    </a:lnTo>
                    <a:lnTo>
                      <a:pt x="192" y="173"/>
                    </a:lnTo>
                    <a:lnTo>
                      <a:pt x="194" y="175"/>
                    </a:lnTo>
                    <a:lnTo>
                      <a:pt x="199" y="173"/>
                    </a:lnTo>
                    <a:lnTo>
                      <a:pt x="199" y="176"/>
                    </a:lnTo>
                    <a:lnTo>
                      <a:pt x="202" y="178"/>
                    </a:lnTo>
                    <a:lnTo>
                      <a:pt x="202" y="181"/>
                    </a:lnTo>
                    <a:lnTo>
                      <a:pt x="196" y="178"/>
                    </a:lnTo>
                    <a:lnTo>
                      <a:pt x="191" y="178"/>
                    </a:lnTo>
                    <a:lnTo>
                      <a:pt x="189" y="178"/>
                    </a:lnTo>
                    <a:lnTo>
                      <a:pt x="182" y="180"/>
                    </a:lnTo>
                    <a:lnTo>
                      <a:pt x="182" y="183"/>
                    </a:lnTo>
                    <a:lnTo>
                      <a:pt x="179" y="185"/>
                    </a:lnTo>
                    <a:lnTo>
                      <a:pt x="177" y="183"/>
                    </a:lnTo>
                    <a:lnTo>
                      <a:pt x="171" y="186"/>
                    </a:lnTo>
                    <a:lnTo>
                      <a:pt x="167" y="186"/>
                    </a:lnTo>
                    <a:lnTo>
                      <a:pt x="167" y="188"/>
                    </a:lnTo>
                    <a:lnTo>
                      <a:pt x="171" y="190"/>
                    </a:lnTo>
                    <a:lnTo>
                      <a:pt x="174" y="193"/>
                    </a:lnTo>
                    <a:lnTo>
                      <a:pt x="171" y="195"/>
                    </a:lnTo>
                    <a:lnTo>
                      <a:pt x="169" y="193"/>
                    </a:lnTo>
                    <a:lnTo>
                      <a:pt x="167" y="195"/>
                    </a:lnTo>
                    <a:lnTo>
                      <a:pt x="171" y="196"/>
                    </a:lnTo>
                    <a:lnTo>
                      <a:pt x="169" y="198"/>
                    </a:lnTo>
                    <a:lnTo>
                      <a:pt x="164" y="198"/>
                    </a:lnTo>
                    <a:lnTo>
                      <a:pt x="164" y="196"/>
                    </a:lnTo>
                    <a:lnTo>
                      <a:pt x="162" y="198"/>
                    </a:lnTo>
                    <a:lnTo>
                      <a:pt x="166" y="199"/>
                    </a:lnTo>
                    <a:lnTo>
                      <a:pt x="164" y="201"/>
                    </a:lnTo>
                    <a:lnTo>
                      <a:pt x="164" y="204"/>
                    </a:lnTo>
                    <a:lnTo>
                      <a:pt x="167" y="204"/>
                    </a:lnTo>
                    <a:lnTo>
                      <a:pt x="164" y="206"/>
                    </a:lnTo>
                    <a:lnTo>
                      <a:pt x="161" y="206"/>
                    </a:lnTo>
                    <a:lnTo>
                      <a:pt x="159" y="204"/>
                    </a:lnTo>
                    <a:lnTo>
                      <a:pt x="159" y="208"/>
                    </a:lnTo>
                    <a:lnTo>
                      <a:pt x="157" y="209"/>
                    </a:lnTo>
                    <a:lnTo>
                      <a:pt x="161" y="209"/>
                    </a:lnTo>
                    <a:lnTo>
                      <a:pt x="167" y="213"/>
                    </a:lnTo>
                    <a:lnTo>
                      <a:pt x="167" y="214"/>
                    </a:lnTo>
                    <a:lnTo>
                      <a:pt x="171" y="216"/>
                    </a:lnTo>
                    <a:lnTo>
                      <a:pt x="174" y="214"/>
                    </a:lnTo>
                    <a:lnTo>
                      <a:pt x="171" y="216"/>
                    </a:lnTo>
                    <a:lnTo>
                      <a:pt x="171" y="218"/>
                    </a:lnTo>
                    <a:lnTo>
                      <a:pt x="167" y="218"/>
                    </a:lnTo>
                    <a:lnTo>
                      <a:pt x="166" y="218"/>
                    </a:lnTo>
                    <a:lnTo>
                      <a:pt x="159" y="218"/>
                    </a:lnTo>
                    <a:lnTo>
                      <a:pt x="154" y="221"/>
                    </a:lnTo>
                    <a:lnTo>
                      <a:pt x="156" y="223"/>
                    </a:lnTo>
                    <a:lnTo>
                      <a:pt x="161" y="223"/>
                    </a:lnTo>
                    <a:lnTo>
                      <a:pt x="161" y="224"/>
                    </a:lnTo>
                    <a:lnTo>
                      <a:pt x="164" y="228"/>
                    </a:lnTo>
                    <a:lnTo>
                      <a:pt x="162" y="231"/>
                    </a:lnTo>
                    <a:lnTo>
                      <a:pt x="161" y="228"/>
                    </a:lnTo>
                    <a:lnTo>
                      <a:pt x="157" y="228"/>
                    </a:lnTo>
                    <a:lnTo>
                      <a:pt x="156" y="231"/>
                    </a:lnTo>
                    <a:lnTo>
                      <a:pt x="156" y="233"/>
                    </a:lnTo>
                    <a:lnTo>
                      <a:pt x="154" y="234"/>
                    </a:lnTo>
                    <a:lnTo>
                      <a:pt x="157" y="236"/>
                    </a:lnTo>
                    <a:lnTo>
                      <a:pt x="157" y="239"/>
                    </a:lnTo>
                    <a:lnTo>
                      <a:pt x="156" y="239"/>
                    </a:lnTo>
                    <a:lnTo>
                      <a:pt x="152" y="236"/>
                    </a:lnTo>
                    <a:lnTo>
                      <a:pt x="151" y="238"/>
                    </a:lnTo>
                    <a:lnTo>
                      <a:pt x="151" y="241"/>
                    </a:lnTo>
                    <a:lnTo>
                      <a:pt x="156" y="243"/>
                    </a:lnTo>
                    <a:lnTo>
                      <a:pt x="156" y="244"/>
                    </a:lnTo>
                    <a:lnTo>
                      <a:pt x="156" y="246"/>
                    </a:lnTo>
                    <a:lnTo>
                      <a:pt x="151" y="243"/>
                    </a:lnTo>
                    <a:lnTo>
                      <a:pt x="149" y="244"/>
                    </a:lnTo>
                    <a:lnTo>
                      <a:pt x="147" y="248"/>
                    </a:lnTo>
                    <a:lnTo>
                      <a:pt x="149" y="248"/>
                    </a:lnTo>
                    <a:lnTo>
                      <a:pt x="149" y="253"/>
                    </a:lnTo>
                    <a:lnTo>
                      <a:pt x="151" y="256"/>
                    </a:lnTo>
                    <a:lnTo>
                      <a:pt x="154" y="256"/>
                    </a:lnTo>
                    <a:lnTo>
                      <a:pt x="156" y="253"/>
                    </a:lnTo>
                    <a:lnTo>
                      <a:pt x="159" y="253"/>
                    </a:lnTo>
                    <a:lnTo>
                      <a:pt x="156" y="258"/>
                    </a:lnTo>
                    <a:lnTo>
                      <a:pt x="154" y="258"/>
                    </a:lnTo>
                    <a:lnTo>
                      <a:pt x="149" y="263"/>
                    </a:lnTo>
                    <a:lnTo>
                      <a:pt x="146" y="263"/>
                    </a:lnTo>
                    <a:lnTo>
                      <a:pt x="142" y="263"/>
                    </a:lnTo>
                    <a:lnTo>
                      <a:pt x="142" y="264"/>
                    </a:lnTo>
                    <a:lnTo>
                      <a:pt x="139" y="266"/>
                    </a:lnTo>
                    <a:lnTo>
                      <a:pt x="136" y="269"/>
                    </a:lnTo>
                    <a:lnTo>
                      <a:pt x="139" y="271"/>
                    </a:lnTo>
                    <a:lnTo>
                      <a:pt x="137" y="273"/>
                    </a:lnTo>
                    <a:lnTo>
                      <a:pt x="132" y="273"/>
                    </a:lnTo>
                    <a:lnTo>
                      <a:pt x="129" y="276"/>
                    </a:lnTo>
                    <a:lnTo>
                      <a:pt x="129" y="278"/>
                    </a:lnTo>
                    <a:lnTo>
                      <a:pt x="134" y="279"/>
                    </a:lnTo>
                    <a:lnTo>
                      <a:pt x="131" y="281"/>
                    </a:lnTo>
                    <a:lnTo>
                      <a:pt x="129" y="284"/>
                    </a:lnTo>
                    <a:lnTo>
                      <a:pt x="126" y="284"/>
                    </a:lnTo>
                    <a:lnTo>
                      <a:pt x="124" y="281"/>
                    </a:lnTo>
                    <a:lnTo>
                      <a:pt x="122" y="279"/>
                    </a:lnTo>
                    <a:lnTo>
                      <a:pt x="121" y="283"/>
                    </a:lnTo>
                    <a:lnTo>
                      <a:pt x="117" y="283"/>
                    </a:lnTo>
                    <a:lnTo>
                      <a:pt x="119" y="284"/>
                    </a:lnTo>
                    <a:lnTo>
                      <a:pt x="116" y="286"/>
                    </a:lnTo>
                    <a:lnTo>
                      <a:pt x="116" y="289"/>
                    </a:lnTo>
                    <a:lnTo>
                      <a:pt x="117" y="291"/>
                    </a:lnTo>
                    <a:lnTo>
                      <a:pt x="111" y="291"/>
                    </a:lnTo>
                    <a:lnTo>
                      <a:pt x="109" y="293"/>
                    </a:lnTo>
                    <a:lnTo>
                      <a:pt x="109" y="296"/>
                    </a:lnTo>
                    <a:lnTo>
                      <a:pt x="106" y="299"/>
                    </a:lnTo>
                    <a:lnTo>
                      <a:pt x="106" y="301"/>
                    </a:lnTo>
                    <a:lnTo>
                      <a:pt x="106" y="306"/>
                    </a:lnTo>
                    <a:lnTo>
                      <a:pt x="103" y="307"/>
                    </a:lnTo>
                    <a:lnTo>
                      <a:pt x="98" y="311"/>
                    </a:lnTo>
                    <a:lnTo>
                      <a:pt x="99" y="312"/>
                    </a:lnTo>
                    <a:lnTo>
                      <a:pt x="104" y="309"/>
                    </a:lnTo>
                    <a:lnTo>
                      <a:pt x="106" y="311"/>
                    </a:lnTo>
                    <a:lnTo>
                      <a:pt x="106" y="312"/>
                    </a:lnTo>
                    <a:lnTo>
                      <a:pt x="103" y="314"/>
                    </a:lnTo>
                    <a:lnTo>
                      <a:pt x="103" y="317"/>
                    </a:lnTo>
                    <a:lnTo>
                      <a:pt x="106" y="321"/>
                    </a:lnTo>
                    <a:lnTo>
                      <a:pt x="111" y="319"/>
                    </a:lnTo>
                    <a:lnTo>
                      <a:pt x="116" y="317"/>
                    </a:lnTo>
                    <a:lnTo>
                      <a:pt x="122" y="311"/>
                    </a:lnTo>
                    <a:lnTo>
                      <a:pt x="122" y="309"/>
                    </a:lnTo>
                    <a:lnTo>
                      <a:pt x="119" y="309"/>
                    </a:lnTo>
                    <a:lnTo>
                      <a:pt x="122" y="306"/>
                    </a:lnTo>
                    <a:lnTo>
                      <a:pt x="124" y="301"/>
                    </a:lnTo>
                    <a:lnTo>
                      <a:pt x="126" y="301"/>
                    </a:lnTo>
                    <a:lnTo>
                      <a:pt x="127" y="299"/>
                    </a:lnTo>
                    <a:lnTo>
                      <a:pt x="132" y="299"/>
                    </a:lnTo>
                    <a:lnTo>
                      <a:pt x="134" y="299"/>
                    </a:lnTo>
                    <a:lnTo>
                      <a:pt x="127" y="302"/>
                    </a:lnTo>
                    <a:lnTo>
                      <a:pt x="127" y="306"/>
                    </a:lnTo>
                    <a:lnTo>
                      <a:pt x="134" y="307"/>
                    </a:lnTo>
                    <a:lnTo>
                      <a:pt x="132" y="311"/>
                    </a:lnTo>
                    <a:lnTo>
                      <a:pt x="127" y="311"/>
                    </a:lnTo>
                    <a:lnTo>
                      <a:pt x="121" y="317"/>
                    </a:lnTo>
                    <a:lnTo>
                      <a:pt x="126" y="319"/>
                    </a:lnTo>
                    <a:lnTo>
                      <a:pt x="122" y="322"/>
                    </a:lnTo>
                    <a:lnTo>
                      <a:pt x="124" y="326"/>
                    </a:lnTo>
                    <a:lnTo>
                      <a:pt x="119" y="326"/>
                    </a:lnTo>
                    <a:lnTo>
                      <a:pt x="116" y="322"/>
                    </a:lnTo>
                    <a:lnTo>
                      <a:pt x="111" y="322"/>
                    </a:lnTo>
                    <a:lnTo>
                      <a:pt x="108" y="324"/>
                    </a:lnTo>
                    <a:lnTo>
                      <a:pt x="108" y="329"/>
                    </a:lnTo>
                    <a:lnTo>
                      <a:pt x="104" y="331"/>
                    </a:lnTo>
                    <a:lnTo>
                      <a:pt x="101" y="332"/>
                    </a:lnTo>
                    <a:lnTo>
                      <a:pt x="103" y="329"/>
                    </a:lnTo>
                    <a:lnTo>
                      <a:pt x="104" y="327"/>
                    </a:lnTo>
                    <a:lnTo>
                      <a:pt x="103" y="324"/>
                    </a:lnTo>
                    <a:lnTo>
                      <a:pt x="103" y="321"/>
                    </a:lnTo>
                    <a:lnTo>
                      <a:pt x="99" y="316"/>
                    </a:lnTo>
                    <a:lnTo>
                      <a:pt x="96" y="316"/>
                    </a:lnTo>
                    <a:lnTo>
                      <a:pt x="94" y="319"/>
                    </a:lnTo>
                    <a:lnTo>
                      <a:pt x="89" y="321"/>
                    </a:lnTo>
                    <a:lnTo>
                      <a:pt x="89" y="322"/>
                    </a:lnTo>
                    <a:lnTo>
                      <a:pt x="94" y="322"/>
                    </a:lnTo>
                    <a:lnTo>
                      <a:pt x="89" y="327"/>
                    </a:lnTo>
                    <a:lnTo>
                      <a:pt x="84" y="326"/>
                    </a:lnTo>
                    <a:lnTo>
                      <a:pt x="81" y="326"/>
                    </a:lnTo>
                    <a:lnTo>
                      <a:pt x="76" y="329"/>
                    </a:lnTo>
                    <a:lnTo>
                      <a:pt x="79" y="331"/>
                    </a:lnTo>
                    <a:lnTo>
                      <a:pt x="81" y="329"/>
                    </a:lnTo>
                    <a:lnTo>
                      <a:pt x="83" y="331"/>
                    </a:lnTo>
                    <a:lnTo>
                      <a:pt x="78" y="332"/>
                    </a:lnTo>
                    <a:lnTo>
                      <a:pt x="76" y="336"/>
                    </a:lnTo>
                    <a:lnTo>
                      <a:pt x="74" y="334"/>
                    </a:lnTo>
                    <a:lnTo>
                      <a:pt x="71" y="334"/>
                    </a:lnTo>
                    <a:lnTo>
                      <a:pt x="69" y="336"/>
                    </a:lnTo>
                    <a:lnTo>
                      <a:pt x="74" y="339"/>
                    </a:lnTo>
                    <a:lnTo>
                      <a:pt x="81" y="339"/>
                    </a:lnTo>
                    <a:lnTo>
                      <a:pt x="79" y="341"/>
                    </a:lnTo>
                    <a:lnTo>
                      <a:pt x="83" y="342"/>
                    </a:lnTo>
                    <a:lnTo>
                      <a:pt x="83" y="346"/>
                    </a:lnTo>
                    <a:lnTo>
                      <a:pt x="78" y="344"/>
                    </a:lnTo>
                    <a:lnTo>
                      <a:pt x="76" y="341"/>
                    </a:lnTo>
                    <a:lnTo>
                      <a:pt x="73" y="341"/>
                    </a:lnTo>
                    <a:lnTo>
                      <a:pt x="68" y="337"/>
                    </a:lnTo>
                    <a:lnTo>
                      <a:pt x="68" y="334"/>
                    </a:lnTo>
                    <a:lnTo>
                      <a:pt x="64" y="334"/>
                    </a:lnTo>
                    <a:lnTo>
                      <a:pt x="64" y="337"/>
                    </a:lnTo>
                    <a:lnTo>
                      <a:pt x="69" y="342"/>
                    </a:lnTo>
                    <a:lnTo>
                      <a:pt x="73" y="346"/>
                    </a:lnTo>
                    <a:lnTo>
                      <a:pt x="78" y="347"/>
                    </a:lnTo>
                    <a:lnTo>
                      <a:pt x="79" y="349"/>
                    </a:lnTo>
                    <a:lnTo>
                      <a:pt x="74" y="349"/>
                    </a:lnTo>
                    <a:lnTo>
                      <a:pt x="68" y="346"/>
                    </a:lnTo>
                    <a:lnTo>
                      <a:pt x="63" y="341"/>
                    </a:lnTo>
                    <a:lnTo>
                      <a:pt x="59" y="342"/>
                    </a:lnTo>
                    <a:lnTo>
                      <a:pt x="56" y="339"/>
                    </a:lnTo>
                    <a:lnTo>
                      <a:pt x="51" y="339"/>
                    </a:lnTo>
                    <a:lnTo>
                      <a:pt x="48" y="337"/>
                    </a:lnTo>
                    <a:lnTo>
                      <a:pt x="46" y="339"/>
                    </a:lnTo>
                    <a:lnTo>
                      <a:pt x="48" y="342"/>
                    </a:lnTo>
                    <a:lnTo>
                      <a:pt x="44" y="344"/>
                    </a:lnTo>
                    <a:lnTo>
                      <a:pt x="48" y="349"/>
                    </a:lnTo>
                    <a:lnTo>
                      <a:pt x="56" y="346"/>
                    </a:lnTo>
                    <a:lnTo>
                      <a:pt x="58" y="347"/>
                    </a:lnTo>
                    <a:lnTo>
                      <a:pt x="54" y="349"/>
                    </a:lnTo>
                    <a:lnTo>
                      <a:pt x="56" y="351"/>
                    </a:lnTo>
                    <a:lnTo>
                      <a:pt x="61" y="347"/>
                    </a:lnTo>
                    <a:lnTo>
                      <a:pt x="64" y="347"/>
                    </a:lnTo>
                    <a:lnTo>
                      <a:pt x="63" y="351"/>
                    </a:lnTo>
                    <a:lnTo>
                      <a:pt x="56" y="352"/>
                    </a:lnTo>
                    <a:lnTo>
                      <a:pt x="53" y="357"/>
                    </a:lnTo>
                    <a:lnTo>
                      <a:pt x="48" y="356"/>
                    </a:lnTo>
                    <a:lnTo>
                      <a:pt x="44" y="351"/>
                    </a:lnTo>
                    <a:lnTo>
                      <a:pt x="43" y="351"/>
                    </a:lnTo>
                    <a:lnTo>
                      <a:pt x="39" y="352"/>
                    </a:lnTo>
                    <a:lnTo>
                      <a:pt x="36" y="349"/>
                    </a:lnTo>
                    <a:lnTo>
                      <a:pt x="34" y="351"/>
                    </a:lnTo>
                    <a:lnTo>
                      <a:pt x="31" y="351"/>
                    </a:lnTo>
                    <a:lnTo>
                      <a:pt x="28" y="352"/>
                    </a:lnTo>
                    <a:lnTo>
                      <a:pt x="29" y="354"/>
                    </a:lnTo>
                    <a:lnTo>
                      <a:pt x="36" y="356"/>
                    </a:lnTo>
                    <a:lnTo>
                      <a:pt x="41" y="357"/>
                    </a:lnTo>
                    <a:lnTo>
                      <a:pt x="48" y="361"/>
                    </a:lnTo>
                    <a:lnTo>
                      <a:pt x="46" y="364"/>
                    </a:lnTo>
                    <a:lnTo>
                      <a:pt x="48" y="367"/>
                    </a:lnTo>
                    <a:lnTo>
                      <a:pt x="44" y="369"/>
                    </a:lnTo>
                    <a:lnTo>
                      <a:pt x="43" y="367"/>
                    </a:lnTo>
                    <a:lnTo>
                      <a:pt x="43" y="361"/>
                    </a:lnTo>
                    <a:lnTo>
                      <a:pt x="38" y="361"/>
                    </a:lnTo>
                    <a:lnTo>
                      <a:pt x="34" y="361"/>
                    </a:lnTo>
                    <a:lnTo>
                      <a:pt x="36" y="364"/>
                    </a:lnTo>
                    <a:lnTo>
                      <a:pt x="34" y="366"/>
                    </a:lnTo>
                    <a:lnTo>
                      <a:pt x="29" y="362"/>
                    </a:lnTo>
                    <a:lnTo>
                      <a:pt x="24" y="367"/>
                    </a:lnTo>
                    <a:lnTo>
                      <a:pt x="29" y="369"/>
                    </a:lnTo>
                    <a:lnTo>
                      <a:pt x="26" y="371"/>
                    </a:lnTo>
                    <a:lnTo>
                      <a:pt x="23" y="371"/>
                    </a:lnTo>
                    <a:lnTo>
                      <a:pt x="23" y="367"/>
                    </a:lnTo>
                    <a:lnTo>
                      <a:pt x="15" y="367"/>
                    </a:lnTo>
                    <a:lnTo>
                      <a:pt x="18" y="371"/>
                    </a:lnTo>
                    <a:lnTo>
                      <a:pt x="15" y="372"/>
                    </a:lnTo>
                    <a:lnTo>
                      <a:pt x="13" y="369"/>
                    </a:lnTo>
                    <a:lnTo>
                      <a:pt x="10" y="366"/>
                    </a:lnTo>
                    <a:lnTo>
                      <a:pt x="6" y="366"/>
                    </a:lnTo>
                    <a:lnTo>
                      <a:pt x="8" y="369"/>
                    </a:lnTo>
                    <a:lnTo>
                      <a:pt x="13" y="372"/>
                    </a:lnTo>
                    <a:lnTo>
                      <a:pt x="10" y="374"/>
                    </a:lnTo>
                    <a:lnTo>
                      <a:pt x="13" y="377"/>
                    </a:lnTo>
                    <a:lnTo>
                      <a:pt x="18" y="376"/>
                    </a:lnTo>
                    <a:lnTo>
                      <a:pt x="24" y="376"/>
                    </a:lnTo>
                    <a:lnTo>
                      <a:pt x="29" y="379"/>
                    </a:lnTo>
                    <a:lnTo>
                      <a:pt x="36" y="379"/>
                    </a:lnTo>
                    <a:lnTo>
                      <a:pt x="38" y="377"/>
                    </a:lnTo>
                    <a:lnTo>
                      <a:pt x="41" y="377"/>
                    </a:lnTo>
                    <a:lnTo>
                      <a:pt x="38" y="382"/>
                    </a:lnTo>
                    <a:lnTo>
                      <a:pt x="31" y="381"/>
                    </a:lnTo>
                    <a:lnTo>
                      <a:pt x="28" y="382"/>
                    </a:lnTo>
                    <a:lnTo>
                      <a:pt x="21" y="379"/>
                    </a:lnTo>
                    <a:lnTo>
                      <a:pt x="16" y="379"/>
                    </a:lnTo>
                    <a:lnTo>
                      <a:pt x="15" y="379"/>
                    </a:lnTo>
                    <a:lnTo>
                      <a:pt x="11" y="382"/>
                    </a:lnTo>
                    <a:lnTo>
                      <a:pt x="5" y="382"/>
                    </a:lnTo>
                    <a:lnTo>
                      <a:pt x="5" y="384"/>
                    </a:lnTo>
                    <a:lnTo>
                      <a:pt x="13" y="387"/>
                    </a:lnTo>
                    <a:lnTo>
                      <a:pt x="10" y="391"/>
                    </a:lnTo>
                    <a:lnTo>
                      <a:pt x="15" y="391"/>
                    </a:lnTo>
                    <a:lnTo>
                      <a:pt x="16" y="389"/>
                    </a:lnTo>
                    <a:lnTo>
                      <a:pt x="23" y="389"/>
                    </a:lnTo>
                    <a:lnTo>
                      <a:pt x="18" y="392"/>
                    </a:lnTo>
                    <a:lnTo>
                      <a:pt x="11" y="392"/>
                    </a:lnTo>
                    <a:lnTo>
                      <a:pt x="10" y="394"/>
                    </a:lnTo>
                    <a:lnTo>
                      <a:pt x="8" y="392"/>
                    </a:lnTo>
                    <a:lnTo>
                      <a:pt x="8" y="394"/>
                    </a:lnTo>
                    <a:lnTo>
                      <a:pt x="11" y="396"/>
                    </a:lnTo>
                    <a:lnTo>
                      <a:pt x="13" y="396"/>
                    </a:lnTo>
                    <a:lnTo>
                      <a:pt x="10" y="397"/>
                    </a:lnTo>
                    <a:lnTo>
                      <a:pt x="8" y="397"/>
                    </a:lnTo>
                    <a:lnTo>
                      <a:pt x="8" y="400"/>
                    </a:lnTo>
                    <a:lnTo>
                      <a:pt x="10" y="400"/>
                    </a:lnTo>
                    <a:lnTo>
                      <a:pt x="11" y="404"/>
                    </a:lnTo>
                    <a:lnTo>
                      <a:pt x="18" y="404"/>
                    </a:lnTo>
                    <a:lnTo>
                      <a:pt x="19" y="402"/>
                    </a:lnTo>
                    <a:lnTo>
                      <a:pt x="28" y="400"/>
                    </a:lnTo>
                    <a:lnTo>
                      <a:pt x="33" y="402"/>
                    </a:lnTo>
                    <a:lnTo>
                      <a:pt x="34" y="404"/>
                    </a:lnTo>
                    <a:lnTo>
                      <a:pt x="38" y="400"/>
                    </a:lnTo>
                    <a:lnTo>
                      <a:pt x="38" y="399"/>
                    </a:lnTo>
                    <a:lnTo>
                      <a:pt x="41" y="397"/>
                    </a:lnTo>
                    <a:lnTo>
                      <a:pt x="41" y="400"/>
                    </a:lnTo>
                    <a:lnTo>
                      <a:pt x="46" y="400"/>
                    </a:lnTo>
                    <a:lnTo>
                      <a:pt x="51" y="397"/>
                    </a:lnTo>
                    <a:lnTo>
                      <a:pt x="53" y="397"/>
                    </a:lnTo>
                    <a:lnTo>
                      <a:pt x="53" y="399"/>
                    </a:lnTo>
                    <a:lnTo>
                      <a:pt x="49" y="400"/>
                    </a:lnTo>
                    <a:lnTo>
                      <a:pt x="54" y="402"/>
                    </a:lnTo>
                    <a:lnTo>
                      <a:pt x="56" y="399"/>
                    </a:lnTo>
                    <a:lnTo>
                      <a:pt x="56" y="397"/>
                    </a:lnTo>
                    <a:lnTo>
                      <a:pt x="59" y="392"/>
                    </a:lnTo>
                    <a:lnTo>
                      <a:pt x="58" y="396"/>
                    </a:lnTo>
                    <a:lnTo>
                      <a:pt x="61" y="400"/>
                    </a:lnTo>
                    <a:lnTo>
                      <a:pt x="59" y="404"/>
                    </a:lnTo>
                    <a:lnTo>
                      <a:pt x="53" y="405"/>
                    </a:lnTo>
                    <a:lnTo>
                      <a:pt x="49" y="407"/>
                    </a:lnTo>
                    <a:lnTo>
                      <a:pt x="51" y="409"/>
                    </a:lnTo>
                    <a:lnTo>
                      <a:pt x="49" y="412"/>
                    </a:lnTo>
                    <a:lnTo>
                      <a:pt x="43" y="412"/>
                    </a:lnTo>
                    <a:lnTo>
                      <a:pt x="43" y="410"/>
                    </a:lnTo>
                    <a:lnTo>
                      <a:pt x="46" y="407"/>
                    </a:lnTo>
                    <a:lnTo>
                      <a:pt x="46" y="404"/>
                    </a:lnTo>
                    <a:lnTo>
                      <a:pt x="41" y="404"/>
                    </a:lnTo>
                    <a:lnTo>
                      <a:pt x="36" y="407"/>
                    </a:lnTo>
                    <a:lnTo>
                      <a:pt x="34" y="410"/>
                    </a:lnTo>
                    <a:lnTo>
                      <a:pt x="31" y="405"/>
                    </a:lnTo>
                    <a:lnTo>
                      <a:pt x="28" y="405"/>
                    </a:lnTo>
                    <a:lnTo>
                      <a:pt x="23" y="405"/>
                    </a:lnTo>
                    <a:lnTo>
                      <a:pt x="19" y="405"/>
                    </a:lnTo>
                    <a:lnTo>
                      <a:pt x="13" y="407"/>
                    </a:lnTo>
                    <a:lnTo>
                      <a:pt x="11" y="407"/>
                    </a:lnTo>
                    <a:lnTo>
                      <a:pt x="8" y="405"/>
                    </a:lnTo>
                    <a:lnTo>
                      <a:pt x="6" y="405"/>
                    </a:lnTo>
                    <a:lnTo>
                      <a:pt x="8" y="410"/>
                    </a:lnTo>
                    <a:lnTo>
                      <a:pt x="6" y="412"/>
                    </a:lnTo>
                    <a:lnTo>
                      <a:pt x="10" y="414"/>
                    </a:lnTo>
                    <a:lnTo>
                      <a:pt x="13" y="414"/>
                    </a:lnTo>
                    <a:lnTo>
                      <a:pt x="15" y="410"/>
                    </a:lnTo>
                    <a:lnTo>
                      <a:pt x="16" y="412"/>
                    </a:lnTo>
                    <a:lnTo>
                      <a:pt x="15" y="414"/>
                    </a:lnTo>
                    <a:lnTo>
                      <a:pt x="15" y="417"/>
                    </a:lnTo>
                    <a:lnTo>
                      <a:pt x="13" y="419"/>
                    </a:lnTo>
                    <a:lnTo>
                      <a:pt x="10" y="417"/>
                    </a:lnTo>
                    <a:lnTo>
                      <a:pt x="11" y="422"/>
                    </a:lnTo>
                    <a:lnTo>
                      <a:pt x="13" y="425"/>
                    </a:lnTo>
                    <a:lnTo>
                      <a:pt x="19" y="417"/>
                    </a:lnTo>
                    <a:lnTo>
                      <a:pt x="24" y="420"/>
                    </a:lnTo>
                    <a:lnTo>
                      <a:pt x="23" y="422"/>
                    </a:lnTo>
                    <a:lnTo>
                      <a:pt x="23" y="425"/>
                    </a:lnTo>
                    <a:lnTo>
                      <a:pt x="18" y="427"/>
                    </a:lnTo>
                    <a:lnTo>
                      <a:pt x="18" y="429"/>
                    </a:lnTo>
                    <a:lnTo>
                      <a:pt x="21" y="430"/>
                    </a:lnTo>
                    <a:lnTo>
                      <a:pt x="19" y="432"/>
                    </a:lnTo>
                    <a:lnTo>
                      <a:pt x="23" y="435"/>
                    </a:lnTo>
                    <a:lnTo>
                      <a:pt x="21" y="440"/>
                    </a:lnTo>
                    <a:lnTo>
                      <a:pt x="23" y="440"/>
                    </a:lnTo>
                    <a:lnTo>
                      <a:pt x="26" y="435"/>
                    </a:lnTo>
                    <a:lnTo>
                      <a:pt x="29" y="434"/>
                    </a:lnTo>
                    <a:lnTo>
                      <a:pt x="29" y="429"/>
                    </a:lnTo>
                    <a:lnTo>
                      <a:pt x="39" y="425"/>
                    </a:lnTo>
                    <a:lnTo>
                      <a:pt x="43" y="425"/>
                    </a:lnTo>
                    <a:lnTo>
                      <a:pt x="48" y="425"/>
                    </a:lnTo>
                    <a:lnTo>
                      <a:pt x="44" y="427"/>
                    </a:lnTo>
                    <a:lnTo>
                      <a:pt x="39" y="430"/>
                    </a:lnTo>
                    <a:lnTo>
                      <a:pt x="39" y="435"/>
                    </a:lnTo>
                    <a:lnTo>
                      <a:pt x="41" y="439"/>
                    </a:lnTo>
                    <a:lnTo>
                      <a:pt x="38" y="435"/>
                    </a:lnTo>
                    <a:lnTo>
                      <a:pt x="38" y="430"/>
                    </a:lnTo>
                    <a:lnTo>
                      <a:pt x="34" y="430"/>
                    </a:lnTo>
                    <a:lnTo>
                      <a:pt x="31" y="435"/>
                    </a:lnTo>
                    <a:lnTo>
                      <a:pt x="29" y="437"/>
                    </a:lnTo>
                    <a:lnTo>
                      <a:pt x="33" y="439"/>
                    </a:lnTo>
                    <a:lnTo>
                      <a:pt x="29" y="442"/>
                    </a:lnTo>
                    <a:lnTo>
                      <a:pt x="26" y="442"/>
                    </a:lnTo>
                    <a:lnTo>
                      <a:pt x="24" y="445"/>
                    </a:lnTo>
                    <a:lnTo>
                      <a:pt x="28" y="447"/>
                    </a:lnTo>
                    <a:lnTo>
                      <a:pt x="34" y="447"/>
                    </a:lnTo>
                    <a:lnTo>
                      <a:pt x="36" y="449"/>
                    </a:lnTo>
                    <a:lnTo>
                      <a:pt x="31" y="449"/>
                    </a:lnTo>
                    <a:lnTo>
                      <a:pt x="29" y="452"/>
                    </a:lnTo>
                    <a:lnTo>
                      <a:pt x="29" y="455"/>
                    </a:lnTo>
                    <a:lnTo>
                      <a:pt x="23" y="452"/>
                    </a:lnTo>
                    <a:lnTo>
                      <a:pt x="21" y="452"/>
                    </a:lnTo>
                    <a:lnTo>
                      <a:pt x="19" y="457"/>
                    </a:lnTo>
                    <a:lnTo>
                      <a:pt x="19" y="452"/>
                    </a:lnTo>
                    <a:lnTo>
                      <a:pt x="16" y="454"/>
                    </a:lnTo>
                    <a:lnTo>
                      <a:pt x="11" y="459"/>
                    </a:lnTo>
                    <a:lnTo>
                      <a:pt x="13" y="464"/>
                    </a:lnTo>
                    <a:lnTo>
                      <a:pt x="19" y="469"/>
                    </a:lnTo>
                    <a:lnTo>
                      <a:pt x="21" y="465"/>
                    </a:lnTo>
                    <a:lnTo>
                      <a:pt x="23" y="467"/>
                    </a:lnTo>
                    <a:lnTo>
                      <a:pt x="26" y="465"/>
                    </a:lnTo>
                    <a:lnTo>
                      <a:pt x="26" y="464"/>
                    </a:lnTo>
                    <a:lnTo>
                      <a:pt x="28" y="460"/>
                    </a:lnTo>
                    <a:lnTo>
                      <a:pt x="33" y="464"/>
                    </a:lnTo>
                    <a:lnTo>
                      <a:pt x="29" y="464"/>
                    </a:lnTo>
                    <a:lnTo>
                      <a:pt x="33" y="467"/>
                    </a:lnTo>
                    <a:lnTo>
                      <a:pt x="33" y="470"/>
                    </a:lnTo>
                    <a:lnTo>
                      <a:pt x="29" y="474"/>
                    </a:lnTo>
                    <a:lnTo>
                      <a:pt x="31" y="479"/>
                    </a:lnTo>
                    <a:lnTo>
                      <a:pt x="34" y="477"/>
                    </a:lnTo>
                    <a:lnTo>
                      <a:pt x="39" y="475"/>
                    </a:lnTo>
                    <a:lnTo>
                      <a:pt x="43" y="479"/>
                    </a:lnTo>
                    <a:lnTo>
                      <a:pt x="38" y="479"/>
                    </a:lnTo>
                    <a:lnTo>
                      <a:pt x="34" y="480"/>
                    </a:lnTo>
                    <a:lnTo>
                      <a:pt x="38" y="484"/>
                    </a:lnTo>
                    <a:lnTo>
                      <a:pt x="36" y="485"/>
                    </a:lnTo>
                    <a:lnTo>
                      <a:pt x="28" y="480"/>
                    </a:lnTo>
                    <a:lnTo>
                      <a:pt x="24" y="480"/>
                    </a:lnTo>
                    <a:lnTo>
                      <a:pt x="23" y="479"/>
                    </a:lnTo>
                    <a:lnTo>
                      <a:pt x="19" y="479"/>
                    </a:lnTo>
                    <a:lnTo>
                      <a:pt x="19" y="482"/>
                    </a:lnTo>
                    <a:lnTo>
                      <a:pt x="16" y="485"/>
                    </a:lnTo>
                    <a:lnTo>
                      <a:pt x="23" y="494"/>
                    </a:lnTo>
                    <a:lnTo>
                      <a:pt x="28" y="495"/>
                    </a:lnTo>
                    <a:lnTo>
                      <a:pt x="34" y="500"/>
                    </a:lnTo>
                    <a:lnTo>
                      <a:pt x="43" y="503"/>
                    </a:lnTo>
                    <a:lnTo>
                      <a:pt x="44" y="505"/>
                    </a:lnTo>
                    <a:lnTo>
                      <a:pt x="41" y="507"/>
                    </a:lnTo>
                    <a:lnTo>
                      <a:pt x="46" y="510"/>
                    </a:lnTo>
                    <a:lnTo>
                      <a:pt x="49" y="508"/>
                    </a:lnTo>
                    <a:lnTo>
                      <a:pt x="48" y="503"/>
                    </a:lnTo>
                    <a:lnTo>
                      <a:pt x="49" y="503"/>
                    </a:lnTo>
                    <a:lnTo>
                      <a:pt x="53" y="507"/>
                    </a:lnTo>
                    <a:lnTo>
                      <a:pt x="53" y="507"/>
                    </a:lnTo>
                    <a:lnTo>
                      <a:pt x="58" y="513"/>
                    </a:lnTo>
                    <a:lnTo>
                      <a:pt x="59" y="510"/>
                    </a:lnTo>
                    <a:lnTo>
                      <a:pt x="61" y="512"/>
                    </a:lnTo>
                    <a:lnTo>
                      <a:pt x="66" y="510"/>
                    </a:lnTo>
                    <a:lnTo>
                      <a:pt x="71" y="505"/>
                    </a:lnTo>
                    <a:lnTo>
                      <a:pt x="73" y="505"/>
                    </a:lnTo>
                    <a:lnTo>
                      <a:pt x="74" y="503"/>
                    </a:lnTo>
                    <a:lnTo>
                      <a:pt x="76" y="503"/>
                    </a:lnTo>
                    <a:lnTo>
                      <a:pt x="78" y="507"/>
                    </a:lnTo>
                    <a:lnTo>
                      <a:pt x="79" y="507"/>
                    </a:lnTo>
                    <a:lnTo>
                      <a:pt x="88" y="498"/>
                    </a:lnTo>
                    <a:lnTo>
                      <a:pt x="88" y="497"/>
                    </a:lnTo>
                    <a:lnTo>
                      <a:pt x="84" y="492"/>
                    </a:lnTo>
                    <a:lnTo>
                      <a:pt x="91" y="495"/>
                    </a:lnTo>
                    <a:lnTo>
                      <a:pt x="96" y="490"/>
                    </a:lnTo>
                    <a:lnTo>
                      <a:pt x="94" y="489"/>
                    </a:lnTo>
                    <a:lnTo>
                      <a:pt x="98" y="487"/>
                    </a:lnTo>
                    <a:lnTo>
                      <a:pt x="98" y="485"/>
                    </a:lnTo>
                    <a:lnTo>
                      <a:pt x="101" y="482"/>
                    </a:lnTo>
                    <a:lnTo>
                      <a:pt x="104" y="482"/>
                    </a:lnTo>
                    <a:lnTo>
                      <a:pt x="106" y="479"/>
                    </a:lnTo>
                    <a:lnTo>
                      <a:pt x="103" y="475"/>
                    </a:lnTo>
                    <a:lnTo>
                      <a:pt x="103" y="472"/>
                    </a:lnTo>
                    <a:lnTo>
                      <a:pt x="99" y="467"/>
                    </a:lnTo>
                    <a:lnTo>
                      <a:pt x="96" y="465"/>
                    </a:lnTo>
                    <a:lnTo>
                      <a:pt x="96" y="462"/>
                    </a:lnTo>
                    <a:lnTo>
                      <a:pt x="98" y="462"/>
                    </a:lnTo>
                    <a:lnTo>
                      <a:pt x="103" y="467"/>
                    </a:lnTo>
                    <a:lnTo>
                      <a:pt x="104" y="474"/>
                    </a:lnTo>
                    <a:lnTo>
                      <a:pt x="106" y="475"/>
                    </a:lnTo>
                    <a:lnTo>
                      <a:pt x="109" y="475"/>
                    </a:lnTo>
                    <a:lnTo>
                      <a:pt x="109" y="477"/>
                    </a:lnTo>
                    <a:lnTo>
                      <a:pt x="111" y="480"/>
                    </a:lnTo>
                    <a:lnTo>
                      <a:pt x="116" y="479"/>
                    </a:lnTo>
                    <a:lnTo>
                      <a:pt x="114" y="475"/>
                    </a:lnTo>
                    <a:lnTo>
                      <a:pt x="113" y="475"/>
                    </a:lnTo>
                    <a:lnTo>
                      <a:pt x="114" y="472"/>
                    </a:lnTo>
                    <a:lnTo>
                      <a:pt x="117" y="475"/>
                    </a:lnTo>
                    <a:lnTo>
                      <a:pt x="117" y="477"/>
                    </a:lnTo>
                    <a:lnTo>
                      <a:pt x="124" y="472"/>
                    </a:lnTo>
                    <a:lnTo>
                      <a:pt x="126" y="467"/>
                    </a:lnTo>
                    <a:lnTo>
                      <a:pt x="124" y="462"/>
                    </a:lnTo>
                    <a:lnTo>
                      <a:pt x="121" y="462"/>
                    </a:lnTo>
                    <a:lnTo>
                      <a:pt x="119" y="459"/>
                    </a:lnTo>
                    <a:lnTo>
                      <a:pt x="121" y="457"/>
                    </a:lnTo>
                    <a:lnTo>
                      <a:pt x="122" y="455"/>
                    </a:lnTo>
                    <a:lnTo>
                      <a:pt x="124" y="455"/>
                    </a:lnTo>
                    <a:lnTo>
                      <a:pt x="126" y="454"/>
                    </a:lnTo>
                    <a:lnTo>
                      <a:pt x="124" y="450"/>
                    </a:lnTo>
                    <a:lnTo>
                      <a:pt x="124" y="447"/>
                    </a:lnTo>
                    <a:lnTo>
                      <a:pt x="127" y="444"/>
                    </a:lnTo>
                    <a:lnTo>
                      <a:pt x="131" y="447"/>
                    </a:lnTo>
                    <a:lnTo>
                      <a:pt x="127" y="452"/>
                    </a:lnTo>
                    <a:lnTo>
                      <a:pt x="129" y="457"/>
                    </a:lnTo>
                    <a:lnTo>
                      <a:pt x="127" y="460"/>
                    </a:lnTo>
                    <a:lnTo>
                      <a:pt x="131" y="464"/>
                    </a:lnTo>
                    <a:lnTo>
                      <a:pt x="131" y="467"/>
                    </a:lnTo>
                    <a:lnTo>
                      <a:pt x="136" y="472"/>
                    </a:lnTo>
                    <a:lnTo>
                      <a:pt x="142" y="470"/>
                    </a:lnTo>
                    <a:lnTo>
                      <a:pt x="144" y="474"/>
                    </a:lnTo>
                    <a:lnTo>
                      <a:pt x="142" y="475"/>
                    </a:lnTo>
                    <a:lnTo>
                      <a:pt x="146" y="477"/>
                    </a:lnTo>
                    <a:lnTo>
                      <a:pt x="149" y="480"/>
                    </a:lnTo>
                    <a:lnTo>
                      <a:pt x="151" y="477"/>
                    </a:lnTo>
                    <a:lnTo>
                      <a:pt x="151" y="464"/>
                    </a:lnTo>
                    <a:lnTo>
                      <a:pt x="147" y="457"/>
                    </a:lnTo>
                    <a:lnTo>
                      <a:pt x="149" y="454"/>
                    </a:lnTo>
                    <a:lnTo>
                      <a:pt x="152" y="452"/>
                    </a:lnTo>
                    <a:lnTo>
                      <a:pt x="149" y="447"/>
                    </a:lnTo>
                    <a:lnTo>
                      <a:pt x="151" y="445"/>
                    </a:lnTo>
                    <a:lnTo>
                      <a:pt x="159" y="444"/>
                    </a:lnTo>
                    <a:lnTo>
                      <a:pt x="161" y="440"/>
                    </a:lnTo>
                    <a:lnTo>
                      <a:pt x="161" y="437"/>
                    </a:lnTo>
                    <a:lnTo>
                      <a:pt x="164" y="429"/>
                    </a:lnTo>
                    <a:lnTo>
                      <a:pt x="161" y="425"/>
                    </a:lnTo>
                    <a:lnTo>
                      <a:pt x="159" y="415"/>
                    </a:lnTo>
                    <a:lnTo>
                      <a:pt x="154" y="407"/>
                    </a:lnTo>
                    <a:lnTo>
                      <a:pt x="154" y="404"/>
                    </a:lnTo>
                    <a:lnTo>
                      <a:pt x="166" y="400"/>
                    </a:lnTo>
                    <a:lnTo>
                      <a:pt x="166" y="392"/>
                    </a:lnTo>
                    <a:lnTo>
                      <a:pt x="167" y="389"/>
                    </a:lnTo>
                    <a:lnTo>
                      <a:pt x="159" y="379"/>
                    </a:lnTo>
                    <a:lnTo>
                      <a:pt x="152" y="377"/>
                    </a:lnTo>
                    <a:lnTo>
                      <a:pt x="152" y="369"/>
                    </a:lnTo>
                    <a:lnTo>
                      <a:pt x="154" y="361"/>
                    </a:lnTo>
                    <a:lnTo>
                      <a:pt x="152" y="351"/>
                    </a:lnTo>
                    <a:lnTo>
                      <a:pt x="149" y="346"/>
                    </a:lnTo>
                    <a:lnTo>
                      <a:pt x="152" y="339"/>
                    </a:lnTo>
                    <a:lnTo>
                      <a:pt x="151" y="327"/>
                    </a:lnTo>
                    <a:lnTo>
                      <a:pt x="149" y="316"/>
                    </a:lnTo>
                    <a:lnTo>
                      <a:pt x="151" y="306"/>
                    </a:lnTo>
                    <a:lnTo>
                      <a:pt x="156" y="298"/>
                    </a:lnTo>
                    <a:lnTo>
                      <a:pt x="161" y="294"/>
                    </a:lnTo>
                    <a:lnTo>
                      <a:pt x="167" y="296"/>
                    </a:lnTo>
                    <a:lnTo>
                      <a:pt x="176" y="296"/>
                    </a:lnTo>
                    <a:lnTo>
                      <a:pt x="179" y="291"/>
                    </a:lnTo>
                    <a:lnTo>
                      <a:pt x="179" y="283"/>
                    </a:lnTo>
                    <a:lnTo>
                      <a:pt x="177" y="279"/>
                    </a:lnTo>
                    <a:lnTo>
                      <a:pt x="177" y="274"/>
                    </a:lnTo>
                    <a:lnTo>
                      <a:pt x="186" y="256"/>
                    </a:lnTo>
                    <a:lnTo>
                      <a:pt x="186" y="246"/>
                    </a:lnTo>
                    <a:lnTo>
                      <a:pt x="187" y="236"/>
                    </a:lnTo>
                    <a:lnTo>
                      <a:pt x="191" y="231"/>
                    </a:lnTo>
                    <a:lnTo>
                      <a:pt x="191" y="224"/>
                    </a:lnTo>
                    <a:lnTo>
                      <a:pt x="187" y="221"/>
                    </a:lnTo>
                    <a:lnTo>
                      <a:pt x="187" y="216"/>
                    </a:lnTo>
                    <a:lnTo>
                      <a:pt x="194" y="213"/>
                    </a:lnTo>
                    <a:lnTo>
                      <a:pt x="202" y="211"/>
                    </a:lnTo>
                    <a:lnTo>
                      <a:pt x="207" y="208"/>
                    </a:lnTo>
                    <a:lnTo>
                      <a:pt x="207" y="203"/>
                    </a:lnTo>
                    <a:lnTo>
                      <a:pt x="214" y="193"/>
                    </a:lnTo>
                    <a:lnTo>
                      <a:pt x="220" y="185"/>
                    </a:lnTo>
                    <a:lnTo>
                      <a:pt x="222" y="180"/>
                    </a:lnTo>
                    <a:lnTo>
                      <a:pt x="220" y="173"/>
                    </a:lnTo>
                    <a:lnTo>
                      <a:pt x="217" y="170"/>
                    </a:lnTo>
                    <a:lnTo>
                      <a:pt x="217" y="160"/>
                    </a:lnTo>
                    <a:lnTo>
                      <a:pt x="220" y="158"/>
                    </a:lnTo>
                    <a:lnTo>
                      <a:pt x="224" y="155"/>
                    </a:lnTo>
                    <a:lnTo>
                      <a:pt x="224" y="150"/>
                    </a:lnTo>
                    <a:lnTo>
                      <a:pt x="227" y="148"/>
                    </a:lnTo>
                    <a:lnTo>
                      <a:pt x="232" y="141"/>
                    </a:lnTo>
                    <a:lnTo>
                      <a:pt x="237" y="136"/>
                    </a:lnTo>
                    <a:lnTo>
                      <a:pt x="242" y="140"/>
                    </a:lnTo>
                    <a:lnTo>
                      <a:pt x="244" y="141"/>
                    </a:lnTo>
                    <a:lnTo>
                      <a:pt x="247" y="141"/>
                    </a:lnTo>
                    <a:lnTo>
                      <a:pt x="250" y="138"/>
                    </a:lnTo>
                    <a:lnTo>
                      <a:pt x="249" y="133"/>
                    </a:lnTo>
                    <a:lnTo>
                      <a:pt x="250" y="131"/>
                    </a:lnTo>
                    <a:lnTo>
                      <a:pt x="250" y="128"/>
                    </a:lnTo>
                    <a:lnTo>
                      <a:pt x="252" y="126"/>
                    </a:lnTo>
                    <a:lnTo>
                      <a:pt x="249" y="121"/>
                    </a:lnTo>
                    <a:lnTo>
                      <a:pt x="250" y="120"/>
                    </a:lnTo>
                    <a:lnTo>
                      <a:pt x="257" y="120"/>
                    </a:lnTo>
                    <a:lnTo>
                      <a:pt x="264" y="116"/>
                    </a:lnTo>
                    <a:lnTo>
                      <a:pt x="270" y="120"/>
                    </a:lnTo>
                    <a:lnTo>
                      <a:pt x="275" y="121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7" y="125"/>
                    </a:lnTo>
                    <a:lnTo>
                      <a:pt x="289" y="125"/>
                    </a:lnTo>
                    <a:lnTo>
                      <a:pt x="289" y="120"/>
                    </a:lnTo>
                    <a:lnTo>
                      <a:pt x="287" y="116"/>
                    </a:lnTo>
                    <a:lnTo>
                      <a:pt x="287" y="110"/>
                    </a:lnTo>
                    <a:lnTo>
                      <a:pt x="292" y="108"/>
                    </a:lnTo>
                    <a:lnTo>
                      <a:pt x="290" y="103"/>
                    </a:lnTo>
                    <a:lnTo>
                      <a:pt x="287" y="101"/>
                    </a:lnTo>
                    <a:lnTo>
                      <a:pt x="285" y="97"/>
                    </a:lnTo>
                    <a:lnTo>
                      <a:pt x="292" y="98"/>
                    </a:lnTo>
                    <a:lnTo>
                      <a:pt x="297" y="98"/>
                    </a:lnTo>
                    <a:lnTo>
                      <a:pt x="299" y="97"/>
                    </a:lnTo>
                    <a:lnTo>
                      <a:pt x="299" y="97"/>
                    </a:lnTo>
                    <a:lnTo>
                      <a:pt x="300" y="95"/>
                    </a:lnTo>
                    <a:lnTo>
                      <a:pt x="302" y="97"/>
                    </a:lnTo>
                    <a:lnTo>
                      <a:pt x="304" y="95"/>
                    </a:lnTo>
                    <a:lnTo>
                      <a:pt x="302" y="92"/>
                    </a:lnTo>
                    <a:lnTo>
                      <a:pt x="304" y="88"/>
                    </a:lnTo>
                    <a:lnTo>
                      <a:pt x="307" y="87"/>
                    </a:lnTo>
                    <a:lnTo>
                      <a:pt x="310" y="87"/>
                    </a:lnTo>
                    <a:lnTo>
                      <a:pt x="314" y="92"/>
                    </a:lnTo>
                    <a:lnTo>
                      <a:pt x="325" y="98"/>
                    </a:lnTo>
                    <a:lnTo>
                      <a:pt x="327" y="103"/>
                    </a:lnTo>
                    <a:lnTo>
                      <a:pt x="330" y="108"/>
                    </a:lnTo>
                    <a:lnTo>
                      <a:pt x="337" y="111"/>
                    </a:lnTo>
                    <a:lnTo>
                      <a:pt x="348" y="111"/>
                    </a:lnTo>
                    <a:lnTo>
                      <a:pt x="355" y="106"/>
                    </a:lnTo>
                    <a:lnTo>
                      <a:pt x="358" y="103"/>
                    </a:lnTo>
                    <a:lnTo>
                      <a:pt x="363" y="103"/>
                    </a:lnTo>
                    <a:lnTo>
                      <a:pt x="372" y="108"/>
                    </a:lnTo>
                    <a:lnTo>
                      <a:pt x="377" y="108"/>
                    </a:lnTo>
                    <a:lnTo>
                      <a:pt x="378" y="103"/>
                    </a:lnTo>
                    <a:lnTo>
                      <a:pt x="382" y="103"/>
                    </a:lnTo>
                    <a:lnTo>
                      <a:pt x="387" y="100"/>
                    </a:lnTo>
                    <a:lnTo>
                      <a:pt x="390" y="100"/>
                    </a:lnTo>
                    <a:lnTo>
                      <a:pt x="395" y="97"/>
                    </a:lnTo>
                    <a:lnTo>
                      <a:pt x="397" y="93"/>
                    </a:lnTo>
                    <a:lnTo>
                      <a:pt x="395" y="90"/>
                    </a:lnTo>
                    <a:lnTo>
                      <a:pt x="392" y="83"/>
                    </a:lnTo>
                    <a:lnTo>
                      <a:pt x="393" y="72"/>
                    </a:lnTo>
                    <a:lnTo>
                      <a:pt x="395" y="68"/>
                    </a:lnTo>
                    <a:lnTo>
                      <a:pt x="393" y="65"/>
                    </a:lnTo>
                    <a:lnTo>
                      <a:pt x="395" y="63"/>
                    </a:lnTo>
                    <a:lnTo>
                      <a:pt x="400" y="60"/>
                    </a:lnTo>
                    <a:lnTo>
                      <a:pt x="398" y="57"/>
                    </a:lnTo>
                    <a:lnTo>
                      <a:pt x="403" y="55"/>
                    </a:lnTo>
                    <a:lnTo>
                      <a:pt x="410" y="55"/>
                    </a:lnTo>
                    <a:lnTo>
                      <a:pt x="413" y="55"/>
                    </a:lnTo>
                    <a:lnTo>
                      <a:pt x="413" y="53"/>
                    </a:lnTo>
                    <a:lnTo>
                      <a:pt x="418" y="50"/>
                    </a:lnTo>
                    <a:lnTo>
                      <a:pt x="428" y="48"/>
                    </a:lnTo>
                    <a:lnTo>
                      <a:pt x="433" y="52"/>
                    </a:lnTo>
                    <a:lnTo>
                      <a:pt x="438" y="58"/>
                    </a:lnTo>
                    <a:lnTo>
                      <a:pt x="441" y="62"/>
                    </a:lnTo>
                    <a:lnTo>
                      <a:pt x="446" y="63"/>
                    </a:lnTo>
                    <a:lnTo>
                      <a:pt x="455" y="65"/>
                    </a:lnTo>
                    <a:lnTo>
                      <a:pt x="456" y="68"/>
                    </a:lnTo>
                    <a:lnTo>
                      <a:pt x="461" y="73"/>
                    </a:lnTo>
                    <a:lnTo>
                      <a:pt x="460" y="77"/>
                    </a:lnTo>
                    <a:lnTo>
                      <a:pt x="456" y="83"/>
                    </a:lnTo>
                    <a:lnTo>
                      <a:pt x="456" y="92"/>
                    </a:lnTo>
                    <a:lnTo>
                      <a:pt x="456" y="92"/>
                    </a:lnTo>
                    <a:close/>
                    <a:moveTo>
                      <a:pt x="21" y="472"/>
                    </a:moveTo>
                    <a:lnTo>
                      <a:pt x="24" y="475"/>
                    </a:lnTo>
                    <a:lnTo>
                      <a:pt x="21" y="475"/>
                    </a:lnTo>
                    <a:lnTo>
                      <a:pt x="21" y="472"/>
                    </a:lnTo>
                    <a:lnTo>
                      <a:pt x="21" y="472"/>
                    </a:lnTo>
                    <a:close/>
                    <a:moveTo>
                      <a:pt x="11" y="447"/>
                    </a:moveTo>
                    <a:lnTo>
                      <a:pt x="11" y="447"/>
                    </a:lnTo>
                    <a:lnTo>
                      <a:pt x="13" y="447"/>
                    </a:lnTo>
                    <a:lnTo>
                      <a:pt x="16" y="449"/>
                    </a:lnTo>
                    <a:lnTo>
                      <a:pt x="15" y="452"/>
                    </a:lnTo>
                    <a:lnTo>
                      <a:pt x="11" y="447"/>
                    </a:lnTo>
                    <a:lnTo>
                      <a:pt x="11" y="447"/>
                    </a:lnTo>
                    <a:close/>
                    <a:moveTo>
                      <a:pt x="19" y="439"/>
                    </a:moveTo>
                    <a:lnTo>
                      <a:pt x="18" y="442"/>
                    </a:lnTo>
                    <a:lnTo>
                      <a:pt x="16" y="442"/>
                    </a:lnTo>
                    <a:lnTo>
                      <a:pt x="19" y="439"/>
                    </a:lnTo>
                    <a:lnTo>
                      <a:pt x="19" y="439"/>
                    </a:lnTo>
                    <a:close/>
                    <a:moveTo>
                      <a:pt x="15" y="437"/>
                    </a:moveTo>
                    <a:lnTo>
                      <a:pt x="15" y="440"/>
                    </a:lnTo>
                    <a:lnTo>
                      <a:pt x="10" y="440"/>
                    </a:lnTo>
                    <a:lnTo>
                      <a:pt x="15" y="437"/>
                    </a:lnTo>
                    <a:lnTo>
                      <a:pt x="15" y="437"/>
                    </a:lnTo>
                    <a:close/>
                    <a:moveTo>
                      <a:pt x="6" y="420"/>
                    </a:moveTo>
                    <a:lnTo>
                      <a:pt x="3" y="419"/>
                    </a:lnTo>
                    <a:lnTo>
                      <a:pt x="6" y="415"/>
                    </a:lnTo>
                    <a:lnTo>
                      <a:pt x="6" y="415"/>
                    </a:lnTo>
                    <a:lnTo>
                      <a:pt x="6" y="420"/>
                    </a:lnTo>
                    <a:lnTo>
                      <a:pt x="6" y="420"/>
                    </a:lnTo>
                    <a:close/>
                    <a:moveTo>
                      <a:pt x="5" y="424"/>
                    </a:moveTo>
                    <a:lnTo>
                      <a:pt x="8" y="424"/>
                    </a:lnTo>
                    <a:lnTo>
                      <a:pt x="6" y="425"/>
                    </a:lnTo>
                    <a:lnTo>
                      <a:pt x="5" y="424"/>
                    </a:lnTo>
                    <a:lnTo>
                      <a:pt x="5" y="424"/>
                    </a:lnTo>
                    <a:close/>
                    <a:moveTo>
                      <a:pt x="13" y="427"/>
                    </a:moveTo>
                    <a:lnTo>
                      <a:pt x="13" y="427"/>
                    </a:lnTo>
                    <a:lnTo>
                      <a:pt x="18" y="432"/>
                    </a:lnTo>
                    <a:lnTo>
                      <a:pt x="16" y="435"/>
                    </a:lnTo>
                    <a:lnTo>
                      <a:pt x="13" y="427"/>
                    </a:lnTo>
                    <a:lnTo>
                      <a:pt x="13" y="427"/>
                    </a:lnTo>
                    <a:close/>
                    <a:moveTo>
                      <a:pt x="6" y="434"/>
                    </a:moveTo>
                    <a:lnTo>
                      <a:pt x="3" y="430"/>
                    </a:lnTo>
                    <a:lnTo>
                      <a:pt x="8" y="429"/>
                    </a:lnTo>
                    <a:lnTo>
                      <a:pt x="6" y="434"/>
                    </a:lnTo>
                    <a:lnTo>
                      <a:pt x="6" y="434"/>
                    </a:lnTo>
                    <a:close/>
                    <a:moveTo>
                      <a:pt x="3" y="407"/>
                    </a:moveTo>
                    <a:lnTo>
                      <a:pt x="0" y="410"/>
                    </a:lnTo>
                    <a:lnTo>
                      <a:pt x="1" y="412"/>
                    </a:lnTo>
                    <a:lnTo>
                      <a:pt x="5" y="410"/>
                    </a:lnTo>
                    <a:lnTo>
                      <a:pt x="3" y="407"/>
                    </a:lnTo>
                    <a:lnTo>
                      <a:pt x="3" y="407"/>
                    </a:lnTo>
                    <a:close/>
                    <a:moveTo>
                      <a:pt x="1" y="377"/>
                    </a:moveTo>
                    <a:lnTo>
                      <a:pt x="8" y="379"/>
                    </a:lnTo>
                    <a:lnTo>
                      <a:pt x="3" y="381"/>
                    </a:lnTo>
                    <a:lnTo>
                      <a:pt x="1" y="377"/>
                    </a:lnTo>
                    <a:lnTo>
                      <a:pt x="1" y="377"/>
                    </a:lnTo>
                    <a:close/>
                    <a:moveTo>
                      <a:pt x="3" y="369"/>
                    </a:moveTo>
                    <a:lnTo>
                      <a:pt x="8" y="372"/>
                    </a:lnTo>
                    <a:lnTo>
                      <a:pt x="6" y="376"/>
                    </a:lnTo>
                    <a:lnTo>
                      <a:pt x="3" y="369"/>
                    </a:lnTo>
                    <a:lnTo>
                      <a:pt x="3" y="369"/>
                    </a:lnTo>
                    <a:close/>
                    <a:moveTo>
                      <a:pt x="18" y="361"/>
                    </a:moveTo>
                    <a:lnTo>
                      <a:pt x="18" y="364"/>
                    </a:lnTo>
                    <a:lnTo>
                      <a:pt x="15" y="364"/>
                    </a:lnTo>
                    <a:lnTo>
                      <a:pt x="18" y="361"/>
                    </a:lnTo>
                    <a:lnTo>
                      <a:pt x="18" y="361"/>
                    </a:lnTo>
                    <a:close/>
                    <a:moveTo>
                      <a:pt x="21" y="357"/>
                    </a:moveTo>
                    <a:lnTo>
                      <a:pt x="24" y="359"/>
                    </a:lnTo>
                    <a:lnTo>
                      <a:pt x="26" y="362"/>
                    </a:lnTo>
                    <a:lnTo>
                      <a:pt x="21" y="364"/>
                    </a:lnTo>
                    <a:lnTo>
                      <a:pt x="21" y="357"/>
                    </a:lnTo>
                    <a:lnTo>
                      <a:pt x="21" y="357"/>
                    </a:lnTo>
                    <a:close/>
                    <a:moveTo>
                      <a:pt x="64" y="331"/>
                    </a:moveTo>
                    <a:lnTo>
                      <a:pt x="64" y="331"/>
                    </a:lnTo>
                    <a:lnTo>
                      <a:pt x="69" y="326"/>
                    </a:lnTo>
                    <a:lnTo>
                      <a:pt x="69" y="331"/>
                    </a:lnTo>
                    <a:lnTo>
                      <a:pt x="68" y="334"/>
                    </a:lnTo>
                    <a:lnTo>
                      <a:pt x="64" y="331"/>
                    </a:lnTo>
                    <a:lnTo>
                      <a:pt x="64" y="331"/>
                    </a:lnTo>
                    <a:close/>
                    <a:moveTo>
                      <a:pt x="66" y="324"/>
                    </a:moveTo>
                    <a:lnTo>
                      <a:pt x="66" y="324"/>
                    </a:lnTo>
                    <a:lnTo>
                      <a:pt x="64" y="326"/>
                    </a:lnTo>
                    <a:lnTo>
                      <a:pt x="59" y="321"/>
                    </a:lnTo>
                    <a:lnTo>
                      <a:pt x="64" y="321"/>
                    </a:lnTo>
                    <a:lnTo>
                      <a:pt x="66" y="324"/>
                    </a:lnTo>
                    <a:lnTo>
                      <a:pt x="66" y="324"/>
                    </a:lnTo>
                    <a:close/>
                    <a:moveTo>
                      <a:pt x="71" y="314"/>
                    </a:moveTo>
                    <a:lnTo>
                      <a:pt x="78" y="309"/>
                    </a:lnTo>
                    <a:lnTo>
                      <a:pt x="81" y="311"/>
                    </a:lnTo>
                    <a:lnTo>
                      <a:pt x="76" y="314"/>
                    </a:lnTo>
                    <a:lnTo>
                      <a:pt x="71" y="314"/>
                    </a:lnTo>
                    <a:lnTo>
                      <a:pt x="71" y="314"/>
                    </a:lnTo>
                    <a:close/>
                    <a:moveTo>
                      <a:pt x="71" y="322"/>
                    </a:moveTo>
                    <a:lnTo>
                      <a:pt x="74" y="317"/>
                    </a:lnTo>
                    <a:lnTo>
                      <a:pt x="79" y="317"/>
                    </a:lnTo>
                    <a:lnTo>
                      <a:pt x="81" y="316"/>
                    </a:lnTo>
                    <a:lnTo>
                      <a:pt x="84" y="316"/>
                    </a:lnTo>
                    <a:lnTo>
                      <a:pt x="88" y="317"/>
                    </a:lnTo>
                    <a:lnTo>
                      <a:pt x="84" y="322"/>
                    </a:lnTo>
                    <a:lnTo>
                      <a:pt x="78" y="321"/>
                    </a:lnTo>
                    <a:lnTo>
                      <a:pt x="74" y="322"/>
                    </a:lnTo>
                    <a:lnTo>
                      <a:pt x="71" y="322"/>
                    </a:lnTo>
                    <a:lnTo>
                      <a:pt x="71" y="322"/>
                    </a:lnTo>
                    <a:close/>
                    <a:moveTo>
                      <a:pt x="134" y="261"/>
                    </a:moveTo>
                    <a:lnTo>
                      <a:pt x="136" y="258"/>
                    </a:lnTo>
                    <a:lnTo>
                      <a:pt x="142" y="256"/>
                    </a:lnTo>
                    <a:lnTo>
                      <a:pt x="137" y="263"/>
                    </a:lnTo>
                    <a:lnTo>
                      <a:pt x="134" y="261"/>
                    </a:lnTo>
                    <a:lnTo>
                      <a:pt x="134" y="261"/>
                    </a:lnTo>
                    <a:close/>
                    <a:moveTo>
                      <a:pt x="129" y="271"/>
                    </a:moveTo>
                    <a:lnTo>
                      <a:pt x="127" y="268"/>
                    </a:lnTo>
                    <a:lnTo>
                      <a:pt x="124" y="269"/>
                    </a:lnTo>
                    <a:lnTo>
                      <a:pt x="127" y="264"/>
                    </a:lnTo>
                    <a:lnTo>
                      <a:pt x="134" y="264"/>
                    </a:lnTo>
                    <a:lnTo>
                      <a:pt x="137" y="263"/>
                    </a:lnTo>
                    <a:lnTo>
                      <a:pt x="132" y="269"/>
                    </a:lnTo>
                    <a:lnTo>
                      <a:pt x="129" y="271"/>
                    </a:lnTo>
                    <a:lnTo>
                      <a:pt x="129" y="271"/>
                    </a:lnTo>
                    <a:close/>
                    <a:moveTo>
                      <a:pt x="141" y="234"/>
                    </a:moveTo>
                    <a:lnTo>
                      <a:pt x="142" y="236"/>
                    </a:lnTo>
                    <a:lnTo>
                      <a:pt x="144" y="238"/>
                    </a:lnTo>
                    <a:lnTo>
                      <a:pt x="141" y="239"/>
                    </a:lnTo>
                    <a:lnTo>
                      <a:pt x="139" y="238"/>
                    </a:lnTo>
                    <a:lnTo>
                      <a:pt x="141" y="234"/>
                    </a:lnTo>
                    <a:lnTo>
                      <a:pt x="141" y="234"/>
                    </a:lnTo>
                    <a:close/>
                    <a:moveTo>
                      <a:pt x="151" y="226"/>
                    </a:moveTo>
                    <a:lnTo>
                      <a:pt x="152" y="224"/>
                    </a:lnTo>
                    <a:lnTo>
                      <a:pt x="157" y="224"/>
                    </a:lnTo>
                    <a:lnTo>
                      <a:pt x="151" y="229"/>
                    </a:lnTo>
                    <a:lnTo>
                      <a:pt x="151" y="226"/>
                    </a:lnTo>
                    <a:lnTo>
                      <a:pt x="151" y="226"/>
                    </a:lnTo>
                    <a:close/>
                    <a:moveTo>
                      <a:pt x="147" y="218"/>
                    </a:moveTo>
                    <a:lnTo>
                      <a:pt x="152" y="214"/>
                    </a:lnTo>
                    <a:lnTo>
                      <a:pt x="152" y="218"/>
                    </a:lnTo>
                    <a:lnTo>
                      <a:pt x="149" y="224"/>
                    </a:lnTo>
                    <a:lnTo>
                      <a:pt x="147" y="218"/>
                    </a:lnTo>
                    <a:lnTo>
                      <a:pt x="147" y="218"/>
                    </a:lnTo>
                    <a:close/>
                    <a:moveTo>
                      <a:pt x="177" y="178"/>
                    </a:moveTo>
                    <a:lnTo>
                      <a:pt x="179" y="176"/>
                    </a:lnTo>
                    <a:lnTo>
                      <a:pt x="182" y="176"/>
                    </a:lnTo>
                    <a:lnTo>
                      <a:pt x="179" y="181"/>
                    </a:lnTo>
                    <a:lnTo>
                      <a:pt x="177" y="178"/>
                    </a:lnTo>
                    <a:lnTo>
                      <a:pt x="177" y="178"/>
                    </a:lnTo>
                    <a:close/>
                    <a:moveTo>
                      <a:pt x="147" y="156"/>
                    </a:moveTo>
                    <a:lnTo>
                      <a:pt x="151" y="158"/>
                    </a:lnTo>
                    <a:lnTo>
                      <a:pt x="149" y="161"/>
                    </a:lnTo>
                    <a:lnTo>
                      <a:pt x="146" y="160"/>
                    </a:lnTo>
                    <a:lnTo>
                      <a:pt x="147" y="156"/>
                    </a:lnTo>
                    <a:lnTo>
                      <a:pt x="147" y="156"/>
                    </a:lnTo>
                    <a:close/>
                    <a:moveTo>
                      <a:pt x="156" y="145"/>
                    </a:moveTo>
                    <a:lnTo>
                      <a:pt x="151" y="150"/>
                    </a:lnTo>
                    <a:lnTo>
                      <a:pt x="151" y="146"/>
                    </a:lnTo>
                    <a:lnTo>
                      <a:pt x="156" y="140"/>
                    </a:lnTo>
                    <a:lnTo>
                      <a:pt x="156" y="145"/>
                    </a:lnTo>
                    <a:lnTo>
                      <a:pt x="156" y="145"/>
                    </a:lnTo>
                    <a:close/>
                    <a:moveTo>
                      <a:pt x="159" y="141"/>
                    </a:moveTo>
                    <a:lnTo>
                      <a:pt x="157" y="140"/>
                    </a:lnTo>
                    <a:lnTo>
                      <a:pt x="159" y="136"/>
                    </a:lnTo>
                    <a:lnTo>
                      <a:pt x="162" y="138"/>
                    </a:lnTo>
                    <a:lnTo>
                      <a:pt x="159" y="141"/>
                    </a:lnTo>
                    <a:lnTo>
                      <a:pt x="159" y="141"/>
                    </a:lnTo>
                    <a:close/>
                    <a:moveTo>
                      <a:pt x="174" y="131"/>
                    </a:moveTo>
                    <a:lnTo>
                      <a:pt x="174" y="136"/>
                    </a:lnTo>
                    <a:lnTo>
                      <a:pt x="164" y="141"/>
                    </a:lnTo>
                    <a:lnTo>
                      <a:pt x="166" y="135"/>
                    </a:lnTo>
                    <a:lnTo>
                      <a:pt x="174" y="131"/>
                    </a:lnTo>
                    <a:lnTo>
                      <a:pt x="174" y="131"/>
                    </a:lnTo>
                    <a:close/>
                    <a:moveTo>
                      <a:pt x="182" y="123"/>
                    </a:moveTo>
                    <a:lnTo>
                      <a:pt x="184" y="118"/>
                    </a:lnTo>
                    <a:lnTo>
                      <a:pt x="189" y="121"/>
                    </a:lnTo>
                    <a:lnTo>
                      <a:pt x="182" y="123"/>
                    </a:lnTo>
                    <a:lnTo>
                      <a:pt x="182" y="123"/>
                    </a:lnTo>
                    <a:close/>
                    <a:moveTo>
                      <a:pt x="187" y="125"/>
                    </a:moveTo>
                    <a:lnTo>
                      <a:pt x="187" y="133"/>
                    </a:lnTo>
                    <a:lnTo>
                      <a:pt x="182" y="131"/>
                    </a:lnTo>
                    <a:lnTo>
                      <a:pt x="176" y="135"/>
                    </a:lnTo>
                    <a:lnTo>
                      <a:pt x="177" y="130"/>
                    </a:lnTo>
                    <a:lnTo>
                      <a:pt x="187" y="125"/>
                    </a:lnTo>
                    <a:lnTo>
                      <a:pt x="187" y="125"/>
                    </a:lnTo>
                    <a:close/>
                    <a:moveTo>
                      <a:pt x="191" y="103"/>
                    </a:moveTo>
                    <a:lnTo>
                      <a:pt x="192" y="108"/>
                    </a:lnTo>
                    <a:lnTo>
                      <a:pt x="192" y="116"/>
                    </a:lnTo>
                    <a:lnTo>
                      <a:pt x="186" y="118"/>
                    </a:lnTo>
                    <a:lnTo>
                      <a:pt x="184" y="116"/>
                    </a:lnTo>
                    <a:lnTo>
                      <a:pt x="189" y="111"/>
                    </a:lnTo>
                    <a:lnTo>
                      <a:pt x="186" y="111"/>
                    </a:lnTo>
                    <a:lnTo>
                      <a:pt x="181" y="116"/>
                    </a:lnTo>
                    <a:lnTo>
                      <a:pt x="179" y="113"/>
                    </a:lnTo>
                    <a:lnTo>
                      <a:pt x="181" y="110"/>
                    </a:lnTo>
                    <a:lnTo>
                      <a:pt x="184" y="110"/>
                    </a:lnTo>
                    <a:lnTo>
                      <a:pt x="189" y="105"/>
                    </a:lnTo>
                    <a:lnTo>
                      <a:pt x="187" y="103"/>
                    </a:lnTo>
                    <a:lnTo>
                      <a:pt x="191" y="103"/>
                    </a:lnTo>
                    <a:lnTo>
                      <a:pt x="191" y="103"/>
                    </a:lnTo>
                    <a:close/>
                    <a:moveTo>
                      <a:pt x="196" y="105"/>
                    </a:moveTo>
                    <a:lnTo>
                      <a:pt x="194" y="103"/>
                    </a:lnTo>
                    <a:lnTo>
                      <a:pt x="194" y="98"/>
                    </a:lnTo>
                    <a:lnTo>
                      <a:pt x="201" y="93"/>
                    </a:lnTo>
                    <a:lnTo>
                      <a:pt x="201" y="88"/>
                    </a:lnTo>
                    <a:lnTo>
                      <a:pt x="207" y="87"/>
                    </a:lnTo>
                    <a:lnTo>
                      <a:pt x="209" y="92"/>
                    </a:lnTo>
                    <a:lnTo>
                      <a:pt x="204" y="95"/>
                    </a:lnTo>
                    <a:lnTo>
                      <a:pt x="202" y="98"/>
                    </a:lnTo>
                    <a:lnTo>
                      <a:pt x="196" y="105"/>
                    </a:lnTo>
                    <a:lnTo>
                      <a:pt x="196" y="105"/>
                    </a:lnTo>
                    <a:close/>
                    <a:moveTo>
                      <a:pt x="212" y="108"/>
                    </a:moveTo>
                    <a:lnTo>
                      <a:pt x="219" y="113"/>
                    </a:lnTo>
                    <a:lnTo>
                      <a:pt x="211" y="121"/>
                    </a:lnTo>
                    <a:lnTo>
                      <a:pt x="204" y="125"/>
                    </a:lnTo>
                    <a:lnTo>
                      <a:pt x="202" y="128"/>
                    </a:lnTo>
                    <a:lnTo>
                      <a:pt x="199" y="126"/>
                    </a:lnTo>
                    <a:lnTo>
                      <a:pt x="199" y="123"/>
                    </a:lnTo>
                    <a:lnTo>
                      <a:pt x="194" y="130"/>
                    </a:lnTo>
                    <a:lnTo>
                      <a:pt x="191" y="130"/>
                    </a:lnTo>
                    <a:lnTo>
                      <a:pt x="192" y="125"/>
                    </a:lnTo>
                    <a:lnTo>
                      <a:pt x="194" y="123"/>
                    </a:lnTo>
                    <a:lnTo>
                      <a:pt x="194" y="118"/>
                    </a:lnTo>
                    <a:lnTo>
                      <a:pt x="197" y="115"/>
                    </a:lnTo>
                    <a:lnTo>
                      <a:pt x="197" y="111"/>
                    </a:lnTo>
                    <a:lnTo>
                      <a:pt x="202" y="103"/>
                    </a:lnTo>
                    <a:lnTo>
                      <a:pt x="201" y="115"/>
                    </a:lnTo>
                    <a:lnTo>
                      <a:pt x="201" y="118"/>
                    </a:lnTo>
                    <a:lnTo>
                      <a:pt x="204" y="113"/>
                    </a:lnTo>
                    <a:lnTo>
                      <a:pt x="212" y="113"/>
                    </a:lnTo>
                    <a:lnTo>
                      <a:pt x="209" y="110"/>
                    </a:lnTo>
                    <a:lnTo>
                      <a:pt x="209" y="106"/>
                    </a:lnTo>
                    <a:lnTo>
                      <a:pt x="212" y="108"/>
                    </a:lnTo>
                    <a:lnTo>
                      <a:pt x="212" y="108"/>
                    </a:lnTo>
                    <a:close/>
                    <a:moveTo>
                      <a:pt x="212" y="103"/>
                    </a:moveTo>
                    <a:lnTo>
                      <a:pt x="211" y="101"/>
                    </a:lnTo>
                    <a:lnTo>
                      <a:pt x="214" y="100"/>
                    </a:lnTo>
                    <a:lnTo>
                      <a:pt x="219" y="103"/>
                    </a:lnTo>
                    <a:lnTo>
                      <a:pt x="219" y="106"/>
                    </a:lnTo>
                    <a:lnTo>
                      <a:pt x="212" y="103"/>
                    </a:lnTo>
                    <a:lnTo>
                      <a:pt x="212" y="103"/>
                    </a:lnTo>
                    <a:close/>
                    <a:moveTo>
                      <a:pt x="225" y="110"/>
                    </a:moveTo>
                    <a:lnTo>
                      <a:pt x="225" y="105"/>
                    </a:lnTo>
                    <a:lnTo>
                      <a:pt x="229" y="108"/>
                    </a:lnTo>
                    <a:lnTo>
                      <a:pt x="225" y="110"/>
                    </a:lnTo>
                    <a:lnTo>
                      <a:pt x="225" y="110"/>
                    </a:lnTo>
                    <a:close/>
                    <a:moveTo>
                      <a:pt x="240" y="87"/>
                    </a:moveTo>
                    <a:lnTo>
                      <a:pt x="240" y="88"/>
                    </a:lnTo>
                    <a:lnTo>
                      <a:pt x="242" y="92"/>
                    </a:lnTo>
                    <a:lnTo>
                      <a:pt x="235" y="93"/>
                    </a:lnTo>
                    <a:lnTo>
                      <a:pt x="234" y="95"/>
                    </a:lnTo>
                    <a:lnTo>
                      <a:pt x="229" y="95"/>
                    </a:lnTo>
                    <a:lnTo>
                      <a:pt x="227" y="100"/>
                    </a:lnTo>
                    <a:lnTo>
                      <a:pt x="225" y="100"/>
                    </a:lnTo>
                    <a:lnTo>
                      <a:pt x="225" y="97"/>
                    </a:lnTo>
                    <a:lnTo>
                      <a:pt x="220" y="97"/>
                    </a:lnTo>
                    <a:lnTo>
                      <a:pt x="225" y="92"/>
                    </a:lnTo>
                    <a:lnTo>
                      <a:pt x="220" y="92"/>
                    </a:lnTo>
                    <a:lnTo>
                      <a:pt x="222" y="87"/>
                    </a:lnTo>
                    <a:lnTo>
                      <a:pt x="229" y="85"/>
                    </a:lnTo>
                    <a:lnTo>
                      <a:pt x="222" y="83"/>
                    </a:lnTo>
                    <a:lnTo>
                      <a:pt x="225" y="78"/>
                    </a:lnTo>
                    <a:lnTo>
                      <a:pt x="229" y="80"/>
                    </a:lnTo>
                    <a:lnTo>
                      <a:pt x="229" y="77"/>
                    </a:lnTo>
                    <a:lnTo>
                      <a:pt x="235" y="77"/>
                    </a:lnTo>
                    <a:lnTo>
                      <a:pt x="237" y="80"/>
                    </a:lnTo>
                    <a:lnTo>
                      <a:pt x="240" y="82"/>
                    </a:lnTo>
                    <a:lnTo>
                      <a:pt x="240" y="87"/>
                    </a:lnTo>
                    <a:lnTo>
                      <a:pt x="240" y="87"/>
                    </a:lnTo>
                    <a:close/>
                    <a:moveTo>
                      <a:pt x="242" y="73"/>
                    </a:moveTo>
                    <a:lnTo>
                      <a:pt x="247" y="73"/>
                    </a:lnTo>
                    <a:lnTo>
                      <a:pt x="249" y="70"/>
                    </a:lnTo>
                    <a:lnTo>
                      <a:pt x="254" y="70"/>
                    </a:lnTo>
                    <a:lnTo>
                      <a:pt x="257" y="67"/>
                    </a:lnTo>
                    <a:lnTo>
                      <a:pt x="260" y="70"/>
                    </a:lnTo>
                    <a:lnTo>
                      <a:pt x="257" y="75"/>
                    </a:lnTo>
                    <a:lnTo>
                      <a:pt x="257" y="77"/>
                    </a:lnTo>
                    <a:lnTo>
                      <a:pt x="250" y="77"/>
                    </a:lnTo>
                    <a:lnTo>
                      <a:pt x="245" y="78"/>
                    </a:lnTo>
                    <a:lnTo>
                      <a:pt x="242" y="73"/>
                    </a:lnTo>
                    <a:lnTo>
                      <a:pt x="242" y="73"/>
                    </a:lnTo>
                    <a:close/>
                    <a:moveTo>
                      <a:pt x="260" y="48"/>
                    </a:moveTo>
                    <a:lnTo>
                      <a:pt x="260" y="47"/>
                    </a:lnTo>
                    <a:lnTo>
                      <a:pt x="264" y="45"/>
                    </a:lnTo>
                    <a:lnTo>
                      <a:pt x="260" y="48"/>
                    </a:lnTo>
                    <a:lnTo>
                      <a:pt x="260" y="48"/>
                    </a:lnTo>
                    <a:close/>
                    <a:moveTo>
                      <a:pt x="252" y="58"/>
                    </a:moveTo>
                    <a:lnTo>
                      <a:pt x="252" y="52"/>
                    </a:lnTo>
                    <a:lnTo>
                      <a:pt x="259" y="52"/>
                    </a:lnTo>
                    <a:lnTo>
                      <a:pt x="259" y="53"/>
                    </a:lnTo>
                    <a:lnTo>
                      <a:pt x="259" y="53"/>
                    </a:lnTo>
                    <a:lnTo>
                      <a:pt x="252" y="58"/>
                    </a:lnTo>
                    <a:lnTo>
                      <a:pt x="252" y="58"/>
                    </a:lnTo>
                    <a:close/>
                    <a:moveTo>
                      <a:pt x="269" y="65"/>
                    </a:moveTo>
                    <a:lnTo>
                      <a:pt x="270" y="60"/>
                    </a:lnTo>
                    <a:lnTo>
                      <a:pt x="272" y="63"/>
                    </a:lnTo>
                    <a:lnTo>
                      <a:pt x="269" y="65"/>
                    </a:lnTo>
                    <a:lnTo>
                      <a:pt x="269" y="65"/>
                    </a:lnTo>
                    <a:close/>
                    <a:moveTo>
                      <a:pt x="265" y="65"/>
                    </a:moveTo>
                    <a:lnTo>
                      <a:pt x="264" y="67"/>
                    </a:lnTo>
                    <a:lnTo>
                      <a:pt x="260" y="67"/>
                    </a:lnTo>
                    <a:lnTo>
                      <a:pt x="255" y="60"/>
                    </a:lnTo>
                    <a:lnTo>
                      <a:pt x="262" y="55"/>
                    </a:lnTo>
                    <a:lnTo>
                      <a:pt x="264" y="57"/>
                    </a:lnTo>
                    <a:lnTo>
                      <a:pt x="269" y="57"/>
                    </a:lnTo>
                    <a:lnTo>
                      <a:pt x="269" y="58"/>
                    </a:lnTo>
                    <a:lnTo>
                      <a:pt x="265" y="60"/>
                    </a:lnTo>
                    <a:lnTo>
                      <a:pt x="265" y="65"/>
                    </a:lnTo>
                    <a:lnTo>
                      <a:pt x="265" y="65"/>
                    </a:lnTo>
                    <a:close/>
                    <a:moveTo>
                      <a:pt x="279" y="53"/>
                    </a:moveTo>
                    <a:lnTo>
                      <a:pt x="277" y="55"/>
                    </a:lnTo>
                    <a:lnTo>
                      <a:pt x="270" y="53"/>
                    </a:lnTo>
                    <a:lnTo>
                      <a:pt x="270" y="50"/>
                    </a:lnTo>
                    <a:lnTo>
                      <a:pt x="269" y="43"/>
                    </a:lnTo>
                    <a:lnTo>
                      <a:pt x="272" y="42"/>
                    </a:lnTo>
                    <a:lnTo>
                      <a:pt x="272" y="48"/>
                    </a:lnTo>
                    <a:lnTo>
                      <a:pt x="277" y="52"/>
                    </a:lnTo>
                    <a:lnTo>
                      <a:pt x="279" y="53"/>
                    </a:lnTo>
                    <a:lnTo>
                      <a:pt x="279" y="53"/>
                    </a:lnTo>
                    <a:close/>
                    <a:moveTo>
                      <a:pt x="292" y="60"/>
                    </a:moveTo>
                    <a:lnTo>
                      <a:pt x="289" y="57"/>
                    </a:lnTo>
                    <a:lnTo>
                      <a:pt x="285" y="55"/>
                    </a:lnTo>
                    <a:lnTo>
                      <a:pt x="285" y="48"/>
                    </a:lnTo>
                    <a:lnTo>
                      <a:pt x="289" y="45"/>
                    </a:lnTo>
                    <a:lnTo>
                      <a:pt x="294" y="48"/>
                    </a:lnTo>
                    <a:lnTo>
                      <a:pt x="292" y="53"/>
                    </a:lnTo>
                    <a:lnTo>
                      <a:pt x="294" y="57"/>
                    </a:lnTo>
                    <a:lnTo>
                      <a:pt x="292" y="60"/>
                    </a:lnTo>
                    <a:lnTo>
                      <a:pt x="292" y="60"/>
                    </a:lnTo>
                    <a:close/>
                    <a:moveTo>
                      <a:pt x="328" y="43"/>
                    </a:moveTo>
                    <a:lnTo>
                      <a:pt x="323" y="42"/>
                    </a:lnTo>
                    <a:lnTo>
                      <a:pt x="318" y="40"/>
                    </a:lnTo>
                    <a:lnTo>
                      <a:pt x="322" y="37"/>
                    </a:lnTo>
                    <a:lnTo>
                      <a:pt x="327" y="37"/>
                    </a:lnTo>
                    <a:lnTo>
                      <a:pt x="328" y="40"/>
                    </a:lnTo>
                    <a:lnTo>
                      <a:pt x="328" y="43"/>
                    </a:lnTo>
                    <a:lnTo>
                      <a:pt x="328" y="43"/>
                    </a:lnTo>
                    <a:close/>
                    <a:moveTo>
                      <a:pt x="335" y="40"/>
                    </a:moveTo>
                    <a:lnTo>
                      <a:pt x="328" y="33"/>
                    </a:lnTo>
                    <a:lnTo>
                      <a:pt x="338" y="27"/>
                    </a:lnTo>
                    <a:lnTo>
                      <a:pt x="338" y="32"/>
                    </a:lnTo>
                    <a:lnTo>
                      <a:pt x="335" y="37"/>
                    </a:lnTo>
                    <a:lnTo>
                      <a:pt x="335" y="40"/>
                    </a:lnTo>
                    <a:lnTo>
                      <a:pt x="335" y="40"/>
                    </a:lnTo>
                    <a:close/>
                    <a:moveTo>
                      <a:pt x="323" y="32"/>
                    </a:moveTo>
                    <a:lnTo>
                      <a:pt x="320" y="33"/>
                    </a:lnTo>
                    <a:lnTo>
                      <a:pt x="314" y="30"/>
                    </a:lnTo>
                    <a:lnTo>
                      <a:pt x="312" y="27"/>
                    </a:lnTo>
                    <a:lnTo>
                      <a:pt x="315" y="27"/>
                    </a:lnTo>
                    <a:lnTo>
                      <a:pt x="320" y="23"/>
                    </a:lnTo>
                    <a:lnTo>
                      <a:pt x="322" y="27"/>
                    </a:lnTo>
                    <a:lnTo>
                      <a:pt x="325" y="23"/>
                    </a:lnTo>
                    <a:lnTo>
                      <a:pt x="328" y="23"/>
                    </a:lnTo>
                    <a:lnTo>
                      <a:pt x="335" y="18"/>
                    </a:lnTo>
                    <a:lnTo>
                      <a:pt x="337" y="20"/>
                    </a:lnTo>
                    <a:lnTo>
                      <a:pt x="323" y="32"/>
                    </a:lnTo>
                    <a:lnTo>
                      <a:pt x="323" y="32"/>
                    </a:lnTo>
                    <a:close/>
                    <a:moveTo>
                      <a:pt x="338" y="23"/>
                    </a:moveTo>
                    <a:lnTo>
                      <a:pt x="338" y="23"/>
                    </a:lnTo>
                    <a:lnTo>
                      <a:pt x="345" y="20"/>
                    </a:lnTo>
                    <a:lnTo>
                      <a:pt x="352" y="25"/>
                    </a:lnTo>
                    <a:lnTo>
                      <a:pt x="350" y="28"/>
                    </a:lnTo>
                    <a:lnTo>
                      <a:pt x="343" y="30"/>
                    </a:lnTo>
                    <a:lnTo>
                      <a:pt x="343" y="27"/>
                    </a:lnTo>
                    <a:lnTo>
                      <a:pt x="338" y="23"/>
                    </a:lnTo>
                    <a:lnTo>
                      <a:pt x="338" y="23"/>
                    </a:lnTo>
                    <a:close/>
                    <a:moveTo>
                      <a:pt x="352" y="12"/>
                    </a:moveTo>
                    <a:lnTo>
                      <a:pt x="350" y="15"/>
                    </a:lnTo>
                    <a:lnTo>
                      <a:pt x="348" y="15"/>
                    </a:lnTo>
                    <a:lnTo>
                      <a:pt x="345" y="10"/>
                    </a:lnTo>
                    <a:lnTo>
                      <a:pt x="350" y="10"/>
                    </a:lnTo>
                    <a:lnTo>
                      <a:pt x="352" y="12"/>
                    </a:lnTo>
                    <a:lnTo>
                      <a:pt x="352" y="12"/>
                    </a:lnTo>
                    <a:close/>
                    <a:moveTo>
                      <a:pt x="363" y="5"/>
                    </a:moveTo>
                    <a:lnTo>
                      <a:pt x="360" y="5"/>
                    </a:lnTo>
                    <a:lnTo>
                      <a:pt x="362" y="2"/>
                    </a:lnTo>
                    <a:lnTo>
                      <a:pt x="365" y="2"/>
                    </a:lnTo>
                    <a:lnTo>
                      <a:pt x="363" y="5"/>
                    </a:lnTo>
                    <a:lnTo>
                      <a:pt x="363" y="5"/>
                    </a:lnTo>
                    <a:close/>
                    <a:moveTo>
                      <a:pt x="370" y="8"/>
                    </a:moveTo>
                    <a:lnTo>
                      <a:pt x="370" y="5"/>
                    </a:lnTo>
                    <a:lnTo>
                      <a:pt x="372" y="3"/>
                    </a:lnTo>
                    <a:lnTo>
                      <a:pt x="375" y="5"/>
                    </a:lnTo>
                    <a:lnTo>
                      <a:pt x="377" y="3"/>
                    </a:lnTo>
                    <a:lnTo>
                      <a:pt x="377" y="0"/>
                    </a:lnTo>
                    <a:lnTo>
                      <a:pt x="380" y="2"/>
                    </a:lnTo>
                    <a:lnTo>
                      <a:pt x="385" y="3"/>
                    </a:lnTo>
                    <a:lnTo>
                      <a:pt x="382" y="7"/>
                    </a:lnTo>
                    <a:lnTo>
                      <a:pt x="387" y="7"/>
                    </a:lnTo>
                    <a:lnTo>
                      <a:pt x="385" y="12"/>
                    </a:lnTo>
                    <a:lnTo>
                      <a:pt x="380" y="12"/>
                    </a:lnTo>
                    <a:lnTo>
                      <a:pt x="375" y="8"/>
                    </a:lnTo>
                    <a:lnTo>
                      <a:pt x="37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0" name="Freeform 34"/>
              <p:cNvSpPr>
                <a:spLocks noEditPoints="1"/>
              </p:cNvSpPr>
              <p:nvPr/>
            </p:nvSpPr>
            <p:spPr bwMode="auto">
              <a:xfrm>
                <a:off x="6535952" y="2305795"/>
                <a:ext cx="129500" cy="257322"/>
              </a:xfrm>
              <a:custGeom>
                <a:avLst/>
                <a:gdLst/>
                <a:ahLst/>
                <a:cxnLst>
                  <a:cxn ang="0">
                    <a:pos x="10" y="357"/>
                  </a:cxn>
                  <a:cxn ang="0">
                    <a:pos x="25" y="332"/>
                  </a:cxn>
                  <a:cxn ang="0">
                    <a:pos x="28" y="292"/>
                  </a:cxn>
                  <a:cxn ang="0">
                    <a:pos x="13" y="242"/>
                  </a:cxn>
                  <a:cxn ang="0">
                    <a:pos x="37" y="199"/>
                  </a:cxn>
                  <a:cxn ang="0">
                    <a:pos x="48" y="139"/>
                  </a:cxn>
                  <a:cxn ang="0">
                    <a:pos x="68" y="111"/>
                  </a:cxn>
                  <a:cxn ang="0">
                    <a:pos x="78" y="63"/>
                  </a:cxn>
                  <a:cxn ang="0">
                    <a:pos x="103" y="43"/>
                  </a:cxn>
                  <a:cxn ang="0">
                    <a:pos x="113" y="29"/>
                  </a:cxn>
                  <a:cxn ang="0">
                    <a:pos x="143" y="26"/>
                  </a:cxn>
                  <a:cxn ang="0">
                    <a:pos x="153" y="11"/>
                  </a:cxn>
                  <a:cxn ang="0">
                    <a:pos x="163" y="4"/>
                  </a:cxn>
                  <a:cxn ang="0">
                    <a:pos x="206" y="28"/>
                  </a:cxn>
                  <a:cxn ang="0">
                    <a:pos x="219" y="44"/>
                  </a:cxn>
                  <a:cxn ang="0">
                    <a:pos x="226" y="76"/>
                  </a:cxn>
                  <a:cxn ang="0">
                    <a:pos x="231" y="112"/>
                  </a:cxn>
                  <a:cxn ang="0">
                    <a:pos x="234" y="131"/>
                  </a:cxn>
                  <a:cxn ang="0">
                    <a:pos x="209" y="131"/>
                  </a:cxn>
                  <a:cxn ang="0">
                    <a:pos x="193" y="134"/>
                  </a:cxn>
                  <a:cxn ang="0">
                    <a:pos x="191" y="151"/>
                  </a:cxn>
                  <a:cxn ang="0">
                    <a:pos x="191" y="156"/>
                  </a:cxn>
                  <a:cxn ang="0">
                    <a:pos x="193" y="176"/>
                  </a:cxn>
                  <a:cxn ang="0">
                    <a:pos x="186" y="197"/>
                  </a:cxn>
                  <a:cxn ang="0">
                    <a:pos x="165" y="217"/>
                  </a:cxn>
                  <a:cxn ang="0">
                    <a:pos x="150" y="229"/>
                  </a:cxn>
                  <a:cxn ang="0">
                    <a:pos x="136" y="235"/>
                  </a:cxn>
                  <a:cxn ang="0">
                    <a:pos x="125" y="255"/>
                  </a:cxn>
                  <a:cxn ang="0">
                    <a:pos x="118" y="280"/>
                  </a:cxn>
                  <a:cxn ang="0">
                    <a:pos x="120" y="299"/>
                  </a:cxn>
                  <a:cxn ang="0">
                    <a:pos x="125" y="317"/>
                  </a:cxn>
                  <a:cxn ang="0">
                    <a:pos x="146" y="332"/>
                  </a:cxn>
                  <a:cxn ang="0">
                    <a:pos x="146" y="362"/>
                  </a:cxn>
                  <a:cxn ang="0">
                    <a:pos x="125" y="358"/>
                  </a:cxn>
                  <a:cxn ang="0">
                    <a:pos x="105" y="360"/>
                  </a:cxn>
                  <a:cxn ang="0">
                    <a:pos x="120" y="363"/>
                  </a:cxn>
                  <a:cxn ang="0">
                    <a:pos x="148" y="370"/>
                  </a:cxn>
                  <a:cxn ang="0">
                    <a:pos x="135" y="375"/>
                  </a:cxn>
                  <a:cxn ang="0">
                    <a:pos x="121" y="388"/>
                  </a:cxn>
                  <a:cxn ang="0">
                    <a:pos x="113" y="398"/>
                  </a:cxn>
                  <a:cxn ang="0">
                    <a:pos x="115" y="416"/>
                  </a:cxn>
                  <a:cxn ang="0">
                    <a:pos x="116" y="443"/>
                  </a:cxn>
                  <a:cxn ang="0">
                    <a:pos x="96" y="470"/>
                  </a:cxn>
                  <a:cxn ang="0">
                    <a:pos x="72" y="485"/>
                  </a:cxn>
                  <a:cxn ang="0">
                    <a:pos x="43" y="488"/>
                  </a:cxn>
                  <a:cxn ang="0">
                    <a:pos x="43" y="461"/>
                  </a:cxn>
                  <a:cxn ang="0">
                    <a:pos x="20" y="435"/>
                  </a:cxn>
                  <a:cxn ang="0">
                    <a:pos x="10" y="411"/>
                  </a:cxn>
                  <a:cxn ang="0">
                    <a:pos x="10" y="401"/>
                  </a:cxn>
                  <a:cxn ang="0">
                    <a:pos x="0" y="390"/>
                  </a:cxn>
                  <a:cxn ang="0">
                    <a:pos x="151" y="372"/>
                  </a:cxn>
                  <a:cxn ang="0">
                    <a:pos x="7" y="408"/>
                  </a:cxn>
                  <a:cxn ang="0">
                    <a:pos x="170" y="398"/>
                  </a:cxn>
                  <a:cxn ang="0">
                    <a:pos x="173" y="415"/>
                  </a:cxn>
                  <a:cxn ang="0">
                    <a:pos x="158" y="448"/>
                  </a:cxn>
                  <a:cxn ang="0">
                    <a:pos x="168" y="428"/>
                  </a:cxn>
                  <a:cxn ang="0">
                    <a:pos x="158" y="418"/>
                  </a:cxn>
                  <a:cxn ang="0">
                    <a:pos x="156" y="440"/>
                  </a:cxn>
                  <a:cxn ang="0">
                    <a:pos x="116" y="470"/>
                  </a:cxn>
                  <a:cxn ang="0">
                    <a:pos x="125" y="436"/>
                  </a:cxn>
                </a:cxnLst>
                <a:rect l="0" t="0" r="r" b="b"/>
                <a:pathLst>
                  <a:path w="243" h="495">
                    <a:moveTo>
                      <a:pt x="3" y="378"/>
                    </a:moveTo>
                    <a:lnTo>
                      <a:pt x="7" y="380"/>
                    </a:lnTo>
                    <a:lnTo>
                      <a:pt x="10" y="383"/>
                    </a:lnTo>
                    <a:lnTo>
                      <a:pt x="12" y="380"/>
                    </a:lnTo>
                    <a:lnTo>
                      <a:pt x="12" y="367"/>
                    </a:lnTo>
                    <a:lnTo>
                      <a:pt x="8" y="360"/>
                    </a:lnTo>
                    <a:lnTo>
                      <a:pt x="10" y="357"/>
                    </a:lnTo>
                    <a:lnTo>
                      <a:pt x="13" y="355"/>
                    </a:lnTo>
                    <a:lnTo>
                      <a:pt x="10" y="350"/>
                    </a:lnTo>
                    <a:lnTo>
                      <a:pt x="12" y="348"/>
                    </a:lnTo>
                    <a:lnTo>
                      <a:pt x="20" y="347"/>
                    </a:lnTo>
                    <a:lnTo>
                      <a:pt x="22" y="343"/>
                    </a:lnTo>
                    <a:lnTo>
                      <a:pt x="22" y="340"/>
                    </a:lnTo>
                    <a:lnTo>
                      <a:pt x="25" y="332"/>
                    </a:lnTo>
                    <a:lnTo>
                      <a:pt x="22" y="328"/>
                    </a:lnTo>
                    <a:lnTo>
                      <a:pt x="20" y="318"/>
                    </a:lnTo>
                    <a:lnTo>
                      <a:pt x="15" y="310"/>
                    </a:lnTo>
                    <a:lnTo>
                      <a:pt x="15" y="307"/>
                    </a:lnTo>
                    <a:lnTo>
                      <a:pt x="27" y="303"/>
                    </a:lnTo>
                    <a:lnTo>
                      <a:pt x="27" y="295"/>
                    </a:lnTo>
                    <a:lnTo>
                      <a:pt x="28" y="292"/>
                    </a:lnTo>
                    <a:lnTo>
                      <a:pt x="20" y="282"/>
                    </a:lnTo>
                    <a:lnTo>
                      <a:pt x="13" y="280"/>
                    </a:lnTo>
                    <a:lnTo>
                      <a:pt x="13" y="272"/>
                    </a:lnTo>
                    <a:lnTo>
                      <a:pt x="15" y="264"/>
                    </a:lnTo>
                    <a:lnTo>
                      <a:pt x="13" y="254"/>
                    </a:lnTo>
                    <a:lnTo>
                      <a:pt x="10" y="249"/>
                    </a:lnTo>
                    <a:lnTo>
                      <a:pt x="13" y="242"/>
                    </a:lnTo>
                    <a:lnTo>
                      <a:pt x="12" y="230"/>
                    </a:lnTo>
                    <a:lnTo>
                      <a:pt x="10" y="219"/>
                    </a:lnTo>
                    <a:lnTo>
                      <a:pt x="12" y="209"/>
                    </a:lnTo>
                    <a:lnTo>
                      <a:pt x="17" y="201"/>
                    </a:lnTo>
                    <a:lnTo>
                      <a:pt x="22" y="197"/>
                    </a:lnTo>
                    <a:lnTo>
                      <a:pt x="28" y="199"/>
                    </a:lnTo>
                    <a:lnTo>
                      <a:pt x="37" y="199"/>
                    </a:lnTo>
                    <a:lnTo>
                      <a:pt x="40" y="194"/>
                    </a:lnTo>
                    <a:lnTo>
                      <a:pt x="40" y="186"/>
                    </a:lnTo>
                    <a:lnTo>
                      <a:pt x="38" y="182"/>
                    </a:lnTo>
                    <a:lnTo>
                      <a:pt x="38" y="177"/>
                    </a:lnTo>
                    <a:lnTo>
                      <a:pt x="47" y="159"/>
                    </a:lnTo>
                    <a:lnTo>
                      <a:pt x="47" y="149"/>
                    </a:lnTo>
                    <a:lnTo>
                      <a:pt x="48" y="139"/>
                    </a:lnTo>
                    <a:lnTo>
                      <a:pt x="52" y="134"/>
                    </a:lnTo>
                    <a:lnTo>
                      <a:pt x="52" y="127"/>
                    </a:lnTo>
                    <a:lnTo>
                      <a:pt x="48" y="124"/>
                    </a:lnTo>
                    <a:lnTo>
                      <a:pt x="48" y="119"/>
                    </a:lnTo>
                    <a:lnTo>
                      <a:pt x="55" y="116"/>
                    </a:lnTo>
                    <a:lnTo>
                      <a:pt x="63" y="114"/>
                    </a:lnTo>
                    <a:lnTo>
                      <a:pt x="68" y="111"/>
                    </a:lnTo>
                    <a:lnTo>
                      <a:pt x="68" y="106"/>
                    </a:lnTo>
                    <a:lnTo>
                      <a:pt x="75" y="96"/>
                    </a:lnTo>
                    <a:lnTo>
                      <a:pt x="81" y="88"/>
                    </a:lnTo>
                    <a:lnTo>
                      <a:pt x="83" y="83"/>
                    </a:lnTo>
                    <a:lnTo>
                      <a:pt x="81" y="76"/>
                    </a:lnTo>
                    <a:lnTo>
                      <a:pt x="78" y="73"/>
                    </a:lnTo>
                    <a:lnTo>
                      <a:pt x="78" y="63"/>
                    </a:lnTo>
                    <a:lnTo>
                      <a:pt x="81" y="61"/>
                    </a:lnTo>
                    <a:lnTo>
                      <a:pt x="85" y="58"/>
                    </a:lnTo>
                    <a:lnTo>
                      <a:pt x="85" y="53"/>
                    </a:lnTo>
                    <a:lnTo>
                      <a:pt x="88" y="51"/>
                    </a:lnTo>
                    <a:lnTo>
                      <a:pt x="93" y="44"/>
                    </a:lnTo>
                    <a:lnTo>
                      <a:pt x="98" y="39"/>
                    </a:lnTo>
                    <a:lnTo>
                      <a:pt x="103" y="43"/>
                    </a:lnTo>
                    <a:lnTo>
                      <a:pt x="105" y="44"/>
                    </a:lnTo>
                    <a:lnTo>
                      <a:pt x="108" y="44"/>
                    </a:lnTo>
                    <a:lnTo>
                      <a:pt x="111" y="41"/>
                    </a:lnTo>
                    <a:lnTo>
                      <a:pt x="110" y="36"/>
                    </a:lnTo>
                    <a:lnTo>
                      <a:pt x="111" y="34"/>
                    </a:lnTo>
                    <a:lnTo>
                      <a:pt x="111" y="31"/>
                    </a:lnTo>
                    <a:lnTo>
                      <a:pt x="113" y="29"/>
                    </a:lnTo>
                    <a:lnTo>
                      <a:pt x="110" y="24"/>
                    </a:lnTo>
                    <a:lnTo>
                      <a:pt x="111" y="23"/>
                    </a:lnTo>
                    <a:lnTo>
                      <a:pt x="118" y="23"/>
                    </a:lnTo>
                    <a:lnTo>
                      <a:pt x="125" y="19"/>
                    </a:lnTo>
                    <a:lnTo>
                      <a:pt x="131" y="23"/>
                    </a:lnTo>
                    <a:lnTo>
                      <a:pt x="136" y="24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28"/>
                    </a:lnTo>
                    <a:lnTo>
                      <a:pt x="150" y="28"/>
                    </a:lnTo>
                    <a:lnTo>
                      <a:pt x="150" y="23"/>
                    </a:lnTo>
                    <a:lnTo>
                      <a:pt x="148" y="19"/>
                    </a:lnTo>
                    <a:lnTo>
                      <a:pt x="148" y="13"/>
                    </a:lnTo>
                    <a:lnTo>
                      <a:pt x="153" y="11"/>
                    </a:lnTo>
                    <a:lnTo>
                      <a:pt x="151" y="6"/>
                    </a:lnTo>
                    <a:lnTo>
                      <a:pt x="148" y="4"/>
                    </a:lnTo>
                    <a:lnTo>
                      <a:pt x="146" y="0"/>
                    </a:lnTo>
                    <a:lnTo>
                      <a:pt x="153" y="1"/>
                    </a:lnTo>
                    <a:lnTo>
                      <a:pt x="158" y="1"/>
                    </a:lnTo>
                    <a:lnTo>
                      <a:pt x="160" y="0"/>
                    </a:lnTo>
                    <a:lnTo>
                      <a:pt x="163" y="4"/>
                    </a:lnTo>
                    <a:lnTo>
                      <a:pt x="170" y="6"/>
                    </a:lnTo>
                    <a:lnTo>
                      <a:pt x="178" y="16"/>
                    </a:lnTo>
                    <a:lnTo>
                      <a:pt x="184" y="19"/>
                    </a:lnTo>
                    <a:lnTo>
                      <a:pt x="194" y="21"/>
                    </a:lnTo>
                    <a:lnTo>
                      <a:pt x="198" y="23"/>
                    </a:lnTo>
                    <a:lnTo>
                      <a:pt x="201" y="24"/>
                    </a:lnTo>
                    <a:lnTo>
                      <a:pt x="206" y="28"/>
                    </a:lnTo>
                    <a:lnTo>
                      <a:pt x="208" y="33"/>
                    </a:lnTo>
                    <a:lnTo>
                      <a:pt x="209" y="33"/>
                    </a:lnTo>
                    <a:lnTo>
                      <a:pt x="211" y="33"/>
                    </a:lnTo>
                    <a:lnTo>
                      <a:pt x="216" y="38"/>
                    </a:lnTo>
                    <a:lnTo>
                      <a:pt x="219" y="38"/>
                    </a:lnTo>
                    <a:lnTo>
                      <a:pt x="221" y="41"/>
                    </a:lnTo>
                    <a:lnTo>
                      <a:pt x="219" y="44"/>
                    </a:lnTo>
                    <a:lnTo>
                      <a:pt x="221" y="51"/>
                    </a:lnTo>
                    <a:lnTo>
                      <a:pt x="219" y="56"/>
                    </a:lnTo>
                    <a:lnTo>
                      <a:pt x="219" y="61"/>
                    </a:lnTo>
                    <a:lnTo>
                      <a:pt x="226" y="61"/>
                    </a:lnTo>
                    <a:lnTo>
                      <a:pt x="228" y="66"/>
                    </a:lnTo>
                    <a:lnTo>
                      <a:pt x="224" y="69"/>
                    </a:lnTo>
                    <a:lnTo>
                      <a:pt x="226" y="76"/>
                    </a:lnTo>
                    <a:lnTo>
                      <a:pt x="228" y="79"/>
                    </a:lnTo>
                    <a:lnTo>
                      <a:pt x="229" y="88"/>
                    </a:lnTo>
                    <a:lnTo>
                      <a:pt x="229" y="91"/>
                    </a:lnTo>
                    <a:lnTo>
                      <a:pt x="229" y="94"/>
                    </a:lnTo>
                    <a:lnTo>
                      <a:pt x="229" y="102"/>
                    </a:lnTo>
                    <a:lnTo>
                      <a:pt x="228" y="106"/>
                    </a:lnTo>
                    <a:lnTo>
                      <a:pt x="231" y="112"/>
                    </a:lnTo>
                    <a:lnTo>
                      <a:pt x="234" y="112"/>
                    </a:lnTo>
                    <a:lnTo>
                      <a:pt x="239" y="121"/>
                    </a:lnTo>
                    <a:lnTo>
                      <a:pt x="243" y="124"/>
                    </a:lnTo>
                    <a:lnTo>
                      <a:pt x="241" y="129"/>
                    </a:lnTo>
                    <a:lnTo>
                      <a:pt x="241" y="129"/>
                    </a:lnTo>
                    <a:lnTo>
                      <a:pt x="238" y="131"/>
                    </a:lnTo>
                    <a:lnTo>
                      <a:pt x="234" y="131"/>
                    </a:lnTo>
                    <a:lnTo>
                      <a:pt x="231" y="127"/>
                    </a:lnTo>
                    <a:lnTo>
                      <a:pt x="226" y="131"/>
                    </a:lnTo>
                    <a:lnTo>
                      <a:pt x="221" y="129"/>
                    </a:lnTo>
                    <a:lnTo>
                      <a:pt x="219" y="132"/>
                    </a:lnTo>
                    <a:lnTo>
                      <a:pt x="216" y="131"/>
                    </a:lnTo>
                    <a:lnTo>
                      <a:pt x="214" y="127"/>
                    </a:lnTo>
                    <a:lnTo>
                      <a:pt x="209" y="131"/>
                    </a:lnTo>
                    <a:lnTo>
                      <a:pt x="206" y="126"/>
                    </a:lnTo>
                    <a:lnTo>
                      <a:pt x="204" y="129"/>
                    </a:lnTo>
                    <a:lnTo>
                      <a:pt x="204" y="132"/>
                    </a:lnTo>
                    <a:lnTo>
                      <a:pt x="203" y="136"/>
                    </a:lnTo>
                    <a:lnTo>
                      <a:pt x="198" y="137"/>
                    </a:lnTo>
                    <a:lnTo>
                      <a:pt x="196" y="134"/>
                    </a:lnTo>
                    <a:lnTo>
                      <a:pt x="193" y="134"/>
                    </a:lnTo>
                    <a:lnTo>
                      <a:pt x="196" y="139"/>
                    </a:lnTo>
                    <a:lnTo>
                      <a:pt x="199" y="141"/>
                    </a:lnTo>
                    <a:lnTo>
                      <a:pt x="196" y="144"/>
                    </a:lnTo>
                    <a:lnTo>
                      <a:pt x="191" y="144"/>
                    </a:lnTo>
                    <a:lnTo>
                      <a:pt x="188" y="146"/>
                    </a:lnTo>
                    <a:lnTo>
                      <a:pt x="193" y="147"/>
                    </a:lnTo>
                    <a:lnTo>
                      <a:pt x="191" y="151"/>
                    </a:lnTo>
                    <a:lnTo>
                      <a:pt x="189" y="151"/>
                    </a:lnTo>
                    <a:lnTo>
                      <a:pt x="189" y="149"/>
                    </a:lnTo>
                    <a:lnTo>
                      <a:pt x="186" y="147"/>
                    </a:lnTo>
                    <a:lnTo>
                      <a:pt x="184" y="149"/>
                    </a:lnTo>
                    <a:lnTo>
                      <a:pt x="186" y="152"/>
                    </a:lnTo>
                    <a:lnTo>
                      <a:pt x="189" y="152"/>
                    </a:lnTo>
                    <a:lnTo>
                      <a:pt x="191" y="156"/>
                    </a:lnTo>
                    <a:lnTo>
                      <a:pt x="191" y="157"/>
                    </a:lnTo>
                    <a:lnTo>
                      <a:pt x="188" y="166"/>
                    </a:lnTo>
                    <a:lnTo>
                      <a:pt x="188" y="169"/>
                    </a:lnTo>
                    <a:lnTo>
                      <a:pt x="183" y="169"/>
                    </a:lnTo>
                    <a:lnTo>
                      <a:pt x="188" y="172"/>
                    </a:lnTo>
                    <a:lnTo>
                      <a:pt x="191" y="174"/>
                    </a:lnTo>
                    <a:lnTo>
                      <a:pt x="193" y="176"/>
                    </a:lnTo>
                    <a:lnTo>
                      <a:pt x="189" y="177"/>
                    </a:lnTo>
                    <a:lnTo>
                      <a:pt x="193" y="181"/>
                    </a:lnTo>
                    <a:lnTo>
                      <a:pt x="196" y="181"/>
                    </a:lnTo>
                    <a:lnTo>
                      <a:pt x="191" y="186"/>
                    </a:lnTo>
                    <a:lnTo>
                      <a:pt x="188" y="186"/>
                    </a:lnTo>
                    <a:lnTo>
                      <a:pt x="184" y="191"/>
                    </a:lnTo>
                    <a:lnTo>
                      <a:pt x="186" y="197"/>
                    </a:lnTo>
                    <a:lnTo>
                      <a:pt x="181" y="204"/>
                    </a:lnTo>
                    <a:lnTo>
                      <a:pt x="178" y="204"/>
                    </a:lnTo>
                    <a:lnTo>
                      <a:pt x="173" y="209"/>
                    </a:lnTo>
                    <a:lnTo>
                      <a:pt x="170" y="205"/>
                    </a:lnTo>
                    <a:lnTo>
                      <a:pt x="170" y="209"/>
                    </a:lnTo>
                    <a:lnTo>
                      <a:pt x="171" y="214"/>
                    </a:lnTo>
                    <a:lnTo>
                      <a:pt x="165" y="217"/>
                    </a:lnTo>
                    <a:lnTo>
                      <a:pt x="163" y="220"/>
                    </a:lnTo>
                    <a:lnTo>
                      <a:pt x="160" y="220"/>
                    </a:lnTo>
                    <a:lnTo>
                      <a:pt x="160" y="217"/>
                    </a:lnTo>
                    <a:lnTo>
                      <a:pt x="156" y="217"/>
                    </a:lnTo>
                    <a:lnTo>
                      <a:pt x="153" y="222"/>
                    </a:lnTo>
                    <a:lnTo>
                      <a:pt x="153" y="227"/>
                    </a:lnTo>
                    <a:lnTo>
                      <a:pt x="150" y="229"/>
                    </a:lnTo>
                    <a:lnTo>
                      <a:pt x="148" y="227"/>
                    </a:lnTo>
                    <a:lnTo>
                      <a:pt x="146" y="227"/>
                    </a:lnTo>
                    <a:lnTo>
                      <a:pt x="145" y="232"/>
                    </a:lnTo>
                    <a:lnTo>
                      <a:pt x="143" y="232"/>
                    </a:lnTo>
                    <a:lnTo>
                      <a:pt x="141" y="229"/>
                    </a:lnTo>
                    <a:lnTo>
                      <a:pt x="138" y="232"/>
                    </a:lnTo>
                    <a:lnTo>
                      <a:pt x="136" y="235"/>
                    </a:lnTo>
                    <a:lnTo>
                      <a:pt x="140" y="237"/>
                    </a:lnTo>
                    <a:lnTo>
                      <a:pt x="140" y="239"/>
                    </a:lnTo>
                    <a:lnTo>
                      <a:pt x="133" y="244"/>
                    </a:lnTo>
                    <a:lnTo>
                      <a:pt x="128" y="244"/>
                    </a:lnTo>
                    <a:lnTo>
                      <a:pt x="126" y="245"/>
                    </a:lnTo>
                    <a:lnTo>
                      <a:pt x="128" y="250"/>
                    </a:lnTo>
                    <a:lnTo>
                      <a:pt x="125" y="255"/>
                    </a:lnTo>
                    <a:lnTo>
                      <a:pt x="118" y="255"/>
                    </a:lnTo>
                    <a:lnTo>
                      <a:pt x="115" y="255"/>
                    </a:lnTo>
                    <a:lnTo>
                      <a:pt x="120" y="260"/>
                    </a:lnTo>
                    <a:lnTo>
                      <a:pt x="120" y="267"/>
                    </a:lnTo>
                    <a:lnTo>
                      <a:pt x="120" y="269"/>
                    </a:lnTo>
                    <a:lnTo>
                      <a:pt x="120" y="274"/>
                    </a:lnTo>
                    <a:lnTo>
                      <a:pt x="118" y="280"/>
                    </a:lnTo>
                    <a:lnTo>
                      <a:pt x="121" y="284"/>
                    </a:lnTo>
                    <a:lnTo>
                      <a:pt x="121" y="287"/>
                    </a:lnTo>
                    <a:lnTo>
                      <a:pt x="118" y="285"/>
                    </a:lnTo>
                    <a:lnTo>
                      <a:pt x="118" y="287"/>
                    </a:lnTo>
                    <a:lnTo>
                      <a:pt x="120" y="292"/>
                    </a:lnTo>
                    <a:lnTo>
                      <a:pt x="115" y="297"/>
                    </a:lnTo>
                    <a:lnTo>
                      <a:pt x="120" y="299"/>
                    </a:lnTo>
                    <a:lnTo>
                      <a:pt x="120" y="300"/>
                    </a:lnTo>
                    <a:lnTo>
                      <a:pt x="116" y="302"/>
                    </a:lnTo>
                    <a:lnTo>
                      <a:pt x="120" y="307"/>
                    </a:lnTo>
                    <a:lnTo>
                      <a:pt x="116" y="310"/>
                    </a:lnTo>
                    <a:lnTo>
                      <a:pt x="118" y="313"/>
                    </a:lnTo>
                    <a:lnTo>
                      <a:pt x="121" y="317"/>
                    </a:lnTo>
                    <a:lnTo>
                      <a:pt x="125" y="317"/>
                    </a:lnTo>
                    <a:lnTo>
                      <a:pt x="125" y="322"/>
                    </a:lnTo>
                    <a:lnTo>
                      <a:pt x="126" y="320"/>
                    </a:lnTo>
                    <a:lnTo>
                      <a:pt x="130" y="323"/>
                    </a:lnTo>
                    <a:lnTo>
                      <a:pt x="133" y="320"/>
                    </a:lnTo>
                    <a:lnTo>
                      <a:pt x="136" y="322"/>
                    </a:lnTo>
                    <a:lnTo>
                      <a:pt x="138" y="325"/>
                    </a:lnTo>
                    <a:lnTo>
                      <a:pt x="146" y="332"/>
                    </a:lnTo>
                    <a:lnTo>
                      <a:pt x="145" y="333"/>
                    </a:lnTo>
                    <a:lnTo>
                      <a:pt x="153" y="338"/>
                    </a:lnTo>
                    <a:lnTo>
                      <a:pt x="153" y="342"/>
                    </a:lnTo>
                    <a:lnTo>
                      <a:pt x="158" y="345"/>
                    </a:lnTo>
                    <a:lnTo>
                      <a:pt x="155" y="352"/>
                    </a:lnTo>
                    <a:lnTo>
                      <a:pt x="148" y="358"/>
                    </a:lnTo>
                    <a:lnTo>
                      <a:pt x="146" y="362"/>
                    </a:lnTo>
                    <a:lnTo>
                      <a:pt x="140" y="363"/>
                    </a:lnTo>
                    <a:lnTo>
                      <a:pt x="136" y="362"/>
                    </a:lnTo>
                    <a:lnTo>
                      <a:pt x="136" y="358"/>
                    </a:lnTo>
                    <a:lnTo>
                      <a:pt x="131" y="357"/>
                    </a:lnTo>
                    <a:lnTo>
                      <a:pt x="128" y="355"/>
                    </a:lnTo>
                    <a:lnTo>
                      <a:pt x="128" y="358"/>
                    </a:lnTo>
                    <a:lnTo>
                      <a:pt x="125" y="358"/>
                    </a:lnTo>
                    <a:lnTo>
                      <a:pt x="123" y="357"/>
                    </a:lnTo>
                    <a:lnTo>
                      <a:pt x="120" y="355"/>
                    </a:lnTo>
                    <a:lnTo>
                      <a:pt x="118" y="358"/>
                    </a:lnTo>
                    <a:lnTo>
                      <a:pt x="113" y="358"/>
                    </a:lnTo>
                    <a:lnTo>
                      <a:pt x="111" y="357"/>
                    </a:lnTo>
                    <a:lnTo>
                      <a:pt x="108" y="362"/>
                    </a:lnTo>
                    <a:lnTo>
                      <a:pt x="105" y="360"/>
                    </a:lnTo>
                    <a:lnTo>
                      <a:pt x="101" y="360"/>
                    </a:lnTo>
                    <a:lnTo>
                      <a:pt x="101" y="362"/>
                    </a:lnTo>
                    <a:lnTo>
                      <a:pt x="108" y="363"/>
                    </a:lnTo>
                    <a:lnTo>
                      <a:pt x="110" y="365"/>
                    </a:lnTo>
                    <a:lnTo>
                      <a:pt x="111" y="362"/>
                    </a:lnTo>
                    <a:lnTo>
                      <a:pt x="116" y="362"/>
                    </a:lnTo>
                    <a:lnTo>
                      <a:pt x="120" y="363"/>
                    </a:lnTo>
                    <a:lnTo>
                      <a:pt x="125" y="365"/>
                    </a:lnTo>
                    <a:lnTo>
                      <a:pt x="128" y="368"/>
                    </a:lnTo>
                    <a:lnTo>
                      <a:pt x="133" y="367"/>
                    </a:lnTo>
                    <a:lnTo>
                      <a:pt x="135" y="368"/>
                    </a:lnTo>
                    <a:lnTo>
                      <a:pt x="140" y="365"/>
                    </a:lnTo>
                    <a:lnTo>
                      <a:pt x="145" y="367"/>
                    </a:lnTo>
                    <a:lnTo>
                      <a:pt x="148" y="370"/>
                    </a:lnTo>
                    <a:lnTo>
                      <a:pt x="148" y="373"/>
                    </a:lnTo>
                    <a:lnTo>
                      <a:pt x="145" y="377"/>
                    </a:lnTo>
                    <a:lnTo>
                      <a:pt x="141" y="377"/>
                    </a:lnTo>
                    <a:lnTo>
                      <a:pt x="138" y="382"/>
                    </a:lnTo>
                    <a:lnTo>
                      <a:pt x="135" y="382"/>
                    </a:lnTo>
                    <a:lnTo>
                      <a:pt x="136" y="378"/>
                    </a:lnTo>
                    <a:lnTo>
                      <a:pt x="135" y="375"/>
                    </a:lnTo>
                    <a:lnTo>
                      <a:pt x="131" y="378"/>
                    </a:lnTo>
                    <a:lnTo>
                      <a:pt x="133" y="380"/>
                    </a:lnTo>
                    <a:lnTo>
                      <a:pt x="130" y="382"/>
                    </a:lnTo>
                    <a:lnTo>
                      <a:pt x="126" y="385"/>
                    </a:lnTo>
                    <a:lnTo>
                      <a:pt x="126" y="388"/>
                    </a:lnTo>
                    <a:lnTo>
                      <a:pt x="121" y="387"/>
                    </a:lnTo>
                    <a:lnTo>
                      <a:pt x="121" y="388"/>
                    </a:lnTo>
                    <a:lnTo>
                      <a:pt x="120" y="392"/>
                    </a:lnTo>
                    <a:lnTo>
                      <a:pt x="118" y="390"/>
                    </a:lnTo>
                    <a:lnTo>
                      <a:pt x="116" y="390"/>
                    </a:lnTo>
                    <a:lnTo>
                      <a:pt x="113" y="393"/>
                    </a:lnTo>
                    <a:lnTo>
                      <a:pt x="116" y="393"/>
                    </a:lnTo>
                    <a:lnTo>
                      <a:pt x="121" y="398"/>
                    </a:lnTo>
                    <a:lnTo>
                      <a:pt x="113" y="398"/>
                    </a:lnTo>
                    <a:lnTo>
                      <a:pt x="120" y="400"/>
                    </a:lnTo>
                    <a:lnTo>
                      <a:pt x="120" y="403"/>
                    </a:lnTo>
                    <a:lnTo>
                      <a:pt x="118" y="408"/>
                    </a:lnTo>
                    <a:lnTo>
                      <a:pt x="123" y="413"/>
                    </a:lnTo>
                    <a:lnTo>
                      <a:pt x="118" y="413"/>
                    </a:lnTo>
                    <a:lnTo>
                      <a:pt x="111" y="411"/>
                    </a:lnTo>
                    <a:lnTo>
                      <a:pt x="115" y="416"/>
                    </a:lnTo>
                    <a:lnTo>
                      <a:pt x="113" y="420"/>
                    </a:lnTo>
                    <a:lnTo>
                      <a:pt x="118" y="423"/>
                    </a:lnTo>
                    <a:lnTo>
                      <a:pt x="113" y="426"/>
                    </a:lnTo>
                    <a:lnTo>
                      <a:pt x="118" y="431"/>
                    </a:lnTo>
                    <a:lnTo>
                      <a:pt x="113" y="435"/>
                    </a:lnTo>
                    <a:lnTo>
                      <a:pt x="113" y="440"/>
                    </a:lnTo>
                    <a:lnTo>
                      <a:pt x="116" y="443"/>
                    </a:lnTo>
                    <a:lnTo>
                      <a:pt x="115" y="446"/>
                    </a:lnTo>
                    <a:lnTo>
                      <a:pt x="115" y="456"/>
                    </a:lnTo>
                    <a:lnTo>
                      <a:pt x="110" y="460"/>
                    </a:lnTo>
                    <a:lnTo>
                      <a:pt x="108" y="470"/>
                    </a:lnTo>
                    <a:lnTo>
                      <a:pt x="103" y="475"/>
                    </a:lnTo>
                    <a:lnTo>
                      <a:pt x="100" y="471"/>
                    </a:lnTo>
                    <a:lnTo>
                      <a:pt x="96" y="470"/>
                    </a:lnTo>
                    <a:lnTo>
                      <a:pt x="91" y="473"/>
                    </a:lnTo>
                    <a:lnTo>
                      <a:pt x="81" y="471"/>
                    </a:lnTo>
                    <a:lnTo>
                      <a:pt x="81" y="468"/>
                    </a:lnTo>
                    <a:lnTo>
                      <a:pt x="80" y="475"/>
                    </a:lnTo>
                    <a:lnTo>
                      <a:pt x="72" y="476"/>
                    </a:lnTo>
                    <a:lnTo>
                      <a:pt x="68" y="483"/>
                    </a:lnTo>
                    <a:lnTo>
                      <a:pt x="72" y="485"/>
                    </a:lnTo>
                    <a:lnTo>
                      <a:pt x="72" y="490"/>
                    </a:lnTo>
                    <a:lnTo>
                      <a:pt x="67" y="493"/>
                    </a:lnTo>
                    <a:lnTo>
                      <a:pt x="60" y="491"/>
                    </a:lnTo>
                    <a:lnTo>
                      <a:pt x="48" y="495"/>
                    </a:lnTo>
                    <a:lnTo>
                      <a:pt x="43" y="495"/>
                    </a:lnTo>
                    <a:lnTo>
                      <a:pt x="42" y="491"/>
                    </a:lnTo>
                    <a:lnTo>
                      <a:pt x="43" y="488"/>
                    </a:lnTo>
                    <a:lnTo>
                      <a:pt x="42" y="478"/>
                    </a:lnTo>
                    <a:lnTo>
                      <a:pt x="37" y="476"/>
                    </a:lnTo>
                    <a:lnTo>
                      <a:pt x="37" y="471"/>
                    </a:lnTo>
                    <a:lnTo>
                      <a:pt x="33" y="470"/>
                    </a:lnTo>
                    <a:lnTo>
                      <a:pt x="33" y="468"/>
                    </a:lnTo>
                    <a:lnTo>
                      <a:pt x="40" y="468"/>
                    </a:lnTo>
                    <a:lnTo>
                      <a:pt x="43" y="461"/>
                    </a:lnTo>
                    <a:lnTo>
                      <a:pt x="42" y="456"/>
                    </a:lnTo>
                    <a:lnTo>
                      <a:pt x="37" y="458"/>
                    </a:lnTo>
                    <a:lnTo>
                      <a:pt x="32" y="455"/>
                    </a:lnTo>
                    <a:lnTo>
                      <a:pt x="30" y="450"/>
                    </a:lnTo>
                    <a:lnTo>
                      <a:pt x="25" y="448"/>
                    </a:lnTo>
                    <a:lnTo>
                      <a:pt x="25" y="443"/>
                    </a:lnTo>
                    <a:lnTo>
                      <a:pt x="20" y="435"/>
                    </a:lnTo>
                    <a:lnTo>
                      <a:pt x="18" y="433"/>
                    </a:lnTo>
                    <a:lnTo>
                      <a:pt x="17" y="426"/>
                    </a:lnTo>
                    <a:lnTo>
                      <a:pt x="12" y="426"/>
                    </a:lnTo>
                    <a:lnTo>
                      <a:pt x="10" y="423"/>
                    </a:lnTo>
                    <a:lnTo>
                      <a:pt x="12" y="420"/>
                    </a:lnTo>
                    <a:lnTo>
                      <a:pt x="12" y="416"/>
                    </a:lnTo>
                    <a:lnTo>
                      <a:pt x="10" y="411"/>
                    </a:lnTo>
                    <a:lnTo>
                      <a:pt x="12" y="408"/>
                    </a:lnTo>
                    <a:lnTo>
                      <a:pt x="17" y="405"/>
                    </a:lnTo>
                    <a:lnTo>
                      <a:pt x="15" y="403"/>
                    </a:lnTo>
                    <a:lnTo>
                      <a:pt x="12" y="401"/>
                    </a:lnTo>
                    <a:lnTo>
                      <a:pt x="12" y="398"/>
                    </a:lnTo>
                    <a:lnTo>
                      <a:pt x="10" y="398"/>
                    </a:lnTo>
                    <a:lnTo>
                      <a:pt x="10" y="401"/>
                    </a:lnTo>
                    <a:lnTo>
                      <a:pt x="13" y="405"/>
                    </a:lnTo>
                    <a:lnTo>
                      <a:pt x="7" y="406"/>
                    </a:lnTo>
                    <a:lnTo>
                      <a:pt x="8" y="403"/>
                    </a:lnTo>
                    <a:lnTo>
                      <a:pt x="7" y="401"/>
                    </a:lnTo>
                    <a:lnTo>
                      <a:pt x="3" y="400"/>
                    </a:lnTo>
                    <a:lnTo>
                      <a:pt x="3" y="392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" y="378"/>
                    </a:lnTo>
                    <a:lnTo>
                      <a:pt x="3" y="378"/>
                    </a:lnTo>
                    <a:lnTo>
                      <a:pt x="3" y="378"/>
                    </a:lnTo>
                    <a:close/>
                    <a:moveTo>
                      <a:pt x="146" y="365"/>
                    </a:moveTo>
                    <a:lnTo>
                      <a:pt x="150" y="370"/>
                    </a:lnTo>
                    <a:lnTo>
                      <a:pt x="151" y="372"/>
                    </a:lnTo>
                    <a:lnTo>
                      <a:pt x="151" y="367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51" y="358"/>
                    </a:lnTo>
                    <a:lnTo>
                      <a:pt x="146" y="365"/>
                    </a:lnTo>
                    <a:lnTo>
                      <a:pt x="146" y="365"/>
                    </a:lnTo>
                    <a:close/>
                    <a:moveTo>
                      <a:pt x="7" y="408"/>
                    </a:moveTo>
                    <a:lnTo>
                      <a:pt x="7" y="411"/>
                    </a:lnTo>
                    <a:lnTo>
                      <a:pt x="8" y="411"/>
                    </a:lnTo>
                    <a:lnTo>
                      <a:pt x="10" y="408"/>
                    </a:lnTo>
                    <a:lnTo>
                      <a:pt x="7" y="408"/>
                    </a:lnTo>
                    <a:lnTo>
                      <a:pt x="7" y="408"/>
                    </a:lnTo>
                    <a:close/>
                    <a:moveTo>
                      <a:pt x="168" y="395"/>
                    </a:moveTo>
                    <a:lnTo>
                      <a:pt x="170" y="398"/>
                    </a:lnTo>
                    <a:lnTo>
                      <a:pt x="171" y="395"/>
                    </a:lnTo>
                    <a:lnTo>
                      <a:pt x="170" y="393"/>
                    </a:lnTo>
                    <a:lnTo>
                      <a:pt x="168" y="395"/>
                    </a:lnTo>
                    <a:lnTo>
                      <a:pt x="168" y="395"/>
                    </a:lnTo>
                    <a:close/>
                    <a:moveTo>
                      <a:pt x="170" y="415"/>
                    </a:moveTo>
                    <a:lnTo>
                      <a:pt x="171" y="416"/>
                    </a:lnTo>
                    <a:lnTo>
                      <a:pt x="173" y="415"/>
                    </a:lnTo>
                    <a:lnTo>
                      <a:pt x="178" y="413"/>
                    </a:lnTo>
                    <a:lnTo>
                      <a:pt x="176" y="413"/>
                    </a:lnTo>
                    <a:lnTo>
                      <a:pt x="171" y="413"/>
                    </a:lnTo>
                    <a:lnTo>
                      <a:pt x="170" y="415"/>
                    </a:lnTo>
                    <a:lnTo>
                      <a:pt x="170" y="415"/>
                    </a:lnTo>
                    <a:close/>
                    <a:moveTo>
                      <a:pt x="153" y="450"/>
                    </a:moveTo>
                    <a:lnTo>
                      <a:pt x="158" y="448"/>
                    </a:lnTo>
                    <a:lnTo>
                      <a:pt x="160" y="445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65" y="436"/>
                    </a:lnTo>
                    <a:lnTo>
                      <a:pt x="165" y="435"/>
                    </a:lnTo>
                    <a:lnTo>
                      <a:pt x="168" y="430"/>
                    </a:lnTo>
                    <a:lnTo>
                      <a:pt x="168" y="428"/>
                    </a:lnTo>
                    <a:lnTo>
                      <a:pt x="165" y="426"/>
                    </a:lnTo>
                    <a:lnTo>
                      <a:pt x="166" y="421"/>
                    </a:lnTo>
                    <a:lnTo>
                      <a:pt x="166" y="420"/>
                    </a:lnTo>
                    <a:lnTo>
                      <a:pt x="170" y="418"/>
                    </a:lnTo>
                    <a:lnTo>
                      <a:pt x="166" y="416"/>
                    </a:lnTo>
                    <a:lnTo>
                      <a:pt x="163" y="418"/>
                    </a:lnTo>
                    <a:lnTo>
                      <a:pt x="158" y="418"/>
                    </a:lnTo>
                    <a:lnTo>
                      <a:pt x="155" y="421"/>
                    </a:lnTo>
                    <a:lnTo>
                      <a:pt x="153" y="425"/>
                    </a:lnTo>
                    <a:lnTo>
                      <a:pt x="150" y="428"/>
                    </a:lnTo>
                    <a:lnTo>
                      <a:pt x="151" y="433"/>
                    </a:lnTo>
                    <a:lnTo>
                      <a:pt x="150" y="435"/>
                    </a:lnTo>
                    <a:lnTo>
                      <a:pt x="155" y="441"/>
                    </a:lnTo>
                    <a:lnTo>
                      <a:pt x="156" y="440"/>
                    </a:lnTo>
                    <a:lnTo>
                      <a:pt x="155" y="445"/>
                    </a:lnTo>
                    <a:lnTo>
                      <a:pt x="153" y="446"/>
                    </a:lnTo>
                    <a:lnTo>
                      <a:pt x="153" y="450"/>
                    </a:lnTo>
                    <a:lnTo>
                      <a:pt x="153" y="450"/>
                    </a:lnTo>
                    <a:close/>
                    <a:moveTo>
                      <a:pt x="116" y="461"/>
                    </a:moveTo>
                    <a:lnTo>
                      <a:pt x="116" y="466"/>
                    </a:lnTo>
                    <a:lnTo>
                      <a:pt x="116" y="470"/>
                    </a:lnTo>
                    <a:lnTo>
                      <a:pt x="118" y="471"/>
                    </a:lnTo>
                    <a:lnTo>
                      <a:pt x="120" y="466"/>
                    </a:lnTo>
                    <a:lnTo>
                      <a:pt x="123" y="460"/>
                    </a:lnTo>
                    <a:lnTo>
                      <a:pt x="125" y="453"/>
                    </a:lnTo>
                    <a:lnTo>
                      <a:pt x="126" y="445"/>
                    </a:lnTo>
                    <a:lnTo>
                      <a:pt x="128" y="438"/>
                    </a:lnTo>
                    <a:lnTo>
                      <a:pt x="125" y="436"/>
                    </a:lnTo>
                    <a:lnTo>
                      <a:pt x="121" y="440"/>
                    </a:lnTo>
                    <a:lnTo>
                      <a:pt x="123" y="443"/>
                    </a:lnTo>
                    <a:lnTo>
                      <a:pt x="121" y="448"/>
                    </a:lnTo>
                    <a:lnTo>
                      <a:pt x="118" y="450"/>
                    </a:lnTo>
                    <a:lnTo>
                      <a:pt x="116" y="4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1" name="Freeform 35"/>
              <p:cNvSpPr>
                <a:spLocks noEditPoints="1"/>
              </p:cNvSpPr>
              <p:nvPr/>
            </p:nvSpPr>
            <p:spPr bwMode="auto">
              <a:xfrm>
                <a:off x="6621572" y="2280893"/>
                <a:ext cx="129500" cy="204405"/>
              </a:xfrm>
              <a:custGeom>
                <a:avLst/>
                <a:gdLst/>
                <a:ahLst/>
                <a:cxnLst>
                  <a:cxn ang="0">
                    <a:pos x="220" y="328"/>
                  </a:cxn>
                  <a:cxn ang="0">
                    <a:pos x="224" y="266"/>
                  </a:cxn>
                  <a:cxn ang="0">
                    <a:pos x="209" y="225"/>
                  </a:cxn>
                  <a:cxn ang="0">
                    <a:pos x="199" y="198"/>
                  </a:cxn>
                  <a:cxn ang="0">
                    <a:pos x="192" y="151"/>
                  </a:cxn>
                  <a:cxn ang="0">
                    <a:pos x="186" y="98"/>
                  </a:cxn>
                  <a:cxn ang="0">
                    <a:pos x="156" y="77"/>
                  </a:cxn>
                  <a:cxn ang="0">
                    <a:pos x="152" y="47"/>
                  </a:cxn>
                  <a:cxn ang="0">
                    <a:pos x="156" y="17"/>
                  </a:cxn>
                  <a:cxn ang="0">
                    <a:pos x="119" y="2"/>
                  </a:cxn>
                  <a:cxn ang="0">
                    <a:pos x="101" y="12"/>
                  </a:cxn>
                  <a:cxn ang="0">
                    <a:pos x="96" y="42"/>
                  </a:cxn>
                  <a:cxn ang="0">
                    <a:pos x="79" y="55"/>
                  </a:cxn>
                  <a:cxn ang="0">
                    <a:pos x="49" y="63"/>
                  </a:cxn>
                  <a:cxn ang="0">
                    <a:pos x="11" y="39"/>
                  </a:cxn>
                  <a:cxn ang="0">
                    <a:pos x="1" y="47"/>
                  </a:cxn>
                  <a:cxn ang="0">
                    <a:pos x="34" y="70"/>
                  </a:cxn>
                  <a:cxn ang="0">
                    <a:pos x="51" y="82"/>
                  </a:cxn>
                  <a:cxn ang="0">
                    <a:pos x="59" y="105"/>
                  </a:cxn>
                  <a:cxn ang="0">
                    <a:pos x="68" y="128"/>
                  </a:cxn>
                  <a:cxn ang="0">
                    <a:pos x="71" y="161"/>
                  </a:cxn>
                  <a:cxn ang="0">
                    <a:pos x="88" y="180"/>
                  </a:cxn>
                  <a:cxn ang="0">
                    <a:pos x="108" y="200"/>
                  </a:cxn>
                  <a:cxn ang="0">
                    <a:pos x="111" y="215"/>
                  </a:cxn>
                  <a:cxn ang="0">
                    <a:pos x="88" y="226"/>
                  </a:cxn>
                  <a:cxn ang="0">
                    <a:pos x="71" y="240"/>
                  </a:cxn>
                  <a:cxn ang="0">
                    <a:pos x="69" y="259"/>
                  </a:cxn>
                  <a:cxn ang="0">
                    <a:pos x="54" y="263"/>
                  </a:cxn>
                  <a:cxn ang="0">
                    <a:pos x="48" y="276"/>
                  </a:cxn>
                  <a:cxn ang="0">
                    <a:pos x="36" y="279"/>
                  </a:cxn>
                  <a:cxn ang="0">
                    <a:pos x="34" y="298"/>
                  </a:cxn>
                  <a:cxn ang="0">
                    <a:pos x="38" y="313"/>
                  </a:cxn>
                  <a:cxn ang="0">
                    <a:pos x="48" y="336"/>
                  </a:cxn>
                  <a:cxn ang="0">
                    <a:pos x="43" y="362"/>
                  </a:cxn>
                  <a:cxn ang="0">
                    <a:pos x="61" y="371"/>
                  </a:cxn>
                  <a:cxn ang="0">
                    <a:pos x="78" y="376"/>
                  </a:cxn>
                  <a:cxn ang="0">
                    <a:pos x="86" y="394"/>
                  </a:cxn>
                  <a:cxn ang="0">
                    <a:pos x="101" y="387"/>
                  </a:cxn>
                  <a:cxn ang="0">
                    <a:pos x="134" y="376"/>
                  </a:cxn>
                  <a:cxn ang="0">
                    <a:pos x="144" y="372"/>
                  </a:cxn>
                  <a:cxn ang="0">
                    <a:pos x="152" y="372"/>
                  </a:cxn>
                  <a:cxn ang="0">
                    <a:pos x="169" y="367"/>
                  </a:cxn>
                  <a:cxn ang="0">
                    <a:pos x="184" y="366"/>
                  </a:cxn>
                  <a:cxn ang="0">
                    <a:pos x="101" y="206"/>
                  </a:cxn>
                  <a:cxn ang="0">
                    <a:pos x="103" y="203"/>
                  </a:cxn>
                  <a:cxn ang="0">
                    <a:pos x="36" y="268"/>
                  </a:cxn>
                  <a:cxn ang="0">
                    <a:pos x="36" y="271"/>
                  </a:cxn>
                  <a:cxn ang="0">
                    <a:pos x="81" y="386"/>
                  </a:cxn>
                  <a:cxn ang="0">
                    <a:pos x="81" y="386"/>
                  </a:cxn>
                  <a:cxn ang="0">
                    <a:pos x="74" y="381"/>
                  </a:cxn>
                  <a:cxn ang="0">
                    <a:pos x="64" y="377"/>
                  </a:cxn>
                  <a:cxn ang="0">
                    <a:pos x="54" y="369"/>
                  </a:cxn>
                  <a:cxn ang="0">
                    <a:pos x="44" y="371"/>
                  </a:cxn>
                  <a:cxn ang="0">
                    <a:pos x="15" y="372"/>
                  </a:cxn>
                  <a:cxn ang="0">
                    <a:pos x="23" y="384"/>
                  </a:cxn>
                  <a:cxn ang="0">
                    <a:pos x="13" y="382"/>
                  </a:cxn>
                </a:cxnLst>
                <a:rect l="0" t="0" r="r" b="b"/>
                <a:pathLst>
                  <a:path w="242" h="394">
                    <a:moveTo>
                      <a:pt x="192" y="366"/>
                    </a:moveTo>
                    <a:lnTo>
                      <a:pt x="191" y="359"/>
                    </a:lnTo>
                    <a:lnTo>
                      <a:pt x="202" y="349"/>
                    </a:lnTo>
                    <a:lnTo>
                      <a:pt x="207" y="348"/>
                    </a:lnTo>
                    <a:lnTo>
                      <a:pt x="214" y="336"/>
                    </a:lnTo>
                    <a:lnTo>
                      <a:pt x="220" y="328"/>
                    </a:lnTo>
                    <a:lnTo>
                      <a:pt x="225" y="316"/>
                    </a:lnTo>
                    <a:lnTo>
                      <a:pt x="235" y="301"/>
                    </a:lnTo>
                    <a:lnTo>
                      <a:pt x="242" y="286"/>
                    </a:lnTo>
                    <a:lnTo>
                      <a:pt x="240" y="279"/>
                    </a:lnTo>
                    <a:lnTo>
                      <a:pt x="230" y="268"/>
                    </a:lnTo>
                    <a:lnTo>
                      <a:pt x="224" y="266"/>
                    </a:lnTo>
                    <a:lnTo>
                      <a:pt x="212" y="253"/>
                    </a:lnTo>
                    <a:lnTo>
                      <a:pt x="215" y="246"/>
                    </a:lnTo>
                    <a:lnTo>
                      <a:pt x="219" y="240"/>
                    </a:lnTo>
                    <a:lnTo>
                      <a:pt x="219" y="233"/>
                    </a:lnTo>
                    <a:lnTo>
                      <a:pt x="212" y="230"/>
                    </a:lnTo>
                    <a:lnTo>
                      <a:pt x="209" y="225"/>
                    </a:lnTo>
                    <a:lnTo>
                      <a:pt x="209" y="216"/>
                    </a:lnTo>
                    <a:lnTo>
                      <a:pt x="211" y="213"/>
                    </a:lnTo>
                    <a:lnTo>
                      <a:pt x="209" y="210"/>
                    </a:lnTo>
                    <a:lnTo>
                      <a:pt x="202" y="208"/>
                    </a:lnTo>
                    <a:lnTo>
                      <a:pt x="199" y="205"/>
                    </a:lnTo>
                    <a:lnTo>
                      <a:pt x="199" y="198"/>
                    </a:lnTo>
                    <a:lnTo>
                      <a:pt x="202" y="193"/>
                    </a:lnTo>
                    <a:lnTo>
                      <a:pt x="197" y="193"/>
                    </a:lnTo>
                    <a:lnTo>
                      <a:pt x="197" y="190"/>
                    </a:lnTo>
                    <a:lnTo>
                      <a:pt x="199" y="175"/>
                    </a:lnTo>
                    <a:lnTo>
                      <a:pt x="204" y="173"/>
                    </a:lnTo>
                    <a:lnTo>
                      <a:pt x="192" y="151"/>
                    </a:lnTo>
                    <a:lnTo>
                      <a:pt x="182" y="135"/>
                    </a:lnTo>
                    <a:lnTo>
                      <a:pt x="181" y="128"/>
                    </a:lnTo>
                    <a:lnTo>
                      <a:pt x="174" y="123"/>
                    </a:lnTo>
                    <a:lnTo>
                      <a:pt x="179" y="112"/>
                    </a:lnTo>
                    <a:lnTo>
                      <a:pt x="184" y="105"/>
                    </a:lnTo>
                    <a:lnTo>
                      <a:pt x="186" y="98"/>
                    </a:lnTo>
                    <a:lnTo>
                      <a:pt x="182" y="97"/>
                    </a:lnTo>
                    <a:lnTo>
                      <a:pt x="172" y="90"/>
                    </a:lnTo>
                    <a:lnTo>
                      <a:pt x="171" y="85"/>
                    </a:lnTo>
                    <a:lnTo>
                      <a:pt x="166" y="80"/>
                    </a:lnTo>
                    <a:lnTo>
                      <a:pt x="159" y="77"/>
                    </a:lnTo>
                    <a:lnTo>
                      <a:pt x="156" y="77"/>
                    </a:lnTo>
                    <a:lnTo>
                      <a:pt x="152" y="67"/>
                    </a:lnTo>
                    <a:lnTo>
                      <a:pt x="149" y="63"/>
                    </a:lnTo>
                    <a:lnTo>
                      <a:pt x="151" y="55"/>
                    </a:lnTo>
                    <a:lnTo>
                      <a:pt x="152" y="50"/>
                    </a:lnTo>
                    <a:lnTo>
                      <a:pt x="147" y="49"/>
                    </a:lnTo>
                    <a:lnTo>
                      <a:pt x="152" y="47"/>
                    </a:lnTo>
                    <a:lnTo>
                      <a:pt x="157" y="44"/>
                    </a:lnTo>
                    <a:lnTo>
                      <a:pt x="157" y="35"/>
                    </a:lnTo>
                    <a:lnTo>
                      <a:pt x="161" y="29"/>
                    </a:lnTo>
                    <a:lnTo>
                      <a:pt x="162" y="25"/>
                    </a:lnTo>
                    <a:lnTo>
                      <a:pt x="157" y="20"/>
                    </a:lnTo>
                    <a:lnTo>
                      <a:pt x="156" y="17"/>
                    </a:lnTo>
                    <a:lnTo>
                      <a:pt x="147" y="15"/>
                    </a:lnTo>
                    <a:lnTo>
                      <a:pt x="142" y="14"/>
                    </a:lnTo>
                    <a:lnTo>
                      <a:pt x="139" y="10"/>
                    </a:lnTo>
                    <a:lnTo>
                      <a:pt x="134" y="4"/>
                    </a:lnTo>
                    <a:lnTo>
                      <a:pt x="129" y="0"/>
                    </a:lnTo>
                    <a:lnTo>
                      <a:pt x="119" y="2"/>
                    </a:lnTo>
                    <a:lnTo>
                      <a:pt x="114" y="5"/>
                    </a:lnTo>
                    <a:lnTo>
                      <a:pt x="114" y="7"/>
                    </a:lnTo>
                    <a:lnTo>
                      <a:pt x="111" y="7"/>
                    </a:lnTo>
                    <a:lnTo>
                      <a:pt x="104" y="7"/>
                    </a:lnTo>
                    <a:lnTo>
                      <a:pt x="99" y="9"/>
                    </a:lnTo>
                    <a:lnTo>
                      <a:pt x="101" y="12"/>
                    </a:lnTo>
                    <a:lnTo>
                      <a:pt x="96" y="15"/>
                    </a:lnTo>
                    <a:lnTo>
                      <a:pt x="94" y="17"/>
                    </a:lnTo>
                    <a:lnTo>
                      <a:pt x="96" y="20"/>
                    </a:lnTo>
                    <a:lnTo>
                      <a:pt x="94" y="24"/>
                    </a:lnTo>
                    <a:lnTo>
                      <a:pt x="93" y="35"/>
                    </a:lnTo>
                    <a:lnTo>
                      <a:pt x="96" y="42"/>
                    </a:lnTo>
                    <a:lnTo>
                      <a:pt x="98" y="45"/>
                    </a:lnTo>
                    <a:lnTo>
                      <a:pt x="96" y="49"/>
                    </a:lnTo>
                    <a:lnTo>
                      <a:pt x="91" y="52"/>
                    </a:lnTo>
                    <a:lnTo>
                      <a:pt x="88" y="52"/>
                    </a:lnTo>
                    <a:lnTo>
                      <a:pt x="83" y="55"/>
                    </a:lnTo>
                    <a:lnTo>
                      <a:pt x="79" y="55"/>
                    </a:lnTo>
                    <a:lnTo>
                      <a:pt x="78" y="60"/>
                    </a:lnTo>
                    <a:lnTo>
                      <a:pt x="73" y="60"/>
                    </a:lnTo>
                    <a:lnTo>
                      <a:pt x="64" y="55"/>
                    </a:lnTo>
                    <a:lnTo>
                      <a:pt x="59" y="55"/>
                    </a:lnTo>
                    <a:lnTo>
                      <a:pt x="56" y="58"/>
                    </a:lnTo>
                    <a:lnTo>
                      <a:pt x="49" y="63"/>
                    </a:lnTo>
                    <a:lnTo>
                      <a:pt x="38" y="63"/>
                    </a:lnTo>
                    <a:lnTo>
                      <a:pt x="31" y="60"/>
                    </a:lnTo>
                    <a:lnTo>
                      <a:pt x="28" y="55"/>
                    </a:lnTo>
                    <a:lnTo>
                      <a:pt x="26" y="50"/>
                    </a:lnTo>
                    <a:lnTo>
                      <a:pt x="15" y="44"/>
                    </a:lnTo>
                    <a:lnTo>
                      <a:pt x="11" y="39"/>
                    </a:lnTo>
                    <a:lnTo>
                      <a:pt x="8" y="39"/>
                    </a:lnTo>
                    <a:lnTo>
                      <a:pt x="5" y="40"/>
                    </a:lnTo>
                    <a:lnTo>
                      <a:pt x="3" y="44"/>
                    </a:lnTo>
                    <a:lnTo>
                      <a:pt x="5" y="47"/>
                    </a:lnTo>
                    <a:lnTo>
                      <a:pt x="3" y="49"/>
                    </a:lnTo>
                    <a:lnTo>
                      <a:pt x="1" y="47"/>
                    </a:lnTo>
                    <a:lnTo>
                      <a:pt x="0" y="49"/>
                    </a:lnTo>
                    <a:lnTo>
                      <a:pt x="3" y="53"/>
                    </a:lnTo>
                    <a:lnTo>
                      <a:pt x="10" y="55"/>
                    </a:lnTo>
                    <a:lnTo>
                      <a:pt x="18" y="65"/>
                    </a:lnTo>
                    <a:lnTo>
                      <a:pt x="24" y="68"/>
                    </a:lnTo>
                    <a:lnTo>
                      <a:pt x="34" y="70"/>
                    </a:lnTo>
                    <a:lnTo>
                      <a:pt x="38" y="72"/>
                    </a:lnTo>
                    <a:lnTo>
                      <a:pt x="41" y="73"/>
                    </a:lnTo>
                    <a:lnTo>
                      <a:pt x="46" y="77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6" y="87"/>
                    </a:lnTo>
                    <a:lnTo>
                      <a:pt x="59" y="87"/>
                    </a:lnTo>
                    <a:lnTo>
                      <a:pt x="61" y="90"/>
                    </a:lnTo>
                    <a:lnTo>
                      <a:pt x="59" y="93"/>
                    </a:lnTo>
                    <a:lnTo>
                      <a:pt x="61" y="100"/>
                    </a:lnTo>
                    <a:lnTo>
                      <a:pt x="59" y="105"/>
                    </a:lnTo>
                    <a:lnTo>
                      <a:pt x="59" y="110"/>
                    </a:lnTo>
                    <a:lnTo>
                      <a:pt x="66" y="110"/>
                    </a:lnTo>
                    <a:lnTo>
                      <a:pt x="68" y="115"/>
                    </a:lnTo>
                    <a:lnTo>
                      <a:pt x="64" y="118"/>
                    </a:lnTo>
                    <a:lnTo>
                      <a:pt x="66" y="125"/>
                    </a:lnTo>
                    <a:lnTo>
                      <a:pt x="68" y="128"/>
                    </a:lnTo>
                    <a:lnTo>
                      <a:pt x="69" y="137"/>
                    </a:lnTo>
                    <a:lnTo>
                      <a:pt x="69" y="140"/>
                    </a:lnTo>
                    <a:lnTo>
                      <a:pt x="69" y="143"/>
                    </a:lnTo>
                    <a:lnTo>
                      <a:pt x="69" y="151"/>
                    </a:lnTo>
                    <a:lnTo>
                      <a:pt x="68" y="155"/>
                    </a:lnTo>
                    <a:lnTo>
                      <a:pt x="71" y="161"/>
                    </a:lnTo>
                    <a:lnTo>
                      <a:pt x="74" y="161"/>
                    </a:lnTo>
                    <a:lnTo>
                      <a:pt x="79" y="170"/>
                    </a:lnTo>
                    <a:lnTo>
                      <a:pt x="83" y="173"/>
                    </a:lnTo>
                    <a:lnTo>
                      <a:pt x="81" y="178"/>
                    </a:lnTo>
                    <a:lnTo>
                      <a:pt x="83" y="180"/>
                    </a:lnTo>
                    <a:lnTo>
                      <a:pt x="88" y="180"/>
                    </a:lnTo>
                    <a:lnTo>
                      <a:pt x="93" y="183"/>
                    </a:lnTo>
                    <a:lnTo>
                      <a:pt x="101" y="183"/>
                    </a:lnTo>
                    <a:lnTo>
                      <a:pt x="108" y="190"/>
                    </a:lnTo>
                    <a:lnTo>
                      <a:pt x="104" y="191"/>
                    </a:lnTo>
                    <a:lnTo>
                      <a:pt x="106" y="193"/>
                    </a:lnTo>
                    <a:lnTo>
                      <a:pt x="108" y="200"/>
                    </a:lnTo>
                    <a:lnTo>
                      <a:pt x="106" y="201"/>
                    </a:lnTo>
                    <a:lnTo>
                      <a:pt x="113" y="208"/>
                    </a:lnTo>
                    <a:lnTo>
                      <a:pt x="108" y="206"/>
                    </a:lnTo>
                    <a:lnTo>
                      <a:pt x="106" y="208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4" y="211"/>
                    </a:lnTo>
                    <a:lnTo>
                      <a:pt x="98" y="211"/>
                    </a:lnTo>
                    <a:lnTo>
                      <a:pt x="93" y="215"/>
                    </a:lnTo>
                    <a:lnTo>
                      <a:pt x="93" y="218"/>
                    </a:lnTo>
                    <a:lnTo>
                      <a:pt x="88" y="223"/>
                    </a:lnTo>
                    <a:lnTo>
                      <a:pt x="88" y="226"/>
                    </a:lnTo>
                    <a:lnTo>
                      <a:pt x="86" y="226"/>
                    </a:lnTo>
                    <a:lnTo>
                      <a:pt x="78" y="235"/>
                    </a:lnTo>
                    <a:lnTo>
                      <a:pt x="78" y="241"/>
                    </a:lnTo>
                    <a:lnTo>
                      <a:pt x="76" y="241"/>
                    </a:lnTo>
                    <a:lnTo>
                      <a:pt x="74" y="240"/>
                    </a:lnTo>
                    <a:lnTo>
                      <a:pt x="71" y="240"/>
                    </a:lnTo>
                    <a:lnTo>
                      <a:pt x="73" y="245"/>
                    </a:lnTo>
                    <a:lnTo>
                      <a:pt x="73" y="248"/>
                    </a:lnTo>
                    <a:lnTo>
                      <a:pt x="68" y="248"/>
                    </a:lnTo>
                    <a:lnTo>
                      <a:pt x="64" y="251"/>
                    </a:lnTo>
                    <a:lnTo>
                      <a:pt x="66" y="258"/>
                    </a:lnTo>
                    <a:lnTo>
                      <a:pt x="69" y="259"/>
                    </a:lnTo>
                    <a:lnTo>
                      <a:pt x="63" y="258"/>
                    </a:lnTo>
                    <a:lnTo>
                      <a:pt x="61" y="256"/>
                    </a:lnTo>
                    <a:lnTo>
                      <a:pt x="58" y="256"/>
                    </a:lnTo>
                    <a:lnTo>
                      <a:pt x="56" y="261"/>
                    </a:lnTo>
                    <a:lnTo>
                      <a:pt x="58" y="264"/>
                    </a:lnTo>
                    <a:lnTo>
                      <a:pt x="54" y="263"/>
                    </a:lnTo>
                    <a:lnTo>
                      <a:pt x="53" y="264"/>
                    </a:lnTo>
                    <a:lnTo>
                      <a:pt x="56" y="266"/>
                    </a:lnTo>
                    <a:lnTo>
                      <a:pt x="56" y="269"/>
                    </a:lnTo>
                    <a:lnTo>
                      <a:pt x="53" y="271"/>
                    </a:lnTo>
                    <a:lnTo>
                      <a:pt x="51" y="274"/>
                    </a:lnTo>
                    <a:lnTo>
                      <a:pt x="48" y="276"/>
                    </a:lnTo>
                    <a:lnTo>
                      <a:pt x="44" y="276"/>
                    </a:lnTo>
                    <a:lnTo>
                      <a:pt x="44" y="274"/>
                    </a:lnTo>
                    <a:lnTo>
                      <a:pt x="41" y="273"/>
                    </a:lnTo>
                    <a:lnTo>
                      <a:pt x="38" y="274"/>
                    </a:lnTo>
                    <a:lnTo>
                      <a:pt x="39" y="278"/>
                    </a:lnTo>
                    <a:lnTo>
                      <a:pt x="36" y="279"/>
                    </a:lnTo>
                    <a:lnTo>
                      <a:pt x="38" y="284"/>
                    </a:lnTo>
                    <a:lnTo>
                      <a:pt x="36" y="288"/>
                    </a:lnTo>
                    <a:lnTo>
                      <a:pt x="34" y="289"/>
                    </a:lnTo>
                    <a:lnTo>
                      <a:pt x="31" y="293"/>
                    </a:lnTo>
                    <a:lnTo>
                      <a:pt x="34" y="296"/>
                    </a:lnTo>
                    <a:lnTo>
                      <a:pt x="34" y="298"/>
                    </a:lnTo>
                    <a:lnTo>
                      <a:pt x="33" y="301"/>
                    </a:lnTo>
                    <a:lnTo>
                      <a:pt x="34" y="304"/>
                    </a:lnTo>
                    <a:lnTo>
                      <a:pt x="38" y="303"/>
                    </a:lnTo>
                    <a:lnTo>
                      <a:pt x="39" y="306"/>
                    </a:lnTo>
                    <a:lnTo>
                      <a:pt x="39" y="311"/>
                    </a:lnTo>
                    <a:lnTo>
                      <a:pt x="38" y="313"/>
                    </a:lnTo>
                    <a:lnTo>
                      <a:pt x="39" y="318"/>
                    </a:lnTo>
                    <a:lnTo>
                      <a:pt x="38" y="319"/>
                    </a:lnTo>
                    <a:lnTo>
                      <a:pt x="43" y="326"/>
                    </a:lnTo>
                    <a:lnTo>
                      <a:pt x="46" y="328"/>
                    </a:lnTo>
                    <a:lnTo>
                      <a:pt x="44" y="331"/>
                    </a:lnTo>
                    <a:lnTo>
                      <a:pt x="48" y="336"/>
                    </a:lnTo>
                    <a:lnTo>
                      <a:pt x="44" y="338"/>
                    </a:lnTo>
                    <a:lnTo>
                      <a:pt x="44" y="344"/>
                    </a:lnTo>
                    <a:lnTo>
                      <a:pt x="43" y="346"/>
                    </a:lnTo>
                    <a:lnTo>
                      <a:pt x="43" y="356"/>
                    </a:lnTo>
                    <a:lnTo>
                      <a:pt x="46" y="359"/>
                    </a:lnTo>
                    <a:lnTo>
                      <a:pt x="43" y="362"/>
                    </a:lnTo>
                    <a:lnTo>
                      <a:pt x="43" y="366"/>
                    </a:lnTo>
                    <a:lnTo>
                      <a:pt x="44" y="369"/>
                    </a:lnTo>
                    <a:lnTo>
                      <a:pt x="51" y="366"/>
                    </a:lnTo>
                    <a:lnTo>
                      <a:pt x="54" y="367"/>
                    </a:lnTo>
                    <a:lnTo>
                      <a:pt x="54" y="366"/>
                    </a:lnTo>
                    <a:lnTo>
                      <a:pt x="61" y="371"/>
                    </a:lnTo>
                    <a:lnTo>
                      <a:pt x="64" y="371"/>
                    </a:lnTo>
                    <a:lnTo>
                      <a:pt x="68" y="372"/>
                    </a:lnTo>
                    <a:lnTo>
                      <a:pt x="74" y="372"/>
                    </a:lnTo>
                    <a:lnTo>
                      <a:pt x="76" y="372"/>
                    </a:lnTo>
                    <a:lnTo>
                      <a:pt x="74" y="376"/>
                    </a:lnTo>
                    <a:lnTo>
                      <a:pt x="78" y="376"/>
                    </a:lnTo>
                    <a:lnTo>
                      <a:pt x="83" y="372"/>
                    </a:lnTo>
                    <a:lnTo>
                      <a:pt x="83" y="376"/>
                    </a:lnTo>
                    <a:lnTo>
                      <a:pt x="79" y="379"/>
                    </a:lnTo>
                    <a:lnTo>
                      <a:pt x="86" y="387"/>
                    </a:lnTo>
                    <a:lnTo>
                      <a:pt x="88" y="389"/>
                    </a:lnTo>
                    <a:lnTo>
                      <a:pt x="86" y="394"/>
                    </a:lnTo>
                    <a:lnTo>
                      <a:pt x="88" y="394"/>
                    </a:lnTo>
                    <a:lnTo>
                      <a:pt x="89" y="389"/>
                    </a:lnTo>
                    <a:lnTo>
                      <a:pt x="93" y="387"/>
                    </a:lnTo>
                    <a:lnTo>
                      <a:pt x="93" y="389"/>
                    </a:lnTo>
                    <a:lnTo>
                      <a:pt x="98" y="387"/>
                    </a:lnTo>
                    <a:lnTo>
                      <a:pt x="101" y="387"/>
                    </a:lnTo>
                    <a:lnTo>
                      <a:pt x="109" y="382"/>
                    </a:lnTo>
                    <a:lnTo>
                      <a:pt x="113" y="382"/>
                    </a:lnTo>
                    <a:lnTo>
                      <a:pt x="122" y="377"/>
                    </a:lnTo>
                    <a:lnTo>
                      <a:pt x="122" y="374"/>
                    </a:lnTo>
                    <a:lnTo>
                      <a:pt x="129" y="376"/>
                    </a:lnTo>
                    <a:lnTo>
                      <a:pt x="134" y="376"/>
                    </a:lnTo>
                    <a:lnTo>
                      <a:pt x="137" y="371"/>
                    </a:lnTo>
                    <a:lnTo>
                      <a:pt x="139" y="372"/>
                    </a:lnTo>
                    <a:lnTo>
                      <a:pt x="136" y="376"/>
                    </a:lnTo>
                    <a:lnTo>
                      <a:pt x="139" y="377"/>
                    </a:lnTo>
                    <a:lnTo>
                      <a:pt x="141" y="372"/>
                    </a:lnTo>
                    <a:lnTo>
                      <a:pt x="144" y="372"/>
                    </a:lnTo>
                    <a:lnTo>
                      <a:pt x="142" y="367"/>
                    </a:lnTo>
                    <a:lnTo>
                      <a:pt x="144" y="366"/>
                    </a:lnTo>
                    <a:lnTo>
                      <a:pt x="146" y="371"/>
                    </a:lnTo>
                    <a:lnTo>
                      <a:pt x="149" y="371"/>
                    </a:lnTo>
                    <a:lnTo>
                      <a:pt x="149" y="367"/>
                    </a:lnTo>
                    <a:lnTo>
                      <a:pt x="152" y="372"/>
                    </a:lnTo>
                    <a:lnTo>
                      <a:pt x="156" y="371"/>
                    </a:lnTo>
                    <a:lnTo>
                      <a:pt x="156" y="369"/>
                    </a:lnTo>
                    <a:lnTo>
                      <a:pt x="159" y="369"/>
                    </a:lnTo>
                    <a:lnTo>
                      <a:pt x="159" y="371"/>
                    </a:lnTo>
                    <a:lnTo>
                      <a:pt x="162" y="369"/>
                    </a:lnTo>
                    <a:lnTo>
                      <a:pt x="169" y="367"/>
                    </a:lnTo>
                    <a:lnTo>
                      <a:pt x="172" y="371"/>
                    </a:lnTo>
                    <a:lnTo>
                      <a:pt x="181" y="369"/>
                    </a:lnTo>
                    <a:lnTo>
                      <a:pt x="181" y="367"/>
                    </a:lnTo>
                    <a:lnTo>
                      <a:pt x="179" y="366"/>
                    </a:lnTo>
                    <a:lnTo>
                      <a:pt x="181" y="364"/>
                    </a:lnTo>
                    <a:lnTo>
                      <a:pt x="184" y="366"/>
                    </a:lnTo>
                    <a:lnTo>
                      <a:pt x="184" y="367"/>
                    </a:lnTo>
                    <a:lnTo>
                      <a:pt x="189" y="369"/>
                    </a:lnTo>
                    <a:lnTo>
                      <a:pt x="189" y="369"/>
                    </a:lnTo>
                    <a:lnTo>
                      <a:pt x="192" y="366"/>
                    </a:lnTo>
                    <a:lnTo>
                      <a:pt x="192" y="366"/>
                    </a:lnTo>
                    <a:close/>
                    <a:moveTo>
                      <a:pt x="101" y="206"/>
                    </a:moveTo>
                    <a:lnTo>
                      <a:pt x="99" y="208"/>
                    </a:lnTo>
                    <a:lnTo>
                      <a:pt x="94" y="208"/>
                    </a:lnTo>
                    <a:lnTo>
                      <a:pt x="91" y="203"/>
                    </a:lnTo>
                    <a:lnTo>
                      <a:pt x="96" y="200"/>
                    </a:lnTo>
                    <a:lnTo>
                      <a:pt x="104" y="201"/>
                    </a:lnTo>
                    <a:lnTo>
                      <a:pt x="103" y="203"/>
                    </a:lnTo>
                    <a:lnTo>
                      <a:pt x="99" y="203"/>
                    </a:lnTo>
                    <a:lnTo>
                      <a:pt x="101" y="206"/>
                    </a:lnTo>
                    <a:lnTo>
                      <a:pt x="101" y="206"/>
                    </a:lnTo>
                    <a:close/>
                    <a:moveTo>
                      <a:pt x="33" y="268"/>
                    </a:moveTo>
                    <a:lnTo>
                      <a:pt x="33" y="264"/>
                    </a:lnTo>
                    <a:lnTo>
                      <a:pt x="36" y="268"/>
                    </a:lnTo>
                    <a:lnTo>
                      <a:pt x="34" y="269"/>
                    </a:lnTo>
                    <a:lnTo>
                      <a:pt x="33" y="268"/>
                    </a:lnTo>
                    <a:lnTo>
                      <a:pt x="33" y="268"/>
                    </a:lnTo>
                    <a:close/>
                    <a:moveTo>
                      <a:pt x="31" y="271"/>
                    </a:moveTo>
                    <a:lnTo>
                      <a:pt x="33" y="273"/>
                    </a:lnTo>
                    <a:lnTo>
                      <a:pt x="36" y="271"/>
                    </a:lnTo>
                    <a:lnTo>
                      <a:pt x="36" y="274"/>
                    </a:lnTo>
                    <a:lnTo>
                      <a:pt x="31" y="278"/>
                    </a:lnTo>
                    <a:lnTo>
                      <a:pt x="29" y="274"/>
                    </a:lnTo>
                    <a:lnTo>
                      <a:pt x="31" y="271"/>
                    </a:lnTo>
                    <a:lnTo>
                      <a:pt x="31" y="271"/>
                    </a:lnTo>
                    <a:close/>
                    <a:moveTo>
                      <a:pt x="81" y="386"/>
                    </a:moveTo>
                    <a:lnTo>
                      <a:pt x="83" y="389"/>
                    </a:lnTo>
                    <a:lnTo>
                      <a:pt x="79" y="391"/>
                    </a:lnTo>
                    <a:lnTo>
                      <a:pt x="78" y="389"/>
                    </a:lnTo>
                    <a:lnTo>
                      <a:pt x="79" y="387"/>
                    </a:lnTo>
                    <a:lnTo>
                      <a:pt x="81" y="386"/>
                    </a:lnTo>
                    <a:lnTo>
                      <a:pt x="81" y="386"/>
                    </a:lnTo>
                    <a:close/>
                    <a:moveTo>
                      <a:pt x="74" y="381"/>
                    </a:moveTo>
                    <a:lnTo>
                      <a:pt x="74" y="381"/>
                    </a:lnTo>
                    <a:lnTo>
                      <a:pt x="76" y="384"/>
                    </a:lnTo>
                    <a:lnTo>
                      <a:pt x="74" y="384"/>
                    </a:lnTo>
                    <a:lnTo>
                      <a:pt x="74" y="381"/>
                    </a:lnTo>
                    <a:lnTo>
                      <a:pt x="74" y="381"/>
                    </a:lnTo>
                    <a:close/>
                    <a:moveTo>
                      <a:pt x="64" y="377"/>
                    </a:moveTo>
                    <a:lnTo>
                      <a:pt x="73" y="376"/>
                    </a:lnTo>
                    <a:lnTo>
                      <a:pt x="71" y="377"/>
                    </a:lnTo>
                    <a:lnTo>
                      <a:pt x="68" y="381"/>
                    </a:lnTo>
                    <a:lnTo>
                      <a:pt x="64" y="379"/>
                    </a:lnTo>
                    <a:lnTo>
                      <a:pt x="64" y="377"/>
                    </a:lnTo>
                    <a:lnTo>
                      <a:pt x="64" y="377"/>
                    </a:lnTo>
                    <a:close/>
                    <a:moveTo>
                      <a:pt x="54" y="369"/>
                    </a:moveTo>
                    <a:lnTo>
                      <a:pt x="59" y="372"/>
                    </a:lnTo>
                    <a:lnTo>
                      <a:pt x="56" y="376"/>
                    </a:lnTo>
                    <a:lnTo>
                      <a:pt x="54" y="372"/>
                    </a:lnTo>
                    <a:lnTo>
                      <a:pt x="54" y="369"/>
                    </a:lnTo>
                    <a:lnTo>
                      <a:pt x="54" y="369"/>
                    </a:lnTo>
                    <a:close/>
                    <a:moveTo>
                      <a:pt x="44" y="371"/>
                    </a:moveTo>
                    <a:lnTo>
                      <a:pt x="48" y="372"/>
                    </a:lnTo>
                    <a:lnTo>
                      <a:pt x="46" y="372"/>
                    </a:lnTo>
                    <a:lnTo>
                      <a:pt x="46" y="372"/>
                    </a:lnTo>
                    <a:lnTo>
                      <a:pt x="44" y="371"/>
                    </a:lnTo>
                    <a:lnTo>
                      <a:pt x="44" y="371"/>
                    </a:lnTo>
                    <a:close/>
                    <a:moveTo>
                      <a:pt x="11" y="377"/>
                    </a:moveTo>
                    <a:lnTo>
                      <a:pt x="18" y="379"/>
                    </a:lnTo>
                    <a:lnTo>
                      <a:pt x="18" y="377"/>
                    </a:lnTo>
                    <a:lnTo>
                      <a:pt x="15" y="376"/>
                    </a:lnTo>
                    <a:lnTo>
                      <a:pt x="15" y="372"/>
                    </a:lnTo>
                    <a:lnTo>
                      <a:pt x="18" y="371"/>
                    </a:lnTo>
                    <a:lnTo>
                      <a:pt x="24" y="376"/>
                    </a:lnTo>
                    <a:lnTo>
                      <a:pt x="24" y="379"/>
                    </a:lnTo>
                    <a:lnTo>
                      <a:pt x="21" y="379"/>
                    </a:lnTo>
                    <a:lnTo>
                      <a:pt x="19" y="381"/>
                    </a:lnTo>
                    <a:lnTo>
                      <a:pt x="23" y="384"/>
                    </a:lnTo>
                    <a:lnTo>
                      <a:pt x="26" y="384"/>
                    </a:lnTo>
                    <a:lnTo>
                      <a:pt x="28" y="387"/>
                    </a:lnTo>
                    <a:lnTo>
                      <a:pt x="24" y="389"/>
                    </a:lnTo>
                    <a:lnTo>
                      <a:pt x="19" y="386"/>
                    </a:lnTo>
                    <a:lnTo>
                      <a:pt x="15" y="384"/>
                    </a:lnTo>
                    <a:lnTo>
                      <a:pt x="13" y="382"/>
                    </a:lnTo>
                    <a:lnTo>
                      <a:pt x="10" y="379"/>
                    </a:lnTo>
                    <a:lnTo>
                      <a:pt x="11" y="3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2" name="Freeform 36"/>
              <p:cNvSpPr>
                <a:spLocks noEditPoints="1"/>
              </p:cNvSpPr>
              <p:nvPr/>
            </p:nvSpPr>
            <p:spPr bwMode="auto">
              <a:xfrm>
                <a:off x="6656891" y="2487373"/>
                <a:ext cx="68496" cy="41504"/>
              </a:xfrm>
              <a:custGeom>
                <a:avLst/>
                <a:gdLst/>
                <a:ahLst/>
                <a:cxnLst>
                  <a:cxn ang="0">
                    <a:pos x="126" y="72"/>
                  </a:cxn>
                  <a:cxn ang="0">
                    <a:pos x="128" y="65"/>
                  </a:cxn>
                  <a:cxn ang="0">
                    <a:pos x="118" y="42"/>
                  </a:cxn>
                  <a:cxn ang="0">
                    <a:pos x="121" y="25"/>
                  </a:cxn>
                  <a:cxn ang="0">
                    <a:pos x="128" y="14"/>
                  </a:cxn>
                  <a:cxn ang="0">
                    <a:pos x="128" y="12"/>
                  </a:cxn>
                  <a:cxn ang="0">
                    <a:pos x="125" y="10"/>
                  </a:cxn>
                  <a:cxn ang="0">
                    <a:pos x="96" y="5"/>
                  </a:cxn>
                  <a:cxn ang="0">
                    <a:pos x="83" y="2"/>
                  </a:cxn>
                  <a:cxn ang="0">
                    <a:pos x="75" y="0"/>
                  </a:cxn>
                  <a:cxn ang="0">
                    <a:pos x="71" y="2"/>
                  </a:cxn>
                  <a:cxn ang="0">
                    <a:pos x="73" y="7"/>
                  </a:cxn>
                  <a:cxn ang="0">
                    <a:pos x="66" y="7"/>
                  </a:cxn>
                  <a:cxn ang="0">
                    <a:pos x="56" y="5"/>
                  </a:cxn>
                  <a:cxn ang="0">
                    <a:pos x="51" y="9"/>
                  </a:cxn>
                  <a:cxn ang="0">
                    <a:pos x="45" y="14"/>
                  </a:cxn>
                  <a:cxn ang="0">
                    <a:pos x="35" y="17"/>
                  </a:cxn>
                  <a:cxn ang="0">
                    <a:pos x="32" y="35"/>
                  </a:cxn>
                  <a:cxn ang="0">
                    <a:pos x="37" y="34"/>
                  </a:cxn>
                  <a:cxn ang="0">
                    <a:pos x="38" y="37"/>
                  </a:cxn>
                  <a:cxn ang="0">
                    <a:pos x="37" y="44"/>
                  </a:cxn>
                  <a:cxn ang="0">
                    <a:pos x="47" y="55"/>
                  </a:cxn>
                  <a:cxn ang="0">
                    <a:pos x="50" y="50"/>
                  </a:cxn>
                  <a:cxn ang="0">
                    <a:pos x="56" y="50"/>
                  </a:cxn>
                  <a:cxn ang="0">
                    <a:pos x="53" y="63"/>
                  </a:cxn>
                  <a:cxn ang="0">
                    <a:pos x="63" y="58"/>
                  </a:cxn>
                  <a:cxn ang="0">
                    <a:pos x="75" y="62"/>
                  </a:cxn>
                  <a:cxn ang="0">
                    <a:pos x="80" y="58"/>
                  </a:cxn>
                  <a:cxn ang="0">
                    <a:pos x="85" y="63"/>
                  </a:cxn>
                  <a:cxn ang="0">
                    <a:pos x="96" y="68"/>
                  </a:cxn>
                  <a:cxn ang="0">
                    <a:pos x="103" y="75"/>
                  </a:cxn>
                  <a:cxn ang="0">
                    <a:pos x="115" y="77"/>
                  </a:cxn>
                  <a:cxn ang="0">
                    <a:pos x="121" y="77"/>
                  </a:cxn>
                  <a:cxn ang="0">
                    <a:pos x="28" y="25"/>
                  </a:cxn>
                  <a:cxn ang="0">
                    <a:pos x="25" y="29"/>
                  </a:cxn>
                  <a:cxn ang="0">
                    <a:pos x="23" y="27"/>
                  </a:cxn>
                  <a:cxn ang="0">
                    <a:pos x="12" y="32"/>
                  </a:cxn>
                  <a:cxn ang="0">
                    <a:pos x="5" y="34"/>
                  </a:cxn>
                  <a:cxn ang="0">
                    <a:pos x="10" y="30"/>
                  </a:cxn>
                  <a:cxn ang="0">
                    <a:pos x="13" y="25"/>
                  </a:cxn>
                  <a:cxn ang="0">
                    <a:pos x="18" y="29"/>
                  </a:cxn>
                  <a:cxn ang="0">
                    <a:pos x="23" y="32"/>
                  </a:cxn>
                  <a:cxn ang="0">
                    <a:pos x="17" y="34"/>
                  </a:cxn>
                  <a:cxn ang="0">
                    <a:pos x="15" y="37"/>
                  </a:cxn>
                  <a:cxn ang="0">
                    <a:pos x="23" y="37"/>
                  </a:cxn>
                  <a:cxn ang="0">
                    <a:pos x="32" y="42"/>
                  </a:cxn>
                  <a:cxn ang="0">
                    <a:pos x="25" y="40"/>
                  </a:cxn>
                  <a:cxn ang="0">
                    <a:pos x="3" y="65"/>
                  </a:cxn>
                  <a:cxn ang="0">
                    <a:pos x="8" y="62"/>
                  </a:cxn>
                  <a:cxn ang="0">
                    <a:pos x="12" y="53"/>
                  </a:cxn>
                  <a:cxn ang="0">
                    <a:pos x="22" y="50"/>
                  </a:cxn>
                  <a:cxn ang="0">
                    <a:pos x="27" y="47"/>
                  </a:cxn>
                  <a:cxn ang="0">
                    <a:pos x="27" y="45"/>
                  </a:cxn>
                  <a:cxn ang="0">
                    <a:pos x="22" y="40"/>
                  </a:cxn>
                  <a:cxn ang="0">
                    <a:pos x="12" y="40"/>
                  </a:cxn>
                  <a:cxn ang="0">
                    <a:pos x="8" y="42"/>
                  </a:cxn>
                  <a:cxn ang="0">
                    <a:pos x="5" y="44"/>
                  </a:cxn>
                  <a:cxn ang="0">
                    <a:pos x="2" y="44"/>
                  </a:cxn>
                  <a:cxn ang="0">
                    <a:pos x="3" y="45"/>
                  </a:cxn>
                  <a:cxn ang="0">
                    <a:pos x="0" y="50"/>
                  </a:cxn>
                  <a:cxn ang="0">
                    <a:pos x="3" y="53"/>
                  </a:cxn>
                  <a:cxn ang="0">
                    <a:pos x="7" y="60"/>
                  </a:cxn>
                  <a:cxn ang="0">
                    <a:pos x="3" y="65"/>
                  </a:cxn>
                </a:cxnLst>
                <a:rect l="0" t="0" r="r" b="b"/>
                <a:pathLst>
                  <a:path w="128" h="80">
                    <a:moveTo>
                      <a:pt x="121" y="77"/>
                    </a:moveTo>
                    <a:lnTo>
                      <a:pt x="126" y="72"/>
                    </a:lnTo>
                    <a:lnTo>
                      <a:pt x="125" y="68"/>
                    </a:lnTo>
                    <a:lnTo>
                      <a:pt x="128" y="65"/>
                    </a:lnTo>
                    <a:lnTo>
                      <a:pt x="128" y="60"/>
                    </a:lnTo>
                    <a:lnTo>
                      <a:pt x="118" y="42"/>
                    </a:lnTo>
                    <a:lnTo>
                      <a:pt x="120" y="27"/>
                    </a:lnTo>
                    <a:lnTo>
                      <a:pt x="121" y="25"/>
                    </a:lnTo>
                    <a:lnTo>
                      <a:pt x="123" y="19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28" y="12"/>
                    </a:lnTo>
                    <a:lnTo>
                      <a:pt x="126" y="9"/>
                    </a:lnTo>
                    <a:lnTo>
                      <a:pt x="125" y="10"/>
                    </a:lnTo>
                    <a:lnTo>
                      <a:pt x="106" y="10"/>
                    </a:lnTo>
                    <a:lnTo>
                      <a:pt x="96" y="5"/>
                    </a:lnTo>
                    <a:lnTo>
                      <a:pt x="88" y="5"/>
                    </a:lnTo>
                    <a:lnTo>
                      <a:pt x="83" y="2"/>
                    </a:lnTo>
                    <a:lnTo>
                      <a:pt x="80" y="4"/>
                    </a:lnTo>
                    <a:lnTo>
                      <a:pt x="75" y="0"/>
                    </a:lnTo>
                    <a:lnTo>
                      <a:pt x="73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3" y="7"/>
                    </a:lnTo>
                    <a:lnTo>
                      <a:pt x="70" y="9"/>
                    </a:lnTo>
                    <a:lnTo>
                      <a:pt x="66" y="7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5" y="10"/>
                    </a:lnTo>
                    <a:lnTo>
                      <a:pt x="51" y="9"/>
                    </a:lnTo>
                    <a:lnTo>
                      <a:pt x="47" y="10"/>
                    </a:lnTo>
                    <a:lnTo>
                      <a:pt x="45" y="14"/>
                    </a:lnTo>
                    <a:lnTo>
                      <a:pt x="43" y="14"/>
                    </a:lnTo>
                    <a:lnTo>
                      <a:pt x="35" y="17"/>
                    </a:lnTo>
                    <a:lnTo>
                      <a:pt x="32" y="20"/>
                    </a:lnTo>
                    <a:lnTo>
                      <a:pt x="32" y="35"/>
                    </a:lnTo>
                    <a:lnTo>
                      <a:pt x="35" y="35"/>
                    </a:lnTo>
                    <a:lnTo>
                      <a:pt x="37" y="34"/>
                    </a:lnTo>
                    <a:lnTo>
                      <a:pt x="42" y="34"/>
                    </a:lnTo>
                    <a:lnTo>
                      <a:pt x="38" y="37"/>
                    </a:lnTo>
                    <a:lnTo>
                      <a:pt x="35" y="37"/>
                    </a:lnTo>
                    <a:lnTo>
                      <a:pt x="37" y="44"/>
                    </a:lnTo>
                    <a:lnTo>
                      <a:pt x="40" y="49"/>
                    </a:lnTo>
                    <a:lnTo>
                      <a:pt x="47" y="55"/>
                    </a:lnTo>
                    <a:lnTo>
                      <a:pt x="50" y="53"/>
                    </a:lnTo>
                    <a:lnTo>
                      <a:pt x="50" y="50"/>
                    </a:lnTo>
                    <a:lnTo>
                      <a:pt x="55" y="47"/>
                    </a:lnTo>
                    <a:lnTo>
                      <a:pt x="56" y="50"/>
                    </a:lnTo>
                    <a:lnTo>
                      <a:pt x="53" y="62"/>
                    </a:lnTo>
                    <a:lnTo>
                      <a:pt x="53" y="63"/>
                    </a:lnTo>
                    <a:lnTo>
                      <a:pt x="56" y="63"/>
                    </a:lnTo>
                    <a:lnTo>
                      <a:pt x="63" y="58"/>
                    </a:lnTo>
                    <a:lnTo>
                      <a:pt x="70" y="58"/>
                    </a:lnTo>
                    <a:lnTo>
                      <a:pt x="75" y="62"/>
                    </a:lnTo>
                    <a:lnTo>
                      <a:pt x="78" y="62"/>
                    </a:lnTo>
                    <a:lnTo>
                      <a:pt x="80" y="58"/>
                    </a:lnTo>
                    <a:lnTo>
                      <a:pt x="83" y="60"/>
                    </a:lnTo>
                    <a:lnTo>
                      <a:pt x="85" y="63"/>
                    </a:lnTo>
                    <a:lnTo>
                      <a:pt x="88" y="63"/>
                    </a:lnTo>
                    <a:lnTo>
                      <a:pt x="96" y="68"/>
                    </a:lnTo>
                    <a:lnTo>
                      <a:pt x="98" y="73"/>
                    </a:lnTo>
                    <a:lnTo>
                      <a:pt x="103" y="75"/>
                    </a:lnTo>
                    <a:lnTo>
                      <a:pt x="106" y="80"/>
                    </a:lnTo>
                    <a:lnTo>
                      <a:pt x="115" y="77"/>
                    </a:lnTo>
                    <a:lnTo>
                      <a:pt x="121" y="77"/>
                    </a:lnTo>
                    <a:lnTo>
                      <a:pt x="121" y="77"/>
                    </a:lnTo>
                    <a:close/>
                    <a:moveTo>
                      <a:pt x="23" y="27"/>
                    </a:moveTo>
                    <a:lnTo>
                      <a:pt x="28" y="25"/>
                    </a:lnTo>
                    <a:lnTo>
                      <a:pt x="30" y="29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3" y="27"/>
                    </a:lnTo>
                    <a:close/>
                    <a:moveTo>
                      <a:pt x="15" y="37"/>
                    </a:moveTo>
                    <a:lnTo>
                      <a:pt x="12" y="32"/>
                    </a:lnTo>
                    <a:lnTo>
                      <a:pt x="8" y="32"/>
                    </a:lnTo>
                    <a:lnTo>
                      <a:pt x="5" y="34"/>
                    </a:lnTo>
                    <a:lnTo>
                      <a:pt x="2" y="34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3" y="25"/>
                    </a:lnTo>
                    <a:lnTo>
                      <a:pt x="15" y="25"/>
                    </a:lnTo>
                    <a:lnTo>
                      <a:pt x="18" y="29"/>
                    </a:lnTo>
                    <a:lnTo>
                      <a:pt x="22" y="29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7" y="34"/>
                    </a:lnTo>
                    <a:lnTo>
                      <a:pt x="15" y="37"/>
                    </a:lnTo>
                    <a:lnTo>
                      <a:pt x="15" y="37"/>
                    </a:lnTo>
                    <a:close/>
                    <a:moveTo>
                      <a:pt x="25" y="40"/>
                    </a:moveTo>
                    <a:lnTo>
                      <a:pt x="23" y="37"/>
                    </a:lnTo>
                    <a:lnTo>
                      <a:pt x="30" y="37"/>
                    </a:lnTo>
                    <a:lnTo>
                      <a:pt x="32" y="42"/>
                    </a:lnTo>
                    <a:lnTo>
                      <a:pt x="30" y="44"/>
                    </a:lnTo>
                    <a:lnTo>
                      <a:pt x="25" y="40"/>
                    </a:lnTo>
                    <a:lnTo>
                      <a:pt x="25" y="40"/>
                    </a:lnTo>
                    <a:close/>
                    <a:moveTo>
                      <a:pt x="3" y="65"/>
                    </a:moveTo>
                    <a:lnTo>
                      <a:pt x="5" y="65"/>
                    </a:lnTo>
                    <a:lnTo>
                      <a:pt x="8" y="62"/>
                    </a:lnTo>
                    <a:lnTo>
                      <a:pt x="8" y="60"/>
                    </a:lnTo>
                    <a:lnTo>
                      <a:pt x="12" y="53"/>
                    </a:lnTo>
                    <a:lnTo>
                      <a:pt x="18" y="53"/>
                    </a:lnTo>
                    <a:lnTo>
                      <a:pt x="22" y="50"/>
                    </a:lnTo>
                    <a:lnTo>
                      <a:pt x="23" y="47"/>
                    </a:lnTo>
                    <a:lnTo>
                      <a:pt x="27" y="47"/>
                    </a:lnTo>
                    <a:lnTo>
                      <a:pt x="28" y="47"/>
                    </a:lnTo>
                    <a:lnTo>
                      <a:pt x="27" y="45"/>
                    </a:lnTo>
                    <a:lnTo>
                      <a:pt x="25" y="44"/>
                    </a:lnTo>
                    <a:lnTo>
                      <a:pt x="22" y="40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5" y="45"/>
                    </a:lnTo>
                    <a:lnTo>
                      <a:pt x="5" y="44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0" y="45"/>
                    </a:lnTo>
                    <a:lnTo>
                      <a:pt x="3" y="45"/>
                    </a:lnTo>
                    <a:lnTo>
                      <a:pt x="3" y="49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3" y="53"/>
                    </a:lnTo>
                    <a:lnTo>
                      <a:pt x="8" y="57"/>
                    </a:lnTo>
                    <a:lnTo>
                      <a:pt x="7" y="60"/>
                    </a:lnTo>
                    <a:lnTo>
                      <a:pt x="5" y="60"/>
                    </a:lnTo>
                    <a:lnTo>
                      <a:pt x="3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3" name="Freeform 37"/>
              <p:cNvSpPr>
                <a:spLocks/>
              </p:cNvSpPr>
              <p:nvPr/>
            </p:nvSpPr>
            <p:spPr bwMode="auto">
              <a:xfrm>
                <a:off x="6649398" y="2517463"/>
                <a:ext cx="83479" cy="38391"/>
              </a:xfrm>
              <a:custGeom>
                <a:avLst/>
                <a:gdLst/>
                <a:ahLst/>
                <a:cxnLst>
                  <a:cxn ang="0">
                    <a:pos x="153" y="52"/>
                  </a:cxn>
                  <a:cxn ang="0">
                    <a:pos x="148" y="42"/>
                  </a:cxn>
                  <a:cxn ang="0">
                    <a:pos x="143" y="34"/>
                  </a:cxn>
                  <a:cxn ang="0">
                    <a:pos x="141" y="27"/>
                  </a:cxn>
                  <a:cxn ang="0">
                    <a:pos x="141" y="24"/>
                  </a:cxn>
                  <a:cxn ang="0">
                    <a:pos x="128" y="19"/>
                  </a:cxn>
                  <a:cxn ang="0">
                    <a:pos x="116" y="17"/>
                  </a:cxn>
                  <a:cxn ang="0">
                    <a:pos x="109" y="10"/>
                  </a:cxn>
                  <a:cxn ang="0">
                    <a:pos x="98" y="5"/>
                  </a:cxn>
                  <a:cxn ang="0">
                    <a:pos x="93" y="0"/>
                  </a:cxn>
                  <a:cxn ang="0">
                    <a:pos x="88" y="4"/>
                  </a:cxn>
                  <a:cxn ang="0">
                    <a:pos x="76" y="0"/>
                  </a:cxn>
                  <a:cxn ang="0">
                    <a:pos x="66" y="5"/>
                  </a:cxn>
                  <a:cxn ang="0">
                    <a:pos x="69" y="20"/>
                  </a:cxn>
                  <a:cxn ang="0">
                    <a:pos x="58" y="35"/>
                  </a:cxn>
                  <a:cxn ang="0">
                    <a:pos x="46" y="30"/>
                  </a:cxn>
                  <a:cxn ang="0">
                    <a:pos x="35" y="17"/>
                  </a:cxn>
                  <a:cxn ang="0">
                    <a:pos x="33" y="10"/>
                  </a:cxn>
                  <a:cxn ang="0">
                    <a:pos x="21" y="15"/>
                  </a:cxn>
                  <a:cxn ang="0">
                    <a:pos x="15" y="17"/>
                  </a:cxn>
                  <a:cxn ang="0">
                    <a:pos x="11" y="27"/>
                  </a:cxn>
                  <a:cxn ang="0">
                    <a:pos x="10" y="34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5" y="65"/>
                  </a:cxn>
                  <a:cxn ang="0">
                    <a:pos x="10" y="65"/>
                  </a:cxn>
                  <a:cxn ang="0">
                    <a:pos x="18" y="55"/>
                  </a:cxn>
                  <a:cxn ang="0">
                    <a:pos x="36" y="54"/>
                  </a:cxn>
                  <a:cxn ang="0">
                    <a:pos x="46" y="55"/>
                  </a:cxn>
                  <a:cxn ang="0">
                    <a:pos x="56" y="52"/>
                  </a:cxn>
                  <a:cxn ang="0">
                    <a:pos x="61" y="54"/>
                  </a:cxn>
                  <a:cxn ang="0">
                    <a:pos x="73" y="59"/>
                  </a:cxn>
                  <a:cxn ang="0">
                    <a:pos x="83" y="54"/>
                  </a:cxn>
                  <a:cxn ang="0">
                    <a:pos x="98" y="59"/>
                  </a:cxn>
                  <a:cxn ang="0">
                    <a:pos x="109" y="67"/>
                  </a:cxn>
                  <a:cxn ang="0">
                    <a:pos x="123" y="74"/>
                  </a:cxn>
                  <a:cxn ang="0">
                    <a:pos x="124" y="75"/>
                  </a:cxn>
                  <a:cxn ang="0">
                    <a:pos x="143" y="70"/>
                  </a:cxn>
                  <a:cxn ang="0">
                    <a:pos x="148" y="64"/>
                  </a:cxn>
                  <a:cxn ang="0">
                    <a:pos x="154" y="59"/>
                  </a:cxn>
                </a:cxnLst>
                <a:rect l="0" t="0" r="r" b="b"/>
                <a:pathLst>
                  <a:path w="154" h="75">
                    <a:moveTo>
                      <a:pt x="154" y="59"/>
                    </a:moveTo>
                    <a:lnTo>
                      <a:pt x="153" y="52"/>
                    </a:lnTo>
                    <a:lnTo>
                      <a:pt x="149" y="47"/>
                    </a:lnTo>
                    <a:lnTo>
                      <a:pt x="148" y="42"/>
                    </a:lnTo>
                    <a:lnTo>
                      <a:pt x="146" y="39"/>
                    </a:lnTo>
                    <a:lnTo>
                      <a:pt x="143" y="34"/>
                    </a:lnTo>
                    <a:lnTo>
                      <a:pt x="143" y="30"/>
                    </a:lnTo>
                    <a:lnTo>
                      <a:pt x="141" y="27"/>
                    </a:lnTo>
                    <a:lnTo>
                      <a:pt x="139" y="25"/>
                    </a:lnTo>
                    <a:lnTo>
                      <a:pt x="141" y="24"/>
                    </a:lnTo>
                    <a:lnTo>
                      <a:pt x="139" y="20"/>
                    </a:lnTo>
                    <a:lnTo>
                      <a:pt x="128" y="19"/>
                    </a:lnTo>
                    <a:lnTo>
                      <a:pt x="119" y="22"/>
                    </a:lnTo>
                    <a:lnTo>
                      <a:pt x="116" y="17"/>
                    </a:lnTo>
                    <a:lnTo>
                      <a:pt x="111" y="15"/>
                    </a:lnTo>
                    <a:lnTo>
                      <a:pt x="109" y="10"/>
                    </a:lnTo>
                    <a:lnTo>
                      <a:pt x="101" y="5"/>
                    </a:lnTo>
                    <a:lnTo>
                      <a:pt x="98" y="5"/>
                    </a:lnTo>
                    <a:lnTo>
                      <a:pt x="96" y="2"/>
                    </a:lnTo>
                    <a:lnTo>
                      <a:pt x="93" y="0"/>
                    </a:lnTo>
                    <a:lnTo>
                      <a:pt x="91" y="4"/>
                    </a:lnTo>
                    <a:lnTo>
                      <a:pt x="88" y="4"/>
                    </a:lnTo>
                    <a:lnTo>
                      <a:pt x="83" y="0"/>
                    </a:lnTo>
                    <a:lnTo>
                      <a:pt x="76" y="0"/>
                    </a:lnTo>
                    <a:lnTo>
                      <a:pt x="69" y="5"/>
                    </a:lnTo>
                    <a:lnTo>
                      <a:pt x="66" y="5"/>
                    </a:lnTo>
                    <a:lnTo>
                      <a:pt x="66" y="12"/>
                    </a:lnTo>
                    <a:lnTo>
                      <a:pt x="69" y="20"/>
                    </a:lnTo>
                    <a:lnTo>
                      <a:pt x="66" y="29"/>
                    </a:lnTo>
                    <a:lnTo>
                      <a:pt x="58" y="35"/>
                    </a:lnTo>
                    <a:lnTo>
                      <a:pt x="53" y="35"/>
                    </a:lnTo>
                    <a:lnTo>
                      <a:pt x="46" y="30"/>
                    </a:lnTo>
                    <a:lnTo>
                      <a:pt x="46" y="27"/>
                    </a:lnTo>
                    <a:lnTo>
                      <a:pt x="35" y="17"/>
                    </a:lnTo>
                    <a:lnTo>
                      <a:pt x="35" y="10"/>
                    </a:lnTo>
                    <a:lnTo>
                      <a:pt x="33" y="10"/>
                    </a:lnTo>
                    <a:lnTo>
                      <a:pt x="28" y="14"/>
                    </a:lnTo>
                    <a:lnTo>
                      <a:pt x="21" y="15"/>
                    </a:lnTo>
                    <a:lnTo>
                      <a:pt x="20" y="17"/>
                    </a:lnTo>
                    <a:lnTo>
                      <a:pt x="15" y="17"/>
                    </a:lnTo>
                    <a:lnTo>
                      <a:pt x="10" y="22"/>
                    </a:lnTo>
                    <a:lnTo>
                      <a:pt x="11" y="27"/>
                    </a:lnTo>
                    <a:lnTo>
                      <a:pt x="10" y="27"/>
                    </a:lnTo>
                    <a:lnTo>
                      <a:pt x="10" y="34"/>
                    </a:lnTo>
                    <a:lnTo>
                      <a:pt x="3" y="40"/>
                    </a:lnTo>
                    <a:lnTo>
                      <a:pt x="3" y="45"/>
                    </a:lnTo>
                    <a:lnTo>
                      <a:pt x="3" y="49"/>
                    </a:lnTo>
                    <a:lnTo>
                      <a:pt x="0" y="52"/>
                    </a:lnTo>
                    <a:lnTo>
                      <a:pt x="1" y="62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10" y="65"/>
                    </a:lnTo>
                    <a:lnTo>
                      <a:pt x="11" y="60"/>
                    </a:lnTo>
                    <a:lnTo>
                      <a:pt x="18" y="55"/>
                    </a:lnTo>
                    <a:lnTo>
                      <a:pt x="28" y="52"/>
                    </a:lnTo>
                    <a:lnTo>
                      <a:pt x="36" y="54"/>
                    </a:lnTo>
                    <a:lnTo>
                      <a:pt x="43" y="52"/>
                    </a:lnTo>
                    <a:lnTo>
                      <a:pt x="46" y="55"/>
                    </a:lnTo>
                    <a:lnTo>
                      <a:pt x="51" y="52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61" y="54"/>
                    </a:lnTo>
                    <a:lnTo>
                      <a:pt x="64" y="59"/>
                    </a:lnTo>
                    <a:lnTo>
                      <a:pt x="73" y="59"/>
                    </a:lnTo>
                    <a:lnTo>
                      <a:pt x="74" y="59"/>
                    </a:lnTo>
                    <a:lnTo>
                      <a:pt x="83" y="54"/>
                    </a:lnTo>
                    <a:lnTo>
                      <a:pt x="91" y="59"/>
                    </a:lnTo>
                    <a:lnTo>
                      <a:pt x="98" y="59"/>
                    </a:lnTo>
                    <a:lnTo>
                      <a:pt x="104" y="65"/>
                    </a:lnTo>
                    <a:lnTo>
                      <a:pt x="109" y="67"/>
                    </a:lnTo>
                    <a:lnTo>
                      <a:pt x="116" y="74"/>
                    </a:lnTo>
                    <a:lnTo>
                      <a:pt x="123" y="74"/>
                    </a:lnTo>
                    <a:lnTo>
                      <a:pt x="124" y="75"/>
                    </a:lnTo>
                    <a:lnTo>
                      <a:pt x="124" y="75"/>
                    </a:lnTo>
                    <a:lnTo>
                      <a:pt x="133" y="72"/>
                    </a:lnTo>
                    <a:lnTo>
                      <a:pt x="143" y="70"/>
                    </a:lnTo>
                    <a:lnTo>
                      <a:pt x="144" y="65"/>
                    </a:lnTo>
                    <a:lnTo>
                      <a:pt x="148" y="64"/>
                    </a:lnTo>
                    <a:lnTo>
                      <a:pt x="149" y="59"/>
                    </a:lnTo>
                    <a:lnTo>
                      <a:pt x="154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4" name="Freeform 38"/>
              <p:cNvSpPr>
                <a:spLocks/>
              </p:cNvSpPr>
              <p:nvPr/>
            </p:nvSpPr>
            <p:spPr bwMode="auto">
              <a:xfrm>
                <a:off x="6652610" y="2543403"/>
                <a:ext cx="64215" cy="41504"/>
              </a:xfrm>
              <a:custGeom>
                <a:avLst/>
                <a:gdLst/>
                <a:ahLst/>
                <a:cxnLst>
                  <a:cxn ang="0">
                    <a:pos x="38" y="56"/>
                  </a:cxn>
                  <a:cxn ang="0">
                    <a:pos x="38" y="50"/>
                  </a:cxn>
                  <a:cxn ang="0">
                    <a:pos x="41" y="46"/>
                  </a:cxn>
                  <a:cxn ang="0">
                    <a:pos x="38" y="43"/>
                  </a:cxn>
                  <a:cxn ang="0">
                    <a:pos x="35" y="43"/>
                  </a:cxn>
                  <a:cxn ang="0">
                    <a:pos x="35" y="38"/>
                  </a:cxn>
                  <a:cxn ang="0">
                    <a:pos x="31" y="37"/>
                  </a:cxn>
                  <a:cxn ang="0">
                    <a:pos x="23" y="40"/>
                  </a:cxn>
                  <a:cxn ang="0">
                    <a:pos x="16" y="37"/>
                  </a:cxn>
                  <a:cxn ang="0">
                    <a:pos x="10" y="28"/>
                  </a:cxn>
                  <a:cxn ang="0">
                    <a:pos x="1" y="30"/>
                  </a:cxn>
                  <a:cxn ang="0">
                    <a:pos x="0" y="30"/>
                  </a:cxn>
                  <a:cxn ang="0">
                    <a:pos x="1" y="27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5" y="13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3" y="0"/>
                  </a:cxn>
                  <a:cxn ang="0">
                    <a:pos x="31" y="2"/>
                  </a:cxn>
                  <a:cxn ang="0">
                    <a:pos x="38" y="0"/>
                  </a:cxn>
                  <a:cxn ang="0">
                    <a:pos x="41" y="3"/>
                  </a:cxn>
                  <a:cxn ang="0">
                    <a:pos x="46" y="0"/>
                  </a:cxn>
                  <a:cxn ang="0">
                    <a:pos x="51" y="0"/>
                  </a:cxn>
                  <a:cxn ang="0">
                    <a:pos x="51" y="2"/>
                  </a:cxn>
                  <a:cxn ang="0">
                    <a:pos x="56" y="2"/>
                  </a:cxn>
                  <a:cxn ang="0">
                    <a:pos x="59" y="7"/>
                  </a:cxn>
                  <a:cxn ang="0">
                    <a:pos x="68" y="7"/>
                  </a:cxn>
                  <a:cxn ang="0">
                    <a:pos x="69" y="7"/>
                  </a:cxn>
                  <a:cxn ang="0">
                    <a:pos x="78" y="2"/>
                  </a:cxn>
                  <a:cxn ang="0">
                    <a:pos x="86" y="7"/>
                  </a:cxn>
                  <a:cxn ang="0">
                    <a:pos x="93" y="7"/>
                  </a:cxn>
                  <a:cxn ang="0">
                    <a:pos x="99" y="13"/>
                  </a:cxn>
                  <a:cxn ang="0">
                    <a:pos x="104" y="15"/>
                  </a:cxn>
                  <a:cxn ang="0">
                    <a:pos x="111" y="22"/>
                  </a:cxn>
                  <a:cxn ang="0">
                    <a:pos x="118" y="22"/>
                  </a:cxn>
                  <a:cxn ang="0">
                    <a:pos x="119" y="23"/>
                  </a:cxn>
                  <a:cxn ang="0">
                    <a:pos x="114" y="30"/>
                  </a:cxn>
                  <a:cxn ang="0">
                    <a:pos x="118" y="32"/>
                  </a:cxn>
                  <a:cxn ang="0">
                    <a:pos x="118" y="37"/>
                  </a:cxn>
                  <a:cxn ang="0">
                    <a:pos x="109" y="40"/>
                  </a:cxn>
                  <a:cxn ang="0">
                    <a:pos x="106" y="46"/>
                  </a:cxn>
                  <a:cxn ang="0">
                    <a:pos x="101" y="48"/>
                  </a:cxn>
                  <a:cxn ang="0">
                    <a:pos x="101" y="55"/>
                  </a:cxn>
                  <a:cxn ang="0">
                    <a:pos x="106" y="56"/>
                  </a:cxn>
                  <a:cxn ang="0">
                    <a:pos x="106" y="61"/>
                  </a:cxn>
                  <a:cxn ang="0">
                    <a:pos x="101" y="61"/>
                  </a:cxn>
                  <a:cxn ang="0">
                    <a:pos x="99" y="60"/>
                  </a:cxn>
                  <a:cxn ang="0">
                    <a:pos x="96" y="60"/>
                  </a:cxn>
                  <a:cxn ang="0">
                    <a:pos x="93" y="66"/>
                  </a:cxn>
                  <a:cxn ang="0">
                    <a:pos x="86" y="66"/>
                  </a:cxn>
                  <a:cxn ang="0">
                    <a:pos x="88" y="73"/>
                  </a:cxn>
                  <a:cxn ang="0">
                    <a:pos x="84" y="73"/>
                  </a:cxn>
                  <a:cxn ang="0">
                    <a:pos x="78" y="76"/>
                  </a:cxn>
                  <a:cxn ang="0">
                    <a:pos x="71" y="73"/>
                  </a:cxn>
                  <a:cxn ang="0">
                    <a:pos x="63" y="75"/>
                  </a:cxn>
                  <a:cxn ang="0">
                    <a:pos x="58" y="78"/>
                  </a:cxn>
                  <a:cxn ang="0">
                    <a:pos x="55" y="75"/>
                  </a:cxn>
                  <a:cxn ang="0">
                    <a:pos x="55" y="70"/>
                  </a:cxn>
                  <a:cxn ang="0">
                    <a:pos x="53" y="61"/>
                  </a:cxn>
                  <a:cxn ang="0">
                    <a:pos x="50" y="61"/>
                  </a:cxn>
                  <a:cxn ang="0">
                    <a:pos x="43" y="56"/>
                  </a:cxn>
                  <a:cxn ang="0">
                    <a:pos x="38" y="56"/>
                  </a:cxn>
                </a:cxnLst>
                <a:rect l="0" t="0" r="r" b="b"/>
                <a:pathLst>
                  <a:path w="119" h="78">
                    <a:moveTo>
                      <a:pt x="38" y="56"/>
                    </a:moveTo>
                    <a:lnTo>
                      <a:pt x="38" y="50"/>
                    </a:lnTo>
                    <a:lnTo>
                      <a:pt x="41" y="46"/>
                    </a:lnTo>
                    <a:lnTo>
                      <a:pt x="38" y="43"/>
                    </a:lnTo>
                    <a:lnTo>
                      <a:pt x="35" y="43"/>
                    </a:lnTo>
                    <a:lnTo>
                      <a:pt x="35" y="38"/>
                    </a:lnTo>
                    <a:lnTo>
                      <a:pt x="31" y="37"/>
                    </a:lnTo>
                    <a:lnTo>
                      <a:pt x="23" y="40"/>
                    </a:lnTo>
                    <a:lnTo>
                      <a:pt x="16" y="37"/>
                    </a:lnTo>
                    <a:lnTo>
                      <a:pt x="10" y="28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1" y="27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5" y="13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3" y="0"/>
                    </a:lnTo>
                    <a:lnTo>
                      <a:pt x="31" y="2"/>
                    </a:lnTo>
                    <a:lnTo>
                      <a:pt x="38" y="0"/>
                    </a:lnTo>
                    <a:lnTo>
                      <a:pt x="41" y="3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51" y="2"/>
                    </a:lnTo>
                    <a:lnTo>
                      <a:pt x="56" y="2"/>
                    </a:lnTo>
                    <a:lnTo>
                      <a:pt x="59" y="7"/>
                    </a:lnTo>
                    <a:lnTo>
                      <a:pt x="68" y="7"/>
                    </a:lnTo>
                    <a:lnTo>
                      <a:pt x="69" y="7"/>
                    </a:lnTo>
                    <a:lnTo>
                      <a:pt x="78" y="2"/>
                    </a:lnTo>
                    <a:lnTo>
                      <a:pt x="86" y="7"/>
                    </a:lnTo>
                    <a:lnTo>
                      <a:pt x="93" y="7"/>
                    </a:lnTo>
                    <a:lnTo>
                      <a:pt x="99" y="13"/>
                    </a:lnTo>
                    <a:lnTo>
                      <a:pt x="104" y="15"/>
                    </a:lnTo>
                    <a:lnTo>
                      <a:pt x="111" y="22"/>
                    </a:lnTo>
                    <a:lnTo>
                      <a:pt x="118" y="22"/>
                    </a:lnTo>
                    <a:lnTo>
                      <a:pt x="119" y="23"/>
                    </a:lnTo>
                    <a:lnTo>
                      <a:pt x="114" y="30"/>
                    </a:lnTo>
                    <a:lnTo>
                      <a:pt x="118" y="32"/>
                    </a:lnTo>
                    <a:lnTo>
                      <a:pt x="118" y="37"/>
                    </a:lnTo>
                    <a:lnTo>
                      <a:pt x="109" y="40"/>
                    </a:lnTo>
                    <a:lnTo>
                      <a:pt x="106" y="46"/>
                    </a:lnTo>
                    <a:lnTo>
                      <a:pt x="101" y="48"/>
                    </a:lnTo>
                    <a:lnTo>
                      <a:pt x="101" y="55"/>
                    </a:lnTo>
                    <a:lnTo>
                      <a:pt x="106" y="56"/>
                    </a:lnTo>
                    <a:lnTo>
                      <a:pt x="106" y="61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96" y="60"/>
                    </a:lnTo>
                    <a:lnTo>
                      <a:pt x="93" y="66"/>
                    </a:lnTo>
                    <a:lnTo>
                      <a:pt x="86" y="66"/>
                    </a:lnTo>
                    <a:lnTo>
                      <a:pt x="88" y="73"/>
                    </a:lnTo>
                    <a:lnTo>
                      <a:pt x="84" y="73"/>
                    </a:lnTo>
                    <a:lnTo>
                      <a:pt x="78" y="76"/>
                    </a:lnTo>
                    <a:lnTo>
                      <a:pt x="71" y="73"/>
                    </a:lnTo>
                    <a:lnTo>
                      <a:pt x="63" y="75"/>
                    </a:lnTo>
                    <a:lnTo>
                      <a:pt x="58" y="78"/>
                    </a:lnTo>
                    <a:lnTo>
                      <a:pt x="55" y="75"/>
                    </a:lnTo>
                    <a:lnTo>
                      <a:pt x="55" y="70"/>
                    </a:lnTo>
                    <a:lnTo>
                      <a:pt x="53" y="61"/>
                    </a:lnTo>
                    <a:lnTo>
                      <a:pt x="50" y="61"/>
                    </a:lnTo>
                    <a:lnTo>
                      <a:pt x="43" y="56"/>
                    </a:lnTo>
                    <a:lnTo>
                      <a:pt x="38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5" name="Freeform 39"/>
              <p:cNvSpPr>
                <a:spLocks/>
              </p:cNvSpPr>
              <p:nvPr/>
            </p:nvSpPr>
            <p:spPr bwMode="auto">
              <a:xfrm>
                <a:off x="6683646" y="2546515"/>
                <a:ext cx="108095" cy="73669"/>
              </a:xfrm>
              <a:custGeom>
                <a:avLst/>
                <a:gdLst/>
                <a:ahLst/>
                <a:cxnLst>
                  <a:cxn ang="0">
                    <a:pos x="5" y="70"/>
                  </a:cxn>
                  <a:cxn ang="0">
                    <a:pos x="20" y="71"/>
                  </a:cxn>
                  <a:cxn ang="0">
                    <a:pos x="30" y="68"/>
                  </a:cxn>
                  <a:cxn ang="0">
                    <a:pos x="35" y="61"/>
                  </a:cxn>
                  <a:cxn ang="0">
                    <a:pos x="41" y="55"/>
                  </a:cxn>
                  <a:cxn ang="0">
                    <a:pos x="48" y="56"/>
                  </a:cxn>
                  <a:cxn ang="0">
                    <a:pos x="43" y="50"/>
                  </a:cxn>
                  <a:cxn ang="0">
                    <a:pos x="48" y="41"/>
                  </a:cxn>
                  <a:cxn ang="0">
                    <a:pos x="60" y="32"/>
                  </a:cxn>
                  <a:cxn ang="0">
                    <a:pos x="56" y="25"/>
                  </a:cxn>
                  <a:cxn ang="0">
                    <a:pos x="70" y="15"/>
                  </a:cxn>
                  <a:cxn ang="0">
                    <a:pos x="81" y="8"/>
                  </a:cxn>
                  <a:cxn ang="0">
                    <a:pos x="86" y="2"/>
                  </a:cxn>
                  <a:cxn ang="0">
                    <a:pos x="96" y="3"/>
                  </a:cxn>
                  <a:cxn ang="0">
                    <a:pos x="108" y="7"/>
                  </a:cxn>
                  <a:cxn ang="0">
                    <a:pos x="118" y="5"/>
                  </a:cxn>
                  <a:cxn ang="0">
                    <a:pos x="129" y="8"/>
                  </a:cxn>
                  <a:cxn ang="0">
                    <a:pos x="139" y="10"/>
                  </a:cxn>
                  <a:cxn ang="0">
                    <a:pos x="153" y="13"/>
                  </a:cxn>
                  <a:cxn ang="0">
                    <a:pos x="153" y="23"/>
                  </a:cxn>
                  <a:cxn ang="0">
                    <a:pos x="156" y="35"/>
                  </a:cxn>
                  <a:cxn ang="0">
                    <a:pos x="164" y="46"/>
                  </a:cxn>
                  <a:cxn ang="0">
                    <a:pos x="176" y="56"/>
                  </a:cxn>
                  <a:cxn ang="0">
                    <a:pos x="186" y="66"/>
                  </a:cxn>
                  <a:cxn ang="0">
                    <a:pos x="196" y="78"/>
                  </a:cxn>
                  <a:cxn ang="0">
                    <a:pos x="199" y="83"/>
                  </a:cxn>
                  <a:cxn ang="0">
                    <a:pos x="183" y="93"/>
                  </a:cxn>
                  <a:cxn ang="0">
                    <a:pos x="174" y="91"/>
                  </a:cxn>
                  <a:cxn ang="0">
                    <a:pos x="179" y="105"/>
                  </a:cxn>
                  <a:cxn ang="0">
                    <a:pos x="184" y="116"/>
                  </a:cxn>
                  <a:cxn ang="0">
                    <a:pos x="184" y="121"/>
                  </a:cxn>
                  <a:cxn ang="0">
                    <a:pos x="168" y="125"/>
                  </a:cxn>
                  <a:cxn ang="0">
                    <a:pos x="163" y="139"/>
                  </a:cxn>
                  <a:cxn ang="0">
                    <a:pos x="153" y="138"/>
                  </a:cxn>
                  <a:cxn ang="0">
                    <a:pos x="143" y="136"/>
                  </a:cxn>
                  <a:cxn ang="0">
                    <a:pos x="133" y="141"/>
                  </a:cxn>
                  <a:cxn ang="0">
                    <a:pos x="128" y="136"/>
                  </a:cxn>
                  <a:cxn ang="0">
                    <a:pos x="113" y="139"/>
                  </a:cxn>
                  <a:cxn ang="0">
                    <a:pos x="103" y="138"/>
                  </a:cxn>
                  <a:cxn ang="0">
                    <a:pos x="98" y="139"/>
                  </a:cxn>
                  <a:cxn ang="0">
                    <a:pos x="85" y="139"/>
                  </a:cxn>
                  <a:cxn ang="0">
                    <a:pos x="78" y="134"/>
                  </a:cxn>
                  <a:cxn ang="0">
                    <a:pos x="58" y="130"/>
                  </a:cxn>
                  <a:cxn ang="0">
                    <a:pos x="50" y="133"/>
                  </a:cxn>
                  <a:cxn ang="0">
                    <a:pos x="26" y="134"/>
                  </a:cxn>
                  <a:cxn ang="0">
                    <a:pos x="13" y="134"/>
                  </a:cxn>
                  <a:cxn ang="0">
                    <a:pos x="10" y="131"/>
                  </a:cxn>
                  <a:cxn ang="0">
                    <a:pos x="3" y="118"/>
                  </a:cxn>
                  <a:cxn ang="0">
                    <a:pos x="11" y="111"/>
                  </a:cxn>
                  <a:cxn ang="0">
                    <a:pos x="8" y="96"/>
                  </a:cxn>
                  <a:cxn ang="0">
                    <a:pos x="5" y="86"/>
                  </a:cxn>
                  <a:cxn ang="0">
                    <a:pos x="0" y="73"/>
                  </a:cxn>
                </a:cxnLst>
                <a:rect l="0" t="0" r="r" b="b"/>
                <a:pathLst>
                  <a:path w="202" h="141">
                    <a:moveTo>
                      <a:pt x="0" y="73"/>
                    </a:moveTo>
                    <a:lnTo>
                      <a:pt x="5" y="70"/>
                    </a:lnTo>
                    <a:lnTo>
                      <a:pt x="13" y="68"/>
                    </a:lnTo>
                    <a:lnTo>
                      <a:pt x="20" y="71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28" y="61"/>
                    </a:lnTo>
                    <a:lnTo>
                      <a:pt x="35" y="61"/>
                    </a:lnTo>
                    <a:lnTo>
                      <a:pt x="38" y="55"/>
                    </a:lnTo>
                    <a:lnTo>
                      <a:pt x="41" y="55"/>
                    </a:lnTo>
                    <a:lnTo>
                      <a:pt x="43" y="56"/>
                    </a:lnTo>
                    <a:lnTo>
                      <a:pt x="48" y="56"/>
                    </a:lnTo>
                    <a:lnTo>
                      <a:pt x="48" y="51"/>
                    </a:lnTo>
                    <a:lnTo>
                      <a:pt x="43" y="50"/>
                    </a:lnTo>
                    <a:lnTo>
                      <a:pt x="43" y="43"/>
                    </a:lnTo>
                    <a:lnTo>
                      <a:pt x="48" y="41"/>
                    </a:lnTo>
                    <a:lnTo>
                      <a:pt x="51" y="35"/>
                    </a:lnTo>
                    <a:lnTo>
                      <a:pt x="60" y="32"/>
                    </a:lnTo>
                    <a:lnTo>
                      <a:pt x="60" y="27"/>
                    </a:lnTo>
                    <a:lnTo>
                      <a:pt x="56" y="25"/>
                    </a:lnTo>
                    <a:lnTo>
                      <a:pt x="61" y="18"/>
                    </a:lnTo>
                    <a:lnTo>
                      <a:pt x="70" y="15"/>
                    </a:lnTo>
                    <a:lnTo>
                      <a:pt x="80" y="13"/>
                    </a:lnTo>
                    <a:lnTo>
                      <a:pt x="81" y="8"/>
                    </a:lnTo>
                    <a:lnTo>
                      <a:pt x="85" y="7"/>
                    </a:lnTo>
                    <a:lnTo>
                      <a:pt x="86" y="2"/>
                    </a:lnTo>
                    <a:lnTo>
                      <a:pt x="93" y="0"/>
                    </a:lnTo>
                    <a:lnTo>
                      <a:pt x="96" y="3"/>
                    </a:lnTo>
                    <a:lnTo>
                      <a:pt x="103" y="0"/>
                    </a:lnTo>
                    <a:lnTo>
                      <a:pt x="108" y="7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23" y="13"/>
                    </a:lnTo>
                    <a:lnTo>
                      <a:pt x="129" y="8"/>
                    </a:lnTo>
                    <a:lnTo>
                      <a:pt x="136" y="7"/>
                    </a:lnTo>
                    <a:lnTo>
                      <a:pt x="139" y="10"/>
                    </a:lnTo>
                    <a:lnTo>
                      <a:pt x="143" y="10"/>
                    </a:lnTo>
                    <a:lnTo>
                      <a:pt x="153" y="13"/>
                    </a:lnTo>
                    <a:lnTo>
                      <a:pt x="154" y="18"/>
                    </a:lnTo>
                    <a:lnTo>
                      <a:pt x="153" y="23"/>
                    </a:lnTo>
                    <a:lnTo>
                      <a:pt x="156" y="28"/>
                    </a:lnTo>
                    <a:lnTo>
                      <a:pt x="156" y="35"/>
                    </a:lnTo>
                    <a:lnTo>
                      <a:pt x="163" y="40"/>
                    </a:lnTo>
                    <a:lnTo>
                      <a:pt x="164" y="46"/>
                    </a:lnTo>
                    <a:lnTo>
                      <a:pt x="171" y="55"/>
                    </a:lnTo>
                    <a:lnTo>
                      <a:pt x="176" y="56"/>
                    </a:lnTo>
                    <a:lnTo>
                      <a:pt x="178" y="65"/>
                    </a:lnTo>
                    <a:lnTo>
                      <a:pt x="186" y="66"/>
                    </a:lnTo>
                    <a:lnTo>
                      <a:pt x="196" y="73"/>
                    </a:lnTo>
                    <a:lnTo>
                      <a:pt x="196" y="78"/>
                    </a:lnTo>
                    <a:lnTo>
                      <a:pt x="202" y="81"/>
                    </a:lnTo>
                    <a:lnTo>
                      <a:pt x="199" y="83"/>
                    </a:lnTo>
                    <a:lnTo>
                      <a:pt x="194" y="91"/>
                    </a:lnTo>
                    <a:lnTo>
                      <a:pt x="183" y="93"/>
                    </a:lnTo>
                    <a:lnTo>
                      <a:pt x="178" y="88"/>
                    </a:lnTo>
                    <a:lnTo>
                      <a:pt x="174" y="91"/>
                    </a:lnTo>
                    <a:lnTo>
                      <a:pt x="176" y="96"/>
                    </a:lnTo>
                    <a:lnTo>
                      <a:pt x="179" y="105"/>
                    </a:lnTo>
                    <a:lnTo>
                      <a:pt x="179" y="110"/>
                    </a:lnTo>
                    <a:lnTo>
                      <a:pt x="184" y="116"/>
                    </a:lnTo>
                    <a:lnTo>
                      <a:pt x="184" y="121"/>
                    </a:lnTo>
                    <a:lnTo>
                      <a:pt x="184" y="121"/>
                    </a:lnTo>
                    <a:lnTo>
                      <a:pt x="174" y="123"/>
                    </a:lnTo>
                    <a:lnTo>
                      <a:pt x="168" y="125"/>
                    </a:lnTo>
                    <a:lnTo>
                      <a:pt x="163" y="133"/>
                    </a:lnTo>
                    <a:lnTo>
                      <a:pt x="163" y="139"/>
                    </a:lnTo>
                    <a:lnTo>
                      <a:pt x="158" y="141"/>
                    </a:lnTo>
                    <a:lnTo>
                      <a:pt x="153" y="138"/>
                    </a:lnTo>
                    <a:lnTo>
                      <a:pt x="146" y="139"/>
                    </a:lnTo>
                    <a:lnTo>
                      <a:pt x="143" y="136"/>
                    </a:lnTo>
                    <a:lnTo>
                      <a:pt x="138" y="136"/>
                    </a:lnTo>
                    <a:lnTo>
                      <a:pt x="133" y="141"/>
                    </a:lnTo>
                    <a:lnTo>
                      <a:pt x="129" y="141"/>
                    </a:lnTo>
                    <a:lnTo>
                      <a:pt x="128" y="136"/>
                    </a:lnTo>
                    <a:lnTo>
                      <a:pt x="121" y="136"/>
                    </a:lnTo>
                    <a:lnTo>
                      <a:pt x="113" y="139"/>
                    </a:lnTo>
                    <a:lnTo>
                      <a:pt x="109" y="138"/>
                    </a:lnTo>
                    <a:lnTo>
                      <a:pt x="103" y="138"/>
                    </a:lnTo>
                    <a:lnTo>
                      <a:pt x="101" y="139"/>
                    </a:lnTo>
                    <a:lnTo>
                      <a:pt x="98" y="139"/>
                    </a:lnTo>
                    <a:lnTo>
                      <a:pt x="93" y="136"/>
                    </a:lnTo>
                    <a:lnTo>
                      <a:pt x="85" y="139"/>
                    </a:lnTo>
                    <a:lnTo>
                      <a:pt x="85" y="136"/>
                    </a:lnTo>
                    <a:lnTo>
                      <a:pt x="78" y="134"/>
                    </a:lnTo>
                    <a:lnTo>
                      <a:pt x="65" y="133"/>
                    </a:lnTo>
                    <a:lnTo>
                      <a:pt x="58" y="130"/>
                    </a:lnTo>
                    <a:lnTo>
                      <a:pt x="55" y="130"/>
                    </a:lnTo>
                    <a:lnTo>
                      <a:pt x="50" y="133"/>
                    </a:lnTo>
                    <a:lnTo>
                      <a:pt x="43" y="133"/>
                    </a:lnTo>
                    <a:lnTo>
                      <a:pt x="26" y="134"/>
                    </a:lnTo>
                    <a:lnTo>
                      <a:pt x="21" y="138"/>
                    </a:lnTo>
                    <a:lnTo>
                      <a:pt x="13" y="134"/>
                    </a:lnTo>
                    <a:lnTo>
                      <a:pt x="10" y="134"/>
                    </a:lnTo>
                    <a:lnTo>
                      <a:pt x="10" y="131"/>
                    </a:lnTo>
                    <a:lnTo>
                      <a:pt x="5" y="125"/>
                    </a:lnTo>
                    <a:lnTo>
                      <a:pt x="3" y="118"/>
                    </a:lnTo>
                    <a:lnTo>
                      <a:pt x="6" y="113"/>
                    </a:lnTo>
                    <a:lnTo>
                      <a:pt x="11" y="111"/>
                    </a:lnTo>
                    <a:lnTo>
                      <a:pt x="11" y="98"/>
                    </a:lnTo>
                    <a:lnTo>
                      <a:pt x="8" y="96"/>
                    </a:lnTo>
                    <a:lnTo>
                      <a:pt x="8" y="90"/>
                    </a:lnTo>
                    <a:lnTo>
                      <a:pt x="5" y="86"/>
                    </a:lnTo>
                    <a:lnTo>
                      <a:pt x="1" y="75"/>
                    </a:lnTo>
                    <a:lnTo>
                      <a:pt x="0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6" name="Freeform 40"/>
              <p:cNvSpPr>
                <a:spLocks/>
              </p:cNvSpPr>
              <p:nvPr/>
            </p:nvSpPr>
            <p:spPr bwMode="auto">
              <a:xfrm>
                <a:off x="6675084" y="2604620"/>
                <a:ext cx="214050" cy="117248"/>
              </a:xfrm>
              <a:custGeom>
                <a:avLst/>
                <a:gdLst/>
                <a:ahLst/>
                <a:cxnLst>
                  <a:cxn ang="0">
                    <a:pos x="58" y="20"/>
                  </a:cxn>
                  <a:cxn ang="0">
                    <a:pos x="93" y="21"/>
                  </a:cxn>
                  <a:cxn ang="0">
                    <a:pos x="116" y="26"/>
                  </a:cxn>
                  <a:cxn ang="0">
                    <a:pos x="143" y="23"/>
                  </a:cxn>
                  <a:cxn ang="0">
                    <a:pos x="161" y="26"/>
                  </a:cxn>
                  <a:cxn ang="0">
                    <a:pos x="183" y="12"/>
                  </a:cxn>
                  <a:cxn ang="0">
                    <a:pos x="209" y="3"/>
                  </a:cxn>
                  <a:cxn ang="0">
                    <a:pos x="249" y="2"/>
                  </a:cxn>
                  <a:cxn ang="0">
                    <a:pos x="274" y="26"/>
                  </a:cxn>
                  <a:cxn ang="0">
                    <a:pos x="287" y="48"/>
                  </a:cxn>
                  <a:cxn ang="0">
                    <a:pos x="320" y="56"/>
                  </a:cxn>
                  <a:cxn ang="0">
                    <a:pos x="347" y="70"/>
                  </a:cxn>
                  <a:cxn ang="0">
                    <a:pos x="375" y="70"/>
                  </a:cxn>
                  <a:cxn ang="0">
                    <a:pos x="399" y="78"/>
                  </a:cxn>
                  <a:cxn ang="0">
                    <a:pos x="395" y="105"/>
                  </a:cxn>
                  <a:cxn ang="0">
                    <a:pos x="379" y="128"/>
                  </a:cxn>
                  <a:cxn ang="0">
                    <a:pos x="364" y="146"/>
                  </a:cxn>
                  <a:cxn ang="0">
                    <a:pos x="344" y="153"/>
                  </a:cxn>
                  <a:cxn ang="0">
                    <a:pos x="324" y="161"/>
                  </a:cxn>
                  <a:cxn ang="0">
                    <a:pos x="302" y="161"/>
                  </a:cxn>
                  <a:cxn ang="0">
                    <a:pos x="297" y="176"/>
                  </a:cxn>
                  <a:cxn ang="0">
                    <a:pos x="299" y="168"/>
                  </a:cxn>
                  <a:cxn ang="0">
                    <a:pos x="284" y="179"/>
                  </a:cxn>
                  <a:cxn ang="0">
                    <a:pos x="266" y="179"/>
                  </a:cxn>
                  <a:cxn ang="0">
                    <a:pos x="286" y="186"/>
                  </a:cxn>
                  <a:cxn ang="0">
                    <a:pos x="289" y="191"/>
                  </a:cxn>
                  <a:cxn ang="0">
                    <a:pos x="297" y="201"/>
                  </a:cxn>
                  <a:cxn ang="0">
                    <a:pos x="287" y="179"/>
                  </a:cxn>
                  <a:cxn ang="0">
                    <a:pos x="309" y="201"/>
                  </a:cxn>
                  <a:cxn ang="0">
                    <a:pos x="330" y="194"/>
                  </a:cxn>
                  <a:cxn ang="0">
                    <a:pos x="330" y="206"/>
                  </a:cxn>
                  <a:cxn ang="0">
                    <a:pos x="296" y="214"/>
                  </a:cxn>
                  <a:cxn ang="0">
                    <a:pos x="264" y="219"/>
                  </a:cxn>
                  <a:cxn ang="0">
                    <a:pos x="251" y="201"/>
                  </a:cxn>
                  <a:cxn ang="0">
                    <a:pos x="264" y="189"/>
                  </a:cxn>
                  <a:cxn ang="0">
                    <a:pos x="259" y="183"/>
                  </a:cxn>
                  <a:cxn ang="0">
                    <a:pos x="234" y="179"/>
                  </a:cxn>
                  <a:cxn ang="0">
                    <a:pos x="224" y="171"/>
                  </a:cxn>
                  <a:cxn ang="0">
                    <a:pos x="231" y="168"/>
                  </a:cxn>
                  <a:cxn ang="0">
                    <a:pos x="226" y="163"/>
                  </a:cxn>
                  <a:cxn ang="0">
                    <a:pos x="216" y="164"/>
                  </a:cxn>
                  <a:cxn ang="0">
                    <a:pos x="199" y="176"/>
                  </a:cxn>
                  <a:cxn ang="0">
                    <a:pos x="181" y="194"/>
                  </a:cxn>
                  <a:cxn ang="0">
                    <a:pos x="179" y="204"/>
                  </a:cxn>
                  <a:cxn ang="0">
                    <a:pos x="154" y="204"/>
                  </a:cxn>
                  <a:cxn ang="0">
                    <a:pos x="151" y="191"/>
                  </a:cxn>
                  <a:cxn ang="0">
                    <a:pos x="164" y="171"/>
                  </a:cxn>
                  <a:cxn ang="0">
                    <a:pos x="179" y="164"/>
                  </a:cxn>
                  <a:cxn ang="0">
                    <a:pos x="166" y="146"/>
                  </a:cxn>
                  <a:cxn ang="0">
                    <a:pos x="146" y="121"/>
                  </a:cxn>
                  <a:cxn ang="0">
                    <a:pos x="119" y="116"/>
                  </a:cxn>
                  <a:cxn ang="0">
                    <a:pos x="103" y="113"/>
                  </a:cxn>
                  <a:cxn ang="0">
                    <a:pos x="100" y="128"/>
                  </a:cxn>
                  <a:cxn ang="0">
                    <a:pos x="63" y="138"/>
                  </a:cxn>
                  <a:cxn ang="0">
                    <a:pos x="35" y="131"/>
                  </a:cxn>
                  <a:cxn ang="0">
                    <a:pos x="12" y="126"/>
                  </a:cxn>
                  <a:cxn ang="0">
                    <a:pos x="7" y="100"/>
                  </a:cxn>
                  <a:cxn ang="0">
                    <a:pos x="28" y="66"/>
                  </a:cxn>
                  <a:cxn ang="0">
                    <a:pos x="35" y="50"/>
                  </a:cxn>
                  <a:cxn ang="0">
                    <a:pos x="25" y="25"/>
                  </a:cxn>
                </a:cxnLst>
                <a:rect l="0" t="0" r="r" b="b"/>
                <a:pathLst>
                  <a:path w="399" h="224">
                    <a:moveTo>
                      <a:pt x="25" y="21"/>
                    </a:moveTo>
                    <a:lnTo>
                      <a:pt x="28" y="21"/>
                    </a:lnTo>
                    <a:lnTo>
                      <a:pt x="36" y="25"/>
                    </a:lnTo>
                    <a:lnTo>
                      <a:pt x="41" y="21"/>
                    </a:lnTo>
                    <a:lnTo>
                      <a:pt x="58" y="20"/>
                    </a:lnTo>
                    <a:lnTo>
                      <a:pt x="65" y="20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80" y="20"/>
                    </a:lnTo>
                    <a:lnTo>
                      <a:pt x="93" y="21"/>
                    </a:lnTo>
                    <a:lnTo>
                      <a:pt x="100" y="23"/>
                    </a:lnTo>
                    <a:lnTo>
                      <a:pt x="100" y="26"/>
                    </a:lnTo>
                    <a:lnTo>
                      <a:pt x="108" y="23"/>
                    </a:lnTo>
                    <a:lnTo>
                      <a:pt x="113" y="26"/>
                    </a:lnTo>
                    <a:lnTo>
                      <a:pt x="116" y="26"/>
                    </a:lnTo>
                    <a:lnTo>
                      <a:pt x="118" y="25"/>
                    </a:lnTo>
                    <a:lnTo>
                      <a:pt x="124" y="25"/>
                    </a:lnTo>
                    <a:lnTo>
                      <a:pt x="128" y="26"/>
                    </a:lnTo>
                    <a:lnTo>
                      <a:pt x="136" y="23"/>
                    </a:lnTo>
                    <a:lnTo>
                      <a:pt x="143" y="23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3" y="23"/>
                    </a:lnTo>
                    <a:lnTo>
                      <a:pt x="158" y="23"/>
                    </a:lnTo>
                    <a:lnTo>
                      <a:pt x="161" y="26"/>
                    </a:lnTo>
                    <a:lnTo>
                      <a:pt x="168" y="25"/>
                    </a:lnTo>
                    <a:lnTo>
                      <a:pt x="173" y="28"/>
                    </a:lnTo>
                    <a:lnTo>
                      <a:pt x="178" y="26"/>
                    </a:lnTo>
                    <a:lnTo>
                      <a:pt x="178" y="20"/>
                    </a:lnTo>
                    <a:lnTo>
                      <a:pt x="183" y="12"/>
                    </a:lnTo>
                    <a:lnTo>
                      <a:pt x="189" y="10"/>
                    </a:lnTo>
                    <a:lnTo>
                      <a:pt x="199" y="8"/>
                    </a:lnTo>
                    <a:lnTo>
                      <a:pt x="204" y="8"/>
                    </a:lnTo>
                    <a:lnTo>
                      <a:pt x="209" y="8"/>
                    </a:lnTo>
                    <a:lnTo>
                      <a:pt x="209" y="3"/>
                    </a:lnTo>
                    <a:lnTo>
                      <a:pt x="213" y="0"/>
                    </a:lnTo>
                    <a:lnTo>
                      <a:pt x="224" y="3"/>
                    </a:lnTo>
                    <a:lnTo>
                      <a:pt x="237" y="3"/>
                    </a:lnTo>
                    <a:lnTo>
                      <a:pt x="242" y="2"/>
                    </a:lnTo>
                    <a:lnTo>
                      <a:pt x="249" y="2"/>
                    </a:lnTo>
                    <a:lnTo>
                      <a:pt x="252" y="12"/>
                    </a:lnTo>
                    <a:lnTo>
                      <a:pt x="257" y="15"/>
                    </a:lnTo>
                    <a:lnTo>
                      <a:pt x="254" y="20"/>
                    </a:lnTo>
                    <a:lnTo>
                      <a:pt x="261" y="28"/>
                    </a:lnTo>
                    <a:lnTo>
                      <a:pt x="274" y="26"/>
                    </a:lnTo>
                    <a:lnTo>
                      <a:pt x="279" y="30"/>
                    </a:lnTo>
                    <a:lnTo>
                      <a:pt x="281" y="35"/>
                    </a:lnTo>
                    <a:lnTo>
                      <a:pt x="286" y="35"/>
                    </a:lnTo>
                    <a:lnTo>
                      <a:pt x="286" y="41"/>
                    </a:lnTo>
                    <a:lnTo>
                      <a:pt x="287" y="48"/>
                    </a:lnTo>
                    <a:lnTo>
                      <a:pt x="299" y="58"/>
                    </a:lnTo>
                    <a:lnTo>
                      <a:pt x="302" y="53"/>
                    </a:lnTo>
                    <a:lnTo>
                      <a:pt x="309" y="56"/>
                    </a:lnTo>
                    <a:lnTo>
                      <a:pt x="315" y="55"/>
                    </a:lnTo>
                    <a:lnTo>
                      <a:pt x="320" y="56"/>
                    </a:lnTo>
                    <a:lnTo>
                      <a:pt x="329" y="51"/>
                    </a:lnTo>
                    <a:lnTo>
                      <a:pt x="332" y="50"/>
                    </a:lnTo>
                    <a:lnTo>
                      <a:pt x="337" y="61"/>
                    </a:lnTo>
                    <a:lnTo>
                      <a:pt x="345" y="65"/>
                    </a:lnTo>
                    <a:lnTo>
                      <a:pt x="347" y="70"/>
                    </a:lnTo>
                    <a:lnTo>
                      <a:pt x="350" y="66"/>
                    </a:lnTo>
                    <a:lnTo>
                      <a:pt x="360" y="68"/>
                    </a:lnTo>
                    <a:lnTo>
                      <a:pt x="365" y="68"/>
                    </a:lnTo>
                    <a:lnTo>
                      <a:pt x="370" y="71"/>
                    </a:lnTo>
                    <a:lnTo>
                      <a:pt x="375" y="70"/>
                    </a:lnTo>
                    <a:lnTo>
                      <a:pt x="382" y="73"/>
                    </a:lnTo>
                    <a:lnTo>
                      <a:pt x="390" y="75"/>
                    </a:lnTo>
                    <a:lnTo>
                      <a:pt x="394" y="71"/>
                    </a:lnTo>
                    <a:lnTo>
                      <a:pt x="395" y="76"/>
                    </a:lnTo>
                    <a:lnTo>
                      <a:pt x="399" y="78"/>
                    </a:lnTo>
                    <a:lnTo>
                      <a:pt x="399" y="85"/>
                    </a:lnTo>
                    <a:lnTo>
                      <a:pt x="395" y="90"/>
                    </a:lnTo>
                    <a:lnTo>
                      <a:pt x="390" y="90"/>
                    </a:lnTo>
                    <a:lnTo>
                      <a:pt x="389" y="100"/>
                    </a:lnTo>
                    <a:lnTo>
                      <a:pt x="395" y="105"/>
                    </a:lnTo>
                    <a:lnTo>
                      <a:pt x="397" y="110"/>
                    </a:lnTo>
                    <a:lnTo>
                      <a:pt x="394" y="118"/>
                    </a:lnTo>
                    <a:lnTo>
                      <a:pt x="394" y="124"/>
                    </a:lnTo>
                    <a:lnTo>
                      <a:pt x="390" y="126"/>
                    </a:lnTo>
                    <a:lnTo>
                      <a:pt x="379" y="128"/>
                    </a:lnTo>
                    <a:lnTo>
                      <a:pt x="372" y="134"/>
                    </a:lnTo>
                    <a:lnTo>
                      <a:pt x="370" y="136"/>
                    </a:lnTo>
                    <a:lnTo>
                      <a:pt x="369" y="146"/>
                    </a:lnTo>
                    <a:lnTo>
                      <a:pt x="364" y="148"/>
                    </a:lnTo>
                    <a:lnTo>
                      <a:pt x="364" y="146"/>
                    </a:lnTo>
                    <a:lnTo>
                      <a:pt x="360" y="146"/>
                    </a:lnTo>
                    <a:lnTo>
                      <a:pt x="354" y="148"/>
                    </a:lnTo>
                    <a:lnTo>
                      <a:pt x="349" y="148"/>
                    </a:lnTo>
                    <a:lnTo>
                      <a:pt x="345" y="149"/>
                    </a:lnTo>
                    <a:lnTo>
                      <a:pt x="344" y="153"/>
                    </a:lnTo>
                    <a:lnTo>
                      <a:pt x="339" y="153"/>
                    </a:lnTo>
                    <a:lnTo>
                      <a:pt x="335" y="156"/>
                    </a:lnTo>
                    <a:lnTo>
                      <a:pt x="330" y="161"/>
                    </a:lnTo>
                    <a:lnTo>
                      <a:pt x="329" y="161"/>
                    </a:lnTo>
                    <a:lnTo>
                      <a:pt x="324" y="161"/>
                    </a:lnTo>
                    <a:lnTo>
                      <a:pt x="319" y="164"/>
                    </a:lnTo>
                    <a:lnTo>
                      <a:pt x="314" y="163"/>
                    </a:lnTo>
                    <a:lnTo>
                      <a:pt x="309" y="166"/>
                    </a:lnTo>
                    <a:lnTo>
                      <a:pt x="306" y="166"/>
                    </a:lnTo>
                    <a:lnTo>
                      <a:pt x="302" y="161"/>
                    </a:lnTo>
                    <a:lnTo>
                      <a:pt x="301" y="161"/>
                    </a:lnTo>
                    <a:lnTo>
                      <a:pt x="301" y="163"/>
                    </a:lnTo>
                    <a:lnTo>
                      <a:pt x="304" y="166"/>
                    </a:lnTo>
                    <a:lnTo>
                      <a:pt x="302" y="169"/>
                    </a:lnTo>
                    <a:lnTo>
                      <a:pt x="297" y="176"/>
                    </a:lnTo>
                    <a:lnTo>
                      <a:pt x="296" y="178"/>
                    </a:lnTo>
                    <a:lnTo>
                      <a:pt x="294" y="176"/>
                    </a:lnTo>
                    <a:lnTo>
                      <a:pt x="296" y="174"/>
                    </a:lnTo>
                    <a:lnTo>
                      <a:pt x="301" y="169"/>
                    </a:lnTo>
                    <a:lnTo>
                      <a:pt x="299" y="168"/>
                    </a:lnTo>
                    <a:lnTo>
                      <a:pt x="297" y="166"/>
                    </a:lnTo>
                    <a:lnTo>
                      <a:pt x="296" y="169"/>
                    </a:lnTo>
                    <a:lnTo>
                      <a:pt x="289" y="176"/>
                    </a:lnTo>
                    <a:lnTo>
                      <a:pt x="284" y="176"/>
                    </a:lnTo>
                    <a:lnTo>
                      <a:pt x="284" y="179"/>
                    </a:lnTo>
                    <a:lnTo>
                      <a:pt x="279" y="179"/>
                    </a:lnTo>
                    <a:lnTo>
                      <a:pt x="276" y="176"/>
                    </a:lnTo>
                    <a:lnTo>
                      <a:pt x="272" y="179"/>
                    </a:lnTo>
                    <a:lnTo>
                      <a:pt x="267" y="178"/>
                    </a:lnTo>
                    <a:lnTo>
                      <a:pt x="266" y="179"/>
                    </a:lnTo>
                    <a:lnTo>
                      <a:pt x="269" y="183"/>
                    </a:lnTo>
                    <a:lnTo>
                      <a:pt x="277" y="181"/>
                    </a:lnTo>
                    <a:lnTo>
                      <a:pt x="279" y="184"/>
                    </a:lnTo>
                    <a:lnTo>
                      <a:pt x="282" y="186"/>
                    </a:lnTo>
                    <a:lnTo>
                      <a:pt x="286" y="186"/>
                    </a:lnTo>
                    <a:lnTo>
                      <a:pt x="287" y="188"/>
                    </a:lnTo>
                    <a:lnTo>
                      <a:pt x="284" y="189"/>
                    </a:lnTo>
                    <a:lnTo>
                      <a:pt x="286" y="193"/>
                    </a:lnTo>
                    <a:lnTo>
                      <a:pt x="287" y="191"/>
                    </a:lnTo>
                    <a:lnTo>
                      <a:pt x="289" y="191"/>
                    </a:lnTo>
                    <a:lnTo>
                      <a:pt x="289" y="194"/>
                    </a:lnTo>
                    <a:lnTo>
                      <a:pt x="292" y="191"/>
                    </a:lnTo>
                    <a:lnTo>
                      <a:pt x="294" y="193"/>
                    </a:lnTo>
                    <a:lnTo>
                      <a:pt x="296" y="198"/>
                    </a:lnTo>
                    <a:lnTo>
                      <a:pt x="297" y="201"/>
                    </a:lnTo>
                    <a:lnTo>
                      <a:pt x="304" y="203"/>
                    </a:lnTo>
                    <a:lnTo>
                      <a:pt x="306" y="201"/>
                    </a:lnTo>
                    <a:lnTo>
                      <a:pt x="297" y="194"/>
                    </a:lnTo>
                    <a:lnTo>
                      <a:pt x="289" y="184"/>
                    </a:lnTo>
                    <a:lnTo>
                      <a:pt x="287" y="179"/>
                    </a:lnTo>
                    <a:lnTo>
                      <a:pt x="289" y="178"/>
                    </a:lnTo>
                    <a:lnTo>
                      <a:pt x="292" y="183"/>
                    </a:lnTo>
                    <a:lnTo>
                      <a:pt x="294" y="189"/>
                    </a:lnTo>
                    <a:lnTo>
                      <a:pt x="306" y="201"/>
                    </a:lnTo>
                    <a:lnTo>
                      <a:pt x="309" y="201"/>
                    </a:lnTo>
                    <a:lnTo>
                      <a:pt x="312" y="198"/>
                    </a:lnTo>
                    <a:lnTo>
                      <a:pt x="315" y="198"/>
                    </a:lnTo>
                    <a:lnTo>
                      <a:pt x="320" y="199"/>
                    </a:lnTo>
                    <a:lnTo>
                      <a:pt x="322" y="196"/>
                    </a:lnTo>
                    <a:lnTo>
                      <a:pt x="330" y="194"/>
                    </a:lnTo>
                    <a:lnTo>
                      <a:pt x="335" y="194"/>
                    </a:lnTo>
                    <a:lnTo>
                      <a:pt x="334" y="198"/>
                    </a:lnTo>
                    <a:lnTo>
                      <a:pt x="332" y="199"/>
                    </a:lnTo>
                    <a:lnTo>
                      <a:pt x="334" y="203"/>
                    </a:lnTo>
                    <a:lnTo>
                      <a:pt x="330" y="206"/>
                    </a:lnTo>
                    <a:lnTo>
                      <a:pt x="324" y="208"/>
                    </a:lnTo>
                    <a:lnTo>
                      <a:pt x="314" y="206"/>
                    </a:lnTo>
                    <a:lnTo>
                      <a:pt x="307" y="209"/>
                    </a:lnTo>
                    <a:lnTo>
                      <a:pt x="304" y="214"/>
                    </a:lnTo>
                    <a:lnTo>
                      <a:pt x="296" y="214"/>
                    </a:lnTo>
                    <a:lnTo>
                      <a:pt x="284" y="221"/>
                    </a:lnTo>
                    <a:lnTo>
                      <a:pt x="276" y="224"/>
                    </a:lnTo>
                    <a:lnTo>
                      <a:pt x="267" y="224"/>
                    </a:lnTo>
                    <a:lnTo>
                      <a:pt x="264" y="221"/>
                    </a:lnTo>
                    <a:lnTo>
                      <a:pt x="264" y="219"/>
                    </a:lnTo>
                    <a:lnTo>
                      <a:pt x="267" y="213"/>
                    </a:lnTo>
                    <a:lnTo>
                      <a:pt x="267" y="209"/>
                    </a:lnTo>
                    <a:lnTo>
                      <a:pt x="259" y="203"/>
                    </a:lnTo>
                    <a:lnTo>
                      <a:pt x="257" y="204"/>
                    </a:lnTo>
                    <a:lnTo>
                      <a:pt x="251" y="201"/>
                    </a:lnTo>
                    <a:lnTo>
                      <a:pt x="247" y="204"/>
                    </a:lnTo>
                    <a:lnTo>
                      <a:pt x="244" y="203"/>
                    </a:lnTo>
                    <a:lnTo>
                      <a:pt x="249" y="196"/>
                    </a:lnTo>
                    <a:lnTo>
                      <a:pt x="257" y="191"/>
                    </a:lnTo>
                    <a:lnTo>
                      <a:pt x="264" y="189"/>
                    </a:lnTo>
                    <a:lnTo>
                      <a:pt x="267" y="188"/>
                    </a:lnTo>
                    <a:lnTo>
                      <a:pt x="264" y="186"/>
                    </a:lnTo>
                    <a:lnTo>
                      <a:pt x="262" y="179"/>
                    </a:lnTo>
                    <a:lnTo>
                      <a:pt x="261" y="179"/>
                    </a:lnTo>
                    <a:lnTo>
                      <a:pt x="259" y="183"/>
                    </a:lnTo>
                    <a:lnTo>
                      <a:pt x="254" y="179"/>
                    </a:lnTo>
                    <a:lnTo>
                      <a:pt x="249" y="178"/>
                    </a:lnTo>
                    <a:lnTo>
                      <a:pt x="244" y="179"/>
                    </a:lnTo>
                    <a:lnTo>
                      <a:pt x="239" y="181"/>
                    </a:lnTo>
                    <a:lnTo>
                      <a:pt x="234" y="179"/>
                    </a:lnTo>
                    <a:lnTo>
                      <a:pt x="231" y="179"/>
                    </a:lnTo>
                    <a:lnTo>
                      <a:pt x="227" y="176"/>
                    </a:lnTo>
                    <a:lnTo>
                      <a:pt x="229" y="174"/>
                    </a:lnTo>
                    <a:lnTo>
                      <a:pt x="231" y="173"/>
                    </a:lnTo>
                    <a:lnTo>
                      <a:pt x="224" y="171"/>
                    </a:lnTo>
                    <a:lnTo>
                      <a:pt x="214" y="171"/>
                    </a:lnTo>
                    <a:lnTo>
                      <a:pt x="213" y="168"/>
                    </a:lnTo>
                    <a:lnTo>
                      <a:pt x="217" y="168"/>
                    </a:lnTo>
                    <a:lnTo>
                      <a:pt x="226" y="168"/>
                    </a:lnTo>
                    <a:lnTo>
                      <a:pt x="231" y="168"/>
                    </a:lnTo>
                    <a:lnTo>
                      <a:pt x="234" y="166"/>
                    </a:lnTo>
                    <a:lnTo>
                      <a:pt x="239" y="164"/>
                    </a:lnTo>
                    <a:lnTo>
                      <a:pt x="232" y="166"/>
                    </a:lnTo>
                    <a:lnTo>
                      <a:pt x="227" y="164"/>
                    </a:lnTo>
                    <a:lnTo>
                      <a:pt x="226" y="163"/>
                    </a:lnTo>
                    <a:lnTo>
                      <a:pt x="224" y="159"/>
                    </a:lnTo>
                    <a:lnTo>
                      <a:pt x="221" y="163"/>
                    </a:lnTo>
                    <a:lnTo>
                      <a:pt x="219" y="166"/>
                    </a:lnTo>
                    <a:lnTo>
                      <a:pt x="216" y="166"/>
                    </a:lnTo>
                    <a:lnTo>
                      <a:pt x="216" y="164"/>
                    </a:lnTo>
                    <a:lnTo>
                      <a:pt x="213" y="161"/>
                    </a:lnTo>
                    <a:lnTo>
                      <a:pt x="208" y="168"/>
                    </a:lnTo>
                    <a:lnTo>
                      <a:pt x="203" y="168"/>
                    </a:lnTo>
                    <a:lnTo>
                      <a:pt x="199" y="169"/>
                    </a:lnTo>
                    <a:lnTo>
                      <a:pt x="199" y="176"/>
                    </a:lnTo>
                    <a:lnTo>
                      <a:pt x="194" y="181"/>
                    </a:lnTo>
                    <a:lnTo>
                      <a:pt x="191" y="181"/>
                    </a:lnTo>
                    <a:lnTo>
                      <a:pt x="193" y="184"/>
                    </a:lnTo>
                    <a:lnTo>
                      <a:pt x="183" y="194"/>
                    </a:lnTo>
                    <a:lnTo>
                      <a:pt x="181" y="194"/>
                    </a:lnTo>
                    <a:lnTo>
                      <a:pt x="178" y="191"/>
                    </a:lnTo>
                    <a:lnTo>
                      <a:pt x="178" y="194"/>
                    </a:lnTo>
                    <a:lnTo>
                      <a:pt x="178" y="198"/>
                    </a:lnTo>
                    <a:lnTo>
                      <a:pt x="179" y="199"/>
                    </a:lnTo>
                    <a:lnTo>
                      <a:pt x="179" y="204"/>
                    </a:lnTo>
                    <a:lnTo>
                      <a:pt x="179" y="204"/>
                    </a:lnTo>
                    <a:lnTo>
                      <a:pt x="174" y="201"/>
                    </a:lnTo>
                    <a:lnTo>
                      <a:pt x="168" y="201"/>
                    </a:lnTo>
                    <a:lnTo>
                      <a:pt x="163" y="204"/>
                    </a:lnTo>
                    <a:lnTo>
                      <a:pt x="154" y="204"/>
                    </a:lnTo>
                    <a:lnTo>
                      <a:pt x="148" y="203"/>
                    </a:lnTo>
                    <a:lnTo>
                      <a:pt x="144" y="196"/>
                    </a:lnTo>
                    <a:lnTo>
                      <a:pt x="148" y="194"/>
                    </a:lnTo>
                    <a:lnTo>
                      <a:pt x="151" y="194"/>
                    </a:lnTo>
                    <a:lnTo>
                      <a:pt x="151" y="191"/>
                    </a:lnTo>
                    <a:lnTo>
                      <a:pt x="156" y="184"/>
                    </a:lnTo>
                    <a:lnTo>
                      <a:pt x="159" y="184"/>
                    </a:lnTo>
                    <a:lnTo>
                      <a:pt x="158" y="178"/>
                    </a:lnTo>
                    <a:lnTo>
                      <a:pt x="159" y="171"/>
                    </a:lnTo>
                    <a:lnTo>
                      <a:pt x="164" y="171"/>
                    </a:lnTo>
                    <a:lnTo>
                      <a:pt x="169" y="169"/>
                    </a:lnTo>
                    <a:lnTo>
                      <a:pt x="174" y="171"/>
                    </a:lnTo>
                    <a:lnTo>
                      <a:pt x="181" y="171"/>
                    </a:lnTo>
                    <a:lnTo>
                      <a:pt x="183" y="169"/>
                    </a:lnTo>
                    <a:lnTo>
                      <a:pt x="179" y="164"/>
                    </a:lnTo>
                    <a:lnTo>
                      <a:pt x="179" y="161"/>
                    </a:lnTo>
                    <a:lnTo>
                      <a:pt x="179" y="158"/>
                    </a:lnTo>
                    <a:lnTo>
                      <a:pt x="173" y="154"/>
                    </a:lnTo>
                    <a:lnTo>
                      <a:pt x="166" y="149"/>
                    </a:lnTo>
                    <a:lnTo>
                      <a:pt x="166" y="146"/>
                    </a:lnTo>
                    <a:lnTo>
                      <a:pt x="159" y="144"/>
                    </a:lnTo>
                    <a:lnTo>
                      <a:pt x="161" y="139"/>
                    </a:lnTo>
                    <a:lnTo>
                      <a:pt x="159" y="131"/>
                    </a:lnTo>
                    <a:lnTo>
                      <a:pt x="153" y="128"/>
                    </a:lnTo>
                    <a:lnTo>
                      <a:pt x="146" y="121"/>
                    </a:lnTo>
                    <a:lnTo>
                      <a:pt x="143" y="121"/>
                    </a:lnTo>
                    <a:lnTo>
                      <a:pt x="141" y="124"/>
                    </a:lnTo>
                    <a:lnTo>
                      <a:pt x="134" y="123"/>
                    </a:lnTo>
                    <a:lnTo>
                      <a:pt x="126" y="116"/>
                    </a:lnTo>
                    <a:lnTo>
                      <a:pt x="119" y="116"/>
                    </a:lnTo>
                    <a:lnTo>
                      <a:pt x="116" y="111"/>
                    </a:lnTo>
                    <a:lnTo>
                      <a:pt x="114" y="113"/>
                    </a:lnTo>
                    <a:lnTo>
                      <a:pt x="110" y="113"/>
                    </a:lnTo>
                    <a:lnTo>
                      <a:pt x="108" y="116"/>
                    </a:lnTo>
                    <a:lnTo>
                      <a:pt x="103" y="113"/>
                    </a:lnTo>
                    <a:lnTo>
                      <a:pt x="103" y="115"/>
                    </a:lnTo>
                    <a:lnTo>
                      <a:pt x="98" y="113"/>
                    </a:lnTo>
                    <a:lnTo>
                      <a:pt x="100" y="119"/>
                    </a:lnTo>
                    <a:lnTo>
                      <a:pt x="98" y="121"/>
                    </a:lnTo>
                    <a:lnTo>
                      <a:pt x="100" y="128"/>
                    </a:lnTo>
                    <a:lnTo>
                      <a:pt x="95" y="128"/>
                    </a:lnTo>
                    <a:lnTo>
                      <a:pt x="88" y="131"/>
                    </a:lnTo>
                    <a:lnTo>
                      <a:pt x="71" y="134"/>
                    </a:lnTo>
                    <a:lnTo>
                      <a:pt x="68" y="138"/>
                    </a:lnTo>
                    <a:lnTo>
                      <a:pt x="63" y="138"/>
                    </a:lnTo>
                    <a:lnTo>
                      <a:pt x="55" y="141"/>
                    </a:lnTo>
                    <a:lnTo>
                      <a:pt x="50" y="138"/>
                    </a:lnTo>
                    <a:lnTo>
                      <a:pt x="48" y="134"/>
                    </a:lnTo>
                    <a:lnTo>
                      <a:pt x="41" y="133"/>
                    </a:lnTo>
                    <a:lnTo>
                      <a:pt x="35" y="131"/>
                    </a:lnTo>
                    <a:lnTo>
                      <a:pt x="26" y="128"/>
                    </a:lnTo>
                    <a:lnTo>
                      <a:pt x="21" y="128"/>
                    </a:lnTo>
                    <a:lnTo>
                      <a:pt x="18" y="129"/>
                    </a:lnTo>
                    <a:lnTo>
                      <a:pt x="13" y="129"/>
                    </a:lnTo>
                    <a:lnTo>
                      <a:pt x="12" y="126"/>
                    </a:lnTo>
                    <a:lnTo>
                      <a:pt x="5" y="123"/>
                    </a:lnTo>
                    <a:lnTo>
                      <a:pt x="0" y="118"/>
                    </a:lnTo>
                    <a:lnTo>
                      <a:pt x="2" y="118"/>
                    </a:lnTo>
                    <a:lnTo>
                      <a:pt x="2" y="110"/>
                    </a:lnTo>
                    <a:lnTo>
                      <a:pt x="7" y="100"/>
                    </a:lnTo>
                    <a:lnTo>
                      <a:pt x="12" y="100"/>
                    </a:lnTo>
                    <a:lnTo>
                      <a:pt x="12" y="93"/>
                    </a:lnTo>
                    <a:lnTo>
                      <a:pt x="12" y="88"/>
                    </a:lnTo>
                    <a:lnTo>
                      <a:pt x="26" y="73"/>
                    </a:lnTo>
                    <a:lnTo>
                      <a:pt x="28" y="66"/>
                    </a:lnTo>
                    <a:lnTo>
                      <a:pt x="31" y="63"/>
                    </a:lnTo>
                    <a:lnTo>
                      <a:pt x="35" y="63"/>
                    </a:lnTo>
                    <a:lnTo>
                      <a:pt x="36" y="56"/>
                    </a:lnTo>
                    <a:lnTo>
                      <a:pt x="35" y="53"/>
                    </a:lnTo>
                    <a:lnTo>
                      <a:pt x="35" y="50"/>
                    </a:lnTo>
                    <a:lnTo>
                      <a:pt x="36" y="48"/>
                    </a:lnTo>
                    <a:lnTo>
                      <a:pt x="30" y="45"/>
                    </a:lnTo>
                    <a:lnTo>
                      <a:pt x="28" y="38"/>
                    </a:lnTo>
                    <a:lnTo>
                      <a:pt x="25" y="35"/>
                    </a:lnTo>
                    <a:lnTo>
                      <a:pt x="25" y="25"/>
                    </a:lnTo>
                    <a:lnTo>
                      <a:pt x="25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7" name="Freeform 41"/>
              <p:cNvSpPr>
                <a:spLocks/>
              </p:cNvSpPr>
              <p:nvPr/>
            </p:nvSpPr>
            <p:spPr bwMode="auto">
              <a:xfrm>
                <a:off x="6727527" y="2662725"/>
                <a:ext cx="46020" cy="43579"/>
              </a:xfrm>
              <a:custGeom>
                <a:avLst/>
                <a:gdLst/>
                <a:ahLst/>
                <a:cxnLst>
                  <a:cxn ang="0">
                    <a:pos x="2" y="17"/>
                  </a:cxn>
                  <a:cxn ang="0">
                    <a:pos x="0" y="10"/>
                  </a:cxn>
                  <a:cxn ang="0">
                    <a:pos x="2" y="8"/>
                  </a:cxn>
                  <a:cxn ang="0">
                    <a:pos x="0" y="2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10" y="5"/>
                  </a:cxn>
                  <a:cxn ang="0">
                    <a:pos x="12" y="2"/>
                  </a:cxn>
                  <a:cxn ang="0">
                    <a:pos x="16" y="2"/>
                  </a:cxn>
                  <a:cxn ang="0">
                    <a:pos x="18" y="0"/>
                  </a:cxn>
                  <a:cxn ang="0">
                    <a:pos x="21" y="5"/>
                  </a:cxn>
                  <a:cxn ang="0">
                    <a:pos x="28" y="5"/>
                  </a:cxn>
                  <a:cxn ang="0">
                    <a:pos x="36" y="12"/>
                  </a:cxn>
                  <a:cxn ang="0">
                    <a:pos x="43" y="13"/>
                  </a:cxn>
                  <a:cxn ang="0">
                    <a:pos x="45" y="10"/>
                  </a:cxn>
                  <a:cxn ang="0">
                    <a:pos x="48" y="10"/>
                  </a:cxn>
                  <a:cxn ang="0">
                    <a:pos x="55" y="17"/>
                  </a:cxn>
                  <a:cxn ang="0">
                    <a:pos x="61" y="20"/>
                  </a:cxn>
                  <a:cxn ang="0">
                    <a:pos x="63" y="28"/>
                  </a:cxn>
                  <a:cxn ang="0">
                    <a:pos x="61" y="33"/>
                  </a:cxn>
                  <a:cxn ang="0">
                    <a:pos x="68" y="35"/>
                  </a:cxn>
                  <a:cxn ang="0">
                    <a:pos x="68" y="38"/>
                  </a:cxn>
                  <a:cxn ang="0">
                    <a:pos x="75" y="43"/>
                  </a:cxn>
                  <a:cxn ang="0">
                    <a:pos x="81" y="47"/>
                  </a:cxn>
                  <a:cxn ang="0">
                    <a:pos x="81" y="50"/>
                  </a:cxn>
                  <a:cxn ang="0">
                    <a:pos x="81" y="53"/>
                  </a:cxn>
                  <a:cxn ang="0">
                    <a:pos x="85" y="58"/>
                  </a:cxn>
                  <a:cxn ang="0">
                    <a:pos x="83" y="60"/>
                  </a:cxn>
                  <a:cxn ang="0">
                    <a:pos x="76" y="60"/>
                  </a:cxn>
                  <a:cxn ang="0">
                    <a:pos x="71" y="58"/>
                  </a:cxn>
                  <a:cxn ang="0">
                    <a:pos x="66" y="60"/>
                  </a:cxn>
                  <a:cxn ang="0">
                    <a:pos x="61" y="60"/>
                  </a:cxn>
                  <a:cxn ang="0">
                    <a:pos x="60" y="67"/>
                  </a:cxn>
                  <a:cxn ang="0">
                    <a:pos x="61" y="73"/>
                  </a:cxn>
                  <a:cxn ang="0">
                    <a:pos x="58" y="73"/>
                  </a:cxn>
                  <a:cxn ang="0">
                    <a:pos x="53" y="80"/>
                  </a:cxn>
                  <a:cxn ang="0">
                    <a:pos x="53" y="83"/>
                  </a:cxn>
                  <a:cxn ang="0">
                    <a:pos x="50" y="83"/>
                  </a:cxn>
                  <a:cxn ang="0">
                    <a:pos x="46" y="85"/>
                  </a:cxn>
                  <a:cxn ang="0">
                    <a:pos x="46" y="85"/>
                  </a:cxn>
                  <a:cxn ang="0">
                    <a:pos x="43" y="78"/>
                  </a:cxn>
                  <a:cxn ang="0">
                    <a:pos x="43" y="58"/>
                  </a:cxn>
                  <a:cxn ang="0">
                    <a:pos x="40" y="52"/>
                  </a:cxn>
                  <a:cxn ang="0">
                    <a:pos x="38" y="47"/>
                  </a:cxn>
                  <a:cxn ang="0">
                    <a:pos x="25" y="37"/>
                  </a:cxn>
                  <a:cxn ang="0">
                    <a:pos x="23" y="32"/>
                  </a:cxn>
                  <a:cxn ang="0">
                    <a:pos x="13" y="25"/>
                  </a:cxn>
                  <a:cxn ang="0">
                    <a:pos x="12" y="15"/>
                  </a:cxn>
                  <a:cxn ang="0">
                    <a:pos x="2" y="17"/>
                  </a:cxn>
                </a:cxnLst>
                <a:rect l="0" t="0" r="r" b="b"/>
                <a:pathLst>
                  <a:path w="85" h="85">
                    <a:moveTo>
                      <a:pt x="2" y="17"/>
                    </a:moveTo>
                    <a:lnTo>
                      <a:pt x="0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10" y="5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18" y="0"/>
                    </a:lnTo>
                    <a:lnTo>
                      <a:pt x="21" y="5"/>
                    </a:lnTo>
                    <a:lnTo>
                      <a:pt x="28" y="5"/>
                    </a:lnTo>
                    <a:lnTo>
                      <a:pt x="36" y="12"/>
                    </a:lnTo>
                    <a:lnTo>
                      <a:pt x="43" y="13"/>
                    </a:lnTo>
                    <a:lnTo>
                      <a:pt x="45" y="10"/>
                    </a:lnTo>
                    <a:lnTo>
                      <a:pt x="48" y="10"/>
                    </a:lnTo>
                    <a:lnTo>
                      <a:pt x="55" y="17"/>
                    </a:lnTo>
                    <a:lnTo>
                      <a:pt x="61" y="20"/>
                    </a:lnTo>
                    <a:lnTo>
                      <a:pt x="63" y="28"/>
                    </a:lnTo>
                    <a:lnTo>
                      <a:pt x="61" y="33"/>
                    </a:lnTo>
                    <a:lnTo>
                      <a:pt x="68" y="35"/>
                    </a:lnTo>
                    <a:lnTo>
                      <a:pt x="68" y="38"/>
                    </a:lnTo>
                    <a:lnTo>
                      <a:pt x="75" y="43"/>
                    </a:lnTo>
                    <a:lnTo>
                      <a:pt x="81" y="47"/>
                    </a:lnTo>
                    <a:lnTo>
                      <a:pt x="81" y="50"/>
                    </a:lnTo>
                    <a:lnTo>
                      <a:pt x="81" y="53"/>
                    </a:lnTo>
                    <a:lnTo>
                      <a:pt x="85" y="58"/>
                    </a:lnTo>
                    <a:lnTo>
                      <a:pt x="83" y="60"/>
                    </a:lnTo>
                    <a:lnTo>
                      <a:pt x="76" y="60"/>
                    </a:lnTo>
                    <a:lnTo>
                      <a:pt x="71" y="58"/>
                    </a:lnTo>
                    <a:lnTo>
                      <a:pt x="66" y="60"/>
                    </a:lnTo>
                    <a:lnTo>
                      <a:pt x="61" y="60"/>
                    </a:lnTo>
                    <a:lnTo>
                      <a:pt x="60" y="67"/>
                    </a:lnTo>
                    <a:lnTo>
                      <a:pt x="61" y="73"/>
                    </a:lnTo>
                    <a:lnTo>
                      <a:pt x="58" y="73"/>
                    </a:lnTo>
                    <a:lnTo>
                      <a:pt x="53" y="80"/>
                    </a:lnTo>
                    <a:lnTo>
                      <a:pt x="53" y="83"/>
                    </a:lnTo>
                    <a:lnTo>
                      <a:pt x="50" y="83"/>
                    </a:lnTo>
                    <a:lnTo>
                      <a:pt x="46" y="85"/>
                    </a:lnTo>
                    <a:lnTo>
                      <a:pt x="46" y="85"/>
                    </a:lnTo>
                    <a:lnTo>
                      <a:pt x="43" y="78"/>
                    </a:lnTo>
                    <a:lnTo>
                      <a:pt x="43" y="58"/>
                    </a:lnTo>
                    <a:lnTo>
                      <a:pt x="40" y="52"/>
                    </a:lnTo>
                    <a:lnTo>
                      <a:pt x="38" y="47"/>
                    </a:lnTo>
                    <a:lnTo>
                      <a:pt x="25" y="37"/>
                    </a:lnTo>
                    <a:lnTo>
                      <a:pt x="23" y="32"/>
                    </a:lnTo>
                    <a:lnTo>
                      <a:pt x="13" y="25"/>
                    </a:lnTo>
                    <a:lnTo>
                      <a:pt x="12" y="15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8" name="Freeform 42"/>
              <p:cNvSpPr>
                <a:spLocks/>
              </p:cNvSpPr>
              <p:nvPr/>
            </p:nvSpPr>
            <p:spPr bwMode="auto">
              <a:xfrm>
                <a:off x="6656891" y="2671026"/>
                <a:ext cx="114516" cy="63293"/>
              </a:xfrm>
              <a:custGeom>
                <a:avLst/>
                <a:gdLst/>
                <a:ahLst/>
                <a:cxnLst>
                  <a:cxn ang="0">
                    <a:pos x="53" y="3"/>
                  </a:cxn>
                  <a:cxn ang="0">
                    <a:pos x="61" y="2"/>
                  </a:cxn>
                  <a:cxn ang="0">
                    <a:pos x="76" y="7"/>
                  </a:cxn>
                  <a:cxn ang="0">
                    <a:pos x="85" y="12"/>
                  </a:cxn>
                  <a:cxn ang="0">
                    <a:pos x="98" y="12"/>
                  </a:cxn>
                  <a:cxn ang="0">
                    <a:pos x="106" y="8"/>
                  </a:cxn>
                  <a:cxn ang="0">
                    <a:pos x="130" y="2"/>
                  </a:cxn>
                  <a:cxn ang="0">
                    <a:pos x="146" y="10"/>
                  </a:cxn>
                  <a:cxn ang="0">
                    <a:pos x="158" y="22"/>
                  </a:cxn>
                  <a:cxn ang="0">
                    <a:pos x="173" y="37"/>
                  </a:cxn>
                  <a:cxn ang="0">
                    <a:pos x="176" y="63"/>
                  </a:cxn>
                  <a:cxn ang="0">
                    <a:pos x="183" y="77"/>
                  </a:cxn>
                  <a:cxn ang="0">
                    <a:pos x="198" y="78"/>
                  </a:cxn>
                  <a:cxn ang="0">
                    <a:pos x="209" y="75"/>
                  </a:cxn>
                  <a:cxn ang="0">
                    <a:pos x="211" y="80"/>
                  </a:cxn>
                  <a:cxn ang="0">
                    <a:pos x="214" y="85"/>
                  </a:cxn>
                  <a:cxn ang="0">
                    <a:pos x="206" y="91"/>
                  </a:cxn>
                  <a:cxn ang="0">
                    <a:pos x="196" y="96"/>
                  </a:cxn>
                  <a:cxn ang="0">
                    <a:pos x="194" y="103"/>
                  </a:cxn>
                  <a:cxn ang="0">
                    <a:pos x="191" y="113"/>
                  </a:cxn>
                  <a:cxn ang="0">
                    <a:pos x="188" y="118"/>
                  </a:cxn>
                  <a:cxn ang="0">
                    <a:pos x="181" y="113"/>
                  </a:cxn>
                  <a:cxn ang="0">
                    <a:pos x="173" y="113"/>
                  </a:cxn>
                  <a:cxn ang="0">
                    <a:pos x="158" y="110"/>
                  </a:cxn>
                  <a:cxn ang="0">
                    <a:pos x="138" y="116"/>
                  </a:cxn>
                  <a:cxn ang="0">
                    <a:pos x="130" y="121"/>
                  </a:cxn>
                  <a:cxn ang="0">
                    <a:pos x="116" y="121"/>
                  </a:cxn>
                  <a:cxn ang="0">
                    <a:pos x="108" y="120"/>
                  </a:cxn>
                  <a:cxn ang="0">
                    <a:pos x="100" y="120"/>
                  </a:cxn>
                  <a:cxn ang="0">
                    <a:pos x="83" y="121"/>
                  </a:cxn>
                  <a:cxn ang="0">
                    <a:pos x="78" y="118"/>
                  </a:cxn>
                  <a:cxn ang="0">
                    <a:pos x="66" y="121"/>
                  </a:cxn>
                  <a:cxn ang="0">
                    <a:pos x="65" y="116"/>
                  </a:cxn>
                  <a:cxn ang="0">
                    <a:pos x="63" y="110"/>
                  </a:cxn>
                  <a:cxn ang="0">
                    <a:pos x="55" y="105"/>
                  </a:cxn>
                  <a:cxn ang="0">
                    <a:pos x="58" y="96"/>
                  </a:cxn>
                  <a:cxn ang="0">
                    <a:pos x="45" y="100"/>
                  </a:cxn>
                  <a:cxn ang="0">
                    <a:pos x="37" y="100"/>
                  </a:cxn>
                  <a:cxn ang="0">
                    <a:pos x="27" y="93"/>
                  </a:cxn>
                  <a:cxn ang="0">
                    <a:pos x="28" y="85"/>
                  </a:cxn>
                  <a:cxn ang="0">
                    <a:pos x="15" y="78"/>
                  </a:cxn>
                  <a:cxn ang="0">
                    <a:pos x="7" y="67"/>
                  </a:cxn>
                  <a:cxn ang="0">
                    <a:pos x="0" y="62"/>
                  </a:cxn>
                  <a:cxn ang="0">
                    <a:pos x="10" y="57"/>
                  </a:cxn>
                  <a:cxn ang="0">
                    <a:pos x="18" y="53"/>
                  </a:cxn>
                  <a:cxn ang="0">
                    <a:pos x="22" y="45"/>
                  </a:cxn>
                  <a:cxn ang="0">
                    <a:pos x="35" y="20"/>
                  </a:cxn>
                  <a:cxn ang="0">
                    <a:pos x="47" y="10"/>
                  </a:cxn>
                  <a:cxn ang="0">
                    <a:pos x="48" y="3"/>
                  </a:cxn>
                </a:cxnLst>
                <a:rect l="0" t="0" r="r" b="b"/>
                <a:pathLst>
                  <a:path w="214" h="123">
                    <a:moveTo>
                      <a:pt x="48" y="3"/>
                    </a:moveTo>
                    <a:lnTo>
                      <a:pt x="53" y="3"/>
                    </a:lnTo>
                    <a:lnTo>
                      <a:pt x="56" y="2"/>
                    </a:lnTo>
                    <a:lnTo>
                      <a:pt x="61" y="2"/>
                    </a:lnTo>
                    <a:lnTo>
                      <a:pt x="70" y="5"/>
                    </a:lnTo>
                    <a:lnTo>
                      <a:pt x="76" y="7"/>
                    </a:lnTo>
                    <a:lnTo>
                      <a:pt x="83" y="8"/>
                    </a:lnTo>
                    <a:lnTo>
                      <a:pt x="85" y="12"/>
                    </a:lnTo>
                    <a:lnTo>
                      <a:pt x="90" y="15"/>
                    </a:lnTo>
                    <a:lnTo>
                      <a:pt x="98" y="12"/>
                    </a:lnTo>
                    <a:lnTo>
                      <a:pt x="103" y="12"/>
                    </a:lnTo>
                    <a:lnTo>
                      <a:pt x="106" y="8"/>
                    </a:lnTo>
                    <a:lnTo>
                      <a:pt x="123" y="5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146" y="10"/>
                    </a:lnTo>
                    <a:lnTo>
                      <a:pt x="156" y="17"/>
                    </a:lnTo>
                    <a:lnTo>
                      <a:pt x="158" y="22"/>
                    </a:lnTo>
                    <a:lnTo>
                      <a:pt x="171" y="32"/>
                    </a:lnTo>
                    <a:lnTo>
                      <a:pt x="173" y="37"/>
                    </a:lnTo>
                    <a:lnTo>
                      <a:pt x="176" y="43"/>
                    </a:lnTo>
                    <a:lnTo>
                      <a:pt x="176" y="63"/>
                    </a:lnTo>
                    <a:lnTo>
                      <a:pt x="179" y="70"/>
                    </a:lnTo>
                    <a:lnTo>
                      <a:pt x="183" y="77"/>
                    </a:lnTo>
                    <a:lnTo>
                      <a:pt x="189" y="78"/>
                    </a:lnTo>
                    <a:lnTo>
                      <a:pt x="198" y="78"/>
                    </a:lnTo>
                    <a:lnTo>
                      <a:pt x="203" y="75"/>
                    </a:lnTo>
                    <a:lnTo>
                      <a:pt x="209" y="75"/>
                    </a:lnTo>
                    <a:lnTo>
                      <a:pt x="214" y="78"/>
                    </a:lnTo>
                    <a:lnTo>
                      <a:pt x="211" y="80"/>
                    </a:lnTo>
                    <a:lnTo>
                      <a:pt x="214" y="82"/>
                    </a:lnTo>
                    <a:lnTo>
                      <a:pt x="214" y="85"/>
                    </a:lnTo>
                    <a:lnTo>
                      <a:pt x="211" y="90"/>
                    </a:lnTo>
                    <a:lnTo>
                      <a:pt x="206" y="91"/>
                    </a:lnTo>
                    <a:lnTo>
                      <a:pt x="198" y="91"/>
                    </a:lnTo>
                    <a:lnTo>
                      <a:pt x="196" y="96"/>
                    </a:lnTo>
                    <a:lnTo>
                      <a:pt x="193" y="100"/>
                    </a:lnTo>
                    <a:lnTo>
                      <a:pt x="194" y="103"/>
                    </a:lnTo>
                    <a:lnTo>
                      <a:pt x="194" y="110"/>
                    </a:lnTo>
                    <a:lnTo>
                      <a:pt x="191" y="113"/>
                    </a:lnTo>
                    <a:lnTo>
                      <a:pt x="193" y="118"/>
                    </a:lnTo>
                    <a:lnTo>
                      <a:pt x="188" y="118"/>
                    </a:lnTo>
                    <a:lnTo>
                      <a:pt x="186" y="116"/>
                    </a:lnTo>
                    <a:lnTo>
                      <a:pt x="181" y="113"/>
                    </a:lnTo>
                    <a:lnTo>
                      <a:pt x="176" y="115"/>
                    </a:lnTo>
                    <a:lnTo>
                      <a:pt x="173" y="113"/>
                    </a:lnTo>
                    <a:lnTo>
                      <a:pt x="164" y="110"/>
                    </a:lnTo>
                    <a:lnTo>
                      <a:pt x="158" y="110"/>
                    </a:lnTo>
                    <a:lnTo>
                      <a:pt x="151" y="110"/>
                    </a:lnTo>
                    <a:lnTo>
                      <a:pt x="138" y="116"/>
                    </a:lnTo>
                    <a:lnTo>
                      <a:pt x="135" y="120"/>
                    </a:lnTo>
                    <a:lnTo>
                      <a:pt x="130" y="121"/>
                    </a:lnTo>
                    <a:lnTo>
                      <a:pt x="126" y="123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08" y="120"/>
                    </a:lnTo>
                    <a:lnTo>
                      <a:pt x="103" y="121"/>
                    </a:lnTo>
                    <a:lnTo>
                      <a:pt x="100" y="120"/>
                    </a:lnTo>
                    <a:lnTo>
                      <a:pt x="91" y="123"/>
                    </a:lnTo>
                    <a:lnTo>
                      <a:pt x="83" y="121"/>
                    </a:lnTo>
                    <a:lnTo>
                      <a:pt x="81" y="121"/>
                    </a:lnTo>
                    <a:lnTo>
                      <a:pt x="78" y="118"/>
                    </a:lnTo>
                    <a:lnTo>
                      <a:pt x="71" y="118"/>
                    </a:lnTo>
                    <a:lnTo>
                      <a:pt x="66" y="121"/>
                    </a:lnTo>
                    <a:lnTo>
                      <a:pt x="63" y="118"/>
                    </a:lnTo>
                    <a:lnTo>
                      <a:pt x="65" y="116"/>
                    </a:lnTo>
                    <a:lnTo>
                      <a:pt x="66" y="113"/>
                    </a:lnTo>
                    <a:lnTo>
                      <a:pt x="63" y="110"/>
                    </a:lnTo>
                    <a:lnTo>
                      <a:pt x="56" y="110"/>
                    </a:lnTo>
                    <a:lnTo>
                      <a:pt x="55" y="105"/>
                    </a:lnTo>
                    <a:lnTo>
                      <a:pt x="53" y="101"/>
                    </a:lnTo>
                    <a:lnTo>
                      <a:pt x="58" y="96"/>
                    </a:lnTo>
                    <a:lnTo>
                      <a:pt x="50" y="96"/>
                    </a:lnTo>
                    <a:lnTo>
                      <a:pt x="45" y="100"/>
                    </a:lnTo>
                    <a:lnTo>
                      <a:pt x="42" y="98"/>
                    </a:lnTo>
                    <a:lnTo>
                      <a:pt x="37" y="100"/>
                    </a:lnTo>
                    <a:lnTo>
                      <a:pt x="35" y="96"/>
                    </a:lnTo>
                    <a:lnTo>
                      <a:pt x="27" y="93"/>
                    </a:lnTo>
                    <a:lnTo>
                      <a:pt x="25" y="91"/>
                    </a:lnTo>
                    <a:lnTo>
                      <a:pt x="28" y="85"/>
                    </a:lnTo>
                    <a:lnTo>
                      <a:pt x="22" y="82"/>
                    </a:lnTo>
                    <a:lnTo>
                      <a:pt x="15" y="78"/>
                    </a:lnTo>
                    <a:lnTo>
                      <a:pt x="13" y="75"/>
                    </a:lnTo>
                    <a:lnTo>
                      <a:pt x="7" y="67"/>
                    </a:lnTo>
                    <a:lnTo>
                      <a:pt x="5" y="63"/>
                    </a:lnTo>
                    <a:lnTo>
                      <a:pt x="0" y="62"/>
                    </a:lnTo>
                    <a:lnTo>
                      <a:pt x="5" y="57"/>
                    </a:lnTo>
                    <a:lnTo>
                      <a:pt x="10" y="57"/>
                    </a:lnTo>
                    <a:lnTo>
                      <a:pt x="12" y="52"/>
                    </a:lnTo>
                    <a:lnTo>
                      <a:pt x="18" y="53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30" y="33"/>
                    </a:lnTo>
                    <a:lnTo>
                      <a:pt x="35" y="20"/>
                    </a:lnTo>
                    <a:lnTo>
                      <a:pt x="42" y="12"/>
                    </a:lnTo>
                    <a:lnTo>
                      <a:pt x="47" y="10"/>
                    </a:lnTo>
                    <a:lnTo>
                      <a:pt x="48" y="5"/>
                    </a:lnTo>
                    <a:lnTo>
                      <a:pt x="4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19" name="Freeform 43"/>
              <p:cNvSpPr>
                <a:spLocks/>
              </p:cNvSpPr>
              <p:nvPr/>
            </p:nvSpPr>
            <p:spPr bwMode="auto">
              <a:xfrm>
                <a:off x="6608729" y="2665838"/>
                <a:ext cx="73847" cy="42541"/>
              </a:xfrm>
              <a:custGeom>
                <a:avLst/>
                <a:gdLst/>
                <a:ahLst/>
                <a:cxnLst>
                  <a:cxn ang="0">
                    <a:pos x="90" y="70"/>
                  </a:cxn>
                  <a:cxn ang="0">
                    <a:pos x="95" y="65"/>
                  </a:cxn>
                  <a:cxn ang="0">
                    <a:pos x="100" y="65"/>
                  </a:cxn>
                  <a:cxn ang="0">
                    <a:pos x="102" y="60"/>
                  </a:cxn>
                  <a:cxn ang="0">
                    <a:pos x="108" y="61"/>
                  </a:cxn>
                  <a:cxn ang="0">
                    <a:pos x="112" y="58"/>
                  </a:cxn>
                  <a:cxn ang="0">
                    <a:pos x="112" y="53"/>
                  </a:cxn>
                  <a:cxn ang="0">
                    <a:pos x="120" y="41"/>
                  </a:cxn>
                  <a:cxn ang="0">
                    <a:pos x="125" y="28"/>
                  </a:cxn>
                  <a:cxn ang="0">
                    <a:pos x="132" y="20"/>
                  </a:cxn>
                  <a:cxn ang="0">
                    <a:pos x="137" y="18"/>
                  </a:cxn>
                  <a:cxn ang="0">
                    <a:pos x="138" y="13"/>
                  </a:cxn>
                  <a:cxn ang="0">
                    <a:pos x="137" y="8"/>
                  </a:cxn>
                  <a:cxn ang="0">
                    <a:pos x="130" y="5"/>
                  </a:cxn>
                  <a:cxn ang="0">
                    <a:pos x="125" y="0"/>
                  </a:cxn>
                  <a:cxn ang="0">
                    <a:pos x="120" y="3"/>
                  </a:cxn>
                  <a:cxn ang="0">
                    <a:pos x="112" y="1"/>
                  </a:cxn>
                  <a:cxn ang="0">
                    <a:pos x="102" y="1"/>
                  </a:cxn>
                  <a:cxn ang="0">
                    <a:pos x="97" y="0"/>
                  </a:cxn>
                  <a:cxn ang="0">
                    <a:pos x="88" y="1"/>
                  </a:cxn>
                  <a:cxn ang="0">
                    <a:pos x="85" y="6"/>
                  </a:cxn>
                  <a:cxn ang="0">
                    <a:pos x="80" y="10"/>
                  </a:cxn>
                  <a:cxn ang="0">
                    <a:pos x="80" y="15"/>
                  </a:cxn>
                  <a:cxn ang="0">
                    <a:pos x="73" y="8"/>
                  </a:cxn>
                  <a:cxn ang="0">
                    <a:pos x="65" y="13"/>
                  </a:cxn>
                  <a:cxn ang="0">
                    <a:pos x="58" y="16"/>
                  </a:cxn>
                  <a:cxn ang="0">
                    <a:pos x="57" y="20"/>
                  </a:cxn>
                  <a:cxn ang="0">
                    <a:pos x="45" y="21"/>
                  </a:cxn>
                  <a:cxn ang="0">
                    <a:pos x="37" y="23"/>
                  </a:cxn>
                  <a:cxn ang="0">
                    <a:pos x="27" y="21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2" y="21"/>
                  </a:cxn>
                  <a:cxn ang="0">
                    <a:pos x="12" y="25"/>
                  </a:cxn>
                  <a:cxn ang="0">
                    <a:pos x="2" y="25"/>
                  </a:cxn>
                  <a:cxn ang="0">
                    <a:pos x="0" y="26"/>
                  </a:cxn>
                  <a:cxn ang="0">
                    <a:pos x="5" y="31"/>
                  </a:cxn>
                  <a:cxn ang="0">
                    <a:pos x="2" y="36"/>
                  </a:cxn>
                  <a:cxn ang="0">
                    <a:pos x="2" y="41"/>
                  </a:cxn>
                  <a:cxn ang="0">
                    <a:pos x="5" y="4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5" y="56"/>
                  </a:cxn>
                  <a:cxn ang="0">
                    <a:pos x="7" y="63"/>
                  </a:cxn>
                  <a:cxn ang="0">
                    <a:pos x="10" y="65"/>
                  </a:cxn>
                  <a:cxn ang="0">
                    <a:pos x="20" y="73"/>
                  </a:cxn>
                  <a:cxn ang="0">
                    <a:pos x="25" y="75"/>
                  </a:cxn>
                  <a:cxn ang="0">
                    <a:pos x="30" y="76"/>
                  </a:cxn>
                  <a:cxn ang="0">
                    <a:pos x="42" y="80"/>
                  </a:cxn>
                  <a:cxn ang="0">
                    <a:pos x="52" y="81"/>
                  </a:cxn>
                  <a:cxn ang="0">
                    <a:pos x="55" y="78"/>
                  </a:cxn>
                  <a:cxn ang="0">
                    <a:pos x="58" y="78"/>
                  </a:cxn>
                  <a:cxn ang="0">
                    <a:pos x="62" y="75"/>
                  </a:cxn>
                  <a:cxn ang="0">
                    <a:pos x="67" y="73"/>
                  </a:cxn>
                  <a:cxn ang="0">
                    <a:pos x="70" y="73"/>
                  </a:cxn>
                  <a:cxn ang="0">
                    <a:pos x="72" y="71"/>
                  </a:cxn>
                  <a:cxn ang="0">
                    <a:pos x="78" y="66"/>
                  </a:cxn>
                  <a:cxn ang="0">
                    <a:pos x="82" y="68"/>
                  </a:cxn>
                  <a:cxn ang="0">
                    <a:pos x="87" y="68"/>
                  </a:cxn>
                  <a:cxn ang="0">
                    <a:pos x="90" y="70"/>
                  </a:cxn>
                </a:cxnLst>
                <a:rect l="0" t="0" r="r" b="b"/>
                <a:pathLst>
                  <a:path w="138" h="81">
                    <a:moveTo>
                      <a:pt x="90" y="70"/>
                    </a:moveTo>
                    <a:lnTo>
                      <a:pt x="95" y="65"/>
                    </a:lnTo>
                    <a:lnTo>
                      <a:pt x="100" y="65"/>
                    </a:lnTo>
                    <a:lnTo>
                      <a:pt x="102" y="60"/>
                    </a:lnTo>
                    <a:lnTo>
                      <a:pt x="108" y="61"/>
                    </a:lnTo>
                    <a:lnTo>
                      <a:pt x="112" y="58"/>
                    </a:lnTo>
                    <a:lnTo>
                      <a:pt x="112" y="53"/>
                    </a:lnTo>
                    <a:lnTo>
                      <a:pt x="120" y="41"/>
                    </a:lnTo>
                    <a:lnTo>
                      <a:pt x="125" y="28"/>
                    </a:lnTo>
                    <a:lnTo>
                      <a:pt x="132" y="20"/>
                    </a:lnTo>
                    <a:lnTo>
                      <a:pt x="137" y="18"/>
                    </a:lnTo>
                    <a:lnTo>
                      <a:pt x="138" y="13"/>
                    </a:lnTo>
                    <a:lnTo>
                      <a:pt x="137" y="8"/>
                    </a:lnTo>
                    <a:lnTo>
                      <a:pt x="130" y="5"/>
                    </a:lnTo>
                    <a:lnTo>
                      <a:pt x="125" y="0"/>
                    </a:lnTo>
                    <a:lnTo>
                      <a:pt x="120" y="3"/>
                    </a:lnTo>
                    <a:lnTo>
                      <a:pt x="112" y="1"/>
                    </a:lnTo>
                    <a:lnTo>
                      <a:pt x="102" y="1"/>
                    </a:lnTo>
                    <a:lnTo>
                      <a:pt x="97" y="0"/>
                    </a:lnTo>
                    <a:lnTo>
                      <a:pt x="88" y="1"/>
                    </a:lnTo>
                    <a:lnTo>
                      <a:pt x="85" y="6"/>
                    </a:lnTo>
                    <a:lnTo>
                      <a:pt x="80" y="10"/>
                    </a:lnTo>
                    <a:lnTo>
                      <a:pt x="80" y="15"/>
                    </a:lnTo>
                    <a:lnTo>
                      <a:pt x="73" y="8"/>
                    </a:lnTo>
                    <a:lnTo>
                      <a:pt x="65" y="13"/>
                    </a:lnTo>
                    <a:lnTo>
                      <a:pt x="58" y="16"/>
                    </a:lnTo>
                    <a:lnTo>
                      <a:pt x="57" y="20"/>
                    </a:lnTo>
                    <a:lnTo>
                      <a:pt x="45" y="21"/>
                    </a:lnTo>
                    <a:lnTo>
                      <a:pt x="37" y="23"/>
                    </a:lnTo>
                    <a:lnTo>
                      <a:pt x="27" y="21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2" y="21"/>
                    </a:lnTo>
                    <a:lnTo>
                      <a:pt x="12" y="25"/>
                    </a:lnTo>
                    <a:lnTo>
                      <a:pt x="2" y="25"/>
                    </a:lnTo>
                    <a:lnTo>
                      <a:pt x="0" y="26"/>
                    </a:lnTo>
                    <a:lnTo>
                      <a:pt x="5" y="31"/>
                    </a:lnTo>
                    <a:lnTo>
                      <a:pt x="2" y="36"/>
                    </a:lnTo>
                    <a:lnTo>
                      <a:pt x="2" y="41"/>
                    </a:lnTo>
                    <a:lnTo>
                      <a:pt x="5" y="4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5" y="56"/>
                    </a:lnTo>
                    <a:lnTo>
                      <a:pt x="7" y="63"/>
                    </a:lnTo>
                    <a:lnTo>
                      <a:pt x="10" y="65"/>
                    </a:lnTo>
                    <a:lnTo>
                      <a:pt x="20" y="73"/>
                    </a:lnTo>
                    <a:lnTo>
                      <a:pt x="25" y="75"/>
                    </a:lnTo>
                    <a:lnTo>
                      <a:pt x="30" y="76"/>
                    </a:lnTo>
                    <a:lnTo>
                      <a:pt x="42" y="80"/>
                    </a:lnTo>
                    <a:lnTo>
                      <a:pt x="52" y="81"/>
                    </a:lnTo>
                    <a:lnTo>
                      <a:pt x="55" y="78"/>
                    </a:lnTo>
                    <a:lnTo>
                      <a:pt x="58" y="78"/>
                    </a:lnTo>
                    <a:lnTo>
                      <a:pt x="62" y="75"/>
                    </a:lnTo>
                    <a:lnTo>
                      <a:pt x="67" y="73"/>
                    </a:lnTo>
                    <a:lnTo>
                      <a:pt x="70" y="73"/>
                    </a:lnTo>
                    <a:lnTo>
                      <a:pt x="72" y="71"/>
                    </a:lnTo>
                    <a:lnTo>
                      <a:pt x="78" y="66"/>
                    </a:lnTo>
                    <a:lnTo>
                      <a:pt x="82" y="68"/>
                    </a:lnTo>
                    <a:lnTo>
                      <a:pt x="87" y="68"/>
                    </a:lnTo>
                    <a:lnTo>
                      <a:pt x="90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0" name="Freeform 44"/>
              <p:cNvSpPr>
                <a:spLocks/>
              </p:cNvSpPr>
              <p:nvPr/>
            </p:nvSpPr>
            <p:spPr bwMode="auto">
              <a:xfrm>
                <a:off x="6614081" y="2654424"/>
                <a:ext cx="65285" cy="23865"/>
              </a:xfrm>
              <a:custGeom>
                <a:avLst/>
                <a:gdLst/>
                <a:ahLst/>
                <a:cxnLst>
                  <a:cxn ang="0">
                    <a:pos x="2" y="36"/>
                  </a:cxn>
                  <a:cxn ang="0">
                    <a:pos x="17" y="44"/>
                  </a:cxn>
                  <a:cxn ang="0">
                    <a:pos x="27" y="46"/>
                  </a:cxn>
                  <a:cxn ang="0">
                    <a:pos x="35" y="44"/>
                  </a:cxn>
                  <a:cxn ang="0">
                    <a:pos x="47" y="43"/>
                  </a:cxn>
                  <a:cxn ang="0">
                    <a:pos x="48" y="39"/>
                  </a:cxn>
                  <a:cxn ang="0">
                    <a:pos x="55" y="36"/>
                  </a:cxn>
                  <a:cxn ang="0">
                    <a:pos x="63" y="31"/>
                  </a:cxn>
                  <a:cxn ang="0">
                    <a:pos x="70" y="38"/>
                  </a:cxn>
                  <a:cxn ang="0">
                    <a:pos x="70" y="33"/>
                  </a:cxn>
                  <a:cxn ang="0">
                    <a:pos x="75" y="29"/>
                  </a:cxn>
                  <a:cxn ang="0">
                    <a:pos x="78" y="24"/>
                  </a:cxn>
                  <a:cxn ang="0">
                    <a:pos x="87" y="23"/>
                  </a:cxn>
                  <a:cxn ang="0">
                    <a:pos x="92" y="24"/>
                  </a:cxn>
                  <a:cxn ang="0">
                    <a:pos x="102" y="24"/>
                  </a:cxn>
                  <a:cxn ang="0">
                    <a:pos x="110" y="26"/>
                  </a:cxn>
                  <a:cxn ang="0">
                    <a:pos x="117" y="23"/>
                  </a:cxn>
                  <a:cxn ang="0">
                    <a:pos x="117" y="15"/>
                  </a:cxn>
                  <a:cxn ang="0">
                    <a:pos x="122" y="5"/>
                  </a:cxn>
                  <a:cxn ang="0">
                    <a:pos x="122" y="5"/>
                  </a:cxn>
                  <a:cxn ang="0">
                    <a:pos x="112" y="0"/>
                  </a:cxn>
                  <a:cxn ang="0">
                    <a:pos x="102" y="0"/>
                  </a:cxn>
                  <a:cxn ang="0">
                    <a:pos x="98" y="1"/>
                  </a:cxn>
                  <a:cxn ang="0">
                    <a:pos x="95" y="0"/>
                  </a:cxn>
                  <a:cxn ang="0">
                    <a:pos x="92" y="0"/>
                  </a:cxn>
                  <a:cxn ang="0">
                    <a:pos x="88" y="3"/>
                  </a:cxn>
                  <a:cxn ang="0">
                    <a:pos x="85" y="0"/>
                  </a:cxn>
                  <a:cxn ang="0">
                    <a:pos x="78" y="0"/>
                  </a:cxn>
                  <a:cxn ang="0">
                    <a:pos x="75" y="0"/>
                  </a:cxn>
                  <a:cxn ang="0">
                    <a:pos x="72" y="1"/>
                  </a:cxn>
                  <a:cxn ang="0">
                    <a:pos x="68" y="5"/>
                  </a:cxn>
                  <a:cxn ang="0">
                    <a:pos x="63" y="5"/>
                  </a:cxn>
                  <a:cxn ang="0">
                    <a:pos x="63" y="5"/>
                  </a:cxn>
                  <a:cxn ang="0">
                    <a:pos x="63" y="5"/>
                  </a:cxn>
                  <a:cxn ang="0">
                    <a:pos x="52" y="5"/>
                  </a:cxn>
                  <a:cxn ang="0">
                    <a:pos x="47" y="8"/>
                  </a:cxn>
                  <a:cxn ang="0">
                    <a:pos x="40" y="8"/>
                  </a:cxn>
                  <a:cxn ang="0">
                    <a:pos x="33" y="15"/>
                  </a:cxn>
                  <a:cxn ang="0">
                    <a:pos x="25" y="16"/>
                  </a:cxn>
                  <a:cxn ang="0">
                    <a:pos x="15" y="20"/>
                  </a:cxn>
                  <a:cxn ang="0">
                    <a:pos x="14" y="18"/>
                  </a:cxn>
                  <a:cxn ang="0">
                    <a:pos x="7" y="18"/>
                  </a:cxn>
                  <a:cxn ang="0">
                    <a:pos x="2" y="21"/>
                  </a:cxn>
                  <a:cxn ang="0">
                    <a:pos x="0" y="21"/>
                  </a:cxn>
                  <a:cxn ang="0">
                    <a:pos x="0" y="28"/>
                  </a:cxn>
                  <a:cxn ang="0">
                    <a:pos x="2" y="36"/>
                  </a:cxn>
                </a:cxnLst>
                <a:rect l="0" t="0" r="r" b="b"/>
                <a:pathLst>
                  <a:path w="122" h="46">
                    <a:moveTo>
                      <a:pt x="2" y="36"/>
                    </a:moveTo>
                    <a:lnTo>
                      <a:pt x="17" y="44"/>
                    </a:lnTo>
                    <a:lnTo>
                      <a:pt x="27" y="46"/>
                    </a:lnTo>
                    <a:lnTo>
                      <a:pt x="35" y="44"/>
                    </a:lnTo>
                    <a:lnTo>
                      <a:pt x="47" y="43"/>
                    </a:lnTo>
                    <a:lnTo>
                      <a:pt x="48" y="39"/>
                    </a:lnTo>
                    <a:lnTo>
                      <a:pt x="55" y="36"/>
                    </a:lnTo>
                    <a:lnTo>
                      <a:pt x="63" y="31"/>
                    </a:lnTo>
                    <a:lnTo>
                      <a:pt x="70" y="38"/>
                    </a:lnTo>
                    <a:lnTo>
                      <a:pt x="70" y="33"/>
                    </a:lnTo>
                    <a:lnTo>
                      <a:pt x="75" y="29"/>
                    </a:lnTo>
                    <a:lnTo>
                      <a:pt x="78" y="24"/>
                    </a:lnTo>
                    <a:lnTo>
                      <a:pt x="87" y="23"/>
                    </a:lnTo>
                    <a:lnTo>
                      <a:pt x="92" y="24"/>
                    </a:lnTo>
                    <a:lnTo>
                      <a:pt x="102" y="24"/>
                    </a:lnTo>
                    <a:lnTo>
                      <a:pt x="110" y="26"/>
                    </a:lnTo>
                    <a:lnTo>
                      <a:pt x="117" y="23"/>
                    </a:lnTo>
                    <a:lnTo>
                      <a:pt x="117" y="1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12" y="0"/>
                    </a:lnTo>
                    <a:lnTo>
                      <a:pt x="102" y="0"/>
                    </a:lnTo>
                    <a:lnTo>
                      <a:pt x="98" y="1"/>
                    </a:lnTo>
                    <a:lnTo>
                      <a:pt x="95" y="0"/>
                    </a:lnTo>
                    <a:lnTo>
                      <a:pt x="92" y="0"/>
                    </a:lnTo>
                    <a:lnTo>
                      <a:pt x="88" y="3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52" y="5"/>
                    </a:lnTo>
                    <a:lnTo>
                      <a:pt x="47" y="8"/>
                    </a:lnTo>
                    <a:lnTo>
                      <a:pt x="40" y="8"/>
                    </a:lnTo>
                    <a:lnTo>
                      <a:pt x="33" y="15"/>
                    </a:lnTo>
                    <a:lnTo>
                      <a:pt x="25" y="16"/>
                    </a:lnTo>
                    <a:lnTo>
                      <a:pt x="15" y="20"/>
                    </a:lnTo>
                    <a:lnTo>
                      <a:pt x="14" y="18"/>
                    </a:lnTo>
                    <a:lnTo>
                      <a:pt x="7" y="18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28"/>
                    </a:lnTo>
                    <a:lnTo>
                      <a:pt x="2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1" name="Freeform 45"/>
              <p:cNvSpPr>
                <a:spLocks/>
              </p:cNvSpPr>
              <p:nvPr/>
            </p:nvSpPr>
            <p:spPr bwMode="auto">
              <a:xfrm>
                <a:off x="6685787" y="2727056"/>
                <a:ext cx="74917" cy="4150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6"/>
                  </a:cxn>
                  <a:cxn ang="0">
                    <a:pos x="13" y="11"/>
                  </a:cxn>
                  <a:cxn ang="0">
                    <a:pos x="25" y="8"/>
                  </a:cxn>
                  <a:cxn ang="0">
                    <a:pos x="30" y="11"/>
                  </a:cxn>
                  <a:cxn ang="0">
                    <a:pos x="47" y="10"/>
                  </a:cxn>
                  <a:cxn ang="0">
                    <a:pos x="55" y="10"/>
                  </a:cxn>
                  <a:cxn ang="0">
                    <a:pos x="63" y="11"/>
                  </a:cxn>
                  <a:cxn ang="0">
                    <a:pos x="77" y="11"/>
                  </a:cxn>
                  <a:cxn ang="0">
                    <a:pos x="85" y="6"/>
                  </a:cxn>
                  <a:cxn ang="0">
                    <a:pos x="105" y="0"/>
                  </a:cxn>
                  <a:cxn ang="0">
                    <a:pos x="120" y="3"/>
                  </a:cxn>
                  <a:cxn ang="0">
                    <a:pos x="128" y="3"/>
                  </a:cxn>
                  <a:cxn ang="0">
                    <a:pos x="135" y="8"/>
                  </a:cxn>
                  <a:cxn ang="0">
                    <a:pos x="141" y="10"/>
                  </a:cxn>
                  <a:cxn ang="0">
                    <a:pos x="136" y="20"/>
                  </a:cxn>
                  <a:cxn ang="0">
                    <a:pos x="126" y="25"/>
                  </a:cxn>
                  <a:cxn ang="0">
                    <a:pos x="125" y="40"/>
                  </a:cxn>
                  <a:cxn ang="0">
                    <a:pos x="120" y="46"/>
                  </a:cxn>
                  <a:cxn ang="0">
                    <a:pos x="128" y="53"/>
                  </a:cxn>
                  <a:cxn ang="0">
                    <a:pos x="131" y="58"/>
                  </a:cxn>
                  <a:cxn ang="0">
                    <a:pos x="123" y="60"/>
                  </a:cxn>
                  <a:cxn ang="0">
                    <a:pos x="110" y="55"/>
                  </a:cxn>
                  <a:cxn ang="0">
                    <a:pos x="103" y="58"/>
                  </a:cxn>
                  <a:cxn ang="0">
                    <a:pos x="98" y="63"/>
                  </a:cxn>
                  <a:cxn ang="0">
                    <a:pos x="90" y="66"/>
                  </a:cxn>
                  <a:cxn ang="0">
                    <a:pos x="92" y="75"/>
                  </a:cxn>
                  <a:cxn ang="0">
                    <a:pos x="78" y="76"/>
                  </a:cxn>
                  <a:cxn ang="0">
                    <a:pos x="70" y="76"/>
                  </a:cxn>
                  <a:cxn ang="0">
                    <a:pos x="62" y="79"/>
                  </a:cxn>
                  <a:cxn ang="0">
                    <a:pos x="57" y="75"/>
                  </a:cxn>
                  <a:cxn ang="0">
                    <a:pos x="43" y="75"/>
                  </a:cxn>
                  <a:cxn ang="0">
                    <a:pos x="33" y="79"/>
                  </a:cxn>
                  <a:cxn ang="0">
                    <a:pos x="23" y="78"/>
                  </a:cxn>
                  <a:cxn ang="0">
                    <a:pos x="22" y="75"/>
                  </a:cxn>
                  <a:cxn ang="0">
                    <a:pos x="15" y="58"/>
                  </a:cxn>
                  <a:cxn ang="0">
                    <a:pos x="5" y="51"/>
                  </a:cxn>
                  <a:cxn ang="0">
                    <a:pos x="3" y="43"/>
                  </a:cxn>
                  <a:cxn ang="0">
                    <a:pos x="12" y="33"/>
                  </a:cxn>
                  <a:cxn ang="0">
                    <a:pos x="10" y="23"/>
                  </a:cxn>
                  <a:cxn ang="0">
                    <a:pos x="0" y="6"/>
                  </a:cxn>
                  <a:cxn ang="0">
                    <a:pos x="3" y="0"/>
                  </a:cxn>
                </a:cxnLst>
                <a:rect l="0" t="0" r="r" b="b"/>
                <a:pathLst>
                  <a:path w="141" h="79">
                    <a:moveTo>
                      <a:pt x="3" y="0"/>
                    </a:moveTo>
                    <a:lnTo>
                      <a:pt x="10" y="0"/>
                    </a:lnTo>
                    <a:lnTo>
                      <a:pt x="13" y="3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13" y="11"/>
                    </a:lnTo>
                    <a:lnTo>
                      <a:pt x="18" y="8"/>
                    </a:lnTo>
                    <a:lnTo>
                      <a:pt x="25" y="8"/>
                    </a:lnTo>
                    <a:lnTo>
                      <a:pt x="28" y="11"/>
                    </a:lnTo>
                    <a:lnTo>
                      <a:pt x="30" y="11"/>
                    </a:lnTo>
                    <a:lnTo>
                      <a:pt x="38" y="13"/>
                    </a:lnTo>
                    <a:lnTo>
                      <a:pt x="47" y="10"/>
                    </a:lnTo>
                    <a:lnTo>
                      <a:pt x="50" y="11"/>
                    </a:lnTo>
                    <a:lnTo>
                      <a:pt x="55" y="10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73" y="13"/>
                    </a:lnTo>
                    <a:lnTo>
                      <a:pt x="77" y="11"/>
                    </a:lnTo>
                    <a:lnTo>
                      <a:pt x="82" y="10"/>
                    </a:lnTo>
                    <a:lnTo>
                      <a:pt x="85" y="6"/>
                    </a:lnTo>
                    <a:lnTo>
                      <a:pt x="98" y="0"/>
                    </a:lnTo>
                    <a:lnTo>
                      <a:pt x="105" y="0"/>
                    </a:lnTo>
                    <a:lnTo>
                      <a:pt x="111" y="0"/>
                    </a:lnTo>
                    <a:lnTo>
                      <a:pt x="120" y="3"/>
                    </a:lnTo>
                    <a:lnTo>
                      <a:pt x="123" y="5"/>
                    </a:lnTo>
                    <a:lnTo>
                      <a:pt x="128" y="3"/>
                    </a:lnTo>
                    <a:lnTo>
                      <a:pt x="133" y="6"/>
                    </a:lnTo>
                    <a:lnTo>
                      <a:pt x="135" y="8"/>
                    </a:lnTo>
                    <a:lnTo>
                      <a:pt x="140" y="8"/>
                    </a:lnTo>
                    <a:lnTo>
                      <a:pt x="141" y="10"/>
                    </a:lnTo>
                    <a:lnTo>
                      <a:pt x="140" y="18"/>
                    </a:lnTo>
                    <a:lnTo>
                      <a:pt x="136" y="20"/>
                    </a:lnTo>
                    <a:lnTo>
                      <a:pt x="131" y="20"/>
                    </a:lnTo>
                    <a:lnTo>
                      <a:pt x="126" y="25"/>
                    </a:lnTo>
                    <a:lnTo>
                      <a:pt x="126" y="35"/>
                    </a:lnTo>
                    <a:lnTo>
                      <a:pt x="125" y="40"/>
                    </a:lnTo>
                    <a:lnTo>
                      <a:pt x="118" y="45"/>
                    </a:lnTo>
                    <a:lnTo>
                      <a:pt x="120" y="46"/>
                    </a:lnTo>
                    <a:lnTo>
                      <a:pt x="123" y="46"/>
                    </a:lnTo>
                    <a:lnTo>
                      <a:pt x="128" y="53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26" y="58"/>
                    </a:lnTo>
                    <a:lnTo>
                      <a:pt x="123" y="60"/>
                    </a:lnTo>
                    <a:lnTo>
                      <a:pt x="116" y="55"/>
                    </a:lnTo>
                    <a:lnTo>
                      <a:pt x="110" y="55"/>
                    </a:lnTo>
                    <a:lnTo>
                      <a:pt x="106" y="58"/>
                    </a:lnTo>
                    <a:lnTo>
                      <a:pt x="103" y="58"/>
                    </a:lnTo>
                    <a:lnTo>
                      <a:pt x="98" y="63"/>
                    </a:lnTo>
                    <a:lnTo>
                      <a:pt x="98" y="63"/>
                    </a:lnTo>
                    <a:lnTo>
                      <a:pt x="96" y="63"/>
                    </a:lnTo>
                    <a:lnTo>
                      <a:pt x="90" y="66"/>
                    </a:lnTo>
                    <a:lnTo>
                      <a:pt x="90" y="71"/>
                    </a:lnTo>
                    <a:lnTo>
                      <a:pt x="92" y="75"/>
                    </a:lnTo>
                    <a:lnTo>
                      <a:pt x="88" y="78"/>
                    </a:lnTo>
                    <a:lnTo>
                      <a:pt x="78" y="76"/>
                    </a:lnTo>
                    <a:lnTo>
                      <a:pt x="73" y="79"/>
                    </a:lnTo>
                    <a:lnTo>
                      <a:pt x="70" y="76"/>
                    </a:lnTo>
                    <a:lnTo>
                      <a:pt x="65" y="76"/>
                    </a:lnTo>
                    <a:lnTo>
                      <a:pt x="62" y="79"/>
                    </a:lnTo>
                    <a:lnTo>
                      <a:pt x="57" y="79"/>
                    </a:lnTo>
                    <a:lnTo>
                      <a:pt x="57" y="75"/>
                    </a:lnTo>
                    <a:lnTo>
                      <a:pt x="50" y="75"/>
                    </a:lnTo>
                    <a:lnTo>
                      <a:pt x="43" y="75"/>
                    </a:lnTo>
                    <a:lnTo>
                      <a:pt x="40" y="78"/>
                    </a:lnTo>
                    <a:lnTo>
                      <a:pt x="33" y="79"/>
                    </a:lnTo>
                    <a:lnTo>
                      <a:pt x="25" y="79"/>
                    </a:lnTo>
                    <a:lnTo>
                      <a:pt x="23" y="78"/>
                    </a:lnTo>
                    <a:lnTo>
                      <a:pt x="23" y="78"/>
                    </a:lnTo>
                    <a:lnTo>
                      <a:pt x="22" y="75"/>
                    </a:lnTo>
                    <a:lnTo>
                      <a:pt x="22" y="68"/>
                    </a:lnTo>
                    <a:lnTo>
                      <a:pt x="15" y="58"/>
                    </a:lnTo>
                    <a:lnTo>
                      <a:pt x="5" y="51"/>
                    </a:lnTo>
                    <a:lnTo>
                      <a:pt x="5" y="51"/>
                    </a:lnTo>
                    <a:lnTo>
                      <a:pt x="7" y="48"/>
                    </a:lnTo>
                    <a:lnTo>
                      <a:pt x="3" y="43"/>
                    </a:lnTo>
                    <a:lnTo>
                      <a:pt x="3" y="40"/>
                    </a:lnTo>
                    <a:lnTo>
                      <a:pt x="12" y="33"/>
                    </a:lnTo>
                    <a:lnTo>
                      <a:pt x="13" y="28"/>
                    </a:lnTo>
                    <a:lnTo>
                      <a:pt x="10" y="23"/>
                    </a:lnTo>
                    <a:lnTo>
                      <a:pt x="3" y="16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2" name="Freeform 46"/>
              <p:cNvSpPr>
                <a:spLocks/>
              </p:cNvSpPr>
              <p:nvPr/>
            </p:nvSpPr>
            <p:spPr bwMode="auto">
              <a:xfrm>
                <a:off x="6664382" y="2754033"/>
                <a:ext cx="33177" cy="23865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53" y="7"/>
                  </a:cxn>
                  <a:cxn ang="0">
                    <a:pos x="60" y="17"/>
                  </a:cxn>
                  <a:cxn ang="0">
                    <a:pos x="60" y="24"/>
                  </a:cxn>
                  <a:cxn ang="0">
                    <a:pos x="61" y="27"/>
                  </a:cxn>
                  <a:cxn ang="0">
                    <a:pos x="58" y="30"/>
                  </a:cxn>
                  <a:cxn ang="0">
                    <a:pos x="53" y="30"/>
                  </a:cxn>
                  <a:cxn ang="0">
                    <a:pos x="48" y="33"/>
                  </a:cxn>
                  <a:cxn ang="0">
                    <a:pos x="36" y="32"/>
                  </a:cxn>
                  <a:cxn ang="0">
                    <a:pos x="32" y="35"/>
                  </a:cxn>
                  <a:cxn ang="0">
                    <a:pos x="30" y="37"/>
                  </a:cxn>
                  <a:cxn ang="0">
                    <a:pos x="23" y="38"/>
                  </a:cxn>
                  <a:cxn ang="0">
                    <a:pos x="13" y="45"/>
                  </a:cxn>
                  <a:cxn ang="0">
                    <a:pos x="13" y="45"/>
                  </a:cxn>
                  <a:cxn ang="0">
                    <a:pos x="8" y="42"/>
                  </a:cxn>
                  <a:cxn ang="0">
                    <a:pos x="7" y="37"/>
                  </a:cxn>
                  <a:cxn ang="0">
                    <a:pos x="2" y="30"/>
                  </a:cxn>
                  <a:cxn ang="0">
                    <a:pos x="0" y="22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4"/>
                  </a:cxn>
                  <a:cxn ang="0">
                    <a:pos x="3" y="10"/>
                  </a:cxn>
                  <a:cxn ang="0">
                    <a:pos x="10" y="7"/>
                  </a:cxn>
                  <a:cxn ang="0">
                    <a:pos x="15" y="5"/>
                  </a:cxn>
                  <a:cxn ang="0">
                    <a:pos x="18" y="4"/>
                  </a:cxn>
                  <a:cxn ang="0">
                    <a:pos x="28" y="2"/>
                  </a:cxn>
                  <a:cxn ang="0">
                    <a:pos x="33" y="2"/>
                  </a:cxn>
                  <a:cxn ang="0">
                    <a:pos x="40" y="0"/>
                  </a:cxn>
                  <a:cxn ang="0">
                    <a:pos x="43" y="0"/>
                  </a:cxn>
                </a:cxnLst>
                <a:rect l="0" t="0" r="r" b="b"/>
                <a:pathLst>
                  <a:path w="61" h="45">
                    <a:moveTo>
                      <a:pt x="43" y="0"/>
                    </a:moveTo>
                    <a:lnTo>
                      <a:pt x="53" y="7"/>
                    </a:lnTo>
                    <a:lnTo>
                      <a:pt x="60" y="17"/>
                    </a:lnTo>
                    <a:lnTo>
                      <a:pt x="60" y="24"/>
                    </a:lnTo>
                    <a:lnTo>
                      <a:pt x="61" y="27"/>
                    </a:lnTo>
                    <a:lnTo>
                      <a:pt x="58" y="30"/>
                    </a:lnTo>
                    <a:lnTo>
                      <a:pt x="53" y="30"/>
                    </a:lnTo>
                    <a:lnTo>
                      <a:pt x="48" y="33"/>
                    </a:lnTo>
                    <a:lnTo>
                      <a:pt x="36" y="32"/>
                    </a:lnTo>
                    <a:lnTo>
                      <a:pt x="32" y="35"/>
                    </a:lnTo>
                    <a:lnTo>
                      <a:pt x="30" y="37"/>
                    </a:lnTo>
                    <a:lnTo>
                      <a:pt x="23" y="38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8" y="42"/>
                    </a:lnTo>
                    <a:lnTo>
                      <a:pt x="7" y="37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3" y="10"/>
                    </a:lnTo>
                    <a:lnTo>
                      <a:pt x="10" y="7"/>
                    </a:lnTo>
                    <a:lnTo>
                      <a:pt x="15" y="5"/>
                    </a:lnTo>
                    <a:lnTo>
                      <a:pt x="18" y="4"/>
                    </a:lnTo>
                    <a:lnTo>
                      <a:pt x="28" y="2"/>
                    </a:lnTo>
                    <a:lnTo>
                      <a:pt x="33" y="2"/>
                    </a:lnTo>
                    <a:lnTo>
                      <a:pt x="40" y="0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3" name="Freeform 47"/>
              <p:cNvSpPr>
                <a:spLocks/>
              </p:cNvSpPr>
              <p:nvPr/>
            </p:nvSpPr>
            <p:spPr bwMode="auto">
              <a:xfrm>
                <a:off x="6649398" y="2750920"/>
                <a:ext cx="22475" cy="41504"/>
              </a:xfrm>
              <a:custGeom>
                <a:avLst/>
                <a:gdLst/>
                <a:ahLst/>
                <a:cxnLst>
                  <a:cxn ang="0">
                    <a:pos x="32" y="21"/>
                  </a:cxn>
                  <a:cxn ang="0">
                    <a:pos x="30" y="28"/>
                  </a:cxn>
                  <a:cxn ang="0">
                    <a:pos x="32" y="36"/>
                  </a:cxn>
                  <a:cxn ang="0">
                    <a:pos x="37" y="43"/>
                  </a:cxn>
                  <a:cxn ang="0">
                    <a:pos x="38" y="48"/>
                  </a:cxn>
                  <a:cxn ang="0">
                    <a:pos x="43" y="51"/>
                  </a:cxn>
                  <a:cxn ang="0">
                    <a:pos x="43" y="56"/>
                  </a:cxn>
                  <a:cxn ang="0">
                    <a:pos x="40" y="63"/>
                  </a:cxn>
                  <a:cxn ang="0">
                    <a:pos x="30" y="66"/>
                  </a:cxn>
                  <a:cxn ang="0">
                    <a:pos x="30" y="71"/>
                  </a:cxn>
                  <a:cxn ang="0">
                    <a:pos x="27" y="78"/>
                  </a:cxn>
                  <a:cxn ang="0">
                    <a:pos x="23" y="79"/>
                  </a:cxn>
                  <a:cxn ang="0">
                    <a:pos x="18" y="76"/>
                  </a:cxn>
                  <a:cxn ang="0">
                    <a:pos x="13" y="66"/>
                  </a:cxn>
                  <a:cxn ang="0">
                    <a:pos x="5" y="66"/>
                  </a:cxn>
                  <a:cxn ang="0">
                    <a:pos x="3" y="63"/>
                  </a:cxn>
                  <a:cxn ang="0">
                    <a:pos x="5" y="58"/>
                  </a:cxn>
                  <a:cxn ang="0">
                    <a:pos x="2" y="54"/>
                  </a:cxn>
                  <a:cxn ang="0">
                    <a:pos x="2" y="48"/>
                  </a:cxn>
                  <a:cxn ang="0">
                    <a:pos x="3" y="44"/>
                  </a:cxn>
                  <a:cxn ang="0">
                    <a:pos x="2" y="38"/>
                  </a:cxn>
                  <a:cxn ang="0">
                    <a:pos x="3" y="28"/>
                  </a:cxn>
                  <a:cxn ang="0">
                    <a:pos x="5" y="26"/>
                  </a:cxn>
                  <a:cxn ang="0">
                    <a:pos x="7" y="23"/>
                  </a:cxn>
                  <a:cxn ang="0">
                    <a:pos x="0" y="20"/>
                  </a:cxn>
                  <a:cxn ang="0">
                    <a:pos x="0" y="11"/>
                  </a:cxn>
                  <a:cxn ang="0">
                    <a:pos x="3" y="6"/>
                  </a:cxn>
                  <a:cxn ang="0">
                    <a:pos x="8" y="0"/>
                  </a:cxn>
                  <a:cxn ang="0">
                    <a:pos x="10" y="0"/>
                  </a:cxn>
                  <a:cxn ang="0">
                    <a:pos x="13" y="5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18" y="1"/>
                  </a:cxn>
                  <a:cxn ang="0">
                    <a:pos x="22" y="5"/>
                  </a:cxn>
                  <a:cxn ang="0">
                    <a:pos x="25" y="6"/>
                  </a:cxn>
                  <a:cxn ang="0">
                    <a:pos x="30" y="10"/>
                  </a:cxn>
                  <a:cxn ang="0">
                    <a:pos x="30" y="11"/>
                  </a:cxn>
                  <a:cxn ang="0">
                    <a:pos x="30" y="20"/>
                  </a:cxn>
                  <a:cxn ang="0">
                    <a:pos x="32" y="21"/>
                  </a:cxn>
                </a:cxnLst>
                <a:rect l="0" t="0" r="r" b="b"/>
                <a:pathLst>
                  <a:path w="43" h="79">
                    <a:moveTo>
                      <a:pt x="32" y="21"/>
                    </a:moveTo>
                    <a:lnTo>
                      <a:pt x="30" y="28"/>
                    </a:lnTo>
                    <a:lnTo>
                      <a:pt x="32" y="36"/>
                    </a:lnTo>
                    <a:lnTo>
                      <a:pt x="37" y="43"/>
                    </a:lnTo>
                    <a:lnTo>
                      <a:pt x="38" y="48"/>
                    </a:lnTo>
                    <a:lnTo>
                      <a:pt x="43" y="51"/>
                    </a:lnTo>
                    <a:lnTo>
                      <a:pt x="43" y="56"/>
                    </a:lnTo>
                    <a:lnTo>
                      <a:pt x="40" y="63"/>
                    </a:lnTo>
                    <a:lnTo>
                      <a:pt x="30" y="66"/>
                    </a:lnTo>
                    <a:lnTo>
                      <a:pt x="30" y="71"/>
                    </a:lnTo>
                    <a:lnTo>
                      <a:pt x="27" y="78"/>
                    </a:lnTo>
                    <a:lnTo>
                      <a:pt x="23" y="79"/>
                    </a:lnTo>
                    <a:lnTo>
                      <a:pt x="18" y="76"/>
                    </a:lnTo>
                    <a:lnTo>
                      <a:pt x="13" y="66"/>
                    </a:lnTo>
                    <a:lnTo>
                      <a:pt x="5" y="66"/>
                    </a:lnTo>
                    <a:lnTo>
                      <a:pt x="3" y="63"/>
                    </a:lnTo>
                    <a:lnTo>
                      <a:pt x="5" y="58"/>
                    </a:lnTo>
                    <a:lnTo>
                      <a:pt x="2" y="54"/>
                    </a:lnTo>
                    <a:lnTo>
                      <a:pt x="2" y="48"/>
                    </a:lnTo>
                    <a:lnTo>
                      <a:pt x="3" y="44"/>
                    </a:lnTo>
                    <a:lnTo>
                      <a:pt x="2" y="38"/>
                    </a:lnTo>
                    <a:lnTo>
                      <a:pt x="3" y="28"/>
                    </a:lnTo>
                    <a:lnTo>
                      <a:pt x="5" y="26"/>
                    </a:lnTo>
                    <a:lnTo>
                      <a:pt x="7" y="23"/>
                    </a:lnTo>
                    <a:lnTo>
                      <a:pt x="0" y="20"/>
                    </a:lnTo>
                    <a:lnTo>
                      <a:pt x="0" y="11"/>
                    </a:lnTo>
                    <a:lnTo>
                      <a:pt x="3" y="6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3" y="5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2" y="5"/>
                    </a:lnTo>
                    <a:lnTo>
                      <a:pt x="25" y="6"/>
                    </a:lnTo>
                    <a:lnTo>
                      <a:pt x="30" y="10"/>
                    </a:lnTo>
                    <a:lnTo>
                      <a:pt x="30" y="11"/>
                    </a:lnTo>
                    <a:lnTo>
                      <a:pt x="30" y="20"/>
                    </a:lnTo>
                    <a:lnTo>
                      <a:pt x="32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4" name="Freeform 48"/>
              <p:cNvSpPr>
                <a:spLocks/>
              </p:cNvSpPr>
              <p:nvPr/>
            </p:nvSpPr>
            <p:spPr bwMode="auto">
              <a:xfrm>
                <a:off x="6639767" y="2701116"/>
                <a:ext cx="52442" cy="61218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12" y="7"/>
                  </a:cxn>
                  <a:cxn ang="0">
                    <a:pos x="20" y="0"/>
                  </a:cxn>
                  <a:cxn ang="0">
                    <a:pos x="29" y="2"/>
                  </a:cxn>
                  <a:cxn ang="0">
                    <a:pos x="39" y="9"/>
                  </a:cxn>
                  <a:cxn ang="0">
                    <a:pos x="47" y="20"/>
                  </a:cxn>
                  <a:cxn ang="0">
                    <a:pos x="60" y="27"/>
                  </a:cxn>
                  <a:cxn ang="0">
                    <a:pos x="59" y="35"/>
                  </a:cxn>
                  <a:cxn ang="0">
                    <a:pos x="69" y="42"/>
                  </a:cxn>
                  <a:cxn ang="0">
                    <a:pos x="77" y="42"/>
                  </a:cxn>
                  <a:cxn ang="0">
                    <a:pos x="90" y="38"/>
                  </a:cxn>
                  <a:cxn ang="0">
                    <a:pos x="87" y="47"/>
                  </a:cxn>
                  <a:cxn ang="0">
                    <a:pos x="85" y="58"/>
                  </a:cxn>
                  <a:cxn ang="0">
                    <a:pos x="95" y="75"/>
                  </a:cxn>
                  <a:cxn ang="0">
                    <a:pos x="97" y="85"/>
                  </a:cxn>
                  <a:cxn ang="0">
                    <a:pos x="88" y="95"/>
                  </a:cxn>
                  <a:cxn ang="0">
                    <a:pos x="90" y="103"/>
                  </a:cxn>
                  <a:cxn ang="0">
                    <a:pos x="80" y="105"/>
                  </a:cxn>
                  <a:cxn ang="0">
                    <a:pos x="65" y="107"/>
                  </a:cxn>
                  <a:cxn ang="0">
                    <a:pos x="57" y="110"/>
                  </a:cxn>
                  <a:cxn ang="0">
                    <a:pos x="52" y="117"/>
                  </a:cxn>
                  <a:cxn ang="0">
                    <a:pos x="47" y="117"/>
                  </a:cxn>
                  <a:cxn ang="0">
                    <a:pos x="47" y="107"/>
                  </a:cxn>
                  <a:cxn ang="0">
                    <a:pos x="39" y="102"/>
                  </a:cxn>
                  <a:cxn ang="0">
                    <a:pos x="34" y="97"/>
                  </a:cxn>
                  <a:cxn ang="0">
                    <a:pos x="39" y="92"/>
                  </a:cxn>
                  <a:cxn ang="0">
                    <a:pos x="32" y="85"/>
                  </a:cxn>
                  <a:cxn ang="0">
                    <a:pos x="22" y="82"/>
                  </a:cxn>
                  <a:cxn ang="0">
                    <a:pos x="20" y="77"/>
                  </a:cxn>
                  <a:cxn ang="0">
                    <a:pos x="17" y="70"/>
                  </a:cxn>
                  <a:cxn ang="0">
                    <a:pos x="12" y="60"/>
                  </a:cxn>
                  <a:cxn ang="0">
                    <a:pos x="19" y="60"/>
                  </a:cxn>
                  <a:cxn ang="0">
                    <a:pos x="17" y="55"/>
                  </a:cxn>
                  <a:cxn ang="0">
                    <a:pos x="5" y="50"/>
                  </a:cxn>
                  <a:cxn ang="0">
                    <a:pos x="10" y="40"/>
                  </a:cxn>
                  <a:cxn ang="0">
                    <a:pos x="9" y="35"/>
                  </a:cxn>
                  <a:cxn ang="0">
                    <a:pos x="5" y="35"/>
                  </a:cxn>
                  <a:cxn ang="0">
                    <a:pos x="9" y="30"/>
                  </a:cxn>
                  <a:cxn ang="0">
                    <a:pos x="12" y="29"/>
                  </a:cxn>
                  <a:cxn ang="0">
                    <a:pos x="5" y="25"/>
                  </a:cxn>
                  <a:cxn ang="0">
                    <a:pos x="0" y="14"/>
                  </a:cxn>
                </a:cxnLst>
                <a:rect l="0" t="0" r="r" b="b"/>
                <a:pathLst>
                  <a:path w="98" h="118">
                    <a:moveTo>
                      <a:pt x="0" y="12"/>
                    </a:moveTo>
                    <a:lnTo>
                      <a:pt x="4" y="9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9" y="2"/>
                    </a:lnTo>
                    <a:lnTo>
                      <a:pt x="37" y="5"/>
                    </a:lnTo>
                    <a:lnTo>
                      <a:pt x="39" y="9"/>
                    </a:lnTo>
                    <a:lnTo>
                      <a:pt x="45" y="17"/>
                    </a:lnTo>
                    <a:lnTo>
                      <a:pt x="47" y="20"/>
                    </a:lnTo>
                    <a:lnTo>
                      <a:pt x="54" y="24"/>
                    </a:lnTo>
                    <a:lnTo>
                      <a:pt x="60" y="27"/>
                    </a:lnTo>
                    <a:lnTo>
                      <a:pt x="57" y="33"/>
                    </a:lnTo>
                    <a:lnTo>
                      <a:pt x="59" y="35"/>
                    </a:lnTo>
                    <a:lnTo>
                      <a:pt x="67" y="38"/>
                    </a:lnTo>
                    <a:lnTo>
                      <a:pt x="69" y="42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82" y="38"/>
                    </a:lnTo>
                    <a:lnTo>
                      <a:pt x="90" y="38"/>
                    </a:lnTo>
                    <a:lnTo>
                      <a:pt x="85" y="43"/>
                    </a:lnTo>
                    <a:lnTo>
                      <a:pt x="87" y="47"/>
                    </a:lnTo>
                    <a:lnTo>
                      <a:pt x="88" y="55"/>
                    </a:lnTo>
                    <a:lnTo>
                      <a:pt x="85" y="58"/>
                    </a:lnTo>
                    <a:lnTo>
                      <a:pt x="88" y="68"/>
                    </a:lnTo>
                    <a:lnTo>
                      <a:pt x="95" y="75"/>
                    </a:lnTo>
                    <a:lnTo>
                      <a:pt x="98" y="80"/>
                    </a:lnTo>
                    <a:lnTo>
                      <a:pt x="97" y="85"/>
                    </a:lnTo>
                    <a:lnTo>
                      <a:pt x="88" y="92"/>
                    </a:lnTo>
                    <a:lnTo>
                      <a:pt x="88" y="95"/>
                    </a:lnTo>
                    <a:lnTo>
                      <a:pt x="92" y="100"/>
                    </a:lnTo>
                    <a:lnTo>
                      <a:pt x="90" y="103"/>
                    </a:lnTo>
                    <a:lnTo>
                      <a:pt x="87" y="103"/>
                    </a:lnTo>
                    <a:lnTo>
                      <a:pt x="80" y="105"/>
                    </a:lnTo>
                    <a:lnTo>
                      <a:pt x="75" y="105"/>
                    </a:lnTo>
                    <a:lnTo>
                      <a:pt x="65" y="107"/>
                    </a:lnTo>
                    <a:lnTo>
                      <a:pt x="62" y="108"/>
                    </a:lnTo>
                    <a:lnTo>
                      <a:pt x="57" y="110"/>
                    </a:lnTo>
                    <a:lnTo>
                      <a:pt x="50" y="113"/>
                    </a:lnTo>
                    <a:lnTo>
                      <a:pt x="52" y="117"/>
                    </a:lnTo>
                    <a:lnTo>
                      <a:pt x="49" y="118"/>
                    </a:lnTo>
                    <a:lnTo>
                      <a:pt x="47" y="117"/>
                    </a:lnTo>
                    <a:lnTo>
                      <a:pt x="47" y="108"/>
                    </a:lnTo>
                    <a:lnTo>
                      <a:pt x="47" y="107"/>
                    </a:lnTo>
                    <a:lnTo>
                      <a:pt x="42" y="103"/>
                    </a:lnTo>
                    <a:lnTo>
                      <a:pt x="39" y="102"/>
                    </a:lnTo>
                    <a:lnTo>
                      <a:pt x="35" y="98"/>
                    </a:lnTo>
                    <a:lnTo>
                      <a:pt x="34" y="97"/>
                    </a:lnTo>
                    <a:lnTo>
                      <a:pt x="35" y="95"/>
                    </a:lnTo>
                    <a:lnTo>
                      <a:pt x="39" y="92"/>
                    </a:lnTo>
                    <a:lnTo>
                      <a:pt x="39" y="87"/>
                    </a:lnTo>
                    <a:lnTo>
                      <a:pt x="32" y="85"/>
                    </a:lnTo>
                    <a:lnTo>
                      <a:pt x="29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20" y="77"/>
                    </a:lnTo>
                    <a:lnTo>
                      <a:pt x="15" y="72"/>
                    </a:lnTo>
                    <a:lnTo>
                      <a:pt x="17" y="70"/>
                    </a:lnTo>
                    <a:lnTo>
                      <a:pt x="12" y="65"/>
                    </a:lnTo>
                    <a:lnTo>
                      <a:pt x="12" y="60"/>
                    </a:lnTo>
                    <a:lnTo>
                      <a:pt x="14" y="58"/>
                    </a:lnTo>
                    <a:lnTo>
                      <a:pt x="19" y="60"/>
                    </a:lnTo>
                    <a:lnTo>
                      <a:pt x="20" y="58"/>
                    </a:lnTo>
                    <a:lnTo>
                      <a:pt x="17" y="55"/>
                    </a:lnTo>
                    <a:lnTo>
                      <a:pt x="14" y="55"/>
                    </a:lnTo>
                    <a:lnTo>
                      <a:pt x="5" y="50"/>
                    </a:lnTo>
                    <a:lnTo>
                      <a:pt x="5" y="47"/>
                    </a:lnTo>
                    <a:lnTo>
                      <a:pt x="10" y="40"/>
                    </a:lnTo>
                    <a:lnTo>
                      <a:pt x="12" y="35"/>
                    </a:lnTo>
                    <a:lnTo>
                      <a:pt x="9" y="35"/>
                    </a:lnTo>
                    <a:lnTo>
                      <a:pt x="7" y="37"/>
                    </a:lnTo>
                    <a:lnTo>
                      <a:pt x="5" y="35"/>
                    </a:lnTo>
                    <a:lnTo>
                      <a:pt x="5" y="32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29"/>
                    </a:lnTo>
                    <a:lnTo>
                      <a:pt x="7" y="27"/>
                    </a:lnTo>
                    <a:lnTo>
                      <a:pt x="5" y="25"/>
                    </a:lnTo>
                    <a:lnTo>
                      <a:pt x="4" y="19"/>
                    </a:lnTo>
                    <a:lnTo>
                      <a:pt x="0" y="1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5" name="Freeform 49"/>
              <p:cNvSpPr>
                <a:spLocks/>
              </p:cNvSpPr>
              <p:nvPr/>
            </p:nvSpPr>
            <p:spPr bwMode="auto">
              <a:xfrm>
                <a:off x="6637626" y="2736394"/>
                <a:ext cx="22475" cy="24902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22" y="40"/>
                  </a:cxn>
                  <a:cxn ang="0">
                    <a:pos x="25" y="35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5" y="34"/>
                  </a:cxn>
                  <a:cxn ang="0">
                    <a:pos x="39" y="29"/>
                  </a:cxn>
                  <a:cxn ang="0">
                    <a:pos x="40" y="27"/>
                  </a:cxn>
                  <a:cxn ang="0">
                    <a:pos x="44" y="24"/>
                  </a:cxn>
                  <a:cxn ang="0">
                    <a:pos x="44" y="19"/>
                  </a:cxn>
                  <a:cxn ang="0">
                    <a:pos x="37" y="17"/>
                  </a:cxn>
                  <a:cxn ang="0">
                    <a:pos x="34" y="14"/>
                  </a:cxn>
                  <a:cxn ang="0">
                    <a:pos x="27" y="14"/>
                  </a:cxn>
                  <a:cxn ang="0">
                    <a:pos x="25" y="12"/>
                  </a:cxn>
                  <a:cxn ang="0">
                    <a:pos x="25" y="9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5" y="4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9" y="5"/>
                  </a:cxn>
                  <a:cxn ang="0">
                    <a:pos x="12" y="7"/>
                  </a:cxn>
                  <a:cxn ang="0">
                    <a:pos x="14" y="10"/>
                  </a:cxn>
                  <a:cxn ang="0">
                    <a:pos x="10" y="12"/>
                  </a:cxn>
                  <a:cxn ang="0">
                    <a:pos x="7" y="14"/>
                  </a:cxn>
                  <a:cxn ang="0">
                    <a:pos x="5" y="17"/>
                  </a:cxn>
                  <a:cxn ang="0">
                    <a:pos x="5" y="24"/>
                  </a:cxn>
                  <a:cxn ang="0">
                    <a:pos x="2" y="29"/>
                  </a:cxn>
                  <a:cxn ang="0">
                    <a:pos x="0" y="29"/>
                  </a:cxn>
                  <a:cxn ang="0">
                    <a:pos x="2" y="30"/>
                  </a:cxn>
                  <a:cxn ang="0">
                    <a:pos x="5" y="34"/>
                  </a:cxn>
                  <a:cxn ang="0">
                    <a:pos x="15" y="44"/>
                  </a:cxn>
                  <a:cxn ang="0">
                    <a:pos x="15" y="47"/>
                  </a:cxn>
                  <a:cxn ang="0">
                    <a:pos x="22" y="49"/>
                  </a:cxn>
                </a:cxnLst>
                <a:rect l="0" t="0" r="r" b="b"/>
                <a:pathLst>
                  <a:path w="44" h="49">
                    <a:moveTo>
                      <a:pt x="22" y="49"/>
                    </a:moveTo>
                    <a:lnTo>
                      <a:pt x="22" y="40"/>
                    </a:lnTo>
                    <a:lnTo>
                      <a:pt x="25" y="35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5" y="34"/>
                    </a:lnTo>
                    <a:lnTo>
                      <a:pt x="39" y="29"/>
                    </a:lnTo>
                    <a:lnTo>
                      <a:pt x="40" y="27"/>
                    </a:lnTo>
                    <a:lnTo>
                      <a:pt x="44" y="24"/>
                    </a:lnTo>
                    <a:lnTo>
                      <a:pt x="44" y="19"/>
                    </a:lnTo>
                    <a:lnTo>
                      <a:pt x="37" y="17"/>
                    </a:lnTo>
                    <a:lnTo>
                      <a:pt x="34" y="14"/>
                    </a:lnTo>
                    <a:lnTo>
                      <a:pt x="27" y="14"/>
                    </a:lnTo>
                    <a:lnTo>
                      <a:pt x="25" y="12"/>
                    </a:lnTo>
                    <a:lnTo>
                      <a:pt x="25" y="9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5" y="4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4" y="10"/>
                    </a:lnTo>
                    <a:lnTo>
                      <a:pt x="10" y="12"/>
                    </a:lnTo>
                    <a:lnTo>
                      <a:pt x="7" y="14"/>
                    </a:lnTo>
                    <a:lnTo>
                      <a:pt x="5" y="17"/>
                    </a:lnTo>
                    <a:lnTo>
                      <a:pt x="5" y="24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5" y="34"/>
                    </a:lnTo>
                    <a:lnTo>
                      <a:pt x="15" y="44"/>
                    </a:lnTo>
                    <a:lnTo>
                      <a:pt x="15" y="47"/>
                    </a:lnTo>
                    <a:lnTo>
                      <a:pt x="22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6" name="Freeform 50"/>
              <p:cNvSpPr>
                <a:spLocks noEditPoints="1"/>
              </p:cNvSpPr>
              <p:nvPr/>
            </p:nvSpPr>
            <p:spPr bwMode="auto">
              <a:xfrm>
                <a:off x="6575552" y="2699041"/>
                <a:ext cx="70636" cy="47729"/>
              </a:xfrm>
              <a:custGeom>
                <a:avLst/>
                <a:gdLst/>
                <a:ahLst/>
                <a:cxnLst>
                  <a:cxn ang="0">
                    <a:pos x="130" y="33"/>
                  </a:cxn>
                  <a:cxn ang="0">
                    <a:pos x="128" y="30"/>
                  </a:cxn>
                  <a:cxn ang="0">
                    <a:pos x="121" y="17"/>
                  </a:cxn>
                  <a:cxn ang="0">
                    <a:pos x="105" y="17"/>
                  </a:cxn>
                  <a:cxn ang="0">
                    <a:pos x="83" y="10"/>
                  </a:cxn>
                  <a:cxn ang="0">
                    <a:pos x="70" y="2"/>
                  </a:cxn>
                  <a:cxn ang="0">
                    <a:pos x="43" y="13"/>
                  </a:cxn>
                  <a:cxn ang="0">
                    <a:pos x="30" y="25"/>
                  </a:cxn>
                  <a:cxn ang="0">
                    <a:pos x="10" y="27"/>
                  </a:cxn>
                  <a:cxn ang="0">
                    <a:pos x="2" y="36"/>
                  </a:cxn>
                  <a:cxn ang="0">
                    <a:pos x="10" y="45"/>
                  </a:cxn>
                  <a:cxn ang="0">
                    <a:pos x="20" y="27"/>
                  </a:cxn>
                  <a:cxn ang="0">
                    <a:pos x="32" y="35"/>
                  </a:cxn>
                  <a:cxn ang="0">
                    <a:pos x="43" y="53"/>
                  </a:cxn>
                  <a:cxn ang="0">
                    <a:pos x="47" y="56"/>
                  </a:cxn>
                  <a:cxn ang="0">
                    <a:pos x="43" y="65"/>
                  </a:cxn>
                  <a:cxn ang="0">
                    <a:pos x="58" y="71"/>
                  </a:cxn>
                  <a:cxn ang="0">
                    <a:pos x="68" y="76"/>
                  </a:cxn>
                  <a:cxn ang="0">
                    <a:pos x="97" y="91"/>
                  </a:cxn>
                  <a:cxn ang="0">
                    <a:pos x="92" y="91"/>
                  </a:cxn>
                  <a:cxn ang="0">
                    <a:pos x="98" y="90"/>
                  </a:cxn>
                  <a:cxn ang="0">
                    <a:pos x="60" y="55"/>
                  </a:cxn>
                  <a:cxn ang="0">
                    <a:pos x="58" y="45"/>
                  </a:cxn>
                  <a:cxn ang="0">
                    <a:pos x="50" y="36"/>
                  </a:cxn>
                  <a:cxn ang="0">
                    <a:pos x="53" y="28"/>
                  </a:cxn>
                  <a:cxn ang="0">
                    <a:pos x="65" y="33"/>
                  </a:cxn>
                  <a:cxn ang="0">
                    <a:pos x="72" y="30"/>
                  </a:cxn>
                  <a:cxn ang="0">
                    <a:pos x="80" y="28"/>
                  </a:cxn>
                  <a:cxn ang="0">
                    <a:pos x="90" y="32"/>
                  </a:cxn>
                  <a:cxn ang="0">
                    <a:pos x="100" y="33"/>
                  </a:cxn>
                  <a:cxn ang="0">
                    <a:pos x="115" y="33"/>
                  </a:cxn>
                  <a:cxn ang="0">
                    <a:pos x="126" y="38"/>
                  </a:cxn>
                  <a:cxn ang="0">
                    <a:pos x="77" y="90"/>
                  </a:cxn>
                  <a:cxn ang="0">
                    <a:pos x="80" y="91"/>
                  </a:cxn>
                  <a:cxn ang="0">
                    <a:pos x="70" y="85"/>
                  </a:cxn>
                  <a:cxn ang="0">
                    <a:pos x="70" y="85"/>
                  </a:cxn>
                  <a:cxn ang="0">
                    <a:pos x="80" y="80"/>
                  </a:cxn>
                  <a:cxn ang="0">
                    <a:pos x="73" y="83"/>
                  </a:cxn>
                  <a:cxn ang="0">
                    <a:pos x="37" y="51"/>
                  </a:cxn>
                  <a:cxn ang="0">
                    <a:pos x="40" y="58"/>
                  </a:cxn>
                  <a:cxn ang="0">
                    <a:pos x="32" y="46"/>
                  </a:cxn>
                  <a:cxn ang="0">
                    <a:pos x="32" y="46"/>
                  </a:cxn>
                  <a:cxn ang="0">
                    <a:pos x="38" y="63"/>
                  </a:cxn>
                  <a:cxn ang="0">
                    <a:pos x="33" y="60"/>
                  </a:cxn>
                  <a:cxn ang="0">
                    <a:pos x="32" y="56"/>
                  </a:cxn>
                  <a:cxn ang="0">
                    <a:pos x="18" y="40"/>
                  </a:cxn>
                  <a:cxn ang="0">
                    <a:pos x="25" y="50"/>
                  </a:cxn>
                  <a:cxn ang="0">
                    <a:pos x="18" y="40"/>
                  </a:cxn>
                  <a:cxn ang="0">
                    <a:pos x="30" y="41"/>
                  </a:cxn>
                  <a:cxn ang="0">
                    <a:pos x="20" y="40"/>
                  </a:cxn>
                  <a:cxn ang="0">
                    <a:pos x="22" y="32"/>
                  </a:cxn>
                </a:cxnLst>
                <a:rect l="0" t="0" r="r" b="b"/>
                <a:pathLst>
                  <a:path w="133" h="93">
                    <a:moveTo>
                      <a:pt x="126" y="38"/>
                    </a:moveTo>
                    <a:lnTo>
                      <a:pt x="126" y="35"/>
                    </a:lnTo>
                    <a:lnTo>
                      <a:pt x="130" y="33"/>
                    </a:lnTo>
                    <a:lnTo>
                      <a:pt x="133" y="33"/>
                    </a:lnTo>
                    <a:lnTo>
                      <a:pt x="133" y="32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5" y="22"/>
                    </a:lnTo>
                    <a:lnTo>
                      <a:pt x="121" y="17"/>
                    </a:lnTo>
                    <a:lnTo>
                      <a:pt x="118" y="15"/>
                    </a:lnTo>
                    <a:lnTo>
                      <a:pt x="115" y="18"/>
                    </a:lnTo>
                    <a:lnTo>
                      <a:pt x="105" y="17"/>
                    </a:lnTo>
                    <a:lnTo>
                      <a:pt x="93" y="13"/>
                    </a:lnTo>
                    <a:lnTo>
                      <a:pt x="88" y="12"/>
                    </a:lnTo>
                    <a:lnTo>
                      <a:pt x="83" y="10"/>
                    </a:lnTo>
                    <a:lnTo>
                      <a:pt x="73" y="2"/>
                    </a:lnTo>
                    <a:lnTo>
                      <a:pt x="70" y="0"/>
                    </a:lnTo>
                    <a:lnTo>
                      <a:pt x="70" y="2"/>
                    </a:lnTo>
                    <a:lnTo>
                      <a:pt x="60" y="2"/>
                    </a:lnTo>
                    <a:lnTo>
                      <a:pt x="45" y="8"/>
                    </a:lnTo>
                    <a:lnTo>
                      <a:pt x="43" y="13"/>
                    </a:lnTo>
                    <a:lnTo>
                      <a:pt x="37" y="17"/>
                    </a:lnTo>
                    <a:lnTo>
                      <a:pt x="35" y="25"/>
                    </a:lnTo>
                    <a:lnTo>
                      <a:pt x="30" y="25"/>
                    </a:lnTo>
                    <a:lnTo>
                      <a:pt x="20" y="22"/>
                    </a:lnTo>
                    <a:lnTo>
                      <a:pt x="15" y="23"/>
                    </a:lnTo>
                    <a:lnTo>
                      <a:pt x="10" y="27"/>
                    </a:lnTo>
                    <a:lnTo>
                      <a:pt x="0" y="27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1"/>
                    </a:lnTo>
                    <a:lnTo>
                      <a:pt x="7" y="43"/>
                    </a:lnTo>
                    <a:lnTo>
                      <a:pt x="10" y="45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20" y="27"/>
                    </a:lnTo>
                    <a:lnTo>
                      <a:pt x="25" y="27"/>
                    </a:lnTo>
                    <a:lnTo>
                      <a:pt x="27" y="32"/>
                    </a:lnTo>
                    <a:lnTo>
                      <a:pt x="32" y="35"/>
                    </a:lnTo>
                    <a:lnTo>
                      <a:pt x="33" y="41"/>
                    </a:lnTo>
                    <a:lnTo>
                      <a:pt x="37" y="48"/>
                    </a:lnTo>
                    <a:lnTo>
                      <a:pt x="43" y="53"/>
                    </a:lnTo>
                    <a:lnTo>
                      <a:pt x="47" y="53"/>
                    </a:lnTo>
                    <a:lnTo>
                      <a:pt x="50" y="58"/>
                    </a:lnTo>
                    <a:lnTo>
                      <a:pt x="47" y="56"/>
                    </a:lnTo>
                    <a:lnTo>
                      <a:pt x="42" y="58"/>
                    </a:lnTo>
                    <a:lnTo>
                      <a:pt x="40" y="61"/>
                    </a:lnTo>
                    <a:lnTo>
                      <a:pt x="43" y="65"/>
                    </a:lnTo>
                    <a:lnTo>
                      <a:pt x="48" y="65"/>
                    </a:lnTo>
                    <a:lnTo>
                      <a:pt x="53" y="70"/>
                    </a:lnTo>
                    <a:lnTo>
                      <a:pt x="58" y="71"/>
                    </a:lnTo>
                    <a:lnTo>
                      <a:pt x="60" y="75"/>
                    </a:lnTo>
                    <a:lnTo>
                      <a:pt x="63" y="78"/>
                    </a:lnTo>
                    <a:lnTo>
                      <a:pt x="68" y="76"/>
                    </a:lnTo>
                    <a:lnTo>
                      <a:pt x="80" y="78"/>
                    </a:lnTo>
                    <a:lnTo>
                      <a:pt x="85" y="80"/>
                    </a:lnTo>
                    <a:lnTo>
                      <a:pt x="97" y="91"/>
                    </a:lnTo>
                    <a:lnTo>
                      <a:pt x="93" y="91"/>
                    </a:lnTo>
                    <a:lnTo>
                      <a:pt x="88" y="88"/>
                    </a:lnTo>
                    <a:lnTo>
                      <a:pt x="92" y="91"/>
                    </a:lnTo>
                    <a:lnTo>
                      <a:pt x="97" y="93"/>
                    </a:lnTo>
                    <a:lnTo>
                      <a:pt x="97" y="93"/>
                    </a:lnTo>
                    <a:lnTo>
                      <a:pt x="98" y="90"/>
                    </a:lnTo>
                    <a:lnTo>
                      <a:pt x="80" y="71"/>
                    </a:lnTo>
                    <a:lnTo>
                      <a:pt x="62" y="56"/>
                    </a:lnTo>
                    <a:lnTo>
                      <a:pt x="60" y="55"/>
                    </a:lnTo>
                    <a:lnTo>
                      <a:pt x="62" y="53"/>
                    </a:lnTo>
                    <a:lnTo>
                      <a:pt x="58" y="48"/>
                    </a:lnTo>
                    <a:lnTo>
                      <a:pt x="58" y="45"/>
                    </a:lnTo>
                    <a:lnTo>
                      <a:pt x="53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2" y="35"/>
                    </a:lnTo>
                    <a:lnTo>
                      <a:pt x="52" y="30"/>
                    </a:lnTo>
                    <a:lnTo>
                      <a:pt x="53" y="28"/>
                    </a:lnTo>
                    <a:lnTo>
                      <a:pt x="60" y="32"/>
                    </a:lnTo>
                    <a:lnTo>
                      <a:pt x="62" y="35"/>
                    </a:lnTo>
                    <a:lnTo>
                      <a:pt x="65" y="33"/>
                    </a:lnTo>
                    <a:lnTo>
                      <a:pt x="65" y="32"/>
                    </a:lnTo>
                    <a:lnTo>
                      <a:pt x="68" y="30"/>
                    </a:lnTo>
                    <a:lnTo>
                      <a:pt x="72" y="30"/>
                    </a:lnTo>
                    <a:lnTo>
                      <a:pt x="75" y="28"/>
                    </a:lnTo>
                    <a:lnTo>
                      <a:pt x="78" y="30"/>
                    </a:lnTo>
                    <a:lnTo>
                      <a:pt x="80" y="28"/>
                    </a:lnTo>
                    <a:lnTo>
                      <a:pt x="85" y="30"/>
                    </a:lnTo>
                    <a:lnTo>
                      <a:pt x="87" y="33"/>
                    </a:lnTo>
                    <a:lnTo>
                      <a:pt x="90" y="32"/>
                    </a:lnTo>
                    <a:lnTo>
                      <a:pt x="95" y="33"/>
                    </a:lnTo>
                    <a:lnTo>
                      <a:pt x="98" y="32"/>
                    </a:lnTo>
                    <a:lnTo>
                      <a:pt x="100" y="33"/>
                    </a:lnTo>
                    <a:lnTo>
                      <a:pt x="106" y="32"/>
                    </a:lnTo>
                    <a:lnTo>
                      <a:pt x="111" y="33"/>
                    </a:lnTo>
                    <a:lnTo>
                      <a:pt x="115" y="33"/>
                    </a:lnTo>
                    <a:lnTo>
                      <a:pt x="118" y="36"/>
                    </a:lnTo>
                    <a:lnTo>
                      <a:pt x="126" y="36"/>
                    </a:lnTo>
                    <a:lnTo>
                      <a:pt x="126" y="38"/>
                    </a:lnTo>
                    <a:lnTo>
                      <a:pt x="126" y="38"/>
                    </a:lnTo>
                    <a:close/>
                    <a:moveTo>
                      <a:pt x="77" y="90"/>
                    </a:moveTo>
                    <a:lnTo>
                      <a:pt x="77" y="90"/>
                    </a:lnTo>
                    <a:lnTo>
                      <a:pt x="85" y="90"/>
                    </a:lnTo>
                    <a:lnTo>
                      <a:pt x="88" y="91"/>
                    </a:lnTo>
                    <a:lnTo>
                      <a:pt x="80" y="91"/>
                    </a:lnTo>
                    <a:lnTo>
                      <a:pt x="77" y="90"/>
                    </a:lnTo>
                    <a:lnTo>
                      <a:pt x="77" y="90"/>
                    </a:lnTo>
                    <a:close/>
                    <a:moveTo>
                      <a:pt x="70" y="85"/>
                    </a:moveTo>
                    <a:lnTo>
                      <a:pt x="83" y="85"/>
                    </a:lnTo>
                    <a:lnTo>
                      <a:pt x="78" y="86"/>
                    </a:lnTo>
                    <a:lnTo>
                      <a:pt x="70" y="85"/>
                    </a:lnTo>
                    <a:lnTo>
                      <a:pt x="70" y="85"/>
                    </a:lnTo>
                    <a:close/>
                    <a:moveTo>
                      <a:pt x="70" y="80"/>
                    </a:moveTo>
                    <a:lnTo>
                      <a:pt x="80" y="80"/>
                    </a:lnTo>
                    <a:lnTo>
                      <a:pt x="82" y="81"/>
                    </a:lnTo>
                    <a:lnTo>
                      <a:pt x="78" y="83"/>
                    </a:lnTo>
                    <a:lnTo>
                      <a:pt x="73" y="83"/>
                    </a:lnTo>
                    <a:lnTo>
                      <a:pt x="70" y="80"/>
                    </a:lnTo>
                    <a:lnTo>
                      <a:pt x="70" y="80"/>
                    </a:lnTo>
                    <a:close/>
                    <a:moveTo>
                      <a:pt x="37" y="51"/>
                    </a:moveTo>
                    <a:lnTo>
                      <a:pt x="38" y="53"/>
                    </a:lnTo>
                    <a:lnTo>
                      <a:pt x="42" y="56"/>
                    </a:lnTo>
                    <a:lnTo>
                      <a:pt x="40" y="58"/>
                    </a:lnTo>
                    <a:lnTo>
                      <a:pt x="37" y="51"/>
                    </a:lnTo>
                    <a:lnTo>
                      <a:pt x="37" y="51"/>
                    </a:lnTo>
                    <a:close/>
                    <a:moveTo>
                      <a:pt x="32" y="46"/>
                    </a:moveTo>
                    <a:lnTo>
                      <a:pt x="37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2" y="46"/>
                    </a:lnTo>
                    <a:close/>
                    <a:moveTo>
                      <a:pt x="33" y="60"/>
                    </a:moveTo>
                    <a:lnTo>
                      <a:pt x="38" y="63"/>
                    </a:lnTo>
                    <a:lnTo>
                      <a:pt x="40" y="66"/>
                    </a:lnTo>
                    <a:lnTo>
                      <a:pt x="33" y="60"/>
                    </a:lnTo>
                    <a:lnTo>
                      <a:pt x="33" y="60"/>
                    </a:lnTo>
                    <a:close/>
                    <a:moveTo>
                      <a:pt x="27" y="51"/>
                    </a:moveTo>
                    <a:lnTo>
                      <a:pt x="30" y="53"/>
                    </a:lnTo>
                    <a:lnTo>
                      <a:pt x="32" y="56"/>
                    </a:lnTo>
                    <a:lnTo>
                      <a:pt x="27" y="51"/>
                    </a:lnTo>
                    <a:lnTo>
                      <a:pt x="27" y="51"/>
                    </a:lnTo>
                    <a:close/>
                    <a:moveTo>
                      <a:pt x="18" y="40"/>
                    </a:moveTo>
                    <a:lnTo>
                      <a:pt x="25" y="45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0" y="46"/>
                    </a:lnTo>
                    <a:lnTo>
                      <a:pt x="22" y="45"/>
                    </a:lnTo>
                    <a:lnTo>
                      <a:pt x="18" y="40"/>
                    </a:lnTo>
                    <a:lnTo>
                      <a:pt x="18" y="40"/>
                    </a:lnTo>
                    <a:close/>
                    <a:moveTo>
                      <a:pt x="22" y="32"/>
                    </a:moveTo>
                    <a:lnTo>
                      <a:pt x="30" y="41"/>
                    </a:lnTo>
                    <a:lnTo>
                      <a:pt x="27" y="41"/>
                    </a:lnTo>
                    <a:lnTo>
                      <a:pt x="23" y="40"/>
                    </a:lnTo>
                    <a:lnTo>
                      <a:pt x="20" y="40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7" name="Freeform 51"/>
              <p:cNvSpPr>
                <a:spLocks/>
              </p:cNvSpPr>
              <p:nvPr/>
            </p:nvSpPr>
            <p:spPr bwMode="auto">
              <a:xfrm>
                <a:off x="6602307" y="2713567"/>
                <a:ext cx="48161" cy="37353"/>
              </a:xfrm>
              <a:custGeom>
                <a:avLst/>
                <a:gdLst/>
                <a:ahLst/>
                <a:cxnLst>
                  <a:cxn ang="0">
                    <a:pos x="48" y="62"/>
                  </a:cxn>
                  <a:cxn ang="0">
                    <a:pos x="12" y="28"/>
                  </a:cxn>
                  <a:cxn ang="0">
                    <a:pos x="12" y="25"/>
                  </a:cxn>
                  <a:cxn ang="0">
                    <a:pos x="8" y="17"/>
                  </a:cxn>
                  <a:cxn ang="0">
                    <a:pos x="0" y="12"/>
                  </a:cxn>
                  <a:cxn ang="0">
                    <a:pos x="2" y="7"/>
                  </a:cxn>
                  <a:cxn ang="0">
                    <a:pos x="3" y="0"/>
                  </a:cxn>
                  <a:cxn ang="0">
                    <a:pos x="12" y="7"/>
                  </a:cxn>
                  <a:cxn ang="0">
                    <a:pos x="15" y="4"/>
                  </a:cxn>
                  <a:cxn ang="0">
                    <a:pos x="22" y="2"/>
                  </a:cxn>
                  <a:cxn ang="0">
                    <a:pos x="28" y="2"/>
                  </a:cxn>
                  <a:cxn ang="0">
                    <a:pos x="35" y="2"/>
                  </a:cxn>
                  <a:cxn ang="0">
                    <a:pos x="40" y="4"/>
                  </a:cxn>
                  <a:cxn ang="0">
                    <a:pos x="48" y="4"/>
                  </a:cxn>
                  <a:cxn ang="0">
                    <a:pos x="56" y="4"/>
                  </a:cxn>
                  <a:cxn ang="0">
                    <a:pos x="65" y="5"/>
                  </a:cxn>
                  <a:cxn ang="0">
                    <a:pos x="76" y="8"/>
                  </a:cxn>
                  <a:cxn ang="0">
                    <a:pos x="80" y="10"/>
                  </a:cxn>
                  <a:cxn ang="0">
                    <a:pos x="81" y="15"/>
                  </a:cxn>
                  <a:cxn ang="0">
                    <a:pos x="76" y="25"/>
                  </a:cxn>
                  <a:cxn ang="0">
                    <a:pos x="88" y="30"/>
                  </a:cxn>
                  <a:cxn ang="0">
                    <a:pos x="90" y="35"/>
                  </a:cxn>
                  <a:cxn ang="0">
                    <a:pos x="83" y="35"/>
                  </a:cxn>
                  <a:cxn ang="0">
                    <a:pos x="88" y="45"/>
                  </a:cxn>
                  <a:cxn ang="0">
                    <a:pos x="81" y="47"/>
                  </a:cxn>
                  <a:cxn ang="0">
                    <a:pos x="73" y="45"/>
                  </a:cxn>
                  <a:cxn ang="0">
                    <a:pos x="78" y="50"/>
                  </a:cxn>
                  <a:cxn ang="0">
                    <a:pos x="76" y="55"/>
                  </a:cxn>
                  <a:cxn ang="0">
                    <a:pos x="71" y="60"/>
                  </a:cxn>
                  <a:cxn ang="0">
                    <a:pos x="68" y="72"/>
                  </a:cxn>
                  <a:cxn ang="0">
                    <a:pos x="60" y="65"/>
                  </a:cxn>
                  <a:cxn ang="0">
                    <a:pos x="48" y="65"/>
                  </a:cxn>
                  <a:cxn ang="0">
                    <a:pos x="47" y="65"/>
                  </a:cxn>
                </a:cxnLst>
                <a:rect l="0" t="0" r="r" b="b"/>
                <a:pathLst>
                  <a:path w="91" h="72">
                    <a:moveTo>
                      <a:pt x="47" y="65"/>
                    </a:moveTo>
                    <a:lnTo>
                      <a:pt x="48" y="62"/>
                    </a:lnTo>
                    <a:lnTo>
                      <a:pt x="30" y="43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12" y="25"/>
                    </a:lnTo>
                    <a:lnTo>
                      <a:pt x="8" y="20"/>
                    </a:lnTo>
                    <a:lnTo>
                      <a:pt x="8" y="17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10" y="4"/>
                    </a:lnTo>
                    <a:lnTo>
                      <a:pt x="12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5" y="0"/>
                    </a:lnTo>
                    <a:lnTo>
                      <a:pt x="28" y="2"/>
                    </a:lnTo>
                    <a:lnTo>
                      <a:pt x="30" y="0"/>
                    </a:lnTo>
                    <a:lnTo>
                      <a:pt x="35" y="2"/>
                    </a:lnTo>
                    <a:lnTo>
                      <a:pt x="37" y="5"/>
                    </a:lnTo>
                    <a:lnTo>
                      <a:pt x="40" y="4"/>
                    </a:lnTo>
                    <a:lnTo>
                      <a:pt x="45" y="5"/>
                    </a:lnTo>
                    <a:lnTo>
                      <a:pt x="48" y="4"/>
                    </a:lnTo>
                    <a:lnTo>
                      <a:pt x="50" y="5"/>
                    </a:lnTo>
                    <a:lnTo>
                      <a:pt x="56" y="4"/>
                    </a:lnTo>
                    <a:lnTo>
                      <a:pt x="61" y="5"/>
                    </a:lnTo>
                    <a:lnTo>
                      <a:pt x="65" y="5"/>
                    </a:lnTo>
                    <a:lnTo>
                      <a:pt x="68" y="8"/>
                    </a:lnTo>
                    <a:lnTo>
                      <a:pt x="76" y="8"/>
                    </a:lnTo>
                    <a:lnTo>
                      <a:pt x="78" y="12"/>
                    </a:lnTo>
                    <a:lnTo>
                      <a:pt x="80" y="10"/>
                    </a:lnTo>
                    <a:lnTo>
                      <a:pt x="83" y="10"/>
                    </a:lnTo>
                    <a:lnTo>
                      <a:pt x="81" y="15"/>
                    </a:lnTo>
                    <a:lnTo>
                      <a:pt x="76" y="22"/>
                    </a:lnTo>
                    <a:lnTo>
                      <a:pt x="76" y="25"/>
                    </a:lnTo>
                    <a:lnTo>
                      <a:pt x="85" y="30"/>
                    </a:lnTo>
                    <a:lnTo>
                      <a:pt x="88" y="30"/>
                    </a:lnTo>
                    <a:lnTo>
                      <a:pt x="91" y="33"/>
                    </a:lnTo>
                    <a:lnTo>
                      <a:pt x="90" y="35"/>
                    </a:lnTo>
                    <a:lnTo>
                      <a:pt x="85" y="33"/>
                    </a:lnTo>
                    <a:lnTo>
                      <a:pt x="83" y="35"/>
                    </a:lnTo>
                    <a:lnTo>
                      <a:pt x="83" y="40"/>
                    </a:lnTo>
                    <a:lnTo>
                      <a:pt x="88" y="45"/>
                    </a:lnTo>
                    <a:lnTo>
                      <a:pt x="86" y="47"/>
                    </a:lnTo>
                    <a:lnTo>
                      <a:pt x="81" y="47"/>
                    </a:lnTo>
                    <a:lnTo>
                      <a:pt x="76" y="43"/>
                    </a:lnTo>
                    <a:lnTo>
                      <a:pt x="73" y="45"/>
                    </a:lnTo>
                    <a:lnTo>
                      <a:pt x="75" y="48"/>
                    </a:lnTo>
                    <a:lnTo>
                      <a:pt x="78" y="50"/>
                    </a:lnTo>
                    <a:lnTo>
                      <a:pt x="80" y="53"/>
                    </a:lnTo>
                    <a:lnTo>
                      <a:pt x="76" y="55"/>
                    </a:lnTo>
                    <a:lnTo>
                      <a:pt x="73" y="57"/>
                    </a:lnTo>
                    <a:lnTo>
                      <a:pt x="71" y="60"/>
                    </a:lnTo>
                    <a:lnTo>
                      <a:pt x="71" y="67"/>
                    </a:lnTo>
                    <a:lnTo>
                      <a:pt x="68" y="72"/>
                    </a:lnTo>
                    <a:lnTo>
                      <a:pt x="66" y="72"/>
                    </a:lnTo>
                    <a:lnTo>
                      <a:pt x="60" y="65"/>
                    </a:lnTo>
                    <a:lnTo>
                      <a:pt x="58" y="67"/>
                    </a:lnTo>
                    <a:lnTo>
                      <a:pt x="48" y="65"/>
                    </a:lnTo>
                    <a:lnTo>
                      <a:pt x="47" y="65"/>
                    </a:lnTo>
                    <a:lnTo>
                      <a:pt x="47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8" name="Freeform 52"/>
              <p:cNvSpPr>
                <a:spLocks/>
              </p:cNvSpPr>
              <p:nvPr/>
            </p:nvSpPr>
            <p:spPr bwMode="auto">
              <a:xfrm>
                <a:off x="6574481" y="2691778"/>
                <a:ext cx="37458" cy="20752"/>
              </a:xfrm>
              <a:custGeom>
                <a:avLst/>
                <a:gdLst/>
                <a:ahLst/>
                <a:cxnLst>
                  <a:cxn ang="0">
                    <a:pos x="1" y="40"/>
                  </a:cxn>
                  <a:cxn ang="0">
                    <a:pos x="11" y="40"/>
                  </a:cxn>
                  <a:cxn ang="0">
                    <a:pos x="16" y="36"/>
                  </a:cxn>
                  <a:cxn ang="0">
                    <a:pos x="21" y="35"/>
                  </a:cxn>
                  <a:cxn ang="0">
                    <a:pos x="31" y="38"/>
                  </a:cxn>
                  <a:cxn ang="0">
                    <a:pos x="36" y="38"/>
                  </a:cxn>
                  <a:cxn ang="0">
                    <a:pos x="38" y="30"/>
                  </a:cxn>
                  <a:cxn ang="0">
                    <a:pos x="44" y="26"/>
                  </a:cxn>
                  <a:cxn ang="0">
                    <a:pos x="46" y="21"/>
                  </a:cxn>
                  <a:cxn ang="0">
                    <a:pos x="61" y="15"/>
                  </a:cxn>
                  <a:cxn ang="0">
                    <a:pos x="71" y="15"/>
                  </a:cxn>
                  <a:cxn ang="0">
                    <a:pos x="69" y="6"/>
                  </a:cxn>
                  <a:cxn ang="0">
                    <a:pos x="64" y="0"/>
                  </a:cxn>
                  <a:cxn ang="0">
                    <a:pos x="58" y="1"/>
                  </a:cxn>
                  <a:cxn ang="0">
                    <a:pos x="48" y="6"/>
                  </a:cxn>
                  <a:cxn ang="0">
                    <a:pos x="44" y="6"/>
                  </a:cxn>
                  <a:cxn ang="0">
                    <a:pos x="41" y="6"/>
                  </a:cxn>
                  <a:cxn ang="0">
                    <a:pos x="36" y="10"/>
                  </a:cxn>
                  <a:cxn ang="0">
                    <a:pos x="31" y="10"/>
                  </a:cxn>
                  <a:cxn ang="0">
                    <a:pos x="24" y="11"/>
                  </a:cxn>
                  <a:cxn ang="0">
                    <a:pos x="21" y="8"/>
                  </a:cxn>
                  <a:cxn ang="0">
                    <a:pos x="11" y="8"/>
                  </a:cxn>
                  <a:cxn ang="0">
                    <a:pos x="6" y="8"/>
                  </a:cxn>
                  <a:cxn ang="0">
                    <a:pos x="1" y="15"/>
                  </a:cxn>
                  <a:cxn ang="0">
                    <a:pos x="3" y="18"/>
                  </a:cxn>
                  <a:cxn ang="0">
                    <a:pos x="0" y="23"/>
                  </a:cxn>
                  <a:cxn ang="0">
                    <a:pos x="1" y="30"/>
                  </a:cxn>
                  <a:cxn ang="0">
                    <a:pos x="1" y="30"/>
                  </a:cxn>
                  <a:cxn ang="0">
                    <a:pos x="6" y="33"/>
                  </a:cxn>
                  <a:cxn ang="0">
                    <a:pos x="6" y="35"/>
                  </a:cxn>
                  <a:cxn ang="0">
                    <a:pos x="1" y="36"/>
                  </a:cxn>
                  <a:cxn ang="0">
                    <a:pos x="1" y="40"/>
                  </a:cxn>
                </a:cxnLst>
                <a:rect l="0" t="0" r="r" b="b"/>
                <a:pathLst>
                  <a:path w="71" h="40">
                    <a:moveTo>
                      <a:pt x="1" y="40"/>
                    </a:moveTo>
                    <a:lnTo>
                      <a:pt x="11" y="40"/>
                    </a:lnTo>
                    <a:lnTo>
                      <a:pt x="16" y="36"/>
                    </a:lnTo>
                    <a:lnTo>
                      <a:pt x="21" y="35"/>
                    </a:lnTo>
                    <a:lnTo>
                      <a:pt x="31" y="38"/>
                    </a:lnTo>
                    <a:lnTo>
                      <a:pt x="36" y="38"/>
                    </a:lnTo>
                    <a:lnTo>
                      <a:pt x="38" y="30"/>
                    </a:lnTo>
                    <a:lnTo>
                      <a:pt x="44" y="26"/>
                    </a:lnTo>
                    <a:lnTo>
                      <a:pt x="46" y="21"/>
                    </a:lnTo>
                    <a:lnTo>
                      <a:pt x="61" y="15"/>
                    </a:lnTo>
                    <a:lnTo>
                      <a:pt x="71" y="15"/>
                    </a:lnTo>
                    <a:lnTo>
                      <a:pt x="69" y="6"/>
                    </a:lnTo>
                    <a:lnTo>
                      <a:pt x="64" y="0"/>
                    </a:lnTo>
                    <a:lnTo>
                      <a:pt x="58" y="1"/>
                    </a:lnTo>
                    <a:lnTo>
                      <a:pt x="48" y="6"/>
                    </a:lnTo>
                    <a:lnTo>
                      <a:pt x="44" y="6"/>
                    </a:lnTo>
                    <a:lnTo>
                      <a:pt x="41" y="6"/>
                    </a:lnTo>
                    <a:lnTo>
                      <a:pt x="36" y="10"/>
                    </a:lnTo>
                    <a:lnTo>
                      <a:pt x="31" y="10"/>
                    </a:lnTo>
                    <a:lnTo>
                      <a:pt x="24" y="11"/>
                    </a:lnTo>
                    <a:lnTo>
                      <a:pt x="21" y="8"/>
                    </a:lnTo>
                    <a:lnTo>
                      <a:pt x="11" y="8"/>
                    </a:lnTo>
                    <a:lnTo>
                      <a:pt x="6" y="8"/>
                    </a:lnTo>
                    <a:lnTo>
                      <a:pt x="1" y="15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" y="36"/>
                    </a:lnTo>
                    <a:lnTo>
                      <a:pt x="1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29" name="Freeform 53"/>
              <p:cNvSpPr>
                <a:spLocks/>
              </p:cNvSpPr>
              <p:nvPr/>
            </p:nvSpPr>
            <p:spPr bwMode="auto">
              <a:xfrm>
                <a:off x="6525250" y="2660650"/>
                <a:ext cx="89901" cy="37353"/>
              </a:xfrm>
              <a:custGeom>
                <a:avLst/>
                <a:gdLst/>
                <a:ahLst/>
                <a:cxnLst>
                  <a:cxn ang="0">
                    <a:pos x="103" y="70"/>
                  </a:cxn>
                  <a:cxn ang="0">
                    <a:pos x="116" y="73"/>
                  </a:cxn>
                  <a:cxn ang="0">
                    <a:pos x="128" y="72"/>
                  </a:cxn>
                  <a:cxn ang="0">
                    <a:pos x="136" y="68"/>
                  </a:cxn>
                  <a:cxn ang="0">
                    <a:pos x="150" y="63"/>
                  </a:cxn>
                  <a:cxn ang="0">
                    <a:pos x="161" y="57"/>
                  </a:cxn>
                  <a:cxn ang="0">
                    <a:pos x="158" y="48"/>
                  </a:cxn>
                  <a:cxn ang="0">
                    <a:pos x="156" y="38"/>
                  </a:cxn>
                  <a:cxn ang="0">
                    <a:pos x="168" y="37"/>
                  </a:cxn>
                  <a:cxn ang="0">
                    <a:pos x="168" y="28"/>
                  </a:cxn>
                  <a:cxn ang="0">
                    <a:pos x="166" y="10"/>
                  </a:cxn>
                  <a:cxn ang="0">
                    <a:pos x="153" y="5"/>
                  </a:cxn>
                  <a:cxn ang="0">
                    <a:pos x="140" y="5"/>
                  </a:cxn>
                  <a:cxn ang="0">
                    <a:pos x="125" y="2"/>
                  </a:cxn>
                  <a:cxn ang="0">
                    <a:pos x="118" y="4"/>
                  </a:cxn>
                  <a:cxn ang="0">
                    <a:pos x="115" y="9"/>
                  </a:cxn>
                  <a:cxn ang="0">
                    <a:pos x="106" y="12"/>
                  </a:cxn>
                  <a:cxn ang="0">
                    <a:pos x="90" y="5"/>
                  </a:cxn>
                  <a:cxn ang="0">
                    <a:pos x="90" y="13"/>
                  </a:cxn>
                  <a:cxn ang="0">
                    <a:pos x="83" y="18"/>
                  </a:cxn>
                  <a:cxn ang="0">
                    <a:pos x="72" y="28"/>
                  </a:cxn>
                  <a:cxn ang="0">
                    <a:pos x="77" y="33"/>
                  </a:cxn>
                  <a:cxn ang="0">
                    <a:pos x="75" y="38"/>
                  </a:cxn>
                  <a:cxn ang="0">
                    <a:pos x="65" y="38"/>
                  </a:cxn>
                  <a:cxn ang="0">
                    <a:pos x="55" y="37"/>
                  </a:cxn>
                  <a:cxn ang="0">
                    <a:pos x="43" y="42"/>
                  </a:cxn>
                  <a:cxn ang="0">
                    <a:pos x="35" y="42"/>
                  </a:cxn>
                  <a:cxn ang="0">
                    <a:pos x="25" y="38"/>
                  </a:cxn>
                  <a:cxn ang="0">
                    <a:pos x="20" y="43"/>
                  </a:cxn>
                  <a:cxn ang="0">
                    <a:pos x="12" y="43"/>
                  </a:cxn>
                  <a:cxn ang="0">
                    <a:pos x="3" y="42"/>
                  </a:cxn>
                  <a:cxn ang="0">
                    <a:pos x="0" y="42"/>
                  </a:cxn>
                  <a:cxn ang="0">
                    <a:pos x="3" y="47"/>
                  </a:cxn>
                  <a:cxn ang="0">
                    <a:pos x="5" y="53"/>
                  </a:cxn>
                  <a:cxn ang="0">
                    <a:pos x="12" y="52"/>
                  </a:cxn>
                  <a:cxn ang="0">
                    <a:pos x="22" y="53"/>
                  </a:cxn>
                  <a:cxn ang="0">
                    <a:pos x="27" y="57"/>
                  </a:cxn>
                  <a:cxn ang="0">
                    <a:pos x="35" y="60"/>
                  </a:cxn>
                  <a:cxn ang="0">
                    <a:pos x="53" y="55"/>
                  </a:cxn>
                  <a:cxn ang="0">
                    <a:pos x="60" y="58"/>
                  </a:cxn>
                  <a:cxn ang="0">
                    <a:pos x="87" y="67"/>
                  </a:cxn>
                  <a:cxn ang="0">
                    <a:pos x="98" y="70"/>
                  </a:cxn>
                </a:cxnLst>
                <a:rect l="0" t="0" r="r" b="b"/>
                <a:pathLst>
                  <a:path w="168" h="73">
                    <a:moveTo>
                      <a:pt x="98" y="70"/>
                    </a:moveTo>
                    <a:lnTo>
                      <a:pt x="103" y="70"/>
                    </a:lnTo>
                    <a:lnTo>
                      <a:pt x="113" y="70"/>
                    </a:lnTo>
                    <a:lnTo>
                      <a:pt x="116" y="73"/>
                    </a:lnTo>
                    <a:lnTo>
                      <a:pt x="123" y="72"/>
                    </a:lnTo>
                    <a:lnTo>
                      <a:pt x="128" y="72"/>
                    </a:lnTo>
                    <a:lnTo>
                      <a:pt x="133" y="68"/>
                    </a:lnTo>
                    <a:lnTo>
                      <a:pt x="136" y="68"/>
                    </a:lnTo>
                    <a:lnTo>
                      <a:pt x="140" y="68"/>
                    </a:lnTo>
                    <a:lnTo>
                      <a:pt x="150" y="63"/>
                    </a:lnTo>
                    <a:lnTo>
                      <a:pt x="156" y="62"/>
                    </a:lnTo>
                    <a:lnTo>
                      <a:pt x="161" y="57"/>
                    </a:lnTo>
                    <a:lnTo>
                      <a:pt x="158" y="53"/>
                    </a:lnTo>
                    <a:lnTo>
                      <a:pt x="158" y="48"/>
                    </a:lnTo>
                    <a:lnTo>
                      <a:pt x="161" y="43"/>
                    </a:lnTo>
                    <a:lnTo>
                      <a:pt x="156" y="38"/>
                    </a:lnTo>
                    <a:lnTo>
                      <a:pt x="158" y="37"/>
                    </a:lnTo>
                    <a:lnTo>
                      <a:pt x="168" y="37"/>
                    </a:lnTo>
                    <a:lnTo>
                      <a:pt x="168" y="33"/>
                    </a:lnTo>
                    <a:lnTo>
                      <a:pt x="168" y="28"/>
                    </a:lnTo>
                    <a:lnTo>
                      <a:pt x="166" y="17"/>
                    </a:lnTo>
                    <a:lnTo>
                      <a:pt x="166" y="10"/>
                    </a:lnTo>
                    <a:lnTo>
                      <a:pt x="156" y="7"/>
                    </a:lnTo>
                    <a:lnTo>
                      <a:pt x="153" y="5"/>
                    </a:lnTo>
                    <a:lnTo>
                      <a:pt x="146" y="5"/>
                    </a:lnTo>
                    <a:lnTo>
                      <a:pt x="140" y="5"/>
                    </a:lnTo>
                    <a:lnTo>
                      <a:pt x="133" y="2"/>
                    </a:lnTo>
                    <a:lnTo>
                      <a:pt x="125" y="2"/>
                    </a:lnTo>
                    <a:lnTo>
                      <a:pt x="120" y="0"/>
                    </a:lnTo>
                    <a:lnTo>
                      <a:pt x="118" y="4"/>
                    </a:lnTo>
                    <a:lnTo>
                      <a:pt x="115" y="5"/>
                    </a:lnTo>
                    <a:lnTo>
                      <a:pt x="115" y="9"/>
                    </a:lnTo>
                    <a:lnTo>
                      <a:pt x="108" y="10"/>
                    </a:lnTo>
                    <a:lnTo>
                      <a:pt x="106" y="12"/>
                    </a:lnTo>
                    <a:lnTo>
                      <a:pt x="95" y="5"/>
                    </a:lnTo>
                    <a:lnTo>
                      <a:pt x="90" y="5"/>
                    </a:lnTo>
                    <a:lnTo>
                      <a:pt x="90" y="9"/>
                    </a:lnTo>
                    <a:lnTo>
                      <a:pt x="90" y="13"/>
                    </a:lnTo>
                    <a:lnTo>
                      <a:pt x="87" y="13"/>
                    </a:lnTo>
                    <a:lnTo>
                      <a:pt x="83" y="18"/>
                    </a:lnTo>
                    <a:lnTo>
                      <a:pt x="78" y="20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7" y="33"/>
                    </a:lnTo>
                    <a:lnTo>
                      <a:pt x="78" y="37"/>
                    </a:lnTo>
                    <a:lnTo>
                      <a:pt x="75" y="38"/>
                    </a:lnTo>
                    <a:lnTo>
                      <a:pt x="70" y="37"/>
                    </a:lnTo>
                    <a:lnTo>
                      <a:pt x="65" y="38"/>
                    </a:lnTo>
                    <a:lnTo>
                      <a:pt x="60" y="37"/>
                    </a:lnTo>
                    <a:lnTo>
                      <a:pt x="55" y="37"/>
                    </a:lnTo>
                    <a:lnTo>
                      <a:pt x="48" y="42"/>
                    </a:lnTo>
                    <a:lnTo>
                      <a:pt x="43" y="42"/>
                    </a:lnTo>
                    <a:lnTo>
                      <a:pt x="40" y="42"/>
                    </a:lnTo>
                    <a:lnTo>
                      <a:pt x="35" y="42"/>
                    </a:lnTo>
                    <a:lnTo>
                      <a:pt x="32" y="40"/>
                    </a:lnTo>
                    <a:lnTo>
                      <a:pt x="25" y="38"/>
                    </a:lnTo>
                    <a:lnTo>
                      <a:pt x="18" y="40"/>
                    </a:lnTo>
                    <a:lnTo>
                      <a:pt x="20" y="43"/>
                    </a:lnTo>
                    <a:lnTo>
                      <a:pt x="18" y="45"/>
                    </a:lnTo>
                    <a:lnTo>
                      <a:pt x="12" y="43"/>
                    </a:lnTo>
                    <a:lnTo>
                      <a:pt x="8" y="40"/>
                    </a:lnTo>
                    <a:lnTo>
                      <a:pt x="3" y="42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3" y="43"/>
                    </a:lnTo>
                    <a:lnTo>
                      <a:pt x="3" y="47"/>
                    </a:lnTo>
                    <a:lnTo>
                      <a:pt x="5" y="50"/>
                    </a:lnTo>
                    <a:lnTo>
                      <a:pt x="5" y="53"/>
                    </a:lnTo>
                    <a:lnTo>
                      <a:pt x="8" y="53"/>
                    </a:lnTo>
                    <a:lnTo>
                      <a:pt x="12" y="52"/>
                    </a:lnTo>
                    <a:lnTo>
                      <a:pt x="17" y="57"/>
                    </a:lnTo>
                    <a:lnTo>
                      <a:pt x="22" y="53"/>
                    </a:lnTo>
                    <a:lnTo>
                      <a:pt x="25" y="53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5" y="60"/>
                    </a:lnTo>
                    <a:lnTo>
                      <a:pt x="48" y="53"/>
                    </a:lnTo>
                    <a:lnTo>
                      <a:pt x="53" y="55"/>
                    </a:lnTo>
                    <a:lnTo>
                      <a:pt x="62" y="53"/>
                    </a:lnTo>
                    <a:lnTo>
                      <a:pt x="60" y="58"/>
                    </a:lnTo>
                    <a:lnTo>
                      <a:pt x="73" y="65"/>
                    </a:lnTo>
                    <a:lnTo>
                      <a:pt x="87" y="67"/>
                    </a:lnTo>
                    <a:lnTo>
                      <a:pt x="95" y="67"/>
                    </a:lnTo>
                    <a:lnTo>
                      <a:pt x="98" y="70"/>
                    </a:lnTo>
                    <a:lnTo>
                      <a:pt x="98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0" name="Freeform 54"/>
              <p:cNvSpPr>
                <a:spLocks/>
              </p:cNvSpPr>
              <p:nvPr/>
            </p:nvSpPr>
            <p:spPr bwMode="auto">
              <a:xfrm>
                <a:off x="6575552" y="2569342"/>
                <a:ext cx="119868" cy="87157"/>
              </a:xfrm>
              <a:custGeom>
                <a:avLst/>
                <a:gdLst/>
                <a:ahLst/>
                <a:cxnLst>
                  <a:cxn ang="0">
                    <a:pos x="134" y="170"/>
                  </a:cxn>
                  <a:cxn ang="0">
                    <a:pos x="143" y="166"/>
                  </a:cxn>
                  <a:cxn ang="0">
                    <a:pos x="149" y="165"/>
                  </a:cxn>
                  <a:cxn ang="0">
                    <a:pos x="159" y="168"/>
                  </a:cxn>
                  <a:cxn ang="0">
                    <a:pos x="166" y="165"/>
                  </a:cxn>
                  <a:cxn ang="0">
                    <a:pos x="173" y="165"/>
                  </a:cxn>
                  <a:cxn ang="0">
                    <a:pos x="193" y="170"/>
                  </a:cxn>
                  <a:cxn ang="0">
                    <a:pos x="198" y="163"/>
                  </a:cxn>
                  <a:cxn ang="0">
                    <a:pos x="212" y="143"/>
                  </a:cxn>
                  <a:cxn ang="0">
                    <a:pos x="217" y="133"/>
                  </a:cxn>
                  <a:cxn ang="0">
                    <a:pos x="222" y="126"/>
                  </a:cxn>
                  <a:cxn ang="0">
                    <a:pos x="221" y="120"/>
                  </a:cxn>
                  <a:cxn ang="0">
                    <a:pos x="216" y="115"/>
                  </a:cxn>
                  <a:cxn ang="0">
                    <a:pos x="211" y="105"/>
                  </a:cxn>
                  <a:cxn ang="0">
                    <a:pos x="211" y="88"/>
                  </a:cxn>
                  <a:cxn ang="0">
                    <a:pos x="204" y="75"/>
                  </a:cxn>
                  <a:cxn ang="0">
                    <a:pos x="212" y="68"/>
                  </a:cxn>
                  <a:cxn ang="0">
                    <a:pos x="209" y="53"/>
                  </a:cxn>
                  <a:cxn ang="0">
                    <a:pos x="206" y="43"/>
                  </a:cxn>
                  <a:cxn ang="0">
                    <a:pos x="198" y="27"/>
                  </a:cxn>
                  <a:cxn ang="0">
                    <a:pos x="196" y="13"/>
                  </a:cxn>
                  <a:cxn ang="0">
                    <a:pos x="186" y="8"/>
                  </a:cxn>
                  <a:cxn ang="0">
                    <a:pos x="124" y="10"/>
                  </a:cxn>
                  <a:cxn ang="0">
                    <a:pos x="113" y="18"/>
                  </a:cxn>
                  <a:cxn ang="0">
                    <a:pos x="104" y="18"/>
                  </a:cxn>
                  <a:cxn ang="0">
                    <a:pos x="118" y="8"/>
                  </a:cxn>
                  <a:cxn ang="0">
                    <a:pos x="109" y="13"/>
                  </a:cxn>
                  <a:cxn ang="0">
                    <a:pos x="91" y="13"/>
                  </a:cxn>
                  <a:cxn ang="0">
                    <a:pos x="90" y="5"/>
                  </a:cxn>
                  <a:cxn ang="0">
                    <a:pos x="98" y="7"/>
                  </a:cxn>
                  <a:cxn ang="0">
                    <a:pos x="91" y="3"/>
                  </a:cxn>
                  <a:cxn ang="0">
                    <a:pos x="70" y="5"/>
                  </a:cxn>
                  <a:cxn ang="0">
                    <a:pos x="56" y="7"/>
                  </a:cxn>
                  <a:cxn ang="0">
                    <a:pos x="45" y="12"/>
                  </a:cxn>
                  <a:cxn ang="0">
                    <a:pos x="40" y="20"/>
                  </a:cxn>
                  <a:cxn ang="0">
                    <a:pos x="21" y="27"/>
                  </a:cxn>
                  <a:cxn ang="0">
                    <a:pos x="10" y="32"/>
                  </a:cxn>
                  <a:cxn ang="0">
                    <a:pos x="6" y="38"/>
                  </a:cxn>
                  <a:cxn ang="0">
                    <a:pos x="5" y="40"/>
                  </a:cxn>
                  <a:cxn ang="0">
                    <a:pos x="6" y="57"/>
                  </a:cxn>
                  <a:cxn ang="0">
                    <a:pos x="0" y="63"/>
                  </a:cxn>
                  <a:cxn ang="0">
                    <a:pos x="6" y="75"/>
                  </a:cxn>
                  <a:cxn ang="0">
                    <a:pos x="10" y="83"/>
                  </a:cxn>
                  <a:cxn ang="0">
                    <a:pos x="10" y="91"/>
                  </a:cxn>
                  <a:cxn ang="0">
                    <a:pos x="18" y="101"/>
                  </a:cxn>
                  <a:cxn ang="0">
                    <a:pos x="21" y="116"/>
                  </a:cxn>
                  <a:cxn ang="0">
                    <a:pos x="21" y="121"/>
                  </a:cxn>
                  <a:cxn ang="0">
                    <a:pos x="28" y="120"/>
                  </a:cxn>
                  <a:cxn ang="0">
                    <a:pos x="40" y="121"/>
                  </a:cxn>
                  <a:cxn ang="0">
                    <a:pos x="45" y="126"/>
                  </a:cxn>
                  <a:cxn ang="0">
                    <a:pos x="51" y="130"/>
                  </a:cxn>
                  <a:cxn ang="0">
                    <a:pos x="51" y="136"/>
                  </a:cxn>
                  <a:cxn ang="0">
                    <a:pos x="53" y="141"/>
                  </a:cxn>
                  <a:cxn ang="0">
                    <a:pos x="58" y="141"/>
                  </a:cxn>
                  <a:cxn ang="0">
                    <a:pos x="56" y="135"/>
                  </a:cxn>
                  <a:cxn ang="0">
                    <a:pos x="70" y="138"/>
                  </a:cxn>
                  <a:cxn ang="0">
                    <a:pos x="75" y="141"/>
                  </a:cxn>
                  <a:cxn ang="0">
                    <a:pos x="90" y="143"/>
                  </a:cxn>
                  <a:cxn ang="0">
                    <a:pos x="111" y="155"/>
                  </a:cxn>
                  <a:cxn ang="0">
                    <a:pos x="119" y="163"/>
                  </a:cxn>
                  <a:cxn ang="0">
                    <a:pos x="129" y="161"/>
                  </a:cxn>
                  <a:cxn ang="0">
                    <a:pos x="134" y="170"/>
                  </a:cxn>
                </a:cxnLst>
                <a:rect l="0" t="0" r="r" b="b"/>
                <a:pathLst>
                  <a:path w="222" h="170">
                    <a:moveTo>
                      <a:pt x="134" y="170"/>
                    </a:moveTo>
                    <a:lnTo>
                      <a:pt x="134" y="170"/>
                    </a:lnTo>
                    <a:lnTo>
                      <a:pt x="139" y="170"/>
                    </a:lnTo>
                    <a:lnTo>
                      <a:pt x="143" y="166"/>
                    </a:lnTo>
                    <a:lnTo>
                      <a:pt x="146" y="165"/>
                    </a:lnTo>
                    <a:lnTo>
                      <a:pt x="149" y="165"/>
                    </a:lnTo>
                    <a:lnTo>
                      <a:pt x="156" y="165"/>
                    </a:lnTo>
                    <a:lnTo>
                      <a:pt x="159" y="168"/>
                    </a:lnTo>
                    <a:lnTo>
                      <a:pt x="163" y="165"/>
                    </a:lnTo>
                    <a:lnTo>
                      <a:pt x="166" y="165"/>
                    </a:lnTo>
                    <a:lnTo>
                      <a:pt x="169" y="166"/>
                    </a:lnTo>
                    <a:lnTo>
                      <a:pt x="173" y="165"/>
                    </a:lnTo>
                    <a:lnTo>
                      <a:pt x="183" y="165"/>
                    </a:lnTo>
                    <a:lnTo>
                      <a:pt x="193" y="170"/>
                    </a:lnTo>
                    <a:lnTo>
                      <a:pt x="198" y="170"/>
                    </a:lnTo>
                    <a:lnTo>
                      <a:pt x="198" y="163"/>
                    </a:lnTo>
                    <a:lnTo>
                      <a:pt x="198" y="158"/>
                    </a:lnTo>
                    <a:lnTo>
                      <a:pt x="212" y="143"/>
                    </a:lnTo>
                    <a:lnTo>
                      <a:pt x="214" y="136"/>
                    </a:lnTo>
                    <a:lnTo>
                      <a:pt x="217" y="133"/>
                    </a:lnTo>
                    <a:lnTo>
                      <a:pt x="221" y="133"/>
                    </a:lnTo>
                    <a:lnTo>
                      <a:pt x="222" y="126"/>
                    </a:lnTo>
                    <a:lnTo>
                      <a:pt x="221" y="123"/>
                    </a:lnTo>
                    <a:lnTo>
                      <a:pt x="221" y="120"/>
                    </a:lnTo>
                    <a:lnTo>
                      <a:pt x="222" y="118"/>
                    </a:lnTo>
                    <a:lnTo>
                      <a:pt x="216" y="115"/>
                    </a:lnTo>
                    <a:lnTo>
                      <a:pt x="214" y="108"/>
                    </a:lnTo>
                    <a:lnTo>
                      <a:pt x="211" y="105"/>
                    </a:lnTo>
                    <a:lnTo>
                      <a:pt x="211" y="95"/>
                    </a:lnTo>
                    <a:lnTo>
                      <a:pt x="211" y="88"/>
                    </a:lnTo>
                    <a:lnTo>
                      <a:pt x="206" y="82"/>
                    </a:lnTo>
                    <a:lnTo>
                      <a:pt x="204" y="75"/>
                    </a:lnTo>
                    <a:lnTo>
                      <a:pt x="207" y="70"/>
                    </a:lnTo>
                    <a:lnTo>
                      <a:pt x="212" y="68"/>
                    </a:lnTo>
                    <a:lnTo>
                      <a:pt x="212" y="55"/>
                    </a:lnTo>
                    <a:lnTo>
                      <a:pt x="209" y="53"/>
                    </a:lnTo>
                    <a:lnTo>
                      <a:pt x="209" y="47"/>
                    </a:lnTo>
                    <a:lnTo>
                      <a:pt x="206" y="43"/>
                    </a:lnTo>
                    <a:lnTo>
                      <a:pt x="202" y="32"/>
                    </a:lnTo>
                    <a:lnTo>
                      <a:pt x="198" y="27"/>
                    </a:lnTo>
                    <a:lnTo>
                      <a:pt x="198" y="22"/>
                    </a:lnTo>
                    <a:lnTo>
                      <a:pt x="196" y="13"/>
                    </a:lnTo>
                    <a:lnTo>
                      <a:pt x="193" y="13"/>
                    </a:lnTo>
                    <a:lnTo>
                      <a:pt x="186" y="8"/>
                    </a:lnTo>
                    <a:lnTo>
                      <a:pt x="154" y="12"/>
                    </a:lnTo>
                    <a:lnTo>
                      <a:pt x="124" y="10"/>
                    </a:lnTo>
                    <a:lnTo>
                      <a:pt x="121" y="12"/>
                    </a:lnTo>
                    <a:lnTo>
                      <a:pt x="113" y="18"/>
                    </a:lnTo>
                    <a:lnTo>
                      <a:pt x="106" y="18"/>
                    </a:lnTo>
                    <a:lnTo>
                      <a:pt x="104" y="18"/>
                    </a:lnTo>
                    <a:lnTo>
                      <a:pt x="111" y="13"/>
                    </a:lnTo>
                    <a:lnTo>
                      <a:pt x="118" y="8"/>
                    </a:lnTo>
                    <a:lnTo>
                      <a:pt x="114" y="8"/>
                    </a:lnTo>
                    <a:lnTo>
                      <a:pt x="109" y="13"/>
                    </a:lnTo>
                    <a:lnTo>
                      <a:pt x="101" y="17"/>
                    </a:lnTo>
                    <a:lnTo>
                      <a:pt x="91" y="13"/>
                    </a:lnTo>
                    <a:lnTo>
                      <a:pt x="88" y="8"/>
                    </a:lnTo>
                    <a:lnTo>
                      <a:pt x="90" y="5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8" y="7"/>
                    </a:lnTo>
                    <a:lnTo>
                      <a:pt x="91" y="3"/>
                    </a:lnTo>
                    <a:lnTo>
                      <a:pt x="80" y="0"/>
                    </a:lnTo>
                    <a:lnTo>
                      <a:pt x="70" y="5"/>
                    </a:lnTo>
                    <a:lnTo>
                      <a:pt x="63" y="3"/>
                    </a:lnTo>
                    <a:lnTo>
                      <a:pt x="56" y="7"/>
                    </a:lnTo>
                    <a:lnTo>
                      <a:pt x="51" y="12"/>
                    </a:lnTo>
                    <a:lnTo>
                      <a:pt x="45" y="12"/>
                    </a:lnTo>
                    <a:lnTo>
                      <a:pt x="40" y="17"/>
                    </a:lnTo>
                    <a:lnTo>
                      <a:pt x="40" y="20"/>
                    </a:lnTo>
                    <a:lnTo>
                      <a:pt x="33" y="20"/>
                    </a:lnTo>
                    <a:lnTo>
                      <a:pt x="21" y="27"/>
                    </a:lnTo>
                    <a:lnTo>
                      <a:pt x="13" y="27"/>
                    </a:lnTo>
                    <a:lnTo>
                      <a:pt x="10" y="32"/>
                    </a:lnTo>
                    <a:lnTo>
                      <a:pt x="8" y="37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5" y="40"/>
                    </a:lnTo>
                    <a:lnTo>
                      <a:pt x="8" y="50"/>
                    </a:lnTo>
                    <a:lnTo>
                      <a:pt x="6" y="57"/>
                    </a:lnTo>
                    <a:lnTo>
                      <a:pt x="0" y="60"/>
                    </a:lnTo>
                    <a:lnTo>
                      <a:pt x="0" y="63"/>
                    </a:lnTo>
                    <a:lnTo>
                      <a:pt x="8" y="72"/>
                    </a:lnTo>
                    <a:lnTo>
                      <a:pt x="6" y="75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13" y="87"/>
                    </a:lnTo>
                    <a:lnTo>
                      <a:pt x="10" y="91"/>
                    </a:lnTo>
                    <a:lnTo>
                      <a:pt x="15" y="100"/>
                    </a:lnTo>
                    <a:lnTo>
                      <a:pt x="18" y="101"/>
                    </a:lnTo>
                    <a:lnTo>
                      <a:pt x="21" y="105"/>
                    </a:lnTo>
                    <a:lnTo>
                      <a:pt x="21" y="116"/>
                    </a:lnTo>
                    <a:lnTo>
                      <a:pt x="20" y="118"/>
                    </a:lnTo>
                    <a:lnTo>
                      <a:pt x="21" y="121"/>
                    </a:lnTo>
                    <a:lnTo>
                      <a:pt x="23" y="120"/>
                    </a:lnTo>
                    <a:lnTo>
                      <a:pt x="28" y="120"/>
                    </a:lnTo>
                    <a:lnTo>
                      <a:pt x="30" y="120"/>
                    </a:lnTo>
                    <a:lnTo>
                      <a:pt x="40" y="121"/>
                    </a:lnTo>
                    <a:lnTo>
                      <a:pt x="40" y="123"/>
                    </a:lnTo>
                    <a:lnTo>
                      <a:pt x="45" y="126"/>
                    </a:lnTo>
                    <a:lnTo>
                      <a:pt x="48" y="126"/>
                    </a:lnTo>
                    <a:lnTo>
                      <a:pt x="51" y="130"/>
                    </a:lnTo>
                    <a:lnTo>
                      <a:pt x="50" y="135"/>
                    </a:lnTo>
                    <a:lnTo>
                      <a:pt x="51" y="136"/>
                    </a:lnTo>
                    <a:lnTo>
                      <a:pt x="53" y="138"/>
                    </a:lnTo>
                    <a:lnTo>
                      <a:pt x="53" y="141"/>
                    </a:lnTo>
                    <a:lnTo>
                      <a:pt x="56" y="143"/>
                    </a:lnTo>
                    <a:lnTo>
                      <a:pt x="58" y="141"/>
                    </a:lnTo>
                    <a:lnTo>
                      <a:pt x="61" y="141"/>
                    </a:lnTo>
                    <a:lnTo>
                      <a:pt x="56" y="135"/>
                    </a:lnTo>
                    <a:lnTo>
                      <a:pt x="58" y="133"/>
                    </a:lnTo>
                    <a:lnTo>
                      <a:pt x="70" y="138"/>
                    </a:lnTo>
                    <a:lnTo>
                      <a:pt x="76" y="138"/>
                    </a:lnTo>
                    <a:lnTo>
                      <a:pt x="75" y="141"/>
                    </a:lnTo>
                    <a:lnTo>
                      <a:pt x="81" y="145"/>
                    </a:lnTo>
                    <a:lnTo>
                      <a:pt x="90" y="143"/>
                    </a:lnTo>
                    <a:lnTo>
                      <a:pt x="96" y="146"/>
                    </a:lnTo>
                    <a:lnTo>
                      <a:pt x="111" y="155"/>
                    </a:lnTo>
                    <a:lnTo>
                      <a:pt x="116" y="163"/>
                    </a:lnTo>
                    <a:lnTo>
                      <a:pt x="119" y="163"/>
                    </a:lnTo>
                    <a:lnTo>
                      <a:pt x="123" y="160"/>
                    </a:lnTo>
                    <a:lnTo>
                      <a:pt x="129" y="161"/>
                    </a:lnTo>
                    <a:lnTo>
                      <a:pt x="133" y="165"/>
                    </a:lnTo>
                    <a:lnTo>
                      <a:pt x="134" y="1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1" name="Freeform 55"/>
              <p:cNvSpPr>
                <a:spLocks/>
              </p:cNvSpPr>
              <p:nvPr/>
            </p:nvSpPr>
            <p:spPr bwMode="auto">
              <a:xfrm>
                <a:off x="6552006" y="2630560"/>
                <a:ext cx="96322" cy="35278"/>
              </a:xfrm>
              <a:custGeom>
                <a:avLst/>
                <a:gdLst/>
                <a:ahLst/>
                <a:cxnLst>
                  <a:cxn ang="0">
                    <a:pos x="66" y="3"/>
                  </a:cxn>
                  <a:cxn ang="0">
                    <a:pos x="73" y="2"/>
                  </a:cxn>
                  <a:cxn ang="0">
                    <a:pos x="85" y="3"/>
                  </a:cxn>
                  <a:cxn ang="0">
                    <a:pos x="90" y="8"/>
                  </a:cxn>
                  <a:cxn ang="0">
                    <a:pos x="96" y="12"/>
                  </a:cxn>
                  <a:cxn ang="0">
                    <a:pos x="96" y="18"/>
                  </a:cxn>
                  <a:cxn ang="0">
                    <a:pos x="98" y="23"/>
                  </a:cxn>
                  <a:cxn ang="0">
                    <a:pos x="103" y="23"/>
                  </a:cxn>
                  <a:cxn ang="0">
                    <a:pos x="101" y="17"/>
                  </a:cxn>
                  <a:cxn ang="0">
                    <a:pos x="115" y="20"/>
                  </a:cxn>
                  <a:cxn ang="0">
                    <a:pos x="120" y="23"/>
                  </a:cxn>
                  <a:cxn ang="0">
                    <a:pos x="135" y="25"/>
                  </a:cxn>
                  <a:cxn ang="0">
                    <a:pos x="156" y="37"/>
                  </a:cxn>
                  <a:cxn ang="0">
                    <a:pos x="164" y="45"/>
                  </a:cxn>
                  <a:cxn ang="0">
                    <a:pos x="174" y="43"/>
                  </a:cxn>
                  <a:cxn ang="0">
                    <a:pos x="179" y="52"/>
                  </a:cxn>
                  <a:cxn ang="0">
                    <a:pos x="163" y="55"/>
                  </a:cxn>
                  <a:cxn ang="0">
                    <a:pos x="149" y="62"/>
                  </a:cxn>
                  <a:cxn ang="0">
                    <a:pos x="131" y="67"/>
                  </a:cxn>
                  <a:cxn ang="0">
                    <a:pos x="123" y="65"/>
                  </a:cxn>
                  <a:cxn ang="0">
                    <a:pos x="106" y="65"/>
                  </a:cxn>
                  <a:cxn ang="0">
                    <a:pos x="96" y="63"/>
                  </a:cxn>
                  <a:cxn ang="0">
                    <a:pos x="83" y="60"/>
                  </a:cxn>
                  <a:cxn ang="0">
                    <a:pos x="70" y="58"/>
                  </a:cxn>
                  <a:cxn ang="0">
                    <a:pos x="65" y="63"/>
                  </a:cxn>
                  <a:cxn ang="0">
                    <a:pos x="58" y="68"/>
                  </a:cxn>
                  <a:cxn ang="0">
                    <a:pos x="45" y="63"/>
                  </a:cxn>
                  <a:cxn ang="0">
                    <a:pos x="42" y="63"/>
                  </a:cxn>
                  <a:cxn ang="0">
                    <a:pos x="27" y="50"/>
                  </a:cxn>
                  <a:cxn ang="0">
                    <a:pos x="13" y="43"/>
                  </a:cxn>
                  <a:cxn ang="0">
                    <a:pos x="12" y="33"/>
                  </a:cxn>
                  <a:cxn ang="0">
                    <a:pos x="0" y="23"/>
                  </a:cxn>
                  <a:cxn ang="0">
                    <a:pos x="3" y="18"/>
                  </a:cxn>
                  <a:cxn ang="0">
                    <a:pos x="8" y="22"/>
                  </a:cxn>
                  <a:cxn ang="0">
                    <a:pos x="22" y="15"/>
                  </a:cxn>
                  <a:cxn ang="0">
                    <a:pos x="32" y="10"/>
                  </a:cxn>
                  <a:cxn ang="0">
                    <a:pos x="42" y="7"/>
                  </a:cxn>
                  <a:cxn ang="0">
                    <a:pos x="50" y="5"/>
                  </a:cxn>
                  <a:cxn ang="0">
                    <a:pos x="58" y="2"/>
                  </a:cxn>
                  <a:cxn ang="0">
                    <a:pos x="63" y="2"/>
                  </a:cxn>
                </a:cxnLst>
                <a:rect l="0" t="0" r="r" b="b"/>
                <a:pathLst>
                  <a:path w="179" h="70">
                    <a:moveTo>
                      <a:pt x="65" y="0"/>
                    </a:moveTo>
                    <a:lnTo>
                      <a:pt x="66" y="3"/>
                    </a:lnTo>
                    <a:lnTo>
                      <a:pt x="68" y="2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85" y="3"/>
                    </a:lnTo>
                    <a:lnTo>
                      <a:pt x="85" y="5"/>
                    </a:lnTo>
                    <a:lnTo>
                      <a:pt x="90" y="8"/>
                    </a:lnTo>
                    <a:lnTo>
                      <a:pt x="93" y="8"/>
                    </a:lnTo>
                    <a:lnTo>
                      <a:pt x="96" y="12"/>
                    </a:lnTo>
                    <a:lnTo>
                      <a:pt x="95" y="17"/>
                    </a:lnTo>
                    <a:lnTo>
                      <a:pt x="96" y="18"/>
                    </a:lnTo>
                    <a:lnTo>
                      <a:pt x="98" y="20"/>
                    </a:lnTo>
                    <a:lnTo>
                      <a:pt x="98" y="23"/>
                    </a:lnTo>
                    <a:lnTo>
                      <a:pt x="101" y="25"/>
                    </a:lnTo>
                    <a:lnTo>
                      <a:pt x="103" y="23"/>
                    </a:lnTo>
                    <a:lnTo>
                      <a:pt x="106" y="23"/>
                    </a:lnTo>
                    <a:lnTo>
                      <a:pt x="101" y="17"/>
                    </a:lnTo>
                    <a:lnTo>
                      <a:pt x="103" y="15"/>
                    </a:lnTo>
                    <a:lnTo>
                      <a:pt x="115" y="20"/>
                    </a:lnTo>
                    <a:lnTo>
                      <a:pt x="121" y="20"/>
                    </a:lnTo>
                    <a:lnTo>
                      <a:pt x="120" y="23"/>
                    </a:lnTo>
                    <a:lnTo>
                      <a:pt x="126" y="27"/>
                    </a:lnTo>
                    <a:lnTo>
                      <a:pt x="135" y="25"/>
                    </a:lnTo>
                    <a:lnTo>
                      <a:pt x="141" y="28"/>
                    </a:lnTo>
                    <a:lnTo>
                      <a:pt x="156" y="37"/>
                    </a:lnTo>
                    <a:lnTo>
                      <a:pt x="161" y="45"/>
                    </a:lnTo>
                    <a:lnTo>
                      <a:pt x="164" y="45"/>
                    </a:lnTo>
                    <a:lnTo>
                      <a:pt x="168" y="42"/>
                    </a:lnTo>
                    <a:lnTo>
                      <a:pt x="174" y="43"/>
                    </a:lnTo>
                    <a:lnTo>
                      <a:pt x="178" y="47"/>
                    </a:lnTo>
                    <a:lnTo>
                      <a:pt x="179" y="52"/>
                    </a:lnTo>
                    <a:lnTo>
                      <a:pt x="168" y="52"/>
                    </a:lnTo>
                    <a:lnTo>
                      <a:pt x="163" y="55"/>
                    </a:lnTo>
                    <a:lnTo>
                      <a:pt x="156" y="55"/>
                    </a:lnTo>
                    <a:lnTo>
                      <a:pt x="149" y="62"/>
                    </a:lnTo>
                    <a:lnTo>
                      <a:pt x="141" y="63"/>
                    </a:lnTo>
                    <a:lnTo>
                      <a:pt x="131" y="67"/>
                    </a:lnTo>
                    <a:lnTo>
                      <a:pt x="130" y="65"/>
                    </a:lnTo>
                    <a:lnTo>
                      <a:pt x="123" y="65"/>
                    </a:lnTo>
                    <a:lnTo>
                      <a:pt x="118" y="68"/>
                    </a:lnTo>
                    <a:lnTo>
                      <a:pt x="106" y="65"/>
                    </a:lnTo>
                    <a:lnTo>
                      <a:pt x="103" y="63"/>
                    </a:lnTo>
                    <a:lnTo>
                      <a:pt x="96" y="63"/>
                    </a:lnTo>
                    <a:lnTo>
                      <a:pt x="90" y="63"/>
                    </a:lnTo>
                    <a:lnTo>
                      <a:pt x="83" y="60"/>
                    </a:lnTo>
                    <a:lnTo>
                      <a:pt x="75" y="60"/>
                    </a:lnTo>
                    <a:lnTo>
                      <a:pt x="70" y="58"/>
                    </a:lnTo>
                    <a:lnTo>
                      <a:pt x="68" y="62"/>
                    </a:lnTo>
                    <a:lnTo>
                      <a:pt x="65" y="63"/>
                    </a:lnTo>
                    <a:lnTo>
                      <a:pt x="65" y="67"/>
                    </a:lnTo>
                    <a:lnTo>
                      <a:pt x="58" y="68"/>
                    </a:lnTo>
                    <a:lnTo>
                      <a:pt x="56" y="70"/>
                    </a:lnTo>
                    <a:lnTo>
                      <a:pt x="45" y="63"/>
                    </a:lnTo>
                    <a:lnTo>
                      <a:pt x="40" y="63"/>
                    </a:lnTo>
                    <a:lnTo>
                      <a:pt x="42" y="63"/>
                    </a:lnTo>
                    <a:lnTo>
                      <a:pt x="32" y="53"/>
                    </a:lnTo>
                    <a:lnTo>
                      <a:pt x="27" y="50"/>
                    </a:lnTo>
                    <a:lnTo>
                      <a:pt x="18" y="45"/>
                    </a:lnTo>
                    <a:lnTo>
                      <a:pt x="13" y="43"/>
                    </a:lnTo>
                    <a:lnTo>
                      <a:pt x="12" y="40"/>
                    </a:lnTo>
                    <a:lnTo>
                      <a:pt x="12" y="33"/>
                    </a:lnTo>
                    <a:lnTo>
                      <a:pt x="7" y="27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8" y="22"/>
                    </a:lnTo>
                    <a:lnTo>
                      <a:pt x="18" y="15"/>
                    </a:lnTo>
                    <a:lnTo>
                      <a:pt x="22" y="15"/>
                    </a:lnTo>
                    <a:lnTo>
                      <a:pt x="27" y="10"/>
                    </a:lnTo>
                    <a:lnTo>
                      <a:pt x="32" y="10"/>
                    </a:lnTo>
                    <a:lnTo>
                      <a:pt x="35" y="7"/>
                    </a:lnTo>
                    <a:lnTo>
                      <a:pt x="42" y="7"/>
                    </a:lnTo>
                    <a:lnTo>
                      <a:pt x="47" y="7"/>
                    </a:lnTo>
                    <a:lnTo>
                      <a:pt x="50" y="5"/>
                    </a:lnTo>
                    <a:lnTo>
                      <a:pt x="50" y="0"/>
                    </a:lnTo>
                    <a:lnTo>
                      <a:pt x="58" y="2"/>
                    </a:lnTo>
                    <a:lnTo>
                      <a:pt x="60" y="0"/>
                    </a:lnTo>
                    <a:lnTo>
                      <a:pt x="63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2" name="Freeform 56"/>
              <p:cNvSpPr>
                <a:spLocks/>
              </p:cNvSpPr>
              <p:nvPr/>
            </p:nvSpPr>
            <p:spPr bwMode="auto">
              <a:xfrm>
                <a:off x="6479229" y="2569342"/>
                <a:ext cx="108095" cy="114135"/>
              </a:xfrm>
              <a:custGeom>
                <a:avLst/>
                <a:gdLst/>
                <a:ahLst/>
                <a:cxnLst>
                  <a:cxn ang="0">
                    <a:pos x="75" y="3"/>
                  </a:cxn>
                  <a:cxn ang="0">
                    <a:pos x="84" y="13"/>
                  </a:cxn>
                  <a:cxn ang="0">
                    <a:pos x="89" y="21"/>
                  </a:cxn>
                  <a:cxn ang="0">
                    <a:pos x="98" y="18"/>
                  </a:cxn>
                  <a:cxn ang="0">
                    <a:pos x="111" y="18"/>
                  </a:cxn>
                  <a:cxn ang="0">
                    <a:pos x="101" y="28"/>
                  </a:cxn>
                  <a:cxn ang="0">
                    <a:pos x="116" y="31"/>
                  </a:cxn>
                  <a:cxn ang="0">
                    <a:pos x="133" y="23"/>
                  </a:cxn>
                  <a:cxn ang="0">
                    <a:pos x="141" y="15"/>
                  </a:cxn>
                  <a:cxn ang="0">
                    <a:pos x="139" y="18"/>
                  </a:cxn>
                  <a:cxn ang="0">
                    <a:pos x="149" y="20"/>
                  </a:cxn>
                  <a:cxn ang="0">
                    <a:pos x="164" y="26"/>
                  </a:cxn>
                  <a:cxn ang="0">
                    <a:pos x="174" y="36"/>
                  </a:cxn>
                  <a:cxn ang="0">
                    <a:pos x="189" y="48"/>
                  </a:cxn>
                  <a:cxn ang="0">
                    <a:pos x="189" y="70"/>
                  </a:cxn>
                  <a:cxn ang="0">
                    <a:pos x="194" y="85"/>
                  </a:cxn>
                  <a:cxn ang="0">
                    <a:pos x="202" y="103"/>
                  </a:cxn>
                  <a:cxn ang="0">
                    <a:pos x="194" y="118"/>
                  </a:cxn>
                  <a:cxn ang="0">
                    <a:pos x="178" y="123"/>
                  </a:cxn>
                  <a:cxn ang="0">
                    <a:pos x="158" y="131"/>
                  </a:cxn>
                  <a:cxn ang="0">
                    <a:pos x="139" y="134"/>
                  </a:cxn>
                  <a:cxn ang="0">
                    <a:pos x="148" y="149"/>
                  </a:cxn>
                  <a:cxn ang="0">
                    <a:pos x="163" y="166"/>
                  </a:cxn>
                  <a:cxn ang="0">
                    <a:pos x="176" y="187"/>
                  </a:cxn>
                  <a:cxn ang="0">
                    <a:pos x="158" y="202"/>
                  </a:cxn>
                  <a:cxn ang="0">
                    <a:pos x="161" y="212"/>
                  </a:cxn>
                  <a:cxn ang="0">
                    <a:pos x="141" y="211"/>
                  </a:cxn>
                  <a:cxn ang="0">
                    <a:pos x="121" y="216"/>
                  </a:cxn>
                  <a:cxn ang="0">
                    <a:pos x="106" y="217"/>
                  </a:cxn>
                  <a:cxn ang="0">
                    <a:pos x="89" y="216"/>
                  </a:cxn>
                  <a:cxn ang="0">
                    <a:pos x="76" y="211"/>
                  </a:cxn>
                  <a:cxn ang="0">
                    <a:pos x="66" y="207"/>
                  </a:cxn>
                  <a:cxn ang="0">
                    <a:pos x="55" y="212"/>
                  </a:cxn>
                  <a:cxn ang="0">
                    <a:pos x="45" y="209"/>
                  </a:cxn>
                  <a:cxn ang="0">
                    <a:pos x="45" y="191"/>
                  </a:cxn>
                  <a:cxn ang="0">
                    <a:pos x="48" y="173"/>
                  </a:cxn>
                  <a:cxn ang="0">
                    <a:pos x="31" y="171"/>
                  </a:cxn>
                  <a:cxn ang="0">
                    <a:pos x="18" y="166"/>
                  </a:cxn>
                  <a:cxn ang="0">
                    <a:pos x="11" y="153"/>
                  </a:cxn>
                  <a:cxn ang="0">
                    <a:pos x="6" y="136"/>
                  </a:cxn>
                  <a:cxn ang="0">
                    <a:pos x="1" y="119"/>
                  </a:cxn>
                  <a:cxn ang="0">
                    <a:pos x="3" y="101"/>
                  </a:cxn>
                  <a:cxn ang="0">
                    <a:pos x="21" y="93"/>
                  </a:cxn>
                  <a:cxn ang="0">
                    <a:pos x="26" y="80"/>
                  </a:cxn>
                  <a:cxn ang="0">
                    <a:pos x="18" y="73"/>
                  </a:cxn>
                  <a:cxn ang="0">
                    <a:pos x="28" y="65"/>
                  </a:cxn>
                  <a:cxn ang="0">
                    <a:pos x="33" y="55"/>
                  </a:cxn>
                  <a:cxn ang="0">
                    <a:pos x="25" y="46"/>
                  </a:cxn>
                  <a:cxn ang="0">
                    <a:pos x="45" y="41"/>
                  </a:cxn>
                  <a:cxn ang="0">
                    <a:pos x="48" y="45"/>
                  </a:cxn>
                  <a:cxn ang="0">
                    <a:pos x="55" y="48"/>
                  </a:cxn>
                  <a:cxn ang="0">
                    <a:pos x="56" y="40"/>
                  </a:cxn>
                  <a:cxn ang="0">
                    <a:pos x="71" y="35"/>
                  </a:cxn>
                  <a:cxn ang="0">
                    <a:pos x="73" y="33"/>
                  </a:cxn>
                  <a:cxn ang="0">
                    <a:pos x="66" y="26"/>
                  </a:cxn>
                  <a:cxn ang="0">
                    <a:pos x="58" y="16"/>
                  </a:cxn>
                  <a:cxn ang="0">
                    <a:pos x="61" y="6"/>
                  </a:cxn>
                  <a:cxn ang="0">
                    <a:pos x="56" y="0"/>
                  </a:cxn>
                </a:cxnLst>
                <a:rect l="0" t="0" r="r" b="b"/>
                <a:pathLst>
                  <a:path w="202" h="219">
                    <a:moveTo>
                      <a:pt x="56" y="0"/>
                    </a:moveTo>
                    <a:lnTo>
                      <a:pt x="63" y="0"/>
                    </a:lnTo>
                    <a:lnTo>
                      <a:pt x="71" y="1"/>
                    </a:lnTo>
                    <a:lnTo>
                      <a:pt x="75" y="3"/>
                    </a:lnTo>
                    <a:lnTo>
                      <a:pt x="78" y="3"/>
                    </a:lnTo>
                    <a:lnTo>
                      <a:pt x="83" y="6"/>
                    </a:lnTo>
                    <a:lnTo>
                      <a:pt x="88" y="8"/>
                    </a:lnTo>
                    <a:lnTo>
                      <a:pt x="84" y="13"/>
                    </a:lnTo>
                    <a:lnTo>
                      <a:pt x="83" y="15"/>
                    </a:lnTo>
                    <a:lnTo>
                      <a:pt x="84" y="16"/>
                    </a:lnTo>
                    <a:lnTo>
                      <a:pt x="88" y="18"/>
                    </a:lnTo>
                    <a:lnTo>
                      <a:pt x="89" y="21"/>
                    </a:lnTo>
                    <a:lnTo>
                      <a:pt x="93" y="20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98" y="18"/>
                    </a:lnTo>
                    <a:lnTo>
                      <a:pt x="104" y="21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1" y="23"/>
                    </a:lnTo>
                    <a:lnTo>
                      <a:pt x="108" y="26"/>
                    </a:lnTo>
                    <a:lnTo>
                      <a:pt x="106" y="25"/>
                    </a:lnTo>
                    <a:lnTo>
                      <a:pt x="101" y="28"/>
                    </a:lnTo>
                    <a:lnTo>
                      <a:pt x="108" y="30"/>
                    </a:lnTo>
                    <a:lnTo>
                      <a:pt x="109" y="28"/>
                    </a:lnTo>
                    <a:lnTo>
                      <a:pt x="114" y="30"/>
                    </a:lnTo>
                    <a:lnTo>
                      <a:pt x="116" y="31"/>
                    </a:lnTo>
                    <a:lnTo>
                      <a:pt x="121" y="31"/>
                    </a:lnTo>
                    <a:lnTo>
                      <a:pt x="121" y="28"/>
                    </a:lnTo>
                    <a:lnTo>
                      <a:pt x="124" y="23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9" y="18"/>
                    </a:lnTo>
                    <a:lnTo>
                      <a:pt x="139" y="16"/>
                    </a:lnTo>
                    <a:lnTo>
                      <a:pt x="141" y="15"/>
                    </a:lnTo>
                    <a:lnTo>
                      <a:pt x="148" y="16"/>
                    </a:lnTo>
                    <a:lnTo>
                      <a:pt x="143" y="18"/>
                    </a:lnTo>
                    <a:lnTo>
                      <a:pt x="141" y="20"/>
                    </a:lnTo>
                    <a:lnTo>
                      <a:pt x="139" y="18"/>
                    </a:lnTo>
                    <a:lnTo>
                      <a:pt x="138" y="21"/>
                    </a:lnTo>
                    <a:lnTo>
                      <a:pt x="139" y="23"/>
                    </a:lnTo>
                    <a:lnTo>
                      <a:pt x="144" y="20"/>
                    </a:lnTo>
                    <a:lnTo>
                      <a:pt x="149" y="20"/>
                    </a:lnTo>
                    <a:lnTo>
                      <a:pt x="151" y="18"/>
                    </a:lnTo>
                    <a:lnTo>
                      <a:pt x="153" y="20"/>
                    </a:lnTo>
                    <a:lnTo>
                      <a:pt x="158" y="21"/>
                    </a:lnTo>
                    <a:lnTo>
                      <a:pt x="164" y="26"/>
                    </a:lnTo>
                    <a:lnTo>
                      <a:pt x="169" y="26"/>
                    </a:lnTo>
                    <a:lnTo>
                      <a:pt x="171" y="30"/>
                    </a:lnTo>
                    <a:lnTo>
                      <a:pt x="171" y="33"/>
                    </a:lnTo>
                    <a:lnTo>
                      <a:pt x="174" y="36"/>
                    </a:lnTo>
                    <a:lnTo>
                      <a:pt x="179" y="36"/>
                    </a:lnTo>
                    <a:lnTo>
                      <a:pt x="181" y="38"/>
                    </a:lnTo>
                    <a:lnTo>
                      <a:pt x="186" y="38"/>
                    </a:lnTo>
                    <a:lnTo>
                      <a:pt x="189" y="48"/>
                    </a:lnTo>
                    <a:lnTo>
                      <a:pt x="187" y="55"/>
                    </a:lnTo>
                    <a:lnTo>
                      <a:pt x="181" y="58"/>
                    </a:lnTo>
                    <a:lnTo>
                      <a:pt x="181" y="61"/>
                    </a:lnTo>
                    <a:lnTo>
                      <a:pt x="189" y="70"/>
                    </a:lnTo>
                    <a:lnTo>
                      <a:pt x="187" y="73"/>
                    </a:lnTo>
                    <a:lnTo>
                      <a:pt x="191" y="78"/>
                    </a:lnTo>
                    <a:lnTo>
                      <a:pt x="191" y="81"/>
                    </a:lnTo>
                    <a:lnTo>
                      <a:pt x="194" y="85"/>
                    </a:lnTo>
                    <a:lnTo>
                      <a:pt x="191" y="89"/>
                    </a:lnTo>
                    <a:lnTo>
                      <a:pt x="196" y="98"/>
                    </a:lnTo>
                    <a:lnTo>
                      <a:pt x="199" y="99"/>
                    </a:lnTo>
                    <a:lnTo>
                      <a:pt x="202" y="103"/>
                    </a:lnTo>
                    <a:lnTo>
                      <a:pt x="202" y="114"/>
                    </a:lnTo>
                    <a:lnTo>
                      <a:pt x="199" y="118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86" y="116"/>
                    </a:lnTo>
                    <a:lnTo>
                      <a:pt x="186" y="121"/>
                    </a:lnTo>
                    <a:lnTo>
                      <a:pt x="183" y="123"/>
                    </a:lnTo>
                    <a:lnTo>
                      <a:pt x="178" y="123"/>
                    </a:lnTo>
                    <a:lnTo>
                      <a:pt x="171" y="123"/>
                    </a:lnTo>
                    <a:lnTo>
                      <a:pt x="168" y="126"/>
                    </a:lnTo>
                    <a:lnTo>
                      <a:pt x="163" y="126"/>
                    </a:lnTo>
                    <a:lnTo>
                      <a:pt x="158" y="131"/>
                    </a:lnTo>
                    <a:lnTo>
                      <a:pt x="154" y="131"/>
                    </a:lnTo>
                    <a:lnTo>
                      <a:pt x="144" y="138"/>
                    </a:lnTo>
                    <a:lnTo>
                      <a:pt x="141" y="136"/>
                    </a:lnTo>
                    <a:lnTo>
                      <a:pt x="139" y="134"/>
                    </a:lnTo>
                    <a:lnTo>
                      <a:pt x="136" y="136"/>
                    </a:lnTo>
                    <a:lnTo>
                      <a:pt x="136" y="139"/>
                    </a:lnTo>
                    <a:lnTo>
                      <a:pt x="143" y="143"/>
                    </a:lnTo>
                    <a:lnTo>
                      <a:pt x="148" y="149"/>
                    </a:lnTo>
                    <a:lnTo>
                      <a:pt x="148" y="156"/>
                    </a:lnTo>
                    <a:lnTo>
                      <a:pt x="149" y="159"/>
                    </a:lnTo>
                    <a:lnTo>
                      <a:pt x="154" y="161"/>
                    </a:lnTo>
                    <a:lnTo>
                      <a:pt x="163" y="166"/>
                    </a:lnTo>
                    <a:lnTo>
                      <a:pt x="168" y="169"/>
                    </a:lnTo>
                    <a:lnTo>
                      <a:pt x="178" y="179"/>
                    </a:lnTo>
                    <a:lnTo>
                      <a:pt x="176" y="183"/>
                    </a:lnTo>
                    <a:lnTo>
                      <a:pt x="176" y="187"/>
                    </a:lnTo>
                    <a:lnTo>
                      <a:pt x="173" y="187"/>
                    </a:lnTo>
                    <a:lnTo>
                      <a:pt x="169" y="192"/>
                    </a:lnTo>
                    <a:lnTo>
                      <a:pt x="164" y="194"/>
                    </a:lnTo>
                    <a:lnTo>
                      <a:pt x="158" y="202"/>
                    </a:lnTo>
                    <a:lnTo>
                      <a:pt x="158" y="204"/>
                    </a:lnTo>
                    <a:lnTo>
                      <a:pt x="163" y="207"/>
                    </a:lnTo>
                    <a:lnTo>
                      <a:pt x="164" y="211"/>
                    </a:lnTo>
                    <a:lnTo>
                      <a:pt x="161" y="212"/>
                    </a:lnTo>
                    <a:lnTo>
                      <a:pt x="156" y="211"/>
                    </a:lnTo>
                    <a:lnTo>
                      <a:pt x="151" y="212"/>
                    </a:lnTo>
                    <a:lnTo>
                      <a:pt x="146" y="211"/>
                    </a:lnTo>
                    <a:lnTo>
                      <a:pt x="141" y="211"/>
                    </a:lnTo>
                    <a:lnTo>
                      <a:pt x="134" y="216"/>
                    </a:lnTo>
                    <a:lnTo>
                      <a:pt x="129" y="216"/>
                    </a:lnTo>
                    <a:lnTo>
                      <a:pt x="126" y="216"/>
                    </a:lnTo>
                    <a:lnTo>
                      <a:pt x="121" y="216"/>
                    </a:lnTo>
                    <a:lnTo>
                      <a:pt x="118" y="214"/>
                    </a:lnTo>
                    <a:lnTo>
                      <a:pt x="111" y="212"/>
                    </a:lnTo>
                    <a:lnTo>
                      <a:pt x="104" y="214"/>
                    </a:lnTo>
                    <a:lnTo>
                      <a:pt x="106" y="217"/>
                    </a:lnTo>
                    <a:lnTo>
                      <a:pt x="104" y="219"/>
                    </a:lnTo>
                    <a:lnTo>
                      <a:pt x="98" y="217"/>
                    </a:lnTo>
                    <a:lnTo>
                      <a:pt x="94" y="214"/>
                    </a:lnTo>
                    <a:lnTo>
                      <a:pt x="89" y="216"/>
                    </a:lnTo>
                    <a:lnTo>
                      <a:pt x="88" y="216"/>
                    </a:lnTo>
                    <a:lnTo>
                      <a:pt x="86" y="216"/>
                    </a:lnTo>
                    <a:lnTo>
                      <a:pt x="83" y="216"/>
                    </a:lnTo>
                    <a:lnTo>
                      <a:pt x="76" y="211"/>
                    </a:lnTo>
                    <a:lnTo>
                      <a:pt x="73" y="211"/>
                    </a:lnTo>
                    <a:lnTo>
                      <a:pt x="71" y="212"/>
                    </a:lnTo>
                    <a:lnTo>
                      <a:pt x="68" y="212"/>
                    </a:lnTo>
                    <a:lnTo>
                      <a:pt x="66" y="207"/>
                    </a:lnTo>
                    <a:lnTo>
                      <a:pt x="61" y="209"/>
                    </a:lnTo>
                    <a:lnTo>
                      <a:pt x="63" y="212"/>
                    </a:lnTo>
                    <a:lnTo>
                      <a:pt x="60" y="214"/>
                    </a:lnTo>
                    <a:lnTo>
                      <a:pt x="55" y="212"/>
                    </a:lnTo>
                    <a:lnTo>
                      <a:pt x="50" y="214"/>
                    </a:lnTo>
                    <a:lnTo>
                      <a:pt x="46" y="214"/>
                    </a:lnTo>
                    <a:lnTo>
                      <a:pt x="46" y="214"/>
                    </a:lnTo>
                    <a:lnTo>
                      <a:pt x="45" y="209"/>
                    </a:lnTo>
                    <a:lnTo>
                      <a:pt x="40" y="207"/>
                    </a:lnTo>
                    <a:lnTo>
                      <a:pt x="40" y="201"/>
                    </a:lnTo>
                    <a:lnTo>
                      <a:pt x="41" y="192"/>
                    </a:lnTo>
                    <a:lnTo>
                      <a:pt x="45" y="191"/>
                    </a:lnTo>
                    <a:lnTo>
                      <a:pt x="45" y="187"/>
                    </a:lnTo>
                    <a:lnTo>
                      <a:pt x="48" y="181"/>
                    </a:lnTo>
                    <a:lnTo>
                      <a:pt x="53" y="176"/>
                    </a:lnTo>
                    <a:lnTo>
                      <a:pt x="48" y="173"/>
                    </a:lnTo>
                    <a:lnTo>
                      <a:pt x="45" y="173"/>
                    </a:lnTo>
                    <a:lnTo>
                      <a:pt x="38" y="169"/>
                    </a:lnTo>
                    <a:lnTo>
                      <a:pt x="35" y="171"/>
                    </a:lnTo>
                    <a:lnTo>
                      <a:pt x="31" y="171"/>
                    </a:lnTo>
                    <a:lnTo>
                      <a:pt x="26" y="171"/>
                    </a:lnTo>
                    <a:lnTo>
                      <a:pt x="23" y="171"/>
                    </a:lnTo>
                    <a:lnTo>
                      <a:pt x="18" y="168"/>
                    </a:lnTo>
                    <a:lnTo>
                      <a:pt x="18" y="166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15" y="156"/>
                    </a:lnTo>
                    <a:lnTo>
                      <a:pt x="11" y="153"/>
                    </a:lnTo>
                    <a:lnTo>
                      <a:pt x="10" y="149"/>
                    </a:lnTo>
                    <a:lnTo>
                      <a:pt x="5" y="143"/>
                    </a:lnTo>
                    <a:lnTo>
                      <a:pt x="3" y="143"/>
                    </a:lnTo>
                    <a:lnTo>
                      <a:pt x="6" y="136"/>
                    </a:lnTo>
                    <a:lnTo>
                      <a:pt x="3" y="133"/>
                    </a:lnTo>
                    <a:lnTo>
                      <a:pt x="3" y="129"/>
                    </a:lnTo>
                    <a:lnTo>
                      <a:pt x="0" y="123"/>
                    </a:lnTo>
                    <a:lnTo>
                      <a:pt x="1" y="119"/>
                    </a:lnTo>
                    <a:lnTo>
                      <a:pt x="0" y="119"/>
                    </a:lnTo>
                    <a:lnTo>
                      <a:pt x="3" y="114"/>
                    </a:lnTo>
                    <a:lnTo>
                      <a:pt x="5" y="108"/>
                    </a:lnTo>
                    <a:lnTo>
                      <a:pt x="3" y="101"/>
                    </a:lnTo>
                    <a:lnTo>
                      <a:pt x="6" y="98"/>
                    </a:lnTo>
                    <a:lnTo>
                      <a:pt x="8" y="93"/>
                    </a:lnTo>
                    <a:lnTo>
                      <a:pt x="15" y="91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1" y="86"/>
                    </a:lnTo>
                    <a:lnTo>
                      <a:pt x="25" y="85"/>
                    </a:lnTo>
                    <a:lnTo>
                      <a:pt x="26" y="80"/>
                    </a:lnTo>
                    <a:lnTo>
                      <a:pt x="28" y="78"/>
                    </a:lnTo>
                    <a:lnTo>
                      <a:pt x="25" y="76"/>
                    </a:lnTo>
                    <a:lnTo>
                      <a:pt x="20" y="76"/>
                    </a:lnTo>
                    <a:lnTo>
                      <a:pt x="18" y="73"/>
                    </a:lnTo>
                    <a:lnTo>
                      <a:pt x="20" y="68"/>
                    </a:lnTo>
                    <a:lnTo>
                      <a:pt x="25" y="71"/>
                    </a:lnTo>
                    <a:lnTo>
                      <a:pt x="28" y="68"/>
                    </a:lnTo>
                    <a:lnTo>
                      <a:pt x="28" y="65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3" y="56"/>
                    </a:lnTo>
                    <a:lnTo>
                      <a:pt x="33" y="55"/>
                    </a:lnTo>
                    <a:lnTo>
                      <a:pt x="33" y="55"/>
                    </a:lnTo>
                    <a:lnTo>
                      <a:pt x="31" y="51"/>
                    </a:lnTo>
                    <a:lnTo>
                      <a:pt x="26" y="50"/>
                    </a:lnTo>
                    <a:lnTo>
                      <a:pt x="25" y="46"/>
                    </a:lnTo>
                    <a:lnTo>
                      <a:pt x="25" y="43"/>
                    </a:lnTo>
                    <a:lnTo>
                      <a:pt x="36" y="40"/>
                    </a:lnTo>
                    <a:lnTo>
                      <a:pt x="40" y="38"/>
                    </a:lnTo>
                    <a:lnTo>
                      <a:pt x="45" y="41"/>
                    </a:lnTo>
                    <a:lnTo>
                      <a:pt x="45" y="46"/>
                    </a:lnTo>
                    <a:lnTo>
                      <a:pt x="48" y="51"/>
                    </a:lnTo>
                    <a:lnTo>
                      <a:pt x="51" y="48"/>
                    </a:lnTo>
                    <a:lnTo>
                      <a:pt x="48" y="45"/>
                    </a:lnTo>
                    <a:lnTo>
                      <a:pt x="48" y="41"/>
                    </a:lnTo>
                    <a:lnTo>
                      <a:pt x="51" y="41"/>
                    </a:lnTo>
                    <a:lnTo>
                      <a:pt x="55" y="43"/>
                    </a:lnTo>
                    <a:lnTo>
                      <a:pt x="55" y="48"/>
                    </a:lnTo>
                    <a:lnTo>
                      <a:pt x="60" y="55"/>
                    </a:lnTo>
                    <a:lnTo>
                      <a:pt x="56" y="50"/>
                    </a:lnTo>
                    <a:lnTo>
                      <a:pt x="56" y="43"/>
                    </a:lnTo>
                    <a:lnTo>
                      <a:pt x="56" y="40"/>
                    </a:lnTo>
                    <a:lnTo>
                      <a:pt x="60" y="36"/>
                    </a:lnTo>
                    <a:lnTo>
                      <a:pt x="63" y="35"/>
                    </a:lnTo>
                    <a:lnTo>
                      <a:pt x="66" y="36"/>
                    </a:lnTo>
                    <a:lnTo>
                      <a:pt x="71" y="35"/>
                    </a:lnTo>
                    <a:lnTo>
                      <a:pt x="80" y="43"/>
                    </a:lnTo>
                    <a:lnTo>
                      <a:pt x="89" y="45"/>
                    </a:lnTo>
                    <a:lnTo>
                      <a:pt x="80" y="41"/>
                    </a:lnTo>
                    <a:lnTo>
                      <a:pt x="73" y="33"/>
                    </a:lnTo>
                    <a:lnTo>
                      <a:pt x="66" y="33"/>
                    </a:lnTo>
                    <a:lnTo>
                      <a:pt x="63" y="31"/>
                    </a:lnTo>
                    <a:lnTo>
                      <a:pt x="63" y="28"/>
                    </a:lnTo>
                    <a:lnTo>
                      <a:pt x="66" y="26"/>
                    </a:lnTo>
                    <a:lnTo>
                      <a:pt x="63" y="23"/>
                    </a:lnTo>
                    <a:lnTo>
                      <a:pt x="63" y="18"/>
                    </a:lnTo>
                    <a:lnTo>
                      <a:pt x="58" y="20"/>
                    </a:lnTo>
                    <a:lnTo>
                      <a:pt x="58" y="16"/>
                    </a:lnTo>
                    <a:lnTo>
                      <a:pt x="63" y="16"/>
                    </a:lnTo>
                    <a:lnTo>
                      <a:pt x="66" y="15"/>
                    </a:lnTo>
                    <a:lnTo>
                      <a:pt x="61" y="10"/>
                    </a:lnTo>
                    <a:lnTo>
                      <a:pt x="61" y="6"/>
                    </a:lnTo>
                    <a:lnTo>
                      <a:pt x="60" y="6"/>
                    </a:lnTo>
                    <a:lnTo>
                      <a:pt x="56" y="5"/>
                    </a:lnTo>
                    <a:lnTo>
                      <a:pt x="56" y="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3" name="Freeform 57"/>
              <p:cNvSpPr>
                <a:spLocks/>
              </p:cNvSpPr>
              <p:nvPr/>
            </p:nvSpPr>
            <p:spPr bwMode="auto">
              <a:xfrm>
                <a:off x="6526320" y="2684515"/>
                <a:ext cx="2140" cy="3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3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" h="6">
                    <a:moveTo>
                      <a:pt x="1" y="0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4" name="Freeform 58"/>
              <p:cNvSpPr>
                <a:spLocks/>
              </p:cNvSpPr>
              <p:nvPr/>
            </p:nvSpPr>
            <p:spPr bwMode="auto">
              <a:xfrm>
                <a:off x="6481370" y="2677251"/>
                <a:ext cx="57793" cy="29052"/>
              </a:xfrm>
              <a:custGeom>
                <a:avLst/>
                <a:gdLst/>
                <a:ahLst/>
                <a:cxnLst>
                  <a:cxn ang="0">
                    <a:pos x="45" y="7"/>
                  </a:cxn>
                  <a:cxn ang="0">
                    <a:pos x="55" y="7"/>
                  </a:cxn>
                  <a:cxn ang="0">
                    <a:pos x="56" y="2"/>
                  </a:cxn>
                  <a:cxn ang="0">
                    <a:pos x="63" y="5"/>
                  </a:cxn>
                  <a:cxn ang="0">
                    <a:pos x="68" y="4"/>
                  </a:cxn>
                  <a:cxn ang="0">
                    <a:pos x="78" y="9"/>
                  </a:cxn>
                  <a:cxn ang="0">
                    <a:pos x="84" y="15"/>
                  </a:cxn>
                  <a:cxn ang="0">
                    <a:pos x="84" y="20"/>
                  </a:cxn>
                  <a:cxn ang="0">
                    <a:pos x="93" y="19"/>
                  </a:cxn>
                  <a:cxn ang="0">
                    <a:pos x="103" y="20"/>
                  </a:cxn>
                  <a:cxn ang="0">
                    <a:pos x="108" y="24"/>
                  </a:cxn>
                  <a:cxn ang="0">
                    <a:pos x="106" y="37"/>
                  </a:cxn>
                  <a:cxn ang="0">
                    <a:pos x="94" y="47"/>
                  </a:cxn>
                  <a:cxn ang="0">
                    <a:pos x="86" y="44"/>
                  </a:cxn>
                  <a:cxn ang="0">
                    <a:pos x="76" y="47"/>
                  </a:cxn>
                  <a:cxn ang="0">
                    <a:pos x="70" y="50"/>
                  </a:cxn>
                  <a:cxn ang="0">
                    <a:pos x="63" y="42"/>
                  </a:cxn>
                  <a:cxn ang="0">
                    <a:pos x="48" y="52"/>
                  </a:cxn>
                  <a:cxn ang="0">
                    <a:pos x="31" y="57"/>
                  </a:cxn>
                  <a:cxn ang="0">
                    <a:pos x="26" y="50"/>
                  </a:cxn>
                  <a:cxn ang="0">
                    <a:pos x="21" y="44"/>
                  </a:cxn>
                  <a:cxn ang="0">
                    <a:pos x="11" y="39"/>
                  </a:cxn>
                  <a:cxn ang="0">
                    <a:pos x="11" y="47"/>
                  </a:cxn>
                  <a:cxn ang="0">
                    <a:pos x="0" y="49"/>
                  </a:cxn>
                  <a:cxn ang="0">
                    <a:pos x="1" y="44"/>
                  </a:cxn>
                  <a:cxn ang="0">
                    <a:pos x="5" y="40"/>
                  </a:cxn>
                  <a:cxn ang="0">
                    <a:pos x="11" y="24"/>
                  </a:cxn>
                  <a:cxn ang="0">
                    <a:pos x="20" y="17"/>
                  </a:cxn>
                  <a:cxn ang="0">
                    <a:pos x="25" y="12"/>
                  </a:cxn>
                  <a:cxn ang="0">
                    <a:pos x="21" y="5"/>
                  </a:cxn>
                  <a:cxn ang="0">
                    <a:pos x="30" y="9"/>
                  </a:cxn>
                  <a:cxn ang="0">
                    <a:pos x="41" y="7"/>
                  </a:cxn>
                </a:cxnLst>
                <a:rect l="0" t="0" r="r" b="b"/>
                <a:pathLst>
                  <a:path w="108" h="57">
                    <a:moveTo>
                      <a:pt x="41" y="7"/>
                    </a:moveTo>
                    <a:lnTo>
                      <a:pt x="45" y="7"/>
                    </a:lnTo>
                    <a:lnTo>
                      <a:pt x="50" y="5"/>
                    </a:lnTo>
                    <a:lnTo>
                      <a:pt x="55" y="7"/>
                    </a:lnTo>
                    <a:lnTo>
                      <a:pt x="58" y="5"/>
                    </a:lnTo>
                    <a:lnTo>
                      <a:pt x="56" y="2"/>
                    </a:lnTo>
                    <a:lnTo>
                      <a:pt x="61" y="0"/>
                    </a:lnTo>
                    <a:lnTo>
                      <a:pt x="63" y="5"/>
                    </a:lnTo>
                    <a:lnTo>
                      <a:pt x="66" y="5"/>
                    </a:lnTo>
                    <a:lnTo>
                      <a:pt x="68" y="4"/>
                    </a:lnTo>
                    <a:lnTo>
                      <a:pt x="71" y="4"/>
                    </a:lnTo>
                    <a:lnTo>
                      <a:pt x="78" y="9"/>
                    </a:lnTo>
                    <a:lnTo>
                      <a:pt x="84" y="10"/>
                    </a:lnTo>
                    <a:lnTo>
                      <a:pt x="84" y="15"/>
                    </a:lnTo>
                    <a:lnTo>
                      <a:pt x="83" y="17"/>
                    </a:lnTo>
                    <a:lnTo>
                      <a:pt x="84" y="20"/>
                    </a:lnTo>
                    <a:lnTo>
                      <a:pt x="89" y="20"/>
                    </a:lnTo>
                    <a:lnTo>
                      <a:pt x="93" y="19"/>
                    </a:lnTo>
                    <a:lnTo>
                      <a:pt x="98" y="24"/>
                    </a:lnTo>
                    <a:lnTo>
                      <a:pt x="103" y="20"/>
                    </a:lnTo>
                    <a:lnTo>
                      <a:pt x="106" y="20"/>
                    </a:lnTo>
                    <a:lnTo>
                      <a:pt x="108" y="24"/>
                    </a:lnTo>
                    <a:lnTo>
                      <a:pt x="103" y="29"/>
                    </a:lnTo>
                    <a:lnTo>
                      <a:pt x="106" y="37"/>
                    </a:lnTo>
                    <a:lnTo>
                      <a:pt x="96" y="39"/>
                    </a:lnTo>
                    <a:lnTo>
                      <a:pt x="94" y="47"/>
                    </a:lnTo>
                    <a:lnTo>
                      <a:pt x="91" y="44"/>
                    </a:lnTo>
                    <a:lnTo>
                      <a:pt x="86" y="44"/>
                    </a:lnTo>
                    <a:lnTo>
                      <a:pt x="76" y="40"/>
                    </a:lnTo>
                    <a:lnTo>
                      <a:pt x="76" y="47"/>
                    </a:lnTo>
                    <a:lnTo>
                      <a:pt x="71" y="55"/>
                    </a:lnTo>
                    <a:lnTo>
                      <a:pt x="70" y="50"/>
                    </a:lnTo>
                    <a:lnTo>
                      <a:pt x="61" y="47"/>
                    </a:lnTo>
                    <a:lnTo>
                      <a:pt x="63" y="42"/>
                    </a:lnTo>
                    <a:lnTo>
                      <a:pt x="56" y="39"/>
                    </a:lnTo>
                    <a:lnTo>
                      <a:pt x="48" y="52"/>
                    </a:lnTo>
                    <a:lnTo>
                      <a:pt x="41" y="50"/>
                    </a:lnTo>
                    <a:lnTo>
                      <a:pt x="31" y="57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23" y="49"/>
                    </a:lnTo>
                    <a:lnTo>
                      <a:pt x="21" y="44"/>
                    </a:lnTo>
                    <a:lnTo>
                      <a:pt x="20" y="39"/>
                    </a:lnTo>
                    <a:lnTo>
                      <a:pt x="11" y="39"/>
                    </a:lnTo>
                    <a:lnTo>
                      <a:pt x="8" y="42"/>
                    </a:lnTo>
                    <a:lnTo>
                      <a:pt x="11" y="47"/>
                    </a:lnTo>
                    <a:lnTo>
                      <a:pt x="5" y="49"/>
                    </a:lnTo>
                    <a:lnTo>
                      <a:pt x="0" y="49"/>
                    </a:lnTo>
                    <a:lnTo>
                      <a:pt x="0" y="45"/>
                    </a:lnTo>
                    <a:lnTo>
                      <a:pt x="1" y="44"/>
                    </a:lnTo>
                    <a:lnTo>
                      <a:pt x="5" y="44"/>
                    </a:lnTo>
                    <a:lnTo>
                      <a:pt x="5" y="40"/>
                    </a:lnTo>
                    <a:lnTo>
                      <a:pt x="6" y="34"/>
                    </a:lnTo>
                    <a:lnTo>
                      <a:pt x="11" y="24"/>
                    </a:lnTo>
                    <a:lnTo>
                      <a:pt x="16" y="24"/>
                    </a:lnTo>
                    <a:lnTo>
                      <a:pt x="20" y="17"/>
                    </a:lnTo>
                    <a:lnTo>
                      <a:pt x="25" y="15"/>
                    </a:lnTo>
                    <a:lnTo>
                      <a:pt x="25" y="12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8" y="5"/>
                    </a:lnTo>
                    <a:lnTo>
                      <a:pt x="30" y="9"/>
                    </a:lnTo>
                    <a:lnTo>
                      <a:pt x="33" y="9"/>
                    </a:lnTo>
                    <a:lnTo>
                      <a:pt x="4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5" name="Freeform 59"/>
              <p:cNvSpPr>
                <a:spLocks noEditPoints="1"/>
              </p:cNvSpPr>
              <p:nvPr/>
            </p:nvSpPr>
            <p:spPr bwMode="auto">
              <a:xfrm>
                <a:off x="6450332" y="2594244"/>
                <a:ext cx="47091" cy="37353"/>
              </a:xfrm>
              <a:custGeom>
                <a:avLst/>
                <a:gdLst/>
                <a:ahLst/>
                <a:cxnLst>
                  <a:cxn ang="0">
                    <a:pos x="56" y="66"/>
                  </a:cxn>
                  <a:cxn ang="0">
                    <a:pos x="56" y="53"/>
                  </a:cxn>
                  <a:cxn ang="0">
                    <a:pos x="61" y="45"/>
                  </a:cxn>
                  <a:cxn ang="0">
                    <a:pos x="74" y="45"/>
                  </a:cxn>
                  <a:cxn ang="0">
                    <a:pos x="74" y="38"/>
                  </a:cxn>
                  <a:cxn ang="0">
                    <a:pos x="79" y="32"/>
                  </a:cxn>
                  <a:cxn ang="0">
                    <a:pos x="78" y="28"/>
                  </a:cxn>
                  <a:cxn ang="0">
                    <a:pos x="71" y="25"/>
                  </a:cxn>
                  <a:cxn ang="0">
                    <a:pos x="78" y="23"/>
                  </a:cxn>
                  <a:cxn ang="0">
                    <a:pos x="81" y="17"/>
                  </a:cxn>
                  <a:cxn ang="0">
                    <a:pos x="84" y="10"/>
                  </a:cxn>
                  <a:cxn ang="0">
                    <a:pos x="86" y="7"/>
                  </a:cxn>
                  <a:cxn ang="0">
                    <a:pos x="78" y="3"/>
                  </a:cxn>
                  <a:cxn ang="0">
                    <a:pos x="63" y="0"/>
                  </a:cxn>
                  <a:cxn ang="0">
                    <a:pos x="54" y="2"/>
                  </a:cxn>
                  <a:cxn ang="0">
                    <a:pos x="46" y="3"/>
                  </a:cxn>
                  <a:cxn ang="0">
                    <a:pos x="33" y="13"/>
                  </a:cxn>
                  <a:cxn ang="0">
                    <a:pos x="25" y="15"/>
                  </a:cxn>
                  <a:cxn ang="0">
                    <a:pos x="20" y="23"/>
                  </a:cxn>
                  <a:cxn ang="0">
                    <a:pos x="21" y="33"/>
                  </a:cxn>
                  <a:cxn ang="0">
                    <a:pos x="16" y="40"/>
                  </a:cxn>
                  <a:cxn ang="0">
                    <a:pos x="13" y="45"/>
                  </a:cxn>
                  <a:cxn ang="0">
                    <a:pos x="25" y="51"/>
                  </a:cxn>
                  <a:cxn ang="0">
                    <a:pos x="16" y="53"/>
                  </a:cxn>
                  <a:cxn ang="0">
                    <a:pos x="16" y="56"/>
                  </a:cxn>
                  <a:cxn ang="0">
                    <a:pos x="20" y="60"/>
                  </a:cxn>
                  <a:cxn ang="0">
                    <a:pos x="11" y="55"/>
                  </a:cxn>
                  <a:cxn ang="0">
                    <a:pos x="3" y="55"/>
                  </a:cxn>
                  <a:cxn ang="0">
                    <a:pos x="8" y="58"/>
                  </a:cxn>
                  <a:cxn ang="0">
                    <a:pos x="13" y="60"/>
                  </a:cxn>
                  <a:cxn ang="0">
                    <a:pos x="13" y="61"/>
                  </a:cxn>
                  <a:cxn ang="0">
                    <a:pos x="3" y="60"/>
                  </a:cxn>
                  <a:cxn ang="0">
                    <a:pos x="0" y="60"/>
                  </a:cxn>
                  <a:cxn ang="0">
                    <a:pos x="5" y="65"/>
                  </a:cxn>
                  <a:cxn ang="0">
                    <a:pos x="10" y="66"/>
                  </a:cxn>
                  <a:cxn ang="0">
                    <a:pos x="18" y="63"/>
                  </a:cxn>
                  <a:cxn ang="0">
                    <a:pos x="23" y="61"/>
                  </a:cxn>
                  <a:cxn ang="0">
                    <a:pos x="31" y="58"/>
                  </a:cxn>
                  <a:cxn ang="0">
                    <a:pos x="38" y="61"/>
                  </a:cxn>
                  <a:cxn ang="0">
                    <a:pos x="48" y="63"/>
                  </a:cxn>
                  <a:cxn ang="0">
                    <a:pos x="49" y="70"/>
                  </a:cxn>
                  <a:cxn ang="0">
                    <a:pos x="53" y="71"/>
                  </a:cxn>
                  <a:cxn ang="0">
                    <a:pos x="11" y="51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10" y="48"/>
                  </a:cxn>
                  <a:cxn ang="0">
                    <a:pos x="18" y="50"/>
                  </a:cxn>
                  <a:cxn ang="0">
                    <a:pos x="13" y="50"/>
                  </a:cxn>
                  <a:cxn ang="0">
                    <a:pos x="10" y="50"/>
                  </a:cxn>
                </a:cxnLst>
                <a:rect l="0" t="0" r="r" b="b"/>
                <a:pathLst>
                  <a:path w="86" h="71">
                    <a:moveTo>
                      <a:pt x="53" y="71"/>
                    </a:moveTo>
                    <a:lnTo>
                      <a:pt x="56" y="66"/>
                    </a:lnTo>
                    <a:lnTo>
                      <a:pt x="58" y="60"/>
                    </a:lnTo>
                    <a:lnTo>
                      <a:pt x="56" y="53"/>
                    </a:lnTo>
                    <a:lnTo>
                      <a:pt x="59" y="50"/>
                    </a:lnTo>
                    <a:lnTo>
                      <a:pt x="61" y="45"/>
                    </a:lnTo>
                    <a:lnTo>
                      <a:pt x="68" y="43"/>
                    </a:lnTo>
                    <a:lnTo>
                      <a:pt x="74" y="45"/>
                    </a:lnTo>
                    <a:lnTo>
                      <a:pt x="78" y="43"/>
                    </a:lnTo>
                    <a:lnTo>
                      <a:pt x="74" y="38"/>
                    </a:lnTo>
                    <a:lnTo>
                      <a:pt x="78" y="37"/>
                    </a:lnTo>
                    <a:lnTo>
                      <a:pt x="79" y="32"/>
                    </a:lnTo>
                    <a:lnTo>
                      <a:pt x="81" y="30"/>
                    </a:lnTo>
                    <a:lnTo>
                      <a:pt x="78" y="28"/>
                    </a:lnTo>
                    <a:lnTo>
                      <a:pt x="73" y="28"/>
                    </a:lnTo>
                    <a:lnTo>
                      <a:pt x="71" y="25"/>
                    </a:lnTo>
                    <a:lnTo>
                      <a:pt x="73" y="20"/>
                    </a:lnTo>
                    <a:lnTo>
                      <a:pt x="78" y="23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4" y="12"/>
                    </a:lnTo>
                    <a:lnTo>
                      <a:pt x="84" y="10"/>
                    </a:lnTo>
                    <a:lnTo>
                      <a:pt x="86" y="8"/>
                    </a:lnTo>
                    <a:lnTo>
                      <a:pt x="86" y="7"/>
                    </a:lnTo>
                    <a:lnTo>
                      <a:pt x="81" y="5"/>
                    </a:lnTo>
                    <a:lnTo>
                      <a:pt x="78" y="3"/>
                    </a:lnTo>
                    <a:lnTo>
                      <a:pt x="71" y="0"/>
                    </a:lnTo>
                    <a:lnTo>
                      <a:pt x="63" y="0"/>
                    </a:lnTo>
                    <a:lnTo>
                      <a:pt x="59" y="3"/>
                    </a:lnTo>
                    <a:lnTo>
                      <a:pt x="54" y="2"/>
                    </a:lnTo>
                    <a:lnTo>
                      <a:pt x="53" y="3"/>
                    </a:lnTo>
                    <a:lnTo>
                      <a:pt x="46" y="3"/>
                    </a:lnTo>
                    <a:lnTo>
                      <a:pt x="41" y="10"/>
                    </a:lnTo>
                    <a:lnTo>
                      <a:pt x="33" y="13"/>
                    </a:lnTo>
                    <a:lnTo>
                      <a:pt x="31" y="13"/>
                    </a:lnTo>
                    <a:lnTo>
                      <a:pt x="25" y="15"/>
                    </a:lnTo>
                    <a:lnTo>
                      <a:pt x="25" y="20"/>
                    </a:lnTo>
                    <a:lnTo>
                      <a:pt x="20" y="23"/>
                    </a:lnTo>
                    <a:lnTo>
                      <a:pt x="21" y="28"/>
                    </a:lnTo>
                    <a:lnTo>
                      <a:pt x="21" y="33"/>
                    </a:lnTo>
                    <a:lnTo>
                      <a:pt x="18" y="37"/>
                    </a:lnTo>
                    <a:lnTo>
                      <a:pt x="16" y="40"/>
                    </a:lnTo>
                    <a:lnTo>
                      <a:pt x="13" y="41"/>
                    </a:lnTo>
                    <a:lnTo>
                      <a:pt x="13" y="45"/>
                    </a:lnTo>
                    <a:lnTo>
                      <a:pt x="20" y="50"/>
                    </a:lnTo>
                    <a:lnTo>
                      <a:pt x="25" y="51"/>
                    </a:lnTo>
                    <a:lnTo>
                      <a:pt x="18" y="51"/>
                    </a:lnTo>
                    <a:lnTo>
                      <a:pt x="16" y="53"/>
                    </a:lnTo>
                    <a:lnTo>
                      <a:pt x="15" y="55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5" y="60"/>
                    </a:lnTo>
                    <a:lnTo>
                      <a:pt x="11" y="55"/>
                    </a:lnTo>
                    <a:lnTo>
                      <a:pt x="6" y="53"/>
                    </a:lnTo>
                    <a:lnTo>
                      <a:pt x="3" y="55"/>
                    </a:lnTo>
                    <a:lnTo>
                      <a:pt x="5" y="58"/>
                    </a:lnTo>
                    <a:lnTo>
                      <a:pt x="8" y="58"/>
                    </a:lnTo>
                    <a:lnTo>
                      <a:pt x="11" y="60"/>
                    </a:lnTo>
                    <a:lnTo>
                      <a:pt x="13" y="60"/>
                    </a:lnTo>
                    <a:lnTo>
                      <a:pt x="18" y="63"/>
                    </a:lnTo>
                    <a:lnTo>
                      <a:pt x="13" y="61"/>
                    </a:lnTo>
                    <a:lnTo>
                      <a:pt x="10" y="61"/>
                    </a:lnTo>
                    <a:lnTo>
                      <a:pt x="3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1" y="61"/>
                    </a:lnTo>
                    <a:lnTo>
                      <a:pt x="5" y="65"/>
                    </a:lnTo>
                    <a:lnTo>
                      <a:pt x="8" y="65"/>
                    </a:lnTo>
                    <a:lnTo>
                      <a:pt x="10" y="66"/>
                    </a:lnTo>
                    <a:lnTo>
                      <a:pt x="13" y="65"/>
                    </a:lnTo>
                    <a:lnTo>
                      <a:pt x="18" y="63"/>
                    </a:lnTo>
                    <a:lnTo>
                      <a:pt x="18" y="61"/>
                    </a:lnTo>
                    <a:lnTo>
                      <a:pt x="23" y="61"/>
                    </a:lnTo>
                    <a:lnTo>
                      <a:pt x="23" y="58"/>
                    </a:lnTo>
                    <a:lnTo>
                      <a:pt x="31" y="58"/>
                    </a:lnTo>
                    <a:lnTo>
                      <a:pt x="35" y="61"/>
                    </a:lnTo>
                    <a:lnTo>
                      <a:pt x="38" y="61"/>
                    </a:lnTo>
                    <a:lnTo>
                      <a:pt x="41" y="65"/>
                    </a:lnTo>
                    <a:lnTo>
                      <a:pt x="48" y="63"/>
                    </a:lnTo>
                    <a:lnTo>
                      <a:pt x="49" y="68"/>
                    </a:lnTo>
                    <a:lnTo>
                      <a:pt x="49" y="70"/>
                    </a:lnTo>
                    <a:lnTo>
                      <a:pt x="53" y="71"/>
                    </a:lnTo>
                    <a:lnTo>
                      <a:pt x="53" y="71"/>
                    </a:lnTo>
                    <a:close/>
                    <a:moveTo>
                      <a:pt x="8" y="53"/>
                    </a:moveTo>
                    <a:lnTo>
                      <a:pt x="11" y="51"/>
                    </a:lnTo>
                    <a:lnTo>
                      <a:pt x="13" y="53"/>
                    </a:lnTo>
                    <a:lnTo>
                      <a:pt x="11" y="53"/>
                    </a:lnTo>
                    <a:lnTo>
                      <a:pt x="10" y="53"/>
                    </a:lnTo>
                    <a:lnTo>
                      <a:pt x="8" y="53"/>
                    </a:lnTo>
                    <a:lnTo>
                      <a:pt x="8" y="53"/>
                    </a:lnTo>
                    <a:close/>
                    <a:moveTo>
                      <a:pt x="10" y="48"/>
                    </a:moveTo>
                    <a:lnTo>
                      <a:pt x="13" y="48"/>
                    </a:lnTo>
                    <a:lnTo>
                      <a:pt x="18" y="50"/>
                    </a:lnTo>
                    <a:lnTo>
                      <a:pt x="16" y="51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0" y="50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6" name="Freeform 60"/>
              <p:cNvSpPr>
                <a:spLocks/>
              </p:cNvSpPr>
              <p:nvPr/>
            </p:nvSpPr>
            <p:spPr bwMode="auto">
              <a:xfrm>
                <a:off x="6446051" y="2625372"/>
                <a:ext cx="36388" cy="26977"/>
              </a:xfrm>
              <a:custGeom>
                <a:avLst/>
                <a:gdLst/>
                <a:ahLst/>
                <a:cxnLst>
                  <a:cxn ang="0">
                    <a:pos x="65" y="37"/>
                  </a:cxn>
                  <a:cxn ang="0">
                    <a:pos x="68" y="30"/>
                  </a:cxn>
                  <a:cxn ang="0">
                    <a:pos x="65" y="27"/>
                  </a:cxn>
                  <a:cxn ang="0">
                    <a:pos x="65" y="23"/>
                  </a:cxn>
                  <a:cxn ang="0">
                    <a:pos x="62" y="17"/>
                  </a:cxn>
                  <a:cxn ang="0">
                    <a:pos x="63" y="13"/>
                  </a:cxn>
                  <a:cxn ang="0">
                    <a:pos x="58" y="12"/>
                  </a:cxn>
                  <a:cxn ang="0">
                    <a:pos x="58" y="10"/>
                  </a:cxn>
                  <a:cxn ang="0">
                    <a:pos x="57" y="5"/>
                  </a:cxn>
                  <a:cxn ang="0">
                    <a:pos x="50" y="7"/>
                  </a:cxn>
                  <a:cxn ang="0">
                    <a:pos x="47" y="3"/>
                  </a:cxn>
                  <a:cxn ang="0">
                    <a:pos x="44" y="3"/>
                  </a:cxn>
                  <a:cxn ang="0">
                    <a:pos x="40" y="0"/>
                  </a:cxn>
                  <a:cxn ang="0">
                    <a:pos x="32" y="0"/>
                  </a:cxn>
                  <a:cxn ang="0">
                    <a:pos x="32" y="3"/>
                  </a:cxn>
                  <a:cxn ang="0">
                    <a:pos x="27" y="3"/>
                  </a:cxn>
                  <a:cxn ang="0">
                    <a:pos x="27" y="5"/>
                  </a:cxn>
                  <a:cxn ang="0">
                    <a:pos x="22" y="7"/>
                  </a:cxn>
                  <a:cxn ang="0">
                    <a:pos x="19" y="8"/>
                  </a:cxn>
                  <a:cxn ang="0">
                    <a:pos x="17" y="7"/>
                  </a:cxn>
                  <a:cxn ang="0">
                    <a:pos x="14" y="7"/>
                  </a:cxn>
                  <a:cxn ang="0">
                    <a:pos x="10" y="3"/>
                  </a:cxn>
                  <a:cxn ang="0">
                    <a:pos x="9" y="2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20"/>
                  </a:cxn>
                  <a:cxn ang="0">
                    <a:pos x="9" y="22"/>
                  </a:cxn>
                  <a:cxn ang="0">
                    <a:pos x="10" y="25"/>
                  </a:cxn>
                  <a:cxn ang="0">
                    <a:pos x="17" y="30"/>
                  </a:cxn>
                  <a:cxn ang="0">
                    <a:pos x="20" y="30"/>
                  </a:cxn>
                  <a:cxn ang="0">
                    <a:pos x="24" y="33"/>
                  </a:cxn>
                  <a:cxn ang="0">
                    <a:pos x="27" y="33"/>
                  </a:cxn>
                  <a:cxn ang="0">
                    <a:pos x="27" y="40"/>
                  </a:cxn>
                  <a:cxn ang="0">
                    <a:pos x="32" y="43"/>
                  </a:cxn>
                  <a:cxn ang="0">
                    <a:pos x="35" y="42"/>
                  </a:cxn>
                  <a:cxn ang="0">
                    <a:pos x="37" y="42"/>
                  </a:cxn>
                  <a:cxn ang="0">
                    <a:pos x="40" y="43"/>
                  </a:cxn>
                  <a:cxn ang="0">
                    <a:pos x="42" y="43"/>
                  </a:cxn>
                  <a:cxn ang="0">
                    <a:pos x="48" y="50"/>
                  </a:cxn>
                  <a:cxn ang="0">
                    <a:pos x="53" y="50"/>
                  </a:cxn>
                  <a:cxn ang="0">
                    <a:pos x="57" y="53"/>
                  </a:cxn>
                  <a:cxn ang="0">
                    <a:pos x="60" y="52"/>
                  </a:cxn>
                  <a:cxn ang="0">
                    <a:pos x="63" y="52"/>
                  </a:cxn>
                  <a:cxn ang="0">
                    <a:pos x="63" y="50"/>
                  </a:cxn>
                  <a:cxn ang="0">
                    <a:pos x="62" y="48"/>
                  </a:cxn>
                  <a:cxn ang="0">
                    <a:pos x="62" y="45"/>
                  </a:cxn>
                  <a:cxn ang="0">
                    <a:pos x="60" y="43"/>
                  </a:cxn>
                  <a:cxn ang="0">
                    <a:pos x="62" y="40"/>
                  </a:cxn>
                  <a:cxn ang="0">
                    <a:pos x="63" y="37"/>
                  </a:cxn>
                  <a:cxn ang="0">
                    <a:pos x="65" y="37"/>
                  </a:cxn>
                </a:cxnLst>
                <a:rect l="0" t="0" r="r" b="b"/>
                <a:pathLst>
                  <a:path w="68" h="53">
                    <a:moveTo>
                      <a:pt x="65" y="37"/>
                    </a:moveTo>
                    <a:lnTo>
                      <a:pt x="68" y="30"/>
                    </a:lnTo>
                    <a:lnTo>
                      <a:pt x="65" y="27"/>
                    </a:lnTo>
                    <a:lnTo>
                      <a:pt x="65" y="23"/>
                    </a:lnTo>
                    <a:lnTo>
                      <a:pt x="62" y="17"/>
                    </a:lnTo>
                    <a:lnTo>
                      <a:pt x="63" y="13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7" y="5"/>
                    </a:lnTo>
                    <a:lnTo>
                      <a:pt x="50" y="7"/>
                    </a:lnTo>
                    <a:lnTo>
                      <a:pt x="47" y="3"/>
                    </a:lnTo>
                    <a:lnTo>
                      <a:pt x="44" y="3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32" y="3"/>
                    </a:lnTo>
                    <a:lnTo>
                      <a:pt x="27" y="3"/>
                    </a:lnTo>
                    <a:lnTo>
                      <a:pt x="27" y="5"/>
                    </a:lnTo>
                    <a:lnTo>
                      <a:pt x="22" y="7"/>
                    </a:lnTo>
                    <a:lnTo>
                      <a:pt x="19" y="8"/>
                    </a:lnTo>
                    <a:lnTo>
                      <a:pt x="17" y="7"/>
                    </a:lnTo>
                    <a:lnTo>
                      <a:pt x="14" y="7"/>
                    </a:lnTo>
                    <a:lnTo>
                      <a:pt x="10" y="3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20"/>
                    </a:lnTo>
                    <a:lnTo>
                      <a:pt x="9" y="22"/>
                    </a:lnTo>
                    <a:lnTo>
                      <a:pt x="10" y="25"/>
                    </a:lnTo>
                    <a:lnTo>
                      <a:pt x="17" y="30"/>
                    </a:lnTo>
                    <a:lnTo>
                      <a:pt x="20" y="30"/>
                    </a:lnTo>
                    <a:lnTo>
                      <a:pt x="24" y="33"/>
                    </a:lnTo>
                    <a:lnTo>
                      <a:pt x="27" y="33"/>
                    </a:lnTo>
                    <a:lnTo>
                      <a:pt x="27" y="40"/>
                    </a:lnTo>
                    <a:lnTo>
                      <a:pt x="32" y="43"/>
                    </a:lnTo>
                    <a:lnTo>
                      <a:pt x="35" y="42"/>
                    </a:lnTo>
                    <a:lnTo>
                      <a:pt x="37" y="42"/>
                    </a:lnTo>
                    <a:lnTo>
                      <a:pt x="40" y="43"/>
                    </a:lnTo>
                    <a:lnTo>
                      <a:pt x="42" y="43"/>
                    </a:lnTo>
                    <a:lnTo>
                      <a:pt x="48" y="50"/>
                    </a:lnTo>
                    <a:lnTo>
                      <a:pt x="53" y="50"/>
                    </a:lnTo>
                    <a:lnTo>
                      <a:pt x="57" y="53"/>
                    </a:lnTo>
                    <a:lnTo>
                      <a:pt x="60" y="52"/>
                    </a:lnTo>
                    <a:lnTo>
                      <a:pt x="63" y="52"/>
                    </a:lnTo>
                    <a:lnTo>
                      <a:pt x="63" y="50"/>
                    </a:lnTo>
                    <a:lnTo>
                      <a:pt x="62" y="48"/>
                    </a:lnTo>
                    <a:lnTo>
                      <a:pt x="62" y="45"/>
                    </a:lnTo>
                    <a:lnTo>
                      <a:pt x="60" y="43"/>
                    </a:lnTo>
                    <a:lnTo>
                      <a:pt x="62" y="40"/>
                    </a:lnTo>
                    <a:lnTo>
                      <a:pt x="63" y="37"/>
                    </a:lnTo>
                    <a:lnTo>
                      <a:pt x="65" y="3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7" name="Freeform 61"/>
              <p:cNvSpPr>
                <a:spLocks/>
              </p:cNvSpPr>
              <p:nvPr/>
            </p:nvSpPr>
            <p:spPr bwMode="auto">
              <a:xfrm>
                <a:off x="6478159" y="2644049"/>
                <a:ext cx="8562" cy="10376"/>
              </a:xfrm>
              <a:custGeom>
                <a:avLst/>
                <a:gdLst/>
                <a:ahLst/>
                <a:cxnLst>
                  <a:cxn ang="0">
                    <a:pos x="3" y="15"/>
                  </a:cxn>
                  <a:cxn ang="0">
                    <a:pos x="3" y="13"/>
                  </a:cxn>
                  <a:cxn ang="0">
                    <a:pos x="2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" y="3"/>
                  </a:cxn>
                  <a:cxn ang="0">
                    <a:pos x="3" y="0"/>
                  </a:cxn>
                  <a:cxn ang="0">
                    <a:pos x="7" y="0"/>
                  </a:cxn>
                  <a:cxn ang="0">
                    <a:pos x="12" y="6"/>
                  </a:cxn>
                  <a:cxn ang="0">
                    <a:pos x="13" y="10"/>
                  </a:cxn>
                  <a:cxn ang="0">
                    <a:pos x="17" y="13"/>
                  </a:cxn>
                  <a:cxn ang="0">
                    <a:pos x="15" y="20"/>
                  </a:cxn>
                  <a:cxn ang="0">
                    <a:pos x="12" y="20"/>
                  </a:cxn>
                  <a:cxn ang="0">
                    <a:pos x="7" y="20"/>
                  </a:cxn>
                  <a:cxn ang="0">
                    <a:pos x="3" y="15"/>
                  </a:cxn>
                  <a:cxn ang="0">
                    <a:pos x="3" y="15"/>
                  </a:cxn>
                </a:cxnLst>
                <a:rect l="0" t="0" r="r" b="b"/>
                <a:pathLst>
                  <a:path w="17" h="20">
                    <a:moveTo>
                      <a:pt x="3" y="15"/>
                    </a:moveTo>
                    <a:lnTo>
                      <a:pt x="3" y="13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2" y="6"/>
                    </a:lnTo>
                    <a:lnTo>
                      <a:pt x="13" y="10"/>
                    </a:lnTo>
                    <a:lnTo>
                      <a:pt x="17" y="13"/>
                    </a:lnTo>
                    <a:lnTo>
                      <a:pt x="15" y="20"/>
                    </a:lnTo>
                    <a:lnTo>
                      <a:pt x="12" y="20"/>
                    </a:lnTo>
                    <a:lnTo>
                      <a:pt x="7" y="20"/>
                    </a:lnTo>
                    <a:lnTo>
                      <a:pt x="3" y="15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8" name="Freeform 62"/>
              <p:cNvSpPr>
                <a:spLocks/>
              </p:cNvSpPr>
              <p:nvPr/>
            </p:nvSpPr>
            <p:spPr bwMode="auto">
              <a:xfrm>
                <a:off x="6291935" y="2562079"/>
                <a:ext cx="52442" cy="60180"/>
              </a:xfrm>
              <a:custGeom>
                <a:avLst/>
                <a:gdLst/>
                <a:ahLst/>
                <a:cxnLst>
                  <a:cxn ang="0">
                    <a:pos x="41" y="114"/>
                  </a:cxn>
                  <a:cxn ang="0">
                    <a:pos x="50" y="106"/>
                  </a:cxn>
                  <a:cxn ang="0">
                    <a:pos x="58" y="104"/>
                  </a:cxn>
                  <a:cxn ang="0">
                    <a:pos x="76" y="100"/>
                  </a:cxn>
                  <a:cxn ang="0">
                    <a:pos x="81" y="98"/>
                  </a:cxn>
                  <a:cxn ang="0">
                    <a:pos x="86" y="93"/>
                  </a:cxn>
                  <a:cxn ang="0">
                    <a:pos x="93" y="83"/>
                  </a:cxn>
                  <a:cxn ang="0">
                    <a:pos x="96" y="66"/>
                  </a:cxn>
                  <a:cxn ang="0">
                    <a:pos x="96" y="58"/>
                  </a:cxn>
                  <a:cxn ang="0">
                    <a:pos x="91" y="46"/>
                  </a:cxn>
                  <a:cxn ang="0">
                    <a:pos x="91" y="41"/>
                  </a:cxn>
                  <a:cxn ang="0">
                    <a:pos x="76" y="30"/>
                  </a:cxn>
                  <a:cxn ang="0">
                    <a:pos x="68" y="38"/>
                  </a:cxn>
                  <a:cxn ang="0">
                    <a:pos x="68" y="18"/>
                  </a:cxn>
                  <a:cxn ang="0">
                    <a:pos x="75" y="11"/>
                  </a:cxn>
                  <a:cxn ang="0">
                    <a:pos x="81" y="6"/>
                  </a:cxn>
                  <a:cxn ang="0">
                    <a:pos x="75" y="3"/>
                  </a:cxn>
                  <a:cxn ang="0">
                    <a:pos x="66" y="13"/>
                  </a:cxn>
                  <a:cxn ang="0">
                    <a:pos x="66" y="5"/>
                  </a:cxn>
                  <a:cxn ang="0">
                    <a:pos x="61" y="6"/>
                  </a:cxn>
                  <a:cxn ang="0">
                    <a:pos x="53" y="10"/>
                  </a:cxn>
                  <a:cxn ang="0">
                    <a:pos x="53" y="15"/>
                  </a:cxn>
                  <a:cxn ang="0">
                    <a:pos x="50" y="18"/>
                  </a:cxn>
                  <a:cxn ang="0">
                    <a:pos x="51" y="23"/>
                  </a:cxn>
                  <a:cxn ang="0">
                    <a:pos x="56" y="23"/>
                  </a:cxn>
                  <a:cxn ang="0">
                    <a:pos x="46" y="33"/>
                  </a:cxn>
                  <a:cxn ang="0">
                    <a:pos x="33" y="35"/>
                  </a:cxn>
                  <a:cxn ang="0">
                    <a:pos x="22" y="31"/>
                  </a:cxn>
                  <a:cxn ang="0">
                    <a:pos x="17" y="33"/>
                  </a:cxn>
                  <a:cxn ang="0">
                    <a:pos x="20" y="41"/>
                  </a:cxn>
                  <a:cxn ang="0">
                    <a:pos x="12" y="40"/>
                  </a:cxn>
                  <a:cxn ang="0">
                    <a:pos x="25" y="46"/>
                  </a:cxn>
                  <a:cxn ang="0">
                    <a:pos x="20" y="51"/>
                  </a:cxn>
                  <a:cxn ang="0">
                    <a:pos x="12" y="56"/>
                  </a:cxn>
                  <a:cxn ang="0">
                    <a:pos x="17" y="60"/>
                  </a:cxn>
                  <a:cxn ang="0">
                    <a:pos x="36" y="65"/>
                  </a:cxn>
                  <a:cxn ang="0">
                    <a:pos x="25" y="73"/>
                  </a:cxn>
                  <a:cxn ang="0">
                    <a:pos x="13" y="83"/>
                  </a:cxn>
                  <a:cxn ang="0">
                    <a:pos x="25" y="83"/>
                  </a:cxn>
                  <a:cxn ang="0">
                    <a:pos x="35" y="81"/>
                  </a:cxn>
                  <a:cxn ang="0">
                    <a:pos x="22" y="85"/>
                  </a:cxn>
                  <a:cxn ang="0">
                    <a:pos x="15" y="91"/>
                  </a:cxn>
                  <a:cxn ang="0">
                    <a:pos x="13" y="95"/>
                  </a:cxn>
                  <a:cxn ang="0">
                    <a:pos x="7" y="91"/>
                  </a:cxn>
                  <a:cxn ang="0">
                    <a:pos x="17" y="96"/>
                  </a:cxn>
                  <a:cxn ang="0">
                    <a:pos x="3" y="106"/>
                  </a:cxn>
                  <a:cxn ang="0">
                    <a:pos x="18" y="104"/>
                  </a:cxn>
                  <a:cxn ang="0">
                    <a:pos x="13" y="113"/>
                  </a:cxn>
                  <a:cxn ang="0">
                    <a:pos x="13" y="114"/>
                  </a:cxn>
                  <a:cxn ang="0">
                    <a:pos x="22" y="114"/>
                  </a:cxn>
                </a:cxnLst>
                <a:rect l="0" t="0" r="r" b="b"/>
                <a:pathLst>
                  <a:path w="98" h="116">
                    <a:moveTo>
                      <a:pt x="25" y="116"/>
                    </a:moveTo>
                    <a:lnTo>
                      <a:pt x="33" y="116"/>
                    </a:lnTo>
                    <a:lnTo>
                      <a:pt x="41" y="114"/>
                    </a:lnTo>
                    <a:lnTo>
                      <a:pt x="46" y="109"/>
                    </a:lnTo>
                    <a:lnTo>
                      <a:pt x="45" y="106"/>
                    </a:lnTo>
                    <a:lnTo>
                      <a:pt x="50" y="106"/>
                    </a:lnTo>
                    <a:lnTo>
                      <a:pt x="48" y="109"/>
                    </a:lnTo>
                    <a:lnTo>
                      <a:pt x="53" y="109"/>
                    </a:lnTo>
                    <a:lnTo>
                      <a:pt x="58" y="104"/>
                    </a:lnTo>
                    <a:lnTo>
                      <a:pt x="61" y="104"/>
                    </a:lnTo>
                    <a:lnTo>
                      <a:pt x="61" y="101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8" y="100"/>
                    </a:lnTo>
                    <a:lnTo>
                      <a:pt x="81" y="98"/>
                    </a:lnTo>
                    <a:lnTo>
                      <a:pt x="85" y="98"/>
                    </a:lnTo>
                    <a:lnTo>
                      <a:pt x="91" y="98"/>
                    </a:lnTo>
                    <a:lnTo>
                      <a:pt x="86" y="93"/>
                    </a:lnTo>
                    <a:lnTo>
                      <a:pt x="90" y="91"/>
                    </a:lnTo>
                    <a:lnTo>
                      <a:pt x="95" y="88"/>
                    </a:lnTo>
                    <a:lnTo>
                      <a:pt x="93" y="83"/>
                    </a:lnTo>
                    <a:lnTo>
                      <a:pt x="96" y="80"/>
                    </a:lnTo>
                    <a:lnTo>
                      <a:pt x="98" y="75"/>
                    </a:lnTo>
                    <a:lnTo>
                      <a:pt x="96" y="66"/>
                    </a:lnTo>
                    <a:lnTo>
                      <a:pt x="93" y="65"/>
                    </a:lnTo>
                    <a:lnTo>
                      <a:pt x="96" y="61"/>
                    </a:lnTo>
                    <a:lnTo>
                      <a:pt x="96" y="58"/>
                    </a:lnTo>
                    <a:lnTo>
                      <a:pt x="95" y="53"/>
                    </a:lnTo>
                    <a:lnTo>
                      <a:pt x="95" y="48"/>
                    </a:lnTo>
                    <a:lnTo>
                      <a:pt x="91" y="46"/>
                    </a:lnTo>
                    <a:lnTo>
                      <a:pt x="93" y="43"/>
                    </a:lnTo>
                    <a:lnTo>
                      <a:pt x="96" y="45"/>
                    </a:lnTo>
                    <a:lnTo>
                      <a:pt x="91" y="41"/>
                    </a:lnTo>
                    <a:lnTo>
                      <a:pt x="86" y="40"/>
                    </a:lnTo>
                    <a:lnTo>
                      <a:pt x="83" y="33"/>
                    </a:lnTo>
                    <a:lnTo>
                      <a:pt x="76" y="30"/>
                    </a:lnTo>
                    <a:lnTo>
                      <a:pt x="73" y="31"/>
                    </a:lnTo>
                    <a:lnTo>
                      <a:pt x="71" y="36"/>
                    </a:lnTo>
                    <a:lnTo>
                      <a:pt x="68" y="38"/>
                    </a:lnTo>
                    <a:lnTo>
                      <a:pt x="58" y="30"/>
                    </a:lnTo>
                    <a:lnTo>
                      <a:pt x="63" y="20"/>
                    </a:lnTo>
                    <a:lnTo>
                      <a:pt x="68" y="18"/>
                    </a:lnTo>
                    <a:lnTo>
                      <a:pt x="70" y="15"/>
                    </a:lnTo>
                    <a:lnTo>
                      <a:pt x="73" y="13"/>
                    </a:lnTo>
                    <a:lnTo>
                      <a:pt x="75" y="11"/>
                    </a:lnTo>
                    <a:lnTo>
                      <a:pt x="73" y="11"/>
                    </a:lnTo>
                    <a:lnTo>
                      <a:pt x="78" y="8"/>
                    </a:lnTo>
                    <a:lnTo>
                      <a:pt x="81" y="6"/>
                    </a:lnTo>
                    <a:lnTo>
                      <a:pt x="76" y="3"/>
                    </a:lnTo>
                    <a:lnTo>
                      <a:pt x="73" y="0"/>
                    </a:lnTo>
                    <a:lnTo>
                      <a:pt x="75" y="3"/>
                    </a:lnTo>
                    <a:lnTo>
                      <a:pt x="70" y="3"/>
                    </a:lnTo>
                    <a:lnTo>
                      <a:pt x="71" y="8"/>
                    </a:lnTo>
                    <a:lnTo>
                      <a:pt x="66" y="13"/>
                    </a:lnTo>
                    <a:lnTo>
                      <a:pt x="68" y="10"/>
                    </a:lnTo>
                    <a:lnTo>
                      <a:pt x="70" y="8"/>
                    </a:lnTo>
                    <a:lnTo>
                      <a:pt x="66" y="5"/>
                    </a:lnTo>
                    <a:lnTo>
                      <a:pt x="65" y="5"/>
                    </a:lnTo>
                    <a:lnTo>
                      <a:pt x="66" y="6"/>
                    </a:lnTo>
                    <a:lnTo>
                      <a:pt x="61" y="6"/>
                    </a:lnTo>
                    <a:lnTo>
                      <a:pt x="60" y="5"/>
                    </a:lnTo>
                    <a:lnTo>
                      <a:pt x="53" y="6"/>
                    </a:lnTo>
                    <a:lnTo>
                      <a:pt x="53" y="10"/>
                    </a:lnTo>
                    <a:lnTo>
                      <a:pt x="51" y="10"/>
                    </a:lnTo>
                    <a:lnTo>
                      <a:pt x="50" y="13"/>
                    </a:lnTo>
                    <a:lnTo>
                      <a:pt x="53" y="15"/>
                    </a:lnTo>
                    <a:lnTo>
                      <a:pt x="51" y="16"/>
                    </a:lnTo>
                    <a:lnTo>
                      <a:pt x="48" y="16"/>
                    </a:lnTo>
                    <a:lnTo>
                      <a:pt x="50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51" y="23"/>
                    </a:lnTo>
                    <a:lnTo>
                      <a:pt x="50" y="25"/>
                    </a:lnTo>
                    <a:lnTo>
                      <a:pt x="55" y="23"/>
                    </a:lnTo>
                    <a:lnTo>
                      <a:pt x="56" y="23"/>
                    </a:lnTo>
                    <a:lnTo>
                      <a:pt x="51" y="28"/>
                    </a:lnTo>
                    <a:lnTo>
                      <a:pt x="45" y="30"/>
                    </a:lnTo>
                    <a:lnTo>
                      <a:pt x="46" y="33"/>
                    </a:lnTo>
                    <a:lnTo>
                      <a:pt x="40" y="33"/>
                    </a:lnTo>
                    <a:lnTo>
                      <a:pt x="36" y="31"/>
                    </a:lnTo>
                    <a:lnTo>
                      <a:pt x="33" y="35"/>
                    </a:lnTo>
                    <a:lnTo>
                      <a:pt x="32" y="31"/>
                    </a:lnTo>
                    <a:lnTo>
                      <a:pt x="22" y="30"/>
                    </a:lnTo>
                    <a:lnTo>
                      <a:pt x="22" y="31"/>
                    </a:lnTo>
                    <a:lnTo>
                      <a:pt x="15" y="30"/>
                    </a:lnTo>
                    <a:lnTo>
                      <a:pt x="13" y="36"/>
                    </a:lnTo>
                    <a:lnTo>
                      <a:pt x="17" y="33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20" y="41"/>
                    </a:lnTo>
                    <a:lnTo>
                      <a:pt x="18" y="41"/>
                    </a:lnTo>
                    <a:lnTo>
                      <a:pt x="17" y="40"/>
                    </a:lnTo>
                    <a:lnTo>
                      <a:pt x="12" y="40"/>
                    </a:lnTo>
                    <a:lnTo>
                      <a:pt x="18" y="45"/>
                    </a:lnTo>
                    <a:lnTo>
                      <a:pt x="23" y="43"/>
                    </a:lnTo>
                    <a:lnTo>
                      <a:pt x="25" y="46"/>
                    </a:lnTo>
                    <a:lnTo>
                      <a:pt x="18" y="48"/>
                    </a:lnTo>
                    <a:lnTo>
                      <a:pt x="18" y="50"/>
                    </a:lnTo>
                    <a:lnTo>
                      <a:pt x="20" y="51"/>
                    </a:lnTo>
                    <a:lnTo>
                      <a:pt x="13" y="51"/>
                    </a:lnTo>
                    <a:lnTo>
                      <a:pt x="13" y="56"/>
                    </a:lnTo>
                    <a:lnTo>
                      <a:pt x="12" y="56"/>
                    </a:lnTo>
                    <a:lnTo>
                      <a:pt x="15" y="58"/>
                    </a:lnTo>
                    <a:lnTo>
                      <a:pt x="18" y="58"/>
                    </a:lnTo>
                    <a:lnTo>
                      <a:pt x="17" y="60"/>
                    </a:lnTo>
                    <a:lnTo>
                      <a:pt x="22" y="58"/>
                    </a:lnTo>
                    <a:lnTo>
                      <a:pt x="23" y="65"/>
                    </a:lnTo>
                    <a:lnTo>
                      <a:pt x="36" y="65"/>
                    </a:lnTo>
                    <a:lnTo>
                      <a:pt x="32" y="68"/>
                    </a:lnTo>
                    <a:lnTo>
                      <a:pt x="30" y="66"/>
                    </a:lnTo>
                    <a:lnTo>
                      <a:pt x="25" y="73"/>
                    </a:lnTo>
                    <a:lnTo>
                      <a:pt x="27" y="73"/>
                    </a:lnTo>
                    <a:lnTo>
                      <a:pt x="23" y="78"/>
                    </a:lnTo>
                    <a:lnTo>
                      <a:pt x="13" y="83"/>
                    </a:lnTo>
                    <a:lnTo>
                      <a:pt x="18" y="83"/>
                    </a:lnTo>
                    <a:lnTo>
                      <a:pt x="22" y="81"/>
                    </a:lnTo>
                    <a:lnTo>
                      <a:pt x="25" y="83"/>
                    </a:lnTo>
                    <a:lnTo>
                      <a:pt x="30" y="83"/>
                    </a:lnTo>
                    <a:lnTo>
                      <a:pt x="35" y="80"/>
                    </a:lnTo>
                    <a:lnTo>
                      <a:pt x="35" y="81"/>
                    </a:lnTo>
                    <a:lnTo>
                      <a:pt x="40" y="81"/>
                    </a:lnTo>
                    <a:lnTo>
                      <a:pt x="28" y="83"/>
                    </a:lnTo>
                    <a:lnTo>
                      <a:pt x="22" y="85"/>
                    </a:lnTo>
                    <a:lnTo>
                      <a:pt x="18" y="86"/>
                    </a:lnTo>
                    <a:lnTo>
                      <a:pt x="13" y="88"/>
                    </a:lnTo>
                    <a:lnTo>
                      <a:pt x="15" y="91"/>
                    </a:lnTo>
                    <a:lnTo>
                      <a:pt x="15" y="93"/>
                    </a:lnTo>
                    <a:lnTo>
                      <a:pt x="17" y="93"/>
                    </a:lnTo>
                    <a:lnTo>
                      <a:pt x="13" y="95"/>
                    </a:lnTo>
                    <a:lnTo>
                      <a:pt x="10" y="91"/>
                    </a:lnTo>
                    <a:lnTo>
                      <a:pt x="8" y="93"/>
                    </a:lnTo>
                    <a:lnTo>
                      <a:pt x="7" y="91"/>
                    </a:lnTo>
                    <a:lnTo>
                      <a:pt x="0" y="95"/>
                    </a:lnTo>
                    <a:lnTo>
                      <a:pt x="2" y="96"/>
                    </a:lnTo>
                    <a:lnTo>
                      <a:pt x="17" y="96"/>
                    </a:lnTo>
                    <a:lnTo>
                      <a:pt x="12" y="100"/>
                    </a:lnTo>
                    <a:lnTo>
                      <a:pt x="5" y="101"/>
                    </a:lnTo>
                    <a:lnTo>
                      <a:pt x="3" y="106"/>
                    </a:lnTo>
                    <a:lnTo>
                      <a:pt x="7" y="106"/>
                    </a:lnTo>
                    <a:lnTo>
                      <a:pt x="8" y="108"/>
                    </a:lnTo>
                    <a:lnTo>
                      <a:pt x="18" y="104"/>
                    </a:lnTo>
                    <a:lnTo>
                      <a:pt x="10" y="109"/>
                    </a:lnTo>
                    <a:lnTo>
                      <a:pt x="7" y="113"/>
                    </a:lnTo>
                    <a:lnTo>
                      <a:pt x="13" y="113"/>
                    </a:lnTo>
                    <a:lnTo>
                      <a:pt x="22" y="108"/>
                    </a:lnTo>
                    <a:lnTo>
                      <a:pt x="20" y="111"/>
                    </a:lnTo>
                    <a:lnTo>
                      <a:pt x="13" y="114"/>
                    </a:lnTo>
                    <a:lnTo>
                      <a:pt x="18" y="114"/>
                    </a:lnTo>
                    <a:lnTo>
                      <a:pt x="17" y="116"/>
                    </a:lnTo>
                    <a:lnTo>
                      <a:pt x="22" y="114"/>
                    </a:lnTo>
                    <a:lnTo>
                      <a:pt x="25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39" name="Freeform 63"/>
              <p:cNvSpPr>
                <a:spLocks noEditPoints="1"/>
              </p:cNvSpPr>
              <p:nvPr/>
            </p:nvSpPr>
            <p:spPr bwMode="auto">
              <a:xfrm>
                <a:off x="6324043" y="2468697"/>
                <a:ext cx="111306" cy="180540"/>
              </a:xfrm>
              <a:custGeom>
                <a:avLst/>
                <a:gdLst/>
                <a:ahLst/>
                <a:cxnLst>
                  <a:cxn ang="0">
                    <a:pos x="10" y="198"/>
                  </a:cxn>
                  <a:cxn ang="0">
                    <a:pos x="48" y="201"/>
                  </a:cxn>
                  <a:cxn ang="0">
                    <a:pos x="45" y="220"/>
                  </a:cxn>
                  <a:cxn ang="0">
                    <a:pos x="148" y="5"/>
                  </a:cxn>
                  <a:cxn ang="0">
                    <a:pos x="138" y="15"/>
                  </a:cxn>
                  <a:cxn ang="0">
                    <a:pos x="150" y="324"/>
                  </a:cxn>
                  <a:cxn ang="0">
                    <a:pos x="60" y="167"/>
                  </a:cxn>
                  <a:cxn ang="0">
                    <a:pos x="25" y="150"/>
                  </a:cxn>
                  <a:cxn ang="0">
                    <a:pos x="35" y="130"/>
                  </a:cxn>
                  <a:cxn ang="0">
                    <a:pos x="93" y="67"/>
                  </a:cxn>
                  <a:cxn ang="0">
                    <a:pos x="93" y="67"/>
                  </a:cxn>
                  <a:cxn ang="0">
                    <a:pos x="27" y="93"/>
                  </a:cxn>
                  <a:cxn ang="0">
                    <a:pos x="23" y="100"/>
                  </a:cxn>
                  <a:cxn ang="0">
                    <a:pos x="18" y="115"/>
                  </a:cxn>
                  <a:cxn ang="0">
                    <a:pos x="20" y="118"/>
                  </a:cxn>
                  <a:cxn ang="0">
                    <a:pos x="17" y="120"/>
                  </a:cxn>
                  <a:cxn ang="0">
                    <a:pos x="33" y="120"/>
                  </a:cxn>
                  <a:cxn ang="0">
                    <a:pos x="47" y="125"/>
                  </a:cxn>
                  <a:cxn ang="0">
                    <a:pos x="48" y="147"/>
                  </a:cxn>
                  <a:cxn ang="0">
                    <a:pos x="50" y="158"/>
                  </a:cxn>
                  <a:cxn ang="0">
                    <a:pos x="37" y="175"/>
                  </a:cxn>
                  <a:cxn ang="0">
                    <a:pos x="78" y="246"/>
                  </a:cxn>
                  <a:cxn ang="0">
                    <a:pos x="70" y="223"/>
                  </a:cxn>
                  <a:cxn ang="0">
                    <a:pos x="73" y="338"/>
                  </a:cxn>
                  <a:cxn ang="0">
                    <a:pos x="95" y="331"/>
                  </a:cxn>
                  <a:cxn ang="0">
                    <a:pos x="136" y="323"/>
                  </a:cxn>
                  <a:cxn ang="0">
                    <a:pos x="178" y="321"/>
                  </a:cxn>
                  <a:cxn ang="0">
                    <a:pos x="204" y="303"/>
                  </a:cxn>
                  <a:cxn ang="0">
                    <a:pos x="181" y="299"/>
                  </a:cxn>
                  <a:cxn ang="0">
                    <a:pos x="198" y="286"/>
                  </a:cxn>
                  <a:cxn ang="0">
                    <a:pos x="206" y="260"/>
                  </a:cxn>
                  <a:cxn ang="0">
                    <a:pos x="168" y="238"/>
                  </a:cxn>
                  <a:cxn ang="0">
                    <a:pos x="166" y="233"/>
                  </a:cxn>
                  <a:cxn ang="0">
                    <a:pos x="150" y="206"/>
                  </a:cxn>
                  <a:cxn ang="0">
                    <a:pos x="113" y="163"/>
                  </a:cxn>
                  <a:cxn ang="0">
                    <a:pos x="101" y="157"/>
                  </a:cxn>
                  <a:cxn ang="0">
                    <a:pos x="111" y="143"/>
                  </a:cxn>
                  <a:cxn ang="0">
                    <a:pos x="118" y="112"/>
                  </a:cxn>
                  <a:cxn ang="0">
                    <a:pos x="80" y="117"/>
                  </a:cxn>
                  <a:cxn ang="0">
                    <a:pos x="100" y="88"/>
                  </a:cxn>
                  <a:cxn ang="0">
                    <a:pos x="73" y="87"/>
                  </a:cxn>
                  <a:cxn ang="0">
                    <a:pos x="57" y="93"/>
                  </a:cxn>
                  <a:cxn ang="0">
                    <a:pos x="52" y="108"/>
                  </a:cxn>
                  <a:cxn ang="0">
                    <a:pos x="53" y="120"/>
                  </a:cxn>
                  <a:cxn ang="0">
                    <a:pos x="50" y="128"/>
                  </a:cxn>
                  <a:cxn ang="0">
                    <a:pos x="40" y="142"/>
                  </a:cxn>
                  <a:cxn ang="0">
                    <a:pos x="57" y="143"/>
                  </a:cxn>
                  <a:cxn ang="0">
                    <a:pos x="48" y="180"/>
                  </a:cxn>
                  <a:cxn ang="0">
                    <a:pos x="57" y="162"/>
                  </a:cxn>
                  <a:cxn ang="0">
                    <a:pos x="67" y="163"/>
                  </a:cxn>
                  <a:cxn ang="0">
                    <a:pos x="63" y="198"/>
                  </a:cxn>
                  <a:cxn ang="0">
                    <a:pos x="103" y="195"/>
                  </a:cxn>
                  <a:cxn ang="0">
                    <a:pos x="105" y="233"/>
                  </a:cxn>
                  <a:cxn ang="0">
                    <a:pos x="101" y="248"/>
                  </a:cxn>
                  <a:cxn ang="0">
                    <a:pos x="81" y="258"/>
                  </a:cxn>
                  <a:cxn ang="0">
                    <a:pos x="60" y="286"/>
                  </a:cxn>
                  <a:cxn ang="0">
                    <a:pos x="77" y="294"/>
                  </a:cxn>
                  <a:cxn ang="0">
                    <a:pos x="108" y="299"/>
                  </a:cxn>
                  <a:cxn ang="0">
                    <a:pos x="80" y="311"/>
                  </a:cxn>
                  <a:cxn ang="0">
                    <a:pos x="52" y="341"/>
                  </a:cxn>
                </a:cxnLst>
                <a:rect l="0" t="0" r="r" b="b"/>
                <a:pathLst>
                  <a:path w="209" h="348">
                    <a:moveTo>
                      <a:pt x="38" y="225"/>
                    </a:moveTo>
                    <a:lnTo>
                      <a:pt x="33" y="221"/>
                    </a:lnTo>
                    <a:lnTo>
                      <a:pt x="28" y="220"/>
                    </a:lnTo>
                    <a:lnTo>
                      <a:pt x="25" y="213"/>
                    </a:lnTo>
                    <a:lnTo>
                      <a:pt x="18" y="210"/>
                    </a:lnTo>
                    <a:lnTo>
                      <a:pt x="15" y="211"/>
                    </a:lnTo>
                    <a:lnTo>
                      <a:pt x="13" y="216"/>
                    </a:lnTo>
                    <a:lnTo>
                      <a:pt x="10" y="218"/>
                    </a:lnTo>
                    <a:lnTo>
                      <a:pt x="0" y="210"/>
                    </a:lnTo>
                    <a:lnTo>
                      <a:pt x="5" y="200"/>
                    </a:lnTo>
                    <a:lnTo>
                      <a:pt x="10" y="198"/>
                    </a:lnTo>
                    <a:lnTo>
                      <a:pt x="12" y="195"/>
                    </a:lnTo>
                    <a:lnTo>
                      <a:pt x="15" y="193"/>
                    </a:lnTo>
                    <a:lnTo>
                      <a:pt x="17" y="191"/>
                    </a:lnTo>
                    <a:lnTo>
                      <a:pt x="22" y="190"/>
                    </a:lnTo>
                    <a:lnTo>
                      <a:pt x="23" y="188"/>
                    </a:lnTo>
                    <a:lnTo>
                      <a:pt x="25" y="188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8"/>
                    </a:lnTo>
                    <a:lnTo>
                      <a:pt x="42" y="191"/>
                    </a:lnTo>
                    <a:lnTo>
                      <a:pt x="48" y="201"/>
                    </a:lnTo>
                    <a:lnTo>
                      <a:pt x="45" y="203"/>
                    </a:lnTo>
                    <a:lnTo>
                      <a:pt x="52" y="205"/>
                    </a:lnTo>
                    <a:lnTo>
                      <a:pt x="53" y="213"/>
                    </a:lnTo>
                    <a:lnTo>
                      <a:pt x="50" y="206"/>
                    </a:lnTo>
                    <a:lnTo>
                      <a:pt x="48" y="206"/>
                    </a:lnTo>
                    <a:lnTo>
                      <a:pt x="48" y="210"/>
                    </a:lnTo>
                    <a:lnTo>
                      <a:pt x="48" y="213"/>
                    </a:lnTo>
                    <a:lnTo>
                      <a:pt x="52" y="213"/>
                    </a:lnTo>
                    <a:lnTo>
                      <a:pt x="50" y="216"/>
                    </a:lnTo>
                    <a:lnTo>
                      <a:pt x="45" y="216"/>
                    </a:lnTo>
                    <a:lnTo>
                      <a:pt x="45" y="220"/>
                    </a:lnTo>
                    <a:lnTo>
                      <a:pt x="40" y="221"/>
                    </a:lnTo>
                    <a:lnTo>
                      <a:pt x="38" y="221"/>
                    </a:lnTo>
                    <a:lnTo>
                      <a:pt x="38" y="225"/>
                    </a:lnTo>
                    <a:lnTo>
                      <a:pt x="38" y="225"/>
                    </a:lnTo>
                    <a:lnTo>
                      <a:pt x="38" y="225"/>
                    </a:lnTo>
                    <a:close/>
                    <a:moveTo>
                      <a:pt x="140" y="32"/>
                    </a:moveTo>
                    <a:lnTo>
                      <a:pt x="141" y="29"/>
                    </a:lnTo>
                    <a:lnTo>
                      <a:pt x="143" y="30"/>
                    </a:lnTo>
                    <a:lnTo>
                      <a:pt x="140" y="32"/>
                    </a:lnTo>
                    <a:lnTo>
                      <a:pt x="140" y="32"/>
                    </a:lnTo>
                    <a:close/>
                    <a:moveTo>
                      <a:pt x="148" y="5"/>
                    </a:moveTo>
                    <a:lnTo>
                      <a:pt x="148" y="4"/>
                    </a:lnTo>
                    <a:lnTo>
                      <a:pt x="150" y="0"/>
                    </a:lnTo>
                    <a:lnTo>
                      <a:pt x="148" y="5"/>
                    </a:lnTo>
                    <a:lnTo>
                      <a:pt x="148" y="5"/>
                    </a:lnTo>
                    <a:close/>
                    <a:moveTo>
                      <a:pt x="138" y="15"/>
                    </a:moveTo>
                    <a:lnTo>
                      <a:pt x="140" y="10"/>
                    </a:lnTo>
                    <a:lnTo>
                      <a:pt x="136" y="12"/>
                    </a:lnTo>
                    <a:lnTo>
                      <a:pt x="135" y="14"/>
                    </a:lnTo>
                    <a:lnTo>
                      <a:pt x="135" y="14"/>
                    </a:lnTo>
                    <a:lnTo>
                      <a:pt x="138" y="15"/>
                    </a:lnTo>
                    <a:lnTo>
                      <a:pt x="138" y="15"/>
                    </a:lnTo>
                    <a:close/>
                    <a:moveTo>
                      <a:pt x="188" y="301"/>
                    </a:moveTo>
                    <a:lnTo>
                      <a:pt x="191" y="303"/>
                    </a:lnTo>
                    <a:lnTo>
                      <a:pt x="194" y="301"/>
                    </a:lnTo>
                    <a:lnTo>
                      <a:pt x="193" y="299"/>
                    </a:lnTo>
                    <a:lnTo>
                      <a:pt x="189" y="299"/>
                    </a:lnTo>
                    <a:lnTo>
                      <a:pt x="188" y="301"/>
                    </a:lnTo>
                    <a:lnTo>
                      <a:pt x="188" y="301"/>
                    </a:lnTo>
                    <a:close/>
                    <a:moveTo>
                      <a:pt x="138" y="326"/>
                    </a:moveTo>
                    <a:lnTo>
                      <a:pt x="145" y="323"/>
                    </a:lnTo>
                    <a:lnTo>
                      <a:pt x="148" y="324"/>
                    </a:lnTo>
                    <a:lnTo>
                      <a:pt x="150" y="324"/>
                    </a:lnTo>
                    <a:lnTo>
                      <a:pt x="148" y="326"/>
                    </a:lnTo>
                    <a:lnTo>
                      <a:pt x="148" y="328"/>
                    </a:lnTo>
                    <a:lnTo>
                      <a:pt x="145" y="329"/>
                    </a:lnTo>
                    <a:lnTo>
                      <a:pt x="141" y="326"/>
                    </a:lnTo>
                    <a:lnTo>
                      <a:pt x="138" y="326"/>
                    </a:lnTo>
                    <a:lnTo>
                      <a:pt x="138" y="326"/>
                    </a:lnTo>
                    <a:close/>
                    <a:moveTo>
                      <a:pt x="60" y="167"/>
                    </a:moveTo>
                    <a:lnTo>
                      <a:pt x="60" y="170"/>
                    </a:lnTo>
                    <a:lnTo>
                      <a:pt x="63" y="172"/>
                    </a:lnTo>
                    <a:lnTo>
                      <a:pt x="62" y="168"/>
                    </a:lnTo>
                    <a:lnTo>
                      <a:pt x="60" y="167"/>
                    </a:lnTo>
                    <a:lnTo>
                      <a:pt x="60" y="167"/>
                    </a:lnTo>
                    <a:close/>
                    <a:moveTo>
                      <a:pt x="38" y="163"/>
                    </a:moveTo>
                    <a:lnTo>
                      <a:pt x="40" y="158"/>
                    </a:lnTo>
                    <a:lnTo>
                      <a:pt x="40" y="162"/>
                    </a:lnTo>
                    <a:lnTo>
                      <a:pt x="38" y="163"/>
                    </a:lnTo>
                    <a:lnTo>
                      <a:pt x="38" y="163"/>
                    </a:lnTo>
                    <a:close/>
                    <a:moveTo>
                      <a:pt x="25" y="150"/>
                    </a:moveTo>
                    <a:lnTo>
                      <a:pt x="25" y="147"/>
                    </a:lnTo>
                    <a:lnTo>
                      <a:pt x="28" y="147"/>
                    </a:lnTo>
                    <a:lnTo>
                      <a:pt x="25" y="150"/>
                    </a:lnTo>
                    <a:lnTo>
                      <a:pt x="25" y="150"/>
                    </a:lnTo>
                    <a:close/>
                    <a:moveTo>
                      <a:pt x="30" y="145"/>
                    </a:moveTo>
                    <a:lnTo>
                      <a:pt x="35" y="140"/>
                    </a:lnTo>
                    <a:lnTo>
                      <a:pt x="33" y="143"/>
                    </a:lnTo>
                    <a:lnTo>
                      <a:pt x="30" y="145"/>
                    </a:lnTo>
                    <a:lnTo>
                      <a:pt x="30" y="145"/>
                    </a:lnTo>
                    <a:close/>
                    <a:moveTo>
                      <a:pt x="40" y="137"/>
                    </a:moveTo>
                    <a:lnTo>
                      <a:pt x="42" y="135"/>
                    </a:lnTo>
                    <a:lnTo>
                      <a:pt x="40" y="135"/>
                    </a:lnTo>
                    <a:lnTo>
                      <a:pt x="40" y="137"/>
                    </a:lnTo>
                    <a:lnTo>
                      <a:pt x="40" y="137"/>
                    </a:lnTo>
                    <a:close/>
                    <a:moveTo>
                      <a:pt x="35" y="130"/>
                    </a:moveTo>
                    <a:lnTo>
                      <a:pt x="37" y="133"/>
                    </a:lnTo>
                    <a:lnTo>
                      <a:pt x="38" y="133"/>
                    </a:lnTo>
                    <a:lnTo>
                      <a:pt x="38" y="130"/>
                    </a:lnTo>
                    <a:lnTo>
                      <a:pt x="35" y="130"/>
                    </a:lnTo>
                    <a:lnTo>
                      <a:pt x="35" y="130"/>
                    </a:lnTo>
                    <a:close/>
                    <a:moveTo>
                      <a:pt x="98" y="65"/>
                    </a:moveTo>
                    <a:lnTo>
                      <a:pt x="100" y="67"/>
                    </a:lnTo>
                    <a:lnTo>
                      <a:pt x="100" y="65"/>
                    </a:lnTo>
                    <a:lnTo>
                      <a:pt x="98" y="65"/>
                    </a:lnTo>
                    <a:lnTo>
                      <a:pt x="98" y="65"/>
                    </a:lnTo>
                    <a:close/>
                    <a:moveTo>
                      <a:pt x="93" y="67"/>
                    </a:moveTo>
                    <a:lnTo>
                      <a:pt x="96" y="67"/>
                    </a:lnTo>
                    <a:lnTo>
                      <a:pt x="100" y="70"/>
                    </a:lnTo>
                    <a:lnTo>
                      <a:pt x="98" y="72"/>
                    </a:lnTo>
                    <a:lnTo>
                      <a:pt x="103" y="70"/>
                    </a:lnTo>
                    <a:lnTo>
                      <a:pt x="103" y="74"/>
                    </a:lnTo>
                    <a:lnTo>
                      <a:pt x="101" y="74"/>
                    </a:lnTo>
                    <a:lnTo>
                      <a:pt x="96" y="74"/>
                    </a:lnTo>
                    <a:lnTo>
                      <a:pt x="96" y="70"/>
                    </a:lnTo>
                    <a:lnTo>
                      <a:pt x="95" y="74"/>
                    </a:lnTo>
                    <a:lnTo>
                      <a:pt x="93" y="72"/>
                    </a:lnTo>
                    <a:lnTo>
                      <a:pt x="93" y="67"/>
                    </a:lnTo>
                    <a:lnTo>
                      <a:pt x="93" y="67"/>
                    </a:lnTo>
                    <a:close/>
                    <a:moveTo>
                      <a:pt x="93" y="75"/>
                    </a:moveTo>
                    <a:lnTo>
                      <a:pt x="96" y="79"/>
                    </a:lnTo>
                    <a:lnTo>
                      <a:pt x="96" y="77"/>
                    </a:lnTo>
                    <a:lnTo>
                      <a:pt x="95" y="74"/>
                    </a:lnTo>
                    <a:lnTo>
                      <a:pt x="93" y="75"/>
                    </a:lnTo>
                    <a:lnTo>
                      <a:pt x="93" y="75"/>
                    </a:lnTo>
                    <a:close/>
                    <a:moveTo>
                      <a:pt x="23" y="100"/>
                    </a:moveTo>
                    <a:lnTo>
                      <a:pt x="27" y="100"/>
                    </a:lnTo>
                    <a:lnTo>
                      <a:pt x="23" y="97"/>
                    </a:lnTo>
                    <a:lnTo>
                      <a:pt x="27" y="93"/>
                    </a:lnTo>
                    <a:lnTo>
                      <a:pt x="32" y="95"/>
                    </a:lnTo>
                    <a:lnTo>
                      <a:pt x="30" y="93"/>
                    </a:lnTo>
                    <a:lnTo>
                      <a:pt x="40" y="85"/>
                    </a:lnTo>
                    <a:lnTo>
                      <a:pt x="42" y="92"/>
                    </a:lnTo>
                    <a:lnTo>
                      <a:pt x="37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5" y="103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3" y="100"/>
                    </a:lnTo>
                    <a:lnTo>
                      <a:pt x="23" y="100"/>
                    </a:lnTo>
                    <a:close/>
                    <a:moveTo>
                      <a:pt x="23" y="107"/>
                    </a:moveTo>
                    <a:lnTo>
                      <a:pt x="27" y="108"/>
                    </a:lnTo>
                    <a:lnTo>
                      <a:pt x="32" y="105"/>
                    </a:lnTo>
                    <a:lnTo>
                      <a:pt x="28" y="103"/>
                    </a:lnTo>
                    <a:lnTo>
                      <a:pt x="27" y="105"/>
                    </a:lnTo>
                    <a:lnTo>
                      <a:pt x="25" y="107"/>
                    </a:lnTo>
                    <a:lnTo>
                      <a:pt x="23" y="107"/>
                    </a:lnTo>
                    <a:lnTo>
                      <a:pt x="23" y="107"/>
                    </a:lnTo>
                    <a:close/>
                    <a:moveTo>
                      <a:pt x="22" y="113"/>
                    </a:moveTo>
                    <a:lnTo>
                      <a:pt x="18" y="115"/>
                    </a:lnTo>
                    <a:lnTo>
                      <a:pt x="15" y="112"/>
                    </a:lnTo>
                    <a:lnTo>
                      <a:pt x="17" y="112"/>
                    </a:lnTo>
                    <a:lnTo>
                      <a:pt x="23" y="112"/>
                    </a:lnTo>
                    <a:lnTo>
                      <a:pt x="22" y="113"/>
                    </a:lnTo>
                    <a:lnTo>
                      <a:pt x="22" y="113"/>
                    </a:lnTo>
                    <a:close/>
                    <a:moveTo>
                      <a:pt x="20" y="118"/>
                    </a:moveTo>
                    <a:lnTo>
                      <a:pt x="17" y="118"/>
                    </a:lnTo>
                    <a:lnTo>
                      <a:pt x="17" y="117"/>
                    </a:lnTo>
                    <a:lnTo>
                      <a:pt x="22" y="117"/>
                    </a:lnTo>
                    <a:lnTo>
                      <a:pt x="20" y="118"/>
                    </a:lnTo>
                    <a:lnTo>
                      <a:pt x="20" y="118"/>
                    </a:lnTo>
                    <a:close/>
                    <a:moveTo>
                      <a:pt x="15" y="130"/>
                    </a:moveTo>
                    <a:lnTo>
                      <a:pt x="17" y="132"/>
                    </a:lnTo>
                    <a:lnTo>
                      <a:pt x="13" y="133"/>
                    </a:lnTo>
                    <a:lnTo>
                      <a:pt x="13" y="132"/>
                    </a:lnTo>
                    <a:lnTo>
                      <a:pt x="15" y="130"/>
                    </a:lnTo>
                    <a:lnTo>
                      <a:pt x="15" y="130"/>
                    </a:lnTo>
                    <a:close/>
                    <a:moveTo>
                      <a:pt x="20" y="128"/>
                    </a:moveTo>
                    <a:lnTo>
                      <a:pt x="18" y="125"/>
                    </a:lnTo>
                    <a:lnTo>
                      <a:pt x="20" y="122"/>
                    </a:lnTo>
                    <a:lnTo>
                      <a:pt x="20" y="120"/>
                    </a:lnTo>
                    <a:lnTo>
                      <a:pt x="17" y="120"/>
                    </a:lnTo>
                    <a:lnTo>
                      <a:pt x="17" y="122"/>
                    </a:lnTo>
                    <a:lnTo>
                      <a:pt x="17" y="125"/>
                    </a:lnTo>
                    <a:lnTo>
                      <a:pt x="17" y="128"/>
                    </a:lnTo>
                    <a:lnTo>
                      <a:pt x="20" y="128"/>
                    </a:lnTo>
                    <a:lnTo>
                      <a:pt x="20" y="128"/>
                    </a:lnTo>
                    <a:close/>
                    <a:moveTo>
                      <a:pt x="43" y="130"/>
                    </a:moveTo>
                    <a:lnTo>
                      <a:pt x="43" y="127"/>
                    </a:lnTo>
                    <a:lnTo>
                      <a:pt x="38" y="127"/>
                    </a:lnTo>
                    <a:lnTo>
                      <a:pt x="35" y="122"/>
                    </a:lnTo>
                    <a:lnTo>
                      <a:pt x="35" y="120"/>
                    </a:lnTo>
                    <a:lnTo>
                      <a:pt x="33" y="120"/>
                    </a:lnTo>
                    <a:lnTo>
                      <a:pt x="33" y="122"/>
                    </a:lnTo>
                    <a:lnTo>
                      <a:pt x="28" y="118"/>
                    </a:lnTo>
                    <a:lnTo>
                      <a:pt x="30" y="117"/>
                    </a:lnTo>
                    <a:lnTo>
                      <a:pt x="32" y="117"/>
                    </a:lnTo>
                    <a:lnTo>
                      <a:pt x="32" y="113"/>
                    </a:lnTo>
                    <a:lnTo>
                      <a:pt x="37" y="117"/>
                    </a:lnTo>
                    <a:lnTo>
                      <a:pt x="37" y="112"/>
                    </a:lnTo>
                    <a:lnTo>
                      <a:pt x="38" y="110"/>
                    </a:lnTo>
                    <a:lnTo>
                      <a:pt x="42" y="115"/>
                    </a:lnTo>
                    <a:lnTo>
                      <a:pt x="42" y="122"/>
                    </a:lnTo>
                    <a:lnTo>
                      <a:pt x="47" y="125"/>
                    </a:lnTo>
                    <a:lnTo>
                      <a:pt x="48" y="123"/>
                    </a:lnTo>
                    <a:lnTo>
                      <a:pt x="50" y="125"/>
                    </a:lnTo>
                    <a:lnTo>
                      <a:pt x="47" y="127"/>
                    </a:lnTo>
                    <a:lnTo>
                      <a:pt x="45" y="130"/>
                    </a:lnTo>
                    <a:lnTo>
                      <a:pt x="43" y="130"/>
                    </a:lnTo>
                    <a:lnTo>
                      <a:pt x="43" y="130"/>
                    </a:lnTo>
                    <a:close/>
                    <a:moveTo>
                      <a:pt x="37" y="155"/>
                    </a:moveTo>
                    <a:lnTo>
                      <a:pt x="45" y="152"/>
                    </a:lnTo>
                    <a:lnTo>
                      <a:pt x="45" y="153"/>
                    </a:lnTo>
                    <a:lnTo>
                      <a:pt x="50" y="152"/>
                    </a:lnTo>
                    <a:lnTo>
                      <a:pt x="48" y="147"/>
                    </a:lnTo>
                    <a:lnTo>
                      <a:pt x="45" y="147"/>
                    </a:lnTo>
                    <a:lnTo>
                      <a:pt x="42" y="143"/>
                    </a:lnTo>
                    <a:lnTo>
                      <a:pt x="37" y="145"/>
                    </a:lnTo>
                    <a:lnTo>
                      <a:pt x="43" y="148"/>
                    </a:lnTo>
                    <a:lnTo>
                      <a:pt x="40" y="150"/>
                    </a:lnTo>
                    <a:lnTo>
                      <a:pt x="40" y="152"/>
                    </a:lnTo>
                    <a:lnTo>
                      <a:pt x="37" y="155"/>
                    </a:lnTo>
                    <a:lnTo>
                      <a:pt x="37" y="155"/>
                    </a:lnTo>
                    <a:close/>
                    <a:moveTo>
                      <a:pt x="43" y="170"/>
                    </a:moveTo>
                    <a:lnTo>
                      <a:pt x="42" y="165"/>
                    </a:lnTo>
                    <a:lnTo>
                      <a:pt x="50" y="158"/>
                    </a:lnTo>
                    <a:lnTo>
                      <a:pt x="47" y="167"/>
                    </a:lnTo>
                    <a:lnTo>
                      <a:pt x="43" y="170"/>
                    </a:lnTo>
                    <a:lnTo>
                      <a:pt x="43" y="170"/>
                    </a:lnTo>
                    <a:close/>
                    <a:moveTo>
                      <a:pt x="37" y="175"/>
                    </a:moveTo>
                    <a:lnTo>
                      <a:pt x="42" y="172"/>
                    </a:lnTo>
                    <a:lnTo>
                      <a:pt x="40" y="165"/>
                    </a:lnTo>
                    <a:lnTo>
                      <a:pt x="33" y="168"/>
                    </a:lnTo>
                    <a:lnTo>
                      <a:pt x="33" y="173"/>
                    </a:lnTo>
                    <a:lnTo>
                      <a:pt x="37" y="170"/>
                    </a:lnTo>
                    <a:lnTo>
                      <a:pt x="37" y="175"/>
                    </a:lnTo>
                    <a:lnTo>
                      <a:pt x="37" y="175"/>
                    </a:lnTo>
                    <a:close/>
                    <a:moveTo>
                      <a:pt x="55" y="175"/>
                    </a:moveTo>
                    <a:lnTo>
                      <a:pt x="57" y="180"/>
                    </a:lnTo>
                    <a:lnTo>
                      <a:pt x="60" y="182"/>
                    </a:lnTo>
                    <a:lnTo>
                      <a:pt x="62" y="178"/>
                    </a:lnTo>
                    <a:lnTo>
                      <a:pt x="58" y="172"/>
                    </a:lnTo>
                    <a:lnTo>
                      <a:pt x="55" y="175"/>
                    </a:lnTo>
                    <a:lnTo>
                      <a:pt x="55" y="175"/>
                    </a:lnTo>
                    <a:close/>
                    <a:moveTo>
                      <a:pt x="72" y="246"/>
                    </a:moveTo>
                    <a:lnTo>
                      <a:pt x="77" y="250"/>
                    </a:lnTo>
                    <a:lnTo>
                      <a:pt x="83" y="245"/>
                    </a:lnTo>
                    <a:lnTo>
                      <a:pt x="78" y="246"/>
                    </a:lnTo>
                    <a:lnTo>
                      <a:pt x="77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2" y="246"/>
                    </a:lnTo>
                    <a:lnTo>
                      <a:pt x="72" y="246"/>
                    </a:lnTo>
                    <a:close/>
                    <a:moveTo>
                      <a:pt x="67" y="223"/>
                    </a:moveTo>
                    <a:lnTo>
                      <a:pt x="68" y="218"/>
                    </a:lnTo>
                    <a:lnTo>
                      <a:pt x="77" y="211"/>
                    </a:lnTo>
                    <a:lnTo>
                      <a:pt x="75" y="215"/>
                    </a:lnTo>
                    <a:lnTo>
                      <a:pt x="77" y="216"/>
                    </a:lnTo>
                    <a:lnTo>
                      <a:pt x="70" y="223"/>
                    </a:lnTo>
                    <a:lnTo>
                      <a:pt x="67" y="223"/>
                    </a:lnTo>
                    <a:lnTo>
                      <a:pt x="67" y="223"/>
                    </a:lnTo>
                    <a:close/>
                    <a:moveTo>
                      <a:pt x="57" y="348"/>
                    </a:moveTo>
                    <a:lnTo>
                      <a:pt x="60" y="346"/>
                    </a:lnTo>
                    <a:lnTo>
                      <a:pt x="58" y="344"/>
                    </a:lnTo>
                    <a:lnTo>
                      <a:pt x="62" y="341"/>
                    </a:lnTo>
                    <a:lnTo>
                      <a:pt x="62" y="343"/>
                    </a:lnTo>
                    <a:lnTo>
                      <a:pt x="65" y="339"/>
                    </a:lnTo>
                    <a:lnTo>
                      <a:pt x="67" y="339"/>
                    </a:lnTo>
                    <a:lnTo>
                      <a:pt x="68" y="336"/>
                    </a:lnTo>
                    <a:lnTo>
                      <a:pt x="73" y="338"/>
                    </a:lnTo>
                    <a:lnTo>
                      <a:pt x="77" y="336"/>
                    </a:lnTo>
                    <a:lnTo>
                      <a:pt x="80" y="336"/>
                    </a:lnTo>
                    <a:lnTo>
                      <a:pt x="81" y="336"/>
                    </a:lnTo>
                    <a:lnTo>
                      <a:pt x="83" y="338"/>
                    </a:lnTo>
                    <a:lnTo>
                      <a:pt x="85" y="338"/>
                    </a:lnTo>
                    <a:lnTo>
                      <a:pt x="88" y="339"/>
                    </a:lnTo>
                    <a:lnTo>
                      <a:pt x="93" y="339"/>
                    </a:lnTo>
                    <a:lnTo>
                      <a:pt x="91" y="338"/>
                    </a:lnTo>
                    <a:lnTo>
                      <a:pt x="95" y="336"/>
                    </a:lnTo>
                    <a:lnTo>
                      <a:pt x="96" y="334"/>
                    </a:lnTo>
                    <a:lnTo>
                      <a:pt x="95" y="331"/>
                    </a:lnTo>
                    <a:lnTo>
                      <a:pt x="98" y="328"/>
                    </a:lnTo>
                    <a:lnTo>
                      <a:pt x="100" y="328"/>
                    </a:lnTo>
                    <a:lnTo>
                      <a:pt x="101" y="326"/>
                    </a:lnTo>
                    <a:lnTo>
                      <a:pt x="110" y="324"/>
                    </a:lnTo>
                    <a:lnTo>
                      <a:pt x="113" y="324"/>
                    </a:lnTo>
                    <a:lnTo>
                      <a:pt x="120" y="328"/>
                    </a:lnTo>
                    <a:lnTo>
                      <a:pt x="121" y="328"/>
                    </a:lnTo>
                    <a:lnTo>
                      <a:pt x="126" y="328"/>
                    </a:lnTo>
                    <a:lnTo>
                      <a:pt x="130" y="329"/>
                    </a:lnTo>
                    <a:lnTo>
                      <a:pt x="131" y="326"/>
                    </a:lnTo>
                    <a:lnTo>
                      <a:pt x="136" y="323"/>
                    </a:lnTo>
                    <a:lnTo>
                      <a:pt x="140" y="324"/>
                    </a:lnTo>
                    <a:lnTo>
                      <a:pt x="145" y="321"/>
                    </a:lnTo>
                    <a:lnTo>
                      <a:pt x="148" y="321"/>
                    </a:lnTo>
                    <a:lnTo>
                      <a:pt x="150" y="321"/>
                    </a:lnTo>
                    <a:lnTo>
                      <a:pt x="153" y="319"/>
                    </a:lnTo>
                    <a:lnTo>
                      <a:pt x="153" y="321"/>
                    </a:lnTo>
                    <a:lnTo>
                      <a:pt x="156" y="323"/>
                    </a:lnTo>
                    <a:lnTo>
                      <a:pt x="160" y="321"/>
                    </a:lnTo>
                    <a:lnTo>
                      <a:pt x="168" y="321"/>
                    </a:lnTo>
                    <a:lnTo>
                      <a:pt x="173" y="319"/>
                    </a:lnTo>
                    <a:lnTo>
                      <a:pt x="178" y="321"/>
                    </a:lnTo>
                    <a:lnTo>
                      <a:pt x="179" y="321"/>
                    </a:lnTo>
                    <a:lnTo>
                      <a:pt x="184" y="319"/>
                    </a:lnTo>
                    <a:lnTo>
                      <a:pt x="188" y="318"/>
                    </a:lnTo>
                    <a:lnTo>
                      <a:pt x="191" y="316"/>
                    </a:lnTo>
                    <a:lnTo>
                      <a:pt x="193" y="314"/>
                    </a:lnTo>
                    <a:lnTo>
                      <a:pt x="196" y="316"/>
                    </a:lnTo>
                    <a:lnTo>
                      <a:pt x="196" y="313"/>
                    </a:lnTo>
                    <a:lnTo>
                      <a:pt x="201" y="309"/>
                    </a:lnTo>
                    <a:lnTo>
                      <a:pt x="204" y="309"/>
                    </a:lnTo>
                    <a:lnTo>
                      <a:pt x="204" y="306"/>
                    </a:lnTo>
                    <a:lnTo>
                      <a:pt x="204" y="303"/>
                    </a:lnTo>
                    <a:lnTo>
                      <a:pt x="204" y="301"/>
                    </a:lnTo>
                    <a:lnTo>
                      <a:pt x="198" y="301"/>
                    </a:lnTo>
                    <a:lnTo>
                      <a:pt x="194" y="303"/>
                    </a:lnTo>
                    <a:lnTo>
                      <a:pt x="191" y="303"/>
                    </a:lnTo>
                    <a:lnTo>
                      <a:pt x="188" y="301"/>
                    </a:lnTo>
                    <a:lnTo>
                      <a:pt x="186" y="301"/>
                    </a:lnTo>
                    <a:lnTo>
                      <a:pt x="188" y="299"/>
                    </a:lnTo>
                    <a:lnTo>
                      <a:pt x="188" y="299"/>
                    </a:lnTo>
                    <a:lnTo>
                      <a:pt x="189" y="299"/>
                    </a:lnTo>
                    <a:lnTo>
                      <a:pt x="184" y="298"/>
                    </a:lnTo>
                    <a:lnTo>
                      <a:pt x="181" y="299"/>
                    </a:lnTo>
                    <a:lnTo>
                      <a:pt x="186" y="296"/>
                    </a:lnTo>
                    <a:lnTo>
                      <a:pt x="189" y="296"/>
                    </a:lnTo>
                    <a:lnTo>
                      <a:pt x="193" y="294"/>
                    </a:lnTo>
                    <a:lnTo>
                      <a:pt x="193" y="293"/>
                    </a:lnTo>
                    <a:lnTo>
                      <a:pt x="188" y="293"/>
                    </a:lnTo>
                    <a:lnTo>
                      <a:pt x="191" y="289"/>
                    </a:lnTo>
                    <a:lnTo>
                      <a:pt x="193" y="288"/>
                    </a:lnTo>
                    <a:lnTo>
                      <a:pt x="196" y="289"/>
                    </a:lnTo>
                    <a:lnTo>
                      <a:pt x="199" y="288"/>
                    </a:lnTo>
                    <a:lnTo>
                      <a:pt x="199" y="286"/>
                    </a:lnTo>
                    <a:lnTo>
                      <a:pt x="198" y="286"/>
                    </a:lnTo>
                    <a:lnTo>
                      <a:pt x="199" y="284"/>
                    </a:lnTo>
                    <a:lnTo>
                      <a:pt x="196" y="284"/>
                    </a:lnTo>
                    <a:lnTo>
                      <a:pt x="198" y="281"/>
                    </a:lnTo>
                    <a:lnTo>
                      <a:pt x="199" y="281"/>
                    </a:lnTo>
                    <a:lnTo>
                      <a:pt x="201" y="283"/>
                    </a:lnTo>
                    <a:lnTo>
                      <a:pt x="203" y="280"/>
                    </a:lnTo>
                    <a:lnTo>
                      <a:pt x="206" y="280"/>
                    </a:lnTo>
                    <a:lnTo>
                      <a:pt x="206" y="273"/>
                    </a:lnTo>
                    <a:lnTo>
                      <a:pt x="209" y="266"/>
                    </a:lnTo>
                    <a:lnTo>
                      <a:pt x="208" y="265"/>
                    </a:lnTo>
                    <a:lnTo>
                      <a:pt x="206" y="260"/>
                    </a:lnTo>
                    <a:lnTo>
                      <a:pt x="198" y="253"/>
                    </a:lnTo>
                    <a:lnTo>
                      <a:pt x="186" y="253"/>
                    </a:lnTo>
                    <a:lnTo>
                      <a:pt x="179" y="253"/>
                    </a:lnTo>
                    <a:lnTo>
                      <a:pt x="179" y="258"/>
                    </a:lnTo>
                    <a:lnTo>
                      <a:pt x="178" y="261"/>
                    </a:lnTo>
                    <a:lnTo>
                      <a:pt x="173" y="256"/>
                    </a:lnTo>
                    <a:lnTo>
                      <a:pt x="170" y="256"/>
                    </a:lnTo>
                    <a:lnTo>
                      <a:pt x="176" y="250"/>
                    </a:lnTo>
                    <a:lnTo>
                      <a:pt x="176" y="246"/>
                    </a:lnTo>
                    <a:lnTo>
                      <a:pt x="171" y="238"/>
                    </a:lnTo>
                    <a:lnTo>
                      <a:pt x="168" y="238"/>
                    </a:lnTo>
                    <a:lnTo>
                      <a:pt x="163" y="235"/>
                    </a:lnTo>
                    <a:lnTo>
                      <a:pt x="161" y="231"/>
                    </a:lnTo>
                    <a:lnTo>
                      <a:pt x="160" y="231"/>
                    </a:lnTo>
                    <a:lnTo>
                      <a:pt x="158" y="233"/>
                    </a:lnTo>
                    <a:lnTo>
                      <a:pt x="155" y="231"/>
                    </a:lnTo>
                    <a:lnTo>
                      <a:pt x="153" y="231"/>
                    </a:lnTo>
                    <a:lnTo>
                      <a:pt x="156" y="231"/>
                    </a:lnTo>
                    <a:lnTo>
                      <a:pt x="158" y="231"/>
                    </a:lnTo>
                    <a:lnTo>
                      <a:pt x="161" y="231"/>
                    </a:lnTo>
                    <a:lnTo>
                      <a:pt x="165" y="231"/>
                    </a:lnTo>
                    <a:lnTo>
                      <a:pt x="166" y="233"/>
                    </a:lnTo>
                    <a:lnTo>
                      <a:pt x="168" y="233"/>
                    </a:lnTo>
                    <a:lnTo>
                      <a:pt x="171" y="233"/>
                    </a:lnTo>
                    <a:lnTo>
                      <a:pt x="165" y="226"/>
                    </a:lnTo>
                    <a:lnTo>
                      <a:pt x="161" y="223"/>
                    </a:lnTo>
                    <a:lnTo>
                      <a:pt x="163" y="220"/>
                    </a:lnTo>
                    <a:lnTo>
                      <a:pt x="165" y="220"/>
                    </a:lnTo>
                    <a:lnTo>
                      <a:pt x="161" y="218"/>
                    </a:lnTo>
                    <a:lnTo>
                      <a:pt x="160" y="216"/>
                    </a:lnTo>
                    <a:lnTo>
                      <a:pt x="160" y="215"/>
                    </a:lnTo>
                    <a:lnTo>
                      <a:pt x="155" y="210"/>
                    </a:lnTo>
                    <a:lnTo>
                      <a:pt x="150" y="206"/>
                    </a:lnTo>
                    <a:lnTo>
                      <a:pt x="141" y="205"/>
                    </a:lnTo>
                    <a:lnTo>
                      <a:pt x="141" y="201"/>
                    </a:lnTo>
                    <a:lnTo>
                      <a:pt x="140" y="201"/>
                    </a:lnTo>
                    <a:lnTo>
                      <a:pt x="136" y="193"/>
                    </a:lnTo>
                    <a:lnTo>
                      <a:pt x="133" y="188"/>
                    </a:lnTo>
                    <a:lnTo>
                      <a:pt x="131" y="178"/>
                    </a:lnTo>
                    <a:lnTo>
                      <a:pt x="130" y="175"/>
                    </a:lnTo>
                    <a:lnTo>
                      <a:pt x="126" y="175"/>
                    </a:lnTo>
                    <a:lnTo>
                      <a:pt x="120" y="167"/>
                    </a:lnTo>
                    <a:lnTo>
                      <a:pt x="116" y="165"/>
                    </a:lnTo>
                    <a:lnTo>
                      <a:pt x="113" y="163"/>
                    </a:lnTo>
                    <a:lnTo>
                      <a:pt x="108" y="162"/>
                    </a:lnTo>
                    <a:lnTo>
                      <a:pt x="106" y="163"/>
                    </a:lnTo>
                    <a:lnTo>
                      <a:pt x="101" y="165"/>
                    </a:lnTo>
                    <a:lnTo>
                      <a:pt x="96" y="163"/>
                    </a:lnTo>
                    <a:lnTo>
                      <a:pt x="93" y="163"/>
                    </a:lnTo>
                    <a:lnTo>
                      <a:pt x="88" y="163"/>
                    </a:lnTo>
                    <a:lnTo>
                      <a:pt x="88" y="160"/>
                    </a:lnTo>
                    <a:lnTo>
                      <a:pt x="90" y="162"/>
                    </a:lnTo>
                    <a:lnTo>
                      <a:pt x="95" y="162"/>
                    </a:lnTo>
                    <a:lnTo>
                      <a:pt x="100" y="160"/>
                    </a:lnTo>
                    <a:lnTo>
                      <a:pt x="101" y="157"/>
                    </a:lnTo>
                    <a:lnTo>
                      <a:pt x="106" y="157"/>
                    </a:lnTo>
                    <a:lnTo>
                      <a:pt x="110" y="155"/>
                    </a:lnTo>
                    <a:lnTo>
                      <a:pt x="106" y="153"/>
                    </a:lnTo>
                    <a:lnTo>
                      <a:pt x="106" y="150"/>
                    </a:lnTo>
                    <a:lnTo>
                      <a:pt x="105" y="148"/>
                    </a:lnTo>
                    <a:lnTo>
                      <a:pt x="98" y="152"/>
                    </a:lnTo>
                    <a:lnTo>
                      <a:pt x="96" y="152"/>
                    </a:lnTo>
                    <a:lnTo>
                      <a:pt x="101" y="148"/>
                    </a:lnTo>
                    <a:lnTo>
                      <a:pt x="106" y="148"/>
                    </a:lnTo>
                    <a:lnTo>
                      <a:pt x="110" y="145"/>
                    </a:lnTo>
                    <a:lnTo>
                      <a:pt x="111" y="143"/>
                    </a:lnTo>
                    <a:lnTo>
                      <a:pt x="113" y="142"/>
                    </a:lnTo>
                    <a:lnTo>
                      <a:pt x="116" y="137"/>
                    </a:lnTo>
                    <a:lnTo>
                      <a:pt x="118" y="133"/>
                    </a:lnTo>
                    <a:lnTo>
                      <a:pt x="118" y="132"/>
                    </a:lnTo>
                    <a:lnTo>
                      <a:pt x="120" y="128"/>
                    </a:lnTo>
                    <a:lnTo>
                      <a:pt x="120" y="127"/>
                    </a:lnTo>
                    <a:lnTo>
                      <a:pt x="121" y="122"/>
                    </a:lnTo>
                    <a:lnTo>
                      <a:pt x="125" y="118"/>
                    </a:lnTo>
                    <a:lnTo>
                      <a:pt x="125" y="115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08" y="112"/>
                    </a:lnTo>
                    <a:lnTo>
                      <a:pt x="103" y="110"/>
                    </a:lnTo>
                    <a:lnTo>
                      <a:pt x="101" y="112"/>
                    </a:lnTo>
                    <a:lnTo>
                      <a:pt x="98" y="112"/>
                    </a:lnTo>
                    <a:lnTo>
                      <a:pt x="95" y="110"/>
                    </a:lnTo>
                    <a:lnTo>
                      <a:pt x="91" y="110"/>
                    </a:lnTo>
                    <a:lnTo>
                      <a:pt x="91" y="112"/>
                    </a:lnTo>
                    <a:lnTo>
                      <a:pt x="88" y="113"/>
                    </a:lnTo>
                    <a:lnTo>
                      <a:pt x="85" y="115"/>
                    </a:lnTo>
                    <a:lnTo>
                      <a:pt x="83" y="115"/>
                    </a:lnTo>
                    <a:lnTo>
                      <a:pt x="80" y="117"/>
                    </a:lnTo>
                    <a:lnTo>
                      <a:pt x="78" y="117"/>
                    </a:lnTo>
                    <a:lnTo>
                      <a:pt x="83" y="112"/>
                    </a:lnTo>
                    <a:lnTo>
                      <a:pt x="86" y="107"/>
                    </a:lnTo>
                    <a:lnTo>
                      <a:pt x="83" y="108"/>
                    </a:lnTo>
                    <a:lnTo>
                      <a:pt x="80" y="107"/>
                    </a:lnTo>
                    <a:lnTo>
                      <a:pt x="81" y="105"/>
                    </a:lnTo>
                    <a:lnTo>
                      <a:pt x="83" y="103"/>
                    </a:lnTo>
                    <a:lnTo>
                      <a:pt x="93" y="97"/>
                    </a:lnTo>
                    <a:lnTo>
                      <a:pt x="95" y="93"/>
                    </a:lnTo>
                    <a:lnTo>
                      <a:pt x="98" y="92"/>
                    </a:lnTo>
                    <a:lnTo>
                      <a:pt x="100" y="88"/>
                    </a:lnTo>
                    <a:lnTo>
                      <a:pt x="98" y="87"/>
                    </a:lnTo>
                    <a:lnTo>
                      <a:pt x="100" y="84"/>
                    </a:lnTo>
                    <a:lnTo>
                      <a:pt x="100" y="82"/>
                    </a:lnTo>
                    <a:lnTo>
                      <a:pt x="95" y="82"/>
                    </a:lnTo>
                    <a:lnTo>
                      <a:pt x="93" y="84"/>
                    </a:lnTo>
                    <a:lnTo>
                      <a:pt x="90" y="84"/>
                    </a:lnTo>
                    <a:lnTo>
                      <a:pt x="85" y="85"/>
                    </a:lnTo>
                    <a:lnTo>
                      <a:pt x="81" y="84"/>
                    </a:lnTo>
                    <a:lnTo>
                      <a:pt x="78" y="85"/>
                    </a:lnTo>
                    <a:lnTo>
                      <a:pt x="77" y="85"/>
                    </a:lnTo>
                    <a:lnTo>
                      <a:pt x="73" y="87"/>
                    </a:lnTo>
                    <a:lnTo>
                      <a:pt x="75" y="85"/>
                    </a:lnTo>
                    <a:lnTo>
                      <a:pt x="72" y="85"/>
                    </a:lnTo>
                    <a:lnTo>
                      <a:pt x="68" y="88"/>
                    </a:lnTo>
                    <a:lnTo>
                      <a:pt x="70" y="85"/>
                    </a:lnTo>
                    <a:lnTo>
                      <a:pt x="63" y="84"/>
                    </a:lnTo>
                    <a:lnTo>
                      <a:pt x="63" y="85"/>
                    </a:lnTo>
                    <a:lnTo>
                      <a:pt x="62" y="87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2" y="93"/>
                    </a:lnTo>
                    <a:lnTo>
                      <a:pt x="57" y="93"/>
                    </a:lnTo>
                    <a:lnTo>
                      <a:pt x="58" y="97"/>
                    </a:lnTo>
                    <a:lnTo>
                      <a:pt x="57" y="100"/>
                    </a:lnTo>
                    <a:lnTo>
                      <a:pt x="55" y="100"/>
                    </a:lnTo>
                    <a:lnTo>
                      <a:pt x="60" y="103"/>
                    </a:lnTo>
                    <a:lnTo>
                      <a:pt x="62" y="107"/>
                    </a:lnTo>
                    <a:lnTo>
                      <a:pt x="57" y="105"/>
                    </a:lnTo>
                    <a:lnTo>
                      <a:pt x="55" y="105"/>
                    </a:lnTo>
                    <a:lnTo>
                      <a:pt x="52" y="103"/>
                    </a:lnTo>
                    <a:lnTo>
                      <a:pt x="52" y="105"/>
                    </a:lnTo>
                    <a:lnTo>
                      <a:pt x="52" y="107"/>
                    </a:lnTo>
                    <a:lnTo>
                      <a:pt x="52" y="108"/>
                    </a:lnTo>
                    <a:lnTo>
                      <a:pt x="50" y="105"/>
                    </a:lnTo>
                    <a:lnTo>
                      <a:pt x="48" y="108"/>
                    </a:lnTo>
                    <a:lnTo>
                      <a:pt x="50" y="110"/>
                    </a:lnTo>
                    <a:lnTo>
                      <a:pt x="48" y="113"/>
                    </a:lnTo>
                    <a:lnTo>
                      <a:pt x="52" y="115"/>
                    </a:lnTo>
                    <a:lnTo>
                      <a:pt x="53" y="115"/>
                    </a:lnTo>
                    <a:lnTo>
                      <a:pt x="50" y="117"/>
                    </a:lnTo>
                    <a:lnTo>
                      <a:pt x="47" y="115"/>
                    </a:lnTo>
                    <a:lnTo>
                      <a:pt x="48" y="120"/>
                    </a:lnTo>
                    <a:lnTo>
                      <a:pt x="48" y="122"/>
                    </a:lnTo>
                    <a:lnTo>
                      <a:pt x="53" y="120"/>
                    </a:lnTo>
                    <a:lnTo>
                      <a:pt x="50" y="122"/>
                    </a:lnTo>
                    <a:lnTo>
                      <a:pt x="50" y="123"/>
                    </a:lnTo>
                    <a:lnTo>
                      <a:pt x="52" y="123"/>
                    </a:lnTo>
                    <a:lnTo>
                      <a:pt x="55" y="123"/>
                    </a:lnTo>
                    <a:lnTo>
                      <a:pt x="53" y="123"/>
                    </a:lnTo>
                    <a:lnTo>
                      <a:pt x="55" y="125"/>
                    </a:lnTo>
                    <a:lnTo>
                      <a:pt x="53" y="125"/>
                    </a:lnTo>
                    <a:lnTo>
                      <a:pt x="52" y="125"/>
                    </a:lnTo>
                    <a:lnTo>
                      <a:pt x="50" y="127"/>
                    </a:lnTo>
                    <a:lnTo>
                      <a:pt x="52" y="128"/>
                    </a:lnTo>
                    <a:lnTo>
                      <a:pt x="50" y="128"/>
                    </a:lnTo>
                    <a:lnTo>
                      <a:pt x="48" y="130"/>
                    </a:lnTo>
                    <a:lnTo>
                      <a:pt x="52" y="132"/>
                    </a:lnTo>
                    <a:lnTo>
                      <a:pt x="52" y="133"/>
                    </a:lnTo>
                    <a:lnTo>
                      <a:pt x="47" y="132"/>
                    </a:lnTo>
                    <a:lnTo>
                      <a:pt x="47" y="135"/>
                    </a:lnTo>
                    <a:lnTo>
                      <a:pt x="48" y="135"/>
                    </a:lnTo>
                    <a:lnTo>
                      <a:pt x="47" y="137"/>
                    </a:lnTo>
                    <a:lnTo>
                      <a:pt x="45" y="138"/>
                    </a:lnTo>
                    <a:lnTo>
                      <a:pt x="42" y="138"/>
                    </a:lnTo>
                    <a:lnTo>
                      <a:pt x="38" y="140"/>
                    </a:lnTo>
                    <a:lnTo>
                      <a:pt x="40" y="142"/>
                    </a:lnTo>
                    <a:lnTo>
                      <a:pt x="45" y="142"/>
                    </a:lnTo>
                    <a:lnTo>
                      <a:pt x="47" y="142"/>
                    </a:lnTo>
                    <a:lnTo>
                      <a:pt x="47" y="143"/>
                    </a:lnTo>
                    <a:lnTo>
                      <a:pt x="43" y="143"/>
                    </a:lnTo>
                    <a:lnTo>
                      <a:pt x="47" y="147"/>
                    </a:lnTo>
                    <a:lnTo>
                      <a:pt x="48" y="145"/>
                    </a:lnTo>
                    <a:lnTo>
                      <a:pt x="50" y="147"/>
                    </a:lnTo>
                    <a:lnTo>
                      <a:pt x="60" y="138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7" y="143"/>
                    </a:lnTo>
                    <a:lnTo>
                      <a:pt x="55" y="148"/>
                    </a:lnTo>
                    <a:lnTo>
                      <a:pt x="55" y="150"/>
                    </a:lnTo>
                    <a:lnTo>
                      <a:pt x="52" y="155"/>
                    </a:lnTo>
                    <a:lnTo>
                      <a:pt x="53" y="155"/>
                    </a:lnTo>
                    <a:lnTo>
                      <a:pt x="50" y="162"/>
                    </a:lnTo>
                    <a:lnTo>
                      <a:pt x="52" y="165"/>
                    </a:lnTo>
                    <a:lnTo>
                      <a:pt x="50" y="168"/>
                    </a:lnTo>
                    <a:lnTo>
                      <a:pt x="50" y="170"/>
                    </a:lnTo>
                    <a:lnTo>
                      <a:pt x="53" y="170"/>
                    </a:lnTo>
                    <a:lnTo>
                      <a:pt x="50" y="173"/>
                    </a:lnTo>
                    <a:lnTo>
                      <a:pt x="48" y="180"/>
                    </a:lnTo>
                    <a:lnTo>
                      <a:pt x="47" y="182"/>
                    </a:lnTo>
                    <a:lnTo>
                      <a:pt x="47" y="183"/>
                    </a:lnTo>
                    <a:lnTo>
                      <a:pt x="52" y="183"/>
                    </a:lnTo>
                    <a:lnTo>
                      <a:pt x="52" y="180"/>
                    </a:lnTo>
                    <a:lnTo>
                      <a:pt x="53" y="175"/>
                    </a:lnTo>
                    <a:lnTo>
                      <a:pt x="53" y="173"/>
                    </a:lnTo>
                    <a:lnTo>
                      <a:pt x="57" y="170"/>
                    </a:lnTo>
                    <a:lnTo>
                      <a:pt x="53" y="162"/>
                    </a:lnTo>
                    <a:lnTo>
                      <a:pt x="55" y="162"/>
                    </a:lnTo>
                    <a:lnTo>
                      <a:pt x="62" y="155"/>
                    </a:lnTo>
                    <a:lnTo>
                      <a:pt x="57" y="162"/>
                    </a:lnTo>
                    <a:lnTo>
                      <a:pt x="57" y="167"/>
                    </a:lnTo>
                    <a:lnTo>
                      <a:pt x="58" y="167"/>
                    </a:lnTo>
                    <a:lnTo>
                      <a:pt x="58" y="165"/>
                    </a:lnTo>
                    <a:lnTo>
                      <a:pt x="62" y="162"/>
                    </a:lnTo>
                    <a:lnTo>
                      <a:pt x="63" y="167"/>
                    </a:lnTo>
                    <a:lnTo>
                      <a:pt x="65" y="162"/>
                    </a:lnTo>
                    <a:lnTo>
                      <a:pt x="65" y="158"/>
                    </a:lnTo>
                    <a:lnTo>
                      <a:pt x="67" y="157"/>
                    </a:lnTo>
                    <a:lnTo>
                      <a:pt x="67" y="162"/>
                    </a:lnTo>
                    <a:lnTo>
                      <a:pt x="72" y="165"/>
                    </a:lnTo>
                    <a:lnTo>
                      <a:pt x="67" y="163"/>
                    </a:lnTo>
                    <a:lnTo>
                      <a:pt x="65" y="170"/>
                    </a:lnTo>
                    <a:lnTo>
                      <a:pt x="67" y="175"/>
                    </a:lnTo>
                    <a:lnTo>
                      <a:pt x="70" y="175"/>
                    </a:lnTo>
                    <a:lnTo>
                      <a:pt x="70" y="178"/>
                    </a:lnTo>
                    <a:lnTo>
                      <a:pt x="67" y="182"/>
                    </a:lnTo>
                    <a:lnTo>
                      <a:pt x="63" y="191"/>
                    </a:lnTo>
                    <a:lnTo>
                      <a:pt x="63" y="196"/>
                    </a:lnTo>
                    <a:lnTo>
                      <a:pt x="60" y="193"/>
                    </a:lnTo>
                    <a:lnTo>
                      <a:pt x="60" y="198"/>
                    </a:lnTo>
                    <a:lnTo>
                      <a:pt x="65" y="205"/>
                    </a:lnTo>
                    <a:lnTo>
                      <a:pt x="63" y="198"/>
                    </a:lnTo>
                    <a:lnTo>
                      <a:pt x="67" y="198"/>
                    </a:lnTo>
                    <a:lnTo>
                      <a:pt x="75" y="203"/>
                    </a:lnTo>
                    <a:lnTo>
                      <a:pt x="75" y="200"/>
                    </a:lnTo>
                    <a:lnTo>
                      <a:pt x="72" y="196"/>
                    </a:lnTo>
                    <a:lnTo>
                      <a:pt x="75" y="196"/>
                    </a:lnTo>
                    <a:lnTo>
                      <a:pt x="81" y="200"/>
                    </a:lnTo>
                    <a:lnTo>
                      <a:pt x="86" y="200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1" y="193"/>
                    </a:lnTo>
                    <a:lnTo>
                      <a:pt x="103" y="195"/>
                    </a:lnTo>
                    <a:lnTo>
                      <a:pt x="96" y="196"/>
                    </a:lnTo>
                    <a:lnTo>
                      <a:pt x="91" y="208"/>
                    </a:lnTo>
                    <a:lnTo>
                      <a:pt x="96" y="218"/>
                    </a:lnTo>
                    <a:lnTo>
                      <a:pt x="100" y="216"/>
                    </a:lnTo>
                    <a:lnTo>
                      <a:pt x="100" y="221"/>
                    </a:lnTo>
                    <a:lnTo>
                      <a:pt x="103" y="218"/>
                    </a:lnTo>
                    <a:lnTo>
                      <a:pt x="108" y="218"/>
                    </a:lnTo>
                    <a:lnTo>
                      <a:pt x="106" y="223"/>
                    </a:lnTo>
                    <a:lnTo>
                      <a:pt x="108" y="225"/>
                    </a:lnTo>
                    <a:lnTo>
                      <a:pt x="103" y="228"/>
                    </a:lnTo>
                    <a:lnTo>
                      <a:pt x="105" y="233"/>
                    </a:lnTo>
                    <a:lnTo>
                      <a:pt x="101" y="238"/>
                    </a:lnTo>
                    <a:lnTo>
                      <a:pt x="105" y="241"/>
                    </a:lnTo>
                    <a:lnTo>
                      <a:pt x="108" y="245"/>
                    </a:lnTo>
                    <a:lnTo>
                      <a:pt x="111" y="245"/>
                    </a:lnTo>
                    <a:lnTo>
                      <a:pt x="110" y="246"/>
                    </a:lnTo>
                    <a:lnTo>
                      <a:pt x="106" y="246"/>
                    </a:lnTo>
                    <a:lnTo>
                      <a:pt x="103" y="243"/>
                    </a:lnTo>
                    <a:lnTo>
                      <a:pt x="101" y="243"/>
                    </a:lnTo>
                    <a:lnTo>
                      <a:pt x="103" y="246"/>
                    </a:lnTo>
                    <a:lnTo>
                      <a:pt x="105" y="248"/>
                    </a:lnTo>
                    <a:lnTo>
                      <a:pt x="101" y="248"/>
                    </a:lnTo>
                    <a:lnTo>
                      <a:pt x="98" y="245"/>
                    </a:lnTo>
                    <a:lnTo>
                      <a:pt x="91" y="246"/>
                    </a:lnTo>
                    <a:lnTo>
                      <a:pt x="88" y="246"/>
                    </a:lnTo>
                    <a:lnTo>
                      <a:pt x="80" y="250"/>
                    </a:lnTo>
                    <a:lnTo>
                      <a:pt x="75" y="255"/>
                    </a:lnTo>
                    <a:lnTo>
                      <a:pt x="70" y="258"/>
                    </a:lnTo>
                    <a:lnTo>
                      <a:pt x="67" y="261"/>
                    </a:lnTo>
                    <a:lnTo>
                      <a:pt x="72" y="261"/>
                    </a:lnTo>
                    <a:lnTo>
                      <a:pt x="73" y="261"/>
                    </a:lnTo>
                    <a:lnTo>
                      <a:pt x="73" y="260"/>
                    </a:lnTo>
                    <a:lnTo>
                      <a:pt x="81" y="258"/>
                    </a:lnTo>
                    <a:lnTo>
                      <a:pt x="81" y="261"/>
                    </a:lnTo>
                    <a:lnTo>
                      <a:pt x="83" y="265"/>
                    </a:lnTo>
                    <a:lnTo>
                      <a:pt x="80" y="266"/>
                    </a:lnTo>
                    <a:lnTo>
                      <a:pt x="81" y="270"/>
                    </a:lnTo>
                    <a:lnTo>
                      <a:pt x="85" y="270"/>
                    </a:lnTo>
                    <a:lnTo>
                      <a:pt x="78" y="278"/>
                    </a:lnTo>
                    <a:lnTo>
                      <a:pt x="75" y="280"/>
                    </a:lnTo>
                    <a:lnTo>
                      <a:pt x="72" y="283"/>
                    </a:lnTo>
                    <a:lnTo>
                      <a:pt x="70" y="283"/>
                    </a:lnTo>
                    <a:lnTo>
                      <a:pt x="65" y="286"/>
                    </a:lnTo>
                    <a:lnTo>
                      <a:pt x="60" y="286"/>
                    </a:lnTo>
                    <a:lnTo>
                      <a:pt x="55" y="289"/>
                    </a:lnTo>
                    <a:lnTo>
                      <a:pt x="60" y="289"/>
                    </a:lnTo>
                    <a:lnTo>
                      <a:pt x="60" y="293"/>
                    </a:lnTo>
                    <a:lnTo>
                      <a:pt x="57" y="294"/>
                    </a:lnTo>
                    <a:lnTo>
                      <a:pt x="62" y="294"/>
                    </a:lnTo>
                    <a:lnTo>
                      <a:pt x="62" y="296"/>
                    </a:lnTo>
                    <a:lnTo>
                      <a:pt x="63" y="298"/>
                    </a:lnTo>
                    <a:lnTo>
                      <a:pt x="67" y="296"/>
                    </a:lnTo>
                    <a:lnTo>
                      <a:pt x="70" y="294"/>
                    </a:lnTo>
                    <a:lnTo>
                      <a:pt x="77" y="293"/>
                    </a:lnTo>
                    <a:lnTo>
                      <a:pt x="77" y="294"/>
                    </a:lnTo>
                    <a:lnTo>
                      <a:pt x="81" y="296"/>
                    </a:lnTo>
                    <a:lnTo>
                      <a:pt x="78" y="298"/>
                    </a:lnTo>
                    <a:lnTo>
                      <a:pt x="78" y="299"/>
                    </a:lnTo>
                    <a:lnTo>
                      <a:pt x="85" y="299"/>
                    </a:lnTo>
                    <a:lnTo>
                      <a:pt x="85" y="298"/>
                    </a:lnTo>
                    <a:lnTo>
                      <a:pt x="88" y="298"/>
                    </a:lnTo>
                    <a:lnTo>
                      <a:pt x="91" y="301"/>
                    </a:lnTo>
                    <a:lnTo>
                      <a:pt x="95" y="304"/>
                    </a:lnTo>
                    <a:lnTo>
                      <a:pt x="101" y="304"/>
                    </a:lnTo>
                    <a:lnTo>
                      <a:pt x="105" y="301"/>
                    </a:lnTo>
                    <a:lnTo>
                      <a:pt x="108" y="299"/>
                    </a:lnTo>
                    <a:lnTo>
                      <a:pt x="113" y="298"/>
                    </a:lnTo>
                    <a:lnTo>
                      <a:pt x="115" y="296"/>
                    </a:lnTo>
                    <a:lnTo>
                      <a:pt x="118" y="294"/>
                    </a:lnTo>
                    <a:lnTo>
                      <a:pt x="113" y="299"/>
                    </a:lnTo>
                    <a:lnTo>
                      <a:pt x="108" y="304"/>
                    </a:lnTo>
                    <a:lnTo>
                      <a:pt x="106" y="311"/>
                    </a:lnTo>
                    <a:lnTo>
                      <a:pt x="103" y="311"/>
                    </a:lnTo>
                    <a:lnTo>
                      <a:pt x="100" y="311"/>
                    </a:lnTo>
                    <a:lnTo>
                      <a:pt x="96" y="309"/>
                    </a:lnTo>
                    <a:lnTo>
                      <a:pt x="86" y="309"/>
                    </a:lnTo>
                    <a:lnTo>
                      <a:pt x="80" y="311"/>
                    </a:lnTo>
                    <a:lnTo>
                      <a:pt x="80" y="314"/>
                    </a:lnTo>
                    <a:lnTo>
                      <a:pt x="77" y="316"/>
                    </a:lnTo>
                    <a:lnTo>
                      <a:pt x="72" y="316"/>
                    </a:lnTo>
                    <a:lnTo>
                      <a:pt x="72" y="324"/>
                    </a:lnTo>
                    <a:lnTo>
                      <a:pt x="68" y="328"/>
                    </a:lnTo>
                    <a:lnTo>
                      <a:pt x="67" y="329"/>
                    </a:lnTo>
                    <a:lnTo>
                      <a:pt x="62" y="331"/>
                    </a:lnTo>
                    <a:lnTo>
                      <a:pt x="60" y="334"/>
                    </a:lnTo>
                    <a:lnTo>
                      <a:pt x="58" y="334"/>
                    </a:lnTo>
                    <a:lnTo>
                      <a:pt x="57" y="336"/>
                    </a:lnTo>
                    <a:lnTo>
                      <a:pt x="52" y="341"/>
                    </a:lnTo>
                    <a:lnTo>
                      <a:pt x="50" y="339"/>
                    </a:lnTo>
                    <a:lnTo>
                      <a:pt x="45" y="343"/>
                    </a:lnTo>
                    <a:lnTo>
                      <a:pt x="45" y="346"/>
                    </a:lnTo>
                    <a:lnTo>
                      <a:pt x="50" y="346"/>
                    </a:lnTo>
                    <a:lnTo>
                      <a:pt x="50" y="343"/>
                    </a:lnTo>
                    <a:lnTo>
                      <a:pt x="55" y="344"/>
                    </a:lnTo>
                    <a:lnTo>
                      <a:pt x="57" y="3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0" name="Freeform 64"/>
              <p:cNvSpPr>
                <a:spLocks noEditPoints="1"/>
              </p:cNvSpPr>
              <p:nvPr/>
            </p:nvSpPr>
            <p:spPr bwMode="auto">
              <a:xfrm>
                <a:off x="6360431" y="2630560"/>
                <a:ext cx="168029" cy="136962"/>
              </a:xfrm>
              <a:custGeom>
                <a:avLst/>
                <a:gdLst/>
                <a:ahLst/>
                <a:cxnLst>
                  <a:cxn ang="0">
                    <a:pos x="248" y="130"/>
                  </a:cxn>
                  <a:cxn ang="0">
                    <a:pos x="228" y="140"/>
                  </a:cxn>
                  <a:cxn ang="0">
                    <a:pos x="234" y="125"/>
                  </a:cxn>
                  <a:cxn ang="0">
                    <a:pos x="253" y="103"/>
                  </a:cxn>
                  <a:cxn ang="0">
                    <a:pos x="261" y="100"/>
                  </a:cxn>
                  <a:cxn ang="0">
                    <a:pos x="264" y="76"/>
                  </a:cxn>
                  <a:cxn ang="0">
                    <a:pos x="271" y="57"/>
                  </a:cxn>
                  <a:cxn ang="0">
                    <a:pos x="249" y="55"/>
                  </a:cxn>
                  <a:cxn ang="0">
                    <a:pos x="233" y="47"/>
                  </a:cxn>
                  <a:cxn ang="0">
                    <a:pos x="214" y="40"/>
                  </a:cxn>
                  <a:cxn ang="0">
                    <a:pos x="196" y="32"/>
                  </a:cxn>
                  <a:cxn ang="0">
                    <a:pos x="181" y="20"/>
                  </a:cxn>
                  <a:cxn ang="0">
                    <a:pos x="163" y="2"/>
                  </a:cxn>
                  <a:cxn ang="0">
                    <a:pos x="143" y="7"/>
                  </a:cxn>
                  <a:cxn ang="0">
                    <a:pos x="133" y="33"/>
                  </a:cxn>
                  <a:cxn ang="0">
                    <a:pos x="107" y="42"/>
                  </a:cxn>
                  <a:cxn ang="0">
                    <a:pos x="90" y="50"/>
                  </a:cxn>
                  <a:cxn ang="0">
                    <a:pos x="80" y="42"/>
                  </a:cxn>
                  <a:cxn ang="0">
                    <a:pos x="65" y="45"/>
                  </a:cxn>
                  <a:cxn ang="0">
                    <a:pos x="70" y="62"/>
                  </a:cxn>
                  <a:cxn ang="0">
                    <a:pos x="58" y="68"/>
                  </a:cxn>
                  <a:cxn ang="0">
                    <a:pos x="37" y="63"/>
                  </a:cxn>
                  <a:cxn ang="0">
                    <a:pos x="18" y="67"/>
                  </a:cxn>
                  <a:cxn ang="0">
                    <a:pos x="2" y="78"/>
                  </a:cxn>
                  <a:cxn ang="0">
                    <a:pos x="4" y="78"/>
                  </a:cxn>
                  <a:cxn ang="0">
                    <a:pos x="9" y="85"/>
                  </a:cxn>
                  <a:cxn ang="0">
                    <a:pos x="9" y="95"/>
                  </a:cxn>
                  <a:cxn ang="0">
                    <a:pos x="30" y="96"/>
                  </a:cxn>
                  <a:cxn ang="0">
                    <a:pos x="43" y="100"/>
                  </a:cxn>
                  <a:cxn ang="0">
                    <a:pos x="52" y="108"/>
                  </a:cxn>
                  <a:cxn ang="0">
                    <a:pos x="63" y="108"/>
                  </a:cxn>
                  <a:cxn ang="0">
                    <a:pos x="57" y="121"/>
                  </a:cxn>
                  <a:cxn ang="0">
                    <a:pos x="80" y="135"/>
                  </a:cxn>
                  <a:cxn ang="0">
                    <a:pos x="78" y="151"/>
                  </a:cxn>
                  <a:cxn ang="0">
                    <a:pos x="87" y="158"/>
                  </a:cxn>
                  <a:cxn ang="0">
                    <a:pos x="82" y="178"/>
                  </a:cxn>
                  <a:cxn ang="0">
                    <a:pos x="72" y="213"/>
                  </a:cxn>
                  <a:cxn ang="0">
                    <a:pos x="82" y="223"/>
                  </a:cxn>
                  <a:cxn ang="0">
                    <a:pos x="113" y="233"/>
                  </a:cxn>
                  <a:cxn ang="0">
                    <a:pos x="143" y="231"/>
                  </a:cxn>
                  <a:cxn ang="0">
                    <a:pos x="171" y="238"/>
                  </a:cxn>
                  <a:cxn ang="0">
                    <a:pos x="186" y="208"/>
                  </a:cxn>
                  <a:cxn ang="0">
                    <a:pos x="206" y="213"/>
                  </a:cxn>
                  <a:cxn ang="0">
                    <a:pos x="244" y="223"/>
                  </a:cxn>
                  <a:cxn ang="0">
                    <a:pos x="268" y="201"/>
                  </a:cxn>
                  <a:cxn ang="0">
                    <a:pos x="253" y="174"/>
                  </a:cxn>
                  <a:cxn ang="0">
                    <a:pos x="253" y="153"/>
                  </a:cxn>
                  <a:cxn ang="0">
                    <a:pos x="306" y="266"/>
                  </a:cxn>
                  <a:cxn ang="0">
                    <a:pos x="299" y="258"/>
                  </a:cxn>
                  <a:cxn ang="0">
                    <a:pos x="294" y="249"/>
                  </a:cxn>
                  <a:cxn ang="0">
                    <a:pos x="294" y="241"/>
                  </a:cxn>
                  <a:cxn ang="0">
                    <a:pos x="307" y="231"/>
                  </a:cxn>
                  <a:cxn ang="0">
                    <a:pos x="312" y="221"/>
                  </a:cxn>
                  <a:cxn ang="0">
                    <a:pos x="312" y="256"/>
                  </a:cxn>
                </a:cxnLst>
                <a:rect l="0" t="0" r="r" b="b"/>
                <a:pathLst>
                  <a:path w="316" h="266">
                    <a:moveTo>
                      <a:pt x="254" y="145"/>
                    </a:moveTo>
                    <a:lnTo>
                      <a:pt x="254" y="141"/>
                    </a:lnTo>
                    <a:lnTo>
                      <a:pt x="251" y="140"/>
                    </a:lnTo>
                    <a:lnTo>
                      <a:pt x="249" y="135"/>
                    </a:lnTo>
                    <a:lnTo>
                      <a:pt x="248" y="130"/>
                    </a:lnTo>
                    <a:lnTo>
                      <a:pt x="239" y="130"/>
                    </a:lnTo>
                    <a:lnTo>
                      <a:pt x="236" y="133"/>
                    </a:lnTo>
                    <a:lnTo>
                      <a:pt x="239" y="138"/>
                    </a:lnTo>
                    <a:lnTo>
                      <a:pt x="233" y="140"/>
                    </a:lnTo>
                    <a:lnTo>
                      <a:pt x="228" y="140"/>
                    </a:lnTo>
                    <a:lnTo>
                      <a:pt x="228" y="136"/>
                    </a:lnTo>
                    <a:lnTo>
                      <a:pt x="229" y="135"/>
                    </a:lnTo>
                    <a:lnTo>
                      <a:pt x="233" y="135"/>
                    </a:lnTo>
                    <a:lnTo>
                      <a:pt x="233" y="131"/>
                    </a:lnTo>
                    <a:lnTo>
                      <a:pt x="234" y="125"/>
                    </a:lnTo>
                    <a:lnTo>
                      <a:pt x="239" y="115"/>
                    </a:lnTo>
                    <a:lnTo>
                      <a:pt x="244" y="115"/>
                    </a:lnTo>
                    <a:lnTo>
                      <a:pt x="248" y="108"/>
                    </a:lnTo>
                    <a:lnTo>
                      <a:pt x="253" y="106"/>
                    </a:lnTo>
                    <a:lnTo>
                      <a:pt x="253" y="103"/>
                    </a:lnTo>
                    <a:lnTo>
                      <a:pt x="248" y="100"/>
                    </a:lnTo>
                    <a:lnTo>
                      <a:pt x="249" y="96"/>
                    </a:lnTo>
                    <a:lnTo>
                      <a:pt x="256" y="96"/>
                    </a:lnTo>
                    <a:lnTo>
                      <a:pt x="258" y="100"/>
                    </a:lnTo>
                    <a:lnTo>
                      <a:pt x="261" y="100"/>
                    </a:lnTo>
                    <a:lnTo>
                      <a:pt x="269" y="98"/>
                    </a:lnTo>
                    <a:lnTo>
                      <a:pt x="268" y="93"/>
                    </a:lnTo>
                    <a:lnTo>
                      <a:pt x="263" y="91"/>
                    </a:lnTo>
                    <a:lnTo>
                      <a:pt x="263" y="85"/>
                    </a:lnTo>
                    <a:lnTo>
                      <a:pt x="264" y="76"/>
                    </a:lnTo>
                    <a:lnTo>
                      <a:pt x="268" y="75"/>
                    </a:lnTo>
                    <a:lnTo>
                      <a:pt x="268" y="71"/>
                    </a:lnTo>
                    <a:lnTo>
                      <a:pt x="271" y="65"/>
                    </a:lnTo>
                    <a:lnTo>
                      <a:pt x="276" y="60"/>
                    </a:lnTo>
                    <a:lnTo>
                      <a:pt x="271" y="57"/>
                    </a:lnTo>
                    <a:lnTo>
                      <a:pt x="268" y="57"/>
                    </a:lnTo>
                    <a:lnTo>
                      <a:pt x="261" y="53"/>
                    </a:lnTo>
                    <a:lnTo>
                      <a:pt x="258" y="55"/>
                    </a:lnTo>
                    <a:lnTo>
                      <a:pt x="254" y="55"/>
                    </a:lnTo>
                    <a:lnTo>
                      <a:pt x="249" y="55"/>
                    </a:lnTo>
                    <a:lnTo>
                      <a:pt x="246" y="55"/>
                    </a:lnTo>
                    <a:lnTo>
                      <a:pt x="241" y="52"/>
                    </a:lnTo>
                    <a:lnTo>
                      <a:pt x="241" y="50"/>
                    </a:lnTo>
                    <a:lnTo>
                      <a:pt x="236" y="47"/>
                    </a:lnTo>
                    <a:lnTo>
                      <a:pt x="233" y="47"/>
                    </a:lnTo>
                    <a:lnTo>
                      <a:pt x="228" y="47"/>
                    </a:lnTo>
                    <a:lnTo>
                      <a:pt x="224" y="42"/>
                    </a:lnTo>
                    <a:lnTo>
                      <a:pt x="221" y="42"/>
                    </a:lnTo>
                    <a:lnTo>
                      <a:pt x="218" y="43"/>
                    </a:lnTo>
                    <a:lnTo>
                      <a:pt x="214" y="40"/>
                    </a:lnTo>
                    <a:lnTo>
                      <a:pt x="209" y="40"/>
                    </a:lnTo>
                    <a:lnTo>
                      <a:pt x="203" y="33"/>
                    </a:lnTo>
                    <a:lnTo>
                      <a:pt x="201" y="33"/>
                    </a:lnTo>
                    <a:lnTo>
                      <a:pt x="198" y="32"/>
                    </a:lnTo>
                    <a:lnTo>
                      <a:pt x="196" y="32"/>
                    </a:lnTo>
                    <a:lnTo>
                      <a:pt x="193" y="33"/>
                    </a:lnTo>
                    <a:lnTo>
                      <a:pt x="188" y="30"/>
                    </a:lnTo>
                    <a:lnTo>
                      <a:pt x="188" y="23"/>
                    </a:lnTo>
                    <a:lnTo>
                      <a:pt x="185" y="23"/>
                    </a:lnTo>
                    <a:lnTo>
                      <a:pt x="181" y="20"/>
                    </a:lnTo>
                    <a:lnTo>
                      <a:pt x="178" y="20"/>
                    </a:lnTo>
                    <a:lnTo>
                      <a:pt x="171" y="15"/>
                    </a:lnTo>
                    <a:lnTo>
                      <a:pt x="170" y="12"/>
                    </a:lnTo>
                    <a:lnTo>
                      <a:pt x="165" y="10"/>
                    </a:lnTo>
                    <a:lnTo>
                      <a:pt x="163" y="2"/>
                    </a:lnTo>
                    <a:lnTo>
                      <a:pt x="161" y="0"/>
                    </a:lnTo>
                    <a:lnTo>
                      <a:pt x="160" y="2"/>
                    </a:lnTo>
                    <a:lnTo>
                      <a:pt x="151" y="5"/>
                    </a:lnTo>
                    <a:lnTo>
                      <a:pt x="150" y="3"/>
                    </a:lnTo>
                    <a:lnTo>
                      <a:pt x="143" y="7"/>
                    </a:lnTo>
                    <a:lnTo>
                      <a:pt x="141" y="12"/>
                    </a:lnTo>
                    <a:lnTo>
                      <a:pt x="141" y="17"/>
                    </a:lnTo>
                    <a:lnTo>
                      <a:pt x="141" y="25"/>
                    </a:lnTo>
                    <a:lnTo>
                      <a:pt x="133" y="30"/>
                    </a:lnTo>
                    <a:lnTo>
                      <a:pt x="133" y="33"/>
                    </a:lnTo>
                    <a:lnTo>
                      <a:pt x="126" y="35"/>
                    </a:lnTo>
                    <a:lnTo>
                      <a:pt x="121" y="35"/>
                    </a:lnTo>
                    <a:lnTo>
                      <a:pt x="118" y="33"/>
                    </a:lnTo>
                    <a:lnTo>
                      <a:pt x="108" y="38"/>
                    </a:lnTo>
                    <a:lnTo>
                      <a:pt x="107" y="42"/>
                    </a:lnTo>
                    <a:lnTo>
                      <a:pt x="108" y="45"/>
                    </a:lnTo>
                    <a:lnTo>
                      <a:pt x="111" y="47"/>
                    </a:lnTo>
                    <a:lnTo>
                      <a:pt x="107" y="50"/>
                    </a:lnTo>
                    <a:lnTo>
                      <a:pt x="100" y="52"/>
                    </a:lnTo>
                    <a:lnTo>
                      <a:pt x="90" y="50"/>
                    </a:lnTo>
                    <a:lnTo>
                      <a:pt x="87" y="48"/>
                    </a:lnTo>
                    <a:lnTo>
                      <a:pt x="82" y="50"/>
                    </a:lnTo>
                    <a:lnTo>
                      <a:pt x="82" y="47"/>
                    </a:lnTo>
                    <a:lnTo>
                      <a:pt x="78" y="45"/>
                    </a:lnTo>
                    <a:lnTo>
                      <a:pt x="80" y="42"/>
                    </a:lnTo>
                    <a:lnTo>
                      <a:pt x="75" y="40"/>
                    </a:lnTo>
                    <a:lnTo>
                      <a:pt x="72" y="42"/>
                    </a:lnTo>
                    <a:lnTo>
                      <a:pt x="65" y="40"/>
                    </a:lnTo>
                    <a:lnTo>
                      <a:pt x="63" y="40"/>
                    </a:lnTo>
                    <a:lnTo>
                      <a:pt x="65" y="45"/>
                    </a:lnTo>
                    <a:lnTo>
                      <a:pt x="63" y="47"/>
                    </a:lnTo>
                    <a:lnTo>
                      <a:pt x="72" y="53"/>
                    </a:lnTo>
                    <a:lnTo>
                      <a:pt x="70" y="55"/>
                    </a:lnTo>
                    <a:lnTo>
                      <a:pt x="72" y="58"/>
                    </a:lnTo>
                    <a:lnTo>
                      <a:pt x="70" y="62"/>
                    </a:lnTo>
                    <a:lnTo>
                      <a:pt x="73" y="65"/>
                    </a:lnTo>
                    <a:lnTo>
                      <a:pt x="73" y="70"/>
                    </a:lnTo>
                    <a:lnTo>
                      <a:pt x="65" y="68"/>
                    </a:lnTo>
                    <a:lnTo>
                      <a:pt x="62" y="70"/>
                    </a:lnTo>
                    <a:lnTo>
                      <a:pt x="58" y="68"/>
                    </a:lnTo>
                    <a:lnTo>
                      <a:pt x="53" y="70"/>
                    </a:lnTo>
                    <a:lnTo>
                      <a:pt x="52" y="68"/>
                    </a:lnTo>
                    <a:lnTo>
                      <a:pt x="47" y="71"/>
                    </a:lnTo>
                    <a:lnTo>
                      <a:pt x="40" y="63"/>
                    </a:lnTo>
                    <a:lnTo>
                      <a:pt x="37" y="63"/>
                    </a:lnTo>
                    <a:lnTo>
                      <a:pt x="30" y="63"/>
                    </a:lnTo>
                    <a:lnTo>
                      <a:pt x="27" y="68"/>
                    </a:lnTo>
                    <a:lnTo>
                      <a:pt x="23" y="67"/>
                    </a:lnTo>
                    <a:lnTo>
                      <a:pt x="20" y="68"/>
                    </a:lnTo>
                    <a:lnTo>
                      <a:pt x="18" y="67"/>
                    </a:lnTo>
                    <a:lnTo>
                      <a:pt x="13" y="68"/>
                    </a:lnTo>
                    <a:lnTo>
                      <a:pt x="10" y="70"/>
                    </a:lnTo>
                    <a:lnTo>
                      <a:pt x="4" y="71"/>
                    </a:lnTo>
                    <a:lnTo>
                      <a:pt x="0" y="75"/>
                    </a:lnTo>
                    <a:lnTo>
                      <a:pt x="2" y="78"/>
                    </a:lnTo>
                    <a:lnTo>
                      <a:pt x="5" y="76"/>
                    </a:lnTo>
                    <a:lnTo>
                      <a:pt x="10" y="76"/>
                    </a:lnTo>
                    <a:lnTo>
                      <a:pt x="12" y="78"/>
                    </a:lnTo>
                    <a:lnTo>
                      <a:pt x="7" y="78"/>
                    </a:lnTo>
                    <a:lnTo>
                      <a:pt x="4" y="78"/>
                    </a:lnTo>
                    <a:lnTo>
                      <a:pt x="5" y="83"/>
                    </a:lnTo>
                    <a:lnTo>
                      <a:pt x="7" y="80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9" y="85"/>
                    </a:lnTo>
                    <a:lnTo>
                      <a:pt x="4" y="85"/>
                    </a:lnTo>
                    <a:lnTo>
                      <a:pt x="4" y="86"/>
                    </a:lnTo>
                    <a:lnTo>
                      <a:pt x="9" y="86"/>
                    </a:lnTo>
                    <a:lnTo>
                      <a:pt x="10" y="91"/>
                    </a:lnTo>
                    <a:lnTo>
                      <a:pt x="9" y="95"/>
                    </a:lnTo>
                    <a:lnTo>
                      <a:pt x="13" y="91"/>
                    </a:lnTo>
                    <a:lnTo>
                      <a:pt x="17" y="91"/>
                    </a:lnTo>
                    <a:lnTo>
                      <a:pt x="20" y="91"/>
                    </a:lnTo>
                    <a:lnTo>
                      <a:pt x="28" y="95"/>
                    </a:lnTo>
                    <a:lnTo>
                      <a:pt x="30" y="96"/>
                    </a:lnTo>
                    <a:lnTo>
                      <a:pt x="33" y="96"/>
                    </a:lnTo>
                    <a:lnTo>
                      <a:pt x="38" y="100"/>
                    </a:lnTo>
                    <a:lnTo>
                      <a:pt x="42" y="96"/>
                    </a:lnTo>
                    <a:lnTo>
                      <a:pt x="45" y="96"/>
                    </a:lnTo>
                    <a:lnTo>
                      <a:pt x="43" y="100"/>
                    </a:lnTo>
                    <a:lnTo>
                      <a:pt x="45" y="101"/>
                    </a:lnTo>
                    <a:lnTo>
                      <a:pt x="48" y="100"/>
                    </a:lnTo>
                    <a:lnTo>
                      <a:pt x="52" y="101"/>
                    </a:lnTo>
                    <a:lnTo>
                      <a:pt x="50" y="105"/>
                    </a:lnTo>
                    <a:lnTo>
                      <a:pt x="52" y="108"/>
                    </a:lnTo>
                    <a:lnTo>
                      <a:pt x="55" y="108"/>
                    </a:lnTo>
                    <a:lnTo>
                      <a:pt x="60" y="106"/>
                    </a:lnTo>
                    <a:lnTo>
                      <a:pt x="63" y="106"/>
                    </a:lnTo>
                    <a:lnTo>
                      <a:pt x="67" y="110"/>
                    </a:lnTo>
                    <a:lnTo>
                      <a:pt x="63" y="108"/>
                    </a:lnTo>
                    <a:lnTo>
                      <a:pt x="58" y="108"/>
                    </a:lnTo>
                    <a:lnTo>
                      <a:pt x="57" y="111"/>
                    </a:lnTo>
                    <a:lnTo>
                      <a:pt x="58" y="113"/>
                    </a:lnTo>
                    <a:lnTo>
                      <a:pt x="60" y="118"/>
                    </a:lnTo>
                    <a:lnTo>
                      <a:pt x="57" y="121"/>
                    </a:lnTo>
                    <a:lnTo>
                      <a:pt x="58" y="123"/>
                    </a:lnTo>
                    <a:lnTo>
                      <a:pt x="62" y="125"/>
                    </a:lnTo>
                    <a:lnTo>
                      <a:pt x="68" y="131"/>
                    </a:lnTo>
                    <a:lnTo>
                      <a:pt x="75" y="131"/>
                    </a:lnTo>
                    <a:lnTo>
                      <a:pt x="80" y="135"/>
                    </a:lnTo>
                    <a:lnTo>
                      <a:pt x="80" y="138"/>
                    </a:lnTo>
                    <a:lnTo>
                      <a:pt x="82" y="141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8" y="151"/>
                    </a:lnTo>
                    <a:lnTo>
                      <a:pt x="82" y="151"/>
                    </a:lnTo>
                    <a:lnTo>
                      <a:pt x="90" y="156"/>
                    </a:lnTo>
                    <a:lnTo>
                      <a:pt x="95" y="169"/>
                    </a:lnTo>
                    <a:lnTo>
                      <a:pt x="88" y="163"/>
                    </a:lnTo>
                    <a:lnTo>
                      <a:pt x="87" y="158"/>
                    </a:lnTo>
                    <a:lnTo>
                      <a:pt x="82" y="156"/>
                    </a:lnTo>
                    <a:lnTo>
                      <a:pt x="80" y="158"/>
                    </a:lnTo>
                    <a:lnTo>
                      <a:pt x="78" y="168"/>
                    </a:lnTo>
                    <a:lnTo>
                      <a:pt x="78" y="176"/>
                    </a:lnTo>
                    <a:lnTo>
                      <a:pt x="82" y="178"/>
                    </a:lnTo>
                    <a:lnTo>
                      <a:pt x="78" y="181"/>
                    </a:lnTo>
                    <a:lnTo>
                      <a:pt x="77" y="196"/>
                    </a:lnTo>
                    <a:lnTo>
                      <a:pt x="73" y="208"/>
                    </a:lnTo>
                    <a:lnTo>
                      <a:pt x="67" y="211"/>
                    </a:lnTo>
                    <a:lnTo>
                      <a:pt x="72" y="213"/>
                    </a:lnTo>
                    <a:lnTo>
                      <a:pt x="72" y="214"/>
                    </a:lnTo>
                    <a:lnTo>
                      <a:pt x="75" y="214"/>
                    </a:lnTo>
                    <a:lnTo>
                      <a:pt x="75" y="219"/>
                    </a:lnTo>
                    <a:lnTo>
                      <a:pt x="75" y="223"/>
                    </a:lnTo>
                    <a:lnTo>
                      <a:pt x="82" y="223"/>
                    </a:lnTo>
                    <a:lnTo>
                      <a:pt x="92" y="226"/>
                    </a:lnTo>
                    <a:lnTo>
                      <a:pt x="97" y="231"/>
                    </a:lnTo>
                    <a:lnTo>
                      <a:pt x="102" y="228"/>
                    </a:lnTo>
                    <a:lnTo>
                      <a:pt x="107" y="233"/>
                    </a:lnTo>
                    <a:lnTo>
                      <a:pt x="113" y="233"/>
                    </a:lnTo>
                    <a:lnTo>
                      <a:pt x="116" y="234"/>
                    </a:lnTo>
                    <a:lnTo>
                      <a:pt x="121" y="231"/>
                    </a:lnTo>
                    <a:lnTo>
                      <a:pt x="131" y="231"/>
                    </a:lnTo>
                    <a:lnTo>
                      <a:pt x="136" y="233"/>
                    </a:lnTo>
                    <a:lnTo>
                      <a:pt x="143" y="231"/>
                    </a:lnTo>
                    <a:lnTo>
                      <a:pt x="150" y="236"/>
                    </a:lnTo>
                    <a:lnTo>
                      <a:pt x="161" y="234"/>
                    </a:lnTo>
                    <a:lnTo>
                      <a:pt x="170" y="239"/>
                    </a:lnTo>
                    <a:lnTo>
                      <a:pt x="171" y="239"/>
                    </a:lnTo>
                    <a:lnTo>
                      <a:pt x="171" y="238"/>
                    </a:lnTo>
                    <a:lnTo>
                      <a:pt x="170" y="231"/>
                    </a:lnTo>
                    <a:lnTo>
                      <a:pt x="171" y="224"/>
                    </a:lnTo>
                    <a:lnTo>
                      <a:pt x="173" y="219"/>
                    </a:lnTo>
                    <a:lnTo>
                      <a:pt x="178" y="216"/>
                    </a:lnTo>
                    <a:lnTo>
                      <a:pt x="186" y="208"/>
                    </a:lnTo>
                    <a:lnTo>
                      <a:pt x="190" y="208"/>
                    </a:lnTo>
                    <a:lnTo>
                      <a:pt x="191" y="209"/>
                    </a:lnTo>
                    <a:lnTo>
                      <a:pt x="198" y="209"/>
                    </a:lnTo>
                    <a:lnTo>
                      <a:pt x="203" y="213"/>
                    </a:lnTo>
                    <a:lnTo>
                      <a:pt x="206" y="213"/>
                    </a:lnTo>
                    <a:lnTo>
                      <a:pt x="211" y="211"/>
                    </a:lnTo>
                    <a:lnTo>
                      <a:pt x="214" y="209"/>
                    </a:lnTo>
                    <a:lnTo>
                      <a:pt x="229" y="218"/>
                    </a:lnTo>
                    <a:lnTo>
                      <a:pt x="233" y="221"/>
                    </a:lnTo>
                    <a:lnTo>
                      <a:pt x="244" y="223"/>
                    </a:lnTo>
                    <a:lnTo>
                      <a:pt x="248" y="218"/>
                    </a:lnTo>
                    <a:lnTo>
                      <a:pt x="248" y="216"/>
                    </a:lnTo>
                    <a:lnTo>
                      <a:pt x="251" y="211"/>
                    </a:lnTo>
                    <a:lnTo>
                      <a:pt x="266" y="201"/>
                    </a:lnTo>
                    <a:lnTo>
                      <a:pt x="268" y="201"/>
                    </a:lnTo>
                    <a:lnTo>
                      <a:pt x="266" y="196"/>
                    </a:lnTo>
                    <a:lnTo>
                      <a:pt x="269" y="189"/>
                    </a:lnTo>
                    <a:lnTo>
                      <a:pt x="261" y="189"/>
                    </a:lnTo>
                    <a:lnTo>
                      <a:pt x="254" y="184"/>
                    </a:lnTo>
                    <a:lnTo>
                      <a:pt x="253" y="174"/>
                    </a:lnTo>
                    <a:lnTo>
                      <a:pt x="248" y="168"/>
                    </a:lnTo>
                    <a:lnTo>
                      <a:pt x="251" y="165"/>
                    </a:lnTo>
                    <a:lnTo>
                      <a:pt x="256" y="165"/>
                    </a:lnTo>
                    <a:lnTo>
                      <a:pt x="258" y="156"/>
                    </a:lnTo>
                    <a:lnTo>
                      <a:pt x="253" y="153"/>
                    </a:lnTo>
                    <a:lnTo>
                      <a:pt x="253" y="148"/>
                    </a:lnTo>
                    <a:lnTo>
                      <a:pt x="254" y="145"/>
                    </a:lnTo>
                    <a:lnTo>
                      <a:pt x="254" y="145"/>
                    </a:lnTo>
                    <a:lnTo>
                      <a:pt x="254" y="145"/>
                    </a:lnTo>
                    <a:close/>
                    <a:moveTo>
                      <a:pt x="306" y="266"/>
                    </a:moveTo>
                    <a:lnTo>
                      <a:pt x="298" y="263"/>
                    </a:lnTo>
                    <a:lnTo>
                      <a:pt x="298" y="261"/>
                    </a:lnTo>
                    <a:lnTo>
                      <a:pt x="299" y="259"/>
                    </a:lnTo>
                    <a:lnTo>
                      <a:pt x="301" y="259"/>
                    </a:lnTo>
                    <a:lnTo>
                      <a:pt x="299" y="258"/>
                    </a:lnTo>
                    <a:lnTo>
                      <a:pt x="298" y="258"/>
                    </a:lnTo>
                    <a:lnTo>
                      <a:pt x="298" y="254"/>
                    </a:lnTo>
                    <a:lnTo>
                      <a:pt x="294" y="253"/>
                    </a:lnTo>
                    <a:lnTo>
                      <a:pt x="293" y="251"/>
                    </a:lnTo>
                    <a:lnTo>
                      <a:pt x="294" y="249"/>
                    </a:lnTo>
                    <a:lnTo>
                      <a:pt x="294" y="248"/>
                    </a:lnTo>
                    <a:lnTo>
                      <a:pt x="291" y="246"/>
                    </a:lnTo>
                    <a:lnTo>
                      <a:pt x="291" y="243"/>
                    </a:lnTo>
                    <a:lnTo>
                      <a:pt x="293" y="243"/>
                    </a:lnTo>
                    <a:lnTo>
                      <a:pt x="294" y="241"/>
                    </a:lnTo>
                    <a:lnTo>
                      <a:pt x="291" y="238"/>
                    </a:lnTo>
                    <a:lnTo>
                      <a:pt x="294" y="233"/>
                    </a:lnTo>
                    <a:lnTo>
                      <a:pt x="303" y="231"/>
                    </a:lnTo>
                    <a:lnTo>
                      <a:pt x="304" y="228"/>
                    </a:lnTo>
                    <a:lnTo>
                      <a:pt x="307" y="231"/>
                    </a:lnTo>
                    <a:lnTo>
                      <a:pt x="309" y="231"/>
                    </a:lnTo>
                    <a:lnTo>
                      <a:pt x="311" y="228"/>
                    </a:lnTo>
                    <a:lnTo>
                      <a:pt x="309" y="224"/>
                    </a:lnTo>
                    <a:lnTo>
                      <a:pt x="309" y="221"/>
                    </a:lnTo>
                    <a:lnTo>
                      <a:pt x="312" y="221"/>
                    </a:lnTo>
                    <a:lnTo>
                      <a:pt x="312" y="226"/>
                    </a:lnTo>
                    <a:lnTo>
                      <a:pt x="312" y="233"/>
                    </a:lnTo>
                    <a:lnTo>
                      <a:pt x="316" y="241"/>
                    </a:lnTo>
                    <a:lnTo>
                      <a:pt x="312" y="251"/>
                    </a:lnTo>
                    <a:lnTo>
                      <a:pt x="312" y="256"/>
                    </a:lnTo>
                    <a:lnTo>
                      <a:pt x="309" y="264"/>
                    </a:lnTo>
                    <a:lnTo>
                      <a:pt x="306" y="2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1" name="Freeform 65"/>
              <p:cNvSpPr>
                <a:spLocks/>
              </p:cNvSpPr>
              <p:nvPr/>
            </p:nvSpPr>
            <p:spPr bwMode="auto">
              <a:xfrm>
                <a:off x="6591605" y="2843265"/>
                <a:ext cx="4281" cy="3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5" y="7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7">
                    <a:moveTo>
                      <a:pt x="0" y="0"/>
                    </a:moveTo>
                    <a:lnTo>
                      <a:pt x="0" y="4"/>
                    </a:lnTo>
                    <a:lnTo>
                      <a:pt x="5" y="7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2" name="Freeform 66"/>
              <p:cNvSpPr>
                <a:spLocks noEditPoints="1"/>
              </p:cNvSpPr>
              <p:nvPr/>
            </p:nvSpPr>
            <p:spPr bwMode="auto">
              <a:xfrm>
                <a:off x="6492072" y="2687627"/>
                <a:ext cx="147694" cy="146300"/>
              </a:xfrm>
              <a:custGeom>
                <a:avLst/>
                <a:gdLst/>
                <a:ahLst/>
                <a:cxnLst>
                  <a:cxn ang="0">
                    <a:pos x="6" y="73"/>
                  </a:cxn>
                  <a:cxn ang="0">
                    <a:pos x="10" y="45"/>
                  </a:cxn>
                  <a:cxn ang="0">
                    <a:pos x="21" y="30"/>
                  </a:cxn>
                  <a:cxn ang="0">
                    <a:pos x="50" y="30"/>
                  </a:cxn>
                  <a:cxn ang="0">
                    <a:pos x="71" y="24"/>
                  </a:cxn>
                  <a:cxn ang="0">
                    <a:pos x="88" y="4"/>
                  </a:cxn>
                  <a:cxn ang="0">
                    <a:pos x="121" y="5"/>
                  </a:cxn>
                  <a:cxn ang="0">
                    <a:pos x="154" y="24"/>
                  </a:cxn>
                  <a:cxn ang="0">
                    <a:pos x="146" y="40"/>
                  </a:cxn>
                  <a:cxn ang="0">
                    <a:pos x="124" y="50"/>
                  </a:cxn>
                  <a:cxn ang="0">
                    <a:pos x="128" y="72"/>
                  </a:cxn>
                  <a:cxn ang="0">
                    <a:pos x="149" y="92"/>
                  </a:cxn>
                  <a:cxn ang="0">
                    <a:pos x="171" y="120"/>
                  </a:cxn>
                  <a:cxn ang="0">
                    <a:pos x="194" y="138"/>
                  </a:cxn>
                  <a:cxn ang="0">
                    <a:pos x="221" y="142"/>
                  </a:cxn>
                  <a:cxn ang="0">
                    <a:pos x="221" y="155"/>
                  </a:cxn>
                  <a:cxn ang="0">
                    <a:pos x="269" y="176"/>
                  </a:cxn>
                  <a:cxn ang="0">
                    <a:pos x="272" y="195"/>
                  </a:cxn>
                  <a:cxn ang="0">
                    <a:pos x="262" y="186"/>
                  </a:cxn>
                  <a:cxn ang="0">
                    <a:pos x="246" y="178"/>
                  </a:cxn>
                  <a:cxn ang="0">
                    <a:pos x="236" y="190"/>
                  </a:cxn>
                  <a:cxn ang="0">
                    <a:pos x="237" y="201"/>
                  </a:cxn>
                  <a:cxn ang="0">
                    <a:pos x="244" y="221"/>
                  </a:cxn>
                  <a:cxn ang="0">
                    <a:pos x="227" y="245"/>
                  </a:cxn>
                  <a:cxn ang="0">
                    <a:pos x="212" y="240"/>
                  </a:cxn>
                  <a:cxn ang="0">
                    <a:pos x="221" y="226"/>
                  </a:cxn>
                  <a:cxn ang="0">
                    <a:pos x="221" y="208"/>
                  </a:cxn>
                  <a:cxn ang="0">
                    <a:pos x="207" y="191"/>
                  </a:cxn>
                  <a:cxn ang="0">
                    <a:pos x="194" y="181"/>
                  </a:cxn>
                  <a:cxn ang="0">
                    <a:pos x="182" y="171"/>
                  </a:cxn>
                  <a:cxn ang="0">
                    <a:pos x="162" y="160"/>
                  </a:cxn>
                  <a:cxn ang="0">
                    <a:pos x="146" y="155"/>
                  </a:cxn>
                  <a:cxn ang="0">
                    <a:pos x="118" y="132"/>
                  </a:cxn>
                  <a:cxn ang="0">
                    <a:pos x="96" y="112"/>
                  </a:cxn>
                  <a:cxn ang="0">
                    <a:pos x="81" y="92"/>
                  </a:cxn>
                  <a:cxn ang="0">
                    <a:pos x="64" y="77"/>
                  </a:cxn>
                  <a:cxn ang="0">
                    <a:pos x="20" y="90"/>
                  </a:cxn>
                  <a:cxn ang="0">
                    <a:pos x="41" y="160"/>
                  </a:cxn>
                  <a:cxn ang="0">
                    <a:pos x="38" y="163"/>
                  </a:cxn>
                  <a:cxn ang="0">
                    <a:pos x="99" y="128"/>
                  </a:cxn>
                  <a:cxn ang="0">
                    <a:pos x="89" y="117"/>
                  </a:cxn>
                  <a:cxn ang="0">
                    <a:pos x="79" y="115"/>
                  </a:cxn>
                  <a:cxn ang="0">
                    <a:pos x="58" y="216"/>
                  </a:cxn>
                  <a:cxn ang="0">
                    <a:pos x="71" y="213"/>
                  </a:cxn>
                  <a:cxn ang="0">
                    <a:pos x="66" y="181"/>
                  </a:cxn>
                  <a:cxn ang="0">
                    <a:pos x="64" y="161"/>
                  </a:cxn>
                  <a:cxn ang="0">
                    <a:pos x="43" y="170"/>
                  </a:cxn>
                  <a:cxn ang="0">
                    <a:pos x="41" y="181"/>
                  </a:cxn>
                  <a:cxn ang="0">
                    <a:pos x="46" y="195"/>
                  </a:cxn>
                  <a:cxn ang="0">
                    <a:pos x="46" y="220"/>
                  </a:cxn>
                  <a:cxn ang="0">
                    <a:pos x="206" y="273"/>
                  </a:cxn>
                  <a:cxn ang="0">
                    <a:pos x="211" y="243"/>
                  </a:cxn>
                  <a:cxn ang="0">
                    <a:pos x="187" y="246"/>
                  </a:cxn>
                  <a:cxn ang="0">
                    <a:pos x="151" y="245"/>
                  </a:cxn>
                  <a:cxn ang="0">
                    <a:pos x="144" y="258"/>
                  </a:cxn>
                  <a:cxn ang="0">
                    <a:pos x="179" y="271"/>
                  </a:cxn>
                  <a:cxn ang="0">
                    <a:pos x="202" y="281"/>
                  </a:cxn>
                </a:cxnLst>
                <a:rect l="0" t="0" r="r" b="b"/>
                <a:pathLst>
                  <a:path w="275" h="281">
                    <a:moveTo>
                      <a:pt x="20" y="90"/>
                    </a:moveTo>
                    <a:lnTo>
                      <a:pt x="18" y="85"/>
                    </a:lnTo>
                    <a:lnTo>
                      <a:pt x="21" y="78"/>
                    </a:lnTo>
                    <a:lnTo>
                      <a:pt x="13" y="78"/>
                    </a:lnTo>
                    <a:lnTo>
                      <a:pt x="6" y="73"/>
                    </a:lnTo>
                    <a:lnTo>
                      <a:pt x="5" y="63"/>
                    </a:lnTo>
                    <a:lnTo>
                      <a:pt x="0" y="57"/>
                    </a:lnTo>
                    <a:lnTo>
                      <a:pt x="3" y="54"/>
                    </a:lnTo>
                    <a:lnTo>
                      <a:pt x="8" y="54"/>
                    </a:lnTo>
                    <a:lnTo>
                      <a:pt x="10" y="45"/>
                    </a:lnTo>
                    <a:lnTo>
                      <a:pt x="5" y="42"/>
                    </a:lnTo>
                    <a:lnTo>
                      <a:pt x="5" y="37"/>
                    </a:lnTo>
                    <a:lnTo>
                      <a:pt x="6" y="34"/>
                    </a:lnTo>
                    <a:lnTo>
                      <a:pt x="11" y="37"/>
                    </a:lnTo>
                    <a:lnTo>
                      <a:pt x="21" y="30"/>
                    </a:lnTo>
                    <a:lnTo>
                      <a:pt x="28" y="32"/>
                    </a:lnTo>
                    <a:lnTo>
                      <a:pt x="36" y="19"/>
                    </a:lnTo>
                    <a:lnTo>
                      <a:pt x="43" y="22"/>
                    </a:lnTo>
                    <a:lnTo>
                      <a:pt x="41" y="27"/>
                    </a:lnTo>
                    <a:lnTo>
                      <a:pt x="50" y="30"/>
                    </a:lnTo>
                    <a:lnTo>
                      <a:pt x="51" y="35"/>
                    </a:lnTo>
                    <a:lnTo>
                      <a:pt x="56" y="27"/>
                    </a:lnTo>
                    <a:lnTo>
                      <a:pt x="56" y="20"/>
                    </a:lnTo>
                    <a:lnTo>
                      <a:pt x="66" y="24"/>
                    </a:lnTo>
                    <a:lnTo>
                      <a:pt x="71" y="24"/>
                    </a:lnTo>
                    <a:lnTo>
                      <a:pt x="74" y="27"/>
                    </a:lnTo>
                    <a:lnTo>
                      <a:pt x="76" y="19"/>
                    </a:lnTo>
                    <a:lnTo>
                      <a:pt x="86" y="17"/>
                    </a:lnTo>
                    <a:lnTo>
                      <a:pt x="83" y="9"/>
                    </a:lnTo>
                    <a:lnTo>
                      <a:pt x="88" y="4"/>
                    </a:lnTo>
                    <a:lnTo>
                      <a:pt x="96" y="7"/>
                    </a:lnTo>
                    <a:lnTo>
                      <a:pt x="109" y="0"/>
                    </a:lnTo>
                    <a:lnTo>
                      <a:pt x="114" y="2"/>
                    </a:lnTo>
                    <a:lnTo>
                      <a:pt x="123" y="0"/>
                    </a:lnTo>
                    <a:lnTo>
                      <a:pt x="121" y="5"/>
                    </a:lnTo>
                    <a:lnTo>
                      <a:pt x="134" y="12"/>
                    </a:lnTo>
                    <a:lnTo>
                      <a:pt x="148" y="14"/>
                    </a:lnTo>
                    <a:lnTo>
                      <a:pt x="156" y="14"/>
                    </a:lnTo>
                    <a:lnTo>
                      <a:pt x="159" y="17"/>
                    </a:lnTo>
                    <a:lnTo>
                      <a:pt x="154" y="24"/>
                    </a:lnTo>
                    <a:lnTo>
                      <a:pt x="156" y="27"/>
                    </a:lnTo>
                    <a:lnTo>
                      <a:pt x="153" y="32"/>
                    </a:lnTo>
                    <a:lnTo>
                      <a:pt x="154" y="39"/>
                    </a:lnTo>
                    <a:lnTo>
                      <a:pt x="149" y="39"/>
                    </a:lnTo>
                    <a:lnTo>
                      <a:pt x="146" y="40"/>
                    </a:lnTo>
                    <a:lnTo>
                      <a:pt x="143" y="42"/>
                    </a:lnTo>
                    <a:lnTo>
                      <a:pt x="136" y="42"/>
                    </a:lnTo>
                    <a:lnTo>
                      <a:pt x="131" y="47"/>
                    </a:lnTo>
                    <a:lnTo>
                      <a:pt x="126" y="47"/>
                    </a:lnTo>
                    <a:lnTo>
                      <a:pt x="124" y="50"/>
                    </a:lnTo>
                    <a:lnTo>
                      <a:pt x="128" y="55"/>
                    </a:lnTo>
                    <a:lnTo>
                      <a:pt x="131" y="58"/>
                    </a:lnTo>
                    <a:lnTo>
                      <a:pt x="126" y="63"/>
                    </a:lnTo>
                    <a:lnTo>
                      <a:pt x="124" y="65"/>
                    </a:lnTo>
                    <a:lnTo>
                      <a:pt x="128" y="72"/>
                    </a:lnTo>
                    <a:lnTo>
                      <a:pt x="128" y="77"/>
                    </a:lnTo>
                    <a:lnTo>
                      <a:pt x="131" y="80"/>
                    </a:lnTo>
                    <a:lnTo>
                      <a:pt x="141" y="85"/>
                    </a:lnTo>
                    <a:lnTo>
                      <a:pt x="148" y="88"/>
                    </a:lnTo>
                    <a:lnTo>
                      <a:pt x="149" y="92"/>
                    </a:lnTo>
                    <a:lnTo>
                      <a:pt x="166" y="107"/>
                    </a:lnTo>
                    <a:lnTo>
                      <a:pt x="166" y="110"/>
                    </a:lnTo>
                    <a:lnTo>
                      <a:pt x="167" y="112"/>
                    </a:lnTo>
                    <a:lnTo>
                      <a:pt x="167" y="117"/>
                    </a:lnTo>
                    <a:lnTo>
                      <a:pt x="171" y="120"/>
                    </a:lnTo>
                    <a:lnTo>
                      <a:pt x="176" y="125"/>
                    </a:lnTo>
                    <a:lnTo>
                      <a:pt x="179" y="130"/>
                    </a:lnTo>
                    <a:lnTo>
                      <a:pt x="186" y="135"/>
                    </a:lnTo>
                    <a:lnTo>
                      <a:pt x="189" y="137"/>
                    </a:lnTo>
                    <a:lnTo>
                      <a:pt x="194" y="138"/>
                    </a:lnTo>
                    <a:lnTo>
                      <a:pt x="197" y="140"/>
                    </a:lnTo>
                    <a:lnTo>
                      <a:pt x="207" y="140"/>
                    </a:lnTo>
                    <a:lnTo>
                      <a:pt x="211" y="142"/>
                    </a:lnTo>
                    <a:lnTo>
                      <a:pt x="216" y="140"/>
                    </a:lnTo>
                    <a:lnTo>
                      <a:pt x="221" y="142"/>
                    </a:lnTo>
                    <a:lnTo>
                      <a:pt x="219" y="145"/>
                    </a:lnTo>
                    <a:lnTo>
                      <a:pt x="214" y="148"/>
                    </a:lnTo>
                    <a:lnTo>
                      <a:pt x="214" y="152"/>
                    </a:lnTo>
                    <a:lnTo>
                      <a:pt x="216" y="155"/>
                    </a:lnTo>
                    <a:lnTo>
                      <a:pt x="221" y="155"/>
                    </a:lnTo>
                    <a:lnTo>
                      <a:pt x="231" y="156"/>
                    </a:lnTo>
                    <a:lnTo>
                      <a:pt x="249" y="165"/>
                    </a:lnTo>
                    <a:lnTo>
                      <a:pt x="257" y="170"/>
                    </a:lnTo>
                    <a:lnTo>
                      <a:pt x="260" y="175"/>
                    </a:lnTo>
                    <a:lnTo>
                      <a:pt x="269" y="176"/>
                    </a:lnTo>
                    <a:lnTo>
                      <a:pt x="274" y="180"/>
                    </a:lnTo>
                    <a:lnTo>
                      <a:pt x="275" y="183"/>
                    </a:lnTo>
                    <a:lnTo>
                      <a:pt x="274" y="188"/>
                    </a:lnTo>
                    <a:lnTo>
                      <a:pt x="272" y="191"/>
                    </a:lnTo>
                    <a:lnTo>
                      <a:pt x="272" y="195"/>
                    </a:lnTo>
                    <a:lnTo>
                      <a:pt x="272" y="195"/>
                    </a:lnTo>
                    <a:lnTo>
                      <a:pt x="270" y="196"/>
                    </a:lnTo>
                    <a:lnTo>
                      <a:pt x="267" y="195"/>
                    </a:lnTo>
                    <a:lnTo>
                      <a:pt x="264" y="191"/>
                    </a:lnTo>
                    <a:lnTo>
                      <a:pt x="262" y="186"/>
                    </a:lnTo>
                    <a:lnTo>
                      <a:pt x="262" y="183"/>
                    </a:lnTo>
                    <a:lnTo>
                      <a:pt x="259" y="183"/>
                    </a:lnTo>
                    <a:lnTo>
                      <a:pt x="252" y="181"/>
                    </a:lnTo>
                    <a:lnTo>
                      <a:pt x="251" y="180"/>
                    </a:lnTo>
                    <a:lnTo>
                      <a:pt x="246" y="178"/>
                    </a:lnTo>
                    <a:lnTo>
                      <a:pt x="242" y="178"/>
                    </a:lnTo>
                    <a:lnTo>
                      <a:pt x="241" y="180"/>
                    </a:lnTo>
                    <a:lnTo>
                      <a:pt x="239" y="185"/>
                    </a:lnTo>
                    <a:lnTo>
                      <a:pt x="236" y="188"/>
                    </a:lnTo>
                    <a:lnTo>
                      <a:pt x="236" y="190"/>
                    </a:lnTo>
                    <a:lnTo>
                      <a:pt x="236" y="193"/>
                    </a:lnTo>
                    <a:lnTo>
                      <a:pt x="232" y="196"/>
                    </a:lnTo>
                    <a:lnTo>
                      <a:pt x="232" y="200"/>
                    </a:lnTo>
                    <a:lnTo>
                      <a:pt x="234" y="201"/>
                    </a:lnTo>
                    <a:lnTo>
                      <a:pt x="237" y="201"/>
                    </a:lnTo>
                    <a:lnTo>
                      <a:pt x="244" y="208"/>
                    </a:lnTo>
                    <a:lnTo>
                      <a:pt x="246" y="210"/>
                    </a:lnTo>
                    <a:lnTo>
                      <a:pt x="244" y="216"/>
                    </a:lnTo>
                    <a:lnTo>
                      <a:pt x="246" y="218"/>
                    </a:lnTo>
                    <a:lnTo>
                      <a:pt x="244" y="221"/>
                    </a:lnTo>
                    <a:lnTo>
                      <a:pt x="241" y="221"/>
                    </a:lnTo>
                    <a:lnTo>
                      <a:pt x="236" y="226"/>
                    </a:lnTo>
                    <a:lnTo>
                      <a:pt x="236" y="236"/>
                    </a:lnTo>
                    <a:lnTo>
                      <a:pt x="229" y="241"/>
                    </a:lnTo>
                    <a:lnTo>
                      <a:pt x="227" y="245"/>
                    </a:lnTo>
                    <a:lnTo>
                      <a:pt x="224" y="250"/>
                    </a:lnTo>
                    <a:lnTo>
                      <a:pt x="217" y="250"/>
                    </a:lnTo>
                    <a:lnTo>
                      <a:pt x="212" y="245"/>
                    </a:lnTo>
                    <a:lnTo>
                      <a:pt x="212" y="241"/>
                    </a:lnTo>
                    <a:lnTo>
                      <a:pt x="212" y="240"/>
                    </a:lnTo>
                    <a:lnTo>
                      <a:pt x="216" y="240"/>
                    </a:lnTo>
                    <a:lnTo>
                      <a:pt x="219" y="236"/>
                    </a:lnTo>
                    <a:lnTo>
                      <a:pt x="219" y="231"/>
                    </a:lnTo>
                    <a:lnTo>
                      <a:pt x="219" y="228"/>
                    </a:lnTo>
                    <a:lnTo>
                      <a:pt x="221" y="226"/>
                    </a:lnTo>
                    <a:lnTo>
                      <a:pt x="222" y="226"/>
                    </a:lnTo>
                    <a:lnTo>
                      <a:pt x="226" y="223"/>
                    </a:lnTo>
                    <a:lnTo>
                      <a:pt x="226" y="220"/>
                    </a:lnTo>
                    <a:lnTo>
                      <a:pt x="222" y="216"/>
                    </a:lnTo>
                    <a:lnTo>
                      <a:pt x="221" y="208"/>
                    </a:lnTo>
                    <a:lnTo>
                      <a:pt x="217" y="205"/>
                    </a:lnTo>
                    <a:lnTo>
                      <a:pt x="217" y="198"/>
                    </a:lnTo>
                    <a:lnTo>
                      <a:pt x="214" y="191"/>
                    </a:lnTo>
                    <a:lnTo>
                      <a:pt x="211" y="190"/>
                    </a:lnTo>
                    <a:lnTo>
                      <a:pt x="207" y="191"/>
                    </a:lnTo>
                    <a:lnTo>
                      <a:pt x="202" y="190"/>
                    </a:lnTo>
                    <a:lnTo>
                      <a:pt x="201" y="186"/>
                    </a:lnTo>
                    <a:lnTo>
                      <a:pt x="196" y="186"/>
                    </a:lnTo>
                    <a:lnTo>
                      <a:pt x="192" y="183"/>
                    </a:lnTo>
                    <a:lnTo>
                      <a:pt x="194" y="181"/>
                    </a:lnTo>
                    <a:lnTo>
                      <a:pt x="194" y="178"/>
                    </a:lnTo>
                    <a:lnTo>
                      <a:pt x="191" y="175"/>
                    </a:lnTo>
                    <a:lnTo>
                      <a:pt x="187" y="173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79" y="170"/>
                    </a:lnTo>
                    <a:lnTo>
                      <a:pt x="176" y="170"/>
                    </a:lnTo>
                    <a:lnTo>
                      <a:pt x="172" y="168"/>
                    </a:lnTo>
                    <a:lnTo>
                      <a:pt x="167" y="160"/>
                    </a:lnTo>
                    <a:lnTo>
                      <a:pt x="162" y="160"/>
                    </a:lnTo>
                    <a:lnTo>
                      <a:pt x="158" y="158"/>
                    </a:lnTo>
                    <a:lnTo>
                      <a:pt x="154" y="160"/>
                    </a:lnTo>
                    <a:lnTo>
                      <a:pt x="151" y="160"/>
                    </a:lnTo>
                    <a:lnTo>
                      <a:pt x="149" y="156"/>
                    </a:lnTo>
                    <a:lnTo>
                      <a:pt x="146" y="155"/>
                    </a:lnTo>
                    <a:lnTo>
                      <a:pt x="141" y="153"/>
                    </a:lnTo>
                    <a:lnTo>
                      <a:pt x="131" y="148"/>
                    </a:lnTo>
                    <a:lnTo>
                      <a:pt x="121" y="137"/>
                    </a:lnTo>
                    <a:lnTo>
                      <a:pt x="119" y="135"/>
                    </a:lnTo>
                    <a:lnTo>
                      <a:pt x="118" y="132"/>
                    </a:lnTo>
                    <a:lnTo>
                      <a:pt x="113" y="127"/>
                    </a:lnTo>
                    <a:lnTo>
                      <a:pt x="106" y="127"/>
                    </a:lnTo>
                    <a:lnTo>
                      <a:pt x="106" y="122"/>
                    </a:lnTo>
                    <a:lnTo>
                      <a:pt x="99" y="117"/>
                    </a:lnTo>
                    <a:lnTo>
                      <a:pt x="96" y="112"/>
                    </a:lnTo>
                    <a:lnTo>
                      <a:pt x="89" y="110"/>
                    </a:lnTo>
                    <a:lnTo>
                      <a:pt x="89" y="103"/>
                    </a:lnTo>
                    <a:lnTo>
                      <a:pt x="86" y="102"/>
                    </a:lnTo>
                    <a:lnTo>
                      <a:pt x="86" y="98"/>
                    </a:lnTo>
                    <a:lnTo>
                      <a:pt x="81" y="92"/>
                    </a:lnTo>
                    <a:lnTo>
                      <a:pt x="79" y="88"/>
                    </a:lnTo>
                    <a:lnTo>
                      <a:pt x="78" y="85"/>
                    </a:lnTo>
                    <a:lnTo>
                      <a:pt x="76" y="82"/>
                    </a:lnTo>
                    <a:lnTo>
                      <a:pt x="69" y="80"/>
                    </a:lnTo>
                    <a:lnTo>
                      <a:pt x="64" y="77"/>
                    </a:lnTo>
                    <a:lnTo>
                      <a:pt x="48" y="73"/>
                    </a:lnTo>
                    <a:lnTo>
                      <a:pt x="36" y="80"/>
                    </a:lnTo>
                    <a:lnTo>
                      <a:pt x="36" y="83"/>
                    </a:lnTo>
                    <a:lnTo>
                      <a:pt x="31" y="88"/>
                    </a:lnTo>
                    <a:lnTo>
                      <a:pt x="20" y="90"/>
                    </a:lnTo>
                    <a:lnTo>
                      <a:pt x="20" y="90"/>
                    </a:lnTo>
                    <a:close/>
                    <a:moveTo>
                      <a:pt x="38" y="163"/>
                    </a:moveTo>
                    <a:lnTo>
                      <a:pt x="40" y="163"/>
                    </a:lnTo>
                    <a:lnTo>
                      <a:pt x="40" y="161"/>
                    </a:lnTo>
                    <a:lnTo>
                      <a:pt x="41" y="160"/>
                    </a:lnTo>
                    <a:lnTo>
                      <a:pt x="40" y="158"/>
                    </a:lnTo>
                    <a:lnTo>
                      <a:pt x="38" y="160"/>
                    </a:lnTo>
                    <a:lnTo>
                      <a:pt x="38" y="161"/>
                    </a:lnTo>
                    <a:lnTo>
                      <a:pt x="38" y="163"/>
                    </a:lnTo>
                    <a:lnTo>
                      <a:pt x="38" y="163"/>
                    </a:lnTo>
                    <a:close/>
                    <a:moveTo>
                      <a:pt x="99" y="128"/>
                    </a:moveTo>
                    <a:lnTo>
                      <a:pt x="101" y="130"/>
                    </a:lnTo>
                    <a:lnTo>
                      <a:pt x="101" y="128"/>
                    </a:lnTo>
                    <a:lnTo>
                      <a:pt x="99" y="128"/>
                    </a:lnTo>
                    <a:lnTo>
                      <a:pt x="99" y="128"/>
                    </a:lnTo>
                    <a:close/>
                    <a:moveTo>
                      <a:pt x="79" y="115"/>
                    </a:moveTo>
                    <a:lnTo>
                      <a:pt x="78" y="118"/>
                    </a:lnTo>
                    <a:lnTo>
                      <a:pt x="81" y="118"/>
                    </a:lnTo>
                    <a:lnTo>
                      <a:pt x="84" y="117"/>
                    </a:lnTo>
                    <a:lnTo>
                      <a:pt x="89" y="117"/>
                    </a:lnTo>
                    <a:lnTo>
                      <a:pt x="88" y="115"/>
                    </a:lnTo>
                    <a:lnTo>
                      <a:pt x="86" y="112"/>
                    </a:lnTo>
                    <a:lnTo>
                      <a:pt x="84" y="113"/>
                    </a:lnTo>
                    <a:lnTo>
                      <a:pt x="79" y="115"/>
                    </a:lnTo>
                    <a:lnTo>
                      <a:pt x="79" y="115"/>
                    </a:lnTo>
                    <a:close/>
                    <a:moveTo>
                      <a:pt x="50" y="223"/>
                    </a:moveTo>
                    <a:lnTo>
                      <a:pt x="51" y="221"/>
                    </a:lnTo>
                    <a:lnTo>
                      <a:pt x="55" y="223"/>
                    </a:lnTo>
                    <a:lnTo>
                      <a:pt x="58" y="221"/>
                    </a:lnTo>
                    <a:lnTo>
                      <a:pt x="58" y="216"/>
                    </a:lnTo>
                    <a:lnTo>
                      <a:pt x="59" y="213"/>
                    </a:lnTo>
                    <a:lnTo>
                      <a:pt x="64" y="215"/>
                    </a:lnTo>
                    <a:lnTo>
                      <a:pt x="66" y="216"/>
                    </a:lnTo>
                    <a:lnTo>
                      <a:pt x="69" y="216"/>
                    </a:lnTo>
                    <a:lnTo>
                      <a:pt x="71" y="213"/>
                    </a:lnTo>
                    <a:lnTo>
                      <a:pt x="71" y="205"/>
                    </a:lnTo>
                    <a:lnTo>
                      <a:pt x="73" y="203"/>
                    </a:lnTo>
                    <a:lnTo>
                      <a:pt x="71" y="195"/>
                    </a:lnTo>
                    <a:lnTo>
                      <a:pt x="73" y="186"/>
                    </a:lnTo>
                    <a:lnTo>
                      <a:pt x="66" y="181"/>
                    </a:lnTo>
                    <a:lnTo>
                      <a:pt x="73" y="178"/>
                    </a:lnTo>
                    <a:lnTo>
                      <a:pt x="73" y="175"/>
                    </a:lnTo>
                    <a:lnTo>
                      <a:pt x="71" y="170"/>
                    </a:lnTo>
                    <a:lnTo>
                      <a:pt x="68" y="166"/>
                    </a:lnTo>
                    <a:lnTo>
                      <a:pt x="64" y="161"/>
                    </a:lnTo>
                    <a:lnTo>
                      <a:pt x="63" y="163"/>
                    </a:lnTo>
                    <a:lnTo>
                      <a:pt x="59" y="160"/>
                    </a:lnTo>
                    <a:lnTo>
                      <a:pt x="56" y="160"/>
                    </a:lnTo>
                    <a:lnTo>
                      <a:pt x="46" y="170"/>
                    </a:lnTo>
                    <a:lnTo>
                      <a:pt x="43" y="170"/>
                    </a:lnTo>
                    <a:lnTo>
                      <a:pt x="38" y="166"/>
                    </a:lnTo>
                    <a:lnTo>
                      <a:pt x="38" y="171"/>
                    </a:lnTo>
                    <a:lnTo>
                      <a:pt x="36" y="175"/>
                    </a:lnTo>
                    <a:lnTo>
                      <a:pt x="40" y="178"/>
                    </a:lnTo>
                    <a:lnTo>
                      <a:pt x="41" y="181"/>
                    </a:lnTo>
                    <a:lnTo>
                      <a:pt x="45" y="183"/>
                    </a:lnTo>
                    <a:lnTo>
                      <a:pt x="45" y="188"/>
                    </a:lnTo>
                    <a:lnTo>
                      <a:pt x="41" y="191"/>
                    </a:lnTo>
                    <a:lnTo>
                      <a:pt x="43" y="195"/>
                    </a:lnTo>
                    <a:lnTo>
                      <a:pt x="46" y="195"/>
                    </a:lnTo>
                    <a:lnTo>
                      <a:pt x="46" y="196"/>
                    </a:lnTo>
                    <a:lnTo>
                      <a:pt x="45" y="200"/>
                    </a:lnTo>
                    <a:lnTo>
                      <a:pt x="41" y="208"/>
                    </a:lnTo>
                    <a:lnTo>
                      <a:pt x="45" y="210"/>
                    </a:lnTo>
                    <a:lnTo>
                      <a:pt x="46" y="220"/>
                    </a:lnTo>
                    <a:lnTo>
                      <a:pt x="50" y="223"/>
                    </a:lnTo>
                    <a:lnTo>
                      <a:pt x="50" y="223"/>
                    </a:lnTo>
                    <a:close/>
                    <a:moveTo>
                      <a:pt x="202" y="281"/>
                    </a:moveTo>
                    <a:lnTo>
                      <a:pt x="202" y="274"/>
                    </a:lnTo>
                    <a:lnTo>
                      <a:pt x="206" y="273"/>
                    </a:lnTo>
                    <a:lnTo>
                      <a:pt x="204" y="268"/>
                    </a:lnTo>
                    <a:lnTo>
                      <a:pt x="201" y="263"/>
                    </a:lnTo>
                    <a:lnTo>
                      <a:pt x="204" y="251"/>
                    </a:lnTo>
                    <a:lnTo>
                      <a:pt x="209" y="248"/>
                    </a:lnTo>
                    <a:lnTo>
                      <a:pt x="211" y="243"/>
                    </a:lnTo>
                    <a:lnTo>
                      <a:pt x="206" y="238"/>
                    </a:lnTo>
                    <a:lnTo>
                      <a:pt x="201" y="243"/>
                    </a:lnTo>
                    <a:lnTo>
                      <a:pt x="197" y="243"/>
                    </a:lnTo>
                    <a:lnTo>
                      <a:pt x="192" y="241"/>
                    </a:lnTo>
                    <a:lnTo>
                      <a:pt x="187" y="246"/>
                    </a:lnTo>
                    <a:lnTo>
                      <a:pt x="176" y="245"/>
                    </a:lnTo>
                    <a:lnTo>
                      <a:pt x="167" y="248"/>
                    </a:lnTo>
                    <a:lnTo>
                      <a:pt x="161" y="246"/>
                    </a:lnTo>
                    <a:lnTo>
                      <a:pt x="156" y="243"/>
                    </a:lnTo>
                    <a:lnTo>
                      <a:pt x="151" y="245"/>
                    </a:lnTo>
                    <a:lnTo>
                      <a:pt x="148" y="246"/>
                    </a:lnTo>
                    <a:lnTo>
                      <a:pt x="146" y="245"/>
                    </a:lnTo>
                    <a:lnTo>
                      <a:pt x="141" y="246"/>
                    </a:lnTo>
                    <a:lnTo>
                      <a:pt x="139" y="253"/>
                    </a:lnTo>
                    <a:lnTo>
                      <a:pt x="144" y="258"/>
                    </a:lnTo>
                    <a:lnTo>
                      <a:pt x="151" y="258"/>
                    </a:lnTo>
                    <a:lnTo>
                      <a:pt x="159" y="263"/>
                    </a:lnTo>
                    <a:lnTo>
                      <a:pt x="164" y="264"/>
                    </a:lnTo>
                    <a:lnTo>
                      <a:pt x="169" y="268"/>
                    </a:lnTo>
                    <a:lnTo>
                      <a:pt x="179" y="271"/>
                    </a:lnTo>
                    <a:lnTo>
                      <a:pt x="182" y="271"/>
                    </a:lnTo>
                    <a:lnTo>
                      <a:pt x="186" y="274"/>
                    </a:lnTo>
                    <a:lnTo>
                      <a:pt x="187" y="278"/>
                    </a:lnTo>
                    <a:lnTo>
                      <a:pt x="199" y="281"/>
                    </a:lnTo>
                    <a:lnTo>
                      <a:pt x="202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3" name="Freeform 67"/>
              <p:cNvSpPr>
                <a:spLocks noEditPoints="1"/>
              </p:cNvSpPr>
              <p:nvPr/>
            </p:nvSpPr>
            <p:spPr bwMode="auto">
              <a:xfrm>
                <a:off x="6304778" y="2734319"/>
                <a:ext cx="147694" cy="105834"/>
              </a:xfrm>
              <a:custGeom>
                <a:avLst/>
                <a:gdLst/>
                <a:ahLst/>
                <a:cxnLst>
                  <a:cxn ang="0">
                    <a:pos x="175" y="13"/>
                  </a:cxn>
                  <a:cxn ang="0">
                    <a:pos x="178" y="22"/>
                  </a:cxn>
                  <a:cxn ang="0">
                    <a:pos x="200" y="30"/>
                  </a:cxn>
                  <a:cxn ang="0">
                    <a:pos x="216" y="32"/>
                  </a:cxn>
                  <a:cxn ang="0">
                    <a:pos x="234" y="30"/>
                  </a:cxn>
                  <a:cxn ang="0">
                    <a:pos x="253" y="35"/>
                  </a:cxn>
                  <a:cxn ang="0">
                    <a:pos x="274" y="38"/>
                  </a:cxn>
                  <a:cxn ang="0">
                    <a:pos x="273" y="50"/>
                  </a:cxn>
                  <a:cxn ang="0">
                    <a:pos x="261" y="65"/>
                  </a:cxn>
                  <a:cxn ang="0">
                    <a:pos x="256" y="70"/>
                  </a:cxn>
                  <a:cxn ang="0">
                    <a:pos x="233" y="76"/>
                  </a:cxn>
                  <a:cxn ang="0">
                    <a:pos x="229" y="85"/>
                  </a:cxn>
                  <a:cxn ang="0">
                    <a:pos x="226" y="86"/>
                  </a:cxn>
                  <a:cxn ang="0">
                    <a:pos x="211" y="98"/>
                  </a:cxn>
                  <a:cxn ang="0">
                    <a:pos x="203" y="121"/>
                  </a:cxn>
                  <a:cxn ang="0">
                    <a:pos x="214" y="135"/>
                  </a:cxn>
                  <a:cxn ang="0">
                    <a:pos x="201" y="146"/>
                  </a:cxn>
                  <a:cxn ang="0">
                    <a:pos x="195" y="164"/>
                  </a:cxn>
                  <a:cxn ang="0">
                    <a:pos x="170" y="174"/>
                  </a:cxn>
                  <a:cxn ang="0">
                    <a:pos x="160" y="184"/>
                  </a:cxn>
                  <a:cxn ang="0">
                    <a:pos x="148" y="188"/>
                  </a:cxn>
                  <a:cxn ang="0">
                    <a:pos x="138" y="188"/>
                  </a:cxn>
                  <a:cxn ang="0">
                    <a:pos x="118" y="186"/>
                  </a:cxn>
                  <a:cxn ang="0">
                    <a:pos x="93" y="194"/>
                  </a:cxn>
                  <a:cxn ang="0">
                    <a:pos x="82" y="204"/>
                  </a:cxn>
                  <a:cxn ang="0">
                    <a:pos x="62" y="186"/>
                  </a:cxn>
                  <a:cxn ang="0">
                    <a:pos x="45" y="176"/>
                  </a:cxn>
                  <a:cxn ang="0">
                    <a:pos x="38" y="164"/>
                  </a:cxn>
                  <a:cxn ang="0">
                    <a:pos x="50" y="146"/>
                  </a:cxn>
                  <a:cxn ang="0">
                    <a:pos x="48" y="133"/>
                  </a:cxn>
                  <a:cxn ang="0">
                    <a:pos x="37" y="110"/>
                  </a:cxn>
                  <a:cxn ang="0">
                    <a:pos x="53" y="101"/>
                  </a:cxn>
                  <a:cxn ang="0">
                    <a:pos x="55" y="78"/>
                  </a:cxn>
                  <a:cxn ang="0">
                    <a:pos x="67" y="65"/>
                  </a:cxn>
                  <a:cxn ang="0">
                    <a:pos x="62" y="50"/>
                  </a:cxn>
                  <a:cxn ang="0">
                    <a:pos x="33" y="50"/>
                  </a:cxn>
                  <a:cxn ang="0">
                    <a:pos x="23" y="45"/>
                  </a:cxn>
                  <a:cxn ang="0">
                    <a:pos x="9" y="45"/>
                  </a:cxn>
                  <a:cxn ang="0">
                    <a:pos x="13" y="37"/>
                  </a:cxn>
                  <a:cxn ang="0">
                    <a:pos x="9" y="33"/>
                  </a:cxn>
                  <a:cxn ang="0">
                    <a:pos x="5" y="27"/>
                  </a:cxn>
                  <a:cxn ang="0">
                    <a:pos x="0" y="20"/>
                  </a:cxn>
                  <a:cxn ang="0">
                    <a:pos x="15" y="13"/>
                  </a:cxn>
                  <a:cxn ang="0">
                    <a:pos x="23" y="8"/>
                  </a:cxn>
                  <a:cxn ang="0">
                    <a:pos x="33" y="3"/>
                  </a:cxn>
                  <a:cxn ang="0">
                    <a:pos x="48" y="7"/>
                  </a:cxn>
                  <a:cxn ang="0">
                    <a:pos x="63" y="7"/>
                  </a:cxn>
                  <a:cxn ang="0">
                    <a:pos x="78" y="3"/>
                  </a:cxn>
                  <a:cxn ang="0">
                    <a:pos x="110" y="12"/>
                  </a:cxn>
                  <a:cxn ang="0">
                    <a:pos x="131" y="10"/>
                  </a:cxn>
                  <a:cxn ang="0">
                    <a:pos x="150" y="8"/>
                  </a:cxn>
                  <a:cxn ang="0">
                    <a:pos x="168" y="12"/>
                  </a:cxn>
                  <a:cxn ang="0">
                    <a:pos x="244" y="136"/>
                  </a:cxn>
                  <a:cxn ang="0">
                    <a:pos x="248" y="126"/>
                  </a:cxn>
                  <a:cxn ang="0">
                    <a:pos x="244" y="136"/>
                  </a:cxn>
                </a:cxnLst>
                <a:rect l="0" t="0" r="r" b="b"/>
                <a:pathLst>
                  <a:path w="276" h="204">
                    <a:moveTo>
                      <a:pt x="170" y="10"/>
                    </a:moveTo>
                    <a:lnTo>
                      <a:pt x="175" y="12"/>
                    </a:lnTo>
                    <a:lnTo>
                      <a:pt x="175" y="13"/>
                    </a:lnTo>
                    <a:lnTo>
                      <a:pt x="178" y="13"/>
                    </a:lnTo>
                    <a:lnTo>
                      <a:pt x="178" y="18"/>
                    </a:lnTo>
                    <a:lnTo>
                      <a:pt x="178" y="22"/>
                    </a:lnTo>
                    <a:lnTo>
                      <a:pt x="185" y="22"/>
                    </a:lnTo>
                    <a:lnTo>
                      <a:pt x="195" y="25"/>
                    </a:lnTo>
                    <a:lnTo>
                      <a:pt x="200" y="30"/>
                    </a:lnTo>
                    <a:lnTo>
                      <a:pt x="205" y="27"/>
                    </a:lnTo>
                    <a:lnTo>
                      <a:pt x="210" y="32"/>
                    </a:lnTo>
                    <a:lnTo>
                      <a:pt x="216" y="32"/>
                    </a:lnTo>
                    <a:lnTo>
                      <a:pt x="219" y="33"/>
                    </a:lnTo>
                    <a:lnTo>
                      <a:pt x="224" y="30"/>
                    </a:lnTo>
                    <a:lnTo>
                      <a:pt x="234" y="30"/>
                    </a:lnTo>
                    <a:lnTo>
                      <a:pt x="239" y="32"/>
                    </a:lnTo>
                    <a:lnTo>
                      <a:pt x="246" y="30"/>
                    </a:lnTo>
                    <a:lnTo>
                      <a:pt x="253" y="35"/>
                    </a:lnTo>
                    <a:lnTo>
                      <a:pt x="264" y="33"/>
                    </a:lnTo>
                    <a:lnTo>
                      <a:pt x="273" y="38"/>
                    </a:lnTo>
                    <a:lnTo>
                      <a:pt x="274" y="38"/>
                    </a:lnTo>
                    <a:lnTo>
                      <a:pt x="276" y="42"/>
                    </a:lnTo>
                    <a:lnTo>
                      <a:pt x="271" y="43"/>
                    </a:lnTo>
                    <a:lnTo>
                      <a:pt x="273" y="50"/>
                    </a:lnTo>
                    <a:lnTo>
                      <a:pt x="273" y="55"/>
                    </a:lnTo>
                    <a:lnTo>
                      <a:pt x="269" y="60"/>
                    </a:lnTo>
                    <a:lnTo>
                      <a:pt x="261" y="65"/>
                    </a:lnTo>
                    <a:lnTo>
                      <a:pt x="261" y="65"/>
                    </a:lnTo>
                    <a:lnTo>
                      <a:pt x="256" y="70"/>
                    </a:lnTo>
                    <a:lnTo>
                      <a:pt x="256" y="70"/>
                    </a:lnTo>
                    <a:lnTo>
                      <a:pt x="249" y="71"/>
                    </a:lnTo>
                    <a:lnTo>
                      <a:pt x="239" y="71"/>
                    </a:lnTo>
                    <a:lnTo>
                      <a:pt x="233" y="76"/>
                    </a:lnTo>
                    <a:lnTo>
                      <a:pt x="228" y="78"/>
                    </a:lnTo>
                    <a:lnTo>
                      <a:pt x="231" y="80"/>
                    </a:lnTo>
                    <a:lnTo>
                      <a:pt x="229" y="85"/>
                    </a:lnTo>
                    <a:lnTo>
                      <a:pt x="226" y="88"/>
                    </a:lnTo>
                    <a:lnTo>
                      <a:pt x="224" y="86"/>
                    </a:lnTo>
                    <a:lnTo>
                      <a:pt x="226" y="86"/>
                    </a:lnTo>
                    <a:lnTo>
                      <a:pt x="223" y="85"/>
                    </a:lnTo>
                    <a:lnTo>
                      <a:pt x="216" y="96"/>
                    </a:lnTo>
                    <a:lnTo>
                      <a:pt x="211" y="98"/>
                    </a:lnTo>
                    <a:lnTo>
                      <a:pt x="203" y="113"/>
                    </a:lnTo>
                    <a:lnTo>
                      <a:pt x="200" y="116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8" y="128"/>
                    </a:lnTo>
                    <a:lnTo>
                      <a:pt x="214" y="135"/>
                    </a:lnTo>
                    <a:lnTo>
                      <a:pt x="210" y="140"/>
                    </a:lnTo>
                    <a:lnTo>
                      <a:pt x="201" y="141"/>
                    </a:lnTo>
                    <a:lnTo>
                      <a:pt x="201" y="146"/>
                    </a:lnTo>
                    <a:lnTo>
                      <a:pt x="193" y="156"/>
                    </a:lnTo>
                    <a:lnTo>
                      <a:pt x="193" y="163"/>
                    </a:lnTo>
                    <a:lnTo>
                      <a:pt x="195" y="164"/>
                    </a:lnTo>
                    <a:lnTo>
                      <a:pt x="193" y="168"/>
                    </a:lnTo>
                    <a:lnTo>
                      <a:pt x="185" y="168"/>
                    </a:lnTo>
                    <a:lnTo>
                      <a:pt x="170" y="174"/>
                    </a:lnTo>
                    <a:lnTo>
                      <a:pt x="170" y="179"/>
                    </a:lnTo>
                    <a:lnTo>
                      <a:pt x="165" y="188"/>
                    </a:lnTo>
                    <a:lnTo>
                      <a:pt x="160" y="184"/>
                    </a:lnTo>
                    <a:lnTo>
                      <a:pt x="155" y="181"/>
                    </a:lnTo>
                    <a:lnTo>
                      <a:pt x="151" y="184"/>
                    </a:lnTo>
                    <a:lnTo>
                      <a:pt x="148" y="188"/>
                    </a:lnTo>
                    <a:lnTo>
                      <a:pt x="145" y="186"/>
                    </a:lnTo>
                    <a:lnTo>
                      <a:pt x="140" y="184"/>
                    </a:lnTo>
                    <a:lnTo>
                      <a:pt x="138" y="188"/>
                    </a:lnTo>
                    <a:lnTo>
                      <a:pt x="131" y="186"/>
                    </a:lnTo>
                    <a:lnTo>
                      <a:pt x="121" y="184"/>
                    </a:lnTo>
                    <a:lnTo>
                      <a:pt x="118" y="186"/>
                    </a:lnTo>
                    <a:lnTo>
                      <a:pt x="108" y="186"/>
                    </a:lnTo>
                    <a:lnTo>
                      <a:pt x="102" y="194"/>
                    </a:lnTo>
                    <a:lnTo>
                      <a:pt x="93" y="194"/>
                    </a:lnTo>
                    <a:lnTo>
                      <a:pt x="88" y="198"/>
                    </a:lnTo>
                    <a:lnTo>
                      <a:pt x="88" y="201"/>
                    </a:lnTo>
                    <a:lnTo>
                      <a:pt x="82" y="204"/>
                    </a:lnTo>
                    <a:lnTo>
                      <a:pt x="73" y="203"/>
                    </a:lnTo>
                    <a:lnTo>
                      <a:pt x="67" y="196"/>
                    </a:lnTo>
                    <a:lnTo>
                      <a:pt x="62" y="186"/>
                    </a:lnTo>
                    <a:lnTo>
                      <a:pt x="62" y="184"/>
                    </a:lnTo>
                    <a:lnTo>
                      <a:pt x="52" y="176"/>
                    </a:lnTo>
                    <a:lnTo>
                      <a:pt x="45" y="176"/>
                    </a:lnTo>
                    <a:lnTo>
                      <a:pt x="42" y="174"/>
                    </a:lnTo>
                    <a:lnTo>
                      <a:pt x="42" y="169"/>
                    </a:lnTo>
                    <a:lnTo>
                      <a:pt x="38" y="164"/>
                    </a:lnTo>
                    <a:lnTo>
                      <a:pt x="43" y="155"/>
                    </a:lnTo>
                    <a:lnTo>
                      <a:pt x="48" y="150"/>
                    </a:lnTo>
                    <a:lnTo>
                      <a:pt x="50" y="146"/>
                    </a:lnTo>
                    <a:lnTo>
                      <a:pt x="45" y="146"/>
                    </a:lnTo>
                    <a:lnTo>
                      <a:pt x="42" y="140"/>
                    </a:lnTo>
                    <a:lnTo>
                      <a:pt x="48" y="133"/>
                    </a:lnTo>
                    <a:lnTo>
                      <a:pt x="48" y="123"/>
                    </a:lnTo>
                    <a:lnTo>
                      <a:pt x="43" y="121"/>
                    </a:lnTo>
                    <a:lnTo>
                      <a:pt x="37" y="110"/>
                    </a:lnTo>
                    <a:lnTo>
                      <a:pt x="42" y="108"/>
                    </a:lnTo>
                    <a:lnTo>
                      <a:pt x="47" y="110"/>
                    </a:lnTo>
                    <a:lnTo>
                      <a:pt x="53" y="101"/>
                    </a:lnTo>
                    <a:lnTo>
                      <a:pt x="48" y="98"/>
                    </a:lnTo>
                    <a:lnTo>
                      <a:pt x="53" y="93"/>
                    </a:lnTo>
                    <a:lnTo>
                      <a:pt x="55" y="78"/>
                    </a:lnTo>
                    <a:lnTo>
                      <a:pt x="53" y="73"/>
                    </a:lnTo>
                    <a:lnTo>
                      <a:pt x="63" y="65"/>
                    </a:lnTo>
                    <a:lnTo>
                      <a:pt x="67" y="65"/>
                    </a:lnTo>
                    <a:lnTo>
                      <a:pt x="68" y="62"/>
                    </a:lnTo>
                    <a:lnTo>
                      <a:pt x="63" y="55"/>
                    </a:lnTo>
                    <a:lnTo>
                      <a:pt x="62" y="50"/>
                    </a:lnTo>
                    <a:lnTo>
                      <a:pt x="50" y="48"/>
                    </a:lnTo>
                    <a:lnTo>
                      <a:pt x="47" y="52"/>
                    </a:lnTo>
                    <a:lnTo>
                      <a:pt x="33" y="50"/>
                    </a:lnTo>
                    <a:lnTo>
                      <a:pt x="25" y="53"/>
                    </a:lnTo>
                    <a:lnTo>
                      <a:pt x="22" y="50"/>
                    </a:lnTo>
                    <a:lnTo>
                      <a:pt x="23" y="45"/>
                    </a:lnTo>
                    <a:lnTo>
                      <a:pt x="18" y="45"/>
                    </a:lnTo>
                    <a:lnTo>
                      <a:pt x="9" y="47"/>
                    </a:lnTo>
                    <a:lnTo>
                      <a:pt x="9" y="45"/>
                    </a:lnTo>
                    <a:lnTo>
                      <a:pt x="13" y="40"/>
                    </a:lnTo>
                    <a:lnTo>
                      <a:pt x="10" y="40"/>
                    </a:lnTo>
                    <a:lnTo>
                      <a:pt x="13" y="37"/>
                    </a:lnTo>
                    <a:lnTo>
                      <a:pt x="10" y="35"/>
                    </a:lnTo>
                    <a:lnTo>
                      <a:pt x="12" y="30"/>
                    </a:lnTo>
                    <a:lnTo>
                      <a:pt x="9" y="33"/>
                    </a:lnTo>
                    <a:lnTo>
                      <a:pt x="7" y="33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2" y="25"/>
                    </a:lnTo>
                    <a:lnTo>
                      <a:pt x="0" y="20"/>
                    </a:lnTo>
                    <a:lnTo>
                      <a:pt x="4" y="15"/>
                    </a:lnTo>
                    <a:lnTo>
                      <a:pt x="12" y="12"/>
                    </a:lnTo>
                    <a:lnTo>
                      <a:pt x="15" y="13"/>
                    </a:lnTo>
                    <a:lnTo>
                      <a:pt x="23" y="13"/>
                    </a:lnTo>
                    <a:lnTo>
                      <a:pt x="27" y="10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32" y="2"/>
                    </a:lnTo>
                    <a:lnTo>
                      <a:pt x="33" y="3"/>
                    </a:lnTo>
                    <a:lnTo>
                      <a:pt x="37" y="0"/>
                    </a:lnTo>
                    <a:lnTo>
                      <a:pt x="43" y="2"/>
                    </a:lnTo>
                    <a:lnTo>
                      <a:pt x="48" y="7"/>
                    </a:lnTo>
                    <a:lnTo>
                      <a:pt x="52" y="3"/>
                    </a:lnTo>
                    <a:lnTo>
                      <a:pt x="57" y="3"/>
                    </a:lnTo>
                    <a:lnTo>
                      <a:pt x="63" y="7"/>
                    </a:lnTo>
                    <a:lnTo>
                      <a:pt x="70" y="3"/>
                    </a:lnTo>
                    <a:lnTo>
                      <a:pt x="77" y="2"/>
                    </a:lnTo>
                    <a:lnTo>
                      <a:pt x="78" y="3"/>
                    </a:lnTo>
                    <a:lnTo>
                      <a:pt x="85" y="7"/>
                    </a:lnTo>
                    <a:lnTo>
                      <a:pt x="102" y="10"/>
                    </a:lnTo>
                    <a:lnTo>
                      <a:pt x="110" y="12"/>
                    </a:lnTo>
                    <a:lnTo>
                      <a:pt x="121" y="7"/>
                    </a:lnTo>
                    <a:lnTo>
                      <a:pt x="130" y="7"/>
                    </a:lnTo>
                    <a:lnTo>
                      <a:pt x="131" y="10"/>
                    </a:lnTo>
                    <a:lnTo>
                      <a:pt x="141" y="12"/>
                    </a:lnTo>
                    <a:lnTo>
                      <a:pt x="145" y="8"/>
                    </a:lnTo>
                    <a:lnTo>
                      <a:pt x="150" y="8"/>
                    </a:lnTo>
                    <a:lnTo>
                      <a:pt x="163" y="15"/>
                    </a:lnTo>
                    <a:lnTo>
                      <a:pt x="165" y="12"/>
                    </a:lnTo>
                    <a:lnTo>
                      <a:pt x="168" y="12"/>
                    </a:lnTo>
                    <a:lnTo>
                      <a:pt x="170" y="10"/>
                    </a:lnTo>
                    <a:lnTo>
                      <a:pt x="170" y="10"/>
                    </a:lnTo>
                    <a:close/>
                    <a:moveTo>
                      <a:pt x="244" y="136"/>
                    </a:moveTo>
                    <a:lnTo>
                      <a:pt x="246" y="131"/>
                    </a:lnTo>
                    <a:lnTo>
                      <a:pt x="249" y="130"/>
                    </a:lnTo>
                    <a:lnTo>
                      <a:pt x="248" y="126"/>
                    </a:lnTo>
                    <a:lnTo>
                      <a:pt x="241" y="128"/>
                    </a:lnTo>
                    <a:lnTo>
                      <a:pt x="239" y="133"/>
                    </a:lnTo>
                    <a:lnTo>
                      <a:pt x="244" y="1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4" name="Freeform 68"/>
              <p:cNvSpPr>
                <a:spLocks/>
              </p:cNvSpPr>
              <p:nvPr/>
            </p:nvSpPr>
            <p:spPr bwMode="auto">
              <a:xfrm>
                <a:off x="6300497" y="2757146"/>
                <a:ext cx="40669" cy="70556"/>
              </a:xfrm>
              <a:custGeom>
                <a:avLst/>
                <a:gdLst/>
                <a:ahLst/>
                <a:cxnLst>
                  <a:cxn ang="0">
                    <a:pos x="50" y="124"/>
                  </a:cxn>
                  <a:cxn ang="0">
                    <a:pos x="51" y="110"/>
                  </a:cxn>
                  <a:cxn ang="0">
                    <a:pos x="58" y="101"/>
                  </a:cxn>
                  <a:cxn ang="0">
                    <a:pos x="50" y="95"/>
                  </a:cxn>
                  <a:cxn ang="0">
                    <a:pos x="56" y="78"/>
                  </a:cxn>
                  <a:cxn ang="0">
                    <a:pos x="45" y="65"/>
                  </a:cxn>
                  <a:cxn ang="0">
                    <a:pos x="55" y="65"/>
                  </a:cxn>
                  <a:cxn ang="0">
                    <a:pos x="56" y="53"/>
                  </a:cxn>
                  <a:cxn ang="0">
                    <a:pos x="63" y="33"/>
                  </a:cxn>
                  <a:cxn ang="0">
                    <a:pos x="71" y="20"/>
                  </a:cxn>
                  <a:cxn ang="0">
                    <a:pos x="76" y="17"/>
                  </a:cxn>
                  <a:cxn ang="0">
                    <a:pos x="70" y="5"/>
                  </a:cxn>
                  <a:cxn ang="0">
                    <a:pos x="55" y="7"/>
                  </a:cxn>
                  <a:cxn ang="0">
                    <a:pos x="33" y="8"/>
                  </a:cxn>
                  <a:cxn ang="0">
                    <a:pos x="31" y="0"/>
                  </a:cxn>
                  <a:cxn ang="0">
                    <a:pos x="17" y="2"/>
                  </a:cxn>
                  <a:cxn ang="0">
                    <a:pos x="20" y="13"/>
                  </a:cxn>
                  <a:cxn ang="0">
                    <a:pos x="20" y="28"/>
                  </a:cxn>
                  <a:cxn ang="0">
                    <a:pos x="21" y="38"/>
                  </a:cxn>
                  <a:cxn ang="0">
                    <a:pos x="17" y="48"/>
                  </a:cxn>
                  <a:cxn ang="0">
                    <a:pos x="10" y="61"/>
                  </a:cxn>
                  <a:cxn ang="0">
                    <a:pos x="3" y="75"/>
                  </a:cxn>
                  <a:cxn ang="0">
                    <a:pos x="0" y="90"/>
                  </a:cxn>
                  <a:cxn ang="0">
                    <a:pos x="8" y="86"/>
                  </a:cxn>
                  <a:cxn ang="0">
                    <a:pos x="12" y="86"/>
                  </a:cxn>
                  <a:cxn ang="0">
                    <a:pos x="7" y="93"/>
                  </a:cxn>
                  <a:cxn ang="0">
                    <a:pos x="8" y="100"/>
                  </a:cxn>
                  <a:cxn ang="0">
                    <a:pos x="18" y="96"/>
                  </a:cxn>
                  <a:cxn ang="0">
                    <a:pos x="17" y="105"/>
                  </a:cxn>
                  <a:cxn ang="0">
                    <a:pos x="15" y="121"/>
                  </a:cxn>
                  <a:cxn ang="0">
                    <a:pos x="12" y="133"/>
                  </a:cxn>
                  <a:cxn ang="0">
                    <a:pos x="20" y="129"/>
                  </a:cxn>
                  <a:cxn ang="0">
                    <a:pos x="35" y="134"/>
                  </a:cxn>
                  <a:cxn ang="0">
                    <a:pos x="48" y="131"/>
                  </a:cxn>
                  <a:cxn ang="0">
                    <a:pos x="50" y="129"/>
                  </a:cxn>
                </a:cxnLst>
                <a:rect l="0" t="0" r="r" b="b"/>
                <a:pathLst>
                  <a:path w="76" h="134">
                    <a:moveTo>
                      <a:pt x="50" y="129"/>
                    </a:moveTo>
                    <a:lnTo>
                      <a:pt x="50" y="124"/>
                    </a:lnTo>
                    <a:lnTo>
                      <a:pt x="46" y="119"/>
                    </a:lnTo>
                    <a:lnTo>
                      <a:pt x="51" y="110"/>
                    </a:lnTo>
                    <a:lnTo>
                      <a:pt x="56" y="105"/>
                    </a:lnTo>
                    <a:lnTo>
                      <a:pt x="58" y="101"/>
                    </a:lnTo>
                    <a:lnTo>
                      <a:pt x="53" y="101"/>
                    </a:lnTo>
                    <a:lnTo>
                      <a:pt x="50" y="95"/>
                    </a:lnTo>
                    <a:lnTo>
                      <a:pt x="56" y="88"/>
                    </a:lnTo>
                    <a:lnTo>
                      <a:pt x="56" y="78"/>
                    </a:lnTo>
                    <a:lnTo>
                      <a:pt x="51" y="76"/>
                    </a:lnTo>
                    <a:lnTo>
                      <a:pt x="45" y="65"/>
                    </a:lnTo>
                    <a:lnTo>
                      <a:pt x="50" y="63"/>
                    </a:lnTo>
                    <a:lnTo>
                      <a:pt x="55" y="65"/>
                    </a:lnTo>
                    <a:lnTo>
                      <a:pt x="61" y="56"/>
                    </a:lnTo>
                    <a:lnTo>
                      <a:pt x="56" y="53"/>
                    </a:lnTo>
                    <a:lnTo>
                      <a:pt x="61" y="48"/>
                    </a:lnTo>
                    <a:lnTo>
                      <a:pt x="63" y="33"/>
                    </a:lnTo>
                    <a:lnTo>
                      <a:pt x="61" y="28"/>
                    </a:lnTo>
                    <a:lnTo>
                      <a:pt x="71" y="20"/>
                    </a:lnTo>
                    <a:lnTo>
                      <a:pt x="75" y="20"/>
                    </a:lnTo>
                    <a:lnTo>
                      <a:pt x="76" y="17"/>
                    </a:lnTo>
                    <a:lnTo>
                      <a:pt x="71" y="10"/>
                    </a:lnTo>
                    <a:lnTo>
                      <a:pt x="70" y="5"/>
                    </a:lnTo>
                    <a:lnTo>
                      <a:pt x="58" y="3"/>
                    </a:lnTo>
                    <a:lnTo>
                      <a:pt x="55" y="7"/>
                    </a:lnTo>
                    <a:lnTo>
                      <a:pt x="41" y="5"/>
                    </a:lnTo>
                    <a:lnTo>
                      <a:pt x="33" y="8"/>
                    </a:lnTo>
                    <a:lnTo>
                      <a:pt x="30" y="5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2"/>
                    </a:lnTo>
                    <a:lnTo>
                      <a:pt x="17" y="5"/>
                    </a:lnTo>
                    <a:lnTo>
                      <a:pt x="20" y="13"/>
                    </a:lnTo>
                    <a:lnTo>
                      <a:pt x="18" y="26"/>
                    </a:lnTo>
                    <a:lnTo>
                      <a:pt x="20" y="28"/>
                    </a:lnTo>
                    <a:lnTo>
                      <a:pt x="18" y="35"/>
                    </a:lnTo>
                    <a:lnTo>
                      <a:pt x="21" y="38"/>
                    </a:lnTo>
                    <a:lnTo>
                      <a:pt x="18" y="41"/>
                    </a:lnTo>
                    <a:lnTo>
                      <a:pt x="17" y="48"/>
                    </a:lnTo>
                    <a:lnTo>
                      <a:pt x="15" y="55"/>
                    </a:lnTo>
                    <a:lnTo>
                      <a:pt x="10" y="61"/>
                    </a:lnTo>
                    <a:lnTo>
                      <a:pt x="10" y="66"/>
                    </a:lnTo>
                    <a:lnTo>
                      <a:pt x="3" y="75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5" y="90"/>
                    </a:lnTo>
                    <a:lnTo>
                      <a:pt x="8" y="86"/>
                    </a:lnTo>
                    <a:lnTo>
                      <a:pt x="13" y="85"/>
                    </a:lnTo>
                    <a:lnTo>
                      <a:pt x="12" y="86"/>
                    </a:lnTo>
                    <a:lnTo>
                      <a:pt x="13" y="90"/>
                    </a:lnTo>
                    <a:lnTo>
                      <a:pt x="7" y="93"/>
                    </a:lnTo>
                    <a:lnTo>
                      <a:pt x="7" y="96"/>
                    </a:lnTo>
                    <a:lnTo>
                      <a:pt x="8" y="100"/>
                    </a:lnTo>
                    <a:lnTo>
                      <a:pt x="12" y="96"/>
                    </a:lnTo>
                    <a:lnTo>
                      <a:pt x="18" y="96"/>
                    </a:lnTo>
                    <a:lnTo>
                      <a:pt x="15" y="100"/>
                    </a:lnTo>
                    <a:lnTo>
                      <a:pt x="17" y="105"/>
                    </a:lnTo>
                    <a:lnTo>
                      <a:pt x="15" y="110"/>
                    </a:lnTo>
                    <a:lnTo>
                      <a:pt x="15" y="121"/>
                    </a:lnTo>
                    <a:lnTo>
                      <a:pt x="13" y="129"/>
                    </a:lnTo>
                    <a:lnTo>
                      <a:pt x="12" y="133"/>
                    </a:lnTo>
                    <a:lnTo>
                      <a:pt x="13" y="133"/>
                    </a:lnTo>
                    <a:lnTo>
                      <a:pt x="20" y="129"/>
                    </a:lnTo>
                    <a:lnTo>
                      <a:pt x="30" y="133"/>
                    </a:lnTo>
                    <a:lnTo>
                      <a:pt x="35" y="134"/>
                    </a:lnTo>
                    <a:lnTo>
                      <a:pt x="41" y="131"/>
                    </a:lnTo>
                    <a:lnTo>
                      <a:pt x="48" y="131"/>
                    </a:lnTo>
                    <a:lnTo>
                      <a:pt x="50" y="129"/>
                    </a:lnTo>
                    <a:lnTo>
                      <a:pt x="50" y="1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5" name="Freeform 69"/>
              <p:cNvSpPr>
                <a:spLocks noEditPoints="1"/>
              </p:cNvSpPr>
              <p:nvPr/>
            </p:nvSpPr>
            <p:spPr bwMode="auto">
              <a:xfrm>
                <a:off x="6654750" y="2760258"/>
                <a:ext cx="111306" cy="88195"/>
              </a:xfrm>
              <a:custGeom>
                <a:avLst/>
                <a:gdLst/>
                <a:ahLst/>
                <a:cxnLst>
                  <a:cxn ang="0">
                    <a:pos x="131" y="16"/>
                  </a:cxn>
                  <a:cxn ang="0">
                    <a:pos x="98" y="15"/>
                  </a:cxn>
                  <a:cxn ang="0">
                    <a:pos x="52" y="23"/>
                  </a:cxn>
                  <a:cxn ang="0">
                    <a:pos x="17" y="60"/>
                  </a:cxn>
                  <a:cxn ang="0">
                    <a:pos x="37" y="91"/>
                  </a:cxn>
                  <a:cxn ang="0">
                    <a:pos x="66" y="100"/>
                  </a:cxn>
                  <a:cxn ang="0">
                    <a:pos x="71" y="105"/>
                  </a:cxn>
                  <a:cxn ang="0">
                    <a:pos x="38" y="110"/>
                  </a:cxn>
                  <a:cxn ang="0">
                    <a:pos x="60" y="138"/>
                  </a:cxn>
                  <a:cxn ang="0">
                    <a:pos x="73" y="146"/>
                  </a:cxn>
                  <a:cxn ang="0">
                    <a:pos x="83" y="131"/>
                  </a:cxn>
                  <a:cxn ang="0">
                    <a:pos x="88" y="123"/>
                  </a:cxn>
                  <a:cxn ang="0">
                    <a:pos x="81" y="111"/>
                  </a:cxn>
                  <a:cxn ang="0">
                    <a:pos x="101" y="106"/>
                  </a:cxn>
                  <a:cxn ang="0">
                    <a:pos x="75" y="85"/>
                  </a:cxn>
                  <a:cxn ang="0">
                    <a:pos x="80" y="70"/>
                  </a:cxn>
                  <a:cxn ang="0">
                    <a:pos x="73" y="58"/>
                  </a:cxn>
                  <a:cxn ang="0">
                    <a:pos x="75" y="38"/>
                  </a:cxn>
                  <a:cxn ang="0">
                    <a:pos x="88" y="43"/>
                  </a:cxn>
                  <a:cxn ang="0">
                    <a:pos x="105" y="43"/>
                  </a:cxn>
                  <a:cxn ang="0">
                    <a:pos x="105" y="31"/>
                  </a:cxn>
                  <a:cxn ang="0">
                    <a:pos x="130" y="25"/>
                  </a:cxn>
                  <a:cxn ang="0">
                    <a:pos x="156" y="5"/>
                  </a:cxn>
                  <a:cxn ang="0">
                    <a:pos x="10" y="70"/>
                  </a:cxn>
                  <a:cxn ang="0">
                    <a:pos x="5" y="58"/>
                  </a:cxn>
                  <a:cxn ang="0">
                    <a:pos x="25" y="90"/>
                  </a:cxn>
                  <a:cxn ang="0">
                    <a:pos x="32" y="103"/>
                  </a:cxn>
                  <a:cxn ang="0">
                    <a:pos x="22" y="105"/>
                  </a:cxn>
                  <a:cxn ang="0">
                    <a:pos x="33" y="114"/>
                  </a:cxn>
                  <a:cxn ang="0">
                    <a:pos x="33" y="113"/>
                  </a:cxn>
                  <a:cxn ang="0">
                    <a:pos x="183" y="168"/>
                  </a:cxn>
                  <a:cxn ang="0">
                    <a:pos x="196" y="159"/>
                  </a:cxn>
                  <a:cxn ang="0">
                    <a:pos x="209" y="146"/>
                  </a:cxn>
                  <a:cxn ang="0">
                    <a:pos x="196" y="159"/>
                  </a:cxn>
                  <a:cxn ang="0">
                    <a:pos x="166" y="143"/>
                  </a:cxn>
                  <a:cxn ang="0">
                    <a:pos x="174" y="113"/>
                  </a:cxn>
                  <a:cxn ang="0">
                    <a:pos x="163" y="113"/>
                  </a:cxn>
                  <a:cxn ang="0">
                    <a:pos x="151" y="96"/>
                  </a:cxn>
                  <a:cxn ang="0">
                    <a:pos x="148" y="78"/>
                  </a:cxn>
                  <a:cxn ang="0">
                    <a:pos x="161" y="71"/>
                  </a:cxn>
                  <a:cxn ang="0">
                    <a:pos x="154" y="71"/>
                  </a:cxn>
                  <a:cxn ang="0">
                    <a:pos x="140" y="35"/>
                  </a:cxn>
                  <a:cxn ang="0">
                    <a:pos x="131" y="50"/>
                  </a:cxn>
                  <a:cxn ang="0">
                    <a:pos x="125" y="50"/>
                  </a:cxn>
                  <a:cxn ang="0">
                    <a:pos x="115" y="33"/>
                  </a:cxn>
                  <a:cxn ang="0">
                    <a:pos x="96" y="80"/>
                  </a:cxn>
                  <a:cxn ang="0">
                    <a:pos x="88" y="75"/>
                  </a:cxn>
                  <a:cxn ang="0">
                    <a:pos x="118" y="83"/>
                  </a:cxn>
                  <a:cxn ang="0">
                    <a:pos x="154" y="121"/>
                  </a:cxn>
                  <a:cxn ang="0">
                    <a:pos x="115" y="143"/>
                  </a:cxn>
                  <a:cxn ang="0">
                    <a:pos x="118" y="123"/>
                  </a:cxn>
                  <a:cxn ang="0">
                    <a:pos x="116" y="119"/>
                  </a:cxn>
                  <a:cxn ang="0">
                    <a:pos x="135" y="133"/>
                  </a:cxn>
                  <a:cxn ang="0">
                    <a:pos x="141" y="133"/>
                  </a:cxn>
                  <a:cxn ang="0">
                    <a:pos x="135" y="116"/>
                  </a:cxn>
                  <a:cxn ang="0">
                    <a:pos x="126" y="111"/>
                  </a:cxn>
                  <a:cxn ang="0">
                    <a:pos x="76" y="81"/>
                  </a:cxn>
                  <a:cxn ang="0">
                    <a:pos x="103" y="86"/>
                  </a:cxn>
                  <a:cxn ang="0">
                    <a:pos x="120" y="105"/>
                  </a:cxn>
                  <a:cxn ang="0">
                    <a:pos x="105" y="96"/>
                  </a:cxn>
                  <a:cxn ang="0">
                    <a:pos x="85" y="85"/>
                  </a:cxn>
                  <a:cxn ang="0">
                    <a:pos x="88" y="151"/>
                  </a:cxn>
                  <a:cxn ang="0">
                    <a:pos x="85" y="144"/>
                  </a:cxn>
                </a:cxnLst>
                <a:rect l="0" t="0" r="r" b="b"/>
                <a:pathLst>
                  <a:path w="209" h="171">
                    <a:moveTo>
                      <a:pt x="156" y="0"/>
                    </a:moveTo>
                    <a:lnTo>
                      <a:pt x="154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36" y="13"/>
                    </a:lnTo>
                    <a:lnTo>
                      <a:pt x="131" y="16"/>
                    </a:lnTo>
                    <a:lnTo>
                      <a:pt x="128" y="13"/>
                    </a:lnTo>
                    <a:lnTo>
                      <a:pt x="123" y="13"/>
                    </a:lnTo>
                    <a:lnTo>
                      <a:pt x="120" y="16"/>
                    </a:lnTo>
                    <a:lnTo>
                      <a:pt x="115" y="16"/>
                    </a:lnTo>
                    <a:lnTo>
                      <a:pt x="115" y="12"/>
                    </a:lnTo>
                    <a:lnTo>
                      <a:pt x="108" y="12"/>
                    </a:lnTo>
                    <a:lnTo>
                      <a:pt x="101" y="12"/>
                    </a:lnTo>
                    <a:lnTo>
                      <a:pt x="98" y="15"/>
                    </a:lnTo>
                    <a:lnTo>
                      <a:pt x="91" y="16"/>
                    </a:lnTo>
                    <a:lnTo>
                      <a:pt x="83" y="16"/>
                    </a:lnTo>
                    <a:lnTo>
                      <a:pt x="81" y="15"/>
                    </a:lnTo>
                    <a:lnTo>
                      <a:pt x="78" y="18"/>
                    </a:lnTo>
                    <a:lnTo>
                      <a:pt x="73" y="18"/>
                    </a:lnTo>
                    <a:lnTo>
                      <a:pt x="68" y="21"/>
                    </a:lnTo>
                    <a:lnTo>
                      <a:pt x="56" y="20"/>
                    </a:lnTo>
                    <a:lnTo>
                      <a:pt x="52" y="23"/>
                    </a:lnTo>
                    <a:lnTo>
                      <a:pt x="50" y="25"/>
                    </a:lnTo>
                    <a:lnTo>
                      <a:pt x="43" y="26"/>
                    </a:lnTo>
                    <a:lnTo>
                      <a:pt x="33" y="33"/>
                    </a:lnTo>
                    <a:lnTo>
                      <a:pt x="33" y="38"/>
                    </a:lnTo>
                    <a:lnTo>
                      <a:pt x="30" y="45"/>
                    </a:lnTo>
                    <a:lnTo>
                      <a:pt x="20" y="48"/>
                    </a:lnTo>
                    <a:lnTo>
                      <a:pt x="20" y="53"/>
                    </a:lnTo>
                    <a:lnTo>
                      <a:pt x="17" y="60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3" y="68"/>
                    </a:lnTo>
                    <a:lnTo>
                      <a:pt x="22" y="73"/>
                    </a:lnTo>
                    <a:lnTo>
                      <a:pt x="27" y="80"/>
                    </a:lnTo>
                    <a:lnTo>
                      <a:pt x="30" y="80"/>
                    </a:lnTo>
                    <a:lnTo>
                      <a:pt x="30" y="83"/>
                    </a:lnTo>
                    <a:lnTo>
                      <a:pt x="37" y="91"/>
                    </a:lnTo>
                    <a:lnTo>
                      <a:pt x="38" y="96"/>
                    </a:lnTo>
                    <a:lnTo>
                      <a:pt x="42" y="98"/>
                    </a:lnTo>
                    <a:lnTo>
                      <a:pt x="45" y="93"/>
                    </a:lnTo>
                    <a:lnTo>
                      <a:pt x="48" y="98"/>
                    </a:lnTo>
                    <a:lnTo>
                      <a:pt x="55" y="98"/>
                    </a:lnTo>
                    <a:lnTo>
                      <a:pt x="56" y="95"/>
                    </a:lnTo>
                    <a:lnTo>
                      <a:pt x="60" y="96"/>
                    </a:lnTo>
                    <a:lnTo>
                      <a:pt x="66" y="100"/>
                    </a:lnTo>
                    <a:lnTo>
                      <a:pt x="71" y="98"/>
                    </a:lnTo>
                    <a:lnTo>
                      <a:pt x="71" y="100"/>
                    </a:lnTo>
                    <a:lnTo>
                      <a:pt x="75" y="100"/>
                    </a:lnTo>
                    <a:lnTo>
                      <a:pt x="76" y="101"/>
                    </a:lnTo>
                    <a:lnTo>
                      <a:pt x="83" y="103"/>
                    </a:lnTo>
                    <a:lnTo>
                      <a:pt x="78" y="105"/>
                    </a:lnTo>
                    <a:lnTo>
                      <a:pt x="75" y="108"/>
                    </a:lnTo>
                    <a:lnTo>
                      <a:pt x="71" y="105"/>
                    </a:lnTo>
                    <a:lnTo>
                      <a:pt x="68" y="105"/>
                    </a:lnTo>
                    <a:lnTo>
                      <a:pt x="58" y="98"/>
                    </a:lnTo>
                    <a:lnTo>
                      <a:pt x="53" y="100"/>
                    </a:lnTo>
                    <a:lnTo>
                      <a:pt x="50" y="103"/>
                    </a:lnTo>
                    <a:lnTo>
                      <a:pt x="45" y="100"/>
                    </a:lnTo>
                    <a:lnTo>
                      <a:pt x="42" y="105"/>
                    </a:lnTo>
                    <a:lnTo>
                      <a:pt x="40" y="105"/>
                    </a:lnTo>
                    <a:lnTo>
                      <a:pt x="38" y="110"/>
                    </a:lnTo>
                    <a:lnTo>
                      <a:pt x="43" y="114"/>
                    </a:lnTo>
                    <a:lnTo>
                      <a:pt x="48" y="116"/>
                    </a:lnTo>
                    <a:lnTo>
                      <a:pt x="53" y="121"/>
                    </a:lnTo>
                    <a:lnTo>
                      <a:pt x="55" y="124"/>
                    </a:lnTo>
                    <a:lnTo>
                      <a:pt x="52" y="126"/>
                    </a:lnTo>
                    <a:lnTo>
                      <a:pt x="53" y="129"/>
                    </a:lnTo>
                    <a:lnTo>
                      <a:pt x="56" y="134"/>
                    </a:lnTo>
                    <a:lnTo>
                      <a:pt x="60" y="138"/>
                    </a:lnTo>
                    <a:lnTo>
                      <a:pt x="61" y="136"/>
                    </a:lnTo>
                    <a:lnTo>
                      <a:pt x="60" y="133"/>
                    </a:lnTo>
                    <a:lnTo>
                      <a:pt x="61" y="129"/>
                    </a:lnTo>
                    <a:lnTo>
                      <a:pt x="63" y="134"/>
                    </a:lnTo>
                    <a:lnTo>
                      <a:pt x="70" y="136"/>
                    </a:lnTo>
                    <a:lnTo>
                      <a:pt x="71" y="139"/>
                    </a:lnTo>
                    <a:lnTo>
                      <a:pt x="70" y="143"/>
                    </a:lnTo>
                    <a:lnTo>
                      <a:pt x="73" y="146"/>
                    </a:lnTo>
                    <a:lnTo>
                      <a:pt x="73" y="141"/>
                    </a:lnTo>
                    <a:lnTo>
                      <a:pt x="75" y="136"/>
                    </a:lnTo>
                    <a:lnTo>
                      <a:pt x="80" y="136"/>
                    </a:lnTo>
                    <a:lnTo>
                      <a:pt x="81" y="139"/>
                    </a:lnTo>
                    <a:lnTo>
                      <a:pt x="88" y="144"/>
                    </a:lnTo>
                    <a:lnTo>
                      <a:pt x="86" y="139"/>
                    </a:lnTo>
                    <a:lnTo>
                      <a:pt x="86" y="136"/>
                    </a:lnTo>
                    <a:lnTo>
                      <a:pt x="83" y="131"/>
                    </a:lnTo>
                    <a:lnTo>
                      <a:pt x="80" y="124"/>
                    </a:lnTo>
                    <a:lnTo>
                      <a:pt x="78" y="121"/>
                    </a:lnTo>
                    <a:lnTo>
                      <a:pt x="78" y="119"/>
                    </a:lnTo>
                    <a:lnTo>
                      <a:pt x="81" y="119"/>
                    </a:lnTo>
                    <a:lnTo>
                      <a:pt x="86" y="121"/>
                    </a:lnTo>
                    <a:lnTo>
                      <a:pt x="85" y="123"/>
                    </a:lnTo>
                    <a:lnTo>
                      <a:pt x="86" y="124"/>
                    </a:lnTo>
                    <a:lnTo>
                      <a:pt x="88" y="123"/>
                    </a:lnTo>
                    <a:lnTo>
                      <a:pt x="95" y="123"/>
                    </a:lnTo>
                    <a:lnTo>
                      <a:pt x="95" y="123"/>
                    </a:lnTo>
                    <a:lnTo>
                      <a:pt x="93" y="121"/>
                    </a:lnTo>
                    <a:lnTo>
                      <a:pt x="91" y="118"/>
                    </a:lnTo>
                    <a:lnTo>
                      <a:pt x="90" y="118"/>
                    </a:lnTo>
                    <a:lnTo>
                      <a:pt x="86" y="116"/>
                    </a:lnTo>
                    <a:lnTo>
                      <a:pt x="86" y="114"/>
                    </a:lnTo>
                    <a:lnTo>
                      <a:pt x="81" y="111"/>
                    </a:lnTo>
                    <a:lnTo>
                      <a:pt x="86" y="108"/>
                    </a:lnTo>
                    <a:lnTo>
                      <a:pt x="90" y="110"/>
                    </a:lnTo>
                    <a:lnTo>
                      <a:pt x="93" y="106"/>
                    </a:lnTo>
                    <a:lnTo>
                      <a:pt x="100" y="111"/>
                    </a:lnTo>
                    <a:lnTo>
                      <a:pt x="100" y="113"/>
                    </a:lnTo>
                    <a:lnTo>
                      <a:pt x="105" y="113"/>
                    </a:lnTo>
                    <a:lnTo>
                      <a:pt x="106" y="111"/>
                    </a:lnTo>
                    <a:lnTo>
                      <a:pt x="101" y="106"/>
                    </a:lnTo>
                    <a:lnTo>
                      <a:pt x="103" y="101"/>
                    </a:lnTo>
                    <a:lnTo>
                      <a:pt x="101" y="98"/>
                    </a:lnTo>
                    <a:lnTo>
                      <a:pt x="90" y="91"/>
                    </a:lnTo>
                    <a:lnTo>
                      <a:pt x="86" y="91"/>
                    </a:lnTo>
                    <a:lnTo>
                      <a:pt x="85" y="88"/>
                    </a:lnTo>
                    <a:lnTo>
                      <a:pt x="81" y="88"/>
                    </a:lnTo>
                    <a:lnTo>
                      <a:pt x="80" y="86"/>
                    </a:lnTo>
                    <a:lnTo>
                      <a:pt x="75" y="85"/>
                    </a:lnTo>
                    <a:lnTo>
                      <a:pt x="70" y="81"/>
                    </a:lnTo>
                    <a:lnTo>
                      <a:pt x="75" y="81"/>
                    </a:lnTo>
                    <a:lnTo>
                      <a:pt x="78" y="78"/>
                    </a:lnTo>
                    <a:lnTo>
                      <a:pt x="78" y="75"/>
                    </a:lnTo>
                    <a:lnTo>
                      <a:pt x="73" y="75"/>
                    </a:lnTo>
                    <a:lnTo>
                      <a:pt x="76" y="71"/>
                    </a:lnTo>
                    <a:lnTo>
                      <a:pt x="76" y="68"/>
                    </a:lnTo>
                    <a:lnTo>
                      <a:pt x="80" y="70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1" y="76"/>
                    </a:lnTo>
                    <a:lnTo>
                      <a:pt x="85" y="76"/>
                    </a:lnTo>
                    <a:lnTo>
                      <a:pt x="86" y="71"/>
                    </a:lnTo>
                    <a:lnTo>
                      <a:pt x="83" y="68"/>
                    </a:lnTo>
                    <a:lnTo>
                      <a:pt x="75" y="60"/>
                    </a:lnTo>
                    <a:lnTo>
                      <a:pt x="73" y="58"/>
                    </a:lnTo>
                    <a:lnTo>
                      <a:pt x="71" y="55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66" y="40"/>
                    </a:lnTo>
                    <a:lnTo>
                      <a:pt x="70" y="35"/>
                    </a:lnTo>
                    <a:lnTo>
                      <a:pt x="76" y="33"/>
                    </a:lnTo>
                    <a:lnTo>
                      <a:pt x="76" y="38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81" y="43"/>
                    </a:lnTo>
                    <a:lnTo>
                      <a:pt x="83" y="48"/>
                    </a:lnTo>
                    <a:lnTo>
                      <a:pt x="88" y="53"/>
                    </a:lnTo>
                    <a:lnTo>
                      <a:pt x="93" y="51"/>
                    </a:lnTo>
                    <a:lnTo>
                      <a:pt x="90" y="50"/>
                    </a:lnTo>
                    <a:lnTo>
                      <a:pt x="86" y="46"/>
                    </a:lnTo>
                    <a:lnTo>
                      <a:pt x="88" y="43"/>
                    </a:lnTo>
                    <a:lnTo>
                      <a:pt x="93" y="45"/>
                    </a:lnTo>
                    <a:lnTo>
                      <a:pt x="96" y="50"/>
                    </a:lnTo>
                    <a:lnTo>
                      <a:pt x="100" y="51"/>
                    </a:lnTo>
                    <a:lnTo>
                      <a:pt x="101" y="48"/>
                    </a:lnTo>
                    <a:lnTo>
                      <a:pt x="98" y="46"/>
                    </a:lnTo>
                    <a:lnTo>
                      <a:pt x="95" y="45"/>
                    </a:lnTo>
                    <a:lnTo>
                      <a:pt x="95" y="41"/>
                    </a:lnTo>
                    <a:lnTo>
                      <a:pt x="105" y="43"/>
                    </a:lnTo>
                    <a:lnTo>
                      <a:pt x="108" y="45"/>
                    </a:lnTo>
                    <a:lnTo>
                      <a:pt x="108" y="43"/>
                    </a:lnTo>
                    <a:lnTo>
                      <a:pt x="103" y="40"/>
                    </a:lnTo>
                    <a:lnTo>
                      <a:pt x="98" y="38"/>
                    </a:lnTo>
                    <a:lnTo>
                      <a:pt x="95" y="35"/>
                    </a:lnTo>
                    <a:lnTo>
                      <a:pt x="96" y="31"/>
                    </a:lnTo>
                    <a:lnTo>
                      <a:pt x="101" y="33"/>
                    </a:lnTo>
                    <a:lnTo>
                      <a:pt x="105" y="31"/>
                    </a:lnTo>
                    <a:lnTo>
                      <a:pt x="106" y="25"/>
                    </a:lnTo>
                    <a:lnTo>
                      <a:pt x="110" y="23"/>
                    </a:lnTo>
                    <a:lnTo>
                      <a:pt x="116" y="28"/>
                    </a:lnTo>
                    <a:lnTo>
                      <a:pt x="120" y="28"/>
                    </a:lnTo>
                    <a:lnTo>
                      <a:pt x="125" y="23"/>
                    </a:lnTo>
                    <a:lnTo>
                      <a:pt x="125" y="21"/>
                    </a:lnTo>
                    <a:lnTo>
                      <a:pt x="126" y="21"/>
                    </a:lnTo>
                    <a:lnTo>
                      <a:pt x="130" y="25"/>
                    </a:lnTo>
                    <a:lnTo>
                      <a:pt x="140" y="25"/>
                    </a:lnTo>
                    <a:lnTo>
                      <a:pt x="146" y="26"/>
                    </a:lnTo>
                    <a:lnTo>
                      <a:pt x="153" y="26"/>
                    </a:lnTo>
                    <a:lnTo>
                      <a:pt x="154" y="20"/>
                    </a:lnTo>
                    <a:lnTo>
                      <a:pt x="154" y="16"/>
                    </a:lnTo>
                    <a:lnTo>
                      <a:pt x="159" y="13"/>
                    </a:lnTo>
                    <a:lnTo>
                      <a:pt x="161" y="7"/>
                    </a:lnTo>
                    <a:lnTo>
                      <a:pt x="156" y="5"/>
                    </a:lnTo>
                    <a:lnTo>
                      <a:pt x="156" y="0"/>
                    </a:lnTo>
                    <a:lnTo>
                      <a:pt x="156" y="0"/>
                    </a:lnTo>
                    <a:close/>
                    <a:moveTo>
                      <a:pt x="5" y="58"/>
                    </a:moveTo>
                    <a:lnTo>
                      <a:pt x="5" y="63"/>
                    </a:lnTo>
                    <a:lnTo>
                      <a:pt x="8" y="66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0" y="70"/>
                    </a:lnTo>
                    <a:lnTo>
                      <a:pt x="7" y="68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3" y="58"/>
                    </a:lnTo>
                    <a:lnTo>
                      <a:pt x="5" y="58"/>
                    </a:lnTo>
                    <a:lnTo>
                      <a:pt x="5" y="58"/>
                    </a:lnTo>
                    <a:close/>
                    <a:moveTo>
                      <a:pt x="25" y="90"/>
                    </a:moveTo>
                    <a:lnTo>
                      <a:pt x="25" y="88"/>
                    </a:lnTo>
                    <a:lnTo>
                      <a:pt x="27" y="85"/>
                    </a:lnTo>
                    <a:lnTo>
                      <a:pt x="28" y="85"/>
                    </a:lnTo>
                    <a:lnTo>
                      <a:pt x="28" y="88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90"/>
                    </a:lnTo>
                    <a:close/>
                    <a:moveTo>
                      <a:pt x="25" y="96"/>
                    </a:moveTo>
                    <a:lnTo>
                      <a:pt x="25" y="91"/>
                    </a:lnTo>
                    <a:lnTo>
                      <a:pt x="28" y="95"/>
                    </a:lnTo>
                    <a:lnTo>
                      <a:pt x="30" y="96"/>
                    </a:lnTo>
                    <a:lnTo>
                      <a:pt x="28" y="98"/>
                    </a:lnTo>
                    <a:lnTo>
                      <a:pt x="30" y="101"/>
                    </a:lnTo>
                    <a:lnTo>
                      <a:pt x="32" y="103"/>
                    </a:lnTo>
                    <a:lnTo>
                      <a:pt x="32" y="105"/>
                    </a:lnTo>
                    <a:lnTo>
                      <a:pt x="30" y="106"/>
                    </a:lnTo>
                    <a:lnTo>
                      <a:pt x="28" y="105"/>
                    </a:lnTo>
                    <a:lnTo>
                      <a:pt x="25" y="105"/>
                    </a:lnTo>
                    <a:lnTo>
                      <a:pt x="25" y="101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2" y="105"/>
                    </a:lnTo>
                    <a:lnTo>
                      <a:pt x="20" y="101"/>
                    </a:lnTo>
                    <a:lnTo>
                      <a:pt x="20" y="98"/>
                    </a:lnTo>
                    <a:lnTo>
                      <a:pt x="23" y="96"/>
                    </a:lnTo>
                    <a:lnTo>
                      <a:pt x="25" y="96"/>
                    </a:lnTo>
                    <a:lnTo>
                      <a:pt x="25" y="96"/>
                    </a:lnTo>
                    <a:close/>
                    <a:moveTo>
                      <a:pt x="33" y="113"/>
                    </a:moveTo>
                    <a:lnTo>
                      <a:pt x="35" y="114"/>
                    </a:lnTo>
                    <a:lnTo>
                      <a:pt x="33" y="114"/>
                    </a:lnTo>
                    <a:lnTo>
                      <a:pt x="32" y="116"/>
                    </a:lnTo>
                    <a:lnTo>
                      <a:pt x="30" y="114"/>
                    </a:lnTo>
                    <a:lnTo>
                      <a:pt x="27" y="111"/>
                    </a:lnTo>
                    <a:lnTo>
                      <a:pt x="27" y="110"/>
                    </a:lnTo>
                    <a:lnTo>
                      <a:pt x="28" y="108"/>
                    </a:lnTo>
                    <a:lnTo>
                      <a:pt x="32" y="110"/>
                    </a:lnTo>
                    <a:lnTo>
                      <a:pt x="33" y="113"/>
                    </a:lnTo>
                    <a:lnTo>
                      <a:pt x="33" y="113"/>
                    </a:lnTo>
                    <a:close/>
                    <a:moveTo>
                      <a:pt x="184" y="161"/>
                    </a:moveTo>
                    <a:lnTo>
                      <a:pt x="184" y="159"/>
                    </a:lnTo>
                    <a:lnTo>
                      <a:pt x="184" y="158"/>
                    </a:lnTo>
                    <a:lnTo>
                      <a:pt x="184" y="159"/>
                    </a:lnTo>
                    <a:lnTo>
                      <a:pt x="184" y="161"/>
                    </a:lnTo>
                    <a:lnTo>
                      <a:pt x="184" y="161"/>
                    </a:lnTo>
                    <a:close/>
                    <a:moveTo>
                      <a:pt x="183" y="171"/>
                    </a:moveTo>
                    <a:lnTo>
                      <a:pt x="183" y="168"/>
                    </a:lnTo>
                    <a:lnTo>
                      <a:pt x="181" y="164"/>
                    </a:lnTo>
                    <a:lnTo>
                      <a:pt x="184" y="161"/>
                    </a:lnTo>
                    <a:lnTo>
                      <a:pt x="184" y="164"/>
                    </a:lnTo>
                    <a:lnTo>
                      <a:pt x="186" y="168"/>
                    </a:lnTo>
                    <a:lnTo>
                      <a:pt x="184" y="171"/>
                    </a:lnTo>
                    <a:lnTo>
                      <a:pt x="183" y="171"/>
                    </a:lnTo>
                    <a:lnTo>
                      <a:pt x="183" y="171"/>
                    </a:lnTo>
                    <a:close/>
                    <a:moveTo>
                      <a:pt x="196" y="159"/>
                    </a:moveTo>
                    <a:lnTo>
                      <a:pt x="194" y="158"/>
                    </a:lnTo>
                    <a:lnTo>
                      <a:pt x="196" y="154"/>
                    </a:lnTo>
                    <a:lnTo>
                      <a:pt x="194" y="154"/>
                    </a:lnTo>
                    <a:lnTo>
                      <a:pt x="194" y="151"/>
                    </a:lnTo>
                    <a:lnTo>
                      <a:pt x="201" y="148"/>
                    </a:lnTo>
                    <a:lnTo>
                      <a:pt x="206" y="146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8" y="148"/>
                    </a:lnTo>
                    <a:lnTo>
                      <a:pt x="206" y="151"/>
                    </a:lnTo>
                    <a:lnTo>
                      <a:pt x="204" y="153"/>
                    </a:lnTo>
                    <a:lnTo>
                      <a:pt x="204" y="154"/>
                    </a:lnTo>
                    <a:lnTo>
                      <a:pt x="203" y="154"/>
                    </a:lnTo>
                    <a:lnTo>
                      <a:pt x="199" y="156"/>
                    </a:lnTo>
                    <a:lnTo>
                      <a:pt x="198" y="158"/>
                    </a:lnTo>
                    <a:lnTo>
                      <a:pt x="196" y="159"/>
                    </a:lnTo>
                    <a:lnTo>
                      <a:pt x="196" y="159"/>
                    </a:lnTo>
                    <a:close/>
                    <a:moveTo>
                      <a:pt x="163" y="144"/>
                    </a:moveTo>
                    <a:lnTo>
                      <a:pt x="161" y="143"/>
                    </a:lnTo>
                    <a:lnTo>
                      <a:pt x="163" y="141"/>
                    </a:lnTo>
                    <a:lnTo>
                      <a:pt x="166" y="139"/>
                    </a:lnTo>
                    <a:lnTo>
                      <a:pt x="168" y="141"/>
                    </a:lnTo>
                    <a:lnTo>
                      <a:pt x="166" y="143"/>
                    </a:lnTo>
                    <a:lnTo>
                      <a:pt x="166" y="143"/>
                    </a:lnTo>
                    <a:lnTo>
                      <a:pt x="163" y="144"/>
                    </a:lnTo>
                    <a:lnTo>
                      <a:pt x="163" y="144"/>
                    </a:lnTo>
                    <a:close/>
                    <a:moveTo>
                      <a:pt x="163" y="113"/>
                    </a:moveTo>
                    <a:lnTo>
                      <a:pt x="168" y="110"/>
                    </a:lnTo>
                    <a:lnTo>
                      <a:pt x="169" y="111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4" y="113"/>
                    </a:lnTo>
                    <a:lnTo>
                      <a:pt x="176" y="114"/>
                    </a:lnTo>
                    <a:lnTo>
                      <a:pt x="173" y="114"/>
                    </a:lnTo>
                    <a:lnTo>
                      <a:pt x="171" y="116"/>
                    </a:lnTo>
                    <a:lnTo>
                      <a:pt x="169" y="116"/>
                    </a:lnTo>
                    <a:lnTo>
                      <a:pt x="168" y="114"/>
                    </a:lnTo>
                    <a:lnTo>
                      <a:pt x="164" y="114"/>
                    </a:lnTo>
                    <a:lnTo>
                      <a:pt x="161" y="114"/>
                    </a:lnTo>
                    <a:lnTo>
                      <a:pt x="163" y="113"/>
                    </a:lnTo>
                    <a:lnTo>
                      <a:pt x="163" y="113"/>
                    </a:lnTo>
                    <a:close/>
                    <a:moveTo>
                      <a:pt x="154" y="90"/>
                    </a:moveTo>
                    <a:lnTo>
                      <a:pt x="156" y="96"/>
                    </a:lnTo>
                    <a:lnTo>
                      <a:pt x="154" y="100"/>
                    </a:lnTo>
                    <a:lnTo>
                      <a:pt x="151" y="101"/>
                    </a:lnTo>
                    <a:lnTo>
                      <a:pt x="150" y="98"/>
                    </a:lnTo>
                    <a:lnTo>
                      <a:pt x="150" y="96"/>
                    </a:lnTo>
                    <a:lnTo>
                      <a:pt x="151" y="96"/>
                    </a:lnTo>
                    <a:lnTo>
                      <a:pt x="151" y="93"/>
                    </a:lnTo>
                    <a:lnTo>
                      <a:pt x="148" y="91"/>
                    </a:lnTo>
                    <a:lnTo>
                      <a:pt x="148" y="90"/>
                    </a:lnTo>
                    <a:lnTo>
                      <a:pt x="151" y="88"/>
                    </a:lnTo>
                    <a:lnTo>
                      <a:pt x="154" y="90"/>
                    </a:lnTo>
                    <a:lnTo>
                      <a:pt x="154" y="90"/>
                    </a:lnTo>
                    <a:lnTo>
                      <a:pt x="154" y="90"/>
                    </a:lnTo>
                    <a:close/>
                    <a:moveTo>
                      <a:pt x="148" y="78"/>
                    </a:moveTo>
                    <a:lnTo>
                      <a:pt x="145" y="75"/>
                    </a:lnTo>
                    <a:lnTo>
                      <a:pt x="146" y="71"/>
                    </a:lnTo>
                    <a:lnTo>
                      <a:pt x="153" y="70"/>
                    </a:lnTo>
                    <a:lnTo>
                      <a:pt x="154" y="68"/>
                    </a:lnTo>
                    <a:lnTo>
                      <a:pt x="159" y="68"/>
                    </a:lnTo>
                    <a:lnTo>
                      <a:pt x="161" y="68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5"/>
                    </a:lnTo>
                    <a:lnTo>
                      <a:pt x="161" y="80"/>
                    </a:lnTo>
                    <a:lnTo>
                      <a:pt x="156" y="80"/>
                    </a:lnTo>
                    <a:lnTo>
                      <a:pt x="153" y="78"/>
                    </a:lnTo>
                    <a:lnTo>
                      <a:pt x="154" y="76"/>
                    </a:lnTo>
                    <a:lnTo>
                      <a:pt x="156" y="75"/>
                    </a:lnTo>
                    <a:lnTo>
                      <a:pt x="158" y="71"/>
                    </a:lnTo>
                    <a:lnTo>
                      <a:pt x="154" y="71"/>
                    </a:lnTo>
                    <a:lnTo>
                      <a:pt x="153" y="75"/>
                    </a:lnTo>
                    <a:lnTo>
                      <a:pt x="151" y="78"/>
                    </a:lnTo>
                    <a:lnTo>
                      <a:pt x="150" y="78"/>
                    </a:lnTo>
                    <a:lnTo>
                      <a:pt x="148" y="78"/>
                    </a:lnTo>
                    <a:lnTo>
                      <a:pt x="148" y="78"/>
                    </a:lnTo>
                    <a:close/>
                    <a:moveTo>
                      <a:pt x="136" y="38"/>
                    </a:moveTo>
                    <a:lnTo>
                      <a:pt x="136" y="36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3" y="38"/>
                    </a:lnTo>
                    <a:lnTo>
                      <a:pt x="141" y="40"/>
                    </a:lnTo>
                    <a:lnTo>
                      <a:pt x="136" y="38"/>
                    </a:lnTo>
                    <a:lnTo>
                      <a:pt x="136" y="38"/>
                    </a:lnTo>
                    <a:close/>
                    <a:moveTo>
                      <a:pt x="126" y="48"/>
                    </a:moveTo>
                    <a:lnTo>
                      <a:pt x="130" y="48"/>
                    </a:lnTo>
                    <a:lnTo>
                      <a:pt x="131" y="50"/>
                    </a:lnTo>
                    <a:lnTo>
                      <a:pt x="133" y="48"/>
                    </a:lnTo>
                    <a:lnTo>
                      <a:pt x="136" y="50"/>
                    </a:lnTo>
                    <a:lnTo>
                      <a:pt x="133" y="51"/>
                    </a:lnTo>
                    <a:lnTo>
                      <a:pt x="133" y="56"/>
                    </a:lnTo>
                    <a:lnTo>
                      <a:pt x="130" y="55"/>
                    </a:lnTo>
                    <a:lnTo>
                      <a:pt x="128" y="55"/>
                    </a:lnTo>
                    <a:lnTo>
                      <a:pt x="126" y="53"/>
                    </a:lnTo>
                    <a:lnTo>
                      <a:pt x="125" y="50"/>
                    </a:lnTo>
                    <a:lnTo>
                      <a:pt x="126" y="48"/>
                    </a:lnTo>
                    <a:lnTo>
                      <a:pt x="126" y="48"/>
                    </a:lnTo>
                    <a:close/>
                    <a:moveTo>
                      <a:pt x="115" y="30"/>
                    </a:moveTo>
                    <a:lnTo>
                      <a:pt x="116" y="30"/>
                    </a:lnTo>
                    <a:lnTo>
                      <a:pt x="120" y="31"/>
                    </a:lnTo>
                    <a:lnTo>
                      <a:pt x="120" y="33"/>
                    </a:lnTo>
                    <a:lnTo>
                      <a:pt x="116" y="35"/>
                    </a:lnTo>
                    <a:lnTo>
                      <a:pt x="115" y="33"/>
                    </a:lnTo>
                    <a:lnTo>
                      <a:pt x="113" y="35"/>
                    </a:lnTo>
                    <a:lnTo>
                      <a:pt x="115" y="30"/>
                    </a:lnTo>
                    <a:lnTo>
                      <a:pt x="115" y="30"/>
                    </a:lnTo>
                    <a:close/>
                    <a:moveTo>
                      <a:pt x="91" y="75"/>
                    </a:moveTo>
                    <a:lnTo>
                      <a:pt x="93" y="73"/>
                    </a:lnTo>
                    <a:lnTo>
                      <a:pt x="96" y="75"/>
                    </a:lnTo>
                    <a:lnTo>
                      <a:pt x="96" y="78"/>
                    </a:lnTo>
                    <a:lnTo>
                      <a:pt x="96" y="80"/>
                    </a:lnTo>
                    <a:lnTo>
                      <a:pt x="91" y="75"/>
                    </a:lnTo>
                    <a:lnTo>
                      <a:pt x="91" y="75"/>
                    </a:lnTo>
                    <a:close/>
                    <a:moveTo>
                      <a:pt x="88" y="75"/>
                    </a:moveTo>
                    <a:lnTo>
                      <a:pt x="90" y="73"/>
                    </a:lnTo>
                    <a:lnTo>
                      <a:pt x="90" y="75"/>
                    </a:lnTo>
                    <a:lnTo>
                      <a:pt x="90" y="76"/>
                    </a:lnTo>
                    <a:lnTo>
                      <a:pt x="88" y="75"/>
                    </a:lnTo>
                    <a:lnTo>
                      <a:pt x="88" y="75"/>
                    </a:lnTo>
                    <a:close/>
                    <a:moveTo>
                      <a:pt x="115" y="80"/>
                    </a:moveTo>
                    <a:lnTo>
                      <a:pt x="116" y="78"/>
                    </a:lnTo>
                    <a:lnTo>
                      <a:pt x="120" y="81"/>
                    </a:lnTo>
                    <a:lnTo>
                      <a:pt x="121" y="81"/>
                    </a:lnTo>
                    <a:lnTo>
                      <a:pt x="121" y="85"/>
                    </a:lnTo>
                    <a:lnTo>
                      <a:pt x="120" y="86"/>
                    </a:lnTo>
                    <a:lnTo>
                      <a:pt x="120" y="83"/>
                    </a:lnTo>
                    <a:lnTo>
                      <a:pt x="118" y="83"/>
                    </a:lnTo>
                    <a:lnTo>
                      <a:pt x="115" y="80"/>
                    </a:lnTo>
                    <a:lnTo>
                      <a:pt x="115" y="80"/>
                    </a:lnTo>
                    <a:close/>
                    <a:moveTo>
                      <a:pt x="154" y="121"/>
                    </a:moveTo>
                    <a:lnTo>
                      <a:pt x="153" y="119"/>
                    </a:lnTo>
                    <a:lnTo>
                      <a:pt x="153" y="116"/>
                    </a:lnTo>
                    <a:lnTo>
                      <a:pt x="159" y="116"/>
                    </a:lnTo>
                    <a:lnTo>
                      <a:pt x="158" y="118"/>
                    </a:lnTo>
                    <a:lnTo>
                      <a:pt x="154" y="121"/>
                    </a:lnTo>
                    <a:lnTo>
                      <a:pt x="154" y="121"/>
                    </a:lnTo>
                    <a:close/>
                    <a:moveTo>
                      <a:pt x="115" y="143"/>
                    </a:moveTo>
                    <a:lnTo>
                      <a:pt x="116" y="139"/>
                    </a:lnTo>
                    <a:lnTo>
                      <a:pt x="120" y="139"/>
                    </a:lnTo>
                    <a:lnTo>
                      <a:pt x="120" y="143"/>
                    </a:lnTo>
                    <a:lnTo>
                      <a:pt x="116" y="143"/>
                    </a:lnTo>
                    <a:lnTo>
                      <a:pt x="115" y="143"/>
                    </a:lnTo>
                    <a:lnTo>
                      <a:pt x="115" y="143"/>
                    </a:lnTo>
                    <a:close/>
                    <a:moveTo>
                      <a:pt x="116" y="129"/>
                    </a:moveTo>
                    <a:lnTo>
                      <a:pt x="118" y="128"/>
                    </a:lnTo>
                    <a:lnTo>
                      <a:pt x="118" y="131"/>
                    </a:lnTo>
                    <a:lnTo>
                      <a:pt x="116" y="129"/>
                    </a:lnTo>
                    <a:lnTo>
                      <a:pt x="116" y="129"/>
                    </a:lnTo>
                    <a:close/>
                    <a:moveTo>
                      <a:pt x="116" y="126"/>
                    </a:moveTo>
                    <a:lnTo>
                      <a:pt x="116" y="121"/>
                    </a:lnTo>
                    <a:lnTo>
                      <a:pt x="118" y="123"/>
                    </a:lnTo>
                    <a:lnTo>
                      <a:pt x="118" y="124"/>
                    </a:lnTo>
                    <a:lnTo>
                      <a:pt x="118" y="124"/>
                    </a:lnTo>
                    <a:lnTo>
                      <a:pt x="116" y="126"/>
                    </a:lnTo>
                    <a:lnTo>
                      <a:pt x="116" y="126"/>
                    </a:lnTo>
                    <a:close/>
                    <a:moveTo>
                      <a:pt x="113" y="119"/>
                    </a:moveTo>
                    <a:lnTo>
                      <a:pt x="113" y="119"/>
                    </a:lnTo>
                    <a:lnTo>
                      <a:pt x="115" y="118"/>
                    </a:lnTo>
                    <a:lnTo>
                      <a:pt x="116" y="119"/>
                    </a:lnTo>
                    <a:lnTo>
                      <a:pt x="113" y="119"/>
                    </a:lnTo>
                    <a:lnTo>
                      <a:pt x="113" y="119"/>
                    </a:lnTo>
                    <a:close/>
                    <a:moveTo>
                      <a:pt x="135" y="133"/>
                    </a:moveTo>
                    <a:lnTo>
                      <a:pt x="133" y="131"/>
                    </a:lnTo>
                    <a:lnTo>
                      <a:pt x="135" y="128"/>
                    </a:lnTo>
                    <a:lnTo>
                      <a:pt x="136" y="128"/>
                    </a:lnTo>
                    <a:lnTo>
                      <a:pt x="138" y="131"/>
                    </a:lnTo>
                    <a:lnTo>
                      <a:pt x="135" y="133"/>
                    </a:lnTo>
                    <a:lnTo>
                      <a:pt x="135" y="133"/>
                    </a:lnTo>
                    <a:close/>
                    <a:moveTo>
                      <a:pt x="141" y="133"/>
                    </a:moveTo>
                    <a:lnTo>
                      <a:pt x="140" y="129"/>
                    </a:lnTo>
                    <a:lnTo>
                      <a:pt x="143" y="128"/>
                    </a:lnTo>
                    <a:lnTo>
                      <a:pt x="145" y="128"/>
                    </a:lnTo>
                    <a:lnTo>
                      <a:pt x="146" y="129"/>
                    </a:lnTo>
                    <a:lnTo>
                      <a:pt x="143" y="133"/>
                    </a:lnTo>
                    <a:lnTo>
                      <a:pt x="141" y="133"/>
                    </a:lnTo>
                    <a:lnTo>
                      <a:pt x="141" y="133"/>
                    </a:lnTo>
                    <a:close/>
                    <a:moveTo>
                      <a:pt x="140" y="123"/>
                    </a:moveTo>
                    <a:lnTo>
                      <a:pt x="140" y="121"/>
                    </a:lnTo>
                    <a:lnTo>
                      <a:pt x="141" y="121"/>
                    </a:lnTo>
                    <a:lnTo>
                      <a:pt x="140" y="123"/>
                    </a:lnTo>
                    <a:lnTo>
                      <a:pt x="140" y="123"/>
                    </a:lnTo>
                    <a:close/>
                    <a:moveTo>
                      <a:pt x="133" y="118"/>
                    </a:moveTo>
                    <a:lnTo>
                      <a:pt x="135" y="116"/>
                    </a:lnTo>
                    <a:lnTo>
                      <a:pt x="138" y="118"/>
                    </a:lnTo>
                    <a:lnTo>
                      <a:pt x="138" y="121"/>
                    </a:lnTo>
                    <a:lnTo>
                      <a:pt x="135" y="119"/>
                    </a:lnTo>
                    <a:lnTo>
                      <a:pt x="133" y="118"/>
                    </a:lnTo>
                    <a:lnTo>
                      <a:pt x="133" y="118"/>
                    </a:lnTo>
                    <a:close/>
                    <a:moveTo>
                      <a:pt x="121" y="108"/>
                    </a:moveTo>
                    <a:lnTo>
                      <a:pt x="125" y="108"/>
                    </a:lnTo>
                    <a:lnTo>
                      <a:pt x="126" y="111"/>
                    </a:lnTo>
                    <a:lnTo>
                      <a:pt x="130" y="114"/>
                    </a:lnTo>
                    <a:lnTo>
                      <a:pt x="130" y="116"/>
                    </a:lnTo>
                    <a:lnTo>
                      <a:pt x="128" y="116"/>
                    </a:lnTo>
                    <a:lnTo>
                      <a:pt x="123" y="113"/>
                    </a:lnTo>
                    <a:lnTo>
                      <a:pt x="121" y="111"/>
                    </a:lnTo>
                    <a:lnTo>
                      <a:pt x="121" y="108"/>
                    </a:lnTo>
                    <a:lnTo>
                      <a:pt x="121" y="108"/>
                    </a:lnTo>
                    <a:close/>
                    <a:moveTo>
                      <a:pt x="76" y="81"/>
                    </a:moveTo>
                    <a:lnTo>
                      <a:pt x="80" y="80"/>
                    </a:lnTo>
                    <a:lnTo>
                      <a:pt x="86" y="78"/>
                    </a:lnTo>
                    <a:lnTo>
                      <a:pt x="90" y="81"/>
                    </a:lnTo>
                    <a:lnTo>
                      <a:pt x="95" y="83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1" y="86"/>
                    </a:lnTo>
                    <a:lnTo>
                      <a:pt x="103" y="86"/>
                    </a:lnTo>
                    <a:lnTo>
                      <a:pt x="108" y="91"/>
                    </a:lnTo>
                    <a:lnTo>
                      <a:pt x="110" y="95"/>
                    </a:lnTo>
                    <a:lnTo>
                      <a:pt x="110" y="96"/>
                    </a:lnTo>
                    <a:lnTo>
                      <a:pt x="111" y="98"/>
                    </a:lnTo>
                    <a:lnTo>
                      <a:pt x="111" y="101"/>
                    </a:lnTo>
                    <a:lnTo>
                      <a:pt x="115" y="105"/>
                    </a:lnTo>
                    <a:lnTo>
                      <a:pt x="115" y="103"/>
                    </a:lnTo>
                    <a:lnTo>
                      <a:pt x="120" y="105"/>
                    </a:lnTo>
                    <a:lnTo>
                      <a:pt x="118" y="108"/>
                    </a:lnTo>
                    <a:lnTo>
                      <a:pt x="116" y="108"/>
                    </a:lnTo>
                    <a:lnTo>
                      <a:pt x="113" y="108"/>
                    </a:lnTo>
                    <a:lnTo>
                      <a:pt x="110" y="106"/>
                    </a:lnTo>
                    <a:lnTo>
                      <a:pt x="108" y="105"/>
                    </a:lnTo>
                    <a:lnTo>
                      <a:pt x="110" y="101"/>
                    </a:lnTo>
                    <a:lnTo>
                      <a:pt x="106" y="100"/>
                    </a:lnTo>
                    <a:lnTo>
                      <a:pt x="105" y="96"/>
                    </a:lnTo>
                    <a:lnTo>
                      <a:pt x="103" y="95"/>
                    </a:lnTo>
                    <a:lnTo>
                      <a:pt x="100" y="95"/>
                    </a:lnTo>
                    <a:lnTo>
                      <a:pt x="95" y="91"/>
                    </a:lnTo>
                    <a:lnTo>
                      <a:pt x="93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86" y="86"/>
                    </a:lnTo>
                    <a:lnTo>
                      <a:pt x="85" y="85"/>
                    </a:lnTo>
                    <a:lnTo>
                      <a:pt x="83" y="83"/>
                    </a:lnTo>
                    <a:lnTo>
                      <a:pt x="80" y="83"/>
                    </a:lnTo>
                    <a:lnTo>
                      <a:pt x="76" y="81"/>
                    </a:lnTo>
                    <a:lnTo>
                      <a:pt x="76" y="81"/>
                    </a:lnTo>
                    <a:close/>
                    <a:moveTo>
                      <a:pt x="83" y="146"/>
                    </a:moveTo>
                    <a:lnTo>
                      <a:pt x="85" y="146"/>
                    </a:lnTo>
                    <a:lnTo>
                      <a:pt x="85" y="149"/>
                    </a:lnTo>
                    <a:lnTo>
                      <a:pt x="88" y="151"/>
                    </a:lnTo>
                    <a:lnTo>
                      <a:pt x="86" y="154"/>
                    </a:lnTo>
                    <a:lnTo>
                      <a:pt x="83" y="154"/>
                    </a:lnTo>
                    <a:lnTo>
                      <a:pt x="83" y="151"/>
                    </a:lnTo>
                    <a:lnTo>
                      <a:pt x="83" y="149"/>
                    </a:lnTo>
                    <a:lnTo>
                      <a:pt x="83" y="146"/>
                    </a:lnTo>
                    <a:lnTo>
                      <a:pt x="83" y="146"/>
                    </a:lnTo>
                    <a:close/>
                    <a:moveTo>
                      <a:pt x="83" y="143"/>
                    </a:moveTo>
                    <a:lnTo>
                      <a:pt x="85" y="144"/>
                    </a:lnTo>
                    <a:lnTo>
                      <a:pt x="83" y="144"/>
                    </a:lnTo>
                    <a:lnTo>
                      <a:pt x="83" y="14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6" name="Freeform 72"/>
              <p:cNvSpPr>
                <a:spLocks/>
              </p:cNvSpPr>
              <p:nvPr/>
            </p:nvSpPr>
            <p:spPr bwMode="auto">
              <a:xfrm>
                <a:off x="6944787" y="2763372"/>
                <a:ext cx="46020" cy="3424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3"/>
                  </a:cxn>
                  <a:cxn ang="0">
                    <a:pos x="18" y="0"/>
                  </a:cxn>
                  <a:cxn ang="0">
                    <a:pos x="22" y="1"/>
                  </a:cxn>
                  <a:cxn ang="0">
                    <a:pos x="35" y="1"/>
                  </a:cxn>
                  <a:cxn ang="0">
                    <a:pos x="40" y="6"/>
                  </a:cxn>
                  <a:cxn ang="0">
                    <a:pos x="50" y="6"/>
                  </a:cxn>
                  <a:cxn ang="0">
                    <a:pos x="55" y="11"/>
                  </a:cxn>
                  <a:cxn ang="0">
                    <a:pos x="53" y="16"/>
                  </a:cxn>
                  <a:cxn ang="0">
                    <a:pos x="53" y="19"/>
                  </a:cxn>
                  <a:cxn ang="0">
                    <a:pos x="63" y="28"/>
                  </a:cxn>
                  <a:cxn ang="0">
                    <a:pos x="63" y="33"/>
                  </a:cxn>
                  <a:cxn ang="0">
                    <a:pos x="60" y="34"/>
                  </a:cxn>
                  <a:cxn ang="0">
                    <a:pos x="63" y="41"/>
                  </a:cxn>
                  <a:cxn ang="0">
                    <a:pos x="73" y="48"/>
                  </a:cxn>
                  <a:cxn ang="0">
                    <a:pos x="82" y="48"/>
                  </a:cxn>
                  <a:cxn ang="0">
                    <a:pos x="87" y="53"/>
                  </a:cxn>
                  <a:cxn ang="0">
                    <a:pos x="80" y="53"/>
                  </a:cxn>
                  <a:cxn ang="0">
                    <a:pos x="85" y="59"/>
                  </a:cxn>
                  <a:cxn ang="0">
                    <a:pos x="83" y="61"/>
                  </a:cxn>
                  <a:cxn ang="0">
                    <a:pos x="83" y="66"/>
                  </a:cxn>
                  <a:cxn ang="0">
                    <a:pos x="77" y="66"/>
                  </a:cxn>
                  <a:cxn ang="0">
                    <a:pos x="67" y="53"/>
                  </a:cxn>
                  <a:cxn ang="0">
                    <a:pos x="60" y="51"/>
                  </a:cxn>
                  <a:cxn ang="0">
                    <a:pos x="57" y="43"/>
                  </a:cxn>
                  <a:cxn ang="0">
                    <a:pos x="52" y="43"/>
                  </a:cxn>
                  <a:cxn ang="0">
                    <a:pos x="50" y="46"/>
                  </a:cxn>
                  <a:cxn ang="0">
                    <a:pos x="43" y="39"/>
                  </a:cxn>
                  <a:cxn ang="0">
                    <a:pos x="38" y="43"/>
                  </a:cxn>
                  <a:cxn ang="0">
                    <a:pos x="35" y="43"/>
                  </a:cxn>
                  <a:cxn ang="0">
                    <a:pos x="33" y="39"/>
                  </a:cxn>
                  <a:cxn ang="0">
                    <a:pos x="28" y="36"/>
                  </a:cxn>
                  <a:cxn ang="0">
                    <a:pos x="23" y="36"/>
                  </a:cxn>
                  <a:cxn ang="0">
                    <a:pos x="17" y="36"/>
                  </a:cxn>
                  <a:cxn ang="0">
                    <a:pos x="10" y="33"/>
                  </a:cxn>
                  <a:cxn ang="0">
                    <a:pos x="10" y="23"/>
                  </a:cxn>
                  <a:cxn ang="0">
                    <a:pos x="10" y="16"/>
                  </a:cxn>
                  <a:cxn ang="0">
                    <a:pos x="8" y="11"/>
                  </a:cxn>
                  <a:cxn ang="0">
                    <a:pos x="4" y="11"/>
                  </a:cxn>
                  <a:cxn ang="0">
                    <a:pos x="4" y="8"/>
                  </a:cxn>
                  <a:cxn ang="0">
                    <a:pos x="0" y="5"/>
                  </a:cxn>
                </a:cxnLst>
                <a:rect l="0" t="0" r="r" b="b"/>
                <a:pathLst>
                  <a:path w="87" h="66">
                    <a:moveTo>
                      <a:pt x="0" y="5"/>
                    </a:moveTo>
                    <a:lnTo>
                      <a:pt x="7" y="3"/>
                    </a:lnTo>
                    <a:lnTo>
                      <a:pt x="18" y="0"/>
                    </a:lnTo>
                    <a:lnTo>
                      <a:pt x="22" y="1"/>
                    </a:lnTo>
                    <a:lnTo>
                      <a:pt x="35" y="1"/>
                    </a:lnTo>
                    <a:lnTo>
                      <a:pt x="40" y="6"/>
                    </a:lnTo>
                    <a:lnTo>
                      <a:pt x="50" y="6"/>
                    </a:lnTo>
                    <a:lnTo>
                      <a:pt x="55" y="11"/>
                    </a:lnTo>
                    <a:lnTo>
                      <a:pt x="53" y="16"/>
                    </a:lnTo>
                    <a:lnTo>
                      <a:pt x="53" y="19"/>
                    </a:lnTo>
                    <a:lnTo>
                      <a:pt x="63" y="28"/>
                    </a:lnTo>
                    <a:lnTo>
                      <a:pt x="63" y="33"/>
                    </a:lnTo>
                    <a:lnTo>
                      <a:pt x="60" y="34"/>
                    </a:lnTo>
                    <a:lnTo>
                      <a:pt x="63" y="41"/>
                    </a:lnTo>
                    <a:lnTo>
                      <a:pt x="73" y="48"/>
                    </a:lnTo>
                    <a:lnTo>
                      <a:pt x="82" y="48"/>
                    </a:lnTo>
                    <a:lnTo>
                      <a:pt x="87" y="53"/>
                    </a:lnTo>
                    <a:lnTo>
                      <a:pt x="80" y="53"/>
                    </a:lnTo>
                    <a:lnTo>
                      <a:pt x="85" y="59"/>
                    </a:lnTo>
                    <a:lnTo>
                      <a:pt x="83" y="61"/>
                    </a:lnTo>
                    <a:lnTo>
                      <a:pt x="83" y="66"/>
                    </a:lnTo>
                    <a:lnTo>
                      <a:pt x="77" y="66"/>
                    </a:lnTo>
                    <a:lnTo>
                      <a:pt x="67" y="53"/>
                    </a:lnTo>
                    <a:lnTo>
                      <a:pt x="60" y="51"/>
                    </a:lnTo>
                    <a:lnTo>
                      <a:pt x="57" y="43"/>
                    </a:lnTo>
                    <a:lnTo>
                      <a:pt x="52" y="43"/>
                    </a:lnTo>
                    <a:lnTo>
                      <a:pt x="50" y="46"/>
                    </a:lnTo>
                    <a:lnTo>
                      <a:pt x="43" y="39"/>
                    </a:lnTo>
                    <a:lnTo>
                      <a:pt x="38" y="43"/>
                    </a:lnTo>
                    <a:lnTo>
                      <a:pt x="35" y="43"/>
                    </a:lnTo>
                    <a:lnTo>
                      <a:pt x="33" y="39"/>
                    </a:lnTo>
                    <a:lnTo>
                      <a:pt x="28" y="36"/>
                    </a:lnTo>
                    <a:lnTo>
                      <a:pt x="23" y="36"/>
                    </a:lnTo>
                    <a:lnTo>
                      <a:pt x="17" y="36"/>
                    </a:lnTo>
                    <a:lnTo>
                      <a:pt x="10" y="33"/>
                    </a:lnTo>
                    <a:lnTo>
                      <a:pt x="10" y="23"/>
                    </a:lnTo>
                    <a:lnTo>
                      <a:pt x="10" y="16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4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7" name="Freeform 73"/>
              <p:cNvSpPr>
                <a:spLocks noEditPoints="1"/>
              </p:cNvSpPr>
              <p:nvPr/>
            </p:nvSpPr>
            <p:spPr bwMode="auto">
              <a:xfrm>
                <a:off x="6728597" y="2756108"/>
                <a:ext cx="240806" cy="84045"/>
              </a:xfrm>
              <a:custGeom>
                <a:avLst/>
                <a:gdLst/>
                <a:ahLst/>
                <a:cxnLst>
                  <a:cxn ang="0">
                    <a:pos x="21" y="15"/>
                  </a:cxn>
                  <a:cxn ang="0">
                    <a:pos x="34" y="0"/>
                  </a:cxn>
                  <a:cxn ang="0">
                    <a:pos x="63" y="18"/>
                  </a:cxn>
                  <a:cxn ang="0">
                    <a:pos x="59" y="29"/>
                  </a:cxn>
                  <a:cxn ang="0">
                    <a:pos x="24" y="44"/>
                  </a:cxn>
                  <a:cxn ang="0">
                    <a:pos x="19" y="41"/>
                  </a:cxn>
                  <a:cxn ang="0">
                    <a:pos x="6" y="34"/>
                  </a:cxn>
                  <a:cxn ang="0">
                    <a:pos x="342" y="26"/>
                  </a:cxn>
                  <a:cxn ang="0">
                    <a:pos x="313" y="23"/>
                  </a:cxn>
                  <a:cxn ang="0">
                    <a:pos x="274" y="26"/>
                  </a:cxn>
                  <a:cxn ang="0">
                    <a:pos x="242" y="18"/>
                  </a:cxn>
                  <a:cxn ang="0">
                    <a:pos x="222" y="10"/>
                  </a:cxn>
                  <a:cxn ang="0">
                    <a:pos x="196" y="1"/>
                  </a:cxn>
                  <a:cxn ang="0">
                    <a:pos x="154" y="8"/>
                  </a:cxn>
                  <a:cxn ang="0">
                    <a:pos x="129" y="23"/>
                  </a:cxn>
                  <a:cxn ang="0">
                    <a:pos x="99" y="24"/>
                  </a:cxn>
                  <a:cxn ang="0">
                    <a:pos x="79" y="36"/>
                  </a:cxn>
                  <a:cxn ang="0">
                    <a:pos x="69" y="44"/>
                  </a:cxn>
                  <a:cxn ang="0">
                    <a:pos x="58" y="48"/>
                  </a:cxn>
                  <a:cxn ang="0">
                    <a:pos x="33" y="46"/>
                  </a:cxn>
                  <a:cxn ang="0">
                    <a:pos x="14" y="69"/>
                  </a:cxn>
                  <a:cxn ang="0">
                    <a:pos x="33" y="71"/>
                  </a:cxn>
                  <a:cxn ang="0">
                    <a:pos x="31" y="88"/>
                  </a:cxn>
                  <a:cxn ang="0">
                    <a:pos x="33" y="96"/>
                  </a:cxn>
                  <a:cxn ang="0">
                    <a:pos x="19" y="99"/>
                  </a:cxn>
                  <a:cxn ang="0">
                    <a:pos x="29" y="113"/>
                  </a:cxn>
                  <a:cxn ang="0">
                    <a:pos x="39" y="129"/>
                  </a:cxn>
                  <a:cxn ang="0">
                    <a:pos x="44" y="139"/>
                  </a:cxn>
                  <a:cxn ang="0">
                    <a:pos x="46" y="144"/>
                  </a:cxn>
                  <a:cxn ang="0">
                    <a:pos x="59" y="147"/>
                  </a:cxn>
                  <a:cxn ang="0">
                    <a:pos x="76" y="144"/>
                  </a:cxn>
                  <a:cxn ang="0">
                    <a:pos x="86" y="151"/>
                  </a:cxn>
                  <a:cxn ang="0">
                    <a:pos x="108" y="156"/>
                  </a:cxn>
                  <a:cxn ang="0">
                    <a:pos x="122" y="147"/>
                  </a:cxn>
                  <a:cxn ang="0">
                    <a:pos x="164" y="157"/>
                  </a:cxn>
                  <a:cxn ang="0">
                    <a:pos x="206" y="154"/>
                  </a:cxn>
                  <a:cxn ang="0">
                    <a:pos x="244" y="144"/>
                  </a:cxn>
                  <a:cxn ang="0">
                    <a:pos x="245" y="151"/>
                  </a:cxn>
                  <a:cxn ang="0">
                    <a:pos x="264" y="159"/>
                  </a:cxn>
                  <a:cxn ang="0">
                    <a:pos x="279" y="144"/>
                  </a:cxn>
                  <a:cxn ang="0">
                    <a:pos x="317" y="139"/>
                  </a:cxn>
                  <a:cxn ang="0">
                    <a:pos x="355" y="132"/>
                  </a:cxn>
                  <a:cxn ang="0">
                    <a:pos x="397" y="131"/>
                  </a:cxn>
                  <a:cxn ang="0">
                    <a:pos x="435" y="124"/>
                  </a:cxn>
                  <a:cxn ang="0">
                    <a:pos x="446" y="121"/>
                  </a:cxn>
                  <a:cxn ang="0">
                    <a:pos x="436" y="93"/>
                  </a:cxn>
                  <a:cxn ang="0">
                    <a:pos x="426" y="68"/>
                  </a:cxn>
                  <a:cxn ang="0">
                    <a:pos x="426" y="51"/>
                  </a:cxn>
                  <a:cxn ang="0">
                    <a:pos x="407" y="26"/>
                  </a:cxn>
                  <a:cxn ang="0">
                    <a:pos x="380" y="13"/>
                  </a:cxn>
                  <a:cxn ang="0">
                    <a:pos x="362" y="8"/>
                  </a:cxn>
                  <a:cxn ang="0">
                    <a:pos x="56" y="151"/>
                  </a:cxn>
                  <a:cxn ang="0">
                    <a:pos x="10" y="49"/>
                  </a:cxn>
                </a:cxnLst>
                <a:rect l="0" t="0" r="r" b="b"/>
                <a:pathLst>
                  <a:path w="450" h="162">
                    <a:moveTo>
                      <a:pt x="6" y="34"/>
                    </a:moveTo>
                    <a:lnTo>
                      <a:pt x="13" y="34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9" y="21"/>
                    </a:lnTo>
                    <a:lnTo>
                      <a:pt x="21" y="15"/>
                    </a:lnTo>
                    <a:lnTo>
                      <a:pt x="16" y="13"/>
                    </a:lnTo>
                    <a:lnTo>
                      <a:pt x="16" y="8"/>
                    </a:lnTo>
                    <a:lnTo>
                      <a:pt x="21" y="3"/>
                    </a:lnTo>
                    <a:lnTo>
                      <a:pt x="24" y="3"/>
                    </a:lnTo>
                    <a:lnTo>
                      <a:pt x="28" y="0"/>
                    </a:lnTo>
                    <a:lnTo>
                      <a:pt x="34" y="0"/>
                    </a:lnTo>
                    <a:lnTo>
                      <a:pt x="41" y="5"/>
                    </a:lnTo>
                    <a:lnTo>
                      <a:pt x="44" y="3"/>
                    </a:lnTo>
                    <a:lnTo>
                      <a:pt x="49" y="3"/>
                    </a:lnTo>
                    <a:lnTo>
                      <a:pt x="51" y="11"/>
                    </a:lnTo>
                    <a:lnTo>
                      <a:pt x="58" y="18"/>
                    </a:lnTo>
                    <a:lnTo>
                      <a:pt x="63" y="18"/>
                    </a:lnTo>
                    <a:lnTo>
                      <a:pt x="69" y="23"/>
                    </a:lnTo>
                    <a:lnTo>
                      <a:pt x="74" y="26"/>
                    </a:lnTo>
                    <a:lnTo>
                      <a:pt x="74" y="28"/>
                    </a:lnTo>
                    <a:lnTo>
                      <a:pt x="69" y="33"/>
                    </a:lnTo>
                    <a:lnTo>
                      <a:pt x="63" y="31"/>
                    </a:lnTo>
                    <a:lnTo>
                      <a:pt x="59" y="29"/>
                    </a:lnTo>
                    <a:lnTo>
                      <a:pt x="54" y="29"/>
                    </a:lnTo>
                    <a:lnTo>
                      <a:pt x="53" y="31"/>
                    </a:lnTo>
                    <a:lnTo>
                      <a:pt x="44" y="31"/>
                    </a:lnTo>
                    <a:lnTo>
                      <a:pt x="39" y="33"/>
                    </a:lnTo>
                    <a:lnTo>
                      <a:pt x="36" y="39"/>
                    </a:lnTo>
                    <a:lnTo>
                      <a:pt x="24" y="44"/>
                    </a:lnTo>
                    <a:lnTo>
                      <a:pt x="14" y="53"/>
                    </a:lnTo>
                    <a:lnTo>
                      <a:pt x="13" y="49"/>
                    </a:lnTo>
                    <a:lnTo>
                      <a:pt x="16" y="43"/>
                    </a:lnTo>
                    <a:lnTo>
                      <a:pt x="18" y="43"/>
                    </a:lnTo>
                    <a:lnTo>
                      <a:pt x="23" y="41"/>
                    </a:lnTo>
                    <a:lnTo>
                      <a:pt x="19" y="41"/>
                    </a:lnTo>
                    <a:lnTo>
                      <a:pt x="16" y="39"/>
                    </a:lnTo>
                    <a:lnTo>
                      <a:pt x="13" y="41"/>
                    </a:lnTo>
                    <a:lnTo>
                      <a:pt x="10" y="39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  <a:moveTo>
                      <a:pt x="362" y="8"/>
                    </a:moveTo>
                    <a:lnTo>
                      <a:pt x="362" y="10"/>
                    </a:lnTo>
                    <a:lnTo>
                      <a:pt x="358" y="15"/>
                    </a:lnTo>
                    <a:lnTo>
                      <a:pt x="352" y="18"/>
                    </a:lnTo>
                    <a:lnTo>
                      <a:pt x="343" y="23"/>
                    </a:lnTo>
                    <a:lnTo>
                      <a:pt x="342" y="26"/>
                    </a:lnTo>
                    <a:lnTo>
                      <a:pt x="335" y="26"/>
                    </a:lnTo>
                    <a:lnTo>
                      <a:pt x="332" y="28"/>
                    </a:lnTo>
                    <a:lnTo>
                      <a:pt x="322" y="26"/>
                    </a:lnTo>
                    <a:lnTo>
                      <a:pt x="318" y="24"/>
                    </a:lnTo>
                    <a:lnTo>
                      <a:pt x="315" y="24"/>
                    </a:lnTo>
                    <a:lnTo>
                      <a:pt x="313" y="23"/>
                    </a:lnTo>
                    <a:lnTo>
                      <a:pt x="310" y="24"/>
                    </a:lnTo>
                    <a:lnTo>
                      <a:pt x="300" y="26"/>
                    </a:lnTo>
                    <a:lnTo>
                      <a:pt x="290" y="29"/>
                    </a:lnTo>
                    <a:lnTo>
                      <a:pt x="282" y="28"/>
                    </a:lnTo>
                    <a:lnTo>
                      <a:pt x="277" y="24"/>
                    </a:lnTo>
                    <a:lnTo>
                      <a:pt x="274" y="26"/>
                    </a:lnTo>
                    <a:lnTo>
                      <a:pt x="264" y="23"/>
                    </a:lnTo>
                    <a:lnTo>
                      <a:pt x="260" y="21"/>
                    </a:lnTo>
                    <a:lnTo>
                      <a:pt x="250" y="16"/>
                    </a:lnTo>
                    <a:lnTo>
                      <a:pt x="249" y="16"/>
                    </a:lnTo>
                    <a:lnTo>
                      <a:pt x="247" y="20"/>
                    </a:lnTo>
                    <a:lnTo>
                      <a:pt x="242" y="18"/>
                    </a:lnTo>
                    <a:lnTo>
                      <a:pt x="239" y="13"/>
                    </a:lnTo>
                    <a:lnTo>
                      <a:pt x="237" y="8"/>
                    </a:lnTo>
                    <a:lnTo>
                      <a:pt x="234" y="5"/>
                    </a:lnTo>
                    <a:lnTo>
                      <a:pt x="230" y="5"/>
                    </a:lnTo>
                    <a:lnTo>
                      <a:pt x="224" y="11"/>
                    </a:lnTo>
                    <a:lnTo>
                      <a:pt x="222" y="10"/>
                    </a:lnTo>
                    <a:lnTo>
                      <a:pt x="220" y="11"/>
                    </a:lnTo>
                    <a:lnTo>
                      <a:pt x="212" y="5"/>
                    </a:lnTo>
                    <a:lnTo>
                      <a:pt x="211" y="0"/>
                    </a:lnTo>
                    <a:lnTo>
                      <a:pt x="209" y="0"/>
                    </a:lnTo>
                    <a:lnTo>
                      <a:pt x="204" y="1"/>
                    </a:lnTo>
                    <a:lnTo>
                      <a:pt x="196" y="1"/>
                    </a:lnTo>
                    <a:lnTo>
                      <a:pt x="192" y="1"/>
                    </a:lnTo>
                    <a:lnTo>
                      <a:pt x="187" y="1"/>
                    </a:lnTo>
                    <a:lnTo>
                      <a:pt x="176" y="1"/>
                    </a:lnTo>
                    <a:lnTo>
                      <a:pt x="169" y="3"/>
                    </a:lnTo>
                    <a:lnTo>
                      <a:pt x="159" y="6"/>
                    </a:lnTo>
                    <a:lnTo>
                      <a:pt x="154" y="8"/>
                    </a:lnTo>
                    <a:lnTo>
                      <a:pt x="144" y="10"/>
                    </a:lnTo>
                    <a:lnTo>
                      <a:pt x="142" y="11"/>
                    </a:lnTo>
                    <a:lnTo>
                      <a:pt x="137" y="13"/>
                    </a:lnTo>
                    <a:lnTo>
                      <a:pt x="134" y="16"/>
                    </a:lnTo>
                    <a:lnTo>
                      <a:pt x="131" y="18"/>
                    </a:lnTo>
                    <a:lnTo>
                      <a:pt x="129" y="23"/>
                    </a:lnTo>
                    <a:lnTo>
                      <a:pt x="127" y="24"/>
                    </a:lnTo>
                    <a:lnTo>
                      <a:pt x="127" y="26"/>
                    </a:lnTo>
                    <a:lnTo>
                      <a:pt x="119" y="28"/>
                    </a:lnTo>
                    <a:lnTo>
                      <a:pt x="106" y="23"/>
                    </a:lnTo>
                    <a:lnTo>
                      <a:pt x="101" y="23"/>
                    </a:lnTo>
                    <a:lnTo>
                      <a:pt x="99" y="24"/>
                    </a:lnTo>
                    <a:lnTo>
                      <a:pt x="94" y="24"/>
                    </a:lnTo>
                    <a:lnTo>
                      <a:pt x="86" y="26"/>
                    </a:lnTo>
                    <a:lnTo>
                      <a:pt x="83" y="24"/>
                    </a:lnTo>
                    <a:lnTo>
                      <a:pt x="76" y="26"/>
                    </a:lnTo>
                    <a:lnTo>
                      <a:pt x="76" y="29"/>
                    </a:lnTo>
                    <a:lnTo>
                      <a:pt x="79" y="36"/>
                    </a:lnTo>
                    <a:lnTo>
                      <a:pt x="86" y="36"/>
                    </a:lnTo>
                    <a:lnTo>
                      <a:pt x="93" y="36"/>
                    </a:lnTo>
                    <a:lnTo>
                      <a:pt x="91" y="39"/>
                    </a:lnTo>
                    <a:lnTo>
                      <a:pt x="81" y="39"/>
                    </a:lnTo>
                    <a:lnTo>
                      <a:pt x="73" y="41"/>
                    </a:lnTo>
                    <a:lnTo>
                      <a:pt x="69" y="44"/>
                    </a:lnTo>
                    <a:lnTo>
                      <a:pt x="71" y="48"/>
                    </a:lnTo>
                    <a:lnTo>
                      <a:pt x="76" y="46"/>
                    </a:lnTo>
                    <a:lnTo>
                      <a:pt x="78" y="48"/>
                    </a:lnTo>
                    <a:lnTo>
                      <a:pt x="74" y="49"/>
                    </a:lnTo>
                    <a:lnTo>
                      <a:pt x="63" y="49"/>
                    </a:lnTo>
                    <a:lnTo>
                      <a:pt x="58" y="48"/>
                    </a:lnTo>
                    <a:lnTo>
                      <a:pt x="53" y="49"/>
                    </a:lnTo>
                    <a:lnTo>
                      <a:pt x="49" y="46"/>
                    </a:lnTo>
                    <a:lnTo>
                      <a:pt x="46" y="46"/>
                    </a:lnTo>
                    <a:lnTo>
                      <a:pt x="43" y="51"/>
                    </a:lnTo>
                    <a:lnTo>
                      <a:pt x="38" y="51"/>
                    </a:lnTo>
                    <a:lnTo>
                      <a:pt x="33" y="46"/>
                    </a:lnTo>
                    <a:lnTo>
                      <a:pt x="26" y="46"/>
                    </a:lnTo>
                    <a:lnTo>
                      <a:pt x="16" y="54"/>
                    </a:lnTo>
                    <a:lnTo>
                      <a:pt x="14" y="58"/>
                    </a:lnTo>
                    <a:lnTo>
                      <a:pt x="13" y="61"/>
                    </a:lnTo>
                    <a:lnTo>
                      <a:pt x="14" y="64"/>
                    </a:lnTo>
                    <a:lnTo>
                      <a:pt x="14" y="69"/>
                    </a:lnTo>
                    <a:lnTo>
                      <a:pt x="13" y="71"/>
                    </a:lnTo>
                    <a:lnTo>
                      <a:pt x="14" y="73"/>
                    </a:lnTo>
                    <a:lnTo>
                      <a:pt x="21" y="71"/>
                    </a:lnTo>
                    <a:lnTo>
                      <a:pt x="23" y="73"/>
                    </a:lnTo>
                    <a:lnTo>
                      <a:pt x="28" y="71"/>
                    </a:lnTo>
                    <a:lnTo>
                      <a:pt x="33" y="71"/>
                    </a:lnTo>
                    <a:lnTo>
                      <a:pt x="28" y="76"/>
                    </a:lnTo>
                    <a:lnTo>
                      <a:pt x="28" y="79"/>
                    </a:lnTo>
                    <a:lnTo>
                      <a:pt x="29" y="83"/>
                    </a:lnTo>
                    <a:lnTo>
                      <a:pt x="29" y="86"/>
                    </a:lnTo>
                    <a:lnTo>
                      <a:pt x="29" y="88"/>
                    </a:lnTo>
                    <a:lnTo>
                      <a:pt x="31" y="88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3" y="91"/>
                    </a:lnTo>
                    <a:lnTo>
                      <a:pt x="28" y="94"/>
                    </a:lnTo>
                    <a:lnTo>
                      <a:pt x="29" y="96"/>
                    </a:lnTo>
                    <a:lnTo>
                      <a:pt x="33" y="96"/>
                    </a:lnTo>
                    <a:lnTo>
                      <a:pt x="29" y="98"/>
                    </a:lnTo>
                    <a:lnTo>
                      <a:pt x="28" y="101"/>
                    </a:lnTo>
                    <a:lnTo>
                      <a:pt x="24" y="101"/>
                    </a:lnTo>
                    <a:lnTo>
                      <a:pt x="21" y="96"/>
                    </a:lnTo>
                    <a:lnTo>
                      <a:pt x="19" y="94"/>
                    </a:lnTo>
                    <a:lnTo>
                      <a:pt x="19" y="99"/>
                    </a:lnTo>
                    <a:lnTo>
                      <a:pt x="21" y="103"/>
                    </a:lnTo>
                    <a:lnTo>
                      <a:pt x="19" y="104"/>
                    </a:lnTo>
                    <a:lnTo>
                      <a:pt x="19" y="108"/>
                    </a:lnTo>
                    <a:lnTo>
                      <a:pt x="23" y="111"/>
                    </a:lnTo>
                    <a:lnTo>
                      <a:pt x="24" y="109"/>
                    </a:lnTo>
                    <a:lnTo>
                      <a:pt x="29" y="113"/>
                    </a:lnTo>
                    <a:lnTo>
                      <a:pt x="33" y="111"/>
                    </a:lnTo>
                    <a:lnTo>
                      <a:pt x="38" y="114"/>
                    </a:lnTo>
                    <a:lnTo>
                      <a:pt x="39" y="119"/>
                    </a:lnTo>
                    <a:lnTo>
                      <a:pt x="36" y="122"/>
                    </a:lnTo>
                    <a:lnTo>
                      <a:pt x="39" y="126"/>
                    </a:lnTo>
                    <a:lnTo>
                      <a:pt x="39" y="129"/>
                    </a:lnTo>
                    <a:lnTo>
                      <a:pt x="43" y="129"/>
                    </a:lnTo>
                    <a:lnTo>
                      <a:pt x="48" y="134"/>
                    </a:lnTo>
                    <a:lnTo>
                      <a:pt x="46" y="137"/>
                    </a:lnTo>
                    <a:lnTo>
                      <a:pt x="43" y="136"/>
                    </a:lnTo>
                    <a:lnTo>
                      <a:pt x="41" y="139"/>
                    </a:lnTo>
                    <a:lnTo>
                      <a:pt x="44" y="139"/>
                    </a:lnTo>
                    <a:lnTo>
                      <a:pt x="53" y="137"/>
                    </a:lnTo>
                    <a:lnTo>
                      <a:pt x="63" y="137"/>
                    </a:lnTo>
                    <a:lnTo>
                      <a:pt x="61" y="141"/>
                    </a:lnTo>
                    <a:lnTo>
                      <a:pt x="59" y="142"/>
                    </a:lnTo>
                    <a:lnTo>
                      <a:pt x="54" y="144"/>
                    </a:lnTo>
                    <a:lnTo>
                      <a:pt x="46" y="144"/>
                    </a:lnTo>
                    <a:lnTo>
                      <a:pt x="44" y="147"/>
                    </a:lnTo>
                    <a:lnTo>
                      <a:pt x="48" y="147"/>
                    </a:lnTo>
                    <a:lnTo>
                      <a:pt x="51" y="146"/>
                    </a:lnTo>
                    <a:lnTo>
                      <a:pt x="56" y="146"/>
                    </a:lnTo>
                    <a:lnTo>
                      <a:pt x="59" y="144"/>
                    </a:lnTo>
                    <a:lnTo>
                      <a:pt x="59" y="147"/>
                    </a:lnTo>
                    <a:lnTo>
                      <a:pt x="61" y="149"/>
                    </a:lnTo>
                    <a:lnTo>
                      <a:pt x="63" y="146"/>
                    </a:lnTo>
                    <a:lnTo>
                      <a:pt x="66" y="142"/>
                    </a:lnTo>
                    <a:lnTo>
                      <a:pt x="69" y="142"/>
                    </a:lnTo>
                    <a:lnTo>
                      <a:pt x="73" y="144"/>
                    </a:lnTo>
                    <a:lnTo>
                      <a:pt x="76" y="144"/>
                    </a:lnTo>
                    <a:lnTo>
                      <a:pt x="79" y="147"/>
                    </a:lnTo>
                    <a:lnTo>
                      <a:pt x="83" y="144"/>
                    </a:lnTo>
                    <a:lnTo>
                      <a:pt x="86" y="146"/>
                    </a:lnTo>
                    <a:lnTo>
                      <a:pt x="86" y="147"/>
                    </a:lnTo>
                    <a:lnTo>
                      <a:pt x="84" y="147"/>
                    </a:lnTo>
                    <a:lnTo>
                      <a:pt x="86" y="151"/>
                    </a:lnTo>
                    <a:lnTo>
                      <a:pt x="86" y="154"/>
                    </a:lnTo>
                    <a:lnTo>
                      <a:pt x="91" y="157"/>
                    </a:lnTo>
                    <a:lnTo>
                      <a:pt x="93" y="157"/>
                    </a:lnTo>
                    <a:lnTo>
                      <a:pt x="99" y="159"/>
                    </a:lnTo>
                    <a:lnTo>
                      <a:pt x="104" y="159"/>
                    </a:lnTo>
                    <a:lnTo>
                      <a:pt x="108" y="156"/>
                    </a:lnTo>
                    <a:lnTo>
                      <a:pt x="113" y="156"/>
                    </a:lnTo>
                    <a:lnTo>
                      <a:pt x="114" y="154"/>
                    </a:lnTo>
                    <a:lnTo>
                      <a:pt x="119" y="156"/>
                    </a:lnTo>
                    <a:lnTo>
                      <a:pt x="122" y="154"/>
                    </a:lnTo>
                    <a:lnTo>
                      <a:pt x="121" y="149"/>
                    </a:lnTo>
                    <a:lnTo>
                      <a:pt x="122" y="147"/>
                    </a:lnTo>
                    <a:lnTo>
                      <a:pt x="121" y="142"/>
                    </a:lnTo>
                    <a:lnTo>
                      <a:pt x="132" y="141"/>
                    </a:lnTo>
                    <a:lnTo>
                      <a:pt x="141" y="142"/>
                    </a:lnTo>
                    <a:lnTo>
                      <a:pt x="152" y="147"/>
                    </a:lnTo>
                    <a:lnTo>
                      <a:pt x="156" y="147"/>
                    </a:lnTo>
                    <a:lnTo>
                      <a:pt x="164" y="157"/>
                    </a:lnTo>
                    <a:lnTo>
                      <a:pt x="171" y="161"/>
                    </a:lnTo>
                    <a:lnTo>
                      <a:pt x="192" y="157"/>
                    </a:lnTo>
                    <a:lnTo>
                      <a:pt x="199" y="156"/>
                    </a:lnTo>
                    <a:lnTo>
                      <a:pt x="202" y="156"/>
                    </a:lnTo>
                    <a:lnTo>
                      <a:pt x="202" y="156"/>
                    </a:lnTo>
                    <a:lnTo>
                      <a:pt x="206" y="154"/>
                    </a:lnTo>
                    <a:lnTo>
                      <a:pt x="207" y="151"/>
                    </a:lnTo>
                    <a:lnTo>
                      <a:pt x="217" y="141"/>
                    </a:lnTo>
                    <a:lnTo>
                      <a:pt x="220" y="139"/>
                    </a:lnTo>
                    <a:lnTo>
                      <a:pt x="230" y="142"/>
                    </a:lnTo>
                    <a:lnTo>
                      <a:pt x="235" y="146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9" y="139"/>
                    </a:lnTo>
                    <a:lnTo>
                      <a:pt x="254" y="139"/>
                    </a:lnTo>
                    <a:lnTo>
                      <a:pt x="254" y="142"/>
                    </a:lnTo>
                    <a:lnTo>
                      <a:pt x="250" y="147"/>
                    </a:lnTo>
                    <a:lnTo>
                      <a:pt x="245" y="151"/>
                    </a:lnTo>
                    <a:lnTo>
                      <a:pt x="245" y="154"/>
                    </a:lnTo>
                    <a:lnTo>
                      <a:pt x="250" y="159"/>
                    </a:lnTo>
                    <a:lnTo>
                      <a:pt x="249" y="161"/>
                    </a:lnTo>
                    <a:lnTo>
                      <a:pt x="254" y="162"/>
                    </a:lnTo>
                    <a:lnTo>
                      <a:pt x="259" y="161"/>
                    </a:lnTo>
                    <a:lnTo>
                      <a:pt x="264" y="159"/>
                    </a:lnTo>
                    <a:lnTo>
                      <a:pt x="264" y="156"/>
                    </a:lnTo>
                    <a:lnTo>
                      <a:pt x="265" y="152"/>
                    </a:lnTo>
                    <a:lnTo>
                      <a:pt x="267" y="146"/>
                    </a:lnTo>
                    <a:lnTo>
                      <a:pt x="267" y="141"/>
                    </a:lnTo>
                    <a:lnTo>
                      <a:pt x="275" y="142"/>
                    </a:lnTo>
                    <a:lnTo>
                      <a:pt x="279" y="144"/>
                    </a:lnTo>
                    <a:lnTo>
                      <a:pt x="290" y="139"/>
                    </a:lnTo>
                    <a:lnTo>
                      <a:pt x="294" y="139"/>
                    </a:lnTo>
                    <a:lnTo>
                      <a:pt x="297" y="137"/>
                    </a:lnTo>
                    <a:lnTo>
                      <a:pt x="310" y="136"/>
                    </a:lnTo>
                    <a:lnTo>
                      <a:pt x="313" y="137"/>
                    </a:lnTo>
                    <a:lnTo>
                      <a:pt x="317" y="139"/>
                    </a:lnTo>
                    <a:lnTo>
                      <a:pt x="323" y="141"/>
                    </a:lnTo>
                    <a:lnTo>
                      <a:pt x="335" y="141"/>
                    </a:lnTo>
                    <a:lnTo>
                      <a:pt x="337" y="139"/>
                    </a:lnTo>
                    <a:lnTo>
                      <a:pt x="342" y="137"/>
                    </a:lnTo>
                    <a:lnTo>
                      <a:pt x="347" y="134"/>
                    </a:lnTo>
                    <a:lnTo>
                      <a:pt x="355" y="132"/>
                    </a:lnTo>
                    <a:lnTo>
                      <a:pt x="362" y="132"/>
                    </a:lnTo>
                    <a:lnTo>
                      <a:pt x="365" y="131"/>
                    </a:lnTo>
                    <a:lnTo>
                      <a:pt x="378" y="132"/>
                    </a:lnTo>
                    <a:lnTo>
                      <a:pt x="387" y="129"/>
                    </a:lnTo>
                    <a:lnTo>
                      <a:pt x="395" y="129"/>
                    </a:lnTo>
                    <a:lnTo>
                      <a:pt x="397" y="131"/>
                    </a:lnTo>
                    <a:lnTo>
                      <a:pt x="403" y="126"/>
                    </a:lnTo>
                    <a:lnTo>
                      <a:pt x="408" y="126"/>
                    </a:lnTo>
                    <a:lnTo>
                      <a:pt x="411" y="124"/>
                    </a:lnTo>
                    <a:lnTo>
                      <a:pt x="421" y="124"/>
                    </a:lnTo>
                    <a:lnTo>
                      <a:pt x="430" y="126"/>
                    </a:lnTo>
                    <a:lnTo>
                      <a:pt x="435" y="124"/>
                    </a:lnTo>
                    <a:lnTo>
                      <a:pt x="438" y="126"/>
                    </a:lnTo>
                    <a:lnTo>
                      <a:pt x="438" y="129"/>
                    </a:lnTo>
                    <a:lnTo>
                      <a:pt x="443" y="131"/>
                    </a:lnTo>
                    <a:lnTo>
                      <a:pt x="448" y="131"/>
                    </a:lnTo>
                    <a:lnTo>
                      <a:pt x="450" y="126"/>
                    </a:lnTo>
                    <a:lnTo>
                      <a:pt x="446" y="121"/>
                    </a:lnTo>
                    <a:lnTo>
                      <a:pt x="441" y="113"/>
                    </a:lnTo>
                    <a:lnTo>
                      <a:pt x="435" y="111"/>
                    </a:lnTo>
                    <a:lnTo>
                      <a:pt x="436" y="108"/>
                    </a:lnTo>
                    <a:lnTo>
                      <a:pt x="435" y="103"/>
                    </a:lnTo>
                    <a:lnTo>
                      <a:pt x="438" y="96"/>
                    </a:lnTo>
                    <a:lnTo>
                      <a:pt x="436" y="93"/>
                    </a:lnTo>
                    <a:lnTo>
                      <a:pt x="431" y="93"/>
                    </a:lnTo>
                    <a:lnTo>
                      <a:pt x="431" y="86"/>
                    </a:lnTo>
                    <a:lnTo>
                      <a:pt x="431" y="81"/>
                    </a:lnTo>
                    <a:lnTo>
                      <a:pt x="430" y="73"/>
                    </a:lnTo>
                    <a:lnTo>
                      <a:pt x="426" y="69"/>
                    </a:lnTo>
                    <a:lnTo>
                      <a:pt x="426" y="68"/>
                    </a:lnTo>
                    <a:lnTo>
                      <a:pt x="433" y="66"/>
                    </a:lnTo>
                    <a:lnTo>
                      <a:pt x="436" y="61"/>
                    </a:lnTo>
                    <a:lnTo>
                      <a:pt x="438" y="59"/>
                    </a:lnTo>
                    <a:lnTo>
                      <a:pt x="436" y="54"/>
                    </a:lnTo>
                    <a:lnTo>
                      <a:pt x="431" y="51"/>
                    </a:lnTo>
                    <a:lnTo>
                      <a:pt x="426" y="51"/>
                    </a:lnTo>
                    <a:lnTo>
                      <a:pt x="420" y="51"/>
                    </a:lnTo>
                    <a:lnTo>
                      <a:pt x="413" y="48"/>
                    </a:lnTo>
                    <a:lnTo>
                      <a:pt x="413" y="38"/>
                    </a:lnTo>
                    <a:lnTo>
                      <a:pt x="413" y="31"/>
                    </a:lnTo>
                    <a:lnTo>
                      <a:pt x="411" y="26"/>
                    </a:lnTo>
                    <a:lnTo>
                      <a:pt x="407" y="26"/>
                    </a:lnTo>
                    <a:lnTo>
                      <a:pt x="407" y="23"/>
                    </a:lnTo>
                    <a:lnTo>
                      <a:pt x="403" y="20"/>
                    </a:lnTo>
                    <a:lnTo>
                      <a:pt x="398" y="18"/>
                    </a:lnTo>
                    <a:lnTo>
                      <a:pt x="388" y="11"/>
                    </a:lnTo>
                    <a:lnTo>
                      <a:pt x="383" y="10"/>
                    </a:lnTo>
                    <a:lnTo>
                      <a:pt x="380" y="13"/>
                    </a:lnTo>
                    <a:lnTo>
                      <a:pt x="378" y="13"/>
                    </a:lnTo>
                    <a:lnTo>
                      <a:pt x="372" y="11"/>
                    </a:lnTo>
                    <a:lnTo>
                      <a:pt x="368" y="13"/>
                    </a:lnTo>
                    <a:lnTo>
                      <a:pt x="367" y="13"/>
                    </a:lnTo>
                    <a:lnTo>
                      <a:pt x="365" y="8"/>
                    </a:lnTo>
                    <a:lnTo>
                      <a:pt x="362" y="8"/>
                    </a:lnTo>
                    <a:lnTo>
                      <a:pt x="362" y="8"/>
                    </a:lnTo>
                    <a:close/>
                    <a:moveTo>
                      <a:pt x="53" y="151"/>
                    </a:moveTo>
                    <a:lnTo>
                      <a:pt x="54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6" y="151"/>
                    </a:lnTo>
                    <a:lnTo>
                      <a:pt x="53" y="151"/>
                    </a:lnTo>
                    <a:lnTo>
                      <a:pt x="53" y="151"/>
                    </a:lnTo>
                    <a:close/>
                    <a:moveTo>
                      <a:pt x="0" y="53"/>
                    </a:moveTo>
                    <a:lnTo>
                      <a:pt x="3" y="53"/>
                    </a:lnTo>
                    <a:lnTo>
                      <a:pt x="8" y="53"/>
                    </a:lnTo>
                    <a:lnTo>
                      <a:pt x="10" y="49"/>
                    </a:lnTo>
                    <a:lnTo>
                      <a:pt x="6" y="49"/>
                    </a:lnTo>
                    <a:lnTo>
                      <a:pt x="5" y="51"/>
                    </a:lnTo>
                    <a:lnTo>
                      <a:pt x="1" y="51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48" name="Freeform 144"/>
              <p:cNvSpPr>
                <a:spLocks noEditPoints="1"/>
              </p:cNvSpPr>
              <p:nvPr/>
            </p:nvSpPr>
            <p:spPr bwMode="auto">
              <a:xfrm>
                <a:off x="6156014" y="2358712"/>
                <a:ext cx="114516" cy="63293"/>
              </a:xfrm>
              <a:custGeom>
                <a:avLst/>
                <a:gdLst/>
                <a:ahLst/>
                <a:cxnLst>
                  <a:cxn ang="0">
                    <a:pos x="78" y="121"/>
                  </a:cxn>
                  <a:cxn ang="0">
                    <a:pos x="68" y="106"/>
                  </a:cxn>
                  <a:cxn ang="0">
                    <a:pos x="93" y="118"/>
                  </a:cxn>
                  <a:cxn ang="0">
                    <a:pos x="115" y="109"/>
                  </a:cxn>
                  <a:cxn ang="0">
                    <a:pos x="133" y="103"/>
                  </a:cxn>
                  <a:cxn ang="0">
                    <a:pos x="143" y="100"/>
                  </a:cxn>
                  <a:cxn ang="0">
                    <a:pos x="153" y="101"/>
                  </a:cxn>
                  <a:cxn ang="0">
                    <a:pos x="180" y="81"/>
                  </a:cxn>
                  <a:cxn ang="0">
                    <a:pos x="193" y="81"/>
                  </a:cxn>
                  <a:cxn ang="0">
                    <a:pos x="194" y="68"/>
                  </a:cxn>
                  <a:cxn ang="0">
                    <a:pos x="208" y="66"/>
                  </a:cxn>
                  <a:cxn ang="0">
                    <a:pos x="203" y="48"/>
                  </a:cxn>
                  <a:cxn ang="0">
                    <a:pos x="199" y="38"/>
                  </a:cxn>
                  <a:cxn ang="0">
                    <a:pos x="193" y="35"/>
                  </a:cxn>
                  <a:cxn ang="0">
                    <a:pos x="194" y="18"/>
                  </a:cxn>
                  <a:cxn ang="0">
                    <a:pos x="190" y="10"/>
                  </a:cxn>
                  <a:cxn ang="0">
                    <a:pos x="181" y="13"/>
                  </a:cxn>
                  <a:cxn ang="0">
                    <a:pos x="173" y="8"/>
                  </a:cxn>
                  <a:cxn ang="0">
                    <a:pos x="158" y="8"/>
                  </a:cxn>
                  <a:cxn ang="0">
                    <a:pos x="150" y="13"/>
                  </a:cxn>
                  <a:cxn ang="0">
                    <a:pos x="131" y="13"/>
                  </a:cxn>
                  <a:cxn ang="0">
                    <a:pos x="126" y="28"/>
                  </a:cxn>
                  <a:cxn ang="0">
                    <a:pos x="116" y="18"/>
                  </a:cxn>
                  <a:cxn ang="0">
                    <a:pos x="103" y="25"/>
                  </a:cxn>
                  <a:cxn ang="0">
                    <a:pos x="90" y="15"/>
                  </a:cxn>
                  <a:cxn ang="0">
                    <a:pos x="83" y="36"/>
                  </a:cxn>
                  <a:cxn ang="0">
                    <a:pos x="70" y="43"/>
                  </a:cxn>
                  <a:cxn ang="0">
                    <a:pos x="60" y="41"/>
                  </a:cxn>
                  <a:cxn ang="0">
                    <a:pos x="58" y="25"/>
                  </a:cxn>
                  <a:cxn ang="0">
                    <a:pos x="63" y="16"/>
                  </a:cxn>
                  <a:cxn ang="0">
                    <a:pos x="50" y="5"/>
                  </a:cxn>
                  <a:cxn ang="0">
                    <a:pos x="30" y="3"/>
                  </a:cxn>
                  <a:cxn ang="0">
                    <a:pos x="42" y="5"/>
                  </a:cxn>
                  <a:cxn ang="0">
                    <a:pos x="35" y="8"/>
                  </a:cxn>
                  <a:cxn ang="0">
                    <a:pos x="43" y="18"/>
                  </a:cxn>
                  <a:cxn ang="0">
                    <a:pos x="30" y="10"/>
                  </a:cxn>
                  <a:cxn ang="0">
                    <a:pos x="20" y="13"/>
                  </a:cxn>
                  <a:cxn ang="0">
                    <a:pos x="23" y="21"/>
                  </a:cxn>
                  <a:cxn ang="0">
                    <a:pos x="20" y="26"/>
                  </a:cxn>
                  <a:cxn ang="0">
                    <a:pos x="10" y="25"/>
                  </a:cxn>
                  <a:cxn ang="0">
                    <a:pos x="7" y="30"/>
                  </a:cxn>
                  <a:cxn ang="0">
                    <a:pos x="15" y="40"/>
                  </a:cxn>
                  <a:cxn ang="0">
                    <a:pos x="27" y="35"/>
                  </a:cxn>
                  <a:cxn ang="0">
                    <a:pos x="38" y="35"/>
                  </a:cxn>
                  <a:cxn ang="0">
                    <a:pos x="47" y="35"/>
                  </a:cxn>
                  <a:cxn ang="0">
                    <a:pos x="53" y="41"/>
                  </a:cxn>
                  <a:cxn ang="0">
                    <a:pos x="37" y="48"/>
                  </a:cxn>
                  <a:cxn ang="0">
                    <a:pos x="53" y="50"/>
                  </a:cxn>
                  <a:cxn ang="0">
                    <a:pos x="33" y="55"/>
                  </a:cxn>
                  <a:cxn ang="0">
                    <a:pos x="30" y="53"/>
                  </a:cxn>
                  <a:cxn ang="0">
                    <a:pos x="10" y="55"/>
                  </a:cxn>
                  <a:cxn ang="0">
                    <a:pos x="15" y="65"/>
                  </a:cxn>
                  <a:cxn ang="0">
                    <a:pos x="37" y="66"/>
                  </a:cxn>
                  <a:cxn ang="0">
                    <a:pos x="42" y="76"/>
                  </a:cxn>
                  <a:cxn ang="0">
                    <a:pos x="45" y="85"/>
                  </a:cxn>
                  <a:cxn ang="0">
                    <a:pos x="50" y="83"/>
                  </a:cxn>
                  <a:cxn ang="0">
                    <a:pos x="37" y="91"/>
                  </a:cxn>
                  <a:cxn ang="0">
                    <a:pos x="25" y="90"/>
                  </a:cxn>
                  <a:cxn ang="0">
                    <a:pos x="32" y="103"/>
                  </a:cxn>
                  <a:cxn ang="0">
                    <a:pos x="57" y="103"/>
                  </a:cxn>
                </a:cxnLst>
                <a:rect l="0" t="0" r="r" b="b"/>
                <a:pathLst>
                  <a:path w="214" h="123">
                    <a:moveTo>
                      <a:pt x="75" y="123"/>
                    </a:moveTo>
                    <a:lnTo>
                      <a:pt x="73" y="119"/>
                    </a:lnTo>
                    <a:lnTo>
                      <a:pt x="75" y="118"/>
                    </a:lnTo>
                    <a:lnTo>
                      <a:pt x="77" y="116"/>
                    </a:lnTo>
                    <a:lnTo>
                      <a:pt x="78" y="121"/>
                    </a:lnTo>
                    <a:lnTo>
                      <a:pt x="75" y="123"/>
                    </a:lnTo>
                    <a:lnTo>
                      <a:pt x="75" y="123"/>
                    </a:lnTo>
                    <a:close/>
                    <a:moveTo>
                      <a:pt x="63" y="104"/>
                    </a:moveTo>
                    <a:lnTo>
                      <a:pt x="68" y="103"/>
                    </a:lnTo>
                    <a:lnTo>
                      <a:pt x="68" y="106"/>
                    </a:lnTo>
                    <a:lnTo>
                      <a:pt x="73" y="111"/>
                    </a:lnTo>
                    <a:lnTo>
                      <a:pt x="78" y="113"/>
                    </a:lnTo>
                    <a:lnTo>
                      <a:pt x="82" y="111"/>
                    </a:lnTo>
                    <a:lnTo>
                      <a:pt x="87" y="111"/>
                    </a:lnTo>
                    <a:lnTo>
                      <a:pt x="93" y="118"/>
                    </a:lnTo>
                    <a:lnTo>
                      <a:pt x="103" y="118"/>
                    </a:lnTo>
                    <a:lnTo>
                      <a:pt x="108" y="119"/>
                    </a:lnTo>
                    <a:lnTo>
                      <a:pt x="115" y="118"/>
                    </a:lnTo>
                    <a:lnTo>
                      <a:pt x="113" y="113"/>
                    </a:lnTo>
                    <a:lnTo>
                      <a:pt x="115" y="109"/>
                    </a:lnTo>
                    <a:lnTo>
                      <a:pt x="116" y="113"/>
                    </a:lnTo>
                    <a:lnTo>
                      <a:pt x="121" y="114"/>
                    </a:lnTo>
                    <a:lnTo>
                      <a:pt x="126" y="109"/>
                    </a:lnTo>
                    <a:lnTo>
                      <a:pt x="126" y="104"/>
                    </a:lnTo>
                    <a:lnTo>
                      <a:pt x="133" y="103"/>
                    </a:lnTo>
                    <a:lnTo>
                      <a:pt x="131" y="106"/>
                    </a:lnTo>
                    <a:lnTo>
                      <a:pt x="133" y="108"/>
                    </a:lnTo>
                    <a:lnTo>
                      <a:pt x="135" y="106"/>
                    </a:lnTo>
                    <a:lnTo>
                      <a:pt x="138" y="106"/>
                    </a:lnTo>
                    <a:lnTo>
                      <a:pt x="143" y="100"/>
                    </a:lnTo>
                    <a:lnTo>
                      <a:pt x="145" y="101"/>
                    </a:lnTo>
                    <a:lnTo>
                      <a:pt x="146" y="101"/>
                    </a:lnTo>
                    <a:lnTo>
                      <a:pt x="151" y="101"/>
                    </a:lnTo>
                    <a:lnTo>
                      <a:pt x="151" y="103"/>
                    </a:lnTo>
                    <a:lnTo>
                      <a:pt x="153" y="101"/>
                    </a:lnTo>
                    <a:lnTo>
                      <a:pt x="163" y="93"/>
                    </a:lnTo>
                    <a:lnTo>
                      <a:pt x="166" y="88"/>
                    </a:lnTo>
                    <a:lnTo>
                      <a:pt x="178" y="86"/>
                    </a:lnTo>
                    <a:lnTo>
                      <a:pt x="181" y="83"/>
                    </a:lnTo>
                    <a:lnTo>
                      <a:pt x="180" y="81"/>
                    </a:lnTo>
                    <a:lnTo>
                      <a:pt x="181" y="80"/>
                    </a:lnTo>
                    <a:lnTo>
                      <a:pt x="183" y="80"/>
                    </a:lnTo>
                    <a:lnTo>
                      <a:pt x="185" y="83"/>
                    </a:lnTo>
                    <a:lnTo>
                      <a:pt x="190" y="85"/>
                    </a:lnTo>
                    <a:lnTo>
                      <a:pt x="193" y="81"/>
                    </a:lnTo>
                    <a:lnTo>
                      <a:pt x="194" y="78"/>
                    </a:lnTo>
                    <a:lnTo>
                      <a:pt x="193" y="76"/>
                    </a:lnTo>
                    <a:lnTo>
                      <a:pt x="193" y="73"/>
                    </a:lnTo>
                    <a:lnTo>
                      <a:pt x="196" y="73"/>
                    </a:lnTo>
                    <a:lnTo>
                      <a:pt x="194" y="68"/>
                    </a:lnTo>
                    <a:lnTo>
                      <a:pt x="196" y="66"/>
                    </a:lnTo>
                    <a:lnTo>
                      <a:pt x="199" y="68"/>
                    </a:lnTo>
                    <a:lnTo>
                      <a:pt x="201" y="71"/>
                    </a:lnTo>
                    <a:lnTo>
                      <a:pt x="204" y="71"/>
                    </a:lnTo>
                    <a:lnTo>
                      <a:pt x="208" y="66"/>
                    </a:lnTo>
                    <a:lnTo>
                      <a:pt x="206" y="63"/>
                    </a:lnTo>
                    <a:lnTo>
                      <a:pt x="201" y="58"/>
                    </a:lnTo>
                    <a:lnTo>
                      <a:pt x="201" y="55"/>
                    </a:lnTo>
                    <a:lnTo>
                      <a:pt x="204" y="51"/>
                    </a:lnTo>
                    <a:lnTo>
                      <a:pt x="203" y="48"/>
                    </a:lnTo>
                    <a:lnTo>
                      <a:pt x="208" y="46"/>
                    </a:lnTo>
                    <a:lnTo>
                      <a:pt x="211" y="46"/>
                    </a:lnTo>
                    <a:lnTo>
                      <a:pt x="214" y="43"/>
                    </a:lnTo>
                    <a:lnTo>
                      <a:pt x="209" y="40"/>
                    </a:lnTo>
                    <a:lnTo>
                      <a:pt x="199" y="38"/>
                    </a:lnTo>
                    <a:lnTo>
                      <a:pt x="198" y="41"/>
                    </a:lnTo>
                    <a:lnTo>
                      <a:pt x="199" y="36"/>
                    </a:lnTo>
                    <a:lnTo>
                      <a:pt x="199" y="33"/>
                    </a:lnTo>
                    <a:lnTo>
                      <a:pt x="193" y="33"/>
                    </a:lnTo>
                    <a:lnTo>
                      <a:pt x="193" y="35"/>
                    </a:lnTo>
                    <a:lnTo>
                      <a:pt x="191" y="30"/>
                    </a:lnTo>
                    <a:lnTo>
                      <a:pt x="194" y="26"/>
                    </a:lnTo>
                    <a:lnTo>
                      <a:pt x="198" y="25"/>
                    </a:lnTo>
                    <a:lnTo>
                      <a:pt x="196" y="20"/>
                    </a:lnTo>
                    <a:lnTo>
                      <a:pt x="194" y="18"/>
                    </a:lnTo>
                    <a:lnTo>
                      <a:pt x="191" y="21"/>
                    </a:lnTo>
                    <a:lnTo>
                      <a:pt x="188" y="20"/>
                    </a:lnTo>
                    <a:lnTo>
                      <a:pt x="185" y="15"/>
                    </a:lnTo>
                    <a:lnTo>
                      <a:pt x="190" y="13"/>
                    </a:lnTo>
                    <a:lnTo>
                      <a:pt x="190" y="10"/>
                    </a:lnTo>
                    <a:lnTo>
                      <a:pt x="193" y="8"/>
                    </a:lnTo>
                    <a:lnTo>
                      <a:pt x="196" y="8"/>
                    </a:lnTo>
                    <a:lnTo>
                      <a:pt x="191" y="5"/>
                    </a:lnTo>
                    <a:lnTo>
                      <a:pt x="188" y="6"/>
                    </a:lnTo>
                    <a:lnTo>
                      <a:pt x="181" y="13"/>
                    </a:lnTo>
                    <a:lnTo>
                      <a:pt x="180" y="16"/>
                    </a:lnTo>
                    <a:lnTo>
                      <a:pt x="176" y="16"/>
                    </a:lnTo>
                    <a:lnTo>
                      <a:pt x="173" y="13"/>
                    </a:lnTo>
                    <a:lnTo>
                      <a:pt x="175" y="10"/>
                    </a:lnTo>
                    <a:lnTo>
                      <a:pt x="173" y="8"/>
                    </a:lnTo>
                    <a:lnTo>
                      <a:pt x="171" y="5"/>
                    </a:lnTo>
                    <a:lnTo>
                      <a:pt x="168" y="3"/>
                    </a:lnTo>
                    <a:lnTo>
                      <a:pt x="163" y="5"/>
                    </a:lnTo>
                    <a:lnTo>
                      <a:pt x="161" y="3"/>
                    </a:lnTo>
                    <a:lnTo>
                      <a:pt x="158" y="8"/>
                    </a:lnTo>
                    <a:lnTo>
                      <a:pt x="161" y="11"/>
                    </a:lnTo>
                    <a:lnTo>
                      <a:pt x="158" y="15"/>
                    </a:lnTo>
                    <a:lnTo>
                      <a:pt x="155" y="15"/>
                    </a:lnTo>
                    <a:lnTo>
                      <a:pt x="150" y="16"/>
                    </a:lnTo>
                    <a:lnTo>
                      <a:pt x="150" y="13"/>
                    </a:lnTo>
                    <a:lnTo>
                      <a:pt x="146" y="11"/>
                    </a:lnTo>
                    <a:lnTo>
                      <a:pt x="143" y="15"/>
                    </a:lnTo>
                    <a:lnTo>
                      <a:pt x="141" y="21"/>
                    </a:lnTo>
                    <a:lnTo>
                      <a:pt x="136" y="21"/>
                    </a:lnTo>
                    <a:lnTo>
                      <a:pt x="131" y="13"/>
                    </a:lnTo>
                    <a:lnTo>
                      <a:pt x="128" y="15"/>
                    </a:lnTo>
                    <a:lnTo>
                      <a:pt x="126" y="13"/>
                    </a:lnTo>
                    <a:lnTo>
                      <a:pt x="123" y="13"/>
                    </a:lnTo>
                    <a:lnTo>
                      <a:pt x="121" y="21"/>
                    </a:lnTo>
                    <a:lnTo>
                      <a:pt x="126" y="28"/>
                    </a:lnTo>
                    <a:lnTo>
                      <a:pt x="121" y="40"/>
                    </a:lnTo>
                    <a:lnTo>
                      <a:pt x="123" y="30"/>
                    </a:lnTo>
                    <a:lnTo>
                      <a:pt x="118" y="23"/>
                    </a:lnTo>
                    <a:lnTo>
                      <a:pt x="118" y="20"/>
                    </a:lnTo>
                    <a:lnTo>
                      <a:pt x="116" y="18"/>
                    </a:lnTo>
                    <a:lnTo>
                      <a:pt x="116" y="15"/>
                    </a:lnTo>
                    <a:lnTo>
                      <a:pt x="111" y="11"/>
                    </a:lnTo>
                    <a:lnTo>
                      <a:pt x="101" y="16"/>
                    </a:lnTo>
                    <a:lnTo>
                      <a:pt x="101" y="21"/>
                    </a:lnTo>
                    <a:lnTo>
                      <a:pt x="103" y="25"/>
                    </a:lnTo>
                    <a:lnTo>
                      <a:pt x="98" y="31"/>
                    </a:lnTo>
                    <a:lnTo>
                      <a:pt x="95" y="31"/>
                    </a:lnTo>
                    <a:lnTo>
                      <a:pt x="95" y="25"/>
                    </a:lnTo>
                    <a:lnTo>
                      <a:pt x="92" y="23"/>
                    </a:lnTo>
                    <a:lnTo>
                      <a:pt x="90" y="15"/>
                    </a:lnTo>
                    <a:lnTo>
                      <a:pt x="87" y="11"/>
                    </a:lnTo>
                    <a:lnTo>
                      <a:pt x="82" y="16"/>
                    </a:lnTo>
                    <a:lnTo>
                      <a:pt x="82" y="26"/>
                    </a:lnTo>
                    <a:lnTo>
                      <a:pt x="85" y="30"/>
                    </a:lnTo>
                    <a:lnTo>
                      <a:pt x="83" y="36"/>
                    </a:lnTo>
                    <a:lnTo>
                      <a:pt x="82" y="40"/>
                    </a:lnTo>
                    <a:lnTo>
                      <a:pt x="77" y="40"/>
                    </a:lnTo>
                    <a:lnTo>
                      <a:pt x="77" y="35"/>
                    </a:lnTo>
                    <a:lnTo>
                      <a:pt x="72" y="38"/>
                    </a:lnTo>
                    <a:lnTo>
                      <a:pt x="70" y="43"/>
                    </a:lnTo>
                    <a:lnTo>
                      <a:pt x="67" y="45"/>
                    </a:lnTo>
                    <a:lnTo>
                      <a:pt x="67" y="51"/>
                    </a:lnTo>
                    <a:lnTo>
                      <a:pt x="63" y="45"/>
                    </a:lnTo>
                    <a:lnTo>
                      <a:pt x="60" y="45"/>
                    </a:lnTo>
                    <a:lnTo>
                      <a:pt x="60" y="41"/>
                    </a:lnTo>
                    <a:lnTo>
                      <a:pt x="63" y="36"/>
                    </a:lnTo>
                    <a:lnTo>
                      <a:pt x="63" y="33"/>
                    </a:lnTo>
                    <a:lnTo>
                      <a:pt x="58" y="33"/>
                    </a:lnTo>
                    <a:lnTo>
                      <a:pt x="62" y="30"/>
                    </a:lnTo>
                    <a:lnTo>
                      <a:pt x="58" y="25"/>
                    </a:lnTo>
                    <a:lnTo>
                      <a:pt x="62" y="28"/>
                    </a:lnTo>
                    <a:lnTo>
                      <a:pt x="65" y="23"/>
                    </a:lnTo>
                    <a:lnTo>
                      <a:pt x="65" y="21"/>
                    </a:lnTo>
                    <a:lnTo>
                      <a:pt x="60" y="20"/>
                    </a:lnTo>
                    <a:lnTo>
                      <a:pt x="63" y="16"/>
                    </a:lnTo>
                    <a:lnTo>
                      <a:pt x="60" y="13"/>
                    </a:lnTo>
                    <a:lnTo>
                      <a:pt x="58" y="15"/>
                    </a:lnTo>
                    <a:lnTo>
                      <a:pt x="55" y="11"/>
                    </a:lnTo>
                    <a:lnTo>
                      <a:pt x="50" y="8"/>
                    </a:lnTo>
                    <a:lnTo>
                      <a:pt x="50" y="5"/>
                    </a:lnTo>
                    <a:lnTo>
                      <a:pt x="47" y="1"/>
                    </a:lnTo>
                    <a:lnTo>
                      <a:pt x="42" y="1"/>
                    </a:lnTo>
                    <a:lnTo>
                      <a:pt x="37" y="0"/>
                    </a:lnTo>
                    <a:lnTo>
                      <a:pt x="30" y="1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5" y="5"/>
                    </a:lnTo>
                    <a:lnTo>
                      <a:pt x="35" y="3"/>
                    </a:lnTo>
                    <a:lnTo>
                      <a:pt x="38" y="3"/>
                    </a:lnTo>
                    <a:lnTo>
                      <a:pt x="42" y="5"/>
                    </a:lnTo>
                    <a:lnTo>
                      <a:pt x="45" y="6"/>
                    </a:lnTo>
                    <a:lnTo>
                      <a:pt x="43" y="8"/>
                    </a:lnTo>
                    <a:lnTo>
                      <a:pt x="38" y="6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42" y="13"/>
                    </a:lnTo>
                    <a:lnTo>
                      <a:pt x="47" y="18"/>
                    </a:lnTo>
                    <a:lnTo>
                      <a:pt x="45" y="20"/>
                    </a:lnTo>
                    <a:lnTo>
                      <a:pt x="43" y="21"/>
                    </a:lnTo>
                    <a:lnTo>
                      <a:pt x="43" y="18"/>
                    </a:lnTo>
                    <a:lnTo>
                      <a:pt x="38" y="15"/>
                    </a:lnTo>
                    <a:lnTo>
                      <a:pt x="35" y="18"/>
                    </a:lnTo>
                    <a:lnTo>
                      <a:pt x="32" y="16"/>
                    </a:lnTo>
                    <a:lnTo>
                      <a:pt x="33" y="15"/>
                    </a:lnTo>
                    <a:lnTo>
                      <a:pt x="30" y="10"/>
                    </a:lnTo>
                    <a:lnTo>
                      <a:pt x="25" y="8"/>
                    </a:lnTo>
                    <a:lnTo>
                      <a:pt x="22" y="10"/>
                    </a:lnTo>
                    <a:lnTo>
                      <a:pt x="25" y="15"/>
                    </a:lnTo>
                    <a:lnTo>
                      <a:pt x="23" y="16"/>
                    </a:lnTo>
                    <a:lnTo>
                      <a:pt x="20" y="13"/>
                    </a:lnTo>
                    <a:lnTo>
                      <a:pt x="17" y="11"/>
                    </a:lnTo>
                    <a:lnTo>
                      <a:pt x="15" y="15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18" y="20"/>
                    </a:lnTo>
                    <a:lnTo>
                      <a:pt x="13" y="21"/>
                    </a:lnTo>
                    <a:lnTo>
                      <a:pt x="17" y="25"/>
                    </a:lnTo>
                    <a:lnTo>
                      <a:pt x="23" y="26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20" y="30"/>
                    </a:lnTo>
                    <a:lnTo>
                      <a:pt x="18" y="30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7" y="26"/>
                    </a:lnTo>
                    <a:lnTo>
                      <a:pt x="10" y="31"/>
                    </a:lnTo>
                    <a:lnTo>
                      <a:pt x="12" y="35"/>
                    </a:lnTo>
                    <a:lnTo>
                      <a:pt x="10" y="35"/>
                    </a:lnTo>
                    <a:lnTo>
                      <a:pt x="7" y="30"/>
                    </a:lnTo>
                    <a:lnTo>
                      <a:pt x="2" y="30"/>
                    </a:lnTo>
                    <a:lnTo>
                      <a:pt x="0" y="33"/>
                    </a:lnTo>
                    <a:lnTo>
                      <a:pt x="5" y="35"/>
                    </a:lnTo>
                    <a:lnTo>
                      <a:pt x="8" y="40"/>
                    </a:lnTo>
                    <a:lnTo>
                      <a:pt x="15" y="40"/>
                    </a:lnTo>
                    <a:lnTo>
                      <a:pt x="17" y="36"/>
                    </a:lnTo>
                    <a:lnTo>
                      <a:pt x="23" y="35"/>
                    </a:lnTo>
                    <a:lnTo>
                      <a:pt x="25" y="31"/>
                    </a:lnTo>
                    <a:lnTo>
                      <a:pt x="27" y="33"/>
                    </a:lnTo>
                    <a:lnTo>
                      <a:pt x="27" y="35"/>
                    </a:lnTo>
                    <a:lnTo>
                      <a:pt x="30" y="35"/>
                    </a:lnTo>
                    <a:lnTo>
                      <a:pt x="32" y="33"/>
                    </a:lnTo>
                    <a:lnTo>
                      <a:pt x="33" y="38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0" y="33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7" y="33"/>
                    </a:lnTo>
                    <a:lnTo>
                      <a:pt x="47" y="35"/>
                    </a:lnTo>
                    <a:lnTo>
                      <a:pt x="45" y="38"/>
                    </a:lnTo>
                    <a:lnTo>
                      <a:pt x="47" y="40"/>
                    </a:lnTo>
                    <a:lnTo>
                      <a:pt x="50" y="38"/>
                    </a:lnTo>
                    <a:lnTo>
                      <a:pt x="55" y="41"/>
                    </a:lnTo>
                    <a:lnTo>
                      <a:pt x="53" y="41"/>
                    </a:lnTo>
                    <a:lnTo>
                      <a:pt x="50" y="41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37" y="46"/>
                    </a:lnTo>
                    <a:lnTo>
                      <a:pt x="37" y="48"/>
                    </a:lnTo>
                    <a:lnTo>
                      <a:pt x="43" y="50"/>
                    </a:lnTo>
                    <a:lnTo>
                      <a:pt x="48" y="50"/>
                    </a:lnTo>
                    <a:lnTo>
                      <a:pt x="50" y="46"/>
                    </a:lnTo>
                    <a:lnTo>
                      <a:pt x="53" y="46"/>
                    </a:lnTo>
                    <a:lnTo>
                      <a:pt x="53" y="50"/>
                    </a:lnTo>
                    <a:lnTo>
                      <a:pt x="50" y="53"/>
                    </a:lnTo>
                    <a:lnTo>
                      <a:pt x="42" y="55"/>
                    </a:lnTo>
                    <a:lnTo>
                      <a:pt x="38" y="53"/>
                    </a:lnTo>
                    <a:lnTo>
                      <a:pt x="35" y="56"/>
                    </a:lnTo>
                    <a:lnTo>
                      <a:pt x="33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28" y="51"/>
                    </a:lnTo>
                    <a:lnTo>
                      <a:pt x="28" y="51"/>
                    </a:lnTo>
                    <a:lnTo>
                      <a:pt x="30" y="53"/>
                    </a:lnTo>
                    <a:lnTo>
                      <a:pt x="25" y="56"/>
                    </a:lnTo>
                    <a:lnTo>
                      <a:pt x="23" y="55"/>
                    </a:lnTo>
                    <a:lnTo>
                      <a:pt x="18" y="55"/>
                    </a:lnTo>
                    <a:lnTo>
                      <a:pt x="15" y="56"/>
                    </a:lnTo>
                    <a:lnTo>
                      <a:pt x="10" y="55"/>
                    </a:lnTo>
                    <a:lnTo>
                      <a:pt x="7" y="56"/>
                    </a:lnTo>
                    <a:lnTo>
                      <a:pt x="3" y="56"/>
                    </a:lnTo>
                    <a:lnTo>
                      <a:pt x="7" y="60"/>
                    </a:lnTo>
                    <a:lnTo>
                      <a:pt x="8" y="65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23" y="65"/>
                    </a:lnTo>
                    <a:lnTo>
                      <a:pt x="32" y="65"/>
                    </a:lnTo>
                    <a:lnTo>
                      <a:pt x="38" y="65"/>
                    </a:lnTo>
                    <a:lnTo>
                      <a:pt x="37" y="66"/>
                    </a:lnTo>
                    <a:lnTo>
                      <a:pt x="33" y="70"/>
                    </a:lnTo>
                    <a:lnTo>
                      <a:pt x="33" y="71"/>
                    </a:lnTo>
                    <a:lnTo>
                      <a:pt x="38" y="75"/>
                    </a:lnTo>
                    <a:lnTo>
                      <a:pt x="40" y="76"/>
                    </a:lnTo>
                    <a:lnTo>
                      <a:pt x="42" y="76"/>
                    </a:lnTo>
                    <a:lnTo>
                      <a:pt x="48" y="73"/>
                    </a:lnTo>
                    <a:lnTo>
                      <a:pt x="47" y="75"/>
                    </a:lnTo>
                    <a:lnTo>
                      <a:pt x="43" y="78"/>
                    </a:lnTo>
                    <a:lnTo>
                      <a:pt x="40" y="81"/>
                    </a:lnTo>
                    <a:lnTo>
                      <a:pt x="45" y="85"/>
                    </a:lnTo>
                    <a:lnTo>
                      <a:pt x="50" y="80"/>
                    </a:lnTo>
                    <a:lnTo>
                      <a:pt x="57" y="81"/>
                    </a:lnTo>
                    <a:lnTo>
                      <a:pt x="57" y="83"/>
                    </a:lnTo>
                    <a:lnTo>
                      <a:pt x="53" y="81"/>
                    </a:lnTo>
                    <a:lnTo>
                      <a:pt x="50" y="83"/>
                    </a:lnTo>
                    <a:lnTo>
                      <a:pt x="47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38" y="91"/>
                    </a:lnTo>
                    <a:lnTo>
                      <a:pt x="37" y="91"/>
                    </a:lnTo>
                    <a:lnTo>
                      <a:pt x="33" y="93"/>
                    </a:lnTo>
                    <a:lnTo>
                      <a:pt x="32" y="90"/>
                    </a:lnTo>
                    <a:lnTo>
                      <a:pt x="28" y="86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7" y="95"/>
                    </a:lnTo>
                    <a:lnTo>
                      <a:pt x="28" y="95"/>
                    </a:lnTo>
                    <a:lnTo>
                      <a:pt x="27" y="96"/>
                    </a:lnTo>
                    <a:lnTo>
                      <a:pt x="27" y="103"/>
                    </a:lnTo>
                    <a:lnTo>
                      <a:pt x="32" y="103"/>
                    </a:lnTo>
                    <a:lnTo>
                      <a:pt x="33" y="101"/>
                    </a:lnTo>
                    <a:lnTo>
                      <a:pt x="38" y="103"/>
                    </a:lnTo>
                    <a:lnTo>
                      <a:pt x="45" y="104"/>
                    </a:lnTo>
                    <a:lnTo>
                      <a:pt x="52" y="101"/>
                    </a:lnTo>
                    <a:lnTo>
                      <a:pt x="57" y="103"/>
                    </a:lnTo>
                    <a:lnTo>
                      <a:pt x="60" y="101"/>
                    </a:lnTo>
                    <a:lnTo>
                      <a:pt x="60" y="103"/>
                    </a:lnTo>
                    <a:lnTo>
                      <a:pt x="63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4480005" y="1824354"/>
              <a:ext cx="1839757" cy="1294911"/>
              <a:chOff x="4480005" y="1824354"/>
              <a:chExt cx="1839757" cy="1294911"/>
            </a:xfrm>
            <a:grpFill/>
          </p:grpSpPr>
          <p:sp>
            <p:nvSpPr>
              <p:cNvPr id="92" name="Freeform 109"/>
              <p:cNvSpPr>
                <a:spLocks/>
              </p:cNvSpPr>
              <p:nvPr/>
            </p:nvSpPr>
            <p:spPr bwMode="auto">
              <a:xfrm>
                <a:off x="6200965" y="3107851"/>
                <a:ext cx="40669" cy="10376"/>
              </a:xfrm>
              <a:custGeom>
                <a:avLst/>
                <a:gdLst/>
                <a:ahLst/>
                <a:cxnLst>
                  <a:cxn ang="0">
                    <a:pos x="2" y="20"/>
                  </a:cxn>
                  <a:cxn ang="0">
                    <a:pos x="5" y="19"/>
                  </a:cxn>
                  <a:cxn ang="0">
                    <a:pos x="20" y="19"/>
                  </a:cxn>
                  <a:cxn ang="0">
                    <a:pos x="23" y="14"/>
                  </a:cxn>
                  <a:cxn ang="0">
                    <a:pos x="28" y="14"/>
                  </a:cxn>
                  <a:cxn ang="0">
                    <a:pos x="33" y="10"/>
                  </a:cxn>
                  <a:cxn ang="0">
                    <a:pos x="36" y="10"/>
                  </a:cxn>
                  <a:cxn ang="0">
                    <a:pos x="38" y="12"/>
                  </a:cxn>
                  <a:cxn ang="0">
                    <a:pos x="41" y="9"/>
                  </a:cxn>
                  <a:cxn ang="0">
                    <a:pos x="45" y="9"/>
                  </a:cxn>
                  <a:cxn ang="0">
                    <a:pos x="50" y="12"/>
                  </a:cxn>
                  <a:cxn ang="0">
                    <a:pos x="55" y="12"/>
                  </a:cxn>
                  <a:cxn ang="0">
                    <a:pos x="61" y="14"/>
                  </a:cxn>
                  <a:cxn ang="0">
                    <a:pos x="70" y="17"/>
                  </a:cxn>
                  <a:cxn ang="0">
                    <a:pos x="75" y="17"/>
                  </a:cxn>
                  <a:cxn ang="0">
                    <a:pos x="76" y="14"/>
                  </a:cxn>
                  <a:cxn ang="0">
                    <a:pos x="75" y="12"/>
                  </a:cxn>
                  <a:cxn ang="0">
                    <a:pos x="73" y="12"/>
                  </a:cxn>
                  <a:cxn ang="0">
                    <a:pos x="61" y="5"/>
                  </a:cxn>
                  <a:cxn ang="0">
                    <a:pos x="58" y="5"/>
                  </a:cxn>
                  <a:cxn ang="0">
                    <a:pos x="50" y="2"/>
                  </a:cxn>
                  <a:cxn ang="0">
                    <a:pos x="43" y="2"/>
                  </a:cxn>
                  <a:cxn ang="0">
                    <a:pos x="40" y="0"/>
                  </a:cxn>
                  <a:cxn ang="0">
                    <a:pos x="33" y="2"/>
                  </a:cxn>
                  <a:cxn ang="0">
                    <a:pos x="25" y="9"/>
                  </a:cxn>
                  <a:cxn ang="0">
                    <a:pos x="20" y="9"/>
                  </a:cxn>
                  <a:cxn ang="0">
                    <a:pos x="16" y="10"/>
                  </a:cxn>
                  <a:cxn ang="0">
                    <a:pos x="7" y="10"/>
                  </a:cxn>
                  <a:cxn ang="0">
                    <a:pos x="7" y="14"/>
                  </a:cxn>
                  <a:cxn ang="0">
                    <a:pos x="13" y="15"/>
                  </a:cxn>
                  <a:cxn ang="0">
                    <a:pos x="18" y="15"/>
                  </a:cxn>
                  <a:cxn ang="0">
                    <a:pos x="15" y="19"/>
                  </a:cxn>
                  <a:cxn ang="0">
                    <a:pos x="8" y="19"/>
                  </a:cxn>
                  <a:cxn ang="0">
                    <a:pos x="3" y="12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2" y="20"/>
                  </a:cxn>
                </a:cxnLst>
                <a:rect l="0" t="0" r="r" b="b"/>
                <a:pathLst>
                  <a:path w="76" h="20">
                    <a:moveTo>
                      <a:pt x="2" y="20"/>
                    </a:moveTo>
                    <a:lnTo>
                      <a:pt x="5" y="19"/>
                    </a:lnTo>
                    <a:lnTo>
                      <a:pt x="20" y="19"/>
                    </a:lnTo>
                    <a:lnTo>
                      <a:pt x="23" y="14"/>
                    </a:lnTo>
                    <a:lnTo>
                      <a:pt x="28" y="14"/>
                    </a:lnTo>
                    <a:lnTo>
                      <a:pt x="33" y="10"/>
                    </a:lnTo>
                    <a:lnTo>
                      <a:pt x="36" y="10"/>
                    </a:lnTo>
                    <a:lnTo>
                      <a:pt x="38" y="12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50" y="12"/>
                    </a:lnTo>
                    <a:lnTo>
                      <a:pt x="55" y="12"/>
                    </a:lnTo>
                    <a:lnTo>
                      <a:pt x="61" y="14"/>
                    </a:lnTo>
                    <a:lnTo>
                      <a:pt x="70" y="17"/>
                    </a:lnTo>
                    <a:lnTo>
                      <a:pt x="75" y="17"/>
                    </a:lnTo>
                    <a:lnTo>
                      <a:pt x="76" y="14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61" y="5"/>
                    </a:lnTo>
                    <a:lnTo>
                      <a:pt x="58" y="5"/>
                    </a:lnTo>
                    <a:lnTo>
                      <a:pt x="50" y="2"/>
                    </a:lnTo>
                    <a:lnTo>
                      <a:pt x="43" y="2"/>
                    </a:lnTo>
                    <a:lnTo>
                      <a:pt x="40" y="0"/>
                    </a:lnTo>
                    <a:lnTo>
                      <a:pt x="33" y="2"/>
                    </a:lnTo>
                    <a:lnTo>
                      <a:pt x="25" y="9"/>
                    </a:lnTo>
                    <a:lnTo>
                      <a:pt x="20" y="9"/>
                    </a:lnTo>
                    <a:lnTo>
                      <a:pt x="16" y="10"/>
                    </a:lnTo>
                    <a:lnTo>
                      <a:pt x="7" y="10"/>
                    </a:lnTo>
                    <a:lnTo>
                      <a:pt x="7" y="14"/>
                    </a:lnTo>
                    <a:lnTo>
                      <a:pt x="13" y="15"/>
                    </a:lnTo>
                    <a:lnTo>
                      <a:pt x="18" y="15"/>
                    </a:lnTo>
                    <a:lnTo>
                      <a:pt x="15" y="19"/>
                    </a:lnTo>
                    <a:lnTo>
                      <a:pt x="8" y="19"/>
                    </a:lnTo>
                    <a:lnTo>
                      <a:pt x="3" y="12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2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3" name="Freeform 145"/>
              <p:cNvSpPr>
                <a:spLocks noEditPoints="1"/>
              </p:cNvSpPr>
              <p:nvPr/>
            </p:nvSpPr>
            <p:spPr bwMode="auto">
              <a:xfrm>
                <a:off x="5558816" y="3053896"/>
                <a:ext cx="27826" cy="8301"/>
              </a:xfrm>
              <a:custGeom>
                <a:avLst/>
                <a:gdLst/>
                <a:ahLst/>
                <a:cxnLst>
                  <a:cxn ang="0">
                    <a:pos x="41" y="14"/>
                  </a:cxn>
                  <a:cxn ang="0">
                    <a:pos x="44" y="9"/>
                  </a:cxn>
                  <a:cxn ang="0">
                    <a:pos x="51" y="10"/>
                  </a:cxn>
                  <a:cxn ang="0">
                    <a:pos x="49" y="12"/>
                  </a:cxn>
                  <a:cxn ang="0">
                    <a:pos x="41" y="14"/>
                  </a:cxn>
                  <a:cxn ang="0">
                    <a:pos x="41" y="14"/>
                  </a:cxn>
                  <a:cxn ang="0">
                    <a:pos x="36" y="2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5" y="0"/>
                  </a:cxn>
                  <a:cxn ang="0">
                    <a:pos x="3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13" y="15"/>
                  </a:cxn>
                  <a:cxn ang="0">
                    <a:pos x="16" y="15"/>
                  </a:cxn>
                  <a:cxn ang="0">
                    <a:pos x="24" y="14"/>
                  </a:cxn>
                  <a:cxn ang="0">
                    <a:pos x="28" y="15"/>
                  </a:cxn>
                  <a:cxn ang="0">
                    <a:pos x="34" y="12"/>
                  </a:cxn>
                  <a:cxn ang="0">
                    <a:pos x="41" y="5"/>
                  </a:cxn>
                  <a:cxn ang="0">
                    <a:pos x="38" y="4"/>
                  </a:cxn>
                  <a:cxn ang="0">
                    <a:pos x="36" y="2"/>
                  </a:cxn>
                </a:cxnLst>
                <a:rect l="0" t="0" r="r" b="b"/>
                <a:pathLst>
                  <a:path w="51" h="15">
                    <a:moveTo>
                      <a:pt x="41" y="14"/>
                    </a:moveTo>
                    <a:lnTo>
                      <a:pt x="44" y="9"/>
                    </a:lnTo>
                    <a:lnTo>
                      <a:pt x="51" y="10"/>
                    </a:lnTo>
                    <a:lnTo>
                      <a:pt x="49" y="12"/>
                    </a:lnTo>
                    <a:lnTo>
                      <a:pt x="41" y="14"/>
                    </a:lnTo>
                    <a:lnTo>
                      <a:pt x="41" y="14"/>
                    </a:lnTo>
                    <a:close/>
                    <a:moveTo>
                      <a:pt x="36" y="2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4"/>
                    </a:lnTo>
                    <a:lnTo>
                      <a:pt x="13" y="15"/>
                    </a:lnTo>
                    <a:lnTo>
                      <a:pt x="16" y="15"/>
                    </a:lnTo>
                    <a:lnTo>
                      <a:pt x="24" y="14"/>
                    </a:lnTo>
                    <a:lnTo>
                      <a:pt x="28" y="15"/>
                    </a:lnTo>
                    <a:lnTo>
                      <a:pt x="34" y="12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4" name="Freeform 146"/>
              <p:cNvSpPr>
                <a:spLocks noEditPoints="1"/>
              </p:cNvSpPr>
              <p:nvPr/>
            </p:nvSpPr>
            <p:spPr bwMode="auto">
              <a:xfrm>
                <a:off x="5496741" y="3037295"/>
                <a:ext cx="50301" cy="29052"/>
              </a:xfrm>
              <a:custGeom>
                <a:avLst/>
                <a:gdLst/>
                <a:ahLst/>
                <a:cxnLst>
                  <a:cxn ang="0">
                    <a:pos x="87" y="42"/>
                  </a:cxn>
                  <a:cxn ang="0">
                    <a:pos x="88" y="45"/>
                  </a:cxn>
                  <a:cxn ang="0">
                    <a:pos x="83" y="40"/>
                  </a:cxn>
                  <a:cxn ang="0">
                    <a:pos x="85" y="40"/>
                  </a:cxn>
                  <a:cxn ang="0">
                    <a:pos x="12" y="7"/>
                  </a:cxn>
                  <a:cxn ang="0">
                    <a:pos x="10" y="15"/>
                  </a:cxn>
                  <a:cxn ang="0">
                    <a:pos x="5" y="22"/>
                  </a:cxn>
                  <a:cxn ang="0">
                    <a:pos x="7" y="28"/>
                  </a:cxn>
                  <a:cxn ang="0">
                    <a:pos x="7" y="35"/>
                  </a:cxn>
                  <a:cxn ang="0">
                    <a:pos x="2" y="42"/>
                  </a:cxn>
                  <a:cxn ang="0">
                    <a:pos x="7" y="47"/>
                  </a:cxn>
                  <a:cxn ang="0">
                    <a:pos x="9" y="53"/>
                  </a:cxn>
                  <a:cxn ang="0">
                    <a:pos x="14" y="57"/>
                  </a:cxn>
                  <a:cxn ang="0">
                    <a:pos x="22" y="43"/>
                  </a:cxn>
                  <a:cxn ang="0">
                    <a:pos x="24" y="37"/>
                  </a:cxn>
                  <a:cxn ang="0">
                    <a:pos x="30" y="40"/>
                  </a:cxn>
                  <a:cxn ang="0">
                    <a:pos x="37" y="37"/>
                  </a:cxn>
                  <a:cxn ang="0">
                    <a:pos x="40" y="42"/>
                  </a:cxn>
                  <a:cxn ang="0">
                    <a:pos x="53" y="35"/>
                  </a:cxn>
                  <a:cxn ang="0">
                    <a:pos x="67" y="35"/>
                  </a:cxn>
                  <a:cxn ang="0">
                    <a:pos x="75" y="37"/>
                  </a:cxn>
                  <a:cxn ang="0">
                    <a:pos x="88" y="38"/>
                  </a:cxn>
                  <a:cxn ang="0">
                    <a:pos x="92" y="35"/>
                  </a:cxn>
                  <a:cxn ang="0">
                    <a:pos x="92" y="28"/>
                  </a:cxn>
                  <a:cxn ang="0">
                    <a:pos x="78" y="23"/>
                  </a:cxn>
                  <a:cxn ang="0">
                    <a:pos x="68" y="22"/>
                  </a:cxn>
                  <a:cxn ang="0">
                    <a:pos x="55" y="15"/>
                  </a:cxn>
                  <a:cxn ang="0">
                    <a:pos x="53" y="13"/>
                  </a:cxn>
                  <a:cxn ang="0">
                    <a:pos x="72" y="17"/>
                  </a:cxn>
                  <a:cxn ang="0">
                    <a:pos x="73" y="13"/>
                  </a:cxn>
                  <a:cxn ang="0">
                    <a:pos x="62" y="12"/>
                  </a:cxn>
                  <a:cxn ang="0">
                    <a:pos x="53" y="5"/>
                  </a:cxn>
                  <a:cxn ang="0">
                    <a:pos x="48" y="3"/>
                  </a:cxn>
                  <a:cxn ang="0">
                    <a:pos x="25" y="2"/>
                  </a:cxn>
                  <a:cxn ang="0">
                    <a:pos x="14" y="2"/>
                  </a:cxn>
                </a:cxnLst>
                <a:rect l="0" t="0" r="r" b="b"/>
                <a:pathLst>
                  <a:path w="95" h="57">
                    <a:moveTo>
                      <a:pt x="85" y="40"/>
                    </a:moveTo>
                    <a:lnTo>
                      <a:pt x="87" y="42"/>
                    </a:lnTo>
                    <a:lnTo>
                      <a:pt x="92" y="42"/>
                    </a:lnTo>
                    <a:lnTo>
                      <a:pt x="88" y="45"/>
                    </a:lnTo>
                    <a:lnTo>
                      <a:pt x="85" y="43"/>
                    </a:lnTo>
                    <a:lnTo>
                      <a:pt x="83" y="40"/>
                    </a:lnTo>
                    <a:lnTo>
                      <a:pt x="85" y="40"/>
                    </a:lnTo>
                    <a:lnTo>
                      <a:pt x="85" y="40"/>
                    </a:lnTo>
                    <a:close/>
                    <a:moveTo>
                      <a:pt x="10" y="5"/>
                    </a:moveTo>
                    <a:lnTo>
                      <a:pt x="12" y="7"/>
                    </a:lnTo>
                    <a:lnTo>
                      <a:pt x="9" y="12"/>
                    </a:lnTo>
                    <a:lnTo>
                      <a:pt x="10" y="15"/>
                    </a:lnTo>
                    <a:lnTo>
                      <a:pt x="10" y="20"/>
                    </a:lnTo>
                    <a:lnTo>
                      <a:pt x="5" y="22"/>
                    </a:lnTo>
                    <a:lnTo>
                      <a:pt x="5" y="23"/>
                    </a:lnTo>
                    <a:lnTo>
                      <a:pt x="7" y="28"/>
                    </a:lnTo>
                    <a:lnTo>
                      <a:pt x="7" y="32"/>
                    </a:lnTo>
                    <a:lnTo>
                      <a:pt x="7" y="35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4" y="42"/>
                    </a:lnTo>
                    <a:lnTo>
                      <a:pt x="7" y="47"/>
                    </a:lnTo>
                    <a:lnTo>
                      <a:pt x="5" y="52"/>
                    </a:lnTo>
                    <a:lnTo>
                      <a:pt x="9" y="53"/>
                    </a:lnTo>
                    <a:lnTo>
                      <a:pt x="10" y="55"/>
                    </a:lnTo>
                    <a:lnTo>
                      <a:pt x="14" y="57"/>
                    </a:lnTo>
                    <a:lnTo>
                      <a:pt x="17" y="50"/>
                    </a:lnTo>
                    <a:lnTo>
                      <a:pt x="22" y="43"/>
                    </a:lnTo>
                    <a:lnTo>
                      <a:pt x="22" y="40"/>
                    </a:lnTo>
                    <a:lnTo>
                      <a:pt x="24" y="37"/>
                    </a:lnTo>
                    <a:lnTo>
                      <a:pt x="27" y="40"/>
                    </a:lnTo>
                    <a:lnTo>
                      <a:pt x="30" y="40"/>
                    </a:lnTo>
                    <a:lnTo>
                      <a:pt x="34" y="35"/>
                    </a:lnTo>
                    <a:lnTo>
                      <a:pt x="37" y="37"/>
                    </a:lnTo>
                    <a:lnTo>
                      <a:pt x="37" y="40"/>
                    </a:lnTo>
                    <a:lnTo>
                      <a:pt x="40" y="42"/>
                    </a:lnTo>
                    <a:lnTo>
                      <a:pt x="47" y="40"/>
                    </a:lnTo>
                    <a:lnTo>
                      <a:pt x="53" y="35"/>
                    </a:lnTo>
                    <a:lnTo>
                      <a:pt x="60" y="35"/>
                    </a:lnTo>
                    <a:lnTo>
                      <a:pt x="67" y="35"/>
                    </a:lnTo>
                    <a:lnTo>
                      <a:pt x="72" y="33"/>
                    </a:lnTo>
                    <a:lnTo>
                      <a:pt x="75" y="37"/>
                    </a:lnTo>
                    <a:lnTo>
                      <a:pt x="82" y="37"/>
                    </a:lnTo>
                    <a:lnTo>
                      <a:pt x="88" y="38"/>
                    </a:lnTo>
                    <a:lnTo>
                      <a:pt x="90" y="35"/>
                    </a:lnTo>
                    <a:lnTo>
                      <a:pt x="92" y="35"/>
                    </a:lnTo>
                    <a:lnTo>
                      <a:pt x="95" y="32"/>
                    </a:lnTo>
                    <a:lnTo>
                      <a:pt x="92" y="28"/>
                    </a:lnTo>
                    <a:lnTo>
                      <a:pt x="83" y="23"/>
                    </a:lnTo>
                    <a:lnTo>
                      <a:pt x="78" y="23"/>
                    </a:lnTo>
                    <a:lnTo>
                      <a:pt x="73" y="22"/>
                    </a:lnTo>
                    <a:lnTo>
                      <a:pt x="68" y="22"/>
                    </a:lnTo>
                    <a:lnTo>
                      <a:pt x="62" y="18"/>
                    </a:lnTo>
                    <a:lnTo>
                      <a:pt x="55" y="15"/>
                    </a:lnTo>
                    <a:lnTo>
                      <a:pt x="52" y="15"/>
                    </a:lnTo>
                    <a:lnTo>
                      <a:pt x="53" y="13"/>
                    </a:lnTo>
                    <a:lnTo>
                      <a:pt x="62" y="15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73" y="13"/>
                    </a:lnTo>
                    <a:lnTo>
                      <a:pt x="70" y="13"/>
                    </a:lnTo>
                    <a:lnTo>
                      <a:pt x="62" y="12"/>
                    </a:lnTo>
                    <a:lnTo>
                      <a:pt x="58" y="5"/>
                    </a:lnTo>
                    <a:lnTo>
                      <a:pt x="53" y="5"/>
                    </a:lnTo>
                    <a:lnTo>
                      <a:pt x="52" y="5"/>
                    </a:lnTo>
                    <a:lnTo>
                      <a:pt x="48" y="3"/>
                    </a:lnTo>
                    <a:lnTo>
                      <a:pt x="29" y="0"/>
                    </a:lnTo>
                    <a:lnTo>
                      <a:pt x="25" y="2"/>
                    </a:lnTo>
                    <a:lnTo>
                      <a:pt x="22" y="0"/>
                    </a:lnTo>
                    <a:lnTo>
                      <a:pt x="14" y="2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5" name="Freeform 147"/>
              <p:cNvSpPr>
                <a:spLocks noEditPoints="1"/>
              </p:cNvSpPr>
              <p:nvPr/>
            </p:nvSpPr>
            <p:spPr bwMode="auto">
              <a:xfrm>
                <a:off x="5771795" y="1857557"/>
                <a:ext cx="547967" cy="617365"/>
              </a:xfrm>
              <a:custGeom>
                <a:avLst/>
                <a:gdLst/>
                <a:ahLst/>
                <a:cxnLst>
                  <a:cxn ang="0">
                    <a:pos x="260" y="1134"/>
                  </a:cxn>
                  <a:cxn ang="0">
                    <a:pos x="186" y="1099"/>
                  </a:cxn>
                  <a:cxn ang="0">
                    <a:pos x="171" y="1031"/>
                  </a:cxn>
                  <a:cxn ang="0">
                    <a:pos x="172" y="991"/>
                  </a:cxn>
                  <a:cxn ang="0">
                    <a:pos x="151" y="945"/>
                  </a:cxn>
                  <a:cxn ang="0">
                    <a:pos x="151" y="898"/>
                  </a:cxn>
                  <a:cxn ang="0">
                    <a:pos x="202" y="878"/>
                  </a:cxn>
                  <a:cxn ang="0">
                    <a:pos x="202" y="852"/>
                  </a:cxn>
                  <a:cxn ang="0">
                    <a:pos x="245" y="792"/>
                  </a:cxn>
                  <a:cxn ang="0">
                    <a:pos x="240" y="747"/>
                  </a:cxn>
                  <a:cxn ang="0">
                    <a:pos x="220" y="696"/>
                  </a:cxn>
                  <a:cxn ang="0">
                    <a:pos x="201" y="663"/>
                  </a:cxn>
                  <a:cxn ang="0">
                    <a:pos x="204" y="543"/>
                  </a:cxn>
                  <a:cxn ang="0">
                    <a:pos x="88" y="438"/>
                  </a:cxn>
                  <a:cxn ang="0">
                    <a:pos x="13" y="372"/>
                  </a:cxn>
                  <a:cxn ang="0">
                    <a:pos x="41" y="330"/>
                  </a:cxn>
                  <a:cxn ang="0">
                    <a:pos x="152" y="259"/>
                  </a:cxn>
                  <a:cxn ang="0">
                    <a:pos x="209" y="158"/>
                  </a:cxn>
                  <a:cxn ang="0">
                    <a:pos x="335" y="126"/>
                  </a:cxn>
                  <a:cxn ang="0">
                    <a:pos x="416" y="131"/>
                  </a:cxn>
                  <a:cxn ang="0">
                    <a:pos x="533" y="153"/>
                  </a:cxn>
                  <a:cxn ang="0">
                    <a:pos x="616" y="104"/>
                  </a:cxn>
                  <a:cxn ang="0">
                    <a:pos x="659" y="48"/>
                  </a:cxn>
                  <a:cxn ang="0">
                    <a:pos x="843" y="43"/>
                  </a:cxn>
                  <a:cxn ang="0">
                    <a:pos x="727" y="58"/>
                  </a:cxn>
                  <a:cxn ang="0">
                    <a:pos x="878" y="84"/>
                  </a:cxn>
                  <a:cxn ang="0">
                    <a:pos x="744" y="131"/>
                  </a:cxn>
                  <a:cxn ang="0">
                    <a:pos x="802" y="181"/>
                  </a:cxn>
                  <a:cxn ang="0">
                    <a:pos x="828" y="239"/>
                  </a:cxn>
                  <a:cxn ang="0">
                    <a:pos x="1023" y="202"/>
                  </a:cxn>
                  <a:cxn ang="0">
                    <a:pos x="950" y="277"/>
                  </a:cxn>
                  <a:cxn ang="0">
                    <a:pos x="868" y="412"/>
                  </a:cxn>
                  <a:cxn ang="0">
                    <a:pos x="868" y="488"/>
                  </a:cxn>
                  <a:cxn ang="0">
                    <a:pos x="830" y="535"/>
                  </a:cxn>
                  <a:cxn ang="0">
                    <a:pos x="817" y="581"/>
                  </a:cxn>
                  <a:cxn ang="0">
                    <a:pos x="820" y="636"/>
                  </a:cxn>
                  <a:cxn ang="0">
                    <a:pos x="755" y="649"/>
                  </a:cxn>
                  <a:cxn ang="0">
                    <a:pos x="720" y="684"/>
                  </a:cxn>
                  <a:cxn ang="0">
                    <a:pos x="795" y="747"/>
                  </a:cxn>
                  <a:cxn ang="0">
                    <a:pos x="744" y="762"/>
                  </a:cxn>
                  <a:cxn ang="0">
                    <a:pos x="679" y="772"/>
                  </a:cxn>
                  <a:cxn ang="0">
                    <a:pos x="760" y="815"/>
                  </a:cxn>
                  <a:cxn ang="0">
                    <a:pos x="674" y="873"/>
                  </a:cxn>
                  <a:cxn ang="0">
                    <a:pos x="571" y="902"/>
                  </a:cxn>
                  <a:cxn ang="0">
                    <a:pos x="468" y="966"/>
                  </a:cxn>
                  <a:cxn ang="0">
                    <a:pos x="383" y="995"/>
                  </a:cxn>
                  <a:cxn ang="0">
                    <a:pos x="358" y="1069"/>
                  </a:cxn>
                  <a:cxn ang="0">
                    <a:pos x="320" y="1124"/>
                  </a:cxn>
                  <a:cxn ang="0">
                    <a:pos x="290" y="1176"/>
                  </a:cxn>
                  <a:cxn ang="0">
                    <a:pos x="360" y="1081"/>
                  </a:cxn>
                  <a:cxn ang="0">
                    <a:pos x="709" y="797"/>
                  </a:cxn>
                  <a:cxn ang="0">
                    <a:pos x="790" y="689"/>
                  </a:cxn>
                  <a:cxn ang="0">
                    <a:pos x="863" y="608"/>
                  </a:cxn>
                  <a:cxn ang="0">
                    <a:pos x="842" y="511"/>
                  </a:cxn>
                  <a:cxn ang="0">
                    <a:pos x="897" y="284"/>
                  </a:cxn>
                  <a:cxn ang="0">
                    <a:pos x="636" y="28"/>
                  </a:cxn>
                  <a:cxn ang="0">
                    <a:pos x="526" y="133"/>
                  </a:cxn>
                  <a:cxn ang="0">
                    <a:pos x="187" y="528"/>
                  </a:cxn>
                  <a:cxn ang="0">
                    <a:pos x="192" y="618"/>
                  </a:cxn>
                  <a:cxn ang="0">
                    <a:pos x="177" y="682"/>
                  </a:cxn>
                  <a:cxn ang="0">
                    <a:pos x="151" y="963"/>
                  </a:cxn>
                  <a:cxn ang="0">
                    <a:pos x="230" y="747"/>
                  </a:cxn>
                  <a:cxn ang="0">
                    <a:pos x="201" y="805"/>
                  </a:cxn>
                </a:cxnLst>
                <a:rect l="0" t="0" r="r" b="b"/>
                <a:pathLst>
                  <a:path w="1024" h="1189">
                    <a:moveTo>
                      <a:pt x="304" y="1177"/>
                    </a:moveTo>
                    <a:lnTo>
                      <a:pt x="292" y="1172"/>
                    </a:lnTo>
                    <a:lnTo>
                      <a:pt x="287" y="1172"/>
                    </a:lnTo>
                    <a:lnTo>
                      <a:pt x="285" y="1171"/>
                    </a:lnTo>
                    <a:lnTo>
                      <a:pt x="287" y="1167"/>
                    </a:lnTo>
                    <a:lnTo>
                      <a:pt x="289" y="1167"/>
                    </a:lnTo>
                    <a:lnTo>
                      <a:pt x="287" y="1166"/>
                    </a:lnTo>
                    <a:lnTo>
                      <a:pt x="285" y="1166"/>
                    </a:lnTo>
                    <a:lnTo>
                      <a:pt x="284" y="1167"/>
                    </a:lnTo>
                    <a:lnTo>
                      <a:pt x="282" y="1167"/>
                    </a:lnTo>
                    <a:lnTo>
                      <a:pt x="282" y="1174"/>
                    </a:lnTo>
                    <a:lnTo>
                      <a:pt x="279" y="1172"/>
                    </a:lnTo>
                    <a:lnTo>
                      <a:pt x="277" y="1172"/>
                    </a:lnTo>
                    <a:lnTo>
                      <a:pt x="275" y="1174"/>
                    </a:lnTo>
                    <a:lnTo>
                      <a:pt x="275" y="1177"/>
                    </a:lnTo>
                    <a:lnTo>
                      <a:pt x="274" y="1179"/>
                    </a:lnTo>
                    <a:lnTo>
                      <a:pt x="272" y="1177"/>
                    </a:lnTo>
                    <a:lnTo>
                      <a:pt x="272" y="1174"/>
                    </a:lnTo>
                    <a:lnTo>
                      <a:pt x="274" y="1171"/>
                    </a:lnTo>
                    <a:lnTo>
                      <a:pt x="274" y="1167"/>
                    </a:lnTo>
                    <a:lnTo>
                      <a:pt x="279" y="1163"/>
                    </a:lnTo>
                    <a:lnTo>
                      <a:pt x="277" y="1161"/>
                    </a:lnTo>
                    <a:lnTo>
                      <a:pt x="275" y="1164"/>
                    </a:lnTo>
                    <a:lnTo>
                      <a:pt x="272" y="1171"/>
                    </a:lnTo>
                    <a:lnTo>
                      <a:pt x="267" y="1174"/>
                    </a:lnTo>
                    <a:lnTo>
                      <a:pt x="265" y="1172"/>
                    </a:lnTo>
                    <a:lnTo>
                      <a:pt x="267" y="1171"/>
                    </a:lnTo>
                    <a:lnTo>
                      <a:pt x="270" y="1167"/>
                    </a:lnTo>
                    <a:lnTo>
                      <a:pt x="272" y="1163"/>
                    </a:lnTo>
                    <a:lnTo>
                      <a:pt x="274" y="1159"/>
                    </a:lnTo>
                    <a:lnTo>
                      <a:pt x="272" y="1159"/>
                    </a:lnTo>
                    <a:lnTo>
                      <a:pt x="269" y="1159"/>
                    </a:lnTo>
                    <a:lnTo>
                      <a:pt x="267" y="1163"/>
                    </a:lnTo>
                    <a:lnTo>
                      <a:pt x="264" y="1164"/>
                    </a:lnTo>
                    <a:lnTo>
                      <a:pt x="264" y="1163"/>
                    </a:lnTo>
                    <a:lnTo>
                      <a:pt x="264" y="1159"/>
                    </a:lnTo>
                    <a:lnTo>
                      <a:pt x="267" y="1156"/>
                    </a:lnTo>
                    <a:lnTo>
                      <a:pt x="267" y="1156"/>
                    </a:lnTo>
                    <a:lnTo>
                      <a:pt x="264" y="1156"/>
                    </a:lnTo>
                    <a:lnTo>
                      <a:pt x="264" y="1158"/>
                    </a:lnTo>
                    <a:lnTo>
                      <a:pt x="260" y="1159"/>
                    </a:lnTo>
                    <a:lnTo>
                      <a:pt x="259" y="1163"/>
                    </a:lnTo>
                    <a:lnTo>
                      <a:pt x="257" y="1159"/>
                    </a:lnTo>
                    <a:lnTo>
                      <a:pt x="257" y="1158"/>
                    </a:lnTo>
                    <a:lnTo>
                      <a:pt x="255" y="1158"/>
                    </a:lnTo>
                    <a:lnTo>
                      <a:pt x="254" y="1159"/>
                    </a:lnTo>
                    <a:lnTo>
                      <a:pt x="250" y="1159"/>
                    </a:lnTo>
                    <a:lnTo>
                      <a:pt x="252" y="1158"/>
                    </a:lnTo>
                    <a:lnTo>
                      <a:pt x="259" y="1153"/>
                    </a:lnTo>
                    <a:lnTo>
                      <a:pt x="259" y="1149"/>
                    </a:lnTo>
                    <a:lnTo>
                      <a:pt x="262" y="1149"/>
                    </a:lnTo>
                    <a:lnTo>
                      <a:pt x="267" y="1146"/>
                    </a:lnTo>
                    <a:lnTo>
                      <a:pt x="265" y="1144"/>
                    </a:lnTo>
                    <a:lnTo>
                      <a:pt x="260" y="1148"/>
                    </a:lnTo>
                    <a:lnTo>
                      <a:pt x="257" y="1149"/>
                    </a:lnTo>
                    <a:lnTo>
                      <a:pt x="255" y="1148"/>
                    </a:lnTo>
                    <a:lnTo>
                      <a:pt x="257" y="1148"/>
                    </a:lnTo>
                    <a:lnTo>
                      <a:pt x="260" y="1146"/>
                    </a:lnTo>
                    <a:lnTo>
                      <a:pt x="265" y="1143"/>
                    </a:lnTo>
                    <a:lnTo>
                      <a:pt x="269" y="1141"/>
                    </a:lnTo>
                    <a:lnTo>
                      <a:pt x="272" y="1139"/>
                    </a:lnTo>
                    <a:lnTo>
                      <a:pt x="272" y="1136"/>
                    </a:lnTo>
                    <a:lnTo>
                      <a:pt x="270" y="1134"/>
                    </a:lnTo>
                    <a:lnTo>
                      <a:pt x="269" y="1134"/>
                    </a:lnTo>
                    <a:lnTo>
                      <a:pt x="264" y="1139"/>
                    </a:lnTo>
                    <a:lnTo>
                      <a:pt x="257" y="1144"/>
                    </a:lnTo>
                    <a:lnTo>
                      <a:pt x="252" y="1144"/>
                    </a:lnTo>
                    <a:lnTo>
                      <a:pt x="250" y="1144"/>
                    </a:lnTo>
                    <a:lnTo>
                      <a:pt x="254" y="1143"/>
                    </a:lnTo>
                    <a:lnTo>
                      <a:pt x="255" y="1141"/>
                    </a:lnTo>
                    <a:lnTo>
                      <a:pt x="259" y="1138"/>
                    </a:lnTo>
                    <a:lnTo>
                      <a:pt x="260" y="1134"/>
                    </a:lnTo>
                    <a:lnTo>
                      <a:pt x="259" y="1131"/>
                    </a:lnTo>
                    <a:lnTo>
                      <a:pt x="255" y="1129"/>
                    </a:lnTo>
                    <a:lnTo>
                      <a:pt x="254" y="1131"/>
                    </a:lnTo>
                    <a:lnTo>
                      <a:pt x="254" y="1133"/>
                    </a:lnTo>
                    <a:lnTo>
                      <a:pt x="255" y="1134"/>
                    </a:lnTo>
                    <a:lnTo>
                      <a:pt x="255" y="1136"/>
                    </a:lnTo>
                    <a:lnTo>
                      <a:pt x="252" y="1139"/>
                    </a:lnTo>
                    <a:lnTo>
                      <a:pt x="249" y="1138"/>
                    </a:lnTo>
                    <a:lnTo>
                      <a:pt x="245" y="1138"/>
                    </a:lnTo>
                    <a:lnTo>
                      <a:pt x="244" y="1138"/>
                    </a:lnTo>
                    <a:lnTo>
                      <a:pt x="240" y="1139"/>
                    </a:lnTo>
                    <a:lnTo>
                      <a:pt x="239" y="1143"/>
                    </a:lnTo>
                    <a:lnTo>
                      <a:pt x="235" y="1144"/>
                    </a:lnTo>
                    <a:lnTo>
                      <a:pt x="234" y="1143"/>
                    </a:lnTo>
                    <a:lnTo>
                      <a:pt x="232" y="1141"/>
                    </a:lnTo>
                    <a:lnTo>
                      <a:pt x="227" y="1141"/>
                    </a:lnTo>
                    <a:lnTo>
                      <a:pt x="225" y="1144"/>
                    </a:lnTo>
                    <a:lnTo>
                      <a:pt x="222" y="1143"/>
                    </a:lnTo>
                    <a:lnTo>
                      <a:pt x="220" y="1144"/>
                    </a:lnTo>
                    <a:lnTo>
                      <a:pt x="220" y="1146"/>
                    </a:lnTo>
                    <a:lnTo>
                      <a:pt x="220" y="1148"/>
                    </a:lnTo>
                    <a:lnTo>
                      <a:pt x="219" y="1148"/>
                    </a:lnTo>
                    <a:lnTo>
                      <a:pt x="212" y="1148"/>
                    </a:lnTo>
                    <a:lnTo>
                      <a:pt x="212" y="1144"/>
                    </a:lnTo>
                    <a:lnTo>
                      <a:pt x="214" y="1143"/>
                    </a:lnTo>
                    <a:lnTo>
                      <a:pt x="217" y="1141"/>
                    </a:lnTo>
                    <a:lnTo>
                      <a:pt x="220" y="1139"/>
                    </a:lnTo>
                    <a:lnTo>
                      <a:pt x="219" y="1138"/>
                    </a:lnTo>
                    <a:lnTo>
                      <a:pt x="215" y="1136"/>
                    </a:lnTo>
                    <a:lnTo>
                      <a:pt x="215" y="1133"/>
                    </a:lnTo>
                    <a:lnTo>
                      <a:pt x="212" y="1129"/>
                    </a:lnTo>
                    <a:lnTo>
                      <a:pt x="211" y="1128"/>
                    </a:lnTo>
                    <a:lnTo>
                      <a:pt x="209" y="1129"/>
                    </a:lnTo>
                    <a:lnTo>
                      <a:pt x="202" y="1133"/>
                    </a:lnTo>
                    <a:lnTo>
                      <a:pt x="199" y="1133"/>
                    </a:lnTo>
                    <a:lnTo>
                      <a:pt x="197" y="1129"/>
                    </a:lnTo>
                    <a:lnTo>
                      <a:pt x="202" y="1126"/>
                    </a:lnTo>
                    <a:lnTo>
                      <a:pt x="201" y="1124"/>
                    </a:lnTo>
                    <a:lnTo>
                      <a:pt x="197" y="1124"/>
                    </a:lnTo>
                    <a:lnTo>
                      <a:pt x="197" y="1123"/>
                    </a:lnTo>
                    <a:lnTo>
                      <a:pt x="202" y="1121"/>
                    </a:lnTo>
                    <a:lnTo>
                      <a:pt x="206" y="1121"/>
                    </a:lnTo>
                    <a:lnTo>
                      <a:pt x="207" y="1119"/>
                    </a:lnTo>
                    <a:lnTo>
                      <a:pt x="206" y="1116"/>
                    </a:lnTo>
                    <a:lnTo>
                      <a:pt x="204" y="1116"/>
                    </a:lnTo>
                    <a:lnTo>
                      <a:pt x="199" y="1118"/>
                    </a:lnTo>
                    <a:lnTo>
                      <a:pt x="196" y="1119"/>
                    </a:lnTo>
                    <a:lnTo>
                      <a:pt x="191" y="1121"/>
                    </a:lnTo>
                    <a:lnTo>
                      <a:pt x="187" y="1119"/>
                    </a:lnTo>
                    <a:lnTo>
                      <a:pt x="187" y="1118"/>
                    </a:lnTo>
                    <a:lnTo>
                      <a:pt x="191" y="1116"/>
                    </a:lnTo>
                    <a:lnTo>
                      <a:pt x="194" y="1114"/>
                    </a:lnTo>
                    <a:lnTo>
                      <a:pt x="192" y="1111"/>
                    </a:lnTo>
                    <a:lnTo>
                      <a:pt x="199" y="1109"/>
                    </a:lnTo>
                    <a:lnTo>
                      <a:pt x="201" y="1108"/>
                    </a:lnTo>
                    <a:lnTo>
                      <a:pt x="199" y="1106"/>
                    </a:lnTo>
                    <a:lnTo>
                      <a:pt x="194" y="1104"/>
                    </a:lnTo>
                    <a:lnTo>
                      <a:pt x="192" y="1106"/>
                    </a:lnTo>
                    <a:lnTo>
                      <a:pt x="189" y="1108"/>
                    </a:lnTo>
                    <a:lnTo>
                      <a:pt x="186" y="1106"/>
                    </a:lnTo>
                    <a:lnTo>
                      <a:pt x="187" y="1104"/>
                    </a:lnTo>
                    <a:lnTo>
                      <a:pt x="191" y="1103"/>
                    </a:lnTo>
                    <a:lnTo>
                      <a:pt x="194" y="1104"/>
                    </a:lnTo>
                    <a:lnTo>
                      <a:pt x="196" y="1101"/>
                    </a:lnTo>
                    <a:lnTo>
                      <a:pt x="199" y="1099"/>
                    </a:lnTo>
                    <a:lnTo>
                      <a:pt x="199" y="1098"/>
                    </a:lnTo>
                    <a:lnTo>
                      <a:pt x="201" y="1096"/>
                    </a:lnTo>
                    <a:lnTo>
                      <a:pt x="199" y="1094"/>
                    </a:lnTo>
                    <a:lnTo>
                      <a:pt x="192" y="1096"/>
                    </a:lnTo>
                    <a:lnTo>
                      <a:pt x="191" y="1098"/>
                    </a:lnTo>
                    <a:lnTo>
                      <a:pt x="189" y="1099"/>
                    </a:lnTo>
                    <a:lnTo>
                      <a:pt x="186" y="1099"/>
                    </a:lnTo>
                    <a:lnTo>
                      <a:pt x="187" y="1098"/>
                    </a:lnTo>
                    <a:lnTo>
                      <a:pt x="191" y="1096"/>
                    </a:lnTo>
                    <a:lnTo>
                      <a:pt x="191" y="1094"/>
                    </a:lnTo>
                    <a:lnTo>
                      <a:pt x="189" y="1093"/>
                    </a:lnTo>
                    <a:lnTo>
                      <a:pt x="191" y="1091"/>
                    </a:lnTo>
                    <a:lnTo>
                      <a:pt x="191" y="1089"/>
                    </a:lnTo>
                    <a:lnTo>
                      <a:pt x="189" y="1088"/>
                    </a:lnTo>
                    <a:lnTo>
                      <a:pt x="186" y="1088"/>
                    </a:lnTo>
                    <a:lnTo>
                      <a:pt x="186" y="1086"/>
                    </a:lnTo>
                    <a:lnTo>
                      <a:pt x="187" y="1084"/>
                    </a:lnTo>
                    <a:lnTo>
                      <a:pt x="186" y="1083"/>
                    </a:lnTo>
                    <a:lnTo>
                      <a:pt x="184" y="1081"/>
                    </a:lnTo>
                    <a:lnTo>
                      <a:pt x="182" y="1083"/>
                    </a:lnTo>
                    <a:lnTo>
                      <a:pt x="179" y="1083"/>
                    </a:lnTo>
                    <a:lnTo>
                      <a:pt x="177" y="1081"/>
                    </a:lnTo>
                    <a:lnTo>
                      <a:pt x="181" y="1078"/>
                    </a:lnTo>
                    <a:lnTo>
                      <a:pt x="182" y="1076"/>
                    </a:lnTo>
                    <a:lnTo>
                      <a:pt x="184" y="1076"/>
                    </a:lnTo>
                    <a:lnTo>
                      <a:pt x="189" y="1071"/>
                    </a:lnTo>
                    <a:lnTo>
                      <a:pt x="186" y="1068"/>
                    </a:lnTo>
                    <a:lnTo>
                      <a:pt x="187" y="1066"/>
                    </a:lnTo>
                    <a:lnTo>
                      <a:pt x="189" y="1065"/>
                    </a:lnTo>
                    <a:lnTo>
                      <a:pt x="187" y="1063"/>
                    </a:lnTo>
                    <a:lnTo>
                      <a:pt x="186" y="1065"/>
                    </a:lnTo>
                    <a:lnTo>
                      <a:pt x="184" y="1066"/>
                    </a:lnTo>
                    <a:lnTo>
                      <a:pt x="182" y="1063"/>
                    </a:lnTo>
                    <a:lnTo>
                      <a:pt x="179" y="1063"/>
                    </a:lnTo>
                    <a:lnTo>
                      <a:pt x="177" y="1065"/>
                    </a:lnTo>
                    <a:lnTo>
                      <a:pt x="176" y="1065"/>
                    </a:lnTo>
                    <a:lnTo>
                      <a:pt x="174" y="1060"/>
                    </a:lnTo>
                    <a:lnTo>
                      <a:pt x="176" y="1058"/>
                    </a:lnTo>
                    <a:lnTo>
                      <a:pt x="181" y="1056"/>
                    </a:lnTo>
                    <a:lnTo>
                      <a:pt x="182" y="1055"/>
                    </a:lnTo>
                    <a:lnTo>
                      <a:pt x="179" y="1053"/>
                    </a:lnTo>
                    <a:lnTo>
                      <a:pt x="176" y="1053"/>
                    </a:lnTo>
                    <a:lnTo>
                      <a:pt x="171" y="1055"/>
                    </a:lnTo>
                    <a:lnTo>
                      <a:pt x="169" y="1055"/>
                    </a:lnTo>
                    <a:lnTo>
                      <a:pt x="167" y="1053"/>
                    </a:lnTo>
                    <a:lnTo>
                      <a:pt x="169" y="1050"/>
                    </a:lnTo>
                    <a:lnTo>
                      <a:pt x="172" y="1050"/>
                    </a:lnTo>
                    <a:lnTo>
                      <a:pt x="176" y="1050"/>
                    </a:lnTo>
                    <a:lnTo>
                      <a:pt x="182" y="1050"/>
                    </a:lnTo>
                    <a:lnTo>
                      <a:pt x="184" y="1048"/>
                    </a:lnTo>
                    <a:lnTo>
                      <a:pt x="181" y="1048"/>
                    </a:lnTo>
                    <a:lnTo>
                      <a:pt x="179" y="1046"/>
                    </a:lnTo>
                    <a:lnTo>
                      <a:pt x="174" y="1046"/>
                    </a:lnTo>
                    <a:lnTo>
                      <a:pt x="172" y="1048"/>
                    </a:lnTo>
                    <a:lnTo>
                      <a:pt x="169" y="1048"/>
                    </a:lnTo>
                    <a:lnTo>
                      <a:pt x="167" y="1045"/>
                    </a:lnTo>
                    <a:lnTo>
                      <a:pt x="171" y="1043"/>
                    </a:lnTo>
                    <a:lnTo>
                      <a:pt x="177" y="1041"/>
                    </a:lnTo>
                    <a:lnTo>
                      <a:pt x="179" y="1041"/>
                    </a:lnTo>
                    <a:lnTo>
                      <a:pt x="177" y="1040"/>
                    </a:lnTo>
                    <a:lnTo>
                      <a:pt x="174" y="1040"/>
                    </a:lnTo>
                    <a:lnTo>
                      <a:pt x="171" y="1038"/>
                    </a:lnTo>
                    <a:lnTo>
                      <a:pt x="172" y="1038"/>
                    </a:lnTo>
                    <a:lnTo>
                      <a:pt x="176" y="1038"/>
                    </a:lnTo>
                    <a:lnTo>
                      <a:pt x="179" y="1040"/>
                    </a:lnTo>
                    <a:lnTo>
                      <a:pt x="184" y="1036"/>
                    </a:lnTo>
                    <a:lnTo>
                      <a:pt x="186" y="1035"/>
                    </a:lnTo>
                    <a:lnTo>
                      <a:pt x="184" y="1035"/>
                    </a:lnTo>
                    <a:lnTo>
                      <a:pt x="182" y="1035"/>
                    </a:lnTo>
                    <a:lnTo>
                      <a:pt x="179" y="1036"/>
                    </a:lnTo>
                    <a:lnTo>
                      <a:pt x="177" y="1036"/>
                    </a:lnTo>
                    <a:lnTo>
                      <a:pt x="176" y="1035"/>
                    </a:lnTo>
                    <a:lnTo>
                      <a:pt x="171" y="1035"/>
                    </a:lnTo>
                    <a:lnTo>
                      <a:pt x="169" y="1038"/>
                    </a:lnTo>
                    <a:lnTo>
                      <a:pt x="167" y="1040"/>
                    </a:lnTo>
                    <a:lnTo>
                      <a:pt x="164" y="1036"/>
                    </a:lnTo>
                    <a:lnTo>
                      <a:pt x="162" y="1035"/>
                    </a:lnTo>
                    <a:lnTo>
                      <a:pt x="166" y="1031"/>
                    </a:lnTo>
                    <a:lnTo>
                      <a:pt x="171" y="1031"/>
                    </a:lnTo>
                    <a:lnTo>
                      <a:pt x="174" y="1028"/>
                    </a:lnTo>
                    <a:lnTo>
                      <a:pt x="172" y="1028"/>
                    </a:lnTo>
                    <a:lnTo>
                      <a:pt x="169" y="1028"/>
                    </a:lnTo>
                    <a:lnTo>
                      <a:pt x="164" y="1028"/>
                    </a:lnTo>
                    <a:lnTo>
                      <a:pt x="164" y="1025"/>
                    </a:lnTo>
                    <a:lnTo>
                      <a:pt x="164" y="1021"/>
                    </a:lnTo>
                    <a:lnTo>
                      <a:pt x="169" y="1021"/>
                    </a:lnTo>
                    <a:lnTo>
                      <a:pt x="177" y="1021"/>
                    </a:lnTo>
                    <a:lnTo>
                      <a:pt x="184" y="1020"/>
                    </a:lnTo>
                    <a:lnTo>
                      <a:pt x="189" y="1020"/>
                    </a:lnTo>
                    <a:lnTo>
                      <a:pt x="192" y="1016"/>
                    </a:lnTo>
                    <a:lnTo>
                      <a:pt x="194" y="1016"/>
                    </a:lnTo>
                    <a:lnTo>
                      <a:pt x="189" y="1016"/>
                    </a:lnTo>
                    <a:lnTo>
                      <a:pt x="186" y="1015"/>
                    </a:lnTo>
                    <a:lnTo>
                      <a:pt x="182" y="1018"/>
                    </a:lnTo>
                    <a:lnTo>
                      <a:pt x="176" y="1018"/>
                    </a:lnTo>
                    <a:lnTo>
                      <a:pt x="171" y="1020"/>
                    </a:lnTo>
                    <a:lnTo>
                      <a:pt x="167" y="1020"/>
                    </a:lnTo>
                    <a:lnTo>
                      <a:pt x="166" y="1018"/>
                    </a:lnTo>
                    <a:lnTo>
                      <a:pt x="166" y="1018"/>
                    </a:lnTo>
                    <a:lnTo>
                      <a:pt x="174" y="1018"/>
                    </a:lnTo>
                    <a:lnTo>
                      <a:pt x="177" y="1016"/>
                    </a:lnTo>
                    <a:lnTo>
                      <a:pt x="181" y="1011"/>
                    </a:lnTo>
                    <a:lnTo>
                      <a:pt x="186" y="1010"/>
                    </a:lnTo>
                    <a:lnTo>
                      <a:pt x="187" y="1011"/>
                    </a:lnTo>
                    <a:lnTo>
                      <a:pt x="191" y="1013"/>
                    </a:lnTo>
                    <a:lnTo>
                      <a:pt x="192" y="1013"/>
                    </a:lnTo>
                    <a:lnTo>
                      <a:pt x="194" y="1011"/>
                    </a:lnTo>
                    <a:lnTo>
                      <a:pt x="192" y="1011"/>
                    </a:lnTo>
                    <a:lnTo>
                      <a:pt x="187" y="1008"/>
                    </a:lnTo>
                    <a:lnTo>
                      <a:pt x="186" y="1008"/>
                    </a:lnTo>
                    <a:lnTo>
                      <a:pt x="184" y="1006"/>
                    </a:lnTo>
                    <a:lnTo>
                      <a:pt x="186" y="1005"/>
                    </a:lnTo>
                    <a:lnTo>
                      <a:pt x="187" y="1005"/>
                    </a:lnTo>
                    <a:lnTo>
                      <a:pt x="189" y="1003"/>
                    </a:lnTo>
                    <a:lnTo>
                      <a:pt x="191" y="1003"/>
                    </a:lnTo>
                    <a:lnTo>
                      <a:pt x="194" y="1006"/>
                    </a:lnTo>
                    <a:lnTo>
                      <a:pt x="197" y="1010"/>
                    </a:lnTo>
                    <a:lnTo>
                      <a:pt x="201" y="1011"/>
                    </a:lnTo>
                    <a:lnTo>
                      <a:pt x="201" y="1011"/>
                    </a:lnTo>
                    <a:lnTo>
                      <a:pt x="199" y="1008"/>
                    </a:lnTo>
                    <a:lnTo>
                      <a:pt x="197" y="1006"/>
                    </a:lnTo>
                    <a:lnTo>
                      <a:pt x="197" y="1000"/>
                    </a:lnTo>
                    <a:lnTo>
                      <a:pt x="199" y="996"/>
                    </a:lnTo>
                    <a:lnTo>
                      <a:pt x="201" y="995"/>
                    </a:lnTo>
                    <a:lnTo>
                      <a:pt x="197" y="995"/>
                    </a:lnTo>
                    <a:lnTo>
                      <a:pt x="194" y="996"/>
                    </a:lnTo>
                    <a:lnTo>
                      <a:pt x="192" y="998"/>
                    </a:lnTo>
                    <a:lnTo>
                      <a:pt x="189" y="995"/>
                    </a:lnTo>
                    <a:lnTo>
                      <a:pt x="189" y="996"/>
                    </a:lnTo>
                    <a:lnTo>
                      <a:pt x="182" y="1001"/>
                    </a:lnTo>
                    <a:lnTo>
                      <a:pt x="179" y="1003"/>
                    </a:lnTo>
                    <a:lnTo>
                      <a:pt x="179" y="1001"/>
                    </a:lnTo>
                    <a:lnTo>
                      <a:pt x="179" y="1000"/>
                    </a:lnTo>
                    <a:lnTo>
                      <a:pt x="181" y="998"/>
                    </a:lnTo>
                    <a:lnTo>
                      <a:pt x="181" y="998"/>
                    </a:lnTo>
                    <a:lnTo>
                      <a:pt x="177" y="998"/>
                    </a:lnTo>
                    <a:lnTo>
                      <a:pt x="176" y="1001"/>
                    </a:lnTo>
                    <a:lnTo>
                      <a:pt x="174" y="1001"/>
                    </a:lnTo>
                    <a:lnTo>
                      <a:pt x="167" y="1006"/>
                    </a:lnTo>
                    <a:lnTo>
                      <a:pt x="166" y="1008"/>
                    </a:lnTo>
                    <a:lnTo>
                      <a:pt x="162" y="1013"/>
                    </a:lnTo>
                    <a:lnTo>
                      <a:pt x="161" y="1013"/>
                    </a:lnTo>
                    <a:lnTo>
                      <a:pt x="159" y="1008"/>
                    </a:lnTo>
                    <a:lnTo>
                      <a:pt x="159" y="1005"/>
                    </a:lnTo>
                    <a:lnTo>
                      <a:pt x="162" y="1001"/>
                    </a:lnTo>
                    <a:lnTo>
                      <a:pt x="159" y="1000"/>
                    </a:lnTo>
                    <a:lnTo>
                      <a:pt x="159" y="996"/>
                    </a:lnTo>
                    <a:lnTo>
                      <a:pt x="159" y="995"/>
                    </a:lnTo>
                    <a:lnTo>
                      <a:pt x="162" y="993"/>
                    </a:lnTo>
                    <a:lnTo>
                      <a:pt x="169" y="990"/>
                    </a:lnTo>
                    <a:lnTo>
                      <a:pt x="172" y="991"/>
                    </a:lnTo>
                    <a:lnTo>
                      <a:pt x="177" y="988"/>
                    </a:lnTo>
                    <a:lnTo>
                      <a:pt x="179" y="986"/>
                    </a:lnTo>
                    <a:lnTo>
                      <a:pt x="177" y="985"/>
                    </a:lnTo>
                    <a:lnTo>
                      <a:pt x="174" y="985"/>
                    </a:lnTo>
                    <a:lnTo>
                      <a:pt x="172" y="986"/>
                    </a:lnTo>
                    <a:lnTo>
                      <a:pt x="169" y="986"/>
                    </a:lnTo>
                    <a:lnTo>
                      <a:pt x="167" y="988"/>
                    </a:lnTo>
                    <a:lnTo>
                      <a:pt x="164" y="991"/>
                    </a:lnTo>
                    <a:lnTo>
                      <a:pt x="161" y="990"/>
                    </a:lnTo>
                    <a:lnTo>
                      <a:pt x="159" y="988"/>
                    </a:lnTo>
                    <a:lnTo>
                      <a:pt x="159" y="981"/>
                    </a:lnTo>
                    <a:lnTo>
                      <a:pt x="162" y="980"/>
                    </a:lnTo>
                    <a:lnTo>
                      <a:pt x="162" y="976"/>
                    </a:lnTo>
                    <a:lnTo>
                      <a:pt x="161" y="973"/>
                    </a:lnTo>
                    <a:lnTo>
                      <a:pt x="159" y="973"/>
                    </a:lnTo>
                    <a:lnTo>
                      <a:pt x="157" y="976"/>
                    </a:lnTo>
                    <a:lnTo>
                      <a:pt x="154" y="975"/>
                    </a:lnTo>
                    <a:lnTo>
                      <a:pt x="154" y="973"/>
                    </a:lnTo>
                    <a:lnTo>
                      <a:pt x="157" y="970"/>
                    </a:lnTo>
                    <a:lnTo>
                      <a:pt x="162" y="970"/>
                    </a:lnTo>
                    <a:lnTo>
                      <a:pt x="164" y="968"/>
                    </a:lnTo>
                    <a:lnTo>
                      <a:pt x="171" y="966"/>
                    </a:lnTo>
                    <a:lnTo>
                      <a:pt x="172" y="965"/>
                    </a:lnTo>
                    <a:lnTo>
                      <a:pt x="176" y="963"/>
                    </a:lnTo>
                    <a:lnTo>
                      <a:pt x="177" y="960"/>
                    </a:lnTo>
                    <a:lnTo>
                      <a:pt x="179" y="958"/>
                    </a:lnTo>
                    <a:lnTo>
                      <a:pt x="181" y="960"/>
                    </a:lnTo>
                    <a:lnTo>
                      <a:pt x="182" y="958"/>
                    </a:lnTo>
                    <a:lnTo>
                      <a:pt x="189" y="958"/>
                    </a:lnTo>
                    <a:lnTo>
                      <a:pt x="192" y="960"/>
                    </a:lnTo>
                    <a:lnTo>
                      <a:pt x="196" y="960"/>
                    </a:lnTo>
                    <a:lnTo>
                      <a:pt x="194" y="957"/>
                    </a:lnTo>
                    <a:lnTo>
                      <a:pt x="189" y="957"/>
                    </a:lnTo>
                    <a:lnTo>
                      <a:pt x="189" y="953"/>
                    </a:lnTo>
                    <a:lnTo>
                      <a:pt x="186" y="953"/>
                    </a:lnTo>
                    <a:lnTo>
                      <a:pt x="177" y="958"/>
                    </a:lnTo>
                    <a:lnTo>
                      <a:pt x="174" y="958"/>
                    </a:lnTo>
                    <a:lnTo>
                      <a:pt x="172" y="958"/>
                    </a:lnTo>
                    <a:lnTo>
                      <a:pt x="171" y="962"/>
                    </a:lnTo>
                    <a:lnTo>
                      <a:pt x="169" y="963"/>
                    </a:lnTo>
                    <a:lnTo>
                      <a:pt x="164" y="965"/>
                    </a:lnTo>
                    <a:lnTo>
                      <a:pt x="161" y="968"/>
                    </a:lnTo>
                    <a:lnTo>
                      <a:pt x="159" y="968"/>
                    </a:lnTo>
                    <a:lnTo>
                      <a:pt x="159" y="966"/>
                    </a:lnTo>
                    <a:lnTo>
                      <a:pt x="159" y="963"/>
                    </a:lnTo>
                    <a:lnTo>
                      <a:pt x="156" y="963"/>
                    </a:lnTo>
                    <a:lnTo>
                      <a:pt x="156" y="962"/>
                    </a:lnTo>
                    <a:lnTo>
                      <a:pt x="159" y="958"/>
                    </a:lnTo>
                    <a:lnTo>
                      <a:pt x="156" y="957"/>
                    </a:lnTo>
                    <a:lnTo>
                      <a:pt x="154" y="957"/>
                    </a:lnTo>
                    <a:lnTo>
                      <a:pt x="151" y="953"/>
                    </a:lnTo>
                    <a:lnTo>
                      <a:pt x="151" y="953"/>
                    </a:lnTo>
                    <a:lnTo>
                      <a:pt x="156" y="950"/>
                    </a:lnTo>
                    <a:lnTo>
                      <a:pt x="159" y="948"/>
                    </a:lnTo>
                    <a:lnTo>
                      <a:pt x="161" y="947"/>
                    </a:lnTo>
                    <a:lnTo>
                      <a:pt x="162" y="950"/>
                    </a:lnTo>
                    <a:lnTo>
                      <a:pt x="167" y="950"/>
                    </a:lnTo>
                    <a:lnTo>
                      <a:pt x="171" y="948"/>
                    </a:lnTo>
                    <a:lnTo>
                      <a:pt x="174" y="945"/>
                    </a:lnTo>
                    <a:lnTo>
                      <a:pt x="177" y="947"/>
                    </a:lnTo>
                    <a:lnTo>
                      <a:pt x="179" y="943"/>
                    </a:lnTo>
                    <a:lnTo>
                      <a:pt x="177" y="942"/>
                    </a:lnTo>
                    <a:lnTo>
                      <a:pt x="174" y="942"/>
                    </a:lnTo>
                    <a:lnTo>
                      <a:pt x="169" y="945"/>
                    </a:lnTo>
                    <a:lnTo>
                      <a:pt x="167" y="947"/>
                    </a:lnTo>
                    <a:lnTo>
                      <a:pt x="164" y="947"/>
                    </a:lnTo>
                    <a:lnTo>
                      <a:pt x="161" y="943"/>
                    </a:lnTo>
                    <a:lnTo>
                      <a:pt x="159" y="943"/>
                    </a:lnTo>
                    <a:lnTo>
                      <a:pt x="157" y="945"/>
                    </a:lnTo>
                    <a:lnTo>
                      <a:pt x="152" y="948"/>
                    </a:lnTo>
                    <a:lnTo>
                      <a:pt x="154" y="947"/>
                    </a:lnTo>
                    <a:lnTo>
                      <a:pt x="151" y="945"/>
                    </a:lnTo>
                    <a:lnTo>
                      <a:pt x="149" y="947"/>
                    </a:lnTo>
                    <a:lnTo>
                      <a:pt x="146" y="945"/>
                    </a:lnTo>
                    <a:lnTo>
                      <a:pt x="146" y="945"/>
                    </a:lnTo>
                    <a:lnTo>
                      <a:pt x="149" y="943"/>
                    </a:lnTo>
                    <a:lnTo>
                      <a:pt x="156" y="942"/>
                    </a:lnTo>
                    <a:lnTo>
                      <a:pt x="162" y="938"/>
                    </a:lnTo>
                    <a:lnTo>
                      <a:pt x="166" y="937"/>
                    </a:lnTo>
                    <a:lnTo>
                      <a:pt x="172" y="935"/>
                    </a:lnTo>
                    <a:lnTo>
                      <a:pt x="177" y="932"/>
                    </a:lnTo>
                    <a:lnTo>
                      <a:pt x="184" y="923"/>
                    </a:lnTo>
                    <a:lnTo>
                      <a:pt x="192" y="920"/>
                    </a:lnTo>
                    <a:lnTo>
                      <a:pt x="197" y="918"/>
                    </a:lnTo>
                    <a:lnTo>
                      <a:pt x="202" y="918"/>
                    </a:lnTo>
                    <a:lnTo>
                      <a:pt x="204" y="917"/>
                    </a:lnTo>
                    <a:lnTo>
                      <a:pt x="204" y="915"/>
                    </a:lnTo>
                    <a:lnTo>
                      <a:pt x="201" y="915"/>
                    </a:lnTo>
                    <a:lnTo>
                      <a:pt x="194" y="915"/>
                    </a:lnTo>
                    <a:lnTo>
                      <a:pt x="182" y="922"/>
                    </a:lnTo>
                    <a:lnTo>
                      <a:pt x="177" y="927"/>
                    </a:lnTo>
                    <a:lnTo>
                      <a:pt x="172" y="932"/>
                    </a:lnTo>
                    <a:lnTo>
                      <a:pt x="169" y="933"/>
                    </a:lnTo>
                    <a:lnTo>
                      <a:pt x="161" y="935"/>
                    </a:lnTo>
                    <a:lnTo>
                      <a:pt x="157" y="937"/>
                    </a:lnTo>
                    <a:lnTo>
                      <a:pt x="149" y="940"/>
                    </a:lnTo>
                    <a:lnTo>
                      <a:pt x="144" y="940"/>
                    </a:lnTo>
                    <a:lnTo>
                      <a:pt x="144" y="938"/>
                    </a:lnTo>
                    <a:lnTo>
                      <a:pt x="146" y="937"/>
                    </a:lnTo>
                    <a:lnTo>
                      <a:pt x="146" y="928"/>
                    </a:lnTo>
                    <a:lnTo>
                      <a:pt x="147" y="925"/>
                    </a:lnTo>
                    <a:lnTo>
                      <a:pt x="151" y="925"/>
                    </a:lnTo>
                    <a:lnTo>
                      <a:pt x="154" y="928"/>
                    </a:lnTo>
                    <a:lnTo>
                      <a:pt x="157" y="927"/>
                    </a:lnTo>
                    <a:lnTo>
                      <a:pt x="162" y="927"/>
                    </a:lnTo>
                    <a:lnTo>
                      <a:pt x="167" y="927"/>
                    </a:lnTo>
                    <a:lnTo>
                      <a:pt x="166" y="925"/>
                    </a:lnTo>
                    <a:lnTo>
                      <a:pt x="162" y="923"/>
                    </a:lnTo>
                    <a:lnTo>
                      <a:pt x="157" y="923"/>
                    </a:lnTo>
                    <a:lnTo>
                      <a:pt x="156" y="925"/>
                    </a:lnTo>
                    <a:lnTo>
                      <a:pt x="152" y="925"/>
                    </a:lnTo>
                    <a:lnTo>
                      <a:pt x="151" y="922"/>
                    </a:lnTo>
                    <a:lnTo>
                      <a:pt x="152" y="920"/>
                    </a:lnTo>
                    <a:lnTo>
                      <a:pt x="156" y="918"/>
                    </a:lnTo>
                    <a:lnTo>
                      <a:pt x="161" y="922"/>
                    </a:lnTo>
                    <a:lnTo>
                      <a:pt x="164" y="922"/>
                    </a:lnTo>
                    <a:lnTo>
                      <a:pt x="169" y="920"/>
                    </a:lnTo>
                    <a:lnTo>
                      <a:pt x="167" y="918"/>
                    </a:lnTo>
                    <a:lnTo>
                      <a:pt x="164" y="917"/>
                    </a:lnTo>
                    <a:lnTo>
                      <a:pt x="162" y="918"/>
                    </a:lnTo>
                    <a:lnTo>
                      <a:pt x="162" y="917"/>
                    </a:lnTo>
                    <a:lnTo>
                      <a:pt x="162" y="915"/>
                    </a:lnTo>
                    <a:lnTo>
                      <a:pt x="166" y="913"/>
                    </a:lnTo>
                    <a:lnTo>
                      <a:pt x="167" y="915"/>
                    </a:lnTo>
                    <a:lnTo>
                      <a:pt x="169" y="913"/>
                    </a:lnTo>
                    <a:lnTo>
                      <a:pt x="172" y="915"/>
                    </a:lnTo>
                    <a:lnTo>
                      <a:pt x="174" y="913"/>
                    </a:lnTo>
                    <a:lnTo>
                      <a:pt x="174" y="912"/>
                    </a:lnTo>
                    <a:lnTo>
                      <a:pt x="174" y="908"/>
                    </a:lnTo>
                    <a:lnTo>
                      <a:pt x="172" y="908"/>
                    </a:lnTo>
                    <a:lnTo>
                      <a:pt x="171" y="907"/>
                    </a:lnTo>
                    <a:lnTo>
                      <a:pt x="169" y="908"/>
                    </a:lnTo>
                    <a:lnTo>
                      <a:pt x="164" y="910"/>
                    </a:lnTo>
                    <a:lnTo>
                      <a:pt x="154" y="907"/>
                    </a:lnTo>
                    <a:lnTo>
                      <a:pt x="149" y="907"/>
                    </a:lnTo>
                    <a:lnTo>
                      <a:pt x="147" y="903"/>
                    </a:lnTo>
                    <a:lnTo>
                      <a:pt x="147" y="903"/>
                    </a:lnTo>
                    <a:lnTo>
                      <a:pt x="152" y="903"/>
                    </a:lnTo>
                    <a:lnTo>
                      <a:pt x="156" y="903"/>
                    </a:lnTo>
                    <a:lnTo>
                      <a:pt x="157" y="903"/>
                    </a:lnTo>
                    <a:lnTo>
                      <a:pt x="156" y="902"/>
                    </a:lnTo>
                    <a:lnTo>
                      <a:pt x="152" y="902"/>
                    </a:lnTo>
                    <a:lnTo>
                      <a:pt x="151" y="900"/>
                    </a:lnTo>
                    <a:lnTo>
                      <a:pt x="151" y="898"/>
                    </a:lnTo>
                    <a:lnTo>
                      <a:pt x="157" y="898"/>
                    </a:lnTo>
                    <a:lnTo>
                      <a:pt x="159" y="897"/>
                    </a:lnTo>
                    <a:lnTo>
                      <a:pt x="164" y="897"/>
                    </a:lnTo>
                    <a:lnTo>
                      <a:pt x="179" y="897"/>
                    </a:lnTo>
                    <a:lnTo>
                      <a:pt x="182" y="897"/>
                    </a:lnTo>
                    <a:lnTo>
                      <a:pt x="187" y="897"/>
                    </a:lnTo>
                    <a:lnTo>
                      <a:pt x="191" y="897"/>
                    </a:lnTo>
                    <a:lnTo>
                      <a:pt x="189" y="895"/>
                    </a:lnTo>
                    <a:lnTo>
                      <a:pt x="184" y="892"/>
                    </a:lnTo>
                    <a:lnTo>
                      <a:pt x="177" y="892"/>
                    </a:lnTo>
                    <a:lnTo>
                      <a:pt x="169" y="893"/>
                    </a:lnTo>
                    <a:lnTo>
                      <a:pt x="164" y="893"/>
                    </a:lnTo>
                    <a:lnTo>
                      <a:pt x="162" y="893"/>
                    </a:lnTo>
                    <a:lnTo>
                      <a:pt x="161" y="892"/>
                    </a:lnTo>
                    <a:lnTo>
                      <a:pt x="156" y="893"/>
                    </a:lnTo>
                    <a:lnTo>
                      <a:pt x="152" y="895"/>
                    </a:lnTo>
                    <a:lnTo>
                      <a:pt x="151" y="895"/>
                    </a:lnTo>
                    <a:lnTo>
                      <a:pt x="152" y="892"/>
                    </a:lnTo>
                    <a:lnTo>
                      <a:pt x="154" y="888"/>
                    </a:lnTo>
                    <a:lnTo>
                      <a:pt x="159" y="887"/>
                    </a:lnTo>
                    <a:lnTo>
                      <a:pt x="162" y="885"/>
                    </a:lnTo>
                    <a:lnTo>
                      <a:pt x="166" y="883"/>
                    </a:lnTo>
                    <a:lnTo>
                      <a:pt x="167" y="878"/>
                    </a:lnTo>
                    <a:lnTo>
                      <a:pt x="172" y="877"/>
                    </a:lnTo>
                    <a:lnTo>
                      <a:pt x="174" y="877"/>
                    </a:lnTo>
                    <a:lnTo>
                      <a:pt x="176" y="877"/>
                    </a:lnTo>
                    <a:lnTo>
                      <a:pt x="179" y="877"/>
                    </a:lnTo>
                    <a:lnTo>
                      <a:pt x="182" y="877"/>
                    </a:lnTo>
                    <a:lnTo>
                      <a:pt x="186" y="877"/>
                    </a:lnTo>
                    <a:lnTo>
                      <a:pt x="187" y="877"/>
                    </a:lnTo>
                    <a:lnTo>
                      <a:pt x="192" y="878"/>
                    </a:lnTo>
                    <a:lnTo>
                      <a:pt x="196" y="883"/>
                    </a:lnTo>
                    <a:lnTo>
                      <a:pt x="201" y="882"/>
                    </a:lnTo>
                    <a:lnTo>
                      <a:pt x="206" y="883"/>
                    </a:lnTo>
                    <a:lnTo>
                      <a:pt x="211" y="888"/>
                    </a:lnTo>
                    <a:lnTo>
                      <a:pt x="215" y="892"/>
                    </a:lnTo>
                    <a:lnTo>
                      <a:pt x="222" y="893"/>
                    </a:lnTo>
                    <a:lnTo>
                      <a:pt x="225" y="892"/>
                    </a:lnTo>
                    <a:lnTo>
                      <a:pt x="227" y="892"/>
                    </a:lnTo>
                    <a:lnTo>
                      <a:pt x="227" y="890"/>
                    </a:lnTo>
                    <a:lnTo>
                      <a:pt x="227" y="888"/>
                    </a:lnTo>
                    <a:lnTo>
                      <a:pt x="224" y="890"/>
                    </a:lnTo>
                    <a:lnTo>
                      <a:pt x="222" y="890"/>
                    </a:lnTo>
                    <a:lnTo>
                      <a:pt x="219" y="890"/>
                    </a:lnTo>
                    <a:lnTo>
                      <a:pt x="212" y="887"/>
                    </a:lnTo>
                    <a:lnTo>
                      <a:pt x="209" y="882"/>
                    </a:lnTo>
                    <a:lnTo>
                      <a:pt x="209" y="880"/>
                    </a:lnTo>
                    <a:lnTo>
                      <a:pt x="211" y="880"/>
                    </a:lnTo>
                    <a:lnTo>
                      <a:pt x="219" y="880"/>
                    </a:lnTo>
                    <a:lnTo>
                      <a:pt x="224" y="877"/>
                    </a:lnTo>
                    <a:lnTo>
                      <a:pt x="227" y="875"/>
                    </a:lnTo>
                    <a:lnTo>
                      <a:pt x="225" y="873"/>
                    </a:lnTo>
                    <a:lnTo>
                      <a:pt x="219" y="872"/>
                    </a:lnTo>
                    <a:lnTo>
                      <a:pt x="217" y="873"/>
                    </a:lnTo>
                    <a:lnTo>
                      <a:pt x="217" y="875"/>
                    </a:lnTo>
                    <a:lnTo>
                      <a:pt x="219" y="877"/>
                    </a:lnTo>
                    <a:lnTo>
                      <a:pt x="217" y="877"/>
                    </a:lnTo>
                    <a:lnTo>
                      <a:pt x="211" y="877"/>
                    </a:lnTo>
                    <a:lnTo>
                      <a:pt x="209" y="875"/>
                    </a:lnTo>
                    <a:lnTo>
                      <a:pt x="207" y="872"/>
                    </a:lnTo>
                    <a:lnTo>
                      <a:pt x="211" y="872"/>
                    </a:lnTo>
                    <a:lnTo>
                      <a:pt x="212" y="872"/>
                    </a:lnTo>
                    <a:lnTo>
                      <a:pt x="214" y="870"/>
                    </a:lnTo>
                    <a:lnTo>
                      <a:pt x="212" y="868"/>
                    </a:lnTo>
                    <a:lnTo>
                      <a:pt x="209" y="868"/>
                    </a:lnTo>
                    <a:lnTo>
                      <a:pt x="207" y="868"/>
                    </a:lnTo>
                    <a:lnTo>
                      <a:pt x="206" y="868"/>
                    </a:lnTo>
                    <a:lnTo>
                      <a:pt x="204" y="868"/>
                    </a:lnTo>
                    <a:lnTo>
                      <a:pt x="204" y="870"/>
                    </a:lnTo>
                    <a:lnTo>
                      <a:pt x="204" y="872"/>
                    </a:lnTo>
                    <a:lnTo>
                      <a:pt x="204" y="875"/>
                    </a:lnTo>
                    <a:lnTo>
                      <a:pt x="202" y="878"/>
                    </a:lnTo>
                    <a:lnTo>
                      <a:pt x="199" y="880"/>
                    </a:lnTo>
                    <a:lnTo>
                      <a:pt x="196" y="878"/>
                    </a:lnTo>
                    <a:lnTo>
                      <a:pt x="191" y="873"/>
                    </a:lnTo>
                    <a:lnTo>
                      <a:pt x="187" y="873"/>
                    </a:lnTo>
                    <a:lnTo>
                      <a:pt x="186" y="872"/>
                    </a:lnTo>
                    <a:lnTo>
                      <a:pt x="184" y="870"/>
                    </a:lnTo>
                    <a:lnTo>
                      <a:pt x="182" y="870"/>
                    </a:lnTo>
                    <a:lnTo>
                      <a:pt x="181" y="872"/>
                    </a:lnTo>
                    <a:lnTo>
                      <a:pt x="176" y="873"/>
                    </a:lnTo>
                    <a:lnTo>
                      <a:pt x="171" y="873"/>
                    </a:lnTo>
                    <a:lnTo>
                      <a:pt x="169" y="875"/>
                    </a:lnTo>
                    <a:lnTo>
                      <a:pt x="164" y="880"/>
                    </a:lnTo>
                    <a:lnTo>
                      <a:pt x="161" y="882"/>
                    </a:lnTo>
                    <a:lnTo>
                      <a:pt x="159" y="880"/>
                    </a:lnTo>
                    <a:lnTo>
                      <a:pt x="159" y="878"/>
                    </a:lnTo>
                    <a:lnTo>
                      <a:pt x="164" y="873"/>
                    </a:lnTo>
                    <a:lnTo>
                      <a:pt x="166" y="872"/>
                    </a:lnTo>
                    <a:lnTo>
                      <a:pt x="167" y="870"/>
                    </a:lnTo>
                    <a:lnTo>
                      <a:pt x="167" y="868"/>
                    </a:lnTo>
                    <a:lnTo>
                      <a:pt x="169" y="868"/>
                    </a:lnTo>
                    <a:lnTo>
                      <a:pt x="172" y="867"/>
                    </a:lnTo>
                    <a:lnTo>
                      <a:pt x="172" y="865"/>
                    </a:lnTo>
                    <a:lnTo>
                      <a:pt x="174" y="862"/>
                    </a:lnTo>
                    <a:lnTo>
                      <a:pt x="176" y="862"/>
                    </a:lnTo>
                    <a:lnTo>
                      <a:pt x="179" y="865"/>
                    </a:lnTo>
                    <a:lnTo>
                      <a:pt x="184" y="867"/>
                    </a:lnTo>
                    <a:lnTo>
                      <a:pt x="191" y="867"/>
                    </a:lnTo>
                    <a:lnTo>
                      <a:pt x="189" y="865"/>
                    </a:lnTo>
                    <a:lnTo>
                      <a:pt x="187" y="864"/>
                    </a:lnTo>
                    <a:lnTo>
                      <a:pt x="184" y="864"/>
                    </a:lnTo>
                    <a:lnTo>
                      <a:pt x="182" y="862"/>
                    </a:lnTo>
                    <a:lnTo>
                      <a:pt x="176" y="857"/>
                    </a:lnTo>
                    <a:lnTo>
                      <a:pt x="174" y="855"/>
                    </a:lnTo>
                    <a:lnTo>
                      <a:pt x="172" y="854"/>
                    </a:lnTo>
                    <a:lnTo>
                      <a:pt x="171" y="852"/>
                    </a:lnTo>
                    <a:lnTo>
                      <a:pt x="174" y="850"/>
                    </a:lnTo>
                    <a:lnTo>
                      <a:pt x="179" y="852"/>
                    </a:lnTo>
                    <a:lnTo>
                      <a:pt x="184" y="857"/>
                    </a:lnTo>
                    <a:lnTo>
                      <a:pt x="187" y="862"/>
                    </a:lnTo>
                    <a:lnTo>
                      <a:pt x="189" y="860"/>
                    </a:lnTo>
                    <a:lnTo>
                      <a:pt x="187" y="857"/>
                    </a:lnTo>
                    <a:lnTo>
                      <a:pt x="186" y="854"/>
                    </a:lnTo>
                    <a:lnTo>
                      <a:pt x="187" y="854"/>
                    </a:lnTo>
                    <a:lnTo>
                      <a:pt x="189" y="857"/>
                    </a:lnTo>
                    <a:lnTo>
                      <a:pt x="191" y="860"/>
                    </a:lnTo>
                    <a:lnTo>
                      <a:pt x="199" y="864"/>
                    </a:lnTo>
                    <a:lnTo>
                      <a:pt x="202" y="864"/>
                    </a:lnTo>
                    <a:lnTo>
                      <a:pt x="204" y="862"/>
                    </a:lnTo>
                    <a:lnTo>
                      <a:pt x="209" y="862"/>
                    </a:lnTo>
                    <a:lnTo>
                      <a:pt x="211" y="864"/>
                    </a:lnTo>
                    <a:lnTo>
                      <a:pt x="215" y="867"/>
                    </a:lnTo>
                    <a:lnTo>
                      <a:pt x="220" y="868"/>
                    </a:lnTo>
                    <a:lnTo>
                      <a:pt x="220" y="870"/>
                    </a:lnTo>
                    <a:lnTo>
                      <a:pt x="224" y="870"/>
                    </a:lnTo>
                    <a:lnTo>
                      <a:pt x="224" y="868"/>
                    </a:lnTo>
                    <a:lnTo>
                      <a:pt x="220" y="865"/>
                    </a:lnTo>
                    <a:lnTo>
                      <a:pt x="211" y="859"/>
                    </a:lnTo>
                    <a:lnTo>
                      <a:pt x="209" y="855"/>
                    </a:lnTo>
                    <a:lnTo>
                      <a:pt x="211" y="854"/>
                    </a:lnTo>
                    <a:lnTo>
                      <a:pt x="215" y="852"/>
                    </a:lnTo>
                    <a:lnTo>
                      <a:pt x="215" y="850"/>
                    </a:lnTo>
                    <a:lnTo>
                      <a:pt x="217" y="847"/>
                    </a:lnTo>
                    <a:lnTo>
                      <a:pt x="219" y="847"/>
                    </a:lnTo>
                    <a:lnTo>
                      <a:pt x="219" y="845"/>
                    </a:lnTo>
                    <a:lnTo>
                      <a:pt x="215" y="845"/>
                    </a:lnTo>
                    <a:lnTo>
                      <a:pt x="214" y="845"/>
                    </a:lnTo>
                    <a:lnTo>
                      <a:pt x="207" y="845"/>
                    </a:lnTo>
                    <a:lnTo>
                      <a:pt x="206" y="847"/>
                    </a:lnTo>
                    <a:lnTo>
                      <a:pt x="206" y="849"/>
                    </a:lnTo>
                    <a:lnTo>
                      <a:pt x="209" y="852"/>
                    </a:lnTo>
                    <a:lnTo>
                      <a:pt x="207" y="854"/>
                    </a:lnTo>
                    <a:lnTo>
                      <a:pt x="202" y="852"/>
                    </a:lnTo>
                    <a:lnTo>
                      <a:pt x="201" y="854"/>
                    </a:lnTo>
                    <a:lnTo>
                      <a:pt x="197" y="852"/>
                    </a:lnTo>
                    <a:lnTo>
                      <a:pt x="192" y="854"/>
                    </a:lnTo>
                    <a:lnTo>
                      <a:pt x="191" y="850"/>
                    </a:lnTo>
                    <a:lnTo>
                      <a:pt x="187" y="850"/>
                    </a:lnTo>
                    <a:lnTo>
                      <a:pt x="186" y="847"/>
                    </a:lnTo>
                    <a:lnTo>
                      <a:pt x="189" y="847"/>
                    </a:lnTo>
                    <a:lnTo>
                      <a:pt x="191" y="845"/>
                    </a:lnTo>
                    <a:lnTo>
                      <a:pt x="187" y="845"/>
                    </a:lnTo>
                    <a:lnTo>
                      <a:pt x="184" y="845"/>
                    </a:lnTo>
                    <a:lnTo>
                      <a:pt x="182" y="845"/>
                    </a:lnTo>
                    <a:lnTo>
                      <a:pt x="187" y="844"/>
                    </a:lnTo>
                    <a:lnTo>
                      <a:pt x="194" y="840"/>
                    </a:lnTo>
                    <a:lnTo>
                      <a:pt x="197" y="839"/>
                    </a:lnTo>
                    <a:lnTo>
                      <a:pt x="202" y="840"/>
                    </a:lnTo>
                    <a:lnTo>
                      <a:pt x="204" y="840"/>
                    </a:lnTo>
                    <a:lnTo>
                      <a:pt x="209" y="840"/>
                    </a:lnTo>
                    <a:lnTo>
                      <a:pt x="212" y="840"/>
                    </a:lnTo>
                    <a:lnTo>
                      <a:pt x="217" y="840"/>
                    </a:lnTo>
                    <a:lnTo>
                      <a:pt x="217" y="839"/>
                    </a:lnTo>
                    <a:lnTo>
                      <a:pt x="220" y="837"/>
                    </a:lnTo>
                    <a:lnTo>
                      <a:pt x="222" y="835"/>
                    </a:lnTo>
                    <a:lnTo>
                      <a:pt x="225" y="834"/>
                    </a:lnTo>
                    <a:lnTo>
                      <a:pt x="225" y="832"/>
                    </a:lnTo>
                    <a:lnTo>
                      <a:pt x="225" y="830"/>
                    </a:lnTo>
                    <a:lnTo>
                      <a:pt x="222" y="834"/>
                    </a:lnTo>
                    <a:lnTo>
                      <a:pt x="219" y="834"/>
                    </a:lnTo>
                    <a:lnTo>
                      <a:pt x="219" y="832"/>
                    </a:lnTo>
                    <a:lnTo>
                      <a:pt x="220" y="829"/>
                    </a:lnTo>
                    <a:lnTo>
                      <a:pt x="224" y="820"/>
                    </a:lnTo>
                    <a:lnTo>
                      <a:pt x="224" y="817"/>
                    </a:lnTo>
                    <a:lnTo>
                      <a:pt x="225" y="815"/>
                    </a:lnTo>
                    <a:lnTo>
                      <a:pt x="227" y="817"/>
                    </a:lnTo>
                    <a:lnTo>
                      <a:pt x="229" y="820"/>
                    </a:lnTo>
                    <a:lnTo>
                      <a:pt x="227" y="822"/>
                    </a:lnTo>
                    <a:lnTo>
                      <a:pt x="227" y="824"/>
                    </a:lnTo>
                    <a:lnTo>
                      <a:pt x="232" y="824"/>
                    </a:lnTo>
                    <a:lnTo>
                      <a:pt x="235" y="824"/>
                    </a:lnTo>
                    <a:lnTo>
                      <a:pt x="237" y="825"/>
                    </a:lnTo>
                    <a:lnTo>
                      <a:pt x="239" y="825"/>
                    </a:lnTo>
                    <a:lnTo>
                      <a:pt x="240" y="825"/>
                    </a:lnTo>
                    <a:lnTo>
                      <a:pt x="242" y="825"/>
                    </a:lnTo>
                    <a:lnTo>
                      <a:pt x="244" y="825"/>
                    </a:lnTo>
                    <a:lnTo>
                      <a:pt x="244" y="824"/>
                    </a:lnTo>
                    <a:lnTo>
                      <a:pt x="240" y="822"/>
                    </a:lnTo>
                    <a:lnTo>
                      <a:pt x="235" y="822"/>
                    </a:lnTo>
                    <a:lnTo>
                      <a:pt x="235" y="820"/>
                    </a:lnTo>
                    <a:lnTo>
                      <a:pt x="239" y="819"/>
                    </a:lnTo>
                    <a:lnTo>
                      <a:pt x="244" y="819"/>
                    </a:lnTo>
                    <a:lnTo>
                      <a:pt x="244" y="817"/>
                    </a:lnTo>
                    <a:lnTo>
                      <a:pt x="240" y="815"/>
                    </a:lnTo>
                    <a:lnTo>
                      <a:pt x="239" y="815"/>
                    </a:lnTo>
                    <a:lnTo>
                      <a:pt x="237" y="814"/>
                    </a:lnTo>
                    <a:lnTo>
                      <a:pt x="235" y="814"/>
                    </a:lnTo>
                    <a:lnTo>
                      <a:pt x="234" y="814"/>
                    </a:lnTo>
                    <a:lnTo>
                      <a:pt x="232" y="814"/>
                    </a:lnTo>
                    <a:lnTo>
                      <a:pt x="229" y="814"/>
                    </a:lnTo>
                    <a:lnTo>
                      <a:pt x="229" y="812"/>
                    </a:lnTo>
                    <a:lnTo>
                      <a:pt x="230" y="809"/>
                    </a:lnTo>
                    <a:lnTo>
                      <a:pt x="232" y="809"/>
                    </a:lnTo>
                    <a:lnTo>
                      <a:pt x="235" y="804"/>
                    </a:lnTo>
                    <a:lnTo>
                      <a:pt x="239" y="802"/>
                    </a:lnTo>
                    <a:lnTo>
                      <a:pt x="240" y="804"/>
                    </a:lnTo>
                    <a:lnTo>
                      <a:pt x="242" y="802"/>
                    </a:lnTo>
                    <a:lnTo>
                      <a:pt x="245" y="802"/>
                    </a:lnTo>
                    <a:lnTo>
                      <a:pt x="245" y="800"/>
                    </a:lnTo>
                    <a:lnTo>
                      <a:pt x="242" y="800"/>
                    </a:lnTo>
                    <a:lnTo>
                      <a:pt x="239" y="800"/>
                    </a:lnTo>
                    <a:lnTo>
                      <a:pt x="237" y="799"/>
                    </a:lnTo>
                    <a:lnTo>
                      <a:pt x="239" y="797"/>
                    </a:lnTo>
                    <a:lnTo>
                      <a:pt x="242" y="795"/>
                    </a:lnTo>
                    <a:lnTo>
                      <a:pt x="245" y="792"/>
                    </a:lnTo>
                    <a:lnTo>
                      <a:pt x="249" y="792"/>
                    </a:lnTo>
                    <a:lnTo>
                      <a:pt x="249" y="790"/>
                    </a:lnTo>
                    <a:lnTo>
                      <a:pt x="252" y="789"/>
                    </a:lnTo>
                    <a:lnTo>
                      <a:pt x="249" y="785"/>
                    </a:lnTo>
                    <a:lnTo>
                      <a:pt x="247" y="785"/>
                    </a:lnTo>
                    <a:lnTo>
                      <a:pt x="247" y="784"/>
                    </a:lnTo>
                    <a:lnTo>
                      <a:pt x="250" y="784"/>
                    </a:lnTo>
                    <a:lnTo>
                      <a:pt x="252" y="784"/>
                    </a:lnTo>
                    <a:lnTo>
                      <a:pt x="252" y="780"/>
                    </a:lnTo>
                    <a:lnTo>
                      <a:pt x="250" y="779"/>
                    </a:lnTo>
                    <a:lnTo>
                      <a:pt x="245" y="780"/>
                    </a:lnTo>
                    <a:lnTo>
                      <a:pt x="242" y="782"/>
                    </a:lnTo>
                    <a:lnTo>
                      <a:pt x="237" y="782"/>
                    </a:lnTo>
                    <a:lnTo>
                      <a:pt x="235" y="780"/>
                    </a:lnTo>
                    <a:lnTo>
                      <a:pt x="232" y="780"/>
                    </a:lnTo>
                    <a:lnTo>
                      <a:pt x="229" y="780"/>
                    </a:lnTo>
                    <a:lnTo>
                      <a:pt x="225" y="779"/>
                    </a:lnTo>
                    <a:lnTo>
                      <a:pt x="224" y="779"/>
                    </a:lnTo>
                    <a:lnTo>
                      <a:pt x="220" y="779"/>
                    </a:lnTo>
                    <a:lnTo>
                      <a:pt x="217" y="775"/>
                    </a:lnTo>
                    <a:lnTo>
                      <a:pt x="214" y="775"/>
                    </a:lnTo>
                    <a:lnTo>
                      <a:pt x="211" y="774"/>
                    </a:lnTo>
                    <a:lnTo>
                      <a:pt x="211" y="772"/>
                    </a:lnTo>
                    <a:lnTo>
                      <a:pt x="209" y="769"/>
                    </a:lnTo>
                    <a:lnTo>
                      <a:pt x="204" y="766"/>
                    </a:lnTo>
                    <a:lnTo>
                      <a:pt x="196" y="762"/>
                    </a:lnTo>
                    <a:lnTo>
                      <a:pt x="189" y="761"/>
                    </a:lnTo>
                    <a:lnTo>
                      <a:pt x="184" y="756"/>
                    </a:lnTo>
                    <a:lnTo>
                      <a:pt x="184" y="754"/>
                    </a:lnTo>
                    <a:lnTo>
                      <a:pt x="182" y="747"/>
                    </a:lnTo>
                    <a:lnTo>
                      <a:pt x="179" y="744"/>
                    </a:lnTo>
                    <a:lnTo>
                      <a:pt x="177" y="742"/>
                    </a:lnTo>
                    <a:lnTo>
                      <a:pt x="177" y="741"/>
                    </a:lnTo>
                    <a:lnTo>
                      <a:pt x="182" y="737"/>
                    </a:lnTo>
                    <a:lnTo>
                      <a:pt x="187" y="736"/>
                    </a:lnTo>
                    <a:lnTo>
                      <a:pt x="189" y="736"/>
                    </a:lnTo>
                    <a:lnTo>
                      <a:pt x="192" y="737"/>
                    </a:lnTo>
                    <a:lnTo>
                      <a:pt x="196" y="737"/>
                    </a:lnTo>
                    <a:lnTo>
                      <a:pt x="201" y="741"/>
                    </a:lnTo>
                    <a:lnTo>
                      <a:pt x="206" y="741"/>
                    </a:lnTo>
                    <a:lnTo>
                      <a:pt x="209" y="742"/>
                    </a:lnTo>
                    <a:lnTo>
                      <a:pt x="211" y="742"/>
                    </a:lnTo>
                    <a:lnTo>
                      <a:pt x="215" y="742"/>
                    </a:lnTo>
                    <a:lnTo>
                      <a:pt x="219" y="744"/>
                    </a:lnTo>
                    <a:lnTo>
                      <a:pt x="222" y="746"/>
                    </a:lnTo>
                    <a:lnTo>
                      <a:pt x="224" y="747"/>
                    </a:lnTo>
                    <a:lnTo>
                      <a:pt x="227" y="749"/>
                    </a:lnTo>
                    <a:lnTo>
                      <a:pt x="230" y="757"/>
                    </a:lnTo>
                    <a:lnTo>
                      <a:pt x="234" y="761"/>
                    </a:lnTo>
                    <a:lnTo>
                      <a:pt x="237" y="764"/>
                    </a:lnTo>
                    <a:lnTo>
                      <a:pt x="240" y="767"/>
                    </a:lnTo>
                    <a:lnTo>
                      <a:pt x="245" y="769"/>
                    </a:lnTo>
                    <a:lnTo>
                      <a:pt x="247" y="767"/>
                    </a:lnTo>
                    <a:lnTo>
                      <a:pt x="250" y="764"/>
                    </a:lnTo>
                    <a:lnTo>
                      <a:pt x="249" y="764"/>
                    </a:lnTo>
                    <a:lnTo>
                      <a:pt x="247" y="764"/>
                    </a:lnTo>
                    <a:lnTo>
                      <a:pt x="244" y="764"/>
                    </a:lnTo>
                    <a:lnTo>
                      <a:pt x="242" y="762"/>
                    </a:lnTo>
                    <a:lnTo>
                      <a:pt x="237" y="757"/>
                    </a:lnTo>
                    <a:lnTo>
                      <a:pt x="237" y="756"/>
                    </a:lnTo>
                    <a:lnTo>
                      <a:pt x="239" y="756"/>
                    </a:lnTo>
                    <a:lnTo>
                      <a:pt x="242" y="759"/>
                    </a:lnTo>
                    <a:lnTo>
                      <a:pt x="245" y="759"/>
                    </a:lnTo>
                    <a:lnTo>
                      <a:pt x="245" y="757"/>
                    </a:lnTo>
                    <a:lnTo>
                      <a:pt x="247" y="757"/>
                    </a:lnTo>
                    <a:lnTo>
                      <a:pt x="249" y="756"/>
                    </a:lnTo>
                    <a:lnTo>
                      <a:pt x="242" y="752"/>
                    </a:lnTo>
                    <a:lnTo>
                      <a:pt x="237" y="747"/>
                    </a:lnTo>
                    <a:lnTo>
                      <a:pt x="235" y="746"/>
                    </a:lnTo>
                    <a:lnTo>
                      <a:pt x="237" y="744"/>
                    </a:lnTo>
                    <a:lnTo>
                      <a:pt x="239" y="744"/>
                    </a:lnTo>
                    <a:lnTo>
                      <a:pt x="240" y="747"/>
                    </a:lnTo>
                    <a:lnTo>
                      <a:pt x="244" y="749"/>
                    </a:lnTo>
                    <a:lnTo>
                      <a:pt x="242" y="744"/>
                    </a:lnTo>
                    <a:lnTo>
                      <a:pt x="237" y="739"/>
                    </a:lnTo>
                    <a:lnTo>
                      <a:pt x="234" y="737"/>
                    </a:lnTo>
                    <a:lnTo>
                      <a:pt x="232" y="734"/>
                    </a:lnTo>
                    <a:lnTo>
                      <a:pt x="232" y="732"/>
                    </a:lnTo>
                    <a:lnTo>
                      <a:pt x="237" y="734"/>
                    </a:lnTo>
                    <a:lnTo>
                      <a:pt x="247" y="737"/>
                    </a:lnTo>
                    <a:lnTo>
                      <a:pt x="249" y="736"/>
                    </a:lnTo>
                    <a:lnTo>
                      <a:pt x="249" y="734"/>
                    </a:lnTo>
                    <a:lnTo>
                      <a:pt x="245" y="729"/>
                    </a:lnTo>
                    <a:lnTo>
                      <a:pt x="244" y="729"/>
                    </a:lnTo>
                    <a:lnTo>
                      <a:pt x="240" y="731"/>
                    </a:lnTo>
                    <a:lnTo>
                      <a:pt x="237" y="731"/>
                    </a:lnTo>
                    <a:lnTo>
                      <a:pt x="232" y="731"/>
                    </a:lnTo>
                    <a:lnTo>
                      <a:pt x="232" y="729"/>
                    </a:lnTo>
                    <a:lnTo>
                      <a:pt x="234" y="727"/>
                    </a:lnTo>
                    <a:lnTo>
                      <a:pt x="239" y="724"/>
                    </a:lnTo>
                    <a:lnTo>
                      <a:pt x="240" y="726"/>
                    </a:lnTo>
                    <a:lnTo>
                      <a:pt x="244" y="727"/>
                    </a:lnTo>
                    <a:lnTo>
                      <a:pt x="245" y="726"/>
                    </a:lnTo>
                    <a:lnTo>
                      <a:pt x="245" y="722"/>
                    </a:lnTo>
                    <a:lnTo>
                      <a:pt x="242" y="719"/>
                    </a:lnTo>
                    <a:lnTo>
                      <a:pt x="240" y="721"/>
                    </a:lnTo>
                    <a:lnTo>
                      <a:pt x="239" y="721"/>
                    </a:lnTo>
                    <a:lnTo>
                      <a:pt x="235" y="722"/>
                    </a:lnTo>
                    <a:lnTo>
                      <a:pt x="234" y="722"/>
                    </a:lnTo>
                    <a:lnTo>
                      <a:pt x="227" y="727"/>
                    </a:lnTo>
                    <a:lnTo>
                      <a:pt x="225" y="727"/>
                    </a:lnTo>
                    <a:lnTo>
                      <a:pt x="225" y="726"/>
                    </a:lnTo>
                    <a:lnTo>
                      <a:pt x="227" y="724"/>
                    </a:lnTo>
                    <a:lnTo>
                      <a:pt x="229" y="721"/>
                    </a:lnTo>
                    <a:lnTo>
                      <a:pt x="232" y="717"/>
                    </a:lnTo>
                    <a:lnTo>
                      <a:pt x="234" y="717"/>
                    </a:lnTo>
                    <a:lnTo>
                      <a:pt x="237" y="717"/>
                    </a:lnTo>
                    <a:lnTo>
                      <a:pt x="240" y="716"/>
                    </a:lnTo>
                    <a:lnTo>
                      <a:pt x="242" y="714"/>
                    </a:lnTo>
                    <a:lnTo>
                      <a:pt x="244" y="712"/>
                    </a:lnTo>
                    <a:lnTo>
                      <a:pt x="244" y="712"/>
                    </a:lnTo>
                    <a:lnTo>
                      <a:pt x="237" y="712"/>
                    </a:lnTo>
                    <a:lnTo>
                      <a:pt x="235" y="714"/>
                    </a:lnTo>
                    <a:lnTo>
                      <a:pt x="232" y="716"/>
                    </a:lnTo>
                    <a:lnTo>
                      <a:pt x="229" y="714"/>
                    </a:lnTo>
                    <a:lnTo>
                      <a:pt x="224" y="714"/>
                    </a:lnTo>
                    <a:lnTo>
                      <a:pt x="222" y="714"/>
                    </a:lnTo>
                    <a:lnTo>
                      <a:pt x="222" y="711"/>
                    </a:lnTo>
                    <a:lnTo>
                      <a:pt x="225" y="709"/>
                    </a:lnTo>
                    <a:lnTo>
                      <a:pt x="229" y="707"/>
                    </a:lnTo>
                    <a:lnTo>
                      <a:pt x="234" y="707"/>
                    </a:lnTo>
                    <a:lnTo>
                      <a:pt x="242" y="706"/>
                    </a:lnTo>
                    <a:lnTo>
                      <a:pt x="247" y="702"/>
                    </a:lnTo>
                    <a:lnTo>
                      <a:pt x="247" y="701"/>
                    </a:lnTo>
                    <a:lnTo>
                      <a:pt x="245" y="701"/>
                    </a:lnTo>
                    <a:lnTo>
                      <a:pt x="244" y="701"/>
                    </a:lnTo>
                    <a:lnTo>
                      <a:pt x="240" y="702"/>
                    </a:lnTo>
                    <a:lnTo>
                      <a:pt x="237" y="704"/>
                    </a:lnTo>
                    <a:lnTo>
                      <a:pt x="234" y="702"/>
                    </a:lnTo>
                    <a:lnTo>
                      <a:pt x="232" y="699"/>
                    </a:lnTo>
                    <a:lnTo>
                      <a:pt x="229" y="699"/>
                    </a:lnTo>
                    <a:lnTo>
                      <a:pt x="225" y="699"/>
                    </a:lnTo>
                    <a:lnTo>
                      <a:pt x="224" y="697"/>
                    </a:lnTo>
                    <a:lnTo>
                      <a:pt x="224" y="696"/>
                    </a:lnTo>
                    <a:lnTo>
                      <a:pt x="227" y="694"/>
                    </a:lnTo>
                    <a:lnTo>
                      <a:pt x="229" y="689"/>
                    </a:lnTo>
                    <a:lnTo>
                      <a:pt x="232" y="687"/>
                    </a:lnTo>
                    <a:lnTo>
                      <a:pt x="235" y="686"/>
                    </a:lnTo>
                    <a:lnTo>
                      <a:pt x="234" y="684"/>
                    </a:lnTo>
                    <a:lnTo>
                      <a:pt x="232" y="684"/>
                    </a:lnTo>
                    <a:lnTo>
                      <a:pt x="229" y="686"/>
                    </a:lnTo>
                    <a:lnTo>
                      <a:pt x="225" y="691"/>
                    </a:lnTo>
                    <a:lnTo>
                      <a:pt x="224" y="692"/>
                    </a:lnTo>
                    <a:lnTo>
                      <a:pt x="220" y="696"/>
                    </a:lnTo>
                    <a:lnTo>
                      <a:pt x="220" y="696"/>
                    </a:lnTo>
                    <a:lnTo>
                      <a:pt x="217" y="696"/>
                    </a:lnTo>
                    <a:lnTo>
                      <a:pt x="219" y="692"/>
                    </a:lnTo>
                    <a:lnTo>
                      <a:pt x="219" y="687"/>
                    </a:lnTo>
                    <a:lnTo>
                      <a:pt x="219" y="682"/>
                    </a:lnTo>
                    <a:lnTo>
                      <a:pt x="217" y="677"/>
                    </a:lnTo>
                    <a:lnTo>
                      <a:pt x="217" y="674"/>
                    </a:lnTo>
                    <a:lnTo>
                      <a:pt x="219" y="671"/>
                    </a:lnTo>
                    <a:lnTo>
                      <a:pt x="219" y="668"/>
                    </a:lnTo>
                    <a:lnTo>
                      <a:pt x="217" y="668"/>
                    </a:lnTo>
                    <a:lnTo>
                      <a:pt x="215" y="669"/>
                    </a:lnTo>
                    <a:lnTo>
                      <a:pt x="214" y="677"/>
                    </a:lnTo>
                    <a:lnTo>
                      <a:pt x="215" y="681"/>
                    </a:lnTo>
                    <a:lnTo>
                      <a:pt x="217" y="684"/>
                    </a:lnTo>
                    <a:lnTo>
                      <a:pt x="217" y="687"/>
                    </a:lnTo>
                    <a:lnTo>
                      <a:pt x="217" y="694"/>
                    </a:lnTo>
                    <a:lnTo>
                      <a:pt x="215" y="697"/>
                    </a:lnTo>
                    <a:lnTo>
                      <a:pt x="214" y="697"/>
                    </a:lnTo>
                    <a:lnTo>
                      <a:pt x="211" y="694"/>
                    </a:lnTo>
                    <a:lnTo>
                      <a:pt x="209" y="692"/>
                    </a:lnTo>
                    <a:lnTo>
                      <a:pt x="207" y="697"/>
                    </a:lnTo>
                    <a:lnTo>
                      <a:pt x="207" y="699"/>
                    </a:lnTo>
                    <a:lnTo>
                      <a:pt x="206" y="699"/>
                    </a:lnTo>
                    <a:lnTo>
                      <a:pt x="202" y="699"/>
                    </a:lnTo>
                    <a:lnTo>
                      <a:pt x="206" y="701"/>
                    </a:lnTo>
                    <a:lnTo>
                      <a:pt x="206" y="704"/>
                    </a:lnTo>
                    <a:lnTo>
                      <a:pt x="204" y="707"/>
                    </a:lnTo>
                    <a:lnTo>
                      <a:pt x="202" y="709"/>
                    </a:lnTo>
                    <a:lnTo>
                      <a:pt x="199" y="711"/>
                    </a:lnTo>
                    <a:lnTo>
                      <a:pt x="197" y="709"/>
                    </a:lnTo>
                    <a:lnTo>
                      <a:pt x="196" y="711"/>
                    </a:lnTo>
                    <a:lnTo>
                      <a:pt x="192" y="712"/>
                    </a:lnTo>
                    <a:lnTo>
                      <a:pt x="186" y="712"/>
                    </a:lnTo>
                    <a:lnTo>
                      <a:pt x="184" y="711"/>
                    </a:lnTo>
                    <a:lnTo>
                      <a:pt x="184" y="707"/>
                    </a:lnTo>
                    <a:lnTo>
                      <a:pt x="182" y="706"/>
                    </a:lnTo>
                    <a:lnTo>
                      <a:pt x="181" y="704"/>
                    </a:lnTo>
                    <a:lnTo>
                      <a:pt x="179" y="704"/>
                    </a:lnTo>
                    <a:lnTo>
                      <a:pt x="177" y="707"/>
                    </a:lnTo>
                    <a:lnTo>
                      <a:pt x="177" y="707"/>
                    </a:lnTo>
                    <a:lnTo>
                      <a:pt x="176" y="702"/>
                    </a:lnTo>
                    <a:lnTo>
                      <a:pt x="176" y="699"/>
                    </a:lnTo>
                    <a:lnTo>
                      <a:pt x="176" y="696"/>
                    </a:lnTo>
                    <a:lnTo>
                      <a:pt x="174" y="694"/>
                    </a:lnTo>
                    <a:lnTo>
                      <a:pt x="174" y="692"/>
                    </a:lnTo>
                    <a:lnTo>
                      <a:pt x="177" y="691"/>
                    </a:lnTo>
                    <a:lnTo>
                      <a:pt x="182" y="691"/>
                    </a:lnTo>
                    <a:lnTo>
                      <a:pt x="184" y="691"/>
                    </a:lnTo>
                    <a:lnTo>
                      <a:pt x="186" y="687"/>
                    </a:lnTo>
                    <a:lnTo>
                      <a:pt x="187" y="687"/>
                    </a:lnTo>
                    <a:lnTo>
                      <a:pt x="196" y="686"/>
                    </a:lnTo>
                    <a:lnTo>
                      <a:pt x="197" y="687"/>
                    </a:lnTo>
                    <a:lnTo>
                      <a:pt x="202" y="681"/>
                    </a:lnTo>
                    <a:lnTo>
                      <a:pt x="207" y="676"/>
                    </a:lnTo>
                    <a:lnTo>
                      <a:pt x="207" y="674"/>
                    </a:lnTo>
                    <a:lnTo>
                      <a:pt x="206" y="672"/>
                    </a:lnTo>
                    <a:lnTo>
                      <a:pt x="202" y="674"/>
                    </a:lnTo>
                    <a:lnTo>
                      <a:pt x="201" y="679"/>
                    </a:lnTo>
                    <a:lnTo>
                      <a:pt x="197" y="682"/>
                    </a:lnTo>
                    <a:lnTo>
                      <a:pt x="192" y="684"/>
                    </a:lnTo>
                    <a:lnTo>
                      <a:pt x="186" y="682"/>
                    </a:lnTo>
                    <a:lnTo>
                      <a:pt x="182" y="681"/>
                    </a:lnTo>
                    <a:lnTo>
                      <a:pt x="182" y="677"/>
                    </a:lnTo>
                    <a:lnTo>
                      <a:pt x="187" y="676"/>
                    </a:lnTo>
                    <a:lnTo>
                      <a:pt x="192" y="671"/>
                    </a:lnTo>
                    <a:lnTo>
                      <a:pt x="196" y="671"/>
                    </a:lnTo>
                    <a:lnTo>
                      <a:pt x="196" y="669"/>
                    </a:lnTo>
                    <a:lnTo>
                      <a:pt x="196" y="668"/>
                    </a:lnTo>
                    <a:lnTo>
                      <a:pt x="197" y="666"/>
                    </a:lnTo>
                    <a:lnTo>
                      <a:pt x="199" y="664"/>
                    </a:lnTo>
                    <a:lnTo>
                      <a:pt x="201" y="664"/>
                    </a:lnTo>
                    <a:lnTo>
                      <a:pt x="201" y="663"/>
                    </a:lnTo>
                    <a:lnTo>
                      <a:pt x="199" y="661"/>
                    </a:lnTo>
                    <a:lnTo>
                      <a:pt x="199" y="659"/>
                    </a:lnTo>
                    <a:lnTo>
                      <a:pt x="197" y="661"/>
                    </a:lnTo>
                    <a:lnTo>
                      <a:pt x="196" y="663"/>
                    </a:lnTo>
                    <a:lnTo>
                      <a:pt x="189" y="661"/>
                    </a:lnTo>
                    <a:lnTo>
                      <a:pt x="187" y="661"/>
                    </a:lnTo>
                    <a:lnTo>
                      <a:pt x="186" y="661"/>
                    </a:lnTo>
                    <a:lnTo>
                      <a:pt x="187" y="658"/>
                    </a:lnTo>
                    <a:lnTo>
                      <a:pt x="192" y="654"/>
                    </a:lnTo>
                    <a:lnTo>
                      <a:pt x="194" y="654"/>
                    </a:lnTo>
                    <a:lnTo>
                      <a:pt x="197" y="658"/>
                    </a:lnTo>
                    <a:lnTo>
                      <a:pt x="201" y="656"/>
                    </a:lnTo>
                    <a:lnTo>
                      <a:pt x="206" y="654"/>
                    </a:lnTo>
                    <a:lnTo>
                      <a:pt x="207" y="649"/>
                    </a:lnTo>
                    <a:lnTo>
                      <a:pt x="206" y="648"/>
                    </a:lnTo>
                    <a:lnTo>
                      <a:pt x="207" y="644"/>
                    </a:lnTo>
                    <a:lnTo>
                      <a:pt x="211" y="639"/>
                    </a:lnTo>
                    <a:lnTo>
                      <a:pt x="211" y="636"/>
                    </a:lnTo>
                    <a:lnTo>
                      <a:pt x="211" y="631"/>
                    </a:lnTo>
                    <a:lnTo>
                      <a:pt x="209" y="629"/>
                    </a:lnTo>
                    <a:lnTo>
                      <a:pt x="207" y="628"/>
                    </a:lnTo>
                    <a:lnTo>
                      <a:pt x="204" y="628"/>
                    </a:lnTo>
                    <a:lnTo>
                      <a:pt x="202" y="626"/>
                    </a:lnTo>
                    <a:lnTo>
                      <a:pt x="199" y="626"/>
                    </a:lnTo>
                    <a:lnTo>
                      <a:pt x="196" y="624"/>
                    </a:lnTo>
                    <a:lnTo>
                      <a:pt x="196" y="623"/>
                    </a:lnTo>
                    <a:lnTo>
                      <a:pt x="197" y="621"/>
                    </a:lnTo>
                    <a:lnTo>
                      <a:pt x="201" y="623"/>
                    </a:lnTo>
                    <a:lnTo>
                      <a:pt x="204" y="621"/>
                    </a:lnTo>
                    <a:lnTo>
                      <a:pt x="206" y="618"/>
                    </a:lnTo>
                    <a:lnTo>
                      <a:pt x="206" y="614"/>
                    </a:lnTo>
                    <a:lnTo>
                      <a:pt x="209" y="613"/>
                    </a:lnTo>
                    <a:lnTo>
                      <a:pt x="209" y="609"/>
                    </a:lnTo>
                    <a:lnTo>
                      <a:pt x="207" y="608"/>
                    </a:lnTo>
                    <a:lnTo>
                      <a:pt x="204" y="608"/>
                    </a:lnTo>
                    <a:lnTo>
                      <a:pt x="202" y="606"/>
                    </a:lnTo>
                    <a:lnTo>
                      <a:pt x="202" y="603"/>
                    </a:lnTo>
                    <a:lnTo>
                      <a:pt x="204" y="601"/>
                    </a:lnTo>
                    <a:lnTo>
                      <a:pt x="206" y="603"/>
                    </a:lnTo>
                    <a:lnTo>
                      <a:pt x="206" y="601"/>
                    </a:lnTo>
                    <a:lnTo>
                      <a:pt x="202" y="596"/>
                    </a:lnTo>
                    <a:lnTo>
                      <a:pt x="202" y="593"/>
                    </a:lnTo>
                    <a:lnTo>
                      <a:pt x="204" y="591"/>
                    </a:lnTo>
                    <a:lnTo>
                      <a:pt x="206" y="594"/>
                    </a:lnTo>
                    <a:lnTo>
                      <a:pt x="206" y="593"/>
                    </a:lnTo>
                    <a:lnTo>
                      <a:pt x="204" y="589"/>
                    </a:lnTo>
                    <a:lnTo>
                      <a:pt x="204" y="588"/>
                    </a:lnTo>
                    <a:lnTo>
                      <a:pt x="207" y="584"/>
                    </a:lnTo>
                    <a:lnTo>
                      <a:pt x="206" y="579"/>
                    </a:lnTo>
                    <a:lnTo>
                      <a:pt x="204" y="576"/>
                    </a:lnTo>
                    <a:lnTo>
                      <a:pt x="204" y="574"/>
                    </a:lnTo>
                    <a:lnTo>
                      <a:pt x="202" y="571"/>
                    </a:lnTo>
                    <a:lnTo>
                      <a:pt x="204" y="570"/>
                    </a:lnTo>
                    <a:lnTo>
                      <a:pt x="206" y="565"/>
                    </a:lnTo>
                    <a:lnTo>
                      <a:pt x="204" y="565"/>
                    </a:lnTo>
                    <a:lnTo>
                      <a:pt x="202" y="565"/>
                    </a:lnTo>
                    <a:lnTo>
                      <a:pt x="197" y="568"/>
                    </a:lnTo>
                    <a:lnTo>
                      <a:pt x="196" y="568"/>
                    </a:lnTo>
                    <a:lnTo>
                      <a:pt x="192" y="570"/>
                    </a:lnTo>
                    <a:lnTo>
                      <a:pt x="191" y="571"/>
                    </a:lnTo>
                    <a:lnTo>
                      <a:pt x="189" y="570"/>
                    </a:lnTo>
                    <a:lnTo>
                      <a:pt x="191" y="568"/>
                    </a:lnTo>
                    <a:lnTo>
                      <a:pt x="194" y="565"/>
                    </a:lnTo>
                    <a:lnTo>
                      <a:pt x="197" y="565"/>
                    </a:lnTo>
                    <a:lnTo>
                      <a:pt x="199" y="561"/>
                    </a:lnTo>
                    <a:lnTo>
                      <a:pt x="201" y="560"/>
                    </a:lnTo>
                    <a:lnTo>
                      <a:pt x="204" y="556"/>
                    </a:lnTo>
                    <a:lnTo>
                      <a:pt x="207" y="555"/>
                    </a:lnTo>
                    <a:lnTo>
                      <a:pt x="209" y="551"/>
                    </a:lnTo>
                    <a:lnTo>
                      <a:pt x="209" y="548"/>
                    </a:lnTo>
                    <a:lnTo>
                      <a:pt x="207" y="546"/>
                    </a:lnTo>
                    <a:lnTo>
                      <a:pt x="204" y="543"/>
                    </a:lnTo>
                    <a:lnTo>
                      <a:pt x="202" y="540"/>
                    </a:lnTo>
                    <a:lnTo>
                      <a:pt x="201" y="538"/>
                    </a:lnTo>
                    <a:lnTo>
                      <a:pt x="199" y="538"/>
                    </a:lnTo>
                    <a:lnTo>
                      <a:pt x="197" y="535"/>
                    </a:lnTo>
                    <a:lnTo>
                      <a:pt x="197" y="533"/>
                    </a:lnTo>
                    <a:lnTo>
                      <a:pt x="199" y="531"/>
                    </a:lnTo>
                    <a:lnTo>
                      <a:pt x="197" y="530"/>
                    </a:lnTo>
                    <a:lnTo>
                      <a:pt x="197" y="525"/>
                    </a:lnTo>
                    <a:lnTo>
                      <a:pt x="196" y="521"/>
                    </a:lnTo>
                    <a:lnTo>
                      <a:pt x="187" y="515"/>
                    </a:lnTo>
                    <a:lnTo>
                      <a:pt x="187" y="513"/>
                    </a:lnTo>
                    <a:lnTo>
                      <a:pt x="186" y="511"/>
                    </a:lnTo>
                    <a:lnTo>
                      <a:pt x="184" y="510"/>
                    </a:lnTo>
                    <a:lnTo>
                      <a:pt x="184" y="508"/>
                    </a:lnTo>
                    <a:lnTo>
                      <a:pt x="186" y="506"/>
                    </a:lnTo>
                    <a:lnTo>
                      <a:pt x="191" y="503"/>
                    </a:lnTo>
                    <a:lnTo>
                      <a:pt x="192" y="501"/>
                    </a:lnTo>
                    <a:lnTo>
                      <a:pt x="194" y="500"/>
                    </a:lnTo>
                    <a:lnTo>
                      <a:pt x="192" y="498"/>
                    </a:lnTo>
                    <a:lnTo>
                      <a:pt x="189" y="498"/>
                    </a:lnTo>
                    <a:lnTo>
                      <a:pt x="189" y="496"/>
                    </a:lnTo>
                    <a:lnTo>
                      <a:pt x="192" y="495"/>
                    </a:lnTo>
                    <a:lnTo>
                      <a:pt x="194" y="491"/>
                    </a:lnTo>
                    <a:lnTo>
                      <a:pt x="196" y="488"/>
                    </a:lnTo>
                    <a:lnTo>
                      <a:pt x="196" y="486"/>
                    </a:lnTo>
                    <a:lnTo>
                      <a:pt x="196" y="485"/>
                    </a:lnTo>
                    <a:lnTo>
                      <a:pt x="197" y="483"/>
                    </a:lnTo>
                    <a:lnTo>
                      <a:pt x="196" y="480"/>
                    </a:lnTo>
                    <a:lnTo>
                      <a:pt x="192" y="480"/>
                    </a:lnTo>
                    <a:lnTo>
                      <a:pt x="189" y="475"/>
                    </a:lnTo>
                    <a:lnTo>
                      <a:pt x="184" y="472"/>
                    </a:lnTo>
                    <a:lnTo>
                      <a:pt x="182" y="468"/>
                    </a:lnTo>
                    <a:lnTo>
                      <a:pt x="181" y="467"/>
                    </a:lnTo>
                    <a:lnTo>
                      <a:pt x="179" y="468"/>
                    </a:lnTo>
                    <a:lnTo>
                      <a:pt x="177" y="470"/>
                    </a:lnTo>
                    <a:lnTo>
                      <a:pt x="176" y="470"/>
                    </a:lnTo>
                    <a:lnTo>
                      <a:pt x="174" y="468"/>
                    </a:lnTo>
                    <a:lnTo>
                      <a:pt x="174" y="465"/>
                    </a:lnTo>
                    <a:lnTo>
                      <a:pt x="171" y="463"/>
                    </a:lnTo>
                    <a:lnTo>
                      <a:pt x="167" y="462"/>
                    </a:lnTo>
                    <a:lnTo>
                      <a:pt x="166" y="458"/>
                    </a:lnTo>
                    <a:lnTo>
                      <a:pt x="164" y="458"/>
                    </a:lnTo>
                    <a:lnTo>
                      <a:pt x="162" y="460"/>
                    </a:lnTo>
                    <a:lnTo>
                      <a:pt x="161" y="460"/>
                    </a:lnTo>
                    <a:lnTo>
                      <a:pt x="161" y="458"/>
                    </a:lnTo>
                    <a:lnTo>
                      <a:pt x="161" y="455"/>
                    </a:lnTo>
                    <a:lnTo>
                      <a:pt x="156" y="450"/>
                    </a:lnTo>
                    <a:lnTo>
                      <a:pt x="151" y="447"/>
                    </a:lnTo>
                    <a:lnTo>
                      <a:pt x="149" y="447"/>
                    </a:lnTo>
                    <a:lnTo>
                      <a:pt x="147" y="448"/>
                    </a:lnTo>
                    <a:lnTo>
                      <a:pt x="142" y="448"/>
                    </a:lnTo>
                    <a:lnTo>
                      <a:pt x="136" y="442"/>
                    </a:lnTo>
                    <a:lnTo>
                      <a:pt x="131" y="440"/>
                    </a:lnTo>
                    <a:lnTo>
                      <a:pt x="127" y="438"/>
                    </a:lnTo>
                    <a:lnTo>
                      <a:pt x="124" y="437"/>
                    </a:lnTo>
                    <a:lnTo>
                      <a:pt x="117" y="437"/>
                    </a:lnTo>
                    <a:lnTo>
                      <a:pt x="116" y="440"/>
                    </a:lnTo>
                    <a:lnTo>
                      <a:pt x="113" y="443"/>
                    </a:lnTo>
                    <a:lnTo>
                      <a:pt x="108" y="447"/>
                    </a:lnTo>
                    <a:lnTo>
                      <a:pt x="106" y="448"/>
                    </a:lnTo>
                    <a:lnTo>
                      <a:pt x="106" y="445"/>
                    </a:lnTo>
                    <a:lnTo>
                      <a:pt x="108" y="442"/>
                    </a:lnTo>
                    <a:lnTo>
                      <a:pt x="108" y="437"/>
                    </a:lnTo>
                    <a:lnTo>
                      <a:pt x="106" y="437"/>
                    </a:lnTo>
                    <a:lnTo>
                      <a:pt x="103" y="437"/>
                    </a:lnTo>
                    <a:lnTo>
                      <a:pt x="99" y="438"/>
                    </a:lnTo>
                    <a:lnTo>
                      <a:pt x="99" y="442"/>
                    </a:lnTo>
                    <a:lnTo>
                      <a:pt x="96" y="443"/>
                    </a:lnTo>
                    <a:lnTo>
                      <a:pt x="94" y="442"/>
                    </a:lnTo>
                    <a:lnTo>
                      <a:pt x="91" y="437"/>
                    </a:lnTo>
                    <a:lnTo>
                      <a:pt x="88" y="435"/>
                    </a:lnTo>
                    <a:lnTo>
                      <a:pt x="88" y="438"/>
                    </a:lnTo>
                    <a:lnTo>
                      <a:pt x="84" y="445"/>
                    </a:lnTo>
                    <a:lnTo>
                      <a:pt x="83" y="447"/>
                    </a:lnTo>
                    <a:lnTo>
                      <a:pt x="79" y="445"/>
                    </a:lnTo>
                    <a:lnTo>
                      <a:pt x="79" y="442"/>
                    </a:lnTo>
                    <a:lnTo>
                      <a:pt x="81" y="437"/>
                    </a:lnTo>
                    <a:lnTo>
                      <a:pt x="86" y="435"/>
                    </a:lnTo>
                    <a:lnTo>
                      <a:pt x="84" y="433"/>
                    </a:lnTo>
                    <a:lnTo>
                      <a:pt x="81" y="433"/>
                    </a:lnTo>
                    <a:lnTo>
                      <a:pt x="79" y="432"/>
                    </a:lnTo>
                    <a:lnTo>
                      <a:pt x="76" y="435"/>
                    </a:lnTo>
                    <a:lnTo>
                      <a:pt x="73" y="435"/>
                    </a:lnTo>
                    <a:lnTo>
                      <a:pt x="71" y="438"/>
                    </a:lnTo>
                    <a:lnTo>
                      <a:pt x="69" y="438"/>
                    </a:lnTo>
                    <a:lnTo>
                      <a:pt x="68" y="437"/>
                    </a:lnTo>
                    <a:lnTo>
                      <a:pt x="68" y="433"/>
                    </a:lnTo>
                    <a:lnTo>
                      <a:pt x="66" y="430"/>
                    </a:lnTo>
                    <a:lnTo>
                      <a:pt x="66" y="427"/>
                    </a:lnTo>
                    <a:lnTo>
                      <a:pt x="64" y="427"/>
                    </a:lnTo>
                    <a:lnTo>
                      <a:pt x="61" y="427"/>
                    </a:lnTo>
                    <a:lnTo>
                      <a:pt x="61" y="430"/>
                    </a:lnTo>
                    <a:lnTo>
                      <a:pt x="59" y="433"/>
                    </a:lnTo>
                    <a:lnTo>
                      <a:pt x="58" y="435"/>
                    </a:lnTo>
                    <a:lnTo>
                      <a:pt x="58" y="438"/>
                    </a:lnTo>
                    <a:lnTo>
                      <a:pt x="59" y="445"/>
                    </a:lnTo>
                    <a:lnTo>
                      <a:pt x="58" y="447"/>
                    </a:lnTo>
                    <a:lnTo>
                      <a:pt x="58" y="448"/>
                    </a:lnTo>
                    <a:lnTo>
                      <a:pt x="54" y="447"/>
                    </a:lnTo>
                    <a:lnTo>
                      <a:pt x="49" y="443"/>
                    </a:lnTo>
                    <a:lnTo>
                      <a:pt x="44" y="442"/>
                    </a:lnTo>
                    <a:lnTo>
                      <a:pt x="41" y="438"/>
                    </a:lnTo>
                    <a:lnTo>
                      <a:pt x="36" y="435"/>
                    </a:lnTo>
                    <a:lnTo>
                      <a:pt x="34" y="433"/>
                    </a:lnTo>
                    <a:lnTo>
                      <a:pt x="34" y="432"/>
                    </a:lnTo>
                    <a:lnTo>
                      <a:pt x="36" y="430"/>
                    </a:lnTo>
                    <a:lnTo>
                      <a:pt x="31" y="428"/>
                    </a:lnTo>
                    <a:lnTo>
                      <a:pt x="28" y="422"/>
                    </a:lnTo>
                    <a:lnTo>
                      <a:pt x="24" y="420"/>
                    </a:lnTo>
                    <a:lnTo>
                      <a:pt x="21" y="415"/>
                    </a:lnTo>
                    <a:lnTo>
                      <a:pt x="21" y="410"/>
                    </a:lnTo>
                    <a:lnTo>
                      <a:pt x="23" y="408"/>
                    </a:lnTo>
                    <a:lnTo>
                      <a:pt x="29" y="408"/>
                    </a:lnTo>
                    <a:lnTo>
                      <a:pt x="33" y="405"/>
                    </a:lnTo>
                    <a:lnTo>
                      <a:pt x="36" y="405"/>
                    </a:lnTo>
                    <a:lnTo>
                      <a:pt x="43" y="405"/>
                    </a:lnTo>
                    <a:lnTo>
                      <a:pt x="44" y="405"/>
                    </a:lnTo>
                    <a:lnTo>
                      <a:pt x="48" y="403"/>
                    </a:lnTo>
                    <a:lnTo>
                      <a:pt x="49" y="402"/>
                    </a:lnTo>
                    <a:lnTo>
                      <a:pt x="49" y="398"/>
                    </a:lnTo>
                    <a:lnTo>
                      <a:pt x="44" y="400"/>
                    </a:lnTo>
                    <a:lnTo>
                      <a:pt x="38" y="397"/>
                    </a:lnTo>
                    <a:lnTo>
                      <a:pt x="36" y="397"/>
                    </a:lnTo>
                    <a:lnTo>
                      <a:pt x="34" y="398"/>
                    </a:lnTo>
                    <a:lnTo>
                      <a:pt x="26" y="392"/>
                    </a:lnTo>
                    <a:lnTo>
                      <a:pt x="26" y="387"/>
                    </a:lnTo>
                    <a:lnTo>
                      <a:pt x="28" y="385"/>
                    </a:lnTo>
                    <a:lnTo>
                      <a:pt x="33" y="383"/>
                    </a:lnTo>
                    <a:lnTo>
                      <a:pt x="34" y="378"/>
                    </a:lnTo>
                    <a:lnTo>
                      <a:pt x="36" y="375"/>
                    </a:lnTo>
                    <a:lnTo>
                      <a:pt x="33" y="375"/>
                    </a:lnTo>
                    <a:lnTo>
                      <a:pt x="31" y="377"/>
                    </a:lnTo>
                    <a:lnTo>
                      <a:pt x="28" y="382"/>
                    </a:lnTo>
                    <a:lnTo>
                      <a:pt x="24" y="382"/>
                    </a:lnTo>
                    <a:lnTo>
                      <a:pt x="23" y="383"/>
                    </a:lnTo>
                    <a:lnTo>
                      <a:pt x="19" y="387"/>
                    </a:lnTo>
                    <a:lnTo>
                      <a:pt x="15" y="385"/>
                    </a:lnTo>
                    <a:lnTo>
                      <a:pt x="15" y="380"/>
                    </a:lnTo>
                    <a:lnTo>
                      <a:pt x="15" y="377"/>
                    </a:lnTo>
                    <a:lnTo>
                      <a:pt x="18" y="375"/>
                    </a:lnTo>
                    <a:lnTo>
                      <a:pt x="16" y="374"/>
                    </a:lnTo>
                    <a:lnTo>
                      <a:pt x="15" y="374"/>
                    </a:lnTo>
                    <a:lnTo>
                      <a:pt x="13" y="375"/>
                    </a:lnTo>
                    <a:lnTo>
                      <a:pt x="13" y="372"/>
                    </a:lnTo>
                    <a:lnTo>
                      <a:pt x="13" y="369"/>
                    </a:lnTo>
                    <a:lnTo>
                      <a:pt x="15" y="367"/>
                    </a:lnTo>
                    <a:lnTo>
                      <a:pt x="16" y="365"/>
                    </a:lnTo>
                    <a:lnTo>
                      <a:pt x="18" y="364"/>
                    </a:lnTo>
                    <a:lnTo>
                      <a:pt x="21" y="365"/>
                    </a:lnTo>
                    <a:lnTo>
                      <a:pt x="23" y="367"/>
                    </a:lnTo>
                    <a:lnTo>
                      <a:pt x="23" y="362"/>
                    </a:lnTo>
                    <a:lnTo>
                      <a:pt x="31" y="359"/>
                    </a:lnTo>
                    <a:lnTo>
                      <a:pt x="39" y="360"/>
                    </a:lnTo>
                    <a:lnTo>
                      <a:pt x="44" y="364"/>
                    </a:lnTo>
                    <a:lnTo>
                      <a:pt x="53" y="364"/>
                    </a:lnTo>
                    <a:lnTo>
                      <a:pt x="61" y="369"/>
                    </a:lnTo>
                    <a:lnTo>
                      <a:pt x="68" y="369"/>
                    </a:lnTo>
                    <a:lnTo>
                      <a:pt x="71" y="370"/>
                    </a:lnTo>
                    <a:lnTo>
                      <a:pt x="81" y="375"/>
                    </a:lnTo>
                    <a:lnTo>
                      <a:pt x="84" y="375"/>
                    </a:lnTo>
                    <a:lnTo>
                      <a:pt x="86" y="375"/>
                    </a:lnTo>
                    <a:lnTo>
                      <a:pt x="93" y="374"/>
                    </a:lnTo>
                    <a:lnTo>
                      <a:pt x="88" y="372"/>
                    </a:lnTo>
                    <a:lnTo>
                      <a:pt x="84" y="372"/>
                    </a:lnTo>
                    <a:lnTo>
                      <a:pt x="76" y="369"/>
                    </a:lnTo>
                    <a:lnTo>
                      <a:pt x="71" y="365"/>
                    </a:lnTo>
                    <a:lnTo>
                      <a:pt x="66" y="364"/>
                    </a:lnTo>
                    <a:lnTo>
                      <a:pt x="58" y="364"/>
                    </a:lnTo>
                    <a:lnTo>
                      <a:pt x="54" y="360"/>
                    </a:lnTo>
                    <a:lnTo>
                      <a:pt x="54" y="359"/>
                    </a:lnTo>
                    <a:lnTo>
                      <a:pt x="63" y="355"/>
                    </a:lnTo>
                    <a:lnTo>
                      <a:pt x="69" y="357"/>
                    </a:lnTo>
                    <a:lnTo>
                      <a:pt x="79" y="357"/>
                    </a:lnTo>
                    <a:lnTo>
                      <a:pt x="86" y="360"/>
                    </a:lnTo>
                    <a:lnTo>
                      <a:pt x="89" y="364"/>
                    </a:lnTo>
                    <a:lnTo>
                      <a:pt x="93" y="364"/>
                    </a:lnTo>
                    <a:lnTo>
                      <a:pt x="94" y="365"/>
                    </a:lnTo>
                    <a:lnTo>
                      <a:pt x="98" y="367"/>
                    </a:lnTo>
                    <a:lnTo>
                      <a:pt x="98" y="365"/>
                    </a:lnTo>
                    <a:lnTo>
                      <a:pt x="98" y="364"/>
                    </a:lnTo>
                    <a:lnTo>
                      <a:pt x="96" y="360"/>
                    </a:lnTo>
                    <a:lnTo>
                      <a:pt x="103" y="357"/>
                    </a:lnTo>
                    <a:lnTo>
                      <a:pt x="104" y="357"/>
                    </a:lnTo>
                    <a:lnTo>
                      <a:pt x="103" y="350"/>
                    </a:lnTo>
                    <a:lnTo>
                      <a:pt x="101" y="350"/>
                    </a:lnTo>
                    <a:lnTo>
                      <a:pt x="98" y="350"/>
                    </a:lnTo>
                    <a:lnTo>
                      <a:pt x="96" y="349"/>
                    </a:lnTo>
                    <a:lnTo>
                      <a:pt x="96" y="345"/>
                    </a:lnTo>
                    <a:lnTo>
                      <a:pt x="93" y="344"/>
                    </a:lnTo>
                    <a:lnTo>
                      <a:pt x="91" y="345"/>
                    </a:lnTo>
                    <a:lnTo>
                      <a:pt x="86" y="349"/>
                    </a:lnTo>
                    <a:lnTo>
                      <a:pt x="81" y="349"/>
                    </a:lnTo>
                    <a:lnTo>
                      <a:pt x="74" y="347"/>
                    </a:lnTo>
                    <a:lnTo>
                      <a:pt x="69" y="345"/>
                    </a:lnTo>
                    <a:lnTo>
                      <a:pt x="71" y="344"/>
                    </a:lnTo>
                    <a:lnTo>
                      <a:pt x="69" y="342"/>
                    </a:lnTo>
                    <a:lnTo>
                      <a:pt x="66" y="337"/>
                    </a:lnTo>
                    <a:lnTo>
                      <a:pt x="63" y="337"/>
                    </a:lnTo>
                    <a:lnTo>
                      <a:pt x="63" y="339"/>
                    </a:lnTo>
                    <a:lnTo>
                      <a:pt x="63" y="340"/>
                    </a:lnTo>
                    <a:lnTo>
                      <a:pt x="64" y="342"/>
                    </a:lnTo>
                    <a:lnTo>
                      <a:pt x="64" y="347"/>
                    </a:lnTo>
                    <a:lnTo>
                      <a:pt x="63" y="349"/>
                    </a:lnTo>
                    <a:lnTo>
                      <a:pt x="56" y="349"/>
                    </a:lnTo>
                    <a:lnTo>
                      <a:pt x="49" y="347"/>
                    </a:lnTo>
                    <a:lnTo>
                      <a:pt x="43" y="340"/>
                    </a:lnTo>
                    <a:lnTo>
                      <a:pt x="43" y="339"/>
                    </a:lnTo>
                    <a:lnTo>
                      <a:pt x="48" y="337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4" y="332"/>
                    </a:lnTo>
                    <a:lnTo>
                      <a:pt x="48" y="334"/>
                    </a:lnTo>
                    <a:lnTo>
                      <a:pt x="44" y="335"/>
                    </a:lnTo>
                    <a:lnTo>
                      <a:pt x="39" y="335"/>
                    </a:lnTo>
                    <a:lnTo>
                      <a:pt x="39" y="332"/>
                    </a:lnTo>
                    <a:lnTo>
                      <a:pt x="41" y="330"/>
                    </a:lnTo>
                    <a:lnTo>
                      <a:pt x="46" y="329"/>
                    </a:lnTo>
                    <a:lnTo>
                      <a:pt x="49" y="327"/>
                    </a:lnTo>
                    <a:lnTo>
                      <a:pt x="53" y="322"/>
                    </a:lnTo>
                    <a:lnTo>
                      <a:pt x="51" y="319"/>
                    </a:lnTo>
                    <a:lnTo>
                      <a:pt x="49" y="319"/>
                    </a:lnTo>
                    <a:lnTo>
                      <a:pt x="48" y="320"/>
                    </a:lnTo>
                    <a:lnTo>
                      <a:pt x="46" y="322"/>
                    </a:lnTo>
                    <a:lnTo>
                      <a:pt x="41" y="325"/>
                    </a:lnTo>
                    <a:lnTo>
                      <a:pt x="36" y="325"/>
                    </a:lnTo>
                    <a:lnTo>
                      <a:pt x="31" y="325"/>
                    </a:lnTo>
                    <a:lnTo>
                      <a:pt x="29" y="322"/>
                    </a:lnTo>
                    <a:lnTo>
                      <a:pt x="31" y="320"/>
                    </a:lnTo>
                    <a:lnTo>
                      <a:pt x="33" y="317"/>
                    </a:lnTo>
                    <a:lnTo>
                      <a:pt x="36" y="315"/>
                    </a:lnTo>
                    <a:lnTo>
                      <a:pt x="34" y="314"/>
                    </a:lnTo>
                    <a:lnTo>
                      <a:pt x="33" y="314"/>
                    </a:lnTo>
                    <a:lnTo>
                      <a:pt x="28" y="314"/>
                    </a:lnTo>
                    <a:lnTo>
                      <a:pt x="26" y="312"/>
                    </a:lnTo>
                    <a:lnTo>
                      <a:pt x="21" y="302"/>
                    </a:lnTo>
                    <a:lnTo>
                      <a:pt x="19" y="300"/>
                    </a:lnTo>
                    <a:lnTo>
                      <a:pt x="15" y="299"/>
                    </a:lnTo>
                    <a:lnTo>
                      <a:pt x="13" y="295"/>
                    </a:lnTo>
                    <a:lnTo>
                      <a:pt x="16" y="295"/>
                    </a:lnTo>
                    <a:lnTo>
                      <a:pt x="19" y="294"/>
                    </a:lnTo>
                    <a:lnTo>
                      <a:pt x="23" y="290"/>
                    </a:lnTo>
                    <a:lnTo>
                      <a:pt x="24" y="289"/>
                    </a:lnTo>
                    <a:lnTo>
                      <a:pt x="24" y="289"/>
                    </a:lnTo>
                    <a:lnTo>
                      <a:pt x="28" y="289"/>
                    </a:lnTo>
                    <a:lnTo>
                      <a:pt x="28" y="287"/>
                    </a:lnTo>
                    <a:lnTo>
                      <a:pt x="24" y="287"/>
                    </a:lnTo>
                    <a:lnTo>
                      <a:pt x="21" y="285"/>
                    </a:lnTo>
                    <a:lnTo>
                      <a:pt x="19" y="284"/>
                    </a:lnTo>
                    <a:lnTo>
                      <a:pt x="21" y="282"/>
                    </a:lnTo>
                    <a:lnTo>
                      <a:pt x="24" y="282"/>
                    </a:lnTo>
                    <a:lnTo>
                      <a:pt x="33" y="279"/>
                    </a:lnTo>
                    <a:lnTo>
                      <a:pt x="33" y="277"/>
                    </a:lnTo>
                    <a:lnTo>
                      <a:pt x="33" y="276"/>
                    </a:lnTo>
                    <a:lnTo>
                      <a:pt x="36" y="274"/>
                    </a:lnTo>
                    <a:lnTo>
                      <a:pt x="39" y="272"/>
                    </a:lnTo>
                    <a:lnTo>
                      <a:pt x="43" y="272"/>
                    </a:lnTo>
                    <a:lnTo>
                      <a:pt x="44" y="272"/>
                    </a:lnTo>
                    <a:lnTo>
                      <a:pt x="48" y="272"/>
                    </a:lnTo>
                    <a:lnTo>
                      <a:pt x="51" y="271"/>
                    </a:lnTo>
                    <a:lnTo>
                      <a:pt x="54" y="271"/>
                    </a:lnTo>
                    <a:lnTo>
                      <a:pt x="58" y="272"/>
                    </a:lnTo>
                    <a:lnTo>
                      <a:pt x="58" y="272"/>
                    </a:lnTo>
                    <a:lnTo>
                      <a:pt x="59" y="274"/>
                    </a:lnTo>
                    <a:lnTo>
                      <a:pt x="61" y="272"/>
                    </a:lnTo>
                    <a:lnTo>
                      <a:pt x="63" y="271"/>
                    </a:lnTo>
                    <a:lnTo>
                      <a:pt x="66" y="269"/>
                    </a:lnTo>
                    <a:lnTo>
                      <a:pt x="69" y="269"/>
                    </a:lnTo>
                    <a:lnTo>
                      <a:pt x="71" y="269"/>
                    </a:lnTo>
                    <a:lnTo>
                      <a:pt x="74" y="267"/>
                    </a:lnTo>
                    <a:lnTo>
                      <a:pt x="74" y="267"/>
                    </a:lnTo>
                    <a:lnTo>
                      <a:pt x="79" y="267"/>
                    </a:lnTo>
                    <a:lnTo>
                      <a:pt x="98" y="264"/>
                    </a:lnTo>
                    <a:lnTo>
                      <a:pt x="101" y="264"/>
                    </a:lnTo>
                    <a:lnTo>
                      <a:pt x="103" y="266"/>
                    </a:lnTo>
                    <a:lnTo>
                      <a:pt x="103" y="262"/>
                    </a:lnTo>
                    <a:lnTo>
                      <a:pt x="101" y="261"/>
                    </a:lnTo>
                    <a:lnTo>
                      <a:pt x="103" y="259"/>
                    </a:lnTo>
                    <a:lnTo>
                      <a:pt x="109" y="256"/>
                    </a:lnTo>
                    <a:lnTo>
                      <a:pt x="116" y="256"/>
                    </a:lnTo>
                    <a:lnTo>
                      <a:pt x="121" y="256"/>
                    </a:lnTo>
                    <a:lnTo>
                      <a:pt x="124" y="256"/>
                    </a:lnTo>
                    <a:lnTo>
                      <a:pt x="129" y="257"/>
                    </a:lnTo>
                    <a:lnTo>
                      <a:pt x="132" y="254"/>
                    </a:lnTo>
                    <a:lnTo>
                      <a:pt x="137" y="254"/>
                    </a:lnTo>
                    <a:lnTo>
                      <a:pt x="144" y="256"/>
                    </a:lnTo>
                    <a:lnTo>
                      <a:pt x="146" y="257"/>
                    </a:lnTo>
                    <a:lnTo>
                      <a:pt x="149" y="257"/>
                    </a:lnTo>
                    <a:lnTo>
                      <a:pt x="152" y="259"/>
                    </a:lnTo>
                    <a:lnTo>
                      <a:pt x="157" y="262"/>
                    </a:lnTo>
                    <a:lnTo>
                      <a:pt x="161" y="262"/>
                    </a:lnTo>
                    <a:lnTo>
                      <a:pt x="164" y="261"/>
                    </a:lnTo>
                    <a:lnTo>
                      <a:pt x="164" y="259"/>
                    </a:lnTo>
                    <a:lnTo>
                      <a:pt x="167" y="256"/>
                    </a:lnTo>
                    <a:lnTo>
                      <a:pt x="171" y="251"/>
                    </a:lnTo>
                    <a:lnTo>
                      <a:pt x="174" y="246"/>
                    </a:lnTo>
                    <a:lnTo>
                      <a:pt x="181" y="244"/>
                    </a:lnTo>
                    <a:lnTo>
                      <a:pt x="182" y="242"/>
                    </a:lnTo>
                    <a:lnTo>
                      <a:pt x="186" y="236"/>
                    </a:lnTo>
                    <a:lnTo>
                      <a:pt x="191" y="234"/>
                    </a:lnTo>
                    <a:lnTo>
                      <a:pt x="192" y="231"/>
                    </a:lnTo>
                    <a:lnTo>
                      <a:pt x="189" y="229"/>
                    </a:lnTo>
                    <a:lnTo>
                      <a:pt x="187" y="226"/>
                    </a:lnTo>
                    <a:lnTo>
                      <a:pt x="192" y="221"/>
                    </a:lnTo>
                    <a:lnTo>
                      <a:pt x="196" y="221"/>
                    </a:lnTo>
                    <a:lnTo>
                      <a:pt x="202" y="221"/>
                    </a:lnTo>
                    <a:lnTo>
                      <a:pt x="207" y="217"/>
                    </a:lnTo>
                    <a:lnTo>
                      <a:pt x="209" y="216"/>
                    </a:lnTo>
                    <a:lnTo>
                      <a:pt x="207" y="214"/>
                    </a:lnTo>
                    <a:lnTo>
                      <a:pt x="202" y="214"/>
                    </a:lnTo>
                    <a:lnTo>
                      <a:pt x="197" y="211"/>
                    </a:lnTo>
                    <a:lnTo>
                      <a:pt x="197" y="209"/>
                    </a:lnTo>
                    <a:lnTo>
                      <a:pt x="197" y="207"/>
                    </a:lnTo>
                    <a:lnTo>
                      <a:pt x="202" y="206"/>
                    </a:lnTo>
                    <a:lnTo>
                      <a:pt x="209" y="207"/>
                    </a:lnTo>
                    <a:lnTo>
                      <a:pt x="214" y="204"/>
                    </a:lnTo>
                    <a:lnTo>
                      <a:pt x="219" y="202"/>
                    </a:lnTo>
                    <a:lnTo>
                      <a:pt x="219" y="199"/>
                    </a:lnTo>
                    <a:lnTo>
                      <a:pt x="219" y="199"/>
                    </a:lnTo>
                    <a:lnTo>
                      <a:pt x="219" y="194"/>
                    </a:lnTo>
                    <a:lnTo>
                      <a:pt x="217" y="194"/>
                    </a:lnTo>
                    <a:lnTo>
                      <a:pt x="214" y="197"/>
                    </a:lnTo>
                    <a:lnTo>
                      <a:pt x="214" y="201"/>
                    </a:lnTo>
                    <a:lnTo>
                      <a:pt x="211" y="202"/>
                    </a:lnTo>
                    <a:lnTo>
                      <a:pt x="204" y="202"/>
                    </a:lnTo>
                    <a:lnTo>
                      <a:pt x="201" y="201"/>
                    </a:lnTo>
                    <a:lnTo>
                      <a:pt x="197" y="201"/>
                    </a:lnTo>
                    <a:lnTo>
                      <a:pt x="194" y="204"/>
                    </a:lnTo>
                    <a:lnTo>
                      <a:pt x="189" y="204"/>
                    </a:lnTo>
                    <a:lnTo>
                      <a:pt x="187" y="202"/>
                    </a:lnTo>
                    <a:lnTo>
                      <a:pt x="184" y="199"/>
                    </a:lnTo>
                    <a:lnTo>
                      <a:pt x="181" y="199"/>
                    </a:lnTo>
                    <a:lnTo>
                      <a:pt x="179" y="202"/>
                    </a:lnTo>
                    <a:lnTo>
                      <a:pt x="176" y="202"/>
                    </a:lnTo>
                    <a:lnTo>
                      <a:pt x="174" y="199"/>
                    </a:lnTo>
                    <a:lnTo>
                      <a:pt x="171" y="201"/>
                    </a:lnTo>
                    <a:lnTo>
                      <a:pt x="169" y="199"/>
                    </a:lnTo>
                    <a:lnTo>
                      <a:pt x="169" y="197"/>
                    </a:lnTo>
                    <a:lnTo>
                      <a:pt x="169" y="194"/>
                    </a:lnTo>
                    <a:lnTo>
                      <a:pt x="167" y="194"/>
                    </a:lnTo>
                    <a:lnTo>
                      <a:pt x="167" y="192"/>
                    </a:lnTo>
                    <a:lnTo>
                      <a:pt x="167" y="189"/>
                    </a:lnTo>
                    <a:lnTo>
                      <a:pt x="171" y="187"/>
                    </a:lnTo>
                    <a:lnTo>
                      <a:pt x="174" y="184"/>
                    </a:lnTo>
                    <a:lnTo>
                      <a:pt x="176" y="182"/>
                    </a:lnTo>
                    <a:lnTo>
                      <a:pt x="179" y="181"/>
                    </a:lnTo>
                    <a:lnTo>
                      <a:pt x="179" y="179"/>
                    </a:lnTo>
                    <a:lnTo>
                      <a:pt x="177" y="178"/>
                    </a:lnTo>
                    <a:lnTo>
                      <a:pt x="177" y="174"/>
                    </a:lnTo>
                    <a:lnTo>
                      <a:pt x="179" y="173"/>
                    </a:lnTo>
                    <a:lnTo>
                      <a:pt x="182" y="173"/>
                    </a:lnTo>
                    <a:lnTo>
                      <a:pt x="186" y="171"/>
                    </a:lnTo>
                    <a:lnTo>
                      <a:pt x="189" y="169"/>
                    </a:lnTo>
                    <a:lnTo>
                      <a:pt x="189" y="166"/>
                    </a:lnTo>
                    <a:lnTo>
                      <a:pt x="196" y="164"/>
                    </a:lnTo>
                    <a:lnTo>
                      <a:pt x="199" y="161"/>
                    </a:lnTo>
                    <a:lnTo>
                      <a:pt x="202" y="159"/>
                    </a:lnTo>
                    <a:lnTo>
                      <a:pt x="209" y="159"/>
                    </a:lnTo>
                    <a:lnTo>
                      <a:pt x="212" y="159"/>
                    </a:lnTo>
                    <a:lnTo>
                      <a:pt x="211" y="158"/>
                    </a:lnTo>
                    <a:lnTo>
                      <a:pt x="209" y="158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15" y="154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24" y="149"/>
                    </a:lnTo>
                    <a:lnTo>
                      <a:pt x="224" y="148"/>
                    </a:lnTo>
                    <a:lnTo>
                      <a:pt x="225" y="144"/>
                    </a:lnTo>
                    <a:lnTo>
                      <a:pt x="230" y="141"/>
                    </a:lnTo>
                    <a:lnTo>
                      <a:pt x="234" y="139"/>
                    </a:lnTo>
                    <a:lnTo>
                      <a:pt x="237" y="136"/>
                    </a:lnTo>
                    <a:lnTo>
                      <a:pt x="240" y="136"/>
                    </a:lnTo>
                    <a:lnTo>
                      <a:pt x="242" y="134"/>
                    </a:lnTo>
                    <a:lnTo>
                      <a:pt x="244" y="136"/>
                    </a:lnTo>
                    <a:lnTo>
                      <a:pt x="245" y="141"/>
                    </a:lnTo>
                    <a:lnTo>
                      <a:pt x="245" y="148"/>
                    </a:lnTo>
                    <a:lnTo>
                      <a:pt x="245" y="151"/>
                    </a:lnTo>
                    <a:lnTo>
                      <a:pt x="245" y="158"/>
                    </a:lnTo>
                    <a:lnTo>
                      <a:pt x="245" y="166"/>
                    </a:lnTo>
                    <a:lnTo>
                      <a:pt x="247" y="166"/>
                    </a:lnTo>
                    <a:lnTo>
                      <a:pt x="249" y="163"/>
                    </a:lnTo>
                    <a:lnTo>
                      <a:pt x="250" y="156"/>
                    </a:lnTo>
                    <a:lnTo>
                      <a:pt x="249" y="149"/>
                    </a:lnTo>
                    <a:lnTo>
                      <a:pt x="247" y="146"/>
                    </a:lnTo>
                    <a:lnTo>
                      <a:pt x="249" y="143"/>
                    </a:lnTo>
                    <a:lnTo>
                      <a:pt x="249" y="138"/>
                    </a:lnTo>
                    <a:lnTo>
                      <a:pt x="250" y="136"/>
                    </a:lnTo>
                    <a:lnTo>
                      <a:pt x="254" y="136"/>
                    </a:lnTo>
                    <a:lnTo>
                      <a:pt x="255" y="134"/>
                    </a:lnTo>
                    <a:lnTo>
                      <a:pt x="257" y="133"/>
                    </a:lnTo>
                    <a:lnTo>
                      <a:pt x="259" y="133"/>
                    </a:lnTo>
                    <a:lnTo>
                      <a:pt x="259" y="134"/>
                    </a:lnTo>
                    <a:lnTo>
                      <a:pt x="260" y="136"/>
                    </a:lnTo>
                    <a:lnTo>
                      <a:pt x="264" y="136"/>
                    </a:lnTo>
                    <a:lnTo>
                      <a:pt x="265" y="138"/>
                    </a:lnTo>
                    <a:lnTo>
                      <a:pt x="264" y="141"/>
                    </a:lnTo>
                    <a:lnTo>
                      <a:pt x="265" y="143"/>
                    </a:lnTo>
                    <a:lnTo>
                      <a:pt x="269" y="144"/>
                    </a:lnTo>
                    <a:lnTo>
                      <a:pt x="277" y="144"/>
                    </a:lnTo>
                    <a:lnTo>
                      <a:pt x="277" y="143"/>
                    </a:lnTo>
                    <a:lnTo>
                      <a:pt x="282" y="143"/>
                    </a:lnTo>
                    <a:lnTo>
                      <a:pt x="282" y="141"/>
                    </a:lnTo>
                    <a:lnTo>
                      <a:pt x="280" y="138"/>
                    </a:lnTo>
                    <a:lnTo>
                      <a:pt x="282" y="136"/>
                    </a:lnTo>
                    <a:lnTo>
                      <a:pt x="284" y="134"/>
                    </a:lnTo>
                    <a:lnTo>
                      <a:pt x="285" y="129"/>
                    </a:lnTo>
                    <a:lnTo>
                      <a:pt x="287" y="129"/>
                    </a:lnTo>
                    <a:lnTo>
                      <a:pt x="290" y="128"/>
                    </a:lnTo>
                    <a:lnTo>
                      <a:pt x="297" y="124"/>
                    </a:lnTo>
                    <a:lnTo>
                      <a:pt x="300" y="121"/>
                    </a:lnTo>
                    <a:lnTo>
                      <a:pt x="299" y="116"/>
                    </a:lnTo>
                    <a:lnTo>
                      <a:pt x="297" y="116"/>
                    </a:lnTo>
                    <a:lnTo>
                      <a:pt x="295" y="116"/>
                    </a:lnTo>
                    <a:lnTo>
                      <a:pt x="295" y="113"/>
                    </a:lnTo>
                    <a:lnTo>
                      <a:pt x="295" y="111"/>
                    </a:lnTo>
                    <a:lnTo>
                      <a:pt x="299" y="108"/>
                    </a:lnTo>
                    <a:lnTo>
                      <a:pt x="299" y="103"/>
                    </a:lnTo>
                    <a:lnTo>
                      <a:pt x="299" y="99"/>
                    </a:lnTo>
                    <a:lnTo>
                      <a:pt x="300" y="94"/>
                    </a:lnTo>
                    <a:lnTo>
                      <a:pt x="304" y="91"/>
                    </a:lnTo>
                    <a:lnTo>
                      <a:pt x="310" y="91"/>
                    </a:lnTo>
                    <a:lnTo>
                      <a:pt x="315" y="88"/>
                    </a:lnTo>
                    <a:lnTo>
                      <a:pt x="322" y="86"/>
                    </a:lnTo>
                    <a:lnTo>
                      <a:pt x="323" y="88"/>
                    </a:lnTo>
                    <a:lnTo>
                      <a:pt x="323" y="89"/>
                    </a:lnTo>
                    <a:lnTo>
                      <a:pt x="323" y="93"/>
                    </a:lnTo>
                    <a:lnTo>
                      <a:pt x="328" y="99"/>
                    </a:lnTo>
                    <a:lnTo>
                      <a:pt x="328" y="103"/>
                    </a:lnTo>
                    <a:lnTo>
                      <a:pt x="327" y="111"/>
                    </a:lnTo>
                    <a:lnTo>
                      <a:pt x="327" y="119"/>
                    </a:lnTo>
                    <a:lnTo>
                      <a:pt x="330" y="121"/>
                    </a:lnTo>
                    <a:lnTo>
                      <a:pt x="335" y="126"/>
                    </a:lnTo>
                    <a:lnTo>
                      <a:pt x="338" y="129"/>
                    </a:lnTo>
                    <a:lnTo>
                      <a:pt x="340" y="131"/>
                    </a:lnTo>
                    <a:lnTo>
                      <a:pt x="342" y="129"/>
                    </a:lnTo>
                    <a:lnTo>
                      <a:pt x="340" y="123"/>
                    </a:lnTo>
                    <a:lnTo>
                      <a:pt x="340" y="118"/>
                    </a:lnTo>
                    <a:lnTo>
                      <a:pt x="335" y="111"/>
                    </a:lnTo>
                    <a:lnTo>
                      <a:pt x="333" y="104"/>
                    </a:lnTo>
                    <a:lnTo>
                      <a:pt x="337" y="99"/>
                    </a:lnTo>
                    <a:lnTo>
                      <a:pt x="337" y="96"/>
                    </a:lnTo>
                    <a:lnTo>
                      <a:pt x="335" y="94"/>
                    </a:lnTo>
                    <a:lnTo>
                      <a:pt x="333" y="89"/>
                    </a:lnTo>
                    <a:lnTo>
                      <a:pt x="333" y="86"/>
                    </a:lnTo>
                    <a:lnTo>
                      <a:pt x="332" y="83"/>
                    </a:lnTo>
                    <a:lnTo>
                      <a:pt x="333" y="81"/>
                    </a:lnTo>
                    <a:lnTo>
                      <a:pt x="337" y="78"/>
                    </a:lnTo>
                    <a:lnTo>
                      <a:pt x="342" y="78"/>
                    </a:lnTo>
                    <a:lnTo>
                      <a:pt x="345" y="80"/>
                    </a:lnTo>
                    <a:lnTo>
                      <a:pt x="348" y="78"/>
                    </a:lnTo>
                    <a:lnTo>
                      <a:pt x="352" y="78"/>
                    </a:lnTo>
                    <a:lnTo>
                      <a:pt x="358" y="80"/>
                    </a:lnTo>
                    <a:lnTo>
                      <a:pt x="368" y="78"/>
                    </a:lnTo>
                    <a:lnTo>
                      <a:pt x="377" y="76"/>
                    </a:lnTo>
                    <a:lnTo>
                      <a:pt x="387" y="75"/>
                    </a:lnTo>
                    <a:lnTo>
                      <a:pt x="388" y="78"/>
                    </a:lnTo>
                    <a:lnTo>
                      <a:pt x="390" y="81"/>
                    </a:lnTo>
                    <a:lnTo>
                      <a:pt x="390" y="84"/>
                    </a:lnTo>
                    <a:lnTo>
                      <a:pt x="390" y="86"/>
                    </a:lnTo>
                    <a:lnTo>
                      <a:pt x="393" y="86"/>
                    </a:lnTo>
                    <a:lnTo>
                      <a:pt x="397" y="83"/>
                    </a:lnTo>
                    <a:lnTo>
                      <a:pt x="393" y="80"/>
                    </a:lnTo>
                    <a:lnTo>
                      <a:pt x="393" y="76"/>
                    </a:lnTo>
                    <a:lnTo>
                      <a:pt x="400" y="71"/>
                    </a:lnTo>
                    <a:lnTo>
                      <a:pt x="405" y="73"/>
                    </a:lnTo>
                    <a:lnTo>
                      <a:pt x="407" y="76"/>
                    </a:lnTo>
                    <a:lnTo>
                      <a:pt x="408" y="81"/>
                    </a:lnTo>
                    <a:lnTo>
                      <a:pt x="410" y="83"/>
                    </a:lnTo>
                    <a:lnTo>
                      <a:pt x="412" y="80"/>
                    </a:lnTo>
                    <a:lnTo>
                      <a:pt x="412" y="73"/>
                    </a:lnTo>
                    <a:lnTo>
                      <a:pt x="408" y="71"/>
                    </a:lnTo>
                    <a:lnTo>
                      <a:pt x="407" y="68"/>
                    </a:lnTo>
                    <a:lnTo>
                      <a:pt x="408" y="66"/>
                    </a:lnTo>
                    <a:lnTo>
                      <a:pt x="413" y="68"/>
                    </a:lnTo>
                    <a:lnTo>
                      <a:pt x="416" y="70"/>
                    </a:lnTo>
                    <a:lnTo>
                      <a:pt x="421" y="66"/>
                    </a:lnTo>
                    <a:lnTo>
                      <a:pt x="425" y="65"/>
                    </a:lnTo>
                    <a:lnTo>
                      <a:pt x="431" y="66"/>
                    </a:lnTo>
                    <a:lnTo>
                      <a:pt x="433" y="70"/>
                    </a:lnTo>
                    <a:lnTo>
                      <a:pt x="433" y="80"/>
                    </a:lnTo>
                    <a:lnTo>
                      <a:pt x="430" y="84"/>
                    </a:lnTo>
                    <a:lnTo>
                      <a:pt x="430" y="89"/>
                    </a:lnTo>
                    <a:lnTo>
                      <a:pt x="426" y="96"/>
                    </a:lnTo>
                    <a:lnTo>
                      <a:pt x="425" y="99"/>
                    </a:lnTo>
                    <a:lnTo>
                      <a:pt x="425" y="103"/>
                    </a:lnTo>
                    <a:lnTo>
                      <a:pt x="423" y="106"/>
                    </a:lnTo>
                    <a:lnTo>
                      <a:pt x="420" y="106"/>
                    </a:lnTo>
                    <a:lnTo>
                      <a:pt x="420" y="109"/>
                    </a:lnTo>
                    <a:lnTo>
                      <a:pt x="421" y="111"/>
                    </a:lnTo>
                    <a:lnTo>
                      <a:pt x="421" y="113"/>
                    </a:lnTo>
                    <a:lnTo>
                      <a:pt x="421" y="116"/>
                    </a:lnTo>
                    <a:lnTo>
                      <a:pt x="416" y="119"/>
                    </a:lnTo>
                    <a:lnTo>
                      <a:pt x="415" y="124"/>
                    </a:lnTo>
                    <a:lnTo>
                      <a:pt x="410" y="128"/>
                    </a:lnTo>
                    <a:lnTo>
                      <a:pt x="408" y="129"/>
                    </a:lnTo>
                    <a:lnTo>
                      <a:pt x="408" y="134"/>
                    </a:lnTo>
                    <a:lnTo>
                      <a:pt x="405" y="138"/>
                    </a:lnTo>
                    <a:lnTo>
                      <a:pt x="403" y="143"/>
                    </a:lnTo>
                    <a:lnTo>
                      <a:pt x="405" y="143"/>
                    </a:lnTo>
                    <a:lnTo>
                      <a:pt x="408" y="143"/>
                    </a:lnTo>
                    <a:lnTo>
                      <a:pt x="412" y="138"/>
                    </a:lnTo>
                    <a:lnTo>
                      <a:pt x="413" y="136"/>
                    </a:lnTo>
                    <a:lnTo>
                      <a:pt x="413" y="134"/>
                    </a:lnTo>
                    <a:lnTo>
                      <a:pt x="416" y="131"/>
                    </a:lnTo>
                    <a:lnTo>
                      <a:pt x="421" y="124"/>
                    </a:lnTo>
                    <a:lnTo>
                      <a:pt x="423" y="121"/>
                    </a:lnTo>
                    <a:lnTo>
                      <a:pt x="426" y="119"/>
                    </a:lnTo>
                    <a:lnTo>
                      <a:pt x="428" y="118"/>
                    </a:lnTo>
                    <a:lnTo>
                      <a:pt x="430" y="114"/>
                    </a:lnTo>
                    <a:lnTo>
                      <a:pt x="430" y="113"/>
                    </a:lnTo>
                    <a:lnTo>
                      <a:pt x="433" y="111"/>
                    </a:lnTo>
                    <a:lnTo>
                      <a:pt x="435" y="106"/>
                    </a:lnTo>
                    <a:lnTo>
                      <a:pt x="438" y="104"/>
                    </a:lnTo>
                    <a:lnTo>
                      <a:pt x="440" y="106"/>
                    </a:lnTo>
                    <a:lnTo>
                      <a:pt x="438" y="109"/>
                    </a:lnTo>
                    <a:lnTo>
                      <a:pt x="441" y="113"/>
                    </a:lnTo>
                    <a:lnTo>
                      <a:pt x="443" y="116"/>
                    </a:lnTo>
                    <a:lnTo>
                      <a:pt x="445" y="121"/>
                    </a:lnTo>
                    <a:lnTo>
                      <a:pt x="448" y="126"/>
                    </a:lnTo>
                    <a:lnTo>
                      <a:pt x="448" y="131"/>
                    </a:lnTo>
                    <a:lnTo>
                      <a:pt x="451" y="133"/>
                    </a:lnTo>
                    <a:lnTo>
                      <a:pt x="455" y="134"/>
                    </a:lnTo>
                    <a:lnTo>
                      <a:pt x="455" y="134"/>
                    </a:lnTo>
                    <a:lnTo>
                      <a:pt x="458" y="134"/>
                    </a:lnTo>
                    <a:lnTo>
                      <a:pt x="458" y="133"/>
                    </a:lnTo>
                    <a:lnTo>
                      <a:pt x="460" y="131"/>
                    </a:lnTo>
                    <a:lnTo>
                      <a:pt x="460" y="129"/>
                    </a:lnTo>
                    <a:lnTo>
                      <a:pt x="456" y="126"/>
                    </a:lnTo>
                    <a:lnTo>
                      <a:pt x="455" y="124"/>
                    </a:lnTo>
                    <a:lnTo>
                      <a:pt x="456" y="123"/>
                    </a:lnTo>
                    <a:lnTo>
                      <a:pt x="458" y="123"/>
                    </a:lnTo>
                    <a:lnTo>
                      <a:pt x="461" y="126"/>
                    </a:lnTo>
                    <a:lnTo>
                      <a:pt x="466" y="126"/>
                    </a:lnTo>
                    <a:lnTo>
                      <a:pt x="470" y="128"/>
                    </a:lnTo>
                    <a:lnTo>
                      <a:pt x="470" y="129"/>
                    </a:lnTo>
                    <a:lnTo>
                      <a:pt x="473" y="129"/>
                    </a:lnTo>
                    <a:lnTo>
                      <a:pt x="475" y="128"/>
                    </a:lnTo>
                    <a:lnTo>
                      <a:pt x="476" y="128"/>
                    </a:lnTo>
                    <a:lnTo>
                      <a:pt x="478" y="129"/>
                    </a:lnTo>
                    <a:lnTo>
                      <a:pt x="481" y="129"/>
                    </a:lnTo>
                    <a:lnTo>
                      <a:pt x="480" y="121"/>
                    </a:lnTo>
                    <a:lnTo>
                      <a:pt x="480" y="118"/>
                    </a:lnTo>
                    <a:lnTo>
                      <a:pt x="481" y="111"/>
                    </a:lnTo>
                    <a:lnTo>
                      <a:pt x="481" y="106"/>
                    </a:lnTo>
                    <a:lnTo>
                      <a:pt x="480" y="103"/>
                    </a:lnTo>
                    <a:lnTo>
                      <a:pt x="478" y="98"/>
                    </a:lnTo>
                    <a:lnTo>
                      <a:pt x="478" y="93"/>
                    </a:lnTo>
                    <a:lnTo>
                      <a:pt x="483" y="84"/>
                    </a:lnTo>
                    <a:lnTo>
                      <a:pt x="483" y="83"/>
                    </a:lnTo>
                    <a:lnTo>
                      <a:pt x="481" y="80"/>
                    </a:lnTo>
                    <a:lnTo>
                      <a:pt x="483" y="78"/>
                    </a:lnTo>
                    <a:lnTo>
                      <a:pt x="483" y="71"/>
                    </a:lnTo>
                    <a:lnTo>
                      <a:pt x="486" y="70"/>
                    </a:lnTo>
                    <a:lnTo>
                      <a:pt x="490" y="70"/>
                    </a:lnTo>
                    <a:lnTo>
                      <a:pt x="493" y="71"/>
                    </a:lnTo>
                    <a:lnTo>
                      <a:pt x="496" y="71"/>
                    </a:lnTo>
                    <a:lnTo>
                      <a:pt x="500" y="73"/>
                    </a:lnTo>
                    <a:lnTo>
                      <a:pt x="501" y="75"/>
                    </a:lnTo>
                    <a:lnTo>
                      <a:pt x="505" y="78"/>
                    </a:lnTo>
                    <a:lnTo>
                      <a:pt x="506" y="81"/>
                    </a:lnTo>
                    <a:lnTo>
                      <a:pt x="511" y="89"/>
                    </a:lnTo>
                    <a:lnTo>
                      <a:pt x="511" y="93"/>
                    </a:lnTo>
                    <a:lnTo>
                      <a:pt x="514" y="99"/>
                    </a:lnTo>
                    <a:lnTo>
                      <a:pt x="518" y="104"/>
                    </a:lnTo>
                    <a:lnTo>
                      <a:pt x="519" y="114"/>
                    </a:lnTo>
                    <a:lnTo>
                      <a:pt x="518" y="118"/>
                    </a:lnTo>
                    <a:lnTo>
                      <a:pt x="516" y="119"/>
                    </a:lnTo>
                    <a:lnTo>
                      <a:pt x="516" y="123"/>
                    </a:lnTo>
                    <a:lnTo>
                      <a:pt x="516" y="128"/>
                    </a:lnTo>
                    <a:lnTo>
                      <a:pt x="519" y="129"/>
                    </a:lnTo>
                    <a:lnTo>
                      <a:pt x="521" y="136"/>
                    </a:lnTo>
                    <a:lnTo>
                      <a:pt x="521" y="141"/>
                    </a:lnTo>
                    <a:lnTo>
                      <a:pt x="521" y="146"/>
                    </a:lnTo>
                    <a:lnTo>
                      <a:pt x="523" y="149"/>
                    </a:lnTo>
                    <a:lnTo>
                      <a:pt x="528" y="149"/>
                    </a:lnTo>
                    <a:lnTo>
                      <a:pt x="533" y="153"/>
                    </a:lnTo>
                    <a:lnTo>
                      <a:pt x="536" y="153"/>
                    </a:lnTo>
                    <a:lnTo>
                      <a:pt x="541" y="151"/>
                    </a:lnTo>
                    <a:lnTo>
                      <a:pt x="544" y="144"/>
                    </a:lnTo>
                    <a:lnTo>
                      <a:pt x="548" y="143"/>
                    </a:lnTo>
                    <a:lnTo>
                      <a:pt x="548" y="144"/>
                    </a:lnTo>
                    <a:lnTo>
                      <a:pt x="548" y="148"/>
                    </a:lnTo>
                    <a:lnTo>
                      <a:pt x="549" y="149"/>
                    </a:lnTo>
                    <a:lnTo>
                      <a:pt x="551" y="149"/>
                    </a:lnTo>
                    <a:lnTo>
                      <a:pt x="554" y="148"/>
                    </a:lnTo>
                    <a:lnTo>
                      <a:pt x="556" y="149"/>
                    </a:lnTo>
                    <a:lnTo>
                      <a:pt x="558" y="153"/>
                    </a:lnTo>
                    <a:lnTo>
                      <a:pt x="558" y="154"/>
                    </a:lnTo>
                    <a:lnTo>
                      <a:pt x="559" y="158"/>
                    </a:lnTo>
                    <a:lnTo>
                      <a:pt x="563" y="158"/>
                    </a:lnTo>
                    <a:lnTo>
                      <a:pt x="566" y="158"/>
                    </a:lnTo>
                    <a:lnTo>
                      <a:pt x="571" y="158"/>
                    </a:lnTo>
                    <a:lnTo>
                      <a:pt x="571" y="156"/>
                    </a:lnTo>
                    <a:lnTo>
                      <a:pt x="569" y="156"/>
                    </a:lnTo>
                    <a:lnTo>
                      <a:pt x="566" y="153"/>
                    </a:lnTo>
                    <a:lnTo>
                      <a:pt x="564" y="151"/>
                    </a:lnTo>
                    <a:lnTo>
                      <a:pt x="564" y="148"/>
                    </a:lnTo>
                    <a:lnTo>
                      <a:pt x="561" y="148"/>
                    </a:lnTo>
                    <a:lnTo>
                      <a:pt x="559" y="146"/>
                    </a:lnTo>
                    <a:lnTo>
                      <a:pt x="559" y="143"/>
                    </a:lnTo>
                    <a:lnTo>
                      <a:pt x="558" y="139"/>
                    </a:lnTo>
                    <a:lnTo>
                      <a:pt x="553" y="134"/>
                    </a:lnTo>
                    <a:lnTo>
                      <a:pt x="553" y="133"/>
                    </a:lnTo>
                    <a:lnTo>
                      <a:pt x="551" y="128"/>
                    </a:lnTo>
                    <a:lnTo>
                      <a:pt x="548" y="123"/>
                    </a:lnTo>
                    <a:lnTo>
                      <a:pt x="548" y="121"/>
                    </a:lnTo>
                    <a:lnTo>
                      <a:pt x="549" y="114"/>
                    </a:lnTo>
                    <a:lnTo>
                      <a:pt x="548" y="111"/>
                    </a:lnTo>
                    <a:lnTo>
                      <a:pt x="544" y="106"/>
                    </a:lnTo>
                    <a:lnTo>
                      <a:pt x="544" y="101"/>
                    </a:lnTo>
                    <a:lnTo>
                      <a:pt x="546" y="99"/>
                    </a:lnTo>
                    <a:lnTo>
                      <a:pt x="544" y="94"/>
                    </a:lnTo>
                    <a:lnTo>
                      <a:pt x="543" y="93"/>
                    </a:lnTo>
                    <a:lnTo>
                      <a:pt x="543" y="88"/>
                    </a:lnTo>
                    <a:lnTo>
                      <a:pt x="541" y="81"/>
                    </a:lnTo>
                    <a:lnTo>
                      <a:pt x="538" y="78"/>
                    </a:lnTo>
                    <a:lnTo>
                      <a:pt x="541" y="75"/>
                    </a:lnTo>
                    <a:lnTo>
                      <a:pt x="538" y="70"/>
                    </a:lnTo>
                    <a:lnTo>
                      <a:pt x="538" y="66"/>
                    </a:lnTo>
                    <a:lnTo>
                      <a:pt x="539" y="63"/>
                    </a:lnTo>
                    <a:lnTo>
                      <a:pt x="548" y="65"/>
                    </a:lnTo>
                    <a:lnTo>
                      <a:pt x="549" y="68"/>
                    </a:lnTo>
                    <a:lnTo>
                      <a:pt x="551" y="68"/>
                    </a:lnTo>
                    <a:lnTo>
                      <a:pt x="553" y="66"/>
                    </a:lnTo>
                    <a:lnTo>
                      <a:pt x="556" y="66"/>
                    </a:lnTo>
                    <a:lnTo>
                      <a:pt x="563" y="73"/>
                    </a:lnTo>
                    <a:lnTo>
                      <a:pt x="569" y="76"/>
                    </a:lnTo>
                    <a:lnTo>
                      <a:pt x="573" y="75"/>
                    </a:lnTo>
                    <a:lnTo>
                      <a:pt x="573" y="70"/>
                    </a:lnTo>
                    <a:lnTo>
                      <a:pt x="571" y="68"/>
                    </a:lnTo>
                    <a:lnTo>
                      <a:pt x="573" y="61"/>
                    </a:lnTo>
                    <a:lnTo>
                      <a:pt x="576" y="61"/>
                    </a:lnTo>
                    <a:lnTo>
                      <a:pt x="579" y="63"/>
                    </a:lnTo>
                    <a:lnTo>
                      <a:pt x="584" y="63"/>
                    </a:lnTo>
                    <a:lnTo>
                      <a:pt x="589" y="60"/>
                    </a:lnTo>
                    <a:lnTo>
                      <a:pt x="593" y="61"/>
                    </a:lnTo>
                    <a:lnTo>
                      <a:pt x="596" y="63"/>
                    </a:lnTo>
                    <a:lnTo>
                      <a:pt x="601" y="65"/>
                    </a:lnTo>
                    <a:lnTo>
                      <a:pt x="603" y="66"/>
                    </a:lnTo>
                    <a:lnTo>
                      <a:pt x="604" y="73"/>
                    </a:lnTo>
                    <a:lnTo>
                      <a:pt x="604" y="75"/>
                    </a:lnTo>
                    <a:lnTo>
                      <a:pt x="609" y="80"/>
                    </a:lnTo>
                    <a:lnTo>
                      <a:pt x="609" y="83"/>
                    </a:lnTo>
                    <a:lnTo>
                      <a:pt x="608" y="86"/>
                    </a:lnTo>
                    <a:lnTo>
                      <a:pt x="611" y="94"/>
                    </a:lnTo>
                    <a:lnTo>
                      <a:pt x="611" y="99"/>
                    </a:lnTo>
                    <a:lnTo>
                      <a:pt x="611" y="103"/>
                    </a:lnTo>
                    <a:lnTo>
                      <a:pt x="616" y="104"/>
                    </a:lnTo>
                    <a:lnTo>
                      <a:pt x="621" y="104"/>
                    </a:lnTo>
                    <a:lnTo>
                      <a:pt x="627" y="108"/>
                    </a:lnTo>
                    <a:lnTo>
                      <a:pt x="632" y="111"/>
                    </a:lnTo>
                    <a:lnTo>
                      <a:pt x="632" y="108"/>
                    </a:lnTo>
                    <a:lnTo>
                      <a:pt x="632" y="106"/>
                    </a:lnTo>
                    <a:lnTo>
                      <a:pt x="627" y="104"/>
                    </a:lnTo>
                    <a:lnTo>
                      <a:pt x="624" y="101"/>
                    </a:lnTo>
                    <a:lnTo>
                      <a:pt x="621" y="101"/>
                    </a:lnTo>
                    <a:lnTo>
                      <a:pt x="616" y="98"/>
                    </a:lnTo>
                    <a:lnTo>
                      <a:pt x="614" y="96"/>
                    </a:lnTo>
                    <a:lnTo>
                      <a:pt x="616" y="91"/>
                    </a:lnTo>
                    <a:lnTo>
                      <a:pt x="612" y="86"/>
                    </a:lnTo>
                    <a:lnTo>
                      <a:pt x="612" y="83"/>
                    </a:lnTo>
                    <a:lnTo>
                      <a:pt x="614" y="78"/>
                    </a:lnTo>
                    <a:lnTo>
                      <a:pt x="614" y="73"/>
                    </a:lnTo>
                    <a:lnTo>
                      <a:pt x="614" y="70"/>
                    </a:lnTo>
                    <a:lnTo>
                      <a:pt x="614" y="68"/>
                    </a:lnTo>
                    <a:lnTo>
                      <a:pt x="612" y="65"/>
                    </a:lnTo>
                    <a:lnTo>
                      <a:pt x="609" y="63"/>
                    </a:lnTo>
                    <a:lnTo>
                      <a:pt x="604" y="56"/>
                    </a:lnTo>
                    <a:lnTo>
                      <a:pt x="601" y="56"/>
                    </a:lnTo>
                    <a:lnTo>
                      <a:pt x="596" y="56"/>
                    </a:lnTo>
                    <a:lnTo>
                      <a:pt x="593" y="58"/>
                    </a:lnTo>
                    <a:lnTo>
                      <a:pt x="589" y="58"/>
                    </a:lnTo>
                    <a:lnTo>
                      <a:pt x="584" y="56"/>
                    </a:lnTo>
                    <a:lnTo>
                      <a:pt x="584" y="51"/>
                    </a:lnTo>
                    <a:lnTo>
                      <a:pt x="586" y="46"/>
                    </a:lnTo>
                    <a:lnTo>
                      <a:pt x="591" y="46"/>
                    </a:lnTo>
                    <a:lnTo>
                      <a:pt x="591" y="43"/>
                    </a:lnTo>
                    <a:lnTo>
                      <a:pt x="584" y="40"/>
                    </a:lnTo>
                    <a:lnTo>
                      <a:pt x="583" y="35"/>
                    </a:lnTo>
                    <a:lnTo>
                      <a:pt x="584" y="31"/>
                    </a:lnTo>
                    <a:lnTo>
                      <a:pt x="584" y="28"/>
                    </a:lnTo>
                    <a:lnTo>
                      <a:pt x="588" y="28"/>
                    </a:lnTo>
                    <a:lnTo>
                      <a:pt x="591" y="31"/>
                    </a:lnTo>
                    <a:lnTo>
                      <a:pt x="593" y="35"/>
                    </a:lnTo>
                    <a:lnTo>
                      <a:pt x="594" y="35"/>
                    </a:lnTo>
                    <a:lnTo>
                      <a:pt x="599" y="28"/>
                    </a:lnTo>
                    <a:lnTo>
                      <a:pt x="603" y="28"/>
                    </a:lnTo>
                    <a:lnTo>
                      <a:pt x="608" y="25"/>
                    </a:lnTo>
                    <a:lnTo>
                      <a:pt x="609" y="23"/>
                    </a:lnTo>
                    <a:lnTo>
                      <a:pt x="612" y="18"/>
                    </a:lnTo>
                    <a:lnTo>
                      <a:pt x="617" y="18"/>
                    </a:lnTo>
                    <a:lnTo>
                      <a:pt x="614" y="20"/>
                    </a:lnTo>
                    <a:lnTo>
                      <a:pt x="612" y="23"/>
                    </a:lnTo>
                    <a:lnTo>
                      <a:pt x="614" y="25"/>
                    </a:lnTo>
                    <a:lnTo>
                      <a:pt x="617" y="23"/>
                    </a:lnTo>
                    <a:lnTo>
                      <a:pt x="621" y="23"/>
                    </a:lnTo>
                    <a:lnTo>
                      <a:pt x="622" y="25"/>
                    </a:lnTo>
                    <a:lnTo>
                      <a:pt x="624" y="28"/>
                    </a:lnTo>
                    <a:lnTo>
                      <a:pt x="627" y="30"/>
                    </a:lnTo>
                    <a:lnTo>
                      <a:pt x="626" y="33"/>
                    </a:lnTo>
                    <a:lnTo>
                      <a:pt x="624" y="36"/>
                    </a:lnTo>
                    <a:lnTo>
                      <a:pt x="626" y="38"/>
                    </a:lnTo>
                    <a:lnTo>
                      <a:pt x="627" y="35"/>
                    </a:lnTo>
                    <a:lnTo>
                      <a:pt x="631" y="31"/>
                    </a:lnTo>
                    <a:lnTo>
                      <a:pt x="636" y="33"/>
                    </a:lnTo>
                    <a:lnTo>
                      <a:pt x="639" y="36"/>
                    </a:lnTo>
                    <a:lnTo>
                      <a:pt x="639" y="40"/>
                    </a:lnTo>
                    <a:lnTo>
                      <a:pt x="642" y="45"/>
                    </a:lnTo>
                    <a:lnTo>
                      <a:pt x="644" y="50"/>
                    </a:lnTo>
                    <a:lnTo>
                      <a:pt x="644" y="56"/>
                    </a:lnTo>
                    <a:lnTo>
                      <a:pt x="647" y="53"/>
                    </a:lnTo>
                    <a:lnTo>
                      <a:pt x="647" y="48"/>
                    </a:lnTo>
                    <a:lnTo>
                      <a:pt x="646" y="45"/>
                    </a:lnTo>
                    <a:lnTo>
                      <a:pt x="644" y="41"/>
                    </a:lnTo>
                    <a:lnTo>
                      <a:pt x="644" y="38"/>
                    </a:lnTo>
                    <a:lnTo>
                      <a:pt x="644" y="36"/>
                    </a:lnTo>
                    <a:lnTo>
                      <a:pt x="644" y="35"/>
                    </a:lnTo>
                    <a:lnTo>
                      <a:pt x="647" y="36"/>
                    </a:lnTo>
                    <a:lnTo>
                      <a:pt x="654" y="41"/>
                    </a:lnTo>
                    <a:lnTo>
                      <a:pt x="659" y="48"/>
                    </a:lnTo>
                    <a:lnTo>
                      <a:pt x="664" y="51"/>
                    </a:lnTo>
                    <a:lnTo>
                      <a:pt x="671" y="51"/>
                    </a:lnTo>
                    <a:lnTo>
                      <a:pt x="671" y="50"/>
                    </a:lnTo>
                    <a:lnTo>
                      <a:pt x="667" y="48"/>
                    </a:lnTo>
                    <a:lnTo>
                      <a:pt x="662" y="46"/>
                    </a:lnTo>
                    <a:lnTo>
                      <a:pt x="659" y="40"/>
                    </a:lnTo>
                    <a:lnTo>
                      <a:pt x="657" y="35"/>
                    </a:lnTo>
                    <a:lnTo>
                      <a:pt x="659" y="28"/>
                    </a:lnTo>
                    <a:lnTo>
                      <a:pt x="664" y="28"/>
                    </a:lnTo>
                    <a:lnTo>
                      <a:pt x="667" y="28"/>
                    </a:lnTo>
                    <a:lnTo>
                      <a:pt x="674" y="31"/>
                    </a:lnTo>
                    <a:lnTo>
                      <a:pt x="679" y="31"/>
                    </a:lnTo>
                    <a:lnTo>
                      <a:pt x="681" y="30"/>
                    </a:lnTo>
                    <a:lnTo>
                      <a:pt x="679" y="28"/>
                    </a:lnTo>
                    <a:lnTo>
                      <a:pt x="676" y="26"/>
                    </a:lnTo>
                    <a:lnTo>
                      <a:pt x="676" y="25"/>
                    </a:lnTo>
                    <a:lnTo>
                      <a:pt x="681" y="20"/>
                    </a:lnTo>
                    <a:lnTo>
                      <a:pt x="684" y="16"/>
                    </a:lnTo>
                    <a:lnTo>
                      <a:pt x="682" y="15"/>
                    </a:lnTo>
                    <a:lnTo>
                      <a:pt x="681" y="13"/>
                    </a:lnTo>
                    <a:lnTo>
                      <a:pt x="682" y="8"/>
                    </a:lnTo>
                    <a:lnTo>
                      <a:pt x="684" y="8"/>
                    </a:lnTo>
                    <a:lnTo>
                      <a:pt x="687" y="8"/>
                    </a:lnTo>
                    <a:lnTo>
                      <a:pt x="689" y="6"/>
                    </a:lnTo>
                    <a:lnTo>
                      <a:pt x="691" y="1"/>
                    </a:lnTo>
                    <a:lnTo>
                      <a:pt x="692" y="0"/>
                    </a:lnTo>
                    <a:lnTo>
                      <a:pt x="696" y="1"/>
                    </a:lnTo>
                    <a:lnTo>
                      <a:pt x="697" y="3"/>
                    </a:lnTo>
                    <a:lnTo>
                      <a:pt x="699" y="3"/>
                    </a:lnTo>
                    <a:lnTo>
                      <a:pt x="701" y="6"/>
                    </a:lnTo>
                    <a:lnTo>
                      <a:pt x="702" y="11"/>
                    </a:lnTo>
                    <a:lnTo>
                      <a:pt x="706" y="13"/>
                    </a:lnTo>
                    <a:lnTo>
                      <a:pt x="707" y="11"/>
                    </a:lnTo>
                    <a:lnTo>
                      <a:pt x="707" y="8"/>
                    </a:lnTo>
                    <a:lnTo>
                      <a:pt x="706" y="5"/>
                    </a:lnTo>
                    <a:lnTo>
                      <a:pt x="706" y="1"/>
                    </a:lnTo>
                    <a:lnTo>
                      <a:pt x="707" y="0"/>
                    </a:lnTo>
                    <a:lnTo>
                      <a:pt x="711" y="0"/>
                    </a:lnTo>
                    <a:lnTo>
                      <a:pt x="715" y="0"/>
                    </a:lnTo>
                    <a:lnTo>
                      <a:pt x="724" y="0"/>
                    </a:lnTo>
                    <a:lnTo>
                      <a:pt x="727" y="1"/>
                    </a:lnTo>
                    <a:lnTo>
                      <a:pt x="729" y="3"/>
                    </a:lnTo>
                    <a:lnTo>
                      <a:pt x="730" y="3"/>
                    </a:lnTo>
                    <a:lnTo>
                      <a:pt x="734" y="1"/>
                    </a:lnTo>
                    <a:lnTo>
                      <a:pt x="737" y="3"/>
                    </a:lnTo>
                    <a:lnTo>
                      <a:pt x="747" y="3"/>
                    </a:lnTo>
                    <a:lnTo>
                      <a:pt x="749" y="5"/>
                    </a:lnTo>
                    <a:lnTo>
                      <a:pt x="752" y="5"/>
                    </a:lnTo>
                    <a:lnTo>
                      <a:pt x="755" y="3"/>
                    </a:lnTo>
                    <a:lnTo>
                      <a:pt x="757" y="5"/>
                    </a:lnTo>
                    <a:lnTo>
                      <a:pt x="759" y="8"/>
                    </a:lnTo>
                    <a:lnTo>
                      <a:pt x="765" y="11"/>
                    </a:lnTo>
                    <a:lnTo>
                      <a:pt x="769" y="11"/>
                    </a:lnTo>
                    <a:lnTo>
                      <a:pt x="769" y="10"/>
                    </a:lnTo>
                    <a:lnTo>
                      <a:pt x="770" y="10"/>
                    </a:lnTo>
                    <a:lnTo>
                      <a:pt x="779" y="13"/>
                    </a:lnTo>
                    <a:lnTo>
                      <a:pt x="782" y="13"/>
                    </a:lnTo>
                    <a:lnTo>
                      <a:pt x="787" y="18"/>
                    </a:lnTo>
                    <a:lnTo>
                      <a:pt x="795" y="18"/>
                    </a:lnTo>
                    <a:lnTo>
                      <a:pt x="799" y="20"/>
                    </a:lnTo>
                    <a:lnTo>
                      <a:pt x="804" y="18"/>
                    </a:lnTo>
                    <a:lnTo>
                      <a:pt x="805" y="20"/>
                    </a:lnTo>
                    <a:lnTo>
                      <a:pt x="807" y="23"/>
                    </a:lnTo>
                    <a:lnTo>
                      <a:pt x="812" y="21"/>
                    </a:lnTo>
                    <a:lnTo>
                      <a:pt x="815" y="21"/>
                    </a:lnTo>
                    <a:lnTo>
                      <a:pt x="820" y="25"/>
                    </a:lnTo>
                    <a:lnTo>
                      <a:pt x="827" y="26"/>
                    </a:lnTo>
                    <a:lnTo>
                      <a:pt x="832" y="30"/>
                    </a:lnTo>
                    <a:lnTo>
                      <a:pt x="833" y="35"/>
                    </a:lnTo>
                    <a:lnTo>
                      <a:pt x="838" y="36"/>
                    </a:lnTo>
                    <a:lnTo>
                      <a:pt x="845" y="40"/>
                    </a:lnTo>
                    <a:lnTo>
                      <a:pt x="843" y="43"/>
                    </a:lnTo>
                    <a:lnTo>
                      <a:pt x="842" y="46"/>
                    </a:lnTo>
                    <a:lnTo>
                      <a:pt x="837" y="46"/>
                    </a:lnTo>
                    <a:lnTo>
                      <a:pt x="833" y="45"/>
                    </a:lnTo>
                    <a:lnTo>
                      <a:pt x="830" y="46"/>
                    </a:lnTo>
                    <a:lnTo>
                      <a:pt x="828" y="50"/>
                    </a:lnTo>
                    <a:lnTo>
                      <a:pt x="823" y="50"/>
                    </a:lnTo>
                    <a:lnTo>
                      <a:pt x="822" y="50"/>
                    </a:lnTo>
                    <a:lnTo>
                      <a:pt x="817" y="50"/>
                    </a:lnTo>
                    <a:lnTo>
                      <a:pt x="812" y="50"/>
                    </a:lnTo>
                    <a:lnTo>
                      <a:pt x="804" y="46"/>
                    </a:lnTo>
                    <a:lnTo>
                      <a:pt x="799" y="45"/>
                    </a:lnTo>
                    <a:lnTo>
                      <a:pt x="795" y="45"/>
                    </a:lnTo>
                    <a:lnTo>
                      <a:pt x="792" y="43"/>
                    </a:lnTo>
                    <a:lnTo>
                      <a:pt x="787" y="43"/>
                    </a:lnTo>
                    <a:lnTo>
                      <a:pt x="784" y="45"/>
                    </a:lnTo>
                    <a:lnTo>
                      <a:pt x="780" y="45"/>
                    </a:lnTo>
                    <a:lnTo>
                      <a:pt x="779" y="43"/>
                    </a:lnTo>
                    <a:lnTo>
                      <a:pt x="774" y="43"/>
                    </a:lnTo>
                    <a:lnTo>
                      <a:pt x="767" y="46"/>
                    </a:lnTo>
                    <a:lnTo>
                      <a:pt x="764" y="48"/>
                    </a:lnTo>
                    <a:lnTo>
                      <a:pt x="760" y="46"/>
                    </a:lnTo>
                    <a:lnTo>
                      <a:pt x="755" y="46"/>
                    </a:lnTo>
                    <a:lnTo>
                      <a:pt x="750" y="48"/>
                    </a:lnTo>
                    <a:lnTo>
                      <a:pt x="744" y="48"/>
                    </a:lnTo>
                    <a:lnTo>
                      <a:pt x="742" y="45"/>
                    </a:lnTo>
                    <a:lnTo>
                      <a:pt x="740" y="41"/>
                    </a:lnTo>
                    <a:lnTo>
                      <a:pt x="744" y="40"/>
                    </a:lnTo>
                    <a:lnTo>
                      <a:pt x="745" y="40"/>
                    </a:lnTo>
                    <a:lnTo>
                      <a:pt x="747" y="36"/>
                    </a:lnTo>
                    <a:lnTo>
                      <a:pt x="745" y="35"/>
                    </a:lnTo>
                    <a:lnTo>
                      <a:pt x="742" y="35"/>
                    </a:lnTo>
                    <a:lnTo>
                      <a:pt x="739" y="36"/>
                    </a:lnTo>
                    <a:lnTo>
                      <a:pt x="734" y="40"/>
                    </a:lnTo>
                    <a:lnTo>
                      <a:pt x="734" y="43"/>
                    </a:lnTo>
                    <a:lnTo>
                      <a:pt x="737" y="46"/>
                    </a:lnTo>
                    <a:lnTo>
                      <a:pt x="740" y="46"/>
                    </a:lnTo>
                    <a:lnTo>
                      <a:pt x="739" y="50"/>
                    </a:lnTo>
                    <a:lnTo>
                      <a:pt x="735" y="51"/>
                    </a:lnTo>
                    <a:lnTo>
                      <a:pt x="732" y="51"/>
                    </a:lnTo>
                    <a:lnTo>
                      <a:pt x="729" y="51"/>
                    </a:lnTo>
                    <a:lnTo>
                      <a:pt x="724" y="51"/>
                    </a:lnTo>
                    <a:lnTo>
                      <a:pt x="722" y="53"/>
                    </a:lnTo>
                    <a:lnTo>
                      <a:pt x="717" y="53"/>
                    </a:lnTo>
                    <a:lnTo>
                      <a:pt x="712" y="51"/>
                    </a:lnTo>
                    <a:lnTo>
                      <a:pt x="707" y="51"/>
                    </a:lnTo>
                    <a:lnTo>
                      <a:pt x="701" y="55"/>
                    </a:lnTo>
                    <a:lnTo>
                      <a:pt x="692" y="60"/>
                    </a:lnTo>
                    <a:lnTo>
                      <a:pt x="691" y="63"/>
                    </a:lnTo>
                    <a:lnTo>
                      <a:pt x="691" y="68"/>
                    </a:lnTo>
                    <a:lnTo>
                      <a:pt x="689" y="71"/>
                    </a:lnTo>
                    <a:lnTo>
                      <a:pt x="689" y="75"/>
                    </a:lnTo>
                    <a:lnTo>
                      <a:pt x="691" y="76"/>
                    </a:lnTo>
                    <a:lnTo>
                      <a:pt x="694" y="75"/>
                    </a:lnTo>
                    <a:lnTo>
                      <a:pt x="694" y="70"/>
                    </a:lnTo>
                    <a:lnTo>
                      <a:pt x="696" y="68"/>
                    </a:lnTo>
                    <a:lnTo>
                      <a:pt x="696" y="66"/>
                    </a:lnTo>
                    <a:lnTo>
                      <a:pt x="697" y="65"/>
                    </a:lnTo>
                    <a:lnTo>
                      <a:pt x="702" y="65"/>
                    </a:lnTo>
                    <a:lnTo>
                      <a:pt x="706" y="63"/>
                    </a:lnTo>
                    <a:lnTo>
                      <a:pt x="706" y="65"/>
                    </a:lnTo>
                    <a:lnTo>
                      <a:pt x="706" y="68"/>
                    </a:lnTo>
                    <a:lnTo>
                      <a:pt x="704" y="71"/>
                    </a:lnTo>
                    <a:lnTo>
                      <a:pt x="704" y="73"/>
                    </a:lnTo>
                    <a:lnTo>
                      <a:pt x="706" y="73"/>
                    </a:lnTo>
                    <a:lnTo>
                      <a:pt x="707" y="70"/>
                    </a:lnTo>
                    <a:lnTo>
                      <a:pt x="709" y="65"/>
                    </a:lnTo>
                    <a:lnTo>
                      <a:pt x="709" y="65"/>
                    </a:lnTo>
                    <a:lnTo>
                      <a:pt x="712" y="60"/>
                    </a:lnTo>
                    <a:lnTo>
                      <a:pt x="712" y="60"/>
                    </a:lnTo>
                    <a:lnTo>
                      <a:pt x="717" y="58"/>
                    </a:lnTo>
                    <a:lnTo>
                      <a:pt x="720" y="58"/>
                    </a:lnTo>
                    <a:lnTo>
                      <a:pt x="727" y="58"/>
                    </a:lnTo>
                    <a:lnTo>
                      <a:pt x="730" y="56"/>
                    </a:lnTo>
                    <a:lnTo>
                      <a:pt x="734" y="56"/>
                    </a:lnTo>
                    <a:lnTo>
                      <a:pt x="735" y="56"/>
                    </a:lnTo>
                    <a:lnTo>
                      <a:pt x="737" y="60"/>
                    </a:lnTo>
                    <a:lnTo>
                      <a:pt x="740" y="65"/>
                    </a:lnTo>
                    <a:lnTo>
                      <a:pt x="742" y="66"/>
                    </a:lnTo>
                    <a:lnTo>
                      <a:pt x="744" y="66"/>
                    </a:lnTo>
                    <a:lnTo>
                      <a:pt x="744" y="63"/>
                    </a:lnTo>
                    <a:lnTo>
                      <a:pt x="742" y="58"/>
                    </a:lnTo>
                    <a:lnTo>
                      <a:pt x="744" y="56"/>
                    </a:lnTo>
                    <a:lnTo>
                      <a:pt x="749" y="56"/>
                    </a:lnTo>
                    <a:lnTo>
                      <a:pt x="754" y="56"/>
                    </a:lnTo>
                    <a:lnTo>
                      <a:pt x="759" y="56"/>
                    </a:lnTo>
                    <a:lnTo>
                      <a:pt x="765" y="55"/>
                    </a:lnTo>
                    <a:lnTo>
                      <a:pt x="772" y="53"/>
                    </a:lnTo>
                    <a:lnTo>
                      <a:pt x="777" y="51"/>
                    </a:lnTo>
                    <a:lnTo>
                      <a:pt x="785" y="51"/>
                    </a:lnTo>
                    <a:lnTo>
                      <a:pt x="792" y="53"/>
                    </a:lnTo>
                    <a:lnTo>
                      <a:pt x="797" y="55"/>
                    </a:lnTo>
                    <a:lnTo>
                      <a:pt x="800" y="56"/>
                    </a:lnTo>
                    <a:lnTo>
                      <a:pt x="804" y="58"/>
                    </a:lnTo>
                    <a:lnTo>
                      <a:pt x="809" y="58"/>
                    </a:lnTo>
                    <a:lnTo>
                      <a:pt x="812" y="61"/>
                    </a:lnTo>
                    <a:lnTo>
                      <a:pt x="815" y="61"/>
                    </a:lnTo>
                    <a:lnTo>
                      <a:pt x="817" y="61"/>
                    </a:lnTo>
                    <a:lnTo>
                      <a:pt x="822" y="60"/>
                    </a:lnTo>
                    <a:lnTo>
                      <a:pt x="823" y="61"/>
                    </a:lnTo>
                    <a:lnTo>
                      <a:pt x="825" y="63"/>
                    </a:lnTo>
                    <a:lnTo>
                      <a:pt x="827" y="63"/>
                    </a:lnTo>
                    <a:lnTo>
                      <a:pt x="832" y="60"/>
                    </a:lnTo>
                    <a:lnTo>
                      <a:pt x="833" y="60"/>
                    </a:lnTo>
                    <a:lnTo>
                      <a:pt x="838" y="60"/>
                    </a:lnTo>
                    <a:lnTo>
                      <a:pt x="845" y="56"/>
                    </a:lnTo>
                    <a:lnTo>
                      <a:pt x="848" y="53"/>
                    </a:lnTo>
                    <a:lnTo>
                      <a:pt x="852" y="53"/>
                    </a:lnTo>
                    <a:lnTo>
                      <a:pt x="853" y="55"/>
                    </a:lnTo>
                    <a:lnTo>
                      <a:pt x="857" y="58"/>
                    </a:lnTo>
                    <a:lnTo>
                      <a:pt x="860" y="60"/>
                    </a:lnTo>
                    <a:lnTo>
                      <a:pt x="860" y="61"/>
                    </a:lnTo>
                    <a:lnTo>
                      <a:pt x="858" y="63"/>
                    </a:lnTo>
                    <a:lnTo>
                      <a:pt x="858" y="66"/>
                    </a:lnTo>
                    <a:lnTo>
                      <a:pt x="860" y="68"/>
                    </a:lnTo>
                    <a:lnTo>
                      <a:pt x="862" y="70"/>
                    </a:lnTo>
                    <a:lnTo>
                      <a:pt x="862" y="71"/>
                    </a:lnTo>
                    <a:lnTo>
                      <a:pt x="855" y="76"/>
                    </a:lnTo>
                    <a:lnTo>
                      <a:pt x="848" y="78"/>
                    </a:lnTo>
                    <a:lnTo>
                      <a:pt x="843" y="78"/>
                    </a:lnTo>
                    <a:lnTo>
                      <a:pt x="840" y="76"/>
                    </a:lnTo>
                    <a:lnTo>
                      <a:pt x="837" y="73"/>
                    </a:lnTo>
                    <a:lnTo>
                      <a:pt x="835" y="75"/>
                    </a:lnTo>
                    <a:lnTo>
                      <a:pt x="837" y="76"/>
                    </a:lnTo>
                    <a:lnTo>
                      <a:pt x="840" y="80"/>
                    </a:lnTo>
                    <a:lnTo>
                      <a:pt x="840" y="81"/>
                    </a:lnTo>
                    <a:lnTo>
                      <a:pt x="840" y="83"/>
                    </a:lnTo>
                    <a:lnTo>
                      <a:pt x="835" y="81"/>
                    </a:lnTo>
                    <a:lnTo>
                      <a:pt x="833" y="80"/>
                    </a:lnTo>
                    <a:lnTo>
                      <a:pt x="830" y="80"/>
                    </a:lnTo>
                    <a:lnTo>
                      <a:pt x="830" y="81"/>
                    </a:lnTo>
                    <a:lnTo>
                      <a:pt x="832" y="84"/>
                    </a:lnTo>
                    <a:lnTo>
                      <a:pt x="835" y="86"/>
                    </a:lnTo>
                    <a:lnTo>
                      <a:pt x="840" y="86"/>
                    </a:lnTo>
                    <a:lnTo>
                      <a:pt x="845" y="88"/>
                    </a:lnTo>
                    <a:lnTo>
                      <a:pt x="848" y="88"/>
                    </a:lnTo>
                    <a:lnTo>
                      <a:pt x="857" y="84"/>
                    </a:lnTo>
                    <a:lnTo>
                      <a:pt x="858" y="84"/>
                    </a:lnTo>
                    <a:lnTo>
                      <a:pt x="860" y="86"/>
                    </a:lnTo>
                    <a:lnTo>
                      <a:pt x="860" y="84"/>
                    </a:lnTo>
                    <a:lnTo>
                      <a:pt x="862" y="81"/>
                    </a:lnTo>
                    <a:lnTo>
                      <a:pt x="865" y="81"/>
                    </a:lnTo>
                    <a:lnTo>
                      <a:pt x="875" y="81"/>
                    </a:lnTo>
                    <a:lnTo>
                      <a:pt x="877" y="83"/>
                    </a:lnTo>
                    <a:lnTo>
                      <a:pt x="878" y="84"/>
                    </a:lnTo>
                    <a:lnTo>
                      <a:pt x="880" y="86"/>
                    </a:lnTo>
                    <a:lnTo>
                      <a:pt x="883" y="86"/>
                    </a:lnTo>
                    <a:lnTo>
                      <a:pt x="883" y="84"/>
                    </a:lnTo>
                    <a:lnTo>
                      <a:pt x="887" y="84"/>
                    </a:lnTo>
                    <a:lnTo>
                      <a:pt x="888" y="88"/>
                    </a:lnTo>
                    <a:lnTo>
                      <a:pt x="890" y="91"/>
                    </a:lnTo>
                    <a:lnTo>
                      <a:pt x="897" y="91"/>
                    </a:lnTo>
                    <a:lnTo>
                      <a:pt x="900" y="94"/>
                    </a:lnTo>
                    <a:lnTo>
                      <a:pt x="900" y="96"/>
                    </a:lnTo>
                    <a:lnTo>
                      <a:pt x="905" y="99"/>
                    </a:lnTo>
                    <a:lnTo>
                      <a:pt x="910" y="103"/>
                    </a:lnTo>
                    <a:lnTo>
                      <a:pt x="915" y="106"/>
                    </a:lnTo>
                    <a:lnTo>
                      <a:pt x="916" y="108"/>
                    </a:lnTo>
                    <a:lnTo>
                      <a:pt x="916" y="111"/>
                    </a:lnTo>
                    <a:lnTo>
                      <a:pt x="913" y="113"/>
                    </a:lnTo>
                    <a:lnTo>
                      <a:pt x="913" y="114"/>
                    </a:lnTo>
                    <a:lnTo>
                      <a:pt x="913" y="118"/>
                    </a:lnTo>
                    <a:lnTo>
                      <a:pt x="910" y="119"/>
                    </a:lnTo>
                    <a:lnTo>
                      <a:pt x="907" y="123"/>
                    </a:lnTo>
                    <a:lnTo>
                      <a:pt x="902" y="123"/>
                    </a:lnTo>
                    <a:lnTo>
                      <a:pt x="900" y="123"/>
                    </a:lnTo>
                    <a:lnTo>
                      <a:pt x="898" y="123"/>
                    </a:lnTo>
                    <a:lnTo>
                      <a:pt x="898" y="126"/>
                    </a:lnTo>
                    <a:lnTo>
                      <a:pt x="897" y="128"/>
                    </a:lnTo>
                    <a:lnTo>
                      <a:pt x="893" y="129"/>
                    </a:lnTo>
                    <a:lnTo>
                      <a:pt x="885" y="133"/>
                    </a:lnTo>
                    <a:lnTo>
                      <a:pt x="878" y="133"/>
                    </a:lnTo>
                    <a:lnTo>
                      <a:pt x="877" y="134"/>
                    </a:lnTo>
                    <a:lnTo>
                      <a:pt x="873" y="134"/>
                    </a:lnTo>
                    <a:lnTo>
                      <a:pt x="872" y="131"/>
                    </a:lnTo>
                    <a:lnTo>
                      <a:pt x="868" y="129"/>
                    </a:lnTo>
                    <a:lnTo>
                      <a:pt x="867" y="129"/>
                    </a:lnTo>
                    <a:lnTo>
                      <a:pt x="867" y="133"/>
                    </a:lnTo>
                    <a:lnTo>
                      <a:pt x="870" y="134"/>
                    </a:lnTo>
                    <a:lnTo>
                      <a:pt x="870" y="136"/>
                    </a:lnTo>
                    <a:lnTo>
                      <a:pt x="865" y="136"/>
                    </a:lnTo>
                    <a:lnTo>
                      <a:pt x="860" y="134"/>
                    </a:lnTo>
                    <a:lnTo>
                      <a:pt x="857" y="136"/>
                    </a:lnTo>
                    <a:lnTo>
                      <a:pt x="855" y="136"/>
                    </a:lnTo>
                    <a:lnTo>
                      <a:pt x="852" y="134"/>
                    </a:lnTo>
                    <a:lnTo>
                      <a:pt x="847" y="134"/>
                    </a:lnTo>
                    <a:lnTo>
                      <a:pt x="843" y="136"/>
                    </a:lnTo>
                    <a:lnTo>
                      <a:pt x="838" y="139"/>
                    </a:lnTo>
                    <a:lnTo>
                      <a:pt x="835" y="139"/>
                    </a:lnTo>
                    <a:lnTo>
                      <a:pt x="832" y="138"/>
                    </a:lnTo>
                    <a:lnTo>
                      <a:pt x="828" y="138"/>
                    </a:lnTo>
                    <a:lnTo>
                      <a:pt x="825" y="136"/>
                    </a:lnTo>
                    <a:lnTo>
                      <a:pt x="822" y="136"/>
                    </a:lnTo>
                    <a:lnTo>
                      <a:pt x="820" y="138"/>
                    </a:lnTo>
                    <a:lnTo>
                      <a:pt x="815" y="138"/>
                    </a:lnTo>
                    <a:lnTo>
                      <a:pt x="812" y="138"/>
                    </a:lnTo>
                    <a:lnTo>
                      <a:pt x="805" y="133"/>
                    </a:lnTo>
                    <a:lnTo>
                      <a:pt x="804" y="133"/>
                    </a:lnTo>
                    <a:lnTo>
                      <a:pt x="802" y="133"/>
                    </a:lnTo>
                    <a:lnTo>
                      <a:pt x="795" y="133"/>
                    </a:lnTo>
                    <a:lnTo>
                      <a:pt x="792" y="131"/>
                    </a:lnTo>
                    <a:lnTo>
                      <a:pt x="789" y="131"/>
                    </a:lnTo>
                    <a:lnTo>
                      <a:pt x="784" y="131"/>
                    </a:lnTo>
                    <a:lnTo>
                      <a:pt x="780" y="131"/>
                    </a:lnTo>
                    <a:lnTo>
                      <a:pt x="775" y="129"/>
                    </a:lnTo>
                    <a:lnTo>
                      <a:pt x="774" y="131"/>
                    </a:lnTo>
                    <a:lnTo>
                      <a:pt x="770" y="133"/>
                    </a:lnTo>
                    <a:lnTo>
                      <a:pt x="767" y="134"/>
                    </a:lnTo>
                    <a:lnTo>
                      <a:pt x="760" y="133"/>
                    </a:lnTo>
                    <a:lnTo>
                      <a:pt x="757" y="134"/>
                    </a:lnTo>
                    <a:lnTo>
                      <a:pt x="757" y="136"/>
                    </a:lnTo>
                    <a:lnTo>
                      <a:pt x="755" y="136"/>
                    </a:lnTo>
                    <a:lnTo>
                      <a:pt x="754" y="133"/>
                    </a:lnTo>
                    <a:lnTo>
                      <a:pt x="752" y="131"/>
                    </a:lnTo>
                    <a:lnTo>
                      <a:pt x="747" y="131"/>
                    </a:lnTo>
                    <a:lnTo>
                      <a:pt x="747" y="131"/>
                    </a:lnTo>
                    <a:lnTo>
                      <a:pt x="744" y="131"/>
                    </a:lnTo>
                    <a:lnTo>
                      <a:pt x="742" y="133"/>
                    </a:lnTo>
                    <a:lnTo>
                      <a:pt x="744" y="133"/>
                    </a:lnTo>
                    <a:lnTo>
                      <a:pt x="749" y="133"/>
                    </a:lnTo>
                    <a:lnTo>
                      <a:pt x="750" y="134"/>
                    </a:lnTo>
                    <a:lnTo>
                      <a:pt x="752" y="136"/>
                    </a:lnTo>
                    <a:lnTo>
                      <a:pt x="750" y="139"/>
                    </a:lnTo>
                    <a:lnTo>
                      <a:pt x="747" y="141"/>
                    </a:lnTo>
                    <a:lnTo>
                      <a:pt x="745" y="141"/>
                    </a:lnTo>
                    <a:lnTo>
                      <a:pt x="742" y="141"/>
                    </a:lnTo>
                    <a:lnTo>
                      <a:pt x="739" y="143"/>
                    </a:lnTo>
                    <a:lnTo>
                      <a:pt x="734" y="144"/>
                    </a:lnTo>
                    <a:lnTo>
                      <a:pt x="727" y="144"/>
                    </a:lnTo>
                    <a:lnTo>
                      <a:pt x="724" y="146"/>
                    </a:lnTo>
                    <a:lnTo>
                      <a:pt x="722" y="149"/>
                    </a:lnTo>
                    <a:lnTo>
                      <a:pt x="719" y="149"/>
                    </a:lnTo>
                    <a:lnTo>
                      <a:pt x="714" y="149"/>
                    </a:lnTo>
                    <a:lnTo>
                      <a:pt x="709" y="153"/>
                    </a:lnTo>
                    <a:lnTo>
                      <a:pt x="706" y="153"/>
                    </a:lnTo>
                    <a:lnTo>
                      <a:pt x="704" y="154"/>
                    </a:lnTo>
                    <a:lnTo>
                      <a:pt x="704" y="158"/>
                    </a:lnTo>
                    <a:lnTo>
                      <a:pt x="706" y="161"/>
                    </a:lnTo>
                    <a:lnTo>
                      <a:pt x="707" y="163"/>
                    </a:lnTo>
                    <a:lnTo>
                      <a:pt x="707" y="166"/>
                    </a:lnTo>
                    <a:lnTo>
                      <a:pt x="709" y="169"/>
                    </a:lnTo>
                    <a:lnTo>
                      <a:pt x="711" y="169"/>
                    </a:lnTo>
                    <a:lnTo>
                      <a:pt x="712" y="168"/>
                    </a:lnTo>
                    <a:lnTo>
                      <a:pt x="714" y="164"/>
                    </a:lnTo>
                    <a:lnTo>
                      <a:pt x="717" y="161"/>
                    </a:lnTo>
                    <a:lnTo>
                      <a:pt x="720" y="161"/>
                    </a:lnTo>
                    <a:lnTo>
                      <a:pt x="724" y="159"/>
                    </a:lnTo>
                    <a:lnTo>
                      <a:pt x="727" y="158"/>
                    </a:lnTo>
                    <a:lnTo>
                      <a:pt x="732" y="158"/>
                    </a:lnTo>
                    <a:lnTo>
                      <a:pt x="734" y="156"/>
                    </a:lnTo>
                    <a:lnTo>
                      <a:pt x="737" y="153"/>
                    </a:lnTo>
                    <a:lnTo>
                      <a:pt x="742" y="153"/>
                    </a:lnTo>
                    <a:lnTo>
                      <a:pt x="752" y="149"/>
                    </a:lnTo>
                    <a:lnTo>
                      <a:pt x="755" y="149"/>
                    </a:lnTo>
                    <a:lnTo>
                      <a:pt x="755" y="149"/>
                    </a:lnTo>
                    <a:lnTo>
                      <a:pt x="755" y="153"/>
                    </a:lnTo>
                    <a:lnTo>
                      <a:pt x="757" y="153"/>
                    </a:lnTo>
                    <a:lnTo>
                      <a:pt x="760" y="151"/>
                    </a:lnTo>
                    <a:lnTo>
                      <a:pt x="760" y="148"/>
                    </a:lnTo>
                    <a:lnTo>
                      <a:pt x="764" y="143"/>
                    </a:lnTo>
                    <a:lnTo>
                      <a:pt x="765" y="143"/>
                    </a:lnTo>
                    <a:lnTo>
                      <a:pt x="770" y="144"/>
                    </a:lnTo>
                    <a:lnTo>
                      <a:pt x="774" y="144"/>
                    </a:lnTo>
                    <a:lnTo>
                      <a:pt x="779" y="144"/>
                    </a:lnTo>
                    <a:lnTo>
                      <a:pt x="785" y="144"/>
                    </a:lnTo>
                    <a:lnTo>
                      <a:pt x="789" y="146"/>
                    </a:lnTo>
                    <a:lnTo>
                      <a:pt x="794" y="146"/>
                    </a:lnTo>
                    <a:lnTo>
                      <a:pt x="805" y="146"/>
                    </a:lnTo>
                    <a:lnTo>
                      <a:pt x="809" y="146"/>
                    </a:lnTo>
                    <a:lnTo>
                      <a:pt x="813" y="148"/>
                    </a:lnTo>
                    <a:lnTo>
                      <a:pt x="820" y="149"/>
                    </a:lnTo>
                    <a:lnTo>
                      <a:pt x="830" y="149"/>
                    </a:lnTo>
                    <a:lnTo>
                      <a:pt x="833" y="149"/>
                    </a:lnTo>
                    <a:lnTo>
                      <a:pt x="833" y="153"/>
                    </a:lnTo>
                    <a:lnTo>
                      <a:pt x="835" y="154"/>
                    </a:lnTo>
                    <a:lnTo>
                      <a:pt x="835" y="156"/>
                    </a:lnTo>
                    <a:lnTo>
                      <a:pt x="832" y="158"/>
                    </a:lnTo>
                    <a:lnTo>
                      <a:pt x="832" y="161"/>
                    </a:lnTo>
                    <a:lnTo>
                      <a:pt x="828" y="166"/>
                    </a:lnTo>
                    <a:lnTo>
                      <a:pt x="827" y="168"/>
                    </a:lnTo>
                    <a:lnTo>
                      <a:pt x="815" y="168"/>
                    </a:lnTo>
                    <a:lnTo>
                      <a:pt x="809" y="171"/>
                    </a:lnTo>
                    <a:lnTo>
                      <a:pt x="807" y="171"/>
                    </a:lnTo>
                    <a:lnTo>
                      <a:pt x="805" y="169"/>
                    </a:lnTo>
                    <a:lnTo>
                      <a:pt x="804" y="169"/>
                    </a:lnTo>
                    <a:lnTo>
                      <a:pt x="802" y="173"/>
                    </a:lnTo>
                    <a:lnTo>
                      <a:pt x="804" y="176"/>
                    </a:lnTo>
                    <a:lnTo>
                      <a:pt x="802" y="179"/>
                    </a:lnTo>
                    <a:lnTo>
                      <a:pt x="802" y="181"/>
                    </a:lnTo>
                    <a:lnTo>
                      <a:pt x="804" y="182"/>
                    </a:lnTo>
                    <a:lnTo>
                      <a:pt x="809" y="181"/>
                    </a:lnTo>
                    <a:lnTo>
                      <a:pt x="815" y="179"/>
                    </a:lnTo>
                    <a:lnTo>
                      <a:pt x="820" y="178"/>
                    </a:lnTo>
                    <a:lnTo>
                      <a:pt x="820" y="178"/>
                    </a:lnTo>
                    <a:lnTo>
                      <a:pt x="828" y="178"/>
                    </a:lnTo>
                    <a:lnTo>
                      <a:pt x="828" y="178"/>
                    </a:lnTo>
                    <a:lnTo>
                      <a:pt x="837" y="179"/>
                    </a:lnTo>
                    <a:lnTo>
                      <a:pt x="840" y="179"/>
                    </a:lnTo>
                    <a:lnTo>
                      <a:pt x="843" y="181"/>
                    </a:lnTo>
                    <a:lnTo>
                      <a:pt x="845" y="179"/>
                    </a:lnTo>
                    <a:lnTo>
                      <a:pt x="847" y="178"/>
                    </a:lnTo>
                    <a:lnTo>
                      <a:pt x="848" y="178"/>
                    </a:lnTo>
                    <a:lnTo>
                      <a:pt x="852" y="178"/>
                    </a:lnTo>
                    <a:lnTo>
                      <a:pt x="853" y="181"/>
                    </a:lnTo>
                    <a:lnTo>
                      <a:pt x="858" y="176"/>
                    </a:lnTo>
                    <a:lnTo>
                      <a:pt x="860" y="169"/>
                    </a:lnTo>
                    <a:lnTo>
                      <a:pt x="860" y="163"/>
                    </a:lnTo>
                    <a:lnTo>
                      <a:pt x="862" y="161"/>
                    </a:lnTo>
                    <a:lnTo>
                      <a:pt x="860" y="159"/>
                    </a:lnTo>
                    <a:lnTo>
                      <a:pt x="862" y="156"/>
                    </a:lnTo>
                    <a:lnTo>
                      <a:pt x="865" y="154"/>
                    </a:lnTo>
                    <a:lnTo>
                      <a:pt x="870" y="154"/>
                    </a:lnTo>
                    <a:lnTo>
                      <a:pt x="875" y="156"/>
                    </a:lnTo>
                    <a:lnTo>
                      <a:pt x="882" y="156"/>
                    </a:lnTo>
                    <a:lnTo>
                      <a:pt x="887" y="154"/>
                    </a:lnTo>
                    <a:lnTo>
                      <a:pt x="890" y="154"/>
                    </a:lnTo>
                    <a:lnTo>
                      <a:pt x="890" y="159"/>
                    </a:lnTo>
                    <a:lnTo>
                      <a:pt x="890" y="166"/>
                    </a:lnTo>
                    <a:lnTo>
                      <a:pt x="890" y="171"/>
                    </a:lnTo>
                    <a:lnTo>
                      <a:pt x="887" y="176"/>
                    </a:lnTo>
                    <a:lnTo>
                      <a:pt x="883" y="182"/>
                    </a:lnTo>
                    <a:lnTo>
                      <a:pt x="882" y="189"/>
                    </a:lnTo>
                    <a:lnTo>
                      <a:pt x="880" y="192"/>
                    </a:lnTo>
                    <a:lnTo>
                      <a:pt x="867" y="202"/>
                    </a:lnTo>
                    <a:lnTo>
                      <a:pt x="863" y="202"/>
                    </a:lnTo>
                    <a:lnTo>
                      <a:pt x="862" y="202"/>
                    </a:lnTo>
                    <a:lnTo>
                      <a:pt x="858" y="204"/>
                    </a:lnTo>
                    <a:lnTo>
                      <a:pt x="855" y="207"/>
                    </a:lnTo>
                    <a:lnTo>
                      <a:pt x="852" y="206"/>
                    </a:lnTo>
                    <a:lnTo>
                      <a:pt x="850" y="206"/>
                    </a:lnTo>
                    <a:lnTo>
                      <a:pt x="847" y="211"/>
                    </a:lnTo>
                    <a:lnTo>
                      <a:pt x="847" y="214"/>
                    </a:lnTo>
                    <a:lnTo>
                      <a:pt x="843" y="216"/>
                    </a:lnTo>
                    <a:lnTo>
                      <a:pt x="840" y="219"/>
                    </a:lnTo>
                    <a:lnTo>
                      <a:pt x="837" y="217"/>
                    </a:lnTo>
                    <a:lnTo>
                      <a:pt x="837" y="217"/>
                    </a:lnTo>
                    <a:lnTo>
                      <a:pt x="835" y="219"/>
                    </a:lnTo>
                    <a:lnTo>
                      <a:pt x="835" y="221"/>
                    </a:lnTo>
                    <a:lnTo>
                      <a:pt x="833" y="224"/>
                    </a:lnTo>
                    <a:lnTo>
                      <a:pt x="830" y="231"/>
                    </a:lnTo>
                    <a:lnTo>
                      <a:pt x="825" y="232"/>
                    </a:lnTo>
                    <a:lnTo>
                      <a:pt x="823" y="236"/>
                    </a:lnTo>
                    <a:lnTo>
                      <a:pt x="817" y="241"/>
                    </a:lnTo>
                    <a:lnTo>
                      <a:pt x="813" y="244"/>
                    </a:lnTo>
                    <a:lnTo>
                      <a:pt x="809" y="246"/>
                    </a:lnTo>
                    <a:lnTo>
                      <a:pt x="804" y="249"/>
                    </a:lnTo>
                    <a:lnTo>
                      <a:pt x="802" y="251"/>
                    </a:lnTo>
                    <a:lnTo>
                      <a:pt x="799" y="251"/>
                    </a:lnTo>
                    <a:lnTo>
                      <a:pt x="799" y="256"/>
                    </a:lnTo>
                    <a:lnTo>
                      <a:pt x="799" y="259"/>
                    </a:lnTo>
                    <a:lnTo>
                      <a:pt x="797" y="264"/>
                    </a:lnTo>
                    <a:lnTo>
                      <a:pt x="799" y="266"/>
                    </a:lnTo>
                    <a:lnTo>
                      <a:pt x="799" y="264"/>
                    </a:lnTo>
                    <a:lnTo>
                      <a:pt x="800" y="261"/>
                    </a:lnTo>
                    <a:lnTo>
                      <a:pt x="805" y="256"/>
                    </a:lnTo>
                    <a:lnTo>
                      <a:pt x="809" y="251"/>
                    </a:lnTo>
                    <a:lnTo>
                      <a:pt x="812" y="247"/>
                    </a:lnTo>
                    <a:lnTo>
                      <a:pt x="813" y="247"/>
                    </a:lnTo>
                    <a:lnTo>
                      <a:pt x="815" y="249"/>
                    </a:lnTo>
                    <a:lnTo>
                      <a:pt x="818" y="246"/>
                    </a:lnTo>
                    <a:lnTo>
                      <a:pt x="828" y="239"/>
                    </a:lnTo>
                    <a:lnTo>
                      <a:pt x="830" y="239"/>
                    </a:lnTo>
                    <a:lnTo>
                      <a:pt x="832" y="236"/>
                    </a:lnTo>
                    <a:lnTo>
                      <a:pt x="838" y="229"/>
                    </a:lnTo>
                    <a:lnTo>
                      <a:pt x="845" y="224"/>
                    </a:lnTo>
                    <a:lnTo>
                      <a:pt x="848" y="222"/>
                    </a:lnTo>
                    <a:lnTo>
                      <a:pt x="850" y="224"/>
                    </a:lnTo>
                    <a:lnTo>
                      <a:pt x="855" y="224"/>
                    </a:lnTo>
                    <a:lnTo>
                      <a:pt x="858" y="221"/>
                    </a:lnTo>
                    <a:lnTo>
                      <a:pt x="858" y="219"/>
                    </a:lnTo>
                    <a:lnTo>
                      <a:pt x="863" y="219"/>
                    </a:lnTo>
                    <a:lnTo>
                      <a:pt x="870" y="219"/>
                    </a:lnTo>
                    <a:lnTo>
                      <a:pt x="877" y="216"/>
                    </a:lnTo>
                    <a:lnTo>
                      <a:pt x="882" y="212"/>
                    </a:lnTo>
                    <a:lnTo>
                      <a:pt x="885" y="212"/>
                    </a:lnTo>
                    <a:lnTo>
                      <a:pt x="888" y="209"/>
                    </a:lnTo>
                    <a:lnTo>
                      <a:pt x="892" y="207"/>
                    </a:lnTo>
                    <a:lnTo>
                      <a:pt x="895" y="206"/>
                    </a:lnTo>
                    <a:lnTo>
                      <a:pt x="898" y="202"/>
                    </a:lnTo>
                    <a:lnTo>
                      <a:pt x="905" y="197"/>
                    </a:lnTo>
                    <a:lnTo>
                      <a:pt x="907" y="192"/>
                    </a:lnTo>
                    <a:lnTo>
                      <a:pt x="907" y="191"/>
                    </a:lnTo>
                    <a:lnTo>
                      <a:pt x="908" y="187"/>
                    </a:lnTo>
                    <a:lnTo>
                      <a:pt x="910" y="186"/>
                    </a:lnTo>
                    <a:lnTo>
                      <a:pt x="913" y="184"/>
                    </a:lnTo>
                    <a:lnTo>
                      <a:pt x="913" y="186"/>
                    </a:lnTo>
                    <a:lnTo>
                      <a:pt x="915" y="189"/>
                    </a:lnTo>
                    <a:lnTo>
                      <a:pt x="915" y="192"/>
                    </a:lnTo>
                    <a:lnTo>
                      <a:pt x="913" y="196"/>
                    </a:lnTo>
                    <a:lnTo>
                      <a:pt x="915" y="197"/>
                    </a:lnTo>
                    <a:lnTo>
                      <a:pt x="916" y="202"/>
                    </a:lnTo>
                    <a:lnTo>
                      <a:pt x="915" y="204"/>
                    </a:lnTo>
                    <a:lnTo>
                      <a:pt x="915" y="207"/>
                    </a:lnTo>
                    <a:lnTo>
                      <a:pt x="916" y="206"/>
                    </a:lnTo>
                    <a:lnTo>
                      <a:pt x="918" y="202"/>
                    </a:lnTo>
                    <a:lnTo>
                      <a:pt x="920" y="199"/>
                    </a:lnTo>
                    <a:lnTo>
                      <a:pt x="920" y="197"/>
                    </a:lnTo>
                    <a:lnTo>
                      <a:pt x="920" y="194"/>
                    </a:lnTo>
                    <a:lnTo>
                      <a:pt x="921" y="192"/>
                    </a:lnTo>
                    <a:lnTo>
                      <a:pt x="923" y="192"/>
                    </a:lnTo>
                    <a:lnTo>
                      <a:pt x="923" y="196"/>
                    </a:lnTo>
                    <a:lnTo>
                      <a:pt x="926" y="197"/>
                    </a:lnTo>
                    <a:lnTo>
                      <a:pt x="930" y="197"/>
                    </a:lnTo>
                    <a:lnTo>
                      <a:pt x="935" y="196"/>
                    </a:lnTo>
                    <a:lnTo>
                      <a:pt x="936" y="194"/>
                    </a:lnTo>
                    <a:lnTo>
                      <a:pt x="935" y="192"/>
                    </a:lnTo>
                    <a:lnTo>
                      <a:pt x="935" y="189"/>
                    </a:lnTo>
                    <a:lnTo>
                      <a:pt x="936" y="189"/>
                    </a:lnTo>
                    <a:lnTo>
                      <a:pt x="940" y="187"/>
                    </a:lnTo>
                    <a:lnTo>
                      <a:pt x="940" y="182"/>
                    </a:lnTo>
                    <a:lnTo>
                      <a:pt x="938" y="179"/>
                    </a:lnTo>
                    <a:lnTo>
                      <a:pt x="940" y="178"/>
                    </a:lnTo>
                    <a:lnTo>
                      <a:pt x="943" y="176"/>
                    </a:lnTo>
                    <a:lnTo>
                      <a:pt x="945" y="178"/>
                    </a:lnTo>
                    <a:lnTo>
                      <a:pt x="948" y="179"/>
                    </a:lnTo>
                    <a:lnTo>
                      <a:pt x="953" y="178"/>
                    </a:lnTo>
                    <a:lnTo>
                      <a:pt x="955" y="176"/>
                    </a:lnTo>
                    <a:lnTo>
                      <a:pt x="961" y="174"/>
                    </a:lnTo>
                    <a:lnTo>
                      <a:pt x="968" y="174"/>
                    </a:lnTo>
                    <a:lnTo>
                      <a:pt x="970" y="173"/>
                    </a:lnTo>
                    <a:lnTo>
                      <a:pt x="976" y="174"/>
                    </a:lnTo>
                    <a:lnTo>
                      <a:pt x="983" y="178"/>
                    </a:lnTo>
                    <a:lnTo>
                      <a:pt x="990" y="179"/>
                    </a:lnTo>
                    <a:lnTo>
                      <a:pt x="995" y="179"/>
                    </a:lnTo>
                    <a:lnTo>
                      <a:pt x="998" y="181"/>
                    </a:lnTo>
                    <a:lnTo>
                      <a:pt x="1001" y="184"/>
                    </a:lnTo>
                    <a:lnTo>
                      <a:pt x="1003" y="184"/>
                    </a:lnTo>
                    <a:lnTo>
                      <a:pt x="1008" y="186"/>
                    </a:lnTo>
                    <a:lnTo>
                      <a:pt x="1009" y="189"/>
                    </a:lnTo>
                    <a:lnTo>
                      <a:pt x="1011" y="192"/>
                    </a:lnTo>
                    <a:lnTo>
                      <a:pt x="1018" y="197"/>
                    </a:lnTo>
                    <a:lnTo>
                      <a:pt x="1019" y="199"/>
                    </a:lnTo>
                    <a:lnTo>
                      <a:pt x="1023" y="202"/>
                    </a:lnTo>
                    <a:lnTo>
                      <a:pt x="1024" y="209"/>
                    </a:lnTo>
                    <a:lnTo>
                      <a:pt x="1024" y="214"/>
                    </a:lnTo>
                    <a:lnTo>
                      <a:pt x="1021" y="216"/>
                    </a:lnTo>
                    <a:lnTo>
                      <a:pt x="1018" y="217"/>
                    </a:lnTo>
                    <a:lnTo>
                      <a:pt x="1013" y="221"/>
                    </a:lnTo>
                    <a:lnTo>
                      <a:pt x="1013" y="222"/>
                    </a:lnTo>
                    <a:lnTo>
                      <a:pt x="1009" y="224"/>
                    </a:lnTo>
                    <a:lnTo>
                      <a:pt x="1005" y="226"/>
                    </a:lnTo>
                    <a:lnTo>
                      <a:pt x="1000" y="232"/>
                    </a:lnTo>
                    <a:lnTo>
                      <a:pt x="998" y="236"/>
                    </a:lnTo>
                    <a:lnTo>
                      <a:pt x="996" y="236"/>
                    </a:lnTo>
                    <a:lnTo>
                      <a:pt x="993" y="236"/>
                    </a:lnTo>
                    <a:lnTo>
                      <a:pt x="986" y="232"/>
                    </a:lnTo>
                    <a:lnTo>
                      <a:pt x="983" y="232"/>
                    </a:lnTo>
                    <a:lnTo>
                      <a:pt x="980" y="234"/>
                    </a:lnTo>
                    <a:lnTo>
                      <a:pt x="978" y="237"/>
                    </a:lnTo>
                    <a:lnTo>
                      <a:pt x="978" y="239"/>
                    </a:lnTo>
                    <a:lnTo>
                      <a:pt x="980" y="241"/>
                    </a:lnTo>
                    <a:lnTo>
                      <a:pt x="980" y="242"/>
                    </a:lnTo>
                    <a:lnTo>
                      <a:pt x="981" y="246"/>
                    </a:lnTo>
                    <a:lnTo>
                      <a:pt x="983" y="247"/>
                    </a:lnTo>
                    <a:lnTo>
                      <a:pt x="983" y="251"/>
                    </a:lnTo>
                    <a:lnTo>
                      <a:pt x="981" y="252"/>
                    </a:lnTo>
                    <a:lnTo>
                      <a:pt x="978" y="252"/>
                    </a:lnTo>
                    <a:lnTo>
                      <a:pt x="976" y="252"/>
                    </a:lnTo>
                    <a:lnTo>
                      <a:pt x="968" y="256"/>
                    </a:lnTo>
                    <a:lnTo>
                      <a:pt x="965" y="259"/>
                    </a:lnTo>
                    <a:lnTo>
                      <a:pt x="960" y="259"/>
                    </a:lnTo>
                    <a:lnTo>
                      <a:pt x="956" y="259"/>
                    </a:lnTo>
                    <a:lnTo>
                      <a:pt x="953" y="257"/>
                    </a:lnTo>
                    <a:lnTo>
                      <a:pt x="950" y="256"/>
                    </a:lnTo>
                    <a:lnTo>
                      <a:pt x="946" y="256"/>
                    </a:lnTo>
                    <a:lnTo>
                      <a:pt x="945" y="256"/>
                    </a:lnTo>
                    <a:lnTo>
                      <a:pt x="941" y="254"/>
                    </a:lnTo>
                    <a:lnTo>
                      <a:pt x="941" y="254"/>
                    </a:lnTo>
                    <a:lnTo>
                      <a:pt x="938" y="254"/>
                    </a:lnTo>
                    <a:lnTo>
                      <a:pt x="936" y="254"/>
                    </a:lnTo>
                    <a:lnTo>
                      <a:pt x="936" y="256"/>
                    </a:lnTo>
                    <a:lnTo>
                      <a:pt x="935" y="256"/>
                    </a:lnTo>
                    <a:lnTo>
                      <a:pt x="931" y="256"/>
                    </a:lnTo>
                    <a:lnTo>
                      <a:pt x="930" y="256"/>
                    </a:lnTo>
                    <a:lnTo>
                      <a:pt x="928" y="259"/>
                    </a:lnTo>
                    <a:lnTo>
                      <a:pt x="925" y="259"/>
                    </a:lnTo>
                    <a:lnTo>
                      <a:pt x="923" y="257"/>
                    </a:lnTo>
                    <a:lnTo>
                      <a:pt x="920" y="259"/>
                    </a:lnTo>
                    <a:lnTo>
                      <a:pt x="918" y="261"/>
                    </a:lnTo>
                    <a:lnTo>
                      <a:pt x="913" y="259"/>
                    </a:lnTo>
                    <a:lnTo>
                      <a:pt x="910" y="259"/>
                    </a:lnTo>
                    <a:lnTo>
                      <a:pt x="905" y="259"/>
                    </a:lnTo>
                    <a:lnTo>
                      <a:pt x="902" y="262"/>
                    </a:lnTo>
                    <a:lnTo>
                      <a:pt x="897" y="261"/>
                    </a:lnTo>
                    <a:lnTo>
                      <a:pt x="893" y="261"/>
                    </a:lnTo>
                    <a:lnTo>
                      <a:pt x="897" y="262"/>
                    </a:lnTo>
                    <a:lnTo>
                      <a:pt x="900" y="262"/>
                    </a:lnTo>
                    <a:lnTo>
                      <a:pt x="910" y="262"/>
                    </a:lnTo>
                    <a:lnTo>
                      <a:pt x="913" y="261"/>
                    </a:lnTo>
                    <a:lnTo>
                      <a:pt x="916" y="261"/>
                    </a:lnTo>
                    <a:lnTo>
                      <a:pt x="920" y="264"/>
                    </a:lnTo>
                    <a:lnTo>
                      <a:pt x="925" y="264"/>
                    </a:lnTo>
                    <a:lnTo>
                      <a:pt x="935" y="264"/>
                    </a:lnTo>
                    <a:lnTo>
                      <a:pt x="938" y="267"/>
                    </a:lnTo>
                    <a:lnTo>
                      <a:pt x="941" y="267"/>
                    </a:lnTo>
                    <a:lnTo>
                      <a:pt x="943" y="264"/>
                    </a:lnTo>
                    <a:lnTo>
                      <a:pt x="946" y="264"/>
                    </a:lnTo>
                    <a:lnTo>
                      <a:pt x="950" y="264"/>
                    </a:lnTo>
                    <a:lnTo>
                      <a:pt x="951" y="267"/>
                    </a:lnTo>
                    <a:lnTo>
                      <a:pt x="956" y="269"/>
                    </a:lnTo>
                    <a:lnTo>
                      <a:pt x="958" y="271"/>
                    </a:lnTo>
                    <a:lnTo>
                      <a:pt x="958" y="274"/>
                    </a:lnTo>
                    <a:lnTo>
                      <a:pt x="955" y="277"/>
                    </a:lnTo>
                    <a:lnTo>
                      <a:pt x="951" y="277"/>
                    </a:lnTo>
                    <a:lnTo>
                      <a:pt x="950" y="277"/>
                    </a:lnTo>
                    <a:lnTo>
                      <a:pt x="950" y="280"/>
                    </a:lnTo>
                    <a:lnTo>
                      <a:pt x="950" y="284"/>
                    </a:lnTo>
                    <a:lnTo>
                      <a:pt x="946" y="285"/>
                    </a:lnTo>
                    <a:lnTo>
                      <a:pt x="936" y="287"/>
                    </a:lnTo>
                    <a:lnTo>
                      <a:pt x="933" y="287"/>
                    </a:lnTo>
                    <a:lnTo>
                      <a:pt x="928" y="287"/>
                    </a:lnTo>
                    <a:lnTo>
                      <a:pt x="920" y="287"/>
                    </a:lnTo>
                    <a:lnTo>
                      <a:pt x="916" y="285"/>
                    </a:lnTo>
                    <a:lnTo>
                      <a:pt x="908" y="279"/>
                    </a:lnTo>
                    <a:lnTo>
                      <a:pt x="902" y="277"/>
                    </a:lnTo>
                    <a:lnTo>
                      <a:pt x="898" y="277"/>
                    </a:lnTo>
                    <a:lnTo>
                      <a:pt x="893" y="280"/>
                    </a:lnTo>
                    <a:lnTo>
                      <a:pt x="892" y="285"/>
                    </a:lnTo>
                    <a:lnTo>
                      <a:pt x="887" y="289"/>
                    </a:lnTo>
                    <a:lnTo>
                      <a:pt x="883" y="290"/>
                    </a:lnTo>
                    <a:lnTo>
                      <a:pt x="882" y="292"/>
                    </a:lnTo>
                    <a:lnTo>
                      <a:pt x="883" y="292"/>
                    </a:lnTo>
                    <a:lnTo>
                      <a:pt x="887" y="292"/>
                    </a:lnTo>
                    <a:lnTo>
                      <a:pt x="888" y="295"/>
                    </a:lnTo>
                    <a:lnTo>
                      <a:pt x="888" y="299"/>
                    </a:lnTo>
                    <a:lnTo>
                      <a:pt x="887" y="300"/>
                    </a:lnTo>
                    <a:lnTo>
                      <a:pt x="883" y="300"/>
                    </a:lnTo>
                    <a:lnTo>
                      <a:pt x="883" y="302"/>
                    </a:lnTo>
                    <a:lnTo>
                      <a:pt x="885" y="304"/>
                    </a:lnTo>
                    <a:lnTo>
                      <a:pt x="888" y="305"/>
                    </a:lnTo>
                    <a:lnTo>
                      <a:pt x="892" y="305"/>
                    </a:lnTo>
                    <a:lnTo>
                      <a:pt x="893" y="304"/>
                    </a:lnTo>
                    <a:lnTo>
                      <a:pt x="898" y="300"/>
                    </a:lnTo>
                    <a:lnTo>
                      <a:pt x="902" y="297"/>
                    </a:lnTo>
                    <a:lnTo>
                      <a:pt x="907" y="295"/>
                    </a:lnTo>
                    <a:lnTo>
                      <a:pt x="913" y="294"/>
                    </a:lnTo>
                    <a:lnTo>
                      <a:pt x="920" y="290"/>
                    </a:lnTo>
                    <a:lnTo>
                      <a:pt x="923" y="290"/>
                    </a:lnTo>
                    <a:lnTo>
                      <a:pt x="925" y="292"/>
                    </a:lnTo>
                    <a:lnTo>
                      <a:pt x="926" y="294"/>
                    </a:lnTo>
                    <a:lnTo>
                      <a:pt x="931" y="295"/>
                    </a:lnTo>
                    <a:lnTo>
                      <a:pt x="935" y="297"/>
                    </a:lnTo>
                    <a:lnTo>
                      <a:pt x="935" y="299"/>
                    </a:lnTo>
                    <a:lnTo>
                      <a:pt x="933" y="300"/>
                    </a:lnTo>
                    <a:lnTo>
                      <a:pt x="928" y="304"/>
                    </a:lnTo>
                    <a:lnTo>
                      <a:pt x="926" y="310"/>
                    </a:lnTo>
                    <a:lnTo>
                      <a:pt x="923" y="314"/>
                    </a:lnTo>
                    <a:lnTo>
                      <a:pt x="921" y="317"/>
                    </a:lnTo>
                    <a:lnTo>
                      <a:pt x="915" y="322"/>
                    </a:lnTo>
                    <a:lnTo>
                      <a:pt x="910" y="327"/>
                    </a:lnTo>
                    <a:lnTo>
                      <a:pt x="903" y="337"/>
                    </a:lnTo>
                    <a:lnTo>
                      <a:pt x="900" y="342"/>
                    </a:lnTo>
                    <a:lnTo>
                      <a:pt x="897" y="344"/>
                    </a:lnTo>
                    <a:lnTo>
                      <a:pt x="897" y="350"/>
                    </a:lnTo>
                    <a:lnTo>
                      <a:pt x="895" y="355"/>
                    </a:lnTo>
                    <a:lnTo>
                      <a:pt x="895" y="357"/>
                    </a:lnTo>
                    <a:lnTo>
                      <a:pt x="892" y="360"/>
                    </a:lnTo>
                    <a:lnTo>
                      <a:pt x="892" y="367"/>
                    </a:lnTo>
                    <a:lnTo>
                      <a:pt x="888" y="372"/>
                    </a:lnTo>
                    <a:lnTo>
                      <a:pt x="887" y="380"/>
                    </a:lnTo>
                    <a:lnTo>
                      <a:pt x="888" y="383"/>
                    </a:lnTo>
                    <a:lnTo>
                      <a:pt x="890" y="387"/>
                    </a:lnTo>
                    <a:lnTo>
                      <a:pt x="888" y="393"/>
                    </a:lnTo>
                    <a:lnTo>
                      <a:pt x="885" y="395"/>
                    </a:lnTo>
                    <a:lnTo>
                      <a:pt x="882" y="398"/>
                    </a:lnTo>
                    <a:lnTo>
                      <a:pt x="883" y="403"/>
                    </a:lnTo>
                    <a:lnTo>
                      <a:pt x="882" y="405"/>
                    </a:lnTo>
                    <a:lnTo>
                      <a:pt x="880" y="408"/>
                    </a:lnTo>
                    <a:lnTo>
                      <a:pt x="878" y="413"/>
                    </a:lnTo>
                    <a:lnTo>
                      <a:pt x="877" y="418"/>
                    </a:lnTo>
                    <a:lnTo>
                      <a:pt x="873" y="422"/>
                    </a:lnTo>
                    <a:lnTo>
                      <a:pt x="870" y="422"/>
                    </a:lnTo>
                    <a:lnTo>
                      <a:pt x="868" y="418"/>
                    </a:lnTo>
                    <a:lnTo>
                      <a:pt x="868" y="417"/>
                    </a:lnTo>
                    <a:lnTo>
                      <a:pt x="867" y="415"/>
                    </a:lnTo>
                    <a:lnTo>
                      <a:pt x="865" y="413"/>
                    </a:lnTo>
                    <a:lnTo>
                      <a:pt x="868" y="412"/>
                    </a:lnTo>
                    <a:lnTo>
                      <a:pt x="867" y="410"/>
                    </a:lnTo>
                    <a:lnTo>
                      <a:pt x="863" y="408"/>
                    </a:lnTo>
                    <a:lnTo>
                      <a:pt x="860" y="410"/>
                    </a:lnTo>
                    <a:lnTo>
                      <a:pt x="858" y="410"/>
                    </a:lnTo>
                    <a:lnTo>
                      <a:pt x="857" y="412"/>
                    </a:lnTo>
                    <a:lnTo>
                      <a:pt x="857" y="413"/>
                    </a:lnTo>
                    <a:lnTo>
                      <a:pt x="858" y="415"/>
                    </a:lnTo>
                    <a:lnTo>
                      <a:pt x="858" y="417"/>
                    </a:lnTo>
                    <a:lnTo>
                      <a:pt x="855" y="418"/>
                    </a:lnTo>
                    <a:lnTo>
                      <a:pt x="855" y="422"/>
                    </a:lnTo>
                    <a:lnTo>
                      <a:pt x="858" y="423"/>
                    </a:lnTo>
                    <a:lnTo>
                      <a:pt x="862" y="425"/>
                    </a:lnTo>
                    <a:lnTo>
                      <a:pt x="865" y="428"/>
                    </a:lnTo>
                    <a:lnTo>
                      <a:pt x="867" y="430"/>
                    </a:lnTo>
                    <a:lnTo>
                      <a:pt x="868" y="435"/>
                    </a:lnTo>
                    <a:lnTo>
                      <a:pt x="872" y="437"/>
                    </a:lnTo>
                    <a:lnTo>
                      <a:pt x="877" y="438"/>
                    </a:lnTo>
                    <a:lnTo>
                      <a:pt x="882" y="442"/>
                    </a:lnTo>
                    <a:lnTo>
                      <a:pt x="883" y="448"/>
                    </a:lnTo>
                    <a:lnTo>
                      <a:pt x="882" y="450"/>
                    </a:lnTo>
                    <a:lnTo>
                      <a:pt x="878" y="450"/>
                    </a:lnTo>
                    <a:lnTo>
                      <a:pt x="875" y="448"/>
                    </a:lnTo>
                    <a:lnTo>
                      <a:pt x="870" y="443"/>
                    </a:lnTo>
                    <a:lnTo>
                      <a:pt x="870" y="442"/>
                    </a:lnTo>
                    <a:lnTo>
                      <a:pt x="867" y="440"/>
                    </a:lnTo>
                    <a:lnTo>
                      <a:pt x="865" y="440"/>
                    </a:lnTo>
                    <a:lnTo>
                      <a:pt x="863" y="440"/>
                    </a:lnTo>
                    <a:lnTo>
                      <a:pt x="863" y="442"/>
                    </a:lnTo>
                    <a:lnTo>
                      <a:pt x="863" y="445"/>
                    </a:lnTo>
                    <a:lnTo>
                      <a:pt x="867" y="448"/>
                    </a:lnTo>
                    <a:lnTo>
                      <a:pt x="867" y="450"/>
                    </a:lnTo>
                    <a:lnTo>
                      <a:pt x="863" y="450"/>
                    </a:lnTo>
                    <a:lnTo>
                      <a:pt x="862" y="448"/>
                    </a:lnTo>
                    <a:lnTo>
                      <a:pt x="860" y="450"/>
                    </a:lnTo>
                    <a:lnTo>
                      <a:pt x="862" y="452"/>
                    </a:lnTo>
                    <a:lnTo>
                      <a:pt x="865" y="453"/>
                    </a:lnTo>
                    <a:lnTo>
                      <a:pt x="865" y="455"/>
                    </a:lnTo>
                    <a:lnTo>
                      <a:pt x="863" y="457"/>
                    </a:lnTo>
                    <a:lnTo>
                      <a:pt x="865" y="458"/>
                    </a:lnTo>
                    <a:lnTo>
                      <a:pt x="867" y="457"/>
                    </a:lnTo>
                    <a:lnTo>
                      <a:pt x="872" y="458"/>
                    </a:lnTo>
                    <a:lnTo>
                      <a:pt x="873" y="460"/>
                    </a:lnTo>
                    <a:lnTo>
                      <a:pt x="873" y="463"/>
                    </a:lnTo>
                    <a:lnTo>
                      <a:pt x="873" y="465"/>
                    </a:lnTo>
                    <a:lnTo>
                      <a:pt x="875" y="467"/>
                    </a:lnTo>
                    <a:lnTo>
                      <a:pt x="877" y="465"/>
                    </a:lnTo>
                    <a:lnTo>
                      <a:pt x="882" y="462"/>
                    </a:lnTo>
                    <a:lnTo>
                      <a:pt x="883" y="458"/>
                    </a:lnTo>
                    <a:lnTo>
                      <a:pt x="885" y="458"/>
                    </a:lnTo>
                    <a:lnTo>
                      <a:pt x="885" y="460"/>
                    </a:lnTo>
                    <a:lnTo>
                      <a:pt x="887" y="462"/>
                    </a:lnTo>
                    <a:lnTo>
                      <a:pt x="888" y="462"/>
                    </a:lnTo>
                    <a:lnTo>
                      <a:pt x="892" y="463"/>
                    </a:lnTo>
                    <a:lnTo>
                      <a:pt x="895" y="465"/>
                    </a:lnTo>
                    <a:lnTo>
                      <a:pt x="897" y="468"/>
                    </a:lnTo>
                    <a:lnTo>
                      <a:pt x="897" y="472"/>
                    </a:lnTo>
                    <a:lnTo>
                      <a:pt x="895" y="473"/>
                    </a:lnTo>
                    <a:lnTo>
                      <a:pt x="893" y="478"/>
                    </a:lnTo>
                    <a:lnTo>
                      <a:pt x="893" y="483"/>
                    </a:lnTo>
                    <a:lnTo>
                      <a:pt x="893" y="486"/>
                    </a:lnTo>
                    <a:lnTo>
                      <a:pt x="892" y="491"/>
                    </a:lnTo>
                    <a:lnTo>
                      <a:pt x="888" y="495"/>
                    </a:lnTo>
                    <a:lnTo>
                      <a:pt x="888" y="498"/>
                    </a:lnTo>
                    <a:lnTo>
                      <a:pt x="888" y="500"/>
                    </a:lnTo>
                    <a:lnTo>
                      <a:pt x="887" y="500"/>
                    </a:lnTo>
                    <a:lnTo>
                      <a:pt x="883" y="496"/>
                    </a:lnTo>
                    <a:lnTo>
                      <a:pt x="878" y="495"/>
                    </a:lnTo>
                    <a:lnTo>
                      <a:pt x="877" y="491"/>
                    </a:lnTo>
                    <a:lnTo>
                      <a:pt x="875" y="491"/>
                    </a:lnTo>
                    <a:lnTo>
                      <a:pt x="873" y="491"/>
                    </a:lnTo>
                    <a:lnTo>
                      <a:pt x="868" y="490"/>
                    </a:lnTo>
                    <a:lnTo>
                      <a:pt x="868" y="488"/>
                    </a:lnTo>
                    <a:lnTo>
                      <a:pt x="868" y="486"/>
                    </a:lnTo>
                    <a:lnTo>
                      <a:pt x="867" y="483"/>
                    </a:lnTo>
                    <a:lnTo>
                      <a:pt x="863" y="483"/>
                    </a:lnTo>
                    <a:lnTo>
                      <a:pt x="862" y="483"/>
                    </a:lnTo>
                    <a:lnTo>
                      <a:pt x="860" y="483"/>
                    </a:lnTo>
                    <a:lnTo>
                      <a:pt x="857" y="480"/>
                    </a:lnTo>
                    <a:lnTo>
                      <a:pt x="853" y="480"/>
                    </a:lnTo>
                    <a:lnTo>
                      <a:pt x="850" y="481"/>
                    </a:lnTo>
                    <a:lnTo>
                      <a:pt x="850" y="481"/>
                    </a:lnTo>
                    <a:lnTo>
                      <a:pt x="850" y="485"/>
                    </a:lnTo>
                    <a:lnTo>
                      <a:pt x="848" y="485"/>
                    </a:lnTo>
                    <a:lnTo>
                      <a:pt x="847" y="483"/>
                    </a:lnTo>
                    <a:lnTo>
                      <a:pt x="842" y="483"/>
                    </a:lnTo>
                    <a:lnTo>
                      <a:pt x="838" y="485"/>
                    </a:lnTo>
                    <a:lnTo>
                      <a:pt x="840" y="485"/>
                    </a:lnTo>
                    <a:lnTo>
                      <a:pt x="843" y="485"/>
                    </a:lnTo>
                    <a:lnTo>
                      <a:pt x="847" y="486"/>
                    </a:lnTo>
                    <a:lnTo>
                      <a:pt x="848" y="488"/>
                    </a:lnTo>
                    <a:lnTo>
                      <a:pt x="848" y="488"/>
                    </a:lnTo>
                    <a:lnTo>
                      <a:pt x="845" y="490"/>
                    </a:lnTo>
                    <a:lnTo>
                      <a:pt x="840" y="495"/>
                    </a:lnTo>
                    <a:lnTo>
                      <a:pt x="835" y="496"/>
                    </a:lnTo>
                    <a:lnTo>
                      <a:pt x="833" y="496"/>
                    </a:lnTo>
                    <a:lnTo>
                      <a:pt x="832" y="495"/>
                    </a:lnTo>
                    <a:lnTo>
                      <a:pt x="832" y="491"/>
                    </a:lnTo>
                    <a:lnTo>
                      <a:pt x="830" y="490"/>
                    </a:lnTo>
                    <a:lnTo>
                      <a:pt x="828" y="491"/>
                    </a:lnTo>
                    <a:lnTo>
                      <a:pt x="828" y="495"/>
                    </a:lnTo>
                    <a:lnTo>
                      <a:pt x="830" y="496"/>
                    </a:lnTo>
                    <a:lnTo>
                      <a:pt x="828" y="498"/>
                    </a:lnTo>
                    <a:lnTo>
                      <a:pt x="828" y="501"/>
                    </a:lnTo>
                    <a:lnTo>
                      <a:pt x="830" y="503"/>
                    </a:lnTo>
                    <a:lnTo>
                      <a:pt x="828" y="505"/>
                    </a:lnTo>
                    <a:lnTo>
                      <a:pt x="828" y="506"/>
                    </a:lnTo>
                    <a:lnTo>
                      <a:pt x="830" y="508"/>
                    </a:lnTo>
                    <a:lnTo>
                      <a:pt x="828" y="510"/>
                    </a:lnTo>
                    <a:lnTo>
                      <a:pt x="823" y="508"/>
                    </a:lnTo>
                    <a:lnTo>
                      <a:pt x="820" y="508"/>
                    </a:lnTo>
                    <a:lnTo>
                      <a:pt x="818" y="510"/>
                    </a:lnTo>
                    <a:lnTo>
                      <a:pt x="822" y="511"/>
                    </a:lnTo>
                    <a:lnTo>
                      <a:pt x="825" y="513"/>
                    </a:lnTo>
                    <a:lnTo>
                      <a:pt x="832" y="511"/>
                    </a:lnTo>
                    <a:lnTo>
                      <a:pt x="832" y="513"/>
                    </a:lnTo>
                    <a:lnTo>
                      <a:pt x="832" y="516"/>
                    </a:lnTo>
                    <a:lnTo>
                      <a:pt x="832" y="520"/>
                    </a:lnTo>
                    <a:lnTo>
                      <a:pt x="833" y="520"/>
                    </a:lnTo>
                    <a:lnTo>
                      <a:pt x="835" y="518"/>
                    </a:lnTo>
                    <a:lnTo>
                      <a:pt x="838" y="518"/>
                    </a:lnTo>
                    <a:lnTo>
                      <a:pt x="843" y="520"/>
                    </a:lnTo>
                    <a:lnTo>
                      <a:pt x="845" y="521"/>
                    </a:lnTo>
                    <a:lnTo>
                      <a:pt x="850" y="521"/>
                    </a:lnTo>
                    <a:lnTo>
                      <a:pt x="853" y="521"/>
                    </a:lnTo>
                    <a:lnTo>
                      <a:pt x="857" y="521"/>
                    </a:lnTo>
                    <a:lnTo>
                      <a:pt x="858" y="520"/>
                    </a:lnTo>
                    <a:lnTo>
                      <a:pt x="860" y="520"/>
                    </a:lnTo>
                    <a:lnTo>
                      <a:pt x="860" y="523"/>
                    </a:lnTo>
                    <a:lnTo>
                      <a:pt x="860" y="526"/>
                    </a:lnTo>
                    <a:lnTo>
                      <a:pt x="862" y="530"/>
                    </a:lnTo>
                    <a:lnTo>
                      <a:pt x="860" y="530"/>
                    </a:lnTo>
                    <a:lnTo>
                      <a:pt x="858" y="531"/>
                    </a:lnTo>
                    <a:lnTo>
                      <a:pt x="855" y="530"/>
                    </a:lnTo>
                    <a:lnTo>
                      <a:pt x="853" y="530"/>
                    </a:lnTo>
                    <a:lnTo>
                      <a:pt x="850" y="531"/>
                    </a:lnTo>
                    <a:lnTo>
                      <a:pt x="847" y="531"/>
                    </a:lnTo>
                    <a:lnTo>
                      <a:pt x="845" y="530"/>
                    </a:lnTo>
                    <a:lnTo>
                      <a:pt x="838" y="531"/>
                    </a:lnTo>
                    <a:lnTo>
                      <a:pt x="833" y="531"/>
                    </a:lnTo>
                    <a:lnTo>
                      <a:pt x="830" y="531"/>
                    </a:lnTo>
                    <a:lnTo>
                      <a:pt x="830" y="530"/>
                    </a:lnTo>
                    <a:lnTo>
                      <a:pt x="828" y="531"/>
                    </a:lnTo>
                    <a:lnTo>
                      <a:pt x="830" y="533"/>
                    </a:lnTo>
                    <a:lnTo>
                      <a:pt x="830" y="535"/>
                    </a:lnTo>
                    <a:lnTo>
                      <a:pt x="833" y="535"/>
                    </a:lnTo>
                    <a:lnTo>
                      <a:pt x="837" y="533"/>
                    </a:lnTo>
                    <a:lnTo>
                      <a:pt x="845" y="533"/>
                    </a:lnTo>
                    <a:lnTo>
                      <a:pt x="848" y="535"/>
                    </a:lnTo>
                    <a:lnTo>
                      <a:pt x="850" y="538"/>
                    </a:lnTo>
                    <a:lnTo>
                      <a:pt x="853" y="538"/>
                    </a:lnTo>
                    <a:lnTo>
                      <a:pt x="857" y="538"/>
                    </a:lnTo>
                    <a:lnTo>
                      <a:pt x="860" y="541"/>
                    </a:lnTo>
                    <a:lnTo>
                      <a:pt x="862" y="545"/>
                    </a:lnTo>
                    <a:lnTo>
                      <a:pt x="865" y="548"/>
                    </a:lnTo>
                    <a:lnTo>
                      <a:pt x="867" y="550"/>
                    </a:lnTo>
                    <a:lnTo>
                      <a:pt x="865" y="550"/>
                    </a:lnTo>
                    <a:lnTo>
                      <a:pt x="862" y="550"/>
                    </a:lnTo>
                    <a:lnTo>
                      <a:pt x="860" y="548"/>
                    </a:lnTo>
                    <a:lnTo>
                      <a:pt x="860" y="550"/>
                    </a:lnTo>
                    <a:lnTo>
                      <a:pt x="860" y="551"/>
                    </a:lnTo>
                    <a:lnTo>
                      <a:pt x="862" y="555"/>
                    </a:lnTo>
                    <a:lnTo>
                      <a:pt x="862" y="560"/>
                    </a:lnTo>
                    <a:lnTo>
                      <a:pt x="862" y="563"/>
                    </a:lnTo>
                    <a:lnTo>
                      <a:pt x="862" y="566"/>
                    </a:lnTo>
                    <a:lnTo>
                      <a:pt x="862" y="568"/>
                    </a:lnTo>
                    <a:lnTo>
                      <a:pt x="860" y="571"/>
                    </a:lnTo>
                    <a:lnTo>
                      <a:pt x="858" y="578"/>
                    </a:lnTo>
                    <a:lnTo>
                      <a:pt x="855" y="581"/>
                    </a:lnTo>
                    <a:lnTo>
                      <a:pt x="852" y="581"/>
                    </a:lnTo>
                    <a:lnTo>
                      <a:pt x="850" y="579"/>
                    </a:lnTo>
                    <a:lnTo>
                      <a:pt x="848" y="576"/>
                    </a:lnTo>
                    <a:lnTo>
                      <a:pt x="852" y="573"/>
                    </a:lnTo>
                    <a:lnTo>
                      <a:pt x="850" y="571"/>
                    </a:lnTo>
                    <a:lnTo>
                      <a:pt x="847" y="571"/>
                    </a:lnTo>
                    <a:lnTo>
                      <a:pt x="845" y="571"/>
                    </a:lnTo>
                    <a:lnTo>
                      <a:pt x="843" y="571"/>
                    </a:lnTo>
                    <a:lnTo>
                      <a:pt x="837" y="565"/>
                    </a:lnTo>
                    <a:lnTo>
                      <a:pt x="833" y="561"/>
                    </a:lnTo>
                    <a:lnTo>
                      <a:pt x="828" y="560"/>
                    </a:lnTo>
                    <a:lnTo>
                      <a:pt x="828" y="556"/>
                    </a:lnTo>
                    <a:lnTo>
                      <a:pt x="827" y="553"/>
                    </a:lnTo>
                    <a:lnTo>
                      <a:pt x="822" y="548"/>
                    </a:lnTo>
                    <a:lnTo>
                      <a:pt x="818" y="546"/>
                    </a:lnTo>
                    <a:lnTo>
                      <a:pt x="818" y="546"/>
                    </a:lnTo>
                    <a:lnTo>
                      <a:pt x="818" y="548"/>
                    </a:lnTo>
                    <a:lnTo>
                      <a:pt x="818" y="550"/>
                    </a:lnTo>
                    <a:lnTo>
                      <a:pt x="823" y="553"/>
                    </a:lnTo>
                    <a:lnTo>
                      <a:pt x="823" y="556"/>
                    </a:lnTo>
                    <a:lnTo>
                      <a:pt x="822" y="558"/>
                    </a:lnTo>
                    <a:lnTo>
                      <a:pt x="817" y="556"/>
                    </a:lnTo>
                    <a:lnTo>
                      <a:pt x="813" y="555"/>
                    </a:lnTo>
                    <a:lnTo>
                      <a:pt x="812" y="551"/>
                    </a:lnTo>
                    <a:lnTo>
                      <a:pt x="810" y="548"/>
                    </a:lnTo>
                    <a:lnTo>
                      <a:pt x="809" y="551"/>
                    </a:lnTo>
                    <a:lnTo>
                      <a:pt x="810" y="553"/>
                    </a:lnTo>
                    <a:lnTo>
                      <a:pt x="813" y="558"/>
                    </a:lnTo>
                    <a:lnTo>
                      <a:pt x="820" y="560"/>
                    </a:lnTo>
                    <a:lnTo>
                      <a:pt x="827" y="561"/>
                    </a:lnTo>
                    <a:lnTo>
                      <a:pt x="833" y="565"/>
                    </a:lnTo>
                    <a:lnTo>
                      <a:pt x="842" y="573"/>
                    </a:lnTo>
                    <a:lnTo>
                      <a:pt x="843" y="576"/>
                    </a:lnTo>
                    <a:lnTo>
                      <a:pt x="842" y="578"/>
                    </a:lnTo>
                    <a:lnTo>
                      <a:pt x="838" y="578"/>
                    </a:lnTo>
                    <a:lnTo>
                      <a:pt x="837" y="576"/>
                    </a:lnTo>
                    <a:lnTo>
                      <a:pt x="832" y="576"/>
                    </a:lnTo>
                    <a:lnTo>
                      <a:pt x="830" y="578"/>
                    </a:lnTo>
                    <a:lnTo>
                      <a:pt x="825" y="581"/>
                    </a:lnTo>
                    <a:lnTo>
                      <a:pt x="822" y="581"/>
                    </a:lnTo>
                    <a:lnTo>
                      <a:pt x="818" y="579"/>
                    </a:lnTo>
                    <a:lnTo>
                      <a:pt x="817" y="576"/>
                    </a:lnTo>
                    <a:lnTo>
                      <a:pt x="818" y="576"/>
                    </a:lnTo>
                    <a:lnTo>
                      <a:pt x="817" y="574"/>
                    </a:lnTo>
                    <a:lnTo>
                      <a:pt x="813" y="571"/>
                    </a:lnTo>
                    <a:lnTo>
                      <a:pt x="813" y="574"/>
                    </a:lnTo>
                    <a:lnTo>
                      <a:pt x="815" y="576"/>
                    </a:lnTo>
                    <a:lnTo>
                      <a:pt x="817" y="581"/>
                    </a:lnTo>
                    <a:lnTo>
                      <a:pt x="818" y="583"/>
                    </a:lnTo>
                    <a:lnTo>
                      <a:pt x="822" y="584"/>
                    </a:lnTo>
                    <a:lnTo>
                      <a:pt x="827" y="583"/>
                    </a:lnTo>
                    <a:lnTo>
                      <a:pt x="830" y="579"/>
                    </a:lnTo>
                    <a:lnTo>
                      <a:pt x="833" y="578"/>
                    </a:lnTo>
                    <a:lnTo>
                      <a:pt x="838" y="581"/>
                    </a:lnTo>
                    <a:lnTo>
                      <a:pt x="838" y="584"/>
                    </a:lnTo>
                    <a:lnTo>
                      <a:pt x="838" y="584"/>
                    </a:lnTo>
                    <a:lnTo>
                      <a:pt x="837" y="593"/>
                    </a:lnTo>
                    <a:lnTo>
                      <a:pt x="835" y="594"/>
                    </a:lnTo>
                    <a:lnTo>
                      <a:pt x="832" y="594"/>
                    </a:lnTo>
                    <a:lnTo>
                      <a:pt x="833" y="596"/>
                    </a:lnTo>
                    <a:lnTo>
                      <a:pt x="835" y="598"/>
                    </a:lnTo>
                    <a:lnTo>
                      <a:pt x="837" y="598"/>
                    </a:lnTo>
                    <a:lnTo>
                      <a:pt x="842" y="598"/>
                    </a:lnTo>
                    <a:lnTo>
                      <a:pt x="847" y="603"/>
                    </a:lnTo>
                    <a:lnTo>
                      <a:pt x="852" y="604"/>
                    </a:lnTo>
                    <a:lnTo>
                      <a:pt x="853" y="603"/>
                    </a:lnTo>
                    <a:lnTo>
                      <a:pt x="857" y="601"/>
                    </a:lnTo>
                    <a:lnTo>
                      <a:pt x="860" y="601"/>
                    </a:lnTo>
                    <a:lnTo>
                      <a:pt x="860" y="603"/>
                    </a:lnTo>
                    <a:lnTo>
                      <a:pt x="858" y="606"/>
                    </a:lnTo>
                    <a:lnTo>
                      <a:pt x="860" y="609"/>
                    </a:lnTo>
                    <a:lnTo>
                      <a:pt x="862" y="613"/>
                    </a:lnTo>
                    <a:lnTo>
                      <a:pt x="860" y="616"/>
                    </a:lnTo>
                    <a:lnTo>
                      <a:pt x="855" y="621"/>
                    </a:lnTo>
                    <a:lnTo>
                      <a:pt x="850" y="624"/>
                    </a:lnTo>
                    <a:lnTo>
                      <a:pt x="848" y="623"/>
                    </a:lnTo>
                    <a:lnTo>
                      <a:pt x="847" y="621"/>
                    </a:lnTo>
                    <a:lnTo>
                      <a:pt x="845" y="619"/>
                    </a:lnTo>
                    <a:lnTo>
                      <a:pt x="843" y="616"/>
                    </a:lnTo>
                    <a:lnTo>
                      <a:pt x="843" y="613"/>
                    </a:lnTo>
                    <a:lnTo>
                      <a:pt x="838" y="609"/>
                    </a:lnTo>
                    <a:lnTo>
                      <a:pt x="833" y="608"/>
                    </a:lnTo>
                    <a:lnTo>
                      <a:pt x="830" y="606"/>
                    </a:lnTo>
                    <a:lnTo>
                      <a:pt x="827" y="606"/>
                    </a:lnTo>
                    <a:lnTo>
                      <a:pt x="823" y="608"/>
                    </a:lnTo>
                    <a:lnTo>
                      <a:pt x="820" y="608"/>
                    </a:lnTo>
                    <a:lnTo>
                      <a:pt x="818" y="606"/>
                    </a:lnTo>
                    <a:lnTo>
                      <a:pt x="817" y="603"/>
                    </a:lnTo>
                    <a:lnTo>
                      <a:pt x="815" y="601"/>
                    </a:lnTo>
                    <a:lnTo>
                      <a:pt x="813" y="601"/>
                    </a:lnTo>
                    <a:lnTo>
                      <a:pt x="813" y="603"/>
                    </a:lnTo>
                    <a:lnTo>
                      <a:pt x="815" y="604"/>
                    </a:lnTo>
                    <a:lnTo>
                      <a:pt x="815" y="609"/>
                    </a:lnTo>
                    <a:lnTo>
                      <a:pt x="813" y="613"/>
                    </a:lnTo>
                    <a:lnTo>
                      <a:pt x="810" y="614"/>
                    </a:lnTo>
                    <a:lnTo>
                      <a:pt x="807" y="614"/>
                    </a:lnTo>
                    <a:lnTo>
                      <a:pt x="805" y="614"/>
                    </a:lnTo>
                    <a:lnTo>
                      <a:pt x="807" y="616"/>
                    </a:lnTo>
                    <a:lnTo>
                      <a:pt x="809" y="618"/>
                    </a:lnTo>
                    <a:lnTo>
                      <a:pt x="809" y="619"/>
                    </a:lnTo>
                    <a:lnTo>
                      <a:pt x="805" y="624"/>
                    </a:lnTo>
                    <a:lnTo>
                      <a:pt x="804" y="626"/>
                    </a:lnTo>
                    <a:lnTo>
                      <a:pt x="804" y="628"/>
                    </a:lnTo>
                    <a:lnTo>
                      <a:pt x="804" y="629"/>
                    </a:lnTo>
                    <a:lnTo>
                      <a:pt x="807" y="629"/>
                    </a:lnTo>
                    <a:lnTo>
                      <a:pt x="809" y="634"/>
                    </a:lnTo>
                    <a:lnTo>
                      <a:pt x="810" y="636"/>
                    </a:lnTo>
                    <a:lnTo>
                      <a:pt x="812" y="639"/>
                    </a:lnTo>
                    <a:lnTo>
                      <a:pt x="810" y="644"/>
                    </a:lnTo>
                    <a:lnTo>
                      <a:pt x="810" y="646"/>
                    </a:lnTo>
                    <a:lnTo>
                      <a:pt x="812" y="643"/>
                    </a:lnTo>
                    <a:lnTo>
                      <a:pt x="813" y="641"/>
                    </a:lnTo>
                    <a:lnTo>
                      <a:pt x="813" y="638"/>
                    </a:lnTo>
                    <a:lnTo>
                      <a:pt x="812" y="636"/>
                    </a:lnTo>
                    <a:lnTo>
                      <a:pt x="812" y="633"/>
                    </a:lnTo>
                    <a:lnTo>
                      <a:pt x="813" y="629"/>
                    </a:lnTo>
                    <a:lnTo>
                      <a:pt x="815" y="629"/>
                    </a:lnTo>
                    <a:lnTo>
                      <a:pt x="817" y="633"/>
                    </a:lnTo>
                    <a:lnTo>
                      <a:pt x="818" y="634"/>
                    </a:lnTo>
                    <a:lnTo>
                      <a:pt x="820" y="636"/>
                    </a:lnTo>
                    <a:lnTo>
                      <a:pt x="823" y="639"/>
                    </a:lnTo>
                    <a:lnTo>
                      <a:pt x="825" y="638"/>
                    </a:lnTo>
                    <a:lnTo>
                      <a:pt x="827" y="638"/>
                    </a:lnTo>
                    <a:lnTo>
                      <a:pt x="828" y="639"/>
                    </a:lnTo>
                    <a:lnTo>
                      <a:pt x="830" y="638"/>
                    </a:lnTo>
                    <a:lnTo>
                      <a:pt x="833" y="636"/>
                    </a:lnTo>
                    <a:lnTo>
                      <a:pt x="837" y="638"/>
                    </a:lnTo>
                    <a:lnTo>
                      <a:pt x="838" y="639"/>
                    </a:lnTo>
                    <a:lnTo>
                      <a:pt x="838" y="643"/>
                    </a:lnTo>
                    <a:lnTo>
                      <a:pt x="835" y="648"/>
                    </a:lnTo>
                    <a:lnTo>
                      <a:pt x="833" y="649"/>
                    </a:lnTo>
                    <a:lnTo>
                      <a:pt x="833" y="654"/>
                    </a:lnTo>
                    <a:lnTo>
                      <a:pt x="833" y="659"/>
                    </a:lnTo>
                    <a:lnTo>
                      <a:pt x="832" y="661"/>
                    </a:lnTo>
                    <a:lnTo>
                      <a:pt x="827" y="659"/>
                    </a:lnTo>
                    <a:lnTo>
                      <a:pt x="823" y="661"/>
                    </a:lnTo>
                    <a:lnTo>
                      <a:pt x="820" y="661"/>
                    </a:lnTo>
                    <a:lnTo>
                      <a:pt x="817" y="659"/>
                    </a:lnTo>
                    <a:lnTo>
                      <a:pt x="813" y="659"/>
                    </a:lnTo>
                    <a:lnTo>
                      <a:pt x="812" y="661"/>
                    </a:lnTo>
                    <a:lnTo>
                      <a:pt x="812" y="664"/>
                    </a:lnTo>
                    <a:lnTo>
                      <a:pt x="809" y="666"/>
                    </a:lnTo>
                    <a:lnTo>
                      <a:pt x="805" y="666"/>
                    </a:lnTo>
                    <a:lnTo>
                      <a:pt x="804" y="666"/>
                    </a:lnTo>
                    <a:lnTo>
                      <a:pt x="802" y="669"/>
                    </a:lnTo>
                    <a:lnTo>
                      <a:pt x="802" y="671"/>
                    </a:lnTo>
                    <a:lnTo>
                      <a:pt x="799" y="671"/>
                    </a:lnTo>
                    <a:lnTo>
                      <a:pt x="795" y="671"/>
                    </a:lnTo>
                    <a:lnTo>
                      <a:pt x="792" y="668"/>
                    </a:lnTo>
                    <a:lnTo>
                      <a:pt x="785" y="664"/>
                    </a:lnTo>
                    <a:lnTo>
                      <a:pt x="782" y="661"/>
                    </a:lnTo>
                    <a:lnTo>
                      <a:pt x="772" y="653"/>
                    </a:lnTo>
                    <a:lnTo>
                      <a:pt x="770" y="649"/>
                    </a:lnTo>
                    <a:lnTo>
                      <a:pt x="770" y="646"/>
                    </a:lnTo>
                    <a:lnTo>
                      <a:pt x="772" y="646"/>
                    </a:lnTo>
                    <a:lnTo>
                      <a:pt x="774" y="646"/>
                    </a:lnTo>
                    <a:lnTo>
                      <a:pt x="775" y="646"/>
                    </a:lnTo>
                    <a:lnTo>
                      <a:pt x="777" y="648"/>
                    </a:lnTo>
                    <a:lnTo>
                      <a:pt x="785" y="651"/>
                    </a:lnTo>
                    <a:lnTo>
                      <a:pt x="790" y="654"/>
                    </a:lnTo>
                    <a:lnTo>
                      <a:pt x="792" y="654"/>
                    </a:lnTo>
                    <a:lnTo>
                      <a:pt x="799" y="653"/>
                    </a:lnTo>
                    <a:lnTo>
                      <a:pt x="799" y="651"/>
                    </a:lnTo>
                    <a:lnTo>
                      <a:pt x="797" y="649"/>
                    </a:lnTo>
                    <a:lnTo>
                      <a:pt x="795" y="651"/>
                    </a:lnTo>
                    <a:lnTo>
                      <a:pt x="792" y="651"/>
                    </a:lnTo>
                    <a:lnTo>
                      <a:pt x="789" y="649"/>
                    </a:lnTo>
                    <a:lnTo>
                      <a:pt x="782" y="646"/>
                    </a:lnTo>
                    <a:lnTo>
                      <a:pt x="774" y="643"/>
                    </a:lnTo>
                    <a:lnTo>
                      <a:pt x="770" y="643"/>
                    </a:lnTo>
                    <a:lnTo>
                      <a:pt x="770" y="641"/>
                    </a:lnTo>
                    <a:lnTo>
                      <a:pt x="770" y="638"/>
                    </a:lnTo>
                    <a:lnTo>
                      <a:pt x="769" y="638"/>
                    </a:lnTo>
                    <a:lnTo>
                      <a:pt x="765" y="638"/>
                    </a:lnTo>
                    <a:lnTo>
                      <a:pt x="764" y="639"/>
                    </a:lnTo>
                    <a:lnTo>
                      <a:pt x="764" y="643"/>
                    </a:lnTo>
                    <a:lnTo>
                      <a:pt x="764" y="649"/>
                    </a:lnTo>
                    <a:lnTo>
                      <a:pt x="764" y="653"/>
                    </a:lnTo>
                    <a:lnTo>
                      <a:pt x="762" y="654"/>
                    </a:lnTo>
                    <a:lnTo>
                      <a:pt x="760" y="654"/>
                    </a:lnTo>
                    <a:lnTo>
                      <a:pt x="754" y="646"/>
                    </a:lnTo>
                    <a:lnTo>
                      <a:pt x="749" y="638"/>
                    </a:lnTo>
                    <a:lnTo>
                      <a:pt x="747" y="636"/>
                    </a:lnTo>
                    <a:lnTo>
                      <a:pt x="745" y="634"/>
                    </a:lnTo>
                    <a:lnTo>
                      <a:pt x="744" y="633"/>
                    </a:lnTo>
                    <a:lnTo>
                      <a:pt x="742" y="633"/>
                    </a:lnTo>
                    <a:lnTo>
                      <a:pt x="742" y="633"/>
                    </a:lnTo>
                    <a:lnTo>
                      <a:pt x="742" y="634"/>
                    </a:lnTo>
                    <a:lnTo>
                      <a:pt x="745" y="638"/>
                    </a:lnTo>
                    <a:lnTo>
                      <a:pt x="750" y="646"/>
                    </a:lnTo>
                    <a:lnTo>
                      <a:pt x="752" y="648"/>
                    </a:lnTo>
                    <a:lnTo>
                      <a:pt x="755" y="649"/>
                    </a:lnTo>
                    <a:lnTo>
                      <a:pt x="755" y="653"/>
                    </a:lnTo>
                    <a:lnTo>
                      <a:pt x="755" y="654"/>
                    </a:lnTo>
                    <a:lnTo>
                      <a:pt x="752" y="654"/>
                    </a:lnTo>
                    <a:lnTo>
                      <a:pt x="749" y="656"/>
                    </a:lnTo>
                    <a:lnTo>
                      <a:pt x="747" y="658"/>
                    </a:lnTo>
                    <a:lnTo>
                      <a:pt x="744" y="661"/>
                    </a:lnTo>
                    <a:lnTo>
                      <a:pt x="740" y="661"/>
                    </a:lnTo>
                    <a:lnTo>
                      <a:pt x="737" y="663"/>
                    </a:lnTo>
                    <a:lnTo>
                      <a:pt x="734" y="664"/>
                    </a:lnTo>
                    <a:lnTo>
                      <a:pt x="730" y="664"/>
                    </a:lnTo>
                    <a:lnTo>
                      <a:pt x="727" y="661"/>
                    </a:lnTo>
                    <a:lnTo>
                      <a:pt x="725" y="661"/>
                    </a:lnTo>
                    <a:lnTo>
                      <a:pt x="722" y="659"/>
                    </a:lnTo>
                    <a:lnTo>
                      <a:pt x="722" y="658"/>
                    </a:lnTo>
                    <a:lnTo>
                      <a:pt x="717" y="654"/>
                    </a:lnTo>
                    <a:lnTo>
                      <a:pt x="714" y="653"/>
                    </a:lnTo>
                    <a:lnTo>
                      <a:pt x="714" y="651"/>
                    </a:lnTo>
                    <a:lnTo>
                      <a:pt x="712" y="648"/>
                    </a:lnTo>
                    <a:lnTo>
                      <a:pt x="711" y="648"/>
                    </a:lnTo>
                    <a:lnTo>
                      <a:pt x="711" y="649"/>
                    </a:lnTo>
                    <a:lnTo>
                      <a:pt x="711" y="653"/>
                    </a:lnTo>
                    <a:lnTo>
                      <a:pt x="712" y="654"/>
                    </a:lnTo>
                    <a:lnTo>
                      <a:pt x="715" y="656"/>
                    </a:lnTo>
                    <a:lnTo>
                      <a:pt x="719" y="659"/>
                    </a:lnTo>
                    <a:lnTo>
                      <a:pt x="722" y="664"/>
                    </a:lnTo>
                    <a:lnTo>
                      <a:pt x="722" y="666"/>
                    </a:lnTo>
                    <a:lnTo>
                      <a:pt x="720" y="668"/>
                    </a:lnTo>
                    <a:lnTo>
                      <a:pt x="712" y="668"/>
                    </a:lnTo>
                    <a:lnTo>
                      <a:pt x="707" y="666"/>
                    </a:lnTo>
                    <a:lnTo>
                      <a:pt x="704" y="668"/>
                    </a:lnTo>
                    <a:lnTo>
                      <a:pt x="701" y="669"/>
                    </a:lnTo>
                    <a:lnTo>
                      <a:pt x="702" y="671"/>
                    </a:lnTo>
                    <a:lnTo>
                      <a:pt x="704" y="671"/>
                    </a:lnTo>
                    <a:lnTo>
                      <a:pt x="706" y="674"/>
                    </a:lnTo>
                    <a:lnTo>
                      <a:pt x="707" y="674"/>
                    </a:lnTo>
                    <a:lnTo>
                      <a:pt x="709" y="672"/>
                    </a:lnTo>
                    <a:lnTo>
                      <a:pt x="709" y="669"/>
                    </a:lnTo>
                    <a:lnTo>
                      <a:pt x="714" y="669"/>
                    </a:lnTo>
                    <a:lnTo>
                      <a:pt x="714" y="669"/>
                    </a:lnTo>
                    <a:lnTo>
                      <a:pt x="717" y="671"/>
                    </a:lnTo>
                    <a:lnTo>
                      <a:pt x="717" y="671"/>
                    </a:lnTo>
                    <a:lnTo>
                      <a:pt x="720" y="672"/>
                    </a:lnTo>
                    <a:lnTo>
                      <a:pt x="724" y="671"/>
                    </a:lnTo>
                    <a:lnTo>
                      <a:pt x="724" y="668"/>
                    </a:lnTo>
                    <a:lnTo>
                      <a:pt x="727" y="668"/>
                    </a:lnTo>
                    <a:lnTo>
                      <a:pt x="732" y="668"/>
                    </a:lnTo>
                    <a:lnTo>
                      <a:pt x="735" y="668"/>
                    </a:lnTo>
                    <a:lnTo>
                      <a:pt x="737" y="669"/>
                    </a:lnTo>
                    <a:lnTo>
                      <a:pt x="740" y="671"/>
                    </a:lnTo>
                    <a:lnTo>
                      <a:pt x="745" y="672"/>
                    </a:lnTo>
                    <a:lnTo>
                      <a:pt x="749" y="674"/>
                    </a:lnTo>
                    <a:lnTo>
                      <a:pt x="750" y="676"/>
                    </a:lnTo>
                    <a:lnTo>
                      <a:pt x="749" y="679"/>
                    </a:lnTo>
                    <a:lnTo>
                      <a:pt x="747" y="679"/>
                    </a:lnTo>
                    <a:lnTo>
                      <a:pt x="744" y="682"/>
                    </a:lnTo>
                    <a:lnTo>
                      <a:pt x="740" y="681"/>
                    </a:lnTo>
                    <a:lnTo>
                      <a:pt x="737" y="682"/>
                    </a:lnTo>
                    <a:lnTo>
                      <a:pt x="734" y="686"/>
                    </a:lnTo>
                    <a:lnTo>
                      <a:pt x="730" y="686"/>
                    </a:lnTo>
                    <a:lnTo>
                      <a:pt x="725" y="686"/>
                    </a:lnTo>
                    <a:lnTo>
                      <a:pt x="722" y="682"/>
                    </a:lnTo>
                    <a:lnTo>
                      <a:pt x="719" y="681"/>
                    </a:lnTo>
                    <a:lnTo>
                      <a:pt x="717" y="681"/>
                    </a:lnTo>
                    <a:lnTo>
                      <a:pt x="715" y="682"/>
                    </a:lnTo>
                    <a:lnTo>
                      <a:pt x="712" y="682"/>
                    </a:lnTo>
                    <a:lnTo>
                      <a:pt x="711" y="682"/>
                    </a:lnTo>
                    <a:lnTo>
                      <a:pt x="709" y="682"/>
                    </a:lnTo>
                    <a:lnTo>
                      <a:pt x="709" y="684"/>
                    </a:lnTo>
                    <a:lnTo>
                      <a:pt x="712" y="684"/>
                    </a:lnTo>
                    <a:lnTo>
                      <a:pt x="715" y="684"/>
                    </a:lnTo>
                    <a:lnTo>
                      <a:pt x="717" y="684"/>
                    </a:lnTo>
                    <a:lnTo>
                      <a:pt x="720" y="684"/>
                    </a:lnTo>
                    <a:lnTo>
                      <a:pt x="722" y="686"/>
                    </a:lnTo>
                    <a:lnTo>
                      <a:pt x="720" y="687"/>
                    </a:lnTo>
                    <a:lnTo>
                      <a:pt x="715" y="687"/>
                    </a:lnTo>
                    <a:lnTo>
                      <a:pt x="712" y="691"/>
                    </a:lnTo>
                    <a:lnTo>
                      <a:pt x="711" y="691"/>
                    </a:lnTo>
                    <a:lnTo>
                      <a:pt x="714" y="692"/>
                    </a:lnTo>
                    <a:lnTo>
                      <a:pt x="715" y="691"/>
                    </a:lnTo>
                    <a:lnTo>
                      <a:pt x="720" y="689"/>
                    </a:lnTo>
                    <a:lnTo>
                      <a:pt x="722" y="689"/>
                    </a:lnTo>
                    <a:lnTo>
                      <a:pt x="724" y="691"/>
                    </a:lnTo>
                    <a:lnTo>
                      <a:pt x="724" y="694"/>
                    </a:lnTo>
                    <a:lnTo>
                      <a:pt x="725" y="694"/>
                    </a:lnTo>
                    <a:lnTo>
                      <a:pt x="727" y="691"/>
                    </a:lnTo>
                    <a:lnTo>
                      <a:pt x="730" y="691"/>
                    </a:lnTo>
                    <a:lnTo>
                      <a:pt x="732" y="689"/>
                    </a:lnTo>
                    <a:lnTo>
                      <a:pt x="737" y="687"/>
                    </a:lnTo>
                    <a:lnTo>
                      <a:pt x="739" y="687"/>
                    </a:lnTo>
                    <a:lnTo>
                      <a:pt x="740" y="687"/>
                    </a:lnTo>
                    <a:lnTo>
                      <a:pt x="747" y="692"/>
                    </a:lnTo>
                    <a:lnTo>
                      <a:pt x="749" y="691"/>
                    </a:lnTo>
                    <a:lnTo>
                      <a:pt x="750" y="692"/>
                    </a:lnTo>
                    <a:lnTo>
                      <a:pt x="750" y="696"/>
                    </a:lnTo>
                    <a:lnTo>
                      <a:pt x="750" y="702"/>
                    </a:lnTo>
                    <a:lnTo>
                      <a:pt x="747" y="704"/>
                    </a:lnTo>
                    <a:lnTo>
                      <a:pt x="742" y="706"/>
                    </a:lnTo>
                    <a:lnTo>
                      <a:pt x="739" y="704"/>
                    </a:lnTo>
                    <a:lnTo>
                      <a:pt x="735" y="704"/>
                    </a:lnTo>
                    <a:lnTo>
                      <a:pt x="727" y="704"/>
                    </a:lnTo>
                    <a:lnTo>
                      <a:pt x="725" y="702"/>
                    </a:lnTo>
                    <a:lnTo>
                      <a:pt x="722" y="706"/>
                    </a:lnTo>
                    <a:lnTo>
                      <a:pt x="724" y="706"/>
                    </a:lnTo>
                    <a:lnTo>
                      <a:pt x="729" y="706"/>
                    </a:lnTo>
                    <a:lnTo>
                      <a:pt x="732" y="706"/>
                    </a:lnTo>
                    <a:lnTo>
                      <a:pt x="739" y="707"/>
                    </a:lnTo>
                    <a:lnTo>
                      <a:pt x="740" y="711"/>
                    </a:lnTo>
                    <a:lnTo>
                      <a:pt x="740" y="712"/>
                    </a:lnTo>
                    <a:lnTo>
                      <a:pt x="744" y="709"/>
                    </a:lnTo>
                    <a:lnTo>
                      <a:pt x="747" y="707"/>
                    </a:lnTo>
                    <a:lnTo>
                      <a:pt x="752" y="707"/>
                    </a:lnTo>
                    <a:lnTo>
                      <a:pt x="757" y="709"/>
                    </a:lnTo>
                    <a:lnTo>
                      <a:pt x="759" y="711"/>
                    </a:lnTo>
                    <a:lnTo>
                      <a:pt x="765" y="716"/>
                    </a:lnTo>
                    <a:lnTo>
                      <a:pt x="767" y="717"/>
                    </a:lnTo>
                    <a:lnTo>
                      <a:pt x="767" y="719"/>
                    </a:lnTo>
                    <a:lnTo>
                      <a:pt x="769" y="719"/>
                    </a:lnTo>
                    <a:lnTo>
                      <a:pt x="770" y="721"/>
                    </a:lnTo>
                    <a:lnTo>
                      <a:pt x="772" y="721"/>
                    </a:lnTo>
                    <a:lnTo>
                      <a:pt x="775" y="724"/>
                    </a:lnTo>
                    <a:lnTo>
                      <a:pt x="779" y="726"/>
                    </a:lnTo>
                    <a:lnTo>
                      <a:pt x="780" y="727"/>
                    </a:lnTo>
                    <a:lnTo>
                      <a:pt x="782" y="729"/>
                    </a:lnTo>
                    <a:lnTo>
                      <a:pt x="784" y="729"/>
                    </a:lnTo>
                    <a:lnTo>
                      <a:pt x="785" y="732"/>
                    </a:lnTo>
                    <a:lnTo>
                      <a:pt x="787" y="734"/>
                    </a:lnTo>
                    <a:lnTo>
                      <a:pt x="787" y="734"/>
                    </a:lnTo>
                    <a:lnTo>
                      <a:pt x="785" y="739"/>
                    </a:lnTo>
                    <a:lnTo>
                      <a:pt x="782" y="741"/>
                    </a:lnTo>
                    <a:lnTo>
                      <a:pt x="780" y="744"/>
                    </a:lnTo>
                    <a:lnTo>
                      <a:pt x="779" y="746"/>
                    </a:lnTo>
                    <a:lnTo>
                      <a:pt x="779" y="747"/>
                    </a:lnTo>
                    <a:lnTo>
                      <a:pt x="782" y="744"/>
                    </a:lnTo>
                    <a:lnTo>
                      <a:pt x="787" y="741"/>
                    </a:lnTo>
                    <a:lnTo>
                      <a:pt x="789" y="741"/>
                    </a:lnTo>
                    <a:lnTo>
                      <a:pt x="790" y="741"/>
                    </a:lnTo>
                    <a:lnTo>
                      <a:pt x="789" y="742"/>
                    </a:lnTo>
                    <a:lnTo>
                      <a:pt x="787" y="747"/>
                    </a:lnTo>
                    <a:lnTo>
                      <a:pt x="789" y="746"/>
                    </a:lnTo>
                    <a:lnTo>
                      <a:pt x="790" y="744"/>
                    </a:lnTo>
                    <a:lnTo>
                      <a:pt x="792" y="742"/>
                    </a:lnTo>
                    <a:lnTo>
                      <a:pt x="795" y="742"/>
                    </a:lnTo>
                    <a:lnTo>
                      <a:pt x="797" y="744"/>
                    </a:lnTo>
                    <a:lnTo>
                      <a:pt x="795" y="747"/>
                    </a:lnTo>
                    <a:lnTo>
                      <a:pt x="792" y="749"/>
                    </a:lnTo>
                    <a:lnTo>
                      <a:pt x="789" y="752"/>
                    </a:lnTo>
                    <a:lnTo>
                      <a:pt x="787" y="754"/>
                    </a:lnTo>
                    <a:lnTo>
                      <a:pt x="787" y="757"/>
                    </a:lnTo>
                    <a:lnTo>
                      <a:pt x="789" y="759"/>
                    </a:lnTo>
                    <a:lnTo>
                      <a:pt x="789" y="761"/>
                    </a:lnTo>
                    <a:lnTo>
                      <a:pt x="787" y="766"/>
                    </a:lnTo>
                    <a:lnTo>
                      <a:pt x="787" y="767"/>
                    </a:lnTo>
                    <a:lnTo>
                      <a:pt x="789" y="766"/>
                    </a:lnTo>
                    <a:lnTo>
                      <a:pt x="790" y="761"/>
                    </a:lnTo>
                    <a:lnTo>
                      <a:pt x="794" y="756"/>
                    </a:lnTo>
                    <a:lnTo>
                      <a:pt x="797" y="754"/>
                    </a:lnTo>
                    <a:lnTo>
                      <a:pt x="799" y="754"/>
                    </a:lnTo>
                    <a:lnTo>
                      <a:pt x="799" y="756"/>
                    </a:lnTo>
                    <a:lnTo>
                      <a:pt x="797" y="759"/>
                    </a:lnTo>
                    <a:lnTo>
                      <a:pt x="795" y="764"/>
                    </a:lnTo>
                    <a:lnTo>
                      <a:pt x="795" y="764"/>
                    </a:lnTo>
                    <a:lnTo>
                      <a:pt x="799" y="764"/>
                    </a:lnTo>
                    <a:lnTo>
                      <a:pt x="800" y="766"/>
                    </a:lnTo>
                    <a:lnTo>
                      <a:pt x="799" y="769"/>
                    </a:lnTo>
                    <a:lnTo>
                      <a:pt x="797" y="770"/>
                    </a:lnTo>
                    <a:lnTo>
                      <a:pt x="792" y="772"/>
                    </a:lnTo>
                    <a:lnTo>
                      <a:pt x="792" y="774"/>
                    </a:lnTo>
                    <a:lnTo>
                      <a:pt x="792" y="775"/>
                    </a:lnTo>
                    <a:lnTo>
                      <a:pt x="797" y="774"/>
                    </a:lnTo>
                    <a:lnTo>
                      <a:pt x="797" y="775"/>
                    </a:lnTo>
                    <a:lnTo>
                      <a:pt x="797" y="777"/>
                    </a:lnTo>
                    <a:lnTo>
                      <a:pt x="795" y="779"/>
                    </a:lnTo>
                    <a:lnTo>
                      <a:pt x="797" y="780"/>
                    </a:lnTo>
                    <a:lnTo>
                      <a:pt x="799" y="782"/>
                    </a:lnTo>
                    <a:lnTo>
                      <a:pt x="799" y="784"/>
                    </a:lnTo>
                    <a:lnTo>
                      <a:pt x="799" y="789"/>
                    </a:lnTo>
                    <a:lnTo>
                      <a:pt x="797" y="790"/>
                    </a:lnTo>
                    <a:lnTo>
                      <a:pt x="797" y="797"/>
                    </a:lnTo>
                    <a:lnTo>
                      <a:pt x="797" y="800"/>
                    </a:lnTo>
                    <a:lnTo>
                      <a:pt x="797" y="804"/>
                    </a:lnTo>
                    <a:lnTo>
                      <a:pt x="795" y="805"/>
                    </a:lnTo>
                    <a:lnTo>
                      <a:pt x="792" y="804"/>
                    </a:lnTo>
                    <a:lnTo>
                      <a:pt x="790" y="805"/>
                    </a:lnTo>
                    <a:lnTo>
                      <a:pt x="790" y="804"/>
                    </a:lnTo>
                    <a:lnTo>
                      <a:pt x="790" y="802"/>
                    </a:lnTo>
                    <a:lnTo>
                      <a:pt x="790" y="799"/>
                    </a:lnTo>
                    <a:lnTo>
                      <a:pt x="787" y="799"/>
                    </a:lnTo>
                    <a:lnTo>
                      <a:pt x="785" y="799"/>
                    </a:lnTo>
                    <a:lnTo>
                      <a:pt x="784" y="800"/>
                    </a:lnTo>
                    <a:lnTo>
                      <a:pt x="780" y="800"/>
                    </a:lnTo>
                    <a:lnTo>
                      <a:pt x="780" y="797"/>
                    </a:lnTo>
                    <a:lnTo>
                      <a:pt x="784" y="794"/>
                    </a:lnTo>
                    <a:lnTo>
                      <a:pt x="782" y="789"/>
                    </a:lnTo>
                    <a:lnTo>
                      <a:pt x="782" y="787"/>
                    </a:lnTo>
                    <a:lnTo>
                      <a:pt x="782" y="784"/>
                    </a:lnTo>
                    <a:lnTo>
                      <a:pt x="782" y="782"/>
                    </a:lnTo>
                    <a:lnTo>
                      <a:pt x="780" y="780"/>
                    </a:lnTo>
                    <a:lnTo>
                      <a:pt x="779" y="784"/>
                    </a:lnTo>
                    <a:lnTo>
                      <a:pt x="777" y="787"/>
                    </a:lnTo>
                    <a:lnTo>
                      <a:pt x="779" y="794"/>
                    </a:lnTo>
                    <a:lnTo>
                      <a:pt x="777" y="799"/>
                    </a:lnTo>
                    <a:lnTo>
                      <a:pt x="777" y="800"/>
                    </a:lnTo>
                    <a:lnTo>
                      <a:pt x="775" y="802"/>
                    </a:lnTo>
                    <a:lnTo>
                      <a:pt x="774" y="802"/>
                    </a:lnTo>
                    <a:lnTo>
                      <a:pt x="770" y="802"/>
                    </a:lnTo>
                    <a:lnTo>
                      <a:pt x="767" y="804"/>
                    </a:lnTo>
                    <a:lnTo>
                      <a:pt x="764" y="802"/>
                    </a:lnTo>
                    <a:lnTo>
                      <a:pt x="759" y="797"/>
                    </a:lnTo>
                    <a:lnTo>
                      <a:pt x="755" y="790"/>
                    </a:lnTo>
                    <a:lnTo>
                      <a:pt x="752" y="787"/>
                    </a:lnTo>
                    <a:lnTo>
                      <a:pt x="749" y="785"/>
                    </a:lnTo>
                    <a:lnTo>
                      <a:pt x="749" y="777"/>
                    </a:lnTo>
                    <a:lnTo>
                      <a:pt x="745" y="774"/>
                    </a:lnTo>
                    <a:lnTo>
                      <a:pt x="744" y="772"/>
                    </a:lnTo>
                    <a:lnTo>
                      <a:pt x="742" y="767"/>
                    </a:lnTo>
                    <a:lnTo>
                      <a:pt x="744" y="762"/>
                    </a:lnTo>
                    <a:lnTo>
                      <a:pt x="745" y="759"/>
                    </a:lnTo>
                    <a:lnTo>
                      <a:pt x="744" y="757"/>
                    </a:lnTo>
                    <a:lnTo>
                      <a:pt x="742" y="757"/>
                    </a:lnTo>
                    <a:lnTo>
                      <a:pt x="737" y="759"/>
                    </a:lnTo>
                    <a:lnTo>
                      <a:pt x="735" y="761"/>
                    </a:lnTo>
                    <a:lnTo>
                      <a:pt x="732" y="759"/>
                    </a:lnTo>
                    <a:lnTo>
                      <a:pt x="725" y="749"/>
                    </a:lnTo>
                    <a:lnTo>
                      <a:pt x="724" y="746"/>
                    </a:lnTo>
                    <a:lnTo>
                      <a:pt x="722" y="744"/>
                    </a:lnTo>
                    <a:lnTo>
                      <a:pt x="720" y="746"/>
                    </a:lnTo>
                    <a:lnTo>
                      <a:pt x="715" y="746"/>
                    </a:lnTo>
                    <a:lnTo>
                      <a:pt x="712" y="744"/>
                    </a:lnTo>
                    <a:lnTo>
                      <a:pt x="709" y="746"/>
                    </a:lnTo>
                    <a:lnTo>
                      <a:pt x="707" y="747"/>
                    </a:lnTo>
                    <a:lnTo>
                      <a:pt x="706" y="746"/>
                    </a:lnTo>
                    <a:lnTo>
                      <a:pt x="702" y="742"/>
                    </a:lnTo>
                    <a:lnTo>
                      <a:pt x="702" y="741"/>
                    </a:lnTo>
                    <a:lnTo>
                      <a:pt x="696" y="736"/>
                    </a:lnTo>
                    <a:lnTo>
                      <a:pt x="696" y="734"/>
                    </a:lnTo>
                    <a:lnTo>
                      <a:pt x="694" y="731"/>
                    </a:lnTo>
                    <a:lnTo>
                      <a:pt x="692" y="726"/>
                    </a:lnTo>
                    <a:lnTo>
                      <a:pt x="691" y="724"/>
                    </a:lnTo>
                    <a:lnTo>
                      <a:pt x="689" y="726"/>
                    </a:lnTo>
                    <a:lnTo>
                      <a:pt x="689" y="729"/>
                    </a:lnTo>
                    <a:lnTo>
                      <a:pt x="689" y="731"/>
                    </a:lnTo>
                    <a:lnTo>
                      <a:pt x="684" y="732"/>
                    </a:lnTo>
                    <a:lnTo>
                      <a:pt x="682" y="734"/>
                    </a:lnTo>
                    <a:lnTo>
                      <a:pt x="687" y="736"/>
                    </a:lnTo>
                    <a:lnTo>
                      <a:pt x="689" y="736"/>
                    </a:lnTo>
                    <a:lnTo>
                      <a:pt x="692" y="741"/>
                    </a:lnTo>
                    <a:lnTo>
                      <a:pt x="696" y="744"/>
                    </a:lnTo>
                    <a:lnTo>
                      <a:pt x="694" y="746"/>
                    </a:lnTo>
                    <a:lnTo>
                      <a:pt x="689" y="746"/>
                    </a:lnTo>
                    <a:lnTo>
                      <a:pt x="687" y="747"/>
                    </a:lnTo>
                    <a:lnTo>
                      <a:pt x="684" y="749"/>
                    </a:lnTo>
                    <a:lnTo>
                      <a:pt x="681" y="746"/>
                    </a:lnTo>
                    <a:lnTo>
                      <a:pt x="681" y="749"/>
                    </a:lnTo>
                    <a:lnTo>
                      <a:pt x="684" y="751"/>
                    </a:lnTo>
                    <a:lnTo>
                      <a:pt x="687" y="751"/>
                    </a:lnTo>
                    <a:lnTo>
                      <a:pt x="691" y="747"/>
                    </a:lnTo>
                    <a:lnTo>
                      <a:pt x="694" y="747"/>
                    </a:lnTo>
                    <a:lnTo>
                      <a:pt x="699" y="746"/>
                    </a:lnTo>
                    <a:lnTo>
                      <a:pt x="701" y="747"/>
                    </a:lnTo>
                    <a:lnTo>
                      <a:pt x="701" y="749"/>
                    </a:lnTo>
                    <a:lnTo>
                      <a:pt x="702" y="751"/>
                    </a:lnTo>
                    <a:lnTo>
                      <a:pt x="707" y="749"/>
                    </a:lnTo>
                    <a:lnTo>
                      <a:pt x="709" y="749"/>
                    </a:lnTo>
                    <a:lnTo>
                      <a:pt x="719" y="752"/>
                    </a:lnTo>
                    <a:lnTo>
                      <a:pt x="724" y="754"/>
                    </a:lnTo>
                    <a:lnTo>
                      <a:pt x="725" y="754"/>
                    </a:lnTo>
                    <a:lnTo>
                      <a:pt x="727" y="757"/>
                    </a:lnTo>
                    <a:lnTo>
                      <a:pt x="729" y="762"/>
                    </a:lnTo>
                    <a:lnTo>
                      <a:pt x="727" y="766"/>
                    </a:lnTo>
                    <a:lnTo>
                      <a:pt x="724" y="767"/>
                    </a:lnTo>
                    <a:lnTo>
                      <a:pt x="722" y="769"/>
                    </a:lnTo>
                    <a:lnTo>
                      <a:pt x="719" y="770"/>
                    </a:lnTo>
                    <a:lnTo>
                      <a:pt x="715" y="770"/>
                    </a:lnTo>
                    <a:lnTo>
                      <a:pt x="704" y="775"/>
                    </a:lnTo>
                    <a:lnTo>
                      <a:pt x="697" y="775"/>
                    </a:lnTo>
                    <a:lnTo>
                      <a:pt x="694" y="777"/>
                    </a:lnTo>
                    <a:lnTo>
                      <a:pt x="691" y="775"/>
                    </a:lnTo>
                    <a:lnTo>
                      <a:pt x="689" y="772"/>
                    </a:lnTo>
                    <a:lnTo>
                      <a:pt x="689" y="769"/>
                    </a:lnTo>
                    <a:lnTo>
                      <a:pt x="687" y="767"/>
                    </a:lnTo>
                    <a:lnTo>
                      <a:pt x="684" y="766"/>
                    </a:lnTo>
                    <a:lnTo>
                      <a:pt x="684" y="770"/>
                    </a:lnTo>
                    <a:lnTo>
                      <a:pt x="686" y="772"/>
                    </a:lnTo>
                    <a:lnTo>
                      <a:pt x="686" y="774"/>
                    </a:lnTo>
                    <a:lnTo>
                      <a:pt x="684" y="775"/>
                    </a:lnTo>
                    <a:lnTo>
                      <a:pt x="681" y="774"/>
                    </a:lnTo>
                    <a:lnTo>
                      <a:pt x="681" y="774"/>
                    </a:lnTo>
                    <a:lnTo>
                      <a:pt x="679" y="772"/>
                    </a:lnTo>
                    <a:lnTo>
                      <a:pt x="676" y="775"/>
                    </a:lnTo>
                    <a:lnTo>
                      <a:pt x="676" y="775"/>
                    </a:lnTo>
                    <a:lnTo>
                      <a:pt x="681" y="777"/>
                    </a:lnTo>
                    <a:lnTo>
                      <a:pt x="682" y="779"/>
                    </a:lnTo>
                    <a:lnTo>
                      <a:pt x="682" y="782"/>
                    </a:lnTo>
                    <a:lnTo>
                      <a:pt x="681" y="784"/>
                    </a:lnTo>
                    <a:lnTo>
                      <a:pt x="679" y="785"/>
                    </a:lnTo>
                    <a:lnTo>
                      <a:pt x="676" y="785"/>
                    </a:lnTo>
                    <a:lnTo>
                      <a:pt x="674" y="787"/>
                    </a:lnTo>
                    <a:lnTo>
                      <a:pt x="674" y="790"/>
                    </a:lnTo>
                    <a:lnTo>
                      <a:pt x="672" y="792"/>
                    </a:lnTo>
                    <a:lnTo>
                      <a:pt x="664" y="795"/>
                    </a:lnTo>
                    <a:lnTo>
                      <a:pt x="659" y="795"/>
                    </a:lnTo>
                    <a:lnTo>
                      <a:pt x="656" y="794"/>
                    </a:lnTo>
                    <a:lnTo>
                      <a:pt x="652" y="797"/>
                    </a:lnTo>
                    <a:lnTo>
                      <a:pt x="651" y="800"/>
                    </a:lnTo>
                    <a:lnTo>
                      <a:pt x="652" y="802"/>
                    </a:lnTo>
                    <a:lnTo>
                      <a:pt x="661" y="799"/>
                    </a:lnTo>
                    <a:lnTo>
                      <a:pt x="666" y="799"/>
                    </a:lnTo>
                    <a:lnTo>
                      <a:pt x="669" y="797"/>
                    </a:lnTo>
                    <a:lnTo>
                      <a:pt x="672" y="797"/>
                    </a:lnTo>
                    <a:lnTo>
                      <a:pt x="674" y="800"/>
                    </a:lnTo>
                    <a:lnTo>
                      <a:pt x="679" y="800"/>
                    </a:lnTo>
                    <a:lnTo>
                      <a:pt x="682" y="800"/>
                    </a:lnTo>
                    <a:lnTo>
                      <a:pt x="687" y="799"/>
                    </a:lnTo>
                    <a:lnTo>
                      <a:pt x="694" y="799"/>
                    </a:lnTo>
                    <a:lnTo>
                      <a:pt x="697" y="800"/>
                    </a:lnTo>
                    <a:lnTo>
                      <a:pt x="702" y="800"/>
                    </a:lnTo>
                    <a:lnTo>
                      <a:pt x="704" y="800"/>
                    </a:lnTo>
                    <a:lnTo>
                      <a:pt x="706" y="802"/>
                    </a:lnTo>
                    <a:lnTo>
                      <a:pt x="707" y="802"/>
                    </a:lnTo>
                    <a:lnTo>
                      <a:pt x="709" y="804"/>
                    </a:lnTo>
                    <a:lnTo>
                      <a:pt x="707" y="805"/>
                    </a:lnTo>
                    <a:lnTo>
                      <a:pt x="704" y="807"/>
                    </a:lnTo>
                    <a:lnTo>
                      <a:pt x="699" y="805"/>
                    </a:lnTo>
                    <a:lnTo>
                      <a:pt x="694" y="807"/>
                    </a:lnTo>
                    <a:lnTo>
                      <a:pt x="691" y="809"/>
                    </a:lnTo>
                    <a:lnTo>
                      <a:pt x="686" y="810"/>
                    </a:lnTo>
                    <a:lnTo>
                      <a:pt x="682" y="812"/>
                    </a:lnTo>
                    <a:lnTo>
                      <a:pt x="679" y="810"/>
                    </a:lnTo>
                    <a:lnTo>
                      <a:pt x="676" y="809"/>
                    </a:lnTo>
                    <a:lnTo>
                      <a:pt x="672" y="809"/>
                    </a:lnTo>
                    <a:lnTo>
                      <a:pt x="669" y="812"/>
                    </a:lnTo>
                    <a:lnTo>
                      <a:pt x="671" y="814"/>
                    </a:lnTo>
                    <a:lnTo>
                      <a:pt x="674" y="812"/>
                    </a:lnTo>
                    <a:lnTo>
                      <a:pt x="676" y="814"/>
                    </a:lnTo>
                    <a:lnTo>
                      <a:pt x="684" y="814"/>
                    </a:lnTo>
                    <a:lnTo>
                      <a:pt x="687" y="815"/>
                    </a:lnTo>
                    <a:lnTo>
                      <a:pt x="689" y="817"/>
                    </a:lnTo>
                    <a:lnTo>
                      <a:pt x="691" y="815"/>
                    </a:lnTo>
                    <a:lnTo>
                      <a:pt x="696" y="810"/>
                    </a:lnTo>
                    <a:lnTo>
                      <a:pt x="696" y="810"/>
                    </a:lnTo>
                    <a:lnTo>
                      <a:pt x="701" y="810"/>
                    </a:lnTo>
                    <a:lnTo>
                      <a:pt x="701" y="810"/>
                    </a:lnTo>
                    <a:lnTo>
                      <a:pt x="702" y="809"/>
                    </a:lnTo>
                    <a:lnTo>
                      <a:pt x="706" y="810"/>
                    </a:lnTo>
                    <a:lnTo>
                      <a:pt x="707" y="810"/>
                    </a:lnTo>
                    <a:lnTo>
                      <a:pt x="711" y="810"/>
                    </a:lnTo>
                    <a:lnTo>
                      <a:pt x="717" y="810"/>
                    </a:lnTo>
                    <a:lnTo>
                      <a:pt x="720" y="809"/>
                    </a:lnTo>
                    <a:lnTo>
                      <a:pt x="727" y="804"/>
                    </a:lnTo>
                    <a:lnTo>
                      <a:pt x="729" y="802"/>
                    </a:lnTo>
                    <a:lnTo>
                      <a:pt x="729" y="804"/>
                    </a:lnTo>
                    <a:lnTo>
                      <a:pt x="729" y="805"/>
                    </a:lnTo>
                    <a:lnTo>
                      <a:pt x="730" y="807"/>
                    </a:lnTo>
                    <a:lnTo>
                      <a:pt x="732" y="804"/>
                    </a:lnTo>
                    <a:lnTo>
                      <a:pt x="734" y="804"/>
                    </a:lnTo>
                    <a:lnTo>
                      <a:pt x="735" y="805"/>
                    </a:lnTo>
                    <a:lnTo>
                      <a:pt x="742" y="810"/>
                    </a:lnTo>
                    <a:lnTo>
                      <a:pt x="749" y="812"/>
                    </a:lnTo>
                    <a:lnTo>
                      <a:pt x="754" y="814"/>
                    </a:lnTo>
                    <a:lnTo>
                      <a:pt x="760" y="815"/>
                    </a:lnTo>
                    <a:lnTo>
                      <a:pt x="764" y="815"/>
                    </a:lnTo>
                    <a:lnTo>
                      <a:pt x="770" y="815"/>
                    </a:lnTo>
                    <a:lnTo>
                      <a:pt x="772" y="815"/>
                    </a:lnTo>
                    <a:lnTo>
                      <a:pt x="777" y="817"/>
                    </a:lnTo>
                    <a:lnTo>
                      <a:pt x="784" y="814"/>
                    </a:lnTo>
                    <a:lnTo>
                      <a:pt x="784" y="815"/>
                    </a:lnTo>
                    <a:lnTo>
                      <a:pt x="782" y="819"/>
                    </a:lnTo>
                    <a:lnTo>
                      <a:pt x="777" y="822"/>
                    </a:lnTo>
                    <a:lnTo>
                      <a:pt x="772" y="822"/>
                    </a:lnTo>
                    <a:lnTo>
                      <a:pt x="770" y="822"/>
                    </a:lnTo>
                    <a:lnTo>
                      <a:pt x="767" y="824"/>
                    </a:lnTo>
                    <a:lnTo>
                      <a:pt x="767" y="827"/>
                    </a:lnTo>
                    <a:lnTo>
                      <a:pt x="769" y="827"/>
                    </a:lnTo>
                    <a:lnTo>
                      <a:pt x="769" y="830"/>
                    </a:lnTo>
                    <a:lnTo>
                      <a:pt x="767" y="830"/>
                    </a:lnTo>
                    <a:lnTo>
                      <a:pt x="765" y="830"/>
                    </a:lnTo>
                    <a:lnTo>
                      <a:pt x="764" y="829"/>
                    </a:lnTo>
                    <a:lnTo>
                      <a:pt x="762" y="829"/>
                    </a:lnTo>
                    <a:lnTo>
                      <a:pt x="760" y="830"/>
                    </a:lnTo>
                    <a:lnTo>
                      <a:pt x="760" y="832"/>
                    </a:lnTo>
                    <a:lnTo>
                      <a:pt x="757" y="830"/>
                    </a:lnTo>
                    <a:lnTo>
                      <a:pt x="754" y="830"/>
                    </a:lnTo>
                    <a:lnTo>
                      <a:pt x="752" y="832"/>
                    </a:lnTo>
                    <a:lnTo>
                      <a:pt x="752" y="834"/>
                    </a:lnTo>
                    <a:lnTo>
                      <a:pt x="754" y="835"/>
                    </a:lnTo>
                    <a:lnTo>
                      <a:pt x="754" y="837"/>
                    </a:lnTo>
                    <a:lnTo>
                      <a:pt x="752" y="839"/>
                    </a:lnTo>
                    <a:lnTo>
                      <a:pt x="749" y="840"/>
                    </a:lnTo>
                    <a:lnTo>
                      <a:pt x="747" y="839"/>
                    </a:lnTo>
                    <a:lnTo>
                      <a:pt x="745" y="837"/>
                    </a:lnTo>
                    <a:lnTo>
                      <a:pt x="744" y="839"/>
                    </a:lnTo>
                    <a:lnTo>
                      <a:pt x="745" y="840"/>
                    </a:lnTo>
                    <a:lnTo>
                      <a:pt x="744" y="844"/>
                    </a:lnTo>
                    <a:lnTo>
                      <a:pt x="742" y="844"/>
                    </a:lnTo>
                    <a:lnTo>
                      <a:pt x="740" y="844"/>
                    </a:lnTo>
                    <a:lnTo>
                      <a:pt x="737" y="847"/>
                    </a:lnTo>
                    <a:lnTo>
                      <a:pt x="734" y="845"/>
                    </a:lnTo>
                    <a:lnTo>
                      <a:pt x="734" y="844"/>
                    </a:lnTo>
                    <a:lnTo>
                      <a:pt x="732" y="844"/>
                    </a:lnTo>
                    <a:lnTo>
                      <a:pt x="732" y="847"/>
                    </a:lnTo>
                    <a:lnTo>
                      <a:pt x="732" y="849"/>
                    </a:lnTo>
                    <a:lnTo>
                      <a:pt x="730" y="854"/>
                    </a:lnTo>
                    <a:lnTo>
                      <a:pt x="727" y="852"/>
                    </a:lnTo>
                    <a:lnTo>
                      <a:pt x="727" y="849"/>
                    </a:lnTo>
                    <a:lnTo>
                      <a:pt x="724" y="850"/>
                    </a:lnTo>
                    <a:lnTo>
                      <a:pt x="724" y="852"/>
                    </a:lnTo>
                    <a:lnTo>
                      <a:pt x="725" y="854"/>
                    </a:lnTo>
                    <a:lnTo>
                      <a:pt x="725" y="857"/>
                    </a:lnTo>
                    <a:lnTo>
                      <a:pt x="720" y="859"/>
                    </a:lnTo>
                    <a:lnTo>
                      <a:pt x="719" y="859"/>
                    </a:lnTo>
                    <a:lnTo>
                      <a:pt x="717" y="857"/>
                    </a:lnTo>
                    <a:lnTo>
                      <a:pt x="714" y="855"/>
                    </a:lnTo>
                    <a:lnTo>
                      <a:pt x="712" y="855"/>
                    </a:lnTo>
                    <a:lnTo>
                      <a:pt x="712" y="857"/>
                    </a:lnTo>
                    <a:lnTo>
                      <a:pt x="714" y="860"/>
                    </a:lnTo>
                    <a:lnTo>
                      <a:pt x="714" y="862"/>
                    </a:lnTo>
                    <a:lnTo>
                      <a:pt x="712" y="864"/>
                    </a:lnTo>
                    <a:lnTo>
                      <a:pt x="707" y="865"/>
                    </a:lnTo>
                    <a:lnTo>
                      <a:pt x="706" y="867"/>
                    </a:lnTo>
                    <a:lnTo>
                      <a:pt x="701" y="867"/>
                    </a:lnTo>
                    <a:lnTo>
                      <a:pt x="699" y="870"/>
                    </a:lnTo>
                    <a:lnTo>
                      <a:pt x="697" y="872"/>
                    </a:lnTo>
                    <a:lnTo>
                      <a:pt x="696" y="872"/>
                    </a:lnTo>
                    <a:lnTo>
                      <a:pt x="694" y="870"/>
                    </a:lnTo>
                    <a:lnTo>
                      <a:pt x="691" y="870"/>
                    </a:lnTo>
                    <a:lnTo>
                      <a:pt x="687" y="872"/>
                    </a:lnTo>
                    <a:lnTo>
                      <a:pt x="684" y="872"/>
                    </a:lnTo>
                    <a:lnTo>
                      <a:pt x="682" y="873"/>
                    </a:lnTo>
                    <a:lnTo>
                      <a:pt x="681" y="875"/>
                    </a:lnTo>
                    <a:lnTo>
                      <a:pt x="677" y="877"/>
                    </a:lnTo>
                    <a:lnTo>
                      <a:pt x="676" y="875"/>
                    </a:lnTo>
                    <a:lnTo>
                      <a:pt x="674" y="873"/>
                    </a:lnTo>
                    <a:lnTo>
                      <a:pt x="672" y="873"/>
                    </a:lnTo>
                    <a:lnTo>
                      <a:pt x="669" y="878"/>
                    </a:lnTo>
                    <a:lnTo>
                      <a:pt x="667" y="877"/>
                    </a:lnTo>
                    <a:lnTo>
                      <a:pt x="666" y="873"/>
                    </a:lnTo>
                    <a:lnTo>
                      <a:pt x="664" y="873"/>
                    </a:lnTo>
                    <a:lnTo>
                      <a:pt x="664" y="877"/>
                    </a:lnTo>
                    <a:lnTo>
                      <a:pt x="661" y="878"/>
                    </a:lnTo>
                    <a:lnTo>
                      <a:pt x="659" y="877"/>
                    </a:lnTo>
                    <a:lnTo>
                      <a:pt x="659" y="875"/>
                    </a:lnTo>
                    <a:lnTo>
                      <a:pt x="657" y="875"/>
                    </a:lnTo>
                    <a:lnTo>
                      <a:pt x="657" y="878"/>
                    </a:lnTo>
                    <a:lnTo>
                      <a:pt x="656" y="878"/>
                    </a:lnTo>
                    <a:lnTo>
                      <a:pt x="652" y="878"/>
                    </a:lnTo>
                    <a:lnTo>
                      <a:pt x="649" y="878"/>
                    </a:lnTo>
                    <a:lnTo>
                      <a:pt x="649" y="882"/>
                    </a:lnTo>
                    <a:lnTo>
                      <a:pt x="649" y="883"/>
                    </a:lnTo>
                    <a:lnTo>
                      <a:pt x="646" y="883"/>
                    </a:lnTo>
                    <a:lnTo>
                      <a:pt x="644" y="882"/>
                    </a:lnTo>
                    <a:lnTo>
                      <a:pt x="642" y="882"/>
                    </a:lnTo>
                    <a:lnTo>
                      <a:pt x="642" y="885"/>
                    </a:lnTo>
                    <a:lnTo>
                      <a:pt x="641" y="885"/>
                    </a:lnTo>
                    <a:lnTo>
                      <a:pt x="639" y="883"/>
                    </a:lnTo>
                    <a:lnTo>
                      <a:pt x="637" y="883"/>
                    </a:lnTo>
                    <a:lnTo>
                      <a:pt x="637" y="887"/>
                    </a:lnTo>
                    <a:lnTo>
                      <a:pt x="636" y="888"/>
                    </a:lnTo>
                    <a:lnTo>
                      <a:pt x="634" y="890"/>
                    </a:lnTo>
                    <a:lnTo>
                      <a:pt x="631" y="890"/>
                    </a:lnTo>
                    <a:lnTo>
                      <a:pt x="629" y="888"/>
                    </a:lnTo>
                    <a:lnTo>
                      <a:pt x="626" y="883"/>
                    </a:lnTo>
                    <a:lnTo>
                      <a:pt x="622" y="882"/>
                    </a:lnTo>
                    <a:lnTo>
                      <a:pt x="621" y="883"/>
                    </a:lnTo>
                    <a:lnTo>
                      <a:pt x="621" y="885"/>
                    </a:lnTo>
                    <a:lnTo>
                      <a:pt x="619" y="885"/>
                    </a:lnTo>
                    <a:lnTo>
                      <a:pt x="617" y="888"/>
                    </a:lnTo>
                    <a:lnTo>
                      <a:pt x="614" y="890"/>
                    </a:lnTo>
                    <a:lnTo>
                      <a:pt x="612" y="890"/>
                    </a:lnTo>
                    <a:lnTo>
                      <a:pt x="611" y="888"/>
                    </a:lnTo>
                    <a:lnTo>
                      <a:pt x="609" y="892"/>
                    </a:lnTo>
                    <a:lnTo>
                      <a:pt x="606" y="892"/>
                    </a:lnTo>
                    <a:lnTo>
                      <a:pt x="601" y="892"/>
                    </a:lnTo>
                    <a:lnTo>
                      <a:pt x="599" y="888"/>
                    </a:lnTo>
                    <a:lnTo>
                      <a:pt x="598" y="888"/>
                    </a:lnTo>
                    <a:lnTo>
                      <a:pt x="596" y="890"/>
                    </a:lnTo>
                    <a:lnTo>
                      <a:pt x="596" y="892"/>
                    </a:lnTo>
                    <a:lnTo>
                      <a:pt x="593" y="892"/>
                    </a:lnTo>
                    <a:lnTo>
                      <a:pt x="589" y="890"/>
                    </a:lnTo>
                    <a:lnTo>
                      <a:pt x="588" y="887"/>
                    </a:lnTo>
                    <a:lnTo>
                      <a:pt x="589" y="883"/>
                    </a:lnTo>
                    <a:lnTo>
                      <a:pt x="588" y="882"/>
                    </a:lnTo>
                    <a:lnTo>
                      <a:pt x="584" y="880"/>
                    </a:lnTo>
                    <a:lnTo>
                      <a:pt x="583" y="877"/>
                    </a:lnTo>
                    <a:lnTo>
                      <a:pt x="583" y="873"/>
                    </a:lnTo>
                    <a:lnTo>
                      <a:pt x="579" y="870"/>
                    </a:lnTo>
                    <a:lnTo>
                      <a:pt x="579" y="867"/>
                    </a:lnTo>
                    <a:lnTo>
                      <a:pt x="578" y="865"/>
                    </a:lnTo>
                    <a:lnTo>
                      <a:pt x="574" y="865"/>
                    </a:lnTo>
                    <a:lnTo>
                      <a:pt x="574" y="868"/>
                    </a:lnTo>
                    <a:lnTo>
                      <a:pt x="576" y="870"/>
                    </a:lnTo>
                    <a:lnTo>
                      <a:pt x="578" y="875"/>
                    </a:lnTo>
                    <a:lnTo>
                      <a:pt x="579" y="877"/>
                    </a:lnTo>
                    <a:lnTo>
                      <a:pt x="581" y="878"/>
                    </a:lnTo>
                    <a:lnTo>
                      <a:pt x="581" y="883"/>
                    </a:lnTo>
                    <a:lnTo>
                      <a:pt x="579" y="887"/>
                    </a:lnTo>
                    <a:lnTo>
                      <a:pt x="581" y="887"/>
                    </a:lnTo>
                    <a:lnTo>
                      <a:pt x="583" y="887"/>
                    </a:lnTo>
                    <a:lnTo>
                      <a:pt x="584" y="892"/>
                    </a:lnTo>
                    <a:lnTo>
                      <a:pt x="583" y="897"/>
                    </a:lnTo>
                    <a:lnTo>
                      <a:pt x="581" y="900"/>
                    </a:lnTo>
                    <a:lnTo>
                      <a:pt x="578" y="900"/>
                    </a:lnTo>
                    <a:lnTo>
                      <a:pt x="576" y="900"/>
                    </a:lnTo>
                    <a:lnTo>
                      <a:pt x="574" y="900"/>
                    </a:lnTo>
                    <a:lnTo>
                      <a:pt x="571" y="902"/>
                    </a:lnTo>
                    <a:lnTo>
                      <a:pt x="568" y="905"/>
                    </a:lnTo>
                    <a:lnTo>
                      <a:pt x="566" y="907"/>
                    </a:lnTo>
                    <a:lnTo>
                      <a:pt x="563" y="905"/>
                    </a:lnTo>
                    <a:lnTo>
                      <a:pt x="561" y="907"/>
                    </a:lnTo>
                    <a:lnTo>
                      <a:pt x="561" y="908"/>
                    </a:lnTo>
                    <a:lnTo>
                      <a:pt x="561" y="910"/>
                    </a:lnTo>
                    <a:lnTo>
                      <a:pt x="558" y="912"/>
                    </a:lnTo>
                    <a:lnTo>
                      <a:pt x="556" y="913"/>
                    </a:lnTo>
                    <a:lnTo>
                      <a:pt x="554" y="915"/>
                    </a:lnTo>
                    <a:lnTo>
                      <a:pt x="554" y="918"/>
                    </a:lnTo>
                    <a:lnTo>
                      <a:pt x="554" y="920"/>
                    </a:lnTo>
                    <a:lnTo>
                      <a:pt x="553" y="918"/>
                    </a:lnTo>
                    <a:lnTo>
                      <a:pt x="549" y="917"/>
                    </a:lnTo>
                    <a:lnTo>
                      <a:pt x="551" y="918"/>
                    </a:lnTo>
                    <a:lnTo>
                      <a:pt x="553" y="920"/>
                    </a:lnTo>
                    <a:lnTo>
                      <a:pt x="551" y="923"/>
                    </a:lnTo>
                    <a:lnTo>
                      <a:pt x="549" y="923"/>
                    </a:lnTo>
                    <a:lnTo>
                      <a:pt x="548" y="922"/>
                    </a:lnTo>
                    <a:lnTo>
                      <a:pt x="546" y="922"/>
                    </a:lnTo>
                    <a:lnTo>
                      <a:pt x="544" y="923"/>
                    </a:lnTo>
                    <a:lnTo>
                      <a:pt x="546" y="925"/>
                    </a:lnTo>
                    <a:lnTo>
                      <a:pt x="546" y="927"/>
                    </a:lnTo>
                    <a:lnTo>
                      <a:pt x="544" y="928"/>
                    </a:lnTo>
                    <a:lnTo>
                      <a:pt x="541" y="930"/>
                    </a:lnTo>
                    <a:lnTo>
                      <a:pt x="534" y="935"/>
                    </a:lnTo>
                    <a:lnTo>
                      <a:pt x="534" y="938"/>
                    </a:lnTo>
                    <a:lnTo>
                      <a:pt x="536" y="942"/>
                    </a:lnTo>
                    <a:lnTo>
                      <a:pt x="534" y="943"/>
                    </a:lnTo>
                    <a:lnTo>
                      <a:pt x="531" y="948"/>
                    </a:lnTo>
                    <a:lnTo>
                      <a:pt x="528" y="950"/>
                    </a:lnTo>
                    <a:lnTo>
                      <a:pt x="528" y="948"/>
                    </a:lnTo>
                    <a:lnTo>
                      <a:pt x="526" y="947"/>
                    </a:lnTo>
                    <a:lnTo>
                      <a:pt x="528" y="945"/>
                    </a:lnTo>
                    <a:lnTo>
                      <a:pt x="524" y="945"/>
                    </a:lnTo>
                    <a:lnTo>
                      <a:pt x="523" y="947"/>
                    </a:lnTo>
                    <a:lnTo>
                      <a:pt x="523" y="950"/>
                    </a:lnTo>
                    <a:lnTo>
                      <a:pt x="523" y="952"/>
                    </a:lnTo>
                    <a:lnTo>
                      <a:pt x="523" y="953"/>
                    </a:lnTo>
                    <a:lnTo>
                      <a:pt x="516" y="958"/>
                    </a:lnTo>
                    <a:lnTo>
                      <a:pt x="514" y="960"/>
                    </a:lnTo>
                    <a:lnTo>
                      <a:pt x="513" y="958"/>
                    </a:lnTo>
                    <a:lnTo>
                      <a:pt x="513" y="957"/>
                    </a:lnTo>
                    <a:lnTo>
                      <a:pt x="511" y="955"/>
                    </a:lnTo>
                    <a:lnTo>
                      <a:pt x="510" y="955"/>
                    </a:lnTo>
                    <a:lnTo>
                      <a:pt x="508" y="957"/>
                    </a:lnTo>
                    <a:lnTo>
                      <a:pt x="506" y="957"/>
                    </a:lnTo>
                    <a:lnTo>
                      <a:pt x="503" y="955"/>
                    </a:lnTo>
                    <a:lnTo>
                      <a:pt x="501" y="953"/>
                    </a:lnTo>
                    <a:lnTo>
                      <a:pt x="500" y="953"/>
                    </a:lnTo>
                    <a:lnTo>
                      <a:pt x="498" y="953"/>
                    </a:lnTo>
                    <a:lnTo>
                      <a:pt x="500" y="955"/>
                    </a:lnTo>
                    <a:lnTo>
                      <a:pt x="501" y="957"/>
                    </a:lnTo>
                    <a:lnTo>
                      <a:pt x="503" y="960"/>
                    </a:lnTo>
                    <a:lnTo>
                      <a:pt x="503" y="963"/>
                    </a:lnTo>
                    <a:lnTo>
                      <a:pt x="501" y="965"/>
                    </a:lnTo>
                    <a:lnTo>
                      <a:pt x="500" y="965"/>
                    </a:lnTo>
                    <a:lnTo>
                      <a:pt x="493" y="968"/>
                    </a:lnTo>
                    <a:lnTo>
                      <a:pt x="490" y="971"/>
                    </a:lnTo>
                    <a:lnTo>
                      <a:pt x="486" y="971"/>
                    </a:lnTo>
                    <a:lnTo>
                      <a:pt x="483" y="970"/>
                    </a:lnTo>
                    <a:lnTo>
                      <a:pt x="485" y="968"/>
                    </a:lnTo>
                    <a:lnTo>
                      <a:pt x="485" y="966"/>
                    </a:lnTo>
                    <a:lnTo>
                      <a:pt x="483" y="965"/>
                    </a:lnTo>
                    <a:lnTo>
                      <a:pt x="481" y="965"/>
                    </a:lnTo>
                    <a:lnTo>
                      <a:pt x="481" y="968"/>
                    </a:lnTo>
                    <a:lnTo>
                      <a:pt x="481" y="970"/>
                    </a:lnTo>
                    <a:lnTo>
                      <a:pt x="480" y="971"/>
                    </a:lnTo>
                    <a:lnTo>
                      <a:pt x="478" y="971"/>
                    </a:lnTo>
                    <a:lnTo>
                      <a:pt x="475" y="973"/>
                    </a:lnTo>
                    <a:lnTo>
                      <a:pt x="471" y="971"/>
                    </a:lnTo>
                    <a:lnTo>
                      <a:pt x="468" y="968"/>
                    </a:lnTo>
                    <a:lnTo>
                      <a:pt x="468" y="966"/>
                    </a:lnTo>
                    <a:lnTo>
                      <a:pt x="470" y="963"/>
                    </a:lnTo>
                    <a:lnTo>
                      <a:pt x="470" y="962"/>
                    </a:lnTo>
                    <a:lnTo>
                      <a:pt x="468" y="962"/>
                    </a:lnTo>
                    <a:lnTo>
                      <a:pt x="466" y="965"/>
                    </a:lnTo>
                    <a:lnTo>
                      <a:pt x="466" y="968"/>
                    </a:lnTo>
                    <a:lnTo>
                      <a:pt x="466" y="971"/>
                    </a:lnTo>
                    <a:lnTo>
                      <a:pt x="465" y="973"/>
                    </a:lnTo>
                    <a:lnTo>
                      <a:pt x="463" y="973"/>
                    </a:lnTo>
                    <a:lnTo>
                      <a:pt x="458" y="966"/>
                    </a:lnTo>
                    <a:lnTo>
                      <a:pt x="458" y="963"/>
                    </a:lnTo>
                    <a:lnTo>
                      <a:pt x="460" y="960"/>
                    </a:lnTo>
                    <a:lnTo>
                      <a:pt x="463" y="957"/>
                    </a:lnTo>
                    <a:lnTo>
                      <a:pt x="465" y="955"/>
                    </a:lnTo>
                    <a:lnTo>
                      <a:pt x="463" y="953"/>
                    </a:lnTo>
                    <a:lnTo>
                      <a:pt x="460" y="953"/>
                    </a:lnTo>
                    <a:lnTo>
                      <a:pt x="456" y="950"/>
                    </a:lnTo>
                    <a:lnTo>
                      <a:pt x="456" y="948"/>
                    </a:lnTo>
                    <a:lnTo>
                      <a:pt x="456" y="948"/>
                    </a:lnTo>
                    <a:lnTo>
                      <a:pt x="453" y="950"/>
                    </a:lnTo>
                    <a:lnTo>
                      <a:pt x="451" y="952"/>
                    </a:lnTo>
                    <a:lnTo>
                      <a:pt x="451" y="953"/>
                    </a:lnTo>
                    <a:lnTo>
                      <a:pt x="455" y="957"/>
                    </a:lnTo>
                    <a:lnTo>
                      <a:pt x="455" y="958"/>
                    </a:lnTo>
                    <a:lnTo>
                      <a:pt x="453" y="962"/>
                    </a:lnTo>
                    <a:lnTo>
                      <a:pt x="451" y="965"/>
                    </a:lnTo>
                    <a:lnTo>
                      <a:pt x="448" y="966"/>
                    </a:lnTo>
                    <a:lnTo>
                      <a:pt x="446" y="968"/>
                    </a:lnTo>
                    <a:lnTo>
                      <a:pt x="445" y="963"/>
                    </a:lnTo>
                    <a:lnTo>
                      <a:pt x="443" y="963"/>
                    </a:lnTo>
                    <a:lnTo>
                      <a:pt x="441" y="965"/>
                    </a:lnTo>
                    <a:lnTo>
                      <a:pt x="441" y="968"/>
                    </a:lnTo>
                    <a:lnTo>
                      <a:pt x="445" y="973"/>
                    </a:lnTo>
                    <a:lnTo>
                      <a:pt x="446" y="975"/>
                    </a:lnTo>
                    <a:lnTo>
                      <a:pt x="446" y="976"/>
                    </a:lnTo>
                    <a:lnTo>
                      <a:pt x="445" y="978"/>
                    </a:lnTo>
                    <a:lnTo>
                      <a:pt x="445" y="980"/>
                    </a:lnTo>
                    <a:lnTo>
                      <a:pt x="441" y="981"/>
                    </a:lnTo>
                    <a:lnTo>
                      <a:pt x="438" y="981"/>
                    </a:lnTo>
                    <a:lnTo>
                      <a:pt x="436" y="980"/>
                    </a:lnTo>
                    <a:lnTo>
                      <a:pt x="435" y="980"/>
                    </a:lnTo>
                    <a:lnTo>
                      <a:pt x="431" y="983"/>
                    </a:lnTo>
                    <a:lnTo>
                      <a:pt x="428" y="985"/>
                    </a:lnTo>
                    <a:lnTo>
                      <a:pt x="426" y="983"/>
                    </a:lnTo>
                    <a:lnTo>
                      <a:pt x="425" y="980"/>
                    </a:lnTo>
                    <a:lnTo>
                      <a:pt x="423" y="976"/>
                    </a:lnTo>
                    <a:lnTo>
                      <a:pt x="423" y="976"/>
                    </a:lnTo>
                    <a:lnTo>
                      <a:pt x="421" y="978"/>
                    </a:lnTo>
                    <a:lnTo>
                      <a:pt x="421" y="981"/>
                    </a:lnTo>
                    <a:lnTo>
                      <a:pt x="420" y="983"/>
                    </a:lnTo>
                    <a:lnTo>
                      <a:pt x="416" y="983"/>
                    </a:lnTo>
                    <a:lnTo>
                      <a:pt x="415" y="980"/>
                    </a:lnTo>
                    <a:lnTo>
                      <a:pt x="413" y="976"/>
                    </a:lnTo>
                    <a:lnTo>
                      <a:pt x="412" y="978"/>
                    </a:lnTo>
                    <a:lnTo>
                      <a:pt x="412" y="980"/>
                    </a:lnTo>
                    <a:lnTo>
                      <a:pt x="408" y="980"/>
                    </a:lnTo>
                    <a:lnTo>
                      <a:pt x="407" y="981"/>
                    </a:lnTo>
                    <a:lnTo>
                      <a:pt x="407" y="983"/>
                    </a:lnTo>
                    <a:lnTo>
                      <a:pt x="408" y="986"/>
                    </a:lnTo>
                    <a:lnTo>
                      <a:pt x="408" y="990"/>
                    </a:lnTo>
                    <a:lnTo>
                      <a:pt x="407" y="995"/>
                    </a:lnTo>
                    <a:lnTo>
                      <a:pt x="402" y="1000"/>
                    </a:lnTo>
                    <a:lnTo>
                      <a:pt x="398" y="1000"/>
                    </a:lnTo>
                    <a:lnTo>
                      <a:pt x="397" y="1000"/>
                    </a:lnTo>
                    <a:lnTo>
                      <a:pt x="395" y="995"/>
                    </a:lnTo>
                    <a:lnTo>
                      <a:pt x="393" y="993"/>
                    </a:lnTo>
                    <a:lnTo>
                      <a:pt x="390" y="995"/>
                    </a:lnTo>
                    <a:lnTo>
                      <a:pt x="390" y="996"/>
                    </a:lnTo>
                    <a:lnTo>
                      <a:pt x="387" y="995"/>
                    </a:lnTo>
                    <a:lnTo>
                      <a:pt x="385" y="993"/>
                    </a:lnTo>
                    <a:lnTo>
                      <a:pt x="383" y="991"/>
                    </a:lnTo>
                    <a:lnTo>
                      <a:pt x="383" y="993"/>
                    </a:lnTo>
                    <a:lnTo>
                      <a:pt x="383" y="995"/>
                    </a:lnTo>
                    <a:lnTo>
                      <a:pt x="385" y="998"/>
                    </a:lnTo>
                    <a:lnTo>
                      <a:pt x="383" y="1001"/>
                    </a:lnTo>
                    <a:lnTo>
                      <a:pt x="383" y="1003"/>
                    </a:lnTo>
                    <a:lnTo>
                      <a:pt x="383" y="1005"/>
                    </a:lnTo>
                    <a:lnTo>
                      <a:pt x="387" y="1008"/>
                    </a:lnTo>
                    <a:lnTo>
                      <a:pt x="388" y="1011"/>
                    </a:lnTo>
                    <a:lnTo>
                      <a:pt x="388" y="1018"/>
                    </a:lnTo>
                    <a:lnTo>
                      <a:pt x="388" y="1021"/>
                    </a:lnTo>
                    <a:lnTo>
                      <a:pt x="385" y="1020"/>
                    </a:lnTo>
                    <a:lnTo>
                      <a:pt x="383" y="1020"/>
                    </a:lnTo>
                    <a:lnTo>
                      <a:pt x="382" y="1021"/>
                    </a:lnTo>
                    <a:lnTo>
                      <a:pt x="378" y="1023"/>
                    </a:lnTo>
                    <a:lnTo>
                      <a:pt x="373" y="1021"/>
                    </a:lnTo>
                    <a:lnTo>
                      <a:pt x="368" y="1021"/>
                    </a:lnTo>
                    <a:lnTo>
                      <a:pt x="367" y="1023"/>
                    </a:lnTo>
                    <a:lnTo>
                      <a:pt x="368" y="1025"/>
                    </a:lnTo>
                    <a:lnTo>
                      <a:pt x="373" y="1028"/>
                    </a:lnTo>
                    <a:lnTo>
                      <a:pt x="377" y="1028"/>
                    </a:lnTo>
                    <a:lnTo>
                      <a:pt x="380" y="1030"/>
                    </a:lnTo>
                    <a:lnTo>
                      <a:pt x="382" y="1031"/>
                    </a:lnTo>
                    <a:lnTo>
                      <a:pt x="383" y="1031"/>
                    </a:lnTo>
                    <a:lnTo>
                      <a:pt x="385" y="1031"/>
                    </a:lnTo>
                    <a:lnTo>
                      <a:pt x="385" y="1033"/>
                    </a:lnTo>
                    <a:lnTo>
                      <a:pt x="385" y="1036"/>
                    </a:lnTo>
                    <a:lnTo>
                      <a:pt x="382" y="1036"/>
                    </a:lnTo>
                    <a:lnTo>
                      <a:pt x="380" y="1036"/>
                    </a:lnTo>
                    <a:lnTo>
                      <a:pt x="380" y="1038"/>
                    </a:lnTo>
                    <a:lnTo>
                      <a:pt x="382" y="1040"/>
                    </a:lnTo>
                    <a:lnTo>
                      <a:pt x="383" y="1041"/>
                    </a:lnTo>
                    <a:lnTo>
                      <a:pt x="382" y="1045"/>
                    </a:lnTo>
                    <a:lnTo>
                      <a:pt x="382" y="1046"/>
                    </a:lnTo>
                    <a:lnTo>
                      <a:pt x="382" y="1048"/>
                    </a:lnTo>
                    <a:lnTo>
                      <a:pt x="380" y="1050"/>
                    </a:lnTo>
                    <a:lnTo>
                      <a:pt x="377" y="1048"/>
                    </a:lnTo>
                    <a:lnTo>
                      <a:pt x="373" y="1045"/>
                    </a:lnTo>
                    <a:lnTo>
                      <a:pt x="372" y="1045"/>
                    </a:lnTo>
                    <a:lnTo>
                      <a:pt x="370" y="1043"/>
                    </a:lnTo>
                    <a:lnTo>
                      <a:pt x="367" y="1041"/>
                    </a:lnTo>
                    <a:lnTo>
                      <a:pt x="363" y="1041"/>
                    </a:lnTo>
                    <a:lnTo>
                      <a:pt x="363" y="1041"/>
                    </a:lnTo>
                    <a:lnTo>
                      <a:pt x="362" y="1045"/>
                    </a:lnTo>
                    <a:lnTo>
                      <a:pt x="365" y="1045"/>
                    </a:lnTo>
                    <a:lnTo>
                      <a:pt x="368" y="1045"/>
                    </a:lnTo>
                    <a:lnTo>
                      <a:pt x="372" y="1048"/>
                    </a:lnTo>
                    <a:lnTo>
                      <a:pt x="375" y="1050"/>
                    </a:lnTo>
                    <a:lnTo>
                      <a:pt x="378" y="1050"/>
                    </a:lnTo>
                    <a:lnTo>
                      <a:pt x="380" y="1051"/>
                    </a:lnTo>
                    <a:lnTo>
                      <a:pt x="378" y="1055"/>
                    </a:lnTo>
                    <a:lnTo>
                      <a:pt x="375" y="1056"/>
                    </a:lnTo>
                    <a:lnTo>
                      <a:pt x="372" y="1056"/>
                    </a:lnTo>
                    <a:lnTo>
                      <a:pt x="370" y="1058"/>
                    </a:lnTo>
                    <a:lnTo>
                      <a:pt x="367" y="1056"/>
                    </a:lnTo>
                    <a:lnTo>
                      <a:pt x="362" y="1053"/>
                    </a:lnTo>
                    <a:lnTo>
                      <a:pt x="360" y="1051"/>
                    </a:lnTo>
                    <a:lnTo>
                      <a:pt x="358" y="1051"/>
                    </a:lnTo>
                    <a:lnTo>
                      <a:pt x="357" y="1051"/>
                    </a:lnTo>
                    <a:lnTo>
                      <a:pt x="355" y="1055"/>
                    </a:lnTo>
                    <a:lnTo>
                      <a:pt x="355" y="1058"/>
                    </a:lnTo>
                    <a:lnTo>
                      <a:pt x="358" y="1060"/>
                    </a:lnTo>
                    <a:lnTo>
                      <a:pt x="363" y="1061"/>
                    </a:lnTo>
                    <a:lnTo>
                      <a:pt x="363" y="1065"/>
                    </a:lnTo>
                    <a:lnTo>
                      <a:pt x="363" y="1066"/>
                    </a:lnTo>
                    <a:lnTo>
                      <a:pt x="362" y="1066"/>
                    </a:lnTo>
                    <a:lnTo>
                      <a:pt x="360" y="1065"/>
                    </a:lnTo>
                    <a:lnTo>
                      <a:pt x="357" y="1065"/>
                    </a:lnTo>
                    <a:lnTo>
                      <a:pt x="353" y="1061"/>
                    </a:lnTo>
                    <a:lnTo>
                      <a:pt x="350" y="1060"/>
                    </a:lnTo>
                    <a:lnTo>
                      <a:pt x="350" y="1060"/>
                    </a:lnTo>
                    <a:lnTo>
                      <a:pt x="350" y="1063"/>
                    </a:lnTo>
                    <a:lnTo>
                      <a:pt x="353" y="1065"/>
                    </a:lnTo>
                    <a:lnTo>
                      <a:pt x="358" y="1066"/>
                    </a:lnTo>
                    <a:lnTo>
                      <a:pt x="358" y="1069"/>
                    </a:lnTo>
                    <a:lnTo>
                      <a:pt x="358" y="1071"/>
                    </a:lnTo>
                    <a:lnTo>
                      <a:pt x="357" y="1071"/>
                    </a:lnTo>
                    <a:lnTo>
                      <a:pt x="352" y="1071"/>
                    </a:lnTo>
                    <a:lnTo>
                      <a:pt x="350" y="1069"/>
                    </a:lnTo>
                    <a:lnTo>
                      <a:pt x="350" y="1066"/>
                    </a:lnTo>
                    <a:lnTo>
                      <a:pt x="347" y="1065"/>
                    </a:lnTo>
                    <a:lnTo>
                      <a:pt x="345" y="1065"/>
                    </a:lnTo>
                    <a:lnTo>
                      <a:pt x="343" y="1066"/>
                    </a:lnTo>
                    <a:lnTo>
                      <a:pt x="343" y="1068"/>
                    </a:lnTo>
                    <a:lnTo>
                      <a:pt x="345" y="1069"/>
                    </a:lnTo>
                    <a:lnTo>
                      <a:pt x="347" y="1073"/>
                    </a:lnTo>
                    <a:lnTo>
                      <a:pt x="347" y="1073"/>
                    </a:lnTo>
                    <a:lnTo>
                      <a:pt x="347" y="1074"/>
                    </a:lnTo>
                    <a:lnTo>
                      <a:pt x="353" y="1074"/>
                    </a:lnTo>
                    <a:lnTo>
                      <a:pt x="357" y="1076"/>
                    </a:lnTo>
                    <a:lnTo>
                      <a:pt x="358" y="1078"/>
                    </a:lnTo>
                    <a:lnTo>
                      <a:pt x="357" y="1079"/>
                    </a:lnTo>
                    <a:lnTo>
                      <a:pt x="355" y="1081"/>
                    </a:lnTo>
                    <a:lnTo>
                      <a:pt x="353" y="1083"/>
                    </a:lnTo>
                    <a:lnTo>
                      <a:pt x="350" y="1083"/>
                    </a:lnTo>
                    <a:lnTo>
                      <a:pt x="348" y="1081"/>
                    </a:lnTo>
                    <a:lnTo>
                      <a:pt x="345" y="1081"/>
                    </a:lnTo>
                    <a:lnTo>
                      <a:pt x="342" y="1079"/>
                    </a:lnTo>
                    <a:lnTo>
                      <a:pt x="342" y="1078"/>
                    </a:lnTo>
                    <a:lnTo>
                      <a:pt x="342" y="1076"/>
                    </a:lnTo>
                    <a:lnTo>
                      <a:pt x="338" y="1076"/>
                    </a:lnTo>
                    <a:lnTo>
                      <a:pt x="337" y="1076"/>
                    </a:lnTo>
                    <a:lnTo>
                      <a:pt x="337" y="1079"/>
                    </a:lnTo>
                    <a:lnTo>
                      <a:pt x="337" y="1081"/>
                    </a:lnTo>
                    <a:lnTo>
                      <a:pt x="335" y="1084"/>
                    </a:lnTo>
                    <a:lnTo>
                      <a:pt x="330" y="1084"/>
                    </a:lnTo>
                    <a:lnTo>
                      <a:pt x="328" y="1083"/>
                    </a:lnTo>
                    <a:lnTo>
                      <a:pt x="327" y="1081"/>
                    </a:lnTo>
                    <a:lnTo>
                      <a:pt x="323" y="1081"/>
                    </a:lnTo>
                    <a:lnTo>
                      <a:pt x="323" y="1083"/>
                    </a:lnTo>
                    <a:lnTo>
                      <a:pt x="325" y="1084"/>
                    </a:lnTo>
                    <a:lnTo>
                      <a:pt x="332" y="1088"/>
                    </a:lnTo>
                    <a:lnTo>
                      <a:pt x="338" y="1089"/>
                    </a:lnTo>
                    <a:lnTo>
                      <a:pt x="340" y="1093"/>
                    </a:lnTo>
                    <a:lnTo>
                      <a:pt x="342" y="1098"/>
                    </a:lnTo>
                    <a:lnTo>
                      <a:pt x="340" y="1098"/>
                    </a:lnTo>
                    <a:lnTo>
                      <a:pt x="337" y="1098"/>
                    </a:lnTo>
                    <a:lnTo>
                      <a:pt x="333" y="1096"/>
                    </a:lnTo>
                    <a:lnTo>
                      <a:pt x="328" y="1091"/>
                    </a:lnTo>
                    <a:lnTo>
                      <a:pt x="327" y="1089"/>
                    </a:lnTo>
                    <a:lnTo>
                      <a:pt x="323" y="1091"/>
                    </a:lnTo>
                    <a:lnTo>
                      <a:pt x="323" y="1091"/>
                    </a:lnTo>
                    <a:lnTo>
                      <a:pt x="325" y="1093"/>
                    </a:lnTo>
                    <a:lnTo>
                      <a:pt x="330" y="1094"/>
                    </a:lnTo>
                    <a:lnTo>
                      <a:pt x="335" y="1098"/>
                    </a:lnTo>
                    <a:lnTo>
                      <a:pt x="338" y="1103"/>
                    </a:lnTo>
                    <a:lnTo>
                      <a:pt x="337" y="1104"/>
                    </a:lnTo>
                    <a:lnTo>
                      <a:pt x="337" y="1108"/>
                    </a:lnTo>
                    <a:lnTo>
                      <a:pt x="337" y="1109"/>
                    </a:lnTo>
                    <a:lnTo>
                      <a:pt x="337" y="1111"/>
                    </a:lnTo>
                    <a:lnTo>
                      <a:pt x="335" y="1113"/>
                    </a:lnTo>
                    <a:lnTo>
                      <a:pt x="335" y="1116"/>
                    </a:lnTo>
                    <a:lnTo>
                      <a:pt x="333" y="1119"/>
                    </a:lnTo>
                    <a:lnTo>
                      <a:pt x="330" y="1119"/>
                    </a:lnTo>
                    <a:lnTo>
                      <a:pt x="328" y="1118"/>
                    </a:lnTo>
                    <a:lnTo>
                      <a:pt x="325" y="1116"/>
                    </a:lnTo>
                    <a:lnTo>
                      <a:pt x="322" y="1114"/>
                    </a:lnTo>
                    <a:lnTo>
                      <a:pt x="320" y="1114"/>
                    </a:lnTo>
                    <a:lnTo>
                      <a:pt x="320" y="1118"/>
                    </a:lnTo>
                    <a:lnTo>
                      <a:pt x="323" y="1119"/>
                    </a:lnTo>
                    <a:lnTo>
                      <a:pt x="328" y="1119"/>
                    </a:lnTo>
                    <a:lnTo>
                      <a:pt x="328" y="1121"/>
                    </a:lnTo>
                    <a:lnTo>
                      <a:pt x="327" y="1124"/>
                    </a:lnTo>
                    <a:lnTo>
                      <a:pt x="323" y="1123"/>
                    </a:lnTo>
                    <a:lnTo>
                      <a:pt x="322" y="1121"/>
                    </a:lnTo>
                    <a:lnTo>
                      <a:pt x="320" y="1123"/>
                    </a:lnTo>
                    <a:lnTo>
                      <a:pt x="320" y="1124"/>
                    </a:lnTo>
                    <a:lnTo>
                      <a:pt x="323" y="1124"/>
                    </a:lnTo>
                    <a:lnTo>
                      <a:pt x="325" y="1126"/>
                    </a:lnTo>
                    <a:lnTo>
                      <a:pt x="325" y="1128"/>
                    </a:lnTo>
                    <a:lnTo>
                      <a:pt x="322" y="1131"/>
                    </a:lnTo>
                    <a:lnTo>
                      <a:pt x="320" y="1131"/>
                    </a:lnTo>
                    <a:lnTo>
                      <a:pt x="318" y="1129"/>
                    </a:lnTo>
                    <a:lnTo>
                      <a:pt x="315" y="1129"/>
                    </a:lnTo>
                    <a:lnTo>
                      <a:pt x="314" y="1129"/>
                    </a:lnTo>
                    <a:lnTo>
                      <a:pt x="314" y="1131"/>
                    </a:lnTo>
                    <a:lnTo>
                      <a:pt x="317" y="1133"/>
                    </a:lnTo>
                    <a:lnTo>
                      <a:pt x="320" y="1134"/>
                    </a:lnTo>
                    <a:lnTo>
                      <a:pt x="320" y="1138"/>
                    </a:lnTo>
                    <a:lnTo>
                      <a:pt x="317" y="1139"/>
                    </a:lnTo>
                    <a:lnTo>
                      <a:pt x="310" y="1138"/>
                    </a:lnTo>
                    <a:lnTo>
                      <a:pt x="309" y="1136"/>
                    </a:lnTo>
                    <a:lnTo>
                      <a:pt x="307" y="1136"/>
                    </a:lnTo>
                    <a:lnTo>
                      <a:pt x="307" y="1138"/>
                    </a:lnTo>
                    <a:lnTo>
                      <a:pt x="310" y="1139"/>
                    </a:lnTo>
                    <a:lnTo>
                      <a:pt x="318" y="1139"/>
                    </a:lnTo>
                    <a:lnTo>
                      <a:pt x="322" y="1141"/>
                    </a:lnTo>
                    <a:lnTo>
                      <a:pt x="323" y="1144"/>
                    </a:lnTo>
                    <a:lnTo>
                      <a:pt x="322" y="1144"/>
                    </a:lnTo>
                    <a:lnTo>
                      <a:pt x="318" y="1146"/>
                    </a:lnTo>
                    <a:lnTo>
                      <a:pt x="312" y="1148"/>
                    </a:lnTo>
                    <a:lnTo>
                      <a:pt x="307" y="1146"/>
                    </a:lnTo>
                    <a:lnTo>
                      <a:pt x="304" y="1146"/>
                    </a:lnTo>
                    <a:lnTo>
                      <a:pt x="304" y="1146"/>
                    </a:lnTo>
                    <a:lnTo>
                      <a:pt x="305" y="1148"/>
                    </a:lnTo>
                    <a:lnTo>
                      <a:pt x="310" y="1149"/>
                    </a:lnTo>
                    <a:lnTo>
                      <a:pt x="310" y="1151"/>
                    </a:lnTo>
                    <a:lnTo>
                      <a:pt x="310" y="1151"/>
                    </a:lnTo>
                    <a:lnTo>
                      <a:pt x="309" y="1151"/>
                    </a:lnTo>
                    <a:lnTo>
                      <a:pt x="307" y="1153"/>
                    </a:lnTo>
                    <a:lnTo>
                      <a:pt x="312" y="1153"/>
                    </a:lnTo>
                    <a:lnTo>
                      <a:pt x="315" y="1154"/>
                    </a:lnTo>
                    <a:lnTo>
                      <a:pt x="315" y="1156"/>
                    </a:lnTo>
                    <a:lnTo>
                      <a:pt x="312" y="1158"/>
                    </a:lnTo>
                    <a:lnTo>
                      <a:pt x="309" y="1158"/>
                    </a:lnTo>
                    <a:lnTo>
                      <a:pt x="307" y="1158"/>
                    </a:lnTo>
                    <a:lnTo>
                      <a:pt x="307" y="1159"/>
                    </a:lnTo>
                    <a:lnTo>
                      <a:pt x="309" y="1159"/>
                    </a:lnTo>
                    <a:lnTo>
                      <a:pt x="314" y="1159"/>
                    </a:lnTo>
                    <a:lnTo>
                      <a:pt x="317" y="1159"/>
                    </a:lnTo>
                    <a:lnTo>
                      <a:pt x="315" y="1161"/>
                    </a:lnTo>
                    <a:lnTo>
                      <a:pt x="314" y="1164"/>
                    </a:lnTo>
                    <a:lnTo>
                      <a:pt x="309" y="1166"/>
                    </a:lnTo>
                    <a:lnTo>
                      <a:pt x="305" y="1166"/>
                    </a:lnTo>
                    <a:lnTo>
                      <a:pt x="302" y="1163"/>
                    </a:lnTo>
                    <a:lnTo>
                      <a:pt x="299" y="1161"/>
                    </a:lnTo>
                    <a:lnTo>
                      <a:pt x="299" y="1158"/>
                    </a:lnTo>
                    <a:lnTo>
                      <a:pt x="297" y="1158"/>
                    </a:lnTo>
                    <a:lnTo>
                      <a:pt x="295" y="1159"/>
                    </a:lnTo>
                    <a:lnTo>
                      <a:pt x="292" y="1158"/>
                    </a:lnTo>
                    <a:lnTo>
                      <a:pt x="290" y="1159"/>
                    </a:lnTo>
                    <a:lnTo>
                      <a:pt x="292" y="1161"/>
                    </a:lnTo>
                    <a:lnTo>
                      <a:pt x="299" y="1164"/>
                    </a:lnTo>
                    <a:lnTo>
                      <a:pt x="304" y="1166"/>
                    </a:lnTo>
                    <a:lnTo>
                      <a:pt x="304" y="1167"/>
                    </a:lnTo>
                    <a:lnTo>
                      <a:pt x="302" y="1169"/>
                    </a:lnTo>
                    <a:lnTo>
                      <a:pt x="302" y="1171"/>
                    </a:lnTo>
                    <a:lnTo>
                      <a:pt x="304" y="1171"/>
                    </a:lnTo>
                    <a:lnTo>
                      <a:pt x="307" y="1171"/>
                    </a:lnTo>
                    <a:lnTo>
                      <a:pt x="309" y="1172"/>
                    </a:lnTo>
                    <a:lnTo>
                      <a:pt x="310" y="1172"/>
                    </a:lnTo>
                    <a:lnTo>
                      <a:pt x="310" y="1174"/>
                    </a:lnTo>
                    <a:lnTo>
                      <a:pt x="307" y="1174"/>
                    </a:lnTo>
                    <a:lnTo>
                      <a:pt x="305" y="1177"/>
                    </a:lnTo>
                    <a:lnTo>
                      <a:pt x="305" y="1177"/>
                    </a:lnTo>
                    <a:lnTo>
                      <a:pt x="304" y="1177"/>
                    </a:lnTo>
                    <a:lnTo>
                      <a:pt x="304" y="1177"/>
                    </a:lnTo>
                    <a:close/>
                    <a:moveTo>
                      <a:pt x="299" y="1179"/>
                    </a:moveTo>
                    <a:lnTo>
                      <a:pt x="290" y="1176"/>
                    </a:lnTo>
                    <a:lnTo>
                      <a:pt x="287" y="1174"/>
                    </a:lnTo>
                    <a:lnTo>
                      <a:pt x="287" y="1176"/>
                    </a:lnTo>
                    <a:lnTo>
                      <a:pt x="292" y="1181"/>
                    </a:lnTo>
                    <a:lnTo>
                      <a:pt x="295" y="1181"/>
                    </a:lnTo>
                    <a:lnTo>
                      <a:pt x="299" y="1179"/>
                    </a:lnTo>
                    <a:lnTo>
                      <a:pt x="299" y="1179"/>
                    </a:lnTo>
                    <a:close/>
                    <a:moveTo>
                      <a:pt x="677" y="795"/>
                    </a:moveTo>
                    <a:lnTo>
                      <a:pt x="677" y="799"/>
                    </a:lnTo>
                    <a:lnTo>
                      <a:pt x="684" y="797"/>
                    </a:lnTo>
                    <a:lnTo>
                      <a:pt x="694" y="795"/>
                    </a:lnTo>
                    <a:lnTo>
                      <a:pt x="704" y="797"/>
                    </a:lnTo>
                    <a:lnTo>
                      <a:pt x="707" y="794"/>
                    </a:lnTo>
                    <a:lnTo>
                      <a:pt x="712" y="794"/>
                    </a:lnTo>
                    <a:lnTo>
                      <a:pt x="717" y="795"/>
                    </a:lnTo>
                    <a:lnTo>
                      <a:pt x="722" y="794"/>
                    </a:lnTo>
                    <a:lnTo>
                      <a:pt x="725" y="795"/>
                    </a:lnTo>
                    <a:lnTo>
                      <a:pt x="732" y="790"/>
                    </a:lnTo>
                    <a:lnTo>
                      <a:pt x="732" y="779"/>
                    </a:lnTo>
                    <a:lnTo>
                      <a:pt x="729" y="775"/>
                    </a:lnTo>
                    <a:lnTo>
                      <a:pt x="727" y="772"/>
                    </a:lnTo>
                    <a:lnTo>
                      <a:pt x="722" y="772"/>
                    </a:lnTo>
                    <a:lnTo>
                      <a:pt x="709" y="777"/>
                    </a:lnTo>
                    <a:lnTo>
                      <a:pt x="696" y="779"/>
                    </a:lnTo>
                    <a:lnTo>
                      <a:pt x="692" y="782"/>
                    </a:lnTo>
                    <a:lnTo>
                      <a:pt x="687" y="785"/>
                    </a:lnTo>
                    <a:lnTo>
                      <a:pt x="684" y="789"/>
                    </a:lnTo>
                    <a:lnTo>
                      <a:pt x="679" y="790"/>
                    </a:lnTo>
                    <a:lnTo>
                      <a:pt x="679" y="792"/>
                    </a:lnTo>
                    <a:lnTo>
                      <a:pt x="677" y="795"/>
                    </a:lnTo>
                    <a:lnTo>
                      <a:pt x="677" y="795"/>
                    </a:lnTo>
                    <a:close/>
                    <a:moveTo>
                      <a:pt x="315" y="1151"/>
                    </a:moveTo>
                    <a:lnTo>
                      <a:pt x="318" y="1153"/>
                    </a:lnTo>
                    <a:lnTo>
                      <a:pt x="320" y="1151"/>
                    </a:lnTo>
                    <a:lnTo>
                      <a:pt x="318" y="1149"/>
                    </a:lnTo>
                    <a:lnTo>
                      <a:pt x="317" y="1149"/>
                    </a:lnTo>
                    <a:lnTo>
                      <a:pt x="315" y="1151"/>
                    </a:lnTo>
                    <a:lnTo>
                      <a:pt x="315" y="1151"/>
                    </a:lnTo>
                    <a:close/>
                    <a:moveTo>
                      <a:pt x="338" y="1106"/>
                    </a:moveTo>
                    <a:lnTo>
                      <a:pt x="340" y="1108"/>
                    </a:lnTo>
                    <a:lnTo>
                      <a:pt x="340" y="1106"/>
                    </a:lnTo>
                    <a:lnTo>
                      <a:pt x="338" y="1106"/>
                    </a:lnTo>
                    <a:lnTo>
                      <a:pt x="338" y="1106"/>
                    </a:lnTo>
                    <a:close/>
                    <a:moveTo>
                      <a:pt x="342" y="1101"/>
                    </a:moveTo>
                    <a:lnTo>
                      <a:pt x="342" y="1103"/>
                    </a:lnTo>
                    <a:lnTo>
                      <a:pt x="343" y="1103"/>
                    </a:lnTo>
                    <a:lnTo>
                      <a:pt x="343" y="1099"/>
                    </a:lnTo>
                    <a:lnTo>
                      <a:pt x="342" y="1101"/>
                    </a:lnTo>
                    <a:lnTo>
                      <a:pt x="342" y="1101"/>
                    </a:lnTo>
                    <a:close/>
                    <a:moveTo>
                      <a:pt x="343" y="1093"/>
                    </a:moveTo>
                    <a:lnTo>
                      <a:pt x="343" y="1094"/>
                    </a:lnTo>
                    <a:lnTo>
                      <a:pt x="345" y="1094"/>
                    </a:lnTo>
                    <a:lnTo>
                      <a:pt x="345" y="1093"/>
                    </a:lnTo>
                    <a:lnTo>
                      <a:pt x="343" y="1093"/>
                    </a:lnTo>
                    <a:lnTo>
                      <a:pt x="343" y="1093"/>
                    </a:lnTo>
                    <a:lnTo>
                      <a:pt x="343" y="1093"/>
                    </a:lnTo>
                    <a:close/>
                    <a:moveTo>
                      <a:pt x="340" y="1084"/>
                    </a:moveTo>
                    <a:lnTo>
                      <a:pt x="340" y="1086"/>
                    </a:lnTo>
                    <a:lnTo>
                      <a:pt x="343" y="1088"/>
                    </a:lnTo>
                    <a:lnTo>
                      <a:pt x="345" y="1088"/>
                    </a:lnTo>
                    <a:lnTo>
                      <a:pt x="350" y="1088"/>
                    </a:lnTo>
                    <a:lnTo>
                      <a:pt x="350" y="1086"/>
                    </a:lnTo>
                    <a:lnTo>
                      <a:pt x="348" y="1084"/>
                    </a:lnTo>
                    <a:lnTo>
                      <a:pt x="343" y="1084"/>
                    </a:lnTo>
                    <a:lnTo>
                      <a:pt x="342" y="1083"/>
                    </a:lnTo>
                    <a:lnTo>
                      <a:pt x="340" y="1084"/>
                    </a:lnTo>
                    <a:lnTo>
                      <a:pt x="340" y="1084"/>
                    </a:lnTo>
                    <a:close/>
                    <a:moveTo>
                      <a:pt x="360" y="1081"/>
                    </a:moveTo>
                    <a:lnTo>
                      <a:pt x="362" y="1079"/>
                    </a:lnTo>
                    <a:lnTo>
                      <a:pt x="362" y="1076"/>
                    </a:lnTo>
                    <a:lnTo>
                      <a:pt x="360" y="1078"/>
                    </a:lnTo>
                    <a:lnTo>
                      <a:pt x="360" y="1081"/>
                    </a:lnTo>
                    <a:lnTo>
                      <a:pt x="360" y="1081"/>
                    </a:lnTo>
                    <a:close/>
                    <a:moveTo>
                      <a:pt x="358" y="1055"/>
                    </a:moveTo>
                    <a:lnTo>
                      <a:pt x="358" y="1056"/>
                    </a:lnTo>
                    <a:lnTo>
                      <a:pt x="362" y="1060"/>
                    </a:lnTo>
                    <a:lnTo>
                      <a:pt x="367" y="1061"/>
                    </a:lnTo>
                    <a:lnTo>
                      <a:pt x="367" y="1063"/>
                    </a:lnTo>
                    <a:lnTo>
                      <a:pt x="368" y="1061"/>
                    </a:lnTo>
                    <a:lnTo>
                      <a:pt x="367" y="1060"/>
                    </a:lnTo>
                    <a:lnTo>
                      <a:pt x="362" y="1056"/>
                    </a:lnTo>
                    <a:lnTo>
                      <a:pt x="360" y="1055"/>
                    </a:lnTo>
                    <a:lnTo>
                      <a:pt x="358" y="1055"/>
                    </a:lnTo>
                    <a:lnTo>
                      <a:pt x="358" y="1055"/>
                    </a:lnTo>
                    <a:close/>
                    <a:moveTo>
                      <a:pt x="388" y="1005"/>
                    </a:moveTo>
                    <a:lnTo>
                      <a:pt x="390" y="1008"/>
                    </a:lnTo>
                    <a:lnTo>
                      <a:pt x="392" y="1011"/>
                    </a:lnTo>
                    <a:lnTo>
                      <a:pt x="392" y="1016"/>
                    </a:lnTo>
                    <a:lnTo>
                      <a:pt x="393" y="1020"/>
                    </a:lnTo>
                    <a:lnTo>
                      <a:pt x="395" y="1020"/>
                    </a:lnTo>
                    <a:lnTo>
                      <a:pt x="395" y="1015"/>
                    </a:lnTo>
                    <a:lnTo>
                      <a:pt x="395" y="1011"/>
                    </a:lnTo>
                    <a:lnTo>
                      <a:pt x="393" y="1008"/>
                    </a:lnTo>
                    <a:lnTo>
                      <a:pt x="392" y="1005"/>
                    </a:lnTo>
                    <a:lnTo>
                      <a:pt x="390" y="1003"/>
                    </a:lnTo>
                    <a:lnTo>
                      <a:pt x="388" y="1005"/>
                    </a:lnTo>
                    <a:lnTo>
                      <a:pt x="388" y="1005"/>
                    </a:lnTo>
                    <a:close/>
                    <a:moveTo>
                      <a:pt x="412" y="991"/>
                    </a:moveTo>
                    <a:lnTo>
                      <a:pt x="412" y="993"/>
                    </a:lnTo>
                    <a:lnTo>
                      <a:pt x="415" y="995"/>
                    </a:lnTo>
                    <a:lnTo>
                      <a:pt x="415" y="993"/>
                    </a:lnTo>
                    <a:lnTo>
                      <a:pt x="413" y="991"/>
                    </a:lnTo>
                    <a:lnTo>
                      <a:pt x="412" y="991"/>
                    </a:lnTo>
                    <a:lnTo>
                      <a:pt x="412" y="991"/>
                    </a:lnTo>
                    <a:close/>
                    <a:moveTo>
                      <a:pt x="418" y="986"/>
                    </a:moveTo>
                    <a:lnTo>
                      <a:pt x="420" y="988"/>
                    </a:lnTo>
                    <a:lnTo>
                      <a:pt x="420" y="986"/>
                    </a:lnTo>
                    <a:lnTo>
                      <a:pt x="418" y="985"/>
                    </a:lnTo>
                    <a:lnTo>
                      <a:pt x="418" y="986"/>
                    </a:lnTo>
                    <a:lnTo>
                      <a:pt x="418" y="986"/>
                    </a:lnTo>
                    <a:close/>
                    <a:moveTo>
                      <a:pt x="456" y="983"/>
                    </a:moveTo>
                    <a:lnTo>
                      <a:pt x="460" y="981"/>
                    </a:lnTo>
                    <a:lnTo>
                      <a:pt x="463" y="981"/>
                    </a:lnTo>
                    <a:lnTo>
                      <a:pt x="465" y="978"/>
                    </a:lnTo>
                    <a:lnTo>
                      <a:pt x="461" y="973"/>
                    </a:lnTo>
                    <a:lnTo>
                      <a:pt x="460" y="973"/>
                    </a:lnTo>
                    <a:lnTo>
                      <a:pt x="458" y="970"/>
                    </a:lnTo>
                    <a:lnTo>
                      <a:pt x="455" y="971"/>
                    </a:lnTo>
                    <a:lnTo>
                      <a:pt x="451" y="973"/>
                    </a:lnTo>
                    <a:lnTo>
                      <a:pt x="451" y="976"/>
                    </a:lnTo>
                    <a:lnTo>
                      <a:pt x="451" y="978"/>
                    </a:lnTo>
                    <a:lnTo>
                      <a:pt x="453" y="981"/>
                    </a:lnTo>
                    <a:lnTo>
                      <a:pt x="455" y="983"/>
                    </a:lnTo>
                    <a:lnTo>
                      <a:pt x="456" y="983"/>
                    </a:lnTo>
                    <a:lnTo>
                      <a:pt x="456" y="983"/>
                    </a:lnTo>
                    <a:close/>
                    <a:moveTo>
                      <a:pt x="471" y="981"/>
                    </a:moveTo>
                    <a:lnTo>
                      <a:pt x="471" y="978"/>
                    </a:lnTo>
                    <a:lnTo>
                      <a:pt x="471" y="976"/>
                    </a:lnTo>
                    <a:lnTo>
                      <a:pt x="470" y="978"/>
                    </a:lnTo>
                    <a:lnTo>
                      <a:pt x="470" y="980"/>
                    </a:lnTo>
                    <a:lnTo>
                      <a:pt x="471" y="981"/>
                    </a:lnTo>
                    <a:lnTo>
                      <a:pt x="471" y="981"/>
                    </a:lnTo>
                    <a:lnTo>
                      <a:pt x="471" y="981"/>
                    </a:lnTo>
                    <a:close/>
                    <a:moveTo>
                      <a:pt x="759" y="837"/>
                    </a:moveTo>
                    <a:lnTo>
                      <a:pt x="760" y="837"/>
                    </a:lnTo>
                    <a:lnTo>
                      <a:pt x="762" y="835"/>
                    </a:lnTo>
                    <a:lnTo>
                      <a:pt x="762" y="834"/>
                    </a:lnTo>
                    <a:lnTo>
                      <a:pt x="759" y="834"/>
                    </a:lnTo>
                    <a:lnTo>
                      <a:pt x="759" y="837"/>
                    </a:lnTo>
                    <a:lnTo>
                      <a:pt x="759" y="837"/>
                    </a:lnTo>
                    <a:close/>
                    <a:moveTo>
                      <a:pt x="707" y="799"/>
                    </a:moveTo>
                    <a:lnTo>
                      <a:pt x="711" y="800"/>
                    </a:lnTo>
                    <a:lnTo>
                      <a:pt x="714" y="799"/>
                    </a:lnTo>
                    <a:lnTo>
                      <a:pt x="714" y="797"/>
                    </a:lnTo>
                    <a:lnTo>
                      <a:pt x="709" y="797"/>
                    </a:lnTo>
                    <a:lnTo>
                      <a:pt x="709" y="797"/>
                    </a:lnTo>
                    <a:lnTo>
                      <a:pt x="707" y="799"/>
                    </a:lnTo>
                    <a:lnTo>
                      <a:pt x="707" y="799"/>
                    </a:lnTo>
                    <a:close/>
                    <a:moveTo>
                      <a:pt x="686" y="780"/>
                    </a:moveTo>
                    <a:lnTo>
                      <a:pt x="687" y="782"/>
                    </a:lnTo>
                    <a:lnTo>
                      <a:pt x="691" y="780"/>
                    </a:lnTo>
                    <a:lnTo>
                      <a:pt x="692" y="779"/>
                    </a:lnTo>
                    <a:lnTo>
                      <a:pt x="689" y="779"/>
                    </a:lnTo>
                    <a:lnTo>
                      <a:pt x="686" y="780"/>
                    </a:lnTo>
                    <a:lnTo>
                      <a:pt x="686" y="780"/>
                    </a:lnTo>
                    <a:close/>
                    <a:moveTo>
                      <a:pt x="730" y="770"/>
                    </a:moveTo>
                    <a:lnTo>
                      <a:pt x="729" y="772"/>
                    </a:lnTo>
                    <a:lnTo>
                      <a:pt x="732" y="774"/>
                    </a:lnTo>
                    <a:lnTo>
                      <a:pt x="732" y="772"/>
                    </a:lnTo>
                    <a:lnTo>
                      <a:pt x="732" y="770"/>
                    </a:lnTo>
                    <a:lnTo>
                      <a:pt x="730" y="769"/>
                    </a:lnTo>
                    <a:lnTo>
                      <a:pt x="730" y="770"/>
                    </a:lnTo>
                    <a:lnTo>
                      <a:pt x="730" y="770"/>
                    </a:lnTo>
                    <a:close/>
                    <a:moveTo>
                      <a:pt x="759" y="687"/>
                    </a:moveTo>
                    <a:lnTo>
                      <a:pt x="759" y="689"/>
                    </a:lnTo>
                    <a:lnTo>
                      <a:pt x="760" y="691"/>
                    </a:lnTo>
                    <a:lnTo>
                      <a:pt x="760" y="694"/>
                    </a:lnTo>
                    <a:lnTo>
                      <a:pt x="764" y="699"/>
                    </a:lnTo>
                    <a:lnTo>
                      <a:pt x="765" y="704"/>
                    </a:lnTo>
                    <a:lnTo>
                      <a:pt x="772" y="706"/>
                    </a:lnTo>
                    <a:lnTo>
                      <a:pt x="777" y="711"/>
                    </a:lnTo>
                    <a:lnTo>
                      <a:pt x="780" y="714"/>
                    </a:lnTo>
                    <a:lnTo>
                      <a:pt x="785" y="717"/>
                    </a:lnTo>
                    <a:lnTo>
                      <a:pt x="787" y="717"/>
                    </a:lnTo>
                    <a:lnTo>
                      <a:pt x="789" y="719"/>
                    </a:lnTo>
                    <a:lnTo>
                      <a:pt x="794" y="721"/>
                    </a:lnTo>
                    <a:lnTo>
                      <a:pt x="795" y="719"/>
                    </a:lnTo>
                    <a:lnTo>
                      <a:pt x="795" y="717"/>
                    </a:lnTo>
                    <a:lnTo>
                      <a:pt x="797" y="716"/>
                    </a:lnTo>
                    <a:lnTo>
                      <a:pt x="794" y="711"/>
                    </a:lnTo>
                    <a:lnTo>
                      <a:pt x="789" y="709"/>
                    </a:lnTo>
                    <a:lnTo>
                      <a:pt x="787" y="709"/>
                    </a:lnTo>
                    <a:lnTo>
                      <a:pt x="785" y="706"/>
                    </a:lnTo>
                    <a:lnTo>
                      <a:pt x="785" y="704"/>
                    </a:lnTo>
                    <a:lnTo>
                      <a:pt x="787" y="702"/>
                    </a:lnTo>
                    <a:lnTo>
                      <a:pt x="790" y="704"/>
                    </a:lnTo>
                    <a:lnTo>
                      <a:pt x="794" y="706"/>
                    </a:lnTo>
                    <a:lnTo>
                      <a:pt x="799" y="707"/>
                    </a:lnTo>
                    <a:lnTo>
                      <a:pt x="800" y="707"/>
                    </a:lnTo>
                    <a:lnTo>
                      <a:pt x="802" y="707"/>
                    </a:lnTo>
                    <a:lnTo>
                      <a:pt x="800" y="702"/>
                    </a:lnTo>
                    <a:lnTo>
                      <a:pt x="789" y="697"/>
                    </a:lnTo>
                    <a:lnTo>
                      <a:pt x="785" y="691"/>
                    </a:lnTo>
                    <a:lnTo>
                      <a:pt x="782" y="691"/>
                    </a:lnTo>
                    <a:lnTo>
                      <a:pt x="779" y="691"/>
                    </a:lnTo>
                    <a:lnTo>
                      <a:pt x="772" y="687"/>
                    </a:lnTo>
                    <a:lnTo>
                      <a:pt x="769" y="687"/>
                    </a:lnTo>
                    <a:lnTo>
                      <a:pt x="765" y="686"/>
                    </a:lnTo>
                    <a:lnTo>
                      <a:pt x="760" y="686"/>
                    </a:lnTo>
                    <a:lnTo>
                      <a:pt x="759" y="687"/>
                    </a:lnTo>
                    <a:lnTo>
                      <a:pt x="759" y="687"/>
                    </a:lnTo>
                    <a:close/>
                    <a:moveTo>
                      <a:pt x="749" y="689"/>
                    </a:moveTo>
                    <a:lnTo>
                      <a:pt x="750" y="687"/>
                    </a:lnTo>
                    <a:lnTo>
                      <a:pt x="750" y="686"/>
                    </a:lnTo>
                    <a:lnTo>
                      <a:pt x="752" y="682"/>
                    </a:lnTo>
                    <a:lnTo>
                      <a:pt x="745" y="684"/>
                    </a:lnTo>
                    <a:lnTo>
                      <a:pt x="745" y="687"/>
                    </a:lnTo>
                    <a:lnTo>
                      <a:pt x="749" y="689"/>
                    </a:lnTo>
                    <a:lnTo>
                      <a:pt x="749" y="689"/>
                    </a:lnTo>
                    <a:close/>
                    <a:moveTo>
                      <a:pt x="759" y="681"/>
                    </a:moveTo>
                    <a:lnTo>
                      <a:pt x="762" y="682"/>
                    </a:lnTo>
                    <a:lnTo>
                      <a:pt x="769" y="684"/>
                    </a:lnTo>
                    <a:lnTo>
                      <a:pt x="774" y="686"/>
                    </a:lnTo>
                    <a:lnTo>
                      <a:pt x="780" y="687"/>
                    </a:lnTo>
                    <a:lnTo>
                      <a:pt x="785" y="689"/>
                    </a:lnTo>
                    <a:lnTo>
                      <a:pt x="789" y="689"/>
                    </a:lnTo>
                    <a:lnTo>
                      <a:pt x="790" y="689"/>
                    </a:lnTo>
                    <a:lnTo>
                      <a:pt x="790" y="692"/>
                    </a:lnTo>
                    <a:lnTo>
                      <a:pt x="794" y="694"/>
                    </a:lnTo>
                    <a:lnTo>
                      <a:pt x="799" y="694"/>
                    </a:lnTo>
                    <a:lnTo>
                      <a:pt x="800" y="696"/>
                    </a:lnTo>
                    <a:lnTo>
                      <a:pt x="804" y="694"/>
                    </a:lnTo>
                    <a:lnTo>
                      <a:pt x="805" y="692"/>
                    </a:lnTo>
                    <a:lnTo>
                      <a:pt x="804" y="689"/>
                    </a:lnTo>
                    <a:lnTo>
                      <a:pt x="804" y="687"/>
                    </a:lnTo>
                    <a:lnTo>
                      <a:pt x="807" y="686"/>
                    </a:lnTo>
                    <a:lnTo>
                      <a:pt x="800" y="682"/>
                    </a:lnTo>
                    <a:lnTo>
                      <a:pt x="797" y="681"/>
                    </a:lnTo>
                    <a:lnTo>
                      <a:pt x="790" y="677"/>
                    </a:lnTo>
                    <a:lnTo>
                      <a:pt x="785" y="677"/>
                    </a:lnTo>
                    <a:lnTo>
                      <a:pt x="777" y="681"/>
                    </a:lnTo>
                    <a:lnTo>
                      <a:pt x="772" y="679"/>
                    </a:lnTo>
                    <a:lnTo>
                      <a:pt x="764" y="679"/>
                    </a:lnTo>
                    <a:lnTo>
                      <a:pt x="760" y="679"/>
                    </a:lnTo>
                    <a:lnTo>
                      <a:pt x="760" y="679"/>
                    </a:lnTo>
                    <a:lnTo>
                      <a:pt x="759" y="681"/>
                    </a:lnTo>
                    <a:lnTo>
                      <a:pt x="759" y="681"/>
                    </a:lnTo>
                    <a:close/>
                    <a:moveTo>
                      <a:pt x="739" y="666"/>
                    </a:moveTo>
                    <a:lnTo>
                      <a:pt x="742" y="669"/>
                    </a:lnTo>
                    <a:lnTo>
                      <a:pt x="749" y="669"/>
                    </a:lnTo>
                    <a:lnTo>
                      <a:pt x="754" y="674"/>
                    </a:lnTo>
                    <a:lnTo>
                      <a:pt x="760" y="677"/>
                    </a:lnTo>
                    <a:lnTo>
                      <a:pt x="770" y="676"/>
                    </a:lnTo>
                    <a:lnTo>
                      <a:pt x="784" y="677"/>
                    </a:lnTo>
                    <a:lnTo>
                      <a:pt x="790" y="676"/>
                    </a:lnTo>
                    <a:lnTo>
                      <a:pt x="790" y="674"/>
                    </a:lnTo>
                    <a:lnTo>
                      <a:pt x="785" y="672"/>
                    </a:lnTo>
                    <a:lnTo>
                      <a:pt x="774" y="672"/>
                    </a:lnTo>
                    <a:lnTo>
                      <a:pt x="769" y="671"/>
                    </a:lnTo>
                    <a:lnTo>
                      <a:pt x="762" y="669"/>
                    </a:lnTo>
                    <a:lnTo>
                      <a:pt x="757" y="668"/>
                    </a:lnTo>
                    <a:lnTo>
                      <a:pt x="755" y="666"/>
                    </a:lnTo>
                    <a:lnTo>
                      <a:pt x="757" y="664"/>
                    </a:lnTo>
                    <a:lnTo>
                      <a:pt x="760" y="664"/>
                    </a:lnTo>
                    <a:lnTo>
                      <a:pt x="767" y="669"/>
                    </a:lnTo>
                    <a:lnTo>
                      <a:pt x="777" y="671"/>
                    </a:lnTo>
                    <a:lnTo>
                      <a:pt x="779" y="669"/>
                    </a:lnTo>
                    <a:lnTo>
                      <a:pt x="777" y="668"/>
                    </a:lnTo>
                    <a:lnTo>
                      <a:pt x="767" y="661"/>
                    </a:lnTo>
                    <a:lnTo>
                      <a:pt x="752" y="658"/>
                    </a:lnTo>
                    <a:lnTo>
                      <a:pt x="749" y="659"/>
                    </a:lnTo>
                    <a:lnTo>
                      <a:pt x="749" y="663"/>
                    </a:lnTo>
                    <a:lnTo>
                      <a:pt x="742" y="664"/>
                    </a:lnTo>
                    <a:lnTo>
                      <a:pt x="739" y="666"/>
                    </a:lnTo>
                    <a:lnTo>
                      <a:pt x="739" y="666"/>
                    </a:lnTo>
                    <a:close/>
                    <a:moveTo>
                      <a:pt x="813" y="677"/>
                    </a:moveTo>
                    <a:lnTo>
                      <a:pt x="815" y="677"/>
                    </a:lnTo>
                    <a:lnTo>
                      <a:pt x="818" y="677"/>
                    </a:lnTo>
                    <a:lnTo>
                      <a:pt x="818" y="674"/>
                    </a:lnTo>
                    <a:lnTo>
                      <a:pt x="815" y="676"/>
                    </a:lnTo>
                    <a:lnTo>
                      <a:pt x="813" y="677"/>
                    </a:lnTo>
                    <a:lnTo>
                      <a:pt x="813" y="677"/>
                    </a:lnTo>
                    <a:close/>
                    <a:moveTo>
                      <a:pt x="818" y="611"/>
                    </a:moveTo>
                    <a:lnTo>
                      <a:pt x="813" y="618"/>
                    </a:lnTo>
                    <a:lnTo>
                      <a:pt x="813" y="621"/>
                    </a:lnTo>
                    <a:lnTo>
                      <a:pt x="817" y="623"/>
                    </a:lnTo>
                    <a:lnTo>
                      <a:pt x="820" y="624"/>
                    </a:lnTo>
                    <a:lnTo>
                      <a:pt x="825" y="628"/>
                    </a:lnTo>
                    <a:lnTo>
                      <a:pt x="828" y="628"/>
                    </a:lnTo>
                    <a:lnTo>
                      <a:pt x="833" y="629"/>
                    </a:lnTo>
                    <a:lnTo>
                      <a:pt x="838" y="626"/>
                    </a:lnTo>
                    <a:lnTo>
                      <a:pt x="838" y="623"/>
                    </a:lnTo>
                    <a:lnTo>
                      <a:pt x="840" y="619"/>
                    </a:lnTo>
                    <a:lnTo>
                      <a:pt x="840" y="614"/>
                    </a:lnTo>
                    <a:lnTo>
                      <a:pt x="830" y="609"/>
                    </a:lnTo>
                    <a:lnTo>
                      <a:pt x="823" y="611"/>
                    </a:lnTo>
                    <a:lnTo>
                      <a:pt x="818" y="611"/>
                    </a:lnTo>
                    <a:lnTo>
                      <a:pt x="818" y="611"/>
                    </a:lnTo>
                    <a:close/>
                    <a:moveTo>
                      <a:pt x="863" y="608"/>
                    </a:moveTo>
                    <a:lnTo>
                      <a:pt x="865" y="608"/>
                    </a:lnTo>
                    <a:lnTo>
                      <a:pt x="870" y="604"/>
                    </a:lnTo>
                    <a:lnTo>
                      <a:pt x="868" y="603"/>
                    </a:lnTo>
                    <a:lnTo>
                      <a:pt x="867" y="603"/>
                    </a:lnTo>
                    <a:lnTo>
                      <a:pt x="863" y="604"/>
                    </a:lnTo>
                    <a:lnTo>
                      <a:pt x="863" y="608"/>
                    </a:lnTo>
                    <a:lnTo>
                      <a:pt x="863" y="608"/>
                    </a:lnTo>
                    <a:close/>
                    <a:moveTo>
                      <a:pt x="843" y="583"/>
                    </a:moveTo>
                    <a:lnTo>
                      <a:pt x="842" y="586"/>
                    </a:lnTo>
                    <a:lnTo>
                      <a:pt x="842" y="591"/>
                    </a:lnTo>
                    <a:lnTo>
                      <a:pt x="843" y="594"/>
                    </a:lnTo>
                    <a:lnTo>
                      <a:pt x="847" y="598"/>
                    </a:lnTo>
                    <a:lnTo>
                      <a:pt x="848" y="596"/>
                    </a:lnTo>
                    <a:lnTo>
                      <a:pt x="850" y="593"/>
                    </a:lnTo>
                    <a:lnTo>
                      <a:pt x="852" y="591"/>
                    </a:lnTo>
                    <a:lnTo>
                      <a:pt x="850" y="586"/>
                    </a:lnTo>
                    <a:lnTo>
                      <a:pt x="847" y="584"/>
                    </a:lnTo>
                    <a:lnTo>
                      <a:pt x="843" y="583"/>
                    </a:lnTo>
                    <a:lnTo>
                      <a:pt x="843" y="583"/>
                    </a:lnTo>
                    <a:close/>
                    <a:moveTo>
                      <a:pt x="873" y="566"/>
                    </a:moveTo>
                    <a:lnTo>
                      <a:pt x="873" y="576"/>
                    </a:lnTo>
                    <a:lnTo>
                      <a:pt x="872" y="581"/>
                    </a:lnTo>
                    <a:lnTo>
                      <a:pt x="873" y="584"/>
                    </a:lnTo>
                    <a:lnTo>
                      <a:pt x="877" y="588"/>
                    </a:lnTo>
                    <a:lnTo>
                      <a:pt x="882" y="586"/>
                    </a:lnTo>
                    <a:lnTo>
                      <a:pt x="887" y="586"/>
                    </a:lnTo>
                    <a:lnTo>
                      <a:pt x="888" y="584"/>
                    </a:lnTo>
                    <a:lnTo>
                      <a:pt x="890" y="588"/>
                    </a:lnTo>
                    <a:lnTo>
                      <a:pt x="893" y="589"/>
                    </a:lnTo>
                    <a:lnTo>
                      <a:pt x="895" y="584"/>
                    </a:lnTo>
                    <a:lnTo>
                      <a:pt x="897" y="584"/>
                    </a:lnTo>
                    <a:lnTo>
                      <a:pt x="897" y="578"/>
                    </a:lnTo>
                    <a:lnTo>
                      <a:pt x="895" y="576"/>
                    </a:lnTo>
                    <a:lnTo>
                      <a:pt x="893" y="578"/>
                    </a:lnTo>
                    <a:lnTo>
                      <a:pt x="893" y="581"/>
                    </a:lnTo>
                    <a:lnTo>
                      <a:pt x="890" y="579"/>
                    </a:lnTo>
                    <a:lnTo>
                      <a:pt x="887" y="574"/>
                    </a:lnTo>
                    <a:lnTo>
                      <a:pt x="888" y="573"/>
                    </a:lnTo>
                    <a:lnTo>
                      <a:pt x="885" y="570"/>
                    </a:lnTo>
                    <a:lnTo>
                      <a:pt x="887" y="568"/>
                    </a:lnTo>
                    <a:lnTo>
                      <a:pt x="888" y="568"/>
                    </a:lnTo>
                    <a:lnTo>
                      <a:pt x="890" y="563"/>
                    </a:lnTo>
                    <a:lnTo>
                      <a:pt x="887" y="563"/>
                    </a:lnTo>
                    <a:lnTo>
                      <a:pt x="882" y="566"/>
                    </a:lnTo>
                    <a:lnTo>
                      <a:pt x="878" y="565"/>
                    </a:lnTo>
                    <a:lnTo>
                      <a:pt x="877" y="566"/>
                    </a:lnTo>
                    <a:lnTo>
                      <a:pt x="873" y="566"/>
                    </a:lnTo>
                    <a:lnTo>
                      <a:pt x="873" y="566"/>
                    </a:lnTo>
                    <a:close/>
                    <a:moveTo>
                      <a:pt x="878" y="496"/>
                    </a:moveTo>
                    <a:lnTo>
                      <a:pt x="875" y="500"/>
                    </a:lnTo>
                    <a:lnTo>
                      <a:pt x="875" y="501"/>
                    </a:lnTo>
                    <a:lnTo>
                      <a:pt x="878" y="503"/>
                    </a:lnTo>
                    <a:lnTo>
                      <a:pt x="878" y="506"/>
                    </a:lnTo>
                    <a:lnTo>
                      <a:pt x="877" y="508"/>
                    </a:lnTo>
                    <a:lnTo>
                      <a:pt x="877" y="513"/>
                    </a:lnTo>
                    <a:lnTo>
                      <a:pt x="880" y="518"/>
                    </a:lnTo>
                    <a:lnTo>
                      <a:pt x="880" y="526"/>
                    </a:lnTo>
                    <a:lnTo>
                      <a:pt x="878" y="530"/>
                    </a:lnTo>
                    <a:lnTo>
                      <a:pt x="878" y="535"/>
                    </a:lnTo>
                    <a:lnTo>
                      <a:pt x="880" y="536"/>
                    </a:lnTo>
                    <a:lnTo>
                      <a:pt x="882" y="535"/>
                    </a:lnTo>
                    <a:lnTo>
                      <a:pt x="883" y="528"/>
                    </a:lnTo>
                    <a:lnTo>
                      <a:pt x="885" y="526"/>
                    </a:lnTo>
                    <a:lnTo>
                      <a:pt x="885" y="520"/>
                    </a:lnTo>
                    <a:lnTo>
                      <a:pt x="882" y="516"/>
                    </a:lnTo>
                    <a:lnTo>
                      <a:pt x="880" y="508"/>
                    </a:lnTo>
                    <a:lnTo>
                      <a:pt x="882" y="503"/>
                    </a:lnTo>
                    <a:lnTo>
                      <a:pt x="882" y="500"/>
                    </a:lnTo>
                    <a:lnTo>
                      <a:pt x="878" y="496"/>
                    </a:lnTo>
                    <a:lnTo>
                      <a:pt x="878" y="496"/>
                    </a:lnTo>
                    <a:close/>
                    <a:moveTo>
                      <a:pt x="843" y="508"/>
                    </a:moveTo>
                    <a:lnTo>
                      <a:pt x="842" y="511"/>
                    </a:lnTo>
                    <a:lnTo>
                      <a:pt x="843" y="511"/>
                    </a:lnTo>
                    <a:lnTo>
                      <a:pt x="848" y="511"/>
                    </a:lnTo>
                    <a:lnTo>
                      <a:pt x="850" y="510"/>
                    </a:lnTo>
                    <a:lnTo>
                      <a:pt x="848" y="506"/>
                    </a:lnTo>
                    <a:lnTo>
                      <a:pt x="845" y="506"/>
                    </a:lnTo>
                    <a:lnTo>
                      <a:pt x="843" y="508"/>
                    </a:lnTo>
                    <a:lnTo>
                      <a:pt x="843" y="508"/>
                    </a:lnTo>
                    <a:close/>
                    <a:moveTo>
                      <a:pt x="837" y="500"/>
                    </a:moveTo>
                    <a:lnTo>
                      <a:pt x="838" y="503"/>
                    </a:lnTo>
                    <a:lnTo>
                      <a:pt x="842" y="503"/>
                    </a:lnTo>
                    <a:lnTo>
                      <a:pt x="840" y="500"/>
                    </a:lnTo>
                    <a:lnTo>
                      <a:pt x="838" y="500"/>
                    </a:lnTo>
                    <a:lnTo>
                      <a:pt x="837" y="500"/>
                    </a:lnTo>
                    <a:lnTo>
                      <a:pt x="837" y="500"/>
                    </a:lnTo>
                    <a:close/>
                    <a:moveTo>
                      <a:pt x="868" y="428"/>
                    </a:moveTo>
                    <a:lnTo>
                      <a:pt x="872" y="433"/>
                    </a:lnTo>
                    <a:lnTo>
                      <a:pt x="875" y="435"/>
                    </a:lnTo>
                    <a:lnTo>
                      <a:pt x="878" y="437"/>
                    </a:lnTo>
                    <a:lnTo>
                      <a:pt x="878" y="433"/>
                    </a:lnTo>
                    <a:lnTo>
                      <a:pt x="875" y="432"/>
                    </a:lnTo>
                    <a:lnTo>
                      <a:pt x="872" y="427"/>
                    </a:lnTo>
                    <a:lnTo>
                      <a:pt x="868" y="427"/>
                    </a:lnTo>
                    <a:lnTo>
                      <a:pt x="868" y="428"/>
                    </a:lnTo>
                    <a:lnTo>
                      <a:pt x="868" y="428"/>
                    </a:lnTo>
                    <a:close/>
                    <a:moveTo>
                      <a:pt x="898" y="445"/>
                    </a:moveTo>
                    <a:lnTo>
                      <a:pt x="898" y="445"/>
                    </a:lnTo>
                    <a:lnTo>
                      <a:pt x="900" y="448"/>
                    </a:lnTo>
                    <a:lnTo>
                      <a:pt x="903" y="448"/>
                    </a:lnTo>
                    <a:lnTo>
                      <a:pt x="905" y="445"/>
                    </a:lnTo>
                    <a:lnTo>
                      <a:pt x="903" y="443"/>
                    </a:lnTo>
                    <a:lnTo>
                      <a:pt x="905" y="438"/>
                    </a:lnTo>
                    <a:lnTo>
                      <a:pt x="907" y="437"/>
                    </a:lnTo>
                    <a:lnTo>
                      <a:pt x="907" y="432"/>
                    </a:lnTo>
                    <a:lnTo>
                      <a:pt x="902" y="437"/>
                    </a:lnTo>
                    <a:lnTo>
                      <a:pt x="902" y="442"/>
                    </a:lnTo>
                    <a:lnTo>
                      <a:pt x="898" y="445"/>
                    </a:lnTo>
                    <a:lnTo>
                      <a:pt x="898" y="445"/>
                    </a:lnTo>
                    <a:close/>
                    <a:moveTo>
                      <a:pt x="885" y="420"/>
                    </a:moveTo>
                    <a:lnTo>
                      <a:pt x="887" y="422"/>
                    </a:lnTo>
                    <a:lnTo>
                      <a:pt x="888" y="420"/>
                    </a:lnTo>
                    <a:lnTo>
                      <a:pt x="890" y="415"/>
                    </a:lnTo>
                    <a:lnTo>
                      <a:pt x="888" y="413"/>
                    </a:lnTo>
                    <a:lnTo>
                      <a:pt x="888" y="415"/>
                    </a:lnTo>
                    <a:lnTo>
                      <a:pt x="885" y="420"/>
                    </a:lnTo>
                    <a:lnTo>
                      <a:pt x="885" y="420"/>
                    </a:lnTo>
                    <a:close/>
                    <a:moveTo>
                      <a:pt x="888" y="405"/>
                    </a:moveTo>
                    <a:lnTo>
                      <a:pt x="887" y="407"/>
                    </a:lnTo>
                    <a:lnTo>
                      <a:pt x="888" y="407"/>
                    </a:lnTo>
                    <a:lnTo>
                      <a:pt x="890" y="407"/>
                    </a:lnTo>
                    <a:lnTo>
                      <a:pt x="890" y="405"/>
                    </a:lnTo>
                    <a:lnTo>
                      <a:pt x="888" y="405"/>
                    </a:lnTo>
                    <a:lnTo>
                      <a:pt x="888" y="405"/>
                    </a:lnTo>
                    <a:close/>
                    <a:moveTo>
                      <a:pt x="908" y="357"/>
                    </a:moveTo>
                    <a:lnTo>
                      <a:pt x="911" y="362"/>
                    </a:lnTo>
                    <a:lnTo>
                      <a:pt x="911" y="364"/>
                    </a:lnTo>
                    <a:lnTo>
                      <a:pt x="915" y="360"/>
                    </a:lnTo>
                    <a:lnTo>
                      <a:pt x="918" y="355"/>
                    </a:lnTo>
                    <a:lnTo>
                      <a:pt x="916" y="350"/>
                    </a:lnTo>
                    <a:lnTo>
                      <a:pt x="918" y="347"/>
                    </a:lnTo>
                    <a:lnTo>
                      <a:pt x="916" y="345"/>
                    </a:lnTo>
                    <a:lnTo>
                      <a:pt x="913" y="347"/>
                    </a:lnTo>
                    <a:lnTo>
                      <a:pt x="911" y="352"/>
                    </a:lnTo>
                    <a:lnTo>
                      <a:pt x="908" y="357"/>
                    </a:lnTo>
                    <a:lnTo>
                      <a:pt x="908" y="357"/>
                    </a:lnTo>
                    <a:close/>
                    <a:moveTo>
                      <a:pt x="895" y="294"/>
                    </a:moveTo>
                    <a:lnTo>
                      <a:pt x="897" y="294"/>
                    </a:lnTo>
                    <a:lnTo>
                      <a:pt x="898" y="292"/>
                    </a:lnTo>
                    <a:lnTo>
                      <a:pt x="905" y="292"/>
                    </a:lnTo>
                    <a:lnTo>
                      <a:pt x="908" y="289"/>
                    </a:lnTo>
                    <a:lnTo>
                      <a:pt x="908" y="284"/>
                    </a:lnTo>
                    <a:lnTo>
                      <a:pt x="905" y="280"/>
                    </a:lnTo>
                    <a:lnTo>
                      <a:pt x="897" y="284"/>
                    </a:lnTo>
                    <a:lnTo>
                      <a:pt x="895" y="289"/>
                    </a:lnTo>
                    <a:lnTo>
                      <a:pt x="895" y="294"/>
                    </a:lnTo>
                    <a:lnTo>
                      <a:pt x="895" y="294"/>
                    </a:lnTo>
                    <a:close/>
                    <a:moveTo>
                      <a:pt x="945" y="173"/>
                    </a:moveTo>
                    <a:lnTo>
                      <a:pt x="946" y="171"/>
                    </a:lnTo>
                    <a:lnTo>
                      <a:pt x="948" y="166"/>
                    </a:lnTo>
                    <a:lnTo>
                      <a:pt x="946" y="159"/>
                    </a:lnTo>
                    <a:lnTo>
                      <a:pt x="948" y="156"/>
                    </a:lnTo>
                    <a:lnTo>
                      <a:pt x="946" y="153"/>
                    </a:lnTo>
                    <a:lnTo>
                      <a:pt x="943" y="154"/>
                    </a:lnTo>
                    <a:lnTo>
                      <a:pt x="943" y="158"/>
                    </a:lnTo>
                    <a:lnTo>
                      <a:pt x="943" y="158"/>
                    </a:lnTo>
                    <a:lnTo>
                      <a:pt x="943" y="163"/>
                    </a:lnTo>
                    <a:lnTo>
                      <a:pt x="941" y="166"/>
                    </a:lnTo>
                    <a:lnTo>
                      <a:pt x="945" y="173"/>
                    </a:lnTo>
                    <a:lnTo>
                      <a:pt x="945" y="173"/>
                    </a:lnTo>
                    <a:close/>
                    <a:moveTo>
                      <a:pt x="930" y="186"/>
                    </a:moveTo>
                    <a:lnTo>
                      <a:pt x="930" y="186"/>
                    </a:lnTo>
                    <a:lnTo>
                      <a:pt x="931" y="187"/>
                    </a:lnTo>
                    <a:lnTo>
                      <a:pt x="933" y="184"/>
                    </a:lnTo>
                    <a:lnTo>
                      <a:pt x="933" y="176"/>
                    </a:lnTo>
                    <a:lnTo>
                      <a:pt x="931" y="174"/>
                    </a:lnTo>
                    <a:lnTo>
                      <a:pt x="928" y="178"/>
                    </a:lnTo>
                    <a:lnTo>
                      <a:pt x="928" y="181"/>
                    </a:lnTo>
                    <a:lnTo>
                      <a:pt x="930" y="186"/>
                    </a:lnTo>
                    <a:lnTo>
                      <a:pt x="930" y="186"/>
                    </a:lnTo>
                    <a:close/>
                    <a:moveTo>
                      <a:pt x="921" y="174"/>
                    </a:moveTo>
                    <a:lnTo>
                      <a:pt x="923" y="176"/>
                    </a:lnTo>
                    <a:lnTo>
                      <a:pt x="926" y="173"/>
                    </a:lnTo>
                    <a:lnTo>
                      <a:pt x="926" y="168"/>
                    </a:lnTo>
                    <a:lnTo>
                      <a:pt x="928" y="166"/>
                    </a:lnTo>
                    <a:lnTo>
                      <a:pt x="928" y="163"/>
                    </a:lnTo>
                    <a:lnTo>
                      <a:pt x="926" y="159"/>
                    </a:lnTo>
                    <a:lnTo>
                      <a:pt x="923" y="161"/>
                    </a:lnTo>
                    <a:lnTo>
                      <a:pt x="920" y="166"/>
                    </a:lnTo>
                    <a:lnTo>
                      <a:pt x="921" y="169"/>
                    </a:lnTo>
                    <a:lnTo>
                      <a:pt x="921" y="174"/>
                    </a:lnTo>
                    <a:lnTo>
                      <a:pt x="921" y="174"/>
                    </a:lnTo>
                    <a:close/>
                    <a:moveTo>
                      <a:pt x="667" y="13"/>
                    </a:moveTo>
                    <a:lnTo>
                      <a:pt x="669" y="13"/>
                    </a:lnTo>
                    <a:lnTo>
                      <a:pt x="671" y="11"/>
                    </a:lnTo>
                    <a:lnTo>
                      <a:pt x="671" y="8"/>
                    </a:lnTo>
                    <a:lnTo>
                      <a:pt x="669" y="5"/>
                    </a:lnTo>
                    <a:lnTo>
                      <a:pt x="667" y="5"/>
                    </a:lnTo>
                    <a:lnTo>
                      <a:pt x="666" y="10"/>
                    </a:lnTo>
                    <a:lnTo>
                      <a:pt x="667" y="13"/>
                    </a:lnTo>
                    <a:lnTo>
                      <a:pt x="667" y="13"/>
                    </a:lnTo>
                    <a:close/>
                    <a:moveTo>
                      <a:pt x="667" y="21"/>
                    </a:moveTo>
                    <a:lnTo>
                      <a:pt x="669" y="21"/>
                    </a:lnTo>
                    <a:lnTo>
                      <a:pt x="672" y="21"/>
                    </a:lnTo>
                    <a:lnTo>
                      <a:pt x="674" y="20"/>
                    </a:lnTo>
                    <a:lnTo>
                      <a:pt x="674" y="15"/>
                    </a:lnTo>
                    <a:lnTo>
                      <a:pt x="672" y="16"/>
                    </a:lnTo>
                    <a:lnTo>
                      <a:pt x="667" y="18"/>
                    </a:lnTo>
                    <a:lnTo>
                      <a:pt x="667" y="21"/>
                    </a:lnTo>
                    <a:lnTo>
                      <a:pt x="667" y="21"/>
                    </a:lnTo>
                    <a:close/>
                    <a:moveTo>
                      <a:pt x="647" y="21"/>
                    </a:moveTo>
                    <a:lnTo>
                      <a:pt x="651" y="26"/>
                    </a:lnTo>
                    <a:lnTo>
                      <a:pt x="652" y="30"/>
                    </a:lnTo>
                    <a:lnTo>
                      <a:pt x="656" y="28"/>
                    </a:lnTo>
                    <a:lnTo>
                      <a:pt x="657" y="26"/>
                    </a:lnTo>
                    <a:lnTo>
                      <a:pt x="661" y="25"/>
                    </a:lnTo>
                    <a:lnTo>
                      <a:pt x="654" y="20"/>
                    </a:lnTo>
                    <a:lnTo>
                      <a:pt x="652" y="16"/>
                    </a:lnTo>
                    <a:lnTo>
                      <a:pt x="651" y="13"/>
                    </a:lnTo>
                    <a:lnTo>
                      <a:pt x="649" y="15"/>
                    </a:lnTo>
                    <a:lnTo>
                      <a:pt x="647" y="18"/>
                    </a:lnTo>
                    <a:lnTo>
                      <a:pt x="646" y="18"/>
                    </a:lnTo>
                    <a:lnTo>
                      <a:pt x="647" y="21"/>
                    </a:lnTo>
                    <a:lnTo>
                      <a:pt x="647" y="21"/>
                    </a:lnTo>
                    <a:close/>
                    <a:moveTo>
                      <a:pt x="636" y="26"/>
                    </a:moveTo>
                    <a:lnTo>
                      <a:pt x="636" y="28"/>
                    </a:lnTo>
                    <a:lnTo>
                      <a:pt x="637" y="30"/>
                    </a:lnTo>
                    <a:lnTo>
                      <a:pt x="639" y="28"/>
                    </a:lnTo>
                    <a:lnTo>
                      <a:pt x="639" y="26"/>
                    </a:lnTo>
                    <a:lnTo>
                      <a:pt x="636" y="25"/>
                    </a:lnTo>
                    <a:lnTo>
                      <a:pt x="636" y="26"/>
                    </a:lnTo>
                    <a:lnTo>
                      <a:pt x="636" y="26"/>
                    </a:lnTo>
                    <a:close/>
                    <a:moveTo>
                      <a:pt x="563" y="43"/>
                    </a:moveTo>
                    <a:lnTo>
                      <a:pt x="564" y="46"/>
                    </a:lnTo>
                    <a:lnTo>
                      <a:pt x="568" y="48"/>
                    </a:lnTo>
                    <a:lnTo>
                      <a:pt x="574" y="55"/>
                    </a:lnTo>
                    <a:lnTo>
                      <a:pt x="578" y="55"/>
                    </a:lnTo>
                    <a:lnTo>
                      <a:pt x="579" y="50"/>
                    </a:lnTo>
                    <a:lnTo>
                      <a:pt x="579" y="45"/>
                    </a:lnTo>
                    <a:lnTo>
                      <a:pt x="581" y="45"/>
                    </a:lnTo>
                    <a:lnTo>
                      <a:pt x="581" y="41"/>
                    </a:lnTo>
                    <a:lnTo>
                      <a:pt x="578" y="41"/>
                    </a:lnTo>
                    <a:lnTo>
                      <a:pt x="573" y="35"/>
                    </a:lnTo>
                    <a:lnTo>
                      <a:pt x="569" y="35"/>
                    </a:lnTo>
                    <a:lnTo>
                      <a:pt x="568" y="36"/>
                    </a:lnTo>
                    <a:lnTo>
                      <a:pt x="569" y="41"/>
                    </a:lnTo>
                    <a:lnTo>
                      <a:pt x="569" y="43"/>
                    </a:lnTo>
                    <a:lnTo>
                      <a:pt x="568" y="45"/>
                    </a:lnTo>
                    <a:lnTo>
                      <a:pt x="566" y="43"/>
                    </a:lnTo>
                    <a:lnTo>
                      <a:pt x="563" y="43"/>
                    </a:lnTo>
                    <a:lnTo>
                      <a:pt x="563" y="43"/>
                    </a:lnTo>
                    <a:close/>
                    <a:moveTo>
                      <a:pt x="558" y="46"/>
                    </a:moveTo>
                    <a:lnTo>
                      <a:pt x="561" y="53"/>
                    </a:lnTo>
                    <a:lnTo>
                      <a:pt x="563" y="53"/>
                    </a:lnTo>
                    <a:lnTo>
                      <a:pt x="563" y="48"/>
                    </a:lnTo>
                    <a:lnTo>
                      <a:pt x="559" y="45"/>
                    </a:lnTo>
                    <a:lnTo>
                      <a:pt x="558" y="46"/>
                    </a:lnTo>
                    <a:lnTo>
                      <a:pt x="558" y="46"/>
                    </a:lnTo>
                    <a:close/>
                    <a:moveTo>
                      <a:pt x="534" y="45"/>
                    </a:moveTo>
                    <a:lnTo>
                      <a:pt x="534" y="48"/>
                    </a:lnTo>
                    <a:lnTo>
                      <a:pt x="541" y="50"/>
                    </a:lnTo>
                    <a:lnTo>
                      <a:pt x="543" y="51"/>
                    </a:lnTo>
                    <a:lnTo>
                      <a:pt x="546" y="51"/>
                    </a:lnTo>
                    <a:lnTo>
                      <a:pt x="546" y="50"/>
                    </a:lnTo>
                    <a:lnTo>
                      <a:pt x="544" y="46"/>
                    </a:lnTo>
                    <a:lnTo>
                      <a:pt x="541" y="46"/>
                    </a:lnTo>
                    <a:lnTo>
                      <a:pt x="541" y="43"/>
                    </a:lnTo>
                    <a:lnTo>
                      <a:pt x="538" y="41"/>
                    </a:lnTo>
                    <a:lnTo>
                      <a:pt x="534" y="43"/>
                    </a:lnTo>
                    <a:lnTo>
                      <a:pt x="534" y="45"/>
                    </a:lnTo>
                    <a:lnTo>
                      <a:pt x="534" y="45"/>
                    </a:lnTo>
                    <a:close/>
                    <a:moveTo>
                      <a:pt x="519" y="86"/>
                    </a:moveTo>
                    <a:lnTo>
                      <a:pt x="523" y="88"/>
                    </a:lnTo>
                    <a:lnTo>
                      <a:pt x="524" y="86"/>
                    </a:lnTo>
                    <a:lnTo>
                      <a:pt x="526" y="83"/>
                    </a:lnTo>
                    <a:lnTo>
                      <a:pt x="523" y="80"/>
                    </a:lnTo>
                    <a:lnTo>
                      <a:pt x="521" y="75"/>
                    </a:lnTo>
                    <a:lnTo>
                      <a:pt x="518" y="71"/>
                    </a:lnTo>
                    <a:lnTo>
                      <a:pt x="516" y="71"/>
                    </a:lnTo>
                    <a:lnTo>
                      <a:pt x="514" y="75"/>
                    </a:lnTo>
                    <a:lnTo>
                      <a:pt x="518" y="78"/>
                    </a:lnTo>
                    <a:lnTo>
                      <a:pt x="518" y="84"/>
                    </a:lnTo>
                    <a:lnTo>
                      <a:pt x="519" y="86"/>
                    </a:lnTo>
                    <a:lnTo>
                      <a:pt x="519" y="86"/>
                    </a:lnTo>
                    <a:close/>
                    <a:moveTo>
                      <a:pt x="526" y="128"/>
                    </a:moveTo>
                    <a:lnTo>
                      <a:pt x="533" y="128"/>
                    </a:lnTo>
                    <a:lnTo>
                      <a:pt x="534" y="126"/>
                    </a:lnTo>
                    <a:lnTo>
                      <a:pt x="534" y="121"/>
                    </a:lnTo>
                    <a:lnTo>
                      <a:pt x="531" y="119"/>
                    </a:lnTo>
                    <a:lnTo>
                      <a:pt x="531" y="116"/>
                    </a:lnTo>
                    <a:lnTo>
                      <a:pt x="528" y="114"/>
                    </a:lnTo>
                    <a:lnTo>
                      <a:pt x="524" y="116"/>
                    </a:lnTo>
                    <a:lnTo>
                      <a:pt x="521" y="119"/>
                    </a:lnTo>
                    <a:lnTo>
                      <a:pt x="523" y="123"/>
                    </a:lnTo>
                    <a:lnTo>
                      <a:pt x="524" y="128"/>
                    </a:lnTo>
                    <a:lnTo>
                      <a:pt x="526" y="128"/>
                    </a:lnTo>
                    <a:lnTo>
                      <a:pt x="526" y="128"/>
                    </a:lnTo>
                    <a:close/>
                    <a:moveTo>
                      <a:pt x="526" y="133"/>
                    </a:moveTo>
                    <a:lnTo>
                      <a:pt x="526" y="138"/>
                    </a:lnTo>
                    <a:lnTo>
                      <a:pt x="526" y="139"/>
                    </a:lnTo>
                    <a:lnTo>
                      <a:pt x="526" y="144"/>
                    </a:lnTo>
                    <a:lnTo>
                      <a:pt x="533" y="149"/>
                    </a:lnTo>
                    <a:lnTo>
                      <a:pt x="536" y="146"/>
                    </a:lnTo>
                    <a:lnTo>
                      <a:pt x="536" y="136"/>
                    </a:lnTo>
                    <a:lnTo>
                      <a:pt x="533" y="133"/>
                    </a:lnTo>
                    <a:lnTo>
                      <a:pt x="529" y="133"/>
                    </a:lnTo>
                    <a:lnTo>
                      <a:pt x="526" y="133"/>
                    </a:lnTo>
                    <a:lnTo>
                      <a:pt x="526" y="133"/>
                    </a:lnTo>
                    <a:close/>
                    <a:moveTo>
                      <a:pt x="460" y="91"/>
                    </a:moveTo>
                    <a:lnTo>
                      <a:pt x="460" y="89"/>
                    </a:lnTo>
                    <a:lnTo>
                      <a:pt x="460" y="88"/>
                    </a:lnTo>
                    <a:lnTo>
                      <a:pt x="460" y="84"/>
                    </a:lnTo>
                    <a:lnTo>
                      <a:pt x="458" y="83"/>
                    </a:lnTo>
                    <a:lnTo>
                      <a:pt x="456" y="84"/>
                    </a:lnTo>
                    <a:lnTo>
                      <a:pt x="456" y="88"/>
                    </a:lnTo>
                    <a:lnTo>
                      <a:pt x="460" y="91"/>
                    </a:lnTo>
                    <a:lnTo>
                      <a:pt x="460" y="91"/>
                    </a:lnTo>
                    <a:close/>
                    <a:moveTo>
                      <a:pt x="450" y="118"/>
                    </a:moveTo>
                    <a:lnTo>
                      <a:pt x="451" y="119"/>
                    </a:lnTo>
                    <a:lnTo>
                      <a:pt x="453" y="116"/>
                    </a:lnTo>
                    <a:lnTo>
                      <a:pt x="453" y="109"/>
                    </a:lnTo>
                    <a:lnTo>
                      <a:pt x="446" y="104"/>
                    </a:lnTo>
                    <a:lnTo>
                      <a:pt x="446" y="98"/>
                    </a:lnTo>
                    <a:lnTo>
                      <a:pt x="450" y="91"/>
                    </a:lnTo>
                    <a:lnTo>
                      <a:pt x="450" y="84"/>
                    </a:lnTo>
                    <a:lnTo>
                      <a:pt x="446" y="81"/>
                    </a:lnTo>
                    <a:lnTo>
                      <a:pt x="446" y="75"/>
                    </a:lnTo>
                    <a:lnTo>
                      <a:pt x="446" y="71"/>
                    </a:lnTo>
                    <a:lnTo>
                      <a:pt x="441" y="75"/>
                    </a:lnTo>
                    <a:lnTo>
                      <a:pt x="441" y="86"/>
                    </a:lnTo>
                    <a:lnTo>
                      <a:pt x="438" y="89"/>
                    </a:lnTo>
                    <a:lnTo>
                      <a:pt x="438" y="96"/>
                    </a:lnTo>
                    <a:lnTo>
                      <a:pt x="443" y="104"/>
                    </a:lnTo>
                    <a:lnTo>
                      <a:pt x="445" y="111"/>
                    </a:lnTo>
                    <a:lnTo>
                      <a:pt x="450" y="118"/>
                    </a:lnTo>
                    <a:lnTo>
                      <a:pt x="450" y="118"/>
                    </a:lnTo>
                    <a:close/>
                    <a:moveTo>
                      <a:pt x="187" y="154"/>
                    </a:moveTo>
                    <a:lnTo>
                      <a:pt x="191" y="156"/>
                    </a:lnTo>
                    <a:lnTo>
                      <a:pt x="191" y="159"/>
                    </a:lnTo>
                    <a:lnTo>
                      <a:pt x="194" y="161"/>
                    </a:lnTo>
                    <a:lnTo>
                      <a:pt x="196" y="156"/>
                    </a:lnTo>
                    <a:lnTo>
                      <a:pt x="192" y="154"/>
                    </a:lnTo>
                    <a:lnTo>
                      <a:pt x="187" y="154"/>
                    </a:lnTo>
                    <a:lnTo>
                      <a:pt x="187" y="154"/>
                    </a:lnTo>
                    <a:close/>
                    <a:moveTo>
                      <a:pt x="23" y="345"/>
                    </a:moveTo>
                    <a:lnTo>
                      <a:pt x="24" y="349"/>
                    </a:lnTo>
                    <a:lnTo>
                      <a:pt x="33" y="349"/>
                    </a:lnTo>
                    <a:lnTo>
                      <a:pt x="36" y="350"/>
                    </a:lnTo>
                    <a:lnTo>
                      <a:pt x="39" y="350"/>
                    </a:lnTo>
                    <a:lnTo>
                      <a:pt x="38" y="347"/>
                    </a:lnTo>
                    <a:lnTo>
                      <a:pt x="34" y="347"/>
                    </a:lnTo>
                    <a:lnTo>
                      <a:pt x="31" y="344"/>
                    </a:lnTo>
                    <a:lnTo>
                      <a:pt x="26" y="344"/>
                    </a:lnTo>
                    <a:lnTo>
                      <a:pt x="23" y="344"/>
                    </a:lnTo>
                    <a:lnTo>
                      <a:pt x="23" y="345"/>
                    </a:lnTo>
                    <a:lnTo>
                      <a:pt x="23" y="345"/>
                    </a:lnTo>
                    <a:close/>
                    <a:moveTo>
                      <a:pt x="0" y="345"/>
                    </a:moveTo>
                    <a:lnTo>
                      <a:pt x="3" y="350"/>
                    </a:lnTo>
                    <a:lnTo>
                      <a:pt x="10" y="350"/>
                    </a:lnTo>
                    <a:lnTo>
                      <a:pt x="13" y="354"/>
                    </a:lnTo>
                    <a:lnTo>
                      <a:pt x="19" y="350"/>
                    </a:lnTo>
                    <a:lnTo>
                      <a:pt x="13" y="345"/>
                    </a:lnTo>
                    <a:lnTo>
                      <a:pt x="6" y="344"/>
                    </a:lnTo>
                    <a:lnTo>
                      <a:pt x="1" y="344"/>
                    </a:lnTo>
                    <a:lnTo>
                      <a:pt x="0" y="345"/>
                    </a:lnTo>
                    <a:lnTo>
                      <a:pt x="0" y="345"/>
                    </a:lnTo>
                    <a:close/>
                    <a:moveTo>
                      <a:pt x="184" y="528"/>
                    </a:moveTo>
                    <a:lnTo>
                      <a:pt x="184" y="530"/>
                    </a:lnTo>
                    <a:lnTo>
                      <a:pt x="186" y="531"/>
                    </a:lnTo>
                    <a:lnTo>
                      <a:pt x="187" y="528"/>
                    </a:lnTo>
                    <a:lnTo>
                      <a:pt x="186" y="526"/>
                    </a:lnTo>
                    <a:lnTo>
                      <a:pt x="184" y="528"/>
                    </a:lnTo>
                    <a:lnTo>
                      <a:pt x="184" y="528"/>
                    </a:lnTo>
                    <a:close/>
                    <a:moveTo>
                      <a:pt x="186" y="546"/>
                    </a:moveTo>
                    <a:lnTo>
                      <a:pt x="189" y="546"/>
                    </a:lnTo>
                    <a:lnTo>
                      <a:pt x="191" y="548"/>
                    </a:lnTo>
                    <a:lnTo>
                      <a:pt x="199" y="548"/>
                    </a:lnTo>
                    <a:lnTo>
                      <a:pt x="202" y="550"/>
                    </a:lnTo>
                    <a:lnTo>
                      <a:pt x="204" y="551"/>
                    </a:lnTo>
                    <a:lnTo>
                      <a:pt x="206" y="548"/>
                    </a:lnTo>
                    <a:lnTo>
                      <a:pt x="202" y="545"/>
                    </a:lnTo>
                    <a:lnTo>
                      <a:pt x="196" y="543"/>
                    </a:lnTo>
                    <a:lnTo>
                      <a:pt x="194" y="545"/>
                    </a:lnTo>
                    <a:lnTo>
                      <a:pt x="189" y="543"/>
                    </a:lnTo>
                    <a:lnTo>
                      <a:pt x="186" y="543"/>
                    </a:lnTo>
                    <a:lnTo>
                      <a:pt x="184" y="545"/>
                    </a:lnTo>
                    <a:lnTo>
                      <a:pt x="186" y="546"/>
                    </a:lnTo>
                    <a:lnTo>
                      <a:pt x="186" y="546"/>
                    </a:lnTo>
                    <a:close/>
                    <a:moveTo>
                      <a:pt x="191" y="553"/>
                    </a:moveTo>
                    <a:lnTo>
                      <a:pt x="192" y="555"/>
                    </a:lnTo>
                    <a:lnTo>
                      <a:pt x="194" y="555"/>
                    </a:lnTo>
                    <a:lnTo>
                      <a:pt x="194" y="553"/>
                    </a:lnTo>
                    <a:lnTo>
                      <a:pt x="191" y="553"/>
                    </a:lnTo>
                    <a:lnTo>
                      <a:pt x="191" y="553"/>
                    </a:lnTo>
                    <a:close/>
                    <a:moveTo>
                      <a:pt x="192" y="581"/>
                    </a:moveTo>
                    <a:lnTo>
                      <a:pt x="194" y="583"/>
                    </a:lnTo>
                    <a:lnTo>
                      <a:pt x="197" y="583"/>
                    </a:lnTo>
                    <a:lnTo>
                      <a:pt x="199" y="586"/>
                    </a:lnTo>
                    <a:lnTo>
                      <a:pt x="202" y="584"/>
                    </a:lnTo>
                    <a:lnTo>
                      <a:pt x="201" y="581"/>
                    </a:lnTo>
                    <a:lnTo>
                      <a:pt x="196" y="579"/>
                    </a:lnTo>
                    <a:lnTo>
                      <a:pt x="194" y="579"/>
                    </a:lnTo>
                    <a:lnTo>
                      <a:pt x="192" y="581"/>
                    </a:lnTo>
                    <a:lnTo>
                      <a:pt x="192" y="581"/>
                    </a:lnTo>
                    <a:close/>
                    <a:moveTo>
                      <a:pt x="187" y="591"/>
                    </a:moveTo>
                    <a:lnTo>
                      <a:pt x="189" y="593"/>
                    </a:lnTo>
                    <a:lnTo>
                      <a:pt x="192" y="594"/>
                    </a:lnTo>
                    <a:lnTo>
                      <a:pt x="196" y="591"/>
                    </a:lnTo>
                    <a:lnTo>
                      <a:pt x="191" y="591"/>
                    </a:lnTo>
                    <a:lnTo>
                      <a:pt x="189" y="589"/>
                    </a:lnTo>
                    <a:lnTo>
                      <a:pt x="187" y="591"/>
                    </a:lnTo>
                    <a:lnTo>
                      <a:pt x="187" y="591"/>
                    </a:lnTo>
                    <a:close/>
                    <a:moveTo>
                      <a:pt x="194" y="609"/>
                    </a:moveTo>
                    <a:lnTo>
                      <a:pt x="196" y="609"/>
                    </a:lnTo>
                    <a:lnTo>
                      <a:pt x="197" y="608"/>
                    </a:lnTo>
                    <a:lnTo>
                      <a:pt x="196" y="604"/>
                    </a:lnTo>
                    <a:lnTo>
                      <a:pt x="194" y="603"/>
                    </a:lnTo>
                    <a:lnTo>
                      <a:pt x="194" y="604"/>
                    </a:lnTo>
                    <a:lnTo>
                      <a:pt x="194" y="609"/>
                    </a:lnTo>
                    <a:lnTo>
                      <a:pt x="194" y="609"/>
                    </a:lnTo>
                    <a:close/>
                    <a:moveTo>
                      <a:pt x="201" y="613"/>
                    </a:moveTo>
                    <a:lnTo>
                      <a:pt x="201" y="614"/>
                    </a:lnTo>
                    <a:lnTo>
                      <a:pt x="202" y="614"/>
                    </a:lnTo>
                    <a:lnTo>
                      <a:pt x="202" y="613"/>
                    </a:lnTo>
                    <a:lnTo>
                      <a:pt x="201" y="613"/>
                    </a:lnTo>
                    <a:lnTo>
                      <a:pt x="201" y="613"/>
                    </a:lnTo>
                    <a:close/>
                    <a:moveTo>
                      <a:pt x="187" y="616"/>
                    </a:moveTo>
                    <a:lnTo>
                      <a:pt x="189" y="614"/>
                    </a:lnTo>
                    <a:lnTo>
                      <a:pt x="187" y="613"/>
                    </a:lnTo>
                    <a:lnTo>
                      <a:pt x="186" y="614"/>
                    </a:lnTo>
                    <a:lnTo>
                      <a:pt x="187" y="616"/>
                    </a:lnTo>
                    <a:lnTo>
                      <a:pt x="187" y="616"/>
                    </a:lnTo>
                    <a:close/>
                    <a:moveTo>
                      <a:pt x="192" y="614"/>
                    </a:moveTo>
                    <a:lnTo>
                      <a:pt x="194" y="616"/>
                    </a:lnTo>
                    <a:lnTo>
                      <a:pt x="196" y="614"/>
                    </a:lnTo>
                    <a:lnTo>
                      <a:pt x="194" y="613"/>
                    </a:lnTo>
                    <a:lnTo>
                      <a:pt x="192" y="614"/>
                    </a:lnTo>
                    <a:lnTo>
                      <a:pt x="192" y="614"/>
                    </a:lnTo>
                    <a:close/>
                    <a:moveTo>
                      <a:pt x="191" y="621"/>
                    </a:moveTo>
                    <a:lnTo>
                      <a:pt x="194" y="619"/>
                    </a:lnTo>
                    <a:lnTo>
                      <a:pt x="194" y="618"/>
                    </a:lnTo>
                    <a:lnTo>
                      <a:pt x="192" y="618"/>
                    </a:lnTo>
                    <a:lnTo>
                      <a:pt x="191" y="621"/>
                    </a:lnTo>
                    <a:lnTo>
                      <a:pt x="191" y="621"/>
                    </a:lnTo>
                    <a:close/>
                    <a:moveTo>
                      <a:pt x="194" y="628"/>
                    </a:moveTo>
                    <a:lnTo>
                      <a:pt x="196" y="626"/>
                    </a:lnTo>
                    <a:lnTo>
                      <a:pt x="192" y="626"/>
                    </a:lnTo>
                    <a:lnTo>
                      <a:pt x="191" y="626"/>
                    </a:lnTo>
                    <a:lnTo>
                      <a:pt x="191" y="628"/>
                    </a:lnTo>
                    <a:lnTo>
                      <a:pt x="194" y="628"/>
                    </a:lnTo>
                    <a:lnTo>
                      <a:pt x="194" y="628"/>
                    </a:lnTo>
                    <a:close/>
                    <a:moveTo>
                      <a:pt x="197" y="631"/>
                    </a:moveTo>
                    <a:lnTo>
                      <a:pt x="201" y="631"/>
                    </a:lnTo>
                    <a:lnTo>
                      <a:pt x="201" y="629"/>
                    </a:lnTo>
                    <a:lnTo>
                      <a:pt x="199" y="628"/>
                    </a:lnTo>
                    <a:lnTo>
                      <a:pt x="196" y="631"/>
                    </a:lnTo>
                    <a:lnTo>
                      <a:pt x="196" y="631"/>
                    </a:lnTo>
                    <a:lnTo>
                      <a:pt x="197" y="631"/>
                    </a:lnTo>
                    <a:lnTo>
                      <a:pt x="197" y="631"/>
                    </a:lnTo>
                    <a:close/>
                    <a:moveTo>
                      <a:pt x="182" y="643"/>
                    </a:moveTo>
                    <a:lnTo>
                      <a:pt x="187" y="641"/>
                    </a:lnTo>
                    <a:lnTo>
                      <a:pt x="187" y="641"/>
                    </a:lnTo>
                    <a:lnTo>
                      <a:pt x="187" y="639"/>
                    </a:lnTo>
                    <a:lnTo>
                      <a:pt x="182" y="639"/>
                    </a:lnTo>
                    <a:lnTo>
                      <a:pt x="181" y="641"/>
                    </a:lnTo>
                    <a:lnTo>
                      <a:pt x="182" y="643"/>
                    </a:lnTo>
                    <a:lnTo>
                      <a:pt x="182" y="643"/>
                    </a:lnTo>
                    <a:close/>
                    <a:moveTo>
                      <a:pt x="191" y="649"/>
                    </a:moveTo>
                    <a:lnTo>
                      <a:pt x="199" y="644"/>
                    </a:lnTo>
                    <a:lnTo>
                      <a:pt x="202" y="641"/>
                    </a:lnTo>
                    <a:lnTo>
                      <a:pt x="202" y="638"/>
                    </a:lnTo>
                    <a:lnTo>
                      <a:pt x="199" y="638"/>
                    </a:lnTo>
                    <a:lnTo>
                      <a:pt x="194" y="641"/>
                    </a:lnTo>
                    <a:lnTo>
                      <a:pt x="191" y="643"/>
                    </a:lnTo>
                    <a:lnTo>
                      <a:pt x="189" y="644"/>
                    </a:lnTo>
                    <a:lnTo>
                      <a:pt x="187" y="646"/>
                    </a:lnTo>
                    <a:lnTo>
                      <a:pt x="187" y="648"/>
                    </a:lnTo>
                    <a:lnTo>
                      <a:pt x="187" y="651"/>
                    </a:lnTo>
                    <a:lnTo>
                      <a:pt x="189" y="651"/>
                    </a:lnTo>
                    <a:lnTo>
                      <a:pt x="191" y="649"/>
                    </a:lnTo>
                    <a:lnTo>
                      <a:pt x="191" y="649"/>
                    </a:lnTo>
                    <a:close/>
                    <a:moveTo>
                      <a:pt x="199" y="648"/>
                    </a:moveTo>
                    <a:lnTo>
                      <a:pt x="199" y="648"/>
                    </a:lnTo>
                    <a:lnTo>
                      <a:pt x="202" y="648"/>
                    </a:lnTo>
                    <a:lnTo>
                      <a:pt x="202" y="646"/>
                    </a:lnTo>
                    <a:lnTo>
                      <a:pt x="199" y="648"/>
                    </a:lnTo>
                    <a:lnTo>
                      <a:pt x="199" y="648"/>
                    </a:lnTo>
                    <a:close/>
                    <a:moveTo>
                      <a:pt x="196" y="653"/>
                    </a:moveTo>
                    <a:lnTo>
                      <a:pt x="197" y="653"/>
                    </a:lnTo>
                    <a:lnTo>
                      <a:pt x="197" y="651"/>
                    </a:lnTo>
                    <a:lnTo>
                      <a:pt x="196" y="651"/>
                    </a:lnTo>
                    <a:lnTo>
                      <a:pt x="196" y="653"/>
                    </a:lnTo>
                    <a:lnTo>
                      <a:pt x="196" y="653"/>
                    </a:lnTo>
                    <a:close/>
                    <a:moveTo>
                      <a:pt x="189" y="654"/>
                    </a:moveTo>
                    <a:lnTo>
                      <a:pt x="191" y="653"/>
                    </a:lnTo>
                    <a:lnTo>
                      <a:pt x="189" y="651"/>
                    </a:lnTo>
                    <a:lnTo>
                      <a:pt x="187" y="653"/>
                    </a:lnTo>
                    <a:lnTo>
                      <a:pt x="187" y="654"/>
                    </a:lnTo>
                    <a:lnTo>
                      <a:pt x="189" y="654"/>
                    </a:lnTo>
                    <a:lnTo>
                      <a:pt x="189" y="654"/>
                    </a:lnTo>
                    <a:close/>
                    <a:moveTo>
                      <a:pt x="181" y="669"/>
                    </a:moveTo>
                    <a:lnTo>
                      <a:pt x="181" y="672"/>
                    </a:lnTo>
                    <a:lnTo>
                      <a:pt x="184" y="672"/>
                    </a:lnTo>
                    <a:lnTo>
                      <a:pt x="187" y="669"/>
                    </a:lnTo>
                    <a:lnTo>
                      <a:pt x="192" y="668"/>
                    </a:lnTo>
                    <a:lnTo>
                      <a:pt x="192" y="666"/>
                    </a:lnTo>
                    <a:lnTo>
                      <a:pt x="191" y="664"/>
                    </a:lnTo>
                    <a:lnTo>
                      <a:pt x="189" y="666"/>
                    </a:lnTo>
                    <a:lnTo>
                      <a:pt x="184" y="666"/>
                    </a:lnTo>
                    <a:lnTo>
                      <a:pt x="182" y="669"/>
                    </a:lnTo>
                    <a:lnTo>
                      <a:pt x="182" y="669"/>
                    </a:lnTo>
                    <a:lnTo>
                      <a:pt x="181" y="669"/>
                    </a:lnTo>
                    <a:lnTo>
                      <a:pt x="181" y="669"/>
                    </a:lnTo>
                    <a:close/>
                    <a:moveTo>
                      <a:pt x="177" y="682"/>
                    </a:moveTo>
                    <a:lnTo>
                      <a:pt x="177" y="686"/>
                    </a:lnTo>
                    <a:lnTo>
                      <a:pt x="181" y="687"/>
                    </a:lnTo>
                    <a:lnTo>
                      <a:pt x="182" y="684"/>
                    </a:lnTo>
                    <a:lnTo>
                      <a:pt x="179" y="682"/>
                    </a:lnTo>
                    <a:lnTo>
                      <a:pt x="177" y="682"/>
                    </a:lnTo>
                    <a:lnTo>
                      <a:pt x="177" y="682"/>
                    </a:lnTo>
                    <a:close/>
                    <a:moveTo>
                      <a:pt x="284" y="1189"/>
                    </a:moveTo>
                    <a:lnTo>
                      <a:pt x="287" y="1186"/>
                    </a:lnTo>
                    <a:lnTo>
                      <a:pt x="290" y="1184"/>
                    </a:lnTo>
                    <a:lnTo>
                      <a:pt x="292" y="1186"/>
                    </a:lnTo>
                    <a:lnTo>
                      <a:pt x="290" y="1187"/>
                    </a:lnTo>
                    <a:lnTo>
                      <a:pt x="287" y="1189"/>
                    </a:lnTo>
                    <a:lnTo>
                      <a:pt x="285" y="1189"/>
                    </a:lnTo>
                    <a:lnTo>
                      <a:pt x="284" y="1189"/>
                    </a:lnTo>
                    <a:lnTo>
                      <a:pt x="284" y="1189"/>
                    </a:lnTo>
                    <a:close/>
                    <a:moveTo>
                      <a:pt x="257" y="1174"/>
                    </a:moveTo>
                    <a:lnTo>
                      <a:pt x="259" y="1174"/>
                    </a:lnTo>
                    <a:lnTo>
                      <a:pt x="260" y="1172"/>
                    </a:lnTo>
                    <a:lnTo>
                      <a:pt x="262" y="1171"/>
                    </a:lnTo>
                    <a:lnTo>
                      <a:pt x="262" y="1167"/>
                    </a:lnTo>
                    <a:lnTo>
                      <a:pt x="260" y="1167"/>
                    </a:lnTo>
                    <a:lnTo>
                      <a:pt x="259" y="1169"/>
                    </a:lnTo>
                    <a:lnTo>
                      <a:pt x="257" y="1171"/>
                    </a:lnTo>
                    <a:lnTo>
                      <a:pt x="257" y="1174"/>
                    </a:lnTo>
                    <a:lnTo>
                      <a:pt x="257" y="1174"/>
                    </a:lnTo>
                    <a:close/>
                    <a:moveTo>
                      <a:pt x="239" y="1146"/>
                    </a:moveTo>
                    <a:lnTo>
                      <a:pt x="240" y="1148"/>
                    </a:lnTo>
                    <a:lnTo>
                      <a:pt x="244" y="1148"/>
                    </a:lnTo>
                    <a:lnTo>
                      <a:pt x="247" y="1146"/>
                    </a:lnTo>
                    <a:lnTo>
                      <a:pt x="245" y="1144"/>
                    </a:lnTo>
                    <a:lnTo>
                      <a:pt x="242" y="1144"/>
                    </a:lnTo>
                    <a:lnTo>
                      <a:pt x="239" y="1146"/>
                    </a:lnTo>
                    <a:lnTo>
                      <a:pt x="239" y="1146"/>
                    </a:lnTo>
                    <a:close/>
                    <a:moveTo>
                      <a:pt x="230" y="1146"/>
                    </a:moveTo>
                    <a:lnTo>
                      <a:pt x="230" y="1148"/>
                    </a:lnTo>
                    <a:lnTo>
                      <a:pt x="234" y="1148"/>
                    </a:lnTo>
                    <a:lnTo>
                      <a:pt x="234" y="1146"/>
                    </a:lnTo>
                    <a:lnTo>
                      <a:pt x="232" y="1144"/>
                    </a:lnTo>
                    <a:lnTo>
                      <a:pt x="230" y="1146"/>
                    </a:lnTo>
                    <a:lnTo>
                      <a:pt x="230" y="1146"/>
                    </a:lnTo>
                    <a:close/>
                    <a:moveTo>
                      <a:pt x="204" y="1148"/>
                    </a:moveTo>
                    <a:lnTo>
                      <a:pt x="204" y="1149"/>
                    </a:lnTo>
                    <a:lnTo>
                      <a:pt x="207" y="1149"/>
                    </a:lnTo>
                    <a:lnTo>
                      <a:pt x="207" y="1153"/>
                    </a:lnTo>
                    <a:lnTo>
                      <a:pt x="211" y="1151"/>
                    </a:lnTo>
                    <a:lnTo>
                      <a:pt x="209" y="1148"/>
                    </a:lnTo>
                    <a:lnTo>
                      <a:pt x="206" y="1146"/>
                    </a:lnTo>
                    <a:lnTo>
                      <a:pt x="204" y="1148"/>
                    </a:lnTo>
                    <a:lnTo>
                      <a:pt x="204" y="1148"/>
                    </a:lnTo>
                    <a:close/>
                    <a:moveTo>
                      <a:pt x="171" y="1015"/>
                    </a:moveTo>
                    <a:lnTo>
                      <a:pt x="172" y="1013"/>
                    </a:lnTo>
                    <a:lnTo>
                      <a:pt x="176" y="1011"/>
                    </a:lnTo>
                    <a:lnTo>
                      <a:pt x="181" y="1006"/>
                    </a:lnTo>
                    <a:lnTo>
                      <a:pt x="177" y="1006"/>
                    </a:lnTo>
                    <a:lnTo>
                      <a:pt x="176" y="1010"/>
                    </a:lnTo>
                    <a:lnTo>
                      <a:pt x="171" y="1015"/>
                    </a:lnTo>
                    <a:lnTo>
                      <a:pt x="171" y="1015"/>
                    </a:lnTo>
                    <a:close/>
                    <a:moveTo>
                      <a:pt x="171" y="1010"/>
                    </a:moveTo>
                    <a:lnTo>
                      <a:pt x="171" y="1010"/>
                    </a:lnTo>
                    <a:lnTo>
                      <a:pt x="171" y="1010"/>
                    </a:lnTo>
                    <a:lnTo>
                      <a:pt x="172" y="1010"/>
                    </a:lnTo>
                    <a:lnTo>
                      <a:pt x="174" y="1008"/>
                    </a:lnTo>
                    <a:lnTo>
                      <a:pt x="176" y="1005"/>
                    </a:lnTo>
                    <a:lnTo>
                      <a:pt x="174" y="1005"/>
                    </a:lnTo>
                    <a:lnTo>
                      <a:pt x="171" y="1010"/>
                    </a:lnTo>
                    <a:lnTo>
                      <a:pt x="171" y="1010"/>
                    </a:lnTo>
                    <a:close/>
                    <a:moveTo>
                      <a:pt x="151" y="965"/>
                    </a:moveTo>
                    <a:lnTo>
                      <a:pt x="149" y="966"/>
                    </a:lnTo>
                    <a:lnTo>
                      <a:pt x="149" y="966"/>
                    </a:lnTo>
                    <a:lnTo>
                      <a:pt x="154" y="966"/>
                    </a:lnTo>
                    <a:lnTo>
                      <a:pt x="152" y="965"/>
                    </a:lnTo>
                    <a:lnTo>
                      <a:pt x="151" y="963"/>
                    </a:lnTo>
                    <a:lnTo>
                      <a:pt x="151" y="965"/>
                    </a:lnTo>
                    <a:lnTo>
                      <a:pt x="151" y="965"/>
                    </a:lnTo>
                    <a:close/>
                    <a:moveTo>
                      <a:pt x="147" y="958"/>
                    </a:moveTo>
                    <a:lnTo>
                      <a:pt x="149" y="962"/>
                    </a:lnTo>
                    <a:lnTo>
                      <a:pt x="152" y="962"/>
                    </a:lnTo>
                    <a:lnTo>
                      <a:pt x="152" y="958"/>
                    </a:lnTo>
                    <a:lnTo>
                      <a:pt x="151" y="958"/>
                    </a:lnTo>
                    <a:lnTo>
                      <a:pt x="147" y="958"/>
                    </a:lnTo>
                    <a:lnTo>
                      <a:pt x="147" y="958"/>
                    </a:lnTo>
                    <a:close/>
                    <a:moveTo>
                      <a:pt x="151" y="917"/>
                    </a:moveTo>
                    <a:lnTo>
                      <a:pt x="156" y="917"/>
                    </a:lnTo>
                    <a:lnTo>
                      <a:pt x="157" y="915"/>
                    </a:lnTo>
                    <a:lnTo>
                      <a:pt x="154" y="915"/>
                    </a:lnTo>
                    <a:lnTo>
                      <a:pt x="151" y="917"/>
                    </a:lnTo>
                    <a:lnTo>
                      <a:pt x="151" y="917"/>
                    </a:lnTo>
                    <a:close/>
                    <a:moveTo>
                      <a:pt x="152" y="912"/>
                    </a:moveTo>
                    <a:lnTo>
                      <a:pt x="156" y="913"/>
                    </a:lnTo>
                    <a:lnTo>
                      <a:pt x="159" y="913"/>
                    </a:lnTo>
                    <a:lnTo>
                      <a:pt x="161" y="912"/>
                    </a:lnTo>
                    <a:lnTo>
                      <a:pt x="157" y="910"/>
                    </a:lnTo>
                    <a:lnTo>
                      <a:pt x="154" y="910"/>
                    </a:lnTo>
                    <a:lnTo>
                      <a:pt x="152" y="912"/>
                    </a:lnTo>
                    <a:lnTo>
                      <a:pt x="152" y="912"/>
                    </a:lnTo>
                    <a:close/>
                    <a:moveTo>
                      <a:pt x="144" y="910"/>
                    </a:moveTo>
                    <a:lnTo>
                      <a:pt x="146" y="912"/>
                    </a:lnTo>
                    <a:lnTo>
                      <a:pt x="147" y="912"/>
                    </a:lnTo>
                    <a:lnTo>
                      <a:pt x="147" y="910"/>
                    </a:lnTo>
                    <a:lnTo>
                      <a:pt x="146" y="910"/>
                    </a:lnTo>
                    <a:lnTo>
                      <a:pt x="144" y="910"/>
                    </a:lnTo>
                    <a:lnTo>
                      <a:pt x="144" y="910"/>
                    </a:lnTo>
                    <a:close/>
                    <a:moveTo>
                      <a:pt x="157" y="872"/>
                    </a:moveTo>
                    <a:lnTo>
                      <a:pt x="156" y="873"/>
                    </a:lnTo>
                    <a:lnTo>
                      <a:pt x="157" y="875"/>
                    </a:lnTo>
                    <a:lnTo>
                      <a:pt x="159" y="875"/>
                    </a:lnTo>
                    <a:lnTo>
                      <a:pt x="162" y="872"/>
                    </a:lnTo>
                    <a:lnTo>
                      <a:pt x="162" y="870"/>
                    </a:lnTo>
                    <a:lnTo>
                      <a:pt x="159" y="870"/>
                    </a:lnTo>
                    <a:lnTo>
                      <a:pt x="157" y="872"/>
                    </a:lnTo>
                    <a:lnTo>
                      <a:pt x="157" y="872"/>
                    </a:lnTo>
                    <a:close/>
                    <a:moveTo>
                      <a:pt x="196" y="857"/>
                    </a:moveTo>
                    <a:lnTo>
                      <a:pt x="199" y="859"/>
                    </a:lnTo>
                    <a:lnTo>
                      <a:pt x="206" y="859"/>
                    </a:lnTo>
                    <a:lnTo>
                      <a:pt x="206" y="857"/>
                    </a:lnTo>
                    <a:lnTo>
                      <a:pt x="199" y="855"/>
                    </a:lnTo>
                    <a:lnTo>
                      <a:pt x="196" y="855"/>
                    </a:lnTo>
                    <a:lnTo>
                      <a:pt x="196" y="857"/>
                    </a:lnTo>
                    <a:lnTo>
                      <a:pt x="196" y="857"/>
                    </a:lnTo>
                    <a:close/>
                    <a:moveTo>
                      <a:pt x="181" y="837"/>
                    </a:moveTo>
                    <a:lnTo>
                      <a:pt x="179" y="839"/>
                    </a:lnTo>
                    <a:lnTo>
                      <a:pt x="181" y="840"/>
                    </a:lnTo>
                    <a:lnTo>
                      <a:pt x="187" y="840"/>
                    </a:lnTo>
                    <a:lnTo>
                      <a:pt x="187" y="837"/>
                    </a:lnTo>
                    <a:lnTo>
                      <a:pt x="182" y="837"/>
                    </a:lnTo>
                    <a:lnTo>
                      <a:pt x="181" y="837"/>
                    </a:lnTo>
                    <a:lnTo>
                      <a:pt x="181" y="837"/>
                    </a:lnTo>
                    <a:close/>
                    <a:moveTo>
                      <a:pt x="199" y="835"/>
                    </a:moveTo>
                    <a:lnTo>
                      <a:pt x="201" y="839"/>
                    </a:lnTo>
                    <a:lnTo>
                      <a:pt x="204" y="839"/>
                    </a:lnTo>
                    <a:lnTo>
                      <a:pt x="207" y="837"/>
                    </a:lnTo>
                    <a:lnTo>
                      <a:pt x="204" y="835"/>
                    </a:lnTo>
                    <a:lnTo>
                      <a:pt x="199" y="835"/>
                    </a:lnTo>
                    <a:lnTo>
                      <a:pt x="199" y="835"/>
                    </a:lnTo>
                    <a:close/>
                    <a:moveTo>
                      <a:pt x="189" y="834"/>
                    </a:moveTo>
                    <a:lnTo>
                      <a:pt x="194" y="835"/>
                    </a:lnTo>
                    <a:lnTo>
                      <a:pt x="197" y="835"/>
                    </a:lnTo>
                    <a:lnTo>
                      <a:pt x="201" y="834"/>
                    </a:lnTo>
                    <a:lnTo>
                      <a:pt x="197" y="832"/>
                    </a:lnTo>
                    <a:lnTo>
                      <a:pt x="192" y="830"/>
                    </a:lnTo>
                    <a:lnTo>
                      <a:pt x="189" y="832"/>
                    </a:lnTo>
                    <a:lnTo>
                      <a:pt x="189" y="834"/>
                    </a:lnTo>
                    <a:lnTo>
                      <a:pt x="189" y="834"/>
                    </a:lnTo>
                    <a:close/>
                    <a:moveTo>
                      <a:pt x="230" y="747"/>
                    </a:moveTo>
                    <a:lnTo>
                      <a:pt x="232" y="751"/>
                    </a:lnTo>
                    <a:lnTo>
                      <a:pt x="234" y="754"/>
                    </a:lnTo>
                    <a:lnTo>
                      <a:pt x="235" y="751"/>
                    </a:lnTo>
                    <a:lnTo>
                      <a:pt x="234" y="749"/>
                    </a:lnTo>
                    <a:lnTo>
                      <a:pt x="230" y="747"/>
                    </a:lnTo>
                    <a:lnTo>
                      <a:pt x="230" y="747"/>
                    </a:lnTo>
                    <a:close/>
                    <a:moveTo>
                      <a:pt x="227" y="737"/>
                    </a:moveTo>
                    <a:lnTo>
                      <a:pt x="227" y="741"/>
                    </a:lnTo>
                    <a:lnTo>
                      <a:pt x="232" y="742"/>
                    </a:lnTo>
                    <a:lnTo>
                      <a:pt x="234" y="742"/>
                    </a:lnTo>
                    <a:lnTo>
                      <a:pt x="232" y="739"/>
                    </a:lnTo>
                    <a:lnTo>
                      <a:pt x="232" y="739"/>
                    </a:lnTo>
                    <a:lnTo>
                      <a:pt x="227" y="737"/>
                    </a:lnTo>
                    <a:lnTo>
                      <a:pt x="227" y="737"/>
                    </a:lnTo>
                    <a:close/>
                    <a:moveTo>
                      <a:pt x="214" y="709"/>
                    </a:moveTo>
                    <a:lnTo>
                      <a:pt x="217" y="709"/>
                    </a:lnTo>
                    <a:lnTo>
                      <a:pt x="222" y="706"/>
                    </a:lnTo>
                    <a:lnTo>
                      <a:pt x="225" y="704"/>
                    </a:lnTo>
                    <a:lnTo>
                      <a:pt x="225" y="702"/>
                    </a:lnTo>
                    <a:lnTo>
                      <a:pt x="220" y="702"/>
                    </a:lnTo>
                    <a:lnTo>
                      <a:pt x="217" y="701"/>
                    </a:lnTo>
                    <a:lnTo>
                      <a:pt x="214" y="702"/>
                    </a:lnTo>
                    <a:lnTo>
                      <a:pt x="214" y="706"/>
                    </a:lnTo>
                    <a:lnTo>
                      <a:pt x="214" y="709"/>
                    </a:lnTo>
                    <a:lnTo>
                      <a:pt x="214" y="709"/>
                    </a:lnTo>
                    <a:close/>
                    <a:moveTo>
                      <a:pt x="215" y="724"/>
                    </a:moveTo>
                    <a:lnTo>
                      <a:pt x="217" y="726"/>
                    </a:lnTo>
                    <a:lnTo>
                      <a:pt x="220" y="726"/>
                    </a:lnTo>
                    <a:lnTo>
                      <a:pt x="225" y="722"/>
                    </a:lnTo>
                    <a:lnTo>
                      <a:pt x="224" y="717"/>
                    </a:lnTo>
                    <a:lnTo>
                      <a:pt x="220" y="716"/>
                    </a:lnTo>
                    <a:lnTo>
                      <a:pt x="217" y="717"/>
                    </a:lnTo>
                    <a:lnTo>
                      <a:pt x="215" y="724"/>
                    </a:lnTo>
                    <a:lnTo>
                      <a:pt x="215" y="724"/>
                    </a:lnTo>
                    <a:close/>
                    <a:moveTo>
                      <a:pt x="201" y="726"/>
                    </a:moveTo>
                    <a:lnTo>
                      <a:pt x="204" y="727"/>
                    </a:lnTo>
                    <a:lnTo>
                      <a:pt x="207" y="724"/>
                    </a:lnTo>
                    <a:lnTo>
                      <a:pt x="207" y="722"/>
                    </a:lnTo>
                    <a:lnTo>
                      <a:pt x="207" y="716"/>
                    </a:lnTo>
                    <a:lnTo>
                      <a:pt x="202" y="719"/>
                    </a:lnTo>
                    <a:lnTo>
                      <a:pt x="199" y="721"/>
                    </a:lnTo>
                    <a:lnTo>
                      <a:pt x="201" y="726"/>
                    </a:lnTo>
                    <a:lnTo>
                      <a:pt x="201" y="726"/>
                    </a:lnTo>
                    <a:close/>
                    <a:moveTo>
                      <a:pt x="171" y="747"/>
                    </a:moveTo>
                    <a:lnTo>
                      <a:pt x="169" y="749"/>
                    </a:lnTo>
                    <a:lnTo>
                      <a:pt x="172" y="752"/>
                    </a:lnTo>
                    <a:lnTo>
                      <a:pt x="176" y="754"/>
                    </a:lnTo>
                    <a:lnTo>
                      <a:pt x="176" y="751"/>
                    </a:lnTo>
                    <a:lnTo>
                      <a:pt x="174" y="747"/>
                    </a:lnTo>
                    <a:lnTo>
                      <a:pt x="171" y="747"/>
                    </a:lnTo>
                    <a:lnTo>
                      <a:pt x="171" y="747"/>
                    </a:lnTo>
                    <a:close/>
                    <a:moveTo>
                      <a:pt x="227" y="789"/>
                    </a:moveTo>
                    <a:lnTo>
                      <a:pt x="227" y="789"/>
                    </a:lnTo>
                    <a:lnTo>
                      <a:pt x="230" y="789"/>
                    </a:lnTo>
                    <a:lnTo>
                      <a:pt x="230" y="792"/>
                    </a:lnTo>
                    <a:lnTo>
                      <a:pt x="229" y="795"/>
                    </a:lnTo>
                    <a:lnTo>
                      <a:pt x="230" y="799"/>
                    </a:lnTo>
                    <a:lnTo>
                      <a:pt x="234" y="795"/>
                    </a:lnTo>
                    <a:lnTo>
                      <a:pt x="235" y="790"/>
                    </a:lnTo>
                    <a:lnTo>
                      <a:pt x="239" y="787"/>
                    </a:lnTo>
                    <a:lnTo>
                      <a:pt x="237" y="785"/>
                    </a:lnTo>
                    <a:lnTo>
                      <a:pt x="235" y="785"/>
                    </a:lnTo>
                    <a:lnTo>
                      <a:pt x="230" y="785"/>
                    </a:lnTo>
                    <a:lnTo>
                      <a:pt x="227" y="789"/>
                    </a:lnTo>
                    <a:lnTo>
                      <a:pt x="227" y="789"/>
                    </a:lnTo>
                    <a:close/>
                    <a:moveTo>
                      <a:pt x="171" y="802"/>
                    </a:moveTo>
                    <a:lnTo>
                      <a:pt x="172" y="804"/>
                    </a:lnTo>
                    <a:lnTo>
                      <a:pt x="181" y="805"/>
                    </a:lnTo>
                    <a:lnTo>
                      <a:pt x="181" y="809"/>
                    </a:lnTo>
                    <a:lnTo>
                      <a:pt x="186" y="809"/>
                    </a:lnTo>
                    <a:lnTo>
                      <a:pt x="189" y="807"/>
                    </a:lnTo>
                    <a:lnTo>
                      <a:pt x="201" y="805"/>
                    </a:lnTo>
                    <a:lnTo>
                      <a:pt x="209" y="805"/>
                    </a:lnTo>
                    <a:lnTo>
                      <a:pt x="217" y="799"/>
                    </a:lnTo>
                    <a:lnTo>
                      <a:pt x="215" y="792"/>
                    </a:lnTo>
                    <a:lnTo>
                      <a:pt x="212" y="785"/>
                    </a:lnTo>
                    <a:lnTo>
                      <a:pt x="209" y="785"/>
                    </a:lnTo>
                    <a:lnTo>
                      <a:pt x="204" y="784"/>
                    </a:lnTo>
                    <a:lnTo>
                      <a:pt x="201" y="774"/>
                    </a:lnTo>
                    <a:lnTo>
                      <a:pt x="196" y="767"/>
                    </a:lnTo>
                    <a:lnTo>
                      <a:pt x="189" y="766"/>
                    </a:lnTo>
                    <a:lnTo>
                      <a:pt x="184" y="761"/>
                    </a:lnTo>
                    <a:lnTo>
                      <a:pt x="177" y="761"/>
                    </a:lnTo>
                    <a:lnTo>
                      <a:pt x="172" y="757"/>
                    </a:lnTo>
                    <a:lnTo>
                      <a:pt x="171" y="761"/>
                    </a:lnTo>
                    <a:lnTo>
                      <a:pt x="166" y="766"/>
                    </a:lnTo>
                    <a:lnTo>
                      <a:pt x="166" y="770"/>
                    </a:lnTo>
                    <a:lnTo>
                      <a:pt x="171" y="774"/>
                    </a:lnTo>
                    <a:lnTo>
                      <a:pt x="172" y="777"/>
                    </a:lnTo>
                    <a:lnTo>
                      <a:pt x="169" y="775"/>
                    </a:lnTo>
                    <a:lnTo>
                      <a:pt x="164" y="777"/>
                    </a:lnTo>
                    <a:lnTo>
                      <a:pt x="164" y="780"/>
                    </a:lnTo>
                    <a:lnTo>
                      <a:pt x="162" y="784"/>
                    </a:lnTo>
                    <a:lnTo>
                      <a:pt x="169" y="787"/>
                    </a:lnTo>
                    <a:lnTo>
                      <a:pt x="166" y="787"/>
                    </a:lnTo>
                    <a:lnTo>
                      <a:pt x="164" y="789"/>
                    </a:lnTo>
                    <a:lnTo>
                      <a:pt x="166" y="792"/>
                    </a:lnTo>
                    <a:lnTo>
                      <a:pt x="177" y="795"/>
                    </a:lnTo>
                    <a:lnTo>
                      <a:pt x="179" y="797"/>
                    </a:lnTo>
                    <a:lnTo>
                      <a:pt x="182" y="799"/>
                    </a:lnTo>
                    <a:lnTo>
                      <a:pt x="189" y="794"/>
                    </a:lnTo>
                    <a:lnTo>
                      <a:pt x="184" y="800"/>
                    </a:lnTo>
                    <a:lnTo>
                      <a:pt x="181" y="800"/>
                    </a:lnTo>
                    <a:lnTo>
                      <a:pt x="174" y="799"/>
                    </a:lnTo>
                    <a:lnTo>
                      <a:pt x="171" y="799"/>
                    </a:lnTo>
                    <a:lnTo>
                      <a:pt x="171" y="8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6" name="Freeform 148"/>
              <p:cNvSpPr>
                <a:spLocks noEditPoints="1"/>
              </p:cNvSpPr>
              <p:nvPr/>
            </p:nvSpPr>
            <p:spPr bwMode="auto">
              <a:xfrm>
                <a:off x="4827835" y="1824354"/>
                <a:ext cx="1125901" cy="915153"/>
              </a:xfrm>
              <a:custGeom>
                <a:avLst/>
                <a:gdLst/>
                <a:ahLst/>
                <a:cxnLst>
                  <a:cxn ang="0">
                    <a:pos x="1530" y="128"/>
                  </a:cxn>
                  <a:cxn ang="0">
                    <a:pos x="1544" y="304"/>
                  </a:cxn>
                  <a:cxn ang="0">
                    <a:pos x="1537" y="331"/>
                  </a:cxn>
                  <a:cxn ang="0">
                    <a:pos x="1647" y="206"/>
                  </a:cxn>
                  <a:cxn ang="0">
                    <a:pos x="1686" y="121"/>
                  </a:cxn>
                  <a:cxn ang="0">
                    <a:pos x="1801" y="43"/>
                  </a:cxn>
                  <a:cxn ang="0">
                    <a:pos x="2092" y="65"/>
                  </a:cxn>
                  <a:cxn ang="0">
                    <a:pos x="1788" y="272"/>
                  </a:cxn>
                  <a:cxn ang="0">
                    <a:pos x="1618" y="390"/>
                  </a:cxn>
                  <a:cxn ang="0">
                    <a:pos x="1682" y="892"/>
                  </a:cxn>
                  <a:cxn ang="0">
                    <a:pos x="1469" y="337"/>
                  </a:cxn>
                  <a:cxn ang="0">
                    <a:pos x="1316" y="238"/>
                  </a:cxn>
                  <a:cxn ang="0">
                    <a:pos x="1095" y="199"/>
                  </a:cxn>
                  <a:cxn ang="0">
                    <a:pos x="1437" y="397"/>
                  </a:cxn>
                  <a:cxn ang="0">
                    <a:pos x="1500" y="532"/>
                  </a:cxn>
                  <a:cxn ang="0">
                    <a:pos x="878" y="271"/>
                  </a:cxn>
                  <a:cxn ang="0">
                    <a:pos x="1366" y="533"/>
                  </a:cxn>
                  <a:cxn ang="0">
                    <a:pos x="1261" y="407"/>
                  </a:cxn>
                  <a:cxn ang="0">
                    <a:pos x="951" y="311"/>
                  </a:cxn>
                  <a:cxn ang="0">
                    <a:pos x="1060" y="362"/>
                  </a:cxn>
                  <a:cxn ang="0">
                    <a:pos x="733" y="434"/>
                  </a:cxn>
                  <a:cxn ang="0">
                    <a:pos x="1100" y="578"/>
                  </a:cxn>
                  <a:cxn ang="0">
                    <a:pos x="1220" y="551"/>
                  </a:cxn>
                  <a:cxn ang="0">
                    <a:pos x="1253" y="615"/>
                  </a:cxn>
                  <a:cxn ang="0">
                    <a:pos x="1449" y="857"/>
                  </a:cxn>
                  <a:cxn ang="0">
                    <a:pos x="1294" y="933"/>
                  </a:cxn>
                  <a:cxn ang="0">
                    <a:pos x="1025" y="714"/>
                  </a:cxn>
                  <a:cxn ang="0">
                    <a:pos x="929" y="537"/>
                  </a:cxn>
                  <a:cxn ang="0">
                    <a:pos x="833" y="646"/>
                  </a:cxn>
                  <a:cxn ang="0">
                    <a:pos x="1476" y="874"/>
                  </a:cxn>
                  <a:cxn ang="0">
                    <a:pos x="1632" y="749"/>
                  </a:cxn>
                  <a:cxn ang="0">
                    <a:pos x="1535" y="942"/>
                  </a:cxn>
                  <a:cxn ang="0">
                    <a:pos x="1399" y="756"/>
                  </a:cxn>
                  <a:cxn ang="0">
                    <a:pos x="1383" y="689"/>
                  </a:cxn>
                  <a:cxn ang="0">
                    <a:pos x="1510" y="663"/>
                  </a:cxn>
                  <a:cxn ang="0">
                    <a:pos x="1630" y="744"/>
                  </a:cxn>
                  <a:cxn ang="0">
                    <a:pos x="1690" y="847"/>
                  </a:cxn>
                  <a:cxn ang="0">
                    <a:pos x="1731" y="947"/>
                  </a:cxn>
                  <a:cxn ang="0">
                    <a:pos x="1670" y="1000"/>
                  </a:cxn>
                  <a:cxn ang="0">
                    <a:pos x="1662" y="1085"/>
                  </a:cxn>
                  <a:cxn ang="0">
                    <a:pos x="1326" y="1051"/>
                  </a:cxn>
                  <a:cxn ang="0">
                    <a:pos x="1627" y="1168"/>
                  </a:cxn>
                  <a:cxn ang="0">
                    <a:pos x="1275" y="1329"/>
                  </a:cxn>
                  <a:cxn ang="0">
                    <a:pos x="1700" y="1548"/>
                  </a:cxn>
                  <a:cxn ang="0">
                    <a:pos x="1768" y="1643"/>
                  </a:cxn>
                  <a:cxn ang="0">
                    <a:pos x="1733" y="1561"/>
                  </a:cxn>
                  <a:cxn ang="0">
                    <a:pos x="1627" y="1663"/>
                  </a:cxn>
                  <a:cxn ang="0">
                    <a:pos x="133" y="1367"/>
                  </a:cxn>
                  <a:cxn ang="0">
                    <a:pos x="567" y="550"/>
                  </a:cxn>
                  <a:cxn ang="0">
                    <a:pos x="153" y="1400"/>
                  </a:cxn>
                  <a:cxn ang="0">
                    <a:pos x="123" y="1156"/>
                  </a:cxn>
                  <a:cxn ang="0">
                    <a:pos x="467" y="606"/>
                  </a:cxn>
                  <a:cxn ang="0">
                    <a:pos x="831" y="797"/>
                  </a:cxn>
                  <a:cxn ang="0">
                    <a:pos x="1067" y="827"/>
                  </a:cxn>
                  <a:cxn ang="0">
                    <a:pos x="1145" y="703"/>
                  </a:cxn>
                  <a:cxn ang="0">
                    <a:pos x="1289" y="854"/>
                  </a:cxn>
                  <a:cxn ang="0">
                    <a:pos x="1258" y="909"/>
                  </a:cxn>
                  <a:cxn ang="0">
                    <a:pos x="1032" y="1095"/>
                  </a:cxn>
                  <a:cxn ang="0">
                    <a:pos x="1246" y="1397"/>
                  </a:cxn>
                  <a:cxn ang="0">
                    <a:pos x="1514" y="1249"/>
                  </a:cxn>
                  <a:cxn ang="0">
                    <a:pos x="1658" y="1370"/>
                  </a:cxn>
                  <a:cxn ang="0">
                    <a:pos x="1680" y="1518"/>
                  </a:cxn>
                  <a:cxn ang="0">
                    <a:pos x="1547" y="1699"/>
                  </a:cxn>
                </a:cxnLst>
                <a:rect l="0" t="0" r="r" b="b"/>
                <a:pathLst>
                  <a:path w="2105" h="1764">
                    <a:moveTo>
                      <a:pt x="1522" y="311"/>
                    </a:moveTo>
                    <a:lnTo>
                      <a:pt x="1525" y="307"/>
                    </a:lnTo>
                    <a:lnTo>
                      <a:pt x="1529" y="302"/>
                    </a:lnTo>
                    <a:lnTo>
                      <a:pt x="1535" y="296"/>
                    </a:lnTo>
                    <a:lnTo>
                      <a:pt x="1539" y="286"/>
                    </a:lnTo>
                    <a:lnTo>
                      <a:pt x="1542" y="284"/>
                    </a:lnTo>
                    <a:lnTo>
                      <a:pt x="1544" y="287"/>
                    </a:lnTo>
                    <a:lnTo>
                      <a:pt x="1540" y="292"/>
                    </a:lnTo>
                    <a:lnTo>
                      <a:pt x="1540" y="294"/>
                    </a:lnTo>
                    <a:lnTo>
                      <a:pt x="1545" y="296"/>
                    </a:lnTo>
                    <a:lnTo>
                      <a:pt x="1550" y="291"/>
                    </a:lnTo>
                    <a:lnTo>
                      <a:pt x="1554" y="289"/>
                    </a:lnTo>
                    <a:lnTo>
                      <a:pt x="1554" y="284"/>
                    </a:lnTo>
                    <a:lnTo>
                      <a:pt x="1549" y="282"/>
                    </a:lnTo>
                    <a:lnTo>
                      <a:pt x="1549" y="282"/>
                    </a:lnTo>
                    <a:lnTo>
                      <a:pt x="1554" y="281"/>
                    </a:lnTo>
                    <a:lnTo>
                      <a:pt x="1554" y="274"/>
                    </a:lnTo>
                    <a:lnTo>
                      <a:pt x="1552" y="272"/>
                    </a:lnTo>
                    <a:lnTo>
                      <a:pt x="1552" y="267"/>
                    </a:lnTo>
                    <a:lnTo>
                      <a:pt x="1559" y="262"/>
                    </a:lnTo>
                    <a:lnTo>
                      <a:pt x="1560" y="256"/>
                    </a:lnTo>
                    <a:lnTo>
                      <a:pt x="1565" y="254"/>
                    </a:lnTo>
                    <a:lnTo>
                      <a:pt x="1567" y="251"/>
                    </a:lnTo>
                    <a:lnTo>
                      <a:pt x="1567" y="254"/>
                    </a:lnTo>
                    <a:lnTo>
                      <a:pt x="1569" y="257"/>
                    </a:lnTo>
                    <a:lnTo>
                      <a:pt x="1565" y="257"/>
                    </a:lnTo>
                    <a:lnTo>
                      <a:pt x="1562" y="266"/>
                    </a:lnTo>
                    <a:lnTo>
                      <a:pt x="1557" y="271"/>
                    </a:lnTo>
                    <a:lnTo>
                      <a:pt x="1557" y="276"/>
                    </a:lnTo>
                    <a:lnTo>
                      <a:pt x="1559" y="281"/>
                    </a:lnTo>
                    <a:lnTo>
                      <a:pt x="1560" y="286"/>
                    </a:lnTo>
                    <a:lnTo>
                      <a:pt x="1562" y="282"/>
                    </a:lnTo>
                    <a:lnTo>
                      <a:pt x="1567" y="276"/>
                    </a:lnTo>
                    <a:lnTo>
                      <a:pt x="1575" y="269"/>
                    </a:lnTo>
                    <a:lnTo>
                      <a:pt x="1579" y="264"/>
                    </a:lnTo>
                    <a:lnTo>
                      <a:pt x="1579" y="259"/>
                    </a:lnTo>
                    <a:lnTo>
                      <a:pt x="1582" y="254"/>
                    </a:lnTo>
                    <a:lnTo>
                      <a:pt x="1585" y="252"/>
                    </a:lnTo>
                    <a:lnTo>
                      <a:pt x="1585" y="256"/>
                    </a:lnTo>
                    <a:lnTo>
                      <a:pt x="1583" y="257"/>
                    </a:lnTo>
                    <a:lnTo>
                      <a:pt x="1583" y="262"/>
                    </a:lnTo>
                    <a:lnTo>
                      <a:pt x="1588" y="261"/>
                    </a:lnTo>
                    <a:lnTo>
                      <a:pt x="1593" y="254"/>
                    </a:lnTo>
                    <a:lnTo>
                      <a:pt x="1597" y="254"/>
                    </a:lnTo>
                    <a:lnTo>
                      <a:pt x="1603" y="256"/>
                    </a:lnTo>
                    <a:lnTo>
                      <a:pt x="1612" y="252"/>
                    </a:lnTo>
                    <a:lnTo>
                      <a:pt x="1617" y="252"/>
                    </a:lnTo>
                    <a:lnTo>
                      <a:pt x="1620" y="249"/>
                    </a:lnTo>
                    <a:lnTo>
                      <a:pt x="1625" y="247"/>
                    </a:lnTo>
                    <a:lnTo>
                      <a:pt x="1627" y="244"/>
                    </a:lnTo>
                    <a:lnTo>
                      <a:pt x="1627" y="241"/>
                    </a:lnTo>
                    <a:lnTo>
                      <a:pt x="1627" y="238"/>
                    </a:lnTo>
                    <a:lnTo>
                      <a:pt x="1623" y="236"/>
                    </a:lnTo>
                    <a:lnTo>
                      <a:pt x="1627" y="229"/>
                    </a:lnTo>
                    <a:lnTo>
                      <a:pt x="1625" y="219"/>
                    </a:lnTo>
                    <a:lnTo>
                      <a:pt x="1623" y="219"/>
                    </a:lnTo>
                    <a:lnTo>
                      <a:pt x="1620" y="226"/>
                    </a:lnTo>
                    <a:lnTo>
                      <a:pt x="1615" y="231"/>
                    </a:lnTo>
                    <a:lnTo>
                      <a:pt x="1612" y="231"/>
                    </a:lnTo>
                    <a:lnTo>
                      <a:pt x="1612" y="229"/>
                    </a:lnTo>
                    <a:lnTo>
                      <a:pt x="1617" y="224"/>
                    </a:lnTo>
                    <a:lnTo>
                      <a:pt x="1622" y="223"/>
                    </a:lnTo>
                    <a:lnTo>
                      <a:pt x="1622" y="219"/>
                    </a:lnTo>
                    <a:lnTo>
                      <a:pt x="1617" y="214"/>
                    </a:lnTo>
                    <a:lnTo>
                      <a:pt x="1615" y="211"/>
                    </a:lnTo>
                    <a:lnTo>
                      <a:pt x="1613" y="211"/>
                    </a:lnTo>
                    <a:lnTo>
                      <a:pt x="1610" y="213"/>
                    </a:lnTo>
                    <a:lnTo>
                      <a:pt x="1610" y="214"/>
                    </a:lnTo>
                    <a:lnTo>
                      <a:pt x="1607" y="213"/>
                    </a:lnTo>
                    <a:lnTo>
                      <a:pt x="1602" y="213"/>
                    </a:lnTo>
                    <a:lnTo>
                      <a:pt x="1598" y="216"/>
                    </a:lnTo>
                    <a:lnTo>
                      <a:pt x="1595" y="214"/>
                    </a:lnTo>
                    <a:lnTo>
                      <a:pt x="1595" y="213"/>
                    </a:lnTo>
                    <a:lnTo>
                      <a:pt x="1607" y="208"/>
                    </a:lnTo>
                    <a:lnTo>
                      <a:pt x="1612" y="208"/>
                    </a:lnTo>
                    <a:lnTo>
                      <a:pt x="1620" y="199"/>
                    </a:lnTo>
                    <a:lnTo>
                      <a:pt x="1623" y="198"/>
                    </a:lnTo>
                    <a:lnTo>
                      <a:pt x="1628" y="189"/>
                    </a:lnTo>
                    <a:lnTo>
                      <a:pt x="1630" y="183"/>
                    </a:lnTo>
                    <a:lnTo>
                      <a:pt x="1628" y="181"/>
                    </a:lnTo>
                    <a:lnTo>
                      <a:pt x="1625" y="181"/>
                    </a:lnTo>
                    <a:lnTo>
                      <a:pt x="1622" y="183"/>
                    </a:lnTo>
                    <a:lnTo>
                      <a:pt x="1620" y="181"/>
                    </a:lnTo>
                    <a:lnTo>
                      <a:pt x="1622" y="179"/>
                    </a:lnTo>
                    <a:lnTo>
                      <a:pt x="1625" y="178"/>
                    </a:lnTo>
                    <a:lnTo>
                      <a:pt x="1628" y="178"/>
                    </a:lnTo>
                    <a:lnTo>
                      <a:pt x="1630" y="174"/>
                    </a:lnTo>
                    <a:lnTo>
                      <a:pt x="1630" y="169"/>
                    </a:lnTo>
                    <a:lnTo>
                      <a:pt x="1635" y="166"/>
                    </a:lnTo>
                    <a:lnTo>
                      <a:pt x="1635" y="161"/>
                    </a:lnTo>
                    <a:lnTo>
                      <a:pt x="1633" y="159"/>
                    </a:lnTo>
                    <a:lnTo>
                      <a:pt x="1633" y="156"/>
                    </a:lnTo>
                    <a:lnTo>
                      <a:pt x="1630" y="154"/>
                    </a:lnTo>
                    <a:lnTo>
                      <a:pt x="1625" y="156"/>
                    </a:lnTo>
                    <a:lnTo>
                      <a:pt x="1620" y="166"/>
                    </a:lnTo>
                    <a:lnTo>
                      <a:pt x="1618" y="171"/>
                    </a:lnTo>
                    <a:lnTo>
                      <a:pt x="1622" y="173"/>
                    </a:lnTo>
                    <a:lnTo>
                      <a:pt x="1618" y="178"/>
                    </a:lnTo>
                    <a:lnTo>
                      <a:pt x="1615" y="179"/>
                    </a:lnTo>
                    <a:lnTo>
                      <a:pt x="1615" y="178"/>
                    </a:lnTo>
                    <a:lnTo>
                      <a:pt x="1615" y="176"/>
                    </a:lnTo>
                    <a:lnTo>
                      <a:pt x="1613" y="173"/>
                    </a:lnTo>
                    <a:lnTo>
                      <a:pt x="1613" y="169"/>
                    </a:lnTo>
                    <a:lnTo>
                      <a:pt x="1617" y="163"/>
                    </a:lnTo>
                    <a:lnTo>
                      <a:pt x="1615" y="158"/>
                    </a:lnTo>
                    <a:lnTo>
                      <a:pt x="1617" y="156"/>
                    </a:lnTo>
                    <a:lnTo>
                      <a:pt x="1618" y="158"/>
                    </a:lnTo>
                    <a:lnTo>
                      <a:pt x="1622" y="156"/>
                    </a:lnTo>
                    <a:lnTo>
                      <a:pt x="1620" y="149"/>
                    </a:lnTo>
                    <a:lnTo>
                      <a:pt x="1617" y="146"/>
                    </a:lnTo>
                    <a:lnTo>
                      <a:pt x="1613" y="146"/>
                    </a:lnTo>
                    <a:lnTo>
                      <a:pt x="1608" y="148"/>
                    </a:lnTo>
                    <a:lnTo>
                      <a:pt x="1605" y="151"/>
                    </a:lnTo>
                    <a:lnTo>
                      <a:pt x="1605" y="148"/>
                    </a:lnTo>
                    <a:lnTo>
                      <a:pt x="1603" y="148"/>
                    </a:lnTo>
                    <a:lnTo>
                      <a:pt x="1603" y="141"/>
                    </a:lnTo>
                    <a:lnTo>
                      <a:pt x="1600" y="135"/>
                    </a:lnTo>
                    <a:lnTo>
                      <a:pt x="1602" y="126"/>
                    </a:lnTo>
                    <a:lnTo>
                      <a:pt x="1602" y="120"/>
                    </a:lnTo>
                    <a:lnTo>
                      <a:pt x="1603" y="115"/>
                    </a:lnTo>
                    <a:lnTo>
                      <a:pt x="1605" y="106"/>
                    </a:lnTo>
                    <a:lnTo>
                      <a:pt x="1605" y="101"/>
                    </a:lnTo>
                    <a:lnTo>
                      <a:pt x="1608" y="95"/>
                    </a:lnTo>
                    <a:lnTo>
                      <a:pt x="1608" y="88"/>
                    </a:lnTo>
                    <a:lnTo>
                      <a:pt x="1605" y="85"/>
                    </a:lnTo>
                    <a:lnTo>
                      <a:pt x="1603" y="80"/>
                    </a:lnTo>
                    <a:lnTo>
                      <a:pt x="1597" y="75"/>
                    </a:lnTo>
                    <a:lnTo>
                      <a:pt x="1595" y="71"/>
                    </a:lnTo>
                    <a:lnTo>
                      <a:pt x="1588" y="68"/>
                    </a:lnTo>
                    <a:lnTo>
                      <a:pt x="1585" y="70"/>
                    </a:lnTo>
                    <a:lnTo>
                      <a:pt x="1585" y="73"/>
                    </a:lnTo>
                    <a:lnTo>
                      <a:pt x="1583" y="73"/>
                    </a:lnTo>
                    <a:lnTo>
                      <a:pt x="1577" y="68"/>
                    </a:lnTo>
                    <a:lnTo>
                      <a:pt x="1572" y="68"/>
                    </a:lnTo>
                    <a:lnTo>
                      <a:pt x="1572" y="73"/>
                    </a:lnTo>
                    <a:lnTo>
                      <a:pt x="1569" y="80"/>
                    </a:lnTo>
                    <a:lnTo>
                      <a:pt x="1572" y="81"/>
                    </a:lnTo>
                    <a:lnTo>
                      <a:pt x="1577" y="81"/>
                    </a:lnTo>
                    <a:lnTo>
                      <a:pt x="1582" y="81"/>
                    </a:lnTo>
                    <a:lnTo>
                      <a:pt x="1587" y="83"/>
                    </a:lnTo>
                    <a:lnTo>
                      <a:pt x="1588" y="86"/>
                    </a:lnTo>
                    <a:lnTo>
                      <a:pt x="1593" y="88"/>
                    </a:lnTo>
                    <a:lnTo>
                      <a:pt x="1592" y="90"/>
                    </a:lnTo>
                    <a:lnTo>
                      <a:pt x="1585" y="96"/>
                    </a:lnTo>
                    <a:lnTo>
                      <a:pt x="1582" y="96"/>
                    </a:lnTo>
                    <a:lnTo>
                      <a:pt x="1577" y="93"/>
                    </a:lnTo>
                    <a:lnTo>
                      <a:pt x="1572" y="93"/>
                    </a:lnTo>
                    <a:lnTo>
                      <a:pt x="1567" y="93"/>
                    </a:lnTo>
                    <a:lnTo>
                      <a:pt x="1570" y="96"/>
                    </a:lnTo>
                    <a:lnTo>
                      <a:pt x="1574" y="96"/>
                    </a:lnTo>
                    <a:lnTo>
                      <a:pt x="1570" y="100"/>
                    </a:lnTo>
                    <a:lnTo>
                      <a:pt x="1565" y="101"/>
                    </a:lnTo>
                    <a:lnTo>
                      <a:pt x="1559" y="95"/>
                    </a:lnTo>
                    <a:lnTo>
                      <a:pt x="1552" y="98"/>
                    </a:lnTo>
                    <a:lnTo>
                      <a:pt x="1550" y="105"/>
                    </a:lnTo>
                    <a:lnTo>
                      <a:pt x="1547" y="106"/>
                    </a:lnTo>
                    <a:lnTo>
                      <a:pt x="1547" y="110"/>
                    </a:lnTo>
                    <a:lnTo>
                      <a:pt x="1550" y="111"/>
                    </a:lnTo>
                    <a:lnTo>
                      <a:pt x="1552" y="116"/>
                    </a:lnTo>
                    <a:lnTo>
                      <a:pt x="1557" y="120"/>
                    </a:lnTo>
                    <a:lnTo>
                      <a:pt x="1557" y="121"/>
                    </a:lnTo>
                    <a:lnTo>
                      <a:pt x="1554" y="121"/>
                    </a:lnTo>
                    <a:lnTo>
                      <a:pt x="1554" y="125"/>
                    </a:lnTo>
                    <a:lnTo>
                      <a:pt x="1555" y="126"/>
                    </a:lnTo>
                    <a:lnTo>
                      <a:pt x="1555" y="130"/>
                    </a:lnTo>
                    <a:lnTo>
                      <a:pt x="1552" y="130"/>
                    </a:lnTo>
                    <a:lnTo>
                      <a:pt x="1549" y="126"/>
                    </a:lnTo>
                    <a:lnTo>
                      <a:pt x="1544" y="126"/>
                    </a:lnTo>
                    <a:lnTo>
                      <a:pt x="1539" y="123"/>
                    </a:lnTo>
                    <a:lnTo>
                      <a:pt x="1535" y="123"/>
                    </a:lnTo>
                    <a:lnTo>
                      <a:pt x="1530" y="125"/>
                    </a:lnTo>
                    <a:lnTo>
                      <a:pt x="1530" y="128"/>
                    </a:lnTo>
                    <a:lnTo>
                      <a:pt x="1534" y="133"/>
                    </a:lnTo>
                    <a:lnTo>
                      <a:pt x="1530" y="136"/>
                    </a:lnTo>
                    <a:lnTo>
                      <a:pt x="1529" y="135"/>
                    </a:lnTo>
                    <a:lnTo>
                      <a:pt x="1529" y="131"/>
                    </a:lnTo>
                    <a:lnTo>
                      <a:pt x="1525" y="130"/>
                    </a:lnTo>
                    <a:lnTo>
                      <a:pt x="1520" y="128"/>
                    </a:lnTo>
                    <a:lnTo>
                      <a:pt x="1519" y="128"/>
                    </a:lnTo>
                    <a:lnTo>
                      <a:pt x="1515" y="125"/>
                    </a:lnTo>
                    <a:lnTo>
                      <a:pt x="1512" y="125"/>
                    </a:lnTo>
                    <a:lnTo>
                      <a:pt x="1510" y="126"/>
                    </a:lnTo>
                    <a:lnTo>
                      <a:pt x="1514" y="133"/>
                    </a:lnTo>
                    <a:lnTo>
                      <a:pt x="1512" y="136"/>
                    </a:lnTo>
                    <a:lnTo>
                      <a:pt x="1514" y="143"/>
                    </a:lnTo>
                    <a:lnTo>
                      <a:pt x="1519" y="145"/>
                    </a:lnTo>
                    <a:lnTo>
                      <a:pt x="1524" y="146"/>
                    </a:lnTo>
                    <a:lnTo>
                      <a:pt x="1525" y="148"/>
                    </a:lnTo>
                    <a:lnTo>
                      <a:pt x="1524" y="149"/>
                    </a:lnTo>
                    <a:lnTo>
                      <a:pt x="1519" y="148"/>
                    </a:lnTo>
                    <a:lnTo>
                      <a:pt x="1525" y="151"/>
                    </a:lnTo>
                    <a:lnTo>
                      <a:pt x="1527" y="154"/>
                    </a:lnTo>
                    <a:lnTo>
                      <a:pt x="1530" y="158"/>
                    </a:lnTo>
                    <a:lnTo>
                      <a:pt x="1537" y="158"/>
                    </a:lnTo>
                    <a:lnTo>
                      <a:pt x="1540" y="154"/>
                    </a:lnTo>
                    <a:lnTo>
                      <a:pt x="1542" y="154"/>
                    </a:lnTo>
                    <a:lnTo>
                      <a:pt x="1544" y="158"/>
                    </a:lnTo>
                    <a:lnTo>
                      <a:pt x="1539" y="161"/>
                    </a:lnTo>
                    <a:lnTo>
                      <a:pt x="1537" y="168"/>
                    </a:lnTo>
                    <a:lnTo>
                      <a:pt x="1534" y="168"/>
                    </a:lnTo>
                    <a:lnTo>
                      <a:pt x="1529" y="163"/>
                    </a:lnTo>
                    <a:lnTo>
                      <a:pt x="1515" y="161"/>
                    </a:lnTo>
                    <a:lnTo>
                      <a:pt x="1510" y="154"/>
                    </a:lnTo>
                    <a:lnTo>
                      <a:pt x="1507" y="153"/>
                    </a:lnTo>
                    <a:lnTo>
                      <a:pt x="1505" y="151"/>
                    </a:lnTo>
                    <a:lnTo>
                      <a:pt x="1504" y="151"/>
                    </a:lnTo>
                    <a:lnTo>
                      <a:pt x="1502" y="156"/>
                    </a:lnTo>
                    <a:lnTo>
                      <a:pt x="1502" y="158"/>
                    </a:lnTo>
                    <a:lnTo>
                      <a:pt x="1500" y="159"/>
                    </a:lnTo>
                    <a:lnTo>
                      <a:pt x="1502" y="166"/>
                    </a:lnTo>
                    <a:lnTo>
                      <a:pt x="1499" y="169"/>
                    </a:lnTo>
                    <a:lnTo>
                      <a:pt x="1495" y="168"/>
                    </a:lnTo>
                    <a:lnTo>
                      <a:pt x="1495" y="173"/>
                    </a:lnTo>
                    <a:lnTo>
                      <a:pt x="1492" y="174"/>
                    </a:lnTo>
                    <a:lnTo>
                      <a:pt x="1492" y="184"/>
                    </a:lnTo>
                    <a:lnTo>
                      <a:pt x="1495" y="186"/>
                    </a:lnTo>
                    <a:lnTo>
                      <a:pt x="1504" y="188"/>
                    </a:lnTo>
                    <a:lnTo>
                      <a:pt x="1507" y="189"/>
                    </a:lnTo>
                    <a:lnTo>
                      <a:pt x="1512" y="188"/>
                    </a:lnTo>
                    <a:lnTo>
                      <a:pt x="1512" y="189"/>
                    </a:lnTo>
                    <a:lnTo>
                      <a:pt x="1509" y="191"/>
                    </a:lnTo>
                    <a:lnTo>
                      <a:pt x="1504" y="189"/>
                    </a:lnTo>
                    <a:lnTo>
                      <a:pt x="1495" y="189"/>
                    </a:lnTo>
                    <a:lnTo>
                      <a:pt x="1494" y="189"/>
                    </a:lnTo>
                    <a:lnTo>
                      <a:pt x="1489" y="189"/>
                    </a:lnTo>
                    <a:lnTo>
                      <a:pt x="1482" y="198"/>
                    </a:lnTo>
                    <a:lnTo>
                      <a:pt x="1482" y="199"/>
                    </a:lnTo>
                    <a:lnTo>
                      <a:pt x="1485" y="203"/>
                    </a:lnTo>
                    <a:lnTo>
                      <a:pt x="1484" y="206"/>
                    </a:lnTo>
                    <a:lnTo>
                      <a:pt x="1482" y="206"/>
                    </a:lnTo>
                    <a:lnTo>
                      <a:pt x="1481" y="209"/>
                    </a:lnTo>
                    <a:lnTo>
                      <a:pt x="1484" y="213"/>
                    </a:lnTo>
                    <a:lnTo>
                      <a:pt x="1487" y="211"/>
                    </a:lnTo>
                    <a:lnTo>
                      <a:pt x="1492" y="211"/>
                    </a:lnTo>
                    <a:lnTo>
                      <a:pt x="1497" y="208"/>
                    </a:lnTo>
                    <a:lnTo>
                      <a:pt x="1499" y="209"/>
                    </a:lnTo>
                    <a:lnTo>
                      <a:pt x="1499" y="213"/>
                    </a:lnTo>
                    <a:lnTo>
                      <a:pt x="1494" y="213"/>
                    </a:lnTo>
                    <a:lnTo>
                      <a:pt x="1492" y="218"/>
                    </a:lnTo>
                    <a:lnTo>
                      <a:pt x="1494" y="219"/>
                    </a:lnTo>
                    <a:lnTo>
                      <a:pt x="1497" y="219"/>
                    </a:lnTo>
                    <a:lnTo>
                      <a:pt x="1500" y="216"/>
                    </a:lnTo>
                    <a:lnTo>
                      <a:pt x="1504" y="216"/>
                    </a:lnTo>
                    <a:lnTo>
                      <a:pt x="1509" y="213"/>
                    </a:lnTo>
                    <a:lnTo>
                      <a:pt x="1509" y="216"/>
                    </a:lnTo>
                    <a:lnTo>
                      <a:pt x="1505" y="218"/>
                    </a:lnTo>
                    <a:lnTo>
                      <a:pt x="1509" y="219"/>
                    </a:lnTo>
                    <a:lnTo>
                      <a:pt x="1515" y="219"/>
                    </a:lnTo>
                    <a:lnTo>
                      <a:pt x="1517" y="223"/>
                    </a:lnTo>
                    <a:lnTo>
                      <a:pt x="1514" y="223"/>
                    </a:lnTo>
                    <a:lnTo>
                      <a:pt x="1514" y="226"/>
                    </a:lnTo>
                    <a:lnTo>
                      <a:pt x="1517" y="226"/>
                    </a:lnTo>
                    <a:lnTo>
                      <a:pt x="1522" y="224"/>
                    </a:lnTo>
                    <a:lnTo>
                      <a:pt x="1527" y="229"/>
                    </a:lnTo>
                    <a:lnTo>
                      <a:pt x="1539" y="231"/>
                    </a:lnTo>
                    <a:lnTo>
                      <a:pt x="1540" y="233"/>
                    </a:lnTo>
                    <a:lnTo>
                      <a:pt x="1530" y="233"/>
                    </a:lnTo>
                    <a:lnTo>
                      <a:pt x="1525" y="233"/>
                    </a:lnTo>
                    <a:lnTo>
                      <a:pt x="1519" y="229"/>
                    </a:lnTo>
                    <a:lnTo>
                      <a:pt x="1514" y="231"/>
                    </a:lnTo>
                    <a:lnTo>
                      <a:pt x="1512" y="234"/>
                    </a:lnTo>
                    <a:lnTo>
                      <a:pt x="1519" y="236"/>
                    </a:lnTo>
                    <a:lnTo>
                      <a:pt x="1529" y="238"/>
                    </a:lnTo>
                    <a:lnTo>
                      <a:pt x="1539" y="238"/>
                    </a:lnTo>
                    <a:lnTo>
                      <a:pt x="1542" y="239"/>
                    </a:lnTo>
                    <a:lnTo>
                      <a:pt x="1530" y="241"/>
                    </a:lnTo>
                    <a:lnTo>
                      <a:pt x="1527" y="241"/>
                    </a:lnTo>
                    <a:lnTo>
                      <a:pt x="1519" y="239"/>
                    </a:lnTo>
                    <a:lnTo>
                      <a:pt x="1512" y="239"/>
                    </a:lnTo>
                    <a:lnTo>
                      <a:pt x="1509" y="236"/>
                    </a:lnTo>
                    <a:lnTo>
                      <a:pt x="1504" y="234"/>
                    </a:lnTo>
                    <a:lnTo>
                      <a:pt x="1497" y="229"/>
                    </a:lnTo>
                    <a:lnTo>
                      <a:pt x="1495" y="231"/>
                    </a:lnTo>
                    <a:lnTo>
                      <a:pt x="1492" y="234"/>
                    </a:lnTo>
                    <a:lnTo>
                      <a:pt x="1484" y="234"/>
                    </a:lnTo>
                    <a:lnTo>
                      <a:pt x="1481" y="236"/>
                    </a:lnTo>
                    <a:lnTo>
                      <a:pt x="1479" y="244"/>
                    </a:lnTo>
                    <a:lnTo>
                      <a:pt x="1485" y="249"/>
                    </a:lnTo>
                    <a:lnTo>
                      <a:pt x="1485" y="254"/>
                    </a:lnTo>
                    <a:lnTo>
                      <a:pt x="1484" y="256"/>
                    </a:lnTo>
                    <a:lnTo>
                      <a:pt x="1481" y="249"/>
                    </a:lnTo>
                    <a:lnTo>
                      <a:pt x="1477" y="249"/>
                    </a:lnTo>
                    <a:lnTo>
                      <a:pt x="1474" y="257"/>
                    </a:lnTo>
                    <a:lnTo>
                      <a:pt x="1476" y="264"/>
                    </a:lnTo>
                    <a:lnTo>
                      <a:pt x="1479" y="264"/>
                    </a:lnTo>
                    <a:lnTo>
                      <a:pt x="1481" y="262"/>
                    </a:lnTo>
                    <a:lnTo>
                      <a:pt x="1484" y="262"/>
                    </a:lnTo>
                    <a:lnTo>
                      <a:pt x="1487" y="267"/>
                    </a:lnTo>
                    <a:lnTo>
                      <a:pt x="1490" y="269"/>
                    </a:lnTo>
                    <a:lnTo>
                      <a:pt x="1485" y="269"/>
                    </a:lnTo>
                    <a:lnTo>
                      <a:pt x="1484" y="271"/>
                    </a:lnTo>
                    <a:lnTo>
                      <a:pt x="1479" y="267"/>
                    </a:lnTo>
                    <a:lnTo>
                      <a:pt x="1474" y="267"/>
                    </a:lnTo>
                    <a:lnTo>
                      <a:pt x="1472" y="276"/>
                    </a:lnTo>
                    <a:lnTo>
                      <a:pt x="1474" y="279"/>
                    </a:lnTo>
                    <a:lnTo>
                      <a:pt x="1477" y="277"/>
                    </a:lnTo>
                    <a:lnTo>
                      <a:pt x="1476" y="281"/>
                    </a:lnTo>
                    <a:lnTo>
                      <a:pt x="1476" y="289"/>
                    </a:lnTo>
                    <a:lnTo>
                      <a:pt x="1479" y="287"/>
                    </a:lnTo>
                    <a:lnTo>
                      <a:pt x="1482" y="289"/>
                    </a:lnTo>
                    <a:lnTo>
                      <a:pt x="1482" y="296"/>
                    </a:lnTo>
                    <a:lnTo>
                      <a:pt x="1489" y="297"/>
                    </a:lnTo>
                    <a:lnTo>
                      <a:pt x="1499" y="302"/>
                    </a:lnTo>
                    <a:lnTo>
                      <a:pt x="1504" y="301"/>
                    </a:lnTo>
                    <a:lnTo>
                      <a:pt x="1505" y="297"/>
                    </a:lnTo>
                    <a:lnTo>
                      <a:pt x="1504" y="294"/>
                    </a:lnTo>
                    <a:lnTo>
                      <a:pt x="1510" y="294"/>
                    </a:lnTo>
                    <a:lnTo>
                      <a:pt x="1512" y="297"/>
                    </a:lnTo>
                    <a:lnTo>
                      <a:pt x="1510" y="302"/>
                    </a:lnTo>
                    <a:lnTo>
                      <a:pt x="1512" y="306"/>
                    </a:lnTo>
                    <a:lnTo>
                      <a:pt x="1514" y="306"/>
                    </a:lnTo>
                    <a:lnTo>
                      <a:pt x="1517" y="294"/>
                    </a:lnTo>
                    <a:lnTo>
                      <a:pt x="1517" y="286"/>
                    </a:lnTo>
                    <a:lnTo>
                      <a:pt x="1519" y="279"/>
                    </a:lnTo>
                    <a:lnTo>
                      <a:pt x="1524" y="274"/>
                    </a:lnTo>
                    <a:lnTo>
                      <a:pt x="1527" y="271"/>
                    </a:lnTo>
                    <a:lnTo>
                      <a:pt x="1527" y="276"/>
                    </a:lnTo>
                    <a:lnTo>
                      <a:pt x="1520" y="284"/>
                    </a:lnTo>
                    <a:lnTo>
                      <a:pt x="1520" y="291"/>
                    </a:lnTo>
                    <a:lnTo>
                      <a:pt x="1522" y="294"/>
                    </a:lnTo>
                    <a:lnTo>
                      <a:pt x="1519" y="302"/>
                    </a:lnTo>
                    <a:lnTo>
                      <a:pt x="1522" y="306"/>
                    </a:lnTo>
                    <a:lnTo>
                      <a:pt x="1520" y="309"/>
                    </a:lnTo>
                    <a:lnTo>
                      <a:pt x="1522" y="311"/>
                    </a:lnTo>
                    <a:lnTo>
                      <a:pt x="1522" y="311"/>
                    </a:lnTo>
                    <a:close/>
                    <a:moveTo>
                      <a:pt x="1534" y="118"/>
                    </a:moveTo>
                    <a:lnTo>
                      <a:pt x="1535" y="116"/>
                    </a:lnTo>
                    <a:lnTo>
                      <a:pt x="1539" y="116"/>
                    </a:lnTo>
                    <a:lnTo>
                      <a:pt x="1540" y="118"/>
                    </a:lnTo>
                    <a:lnTo>
                      <a:pt x="1544" y="118"/>
                    </a:lnTo>
                    <a:lnTo>
                      <a:pt x="1545" y="121"/>
                    </a:lnTo>
                    <a:lnTo>
                      <a:pt x="1542" y="121"/>
                    </a:lnTo>
                    <a:lnTo>
                      <a:pt x="1540" y="120"/>
                    </a:lnTo>
                    <a:lnTo>
                      <a:pt x="1535" y="120"/>
                    </a:lnTo>
                    <a:lnTo>
                      <a:pt x="1534" y="118"/>
                    </a:lnTo>
                    <a:lnTo>
                      <a:pt x="1534" y="118"/>
                    </a:lnTo>
                    <a:close/>
                    <a:moveTo>
                      <a:pt x="1537" y="309"/>
                    </a:moveTo>
                    <a:lnTo>
                      <a:pt x="1539" y="304"/>
                    </a:lnTo>
                    <a:lnTo>
                      <a:pt x="1542" y="302"/>
                    </a:lnTo>
                    <a:lnTo>
                      <a:pt x="1542" y="299"/>
                    </a:lnTo>
                    <a:lnTo>
                      <a:pt x="1545" y="297"/>
                    </a:lnTo>
                    <a:lnTo>
                      <a:pt x="1547" y="299"/>
                    </a:lnTo>
                    <a:lnTo>
                      <a:pt x="1545" y="301"/>
                    </a:lnTo>
                    <a:lnTo>
                      <a:pt x="1544" y="304"/>
                    </a:lnTo>
                    <a:lnTo>
                      <a:pt x="1539" y="307"/>
                    </a:lnTo>
                    <a:lnTo>
                      <a:pt x="1537" y="309"/>
                    </a:lnTo>
                    <a:lnTo>
                      <a:pt x="1537" y="309"/>
                    </a:lnTo>
                    <a:close/>
                    <a:moveTo>
                      <a:pt x="1587" y="267"/>
                    </a:moveTo>
                    <a:lnTo>
                      <a:pt x="1593" y="259"/>
                    </a:lnTo>
                    <a:lnTo>
                      <a:pt x="1597" y="259"/>
                    </a:lnTo>
                    <a:lnTo>
                      <a:pt x="1602" y="257"/>
                    </a:lnTo>
                    <a:lnTo>
                      <a:pt x="1605" y="259"/>
                    </a:lnTo>
                    <a:lnTo>
                      <a:pt x="1610" y="262"/>
                    </a:lnTo>
                    <a:lnTo>
                      <a:pt x="1608" y="266"/>
                    </a:lnTo>
                    <a:lnTo>
                      <a:pt x="1602" y="266"/>
                    </a:lnTo>
                    <a:lnTo>
                      <a:pt x="1598" y="269"/>
                    </a:lnTo>
                    <a:lnTo>
                      <a:pt x="1592" y="269"/>
                    </a:lnTo>
                    <a:lnTo>
                      <a:pt x="1588" y="269"/>
                    </a:lnTo>
                    <a:lnTo>
                      <a:pt x="1587" y="267"/>
                    </a:lnTo>
                    <a:lnTo>
                      <a:pt x="1587" y="267"/>
                    </a:lnTo>
                    <a:close/>
                    <a:moveTo>
                      <a:pt x="1952" y="8"/>
                    </a:moveTo>
                    <a:lnTo>
                      <a:pt x="1954" y="5"/>
                    </a:lnTo>
                    <a:lnTo>
                      <a:pt x="1957" y="5"/>
                    </a:lnTo>
                    <a:lnTo>
                      <a:pt x="1959" y="8"/>
                    </a:lnTo>
                    <a:lnTo>
                      <a:pt x="1956" y="10"/>
                    </a:lnTo>
                    <a:lnTo>
                      <a:pt x="1952" y="8"/>
                    </a:lnTo>
                    <a:lnTo>
                      <a:pt x="1952" y="8"/>
                    </a:lnTo>
                    <a:close/>
                    <a:moveTo>
                      <a:pt x="1776" y="317"/>
                    </a:moveTo>
                    <a:lnTo>
                      <a:pt x="1775" y="319"/>
                    </a:lnTo>
                    <a:lnTo>
                      <a:pt x="1778" y="322"/>
                    </a:lnTo>
                    <a:lnTo>
                      <a:pt x="1781" y="322"/>
                    </a:lnTo>
                    <a:lnTo>
                      <a:pt x="1783" y="319"/>
                    </a:lnTo>
                    <a:lnTo>
                      <a:pt x="1780" y="317"/>
                    </a:lnTo>
                    <a:lnTo>
                      <a:pt x="1780" y="317"/>
                    </a:lnTo>
                    <a:lnTo>
                      <a:pt x="1776" y="317"/>
                    </a:lnTo>
                    <a:lnTo>
                      <a:pt x="1776" y="317"/>
                    </a:lnTo>
                    <a:close/>
                    <a:moveTo>
                      <a:pt x="1690" y="367"/>
                    </a:moveTo>
                    <a:lnTo>
                      <a:pt x="1691" y="369"/>
                    </a:lnTo>
                    <a:lnTo>
                      <a:pt x="1696" y="369"/>
                    </a:lnTo>
                    <a:lnTo>
                      <a:pt x="1693" y="365"/>
                    </a:lnTo>
                    <a:lnTo>
                      <a:pt x="1690" y="367"/>
                    </a:lnTo>
                    <a:lnTo>
                      <a:pt x="1690" y="367"/>
                    </a:lnTo>
                    <a:close/>
                    <a:moveTo>
                      <a:pt x="1567" y="364"/>
                    </a:moveTo>
                    <a:lnTo>
                      <a:pt x="1565" y="359"/>
                    </a:lnTo>
                    <a:lnTo>
                      <a:pt x="1565" y="357"/>
                    </a:lnTo>
                    <a:lnTo>
                      <a:pt x="1567" y="355"/>
                    </a:lnTo>
                    <a:lnTo>
                      <a:pt x="1570" y="359"/>
                    </a:lnTo>
                    <a:lnTo>
                      <a:pt x="1570" y="362"/>
                    </a:lnTo>
                    <a:lnTo>
                      <a:pt x="1569" y="364"/>
                    </a:lnTo>
                    <a:lnTo>
                      <a:pt x="1567" y="364"/>
                    </a:lnTo>
                    <a:lnTo>
                      <a:pt x="1567" y="364"/>
                    </a:lnTo>
                    <a:close/>
                    <a:moveTo>
                      <a:pt x="1532" y="430"/>
                    </a:moveTo>
                    <a:lnTo>
                      <a:pt x="1532" y="429"/>
                    </a:lnTo>
                    <a:lnTo>
                      <a:pt x="1532" y="424"/>
                    </a:lnTo>
                    <a:lnTo>
                      <a:pt x="1530" y="419"/>
                    </a:lnTo>
                    <a:lnTo>
                      <a:pt x="1529" y="417"/>
                    </a:lnTo>
                    <a:lnTo>
                      <a:pt x="1527" y="419"/>
                    </a:lnTo>
                    <a:lnTo>
                      <a:pt x="1525" y="424"/>
                    </a:lnTo>
                    <a:lnTo>
                      <a:pt x="1527" y="432"/>
                    </a:lnTo>
                    <a:lnTo>
                      <a:pt x="1530" y="437"/>
                    </a:lnTo>
                    <a:lnTo>
                      <a:pt x="1529" y="440"/>
                    </a:lnTo>
                    <a:lnTo>
                      <a:pt x="1527" y="440"/>
                    </a:lnTo>
                    <a:lnTo>
                      <a:pt x="1524" y="439"/>
                    </a:lnTo>
                    <a:lnTo>
                      <a:pt x="1514" y="439"/>
                    </a:lnTo>
                    <a:lnTo>
                      <a:pt x="1514" y="435"/>
                    </a:lnTo>
                    <a:lnTo>
                      <a:pt x="1512" y="434"/>
                    </a:lnTo>
                    <a:lnTo>
                      <a:pt x="1504" y="430"/>
                    </a:lnTo>
                    <a:lnTo>
                      <a:pt x="1500" y="430"/>
                    </a:lnTo>
                    <a:lnTo>
                      <a:pt x="1500" y="429"/>
                    </a:lnTo>
                    <a:lnTo>
                      <a:pt x="1499" y="427"/>
                    </a:lnTo>
                    <a:lnTo>
                      <a:pt x="1495" y="427"/>
                    </a:lnTo>
                    <a:lnTo>
                      <a:pt x="1495" y="425"/>
                    </a:lnTo>
                    <a:lnTo>
                      <a:pt x="1497" y="422"/>
                    </a:lnTo>
                    <a:lnTo>
                      <a:pt x="1500" y="420"/>
                    </a:lnTo>
                    <a:lnTo>
                      <a:pt x="1502" y="417"/>
                    </a:lnTo>
                    <a:lnTo>
                      <a:pt x="1502" y="414"/>
                    </a:lnTo>
                    <a:lnTo>
                      <a:pt x="1499" y="409"/>
                    </a:lnTo>
                    <a:lnTo>
                      <a:pt x="1497" y="407"/>
                    </a:lnTo>
                    <a:lnTo>
                      <a:pt x="1497" y="410"/>
                    </a:lnTo>
                    <a:lnTo>
                      <a:pt x="1499" y="412"/>
                    </a:lnTo>
                    <a:lnTo>
                      <a:pt x="1499" y="415"/>
                    </a:lnTo>
                    <a:lnTo>
                      <a:pt x="1497" y="419"/>
                    </a:lnTo>
                    <a:lnTo>
                      <a:pt x="1494" y="419"/>
                    </a:lnTo>
                    <a:lnTo>
                      <a:pt x="1492" y="419"/>
                    </a:lnTo>
                    <a:lnTo>
                      <a:pt x="1494" y="420"/>
                    </a:lnTo>
                    <a:lnTo>
                      <a:pt x="1494" y="424"/>
                    </a:lnTo>
                    <a:lnTo>
                      <a:pt x="1490" y="425"/>
                    </a:lnTo>
                    <a:lnTo>
                      <a:pt x="1489" y="425"/>
                    </a:lnTo>
                    <a:lnTo>
                      <a:pt x="1485" y="420"/>
                    </a:lnTo>
                    <a:lnTo>
                      <a:pt x="1485" y="419"/>
                    </a:lnTo>
                    <a:lnTo>
                      <a:pt x="1485" y="415"/>
                    </a:lnTo>
                    <a:lnTo>
                      <a:pt x="1487" y="410"/>
                    </a:lnTo>
                    <a:lnTo>
                      <a:pt x="1487" y="409"/>
                    </a:lnTo>
                    <a:lnTo>
                      <a:pt x="1487" y="405"/>
                    </a:lnTo>
                    <a:lnTo>
                      <a:pt x="1484" y="407"/>
                    </a:lnTo>
                    <a:lnTo>
                      <a:pt x="1484" y="412"/>
                    </a:lnTo>
                    <a:lnTo>
                      <a:pt x="1481" y="415"/>
                    </a:lnTo>
                    <a:lnTo>
                      <a:pt x="1482" y="417"/>
                    </a:lnTo>
                    <a:lnTo>
                      <a:pt x="1481" y="420"/>
                    </a:lnTo>
                    <a:lnTo>
                      <a:pt x="1476" y="420"/>
                    </a:lnTo>
                    <a:lnTo>
                      <a:pt x="1474" y="417"/>
                    </a:lnTo>
                    <a:lnTo>
                      <a:pt x="1471" y="417"/>
                    </a:lnTo>
                    <a:lnTo>
                      <a:pt x="1469" y="415"/>
                    </a:lnTo>
                    <a:lnTo>
                      <a:pt x="1471" y="412"/>
                    </a:lnTo>
                    <a:lnTo>
                      <a:pt x="1472" y="407"/>
                    </a:lnTo>
                    <a:lnTo>
                      <a:pt x="1474" y="405"/>
                    </a:lnTo>
                    <a:lnTo>
                      <a:pt x="1474" y="402"/>
                    </a:lnTo>
                    <a:lnTo>
                      <a:pt x="1479" y="392"/>
                    </a:lnTo>
                    <a:lnTo>
                      <a:pt x="1476" y="394"/>
                    </a:lnTo>
                    <a:lnTo>
                      <a:pt x="1472" y="395"/>
                    </a:lnTo>
                    <a:lnTo>
                      <a:pt x="1469" y="404"/>
                    </a:lnTo>
                    <a:lnTo>
                      <a:pt x="1469" y="410"/>
                    </a:lnTo>
                    <a:lnTo>
                      <a:pt x="1466" y="414"/>
                    </a:lnTo>
                    <a:lnTo>
                      <a:pt x="1464" y="412"/>
                    </a:lnTo>
                    <a:lnTo>
                      <a:pt x="1467" y="409"/>
                    </a:lnTo>
                    <a:lnTo>
                      <a:pt x="1467" y="407"/>
                    </a:lnTo>
                    <a:lnTo>
                      <a:pt x="1466" y="407"/>
                    </a:lnTo>
                    <a:lnTo>
                      <a:pt x="1462" y="412"/>
                    </a:lnTo>
                    <a:lnTo>
                      <a:pt x="1457" y="412"/>
                    </a:lnTo>
                    <a:lnTo>
                      <a:pt x="1456" y="410"/>
                    </a:lnTo>
                    <a:lnTo>
                      <a:pt x="1457" y="405"/>
                    </a:lnTo>
                    <a:lnTo>
                      <a:pt x="1456" y="402"/>
                    </a:lnTo>
                    <a:lnTo>
                      <a:pt x="1456" y="399"/>
                    </a:lnTo>
                    <a:lnTo>
                      <a:pt x="1461" y="395"/>
                    </a:lnTo>
                    <a:lnTo>
                      <a:pt x="1462" y="394"/>
                    </a:lnTo>
                    <a:lnTo>
                      <a:pt x="1462" y="390"/>
                    </a:lnTo>
                    <a:lnTo>
                      <a:pt x="1464" y="387"/>
                    </a:lnTo>
                    <a:lnTo>
                      <a:pt x="1467" y="384"/>
                    </a:lnTo>
                    <a:lnTo>
                      <a:pt x="1471" y="384"/>
                    </a:lnTo>
                    <a:lnTo>
                      <a:pt x="1472" y="382"/>
                    </a:lnTo>
                    <a:lnTo>
                      <a:pt x="1479" y="382"/>
                    </a:lnTo>
                    <a:lnTo>
                      <a:pt x="1482" y="379"/>
                    </a:lnTo>
                    <a:lnTo>
                      <a:pt x="1487" y="377"/>
                    </a:lnTo>
                    <a:lnTo>
                      <a:pt x="1489" y="377"/>
                    </a:lnTo>
                    <a:lnTo>
                      <a:pt x="1489" y="374"/>
                    </a:lnTo>
                    <a:lnTo>
                      <a:pt x="1492" y="372"/>
                    </a:lnTo>
                    <a:lnTo>
                      <a:pt x="1495" y="372"/>
                    </a:lnTo>
                    <a:lnTo>
                      <a:pt x="1502" y="374"/>
                    </a:lnTo>
                    <a:lnTo>
                      <a:pt x="1510" y="374"/>
                    </a:lnTo>
                    <a:lnTo>
                      <a:pt x="1512" y="372"/>
                    </a:lnTo>
                    <a:lnTo>
                      <a:pt x="1517" y="374"/>
                    </a:lnTo>
                    <a:lnTo>
                      <a:pt x="1519" y="377"/>
                    </a:lnTo>
                    <a:lnTo>
                      <a:pt x="1522" y="377"/>
                    </a:lnTo>
                    <a:lnTo>
                      <a:pt x="1522" y="375"/>
                    </a:lnTo>
                    <a:lnTo>
                      <a:pt x="1525" y="375"/>
                    </a:lnTo>
                    <a:lnTo>
                      <a:pt x="1530" y="379"/>
                    </a:lnTo>
                    <a:lnTo>
                      <a:pt x="1532" y="377"/>
                    </a:lnTo>
                    <a:lnTo>
                      <a:pt x="1537" y="377"/>
                    </a:lnTo>
                    <a:lnTo>
                      <a:pt x="1539" y="375"/>
                    </a:lnTo>
                    <a:lnTo>
                      <a:pt x="1537" y="374"/>
                    </a:lnTo>
                    <a:lnTo>
                      <a:pt x="1534" y="375"/>
                    </a:lnTo>
                    <a:lnTo>
                      <a:pt x="1530" y="372"/>
                    </a:lnTo>
                    <a:lnTo>
                      <a:pt x="1527" y="372"/>
                    </a:lnTo>
                    <a:lnTo>
                      <a:pt x="1529" y="370"/>
                    </a:lnTo>
                    <a:lnTo>
                      <a:pt x="1530" y="369"/>
                    </a:lnTo>
                    <a:lnTo>
                      <a:pt x="1532" y="365"/>
                    </a:lnTo>
                    <a:lnTo>
                      <a:pt x="1527" y="365"/>
                    </a:lnTo>
                    <a:lnTo>
                      <a:pt x="1529" y="364"/>
                    </a:lnTo>
                    <a:lnTo>
                      <a:pt x="1534" y="364"/>
                    </a:lnTo>
                    <a:lnTo>
                      <a:pt x="1534" y="362"/>
                    </a:lnTo>
                    <a:lnTo>
                      <a:pt x="1529" y="360"/>
                    </a:lnTo>
                    <a:lnTo>
                      <a:pt x="1529" y="362"/>
                    </a:lnTo>
                    <a:lnTo>
                      <a:pt x="1525" y="362"/>
                    </a:lnTo>
                    <a:lnTo>
                      <a:pt x="1522" y="359"/>
                    </a:lnTo>
                    <a:lnTo>
                      <a:pt x="1522" y="357"/>
                    </a:lnTo>
                    <a:lnTo>
                      <a:pt x="1527" y="354"/>
                    </a:lnTo>
                    <a:lnTo>
                      <a:pt x="1527" y="350"/>
                    </a:lnTo>
                    <a:lnTo>
                      <a:pt x="1525" y="350"/>
                    </a:lnTo>
                    <a:lnTo>
                      <a:pt x="1524" y="347"/>
                    </a:lnTo>
                    <a:lnTo>
                      <a:pt x="1524" y="341"/>
                    </a:lnTo>
                    <a:lnTo>
                      <a:pt x="1525" y="339"/>
                    </a:lnTo>
                    <a:lnTo>
                      <a:pt x="1524" y="336"/>
                    </a:lnTo>
                    <a:lnTo>
                      <a:pt x="1524" y="331"/>
                    </a:lnTo>
                    <a:lnTo>
                      <a:pt x="1527" y="331"/>
                    </a:lnTo>
                    <a:lnTo>
                      <a:pt x="1532" y="329"/>
                    </a:lnTo>
                    <a:lnTo>
                      <a:pt x="1537" y="331"/>
                    </a:lnTo>
                    <a:lnTo>
                      <a:pt x="1540" y="329"/>
                    </a:lnTo>
                    <a:lnTo>
                      <a:pt x="1545" y="331"/>
                    </a:lnTo>
                    <a:lnTo>
                      <a:pt x="1549" y="331"/>
                    </a:lnTo>
                    <a:lnTo>
                      <a:pt x="1554" y="336"/>
                    </a:lnTo>
                    <a:lnTo>
                      <a:pt x="1557" y="345"/>
                    </a:lnTo>
                    <a:lnTo>
                      <a:pt x="1557" y="357"/>
                    </a:lnTo>
                    <a:lnTo>
                      <a:pt x="1555" y="364"/>
                    </a:lnTo>
                    <a:lnTo>
                      <a:pt x="1557" y="365"/>
                    </a:lnTo>
                    <a:lnTo>
                      <a:pt x="1560" y="364"/>
                    </a:lnTo>
                    <a:lnTo>
                      <a:pt x="1569" y="367"/>
                    </a:lnTo>
                    <a:lnTo>
                      <a:pt x="1572" y="372"/>
                    </a:lnTo>
                    <a:lnTo>
                      <a:pt x="1575" y="374"/>
                    </a:lnTo>
                    <a:lnTo>
                      <a:pt x="1575" y="370"/>
                    </a:lnTo>
                    <a:lnTo>
                      <a:pt x="1585" y="370"/>
                    </a:lnTo>
                    <a:lnTo>
                      <a:pt x="1590" y="375"/>
                    </a:lnTo>
                    <a:lnTo>
                      <a:pt x="1593" y="374"/>
                    </a:lnTo>
                    <a:lnTo>
                      <a:pt x="1590" y="372"/>
                    </a:lnTo>
                    <a:lnTo>
                      <a:pt x="1593" y="369"/>
                    </a:lnTo>
                    <a:lnTo>
                      <a:pt x="1602" y="365"/>
                    </a:lnTo>
                    <a:lnTo>
                      <a:pt x="1607" y="359"/>
                    </a:lnTo>
                    <a:lnTo>
                      <a:pt x="1615" y="354"/>
                    </a:lnTo>
                    <a:lnTo>
                      <a:pt x="1623" y="347"/>
                    </a:lnTo>
                    <a:lnTo>
                      <a:pt x="1623" y="342"/>
                    </a:lnTo>
                    <a:lnTo>
                      <a:pt x="1627" y="341"/>
                    </a:lnTo>
                    <a:lnTo>
                      <a:pt x="1623" y="341"/>
                    </a:lnTo>
                    <a:lnTo>
                      <a:pt x="1620" y="342"/>
                    </a:lnTo>
                    <a:lnTo>
                      <a:pt x="1620" y="345"/>
                    </a:lnTo>
                    <a:lnTo>
                      <a:pt x="1612" y="354"/>
                    </a:lnTo>
                    <a:lnTo>
                      <a:pt x="1607" y="357"/>
                    </a:lnTo>
                    <a:lnTo>
                      <a:pt x="1607" y="357"/>
                    </a:lnTo>
                    <a:lnTo>
                      <a:pt x="1600" y="364"/>
                    </a:lnTo>
                    <a:lnTo>
                      <a:pt x="1592" y="365"/>
                    </a:lnTo>
                    <a:lnTo>
                      <a:pt x="1588" y="364"/>
                    </a:lnTo>
                    <a:lnTo>
                      <a:pt x="1585" y="364"/>
                    </a:lnTo>
                    <a:lnTo>
                      <a:pt x="1585" y="365"/>
                    </a:lnTo>
                    <a:lnTo>
                      <a:pt x="1580" y="365"/>
                    </a:lnTo>
                    <a:lnTo>
                      <a:pt x="1574" y="362"/>
                    </a:lnTo>
                    <a:lnTo>
                      <a:pt x="1574" y="360"/>
                    </a:lnTo>
                    <a:lnTo>
                      <a:pt x="1577" y="357"/>
                    </a:lnTo>
                    <a:lnTo>
                      <a:pt x="1582" y="354"/>
                    </a:lnTo>
                    <a:lnTo>
                      <a:pt x="1582" y="350"/>
                    </a:lnTo>
                    <a:lnTo>
                      <a:pt x="1577" y="354"/>
                    </a:lnTo>
                    <a:lnTo>
                      <a:pt x="1575" y="357"/>
                    </a:lnTo>
                    <a:lnTo>
                      <a:pt x="1572" y="355"/>
                    </a:lnTo>
                    <a:lnTo>
                      <a:pt x="1569" y="350"/>
                    </a:lnTo>
                    <a:lnTo>
                      <a:pt x="1569" y="349"/>
                    </a:lnTo>
                    <a:lnTo>
                      <a:pt x="1572" y="349"/>
                    </a:lnTo>
                    <a:lnTo>
                      <a:pt x="1575" y="347"/>
                    </a:lnTo>
                    <a:lnTo>
                      <a:pt x="1577" y="345"/>
                    </a:lnTo>
                    <a:lnTo>
                      <a:pt x="1572" y="345"/>
                    </a:lnTo>
                    <a:lnTo>
                      <a:pt x="1572" y="344"/>
                    </a:lnTo>
                    <a:lnTo>
                      <a:pt x="1575" y="342"/>
                    </a:lnTo>
                    <a:lnTo>
                      <a:pt x="1579" y="342"/>
                    </a:lnTo>
                    <a:lnTo>
                      <a:pt x="1582" y="342"/>
                    </a:lnTo>
                    <a:lnTo>
                      <a:pt x="1582" y="341"/>
                    </a:lnTo>
                    <a:lnTo>
                      <a:pt x="1579" y="341"/>
                    </a:lnTo>
                    <a:lnTo>
                      <a:pt x="1575" y="339"/>
                    </a:lnTo>
                    <a:lnTo>
                      <a:pt x="1574" y="341"/>
                    </a:lnTo>
                    <a:lnTo>
                      <a:pt x="1570" y="341"/>
                    </a:lnTo>
                    <a:lnTo>
                      <a:pt x="1569" y="337"/>
                    </a:lnTo>
                    <a:lnTo>
                      <a:pt x="1570" y="336"/>
                    </a:lnTo>
                    <a:lnTo>
                      <a:pt x="1574" y="334"/>
                    </a:lnTo>
                    <a:lnTo>
                      <a:pt x="1577" y="332"/>
                    </a:lnTo>
                    <a:lnTo>
                      <a:pt x="1582" y="332"/>
                    </a:lnTo>
                    <a:lnTo>
                      <a:pt x="1587" y="334"/>
                    </a:lnTo>
                    <a:lnTo>
                      <a:pt x="1590" y="332"/>
                    </a:lnTo>
                    <a:lnTo>
                      <a:pt x="1585" y="332"/>
                    </a:lnTo>
                    <a:lnTo>
                      <a:pt x="1583" y="329"/>
                    </a:lnTo>
                    <a:lnTo>
                      <a:pt x="1588" y="326"/>
                    </a:lnTo>
                    <a:lnTo>
                      <a:pt x="1592" y="326"/>
                    </a:lnTo>
                    <a:lnTo>
                      <a:pt x="1593" y="324"/>
                    </a:lnTo>
                    <a:lnTo>
                      <a:pt x="1588" y="324"/>
                    </a:lnTo>
                    <a:lnTo>
                      <a:pt x="1588" y="321"/>
                    </a:lnTo>
                    <a:lnTo>
                      <a:pt x="1592" y="317"/>
                    </a:lnTo>
                    <a:lnTo>
                      <a:pt x="1597" y="317"/>
                    </a:lnTo>
                    <a:lnTo>
                      <a:pt x="1593" y="314"/>
                    </a:lnTo>
                    <a:lnTo>
                      <a:pt x="1600" y="306"/>
                    </a:lnTo>
                    <a:lnTo>
                      <a:pt x="1603" y="302"/>
                    </a:lnTo>
                    <a:lnTo>
                      <a:pt x="1605" y="301"/>
                    </a:lnTo>
                    <a:lnTo>
                      <a:pt x="1602" y="301"/>
                    </a:lnTo>
                    <a:lnTo>
                      <a:pt x="1595" y="307"/>
                    </a:lnTo>
                    <a:lnTo>
                      <a:pt x="1588" y="317"/>
                    </a:lnTo>
                    <a:lnTo>
                      <a:pt x="1582" y="322"/>
                    </a:lnTo>
                    <a:lnTo>
                      <a:pt x="1577" y="327"/>
                    </a:lnTo>
                    <a:lnTo>
                      <a:pt x="1572" y="327"/>
                    </a:lnTo>
                    <a:lnTo>
                      <a:pt x="1565" y="327"/>
                    </a:lnTo>
                    <a:lnTo>
                      <a:pt x="1565" y="324"/>
                    </a:lnTo>
                    <a:lnTo>
                      <a:pt x="1569" y="319"/>
                    </a:lnTo>
                    <a:lnTo>
                      <a:pt x="1574" y="317"/>
                    </a:lnTo>
                    <a:lnTo>
                      <a:pt x="1574" y="312"/>
                    </a:lnTo>
                    <a:lnTo>
                      <a:pt x="1567" y="317"/>
                    </a:lnTo>
                    <a:lnTo>
                      <a:pt x="1560" y="317"/>
                    </a:lnTo>
                    <a:lnTo>
                      <a:pt x="1560" y="321"/>
                    </a:lnTo>
                    <a:lnTo>
                      <a:pt x="1557" y="322"/>
                    </a:lnTo>
                    <a:lnTo>
                      <a:pt x="1550" y="322"/>
                    </a:lnTo>
                    <a:lnTo>
                      <a:pt x="1544" y="317"/>
                    </a:lnTo>
                    <a:lnTo>
                      <a:pt x="1547" y="316"/>
                    </a:lnTo>
                    <a:lnTo>
                      <a:pt x="1552" y="314"/>
                    </a:lnTo>
                    <a:lnTo>
                      <a:pt x="1550" y="312"/>
                    </a:lnTo>
                    <a:lnTo>
                      <a:pt x="1547" y="312"/>
                    </a:lnTo>
                    <a:lnTo>
                      <a:pt x="1549" y="307"/>
                    </a:lnTo>
                    <a:lnTo>
                      <a:pt x="1554" y="302"/>
                    </a:lnTo>
                    <a:lnTo>
                      <a:pt x="1555" y="299"/>
                    </a:lnTo>
                    <a:lnTo>
                      <a:pt x="1560" y="297"/>
                    </a:lnTo>
                    <a:lnTo>
                      <a:pt x="1564" y="296"/>
                    </a:lnTo>
                    <a:lnTo>
                      <a:pt x="1569" y="294"/>
                    </a:lnTo>
                    <a:lnTo>
                      <a:pt x="1569" y="289"/>
                    </a:lnTo>
                    <a:lnTo>
                      <a:pt x="1572" y="284"/>
                    </a:lnTo>
                    <a:lnTo>
                      <a:pt x="1579" y="276"/>
                    </a:lnTo>
                    <a:lnTo>
                      <a:pt x="1583" y="277"/>
                    </a:lnTo>
                    <a:lnTo>
                      <a:pt x="1592" y="276"/>
                    </a:lnTo>
                    <a:lnTo>
                      <a:pt x="1600" y="277"/>
                    </a:lnTo>
                    <a:lnTo>
                      <a:pt x="1603" y="276"/>
                    </a:lnTo>
                    <a:lnTo>
                      <a:pt x="1607" y="276"/>
                    </a:lnTo>
                    <a:lnTo>
                      <a:pt x="1612" y="272"/>
                    </a:lnTo>
                    <a:lnTo>
                      <a:pt x="1615" y="272"/>
                    </a:lnTo>
                    <a:lnTo>
                      <a:pt x="1617" y="274"/>
                    </a:lnTo>
                    <a:lnTo>
                      <a:pt x="1622" y="279"/>
                    </a:lnTo>
                    <a:lnTo>
                      <a:pt x="1625" y="279"/>
                    </a:lnTo>
                    <a:lnTo>
                      <a:pt x="1637" y="286"/>
                    </a:lnTo>
                    <a:lnTo>
                      <a:pt x="1638" y="289"/>
                    </a:lnTo>
                    <a:lnTo>
                      <a:pt x="1640" y="292"/>
                    </a:lnTo>
                    <a:lnTo>
                      <a:pt x="1643" y="292"/>
                    </a:lnTo>
                    <a:lnTo>
                      <a:pt x="1650" y="302"/>
                    </a:lnTo>
                    <a:lnTo>
                      <a:pt x="1650" y="296"/>
                    </a:lnTo>
                    <a:lnTo>
                      <a:pt x="1655" y="296"/>
                    </a:lnTo>
                    <a:lnTo>
                      <a:pt x="1653" y="292"/>
                    </a:lnTo>
                    <a:lnTo>
                      <a:pt x="1648" y="292"/>
                    </a:lnTo>
                    <a:lnTo>
                      <a:pt x="1645" y="291"/>
                    </a:lnTo>
                    <a:lnTo>
                      <a:pt x="1645" y="287"/>
                    </a:lnTo>
                    <a:lnTo>
                      <a:pt x="1650" y="286"/>
                    </a:lnTo>
                    <a:lnTo>
                      <a:pt x="1660" y="286"/>
                    </a:lnTo>
                    <a:lnTo>
                      <a:pt x="1665" y="289"/>
                    </a:lnTo>
                    <a:lnTo>
                      <a:pt x="1667" y="286"/>
                    </a:lnTo>
                    <a:lnTo>
                      <a:pt x="1667" y="281"/>
                    </a:lnTo>
                    <a:lnTo>
                      <a:pt x="1668" y="277"/>
                    </a:lnTo>
                    <a:lnTo>
                      <a:pt x="1668" y="274"/>
                    </a:lnTo>
                    <a:lnTo>
                      <a:pt x="1667" y="276"/>
                    </a:lnTo>
                    <a:lnTo>
                      <a:pt x="1665" y="279"/>
                    </a:lnTo>
                    <a:lnTo>
                      <a:pt x="1660" y="282"/>
                    </a:lnTo>
                    <a:lnTo>
                      <a:pt x="1657" y="284"/>
                    </a:lnTo>
                    <a:lnTo>
                      <a:pt x="1648" y="282"/>
                    </a:lnTo>
                    <a:lnTo>
                      <a:pt x="1640" y="281"/>
                    </a:lnTo>
                    <a:lnTo>
                      <a:pt x="1638" y="277"/>
                    </a:lnTo>
                    <a:lnTo>
                      <a:pt x="1633" y="276"/>
                    </a:lnTo>
                    <a:lnTo>
                      <a:pt x="1627" y="277"/>
                    </a:lnTo>
                    <a:lnTo>
                      <a:pt x="1622" y="267"/>
                    </a:lnTo>
                    <a:lnTo>
                      <a:pt x="1620" y="259"/>
                    </a:lnTo>
                    <a:lnTo>
                      <a:pt x="1623" y="257"/>
                    </a:lnTo>
                    <a:lnTo>
                      <a:pt x="1628" y="261"/>
                    </a:lnTo>
                    <a:lnTo>
                      <a:pt x="1630" y="264"/>
                    </a:lnTo>
                    <a:lnTo>
                      <a:pt x="1632" y="267"/>
                    </a:lnTo>
                    <a:lnTo>
                      <a:pt x="1635" y="262"/>
                    </a:lnTo>
                    <a:lnTo>
                      <a:pt x="1637" y="256"/>
                    </a:lnTo>
                    <a:lnTo>
                      <a:pt x="1633" y="257"/>
                    </a:lnTo>
                    <a:lnTo>
                      <a:pt x="1632" y="256"/>
                    </a:lnTo>
                    <a:lnTo>
                      <a:pt x="1632" y="251"/>
                    </a:lnTo>
                    <a:lnTo>
                      <a:pt x="1635" y="244"/>
                    </a:lnTo>
                    <a:lnTo>
                      <a:pt x="1635" y="239"/>
                    </a:lnTo>
                    <a:lnTo>
                      <a:pt x="1638" y="233"/>
                    </a:lnTo>
                    <a:lnTo>
                      <a:pt x="1637" y="221"/>
                    </a:lnTo>
                    <a:lnTo>
                      <a:pt x="1635" y="214"/>
                    </a:lnTo>
                    <a:lnTo>
                      <a:pt x="1632" y="213"/>
                    </a:lnTo>
                    <a:lnTo>
                      <a:pt x="1630" y="208"/>
                    </a:lnTo>
                    <a:lnTo>
                      <a:pt x="1630" y="204"/>
                    </a:lnTo>
                    <a:lnTo>
                      <a:pt x="1633" y="203"/>
                    </a:lnTo>
                    <a:lnTo>
                      <a:pt x="1637" y="203"/>
                    </a:lnTo>
                    <a:lnTo>
                      <a:pt x="1638" y="204"/>
                    </a:lnTo>
                    <a:lnTo>
                      <a:pt x="1642" y="206"/>
                    </a:lnTo>
                    <a:lnTo>
                      <a:pt x="1645" y="211"/>
                    </a:lnTo>
                    <a:lnTo>
                      <a:pt x="1647" y="209"/>
                    </a:lnTo>
                    <a:lnTo>
                      <a:pt x="1647" y="206"/>
                    </a:lnTo>
                    <a:lnTo>
                      <a:pt x="1645" y="201"/>
                    </a:lnTo>
                    <a:lnTo>
                      <a:pt x="1640" y="199"/>
                    </a:lnTo>
                    <a:lnTo>
                      <a:pt x="1637" y="198"/>
                    </a:lnTo>
                    <a:lnTo>
                      <a:pt x="1637" y="194"/>
                    </a:lnTo>
                    <a:lnTo>
                      <a:pt x="1638" y="188"/>
                    </a:lnTo>
                    <a:lnTo>
                      <a:pt x="1653" y="174"/>
                    </a:lnTo>
                    <a:lnTo>
                      <a:pt x="1660" y="173"/>
                    </a:lnTo>
                    <a:lnTo>
                      <a:pt x="1665" y="174"/>
                    </a:lnTo>
                    <a:lnTo>
                      <a:pt x="1667" y="178"/>
                    </a:lnTo>
                    <a:lnTo>
                      <a:pt x="1672" y="183"/>
                    </a:lnTo>
                    <a:lnTo>
                      <a:pt x="1677" y="183"/>
                    </a:lnTo>
                    <a:lnTo>
                      <a:pt x="1686" y="188"/>
                    </a:lnTo>
                    <a:lnTo>
                      <a:pt x="1686" y="193"/>
                    </a:lnTo>
                    <a:lnTo>
                      <a:pt x="1691" y="199"/>
                    </a:lnTo>
                    <a:lnTo>
                      <a:pt x="1695" y="209"/>
                    </a:lnTo>
                    <a:lnTo>
                      <a:pt x="1693" y="218"/>
                    </a:lnTo>
                    <a:lnTo>
                      <a:pt x="1695" y="224"/>
                    </a:lnTo>
                    <a:lnTo>
                      <a:pt x="1698" y="229"/>
                    </a:lnTo>
                    <a:lnTo>
                      <a:pt x="1700" y="226"/>
                    </a:lnTo>
                    <a:lnTo>
                      <a:pt x="1701" y="226"/>
                    </a:lnTo>
                    <a:lnTo>
                      <a:pt x="1706" y="231"/>
                    </a:lnTo>
                    <a:lnTo>
                      <a:pt x="1706" y="234"/>
                    </a:lnTo>
                    <a:lnTo>
                      <a:pt x="1708" y="231"/>
                    </a:lnTo>
                    <a:lnTo>
                      <a:pt x="1711" y="229"/>
                    </a:lnTo>
                    <a:lnTo>
                      <a:pt x="1716" y="229"/>
                    </a:lnTo>
                    <a:lnTo>
                      <a:pt x="1713" y="228"/>
                    </a:lnTo>
                    <a:lnTo>
                      <a:pt x="1706" y="228"/>
                    </a:lnTo>
                    <a:lnTo>
                      <a:pt x="1703" y="223"/>
                    </a:lnTo>
                    <a:lnTo>
                      <a:pt x="1700" y="221"/>
                    </a:lnTo>
                    <a:lnTo>
                      <a:pt x="1700" y="219"/>
                    </a:lnTo>
                    <a:lnTo>
                      <a:pt x="1705" y="214"/>
                    </a:lnTo>
                    <a:lnTo>
                      <a:pt x="1705" y="211"/>
                    </a:lnTo>
                    <a:lnTo>
                      <a:pt x="1703" y="196"/>
                    </a:lnTo>
                    <a:lnTo>
                      <a:pt x="1703" y="191"/>
                    </a:lnTo>
                    <a:lnTo>
                      <a:pt x="1703" y="186"/>
                    </a:lnTo>
                    <a:lnTo>
                      <a:pt x="1713" y="186"/>
                    </a:lnTo>
                    <a:lnTo>
                      <a:pt x="1716" y="188"/>
                    </a:lnTo>
                    <a:lnTo>
                      <a:pt x="1723" y="189"/>
                    </a:lnTo>
                    <a:lnTo>
                      <a:pt x="1730" y="189"/>
                    </a:lnTo>
                    <a:lnTo>
                      <a:pt x="1738" y="193"/>
                    </a:lnTo>
                    <a:lnTo>
                      <a:pt x="1746" y="193"/>
                    </a:lnTo>
                    <a:lnTo>
                      <a:pt x="1755" y="189"/>
                    </a:lnTo>
                    <a:lnTo>
                      <a:pt x="1758" y="189"/>
                    </a:lnTo>
                    <a:lnTo>
                      <a:pt x="1763" y="193"/>
                    </a:lnTo>
                    <a:lnTo>
                      <a:pt x="1773" y="194"/>
                    </a:lnTo>
                    <a:lnTo>
                      <a:pt x="1778" y="196"/>
                    </a:lnTo>
                    <a:lnTo>
                      <a:pt x="1783" y="196"/>
                    </a:lnTo>
                    <a:lnTo>
                      <a:pt x="1783" y="193"/>
                    </a:lnTo>
                    <a:lnTo>
                      <a:pt x="1778" y="191"/>
                    </a:lnTo>
                    <a:lnTo>
                      <a:pt x="1771" y="191"/>
                    </a:lnTo>
                    <a:lnTo>
                      <a:pt x="1765" y="189"/>
                    </a:lnTo>
                    <a:lnTo>
                      <a:pt x="1761" y="186"/>
                    </a:lnTo>
                    <a:lnTo>
                      <a:pt x="1763" y="184"/>
                    </a:lnTo>
                    <a:lnTo>
                      <a:pt x="1766" y="184"/>
                    </a:lnTo>
                    <a:lnTo>
                      <a:pt x="1773" y="183"/>
                    </a:lnTo>
                    <a:lnTo>
                      <a:pt x="1789" y="181"/>
                    </a:lnTo>
                    <a:lnTo>
                      <a:pt x="1801" y="179"/>
                    </a:lnTo>
                    <a:lnTo>
                      <a:pt x="1809" y="183"/>
                    </a:lnTo>
                    <a:lnTo>
                      <a:pt x="1816" y="188"/>
                    </a:lnTo>
                    <a:lnTo>
                      <a:pt x="1819" y="184"/>
                    </a:lnTo>
                    <a:lnTo>
                      <a:pt x="1826" y="184"/>
                    </a:lnTo>
                    <a:lnTo>
                      <a:pt x="1823" y="181"/>
                    </a:lnTo>
                    <a:lnTo>
                      <a:pt x="1819" y="181"/>
                    </a:lnTo>
                    <a:lnTo>
                      <a:pt x="1816" y="179"/>
                    </a:lnTo>
                    <a:lnTo>
                      <a:pt x="1816" y="178"/>
                    </a:lnTo>
                    <a:lnTo>
                      <a:pt x="1811" y="174"/>
                    </a:lnTo>
                    <a:lnTo>
                      <a:pt x="1804" y="174"/>
                    </a:lnTo>
                    <a:lnTo>
                      <a:pt x="1801" y="173"/>
                    </a:lnTo>
                    <a:lnTo>
                      <a:pt x="1789" y="174"/>
                    </a:lnTo>
                    <a:lnTo>
                      <a:pt x="1789" y="173"/>
                    </a:lnTo>
                    <a:lnTo>
                      <a:pt x="1791" y="169"/>
                    </a:lnTo>
                    <a:lnTo>
                      <a:pt x="1794" y="164"/>
                    </a:lnTo>
                    <a:lnTo>
                      <a:pt x="1799" y="163"/>
                    </a:lnTo>
                    <a:lnTo>
                      <a:pt x="1804" y="159"/>
                    </a:lnTo>
                    <a:lnTo>
                      <a:pt x="1808" y="154"/>
                    </a:lnTo>
                    <a:lnTo>
                      <a:pt x="1821" y="146"/>
                    </a:lnTo>
                    <a:lnTo>
                      <a:pt x="1828" y="146"/>
                    </a:lnTo>
                    <a:lnTo>
                      <a:pt x="1839" y="141"/>
                    </a:lnTo>
                    <a:lnTo>
                      <a:pt x="1839" y="140"/>
                    </a:lnTo>
                    <a:lnTo>
                      <a:pt x="1826" y="145"/>
                    </a:lnTo>
                    <a:lnTo>
                      <a:pt x="1816" y="145"/>
                    </a:lnTo>
                    <a:lnTo>
                      <a:pt x="1803" y="153"/>
                    </a:lnTo>
                    <a:lnTo>
                      <a:pt x="1803" y="158"/>
                    </a:lnTo>
                    <a:lnTo>
                      <a:pt x="1801" y="158"/>
                    </a:lnTo>
                    <a:lnTo>
                      <a:pt x="1799" y="153"/>
                    </a:lnTo>
                    <a:lnTo>
                      <a:pt x="1798" y="153"/>
                    </a:lnTo>
                    <a:lnTo>
                      <a:pt x="1794" y="158"/>
                    </a:lnTo>
                    <a:lnTo>
                      <a:pt x="1789" y="158"/>
                    </a:lnTo>
                    <a:lnTo>
                      <a:pt x="1783" y="164"/>
                    </a:lnTo>
                    <a:lnTo>
                      <a:pt x="1786" y="164"/>
                    </a:lnTo>
                    <a:lnTo>
                      <a:pt x="1786" y="168"/>
                    </a:lnTo>
                    <a:lnTo>
                      <a:pt x="1778" y="173"/>
                    </a:lnTo>
                    <a:lnTo>
                      <a:pt x="1773" y="174"/>
                    </a:lnTo>
                    <a:lnTo>
                      <a:pt x="1756" y="179"/>
                    </a:lnTo>
                    <a:lnTo>
                      <a:pt x="1751" y="181"/>
                    </a:lnTo>
                    <a:lnTo>
                      <a:pt x="1746" y="181"/>
                    </a:lnTo>
                    <a:lnTo>
                      <a:pt x="1731" y="181"/>
                    </a:lnTo>
                    <a:lnTo>
                      <a:pt x="1726" y="174"/>
                    </a:lnTo>
                    <a:lnTo>
                      <a:pt x="1718" y="176"/>
                    </a:lnTo>
                    <a:lnTo>
                      <a:pt x="1715" y="174"/>
                    </a:lnTo>
                    <a:lnTo>
                      <a:pt x="1715" y="171"/>
                    </a:lnTo>
                    <a:lnTo>
                      <a:pt x="1721" y="166"/>
                    </a:lnTo>
                    <a:lnTo>
                      <a:pt x="1726" y="166"/>
                    </a:lnTo>
                    <a:lnTo>
                      <a:pt x="1731" y="164"/>
                    </a:lnTo>
                    <a:lnTo>
                      <a:pt x="1740" y="163"/>
                    </a:lnTo>
                    <a:lnTo>
                      <a:pt x="1745" y="159"/>
                    </a:lnTo>
                    <a:lnTo>
                      <a:pt x="1741" y="159"/>
                    </a:lnTo>
                    <a:lnTo>
                      <a:pt x="1735" y="161"/>
                    </a:lnTo>
                    <a:lnTo>
                      <a:pt x="1730" y="161"/>
                    </a:lnTo>
                    <a:lnTo>
                      <a:pt x="1723" y="163"/>
                    </a:lnTo>
                    <a:lnTo>
                      <a:pt x="1718" y="163"/>
                    </a:lnTo>
                    <a:lnTo>
                      <a:pt x="1718" y="158"/>
                    </a:lnTo>
                    <a:lnTo>
                      <a:pt x="1725" y="156"/>
                    </a:lnTo>
                    <a:lnTo>
                      <a:pt x="1720" y="154"/>
                    </a:lnTo>
                    <a:lnTo>
                      <a:pt x="1713" y="158"/>
                    </a:lnTo>
                    <a:lnTo>
                      <a:pt x="1711" y="163"/>
                    </a:lnTo>
                    <a:lnTo>
                      <a:pt x="1705" y="169"/>
                    </a:lnTo>
                    <a:lnTo>
                      <a:pt x="1696" y="169"/>
                    </a:lnTo>
                    <a:lnTo>
                      <a:pt x="1686" y="168"/>
                    </a:lnTo>
                    <a:lnTo>
                      <a:pt x="1677" y="166"/>
                    </a:lnTo>
                    <a:lnTo>
                      <a:pt x="1673" y="163"/>
                    </a:lnTo>
                    <a:lnTo>
                      <a:pt x="1673" y="159"/>
                    </a:lnTo>
                    <a:lnTo>
                      <a:pt x="1668" y="159"/>
                    </a:lnTo>
                    <a:lnTo>
                      <a:pt x="1662" y="156"/>
                    </a:lnTo>
                    <a:lnTo>
                      <a:pt x="1663" y="153"/>
                    </a:lnTo>
                    <a:lnTo>
                      <a:pt x="1667" y="151"/>
                    </a:lnTo>
                    <a:lnTo>
                      <a:pt x="1670" y="145"/>
                    </a:lnTo>
                    <a:lnTo>
                      <a:pt x="1678" y="141"/>
                    </a:lnTo>
                    <a:lnTo>
                      <a:pt x="1682" y="136"/>
                    </a:lnTo>
                    <a:lnTo>
                      <a:pt x="1688" y="133"/>
                    </a:lnTo>
                    <a:lnTo>
                      <a:pt x="1691" y="130"/>
                    </a:lnTo>
                    <a:lnTo>
                      <a:pt x="1696" y="131"/>
                    </a:lnTo>
                    <a:lnTo>
                      <a:pt x="1706" y="131"/>
                    </a:lnTo>
                    <a:lnTo>
                      <a:pt x="1710" y="131"/>
                    </a:lnTo>
                    <a:lnTo>
                      <a:pt x="1713" y="131"/>
                    </a:lnTo>
                    <a:lnTo>
                      <a:pt x="1723" y="136"/>
                    </a:lnTo>
                    <a:lnTo>
                      <a:pt x="1731" y="136"/>
                    </a:lnTo>
                    <a:lnTo>
                      <a:pt x="1735" y="138"/>
                    </a:lnTo>
                    <a:lnTo>
                      <a:pt x="1743" y="136"/>
                    </a:lnTo>
                    <a:lnTo>
                      <a:pt x="1745" y="135"/>
                    </a:lnTo>
                    <a:lnTo>
                      <a:pt x="1740" y="133"/>
                    </a:lnTo>
                    <a:lnTo>
                      <a:pt x="1731" y="133"/>
                    </a:lnTo>
                    <a:lnTo>
                      <a:pt x="1721" y="131"/>
                    </a:lnTo>
                    <a:lnTo>
                      <a:pt x="1715" y="128"/>
                    </a:lnTo>
                    <a:lnTo>
                      <a:pt x="1708" y="128"/>
                    </a:lnTo>
                    <a:lnTo>
                      <a:pt x="1700" y="130"/>
                    </a:lnTo>
                    <a:lnTo>
                      <a:pt x="1690" y="126"/>
                    </a:lnTo>
                    <a:lnTo>
                      <a:pt x="1686" y="126"/>
                    </a:lnTo>
                    <a:lnTo>
                      <a:pt x="1683" y="130"/>
                    </a:lnTo>
                    <a:lnTo>
                      <a:pt x="1678" y="135"/>
                    </a:lnTo>
                    <a:lnTo>
                      <a:pt x="1670" y="140"/>
                    </a:lnTo>
                    <a:lnTo>
                      <a:pt x="1662" y="143"/>
                    </a:lnTo>
                    <a:lnTo>
                      <a:pt x="1657" y="149"/>
                    </a:lnTo>
                    <a:lnTo>
                      <a:pt x="1653" y="151"/>
                    </a:lnTo>
                    <a:lnTo>
                      <a:pt x="1650" y="149"/>
                    </a:lnTo>
                    <a:lnTo>
                      <a:pt x="1643" y="141"/>
                    </a:lnTo>
                    <a:lnTo>
                      <a:pt x="1640" y="141"/>
                    </a:lnTo>
                    <a:lnTo>
                      <a:pt x="1638" y="138"/>
                    </a:lnTo>
                    <a:lnTo>
                      <a:pt x="1637" y="133"/>
                    </a:lnTo>
                    <a:lnTo>
                      <a:pt x="1635" y="126"/>
                    </a:lnTo>
                    <a:lnTo>
                      <a:pt x="1633" y="125"/>
                    </a:lnTo>
                    <a:lnTo>
                      <a:pt x="1633" y="118"/>
                    </a:lnTo>
                    <a:lnTo>
                      <a:pt x="1635" y="116"/>
                    </a:lnTo>
                    <a:lnTo>
                      <a:pt x="1640" y="118"/>
                    </a:lnTo>
                    <a:lnTo>
                      <a:pt x="1645" y="116"/>
                    </a:lnTo>
                    <a:lnTo>
                      <a:pt x="1647" y="118"/>
                    </a:lnTo>
                    <a:lnTo>
                      <a:pt x="1662" y="118"/>
                    </a:lnTo>
                    <a:lnTo>
                      <a:pt x="1668" y="123"/>
                    </a:lnTo>
                    <a:lnTo>
                      <a:pt x="1673" y="123"/>
                    </a:lnTo>
                    <a:lnTo>
                      <a:pt x="1675" y="125"/>
                    </a:lnTo>
                    <a:lnTo>
                      <a:pt x="1680" y="125"/>
                    </a:lnTo>
                    <a:lnTo>
                      <a:pt x="1686" y="121"/>
                    </a:lnTo>
                    <a:lnTo>
                      <a:pt x="1691" y="123"/>
                    </a:lnTo>
                    <a:lnTo>
                      <a:pt x="1693" y="121"/>
                    </a:lnTo>
                    <a:lnTo>
                      <a:pt x="1698" y="121"/>
                    </a:lnTo>
                    <a:lnTo>
                      <a:pt x="1700" y="120"/>
                    </a:lnTo>
                    <a:lnTo>
                      <a:pt x="1710" y="118"/>
                    </a:lnTo>
                    <a:lnTo>
                      <a:pt x="1720" y="116"/>
                    </a:lnTo>
                    <a:lnTo>
                      <a:pt x="1721" y="113"/>
                    </a:lnTo>
                    <a:lnTo>
                      <a:pt x="1720" y="111"/>
                    </a:lnTo>
                    <a:lnTo>
                      <a:pt x="1718" y="111"/>
                    </a:lnTo>
                    <a:lnTo>
                      <a:pt x="1715" y="113"/>
                    </a:lnTo>
                    <a:lnTo>
                      <a:pt x="1711" y="115"/>
                    </a:lnTo>
                    <a:lnTo>
                      <a:pt x="1705" y="115"/>
                    </a:lnTo>
                    <a:lnTo>
                      <a:pt x="1696" y="115"/>
                    </a:lnTo>
                    <a:lnTo>
                      <a:pt x="1688" y="120"/>
                    </a:lnTo>
                    <a:lnTo>
                      <a:pt x="1685" y="120"/>
                    </a:lnTo>
                    <a:lnTo>
                      <a:pt x="1678" y="118"/>
                    </a:lnTo>
                    <a:lnTo>
                      <a:pt x="1677" y="120"/>
                    </a:lnTo>
                    <a:lnTo>
                      <a:pt x="1672" y="120"/>
                    </a:lnTo>
                    <a:lnTo>
                      <a:pt x="1667" y="115"/>
                    </a:lnTo>
                    <a:lnTo>
                      <a:pt x="1663" y="115"/>
                    </a:lnTo>
                    <a:lnTo>
                      <a:pt x="1660" y="113"/>
                    </a:lnTo>
                    <a:lnTo>
                      <a:pt x="1655" y="113"/>
                    </a:lnTo>
                    <a:lnTo>
                      <a:pt x="1647" y="110"/>
                    </a:lnTo>
                    <a:lnTo>
                      <a:pt x="1642" y="113"/>
                    </a:lnTo>
                    <a:lnTo>
                      <a:pt x="1637" y="110"/>
                    </a:lnTo>
                    <a:lnTo>
                      <a:pt x="1635" y="106"/>
                    </a:lnTo>
                    <a:lnTo>
                      <a:pt x="1638" y="105"/>
                    </a:lnTo>
                    <a:lnTo>
                      <a:pt x="1638" y="100"/>
                    </a:lnTo>
                    <a:lnTo>
                      <a:pt x="1642" y="96"/>
                    </a:lnTo>
                    <a:lnTo>
                      <a:pt x="1643" y="96"/>
                    </a:lnTo>
                    <a:lnTo>
                      <a:pt x="1647" y="101"/>
                    </a:lnTo>
                    <a:lnTo>
                      <a:pt x="1655" y="100"/>
                    </a:lnTo>
                    <a:lnTo>
                      <a:pt x="1657" y="100"/>
                    </a:lnTo>
                    <a:lnTo>
                      <a:pt x="1653" y="96"/>
                    </a:lnTo>
                    <a:lnTo>
                      <a:pt x="1648" y="96"/>
                    </a:lnTo>
                    <a:lnTo>
                      <a:pt x="1645" y="91"/>
                    </a:lnTo>
                    <a:lnTo>
                      <a:pt x="1647" y="90"/>
                    </a:lnTo>
                    <a:lnTo>
                      <a:pt x="1653" y="90"/>
                    </a:lnTo>
                    <a:lnTo>
                      <a:pt x="1660" y="85"/>
                    </a:lnTo>
                    <a:lnTo>
                      <a:pt x="1668" y="85"/>
                    </a:lnTo>
                    <a:lnTo>
                      <a:pt x="1672" y="83"/>
                    </a:lnTo>
                    <a:lnTo>
                      <a:pt x="1677" y="83"/>
                    </a:lnTo>
                    <a:lnTo>
                      <a:pt x="1680" y="85"/>
                    </a:lnTo>
                    <a:lnTo>
                      <a:pt x="1683" y="83"/>
                    </a:lnTo>
                    <a:lnTo>
                      <a:pt x="1683" y="81"/>
                    </a:lnTo>
                    <a:lnTo>
                      <a:pt x="1682" y="78"/>
                    </a:lnTo>
                    <a:lnTo>
                      <a:pt x="1672" y="80"/>
                    </a:lnTo>
                    <a:lnTo>
                      <a:pt x="1663" y="81"/>
                    </a:lnTo>
                    <a:lnTo>
                      <a:pt x="1657" y="83"/>
                    </a:lnTo>
                    <a:lnTo>
                      <a:pt x="1652" y="83"/>
                    </a:lnTo>
                    <a:lnTo>
                      <a:pt x="1648" y="86"/>
                    </a:lnTo>
                    <a:lnTo>
                      <a:pt x="1645" y="86"/>
                    </a:lnTo>
                    <a:lnTo>
                      <a:pt x="1645" y="83"/>
                    </a:lnTo>
                    <a:lnTo>
                      <a:pt x="1643" y="80"/>
                    </a:lnTo>
                    <a:lnTo>
                      <a:pt x="1648" y="76"/>
                    </a:lnTo>
                    <a:lnTo>
                      <a:pt x="1657" y="71"/>
                    </a:lnTo>
                    <a:lnTo>
                      <a:pt x="1663" y="71"/>
                    </a:lnTo>
                    <a:lnTo>
                      <a:pt x="1667" y="70"/>
                    </a:lnTo>
                    <a:lnTo>
                      <a:pt x="1662" y="70"/>
                    </a:lnTo>
                    <a:lnTo>
                      <a:pt x="1660" y="68"/>
                    </a:lnTo>
                    <a:lnTo>
                      <a:pt x="1662" y="61"/>
                    </a:lnTo>
                    <a:lnTo>
                      <a:pt x="1658" y="63"/>
                    </a:lnTo>
                    <a:lnTo>
                      <a:pt x="1658" y="66"/>
                    </a:lnTo>
                    <a:lnTo>
                      <a:pt x="1655" y="68"/>
                    </a:lnTo>
                    <a:lnTo>
                      <a:pt x="1653" y="63"/>
                    </a:lnTo>
                    <a:lnTo>
                      <a:pt x="1652" y="65"/>
                    </a:lnTo>
                    <a:lnTo>
                      <a:pt x="1648" y="66"/>
                    </a:lnTo>
                    <a:lnTo>
                      <a:pt x="1643" y="66"/>
                    </a:lnTo>
                    <a:lnTo>
                      <a:pt x="1643" y="71"/>
                    </a:lnTo>
                    <a:lnTo>
                      <a:pt x="1642" y="73"/>
                    </a:lnTo>
                    <a:lnTo>
                      <a:pt x="1635" y="75"/>
                    </a:lnTo>
                    <a:lnTo>
                      <a:pt x="1635" y="71"/>
                    </a:lnTo>
                    <a:lnTo>
                      <a:pt x="1635" y="66"/>
                    </a:lnTo>
                    <a:lnTo>
                      <a:pt x="1633" y="66"/>
                    </a:lnTo>
                    <a:lnTo>
                      <a:pt x="1633" y="61"/>
                    </a:lnTo>
                    <a:lnTo>
                      <a:pt x="1633" y="60"/>
                    </a:lnTo>
                    <a:lnTo>
                      <a:pt x="1637" y="61"/>
                    </a:lnTo>
                    <a:lnTo>
                      <a:pt x="1638" y="56"/>
                    </a:lnTo>
                    <a:lnTo>
                      <a:pt x="1642" y="55"/>
                    </a:lnTo>
                    <a:lnTo>
                      <a:pt x="1648" y="56"/>
                    </a:lnTo>
                    <a:lnTo>
                      <a:pt x="1650" y="51"/>
                    </a:lnTo>
                    <a:lnTo>
                      <a:pt x="1657" y="48"/>
                    </a:lnTo>
                    <a:lnTo>
                      <a:pt x="1660" y="50"/>
                    </a:lnTo>
                    <a:lnTo>
                      <a:pt x="1667" y="47"/>
                    </a:lnTo>
                    <a:lnTo>
                      <a:pt x="1677" y="45"/>
                    </a:lnTo>
                    <a:lnTo>
                      <a:pt x="1680" y="43"/>
                    </a:lnTo>
                    <a:lnTo>
                      <a:pt x="1683" y="45"/>
                    </a:lnTo>
                    <a:lnTo>
                      <a:pt x="1683" y="48"/>
                    </a:lnTo>
                    <a:lnTo>
                      <a:pt x="1682" y="50"/>
                    </a:lnTo>
                    <a:lnTo>
                      <a:pt x="1682" y="61"/>
                    </a:lnTo>
                    <a:lnTo>
                      <a:pt x="1685" y="60"/>
                    </a:lnTo>
                    <a:lnTo>
                      <a:pt x="1686" y="53"/>
                    </a:lnTo>
                    <a:lnTo>
                      <a:pt x="1690" y="50"/>
                    </a:lnTo>
                    <a:lnTo>
                      <a:pt x="1691" y="53"/>
                    </a:lnTo>
                    <a:lnTo>
                      <a:pt x="1690" y="55"/>
                    </a:lnTo>
                    <a:lnTo>
                      <a:pt x="1691" y="58"/>
                    </a:lnTo>
                    <a:lnTo>
                      <a:pt x="1693" y="56"/>
                    </a:lnTo>
                    <a:lnTo>
                      <a:pt x="1693" y="53"/>
                    </a:lnTo>
                    <a:lnTo>
                      <a:pt x="1695" y="50"/>
                    </a:lnTo>
                    <a:lnTo>
                      <a:pt x="1695" y="47"/>
                    </a:lnTo>
                    <a:lnTo>
                      <a:pt x="1695" y="42"/>
                    </a:lnTo>
                    <a:lnTo>
                      <a:pt x="1698" y="42"/>
                    </a:lnTo>
                    <a:lnTo>
                      <a:pt x="1705" y="37"/>
                    </a:lnTo>
                    <a:lnTo>
                      <a:pt x="1706" y="37"/>
                    </a:lnTo>
                    <a:lnTo>
                      <a:pt x="1708" y="42"/>
                    </a:lnTo>
                    <a:lnTo>
                      <a:pt x="1708" y="47"/>
                    </a:lnTo>
                    <a:lnTo>
                      <a:pt x="1711" y="48"/>
                    </a:lnTo>
                    <a:lnTo>
                      <a:pt x="1713" y="53"/>
                    </a:lnTo>
                    <a:lnTo>
                      <a:pt x="1711" y="56"/>
                    </a:lnTo>
                    <a:lnTo>
                      <a:pt x="1713" y="60"/>
                    </a:lnTo>
                    <a:lnTo>
                      <a:pt x="1713" y="63"/>
                    </a:lnTo>
                    <a:lnTo>
                      <a:pt x="1716" y="66"/>
                    </a:lnTo>
                    <a:lnTo>
                      <a:pt x="1718" y="65"/>
                    </a:lnTo>
                    <a:lnTo>
                      <a:pt x="1716" y="61"/>
                    </a:lnTo>
                    <a:lnTo>
                      <a:pt x="1716" y="56"/>
                    </a:lnTo>
                    <a:lnTo>
                      <a:pt x="1718" y="55"/>
                    </a:lnTo>
                    <a:lnTo>
                      <a:pt x="1723" y="48"/>
                    </a:lnTo>
                    <a:lnTo>
                      <a:pt x="1726" y="48"/>
                    </a:lnTo>
                    <a:lnTo>
                      <a:pt x="1730" y="55"/>
                    </a:lnTo>
                    <a:lnTo>
                      <a:pt x="1731" y="60"/>
                    </a:lnTo>
                    <a:lnTo>
                      <a:pt x="1730" y="63"/>
                    </a:lnTo>
                    <a:lnTo>
                      <a:pt x="1731" y="66"/>
                    </a:lnTo>
                    <a:lnTo>
                      <a:pt x="1733" y="70"/>
                    </a:lnTo>
                    <a:lnTo>
                      <a:pt x="1735" y="66"/>
                    </a:lnTo>
                    <a:lnTo>
                      <a:pt x="1735" y="61"/>
                    </a:lnTo>
                    <a:lnTo>
                      <a:pt x="1738" y="60"/>
                    </a:lnTo>
                    <a:lnTo>
                      <a:pt x="1741" y="58"/>
                    </a:lnTo>
                    <a:lnTo>
                      <a:pt x="1741" y="61"/>
                    </a:lnTo>
                    <a:lnTo>
                      <a:pt x="1740" y="63"/>
                    </a:lnTo>
                    <a:lnTo>
                      <a:pt x="1741" y="66"/>
                    </a:lnTo>
                    <a:lnTo>
                      <a:pt x="1743" y="70"/>
                    </a:lnTo>
                    <a:lnTo>
                      <a:pt x="1746" y="65"/>
                    </a:lnTo>
                    <a:lnTo>
                      <a:pt x="1748" y="65"/>
                    </a:lnTo>
                    <a:lnTo>
                      <a:pt x="1748" y="70"/>
                    </a:lnTo>
                    <a:lnTo>
                      <a:pt x="1751" y="66"/>
                    </a:lnTo>
                    <a:lnTo>
                      <a:pt x="1750" y="61"/>
                    </a:lnTo>
                    <a:lnTo>
                      <a:pt x="1746" y="56"/>
                    </a:lnTo>
                    <a:lnTo>
                      <a:pt x="1745" y="56"/>
                    </a:lnTo>
                    <a:lnTo>
                      <a:pt x="1741" y="53"/>
                    </a:lnTo>
                    <a:lnTo>
                      <a:pt x="1741" y="48"/>
                    </a:lnTo>
                    <a:lnTo>
                      <a:pt x="1738" y="45"/>
                    </a:lnTo>
                    <a:lnTo>
                      <a:pt x="1736" y="42"/>
                    </a:lnTo>
                    <a:lnTo>
                      <a:pt x="1735" y="38"/>
                    </a:lnTo>
                    <a:lnTo>
                      <a:pt x="1735" y="33"/>
                    </a:lnTo>
                    <a:lnTo>
                      <a:pt x="1740" y="35"/>
                    </a:lnTo>
                    <a:lnTo>
                      <a:pt x="1743" y="37"/>
                    </a:lnTo>
                    <a:lnTo>
                      <a:pt x="1748" y="35"/>
                    </a:lnTo>
                    <a:lnTo>
                      <a:pt x="1753" y="37"/>
                    </a:lnTo>
                    <a:lnTo>
                      <a:pt x="1755" y="35"/>
                    </a:lnTo>
                    <a:lnTo>
                      <a:pt x="1755" y="27"/>
                    </a:lnTo>
                    <a:lnTo>
                      <a:pt x="1751" y="23"/>
                    </a:lnTo>
                    <a:lnTo>
                      <a:pt x="1753" y="20"/>
                    </a:lnTo>
                    <a:lnTo>
                      <a:pt x="1758" y="18"/>
                    </a:lnTo>
                    <a:lnTo>
                      <a:pt x="1760" y="20"/>
                    </a:lnTo>
                    <a:lnTo>
                      <a:pt x="1770" y="20"/>
                    </a:lnTo>
                    <a:lnTo>
                      <a:pt x="1773" y="23"/>
                    </a:lnTo>
                    <a:lnTo>
                      <a:pt x="1773" y="27"/>
                    </a:lnTo>
                    <a:lnTo>
                      <a:pt x="1770" y="28"/>
                    </a:lnTo>
                    <a:lnTo>
                      <a:pt x="1770" y="32"/>
                    </a:lnTo>
                    <a:lnTo>
                      <a:pt x="1780" y="35"/>
                    </a:lnTo>
                    <a:lnTo>
                      <a:pt x="1780" y="37"/>
                    </a:lnTo>
                    <a:lnTo>
                      <a:pt x="1778" y="43"/>
                    </a:lnTo>
                    <a:lnTo>
                      <a:pt x="1778" y="53"/>
                    </a:lnTo>
                    <a:lnTo>
                      <a:pt x="1783" y="51"/>
                    </a:lnTo>
                    <a:lnTo>
                      <a:pt x="1784" y="47"/>
                    </a:lnTo>
                    <a:lnTo>
                      <a:pt x="1788" y="47"/>
                    </a:lnTo>
                    <a:lnTo>
                      <a:pt x="1788" y="50"/>
                    </a:lnTo>
                    <a:lnTo>
                      <a:pt x="1789" y="53"/>
                    </a:lnTo>
                    <a:lnTo>
                      <a:pt x="1793" y="50"/>
                    </a:lnTo>
                    <a:lnTo>
                      <a:pt x="1796" y="47"/>
                    </a:lnTo>
                    <a:lnTo>
                      <a:pt x="1801" y="45"/>
                    </a:lnTo>
                    <a:lnTo>
                      <a:pt x="1801" y="43"/>
                    </a:lnTo>
                    <a:lnTo>
                      <a:pt x="1799" y="35"/>
                    </a:lnTo>
                    <a:lnTo>
                      <a:pt x="1801" y="32"/>
                    </a:lnTo>
                    <a:lnTo>
                      <a:pt x="1804" y="32"/>
                    </a:lnTo>
                    <a:lnTo>
                      <a:pt x="1808" y="33"/>
                    </a:lnTo>
                    <a:lnTo>
                      <a:pt x="1814" y="33"/>
                    </a:lnTo>
                    <a:lnTo>
                      <a:pt x="1814" y="30"/>
                    </a:lnTo>
                    <a:lnTo>
                      <a:pt x="1808" y="25"/>
                    </a:lnTo>
                    <a:lnTo>
                      <a:pt x="1806" y="20"/>
                    </a:lnTo>
                    <a:lnTo>
                      <a:pt x="1808" y="18"/>
                    </a:lnTo>
                    <a:lnTo>
                      <a:pt x="1809" y="13"/>
                    </a:lnTo>
                    <a:lnTo>
                      <a:pt x="1811" y="13"/>
                    </a:lnTo>
                    <a:lnTo>
                      <a:pt x="1821" y="17"/>
                    </a:lnTo>
                    <a:lnTo>
                      <a:pt x="1823" y="23"/>
                    </a:lnTo>
                    <a:lnTo>
                      <a:pt x="1823" y="28"/>
                    </a:lnTo>
                    <a:lnTo>
                      <a:pt x="1823" y="33"/>
                    </a:lnTo>
                    <a:lnTo>
                      <a:pt x="1824" y="37"/>
                    </a:lnTo>
                    <a:lnTo>
                      <a:pt x="1826" y="43"/>
                    </a:lnTo>
                    <a:lnTo>
                      <a:pt x="1828" y="47"/>
                    </a:lnTo>
                    <a:lnTo>
                      <a:pt x="1831" y="45"/>
                    </a:lnTo>
                    <a:lnTo>
                      <a:pt x="1831" y="40"/>
                    </a:lnTo>
                    <a:lnTo>
                      <a:pt x="1829" y="37"/>
                    </a:lnTo>
                    <a:lnTo>
                      <a:pt x="1829" y="30"/>
                    </a:lnTo>
                    <a:lnTo>
                      <a:pt x="1826" y="25"/>
                    </a:lnTo>
                    <a:lnTo>
                      <a:pt x="1828" y="17"/>
                    </a:lnTo>
                    <a:lnTo>
                      <a:pt x="1828" y="8"/>
                    </a:lnTo>
                    <a:lnTo>
                      <a:pt x="1829" y="5"/>
                    </a:lnTo>
                    <a:lnTo>
                      <a:pt x="1833" y="5"/>
                    </a:lnTo>
                    <a:lnTo>
                      <a:pt x="1836" y="8"/>
                    </a:lnTo>
                    <a:lnTo>
                      <a:pt x="1839" y="8"/>
                    </a:lnTo>
                    <a:lnTo>
                      <a:pt x="1841" y="10"/>
                    </a:lnTo>
                    <a:lnTo>
                      <a:pt x="1841" y="17"/>
                    </a:lnTo>
                    <a:lnTo>
                      <a:pt x="1844" y="20"/>
                    </a:lnTo>
                    <a:lnTo>
                      <a:pt x="1844" y="25"/>
                    </a:lnTo>
                    <a:lnTo>
                      <a:pt x="1844" y="33"/>
                    </a:lnTo>
                    <a:lnTo>
                      <a:pt x="1846" y="33"/>
                    </a:lnTo>
                    <a:lnTo>
                      <a:pt x="1846" y="30"/>
                    </a:lnTo>
                    <a:lnTo>
                      <a:pt x="1848" y="27"/>
                    </a:lnTo>
                    <a:lnTo>
                      <a:pt x="1849" y="27"/>
                    </a:lnTo>
                    <a:lnTo>
                      <a:pt x="1859" y="35"/>
                    </a:lnTo>
                    <a:lnTo>
                      <a:pt x="1859" y="33"/>
                    </a:lnTo>
                    <a:lnTo>
                      <a:pt x="1863" y="33"/>
                    </a:lnTo>
                    <a:lnTo>
                      <a:pt x="1863" y="32"/>
                    </a:lnTo>
                    <a:lnTo>
                      <a:pt x="1859" y="30"/>
                    </a:lnTo>
                    <a:lnTo>
                      <a:pt x="1856" y="25"/>
                    </a:lnTo>
                    <a:lnTo>
                      <a:pt x="1858" y="23"/>
                    </a:lnTo>
                    <a:lnTo>
                      <a:pt x="1858" y="22"/>
                    </a:lnTo>
                    <a:lnTo>
                      <a:pt x="1853" y="17"/>
                    </a:lnTo>
                    <a:lnTo>
                      <a:pt x="1851" y="13"/>
                    </a:lnTo>
                    <a:lnTo>
                      <a:pt x="1853" y="12"/>
                    </a:lnTo>
                    <a:lnTo>
                      <a:pt x="1858" y="12"/>
                    </a:lnTo>
                    <a:lnTo>
                      <a:pt x="1856" y="10"/>
                    </a:lnTo>
                    <a:lnTo>
                      <a:pt x="1851" y="8"/>
                    </a:lnTo>
                    <a:lnTo>
                      <a:pt x="1849" y="5"/>
                    </a:lnTo>
                    <a:lnTo>
                      <a:pt x="1851" y="5"/>
                    </a:lnTo>
                    <a:lnTo>
                      <a:pt x="1856" y="5"/>
                    </a:lnTo>
                    <a:lnTo>
                      <a:pt x="1861" y="0"/>
                    </a:lnTo>
                    <a:lnTo>
                      <a:pt x="1871" y="2"/>
                    </a:lnTo>
                    <a:lnTo>
                      <a:pt x="1873" y="3"/>
                    </a:lnTo>
                    <a:lnTo>
                      <a:pt x="1873" y="8"/>
                    </a:lnTo>
                    <a:lnTo>
                      <a:pt x="1869" y="13"/>
                    </a:lnTo>
                    <a:lnTo>
                      <a:pt x="1871" y="15"/>
                    </a:lnTo>
                    <a:lnTo>
                      <a:pt x="1874" y="15"/>
                    </a:lnTo>
                    <a:lnTo>
                      <a:pt x="1878" y="8"/>
                    </a:lnTo>
                    <a:lnTo>
                      <a:pt x="1879" y="7"/>
                    </a:lnTo>
                    <a:lnTo>
                      <a:pt x="1881" y="10"/>
                    </a:lnTo>
                    <a:lnTo>
                      <a:pt x="1879" y="17"/>
                    </a:lnTo>
                    <a:lnTo>
                      <a:pt x="1882" y="18"/>
                    </a:lnTo>
                    <a:lnTo>
                      <a:pt x="1884" y="17"/>
                    </a:lnTo>
                    <a:lnTo>
                      <a:pt x="1886" y="15"/>
                    </a:lnTo>
                    <a:lnTo>
                      <a:pt x="1892" y="10"/>
                    </a:lnTo>
                    <a:lnTo>
                      <a:pt x="1894" y="12"/>
                    </a:lnTo>
                    <a:lnTo>
                      <a:pt x="1892" y="17"/>
                    </a:lnTo>
                    <a:lnTo>
                      <a:pt x="1891" y="20"/>
                    </a:lnTo>
                    <a:lnTo>
                      <a:pt x="1892" y="28"/>
                    </a:lnTo>
                    <a:lnTo>
                      <a:pt x="1889" y="32"/>
                    </a:lnTo>
                    <a:lnTo>
                      <a:pt x="1892" y="33"/>
                    </a:lnTo>
                    <a:lnTo>
                      <a:pt x="1897" y="32"/>
                    </a:lnTo>
                    <a:lnTo>
                      <a:pt x="1901" y="33"/>
                    </a:lnTo>
                    <a:lnTo>
                      <a:pt x="1902" y="32"/>
                    </a:lnTo>
                    <a:lnTo>
                      <a:pt x="1902" y="25"/>
                    </a:lnTo>
                    <a:lnTo>
                      <a:pt x="1906" y="17"/>
                    </a:lnTo>
                    <a:lnTo>
                      <a:pt x="1902" y="8"/>
                    </a:lnTo>
                    <a:lnTo>
                      <a:pt x="1902" y="2"/>
                    </a:lnTo>
                    <a:lnTo>
                      <a:pt x="1906" y="0"/>
                    </a:lnTo>
                    <a:lnTo>
                      <a:pt x="1909" y="2"/>
                    </a:lnTo>
                    <a:lnTo>
                      <a:pt x="1912" y="2"/>
                    </a:lnTo>
                    <a:lnTo>
                      <a:pt x="1917" y="3"/>
                    </a:lnTo>
                    <a:lnTo>
                      <a:pt x="1924" y="2"/>
                    </a:lnTo>
                    <a:lnTo>
                      <a:pt x="1929" y="3"/>
                    </a:lnTo>
                    <a:lnTo>
                      <a:pt x="1931" y="7"/>
                    </a:lnTo>
                    <a:lnTo>
                      <a:pt x="1937" y="8"/>
                    </a:lnTo>
                    <a:lnTo>
                      <a:pt x="1942" y="7"/>
                    </a:lnTo>
                    <a:lnTo>
                      <a:pt x="1949" y="10"/>
                    </a:lnTo>
                    <a:lnTo>
                      <a:pt x="1951" y="13"/>
                    </a:lnTo>
                    <a:lnTo>
                      <a:pt x="1952" y="17"/>
                    </a:lnTo>
                    <a:lnTo>
                      <a:pt x="1952" y="22"/>
                    </a:lnTo>
                    <a:lnTo>
                      <a:pt x="1951" y="27"/>
                    </a:lnTo>
                    <a:lnTo>
                      <a:pt x="1951" y="28"/>
                    </a:lnTo>
                    <a:lnTo>
                      <a:pt x="1956" y="28"/>
                    </a:lnTo>
                    <a:lnTo>
                      <a:pt x="1961" y="23"/>
                    </a:lnTo>
                    <a:lnTo>
                      <a:pt x="1967" y="18"/>
                    </a:lnTo>
                    <a:lnTo>
                      <a:pt x="1971" y="15"/>
                    </a:lnTo>
                    <a:lnTo>
                      <a:pt x="1976" y="13"/>
                    </a:lnTo>
                    <a:lnTo>
                      <a:pt x="1980" y="17"/>
                    </a:lnTo>
                    <a:lnTo>
                      <a:pt x="1987" y="17"/>
                    </a:lnTo>
                    <a:lnTo>
                      <a:pt x="1987" y="20"/>
                    </a:lnTo>
                    <a:lnTo>
                      <a:pt x="1982" y="25"/>
                    </a:lnTo>
                    <a:lnTo>
                      <a:pt x="1984" y="28"/>
                    </a:lnTo>
                    <a:lnTo>
                      <a:pt x="1987" y="28"/>
                    </a:lnTo>
                    <a:lnTo>
                      <a:pt x="1987" y="23"/>
                    </a:lnTo>
                    <a:lnTo>
                      <a:pt x="1992" y="20"/>
                    </a:lnTo>
                    <a:lnTo>
                      <a:pt x="1997" y="18"/>
                    </a:lnTo>
                    <a:lnTo>
                      <a:pt x="2005" y="22"/>
                    </a:lnTo>
                    <a:lnTo>
                      <a:pt x="2014" y="23"/>
                    </a:lnTo>
                    <a:lnTo>
                      <a:pt x="2017" y="27"/>
                    </a:lnTo>
                    <a:lnTo>
                      <a:pt x="2015" y="28"/>
                    </a:lnTo>
                    <a:lnTo>
                      <a:pt x="2012" y="28"/>
                    </a:lnTo>
                    <a:lnTo>
                      <a:pt x="2014" y="32"/>
                    </a:lnTo>
                    <a:lnTo>
                      <a:pt x="2010" y="35"/>
                    </a:lnTo>
                    <a:lnTo>
                      <a:pt x="2012" y="38"/>
                    </a:lnTo>
                    <a:lnTo>
                      <a:pt x="2015" y="35"/>
                    </a:lnTo>
                    <a:lnTo>
                      <a:pt x="2020" y="33"/>
                    </a:lnTo>
                    <a:lnTo>
                      <a:pt x="2020" y="38"/>
                    </a:lnTo>
                    <a:lnTo>
                      <a:pt x="2024" y="40"/>
                    </a:lnTo>
                    <a:lnTo>
                      <a:pt x="2027" y="35"/>
                    </a:lnTo>
                    <a:lnTo>
                      <a:pt x="2034" y="35"/>
                    </a:lnTo>
                    <a:lnTo>
                      <a:pt x="2034" y="38"/>
                    </a:lnTo>
                    <a:lnTo>
                      <a:pt x="2032" y="40"/>
                    </a:lnTo>
                    <a:lnTo>
                      <a:pt x="2032" y="43"/>
                    </a:lnTo>
                    <a:lnTo>
                      <a:pt x="2035" y="45"/>
                    </a:lnTo>
                    <a:lnTo>
                      <a:pt x="2039" y="43"/>
                    </a:lnTo>
                    <a:lnTo>
                      <a:pt x="2042" y="40"/>
                    </a:lnTo>
                    <a:lnTo>
                      <a:pt x="2044" y="40"/>
                    </a:lnTo>
                    <a:lnTo>
                      <a:pt x="2045" y="43"/>
                    </a:lnTo>
                    <a:lnTo>
                      <a:pt x="2055" y="48"/>
                    </a:lnTo>
                    <a:lnTo>
                      <a:pt x="2059" y="48"/>
                    </a:lnTo>
                    <a:lnTo>
                      <a:pt x="2060" y="50"/>
                    </a:lnTo>
                    <a:lnTo>
                      <a:pt x="2059" y="53"/>
                    </a:lnTo>
                    <a:lnTo>
                      <a:pt x="2049" y="56"/>
                    </a:lnTo>
                    <a:lnTo>
                      <a:pt x="2044" y="61"/>
                    </a:lnTo>
                    <a:lnTo>
                      <a:pt x="2039" y="63"/>
                    </a:lnTo>
                    <a:lnTo>
                      <a:pt x="2032" y="65"/>
                    </a:lnTo>
                    <a:lnTo>
                      <a:pt x="2029" y="66"/>
                    </a:lnTo>
                    <a:lnTo>
                      <a:pt x="2025" y="65"/>
                    </a:lnTo>
                    <a:lnTo>
                      <a:pt x="2022" y="66"/>
                    </a:lnTo>
                    <a:lnTo>
                      <a:pt x="2015" y="68"/>
                    </a:lnTo>
                    <a:lnTo>
                      <a:pt x="2025" y="68"/>
                    </a:lnTo>
                    <a:lnTo>
                      <a:pt x="2035" y="70"/>
                    </a:lnTo>
                    <a:lnTo>
                      <a:pt x="2039" y="71"/>
                    </a:lnTo>
                    <a:lnTo>
                      <a:pt x="2042" y="71"/>
                    </a:lnTo>
                    <a:lnTo>
                      <a:pt x="2045" y="66"/>
                    </a:lnTo>
                    <a:lnTo>
                      <a:pt x="2047" y="66"/>
                    </a:lnTo>
                    <a:lnTo>
                      <a:pt x="2052" y="66"/>
                    </a:lnTo>
                    <a:lnTo>
                      <a:pt x="2055" y="61"/>
                    </a:lnTo>
                    <a:lnTo>
                      <a:pt x="2062" y="58"/>
                    </a:lnTo>
                    <a:lnTo>
                      <a:pt x="2067" y="58"/>
                    </a:lnTo>
                    <a:lnTo>
                      <a:pt x="2069" y="61"/>
                    </a:lnTo>
                    <a:lnTo>
                      <a:pt x="2065" y="66"/>
                    </a:lnTo>
                    <a:lnTo>
                      <a:pt x="2069" y="68"/>
                    </a:lnTo>
                    <a:lnTo>
                      <a:pt x="2070" y="66"/>
                    </a:lnTo>
                    <a:lnTo>
                      <a:pt x="2072" y="63"/>
                    </a:lnTo>
                    <a:lnTo>
                      <a:pt x="2077" y="60"/>
                    </a:lnTo>
                    <a:lnTo>
                      <a:pt x="2079" y="61"/>
                    </a:lnTo>
                    <a:lnTo>
                      <a:pt x="2077" y="65"/>
                    </a:lnTo>
                    <a:lnTo>
                      <a:pt x="2077" y="66"/>
                    </a:lnTo>
                    <a:lnTo>
                      <a:pt x="2075" y="70"/>
                    </a:lnTo>
                    <a:lnTo>
                      <a:pt x="2077" y="73"/>
                    </a:lnTo>
                    <a:lnTo>
                      <a:pt x="2080" y="71"/>
                    </a:lnTo>
                    <a:lnTo>
                      <a:pt x="2082" y="70"/>
                    </a:lnTo>
                    <a:lnTo>
                      <a:pt x="2083" y="65"/>
                    </a:lnTo>
                    <a:lnTo>
                      <a:pt x="2088" y="65"/>
                    </a:lnTo>
                    <a:lnTo>
                      <a:pt x="2092" y="65"/>
                    </a:lnTo>
                    <a:lnTo>
                      <a:pt x="2090" y="75"/>
                    </a:lnTo>
                    <a:lnTo>
                      <a:pt x="2087" y="76"/>
                    </a:lnTo>
                    <a:lnTo>
                      <a:pt x="2088" y="76"/>
                    </a:lnTo>
                    <a:lnTo>
                      <a:pt x="2090" y="81"/>
                    </a:lnTo>
                    <a:lnTo>
                      <a:pt x="2090" y="88"/>
                    </a:lnTo>
                    <a:lnTo>
                      <a:pt x="2085" y="90"/>
                    </a:lnTo>
                    <a:lnTo>
                      <a:pt x="2085" y="93"/>
                    </a:lnTo>
                    <a:lnTo>
                      <a:pt x="2079" y="100"/>
                    </a:lnTo>
                    <a:lnTo>
                      <a:pt x="2080" y="101"/>
                    </a:lnTo>
                    <a:lnTo>
                      <a:pt x="2083" y="101"/>
                    </a:lnTo>
                    <a:lnTo>
                      <a:pt x="2087" y="96"/>
                    </a:lnTo>
                    <a:lnTo>
                      <a:pt x="2092" y="96"/>
                    </a:lnTo>
                    <a:lnTo>
                      <a:pt x="2092" y="95"/>
                    </a:lnTo>
                    <a:lnTo>
                      <a:pt x="2095" y="95"/>
                    </a:lnTo>
                    <a:lnTo>
                      <a:pt x="2102" y="98"/>
                    </a:lnTo>
                    <a:lnTo>
                      <a:pt x="2103" y="103"/>
                    </a:lnTo>
                    <a:lnTo>
                      <a:pt x="2105" y="110"/>
                    </a:lnTo>
                    <a:lnTo>
                      <a:pt x="2103" y="120"/>
                    </a:lnTo>
                    <a:lnTo>
                      <a:pt x="2097" y="130"/>
                    </a:lnTo>
                    <a:lnTo>
                      <a:pt x="2088" y="135"/>
                    </a:lnTo>
                    <a:lnTo>
                      <a:pt x="2085" y="136"/>
                    </a:lnTo>
                    <a:lnTo>
                      <a:pt x="2082" y="136"/>
                    </a:lnTo>
                    <a:lnTo>
                      <a:pt x="2077" y="138"/>
                    </a:lnTo>
                    <a:lnTo>
                      <a:pt x="2077" y="140"/>
                    </a:lnTo>
                    <a:lnTo>
                      <a:pt x="2074" y="141"/>
                    </a:lnTo>
                    <a:lnTo>
                      <a:pt x="2059" y="148"/>
                    </a:lnTo>
                    <a:lnTo>
                      <a:pt x="2054" y="151"/>
                    </a:lnTo>
                    <a:lnTo>
                      <a:pt x="2049" y="153"/>
                    </a:lnTo>
                    <a:lnTo>
                      <a:pt x="2042" y="154"/>
                    </a:lnTo>
                    <a:lnTo>
                      <a:pt x="2035" y="154"/>
                    </a:lnTo>
                    <a:lnTo>
                      <a:pt x="2032" y="153"/>
                    </a:lnTo>
                    <a:lnTo>
                      <a:pt x="2030" y="156"/>
                    </a:lnTo>
                    <a:lnTo>
                      <a:pt x="2027" y="158"/>
                    </a:lnTo>
                    <a:lnTo>
                      <a:pt x="2022" y="154"/>
                    </a:lnTo>
                    <a:lnTo>
                      <a:pt x="2017" y="151"/>
                    </a:lnTo>
                    <a:lnTo>
                      <a:pt x="2009" y="151"/>
                    </a:lnTo>
                    <a:lnTo>
                      <a:pt x="2009" y="154"/>
                    </a:lnTo>
                    <a:lnTo>
                      <a:pt x="2014" y="154"/>
                    </a:lnTo>
                    <a:lnTo>
                      <a:pt x="2017" y="156"/>
                    </a:lnTo>
                    <a:lnTo>
                      <a:pt x="2014" y="158"/>
                    </a:lnTo>
                    <a:lnTo>
                      <a:pt x="2007" y="156"/>
                    </a:lnTo>
                    <a:lnTo>
                      <a:pt x="2004" y="158"/>
                    </a:lnTo>
                    <a:lnTo>
                      <a:pt x="2000" y="154"/>
                    </a:lnTo>
                    <a:lnTo>
                      <a:pt x="1992" y="154"/>
                    </a:lnTo>
                    <a:lnTo>
                      <a:pt x="1989" y="153"/>
                    </a:lnTo>
                    <a:lnTo>
                      <a:pt x="1987" y="153"/>
                    </a:lnTo>
                    <a:lnTo>
                      <a:pt x="1984" y="154"/>
                    </a:lnTo>
                    <a:lnTo>
                      <a:pt x="1977" y="146"/>
                    </a:lnTo>
                    <a:lnTo>
                      <a:pt x="1972" y="141"/>
                    </a:lnTo>
                    <a:lnTo>
                      <a:pt x="1974" y="146"/>
                    </a:lnTo>
                    <a:lnTo>
                      <a:pt x="1979" y="151"/>
                    </a:lnTo>
                    <a:lnTo>
                      <a:pt x="1979" y="153"/>
                    </a:lnTo>
                    <a:lnTo>
                      <a:pt x="1976" y="154"/>
                    </a:lnTo>
                    <a:lnTo>
                      <a:pt x="1967" y="151"/>
                    </a:lnTo>
                    <a:lnTo>
                      <a:pt x="1971" y="154"/>
                    </a:lnTo>
                    <a:lnTo>
                      <a:pt x="1987" y="158"/>
                    </a:lnTo>
                    <a:lnTo>
                      <a:pt x="1995" y="159"/>
                    </a:lnTo>
                    <a:lnTo>
                      <a:pt x="1999" y="161"/>
                    </a:lnTo>
                    <a:lnTo>
                      <a:pt x="1995" y="164"/>
                    </a:lnTo>
                    <a:lnTo>
                      <a:pt x="1974" y="171"/>
                    </a:lnTo>
                    <a:lnTo>
                      <a:pt x="1961" y="174"/>
                    </a:lnTo>
                    <a:lnTo>
                      <a:pt x="1956" y="174"/>
                    </a:lnTo>
                    <a:lnTo>
                      <a:pt x="1947" y="174"/>
                    </a:lnTo>
                    <a:lnTo>
                      <a:pt x="1942" y="174"/>
                    </a:lnTo>
                    <a:lnTo>
                      <a:pt x="1941" y="171"/>
                    </a:lnTo>
                    <a:lnTo>
                      <a:pt x="1936" y="173"/>
                    </a:lnTo>
                    <a:lnTo>
                      <a:pt x="1932" y="173"/>
                    </a:lnTo>
                    <a:lnTo>
                      <a:pt x="1927" y="173"/>
                    </a:lnTo>
                    <a:lnTo>
                      <a:pt x="1926" y="178"/>
                    </a:lnTo>
                    <a:lnTo>
                      <a:pt x="1931" y="176"/>
                    </a:lnTo>
                    <a:lnTo>
                      <a:pt x="1931" y="181"/>
                    </a:lnTo>
                    <a:lnTo>
                      <a:pt x="1937" y="178"/>
                    </a:lnTo>
                    <a:lnTo>
                      <a:pt x="1951" y="178"/>
                    </a:lnTo>
                    <a:lnTo>
                      <a:pt x="1957" y="178"/>
                    </a:lnTo>
                    <a:lnTo>
                      <a:pt x="1976" y="178"/>
                    </a:lnTo>
                    <a:lnTo>
                      <a:pt x="1987" y="176"/>
                    </a:lnTo>
                    <a:lnTo>
                      <a:pt x="1995" y="168"/>
                    </a:lnTo>
                    <a:lnTo>
                      <a:pt x="2000" y="168"/>
                    </a:lnTo>
                    <a:lnTo>
                      <a:pt x="2004" y="169"/>
                    </a:lnTo>
                    <a:lnTo>
                      <a:pt x="2010" y="168"/>
                    </a:lnTo>
                    <a:lnTo>
                      <a:pt x="2017" y="169"/>
                    </a:lnTo>
                    <a:lnTo>
                      <a:pt x="2015" y="174"/>
                    </a:lnTo>
                    <a:lnTo>
                      <a:pt x="2010" y="181"/>
                    </a:lnTo>
                    <a:lnTo>
                      <a:pt x="2002" y="184"/>
                    </a:lnTo>
                    <a:lnTo>
                      <a:pt x="2000" y="186"/>
                    </a:lnTo>
                    <a:lnTo>
                      <a:pt x="1990" y="188"/>
                    </a:lnTo>
                    <a:lnTo>
                      <a:pt x="1987" y="193"/>
                    </a:lnTo>
                    <a:lnTo>
                      <a:pt x="1984" y="193"/>
                    </a:lnTo>
                    <a:lnTo>
                      <a:pt x="1979" y="198"/>
                    </a:lnTo>
                    <a:lnTo>
                      <a:pt x="1971" y="201"/>
                    </a:lnTo>
                    <a:lnTo>
                      <a:pt x="1966" y="201"/>
                    </a:lnTo>
                    <a:lnTo>
                      <a:pt x="1962" y="203"/>
                    </a:lnTo>
                    <a:lnTo>
                      <a:pt x="1957" y="203"/>
                    </a:lnTo>
                    <a:lnTo>
                      <a:pt x="1952" y="206"/>
                    </a:lnTo>
                    <a:lnTo>
                      <a:pt x="1944" y="208"/>
                    </a:lnTo>
                    <a:lnTo>
                      <a:pt x="1941" y="213"/>
                    </a:lnTo>
                    <a:lnTo>
                      <a:pt x="1931" y="214"/>
                    </a:lnTo>
                    <a:lnTo>
                      <a:pt x="1927" y="216"/>
                    </a:lnTo>
                    <a:lnTo>
                      <a:pt x="1922" y="214"/>
                    </a:lnTo>
                    <a:lnTo>
                      <a:pt x="1919" y="218"/>
                    </a:lnTo>
                    <a:lnTo>
                      <a:pt x="1916" y="218"/>
                    </a:lnTo>
                    <a:lnTo>
                      <a:pt x="1914" y="219"/>
                    </a:lnTo>
                    <a:lnTo>
                      <a:pt x="1914" y="224"/>
                    </a:lnTo>
                    <a:lnTo>
                      <a:pt x="1909" y="228"/>
                    </a:lnTo>
                    <a:lnTo>
                      <a:pt x="1906" y="233"/>
                    </a:lnTo>
                    <a:lnTo>
                      <a:pt x="1894" y="233"/>
                    </a:lnTo>
                    <a:lnTo>
                      <a:pt x="1891" y="234"/>
                    </a:lnTo>
                    <a:lnTo>
                      <a:pt x="1887" y="233"/>
                    </a:lnTo>
                    <a:lnTo>
                      <a:pt x="1886" y="231"/>
                    </a:lnTo>
                    <a:lnTo>
                      <a:pt x="1889" y="228"/>
                    </a:lnTo>
                    <a:lnTo>
                      <a:pt x="1889" y="224"/>
                    </a:lnTo>
                    <a:lnTo>
                      <a:pt x="1886" y="221"/>
                    </a:lnTo>
                    <a:lnTo>
                      <a:pt x="1886" y="228"/>
                    </a:lnTo>
                    <a:lnTo>
                      <a:pt x="1884" y="229"/>
                    </a:lnTo>
                    <a:lnTo>
                      <a:pt x="1882" y="233"/>
                    </a:lnTo>
                    <a:lnTo>
                      <a:pt x="1887" y="236"/>
                    </a:lnTo>
                    <a:lnTo>
                      <a:pt x="1889" y="239"/>
                    </a:lnTo>
                    <a:lnTo>
                      <a:pt x="1884" y="244"/>
                    </a:lnTo>
                    <a:lnTo>
                      <a:pt x="1882" y="244"/>
                    </a:lnTo>
                    <a:lnTo>
                      <a:pt x="1878" y="241"/>
                    </a:lnTo>
                    <a:lnTo>
                      <a:pt x="1874" y="243"/>
                    </a:lnTo>
                    <a:lnTo>
                      <a:pt x="1866" y="241"/>
                    </a:lnTo>
                    <a:lnTo>
                      <a:pt x="1863" y="243"/>
                    </a:lnTo>
                    <a:lnTo>
                      <a:pt x="1859" y="243"/>
                    </a:lnTo>
                    <a:lnTo>
                      <a:pt x="1859" y="239"/>
                    </a:lnTo>
                    <a:lnTo>
                      <a:pt x="1858" y="238"/>
                    </a:lnTo>
                    <a:lnTo>
                      <a:pt x="1856" y="241"/>
                    </a:lnTo>
                    <a:lnTo>
                      <a:pt x="1851" y="241"/>
                    </a:lnTo>
                    <a:lnTo>
                      <a:pt x="1851" y="244"/>
                    </a:lnTo>
                    <a:lnTo>
                      <a:pt x="1859" y="246"/>
                    </a:lnTo>
                    <a:lnTo>
                      <a:pt x="1873" y="246"/>
                    </a:lnTo>
                    <a:lnTo>
                      <a:pt x="1876" y="249"/>
                    </a:lnTo>
                    <a:lnTo>
                      <a:pt x="1874" y="252"/>
                    </a:lnTo>
                    <a:lnTo>
                      <a:pt x="1869" y="256"/>
                    </a:lnTo>
                    <a:lnTo>
                      <a:pt x="1863" y="254"/>
                    </a:lnTo>
                    <a:lnTo>
                      <a:pt x="1856" y="256"/>
                    </a:lnTo>
                    <a:lnTo>
                      <a:pt x="1854" y="257"/>
                    </a:lnTo>
                    <a:lnTo>
                      <a:pt x="1858" y="259"/>
                    </a:lnTo>
                    <a:lnTo>
                      <a:pt x="1859" y="257"/>
                    </a:lnTo>
                    <a:lnTo>
                      <a:pt x="1863" y="261"/>
                    </a:lnTo>
                    <a:lnTo>
                      <a:pt x="1863" y="264"/>
                    </a:lnTo>
                    <a:lnTo>
                      <a:pt x="1854" y="271"/>
                    </a:lnTo>
                    <a:lnTo>
                      <a:pt x="1848" y="269"/>
                    </a:lnTo>
                    <a:lnTo>
                      <a:pt x="1836" y="269"/>
                    </a:lnTo>
                    <a:lnTo>
                      <a:pt x="1834" y="267"/>
                    </a:lnTo>
                    <a:lnTo>
                      <a:pt x="1829" y="267"/>
                    </a:lnTo>
                    <a:lnTo>
                      <a:pt x="1828" y="264"/>
                    </a:lnTo>
                    <a:lnTo>
                      <a:pt x="1828" y="257"/>
                    </a:lnTo>
                    <a:lnTo>
                      <a:pt x="1821" y="256"/>
                    </a:lnTo>
                    <a:lnTo>
                      <a:pt x="1818" y="254"/>
                    </a:lnTo>
                    <a:lnTo>
                      <a:pt x="1819" y="251"/>
                    </a:lnTo>
                    <a:lnTo>
                      <a:pt x="1816" y="247"/>
                    </a:lnTo>
                    <a:lnTo>
                      <a:pt x="1813" y="249"/>
                    </a:lnTo>
                    <a:lnTo>
                      <a:pt x="1809" y="247"/>
                    </a:lnTo>
                    <a:lnTo>
                      <a:pt x="1801" y="249"/>
                    </a:lnTo>
                    <a:lnTo>
                      <a:pt x="1801" y="251"/>
                    </a:lnTo>
                    <a:lnTo>
                      <a:pt x="1804" y="252"/>
                    </a:lnTo>
                    <a:lnTo>
                      <a:pt x="1806" y="251"/>
                    </a:lnTo>
                    <a:lnTo>
                      <a:pt x="1809" y="252"/>
                    </a:lnTo>
                    <a:lnTo>
                      <a:pt x="1821" y="261"/>
                    </a:lnTo>
                    <a:lnTo>
                      <a:pt x="1819" y="274"/>
                    </a:lnTo>
                    <a:lnTo>
                      <a:pt x="1818" y="276"/>
                    </a:lnTo>
                    <a:lnTo>
                      <a:pt x="1813" y="274"/>
                    </a:lnTo>
                    <a:lnTo>
                      <a:pt x="1809" y="271"/>
                    </a:lnTo>
                    <a:lnTo>
                      <a:pt x="1806" y="272"/>
                    </a:lnTo>
                    <a:lnTo>
                      <a:pt x="1806" y="276"/>
                    </a:lnTo>
                    <a:lnTo>
                      <a:pt x="1804" y="276"/>
                    </a:lnTo>
                    <a:lnTo>
                      <a:pt x="1799" y="272"/>
                    </a:lnTo>
                    <a:lnTo>
                      <a:pt x="1796" y="272"/>
                    </a:lnTo>
                    <a:lnTo>
                      <a:pt x="1793" y="276"/>
                    </a:lnTo>
                    <a:lnTo>
                      <a:pt x="1789" y="276"/>
                    </a:lnTo>
                    <a:lnTo>
                      <a:pt x="1788" y="272"/>
                    </a:lnTo>
                    <a:lnTo>
                      <a:pt x="1783" y="272"/>
                    </a:lnTo>
                    <a:lnTo>
                      <a:pt x="1780" y="267"/>
                    </a:lnTo>
                    <a:lnTo>
                      <a:pt x="1778" y="269"/>
                    </a:lnTo>
                    <a:lnTo>
                      <a:pt x="1776" y="264"/>
                    </a:lnTo>
                    <a:lnTo>
                      <a:pt x="1773" y="262"/>
                    </a:lnTo>
                    <a:lnTo>
                      <a:pt x="1766" y="262"/>
                    </a:lnTo>
                    <a:lnTo>
                      <a:pt x="1763" y="257"/>
                    </a:lnTo>
                    <a:lnTo>
                      <a:pt x="1761" y="259"/>
                    </a:lnTo>
                    <a:lnTo>
                      <a:pt x="1763" y="262"/>
                    </a:lnTo>
                    <a:lnTo>
                      <a:pt x="1766" y="266"/>
                    </a:lnTo>
                    <a:lnTo>
                      <a:pt x="1773" y="267"/>
                    </a:lnTo>
                    <a:lnTo>
                      <a:pt x="1778" y="276"/>
                    </a:lnTo>
                    <a:lnTo>
                      <a:pt x="1776" y="277"/>
                    </a:lnTo>
                    <a:lnTo>
                      <a:pt x="1763" y="274"/>
                    </a:lnTo>
                    <a:lnTo>
                      <a:pt x="1760" y="272"/>
                    </a:lnTo>
                    <a:lnTo>
                      <a:pt x="1760" y="267"/>
                    </a:lnTo>
                    <a:lnTo>
                      <a:pt x="1756" y="264"/>
                    </a:lnTo>
                    <a:lnTo>
                      <a:pt x="1755" y="266"/>
                    </a:lnTo>
                    <a:lnTo>
                      <a:pt x="1755" y="269"/>
                    </a:lnTo>
                    <a:lnTo>
                      <a:pt x="1755" y="271"/>
                    </a:lnTo>
                    <a:lnTo>
                      <a:pt x="1750" y="271"/>
                    </a:lnTo>
                    <a:lnTo>
                      <a:pt x="1746" y="267"/>
                    </a:lnTo>
                    <a:lnTo>
                      <a:pt x="1743" y="269"/>
                    </a:lnTo>
                    <a:lnTo>
                      <a:pt x="1743" y="272"/>
                    </a:lnTo>
                    <a:lnTo>
                      <a:pt x="1750" y="274"/>
                    </a:lnTo>
                    <a:lnTo>
                      <a:pt x="1750" y="277"/>
                    </a:lnTo>
                    <a:lnTo>
                      <a:pt x="1751" y="277"/>
                    </a:lnTo>
                    <a:lnTo>
                      <a:pt x="1755" y="276"/>
                    </a:lnTo>
                    <a:lnTo>
                      <a:pt x="1758" y="276"/>
                    </a:lnTo>
                    <a:lnTo>
                      <a:pt x="1761" y="279"/>
                    </a:lnTo>
                    <a:lnTo>
                      <a:pt x="1766" y="281"/>
                    </a:lnTo>
                    <a:lnTo>
                      <a:pt x="1771" y="286"/>
                    </a:lnTo>
                    <a:lnTo>
                      <a:pt x="1775" y="286"/>
                    </a:lnTo>
                    <a:lnTo>
                      <a:pt x="1778" y="284"/>
                    </a:lnTo>
                    <a:lnTo>
                      <a:pt x="1791" y="287"/>
                    </a:lnTo>
                    <a:lnTo>
                      <a:pt x="1794" y="289"/>
                    </a:lnTo>
                    <a:lnTo>
                      <a:pt x="1789" y="292"/>
                    </a:lnTo>
                    <a:lnTo>
                      <a:pt x="1791" y="294"/>
                    </a:lnTo>
                    <a:lnTo>
                      <a:pt x="1789" y="299"/>
                    </a:lnTo>
                    <a:lnTo>
                      <a:pt x="1791" y="302"/>
                    </a:lnTo>
                    <a:lnTo>
                      <a:pt x="1788" y="306"/>
                    </a:lnTo>
                    <a:lnTo>
                      <a:pt x="1786" y="304"/>
                    </a:lnTo>
                    <a:lnTo>
                      <a:pt x="1783" y="302"/>
                    </a:lnTo>
                    <a:lnTo>
                      <a:pt x="1776" y="301"/>
                    </a:lnTo>
                    <a:lnTo>
                      <a:pt x="1770" y="296"/>
                    </a:lnTo>
                    <a:lnTo>
                      <a:pt x="1768" y="292"/>
                    </a:lnTo>
                    <a:lnTo>
                      <a:pt x="1770" y="287"/>
                    </a:lnTo>
                    <a:lnTo>
                      <a:pt x="1766" y="284"/>
                    </a:lnTo>
                    <a:lnTo>
                      <a:pt x="1760" y="284"/>
                    </a:lnTo>
                    <a:lnTo>
                      <a:pt x="1748" y="282"/>
                    </a:lnTo>
                    <a:lnTo>
                      <a:pt x="1745" y="279"/>
                    </a:lnTo>
                    <a:lnTo>
                      <a:pt x="1740" y="281"/>
                    </a:lnTo>
                    <a:lnTo>
                      <a:pt x="1740" y="282"/>
                    </a:lnTo>
                    <a:lnTo>
                      <a:pt x="1746" y="284"/>
                    </a:lnTo>
                    <a:lnTo>
                      <a:pt x="1755" y="286"/>
                    </a:lnTo>
                    <a:lnTo>
                      <a:pt x="1765" y="289"/>
                    </a:lnTo>
                    <a:lnTo>
                      <a:pt x="1765" y="292"/>
                    </a:lnTo>
                    <a:lnTo>
                      <a:pt x="1763" y="294"/>
                    </a:lnTo>
                    <a:lnTo>
                      <a:pt x="1758" y="291"/>
                    </a:lnTo>
                    <a:lnTo>
                      <a:pt x="1750" y="291"/>
                    </a:lnTo>
                    <a:lnTo>
                      <a:pt x="1741" y="292"/>
                    </a:lnTo>
                    <a:lnTo>
                      <a:pt x="1741" y="289"/>
                    </a:lnTo>
                    <a:lnTo>
                      <a:pt x="1740" y="287"/>
                    </a:lnTo>
                    <a:lnTo>
                      <a:pt x="1731" y="286"/>
                    </a:lnTo>
                    <a:lnTo>
                      <a:pt x="1728" y="284"/>
                    </a:lnTo>
                    <a:lnTo>
                      <a:pt x="1728" y="286"/>
                    </a:lnTo>
                    <a:lnTo>
                      <a:pt x="1736" y="289"/>
                    </a:lnTo>
                    <a:lnTo>
                      <a:pt x="1736" y="292"/>
                    </a:lnTo>
                    <a:lnTo>
                      <a:pt x="1736" y="294"/>
                    </a:lnTo>
                    <a:lnTo>
                      <a:pt x="1740" y="296"/>
                    </a:lnTo>
                    <a:lnTo>
                      <a:pt x="1741" y="294"/>
                    </a:lnTo>
                    <a:lnTo>
                      <a:pt x="1743" y="296"/>
                    </a:lnTo>
                    <a:lnTo>
                      <a:pt x="1746" y="294"/>
                    </a:lnTo>
                    <a:lnTo>
                      <a:pt x="1748" y="292"/>
                    </a:lnTo>
                    <a:lnTo>
                      <a:pt x="1750" y="294"/>
                    </a:lnTo>
                    <a:lnTo>
                      <a:pt x="1755" y="294"/>
                    </a:lnTo>
                    <a:lnTo>
                      <a:pt x="1758" y="296"/>
                    </a:lnTo>
                    <a:lnTo>
                      <a:pt x="1765" y="301"/>
                    </a:lnTo>
                    <a:lnTo>
                      <a:pt x="1765" y="302"/>
                    </a:lnTo>
                    <a:lnTo>
                      <a:pt x="1760" y="302"/>
                    </a:lnTo>
                    <a:lnTo>
                      <a:pt x="1755" y="306"/>
                    </a:lnTo>
                    <a:lnTo>
                      <a:pt x="1753" y="307"/>
                    </a:lnTo>
                    <a:lnTo>
                      <a:pt x="1758" y="306"/>
                    </a:lnTo>
                    <a:lnTo>
                      <a:pt x="1761" y="306"/>
                    </a:lnTo>
                    <a:lnTo>
                      <a:pt x="1766" y="306"/>
                    </a:lnTo>
                    <a:lnTo>
                      <a:pt x="1771" y="309"/>
                    </a:lnTo>
                    <a:lnTo>
                      <a:pt x="1775" y="312"/>
                    </a:lnTo>
                    <a:lnTo>
                      <a:pt x="1775" y="316"/>
                    </a:lnTo>
                    <a:lnTo>
                      <a:pt x="1770" y="324"/>
                    </a:lnTo>
                    <a:lnTo>
                      <a:pt x="1768" y="331"/>
                    </a:lnTo>
                    <a:lnTo>
                      <a:pt x="1765" y="331"/>
                    </a:lnTo>
                    <a:lnTo>
                      <a:pt x="1758" y="336"/>
                    </a:lnTo>
                    <a:lnTo>
                      <a:pt x="1755" y="334"/>
                    </a:lnTo>
                    <a:lnTo>
                      <a:pt x="1751" y="334"/>
                    </a:lnTo>
                    <a:lnTo>
                      <a:pt x="1748" y="332"/>
                    </a:lnTo>
                    <a:lnTo>
                      <a:pt x="1746" y="331"/>
                    </a:lnTo>
                    <a:lnTo>
                      <a:pt x="1743" y="329"/>
                    </a:lnTo>
                    <a:lnTo>
                      <a:pt x="1738" y="329"/>
                    </a:lnTo>
                    <a:lnTo>
                      <a:pt x="1738" y="331"/>
                    </a:lnTo>
                    <a:lnTo>
                      <a:pt x="1743" y="332"/>
                    </a:lnTo>
                    <a:lnTo>
                      <a:pt x="1745" y="334"/>
                    </a:lnTo>
                    <a:lnTo>
                      <a:pt x="1748" y="336"/>
                    </a:lnTo>
                    <a:lnTo>
                      <a:pt x="1753" y="339"/>
                    </a:lnTo>
                    <a:lnTo>
                      <a:pt x="1755" y="344"/>
                    </a:lnTo>
                    <a:lnTo>
                      <a:pt x="1753" y="347"/>
                    </a:lnTo>
                    <a:lnTo>
                      <a:pt x="1748" y="347"/>
                    </a:lnTo>
                    <a:lnTo>
                      <a:pt x="1743" y="352"/>
                    </a:lnTo>
                    <a:lnTo>
                      <a:pt x="1740" y="352"/>
                    </a:lnTo>
                    <a:lnTo>
                      <a:pt x="1733" y="347"/>
                    </a:lnTo>
                    <a:lnTo>
                      <a:pt x="1728" y="347"/>
                    </a:lnTo>
                    <a:lnTo>
                      <a:pt x="1726" y="345"/>
                    </a:lnTo>
                    <a:lnTo>
                      <a:pt x="1721" y="345"/>
                    </a:lnTo>
                    <a:lnTo>
                      <a:pt x="1718" y="347"/>
                    </a:lnTo>
                    <a:lnTo>
                      <a:pt x="1720" y="349"/>
                    </a:lnTo>
                    <a:lnTo>
                      <a:pt x="1735" y="357"/>
                    </a:lnTo>
                    <a:lnTo>
                      <a:pt x="1740" y="357"/>
                    </a:lnTo>
                    <a:lnTo>
                      <a:pt x="1740" y="359"/>
                    </a:lnTo>
                    <a:lnTo>
                      <a:pt x="1735" y="360"/>
                    </a:lnTo>
                    <a:lnTo>
                      <a:pt x="1731" y="365"/>
                    </a:lnTo>
                    <a:lnTo>
                      <a:pt x="1728" y="365"/>
                    </a:lnTo>
                    <a:lnTo>
                      <a:pt x="1723" y="362"/>
                    </a:lnTo>
                    <a:lnTo>
                      <a:pt x="1720" y="362"/>
                    </a:lnTo>
                    <a:lnTo>
                      <a:pt x="1715" y="365"/>
                    </a:lnTo>
                    <a:lnTo>
                      <a:pt x="1708" y="365"/>
                    </a:lnTo>
                    <a:lnTo>
                      <a:pt x="1705" y="362"/>
                    </a:lnTo>
                    <a:lnTo>
                      <a:pt x="1695" y="360"/>
                    </a:lnTo>
                    <a:lnTo>
                      <a:pt x="1690" y="362"/>
                    </a:lnTo>
                    <a:lnTo>
                      <a:pt x="1688" y="369"/>
                    </a:lnTo>
                    <a:lnTo>
                      <a:pt x="1683" y="374"/>
                    </a:lnTo>
                    <a:lnTo>
                      <a:pt x="1688" y="374"/>
                    </a:lnTo>
                    <a:lnTo>
                      <a:pt x="1690" y="374"/>
                    </a:lnTo>
                    <a:lnTo>
                      <a:pt x="1690" y="379"/>
                    </a:lnTo>
                    <a:lnTo>
                      <a:pt x="1682" y="382"/>
                    </a:lnTo>
                    <a:lnTo>
                      <a:pt x="1682" y="387"/>
                    </a:lnTo>
                    <a:lnTo>
                      <a:pt x="1677" y="390"/>
                    </a:lnTo>
                    <a:lnTo>
                      <a:pt x="1675" y="389"/>
                    </a:lnTo>
                    <a:lnTo>
                      <a:pt x="1673" y="389"/>
                    </a:lnTo>
                    <a:lnTo>
                      <a:pt x="1672" y="392"/>
                    </a:lnTo>
                    <a:lnTo>
                      <a:pt x="1668" y="394"/>
                    </a:lnTo>
                    <a:lnTo>
                      <a:pt x="1665" y="394"/>
                    </a:lnTo>
                    <a:lnTo>
                      <a:pt x="1667" y="390"/>
                    </a:lnTo>
                    <a:lnTo>
                      <a:pt x="1663" y="390"/>
                    </a:lnTo>
                    <a:lnTo>
                      <a:pt x="1662" y="394"/>
                    </a:lnTo>
                    <a:lnTo>
                      <a:pt x="1658" y="399"/>
                    </a:lnTo>
                    <a:lnTo>
                      <a:pt x="1655" y="400"/>
                    </a:lnTo>
                    <a:lnTo>
                      <a:pt x="1643" y="395"/>
                    </a:lnTo>
                    <a:lnTo>
                      <a:pt x="1638" y="395"/>
                    </a:lnTo>
                    <a:lnTo>
                      <a:pt x="1637" y="397"/>
                    </a:lnTo>
                    <a:lnTo>
                      <a:pt x="1630" y="395"/>
                    </a:lnTo>
                    <a:lnTo>
                      <a:pt x="1620" y="384"/>
                    </a:lnTo>
                    <a:lnTo>
                      <a:pt x="1618" y="375"/>
                    </a:lnTo>
                    <a:lnTo>
                      <a:pt x="1622" y="374"/>
                    </a:lnTo>
                    <a:lnTo>
                      <a:pt x="1622" y="370"/>
                    </a:lnTo>
                    <a:lnTo>
                      <a:pt x="1620" y="367"/>
                    </a:lnTo>
                    <a:lnTo>
                      <a:pt x="1620" y="364"/>
                    </a:lnTo>
                    <a:lnTo>
                      <a:pt x="1617" y="369"/>
                    </a:lnTo>
                    <a:lnTo>
                      <a:pt x="1617" y="372"/>
                    </a:lnTo>
                    <a:lnTo>
                      <a:pt x="1615" y="379"/>
                    </a:lnTo>
                    <a:lnTo>
                      <a:pt x="1612" y="382"/>
                    </a:lnTo>
                    <a:lnTo>
                      <a:pt x="1617" y="387"/>
                    </a:lnTo>
                    <a:lnTo>
                      <a:pt x="1615" y="389"/>
                    </a:lnTo>
                    <a:lnTo>
                      <a:pt x="1613" y="389"/>
                    </a:lnTo>
                    <a:lnTo>
                      <a:pt x="1607" y="389"/>
                    </a:lnTo>
                    <a:lnTo>
                      <a:pt x="1605" y="389"/>
                    </a:lnTo>
                    <a:lnTo>
                      <a:pt x="1600" y="389"/>
                    </a:lnTo>
                    <a:lnTo>
                      <a:pt x="1605" y="392"/>
                    </a:lnTo>
                    <a:lnTo>
                      <a:pt x="1602" y="399"/>
                    </a:lnTo>
                    <a:lnTo>
                      <a:pt x="1605" y="399"/>
                    </a:lnTo>
                    <a:lnTo>
                      <a:pt x="1612" y="394"/>
                    </a:lnTo>
                    <a:lnTo>
                      <a:pt x="1613" y="394"/>
                    </a:lnTo>
                    <a:lnTo>
                      <a:pt x="1615" y="392"/>
                    </a:lnTo>
                    <a:lnTo>
                      <a:pt x="1618" y="390"/>
                    </a:lnTo>
                    <a:lnTo>
                      <a:pt x="1625" y="394"/>
                    </a:lnTo>
                    <a:lnTo>
                      <a:pt x="1628" y="399"/>
                    </a:lnTo>
                    <a:lnTo>
                      <a:pt x="1627" y="404"/>
                    </a:lnTo>
                    <a:lnTo>
                      <a:pt x="1632" y="400"/>
                    </a:lnTo>
                    <a:lnTo>
                      <a:pt x="1640" y="397"/>
                    </a:lnTo>
                    <a:lnTo>
                      <a:pt x="1647" y="400"/>
                    </a:lnTo>
                    <a:lnTo>
                      <a:pt x="1647" y="404"/>
                    </a:lnTo>
                    <a:lnTo>
                      <a:pt x="1645" y="407"/>
                    </a:lnTo>
                    <a:lnTo>
                      <a:pt x="1642" y="414"/>
                    </a:lnTo>
                    <a:lnTo>
                      <a:pt x="1640" y="415"/>
                    </a:lnTo>
                    <a:lnTo>
                      <a:pt x="1638" y="417"/>
                    </a:lnTo>
                    <a:lnTo>
                      <a:pt x="1640" y="419"/>
                    </a:lnTo>
                    <a:lnTo>
                      <a:pt x="1643" y="419"/>
                    </a:lnTo>
                    <a:lnTo>
                      <a:pt x="1643" y="422"/>
                    </a:lnTo>
                    <a:lnTo>
                      <a:pt x="1638" y="425"/>
                    </a:lnTo>
                    <a:lnTo>
                      <a:pt x="1643" y="425"/>
                    </a:lnTo>
                    <a:lnTo>
                      <a:pt x="1645" y="422"/>
                    </a:lnTo>
                    <a:lnTo>
                      <a:pt x="1652" y="419"/>
                    </a:lnTo>
                    <a:lnTo>
                      <a:pt x="1655" y="419"/>
                    </a:lnTo>
                    <a:lnTo>
                      <a:pt x="1657" y="419"/>
                    </a:lnTo>
                    <a:lnTo>
                      <a:pt x="1660" y="419"/>
                    </a:lnTo>
                    <a:lnTo>
                      <a:pt x="1658" y="424"/>
                    </a:lnTo>
                    <a:lnTo>
                      <a:pt x="1660" y="427"/>
                    </a:lnTo>
                    <a:lnTo>
                      <a:pt x="1658" y="434"/>
                    </a:lnTo>
                    <a:lnTo>
                      <a:pt x="1653" y="442"/>
                    </a:lnTo>
                    <a:lnTo>
                      <a:pt x="1648" y="442"/>
                    </a:lnTo>
                    <a:lnTo>
                      <a:pt x="1643" y="445"/>
                    </a:lnTo>
                    <a:lnTo>
                      <a:pt x="1640" y="450"/>
                    </a:lnTo>
                    <a:lnTo>
                      <a:pt x="1637" y="453"/>
                    </a:lnTo>
                    <a:lnTo>
                      <a:pt x="1635" y="452"/>
                    </a:lnTo>
                    <a:lnTo>
                      <a:pt x="1637" y="447"/>
                    </a:lnTo>
                    <a:lnTo>
                      <a:pt x="1637" y="442"/>
                    </a:lnTo>
                    <a:lnTo>
                      <a:pt x="1635" y="440"/>
                    </a:lnTo>
                    <a:lnTo>
                      <a:pt x="1632" y="442"/>
                    </a:lnTo>
                    <a:lnTo>
                      <a:pt x="1628" y="448"/>
                    </a:lnTo>
                    <a:lnTo>
                      <a:pt x="1625" y="448"/>
                    </a:lnTo>
                    <a:lnTo>
                      <a:pt x="1618" y="455"/>
                    </a:lnTo>
                    <a:lnTo>
                      <a:pt x="1617" y="453"/>
                    </a:lnTo>
                    <a:lnTo>
                      <a:pt x="1612" y="453"/>
                    </a:lnTo>
                    <a:lnTo>
                      <a:pt x="1603" y="458"/>
                    </a:lnTo>
                    <a:lnTo>
                      <a:pt x="1602" y="458"/>
                    </a:lnTo>
                    <a:lnTo>
                      <a:pt x="1597" y="460"/>
                    </a:lnTo>
                    <a:lnTo>
                      <a:pt x="1593" y="458"/>
                    </a:lnTo>
                    <a:lnTo>
                      <a:pt x="1592" y="457"/>
                    </a:lnTo>
                    <a:lnTo>
                      <a:pt x="1588" y="455"/>
                    </a:lnTo>
                    <a:lnTo>
                      <a:pt x="1593" y="452"/>
                    </a:lnTo>
                    <a:lnTo>
                      <a:pt x="1597" y="448"/>
                    </a:lnTo>
                    <a:lnTo>
                      <a:pt x="1597" y="443"/>
                    </a:lnTo>
                    <a:lnTo>
                      <a:pt x="1592" y="437"/>
                    </a:lnTo>
                    <a:lnTo>
                      <a:pt x="1588" y="440"/>
                    </a:lnTo>
                    <a:lnTo>
                      <a:pt x="1582" y="439"/>
                    </a:lnTo>
                    <a:lnTo>
                      <a:pt x="1580" y="435"/>
                    </a:lnTo>
                    <a:lnTo>
                      <a:pt x="1583" y="430"/>
                    </a:lnTo>
                    <a:lnTo>
                      <a:pt x="1587" y="430"/>
                    </a:lnTo>
                    <a:lnTo>
                      <a:pt x="1583" y="429"/>
                    </a:lnTo>
                    <a:lnTo>
                      <a:pt x="1580" y="427"/>
                    </a:lnTo>
                    <a:lnTo>
                      <a:pt x="1577" y="422"/>
                    </a:lnTo>
                    <a:lnTo>
                      <a:pt x="1579" y="419"/>
                    </a:lnTo>
                    <a:lnTo>
                      <a:pt x="1579" y="414"/>
                    </a:lnTo>
                    <a:lnTo>
                      <a:pt x="1577" y="410"/>
                    </a:lnTo>
                    <a:lnTo>
                      <a:pt x="1577" y="415"/>
                    </a:lnTo>
                    <a:lnTo>
                      <a:pt x="1574" y="422"/>
                    </a:lnTo>
                    <a:lnTo>
                      <a:pt x="1579" y="429"/>
                    </a:lnTo>
                    <a:lnTo>
                      <a:pt x="1579" y="432"/>
                    </a:lnTo>
                    <a:lnTo>
                      <a:pt x="1575" y="434"/>
                    </a:lnTo>
                    <a:lnTo>
                      <a:pt x="1575" y="439"/>
                    </a:lnTo>
                    <a:lnTo>
                      <a:pt x="1572" y="440"/>
                    </a:lnTo>
                    <a:lnTo>
                      <a:pt x="1569" y="439"/>
                    </a:lnTo>
                    <a:lnTo>
                      <a:pt x="1565" y="440"/>
                    </a:lnTo>
                    <a:lnTo>
                      <a:pt x="1562" y="437"/>
                    </a:lnTo>
                    <a:lnTo>
                      <a:pt x="1560" y="434"/>
                    </a:lnTo>
                    <a:lnTo>
                      <a:pt x="1564" y="427"/>
                    </a:lnTo>
                    <a:lnTo>
                      <a:pt x="1562" y="422"/>
                    </a:lnTo>
                    <a:lnTo>
                      <a:pt x="1564" y="419"/>
                    </a:lnTo>
                    <a:lnTo>
                      <a:pt x="1569" y="414"/>
                    </a:lnTo>
                    <a:lnTo>
                      <a:pt x="1564" y="415"/>
                    </a:lnTo>
                    <a:lnTo>
                      <a:pt x="1559" y="419"/>
                    </a:lnTo>
                    <a:lnTo>
                      <a:pt x="1559" y="424"/>
                    </a:lnTo>
                    <a:lnTo>
                      <a:pt x="1560" y="429"/>
                    </a:lnTo>
                    <a:lnTo>
                      <a:pt x="1557" y="435"/>
                    </a:lnTo>
                    <a:lnTo>
                      <a:pt x="1552" y="435"/>
                    </a:lnTo>
                    <a:lnTo>
                      <a:pt x="1547" y="434"/>
                    </a:lnTo>
                    <a:lnTo>
                      <a:pt x="1549" y="430"/>
                    </a:lnTo>
                    <a:lnTo>
                      <a:pt x="1547" y="429"/>
                    </a:lnTo>
                    <a:lnTo>
                      <a:pt x="1547" y="425"/>
                    </a:lnTo>
                    <a:lnTo>
                      <a:pt x="1549" y="422"/>
                    </a:lnTo>
                    <a:lnTo>
                      <a:pt x="1550" y="419"/>
                    </a:lnTo>
                    <a:lnTo>
                      <a:pt x="1549" y="415"/>
                    </a:lnTo>
                    <a:lnTo>
                      <a:pt x="1547" y="414"/>
                    </a:lnTo>
                    <a:lnTo>
                      <a:pt x="1545" y="417"/>
                    </a:lnTo>
                    <a:lnTo>
                      <a:pt x="1545" y="420"/>
                    </a:lnTo>
                    <a:lnTo>
                      <a:pt x="1542" y="424"/>
                    </a:lnTo>
                    <a:lnTo>
                      <a:pt x="1542" y="427"/>
                    </a:lnTo>
                    <a:lnTo>
                      <a:pt x="1540" y="429"/>
                    </a:lnTo>
                    <a:lnTo>
                      <a:pt x="1537" y="429"/>
                    </a:lnTo>
                    <a:lnTo>
                      <a:pt x="1535" y="430"/>
                    </a:lnTo>
                    <a:lnTo>
                      <a:pt x="1532" y="430"/>
                    </a:lnTo>
                    <a:lnTo>
                      <a:pt x="1532" y="430"/>
                    </a:lnTo>
                    <a:close/>
                    <a:moveTo>
                      <a:pt x="1663" y="1080"/>
                    </a:moveTo>
                    <a:lnTo>
                      <a:pt x="1663" y="1086"/>
                    </a:lnTo>
                    <a:lnTo>
                      <a:pt x="1662" y="1091"/>
                    </a:lnTo>
                    <a:lnTo>
                      <a:pt x="1663" y="1095"/>
                    </a:lnTo>
                    <a:lnTo>
                      <a:pt x="1665" y="1093"/>
                    </a:lnTo>
                    <a:lnTo>
                      <a:pt x="1665" y="1091"/>
                    </a:lnTo>
                    <a:lnTo>
                      <a:pt x="1667" y="1086"/>
                    </a:lnTo>
                    <a:lnTo>
                      <a:pt x="1665" y="1081"/>
                    </a:lnTo>
                    <a:lnTo>
                      <a:pt x="1663" y="1080"/>
                    </a:lnTo>
                    <a:lnTo>
                      <a:pt x="1663" y="1080"/>
                    </a:lnTo>
                    <a:close/>
                    <a:moveTo>
                      <a:pt x="1658" y="1056"/>
                    </a:moveTo>
                    <a:lnTo>
                      <a:pt x="1658" y="1055"/>
                    </a:lnTo>
                    <a:lnTo>
                      <a:pt x="1660" y="1053"/>
                    </a:lnTo>
                    <a:lnTo>
                      <a:pt x="1662" y="1055"/>
                    </a:lnTo>
                    <a:lnTo>
                      <a:pt x="1660" y="1056"/>
                    </a:lnTo>
                    <a:lnTo>
                      <a:pt x="1658" y="1056"/>
                    </a:lnTo>
                    <a:lnTo>
                      <a:pt x="1658" y="1056"/>
                    </a:lnTo>
                    <a:close/>
                    <a:moveTo>
                      <a:pt x="1652" y="1043"/>
                    </a:moveTo>
                    <a:lnTo>
                      <a:pt x="1655" y="1038"/>
                    </a:lnTo>
                    <a:lnTo>
                      <a:pt x="1658" y="1036"/>
                    </a:lnTo>
                    <a:lnTo>
                      <a:pt x="1660" y="1040"/>
                    </a:lnTo>
                    <a:lnTo>
                      <a:pt x="1655" y="1041"/>
                    </a:lnTo>
                    <a:lnTo>
                      <a:pt x="1653" y="1043"/>
                    </a:lnTo>
                    <a:lnTo>
                      <a:pt x="1652" y="1043"/>
                    </a:lnTo>
                    <a:lnTo>
                      <a:pt x="1652" y="1043"/>
                    </a:lnTo>
                    <a:close/>
                    <a:moveTo>
                      <a:pt x="1613" y="716"/>
                    </a:moveTo>
                    <a:lnTo>
                      <a:pt x="1613" y="713"/>
                    </a:lnTo>
                    <a:lnTo>
                      <a:pt x="1615" y="711"/>
                    </a:lnTo>
                    <a:lnTo>
                      <a:pt x="1615" y="716"/>
                    </a:lnTo>
                    <a:lnTo>
                      <a:pt x="1613" y="716"/>
                    </a:lnTo>
                    <a:lnTo>
                      <a:pt x="1613" y="716"/>
                    </a:lnTo>
                    <a:close/>
                    <a:moveTo>
                      <a:pt x="1620" y="719"/>
                    </a:moveTo>
                    <a:lnTo>
                      <a:pt x="1618" y="718"/>
                    </a:lnTo>
                    <a:lnTo>
                      <a:pt x="1618" y="714"/>
                    </a:lnTo>
                    <a:lnTo>
                      <a:pt x="1622" y="713"/>
                    </a:lnTo>
                    <a:lnTo>
                      <a:pt x="1623" y="716"/>
                    </a:lnTo>
                    <a:lnTo>
                      <a:pt x="1622" y="719"/>
                    </a:lnTo>
                    <a:lnTo>
                      <a:pt x="1620" y="719"/>
                    </a:lnTo>
                    <a:lnTo>
                      <a:pt x="1620" y="719"/>
                    </a:lnTo>
                    <a:close/>
                    <a:moveTo>
                      <a:pt x="1612" y="731"/>
                    </a:moveTo>
                    <a:lnTo>
                      <a:pt x="1610" y="728"/>
                    </a:lnTo>
                    <a:lnTo>
                      <a:pt x="1612" y="726"/>
                    </a:lnTo>
                    <a:lnTo>
                      <a:pt x="1610" y="721"/>
                    </a:lnTo>
                    <a:lnTo>
                      <a:pt x="1613" y="719"/>
                    </a:lnTo>
                    <a:lnTo>
                      <a:pt x="1615" y="723"/>
                    </a:lnTo>
                    <a:lnTo>
                      <a:pt x="1617" y="723"/>
                    </a:lnTo>
                    <a:lnTo>
                      <a:pt x="1618" y="724"/>
                    </a:lnTo>
                    <a:lnTo>
                      <a:pt x="1615" y="726"/>
                    </a:lnTo>
                    <a:lnTo>
                      <a:pt x="1613" y="731"/>
                    </a:lnTo>
                    <a:lnTo>
                      <a:pt x="1612" y="731"/>
                    </a:lnTo>
                    <a:lnTo>
                      <a:pt x="1612" y="731"/>
                    </a:lnTo>
                    <a:close/>
                    <a:moveTo>
                      <a:pt x="1685" y="829"/>
                    </a:moveTo>
                    <a:lnTo>
                      <a:pt x="1688" y="826"/>
                    </a:lnTo>
                    <a:lnTo>
                      <a:pt x="1691" y="827"/>
                    </a:lnTo>
                    <a:lnTo>
                      <a:pt x="1688" y="829"/>
                    </a:lnTo>
                    <a:lnTo>
                      <a:pt x="1686" y="829"/>
                    </a:lnTo>
                    <a:lnTo>
                      <a:pt x="1685" y="829"/>
                    </a:lnTo>
                    <a:lnTo>
                      <a:pt x="1685" y="829"/>
                    </a:lnTo>
                    <a:close/>
                    <a:moveTo>
                      <a:pt x="1677" y="827"/>
                    </a:moveTo>
                    <a:lnTo>
                      <a:pt x="1677" y="824"/>
                    </a:lnTo>
                    <a:lnTo>
                      <a:pt x="1682" y="824"/>
                    </a:lnTo>
                    <a:lnTo>
                      <a:pt x="1683" y="822"/>
                    </a:lnTo>
                    <a:lnTo>
                      <a:pt x="1685" y="824"/>
                    </a:lnTo>
                    <a:lnTo>
                      <a:pt x="1680" y="829"/>
                    </a:lnTo>
                    <a:lnTo>
                      <a:pt x="1677" y="829"/>
                    </a:lnTo>
                    <a:lnTo>
                      <a:pt x="1677" y="827"/>
                    </a:lnTo>
                    <a:lnTo>
                      <a:pt x="1677" y="827"/>
                    </a:lnTo>
                    <a:close/>
                    <a:moveTo>
                      <a:pt x="1662" y="872"/>
                    </a:moveTo>
                    <a:lnTo>
                      <a:pt x="1665" y="874"/>
                    </a:lnTo>
                    <a:lnTo>
                      <a:pt x="1667" y="874"/>
                    </a:lnTo>
                    <a:lnTo>
                      <a:pt x="1665" y="872"/>
                    </a:lnTo>
                    <a:lnTo>
                      <a:pt x="1662" y="872"/>
                    </a:lnTo>
                    <a:lnTo>
                      <a:pt x="1662" y="872"/>
                    </a:lnTo>
                    <a:close/>
                    <a:moveTo>
                      <a:pt x="1682" y="892"/>
                    </a:moveTo>
                    <a:lnTo>
                      <a:pt x="1686" y="894"/>
                    </a:lnTo>
                    <a:lnTo>
                      <a:pt x="1688" y="894"/>
                    </a:lnTo>
                    <a:lnTo>
                      <a:pt x="1686" y="890"/>
                    </a:lnTo>
                    <a:lnTo>
                      <a:pt x="1685" y="890"/>
                    </a:lnTo>
                    <a:lnTo>
                      <a:pt x="1685" y="890"/>
                    </a:lnTo>
                    <a:lnTo>
                      <a:pt x="1682" y="892"/>
                    </a:lnTo>
                    <a:lnTo>
                      <a:pt x="1682" y="892"/>
                    </a:lnTo>
                    <a:close/>
                    <a:moveTo>
                      <a:pt x="1720" y="925"/>
                    </a:moveTo>
                    <a:lnTo>
                      <a:pt x="1718" y="920"/>
                    </a:lnTo>
                    <a:lnTo>
                      <a:pt x="1721" y="917"/>
                    </a:lnTo>
                    <a:lnTo>
                      <a:pt x="1725" y="920"/>
                    </a:lnTo>
                    <a:lnTo>
                      <a:pt x="1725" y="925"/>
                    </a:lnTo>
                    <a:lnTo>
                      <a:pt x="1721" y="925"/>
                    </a:lnTo>
                    <a:lnTo>
                      <a:pt x="1720" y="925"/>
                    </a:lnTo>
                    <a:lnTo>
                      <a:pt x="1720" y="925"/>
                    </a:lnTo>
                    <a:close/>
                    <a:moveTo>
                      <a:pt x="1738" y="947"/>
                    </a:moveTo>
                    <a:lnTo>
                      <a:pt x="1738" y="942"/>
                    </a:lnTo>
                    <a:lnTo>
                      <a:pt x="1741" y="940"/>
                    </a:lnTo>
                    <a:lnTo>
                      <a:pt x="1743" y="938"/>
                    </a:lnTo>
                    <a:lnTo>
                      <a:pt x="1746" y="940"/>
                    </a:lnTo>
                    <a:lnTo>
                      <a:pt x="1743" y="945"/>
                    </a:lnTo>
                    <a:lnTo>
                      <a:pt x="1740" y="945"/>
                    </a:lnTo>
                    <a:lnTo>
                      <a:pt x="1740" y="945"/>
                    </a:lnTo>
                    <a:lnTo>
                      <a:pt x="1738" y="947"/>
                    </a:lnTo>
                    <a:lnTo>
                      <a:pt x="1738" y="947"/>
                    </a:lnTo>
                    <a:close/>
                    <a:moveTo>
                      <a:pt x="1603" y="478"/>
                    </a:moveTo>
                    <a:lnTo>
                      <a:pt x="1603" y="473"/>
                    </a:lnTo>
                    <a:lnTo>
                      <a:pt x="1607" y="472"/>
                    </a:lnTo>
                    <a:lnTo>
                      <a:pt x="1608" y="468"/>
                    </a:lnTo>
                    <a:lnTo>
                      <a:pt x="1620" y="462"/>
                    </a:lnTo>
                    <a:lnTo>
                      <a:pt x="1625" y="462"/>
                    </a:lnTo>
                    <a:lnTo>
                      <a:pt x="1622" y="465"/>
                    </a:lnTo>
                    <a:lnTo>
                      <a:pt x="1615" y="470"/>
                    </a:lnTo>
                    <a:lnTo>
                      <a:pt x="1613" y="473"/>
                    </a:lnTo>
                    <a:lnTo>
                      <a:pt x="1615" y="477"/>
                    </a:lnTo>
                    <a:lnTo>
                      <a:pt x="1615" y="478"/>
                    </a:lnTo>
                    <a:lnTo>
                      <a:pt x="1612" y="478"/>
                    </a:lnTo>
                    <a:lnTo>
                      <a:pt x="1610" y="475"/>
                    </a:lnTo>
                    <a:lnTo>
                      <a:pt x="1608" y="477"/>
                    </a:lnTo>
                    <a:lnTo>
                      <a:pt x="1607" y="478"/>
                    </a:lnTo>
                    <a:lnTo>
                      <a:pt x="1603" y="478"/>
                    </a:lnTo>
                    <a:lnTo>
                      <a:pt x="1603" y="478"/>
                    </a:lnTo>
                    <a:close/>
                    <a:moveTo>
                      <a:pt x="1580" y="458"/>
                    </a:moveTo>
                    <a:lnTo>
                      <a:pt x="1580" y="458"/>
                    </a:lnTo>
                    <a:lnTo>
                      <a:pt x="1582" y="460"/>
                    </a:lnTo>
                    <a:lnTo>
                      <a:pt x="1585" y="460"/>
                    </a:lnTo>
                    <a:lnTo>
                      <a:pt x="1587" y="458"/>
                    </a:lnTo>
                    <a:lnTo>
                      <a:pt x="1585" y="457"/>
                    </a:lnTo>
                    <a:lnTo>
                      <a:pt x="1580" y="458"/>
                    </a:lnTo>
                    <a:lnTo>
                      <a:pt x="1580" y="458"/>
                    </a:lnTo>
                    <a:close/>
                    <a:moveTo>
                      <a:pt x="1449" y="405"/>
                    </a:moveTo>
                    <a:lnTo>
                      <a:pt x="1444" y="404"/>
                    </a:lnTo>
                    <a:lnTo>
                      <a:pt x="1444" y="399"/>
                    </a:lnTo>
                    <a:lnTo>
                      <a:pt x="1444" y="392"/>
                    </a:lnTo>
                    <a:lnTo>
                      <a:pt x="1442" y="389"/>
                    </a:lnTo>
                    <a:lnTo>
                      <a:pt x="1442" y="384"/>
                    </a:lnTo>
                    <a:lnTo>
                      <a:pt x="1441" y="384"/>
                    </a:lnTo>
                    <a:lnTo>
                      <a:pt x="1446" y="382"/>
                    </a:lnTo>
                    <a:lnTo>
                      <a:pt x="1454" y="384"/>
                    </a:lnTo>
                    <a:lnTo>
                      <a:pt x="1454" y="389"/>
                    </a:lnTo>
                    <a:lnTo>
                      <a:pt x="1451" y="399"/>
                    </a:lnTo>
                    <a:lnTo>
                      <a:pt x="1449" y="400"/>
                    </a:lnTo>
                    <a:lnTo>
                      <a:pt x="1451" y="402"/>
                    </a:lnTo>
                    <a:lnTo>
                      <a:pt x="1452" y="405"/>
                    </a:lnTo>
                    <a:lnTo>
                      <a:pt x="1449" y="405"/>
                    </a:lnTo>
                    <a:lnTo>
                      <a:pt x="1449" y="405"/>
                    </a:lnTo>
                    <a:close/>
                    <a:moveTo>
                      <a:pt x="1449" y="163"/>
                    </a:moveTo>
                    <a:lnTo>
                      <a:pt x="1454" y="159"/>
                    </a:lnTo>
                    <a:lnTo>
                      <a:pt x="1457" y="153"/>
                    </a:lnTo>
                    <a:lnTo>
                      <a:pt x="1457" y="149"/>
                    </a:lnTo>
                    <a:lnTo>
                      <a:pt x="1462" y="146"/>
                    </a:lnTo>
                    <a:lnTo>
                      <a:pt x="1466" y="140"/>
                    </a:lnTo>
                    <a:lnTo>
                      <a:pt x="1464" y="136"/>
                    </a:lnTo>
                    <a:lnTo>
                      <a:pt x="1459" y="136"/>
                    </a:lnTo>
                    <a:lnTo>
                      <a:pt x="1456" y="135"/>
                    </a:lnTo>
                    <a:lnTo>
                      <a:pt x="1457" y="131"/>
                    </a:lnTo>
                    <a:lnTo>
                      <a:pt x="1456" y="131"/>
                    </a:lnTo>
                    <a:lnTo>
                      <a:pt x="1449" y="136"/>
                    </a:lnTo>
                    <a:lnTo>
                      <a:pt x="1442" y="138"/>
                    </a:lnTo>
                    <a:lnTo>
                      <a:pt x="1442" y="141"/>
                    </a:lnTo>
                    <a:lnTo>
                      <a:pt x="1439" y="143"/>
                    </a:lnTo>
                    <a:lnTo>
                      <a:pt x="1439" y="146"/>
                    </a:lnTo>
                    <a:lnTo>
                      <a:pt x="1444" y="148"/>
                    </a:lnTo>
                    <a:lnTo>
                      <a:pt x="1449" y="146"/>
                    </a:lnTo>
                    <a:lnTo>
                      <a:pt x="1449" y="151"/>
                    </a:lnTo>
                    <a:lnTo>
                      <a:pt x="1444" y="154"/>
                    </a:lnTo>
                    <a:lnTo>
                      <a:pt x="1444" y="158"/>
                    </a:lnTo>
                    <a:lnTo>
                      <a:pt x="1447" y="159"/>
                    </a:lnTo>
                    <a:lnTo>
                      <a:pt x="1449" y="163"/>
                    </a:lnTo>
                    <a:lnTo>
                      <a:pt x="1449" y="163"/>
                    </a:lnTo>
                    <a:close/>
                    <a:moveTo>
                      <a:pt x="1386" y="294"/>
                    </a:moveTo>
                    <a:lnTo>
                      <a:pt x="1386" y="289"/>
                    </a:lnTo>
                    <a:lnTo>
                      <a:pt x="1389" y="286"/>
                    </a:lnTo>
                    <a:lnTo>
                      <a:pt x="1386" y="284"/>
                    </a:lnTo>
                    <a:lnTo>
                      <a:pt x="1386" y="279"/>
                    </a:lnTo>
                    <a:lnTo>
                      <a:pt x="1381" y="277"/>
                    </a:lnTo>
                    <a:lnTo>
                      <a:pt x="1383" y="274"/>
                    </a:lnTo>
                    <a:lnTo>
                      <a:pt x="1384" y="271"/>
                    </a:lnTo>
                    <a:lnTo>
                      <a:pt x="1389" y="271"/>
                    </a:lnTo>
                    <a:lnTo>
                      <a:pt x="1394" y="276"/>
                    </a:lnTo>
                    <a:lnTo>
                      <a:pt x="1397" y="276"/>
                    </a:lnTo>
                    <a:lnTo>
                      <a:pt x="1397" y="271"/>
                    </a:lnTo>
                    <a:lnTo>
                      <a:pt x="1392" y="264"/>
                    </a:lnTo>
                    <a:lnTo>
                      <a:pt x="1387" y="262"/>
                    </a:lnTo>
                    <a:lnTo>
                      <a:pt x="1387" y="261"/>
                    </a:lnTo>
                    <a:lnTo>
                      <a:pt x="1391" y="259"/>
                    </a:lnTo>
                    <a:lnTo>
                      <a:pt x="1389" y="256"/>
                    </a:lnTo>
                    <a:lnTo>
                      <a:pt x="1392" y="251"/>
                    </a:lnTo>
                    <a:lnTo>
                      <a:pt x="1392" y="244"/>
                    </a:lnTo>
                    <a:lnTo>
                      <a:pt x="1394" y="239"/>
                    </a:lnTo>
                    <a:lnTo>
                      <a:pt x="1397" y="239"/>
                    </a:lnTo>
                    <a:lnTo>
                      <a:pt x="1401" y="238"/>
                    </a:lnTo>
                    <a:lnTo>
                      <a:pt x="1402" y="231"/>
                    </a:lnTo>
                    <a:lnTo>
                      <a:pt x="1406" y="228"/>
                    </a:lnTo>
                    <a:lnTo>
                      <a:pt x="1411" y="223"/>
                    </a:lnTo>
                    <a:lnTo>
                      <a:pt x="1416" y="223"/>
                    </a:lnTo>
                    <a:lnTo>
                      <a:pt x="1421" y="229"/>
                    </a:lnTo>
                    <a:lnTo>
                      <a:pt x="1424" y="234"/>
                    </a:lnTo>
                    <a:lnTo>
                      <a:pt x="1422" y="238"/>
                    </a:lnTo>
                    <a:lnTo>
                      <a:pt x="1424" y="241"/>
                    </a:lnTo>
                    <a:lnTo>
                      <a:pt x="1427" y="243"/>
                    </a:lnTo>
                    <a:lnTo>
                      <a:pt x="1427" y="247"/>
                    </a:lnTo>
                    <a:lnTo>
                      <a:pt x="1431" y="247"/>
                    </a:lnTo>
                    <a:lnTo>
                      <a:pt x="1431" y="251"/>
                    </a:lnTo>
                    <a:lnTo>
                      <a:pt x="1432" y="256"/>
                    </a:lnTo>
                    <a:lnTo>
                      <a:pt x="1437" y="256"/>
                    </a:lnTo>
                    <a:lnTo>
                      <a:pt x="1437" y="257"/>
                    </a:lnTo>
                    <a:lnTo>
                      <a:pt x="1441" y="261"/>
                    </a:lnTo>
                    <a:lnTo>
                      <a:pt x="1442" y="269"/>
                    </a:lnTo>
                    <a:lnTo>
                      <a:pt x="1437" y="272"/>
                    </a:lnTo>
                    <a:lnTo>
                      <a:pt x="1434" y="276"/>
                    </a:lnTo>
                    <a:lnTo>
                      <a:pt x="1431" y="276"/>
                    </a:lnTo>
                    <a:lnTo>
                      <a:pt x="1427" y="277"/>
                    </a:lnTo>
                    <a:lnTo>
                      <a:pt x="1429" y="279"/>
                    </a:lnTo>
                    <a:lnTo>
                      <a:pt x="1432" y="279"/>
                    </a:lnTo>
                    <a:lnTo>
                      <a:pt x="1432" y="286"/>
                    </a:lnTo>
                    <a:lnTo>
                      <a:pt x="1432" y="289"/>
                    </a:lnTo>
                    <a:lnTo>
                      <a:pt x="1424" y="294"/>
                    </a:lnTo>
                    <a:lnTo>
                      <a:pt x="1421" y="297"/>
                    </a:lnTo>
                    <a:lnTo>
                      <a:pt x="1419" y="297"/>
                    </a:lnTo>
                    <a:lnTo>
                      <a:pt x="1417" y="292"/>
                    </a:lnTo>
                    <a:lnTo>
                      <a:pt x="1416" y="291"/>
                    </a:lnTo>
                    <a:lnTo>
                      <a:pt x="1411" y="296"/>
                    </a:lnTo>
                    <a:lnTo>
                      <a:pt x="1406" y="294"/>
                    </a:lnTo>
                    <a:lnTo>
                      <a:pt x="1399" y="296"/>
                    </a:lnTo>
                    <a:lnTo>
                      <a:pt x="1396" y="296"/>
                    </a:lnTo>
                    <a:lnTo>
                      <a:pt x="1396" y="291"/>
                    </a:lnTo>
                    <a:lnTo>
                      <a:pt x="1391" y="291"/>
                    </a:lnTo>
                    <a:lnTo>
                      <a:pt x="1391" y="292"/>
                    </a:lnTo>
                    <a:lnTo>
                      <a:pt x="1386" y="294"/>
                    </a:lnTo>
                    <a:lnTo>
                      <a:pt x="1386" y="294"/>
                    </a:lnTo>
                    <a:close/>
                    <a:moveTo>
                      <a:pt x="1441" y="287"/>
                    </a:moveTo>
                    <a:lnTo>
                      <a:pt x="1444" y="287"/>
                    </a:lnTo>
                    <a:lnTo>
                      <a:pt x="1444" y="284"/>
                    </a:lnTo>
                    <a:lnTo>
                      <a:pt x="1444" y="277"/>
                    </a:lnTo>
                    <a:lnTo>
                      <a:pt x="1441" y="277"/>
                    </a:lnTo>
                    <a:lnTo>
                      <a:pt x="1439" y="279"/>
                    </a:lnTo>
                    <a:lnTo>
                      <a:pt x="1441" y="284"/>
                    </a:lnTo>
                    <a:lnTo>
                      <a:pt x="1441" y="287"/>
                    </a:lnTo>
                    <a:lnTo>
                      <a:pt x="1441" y="287"/>
                    </a:lnTo>
                    <a:close/>
                    <a:moveTo>
                      <a:pt x="1459" y="354"/>
                    </a:moveTo>
                    <a:lnTo>
                      <a:pt x="1459" y="357"/>
                    </a:lnTo>
                    <a:lnTo>
                      <a:pt x="1462" y="360"/>
                    </a:lnTo>
                    <a:lnTo>
                      <a:pt x="1469" y="360"/>
                    </a:lnTo>
                    <a:lnTo>
                      <a:pt x="1474" y="359"/>
                    </a:lnTo>
                    <a:lnTo>
                      <a:pt x="1479" y="352"/>
                    </a:lnTo>
                    <a:lnTo>
                      <a:pt x="1479" y="349"/>
                    </a:lnTo>
                    <a:lnTo>
                      <a:pt x="1477" y="347"/>
                    </a:lnTo>
                    <a:lnTo>
                      <a:pt x="1477" y="345"/>
                    </a:lnTo>
                    <a:lnTo>
                      <a:pt x="1476" y="342"/>
                    </a:lnTo>
                    <a:lnTo>
                      <a:pt x="1472" y="342"/>
                    </a:lnTo>
                    <a:lnTo>
                      <a:pt x="1469" y="337"/>
                    </a:lnTo>
                    <a:lnTo>
                      <a:pt x="1466" y="337"/>
                    </a:lnTo>
                    <a:lnTo>
                      <a:pt x="1461" y="341"/>
                    </a:lnTo>
                    <a:lnTo>
                      <a:pt x="1461" y="345"/>
                    </a:lnTo>
                    <a:lnTo>
                      <a:pt x="1457" y="349"/>
                    </a:lnTo>
                    <a:lnTo>
                      <a:pt x="1459" y="354"/>
                    </a:lnTo>
                    <a:lnTo>
                      <a:pt x="1459" y="354"/>
                    </a:lnTo>
                    <a:close/>
                    <a:moveTo>
                      <a:pt x="1452" y="355"/>
                    </a:moveTo>
                    <a:lnTo>
                      <a:pt x="1452" y="359"/>
                    </a:lnTo>
                    <a:lnTo>
                      <a:pt x="1454" y="362"/>
                    </a:lnTo>
                    <a:lnTo>
                      <a:pt x="1456" y="364"/>
                    </a:lnTo>
                    <a:lnTo>
                      <a:pt x="1457" y="362"/>
                    </a:lnTo>
                    <a:lnTo>
                      <a:pt x="1457" y="360"/>
                    </a:lnTo>
                    <a:lnTo>
                      <a:pt x="1456" y="359"/>
                    </a:lnTo>
                    <a:lnTo>
                      <a:pt x="1454" y="355"/>
                    </a:lnTo>
                    <a:lnTo>
                      <a:pt x="1452" y="355"/>
                    </a:lnTo>
                    <a:lnTo>
                      <a:pt x="1452" y="355"/>
                    </a:lnTo>
                    <a:close/>
                    <a:moveTo>
                      <a:pt x="1383" y="322"/>
                    </a:moveTo>
                    <a:lnTo>
                      <a:pt x="1381" y="316"/>
                    </a:lnTo>
                    <a:lnTo>
                      <a:pt x="1384" y="309"/>
                    </a:lnTo>
                    <a:lnTo>
                      <a:pt x="1387" y="306"/>
                    </a:lnTo>
                    <a:lnTo>
                      <a:pt x="1392" y="306"/>
                    </a:lnTo>
                    <a:lnTo>
                      <a:pt x="1396" y="304"/>
                    </a:lnTo>
                    <a:lnTo>
                      <a:pt x="1399" y="306"/>
                    </a:lnTo>
                    <a:lnTo>
                      <a:pt x="1402" y="306"/>
                    </a:lnTo>
                    <a:lnTo>
                      <a:pt x="1406" y="306"/>
                    </a:lnTo>
                    <a:lnTo>
                      <a:pt x="1406" y="307"/>
                    </a:lnTo>
                    <a:lnTo>
                      <a:pt x="1411" y="309"/>
                    </a:lnTo>
                    <a:lnTo>
                      <a:pt x="1412" y="307"/>
                    </a:lnTo>
                    <a:lnTo>
                      <a:pt x="1416" y="309"/>
                    </a:lnTo>
                    <a:lnTo>
                      <a:pt x="1419" y="309"/>
                    </a:lnTo>
                    <a:lnTo>
                      <a:pt x="1424" y="316"/>
                    </a:lnTo>
                    <a:lnTo>
                      <a:pt x="1427" y="317"/>
                    </a:lnTo>
                    <a:lnTo>
                      <a:pt x="1426" y="319"/>
                    </a:lnTo>
                    <a:lnTo>
                      <a:pt x="1427" y="321"/>
                    </a:lnTo>
                    <a:lnTo>
                      <a:pt x="1431" y="321"/>
                    </a:lnTo>
                    <a:lnTo>
                      <a:pt x="1434" y="319"/>
                    </a:lnTo>
                    <a:lnTo>
                      <a:pt x="1437" y="322"/>
                    </a:lnTo>
                    <a:lnTo>
                      <a:pt x="1441" y="324"/>
                    </a:lnTo>
                    <a:lnTo>
                      <a:pt x="1439" y="327"/>
                    </a:lnTo>
                    <a:lnTo>
                      <a:pt x="1441" y="329"/>
                    </a:lnTo>
                    <a:lnTo>
                      <a:pt x="1439" y="331"/>
                    </a:lnTo>
                    <a:lnTo>
                      <a:pt x="1432" y="331"/>
                    </a:lnTo>
                    <a:lnTo>
                      <a:pt x="1427" y="336"/>
                    </a:lnTo>
                    <a:lnTo>
                      <a:pt x="1422" y="336"/>
                    </a:lnTo>
                    <a:lnTo>
                      <a:pt x="1417" y="332"/>
                    </a:lnTo>
                    <a:lnTo>
                      <a:pt x="1409" y="332"/>
                    </a:lnTo>
                    <a:lnTo>
                      <a:pt x="1402" y="327"/>
                    </a:lnTo>
                    <a:lnTo>
                      <a:pt x="1397" y="327"/>
                    </a:lnTo>
                    <a:lnTo>
                      <a:pt x="1392" y="326"/>
                    </a:lnTo>
                    <a:lnTo>
                      <a:pt x="1389" y="322"/>
                    </a:lnTo>
                    <a:lnTo>
                      <a:pt x="1384" y="322"/>
                    </a:lnTo>
                    <a:lnTo>
                      <a:pt x="1383" y="322"/>
                    </a:lnTo>
                    <a:lnTo>
                      <a:pt x="1383" y="322"/>
                    </a:lnTo>
                    <a:close/>
                    <a:moveTo>
                      <a:pt x="1323" y="249"/>
                    </a:moveTo>
                    <a:lnTo>
                      <a:pt x="1324" y="247"/>
                    </a:lnTo>
                    <a:lnTo>
                      <a:pt x="1326" y="246"/>
                    </a:lnTo>
                    <a:lnTo>
                      <a:pt x="1328" y="247"/>
                    </a:lnTo>
                    <a:lnTo>
                      <a:pt x="1326" y="251"/>
                    </a:lnTo>
                    <a:lnTo>
                      <a:pt x="1324" y="251"/>
                    </a:lnTo>
                    <a:lnTo>
                      <a:pt x="1323" y="249"/>
                    </a:lnTo>
                    <a:lnTo>
                      <a:pt x="1323" y="249"/>
                    </a:lnTo>
                    <a:close/>
                    <a:moveTo>
                      <a:pt x="1326" y="274"/>
                    </a:moveTo>
                    <a:lnTo>
                      <a:pt x="1329" y="281"/>
                    </a:lnTo>
                    <a:lnTo>
                      <a:pt x="1331" y="286"/>
                    </a:lnTo>
                    <a:lnTo>
                      <a:pt x="1334" y="284"/>
                    </a:lnTo>
                    <a:lnTo>
                      <a:pt x="1339" y="284"/>
                    </a:lnTo>
                    <a:lnTo>
                      <a:pt x="1341" y="286"/>
                    </a:lnTo>
                    <a:lnTo>
                      <a:pt x="1344" y="286"/>
                    </a:lnTo>
                    <a:lnTo>
                      <a:pt x="1351" y="282"/>
                    </a:lnTo>
                    <a:lnTo>
                      <a:pt x="1351" y="279"/>
                    </a:lnTo>
                    <a:lnTo>
                      <a:pt x="1356" y="277"/>
                    </a:lnTo>
                    <a:lnTo>
                      <a:pt x="1359" y="272"/>
                    </a:lnTo>
                    <a:lnTo>
                      <a:pt x="1359" y="267"/>
                    </a:lnTo>
                    <a:lnTo>
                      <a:pt x="1361" y="261"/>
                    </a:lnTo>
                    <a:lnTo>
                      <a:pt x="1364" y="254"/>
                    </a:lnTo>
                    <a:lnTo>
                      <a:pt x="1363" y="252"/>
                    </a:lnTo>
                    <a:lnTo>
                      <a:pt x="1363" y="251"/>
                    </a:lnTo>
                    <a:lnTo>
                      <a:pt x="1366" y="247"/>
                    </a:lnTo>
                    <a:lnTo>
                      <a:pt x="1369" y="243"/>
                    </a:lnTo>
                    <a:lnTo>
                      <a:pt x="1373" y="243"/>
                    </a:lnTo>
                    <a:lnTo>
                      <a:pt x="1376" y="239"/>
                    </a:lnTo>
                    <a:lnTo>
                      <a:pt x="1381" y="236"/>
                    </a:lnTo>
                    <a:lnTo>
                      <a:pt x="1383" y="229"/>
                    </a:lnTo>
                    <a:lnTo>
                      <a:pt x="1383" y="226"/>
                    </a:lnTo>
                    <a:lnTo>
                      <a:pt x="1386" y="223"/>
                    </a:lnTo>
                    <a:lnTo>
                      <a:pt x="1386" y="219"/>
                    </a:lnTo>
                    <a:lnTo>
                      <a:pt x="1384" y="216"/>
                    </a:lnTo>
                    <a:lnTo>
                      <a:pt x="1383" y="211"/>
                    </a:lnTo>
                    <a:lnTo>
                      <a:pt x="1381" y="211"/>
                    </a:lnTo>
                    <a:lnTo>
                      <a:pt x="1376" y="209"/>
                    </a:lnTo>
                    <a:lnTo>
                      <a:pt x="1371" y="209"/>
                    </a:lnTo>
                    <a:lnTo>
                      <a:pt x="1369" y="208"/>
                    </a:lnTo>
                    <a:lnTo>
                      <a:pt x="1371" y="204"/>
                    </a:lnTo>
                    <a:lnTo>
                      <a:pt x="1379" y="199"/>
                    </a:lnTo>
                    <a:lnTo>
                      <a:pt x="1379" y="198"/>
                    </a:lnTo>
                    <a:lnTo>
                      <a:pt x="1376" y="194"/>
                    </a:lnTo>
                    <a:lnTo>
                      <a:pt x="1376" y="189"/>
                    </a:lnTo>
                    <a:lnTo>
                      <a:pt x="1378" y="186"/>
                    </a:lnTo>
                    <a:lnTo>
                      <a:pt x="1373" y="181"/>
                    </a:lnTo>
                    <a:lnTo>
                      <a:pt x="1369" y="181"/>
                    </a:lnTo>
                    <a:lnTo>
                      <a:pt x="1364" y="184"/>
                    </a:lnTo>
                    <a:lnTo>
                      <a:pt x="1358" y="186"/>
                    </a:lnTo>
                    <a:lnTo>
                      <a:pt x="1356" y="189"/>
                    </a:lnTo>
                    <a:lnTo>
                      <a:pt x="1353" y="193"/>
                    </a:lnTo>
                    <a:lnTo>
                      <a:pt x="1349" y="193"/>
                    </a:lnTo>
                    <a:lnTo>
                      <a:pt x="1348" y="189"/>
                    </a:lnTo>
                    <a:lnTo>
                      <a:pt x="1353" y="186"/>
                    </a:lnTo>
                    <a:lnTo>
                      <a:pt x="1356" y="183"/>
                    </a:lnTo>
                    <a:lnTo>
                      <a:pt x="1356" y="178"/>
                    </a:lnTo>
                    <a:lnTo>
                      <a:pt x="1358" y="169"/>
                    </a:lnTo>
                    <a:lnTo>
                      <a:pt x="1356" y="166"/>
                    </a:lnTo>
                    <a:lnTo>
                      <a:pt x="1353" y="163"/>
                    </a:lnTo>
                    <a:lnTo>
                      <a:pt x="1351" y="159"/>
                    </a:lnTo>
                    <a:lnTo>
                      <a:pt x="1346" y="156"/>
                    </a:lnTo>
                    <a:lnTo>
                      <a:pt x="1341" y="158"/>
                    </a:lnTo>
                    <a:lnTo>
                      <a:pt x="1336" y="156"/>
                    </a:lnTo>
                    <a:lnTo>
                      <a:pt x="1329" y="161"/>
                    </a:lnTo>
                    <a:lnTo>
                      <a:pt x="1326" y="159"/>
                    </a:lnTo>
                    <a:lnTo>
                      <a:pt x="1326" y="153"/>
                    </a:lnTo>
                    <a:lnTo>
                      <a:pt x="1324" y="151"/>
                    </a:lnTo>
                    <a:lnTo>
                      <a:pt x="1321" y="154"/>
                    </a:lnTo>
                    <a:lnTo>
                      <a:pt x="1319" y="158"/>
                    </a:lnTo>
                    <a:lnTo>
                      <a:pt x="1314" y="161"/>
                    </a:lnTo>
                    <a:lnTo>
                      <a:pt x="1313" y="164"/>
                    </a:lnTo>
                    <a:lnTo>
                      <a:pt x="1308" y="171"/>
                    </a:lnTo>
                    <a:lnTo>
                      <a:pt x="1308" y="174"/>
                    </a:lnTo>
                    <a:lnTo>
                      <a:pt x="1311" y="178"/>
                    </a:lnTo>
                    <a:lnTo>
                      <a:pt x="1314" y="174"/>
                    </a:lnTo>
                    <a:lnTo>
                      <a:pt x="1319" y="174"/>
                    </a:lnTo>
                    <a:lnTo>
                      <a:pt x="1321" y="176"/>
                    </a:lnTo>
                    <a:lnTo>
                      <a:pt x="1316" y="181"/>
                    </a:lnTo>
                    <a:lnTo>
                      <a:pt x="1309" y="183"/>
                    </a:lnTo>
                    <a:lnTo>
                      <a:pt x="1304" y="189"/>
                    </a:lnTo>
                    <a:lnTo>
                      <a:pt x="1306" y="191"/>
                    </a:lnTo>
                    <a:lnTo>
                      <a:pt x="1313" y="189"/>
                    </a:lnTo>
                    <a:lnTo>
                      <a:pt x="1319" y="183"/>
                    </a:lnTo>
                    <a:lnTo>
                      <a:pt x="1321" y="183"/>
                    </a:lnTo>
                    <a:lnTo>
                      <a:pt x="1324" y="181"/>
                    </a:lnTo>
                    <a:lnTo>
                      <a:pt x="1328" y="184"/>
                    </a:lnTo>
                    <a:lnTo>
                      <a:pt x="1326" y="189"/>
                    </a:lnTo>
                    <a:lnTo>
                      <a:pt x="1323" y="189"/>
                    </a:lnTo>
                    <a:lnTo>
                      <a:pt x="1318" y="194"/>
                    </a:lnTo>
                    <a:lnTo>
                      <a:pt x="1316" y="198"/>
                    </a:lnTo>
                    <a:lnTo>
                      <a:pt x="1318" y="201"/>
                    </a:lnTo>
                    <a:lnTo>
                      <a:pt x="1324" y="199"/>
                    </a:lnTo>
                    <a:lnTo>
                      <a:pt x="1328" y="201"/>
                    </a:lnTo>
                    <a:lnTo>
                      <a:pt x="1323" y="204"/>
                    </a:lnTo>
                    <a:lnTo>
                      <a:pt x="1316" y="208"/>
                    </a:lnTo>
                    <a:lnTo>
                      <a:pt x="1313" y="206"/>
                    </a:lnTo>
                    <a:lnTo>
                      <a:pt x="1311" y="209"/>
                    </a:lnTo>
                    <a:lnTo>
                      <a:pt x="1316" y="209"/>
                    </a:lnTo>
                    <a:lnTo>
                      <a:pt x="1316" y="213"/>
                    </a:lnTo>
                    <a:lnTo>
                      <a:pt x="1309" y="219"/>
                    </a:lnTo>
                    <a:lnTo>
                      <a:pt x="1308" y="219"/>
                    </a:lnTo>
                    <a:lnTo>
                      <a:pt x="1304" y="213"/>
                    </a:lnTo>
                    <a:lnTo>
                      <a:pt x="1301" y="211"/>
                    </a:lnTo>
                    <a:lnTo>
                      <a:pt x="1296" y="206"/>
                    </a:lnTo>
                    <a:lnTo>
                      <a:pt x="1288" y="211"/>
                    </a:lnTo>
                    <a:lnTo>
                      <a:pt x="1288" y="213"/>
                    </a:lnTo>
                    <a:lnTo>
                      <a:pt x="1283" y="221"/>
                    </a:lnTo>
                    <a:lnTo>
                      <a:pt x="1286" y="226"/>
                    </a:lnTo>
                    <a:lnTo>
                      <a:pt x="1286" y="229"/>
                    </a:lnTo>
                    <a:lnTo>
                      <a:pt x="1289" y="231"/>
                    </a:lnTo>
                    <a:lnTo>
                      <a:pt x="1293" y="229"/>
                    </a:lnTo>
                    <a:lnTo>
                      <a:pt x="1298" y="228"/>
                    </a:lnTo>
                    <a:lnTo>
                      <a:pt x="1304" y="231"/>
                    </a:lnTo>
                    <a:lnTo>
                      <a:pt x="1313" y="231"/>
                    </a:lnTo>
                    <a:lnTo>
                      <a:pt x="1314" y="233"/>
                    </a:lnTo>
                    <a:lnTo>
                      <a:pt x="1321" y="231"/>
                    </a:lnTo>
                    <a:lnTo>
                      <a:pt x="1321" y="234"/>
                    </a:lnTo>
                    <a:lnTo>
                      <a:pt x="1318" y="234"/>
                    </a:lnTo>
                    <a:lnTo>
                      <a:pt x="1316" y="238"/>
                    </a:lnTo>
                    <a:lnTo>
                      <a:pt x="1316" y="241"/>
                    </a:lnTo>
                    <a:lnTo>
                      <a:pt x="1323" y="241"/>
                    </a:lnTo>
                    <a:lnTo>
                      <a:pt x="1328" y="244"/>
                    </a:lnTo>
                    <a:lnTo>
                      <a:pt x="1331" y="251"/>
                    </a:lnTo>
                    <a:lnTo>
                      <a:pt x="1334" y="251"/>
                    </a:lnTo>
                    <a:lnTo>
                      <a:pt x="1336" y="252"/>
                    </a:lnTo>
                    <a:lnTo>
                      <a:pt x="1334" y="256"/>
                    </a:lnTo>
                    <a:lnTo>
                      <a:pt x="1334" y="261"/>
                    </a:lnTo>
                    <a:lnTo>
                      <a:pt x="1326" y="274"/>
                    </a:lnTo>
                    <a:lnTo>
                      <a:pt x="1326" y="274"/>
                    </a:lnTo>
                    <a:close/>
                    <a:moveTo>
                      <a:pt x="1301" y="243"/>
                    </a:moveTo>
                    <a:lnTo>
                      <a:pt x="1303" y="238"/>
                    </a:lnTo>
                    <a:lnTo>
                      <a:pt x="1308" y="236"/>
                    </a:lnTo>
                    <a:lnTo>
                      <a:pt x="1313" y="236"/>
                    </a:lnTo>
                    <a:lnTo>
                      <a:pt x="1309" y="238"/>
                    </a:lnTo>
                    <a:lnTo>
                      <a:pt x="1309" y="241"/>
                    </a:lnTo>
                    <a:lnTo>
                      <a:pt x="1304" y="243"/>
                    </a:lnTo>
                    <a:lnTo>
                      <a:pt x="1301" y="243"/>
                    </a:lnTo>
                    <a:lnTo>
                      <a:pt x="1301" y="243"/>
                    </a:lnTo>
                    <a:close/>
                    <a:moveTo>
                      <a:pt x="1291" y="266"/>
                    </a:moveTo>
                    <a:lnTo>
                      <a:pt x="1293" y="262"/>
                    </a:lnTo>
                    <a:lnTo>
                      <a:pt x="1301" y="261"/>
                    </a:lnTo>
                    <a:lnTo>
                      <a:pt x="1308" y="262"/>
                    </a:lnTo>
                    <a:lnTo>
                      <a:pt x="1316" y="271"/>
                    </a:lnTo>
                    <a:lnTo>
                      <a:pt x="1314" y="276"/>
                    </a:lnTo>
                    <a:lnTo>
                      <a:pt x="1316" y="282"/>
                    </a:lnTo>
                    <a:lnTo>
                      <a:pt x="1313" y="282"/>
                    </a:lnTo>
                    <a:lnTo>
                      <a:pt x="1308" y="281"/>
                    </a:lnTo>
                    <a:lnTo>
                      <a:pt x="1303" y="282"/>
                    </a:lnTo>
                    <a:lnTo>
                      <a:pt x="1299" y="282"/>
                    </a:lnTo>
                    <a:lnTo>
                      <a:pt x="1296" y="276"/>
                    </a:lnTo>
                    <a:lnTo>
                      <a:pt x="1291" y="272"/>
                    </a:lnTo>
                    <a:lnTo>
                      <a:pt x="1291" y="266"/>
                    </a:lnTo>
                    <a:lnTo>
                      <a:pt x="1291" y="266"/>
                    </a:lnTo>
                    <a:close/>
                    <a:moveTo>
                      <a:pt x="1230" y="304"/>
                    </a:moveTo>
                    <a:lnTo>
                      <a:pt x="1233" y="301"/>
                    </a:lnTo>
                    <a:lnTo>
                      <a:pt x="1241" y="301"/>
                    </a:lnTo>
                    <a:lnTo>
                      <a:pt x="1238" y="304"/>
                    </a:lnTo>
                    <a:lnTo>
                      <a:pt x="1233" y="306"/>
                    </a:lnTo>
                    <a:lnTo>
                      <a:pt x="1230" y="304"/>
                    </a:lnTo>
                    <a:lnTo>
                      <a:pt x="1230" y="304"/>
                    </a:lnTo>
                    <a:close/>
                    <a:moveTo>
                      <a:pt x="1226" y="297"/>
                    </a:moveTo>
                    <a:lnTo>
                      <a:pt x="1223" y="292"/>
                    </a:lnTo>
                    <a:lnTo>
                      <a:pt x="1226" y="287"/>
                    </a:lnTo>
                    <a:lnTo>
                      <a:pt x="1228" y="282"/>
                    </a:lnTo>
                    <a:lnTo>
                      <a:pt x="1228" y="277"/>
                    </a:lnTo>
                    <a:lnTo>
                      <a:pt x="1233" y="274"/>
                    </a:lnTo>
                    <a:lnTo>
                      <a:pt x="1233" y="271"/>
                    </a:lnTo>
                    <a:lnTo>
                      <a:pt x="1235" y="269"/>
                    </a:lnTo>
                    <a:lnTo>
                      <a:pt x="1235" y="267"/>
                    </a:lnTo>
                    <a:lnTo>
                      <a:pt x="1238" y="261"/>
                    </a:lnTo>
                    <a:lnTo>
                      <a:pt x="1238" y="256"/>
                    </a:lnTo>
                    <a:lnTo>
                      <a:pt x="1240" y="254"/>
                    </a:lnTo>
                    <a:lnTo>
                      <a:pt x="1243" y="257"/>
                    </a:lnTo>
                    <a:lnTo>
                      <a:pt x="1245" y="262"/>
                    </a:lnTo>
                    <a:lnTo>
                      <a:pt x="1246" y="266"/>
                    </a:lnTo>
                    <a:lnTo>
                      <a:pt x="1241" y="274"/>
                    </a:lnTo>
                    <a:lnTo>
                      <a:pt x="1243" y="277"/>
                    </a:lnTo>
                    <a:lnTo>
                      <a:pt x="1240" y="282"/>
                    </a:lnTo>
                    <a:lnTo>
                      <a:pt x="1241" y="286"/>
                    </a:lnTo>
                    <a:lnTo>
                      <a:pt x="1238" y="296"/>
                    </a:lnTo>
                    <a:lnTo>
                      <a:pt x="1233" y="299"/>
                    </a:lnTo>
                    <a:lnTo>
                      <a:pt x="1226" y="297"/>
                    </a:lnTo>
                    <a:lnTo>
                      <a:pt x="1226" y="297"/>
                    </a:lnTo>
                    <a:close/>
                    <a:moveTo>
                      <a:pt x="1172" y="198"/>
                    </a:moveTo>
                    <a:lnTo>
                      <a:pt x="1168" y="193"/>
                    </a:lnTo>
                    <a:lnTo>
                      <a:pt x="1167" y="188"/>
                    </a:lnTo>
                    <a:lnTo>
                      <a:pt x="1170" y="186"/>
                    </a:lnTo>
                    <a:lnTo>
                      <a:pt x="1167" y="183"/>
                    </a:lnTo>
                    <a:lnTo>
                      <a:pt x="1162" y="184"/>
                    </a:lnTo>
                    <a:lnTo>
                      <a:pt x="1158" y="183"/>
                    </a:lnTo>
                    <a:lnTo>
                      <a:pt x="1155" y="184"/>
                    </a:lnTo>
                    <a:lnTo>
                      <a:pt x="1150" y="184"/>
                    </a:lnTo>
                    <a:lnTo>
                      <a:pt x="1147" y="184"/>
                    </a:lnTo>
                    <a:lnTo>
                      <a:pt x="1147" y="181"/>
                    </a:lnTo>
                    <a:lnTo>
                      <a:pt x="1150" y="178"/>
                    </a:lnTo>
                    <a:lnTo>
                      <a:pt x="1152" y="174"/>
                    </a:lnTo>
                    <a:lnTo>
                      <a:pt x="1157" y="174"/>
                    </a:lnTo>
                    <a:lnTo>
                      <a:pt x="1162" y="174"/>
                    </a:lnTo>
                    <a:lnTo>
                      <a:pt x="1175" y="169"/>
                    </a:lnTo>
                    <a:lnTo>
                      <a:pt x="1180" y="171"/>
                    </a:lnTo>
                    <a:lnTo>
                      <a:pt x="1183" y="173"/>
                    </a:lnTo>
                    <a:lnTo>
                      <a:pt x="1187" y="173"/>
                    </a:lnTo>
                    <a:lnTo>
                      <a:pt x="1193" y="173"/>
                    </a:lnTo>
                    <a:lnTo>
                      <a:pt x="1198" y="169"/>
                    </a:lnTo>
                    <a:lnTo>
                      <a:pt x="1206" y="169"/>
                    </a:lnTo>
                    <a:lnTo>
                      <a:pt x="1208" y="169"/>
                    </a:lnTo>
                    <a:lnTo>
                      <a:pt x="1211" y="168"/>
                    </a:lnTo>
                    <a:lnTo>
                      <a:pt x="1215" y="168"/>
                    </a:lnTo>
                    <a:lnTo>
                      <a:pt x="1215" y="171"/>
                    </a:lnTo>
                    <a:lnTo>
                      <a:pt x="1216" y="176"/>
                    </a:lnTo>
                    <a:lnTo>
                      <a:pt x="1216" y="179"/>
                    </a:lnTo>
                    <a:lnTo>
                      <a:pt x="1213" y="186"/>
                    </a:lnTo>
                    <a:lnTo>
                      <a:pt x="1216" y="191"/>
                    </a:lnTo>
                    <a:lnTo>
                      <a:pt x="1213" y="201"/>
                    </a:lnTo>
                    <a:lnTo>
                      <a:pt x="1206" y="203"/>
                    </a:lnTo>
                    <a:lnTo>
                      <a:pt x="1203" y="208"/>
                    </a:lnTo>
                    <a:lnTo>
                      <a:pt x="1198" y="206"/>
                    </a:lnTo>
                    <a:lnTo>
                      <a:pt x="1195" y="206"/>
                    </a:lnTo>
                    <a:lnTo>
                      <a:pt x="1191" y="204"/>
                    </a:lnTo>
                    <a:lnTo>
                      <a:pt x="1187" y="204"/>
                    </a:lnTo>
                    <a:lnTo>
                      <a:pt x="1182" y="199"/>
                    </a:lnTo>
                    <a:lnTo>
                      <a:pt x="1182" y="193"/>
                    </a:lnTo>
                    <a:lnTo>
                      <a:pt x="1178" y="188"/>
                    </a:lnTo>
                    <a:lnTo>
                      <a:pt x="1175" y="191"/>
                    </a:lnTo>
                    <a:lnTo>
                      <a:pt x="1177" y="194"/>
                    </a:lnTo>
                    <a:lnTo>
                      <a:pt x="1172" y="198"/>
                    </a:lnTo>
                    <a:lnTo>
                      <a:pt x="1172" y="198"/>
                    </a:lnTo>
                    <a:close/>
                    <a:moveTo>
                      <a:pt x="1105" y="231"/>
                    </a:moveTo>
                    <a:lnTo>
                      <a:pt x="1108" y="228"/>
                    </a:lnTo>
                    <a:lnTo>
                      <a:pt x="1108" y="224"/>
                    </a:lnTo>
                    <a:lnTo>
                      <a:pt x="1113" y="219"/>
                    </a:lnTo>
                    <a:lnTo>
                      <a:pt x="1115" y="214"/>
                    </a:lnTo>
                    <a:lnTo>
                      <a:pt x="1120" y="213"/>
                    </a:lnTo>
                    <a:lnTo>
                      <a:pt x="1123" y="209"/>
                    </a:lnTo>
                    <a:lnTo>
                      <a:pt x="1127" y="209"/>
                    </a:lnTo>
                    <a:lnTo>
                      <a:pt x="1138" y="208"/>
                    </a:lnTo>
                    <a:lnTo>
                      <a:pt x="1142" y="209"/>
                    </a:lnTo>
                    <a:lnTo>
                      <a:pt x="1147" y="209"/>
                    </a:lnTo>
                    <a:lnTo>
                      <a:pt x="1150" y="211"/>
                    </a:lnTo>
                    <a:lnTo>
                      <a:pt x="1155" y="211"/>
                    </a:lnTo>
                    <a:lnTo>
                      <a:pt x="1158" y="209"/>
                    </a:lnTo>
                    <a:lnTo>
                      <a:pt x="1165" y="211"/>
                    </a:lnTo>
                    <a:lnTo>
                      <a:pt x="1165" y="213"/>
                    </a:lnTo>
                    <a:lnTo>
                      <a:pt x="1172" y="213"/>
                    </a:lnTo>
                    <a:lnTo>
                      <a:pt x="1178" y="214"/>
                    </a:lnTo>
                    <a:lnTo>
                      <a:pt x="1180" y="216"/>
                    </a:lnTo>
                    <a:lnTo>
                      <a:pt x="1185" y="216"/>
                    </a:lnTo>
                    <a:lnTo>
                      <a:pt x="1187" y="218"/>
                    </a:lnTo>
                    <a:lnTo>
                      <a:pt x="1182" y="226"/>
                    </a:lnTo>
                    <a:lnTo>
                      <a:pt x="1178" y="224"/>
                    </a:lnTo>
                    <a:lnTo>
                      <a:pt x="1167" y="228"/>
                    </a:lnTo>
                    <a:lnTo>
                      <a:pt x="1162" y="229"/>
                    </a:lnTo>
                    <a:lnTo>
                      <a:pt x="1157" y="233"/>
                    </a:lnTo>
                    <a:lnTo>
                      <a:pt x="1157" y="236"/>
                    </a:lnTo>
                    <a:lnTo>
                      <a:pt x="1162" y="236"/>
                    </a:lnTo>
                    <a:lnTo>
                      <a:pt x="1163" y="236"/>
                    </a:lnTo>
                    <a:lnTo>
                      <a:pt x="1165" y="239"/>
                    </a:lnTo>
                    <a:lnTo>
                      <a:pt x="1158" y="246"/>
                    </a:lnTo>
                    <a:lnTo>
                      <a:pt x="1157" y="247"/>
                    </a:lnTo>
                    <a:lnTo>
                      <a:pt x="1153" y="249"/>
                    </a:lnTo>
                    <a:lnTo>
                      <a:pt x="1153" y="251"/>
                    </a:lnTo>
                    <a:lnTo>
                      <a:pt x="1150" y="256"/>
                    </a:lnTo>
                    <a:lnTo>
                      <a:pt x="1145" y="256"/>
                    </a:lnTo>
                    <a:lnTo>
                      <a:pt x="1140" y="257"/>
                    </a:lnTo>
                    <a:lnTo>
                      <a:pt x="1133" y="257"/>
                    </a:lnTo>
                    <a:lnTo>
                      <a:pt x="1130" y="254"/>
                    </a:lnTo>
                    <a:lnTo>
                      <a:pt x="1127" y="256"/>
                    </a:lnTo>
                    <a:lnTo>
                      <a:pt x="1122" y="254"/>
                    </a:lnTo>
                    <a:lnTo>
                      <a:pt x="1117" y="254"/>
                    </a:lnTo>
                    <a:lnTo>
                      <a:pt x="1115" y="252"/>
                    </a:lnTo>
                    <a:lnTo>
                      <a:pt x="1118" y="251"/>
                    </a:lnTo>
                    <a:lnTo>
                      <a:pt x="1115" y="244"/>
                    </a:lnTo>
                    <a:lnTo>
                      <a:pt x="1110" y="243"/>
                    </a:lnTo>
                    <a:lnTo>
                      <a:pt x="1107" y="241"/>
                    </a:lnTo>
                    <a:lnTo>
                      <a:pt x="1105" y="236"/>
                    </a:lnTo>
                    <a:lnTo>
                      <a:pt x="1105" y="231"/>
                    </a:lnTo>
                    <a:lnTo>
                      <a:pt x="1105" y="231"/>
                    </a:lnTo>
                    <a:close/>
                    <a:moveTo>
                      <a:pt x="1098" y="216"/>
                    </a:moveTo>
                    <a:lnTo>
                      <a:pt x="1102" y="218"/>
                    </a:lnTo>
                    <a:lnTo>
                      <a:pt x="1108" y="216"/>
                    </a:lnTo>
                    <a:lnTo>
                      <a:pt x="1112" y="211"/>
                    </a:lnTo>
                    <a:lnTo>
                      <a:pt x="1112" y="206"/>
                    </a:lnTo>
                    <a:lnTo>
                      <a:pt x="1113" y="203"/>
                    </a:lnTo>
                    <a:lnTo>
                      <a:pt x="1113" y="199"/>
                    </a:lnTo>
                    <a:lnTo>
                      <a:pt x="1113" y="194"/>
                    </a:lnTo>
                    <a:lnTo>
                      <a:pt x="1110" y="194"/>
                    </a:lnTo>
                    <a:lnTo>
                      <a:pt x="1107" y="194"/>
                    </a:lnTo>
                    <a:lnTo>
                      <a:pt x="1103" y="193"/>
                    </a:lnTo>
                    <a:lnTo>
                      <a:pt x="1100" y="196"/>
                    </a:lnTo>
                    <a:lnTo>
                      <a:pt x="1097" y="196"/>
                    </a:lnTo>
                    <a:lnTo>
                      <a:pt x="1095" y="199"/>
                    </a:lnTo>
                    <a:lnTo>
                      <a:pt x="1095" y="204"/>
                    </a:lnTo>
                    <a:lnTo>
                      <a:pt x="1095" y="209"/>
                    </a:lnTo>
                    <a:lnTo>
                      <a:pt x="1098" y="216"/>
                    </a:lnTo>
                    <a:lnTo>
                      <a:pt x="1098" y="216"/>
                    </a:lnTo>
                    <a:close/>
                    <a:moveTo>
                      <a:pt x="1507" y="538"/>
                    </a:moveTo>
                    <a:lnTo>
                      <a:pt x="1512" y="540"/>
                    </a:lnTo>
                    <a:lnTo>
                      <a:pt x="1517" y="538"/>
                    </a:lnTo>
                    <a:lnTo>
                      <a:pt x="1517" y="543"/>
                    </a:lnTo>
                    <a:lnTo>
                      <a:pt x="1522" y="543"/>
                    </a:lnTo>
                    <a:lnTo>
                      <a:pt x="1524" y="545"/>
                    </a:lnTo>
                    <a:lnTo>
                      <a:pt x="1527" y="545"/>
                    </a:lnTo>
                    <a:lnTo>
                      <a:pt x="1535" y="540"/>
                    </a:lnTo>
                    <a:lnTo>
                      <a:pt x="1540" y="538"/>
                    </a:lnTo>
                    <a:lnTo>
                      <a:pt x="1547" y="541"/>
                    </a:lnTo>
                    <a:lnTo>
                      <a:pt x="1552" y="541"/>
                    </a:lnTo>
                    <a:lnTo>
                      <a:pt x="1554" y="543"/>
                    </a:lnTo>
                    <a:lnTo>
                      <a:pt x="1557" y="541"/>
                    </a:lnTo>
                    <a:lnTo>
                      <a:pt x="1557" y="538"/>
                    </a:lnTo>
                    <a:lnTo>
                      <a:pt x="1560" y="533"/>
                    </a:lnTo>
                    <a:lnTo>
                      <a:pt x="1564" y="533"/>
                    </a:lnTo>
                    <a:lnTo>
                      <a:pt x="1564" y="530"/>
                    </a:lnTo>
                    <a:lnTo>
                      <a:pt x="1560" y="525"/>
                    </a:lnTo>
                    <a:lnTo>
                      <a:pt x="1560" y="522"/>
                    </a:lnTo>
                    <a:lnTo>
                      <a:pt x="1564" y="523"/>
                    </a:lnTo>
                    <a:lnTo>
                      <a:pt x="1564" y="527"/>
                    </a:lnTo>
                    <a:lnTo>
                      <a:pt x="1567" y="532"/>
                    </a:lnTo>
                    <a:lnTo>
                      <a:pt x="1570" y="528"/>
                    </a:lnTo>
                    <a:lnTo>
                      <a:pt x="1572" y="528"/>
                    </a:lnTo>
                    <a:lnTo>
                      <a:pt x="1575" y="528"/>
                    </a:lnTo>
                    <a:lnTo>
                      <a:pt x="1579" y="530"/>
                    </a:lnTo>
                    <a:lnTo>
                      <a:pt x="1579" y="527"/>
                    </a:lnTo>
                    <a:lnTo>
                      <a:pt x="1577" y="522"/>
                    </a:lnTo>
                    <a:lnTo>
                      <a:pt x="1579" y="520"/>
                    </a:lnTo>
                    <a:lnTo>
                      <a:pt x="1575" y="517"/>
                    </a:lnTo>
                    <a:lnTo>
                      <a:pt x="1570" y="518"/>
                    </a:lnTo>
                    <a:lnTo>
                      <a:pt x="1564" y="520"/>
                    </a:lnTo>
                    <a:lnTo>
                      <a:pt x="1564" y="515"/>
                    </a:lnTo>
                    <a:lnTo>
                      <a:pt x="1565" y="515"/>
                    </a:lnTo>
                    <a:lnTo>
                      <a:pt x="1569" y="515"/>
                    </a:lnTo>
                    <a:lnTo>
                      <a:pt x="1574" y="513"/>
                    </a:lnTo>
                    <a:lnTo>
                      <a:pt x="1575" y="510"/>
                    </a:lnTo>
                    <a:lnTo>
                      <a:pt x="1579" y="512"/>
                    </a:lnTo>
                    <a:lnTo>
                      <a:pt x="1582" y="512"/>
                    </a:lnTo>
                    <a:lnTo>
                      <a:pt x="1583" y="508"/>
                    </a:lnTo>
                    <a:lnTo>
                      <a:pt x="1583" y="505"/>
                    </a:lnTo>
                    <a:lnTo>
                      <a:pt x="1585" y="502"/>
                    </a:lnTo>
                    <a:lnTo>
                      <a:pt x="1585" y="498"/>
                    </a:lnTo>
                    <a:lnTo>
                      <a:pt x="1588" y="498"/>
                    </a:lnTo>
                    <a:lnTo>
                      <a:pt x="1588" y="495"/>
                    </a:lnTo>
                    <a:lnTo>
                      <a:pt x="1582" y="493"/>
                    </a:lnTo>
                    <a:lnTo>
                      <a:pt x="1579" y="495"/>
                    </a:lnTo>
                    <a:lnTo>
                      <a:pt x="1580" y="492"/>
                    </a:lnTo>
                    <a:lnTo>
                      <a:pt x="1582" y="490"/>
                    </a:lnTo>
                    <a:lnTo>
                      <a:pt x="1583" y="487"/>
                    </a:lnTo>
                    <a:lnTo>
                      <a:pt x="1579" y="483"/>
                    </a:lnTo>
                    <a:lnTo>
                      <a:pt x="1569" y="483"/>
                    </a:lnTo>
                    <a:lnTo>
                      <a:pt x="1567" y="482"/>
                    </a:lnTo>
                    <a:lnTo>
                      <a:pt x="1569" y="478"/>
                    </a:lnTo>
                    <a:lnTo>
                      <a:pt x="1570" y="478"/>
                    </a:lnTo>
                    <a:lnTo>
                      <a:pt x="1569" y="473"/>
                    </a:lnTo>
                    <a:lnTo>
                      <a:pt x="1562" y="468"/>
                    </a:lnTo>
                    <a:lnTo>
                      <a:pt x="1557" y="468"/>
                    </a:lnTo>
                    <a:lnTo>
                      <a:pt x="1554" y="470"/>
                    </a:lnTo>
                    <a:lnTo>
                      <a:pt x="1547" y="470"/>
                    </a:lnTo>
                    <a:lnTo>
                      <a:pt x="1540" y="472"/>
                    </a:lnTo>
                    <a:lnTo>
                      <a:pt x="1532" y="467"/>
                    </a:lnTo>
                    <a:lnTo>
                      <a:pt x="1530" y="463"/>
                    </a:lnTo>
                    <a:lnTo>
                      <a:pt x="1529" y="462"/>
                    </a:lnTo>
                    <a:lnTo>
                      <a:pt x="1524" y="465"/>
                    </a:lnTo>
                    <a:lnTo>
                      <a:pt x="1520" y="465"/>
                    </a:lnTo>
                    <a:lnTo>
                      <a:pt x="1517" y="465"/>
                    </a:lnTo>
                    <a:lnTo>
                      <a:pt x="1512" y="467"/>
                    </a:lnTo>
                    <a:lnTo>
                      <a:pt x="1510" y="470"/>
                    </a:lnTo>
                    <a:lnTo>
                      <a:pt x="1507" y="467"/>
                    </a:lnTo>
                    <a:lnTo>
                      <a:pt x="1504" y="465"/>
                    </a:lnTo>
                    <a:lnTo>
                      <a:pt x="1499" y="467"/>
                    </a:lnTo>
                    <a:lnTo>
                      <a:pt x="1494" y="467"/>
                    </a:lnTo>
                    <a:lnTo>
                      <a:pt x="1494" y="470"/>
                    </a:lnTo>
                    <a:lnTo>
                      <a:pt x="1492" y="472"/>
                    </a:lnTo>
                    <a:lnTo>
                      <a:pt x="1492" y="468"/>
                    </a:lnTo>
                    <a:lnTo>
                      <a:pt x="1490" y="467"/>
                    </a:lnTo>
                    <a:lnTo>
                      <a:pt x="1485" y="468"/>
                    </a:lnTo>
                    <a:lnTo>
                      <a:pt x="1476" y="467"/>
                    </a:lnTo>
                    <a:lnTo>
                      <a:pt x="1474" y="468"/>
                    </a:lnTo>
                    <a:lnTo>
                      <a:pt x="1477" y="472"/>
                    </a:lnTo>
                    <a:lnTo>
                      <a:pt x="1477" y="475"/>
                    </a:lnTo>
                    <a:lnTo>
                      <a:pt x="1481" y="477"/>
                    </a:lnTo>
                    <a:lnTo>
                      <a:pt x="1476" y="477"/>
                    </a:lnTo>
                    <a:lnTo>
                      <a:pt x="1474" y="473"/>
                    </a:lnTo>
                    <a:lnTo>
                      <a:pt x="1471" y="473"/>
                    </a:lnTo>
                    <a:lnTo>
                      <a:pt x="1464" y="475"/>
                    </a:lnTo>
                    <a:lnTo>
                      <a:pt x="1461" y="473"/>
                    </a:lnTo>
                    <a:lnTo>
                      <a:pt x="1466" y="472"/>
                    </a:lnTo>
                    <a:lnTo>
                      <a:pt x="1467" y="468"/>
                    </a:lnTo>
                    <a:lnTo>
                      <a:pt x="1462" y="463"/>
                    </a:lnTo>
                    <a:lnTo>
                      <a:pt x="1462" y="460"/>
                    </a:lnTo>
                    <a:lnTo>
                      <a:pt x="1461" y="458"/>
                    </a:lnTo>
                    <a:lnTo>
                      <a:pt x="1454" y="460"/>
                    </a:lnTo>
                    <a:lnTo>
                      <a:pt x="1456" y="463"/>
                    </a:lnTo>
                    <a:lnTo>
                      <a:pt x="1454" y="467"/>
                    </a:lnTo>
                    <a:lnTo>
                      <a:pt x="1451" y="465"/>
                    </a:lnTo>
                    <a:lnTo>
                      <a:pt x="1452" y="462"/>
                    </a:lnTo>
                    <a:lnTo>
                      <a:pt x="1452" y="460"/>
                    </a:lnTo>
                    <a:lnTo>
                      <a:pt x="1447" y="458"/>
                    </a:lnTo>
                    <a:lnTo>
                      <a:pt x="1444" y="460"/>
                    </a:lnTo>
                    <a:lnTo>
                      <a:pt x="1441" y="460"/>
                    </a:lnTo>
                    <a:lnTo>
                      <a:pt x="1442" y="457"/>
                    </a:lnTo>
                    <a:lnTo>
                      <a:pt x="1442" y="455"/>
                    </a:lnTo>
                    <a:lnTo>
                      <a:pt x="1442" y="450"/>
                    </a:lnTo>
                    <a:lnTo>
                      <a:pt x="1437" y="450"/>
                    </a:lnTo>
                    <a:lnTo>
                      <a:pt x="1432" y="455"/>
                    </a:lnTo>
                    <a:lnTo>
                      <a:pt x="1432" y="462"/>
                    </a:lnTo>
                    <a:lnTo>
                      <a:pt x="1429" y="462"/>
                    </a:lnTo>
                    <a:lnTo>
                      <a:pt x="1427" y="457"/>
                    </a:lnTo>
                    <a:lnTo>
                      <a:pt x="1429" y="453"/>
                    </a:lnTo>
                    <a:lnTo>
                      <a:pt x="1429" y="452"/>
                    </a:lnTo>
                    <a:lnTo>
                      <a:pt x="1432" y="445"/>
                    </a:lnTo>
                    <a:lnTo>
                      <a:pt x="1429" y="442"/>
                    </a:lnTo>
                    <a:lnTo>
                      <a:pt x="1422" y="443"/>
                    </a:lnTo>
                    <a:lnTo>
                      <a:pt x="1422" y="442"/>
                    </a:lnTo>
                    <a:lnTo>
                      <a:pt x="1427" y="440"/>
                    </a:lnTo>
                    <a:lnTo>
                      <a:pt x="1429" y="435"/>
                    </a:lnTo>
                    <a:lnTo>
                      <a:pt x="1429" y="432"/>
                    </a:lnTo>
                    <a:lnTo>
                      <a:pt x="1426" y="434"/>
                    </a:lnTo>
                    <a:lnTo>
                      <a:pt x="1421" y="432"/>
                    </a:lnTo>
                    <a:lnTo>
                      <a:pt x="1419" y="434"/>
                    </a:lnTo>
                    <a:lnTo>
                      <a:pt x="1416" y="434"/>
                    </a:lnTo>
                    <a:lnTo>
                      <a:pt x="1417" y="432"/>
                    </a:lnTo>
                    <a:lnTo>
                      <a:pt x="1417" y="429"/>
                    </a:lnTo>
                    <a:lnTo>
                      <a:pt x="1412" y="429"/>
                    </a:lnTo>
                    <a:lnTo>
                      <a:pt x="1411" y="432"/>
                    </a:lnTo>
                    <a:lnTo>
                      <a:pt x="1404" y="434"/>
                    </a:lnTo>
                    <a:lnTo>
                      <a:pt x="1404" y="430"/>
                    </a:lnTo>
                    <a:lnTo>
                      <a:pt x="1407" y="429"/>
                    </a:lnTo>
                    <a:lnTo>
                      <a:pt x="1409" y="425"/>
                    </a:lnTo>
                    <a:lnTo>
                      <a:pt x="1411" y="422"/>
                    </a:lnTo>
                    <a:lnTo>
                      <a:pt x="1414" y="422"/>
                    </a:lnTo>
                    <a:lnTo>
                      <a:pt x="1417" y="427"/>
                    </a:lnTo>
                    <a:lnTo>
                      <a:pt x="1424" y="427"/>
                    </a:lnTo>
                    <a:lnTo>
                      <a:pt x="1424" y="424"/>
                    </a:lnTo>
                    <a:lnTo>
                      <a:pt x="1419" y="420"/>
                    </a:lnTo>
                    <a:lnTo>
                      <a:pt x="1416" y="419"/>
                    </a:lnTo>
                    <a:lnTo>
                      <a:pt x="1417" y="417"/>
                    </a:lnTo>
                    <a:lnTo>
                      <a:pt x="1412" y="412"/>
                    </a:lnTo>
                    <a:lnTo>
                      <a:pt x="1407" y="410"/>
                    </a:lnTo>
                    <a:lnTo>
                      <a:pt x="1409" y="409"/>
                    </a:lnTo>
                    <a:lnTo>
                      <a:pt x="1411" y="407"/>
                    </a:lnTo>
                    <a:lnTo>
                      <a:pt x="1412" y="407"/>
                    </a:lnTo>
                    <a:lnTo>
                      <a:pt x="1416" y="410"/>
                    </a:lnTo>
                    <a:lnTo>
                      <a:pt x="1419" y="415"/>
                    </a:lnTo>
                    <a:lnTo>
                      <a:pt x="1426" y="417"/>
                    </a:lnTo>
                    <a:lnTo>
                      <a:pt x="1429" y="420"/>
                    </a:lnTo>
                    <a:lnTo>
                      <a:pt x="1432" y="417"/>
                    </a:lnTo>
                    <a:lnTo>
                      <a:pt x="1434" y="420"/>
                    </a:lnTo>
                    <a:lnTo>
                      <a:pt x="1442" y="422"/>
                    </a:lnTo>
                    <a:lnTo>
                      <a:pt x="1447" y="422"/>
                    </a:lnTo>
                    <a:lnTo>
                      <a:pt x="1449" y="419"/>
                    </a:lnTo>
                    <a:lnTo>
                      <a:pt x="1447" y="414"/>
                    </a:lnTo>
                    <a:lnTo>
                      <a:pt x="1437" y="407"/>
                    </a:lnTo>
                    <a:lnTo>
                      <a:pt x="1434" y="404"/>
                    </a:lnTo>
                    <a:lnTo>
                      <a:pt x="1431" y="404"/>
                    </a:lnTo>
                    <a:lnTo>
                      <a:pt x="1429" y="400"/>
                    </a:lnTo>
                    <a:lnTo>
                      <a:pt x="1426" y="395"/>
                    </a:lnTo>
                    <a:lnTo>
                      <a:pt x="1422" y="395"/>
                    </a:lnTo>
                    <a:lnTo>
                      <a:pt x="1421" y="394"/>
                    </a:lnTo>
                    <a:lnTo>
                      <a:pt x="1422" y="390"/>
                    </a:lnTo>
                    <a:lnTo>
                      <a:pt x="1426" y="392"/>
                    </a:lnTo>
                    <a:lnTo>
                      <a:pt x="1429" y="395"/>
                    </a:lnTo>
                    <a:lnTo>
                      <a:pt x="1432" y="395"/>
                    </a:lnTo>
                    <a:lnTo>
                      <a:pt x="1434" y="399"/>
                    </a:lnTo>
                    <a:lnTo>
                      <a:pt x="1436" y="400"/>
                    </a:lnTo>
                    <a:lnTo>
                      <a:pt x="1437" y="397"/>
                    </a:lnTo>
                    <a:lnTo>
                      <a:pt x="1436" y="389"/>
                    </a:lnTo>
                    <a:lnTo>
                      <a:pt x="1431" y="384"/>
                    </a:lnTo>
                    <a:lnTo>
                      <a:pt x="1427" y="384"/>
                    </a:lnTo>
                    <a:lnTo>
                      <a:pt x="1426" y="382"/>
                    </a:lnTo>
                    <a:lnTo>
                      <a:pt x="1421" y="382"/>
                    </a:lnTo>
                    <a:lnTo>
                      <a:pt x="1416" y="385"/>
                    </a:lnTo>
                    <a:lnTo>
                      <a:pt x="1411" y="385"/>
                    </a:lnTo>
                    <a:lnTo>
                      <a:pt x="1407" y="382"/>
                    </a:lnTo>
                    <a:lnTo>
                      <a:pt x="1404" y="384"/>
                    </a:lnTo>
                    <a:lnTo>
                      <a:pt x="1401" y="380"/>
                    </a:lnTo>
                    <a:lnTo>
                      <a:pt x="1396" y="387"/>
                    </a:lnTo>
                    <a:lnTo>
                      <a:pt x="1389" y="390"/>
                    </a:lnTo>
                    <a:lnTo>
                      <a:pt x="1387" y="394"/>
                    </a:lnTo>
                    <a:lnTo>
                      <a:pt x="1384" y="395"/>
                    </a:lnTo>
                    <a:lnTo>
                      <a:pt x="1384" y="392"/>
                    </a:lnTo>
                    <a:lnTo>
                      <a:pt x="1387" y="389"/>
                    </a:lnTo>
                    <a:lnTo>
                      <a:pt x="1389" y="387"/>
                    </a:lnTo>
                    <a:lnTo>
                      <a:pt x="1399" y="379"/>
                    </a:lnTo>
                    <a:lnTo>
                      <a:pt x="1401" y="375"/>
                    </a:lnTo>
                    <a:lnTo>
                      <a:pt x="1399" y="372"/>
                    </a:lnTo>
                    <a:lnTo>
                      <a:pt x="1399" y="362"/>
                    </a:lnTo>
                    <a:lnTo>
                      <a:pt x="1401" y="360"/>
                    </a:lnTo>
                    <a:lnTo>
                      <a:pt x="1396" y="357"/>
                    </a:lnTo>
                    <a:lnTo>
                      <a:pt x="1394" y="359"/>
                    </a:lnTo>
                    <a:lnTo>
                      <a:pt x="1389" y="359"/>
                    </a:lnTo>
                    <a:lnTo>
                      <a:pt x="1387" y="357"/>
                    </a:lnTo>
                    <a:lnTo>
                      <a:pt x="1386" y="352"/>
                    </a:lnTo>
                    <a:lnTo>
                      <a:pt x="1386" y="350"/>
                    </a:lnTo>
                    <a:lnTo>
                      <a:pt x="1378" y="347"/>
                    </a:lnTo>
                    <a:lnTo>
                      <a:pt x="1374" y="344"/>
                    </a:lnTo>
                    <a:lnTo>
                      <a:pt x="1369" y="344"/>
                    </a:lnTo>
                    <a:lnTo>
                      <a:pt x="1364" y="341"/>
                    </a:lnTo>
                    <a:lnTo>
                      <a:pt x="1363" y="344"/>
                    </a:lnTo>
                    <a:lnTo>
                      <a:pt x="1353" y="344"/>
                    </a:lnTo>
                    <a:lnTo>
                      <a:pt x="1353" y="345"/>
                    </a:lnTo>
                    <a:lnTo>
                      <a:pt x="1349" y="345"/>
                    </a:lnTo>
                    <a:lnTo>
                      <a:pt x="1348" y="350"/>
                    </a:lnTo>
                    <a:lnTo>
                      <a:pt x="1351" y="354"/>
                    </a:lnTo>
                    <a:lnTo>
                      <a:pt x="1353" y="357"/>
                    </a:lnTo>
                    <a:lnTo>
                      <a:pt x="1349" y="357"/>
                    </a:lnTo>
                    <a:lnTo>
                      <a:pt x="1344" y="350"/>
                    </a:lnTo>
                    <a:lnTo>
                      <a:pt x="1343" y="355"/>
                    </a:lnTo>
                    <a:lnTo>
                      <a:pt x="1344" y="359"/>
                    </a:lnTo>
                    <a:lnTo>
                      <a:pt x="1349" y="362"/>
                    </a:lnTo>
                    <a:lnTo>
                      <a:pt x="1354" y="369"/>
                    </a:lnTo>
                    <a:lnTo>
                      <a:pt x="1359" y="369"/>
                    </a:lnTo>
                    <a:lnTo>
                      <a:pt x="1356" y="370"/>
                    </a:lnTo>
                    <a:lnTo>
                      <a:pt x="1353" y="370"/>
                    </a:lnTo>
                    <a:lnTo>
                      <a:pt x="1351" y="375"/>
                    </a:lnTo>
                    <a:lnTo>
                      <a:pt x="1358" y="382"/>
                    </a:lnTo>
                    <a:lnTo>
                      <a:pt x="1361" y="384"/>
                    </a:lnTo>
                    <a:lnTo>
                      <a:pt x="1361" y="387"/>
                    </a:lnTo>
                    <a:lnTo>
                      <a:pt x="1359" y="385"/>
                    </a:lnTo>
                    <a:lnTo>
                      <a:pt x="1353" y="385"/>
                    </a:lnTo>
                    <a:lnTo>
                      <a:pt x="1353" y="387"/>
                    </a:lnTo>
                    <a:lnTo>
                      <a:pt x="1349" y="389"/>
                    </a:lnTo>
                    <a:lnTo>
                      <a:pt x="1348" y="392"/>
                    </a:lnTo>
                    <a:lnTo>
                      <a:pt x="1354" y="390"/>
                    </a:lnTo>
                    <a:lnTo>
                      <a:pt x="1358" y="392"/>
                    </a:lnTo>
                    <a:lnTo>
                      <a:pt x="1366" y="390"/>
                    </a:lnTo>
                    <a:lnTo>
                      <a:pt x="1366" y="392"/>
                    </a:lnTo>
                    <a:lnTo>
                      <a:pt x="1371" y="394"/>
                    </a:lnTo>
                    <a:lnTo>
                      <a:pt x="1373" y="397"/>
                    </a:lnTo>
                    <a:lnTo>
                      <a:pt x="1379" y="400"/>
                    </a:lnTo>
                    <a:lnTo>
                      <a:pt x="1381" y="400"/>
                    </a:lnTo>
                    <a:lnTo>
                      <a:pt x="1381" y="399"/>
                    </a:lnTo>
                    <a:lnTo>
                      <a:pt x="1383" y="400"/>
                    </a:lnTo>
                    <a:lnTo>
                      <a:pt x="1387" y="397"/>
                    </a:lnTo>
                    <a:lnTo>
                      <a:pt x="1391" y="399"/>
                    </a:lnTo>
                    <a:lnTo>
                      <a:pt x="1392" y="400"/>
                    </a:lnTo>
                    <a:lnTo>
                      <a:pt x="1391" y="405"/>
                    </a:lnTo>
                    <a:lnTo>
                      <a:pt x="1391" y="412"/>
                    </a:lnTo>
                    <a:lnTo>
                      <a:pt x="1389" y="419"/>
                    </a:lnTo>
                    <a:lnTo>
                      <a:pt x="1389" y="422"/>
                    </a:lnTo>
                    <a:lnTo>
                      <a:pt x="1391" y="425"/>
                    </a:lnTo>
                    <a:lnTo>
                      <a:pt x="1389" y="432"/>
                    </a:lnTo>
                    <a:lnTo>
                      <a:pt x="1389" y="434"/>
                    </a:lnTo>
                    <a:lnTo>
                      <a:pt x="1387" y="439"/>
                    </a:lnTo>
                    <a:lnTo>
                      <a:pt x="1381" y="443"/>
                    </a:lnTo>
                    <a:lnTo>
                      <a:pt x="1376" y="445"/>
                    </a:lnTo>
                    <a:lnTo>
                      <a:pt x="1374" y="448"/>
                    </a:lnTo>
                    <a:lnTo>
                      <a:pt x="1369" y="453"/>
                    </a:lnTo>
                    <a:lnTo>
                      <a:pt x="1369" y="457"/>
                    </a:lnTo>
                    <a:lnTo>
                      <a:pt x="1366" y="460"/>
                    </a:lnTo>
                    <a:lnTo>
                      <a:pt x="1363" y="463"/>
                    </a:lnTo>
                    <a:lnTo>
                      <a:pt x="1363" y="468"/>
                    </a:lnTo>
                    <a:lnTo>
                      <a:pt x="1366" y="468"/>
                    </a:lnTo>
                    <a:lnTo>
                      <a:pt x="1366" y="472"/>
                    </a:lnTo>
                    <a:lnTo>
                      <a:pt x="1363" y="473"/>
                    </a:lnTo>
                    <a:lnTo>
                      <a:pt x="1361" y="477"/>
                    </a:lnTo>
                    <a:lnTo>
                      <a:pt x="1364" y="478"/>
                    </a:lnTo>
                    <a:lnTo>
                      <a:pt x="1359" y="483"/>
                    </a:lnTo>
                    <a:lnTo>
                      <a:pt x="1359" y="487"/>
                    </a:lnTo>
                    <a:lnTo>
                      <a:pt x="1361" y="492"/>
                    </a:lnTo>
                    <a:lnTo>
                      <a:pt x="1364" y="492"/>
                    </a:lnTo>
                    <a:lnTo>
                      <a:pt x="1364" y="495"/>
                    </a:lnTo>
                    <a:lnTo>
                      <a:pt x="1368" y="498"/>
                    </a:lnTo>
                    <a:lnTo>
                      <a:pt x="1371" y="497"/>
                    </a:lnTo>
                    <a:lnTo>
                      <a:pt x="1371" y="493"/>
                    </a:lnTo>
                    <a:lnTo>
                      <a:pt x="1373" y="492"/>
                    </a:lnTo>
                    <a:lnTo>
                      <a:pt x="1374" y="493"/>
                    </a:lnTo>
                    <a:lnTo>
                      <a:pt x="1378" y="493"/>
                    </a:lnTo>
                    <a:lnTo>
                      <a:pt x="1381" y="487"/>
                    </a:lnTo>
                    <a:lnTo>
                      <a:pt x="1383" y="490"/>
                    </a:lnTo>
                    <a:lnTo>
                      <a:pt x="1381" y="495"/>
                    </a:lnTo>
                    <a:lnTo>
                      <a:pt x="1376" y="495"/>
                    </a:lnTo>
                    <a:lnTo>
                      <a:pt x="1376" y="498"/>
                    </a:lnTo>
                    <a:lnTo>
                      <a:pt x="1378" y="500"/>
                    </a:lnTo>
                    <a:lnTo>
                      <a:pt x="1378" y="502"/>
                    </a:lnTo>
                    <a:lnTo>
                      <a:pt x="1383" y="507"/>
                    </a:lnTo>
                    <a:lnTo>
                      <a:pt x="1387" y="507"/>
                    </a:lnTo>
                    <a:lnTo>
                      <a:pt x="1387" y="508"/>
                    </a:lnTo>
                    <a:lnTo>
                      <a:pt x="1394" y="508"/>
                    </a:lnTo>
                    <a:lnTo>
                      <a:pt x="1397" y="507"/>
                    </a:lnTo>
                    <a:lnTo>
                      <a:pt x="1402" y="505"/>
                    </a:lnTo>
                    <a:lnTo>
                      <a:pt x="1402" y="498"/>
                    </a:lnTo>
                    <a:lnTo>
                      <a:pt x="1404" y="498"/>
                    </a:lnTo>
                    <a:lnTo>
                      <a:pt x="1407" y="497"/>
                    </a:lnTo>
                    <a:lnTo>
                      <a:pt x="1407" y="500"/>
                    </a:lnTo>
                    <a:lnTo>
                      <a:pt x="1407" y="502"/>
                    </a:lnTo>
                    <a:lnTo>
                      <a:pt x="1407" y="505"/>
                    </a:lnTo>
                    <a:lnTo>
                      <a:pt x="1409" y="503"/>
                    </a:lnTo>
                    <a:lnTo>
                      <a:pt x="1412" y="497"/>
                    </a:lnTo>
                    <a:lnTo>
                      <a:pt x="1416" y="497"/>
                    </a:lnTo>
                    <a:lnTo>
                      <a:pt x="1416" y="498"/>
                    </a:lnTo>
                    <a:lnTo>
                      <a:pt x="1416" y="503"/>
                    </a:lnTo>
                    <a:lnTo>
                      <a:pt x="1409" y="510"/>
                    </a:lnTo>
                    <a:lnTo>
                      <a:pt x="1406" y="513"/>
                    </a:lnTo>
                    <a:lnTo>
                      <a:pt x="1406" y="517"/>
                    </a:lnTo>
                    <a:lnTo>
                      <a:pt x="1411" y="518"/>
                    </a:lnTo>
                    <a:lnTo>
                      <a:pt x="1416" y="522"/>
                    </a:lnTo>
                    <a:lnTo>
                      <a:pt x="1419" y="520"/>
                    </a:lnTo>
                    <a:lnTo>
                      <a:pt x="1421" y="522"/>
                    </a:lnTo>
                    <a:lnTo>
                      <a:pt x="1426" y="523"/>
                    </a:lnTo>
                    <a:lnTo>
                      <a:pt x="1427" y="520"/>
                    </a:lnTo>
                    <a:lnTo>
                      <a:pt x="1432" y="520"/>
                    </a:lnTo>
                    <a:lnTo>
                      <a:pt x="1431" y="522"/>
                    </a:lnTo>
                    <a:lnTo>
                      <a:pt x="1431" y="523"/>
                    </a:lnTo>
                    <a:lnTo>
                      <a:pt x="1434" y="525"/>
                    </a:lnTo>
                    <a:lnTo>
                      <a:pt x="1437" y="527"/>
                    </a:lnTo>
                    <a:lnTo>
                      <a:pt x="1441" y="525"/>
                    </a:lnTo>
                    <a:lnTo>
                      <a:pt x="1441" y="523"/>
                    </a:lnTo>
                    <a:lnTo>
                      <a:pt x="1439" y="520"/>
                    </a:lnTo>
                    <a:lnTo>
                      <a:pt x="1442" y="515"/>
                    </a:lnTo>
                    <a:lnTo>
                      <a:pt x="1444" y="518"/>
                    </a:lnTo>
                    <a:lnTo>
                      <a:pt x="1442" y="523"/>
                    </a:lnTo>
                    <a:lnTo>
                      <a:pt x="1444" y="527"/>
                    </a:lnTo>
                    <a:lnTo>
                      <a:pt x="1447" y="527"/>
                    </a:lnTo>
                    <a:lnTo>
                      <a:pt x="1449" y="523"/>
                    </a:lnTo>
                    <a:lnTo>
                      <a:pt x="1451" y="520"/>
                    </a:lnTo>
                    <a:lnTo>
                      <a:pt x="1454" y="520"/>
                    </a:lnTo>
                    <a:lnTo>
                      <a:pt x="1452" y="523"/>
                    </a:lnTo>
                    <a:lnTo>
                      <a:pt x="1451" y="525"/>
                    </a:lnTo>
                    <a:lnTo>
                      <a:pt x="1451" y="528"/>
                    </a:lnTo>
                    <a:lnTo>
                      <a:pt x="1457" y="528"/>
                    </a:lnTo>
                    <a:lnTo>
                      <a:pt x="1461" y="525"/>
                    </a:lnTo>
                    <a:lnTo>
                      <a:pt x="1464" y="518"/>
                    </a:lnTo>
                    <a:lnTo>
                      <a:pt x="1466" y="522"/>
                    </a:lnTo>
                    <a:lnTo>
                      <a:pt x="1462" y="525"/>
                    </a:lnTo>
                    <a:lnTo>
                      <a:pt x="1462" y="528"/>
                    </a:lnTo>
                    <a:lnTo>
                      <a:pt x="1469" y="527"/>
                    </a:lnTo>
                    <a:lnTo>
                      <a:pt x="1471" y="522"/>
                    </a:lnTo>
                    <a:lnTo>
                      <a:pt x="1472" y="518"/>
                    </a:lnTo>
                    <a:lnTo>
                      <a:pt x="1471" y="528"/>
                    </a:lnTo>
                    <a:lnTo>
                      <a:pt x="1472" y="530"/>
                    </a:lnTo>
                    <a:lnTo>
                      <a:pt x="1477" y="532"/>
                    </a:lnTo>
                    <a:lnTo>
                      <a:pt x="1484" y="535"/>
                    </a:lnTo>
                    <a:lnTo>
                      <a:pt x="1487" y="533"/>
                    </a:lnTo>
                    <a:lnTo>
                      <a:pt x="1490" y="532"/>
                    </a:lnTo>
                    <a:lnTo>
                      <a:pt x="1492" y="535"/>
                    </a:lnTo>
                    <a:lnTo>
                      <a:pt x="1497" y="533"/>
                    </a:lnTo>
                    <a:lnTo>
                      <a:pt x="1500" y="532"/>
                    </a:lnTo>
                    <a:lnTo>
                      <a:pt x="1500" y="527"/>
                    </a:lnTo>
                    <a:lnTo>
                      <a:pt x="1505" y="523"/>
                    </a:lnTo>
                    <a:lnTo>
                      <a:pt x="1507" y="520"/>
                    </a:lnTo>
                    <a:lnTo>
                      <a:pt x="1504" y="517"/>
                    </a:lnTo>
                    <a:lnTo>
                      <a:pt x="1507" y="512"/>
                    </a:lnTo>
                    <a:lnTo>
                      <a:pt x="1509" y="513"/>
                    </a:lnTo>
                    <a:lnTo>
                      <a:pt x="1509" y="518"/>
                    </a:lnTo>
                    <a:lnTo>
                      <a:pt x="1512" y="518"/>
                    </a:lnTo>
                    <a:lnTo>
                      <a:pt x="1512" y="522"/>
                    </a:lnTo>
                    <a:lnTo>
                      <a:pt x="1509" y="523"/>
                    </a:lnTo>
                    <a:lnTo>
                      <a:pt x="1505" y="530"/>
                    </a:lnTo>
                    <a:lnTo>
                      <a:pt x="1507" y="538"/>
                    </a:lnTo>
                    <a:lnTo>
                      <a:pt x="1507" y="538"/>
                    </a:lnTo>
                    <a:close/>
                    <a:moveTo>
                      <a:pt x="1341" y="341"/>
                    </a:moveTo>
                    <a:lnTo>
                      <a:pt x="1344" y="339"/>
                    </a:lnTo>
                    <a:lnTo>
                      <a:pt x="1344" y="337"/>
                    </a:lnTo>
                    <a:lnTo>
                      <a:pt x="1341" y="337"/>
                    </a:lnTo>
                    <a:lnTo>
                      <a:pt x="1339" y="339"/>
                    </a:lnTo>
                    <a:lnTo>
                      <a:pt x="1341" y="341"/>
                    </a:lnTo>
                    <a:lnTo>
                      <a:pt x="1341" y="341"/>
                    </a:lnTo>
                    <a:close/>
                    <a:moveTo>
                      <a:pt x="1333" y="367"/>
                    </a:moveTo>
                    <a:lnTo>
                      <a:pt x="1336" y="364"/>
                    </a:lnTo>
                    <a:lnTo>
                      <a:pt x="1336" y="360"/>
                    </a:lnTo>
                    <a:lnTo>
                      <a:pt x="1338" y="364"/>
                    </a:lnTo>
                    <a:lnTo>
                      <a:pt x="1334" y="367"/>
                    </a:lnTo>
                    <a:lnTo>
                      <a:pt x="1333" y="367"/>
                    </a:lnTo>
                    <a:lnTo>
                      <a:pt x="1333" y="367"/>
                    </a:lnTo>
                    <a:close/>
                    <a:moveTo>
                      <a:pt x="1216" y="405"/>
                    </a:moveTo>
                    <a:lnTo>
                      <a:pt x="1215" y="407"/>
                    </a:lnTo>
                    <a:lnTo>
                      <a:pt x="1216" y="409"/>
                    </a:lnTo>
                    <a:lnTo>
                      <a:pt x="1218" y="407"/>
                    </a:lnTo>
                    <a:lnTo>
                      <a:pt x="1216" y="405"/>
                    </a:lnTo>
                    <a:lnTo>
                      <a:pt x="1216" y="405"/>
                    </a:lnTo>
                    <a:close/>
                    <a:moveTo>
                      <a:pt x="1291" y="339"/>
                    </a:moveTo>
                    <a:lnTo>
                      <a:pt x="1291" y="341"/>
                    </a:lnTo>
                    <a:lnTo>
                      <a:pt x="1294" y="344"/>
                    </a:lnTo>
                    <a:lnTo>
                      <a:pt x="1294" y="347"/>
                    </a:lnTo>
                    <a:lnTo>
                      <a:pt x="1298" y="345"/>
                    </a:lnTo>
                    <a:lnTo>
                      <a:pt x="1296" y="342"/>
                    </a:lnTo>
                    <a:lnTo>
                      <a:pt x="1294" y="339"/>
                    </a:lnTo>
                    <a:lnTo>
                      <a:pt x="1291" y="339"/>
                    </a:lnTo>
                    <a:lnTo>
                      <a:pt x="1291" y="339"/>
                    </a:lnTo>
                    <a:close/>
                    <a:moveTo>
                      <a:pt x="1255" y="341"/>
                    </a:moveTo>
                    <a:lnTo>
                      <a:pt x="1255" y="342"/>
                    </a:lnTo>
                    <a:lnTo>
                      <a:pt x="1258" y="344"/>
                    </a:lnTo>
                    <a:lnTo>
                      <a:pt x="1261" y="342"/>
                    </a:lnTo>
                    <a:lnTo>
                      <a:pt x="1266" y="342"/>
                    </a:lnTo>
                    <a:lnTo>
                      <a:pt x="1270" y="342"/>
                    </a:lnTo>
                    <a:lnTo>
                      <a:pt x="1276" y="339"/>
                    </a:lnTo>
                    <a:lnTo>
                      <a:pt x="1280" y="339"/>
                    </a:lnTo>
                    <a:lnTo>
                      <a:pt x="1285" y="337"/>
                    </a:lnTo>
                    <a:lnTo>
                      <a:pt x="1283" y="336"/>
                    </a:lnTo>
                    <a:lnTo>
                      <a:pt x="1276" y="336"/>
                    </a:lnTo>
                    <a:lnTo>
                      <a:pt x="1270" y="336"/>
                    </a:lnTo>
                    <a:lnTo>
                      <a:pt x="1270" y="336"/>
                    </a:lnTo>
                    <a:lnTo>
                      <a:pt x="1266" y="339"/>
                    </a:lnTo>
                    <a:lnTo>
                      <a:pt x="1266" y="339"/>
                    </a:lnTo>
                    <a:lnTo>
                      <a:pt x="1263" y="337"/>
                    </a:lnTo>
                    <a:lnTo>
                      <a:pt x="1258" y="339"/>
                    </a:lnTo>
                    <a:lnTo>
                      <a:pt x="1255" y="341"/>
                    </a:lnTo>
                    <a:lnTo>
                      <a:pt x="1255" y="341"/>
                    </a:lnTo>
                    <a:close/>
                    <a:moveTo>
                      <a:pt x="1218" y="352"/>
                    </a:moveTo>
                    <a:lnTo>
                      <a:pt x="1215" y="349"/>
                    </a:lnTo>
                    <a:lnTo>
                      <a:pt x="1208" y="349"/>
                    </a:lnTo>
                    <a:lnTo>
                      <a:pt x="1205" y="347"/>
                    </a:lnTo>
                    <a:lnTo>
                      <a:pt x="1203" y="342"/>
                    </a:lnTo>
                    <a:lnTo>
                      <a:pt x="1206" y="339"/>
                    </a:lnTo>
                    <a:lnTo>
                      <a:pt x="1206" y="336"/>
                    </a:lnTo>
                    <a:lnTo>
                      <a:pt x="1206" y="332"/>
                    </a:lnTo>
                    <a:lnTo>
                      <a:pt x="1206" y="329"/>
                    </a:lnTo>
                    <a:lnTo>
                      <a:pt x="1210" y="327"/>
                    </a:lnTo>
                    <a:lnTo>
                      <a:pt x="1216" y="327"/>
                    </a:lnTo>
                    <a:lnTo>
                      <a:pt x="1218" y="327"/>
                    </a:lnTo>
                    <a:lnTo>
                      <a:pt x="1220" y="329"/>
                    </a:lnTo>
                    <a:lnTo>
                      <a:pt x="1220" y="331"/>
                    </a:lnTo>
                    <a:lnTo>
                      <a:pt x="1218" y="332"/>
                    </a:lnTo>
                    <a:lnTo>
                      <a:pt x="1216" y="336"/>
                    </a:lnTo>
                    <a:lnTo>
                      <a:pt x="1218" y="336"/>
                    </a:lnTo>
                    <a:lnTo>
                      <a:pt x="1223" y="336"/>
                    </a:lnTo>
                    <a:lnTo>
                      <a:pt x="1223" y="337"/>
                    </a:lnTo>
                    <a:lnTo>
                      <a:pt x="1221" y="341"/>
                    </a:lnTo>
                    <a:lnTo>
                      <a:pt x="1223" y="342"/>
                    </a:lnTo>
                    <a:lnTo>
                      <a:pt x="1223" y="347"/>
                    </a:lnTo>
                    <a:lnTo>
                      <a:pt x="1221" y="350"/>
                    </a:lnTo>
                    <a:lnTo>
                      <a:pt x="1218" y="352"/>
                    </a:lnTo>
                    <a:lnTo>
                      <a:pt x="1218" y="352"/>
                    </a:lnTo>
                    <a:close/>
                    <a:moveTo>
                      <a:pt x="1211" y="367"/>
                    </a:moveTo>
                    <a:lnTo>
                      <a:pt x="1221" y="369"/>
                    </a:lnTo>
                    <a:lnTo>
                      <a:pt x="1225" y="365"/>
                    </a:lnTo>
                    <a:lnTo>
                      <a:pt x="1228" y="360"/>
                    </a:lnTo>
                    <a:lnTo>
                      <a:pt x="1225" y="355"/>
                    </a:lnTo>
                    <a:lnTo>
                      <a:pt x="1220" y="357"/>
                    </a:lnTo>
                    <a:lnTo>
                      <a:pt x="1215" y="354"/>
                    </a:lnTo>
                    <a:lnTo>
                      <a:pt x="1208" y="354"/>
                    </a:lnTo>
                    <a:lnTo>
                      <a:pt x="1205" y="354"/>
                    </a:lnTo>
                    <a:lnTo>
                      <a:pt x="1200" y="354"/>
                    </a:lnTo>
                    <a:lnTo>
                      <a:pt x="1198" y="355"/>
                    </a:lnTo>
                    <a:lnTo>
                      <a:pt x="1195" y="357"/>
                    </a:lnTo>
                    <a:lnTo>
                      <a:pt x="1195" y="360"/>
                    </a:lnTo>
                    <a:lnTo>
                      <a:pt x="1195" y="362"/>
                    </a:lnTo>
                    <a:lnTo>
                      <a:pt x="1196" y="362"/>
                    </a:lnTo>
                    <a:lnTo>
                      <a:pt x="1198" y="364"/>
                    </a:lnTo>
                    <a:lnTo>
                      <a:pt x="1201" y="365"/>
                    </a:lnTo>
                    <a:lnTo>
                      <a:pt x="1206" y="367"/>
                    </a:lnTo>
                    <a:lnTo>
                      <a:pt x="1211" y="367"/>
                    </a:lnTo>
                    <a:lnTo>
                      <a:pt x="1211" y="367"/>
                    </a:lnTo>
                    <a:close/>
                    <a:moveTo>
                      <a:pt x="1195" y="374"/>
                    </a:moveTo>
                    <a:lnTo>
                      <a:pt x="1205" y="377"/>
                    </a:lnTo>
                    <a:lnTo>
                      <a:pt x="1210" y="375"/>
                    </a:lnTo>
                    <a:lnTo>
                      <a:pt x="1213" y="375"/>
                    </a:lnTo>
                    <a:lnTo>
                      <a:pt x="1215" y="375"/>
                    </a:lnTo>
                    <a:lnTo>
                      <a:pt x="1218" y="375"/>
                    </a:lnTo>
                    <a:lnTo>
                      <a:pt x="1223" y="374"/>
                    </a:lnTo>
                    <a:lnTo>
                      <a:pt x="1223" y="372"/>
                    </a:lnTo>
                    <a:lnTo>
                      <a:pt x="1220" y="370"/>
                    </a:lnTo>
                    <a:lnTo>
                      <a:pt x="1210" y="372"/>
                    </a:lnTo>
                    <a:lnTo>
                      <a:pt x="1205" y="372"/>
                    </a:lnTo>
                    <a:lnTo>
                      <a:pt x="1203" y="370"/>
                    </a:lnTo>
                    <a:lnTo>
                      <a:pt x="1196" y="370"/>
                    </a:lnTo>
                    <a:lnTo>
                      <a:pt x="1193" y="372"/>
                    </a:lnTo>
                    <a:lnTo>
                      <a:pt x="1195" y="374"/>
                    </a:lnTo>
                    <a:lnTo>
                      <a:pt x="1195" y="374"/>
                    </a:lnTo>
                    <a:close/>
                    <a:moveTo>
                      <a:pt x="1191" y="385"/>
                    </a:moveTo>
                    <a:lnTo>
                      <a:pt x="1195" y="384"/>
                    </a:lnTo>
                    <a:lnTo>
                      <a:pt x="1200" y="384"/>
                    </a:lnTo>
                    <a:lnTo>
                      <a:pt x="1205" y="380"/>
                    </a:lnTo>
                    <a:lnTo>
                      <a:pt x="1215" y="379"/>
                    </a:lnTo>
                    <a:lnTo>
                      <a:pt x="1216" y="379"/>
                    </a:lnTo>
                    <a:lnTo>
                      <a:pt x="1220" y="379"/>
                    </a:lnTo>
                    <a:lnTo>
                      <a:pt x="1223" y="379"/>
                    </a:lnTo>
                    <a:lnTo>
                      <a:pt x="1223" y="380"/>
                    </a:lnTo>
                    <a:lnTo>
                      <a:pt x="1220" y="384"/>
                    </a:lnTo>
                    <a:lnTo>
                      <a:pt x="1216" y="384"/>
                    </a:lnTo>
                    <a:lnTo>
                      <a:pt x="1211" y="384"/>
                    </a:lnTo>
                    <a:lnTo>
                      <a:pt x="1210" y="385"/>
                    </a:lnTo>
                    <a:lnTo>
                      <a:pt x="1205" y="389"/>
                    </a:lnTo>
                    <a:lnTo>
                      <a:pt x="1200" y="387"/>
                    </a:lnTo>
                    <a:lnTo>
                      <a:pt x="1195" y="387"/>
                    </a:lnTo>
                    <a:lnTo>
                      <a:pt x="1193" y="389"/>
                    </a:lnTo>
                    <a:lnTo>
                      <a:pt x="1191" y="387"/>
                    </a:lnTo>
                    <a:lnTo>
                      <a:pt x="1191" y="385"/>
                    </a:lnTo>
                    <a:lnTo>
                      <a:pt x="1191" y="385"/>
                    </a:lnTo>
                    <a:close/>
                    <a:moveTo>
                      <a:pt x="1079" y="254"/>
                    </a:moveTo>
                    <a:lnTo>
                      <a:pt x="1077" y="252"/>
                    </a:lnTo>
                    <a:lnTo>
                      <a:pt x="1079" y="249"/>
                    </a:lnTo>
                    <a:lnTo>
                      <a:pt x="1084" y="249"/>
                    </a:lnTo>
                    <a:lnTo>
                      <a:pt x="1082" y="252"/>
                    </a:lnTo>
                    <a:lnTo>
                      <a:pt x="1079" y="254"/>
                    </a:lnTo>
                    <a:lnTo>
                      <a:pt x="1079" y="254"/>
                    </a:lnTo>
                    <a:close/>
                    <a:moveTo>
                      <a:pt x="1045" y="266"/>
                    </a:moveTo>
                    <a:lnTo>
                      <a:pt x="1050" y="266"/>
                    </a:lnTo>
                    <a:lnTo>
                      <a:pt x="1052" y="264"/>
                    </a:lnTo>
                    <a:lnTo>
                      <a:pt x="1059" y="267"/>
                    </a:lnTo>
                    <a:lnTo>
                      <a:pt x="1064" y="266"/>
                    </a:lnTo>
                    <a:lnTo>
                      <a:pt x="1067" y="267"/>
                    </a:lnTo>
                    <a:lnTo>
                      <a:pt x="1067" y="271"/>
                    </a:lnTo>
                    <a:lnTo>
                      <a:pt x="1069" y="272"/>
                    </a:lnTo>
                    <a:lnTo>
                      <a:pt x="1065" y="276"/>
                    </a:lnTo>
                    <a:lnTo>
                      <a:pt x="1062" y="277"/>
                    </a:lnTo>
                    <a:lnTo>
                      <a:pt x="1057" y="276"/>
                    </a:lnTo>
                    <a:lnTo>
                      <a:pt x="1054" y="276"/>
                    </a:lnTo>
                    <a:lnTo>
                      <a:pt x="1052" y="272"/>
                    </a:lnTo>
                    <a:lnTo>
                      <a:pt x="1049" y="269"/>
                    </a:lnTo>
                    <a:lnTo>
                      <a:pt x="1047" y="267"/>
                    </a:lnTo>
                    <a:lnTo>
                      <a:pt x="1047" y="267"/>
                    </a:lnTo>
                    <a:lnTo>
                      <a:pt x="1045" y="266"/>
                    </a:lnTo>
                    <a:lnTo>
                      <a:pt x="1045" y="266"/>
                    </a:lnTo>
                    <a:close/>
                    <a:moveTo>
                      <a:pt x="876" y="274"/>
                    </a:moveTo>
                    <a:lnTo>
                      <a:pt x="871" y="272"/>
                    </a:lnTo>
                    <a:lnTo>
                      <a:pt x="871" y="271"/>
                    </a:lnTo>
                    <a:lnTo>
                      <a:pt x="873" y="271"/>
                    </a:lnTo>
                    <a:lnTo>
                      <a:pt x="878" y="271"/>
                    </a:lnTo>
                    <a:lnTo>
                      <a:pt x="878" y="274"/>
                    </a:lnTo>
                    <a:lnTo>
                      <a:pt x="876" y="274"/>
                    </a:lnTo>
                    <a:lnTo>
                      <a:pt x="876" y="274"/>
                    </a:lnTo>
                    <a:close/>
                    <a:moveTo>
                      <a:pt x="894" y="296"/>
                    </a:moveTo>
                    <a:lnTo>
                      <a:pt x="899" y="292"/>
                    </a:lnTo>
                    <a:lnTo>
                      <a:pt x="899" y="294"/>
                    </a:lnTo>
                    <a:lnTo>
                      <a:pt x="894" y="297"/>
                    </a:lnTo>
                    <a:lnTo>
                      <a:pt x="894" y="297"/>
                    </a:lnTo>
                    <a:lnTo>
                      <a:pt x="894" y="296"/>
                    </a:lnTo>
                    <a:lnTo>
                      <a:pt x="894" y="296"/>
                    </a:lnTo>
                    <a:close/>
                    <a:moveTo>
                      <a:pt x="902" y="289"/>
                    </a:moveTo>
                    <a:lnTo>
                      <a:pt x="904" y="287"/>
                    </a:lnTo>
                    <a:lnTo>
                      <a:pt x="904" y="284"/>
                    </a:lnTo>
                    <a:lnTo>
                      <a:pt x="906" y="282"/>
                    </a:lnTo>
                    <a:lnTo>
                      <a:pt x="909" y="277"/>
                    </a:lnTo>
                    <a:lnTo>
                      <a:pt x="911" y="277"/>
                    </a:lnTo>
                    <a:lnTo>
                      <a:pt x="916" y="274"/>
                    </a:lnTo>
                    <a:lnTo>
                      <a:pt x="919" y="276"/>
                    </a:lnTo>
                    <a:lnTo>
                      <a:pt x="919" y="279"/>
                    </a:lnTo>
                    <a:lnTo>
                      <a:pt x="914" y="281"/>
                    </a:lnTo>
                    <a:lnTo>
                      <a:pt x="911" y="287"/>
                    </a:lnTo>
                    <a:lnTo>
                      <a:pt x="914" y="291"/>
                    </a:lnTo>
                    <a:lnTo>
                      <a:pt x="911" y="292"/>
                    </a:lnTo>
                    <a:lnTo>
                      <a:pt x="909" y="296"/>
                    </a:lnTo>
                    <a:lnTo>
                      <a:pt x="911" y="299"/>
                    </a:lnTo>
                    <a:lnTo>
                      <a:pt x="912" y="296"/>
                    </a:lnTo>
                    <a:lnTo>
                      <a:pt x="916" y="297"/>
                    </a:lnTo>
                    <a:lnTo>
                      <a:pt x="916" y="301"/>
                    </a:lnTo>
                    <a:lnTo>
                      <a:pt x="917" y="301"/>
                    </a:lnTo>
                    <a:lnTo>
                      <a:pt x="926" y="296"/>
                    </a:lnTo>
                    <a:lnTo>
                      <a:pt x="929" y="292"/>
                    </a:lnTo>
                    <a:lnTo>
                      <a:pt x="932" y="292"/>
                    </a:lnTo>
                    <a:lnTo>
                      <a:pt x="936" y="289"/>
                    </a:lnTo>
                    <a:lnTo>
                      <a:pt x="934" y="284"/>
                    </a:lnTo>
                    <a:lnTo>
                      <a:pt x="937" y="284"/>
                    </a:lnTo>
                    <a:lnTo>
                      <a:pt x="941" y="281"/>
                    </a:lnTo>
                    <a:lnTo>
                      <a:pt x="941" y="276"/>
                    </a:lnTo>
                    <a:lnTo>
                      <a:pt x="942" y="274"/>
                    </a:lnTo>
                    <a:lnTo>
                      <a:pt x="946" y="274"/>
                    </a:lnTo>
                    <a:lnTo>
                      <a:pt x="944" y="279"/>
                    </a:lnTo>
                    <a:lnTo>
                      <a:pt x="944" y="281"/>
                    </a:lnTo>
                    <a:lnTo>
                      <a:pt x="942" y="286"/>
                    </a:lnTo>
                    <a:lnTo>
                      <a:pt x="946" y="291"/>
                    </a:lnTo>
                    <a:lnTo>
                      <a:pt x="947" y="291"/>
                    </a:lnTo>
                    <a:lnTo>
                      <a:pt x="952" y="286"/>
                    </a:lnTo>
                    <a:lnTo>
                      <a:pt x="952" y="281"/>
                    </a:lnTo>
                    <a:lnTo>
                      <a:pt x="952" y="279"/>
                    </a:lnTo>
                    <a:lnTo>
                      <a:pt x="957" y="279"/>
                    </a:lnTo>
                    <a:lnTo>
                      <a:pt x="962" y="272"/>
                    </a:lnTo>
                    <a:lnTo>
                      <a:pt x="962" y="267"/>
                    </a:lnTo>
                    <a:lnTo>
                      <a:pt x="962" y="264"/>
                    </a:lnTo>
                    <a:lnTo>
                      <a:pt x="964" y="259"/>
                    </a:lnTo>
                    <a:lnTo>
                      <a:pt x="967" y="264"/>
                    </a:lnTo>
                    <a:lnTo>
                      <a:pt x="976" y="259"/>
                    </a:lnTo>
                    <a:lnTo>
                      <a:pt x="977" y="254"/>
                    </a:lnTo>
                    <a:lnTo>
                      <a:pt x="979" y="249"/>
                    </a:lnTo>
                    <a:lnTo>
                      <a:pt x="982" y="249"/>
                    </a:lnTo>
                    <a:lnTo>
                      <a:pt x="986" y="247"/>
                    </a:lnTo>
                    <a:lnTo>
                      <a:pt x="989" y="249"/>
                    </a:lnTo>
                    <a:lnTo>
                      <a:pt x="992" y="246"/>
                    </a:lnTo>
                    <a:lnTo>
                      <a:pt x="995" y="247"/>
                    </a:lnTo>
                    <a:lnTo>
                      <a:pt x="992" y="256"/>
                    </a:lnTo>
                    <a:lnTo>
                      <a:pt x="987" y="261"/>
                    </a:lnTo>
                    <a:lnTo>
                      <a:pt x="986" y="266"/>
                    </a:lnTo>
                    <a:lnTo>
                      <a:pt x="982" y="269"/>
                    </a:lnTo>
                    <a:lnTo>
                      <a:pt x="982" y="271"/>
                    </a:lnTo>
                    <a:lnTo>
                      <a:pt x="979" y="272"/>
                    </a:lnTo>
                    <a:lnTo>
                      <a:pt x="972" y="281"/>
                    </a:lnTo>
                    <a:lnTo>
                      <a:pt x="972" y="284"/>
                    </a:lnTo>
                    <a:lnTo>
                      <a:pt x="974" y="287"/>
                    </a:lnTo>
                    <a:lnTo>
                      <a:pt x="972" y="291"/>
                    </a:lnTo>
                    <a:lnTo>
                      <a:pt x="977" y="292"/>
                    </a:lnTo>
                    <a:lnTo>
                      <a:pt x="981" y="294"/>
                    </a:lnTo>
                    <a:lnTo>
                      <a:pt x="984" y="291"/>
                    </a:lnTo>
                    <a:lnTo>
                      <a:pt x="989" y="289"/>
                    </a:lnTo>
                    <a:lnTo>
                      <a:pt x="989" y="286"/>
                    </a:lnTo>
                    <a:lnTo>
                      <a:pt x="989" y="281"/>
                    </a:lnTo>
                    <a:lnTo>
                      <a:pt x="992" y="279"/>
                    </a:lnTo>
                    <a:lnTo>
                      <a:pt x="995" y="274"/>
                    </a:lnTo>
                    <a:lnTo>
                      <a:pt x="999" y="274"/>
                    </a:lnTo>
                    <a:lnTo>
                      <a:pt x="1000" y="272"/>
                    </a:lnTo>
                    <a:lnTo>
                      <a:pt x="1004" y="276"/>
                    </a:lnTo>
                    <a:lnTo>
                      <a:pt x="1009" y="276"/>
                    </a:lnTo>
                    <a:lnTo>
                      <a:pt x="1010" y="272"/>
                    </a:lnTo>
                    <a:lnTo>
                      <a:pt x="1019" y="272"/>
                    </a:lnTo>
                    <a:lnTo>
                      <a:pt x="1022" y="269"/>
                    </a:lnTo>
                    <a:lnTo>
                      <a:pt x="1024" y="262"/>
                    </a:lnTo>
                    <a:lnTo>
                      <a:pt x="1027" y="256"/>
                    </a:lnTo>
                    <a:lnTo>
                      <a:pt x="1029" y="251"/>
                    </a:lnTo>
                    <a:lnTo>
                      <a:pt x="1029" y="249"/>
                    </a:lnTo>
                    <a:lnTo>
                      <a:pt x="1034" y="254"/>
                    </a:lnTo>
                    <a:lnTo>
                      <a:pt x="1037" y="256"/>
                    </a:lnTo>
                    <a:lnTo>
                      <a:pt x="1039" y="252"/>
                    </a:lnTo>
                    <a:lnTo>
                      <a:pt x="1039" y="251"/>
                    </a:lnTo>
                    <a:lnTo>
                      <a:pt x="1034" y="244"/>
                    </a:lnTo>
                    <a:lnTo>
                      <a:pt x="1034" y="241"/>
                    </a:lnTo>
                    <a:lnTo>
                      <a:pt x="1039" y="238"/>
                    </a:lnTo>
                    <a:lnTo>
                      <a:pt x="1044" y="236"/>
                    </a:lnTo>
                    <a:lnTo>
                      <a:pt x="1049" y="234"/>
                    </a:lnTo>
                    <a:lnTo>
                      <a:pt x="1052" y="236"/>
                    </a:lnTo>
                    <a:lnTo>
                      <a:pt x="1054" y="236"/>
                    </a:lnTo>
                    <a:lnTo>
                      <a:pt x="1059" y="231"/>
                    </a:lnTo>
                    <a:lnTo>
                      <a:pt x="1057" y="228"/>
                    </a:lnTo>
                    <a:lnTo>
                      <a:pt x="1057" y="218"/>
                    </a:lnTo>
                    <a:lnTo>
                      <a:pt x="1059" y="216"/>
                    </a:lnTo>
                    <a:lnTo>
                      <a:pt x="1057" y="214"/>
                    </a:lnTo>
                    <a:lnTo>
                      <a:pt x="1057" y="209"/>
                    </a:lnTo>
                    <a:lnTo>
                      <a:pt x="1054" y="208"/>
                    </a:lnTo>
                    <a:lnTo>
                      <a:pt x="1050" y="209"/>
                    </a:lnTo>
                    <a:lnTo>
                      <a:pt x="1044" y="211"/>
                    </a:lnTo>
                    <a:lnTo>
                      <a:pt x="1044" y="218"/>
                    </a:lnTo>
                    <a:lnTo>
                      <a:pt x="1044" y="221"/>
                    </a:lnTo>
                    <a:lnTo>
                      <a:pt x="1044" y="223"/>
                    </a:lnTo>
                    <a:lnTo>
                      <a:pt x="1040" y="224"/>
                    </a:lnTo>
                    <a:lnTo>
                      <a:pt x="1039" y="219"/>
                    </a:lnTo>
                    <a:lnTo>
                      <a:pt x="1037" y="219"/>
                    </a:lnTo>
                    <a:lnTo>
                      <a:pt x="1037" y="223"/>
                    </a:lnTo>
                    <a:lnTo>
                      <a:pt x="1035" y="224"/>
                    </a:lnTo>
                    <a:lnTo>
                      <a:pt x="1032" y="221"/>
                    </a:lnTo>
                    <a:lnTo>
                      <a:pt x="1032" y="214"/>
                    </a:lnTo>
                    <a:lnTo>
                      <a:pt x="1027" y="211"/>
                    </a:lnTo>
                    <a:lnTo>
                      <a:pt x="1025" y="211"/>
                    </a:lnTo>
                    <a:lnTo>
                      <a:pt x="1024" y="213"/>
                    </a:lnTo>
                    <a:lnTo>
                      <a:pt x="1017" y="213"/>
                    </a:lnTo>
                    <a:lnTo>
                      <a:pt x="1012" y="211"/>
                    </a:lnTo>
                    <a:lnTo>
                      <a:pt x="1009" y="211"/>
                    </a:lnTo>
                    <a:lnTo>
                      <a:pt x="999" y="209"/>
                    </a:lnTo>
                    <a:lnTo>
                      <a:pt x="994" y="213"/>
                    </a:lnTo>
                    <a:lnTo>
                      <a:pt x="992" y="216"/>
                    </a:lnTo>
                    <a:lnTo>
                      <a:pt x="990" y="219"/>
                    </a:lnTo>
                    <a:lnTo>
                      <a:pt x="987" y="219"/>
                    </a:lnTo>
                    <a:lnTo>
                      <a:pt x="986" y="219"/>
                    </a:lnTo>
                    <a:lnTo>
                      <a:pt x="974" y="226"/>
                    </a:lnTo>
                    <a:lnTo>
                      <a:pt x="971" y="229"/>
                    </a:lnTo>
                    <a:lnTo>
                      <a:pt x="966" y="229"/>
                    </a:lnTo>
                    <a:lnTo>
                      <a:pt x="961" y="234"/>
                    </a:lnTo>
                    <a:lnTo>
                      <a:pt x="956" y="234"/>
                    </a:lnTo>
                    <a:lnTo>
                      <a:pt x="952" y="238"/>
                    </a:lnTo>
                    <a:lnTo>
                      <a:pt x="951" y="239"/>
                    </a:lnTo>
                    <a:lnTo>
                      <a:pt x="944" y="239"/>
                    </a:lnTo>
                    <a:lnTo>
                      <a:pt x="941" y="241"/>
                    </a:lnTo>
                    <a:lnTo>
                      <a:pt x="936" y="241"/>
                    </a:lnTo>
                    <a:lnTo>
                      <a:pt x="934" y="243"/>
                    </a:lnTo>
                    <a:lnTo>
                      <a:pt x="931" y="243"/>
                    </a:lnTo>
                    <a:lnTo>
                      <a:pt x="922" y="247"/>
                    </a:lnTo>
                    <a:lnTo>
                      <a:pt x="917" y="251"/>
                    </a:lnTo>
                    <a:lnTo>
                      <a:pt x="912" y="249"/>
                    </a:lnTo>
                    <a:lnTo>
                      <a:pt x="907" y="251"/>
                    </a:lnTo>
                    <a:lnTo>
                      <a:pt x="896" y="252"/>
                    </a:lnTo>
                    <a:lnTo>
                      <a:pt x="891" y="259"/>
                    </a:lnTo>
                    <a:lnTo>
                      <a:pt x="888" y="261"/>
                    </a:lnTo>
                    <a:lnTo>
                      <a:pt x="881" y="261"/>
                    </a:lnTo>
                    <a:lnTo>
                      <a:pt x="878" y="266"/>
                    </a:lnTo>
                    <a:lnTo>
                      <a:pt x="883" y="266"/>
                    </a:lnTo>
                    <a:lnTo>
                      <a:pt x="884" y="267"/>
                    </a:lnTo>
                    <a:lnTo>
                      <a:pt x="881" y="267"/>
                    </a:lnTo>
                    <a:lnTo>
                      <a:pt x="879" y="271"/>
                    </a:lnTo>
                    <a:lnTo>
                      <a:pt x="883" y="272"/>
                    </a:lnTo>
                    <a:lnTo>
                      <a:pt x="881" y="276"/>
                    </a:lnTo>
                    <a:lnTo>
                      <a:pt x="874" y="277"/>
                    </a:lnTo>
                    <a:lnTo>
                      <a:pt x="874" y="279"/>
                    </a:lnTo>
                    <a:lnTo>
                      <a:pt x="879" y="281"/>
                    </a:lnTo>
                    <a:lnTo>
                      <a:pt x="884" y="281"/>
                    </a:lnTo>
                    <a:lnTo>
                      <a:pt x="886" y="277"/>
                    </a:lnTo>
                    <a:lnTo>
                      <a:pt x="889" y="276"/>
                    </a:lnTo>
                    <a:lnTo>
                      <a:pt x="894" y="277"/>
                    </a:lnTo>
                    <a:lnTo>
                      <a:pt x="897" y="284"/>
                    </a:lnTo>
                    <a:lnTo>
                      <a:pt x="897" y="287"/>
                    </a:lnTo>
                    <a:lnTo>
                      <a:pt x="902" y="289"/>
                    </a:lnTo>
                    <a:lnTo>
                      <a:pt x="902" y="289"/>
                    </a:lnTo>
                    <a:close/>
                    <a:moveTo>
                      <a:pt x="1364" y="535"/>
                    </a:moveTo>
                    <a:lnTo>
                      <a:pt x="1366" y="533"/>
                    </a:lnTo>
                    <a:lnTo>
                      <a:pt x="1371" y="535"/>
                    </a:lnTo>
                    <a:lnTo>
                      <a:pt x="1373" y="537"/>
                    </a:lnTo>
                    <a:lnTo>
                      <a:pt x="1369" y="538"/>
                    </a:lnTo>
                    <a:lnTo>
                      <a:pt x="1368" y="538"/>
                    </a:lnTo>
                    <a:lnTo>
                      <a:pt x="1364" y="535"/>
                    </a:lnTo>
                    <a:lnTo>
                      <a:pt x="1364" y="535"/>
                    </a:lnTo>
                    <a:close/>
                    <a:moveTo>
                      <a:pt x="1311" y="440"/>
                    </a:moveTo>
                    <a:lnTo>
                      <a:pt x="1306" y="437"/>
                    </a:lnTo>
                    <a:lnTo>
                      <a:pt x="1303" y="437"/>
                    </a:lnTo>
                    <a:lnTo>
                      <a:pt x="1301" y="439"/>
                    </a:lnTo>
                    <a:lnTo>
                      <a:pt x="1306" y="439"/>
                    </a:lnTo>
                    <a:lnTo>
                      <a:pt x="1308" y="440"/>
                    </a:lnTo>
                    <a:lnTo>
                      <a:pt x="1306" y="442"/>
                    </a:lnTo>
                    <a:lnTo>
                      <a:pt x="1301" y="443"/>
                    </a:lnTo>
                    <a:lnTo>
                      <a:pt x="1298" y="443"/>
                    </a:lnTo>
                    <a:lnTo>
                      <a:pt x="1301" y="448"/>
                    </a:lnTo>
                    <a:lnTo>
                      <a:pt x="1301" y="448"/>
                    </a:lnTo>
                    <a:lnTo>
                      <a:pt x="1301" y="450"/>
                    </a:lnTo>
                    <a:lnTo>
                      <a:pt x="1296" y="448"/>
                    </a:lnTo>
                    <a:lnTo>
                      <a:pt x="1291" y="450"/>
                    </a:lnTo>
                    <a:lnTo>
                      <a:pt x="1288" y="453"/>
                    </a:lnTo>
                    <a:lnTo>
                      <a:pt x="1285" y="457"/>
                    </a:lnTo>
                    <a:lnTo>
                      <a:pt x="1285" y="458"/>
                    </a:lnTo>
                    <a:lnTo>
                      <a:pt x="1285" y="460"/>
                    </a:lnTo>
                    <a:lnTo>
                      <a:pt x="1286" y="460"/>
                    </a:lnTo>
                    <a:lnTo>
                      <a:pt x="1286" y="462"/>
                    </a:lnTo>
                    <a:lnTo>
                      <a:pt x="1285" y="465"/>
                    </a:lnTo>
                    <a:lnTo>
                      <a:pt x="1286" y="465"/>
                    </a:lnTo>
                    <a:lnTo>
                      <a:pt x="1289" y="462"/>
                    </a:lnTo>
                    <a:lnTo>
                      <a:pt x="1291" y="463"/>
                    </a:lnTo>
                    <a:lnTo>
                      <a:pt x="1289" y="467"/>
                    </a:lnTo>
                    <a:lnTo>
                      <a:pt x="1289" y="470"/>
                    </a:lnTo>
                    <a:lnTo>
                      <a:pt x="1293" y="472"/>
                    </a:lnTo>
                    <a:lnTo>
                      <a:pt x="1294" y="470"/>
                    </a:lnTo>
                    <a:lnTo>
                      <a:pt x="1296" y="472"/>
                    </a:lnTo>
                    <a:lnTo>
                      <a:pt x="1296" y="475"/>
                    </a:lnTo>
                    <a:lnTo>
                      <a:pt x="1298" y="475"/>
                    </a:lnTo>
                    <a:lnTo>
                      <a:pt x="1301" y="473"/>
                    </a:lnTo>
                    <a:lnTo>
                      <a:pt x="1303" y="473"/>
                    </a:lnTo>
                    <a:lnTo>
                      <a:pt x="1303" y="478"/>
                    </a:lnTo>
                    <a:lnTo>
                      <a:pt x="1304" y="482"/>
                    </a:lnTo>
                    <a:lnTo>
                      <a:pt x="1308" y="480"/>
                    </a:lnTo>
                    <a:lnTo>
                      <a:pt x="1309" y="485"/>
                    </a:lnTo>
                    <a:lnTo>
                      <a:pt x="1314" y="485"/>
                    </a:lnTo>
                    <a:lnTo>
                      <a:pt x="1319" y="488"/>
                    </a:lnTo>
                    <a:lnTo>
                      <a:pt x="1324" y="488"/>
                    </a:lnTo>
                    <a:lnTo>
                      <a:pt x="1326" y="488"/>
                    </a:lnTo>
                    <a:lnTo>
                      <a:pt x="1328" y="488"/>
                    </a:lnTo>
                    <a:lnTo>
                      <a:pt x="1326" y="485"/>
                    </a:lnTo>
                    <a:lnTo>
                      <a:pt x="1329" y="483"/>
                    </a:lnTo>
                    <a:lnTo>
                      <a:pt x="1333" y="478"/>
                    </a:lnTo>
                    <a:lnTo>
                      <a:pt x="1331" y="473"/>
                    </a:lnTo>
                    <a:lnTo>
                      <a:pt x="1334" y="467"/>
                    </a:lnTo>
                    <a:lnTo>
                      <a:pt x="1336" y="465"/>
                    </a:lnTo>
                    <a:lnTo>
                      <a:pt x="1339" y="458"/>
                    </a:lnTo>
                    <a:lnTo>
                      <a:pt x="1339" y="453"/>
                    </a:lnTo>
                    <a:lnTo>
                      <a:pt x="1341" y="452"/>
                    </a:lnTo>
                    <a:lnTo>
                      <a:pt x="1339" y="447"/>
                    </a:lnTo>
                    <a:lnTo>
                      <a:pt x="1336" y="443"/>
                    </a:lnTo>
                    <a:lnTo>
                      <a:pt x="1336" y="440"/>
                    </a:lnTo>
                    <a:lnTo>
                      <a:pt x="1333" y="437"/>
                    </a:lnTo>
                    <a:lnTo>
                      <a:pt x="1333" y="434"/>
                    </a:lnTo>
                    <a:lnTo>
                      <a:pt x="1326" y="430"/>
                    </a:lnTo>
                    <a:lnTo>
                      <a:pt x="1321" y="434"/>
                    </a:lnTo>
                    <a:lnTo>
                      <a:pt x="1318" y="432"/>
                    </a:lnTo>
                    <a:lnTo>
                      <a:pt x="1311" y="432"/>
                    </a:lnTo>
                    <a:lnTo>
                      <a:pt x="1309" y="434"/>
                    </a:lnTo>
                    <a:lnTo>
                      <a:pt x="1313" y="437"/>
                    </a:lnTo>
                    <a:lnTo>
                      <a:pt x="1313" y="440"/>
                    </a:lnTo>
                    <a:lnTo>
                      <a:pt x="1311" y="440"/>
                    </a:lnTo>
                    <a:lnTo>
                      <a:pt x="1311" y="440"/>
                    </a:lnTo>
                    <a:close/>
                    <a:moveTo>
                      <a:pt x="1343" y="405"/>
                    </a:moveTo>
                    <a:lnTo>
                      <a:pt x="1339" y="404"/>
                    </a:lnTo>
                    <a:lnTo>
                      <a:pt x="1339" y="402"/>
                    </a:lnTo>
                    <a:lnTo>
                      <a:pt x="1344" y="400"/>
                    </a:lnTo>
                    <a:lnTo>
                      <a:pt x="1344" y="400"/>
                    </a:lnTo>
                    <a:lnTo>
                      <a:pt x="1343" y="405"/>
                    </a:lnTo>
                    <a:lnTo>
                      <a:pt x="1343" y="405"/>
                    </a:lnTo>
                    <a:close/>
                    <a:moveTo>
                      <a:pt x="1336" y="427"/>
                    </a:moveTo>
                    <a:lnTo>
                      <a:pt x="1336" y="424"/>
                    </a:lnTo>
                    <a:lnTo>
                      <a:pt x="1334" y="422"/>
                    </a:lnTo>
                    <a:lnTo>
                      <a:pt x="1334" y="420"/>
                    </a:lnTo>
                    <a:lnTo>
                      <a:pt x="1336" y="419"/>
                    </a:lnTo>
                    <a:lnTo>
                      <a:pt x="1336" y="414"/>
                    </a:lnTo>
                    <a:lnTo>
                      <a:pt x="1336" y="412"/>
                    </a:lnTo>
                    <a:lnTo>
                      <a:pt x="1343" y="412"/>
                    </a:lnTo>
                    <a:lnTo>
                      <a:pt x="1341" y="422"/>
                    </a:lnTo>
                    <a:lnTo>
                      <a:pt x="1338" y="425"/>
                    </a:lnTo>
                    <a:lnTo>
                      <a:pt x="1338" y="425"/>
                    </a:lnTo>
                    <a:lnTo>
                      <a:pt x="1336" y="427"/>
                    </a:lnTo>
                    <a:lnTo>
                      <a:pt x="1336" y="427"/>
                    </a:lnTo>
                    <a:close/>
                    <a:moveTo>
                      <a:pt x="1303" y="417"/>
                    </a:moveTo>
                    <a:lnTo>
                      <a:pt x="1301" y="415"/>
                    </a:lnTo>
                    <a:lnTo>
                      <a:pt x="1303" y="414"/>
                    </a:lnTo>
                    <a:lnTo>
                      <a:pt x="1308" y="414"/>
                    </a:lnTo>
                    <a:lnTo>
                      <a:pt x="1309" y="414"/>
                    </a:lnTo>
                    <a:lnTo>
                      <a:pt x="1306" y="415"/>
                    </a:lnTo>
                    <a:lnTo>
                      <a:pt x="1304" y="417"/>
                    </a:lnTo>
                    <a:lnTo>
                      <a:pt x="1303" y="417"/>
                    </a:lnTo>
                    <a:lnTo>
                      <a:pt x="1303" y="417"/>
                    </a:lnTo>
                    <a:close/>
                    <a:moveTo>
                      <a:pt x="1294" y="424"/>
                    </a:moveTo>
                    <a:lnTo>
                      <a:pt x="1293" y="422"/>
                    </a:lnTo>
                    <a:lnTo>
                      <a:pt x="1296" y="420"/>
                    </a:lnTo>
                    <a:lnTo>
                      <a:pt x="1298" y="420"/>
                    </a:lnTo>
                    <a:lnTo>
                      <a:pt x="1296" y="422"/>
                    </a:lnTo>
                    <a:lnTo>
                      <a:pt x="1294" y="424"/>
                    </a:lnTo>
                    <a:lnTo>
                      <a:pt x="1294" y="424"/>
                    </a:lnTo>
                    <a:close/>
                    <a:moveTo>
                      <a:pt x="1301" y="434"/>
                    </a:moveTo>
                    <a:lnTo>
                      <a:pt x="1301" y="430"/>
                    </a:lnTo>
                    <a:lnTo>
                      <a:pt x="1299" y="429"/>
                    </a:lnTo>
                    <a:lnTo>
                      <a:pt x="1301" y="425"/>
                    </a:lnTo>
                    <a:lnTo>
                      <a:pt x="1303" y="425"/>
                    </a:lnTo>
                    <a:lnTo>
                      <a:pt x="1304" y="427"/>
                    </a:lnTo>
                    <a:lnTo>
                      <a:pt x="1306" y="430"/>
                    </a:lnTo>
                    <a:lnTo>
                      <a:pt x="1303" y="432"/>
                    </a:lnTo>
                    <a:lnTo>
                      <a:pt x="1301" y="434"/>
                    </a:lnTo>
                    <a:lnTo>
                      <a:pt x="1301" y="434"/>
                    </a:lnTo>
                    <a:close/>
                    <a:moveTo>
                      <a:pt x="1291" y="437"/>
                    </a:moveTo>
                    <a:lnTo>
                      <a:pt x="1288" y="435"/>
                    </a:lnTo>
                    <a:lnTo>
                      <a:pt x="1288" y="430"/>
                    </a:lnTo>
                    <a:lnTo>
                      <a:pt x="1289" y="429"/>
                    </a:lnTo>
                    <a:lnTo>
                      <a:pt x="1291" y="427"/>
                    </a:lnTo>
                    <a:lnTo>
                      <a:pt x="1294" y="427"/>
                    </a:lnTo>
                    <a:lnTo>
                      <a:pt x="1296" y="429"/>
                    </a:lnTo>
                    <a:lnTo>
                      <a:pt x="1298" y="429"/>
                    </a:lnTo>
                    <a:lnTo>
                      <a:pt x="1298" y="430"/>
                    </a:lnTo>
                    <a:lnTo>
                      <a:pt x="1298" y="434"/>
                    </a:lnTo>
                    <a:lnTo>
                      <a:pt x="1294" y="435"/>
                    </a:lnTo>
                    <a:lnTo>
                      <a:pt x="1293" y="437"/>
                    </a:lnTo>
                    <a:lnTo>
                      <a:pt x="1291" y="437"/>
                    </a:lnTo>
                    <a:lnTo>
                      <a:pt x="1291" y="437"/>
                    </a:lnTo>
                    <a:close/>
                    <a:moveTo>
                      <a:pt x="1278" y="439"/>
                    </a:moveTo>
                    <a:lnTo>
                      <a:pt x="1278" y="435"/>
                    </a:lnTo>
                    <a:lnTo>
                      <a:pt x="1280" y="435"/>
                    </a:lnTo>
                    <a:lnTo>
                      <a:pt x="1281" y="437"/>
                    </a:lnTo>
                    <a:lnTo>
                      <a:pt x="1280" y="439"/>
                    </a:lnTo>
                    <a:lnTo>
                      <a:pt x="1278" y="439"/>
                    </a:lnTo>
                    <a:lnTo>
                      <a:pt x="1278" y="439"/>
                    </a:lnTo>
                    <a:close/>
                    <a:moveTo>
                      <a:pt x="1228" y="445"/>
                    </a:moveTo>
                    <a:lnTo>
                      <a:pt x="1226" y="442"/>
                    </a:lnTo>
                    <a:lnTo>
                      <a:pt x="1221" y="443"/>
                    </a:lnTo>
                    <a:lnTo>
                      <a:pt x="1220" y="440"/>
                    </a:lnTo>
                    <a:lnTo>
                      <a:pt x="1220" y="437"/>
                    </a:lnTo>
                    <a:lnTo>
                      <a:pt x="1220" y="435"/>
                    </a:lnTo>
                    <a:lnTo>
                      <a:pt x="1220" y="432"/>
                    </a:lnTo>
                    <a:lnTo>
                      <a:pt x="1221" y="429"/>
                    </a:lnTo>
                    <a:lnTo>
                      <a:pt x="1223" y="429"/>
                    </a:lnTo>
                    <a:lnTo>
                      <a:pt x="1226" y="432"/>
                    </a:lnTo>
                    <a:lnTo>
                      <a:pt x="1228" y="430"/>
                    </a:lnTo>
                    <a:lnTo>
                      <a:pt x="1225" y="429"/>
                    </a:lnTo>
                    <a:lnTo>
                      <a:pt x="1226" y="425"/>
                    </a:lnTo>
                    <a:lnTo>
                      <a:pt x="1223" y="425"/>
                    </a:lnTo>
                    <a:lnTo>
                      <a:pt x="1221" y="422"/>
                    </a:lnTo>
                    <a:lnTo>
                      <a:pt x="1221" y="420"/>
                    </a:lnTo>
                    <a:lnTo>
                      <a:pt x="1220" y="419"/>
                    </a:lnTo>
                    <a:lnTo>
                      <a:pt x="1221" y="419"/>
                    </a:lnTo>
                    <a:lnTo>
                      <a:pt x="1225" y="420"/>
                    </a:lnTo>
                    <a:lnTo>
                      <a:pt x="1225" y="419"/>
                    </a:lnTo>
                    <a:lnTo>
                      <a:pt x="1225" y="417"/>
                    </a:lnTo>
                    <a:lnTo>
                      <a:pt x="1228" y="415"/>
                    </a:lnTo>
                    <a:lnTo>
                      <a:pt x="1231" y="417"/>
                    </a:lnTo>
                    <a:lnTo>
                      <a:pt x="1238" y="419"/>
                    </a:lnTo>
                    <a:lnTo>
                      <a:pt x="1241" y="417"/>
                    </a:lnTo>
                    <a:lnTo>
                      <a:pt x="1238" y="415"/>
                    </a:lnTo>
                    <a:lnTo>
                      <a:pt x="1235" y="415"/>
                    </a:lnTo>
                    <a:lnTo>
                      <a:pt x="1236" y="414"/>
                    </a:lnTo>
                    <a:lnTo>
                      <a:pt x="1245" y="414"/>
                    </a:lnTo>
                    <a:lnTo>
                      <a:pt x="1250" y="410"/>
                    </a:lnTo>
                    <a:lnTo>
                      <a:pt x="1255" y="410"/>
                    </a:lnTo>
                    <a:lnTo>
                      <a:pt x="1260" y="412"/>
                    </a:lnTo>
                    <a:lnTo>
                      <a:pt x="1265" y="409"/>
                    </a:lnTo>
                    <a:lnTo>
                      <a:pt x="1261" y="407"/>
                    </a:lnTo>
                    <a:lnTo>
                      <a:pt x="1241" y="404"/>
                    </a:lnTo>
                    <a:lnTo>
                      <a:pt x="1236" y="404"/>
                    </a:lnTo>
                    <a:lnTo>
                      <a:pt x="1233" y="404"/>
                    </a:lnTo>
                    <a:lnTo>
                      <a:pt x="1226" y="404"/>
                    </a:lnTo>
                    <a:lnTo>
                      <a:pt x="1221" y="402"/>
                    </a:lnTo>
                    <a:lnTo>
                      <a:pt x="1218" y="402"/>
                    </a:lnTo>
                    <a:lnTo>
                      <a:pt x="1215" y="400"/>
                    </a:lnTo>
                    <a:lnTo>
                      <a:pt x="1211" y="400"/>
                    </a:lnTo>
                    <a:lnTo>
                      <a:pt x="1210" y="402"/>
                    </a:lnTo>
                    <a:lnTo>
                      <a:pt x="1206" y="400"/>
                    </a:lnTo>
                    <a:lnTo>
                      <a:pt x="1203" y="402"/>
                    </a:lnTo>
                    <a:lnTo>
                      <a:pt x="1201" y="400"/>
                    </a:lnTo>
                    <a:lnTo>
                      <a:pt x="1201" y="395"/>
                    </a:lnTo>
                    <a:lnTo>
                      <a:pt x="1205" y="395"/>
                    </a:lnTo>
                    <a:lnTo>
                      <a:pt x="1208" y="394"/>
                    </a:lnTo>
                    <a:lnTo>
                      <a:pt x="1211" y="395"/>
                    </a:lnTo>
                    <a:lnTo>
                      <a:pt x="1213" y="394"/>
                    </a:lnTo>
                    <a:lnTo>
                      <a:pt x="1211" y="392"/>
                    </a:lnTo>
                    <a:lnTo>
                      <a:pt x="1213" y="389"/>
                    </a:lnTo>
                    <a:lnTo>
                      <a:pt x="1216" y="387"/>
                    </a:lnTo>
                    <a:lnTo>
                      <a:pt x="1221" y="387"/>
                    </a:lnTo>
                    <a:lnTo>
                      <a:pt x="1223" y="385"/>
                    </a:lnTo>
                    <a:lnTo>
                      <a:pt x="1223" y="389"/>
                    </a:lnTo>
                    <a:lnTo>
                      <a:pt x="1226" y="390"/>
                    </a:lnTo>
                    <a:lnTo>
                      <a:pt x="1226" y="397"/>
                    </a:lnTo>
                    <a:lnTo>
                      <a:pt x="1228" y="397"/>
                    </a:lnTo>
                    <a:lnTo>
                      <a:pt x="1230" y="395"/>
                    </a:lnTo>
                    <a:lnTo>
                      <a:pt x="1230" y="390"/>
                    </a:lnTo>
                    <a:lnTo>
                      <a:pt x="1226" y="389"/>
                    </a:lnTo>
                    <a:lnTo>
                      <a:pt x="1228" y="384"/>
                    </a:lnTo>
                    <a:lnTo>
                      <a:pt x="1233" y="382"/>
                    </a:lnTo>
                    <a:lnTo>
                      <a:pt x="1233" y="380"/>
                    </a:lnTo>
                    <a:lnTo>
                      <a:pt x="1230" y="379"/>
                    </a:lnTo>
                    <a:lnTo>
                      <a:pt x="1231" y="374"/>
                    </a:lnTo>
                    <a:lnTo>
                      <a:pt x="1236" y="372"/>
                    </a:lnTo>
                    <a:lnTo>
                      <a:pt x="1236" y="369"/>
                    </a:lnTo>
                    <a:lnTo>
                      <a:pt x="1241" y="367"/>
                    </a:lnTo>
                    <a:lnTo>
                      <a:pt x="1240" y="364"/>
                    </a:lnTo>
                    <a:lnTo>
                      <a:pt x="1236" y="365"/>
                    </a:lnTo>
                    <a:lnTo>
                      <a:pt x="1235" y="364"/>
                    </a:lnTo>
                    <a:lnTo>
                      <a:pt x="1235" y="362"/>
                    </a:lnTo>
                    <a:lnTo>
                      <a:pt x="1240" y="359"/>
                    </a:lnTo>
                    <a:lnTo>
                      <a:pt x="1241" y="355"/>
                    </a:lnTo>
                    <a:lnTo>
                      <a:pt x="1246" y="354"/>
                    </a:lnTo>
                    <a:lnTo>
                      <a:pt x="1248" y="355"/>
                    </a:lnTo>
                    <a:lnTo>
                      <a:pt x="1248" y="360"/>
                    </a:lnTo>
                    <a:lnTo>
                      <a:pt x="1251" y="362"/>
                    </a:lnTo>
                    <a:lnTo>
                      <a:pt x="1251" y="365"/>
                    </a:lnTo>
                    <a:lnTo>
                      <a:pt x="1250" y="367"/>
                    </a:lnTo>
                    <a:lnTo>
                      <a:pt x="1251" y="370"/>
                    </a:lnTo>
                    <a:lnTo>
                      <a:pt x="1255" y="372"/>
                    </a:lnTo>
                    <a:lnTo>
                      <a:pt x="1255" y="385"/>
                    </a:lnTo>
                    <a:lnTo>
                      <a:pt x="1255" y="389"/>
                    </a:lnTo>
                    <a:lnTo>
                      <a:pt x="1255" y="390"/>
                    </a:lnTo>
                    <a:lnTo>
                      <a:pt x="1260" y="394"/>
                    </a:lnTo>
                    <a:lnTo>
                      <a:pt x="1263" y="390"/>
                    </a:lnTo>
                    <a:lnTo>
                      <a:pt x="1261" y="387"/>
                    </a:lnTo>
                    <a:lnTo>
                      <a:pt x="1263" y="380"/>
                    </a:lnTo>
                    <a:lnTo>
                      <a:pt x="1266" y="380"/>
                    </a:lnTo>
                    <a:lnTo>
                      <a:pt x="1266" y="377"/>
                    </a:lnTo>
                    <a:lnTo>
                      <a:pt x="1260" y="372"/>
                    </a:lnTo>
                    <a:lnTo>
                      <a:pt x="1260" y="370"/>
                    </a:lnTo>
                    <a:lnTo>
                      <a:pt x="1265" y="370"/>
                    </a:lnTo>
                    <a:lnTo>
                      <a:pt x="1268" y="372"/>
                    </a:lnTo>
                    <a:lnTo>
                      <a:pt x="1268" y="369"/>
                    </a:lnTo>
                    <a:lnTo>
                      <a:pt x="1263" y="365"/>
                    </a:lnTo>
                    <a:lnTo>
                      <a:pt x="1261" y="359"/>
                    </a:lnTo>
                    <a:lnTo>
                      <a:pt x="1263" y="357"/>
                    </a:lnTo>
                    <a:lnTo>
                      <a:pt x="1263" y="350"/>
                    </a:lnTo>
                    <a:lnTo>
                      <a:pt x="1266" y="349"/>
                    </a:lnTo>
                    <a:lnTo>
                      <a:pt x="1270" y="349"/>
                    </a:lnTo>
                    <a:lnTo>
                      <a:pt x="1271" y="347"/>
                    </a:lnTo>
                    <a:lnTo>
                      <a:pt x="1276" y="347"/>
                    </a:lnTo>
                    <a:lnTo>
                      <a:pt x="1276" y="347"/>
                    </a:lnTo>
                    <a:lnTo>
                      <a:pt x="1281" y="344"/>
                    </a:lnTo>
                    <a:lnTo>
                      <a:pt x="1281" y="344"/>
                    </a:lnTo>
                    <a:lnTo>
                      <a:pt x="1285" y="344"/>
                    </a:lnTo>
                    <a:lnTo>
                      <a:pt x="1286" y="347"/>
                    </a:lnTo>
                    <a:lnTo>
                      <a:pt x="1289" y="349"/>
                    </a:lnTo>
                    <a:lnTo>
                      <a:pt x="1293" y="349"/>
                    </a:lnTo>
                    <a:lnTo>
                      <a:pt x="1294" y="350"/>
                    </a:lnTo>
                    <a:lnTo>
                      <a:pt x="1293" y="359"/>
                    </a:lnTo>
                    <a:lnTo>
                      <a:pt x="1289" y="362"/>
                    </a:lnTo>
                    <a:lnTo>
                      <a:pt x="1291" y="365"/>
                    </a:lnTo>
                    <a:lnTo>
                      <a:pt x="1293" y="365"/>
                    </a:lnTo>
                    <a:lnTo>
                      <a:pt x="1294" y="364"/>
                    </a:lnTo>
                    <a:lnTo>
                      <a:pt x="1298" y="364"/>
                    </a:lnTo>
                    <a:lnTo>
                      <a:pt x="1299" y="362"/>
                    </a:lnTo>
                    <a:lnTo>
                      <a:pt x="1299" y="355"/>
                    </a:lnTo>
                    <a:lnTo>
                      <a:pt x="1303" y="352"/>
                    </a:lnTo>
                    <a:lnTo>
                      <a:pt x="1308" y="355"/>
                    </a:lnTo>
                    <a:lnTo>
                      <a:pt x="1311" y="354"/>
                    </a:lnTo>
                    <a:lnTo>
                      <a:pt x="1309" y="350"/>
                    </a:lnTo>
                    <a:lnTo>
                      <a:pt x="1309" y="349"/>
                    </a:lnTo>
                    <a:lnTo>
                      <a:pt x="1313" y="349"/>
                    </a:lnTo>
                    <a:lnTo>
                      <a:pt x="1314" y="352"/>
                    </a:lnTo>
                    <a:lnTo>
                      <a:pt x="1313" y="355"/>
                    </a:lnTo>
                    <a:lnTo>
                      <a:pt x="1314" y="357"/>
                    </a:lnTo>
                    <a:lnTo>
                      <a:pt x="1313" y="359"/>
                    </a:lnTo>
                    <a:lnTo>
                      <a:pt x="1311" y="359"/>
                    </a:lnTo>
                    <a:lnTo>
                      <a:pt x="1313" y="362"/>
                    </a:lnTo>
                    <a:lnTo>
                      <a:pt x="1318" y="364"/>
                    </a:lnTo>
                    <a:lnTo>
                      <a:pt x="1319" y="367"/>
                    </a:lnTo>
                    <a:lnTo>
                      <a:pt x="1318" y="372"/>
                    </a:lnTo>
                    <a:lnTo>
                      <a:pt x="1314" y="375"/>
                    </a:lnTo>
                    <a:lnTo>
                      <a:pt x="1309" y="382"/>
                    </a:lnTo>
                    <a:lnTo>
                      <a:pt x="1309" y="385"/>
                    </a:lnTo>
                    <a:lnTo>
                      <a:pt x="1309" y="389"/>
                    </a:lnTo>
                    <a:lnTo>
                      <a:pt x="1304" y="392"/>
                    </a:lnTo>
                    <a:lnTo>
                      <a:pt x="1299" y="397"/>
                    </a:lnTo>
                    <a:lnTo>
                      <a:pt x="1298" y="399"/>
                    </a:lnTo>
                    <a:lnTo>
                      <a:pt x="1293" y="404"/>
                    </a:lnTo>
                    <a:lnTo>
                      <a:pt x="1293" y="405"/>
                    </a:lnTo>
                    <a:lnTo>
                      <a:pt x="1291" y="410"/>
                    </a:lnTo>
                    <a:lnTo>
                      <a:pt x="1288" y="410"/>
                    </a:lnTo>
                    <a:lnTo>
                      <a:pt x="1286" y="409"/>
                    </a:lnTo>
                    <a:lnTo>
                      <a:pt x="1283" y="410"/>
                    </a:lnTo>
                    <a:lnTo>
                      <a:pt x="1283" y="414"/>
                    </a:lnTo>
                    <a:lnTo>
                      <a:pt x="1289" y="415"/>
                    </a:lnTo>
                    <a:lnTo>
                      <a:pt x="1289" y="419"/>
                    </a:lnTo>
                    <a:lnTo>
                      <a:pt x="1283" y="425"/>
                    </a:lnTo>
                    <a:lnTo>
                      <a:pt x="1281" y="427"/>
                    </a:lnTo>
                    <a:lnTo>
                      <a:pt x="1281" y="425"/>
                    </a:lnTo>
                    <a:lnTo>
                      <a:pt x="1281" y="422"/>
                    </a:lnTo>
                    <a:lnTo>
                      <a:pt x="1278" y="420"/>
                    </a:lnTo>
                    <a:lnTo>
                      <a:pt x="1276" y="422"/>
                    </a:lnTo>
                    <a:lnTo>
                      <a:pt x="1275" y="425"/>
                    </a:lnTo>
                    <a:lnTo>
                      <a:pt x="1273" y="427"/>
                    </a:lnTo>
                    <a:lnTo>
                      <a:pt x="1270" y="430"/>
                    </a:lnTo>
                    <a:lnTo>
                      <a:pt x="1265" y="430"/>
                    </a:lnTo>
                    <a:lnTo>
                      <a:pt x="1263" y="434"/>
                    </a:lnTo>
                    <a:lnTo>
                      <a:pt x="1266" y="435"/>
                    </a:lnTo>
                    <a:lnTo>
                      <a:pt x="1270" y="435"/>
                    </a:lnTo>
                    <a:lnTo>
                      <a:pt x="1270" y="437"/>
                    </a:lnTo>
                    <a:lnTo>
                      <a:pt x="1268" y="440"/>
                    </a:lnTo>
                    <a:lnTo>
                      <a:pt x="1268" y="442"/>
                    </a:lnTo>
                    <a:lnTo>
                      <a:pt x="1268" y="445"/>
                    </a:lnTo>
                    <a:lnTo>
                      <a:pt x="1266" y="447"/>
                    </a:lnTo>
                    <a:lnTo>
                      <a:pt x="1263" y="443"/>
                    </a:lnTo>
                    <a:lnTo>
                      <a:pt x="1263" y="439"/>
                    </a:lnTo>
                    <a:lnTo>
                      <a:pt x="1261" y="437"/>
                    </a:lnTo>
                    <a:lnTo>
                      <a:pt x="1260" y="439"/>
                    </a:lnTo>
                    <a:lnTo>
                      <a:pt x="1260" y="442"/>
                    </a:lnTo>
                    <a:lnTo>
                      <a:pt x="1261" y="445"/>
                    </a:lnTo>
                    <a:lnTo>
                      <a:pt x="1256" y="448"/>
                    </a:lnTo>
                    <a:lnTo>
                      <a:pt x="1245" y="448"/>
                    </a:lnTo>
                    <a:lnTo>
                      <a:pt x="1245" y="445"/>
                    </a:lnTo>
                    <a:lnTo>
                      <a:pt x="1243" y="443"/>
                    </a:lnTo>
                    <a:lnTo>
                      <a:pt x="1240" y="445"/>
                    </a:lnTo>
                    <a:lnTo>
                      <a:pt x="1235" y="445"/>
                    </a:lnTo>
                    <a:lnTo>
                      <a:pt x="1235" y="443"/>
                    </a:lnTo>
                    <a:lnTo>
                      <a:pt x="1238" y="439"/>
                    </a:lnTo>
                    <a:lnTo>
                      <a:pt x="1233" y="442"/>
                    </a:lnTo>
                    <a:lnTo>
                      <a:pt x="1231" y="443"/>
                    </a:lnTo>
                    <a:lnTo>
                      <a:pt x="1228" y="445"/>
                    </a:lnTo>
                    <a:lnTo>
                      <a:pt x="1228" y="445"/>
                    </a:lnTo>
                    <a:close/>
                    <a:moveTo>
                      <a:pt x="914" y="326"/>
                    </a:moveTo>
                    <a:lnTo>
                      <a:pt x="912" y="324"/>
                    </a:lnTo>
                    <a:lnTo>
                      <a:pt x="914" y="319"/>
                    </a:lnTo>
                    <a:lnTo>
                      <a:pt x="924" y="311"/>
                    </a:lnTo>
                    <a:lnTo>
                      <a:pt x="931" y="309"/>
                    </a:lnTo>
                    <a:lnTo>
                      <a:pt x="934" y="307"/>
                    </a:lnTo>
                    <a:lnTo>
                      <a:pt x="937" y="306"/>
                    </a:lnTo>
                    <a:lnTo>
                      <a:pt x="944" y="302"/>
                    </a:lnTo>
                    <a:lnTo>
                      <a:pt x="951" y="301"/>
                    </a:lnTo>
                    <a:lnTo>
                      <a:pt x="954" y="299"/>
                    </a:lnTo>
                    <a:lnTo>
                      <a:pt x="957" y="299"/>
                    </a:lnTo>
                    <a:lnTo>
                      <a:pt x="966" y="297"/>
                    </a:lnTo>
                    <a:lnTo>
                      <a:pt x="967" y="297"/>
                    </a:lnTo>
                    <a:lnTo>
                      <a:pt x="966" y="301"/>
                    </a:lnTo>
                    <a:lnTo>
                      <a:pt x="959" y="306"/>
                    </a:lnTo>
                    <a:lnTo>
                      <a:pt x="951" y="311"/>
                    </a:lnTo>
                    <a:lnTo>
                      <a:pt x="937" y="321"/>
                    </a:lnTo>
                    <a:lnTo>
                      <a:pt x="932" y="326"/>
                    </a:lnTo>
                    <a:lnTo>
                      <a:pt x="929" y="327"/>
                    </a:lnTo>
                    <a:lnTo>
                      <a:pt x="926" y="327"/>
                    </a:lnTo>
                    <a:lnTo>
                      <a:pt x="924" y="329"/>
                    </a:lnTo>
                    <a:lnTo>
                      <a:pt x="921" y="331"/>
                    </a:lnTo>
                    <a:lnTo>
                      <a:pt x="919" y="326"/>
                    </a:lnTo>
                    <a:lnTo>
                      <a:pt x="916" y="324"/>
                    </a:lnTo>
                    <a:lnTo>
                      <a:pt x="914" y="326"/>
                    </a:lnTo>
                    <a:lnTo>
                      <a:pt x="914" y="326"/>
                    </a:lnTo>
                    <a:close/>
                    <a:moveTo>
                      <a:pt x="1147" y="414"/>
                    </a:moveTo>
                    <a:lnTo>
                      <a:pt x="1147" y="412"/>
                    </a:lnTo>
                    <a:lnTo>
                      <a:pt x="1147" y="412"/>
                    </a:lnTo>
                    <a:lnTo>
                      <a:pt x="1152" y="410"/>
                    </a:lnTo>
                    <a:lnTo>
                      <a:pt x="1153" y="407"/>
                    </a:lnTo>
                    <a:lnTo>
                      <a:pt x="1153" y="404"/>
                    </a:lnTo>
                    <a:lnTo>
                      <a:pt x="1162" y="400"/>
                    </a:lnTo>
                    <a:lnTo>
                      <a:pt x="1162" y="399"/>
                    </a:lnTo>
                    <a:lnTo>
                      <a:pt x="1167" y="399"/>
                    </a:lnTo>
                    <a:lnTo>
                      <a:pt x="1167" y="404"/>
                    </a:lnTo>
                    <a:lnTo>
                      <a:pt x="1168" y="405"/>
                    </a:lnTo>
                    <a:lnTo>
                      <a:pt x="1168" y="412"/>
                    </a:lnTo>
                    <a:lnTo>
                      <a:pt x="1167" y="415"/>
                    </a:lnTo>
                    <a:lnTo>
                      <a:pt x="1162" y="419"/>
                    </a:lnTo>
                    <a:lnTo>
                      <a:pt x="1158" y="419"/>
                    </a:lnTo>
                    <a:lnTo>
                      <a:pt x="1155" y="420"/>
                    </a:lnTo>
                    <a:lnTo>
                      <a:pt x="1152" y="420"/>
                    </a:lnTo>
                    <a:lnTo>
                      <a:pt x="1150" y="417"/>
                    </a:lnTo>
                    <a:lnTo>
                      <a:pt x="1147" y="414"/>
                    </a:lnTo>
                    <a:lnTo>
                      <a:pt x="1147" y="414"/>
                    </a:lnTo>
                    <a:close/>
                    <a:moveTo>
                      <a:pt x="961" y="409"/>
                    </a:moveTo>
                    <a:lnTo>
                      <a:pt x="962" y="404"/>
                    </a:lnTo>
                    <a:lnTo>
                      <a:pt x="961" y="400"/>
                    </a:lnTo>
                    <a:lnTo>
                      <a:pt x="962" y="394"/>
                    </a:lnTo>
                    <a:lnTo>
                      <a:pt x="969" y="392"/>
                    </a:lnTo>
                    <a:lnTo>
                      <a:pt x="977" y="394"/>
                    </a:lnTo>
                    <a:lnTo>
                      <a:pt x="981" y="392"/>
                    </a:lnTo>
                    <a:lnTo>
                      <a:pt x="986" y="392"/>
                    </a:lnTo>
                    <a:lnTo>
                      <a:pt x="990" y="392"/>
                    </a:lnTo>
                    <a:lnTo>
                      <a:pt x="997" y="389"/>
                    </a:lnTo>
                    <a:lnTo>
                      <a:pt x="1004" y="389"/>
                    </a:lnTo>
                    <a:lnTo>
                      <a:pt x="1012" y="392"/>
                    </a:lnTo>
                    <a:lnTo>
                      <a:pt x="1017" y="392"/>
                    </a:lnTo>
                    <a:lnTo>
                      <a:pt x="1020" y="392"/>
                    </a:lnTo>
                    <a:lnTo>
                      <a:pt x="1024" y="390"/>
                    </a:lnTo>
                    <a:lnTo>
                      <a:pt x="1037" y="389"/>
                    </a:lnTo>
                    <a:lnTo>
                      <a:pt x="1037" y="387"/>
                    </a:lnTo>
                    <a:lnTo>
                      <a:pt x="1040" y="384"/>
                    </a:lnTo>
                    <a:lnTo>
                      <a:pt x="1039" y="382"/>
                    </a:lnTo>
                    <a:lnTo>
                      <a:pt x="1035" y="385"/>
                    </a:lnTo>
                    <a:lnTo>
                      <a:pt x="1029" y="385"/>
                    </a:lnTo>
                    <a:lnTo>
                      <a:pt x="1029" y="382"/>
                    </a:lnTo>
                    <a:lnTo>
                      <a:pt x="1020" y="385"/>
                    </a:lnTo>
                    <a:lnTo>
                      <a:pt x="1015" y="385"/>
                    </a:lnTo>
                    <a:lnTo>
                      <a:pt x="1015" y="382"/>
                    </a:lnTo>
                    <a:lnTo>
                      <a:pt x="1012" y="380"/>
                    </a:lnTo>
                    <a:lnTo>
                      <a:pt x="1009" y="382"/>
                    </a:lnTo>
                    <a:lnTo>
                      <a:pt x="1004" y="384"/>
                    </a:lnTo>
                    <a:lnTo>
                      <a:pt x="999" y="384"/>
                    </a:lnTo>
                    <a:lnTo>
                      <a:pt x="997" y="382"/>
                    </a:lnTo>
                    <a:lnTo>
                      <a:pt x="992" y="384"/>
                    </a:lnTo>
                    <a:lnTo>
                      <a:pt x="987" y="382"/>
                    </a:lnTo>
                    <a:lnTo>
                      <a:pt x="987" y="379"/>
                    </a:lnTo>
                    <a:lnTo>
                      <a:pt x="992" y="374"/>
                    </a:lnTo>
                    <a:lnTo>
                      <a:pt x="997" y="370"/>
                    </a:lnTo>
                    <a:lnTo>
                      <a:pt x="994" y="370"/>
                    </a:lnTo>
                    <a:lnTo>
                      <a:pt x="989" y="372"/>
                    </a:lnTo>
                    <a:lnTo>
                      <a:pt x="986" y="375"/>
                    </a:lnTo>
                    <a:lnTo>
                      <a:pt x="984" y="370"/>
                    </a:lnTo>
                    <a:lnTo>
                      <a:pt x="982" y="372"/>
                    </a:lnTo>
                    <a:lnTo>
                      <a:pt x="981" y="375"/>
                    </a:lnTo>
                    <a:lnTo>
                      <a:pt x="972" y="380"/>
                    </a:lnTo>
                    <a:lnTo>
                      <a:pt x="972" y="382"/>
                    </a:lnTo>
                    <a:lnTo>
                      <a:pt x="967" y="384"/>
                    </a:lnTo>
                    <a:lnTo>
                      <a:pt x="962" y="380"/>
                    </a:lnTo>
                    <a:lnTo>
                      <a:pt x="962" y="377"/>
                    </a:lnTo>
                    <a:lnTo>
                      <a:pt x="964" y="374"/>
                    </a:lnTo>
                    <a:lnTo>
                      <a:pt x="961" y="374"/>
                    </a:lnTo>
                    <a:lnTo>
                      <a:pt x="959" y="372"/>
                    </a:lnTo>
                    <a:lnTo>
                      <a:pt x="957" y="379"/>
                    </a:lnTo>
                    <a:lnTo>
                      <a:pt x="954" y="380"/>
                    </a:lnTo>
                    <a:lnTo>
                      <a:pt x="951" y="379"/>
                    </a:lnTo>
                    <a:lnTo>
                      <a:pt x="951" y="374"/>
                    </a:lnTo>
                    <a:lnTo>
                      <a:pt x="946" y="370"/>
                    </a:lnTo>
                    <a:lnTo>
                      <a:pt x="946" y="367"/>
                    </a:lnTo>
                    <a:lnTo>
                      <a:pt x="944" y="365"/>
                    </a:lnTo>
                    <a:lnTo>
                      <a:pt x="942" y="370"/>
                    </a:lnTo>
                    <a:lnTo>
                      <a:pt x="941" y="369"/>
                    </a:lnTo>
                    <a:lnTo>
                      <a:pt x="936" y="364"/>
                    </a:lnTo>
                    <a:lnTo>
                      <a:pt x="927" y="359"/>
                    </a:lnTo>
                    <a:lnTo>
                      <a:pt x="927" y="357"/>
                    </a:lnTo>
                    <a:lnTo>
                      <a:pt x="932" y="355"/>
                    </a:lnTo>
                    <a:lnTo>
                      <a:pt x="932" y="352"/>
                    </a:lnTo>
                    <a:lnTo>
                      <a:pt x="931" y="349"/>
                    </a:lnTo>
                    <a:lnTo>
                      <a:pt x="939" y="344"/>
                    </a:lnTo>
                    <a:lnTo>
                      <a:pt x="946" y="342"/>
                    </a:lnTo>
                    <a:lnTo>
                      <a:pt x="947" y="344"/>
                    </a:lnTo>
                    <a:lnTo>
                      <a:pt x="956" y="344"/>
                    </a:lnTo>
                    <a:lnTo>
                      <a:pt x="962" y="347"/>
                    </a:lnTo>
                    <a:lnTo>
                      <a:pt x="967" y="347"/>
                    </a:lnTo>
                    <a:lnTo>
                      <a:pt x="972" y="345"/>
                    </a:lnTo>
                    <a:lnTo>
                      <a:pt x="977" y="344"/>
                    </a:lnTo>
                    <a:lnTo>
                      <a:pt x="984" y="341"/>
                    </a:lnTo>
                    <a:lnTo>
                      <a:pt x="979" y="339"/>
                    </a:lnTo>
                    <a:lnTo>
                      <a:pt x="977" y="337"/>
                    </a:lnTo>
                    <a:lnTo>
                      <a:pt x="972" y="337"/>
                    </a:lnTo>
                    <a:lnTo>
                      <a:pt x="967" y="339"/>
                    </a:lnTo>
                    <a:lnTo>
                      <a:pt x="959" y="336"/>
                    </a:lnTo>
                    <a:lnTo>
                      <a:pt x="954" y="336"/>
                    </a:lnTo>
                    <a:lnTo>
                      <a:pt x="952" y="334"/>
                    </a:lnTo>
                    <a:lnTo>
                      <a:pt x="959" y="327"/>
                    </a:lnTo>
                    <a:lnTo>
                      <a:pt x="966" y="322"/>
                    </a:lnTo>
                    <a:lnTo>
                      <a:pt x="971" y="321"/>
                    </a:lnTo>
                    <a:lnTo>
                      <a:pt x="972" y="322"/>
                    </a:lnTo>
                    <a:lnTo>
                      <a:pt x="982" y="321"/>
                    </a:lnTo>
                    <a:lnTo>
                      <a:pt x="992" y="321"/>
                    </a:lnTo>
                    <a:lnTo>
                      <a:pt x="999" y="322"/>
                    </a:lnTo>
                    <a:lnTo>
                      <a:pt x="1000" y="322"/>
                    </a:lnTo>
                    <a:lnTo>
                      <a:pt x="999" y="319"/>
                    </a:lnTo>
                    <a:lnTo>
                      <a:pt x="997" y="319"/>
                    </a:lnTo>
                    <a:lnTo>
                      <a:pt x="992" y="317"/>
                    </a:lnTo>
                    <a:lnTo>
                      <a:pt x="987" y="317"/>
                    </a:lnTo>
                    <a:lnTo>
                      <a:pt x="977" y="314"/>
                    </a:lnTo>
                    <a:lnTo>
                      <a:pt x="974" y="311"/>
                    </a:lnTo>
                    <a:lnTo>
                      <a:pt x="979" y="307"/>
                    </a:lnTo>
                    <a:lnTo>
                      <a:pt x="982" y="304"/>
                    </a:lnTo>
                    <a:lnTo>
                      <a:pt x="986" y="301"/>
                    </a:lnTo>
                    <a:lnTo>
                      <a:pt x="989" y="301"/>
                    </a:lnTo>
                    <a:lnTo>
                      <a:pt x="994" y="299"/>
                    </a:lnTo>
                    <a:lnTo>
                      <a:pt x="999" y="299"/>
                    </a:lnTo>
                    <a:lnTo>
                      <a:pt x="1000" y="301"/>
                    </a:lnTo>
                    <a:lnTo>
                      <a:pt x="1004" y="301"/>
                    </a:lnTo>
                    <a:lnTo>
                      <a:pt x="1010" y="306"/>
                    </a:lnTo>
                    <a:lnTo>
                      <a:pt x="1012" y="306"/>
                    </a:lnTo>
                    <a:lnTo>
                      <a:pt x="1010" y="302"/>
                    </a:lnTo>
                    <a:lnTo>
                      <a:pt x="1005" y="299"/>
                    </a:lnTo>
                    <a:lnTo>
                      <a:pt x="1005" y="296"/>
                    </a:lnTo>
                    <a:lnTo>
                      <a:pt x="1002" y="294"/>
                    </a:lnTo>
                    <a:lnTo>
                      <a:pt x="1005" y="291"/>
                    </a:lnTo>
                    <a:lnTo>
                      <a:pt x="1019" y="289"/>
                    </a:lnTo>
                    <a:lnTo>
                      <a:pt x="1022" y="289"/>
                    </a:lnTo>
                    <a:lnTo>
                      <a:pt x="1030" y="289"/>
                    </a:lnTo>
                    <a:lnTo>
                      <a:pt x="1035" y="292"/>
                    </a:lnTo>
                    <a:lnTo>
                      <a:pt x="1037" y="299"/>
                    </a:lnTo>
                    <a:lnTo>
                      <a:pt x="1034" y="301"/>
                    </a:lnTo>
                    <a:lnTo>
                      <a:pt x="1029" y="307"/>
                    </a:lnTo>
                    <a:lnTo>
                      <a:pt x="1030" y="311"/>
                    </a:lnTo>
                    <a:lnTo>
                      <a:pt x="1040" y="311"/>
                    </a:lnTo>
                    <a:lnTo>
                      <a:pt x="1044" y="307"/>
                    </a:lnTo>
                    <a:lnTo>
                      <a:pt x="1047" y="311"/>
                    </a:lnTo>
                    <a:lnTo>
                      <a:pt x="1049" y="311"/>
                    </a:lnTo>
                    <a:lnTo>
                      <a:pt x="1050" y="312"/>
                    </a:lnTo>
                    <a:lnTo>
                      <a:pt x="1052" y="316"/>
                    </a:lnTo>
                    <a:lnTo>
                      <a:pt x="1054" y="317"/>
                    </a:lnTo>
                    <a:lnTo>
                      <a:pt x="1054" y="321"/>
                    </a:lnTo>
                    <a:lnTo>
                      <a:pt x="1050" y="322"/>
                    </a:lnTo>
                    <a:lnTo>
                      <a:pt x="1049" y="326"/>
                    </a:lnTo>
                    <a:lnTo>
                      <a:pt x="1054" y="331"/>
                    </a:lnTo>
                    <a:lnTo>
                      <a:pt x="1054" y="339"/>
                    </a:lnTo>
                    <a:lnTo>
                      <a:pt x="1052" y="342"/>
                    </a:lnTo>
                    <a:lnTo>
                      <a:pt x="1047" y="341"/>
                    </a:lnTo>
                    <a:lnTo>
                      <a:pt x="1044" y="342"/>
                    </a:lnTo>
                    <a:lnTo>
                      <a:pt x="1044" y="345"/>
                    </a:lnTo>
                    <a:lnTo>
                      <a:pt x="1049" y="344"/>
                    </a:lnTo>
                    <a:lnTo>
                      <a:pt x="1054" y="345"/>
                    </a:lnTo>
                    <a:lnTo>
                      <a:pt x="1057" y="345"/>
                    </a:lnTo>
                    <a:lnTo>
                      <a:pt x="1054" y="355"/>
                    </a:lnTo>
                    <a:lnTo>
                      <a:pt x="1050" y="357"/>
                    </a:lnTo>
                    <a:lnTo>
                      <a:pt x="1050" y="365"/>
                    </a:lnTo>
                    <a:lnTo>
                      <a:pt x="1052" y="367"/>
                    </a:lnTo>
                    <a:lnTo>
                      <a:pt x="1059" y="365"/>
                    </a:lnTo>
                    <a:lnTo>
                      <a:pt x="1060" y="362"/>
                    </a:lnTo>
                    <a:lnTo>
                      <a:pt x="1064" y="365"/>
                    </a:lnTo>
                    <a:lnTo>
                      <a:pt x="1064" y="367"/>
                    </a:lnTo>
                    <a:lnTo>
                      <a:pt x="1069" y="369"/>
                    </a:lnTo>
                    <a:lnTo>
                      <a:pt x="1072" y="367"/>
                    </a:lnTo>
                    <a:lnTo>
                      <a:pt x="1080" y="370"/>
                    </a:lnTo>
                    <a:lnTo>
                      <a:pt x="1085" y="375"/>
                    </a:lnTo>
                    <a:lnTo>
                      <a:pt x="1087" y="374"/>
                    </a:lnTo>
                    <a:lnTo>
                      <a:pt x="1087" y="370"/>
                    </a:lnTo>
                    <a:lnTo>
                      <a:pt x="1085" y="370"/>
                    </a:lnTo>
                    <a:lnTo>
                      <a:pt x="1092" y="367"/>
                    </a:lnTo>
                    <a:lnTo>
                      <a:pt x="1090" y="359"/>
                    </a:lnTo>
                    <a:lnTo>
                      <a:pt x="1087" y="355"/>
                    </a:lnTo>
                    <a:lnTo>
                      <a:pt x="1087" y="352"/>
                    </a:lnTo>
                    <a:lnTo>
                      <a:pt x="1084" y="347"/>
                    </a:lnTo>
                    <a:lnTo>
                      <a:pt x="1087" y="345"/>
                    </a:lnTo>
                    <a:lnTo>
                      <a:pt x="1088" y="345"/>
                    </a:lnTo>
                    <a:lnTo>
                      <a:pt x="1097" y="344"/>
                    </a:lnTo>
                    <a:lnTo>
                      <a:pt x="1102" y="344"/>
                    </a:lnTo>
                    <a:lnTo>
                      <a:pt x="1103" y="337"/>
                    </a:lnTo>
                    <a:lnTo>
                      <a:pt x="1100" y="331"/>
                    </a:lnTo>
                    <a:lnTo>
                      <a:pt x="1098" y="329"/>
                    </a:lnTo>
                    <a:lnTo>
                      <a:pt x="1098" y="324"/>
                    </a:lnTo>
                    <a:lnTo>
                      <a:pt x="1097" y="319"/>
                    </a:lnTo>
                    <a:lnTo>
                      <a:pt x="1100" y="314"/>
                    </a:lnTo>
                    <a:lnTo>
                      <a:pt x="1105" y="311"/>
                    </a:lnTo>
                    <a:lnTo>
                      <a:pt x="1107" y="312"/>
                    </a:lnTo>
                    <a:lnTo>
                      <a:pt x="1112" y="312"/>
                    </a:lnTo>
                    <a:lnTo>
                      <a:pt x="1110" y="309"/>
                    </a:lnTo>
                    <a:lnTo>
                      <a:pt x="1113" y="306"/>
                    </a:lnTo>
                    <a:lnTo>
                      <a:pt x="1118" y="304"/>
                    </a:lnTo>
                    <a:lnTo>
                      <a:pt x="1128" y="294"/>
                    </a:lnTo>
                    <a:lnTo>
                      <a:pt x="1132" y="296"/>
                    </a:lnTo>
                    <a:lnTo>
                      <a:pt x="1138" y="297"/>
                    </a:lnTo>
                    <a:lnTo>
                      <a:pt x="1138" y="301"/>
                    </a:lnTo>
                    <a:lnTo>
                      <a:pt x="1140" y="304"/>
                    </a:lnTo>
                    <a:lnTo>
                      <a:pt x="1138" y="307"/>
                    </a:lnTo>
                    <a:lnTo>
                      <a:pt x="1133" y="307"/>
                    </a:lnTo>
                    <a:lnTo>
                      <a:pt x="1132" y="309"/>
                    </a:lnTo>
                    <a:lnTo>
                      <a:pt x="1132" y="312"/>
                    </a:lnTo>
                    <a:lnTo>
                      <a:pt x="1130" y="317"/>
                    </a:lnTo>
                    <a:lnTo>
                      <a:pt x="1130" y="322"/>
                    </a:lnTo>
                    <a:lnTo>
                      <a:pt x="1132" y="324"/>
                    </a:lnTo>
                    <a:lnTo>
                      <a:pt x="1132" y="336"/>
                    </a:lnTo>
                    <a:lnTo>
                      <a:pt x="1128" y="337"/>
                    </a:lnTo>
                    <a:lnTo>
                      <a:pt x="1127" y="337"/>
                    </a:lnTo>
                    <a:lnTo>
                      <a:pt x="1120" y="342"/>
                    </a:lnTo>
                    <a:lnTo>
                      <a:pt x="1117" y="344"/>
                    </a:lnTo>
                    <a:lnTo>
                      <a:pt x="1117" y="345"/>
                    </a:lnTo>
                    <a:lnTo>
                      <a:pt x="1118" y="347"/>
                    </a:lnTo>
                    <a:lnTo>
                      <a:pt x="1123" y="345"/>
                    </a:lnTo>
                    <a:lnTo>
                      <a:pt x="1130" y="345"/>
                    </a:lnTo>
                    <a:lnTo>
                      <a:pt x="1130" y="347"/>
                    </a:lnTo>
                    <a:lnTo>
                      <a:pt x="1127" y="352"/>
                    </a:lnTo>
                    <a:lnTo>
                      <a:pt x="1120" y="357"/>
                    </a:lnTo>
                    <a:lnTo>
                      <a:pt x="1113" y="362"/>
                    </a:lnTo>
                    <a:lnTo>
                      <a:pt x="1112" y="365"/>
                    </a:lnTo>
                    <a:lnTo>
                      <a:pt x="1113" y="369"/>
                    </a:lnTo>
                    <a:lnTo>
                      <a:pt x="1115" y="364"/>
                    </a:lnTo>
                    <a:lnTo>
                      <a:pt x="1123" y="360"/>
                    </a:lnTo>
                    <a:lnTo>
                      <a:pt x="1127" y="357"/>
                    </a:lnTo>
                    <a:lnTo>
                      <a:pt x="1130" y="357"/>
                    </a:lnTo>
                    <a:lnTo>
                      <a:pt x="1137" y="359"/>
                    </a:lnTo>
                    <a:lnTo>
                      <a:pt x="1137" y="365"/>
                    </a:lnTo>
                    <a:lnTo>
                      <a:pt x="1132" y="372"/>
                    </a:lnTo>
                    <a:lnTo>
                      <a:pt x="1133" y="374"/>
                    </a:lnTo>
                    <a:lnTo>
                      <a:pt x="1138" y="369"/>
                    </a:lnTo>
                    <a:lnTo>
                      <a:pt x="1142" y="370"/>
                    </a:lnTo>
                    <a:lnTo>
                      <a:pt x="1142" y="367"/>
                    </a:lnTo>
                    <a:lnTo>
                      <a:pt x="1142" y="365"/>
                    </a:lnTo>
                    <a:lnTo>
                      <a:pt x="1145" y="362"/>
                    </a:lnTo>
                    <a:lnTo>
                      <a:pt x="1145" y="357"/>
                    </a:lnTo>
                    <a:lnTo>
                      <a:pt x="1153" y="352"/>
                    </a:lnTo>
                    <a:lnTo>
                      <a:pt x="1155" y="352"/>
                    </a:lnTo>
                    <a:lnTo>
                      <a:pt x="1162" y="355"/>
                    </a:lnTo>
                    <a:lnTo>
                      <a:pt x="1165" y="364"/>
                    </a:lnTo>
                    <a:lnTo>
                      <a:pt x="1167" y="367"/>
                    </a:lnTo>
                    <a:lnTo>
                      <a:pt x="1165" y="372"/>
                    </a:lnTo>
                    <a:lnTo>
                      <a:pt x="1158" y="382"/>
                    </a:lnTo>
                    <a:lnTo>
                      <a:pt x="1153" y="387"/>
                    </a:lnTo>
                    <a:lnTo>
                      <a:pt x="1148" y="389"/>
                    </a:lnTo>
                    <a:lnTo>
                      <a:pt x="1145" y="389"/>
                    </a:lnTo>
                    <a:lnTo>
                      <a:pt x="1143" y="392"/>
                    </a:lnTo>
                    <a:lnTo>
                      <a:pt x="1145" y="395"/>
                    </a:lnTo>
                    <a:lnTo>
                      <a:pt x="1140" y="400"/>
                    </a:lnTo>
                    <a:lnTo>
                      <a:pt x="1137" y="400"/>
                    </a:lnTo>
                    <a:lnTo>
                      <a:pt x="1132" y="404"/>
                    </a:lnTo>
                    <a:lnTo>
                      <a:pt x="1132" y="407"/>
                    </a:lnTo>
                    <a:lnTo>
                      <a:pt x="1130" y="410"/>
                    </a:lnTo>
                    <a:lnTo>
                      <a:pt x="1127" y="410"/>
                    </a:lnTo>
                    <a:lnTo>
                      <a:pt x="1125" y="412"/>
                    </a:lnTo>
                    <a:lnTo>
                      <a:pt x="1125" y="414"/>
                    </a:lnTo>
                    <a:lnTo>
                      <a:pt x="1122" y="415"/>
                    </a:lnTo>
                    <a:lnTo>
                      <a:pt x="1118" y="412"/>
                    </a:lnTo>
                    <a:lnTo>
                      <a:pt x="1115" y="414"/>
                    </a:lnTo>
                    <a:lnTo>
                      <a:pt x="1112" y="414"/>
                    </a:lnTo>
                    <a:lnTo>
                      <a:pt x="1103" y="417"/>
                    </a:lnTo>
                    <a:lnTo>
                      <a:pt x="1097" y="417"/>
                    </a:lnTo>
                    <a:lnTo>
                      <a:pt x="1090" y="415"/>
                    </a:lnTo>
                    <a:lnTo>
                      <a:pt x="1090" y="412"/>
                    </a:lnTo>
                    <a:lnTo>
                      <a:pt x="1092" y="409"/>
                    </a:lnTo>
                    <a:lnTo>
                      <a:pt x="1092" y="407"/>
                    </a:lnTo>
                    <a:lnTo>
                      <a:pt x="1090" y="405"/>
                    </a:lnTo>
                    <a:lnTo>
                      <a:pt x="1085" y="409"/>
                    </a:lnTo>
                    <a:lnTo>
                      <a:pt x="1084" y="410"/>
                    </a:lnTo>
                    <a:lnTo>
                      <a:pt x="1080" y="412"/>
                    </a:lnTo>
                    <a:lnTo>
                      <a:pt x="1075" y="410"/>
                    </a:lnTo>
                    <a:lnTo>
                      <a:pt x="1075" y="407"/>
                    </a:lnTo>
                    <a:lnTo>
                      <a:pt x="1077" y="405"/>
                    </a:lnTo>
                    <a:lnTo>
                      <a:pt x="1075" y="402"/>
                    </a:lnTo>
                    <a:lnTo>
                      <a:pt x="1072" y="402"/>
                    </a:lnTo>
                    <a:lnTo>
                      <a:pt x="1072" y="404"/>
                    </a:lnTo>
                    <a:lnTo>
                      <a:pt x="1069" y="405"/>
                    </a:lnTo>
                    <a:lnTo>
                      <a:pt x="1065" y="405"/>
                    </a:lnTo>
                    <a:lnTo>
                      <a:pt x="1057" y="409"/>
                    </a:lnTo>
                    <a:lnTo>
                      <a:pt x="1055" y="410"/>
                    </a:lnTo>
                    <a:lnTo>
                      <a:pt x="1050" y="410"/>
                    </a:lnTo>
                    <a:lnTo>
                      <a:pt x="1049" y="409"/>
                    </a:lnTo>
                    <a:lnTo>
                      <a:pt x="1042" y="410"/>
                    </a:lnTo>
                    <a:lnTo>
                      <a:pt x="1039" y="407"/>
                    </a:lnTo>
                    <a:lnTo>
                      <a:pt x="1037" y="410"/>
                    </a:lnTo>
                    <a:lnTo>
                      <a:pt x="1034" y="410"/>
                    </a:lnTo>
                    <a:lnTo>
                      <a:pt x="1030" y="412"/>
                    </a:lnTo>
                    <a:lnTo>
                      <a:pt x="1030" y="415"/>
                    </a:lnTo>
                    <a:lnTo>
                      <a:pt x="1027" y="417"/>
                    </a:lnTo>
                    <a:lnTo>
                      <a:pt x="1022" y="417"/>
                    </a:lnTo>
                    <a:lnTo>
                      <a:pt x="1020" y="419"/>
                    </a:lnTo>
                    <a:lnTo>
                      <a:pt x="1015" y="420"/>
                    </a:lnTo>
                    <a:lnTo>
                      <a:pt x="1014" y="420"/>
                    </a:lnTo>
                    <a:lnTo>
                      <a:pt x="1009" y="422"/>
                    </a:lnTo>
                    <a:lnTo>
                      <a:pt x="1004" y="422"/>
                    </a:lnTo>
                    <a:lnTo>
                      <a:pt x="1002" y="419"/>
                    </a:lnTo>
                    <a:lnTo>
                      <a:pt x="995" y="419"/>
                    </a:lnTo>
                    <a:lnTo>
                      <a:pt x="989" y="422"/>
                    </a:lnTo>
                    <a:lnTo>
                      <a:pt x="982" y="422"/>
                    </a:lnTo>
                    <a:lnTo>
                      <a:pt x="974" y="419"/>
                    </a:lnTo>
                    <a:lnTo>
                      <a:pt x="969" y="417"/>
                    </a:lnTo>
                    <a:lnTo>
                      <a:pt x="966" y="414"/>
                    </a:lnTo>
                    <a:lnTo>
                      <a:pt x="961" y="409"/>
                    </a:lnTo>
                    <a:lnTo>
                      <a:pt x="961" y="409"/>
                    </a:lnTo>
                    <a:close/>
                    <a:moveTo>
                      <a:pt x="672" y="545"/>
                    </a:moveTo>
                    <a:lnTo>
                      <a:pt x="672" y="537"/>
                    </a:lnTo>
                    <a:lnTo>
                      <a:pt x="677" y="530"/>
                    </a:lnTo>
                    <a:lnTo>
                      <a:pt x="675" y="525"/>
                    </a:lnTo>
                    <a:lnTo>
                      <a:pt x="677" y="518"/>
                    </a:lnTo>
                    <a:lnTo>
                      <a:pt x="677" y="513"/>
                    </a:lnTo>
                    <a:lnTo>
                      <a:pt x="673" y="512"/>
                    </a:lnTo>
                    <a:lnTo>
                      <a:pt x="670" y="500"/>
                    </a:lnTo>
                    <a:lnTo>
                      <a:pt x="675" y="502"/>
                    </a:lnTo>
                    <a:lnTo>
                      <a:pt x="675" y="497"/>
                    </a:lnTo>
                    <a:lnTo>
                      <a:pt x="667" y="497"/>
                    </a:lnTo>
                    <a:lnTo>
                      <a:pt x="658" y="495"/>
                    </a:lnTo>
                    <a:lnTo>
                      <a:pt x="658" y="490"/>
                    </a:lnTo>
                    <a:lnTo>
                      <a:pt x="662" y="492"/>
                    </a:lnTo>
                    <a:lnTo>
                      <a:pt x="667" y="488"/>
                    </a:lnTo>
                    <a:lnTo>
                      <a:pt x="673" y="485"/>
                    </a:lnTo>
                    <a:lnTo>
                      <a:pt x="675" y="482"/>
                    </a:lnTo>
                    <a:lnTo>
                      <a:pt x="677" y="482"/>
                    </a:lnTo>
                    <a:lnTo>
                      <a:pt x="682" y="478"/>
                    </a:lnTo>
                    <a:lnTo>
                      <a:pt x="685" y="477"/>
                    </a:lnTo>
                    <a:lnTo>
                      <a:pt x="688" y="472"/>
                    </a:lnTo>
                    <a:lnTo>
                      <a:pt x="696" y="470"/>
                    </a:lnTo>
                    <a:lnTo>
                      <a:pt x="696" y="467"/>
                    </a:lnTo>
                    <a:lnTo>
                      <a:pt x="700" y="467"/>
                    </a:lnTo>
                    <a:lnTo>
                      <a:pt x="705" y="460"/>
                    </a:lnTo>
                    <a:lnTo>
                      <a:pt x="705" y="453"/>
                    </a:lnTo>
                    <a:lnTo>
                      <a:pt x="706" y="455"/>
                    </a:lnTo>
                    <a:lnTo>
                      <a:pt x="720" y="457"/>
                    </a:lnTo>
                    <a:lnTo>
                      <a:pt x="720" y="452"/>
                    </a:lnTo>
                    <a:lnTo>
                      <a:pt x="718" y="445"/>
                    </a:lnTo>
                    <a:lnTo>
                      <a:pt x="718" y="442"/>
                    </a:lnTo>
                    <a:lnTo>
                      <a:pt x="723" y="440"/>
                    </a:lnTo>
                    <a:lnTo>
                      <a:pt x="733" y="434"/>
                    </a:lnTo>
                    <a:lnTo>
                      <a:pt x="738" y="427"/>
                    </a:lnTo>
                    <a:lnTo>
                      <a:pt x="748" y="424"/>
                    </a:lnTo>
                    <a:lnTo>
                      <a:pt x="750" y="420"/>
                    </a:lnTo>
                    <a:lnTo>
                      <a:pt x="756" y="414"/>
                    </a:lnTo>
                    <a:lnTo>
                      <a:pt x="761" y="414"/>
                    </a:lnTo>
                    <a:lnTo>
                      <a:pt x="765" y="410"/>
                    </a:lnTo>
                    <a:lnTo>
                      <a:pt x="761" y="407"/>
                    </a:lnTo>
                    <a:lnTo>
                      <a:pt x="763" y="397"/>
                    </a:lnTo>
                    <a:lnTo>
                      <a:pt x="763" y="392"/>
                    </a:lnTo>
                    <a:lnTo>
                      <a:pt x="765" y="387"/>
                    </a:lnTo>
                    <a:lnTo>
                      <a:pt x="763" y="385"/>
                    </a:lnTo>
                    <a:lnTo>
                      <a:pt x="765" y="382"/>
                    </a:lnTo>
                    <a:lnTo>
                      <a:pt x="773" y="380"/>
                    </a:lnTo>
                    <a:lnTo>
                      <a:pt x="776" y="380"/>
                    </a:lnTo>
                    <a:lnTo>
                      <a:pt x="791" y="380"/>
                    </a:lnTo>
                    <a:lnTo>
                      <a:pt x="794" y="382"/>
                    </a:lnTo>
                    <a:lnTo>
                      <a:pt x="811" y="382"/>
                    </a:lnTo>
                    <a:lnTo>
                      <a:pt x="821" y="377"/>
                    </a:lnTo>
                    <a:lnTo>
                      <a:pt x="834" y="380"/>
                    </a:lnTo>
                    <a:lnTo>
                      <a:pt x="833" y="385"/>
                    </a:lnTo>
                    <a:lnTo>
                      <a:pt x="836" y="387"/>
                    </a:lnTo>
                    <a:lnTo>
                      <a:pt x="839" y="392"/>
                    </a:lnTo>
                    <a:lnTo>
                      <a:pt x="853" y="399"/>
                    </a:lnTo>
                    <a:lnTo>
                      <a:pt x="853" y="402"/>
                    </a:lnTo>
                    <a:lnTo>
                      <a:pt x="849" y="405"/>
                    </a:lnTo>
                    <a:lnTo>
                      <a:pt x="854" y="405"/>
                    </a:lnTo>
                    <a:lnTo>
                      <a:pt x="858" y="402"/>
                    </a:lnTo>
                    <a:lnTo>
                      <a:pt x="863" y="405"/>
                    </a:lnTo>
                    <a:lnTo>
                      <a:pt x="861" y="410"/>
                    </a:lnTo>
                    <a:lnTo>
                      <a:pt x="854" y="417"/>
                    </a:lnTo>
                    <a:lnTo>
                      <a:pt x="854" y="419"/>
                    </a:lnTo>
                    <a:lnTo>
                      <a:pt x="864" y="414"/>
                    </a:lnTo>
                    <a:lnTo>
                      <a:pt x="864" y="409"/>
                    </a:lnTo>
                    <a:lnTo>
                      <a:pt x="868" y="405"/>
                    </a:lnTo>
                    <a:lnTo>
                      <a:pt x="874" y="407"/>
                    </a:lnTo>
                    <a:lnTo>
                      <a:pt x="881" y="405"/>
                    </a:lnTo>
                    <a:lnTo>
                      <a:pt x="884" y="405"/>
                    </a:lnTo>
                    <a:lnTo>
                      <a:pt x="884" y="410"/>
                    </a:lnTo>
                    <a:lnTo>
                      <a:pt x="894" y="419"/>
                    </a:lnTo>
                    <a:lnTo>
                      <a:pt x="896" y="429"/>
                    </a:lnTo>
                    <a:lnTo>
                      <a:pt x="892" y="434"/>
                    </a:lnTo>
                    <a:lnTo>
                      <a:pt x="896" y="440"/>
                    </a:lnTo>
                    <a:lnTo>
                      <a:pt x="896" y="447"/>
                    </a:lnTo>
                    <a:lnTo>
                      <a:pt x="894" y="448"/>
                    </a:lnTo>
                    <a:lnTo>
                      <a:pt x="897" y="452"/>
                    </a:lnTo>
                    <a:lnTo>
                      <a:pt x="897" y="457"/>
                    </a:lnTo>
                    <a:lnTo>
                      <a:pt x="897" y="460"/>
                    </a:lnTo>
                    <a:lnTo>
                      <a:pt x="894" y="465"/>
                    </a:lnTo>
                    <a:lnTo>
                      <a:pt x="884" y="467"/>
                    </a:lnTo>
                    <a:lnTo>
                      <a:pt x="881" y="470"/>
                    </a:lnTo>
                    <a:lnTo>
                      <a:pt x="871" y="470"/>
                    </a:lnTo>
                    <a:lnTo>
                      <a:pt x="864" y="470"/>
                    </a:lnTo>
                    <a:lnTo>
                      <a:pt x="851" y="475"/>
                    </a:lnTo>
                    <a:lnTo>
                      <a:pt x="841" y="477"/>
                    </a:lnTo>
                    <a:lnTo>
                      <a:pt x="831" y="480"/>
                    </a:lnTo>
                    <a:lnTo>
                      <a:pt x="828" y="480"/>
                    </a:lnTo>
                    <a:lnTo>
                      <a:pt x="821" y="483"/>
                    </a:lnTo>
                    <a:lnTo>
                      <a:pt x="813" y="483"/>
                    </a:lnTo>
                    <a:lnTo>
                      <a:pt x="809" y="487"/>
                    </a:lnTo>
                    <a:lnTo>
                      <a:pt x="808" y="483"/>
                    </a:lnTo>
                    <a:lnTo>
                      <a:pt x="804" y="485"/>
                    </a:lnTo>
                    <a:lnTo>
                      <a:pt x="796" y="487"/>
                    </a:lnTo>
                    <a:lnTo>
                      <a:pt x="794" y="492"/>
                    </a:lnTo>
                    <a:lnTo>
                      <a:pt x="790" y="497"/>
                    </a:lnTo>
                    <a:lnTo>
                      <a:pt x="788" y="497"/>
                    </a:lnTo>
                    <a:lnTo>
                      <a:pt x="785" y="503"/>
                    </a:lnTo>
                    <a:lnTo>
                      <a:pt x="780" y="505"/>
                    </a:lnTo>
                    <a:lnTo>
                      <a:pt x="773" y="508"/>
                    </a:lnTo>
                    <a:lnTo>
                      <a:pt x="766" y="508"/>
                    </a:lnTo>
                    <a:lnTo>
                      <a:pt x="763" y="502"/>
                    </a:lnTo>
                    <a:lnTo>
                      <a:pt x="760" y="508"/>
                    </a:lnTo>
                    <a:lnTo>
                      <a:pt x="760" y="512"/>
                    </a:lnTo>
                    <a:lnTo>
                      <a:pt x="755" y="515"/>
                    </a:lnTo>
                    <a:lnTo>
                      <a:pt x="748" y="520"/>
                    </a:lnTo>
                    <a:lnTo>
                      <a:pt x="746" y="523"/>
                    </a:lnTo>
                    <a:lnTo>
                      <a:pt x="741" y="528"/>
                    </a:lnTo>
                    <a:lnTo>
                      <a:pt x="741" y="532"/>
                    </a:lnTo>
                    <a:lnTo>
                      <a:pt x="735" y="538"/>
                    </a:lnTo>
                    <a:lnTo>
                      <a:pt x="730" y="543"/>
                    </a:lnTo>
                    <a:lnTo>
                      <a:pt x="723" y="541"/>
                    </a:lnTo>
                    <a:lnTo>
                      <a:pt x="716" y="545"/>
                    </a:lnTo>
                    <a:lnTo>
                      <a:pt x="713" y="545"/>
                    </a:lnTo>
                    <a:lnTo>
                      <a:pt x="710" y="541"/>
                    </a:lnTo>
                    <a:lnTo>
                      <a:pt x="713" y="538"/>
                    </a:lnTo>
                    <a:lnTo>
                      <a:pt x="713" y="533"/>
                    </a:lnTo>
                    <a:lnTo>
                      <a:pt x="711" y="530"/>
                    </a:lnTo>
                    <a:lnTo>
                      <a:pt x="706" y="533"/>
                    </a:lnTo>
                    <a:lnTo>
                      <a:pt x="706" y="537"/>
                    </a:lnTo>
                    <a:lnTo>
                      <a:pt x="705" y="537"/>
                    </a:lnTo>
                    <a:lnTo>
                      <a:pt x="696" y="543"/>
                    </a:lnTo>
                    <a:lnTo>
                      <a:pt x="691" y="545"/>
                    </a:lnTo>
                    <a:lnTo>
                      <a:pt x="687" y="543"/>
                    </a:lnTo>
                    <a:lnTo>
                      <a:pt x="682" y="545"/>
                    </a:lnTo>
                    <a:lnTo>
                      <a:pt x="678" y="548"/>
                    </a:lnTo>
                    <a:lnTo>
                      <a:pt x="675" y="546"/>
                    </a:lnTo>
                    <a:lnTo>
                      <a:pt x="672" y="546"/>
                    </a:lnTo>
                    <a:lnTo>
                      <a:pt x="672" y="545"/>
                    </a:lnTo>
                    <a:lnTo>
                      <a:pt x="672" y="545"/>
                    </a:lnTo>
                    <a:close/>
                    <a:moveTo>
                      <a:pt x="1288" y="480"/>
                    </a:moveTo>
                    <a:lnTo>
                      <a:pt x="1289" y="480"/>
                    </a:lnTo>
                    <a:lnTo>
                      <a:pt x="1293" y="483"/>
                    </a:lnTo>
                    <a:lnTo>
                      <a:pt x="1291" y="488"/>
                    </a:lnTo>
                    <a:lnTo>
                      <a:pt x="1289" y="488"/>
                    </a:lnTo>
                    <a:lnTo>
                      <a:pt x="1288" y="487"/>
                    </a:lnTo>
                    <a:lnTo>
                      <a:pt x="1286" y="482"/>
                    </a:lnTo>
                    <a:lnTo>
                      <a:pt x="1288" y="480"/>
                    </a:lnTo>
                    <a:lnTo>
                      <a:pt x="1288" y="480"/>
                    </a:lnTo>
                    <a:close/>
                    <a:moveTo>
                      <a:pt x="1241" y="480"/>
                    </a:moveTo>
                    <a:lnTo>
                      <a:pt x="1243" y="475"/>
                    </a:lnTo>
                    <a:lnTo>
                      <a:pt x="1250" y="473"/>
                    </a:lnTo>
                    <a:lnTo>
                      <a:pt x="1253" y="475"/>
                    </a:lnTo>
                    <a:lnTo>
                      <a:pt x="1251" y="478"/>
                    </a:lnTo>
                    <a:lnTo>
                      <a:pt x="1248" y="478"/>
                    </a:lnTo>
                    <a:lnTo>
                      <a:pt x="1245" y="480"/>
                    </a:lnTo>
                    <a:lnTo>
                      <a:pt x="1241" y="480"/>
                    </a:lnTo>
                    <a:lnTo>
                      <a:pt x="1241" y="480"/>
                    </a:lnTo>
                    <a:close/>
                    <a:moveTo>
                      <a:pt x="1195" y="505"/>
                    </a:moveTo>
                    <a:lnTo>
                      <a:pt x="1196" y="507"/>
                    </a:lnTo>
                    <a:lnTo>
                      <a:pt x="1203" y="508"/>
                    </a:lnTo>
                    <a:lnTo>
                      <a:pt x="1208" y="513"/>
                    </a:lnTo>
                    <a:lnTo>
                      <a:pt x="1211" y="510"/>
                    </a:lnTo>
                    <a:lnTo>
                      <a:pt x="1215" y="512"/>
                    </a:lnTo>
                    <a:lnTo>
                      <a:pt x="1221" y="510"/>
                    </a:lnTo>
                    <a:lnTo>
                      <a:pt x="1225" y="510"/>
                    </a:lnTo>
                    <a:lnTo>
                      <a:pt x="1228" y="510"/>
                    </a:lnTo>
                    <a:lnTo>
                      <a:pt x="1231" y="507"/>
                    </a:lnTo>
                    <a:lnTo>
                      <a:pt x="1238" y="507"/>
                    </a:lnTo>
                    <a:lnTo>
                      <a:pt x="1236" y="503"/>
                    </a:lnTo>
                    <a:lnTo>
                      <a:pt x="1230" y="500"/>
                    </a:lnTo>
                    <a:lnTo>
                      <a:pt x="1226" y="502"/>
                    </a:lnTo>
                    <a:lnTo>
                      <a:pt x="1220" y="502"/>
                    </a:lnTo>
                    <a:lnTo>
                      <a:pt x="1218" y="502"/>
                    </a:lnTo>
                    <a:lnTo>
                      <a:pt x="1213" y="503"/>
                    </a:lnTo>
                    <a:lnTo>
                      <a:pt x="1206" y="502"/>
                    </a:lnTo>
                    <a:lnTo>
                      <a:pt x="1201" y="505"/>
                    </a:lnTo>
                    <a:lnTo>
                      <a:pt x="1196" y="503"/>
                    </a:lnTo>
                    <a:lnTo>
                      <a:pt x="1195" y="505"/>
                    </a:lnTo>
                    <a:lnTo>
                      <a:pt x="1195" y="505"/>
                    </a:lnTo>
                    <a:close/>
                    <a:moveTo>
                      <a:pt x="1168" y="658"/>
                    </a:moveTo>
                    <a:lnTo>
                      <a:pt x="1167" y="656"/>
                    </a:lnTo>
                    <a:lnTo>
                      <a:pt x="1167" y="653"/>
                    </a:lnTo>
                    <a:lnTo>
                      <a:pt x="1170" y="653"/>
                    </a:lnTo>
                    <a:lnTo>
                      <a:pt x="1170" y="656"/>
                    </a:lnTo>
                    <a:lnTo>
                      <a:pt x="1168" y="658"/>
                    </a:lnTo>
                    <a:lnTo>
                      <a:pt x="1168" y="658"/>
                    </a:lnTo>
                    <a:close/>
                    <a:moveTo>
                      <a:pt x="1138" y="653"/>
                    </a:moveTo>
                    <a:lnTo>
                      <a:pt x="1137" y="651"/>
                    </a:lnTo>
                    <a:lnTo>
                      <a:pt x="1135" y="646"/>
                    </a:lnTo>
                    <a:lnTo>
                      <a:pt x="1133" y="643"/>
                    </a:lnTo>
                    <a:lnTo>
                      <a:pt x="1130" y="646"/>
                    </a:lnTo>
                    <a:lnTo>
                      <a:pt x="1130" y="643"/>
                    </a:lnTo>
                    <a:lnTo>
                      <a:pt x="1130" y="639"/>
                    </a:lnTo>
                    <a:lnTo>
                      <a:pt x="1130" y="635"/>
                    </a:lnTo>
                    <a:lnTo>
                      <a:pt x="1127" y="631"/>
                    </a:lnTo>
                    <a:lnTo>
                      <a:pt x="1130" y="626"/>
                    </a:lnTo>
                    <a:lnTo>
                      <a:pt x="1128" y="621"/>
                    </a:lnTo>
                    <a:lnTo>
                      <a:pt x="1130" y="618"/>
                    </a:lnTo>
                    <a:lnTo>
                      <a:pt x="1127" y="616"/>
                    </a:lnTo>
                    <a:lnTo>
                      <a:pt x="1125" y="613"/>
                    </a:lnTo>
                    <a:lnTo>
                      <a:pt x="1125" y="610"/>
                    </a:lnTo>
                    <a:lnTo>
                      <a:pt x="1120" y="605"/>
                    </a:lnTo>
                    <a:lnTo>
                      <a:pt x="1120" y="598"/>
                    </a:lnTo>
                    <a:lnTo>
                      <a:pt x="1117" y="593"/>
                    </a:lnTo>
                    <a:lnTo>
                      <a:pt x="1115" y="593"/>
                    </a:lnTo>
                    <a:lnTo>
                      <a:pt x="1113" y="590"/>
                    </a:lnTo>
                    <a:lnTo>
                      <a:pt x="1113" y="585"/>
                    </a:lnTo>
                    <a:lnTo>
                      <a:pt x="1112" y="585"/>
                    </a:lnTo>
                    <a:lnTo>
                      <a:pt x="1108" y="586"/>
                    </a:lnTo>
                    <a:lnTo>
                      <a:pt x="1105" y="585"/>
                    </a:lnTo>
                    <a:lnTo>
                      <a:pt x="1102" y="585"/>
                    </a:lnTo>
                    <a:lnTo>
                      <a:pt x="1100" y="583"/>
                    </a:lnTo>
                    <a:lnTo>
                      <a:pt x="1100" y="578"/>
                    </a:lnTo>
                    <a:lnTo>
                      <a:pt x="1105" y="576"/>
                    </a:lnTo>
                    <a:lnTo>
                      <a:pt x="1105" y="570"/>
                    </a:lnTo>
                    <a:lnTo>
                      <a:pt x="1103" y="566"/>
                    </a:lnTo>
                    <a:lnTo>
                      <a:pt x="1105" y="565"/>
                    </a:lnTo>
                    <a:lnTo>
                      <a:pt x="1105" y="556"/>
                    </a:lnTo>
                    <a:lnTo>
                      <a:pt x="1102" y="553"/>
                    </a:lnTo>
                    <a:lnTo>
                      <a:pt x="1108" y="546"/>
                    </a:lnTo>
                    <a:lnTo>
                      <a:pt x="1113" y="545"/>
                    </a:lnTo>
                    <a:lnTo>
                      <a:pt x="1115" y="543"/>
                    </a:lnTo>
                    <a:lnTo>
                      <a:pt x="1117" y="541"/>
                    </a:lnTo>
                    <a:lnTo>
                      <a:pt x="1118" y="545"/>
                    </a:lnTo>
                    <a:lnTo>
                      <a:pt x="1127" y="541"/>
                    </a:lnTo>
                    <a:lnTo>
                      <a:pt x="1130" y="543"/>
                    </a:lnTo>
                    <a:lnTo>
                      <a:pt x="1132" y="546"/>
                    </a:lnTo>
                    <a:lnTo>
                      <a:pt x="1130" y="548"/>
                    </a:lnTo>
                    <a:lnTo>
                      <a:pt x="1128" y="548"/>
                    </a:lnTo>
                    <a:lnTo>
                      <a:pt x="1128" y="551"/>
                    </a:lnTo>
                    <a:lnTo>
                      <a:pt x="1132" y="551"/>
                    </a:lnTo>
                    <a:lnTo>
                      <a:pt x="1133" y="555"/>
                    </a:lnTo>
                    <a:lnTo>
                      <a:pt x="1132" y="558"/>
                    </a:lnTo>
                    <a:lnTo>
                      <a:pt x="1138" y="563"/>
                    </a:lnTo>
                    <a:lnTo>
                      <a:pt x="1138" y="568"/>
                    </a:lnTo>
                    <a:lnTo>
                      <a:pt x="1142" y="571"/>
                    </a:lnTo>
                    <a:lnTo>
                      <a:pt x="1147" y="571"/>
                    </a:lnTo>
                    <a:lnTo>
                      <a:pt x="1148" y="570"/>
                    </a:lnTo>
                    <a:lnTo>
                      <a:pt x="1147" y="566"/>
                    </a:lnTo>
                    <a:lnTo>
                      <a:pt x="1150" y="565"/>
                    </a:lnTo>
                    <a:lnTo>
                      <a:pt x="1153" y="560"/>
                    </a:lnTo>
                    <a:lnTo>
                      <a:pt x="1152" y="556"/>
                    </a:lnTo>
                    <a:lnTo>
                      <a:pt x="1155" y="555"/>
                    </a:lnTo>
                    <a:lnTo>
                      <a:pt x="1157" y="551"/>
                    </a:lnTo>
                    <a:lnTo>
                      <a:pt x="1155" y="548"/>
                    </a:lnTo>
                    <a:lnTo>
                      <a:pt x="1157" y="545"/>
                    </a:lnTo>
                    <a:lnTo>
                      <a:pt x="1160" y="545"/>
                    </a:lnTo>
                    <a:lnTo>
                      <a:pt x="1163" y="545"/>
                    </a:lnTo>
                    <a:lnTo>
                      <a:pt x="1165" y="550"/>
                    </a:lnTo>
                    <a:lnTo>
                      <a:pt x="1168" y="550"/>
                    </a:lnTo>
                    <a:lnTo>
                      <a:pt x="1168" y="548"/>
                    </a:lnTo>
                    <a:lnTo>
                      <a:pt x="1165" y="541"/>
                    </a:lnTo>
                    <a:lnTo>
                      <a:pt x="1163" y="538"/>
                    </a:lnTo>
                    <a:lnTo>
                      <a:pt x="1163" y="538"/>
                    </a:lnTo>
                    <a:lnTo>
                      <a:pt x="1160" y="541"/>
                    </a:lnTo>
                    <a:lnTo>
                      <a:pt x="1155" y="543"/>
                    </a:lnTo>
                    <a:lnTo>
                      <a:pt x="1150" y="537"/>
                    </a:lnTo>
                    <a:lnTo>
                      <a:pt x="1150" y="535"/>
                    </a:lnTo>
                    <a:lnTo>
                      <a:pt x="1147" y="530"/>
                    </a:lnTo>
                    <a:lnTo>
                      <a:pt x="1147" y="525"/>
                    </a:lnTo>
                    <a:lnTo>
                      <a:pt x="1150" y="522"/>
                    </a:lnTo>
                    <a:lnTo>
                      <a:pt x="1153" y="523"/>
                    </a:lnTo>
                    <a:lnTo>
                      <a:pt x="1155" y="520"/>
                    </a:lnTo>
                    <a:lnTo>
                      <a:pt x="1158" y="522"/>
                    </a:lnTo>
                    <a:lnTo>
                      <a:pt x="1160" y="525"/>
                    </a:lnTo>
                    <a:lnTo>
                      <a:pt x="1162" y="533"/>
                    </a:lnTo>
                    <a:lnTo>
                      <a:pt x="1163" y="533"/>
                    </a:lnTo>
                    <a:lnTo>
                      <a:pt x="1165" y="528"/>
                    </a:lnTo>
                    <a:lnTo>
                      <a:pt x="1167" y="527"/>
                    </a:lnTo>
                    <a:lnTo>
                      <a:pt x="1165" y="522"/>
                    </a:lnTo>
                    <a:lnTo>
                      <a:pt x="1162" y="520"/>
                    </a:lnTo>
                    <a:lnTo>
                      <a:pt x="1162" y="517"/>
                    </a:lnTo>
                    <a:lnTo>
                      <a:pt x="1160" y="512"/>
                    </a:lnTo>
                    <a:lnTo>
                      <a:pt x="1163" y="512"/>
                    </a:lnTo>
                    <a:lnTo>
                      <a:pt x="1165" y="507"/>
                    </a:lnTo>
                    <a:lnTo>
                      <a:pt x="1168" y="505"/>
                    </a:lnTo>
                    <a:lnTo>
                      <a:pt x="1172" y="507"/>
                    </a:lnTo>
                    <a:lnTo>
                      <a:pt x="1173" y="505"/>
                    </a:lnTo>
                    <a:lnTo>
                      <a:pt x="1177" y="510"/>
                    </a:lnTo>
                    <a:lnTo>
                      <a:pt x="1182" y="512"/>
                    </a:lnTo>
                    <a:lnTo>
                      <a:pt x="1185" y="508"/>
                    </a:lnTo>
                    <a:lnTo>
                      <a:pt x="1180" y="508"/>
                    </a:lnTo>
                    <a:lnTo>
                      <a:pt x="1178" y="505"/>
                    </a:lnTo>
                    <a:lnTo>
                      <a:pt x="1180" y="503"/>
                    </a:lnTo>
                    <a:lnTo>
                      <a:pt x="1183" y="502"/>
                    </a:lnTo>
                    <a:lnTo>
                      <a:pt x="1190" y="503"/>
                    </a:lnTo>
                    <a:lnTo>
                      <a:pt x="1191" y="505"/>
                    </a:lnTo>
                    <a:lnTo>
                      <a:pt x="1190" y="507"/>
                    </a:lnTo>
                    <a:lnTo>
                      <a:pt x="1190" y="510"/>
                    </a:lnTo>
                    <a:lnTo>
                      <a:pt x="1193" y="512"/>
                    </a:lnTo>
                    <a:lnTo>
                      <a:pt x="1196" y="515"/>
                    </a:lnTo>
                    <a:lnTo>
                      <a:pt x="1200" y="515"/>
                    </a:lnTo>
                    <a:lnTo>
                      <a:pt x="1205" y="517"/>
                    </a:lnTo>
                    <a:lnTo>
                      <a:pt x="1211" y="517"/>
                    </a:lnTo>
                    <a:lnTo>
                      <a:pt x="1213" y="515"/>
                    </a:lnTo>
                    <a:lnTo>
                      <a:pt x="1216" y="515"/>
                    </a:lnTo>
                    <a:lnTo>
                      <a:pt x="1228" y="515"/>
                    </a:lnTo>
                    <a:lnTo>
                      <a:pt x="1231" y="518"/>
                    </a:lnTo>
                    <a:lnTo>
                      <a:pt x="1235" y="518"/>
                    </a:lnTo>
                    <a:lnTo>
                      <a:pt x="1236" y="522"/>
                    </a:lnTo>
                    <a:lnTo>
                      <a:pt x="1235" y="523"/>
                    </a:lnTo>
                    <a:lnTo>
                      <a:pt x="1236" y="527"/>
                    </a:lnTo>
                    <a:lnTo>
                      <a:pt x="1235" y="530"/>
                    </a:lnTo>
                    <a:lnTo>
                      <a:pt x="1228" y="533"/>
                    </a:lnTo>
                    <a:lnTo>
                      <a:pt x="1225" y="532"/>
                    </a:lnTo>
                    <a:lnTo>
                      <a:pt x="1223" y="530"/>
                    </a:lnTo>
                    <a:lnTo>
                      <a:pt x="1221" y="532"/>
                    </a:lnTo>
                    <a:lnTo>
                      <a:pt x="1218" y="533"/>
                    </a:lnTo>
                    <a:lnTo>
                      <a:pt x="1220" y="535"/>
                    </a:lnTo>
                    <a:lnTo>
                      <a:pt x="1225" y="538"/>
                    </a:lnTo>
                    <a:lnTo>
                      <a:pt x="1223" y="541"/>
                    </a:lnTo>
                    <a:lnTo>
                      <a:pt x="1221" y="546"/>
                    </a:lnTo>
                    <a:lnTo>
                      <a:pt x="1220" y="548"/>
                    </a:lnTo>
                    <a:lnTo>
                      <a:pt x="1218" y="546"/>
                    </a:lnTo>
                    <a:lnTo>
                      <a:pt x="1215" y="546"/>
                    </a:lnTo>
                    <a:lnTo>
                      <a:pt x="1210" y="548"/>
                    </a:lnTo>
                    <a:lnTo>
                      <a:pt x="1206" y="550"/>
                    </a:lnTo>
                    <a:lnTo>
                      <a:pt x="1198" y="551"/>
                    </a:lnTo>
                    <a:lnTo>
                      <a:pt x="1193" y="556"/>
                    </a:lnTo>
                    <a:lnTo>
                      <a:pt x="1190" y="556"/>
                    </a:lnTo>
                    <a:lnTo>
                      <a:pt x="1187" y="561"/>
                    </a:lnTo>
                    <a:lnTo>
                      <a:pt x="1187" y="565"/>
                    </a:lnTo>
                    <a:lnTo>
                      <a:pt x="1190" y="563"/>
                    </a:lnTo>
                    <a:lnTo>
                      <a:pt x="1190" y="561"/>
                    </a:lnTo>
                    <a:lnTo>
                      <a:pt x="1198" y="560"/>
                    </a:lnTo>
                    <a:lnTo>
                      <a:pt x="1200" y="560"/>
                    </a:lnTo>
                    <a:lnTo>
                      <a:pt x="1208" y="563"/>
                    </a:lnTo>
                    <a:lnTo>
                      <a:pt x="1208" y="568"/>
                    </a:lnTo>
                    <a:lnTo>
                      <a:pt x="1206" y="570"/>
                    </a:lnTo>
                    <a:lnTo>
                      <a:pt x="1203" y="570"/>
                    </a:lnTo>
                    <a:lnTo>
                      <a:pt x="1206" y="571"/>
                    </a:lnTo>
                    <a:lnTo>
                      <a:pt x="1208" y="575"/>
                    </a:lnTo>
                    <a:lnTo>
                      <a:pt x="1208" y="578"/>
                    </a:lnTo>
                    <a:lnTo>
                      <a:pt x="1203" y="581"/>
                    </a:lnTo>
                    <a:lnTo>
                      <a:pt x="1203" y="585"/>
                    </a:lnTo>
                    <a:lnTo>
                      <a:pt x="1205" y="586"/>
                    </a:lnTo>
                    <a:lnTo>
                      <a:pt x="1208" y="583"/>
                    </a:lnTo>
                    <a:lnTo>
                      <a:pt x="1213" y="580"/>
                    </a:lnTo>
                    <a:lnTo>
                      <a:pt x="1215" y="578"/>
                    </a:lnTo>
                    <a:lnTo>
                      <a:pt x="1218" y="578"/>
                    </a:lnTo>
                    <a:lnTo>
                      <a:pt x="1215" y="581"/>
                    </a:lnTo>
                    <a:lnTo>
                      <a:pt x="1216" y="588"/>
                    </a:lnTo>
                    <a:lnTo>
                      <a:pt x="1213" y="595"/>
                    </a:lnTo>
                    <a:lnTo>
                      <a:pt x="1213" y="598"/>
                    </a:lnTo>
                    <a:lnTo>
                      <a:pt x="1205" y="603"/>
                    </a:lnTo>
                    <a:lnTo>
                      <a:pt x="1201" y="603"/>
                    </a:lnTo>
                    <a:lnTo>
                      <a:pt x="1200" y="605"/>
                    </a:lnTo>
                    <a:lnTo>
                      <a:pt x="1201" y="608"/>
                    </a:lnTo>
                    <a:lnTo>
                      <a:pt x="1200" y="613"/>
                    </a:lnTo>
                    <a:lnTo>
                      <a:pt x="1196" y="615"/>
                    </a:lnTo>
                    <a:lnTo>
                      <a:pt x="1195" y="611"/>
                    </a:lnTo>
                    <a:lnTo>
                      <a:pt x="1191" y="613"/>
                    </a:lnTo>
                    <a:lnTo>
                      <a:pt x="1191" y="615"/>
                    </a:lnTo>
                    <a:lnTo>
                      <a:pt x="1198" y="618"/>
                    </a:lnTo>
                    <a:lnTo>
                      <a:pt x="1196" y="621"/>
                    </a:lnTo>
                    <a:lnTo>
                      <a:pt x="1193" y="621"/>
                    </a:lnTo>
                    <a:lnTo>
                      <a:pt x="1195" y="625"/>
                    </a:lnTo>
                    <a:lnTo>
                      <a:pt x="1190" y="630"/>
                    </a:lnTo>
                    <a:lnTo>
                      <a:pt x="1188" y="628"/>
                    </a:lnTo>
                    <a:lnTo>
                      <a:pt x="1185" y="630"/>
                    </a:lnTo>
                    <a:lnTo>
                      <a:pt x="1180" y="630"/>
                    </a:lnTo>
                    <a:lnTo>
                      <a:pt x="1175" y="631"/>
                    </a:lnTo>
                    <a:lnTo>
                      <a:pt x="1175" y="635"/>
                    </a:lnTo>
                    <a:lnTo>
                      <a:pt x="1168" y="636"/>
                    </a:lnTo>
                    <a:lnTo>
                      <a:pt x="1162" y="633"/>
                    </a:lnTo>
                    <a:lnTo>
                      <a:pt x="1158" y="636"/>
                    </a:lnTo>
                    <a:lnTo>
                      <a:pt x="1155" y="635"/>
                    </a:lnTo>
                    <a:lnTo>
                      <a:pt x="1153" y="626"/>
                    </a:lnTo>
                    <a:lnTo>
                      <a:pt x="1157" y="621"/>
                    </a:lnTo>
                    <a:lnTo>
                      <a:pt x="1157" y="618"/>
                    </a:lnTo>
                    <a:lnTo>
                      <a:pt x="1148" y="625"/>
                    </a:lnTo>
                    <a:lnTo>
                      <a:pt x="1148" y="630"/>
                    </a:lnTo>
                    <a:lnTo>
                      <a:pt x="1152" y="636"/>
                    </a:lnTo>
                    <a:lnTo>
                      <a:pt x="1155" y="639"/>
                    </a:lnTo>
                    <a:lnTo>
                      <a:pt x="1153" y="643"/>
                    </a:lnTo>
                    <a:lnTo>
                      <a:pt x="1148" y="646"/>
                    </a:lnTo>
                    <a:lnTo>
                      <a:pt x="1145" y="651"/>
                    </a:lnTo>
                    <a:lnTo>
                      <a:pt x="1145" y="651"/>
                    </a:lnTo>
                    <a:lnTo>
                      <a:pt x="1138" y="653"/>
                    </a:lnTo>
                    <a:lnTo>
                      <a:pt x="1138" y="653"/>
                    </a:lnTo>
                    <a:close/>
                    <a:moveTo>
                      <a:pt x="1220" y="551"/>
                    </a:moveTo>
                    <a:lnTo>
                      <a:pt x="1220" y="553"/>
                    </a:lnTo>
                    <a:lnTo>
                      <a:pt x="1221" y="553"/>
                    </a:lnTo>
                    <a:lnTo>
                      <a:pt x="1223" y="551"/>
                    </a:lnTo>
                    <a:lnTo>
                      <a:pt x="1220" y="551"/>
                    </a:lnTo>
                    <a:lnTo>
                      <a:pt x="1220" y="551"/>
                    </a:lnTo>
                    <a:close/>
                    <a:moveTo>
                      <a:pt x="1216" y="568"/>
                    </a:moveTo>
                    <a:lnTo>
                      <a:pt x="1218" y="568"/>
                    </a:lnTo>
                    <a:lnTo>
                      <a:pt x="1223" y="563"/>
                    </a:lnTo>
                    <a:lnTo>
                      <a:pt x="1223" y="560"/>
                    </a:lnTo>
                    <a:lnTo>
                      <a:pt x="1221" y="558"/>
                    </a:lnTo>
                    <a:lnTo>
                      <a:pt x="1221" y="555"/>
                    </a:lnTo>
                    <a:lnTo>
                      <a:pt x="1218" y="556"/>
                    </a:lnTo>
                    <a:lnTo>
                      <a:pt x="1216" y="560"/>
                    </a:lnTo>
                    <a:lnTo>
                      <a:pt x="1213" y="561"/>
                    </a:lnTo>
                    <a:lnTo>
                      <a:pt x="1215" y="566"/>
                    </a:lnTo>
                    <a:lnTo>
                      <a:pt x="1216" y="568"/>
                    </a:lnTo>
                    <a:lnTo>
                      <a:pt x="1216" y="568"/>
                    </a:lnTo>
                    <a:close/>
                    <a:moveTo>
                      <a:pt x="1213" y="578"/>
                    </a:moveTo>
                    <a:lnTo>
                      <a:pt x="1216" y="576"/>
                    </a:lnTo>
                    <a:lnTo>
                      <a:pt x="1218" y="571"/>
                    </a:lnTo>
                    <a:lnTo>
                      <a:pt x="1215" y="571"/>
                    </a:lnTo>
                    <a:lnTo>
                      <a:pt x="1211" y="575"/>
                    </a:lnTo>
                    <a:lnTo>
                      <a:pt x="1211" y="576"/>
                    </a:lnTo>
                    <a:lnTo>
                      <a:pt x="1213" y="578"/>
                    </a:lnTo>
                    <a:lnTo>
                      <a:pt x="1213" y="578"/>
                    </a:lnTo>
                    <a:close/>
                    <a:moveTo>
                      <a:pt x="1029" y="485"/>
                    </a:moveTo>
                    <a:lnTo>
                      <a:pt x="1029" y="487"/>
                    </a:lnTo>
                    <a:lnTo>
                      <a:pt x="1030" y="488"/>
                    </a:lnTo>
                    <a:lnTo>
                      <a:pt x="1034" y="487"/>
                    </a:lnTo>
                    <a:lnTo>
                      <a:pt x="1037" y="488"/>
                    </a:lnTo>
                    <a:lnTo>
                      <a:pt x="1039" y="487"/>
                    </a:lnTo>
                    <a:lnTo>
                      <a:pt x="1037" y="485"/>
                    </a:lnTo>
                    <a:lnTo>
                      <a:pt x="1030" y="483"/>
                    </a:lnTo>
                    <a:lnTo>
                      <a:pt x="1029" y="485"/>
                    </a:lnTo>
                    <a:lnTo>
                      <a:pt x="1029" y="485"/>
                    </a:lnTo>
                    <a:close/>
                    <a:moveTo>
                      <a:pt x="1060" y="540"/>
                    </a:moveTo>
                    <a:lnTo>
                      <a:pt x="1057" y="535"/>
                    </a:lnTo>
                    <a:lnTo>
                      <a:pt x="1055" y="527"/>
                    </a:lnTo>
                    <a:lnTo>
                      <a:pt x="1054" y="522"/>
                    </a:lnTo>
                    <a:lnTo>
                      <a:pt x="1054" y="518"/>
                    </a:lnTo>
                    <a:lnTo>
                      <a:pt x="1054" y="517"/>
                    </a:lnTo>
                    <a:lnTo>
                      <a:pt x="1052" y="512"/>
                    </a:lnTo>
                    <a:lnTo>
                      <a:pt x="1052" y="505"/>
                    </a:lnTo>
                    <a:lnTo>
                      <a:pt x="1049" y="500"/>
                    </a:lnTo>
                    <a:lnTo>
                      <a:pt x="1044" y="497"/>
                    </a:lnTo>
                    <a:lnTo>
                      <a:pt x="1045" y="495"/>
                    </a:lnTo>
                    <a:lnTo>
                      <a:pt x="1052" y="490"/>
                    </a:lnTo>
                    <a:lnTo>
                      <a:pt x="1055" y="488"/>
                    </a:lnTo>
                    <a:lnTo>
                      <a:pt x="1060" y="485"/>
                    </a:lnTo>
                    <a:lnTo>
                      <a:pt x="1067" y="483"/>
                    </a:lnTo>
                    <a:lnTo>
                      <a:pt x="1070" y="487"/>
                    </a:lnTo>
                    <a:lnTo>
                      <a:pt x="1074" y="487"/>
                    </a:lnTo>
                    <a:lnTo>
                      <a:pt x="1079" y="490"/>
                    </a:lnTo>
                    <a:lnTo>
                      <a:pt x="1080" y="488"/>
                    </a:lnTo>
                    <a:lnTo>
                      <a:pt x="1085" y="490"/>
                    </a:lnTo>
                    <a:lnTo>
                      <a:pt x="1088" y="490"/>
                    </a:lnTo>
                    <a:lnTo>
                      <a:pt x="1092" y="490"/>
                    </a:lnTo>
                    <a:lnTo>
                      <a:pt x="1097" y="495"/>
                    </a:lnTo>
                    <a:lnTo>
                      <a:pt x="1095" y="498"/>
                    </a:lnTo>
                    <a:lnTo>
                      <a:pt x="1095" y="500"/>
                    </a:lnTo>
                    <a:lnTo>
                      <a:pt x="1097" y="505"/>
                    </a:lnTo>
                    <a:lnTo>
                      <a:pt x="1097" y="507"/>
                    </a:lnTo>
                    <a:lnTo>
                      <a:pt x="1095" y="508"/>
                    </a:lnTo>
                    <a:lnTo>
                      <a:pt x="1095" y="512"/>
                    </a:lnTo>
                    <a:lnTo>
                      <a:pt x="1090" y="517"/>
                    </a:lnTo>
                    <a:lnTo>
                      <a:pt x="1087" y="517"/>
                    </a:lnTo>
                    <a:lnTo>
                      <a:pt x="1080" y="523"/>
                    </a:lnTo>
                    <a:lnTo>
                      <a:pt x="1074" y="527"/>
                    </a:lnTo>
                    <a:lnTo>
                      <a:pt x="1069" y="533"/>
                    </a:lnTo>
                    <a:lnTo>
                      <a:pt x="1064" y="533"/>
                    </a:lnTo>
                    <a:lnTo>
                      <a:pt x="1062" y="535"/>
                    </a:lnTo>
                    <a:lnTo>
                      <a:pt x="1062" y="538"/>
                    </a:lnTo>
                    <a:lnTo>
                      <a:pt x="1060" y="540"/>
                    </a:lnTo>
                    <a:lnTo>
                      <a:pt x="1060" y="540"/>
                    </a:lnTo>
                    <a:close/>
                    <a:moveTo>
                      <a:pt x="1233" y="630"/>
                    </a:moveTo>
                    <a:lnTo>
                      <a:pt x="1226" y="623"/>
                    </a:lnTo>
                    <a:lnTo>
                      <a:pt x="1223" y="625"/>
                    </a:lnTo>
                    <a:lnTo>
                      <a:pt x="1215" y="623"/>
                    </a:lnTo>
                    <a:lnTo>
                      <a:pt x="1218" y="620"/>
                    </a:lnTo>
                    <a:lnTo>
                      <a:pt x="1221" y="618"/>
                    </a:lnTo>
                    <a:lnTo>
                      <a:pt x="1225" y="618"/>
                    </a:lnTo>
                    <a:lnTo>
                      <a:pt x="1226" y="616"/>
                    </a:lnTo>
                    <a:lnTo>
                      <a:pt x="1225" y="615"/>
                    </a:lnTo>
                    <a:lnTo>
                      <a:pt x="1221" y="615"/>
                    </a:lnTo>
                    <a:lnTo>
                      <a:pt x="1220" y="613"/>
                    </a:lnTo>
                    <a:lnTo>
                      <a:pt x="1226" y="606"/>
                    </a:lnTo>
                    <a:lnTo>
                      <a:pt x="1228" y="600"/>
                    </a:lnTo>
                    <a:lnTo>
                      <a:pt x="1228" y="595"/>
                    </a:lnTo>
                    <a:lnTo>
                      <a:pt x="1231" y="595"/>
                    </a:lnTo>
                    <a:lnTo>
                      <a:pt x="1231" y="591"/>
                    </a:lnTo>
                    <a:lnTo>
                      <a:pt x="1226" y="588"/>
                    </a:lnTo>
                    <a:lnTo>
                      <a:pt x="1230" y="586"/>
                    </a:lnTo>
                    <a:lnTo>
                      <a:pt x="1230" y="581"/>
                    </a:lnTo>
                    <a:lnTo>
                      <a:pt x="1233" y="571"/>
                    </a:lnTo>
                    <a:lnTo>
                      <a:pt x="1236" y="570"/>
                    </a:lnTo>
                    <a:lnTo>
                      <a:pt x="1236" y="566"/>
                    </a:lnTo>
                    <a:lnTo>
                      <a:pt x="1241" y="563"/>
                    </a:lnTo>
                    <a:lnTo>
                      <a:pt x="1243" y="558"/>
                    </a:lnTo>
                    <a:lnTo>
                      <a:pt x="1245" y="556"/>
                    </a:lnTo>
                    <a:lnTo>
                      <a:pt x="1246" y="551"/>
                    </a:lnTo>
                    <a:lnTo>
                      <a:pt x="1251" y="545"/>
                    </a:lnTo>
                    <a:lnTo>
                      <a:pt x="1253" y="540"/>
                    </a:lnTo>
                    <a:lnTo>
                      <a:pt x="1258" y="538"/>
                    </a:lnTo>
                    <a:lnTo>
                      <a:pt x="1258" y="535"/>
                    </a:lnTo>
                    <a:lnTo>
                      <a:pt x="1256" y="533"/>
                    </a:lnTo>
                    <a:lnTo>
                      <a:pt x="1260" y="528"/>
                    </a:lnTo>
                    <a:lnTo>
                      <a:pt x="1263" y="530"/>
                    </a:lnTo>
                    <a:lnTo>
                      <a:pt x="1266" y="535"/>
                    </a:lnTo>
                    <a:lnTo>
                      <a:pt x="1268" y="538"/>
                    </a:lnTo>
                    <a:lnTo>
                      <a:pt x="1273" y="540"/>
                    </a:lnTo>
                    <a:lnTo>
                      <a:pt x="1273" y="535"/>
                    </a:lnTo>
                    <a:lnTo>
                      <a:pt x="1268" y="530"/>
                    </a:lnTo>
                    <a:lnTo>
                      <a:pt x="1270" y="528"/>
                    </a:lnTo>
                    <a:lnTo>
                      <a:pt x="1273" y="528"/>
                    </a:lnTo>
                    <a:lnTo>
                      <a:pt x="1270" y="523"/>
                    </a:lnTo>
                    <a:lnTo>
                      <a:pt x="1273" y="518"/>
                    </a:lnTo>
                    <a:lnTo>
                      <a:pt x="1283" y="515"/>
                    </a:lnTo>
                    <a:lnTo>
                      <a:pt x="1291" y="515"/>
                    </a:lnTo>
                    <a:lnTo>
                      <a:pt x="1294" y="515"/>
                    </a:lnTo>
                    <a:lnTo>
                      <a:pt x="1298" y="515"/>
                    </a:lnTo>
                    <a:lnTo>
                      <a:pt x="1301" y="515"/>
                    </a:lnTo>
                    <a:lnTo>
                      <a:pt x="1303" y="518"/>
                    </a:lnTo>
                    <a:lnTo>
                      <a:pt x="1306" y="517"/>
                    </a:lnTo>
                    <a:lnTo>
                      <a:pt x="1313" y="517"/>
                    </a:lnTo>
                    <a:lnTo>
                      <a:pt x="1316" y="522"/>
                    </a:lnTo>
                    <a:lnTo>
                      <a:pt x="1319" y="522"/>
                    </a:lnTo>
                    <a:lnTo>
                      <a:pt x="1321" y="523"/>
                    </a:lnTo>
                    <a:lnTo>
                      <a:pt x="1323" y="523"/>
                    </a:lnTo>
                    <a:lnTo>
                      <a:pt x="1326" y="527"/>
                    </a:lnTo>
                    <a:lnTo>
                      <a:pt x="1326" y="532"/>
                    </a:lnTo>
                    <a:lnTo>
                      <a:pt x="1328" y="532"/>
                    </a:lnTo>
                    <a:lnTo>
                      <a:pt x="1331" y="532"/>
                    </a:lnTo>
                    <a:lnTo>
                      <a:pt x="1338" y="532"/>
                    </a:lnTo>
                    <a:lnTo>
                      <a:pt x="1348" y="533"/>
                    </a:lnTo>
                    <a:lnTo>
                      <a:pt x="1354" y="537"/>
                    </a:lnTo>
                    <a:lnTo>
                      <a:pt x="1354" y="540"/>
                    </a:lnTo>
                    <a:lnTo>
                      <a:pt x="1358" y="541"/>
                    </a:lnTo>
                    <a:lnTo>
                      <a:pt x="1359" y="545"/>
                    </a:lnTo>
                    <a:lnTo>
                      <a:pt x="1358" y="545"/>
                    </a:lnTo>
                    <a:lnTo>
                      <a:pt x="1356" y="545"/>
                    </a:lnTo>
                    <a:lnTo>
                      <a:pt x="1353" y="550"/>
                    </a:lnTo>
                    <a:lnTo>
                      <a:pt x="1346" y="555"/>
                    </a:lnTo>
                    <a:lnTo>
                      <a:pt x="1343" y="560"/>
                    </a:lnTo>
                    <a:lnTo>
                      <a:pt x="1338" y="561"/>
                    </a:lnTo>
                    <a:lnTo>
                      <a:pt x="1338" y="563"/>
                    </a:lnTo>
                    <a:lnTo>
                      <a:pt x="1328" y="570"/>
                    </a:lnTo>
                    <a:lnTo>
                      <a:pt x="1323" y="576"/>
                    </a:lnTo>
                    <a:lnTo>
                      <a:pt x="1318" y="576"/>
                    </a:lnTo>
                    <a:lnTo>
                      <a:pt x="1318" y="578"/>
                    </a:lnTo>
                    <a:lnTo>
                      <a:pt x="1319" y="580"/>
                    </a:lnTo>
                    <a:lnTo>
                      <a:pt x="1316" y="583"/>
                    </a:lnTo>
                    <a:lnTo>
                      <a:pt x="1309" y="588"/>
                    </a:lnTo>
                    <a:lnTo>
                      <a:pt x="1303" y="593"/>
                    </a:lnTo>
                    <a:lnTo>
                      <a:pt x="1294" y="598"/>
                    </a:lnTo>
                    <a:lnTo>
                      <a:pt x="1289" y="601"/>
                    </a:lnTo>
                    <a:lnTo>
                      <a:pt x="1286" y="600"/>
                    </a:lnTo>
                    <a:lnTo>
                      <a:pt x="1285" y="598"/>
                    </a:lnTo>
                    <a:lnTo>
                      <a:pt x="1281" y="598"/>
                    </a:lnTo>
                    <a:lnTo>
                      <a:pt x="1276" y="593"/>
                    </a:lnTo>
                    <a:lnTo>
                      <a:pt x="1275" y="590"/>
                    </a:lnTo>
                    <a:lnTo>
                      <a:pt x="1271" y="588"/>
                    </a:lnTo>
                    <a:lnTo>
                      <a:pt x="1268" y="590"/>
                    </a:lnTo>
                    <a:lnTo>
                      <a:pt x="1263" y="588"/>
                    </a:lnTo>
                    <a:lnTo>
                      <a:pt x="1260" y="588"/>
                    </a:lnTo>
                    <a:lnTo>
                      <a:pt x="1256" y="586"/>
                    </a:lnTo>
                    <a:lnTo>
                      <a:pt x="1253" y="586"/>
                    </a:lnTo>
                    <a:lnTo>
                      <a:pt x="1251" y="590"/>
                    </a:lnTo>
                    <a:lnTo>
                      <a:pt x="1253" y="591"/>
                    </a:lnTo>
                    <a:lnTo>
                      <a:pt x="1263" y="591"/>
                    </a:lnTo>
                    <a:lnTo>
                      <a:pt x="1261" y="595"/>
                    </a:lnTo>
                    <a:lnTo>
                      <a:pt x="1258" y="598"/>
                    </a:lnTo>
                    <a:lnTo>
                      <a:pt x="1260" y="601"/>
                    </a:lnTo>
                    <a:lnTo>
                      <a:pt x="1261" y="605"/>
                    </a:lnTo>
                    <a:lnTo>
                      <a:pt x="1258" y="610"/>
                    </a:lnTo>
                    <a:lnTo>
                      <a:pt x="1255" y="611"/>
                    </a:lnTo>
                    <a:lnTo>
                      <a:pt x="1253" y="615"/>
                    </a:lnTo>
                    <a:lnTo>
                      <a:pt x="1248" y="615"/>
                    </a:lnTo>
                    <a:lnTo>
                      <a:pt x="1245" y="616"/>
                    </a:lnTo>
                    <a:lnTo>
                      <a:pt x="1243" y="620"/>
                    </a:lnTo>
                    <a:lnTo>
                      <a:pt x="1238" y="623"/>
                    </a:lnTo>
                    <a:lnTo>
                      <a:pt x="1235" y="623"/>
                    </a:lnTo>
                    <a:lnTo>
                      <a:pt x="1235" y="628"/>
                    </a:lnTo>
                    <a:lnTo>
                      <a:pt x="1235" y="628"/>
                    </a:lnTo>
                    <a:lnTo>
                      <a:pt x="1233" y="630"/>
                    </a:lnTo>
                    <a:lnTo>
                      <a:pt x="1233" y="630"/>
                    </a:lnTo>
                    <a:close/>
                    <a:moveTo>
                      <a:pt x="1532" y="648"/>
                    </a:moveTo>
                    <a:lnTo>
                      <a:pt x="1525" y="644"/>
                    </a:lnTo>
                    <a:lnTo>
                      <a:pt x="1520" y="643"/>
                    </a:lnTo>
                    <a:lnTo>
                      <a:pt x="1519" y="638"/>
                    </a:lnTo>
                    <a:lnTo>
                      <a:pt x="1515" y="636"/>
                    </a:lnTo>
                    <a:lnTo>
                      <a:pt x="1514" y="633"/>
                    </a:lnTo>
                    <a:lnTo>
                      <a:pt x="1514" y="626"/>
                    </a:lnTo>
                    <a:lnTo>
                      <a:pt x="1519" y="625"/>
                    </a:lnTo>
                    <a:lnTo>
                      <a:pt x="1519" y="621"/>
                    </a:lnTo>
                    <a:lnTo>
                      <a:pt x="1522" y="618"/>
                    </a:lnTo>
                    <a:lnTo>
                      <a:pt x="1520" y="615"/>
                    </a:lnTo>
                    <a:lnTo>
                      <a:pt x="1517" y="613"/>
                    </a:lnTo>
                    <a:lnTo>
                      <a:pt x="1512" y="610"/>
                    </a:lnTo>
                    <a:lnTo>
                      <a:pt x="1517" y="601"/>
                    </a:lnTo>
                    <a:lnTo>
                      <a:pt x="1520" y="601"/>
                    </a:lnTo>
                    <a:lnTo>
                      <a:pt x="1520" y="600"/>
                    </a:lnTo>
                    <a:lnTo>
                      <a:pt x="1520" y="595"/>
                    </a:lnTo>
                    <a:lnTo>
                      <a:pt x="1524" y="591"/>
                    </a:lnTo>
                    <a:lnTo>
                      <a:pt x="1524" y="586"/>
                    </a:lnTo>
                    <a:lnTo>
                      <a:pt x="1529" y="585"/>
                    </a:lnTo>
                    <a:lnTo>
                      <a:pt x="1532" y="586"/>
                    </a:lnTo>
                    <a:lnTo>
                      <a:pt x="1534" y="591"/>
                    </a:lnTo>
                    <a:lnTo>
                      <a:pt x="1542" y="593"/>
                    </a:lnTo>
                    <a:lnTo>
                      <a:pt x="1545" y="596"/>
                    </a:lnTo>
                    <a:lnTo>
                      <a:pt x="1550" y="598"/>
                    </a:lnTo>
                    <a:lnTo>
                      <a:pt x="1554" y="596"/>
                    </a:lnTo>
                    <a:lnTo>
                      <a:pt x="1562" y="600"/>
                    </a:lnTo>
                    <a:lnTo>
                      <a:pt x="1569" y="600"/>
                    </a:lnTo>
                    <a:lnTo>
                      <a:pt x="1572" y="601"/>
                    </a:lnTo>
                    <a:lnTo>
                      <a:pt x="1574" y="605"/>
                    </a:lnTo>
                    <a:lnTo>
                      <a:pt x="1580" y="608"/>
                    </a:lnTo>
                    <a:lnTo>
                      <a:pt x="1582" y="613"/>
                    </a:lnTo>
                    <a:lnTo>
                      <a:pt x="1580" y="618"/>
                    </a:lnTo>
                    <a:lnTo>
                      <a:pt x="1580" y="621"/>
                    </a:lnTo>
                    <a:lnTo>
                      <a:pt x="1583" y="623"/>
                    </a:lnTo>
                    <a:lnTo>
                      <a:pt x="1583" y="626"/>
                    </a:lnTo>
                    <a:lnTo>
                      <a:pt x="1583" y="630"/>
                    </a:lnTo>
                    <a:lnTo>
                      <a:pt x="1583" y="631"/>
                    </a:lnTo>
                    <a:lnTo>
                      <a:pt x="1587" y="636"/>
                    </a:lnTo>
                    <a:lnTo>
                      <a:pt x="1585" y="639"/>
                    </a:lnTo>
                    <a:lnTo>
                      <a:pt x="1583" y="643"/>
                    </a:lnTo>
                    <a:lnTo>
                      <a:pt x="1588" y="644"/>
                    </a:lnTo>
                    <a:lnTo>
                      <a:pt x="1588" y="646"/>
                    </a:lnTo>
                    <a:lnTo>
                      <a:pt x="1587" y="649"/>
                    </a:lnTo>
                    <a:lnTo>
                      <a:pt x="1585" y="651"/>
                    </a:lnTo>
                    <a:lnTo>
                      <a:pt x="1575" y="649"/>
                    </a:lnTo>
                    <a:lnTo>
                      <a:pt x="1574" y="648"/>
                    </a:lnTo>
                    <a:lnTo>
                      <a:pt x="1565" y="646"/>
                    </a:lnTo>
                    <a:lnTo>
                      <a:pt x="1562" y="644"/>
                    </a:lnTo>
                    <a:lnTo>
                      <a:pt x="1557" y="643"/>
                    </a:lnTo>
                    <a:lnTo>
                      <a:pt x="1554" y="643"/>
                    </a:lnTo>
                    <a:lnTo>
                      <a:pt x="1550" y="641"/>
                    </a:lnTo>
                    <a:lnTo>
                      <a:pt x="1544" y="643"/>
                    </a:lnTo>
                    <a:lnTo>
                      <a:pt x="1539" y="643"/>
                    </a:lnTo>
                    <a:lnTo>
                      <a:pt x="1534" y="646"/>
                    </a:lnTo>
                    <a:lnTo>
                      <a:pt x="1532" y="648"/>
                    </a:lnTo>
                    <a:lnTo>
                      <a:pt x="1532" y="648"/>
                    </a:lnTo>
                    <a:close/>
                    <a:moveTo>
                      <a:pt x="1504" y="654"/>
                    </a:moveTo>
                    <a:lnTo>
                      <a:pt x="1504" y="649"/>
                    </a:lnTo>
                    <a:lnTo>
                      <a:pt x="1505" y="648"/>
                    </a:lnTo>
                    <a:lnTo>
                      <a:pt x="1507" y="649"/>
                    </a:lnTo>
                    <a:lnTo>
                      <a:pt x="1507" y="651"/>
                    </a:lnTo>
                    <a:lnTo>
                      <a:pt x="1504" y="654"/>
                    </a:lnTo>
                    <a:lnTo>
                      <a:pt x="1504" y="654"/>
                    </a:lnTo>
                    <a:close/>
                    <a:moveTo>
                      <a:pt x="1510" y="658"/>
                    </a:moveTo>
                    <a:lnTo>
                      <a:pt x="1509" y="654"/>
                    </a:lnTo>
                    <a:lnTo>
                      <a:pt x="1512" y="653"/>
                    </a:lnTo>
                    <a:lnTo>
                      <a:pt x="1514" y="654"/>
                    </a:lnTo>
                    <a:lnTo>
                      <a:pt x="1514" y="656"/>
                    </a:lnTo>
                    <a:lnTo>
                      <a:pt x="1510" y="658"/>
                    </a:lnTo>
                    <a:lnTo>
                      <a:pt x="1510" y="658"/>
                    </a:lnTo>
                    <a:close/>
                    <a:moveTo>
                      <a:pt x="1524" y="658"/>
                    </a:moveTo>
                    <a:lnTo>
                      <a:pt x="1520" y="658"/>
                    </a:lnTo>
                    <a:lnTo>
                      <a:pt x="1520" y="654"/>
                    </a:lnTo>
                    <a:lnTo>
                      <a:pt x="1522" y="654"/>
                    </a:lnTo>
                    <a:lnTo>
                      <a:pt x="1525" y="656"/>
                    </a:lnTo>
                    <a:lnTo>
                      <a:pt x="1524" y="658"/>
                    </a:lnTo>
                    <a:lnTo>
                      <a:pt x="1524" y="658"/>
                    </a:lnTo>
                    <a:close/>
                    <a:moveTo>
                      <a:pt x="1223" y="751"/>
                    </a:moveTo>
                    <a:lnTo>
                      <a:pt x="1221" y="749"/>
                    </a:lnTo>
                    <a:lnTo>
                      <a:pt x="1225" y="747"/>
                    </a:lnTo>
                    <a:lnTo>
                      <a:pt x="1226" y="747"/>
                    </a:lnTo>
                    <a:lnTo>
                      <a:pt x="1230" y="747"/>
                    </a:lnTo>
                    <a:lnTo>
                      <a:pt x="1228" y="749"/>
                    </a:lnTo>
                    <a:lnTo>
                      <a:pt x="1226" y="751"/>
                    </a:lnTo>
                    <a:lnTo>
                      <a:pt x="1223" y="751"/>
                    </a:lnTo>
                    <a:lnTo>
                      <a:pt x="1223" y="751"/>
                    </a:lnTo>
                    <a:close/>
                    <a:moveTo>
                      <a:pt x="1238" y="772"/>
                    </a:moveTo>
                    <a:lnTo>
                      <a:pt x="1238" y="777"/>
                    </a:lnTo>
                    <a:lnTo>
                      <a:pt x="1241" y="776"/>
                    </a:lnTo>
                    <a:lnTo>
                      <a:pt x="1241" y="776"/>
                    </a:lnTo>
                    <a:lnTo>
                      <a:pt x="1243" y="772"/>
                    </a:lnTo>
                    <a:lnTo>
                      <a:pt x="1240" y="771"/>
                    </a:lnTo>
                    <a:lnTo>
                      <a:pt x="1238" y="772"/>
                    </a:lnTo>
                    <a:lnTo>
                      <a:pt x="1238" y="772"/>
                    </a:lnTo>
                    <a:close/>
                    <a:moveTo>
                      <a:pt x="1233" y="772"/>
                    </a:moveTo>
                    <a:lnTo>
                      <a:pt x="1231" y="776"/>
                    </a:lnTo>
                    <a:lnTo>
                      <a:pt x="1235" y="777"/>
                    </a:lnTo>
                    <a:lnTo>
                      <a:pt x="1233" y="781"/>
                    </a:lnTo>
                    <a:lnTo>
                      <a:pt x="1235" y="781"/>
                    </a:lnTo>
                    <a:lnTo>
                      <a:pt x="1236" y="779"/>
                    </a:lnTo>
                    <a:lnTo>
                      <a:pt x="1236" y="774"/>
                    </a:lnTo>
                    <a:lnTo>
                      <a:pt x="1235" y="772"/>
                    </a:lnTo>
                    <a:lnTo>
                      <a:pt x="1233" y="772"/>
                    </a:lnTo>
                    <a:lnTo>
                      <a:pt x="1233" y="772"/>
                    </a:lnTo>
                    <a:close/>
                    <a:moveTo>
                      <a:pt x="1326" y="757"/>
                    </a:moveTo>
                    <a:lnTo>
                      <a:pt x="1324" y="756"/>
                    </a:lnTo>
                    <a:lnTo>
                      <a:pt x="1321" y="756"/>
                    </a:lnTo>
                    <a:lnTo>
                      <a:pt x="1319" y="754"/>
                    </a:lnTo>
                    <a:lnTo>
                      <a:pt x="1318" y="756"/>
                    </a:lnTo>
                    <a:lnTo>
                      <a:pt x="1314" y="754"/>
                    </a:lnTo>
                    <a:lnTo>
                      <a:pt x="1314" y="751"/>
                    </a:lnTo>
                    <a:lnTo>
                      <a:pt x="1313" y="749"/>
                    </a:lnTo>
                    <a:lnTo>
                      <a:pt x="1318" y="747"/>
                    </a:lnTo>
                    <a:lnTo>
                      <a:pt x="1318" y="747"/>
                    </a:lnTo>
                    <a:lnTo>
                      <a:pt x="1323" y="747"/>
                    </a:lnTo>
                    <a:lnTo>
                      <a:pt x="1324" y="751"/>
                    </a:lnTo>
                    <a:lnTo>
                      <a:pt x="1329" y="751"/>
                    </a:lnTo>
                    <a:lnTo>
                      <a:pt x="1331" y="754"/>
                    </a:lnTo>
                    <a:lnTo>
                      <a:pt x="1329" y="757"/>
                    </a:lnTo>
                    <a:lnTo>
                      <a:pt x="1329" y="757"/>
                    </a:lnTo>
                    <a:lnTo>
                      <a:pt x="1326" y="757"/>
                    </a:lnTo>
                    <a:lnTo>
                      <a:pt x="1326" y="757"/>
                    </a:lnTo>
                    <a:close/>
                    <a:moveTo>
                      <a:pt x="1379" y="777"/>
                    </a:moveTo>
                    <a:lnTo>
                      <a:pt x="1376" y="777"/>
                    </a:lnTo>
                    <a:lnTo>
                      <a:pt x="1374" y="772"/>
                    </a:lnTo>
                    <a:lnTo>
                      <a:pt x="1378" y="774"/>
                    </a:lnTo>
                    <a:lnTo>
                      <a:pt x="1379" y="774"/>
                    </a:lnTo>
                    <a:lnTo>
                      <a:pt x="1381" y="776"/>
                    </a:lnTo>
                    <a:lnTo>
                      <a:pt x="1379" y="777"/>
                    </a:lnTo>
                    <a:lnTo>
                      <a:pt x="1379" y="777"/>
                    </a:lnTo>
                    <a:close/>
                    <a:moveTo>
                      <a:pt x="1384" y="777"/>
                    </a:moveTo>
                    <a:lnTo>
                      <a:pt x="1389" y="779"/>
                    </a:lnTo>
                    <a:lnTo>
                      <a:pt x="1387" y="776"/>
                    </a:lnTo>
                    <a:lnTo>
                      <a:pt x="1384" y="777"/>
                    </a:lnTo>
                    <a:lnTo>
                      <a:pt x="1384" y="777"/>
                    </a:lnTo>
                    <a:close/>
                    <a:moveTo>
                      <a:pt x="1392" y="779"/>
                    </a:moveTo>
                    <a:lnTo>
                      <a:pt x="1396" y="781"/>
                    </a:lnTo>
                    <a:lnTo>
                      <a:pt x="1397" y="782"/>
                    </a:lnTo>
                    <a:lnTo>
                      <a:pt x="1401" y="781"/>
                    </a:lnTo>
                    <a:lnTo>
                      <a:pt x="1401" y="779"/>
                    </a:lnTo>
                    <a:lnTo>
                      <a:pt x="1396" y="777"/>
                    </a:lnTo>
                    <a:lnTo>
                      <a:pt x="1396" y="777"/>
                    </a:lnTo>
                    <a:lnTo>
                      <a:pt x="1392" y="777"/>
                    </a:lnTo>
                    <a:lnTo>
                      <a:pt x="1391" y="779"/>
                    </a:lnTo>
                    <a:lnTo>
                      <a:pt x="1392" y="779"/>
                    </a:lnTo>
                    <a:lnTo>
                      <a:pt x="1392" y="779"/>
                    </a:lnTo>
                    <a:close/>
                    <a:moveTo>
                      <a:pt x="1449" y="849"/>
                    </a:moveTo>
                    <a:lnTo>
                      <a:pt x="1449" y="845"/>
                    </a:lnTo>
                    <a:lnTo>
                      <a:pt x="1451" y="844"/>
                    </a:lnTo>
                    <a:lnTo>
                      <a:pt x="1449" y="840"/>
                    </a:lnTo>
                    <a:lnTo>
                      <a:pt x="1451" y="840"/>
                    </a:lnTo>
                    <a:lnTo>
                      <a:pt x="1454" y="842"/>
                    </a:lnTo>
                    <a:lnTo>
                      <a:pt x="1452" y="845"/>
                    </a:lnTo>
                    <a:lnTo>
                      <a:pt x="1452" y="847"/>
                    </a:lnTo>
                    <a:lnTo>
                      <a:pt x="1449" y="849"/>
                    </a:lnTo>
                    <a:lnTo>
                      <a:pt x="1449" y="849"/>
                    </a:lnTo>
                    <a:close/>
                    <a:moveTo>
                      <a:pt x="1444" y="862"/>
                    </a:moveTo>
                    <a:lnTo>
                      <a:pt x="1442" y="857"/>
                    </a:lnTo>
                    <a:lnTo>
                      <a:pt x="1444" y="854"/>
                    </a:lnTo>
                    <a:lnTo>
                      <a:pt x="1446" y="854"/>
                    </a:lnTo>
                    <a:lnTo>
                      <a:pt x="1449" y="854"/>
                    </a:lnTo>
                    <a:lnTo>
                      <a:pt x="1449" y="857"/>
                    </a:lnTo>
                    <a:lnTo>
                      <a:pt x="1446" y="857"/>
                    </a:lnTo>
                    <a:lnTo>
                      <a:pt x="1446" y="860"/>
                    </a:lnTo>
                    <a:lnTo>
                      <a:pt x="1444" y="862"/>
                    </a:lnTo>
                    <a:lnTo>
                      <a:pt x="1444" y="862"/>
                    </a:lnTo>
                    <a:close/>
                    <a:moveTo>
                      <a:pt x="1411" y="796"/>
                    </a:moveTo>
                    <a:lnTo>
                      <a:pt x="1409" y="794"/>
                    </a:lnTo>
                    <a:lnTo>
                      <a:pt x="1411" y="794"/>
                    </a:lnTo>
                    <a:lnTo>
                      <a:pt x="1411" y="796"/>
                    </a:lnTo>
                    <a:lnTo>
                      <a:pt x="1411" y="796"/>
                    </a:lnTo>
                    <a:close/>
                    <a:moveTo>
                      <a:pt x="1404" y="796"/>
                    </a:moveTo>
                    <a:lnTo>
                      <a:pt x="1401" y="792"/>
                    </a:lnTo>
                    <a:lnTo>
                      <a:pt x="1404" y="794"/>
                    </a:lnTo>
                    <a:lnTo>
                      <a:pt x="1404" y="796"/>
                    </a:lnTo>
                    <a:lnTo>
                      <a:pt x="1404" y="796"/>
                    </a:lnTo>
                    <a:lnTo>
                      <a:pt x="1404" y="796"/>
                    </a:lnTo>
                    <a:close/>
                    <a:moveTo>
                      <a:pt x="1406" y="799"/>
                    </a:moveTo>
                    <a:lnTo>
                      <a:pt x="1407" y="801"/>
                    </a:lnTo>
                    <a:lnTo>
                      <a:pt x="1409" y="801"/>
                    </a:lnTo>
                    <a:lnTo>
                      <a:pt x="1412" y="802"/>
                    </a:lnTo>
                    <a:lnTo>
                      <a:pt x="1412" y="799"/>
                    </a:lnTo>
                    <a:lnTo>
                      <a:pt x="1411" y="797"/>
                    </a:lnTo>
                    <a:lnTo>
                      <a:pt x="1406" y="797"/>
                    </a:lnTo>
                    <a:lnTo>
                      <a:pt x="1406" y="799"/>
                    </a:lnTo>
                    <a:lnTo>
                      <a:pt x="1406" y="799"/>
                    </a:lnTo>
                    <a:close/>
                    <a:moveTo>
                      <a:pt x="1436" y="787"/>
                    </a:moveTo>
                    <a:lnTo>
                      <a:pt x="1441" y="789"/>
                    </a:lnTo>
                    <a:lnTo>
                      <a:pt x="1441" y="791"/>
                    </a:lnTo>
                    <a:lnTo>
                      <a:pt x="1442" y="792"/>
                    </a:lnTo>
                    <a:lnTo>
                      <a:pt x="1441" y="794"/>
                    </a:lnTo>
                    <a:lnTo>
                      <a:pt x="1442" y="796"/>
                    </a:lnTo>
                    <a:lnTo>
                      <a:pt x="1446" y="796"/>
                    </a:lnTo>
                    <a:lnTo>
                      <a:pt x="1446" y="792"/>
                    </a:lnTo>
                    <a:lnTo>
                      <a:pt x="1449" y="792"/>
                    </a:lnTo>
                    <a:lnTo>
                      <a:pt x="1452" y="792"/>
                    </a:lnTo>
                    <a:lnTo>
                      <a:pt x="1454" y="792"/>
                    </a:lnTo>
                    <a:lnTo>
                      <a:pt x="1457" y="791"/>
                    </a:lnTo>
                    <a:lnTo>
                      <a:pt x="1454" y="787"/>
                    </a:lnTo>
                    <a:lnTo>
                      <a:pt x="1449" y="786"/>
                    </a:lnTo>
                    <a:lnTo>
                      <a:pt x="1446" y="784"/>
                    </a:lnTo>
                    <a:lnTo>
                      <a:pt x="1441" y="782"/>
                    </a:lnTo>
                    <a:lnTo>
                      <a:pt x="1441" y="786"/>
                    </a:lnTo>
                    <a:lnTo>
                      <a:pt x="1441" y="786"/>
                    </a:lnTo>
                    <a:lnTo>
                      <a:pt x="1436" y="787"/>
                    </a:lnTo>
                    <a:lnTo>
                      <a:pt x="1436" y="787"/>
                    </a:lnTo>
                    <a:close/>
                    <a:moveTo>
                      <a:pt x="1490" y="784"/>
                    </a:moveTo>
                    <a:lnTo>
                      <a:pt x="1492" y="781"/>
                    </a:lnTo>
                    <a:lnTo>
                      <a:pt x="1494" y="781"/>
                    </a:lnTo>
                    <a:lnTo>
                      <a:pt x="1492" y="784"/>
                    </a:lnTo>
                    <a:lnTo>
                      <a:pt x="1490" y="784"/>
                    </a:lnTo>
                    <a:lnTo>
                      <a:pt x="1490" y="784"/>
                    </a:lnTo>
                    <a:close/>
                    <a:moveTo>
                      <a:pt x="1472" y="804"/>
                    </a:moveTo>
                    <a:lnTo>
                      <a:pt x="1476" y="802"/>
                    </a:lnTo>
                    <a:lnTo>
                      <a:pt x="1477" y="797"/>
                    </a:lnTo>
                    <a:lnTo>
                      <a:pt x="1481" y="797"/>
                    </a:lnTo>
                    <a:lnTo>
                      <a:pt x="1482" y="796"/>
                    </a:lnTo>
                    <a:lnTo>
                      <a:pt x="1485" y="794"/>
                    </a:lnTo>
                    <a:lnTo>
                      <a:pt x="1487" y="797"/>
                    </a:lnTo>
                    <a:lnTo>
                      <a:pt x="1485" y="799"/>
                    </a:lnTo>
                    <a:lnTo>
                      <a:pt x="1482" y="801"/>
                    </a:lnTo>
                    <a:lnTo>
                      <a:pt x="1477" y="804"/>
                    </a:lnTo>
                    <a:lnTo>
                      <a:pt x="1474" y="804"/>
                    </a:lnTo>
                    <a:lnTo>
                      <a:pt x="1472" y="804"/>
                    </a:lnTo>
                    <a:lnTo>
                      <a:pt x="1472" y="804"/>
                    </a:lnTo>
                    <a:close/>
                    <a:moveTo>
                      <a:pt x="1454" y="831"/>
                    </a:moveTo>
                    <a:lnTo>
                      <a:pt x="1464" y="824"/>
                    </a:lnTo>
                    <a:lnTo>
                      <a:pt x="1466" y="821"/>
                    </a:lnTo>
                    <a:lnTo>
                      <a:pt x="1467" y="821"/>
                    </a:lnTo>
                    <a:lnTo>
                      <a:pt x="1472" y="817"/>
                    </a:lnTo>
                    <a:lnTo>
                      <a:pt x="1476" y="814"/>
                    </a:lnTo>
                    <a:lnTo>
                      <a:pt x="1476" y="811"/>
                    </a:lnTo>
                    <a:lnTo>
                      <a:pt x="1472" y="809"/>
                    </a:lnTo>
                    <a:lnTo>
                      <a:pt x="1469" y="811"/>
                    </a:lnTo>
                    <a:lnTo>
                      <a:pt x="1469" y="814"/>
                    </a:lnTo>
                    <a:lnTo>
                      <a:pt x="1466" y="814"/>
                    </a:lnTo>
                    <a:lnTo>
                      <a:pt x="1462" y="817"/>
                    </a:lnTo>
                    <a:lnTo>
                      <a:pt x="1459" y="819"/>
                    </a:lnTo>
                    <a:lnTo>
                      <a:pt x="1452" y="819"/>
                    </a:lnTo>
                    <a:lnTo>
                      <a:pt x="1449" y="821"/>
                    </a:lnTo>
                    <a:lnTo>
                      <a:pt x="1447" y="824"/>
                    </a:lnTo>
                    <a:lnTo>
                      <a:pt x="1444" y="827"/>
                    </a:lnTo>
                    <a:lnTo>
                      <a:pt x="1444" y="832"/>
                    </a:lnTo>
                    <a:lnTo>
                      <a:pt x="1446" y="831"/>
                    </a:lnTo>
                    <a:lnTo>
                      <a:pt x="1451" y="831"/>
                    </a:lnTo>
                    <a:lnTo>
                      <a:pt x="1454" y="831"/>
                    </a:lnTo>
                    <a:lnTo>
                      <a:pt x="1454" y="831"/>
                    </a:lnTo>
                    <a:close/>
                    <a:moveTo>
                      <a:pt x="1494" y="827"/>
                    </a:moveTo>
                    <a:lnTo>
                      <a:pt x="1492" y="821"/>
                    </a:lnTo>
                    <a:lnTo>
                      <a:pt x="1494" y="819"/>
                    </a:lnTo>
                    <a:lnTo>
                      <a:pt x="1495" y="814"/>
                    </a:lnTo>
                    <a:lnTo>
                      <a:pt x="1499" y="814"/>
                    </a:lnTo>
                    <a:lnTo>
                      <a:pt x="1504" y="816"/>
                    </a:lnTo>
                    <a:lnTo>
                      <a:pt x="1505" y="821"/>
                    </a:lnTo>
                    <a:lnTo>
                      <a:pt x="1502" y="824"/>
                    </a:lnTo>
                    <a:lnTo>
                      <a:pt x="1500" y="824"/>
                    </a:lnTo>
                    <a:lnTo>
                      <a:pt x="1497" y="827"/>
                    </a:lnTo>
                    <a:lnTo>
                      <a:pt x="1494" y="827"/>
                    </a:lnTo>
                    <a:lnTo>
                      <a:pt x="1494" y="827"/>
                    </a:lnTo>
                    <a:close/>
                    <a:moveTo>
                      <a:pt x="1525" y="862"/>
                    </a:moveTo>
                    <a:lnTo>
                      <a:pt x="1524" y="857"/>
                    </a:lnTo>
                    <a:lnTo>
                      <a:pt x="1525" y="850"/>
                    </a:lnTo>
                    <a:lnTo>
                      <a:pt x="1522" y="847"/>
                    </a:lnTo>
                    <a:lnTo>
                      <a:pt x="1520" y="847"/>
                    </a:lnTo>
                    <a:lnTo>
                      <a:pt x="1519" y="852"/>
                    </a:lnTo>
                    <a:lnTo>
                      <a:pt x="1517" y="855"/>
                    </a:lnTo>
                    <a:lnTo>
                      <a:pt x="1517" y="860"/>
                    </a:lnTo>
                    <a:lnTo>
                      <a:pt x="1519" y="862"/>
                    </a:lnTo>
                    <a:lnTo>
                      <a:pt x="1520" y="865"/>
                    </a:lnTo>
                    <a:lnTo>
                      <a:pt x="1522" y="864"/>
                    </a:lnTo>
                    <a:lnTo>
                      <a:pt x="1525" y="862"/>
                    </a:lnTo>
                    <a:lnTo>
                      <a:pt x="1525" y="862"/>
                    </a:lnTo>
                    <a:close/>
                    <a:moveTo>
                      <a:pt x="1529" y="859"/>
                    </a:moveTo>
                    <a:lnTo>
                      <a:pt x="1527" y="855"/>
                    </a:lnTo>
                    <a:lnTo>
                      <a:pt x="1529" y="850"/>
                    </a:lnTo>
                    <a:lnTo>
                      <a:pt x="1530" y="855"/>
                    </a:lnTo>
                    <a:lnTo>
                      <a:pt x="1532" y="857"/>
                    </a:lnTo>
                    <a:lnTo>
                      <a:pt x="1530" y="860"/>
                    </a:lnTo>
                    <a:lnTo>
                      <a:pt x="1529" y="859"/>
                    </a:lnTo>
                    <a:lnTo>
                      <a:pt x="1529" y="859"/>
                    </a:lnTo>
                    <a:close/>
                    <a:moveTo>
                      <a:pt x="1535" y="869"/>
                    </a:moveTo>
                    <a:lnTo>
                      <a:pt x="1534" y="865"/>
                    </a:lnTo>
                    <a:lnTo>
                      <a:pt x="1535" y="864"/>
                    </a:lnTo>
                    <a:lnTo>
                      <a:pt x="1537" y="864"/>
                    </a:lnTo>
                    <a:lnTo>
                      <a:pt x="1537" y="867"/>
                    </a:lnTo>
                    <a:lnTo>
                      <a:pt x="1535" y="869"/>
                    </a:lnTo>
                    <a:lnTo>
                      <a:pt x="1535" y="869"/>
                    </a:lnTo>
                    <a:close/>
                    <a:moveTo>
                      <a:pt x="1519" y="877"/>
                    </a:moveTo>
                    <a:lnTo>
                      <a:pt x="1519" y="879"/>
                    </a:lnTo>
                    <a:lnTo>
                      <a:pt x="1519" y="884"/>
                    </a:lnTo>
                    <a:lnTo>
                      <a:pt x="1520" y="889"/>
                    </a:lnTo>
                    <a:lnTo>
                      <a:pt x="1522" y="890"/>
                    </a:lnTo>
                    <a:lnTo>
                      <a:pt x="1525" y="889"/>
                    </a:lnTo>
                    <a:lnTo>
                      <a:pt x="1529" y="890"/>
                    </a:lnTo>
                    <a:lnTo>
                      <a:pt x="1532" y="890"/>
                    </a:lnTo>
                    <a:lnTo>
                      <a:pt x="1535" y="890"/>
                    </a:lnTo>
                    <a:lnTo>
                      <a:pt x="1540" y="892"/>
                    </a:lnTo>
                    <a:lnTo>
                      <a:pt x="1542" y="889"/>
                    </a:lnTo>
                    <a:lnTo>
                      <a:pt x="1540" y="885"/>
                    </a:lnTo>
                    <a:lnTo>
                      <a:pt x="1540" y="882"/>
                    </a:lnTo>
                    <a:lnTo>
                      <a:pt x="1535" y="882"/>
                    </a:lnTo>
                    <a:lnTo>
                      <a:pt x="1534" y="879"/>
                    </a:lnTo>
                    <a:lnTo>
                      <a:pt x="1530" y="877"/>
                    </a:lnTo>
                    <a:lnTo>
                      <a:pt x="1529" y="879"/>
                    </a:lnTo>
                    <a:lnTo>
                      <a:pt x="1529" y="877"/>
                    </a:lnTo>
                    <a:lnTo>
                      <a:pt x="1529" y="874"/>
                    </a:lnTo>
                    <a:lnTo>
                      <a:pt x="1527" y="875"/>
                    </a:lnTo>
                    <a:lnTo>
                      <a:pt x="1524" y="877"/>
                    </a:lnTo>
                    <a:lnTo>
                      <a:pt x="1522" y="877"/>
                    </a:lnTo>
                    <a:lnTo>
                      <a:pt x="1519" y="877"/>
                    </a:lnTo>
                    <a:lnTo>
                      <a:pt x="1519" y="877"/>
                    </a:lnTo>
                    <a:close/>
                    <a:moveTo>
                      <a:pt x="1392" y="1038"/>
                    </a:moveTo>
                    <a:lnTo>
                      <a:pt x="1397" y="1038"/>
                    </a:lnTo>
                    <a:lnTo>
                      <a:pt x="1399" y="1038"/>
                    </a:lnTo>
                    <a:lnTo>
                      <a:pt x="1397" y="1035"/>
                    </a:lnTo>
                    <a:lnTo>
                      <a:pt x="1394" y="1036"/>
                    </a:lnTo>
                    <a:lnTo>
                      <a:pt x="1392" y="1038"/>
                    </a:lnTo>
                    <a:lnTo>
                      <a:pt x="1392" y="1038"/>
                    </a:lnTo>
                    <a:close/>
                    <a:moveTo>
                      <a:pt x="1321" y="932"/>
                    </a:moveTo>
                    <a:lnTo>
                      <a:pt x="1324" y="933"/>
                    </a:lnTo>
                    <a:lnTo>
                      <a:pt x="1328" y="935"/>
                    </a:lnTo>
                    <a:lnTo>
                      <a:pt x="1328" y="933"/>
                    </a:lnTo>
                    <a:lnTo>
                      <a:pt x="1324" y="932"/>
                    </a:lnTo>
                    <a:lnTo>
                      <a:pt x="1323" y="930"/>
                    </a:lnTo>
                    <a:lnTo>
                      <a:pt x="1321" y="932"/>
                    </a:lnTo>
                    <a:lnTo>
                      <a:pt x="1321" y="932"/>
                    </a:lnTo>
                    <a:close/>
                    <a:moveTo>
                      <a:pt x="1306" y="957"/>
                    </a:moveTo>
                    <a:lnTo>
                      <a:pt x="1306" y="953"/>
                    </a:lnTo>
                    <a:lnTo>
                      <a:pt x="1303" y="950"/>
                    </a:lnTo>
                    <a:lnTo>
                      <a:pt x="1298" y="948"/>
                    </a:lnTo>
                    <a:lnTo>
                      <a:pt x="1299" y="945"/>
                    </a:lnTo>
                    <a:lnTo>
                      <a:pt x="1298" y="942"/>
                    </a:lnTo>
                    <a:lnTo>
                      <a:pt x="1294" y="940"/>
                    </a:lnTo>
                    <a:lnTo>
                      <a:pt x="1294" y="933"/>
                    </a:lnTo>
                    <a:lnTo>
                      <a:pt x="1296" y="932"/>
                    </a:lnTo>
                    <a:lnTo>
                      <a:pt x="1298" y="937"/>
                    </a:lnTo>
                    <a:lnTo>
                      <a:pt x="1303" y="938"/>
                    </a:lnTo>
                    <a:lnTo>
                      <a:pt x="1303" y="942"/>
                    </a:lnTo>
                    <a:lnTo>
                      <a:pt x="1306" y="943"/>
                    </a:lnTo>
                    <a:lnTo>
                      <a:pt x="1306" y="948"/>
                    </a:lnTo>
                    <a:lnTo>
                      <a:pt x="1311" y="952"/>
                    </a:lnTo>
                    <a:lnTo>
                      <a:pt x="1314" y="952"/>
                    </a:lnTo>
                    <a:lnTo>
                      <a:pt x="1313" y="957"/>
                    </a:lnTo>
                    <a:lnTo>
                      <a:pt x="1309" y="955"/>
                    </a:lnTo>
                    <a:lnTo>
                      <a:pt x="1306" y="957"/>
                    </a:lnTo>
                    <a:lnTo>
                      <a:pt x="1306" y="957"/>
                    </a:lnTo>
                    <a:close/>
                    <a:moveTo>
                      <a:pt x="1278" y="955"/>
                    </a:moveTo>
                    <a:lnTo>
                      <a:pt x="1278" y="950"/>
                    </a:lnTo>
                    <a:lnTo>
                      <a:pt x="1276" y="948"/>
                    </a:lnTo>
                    <a:lnTo>
                      <a:pt x="1278" y="945"/>
                    </a:lnTo>
                    <a:lnTo>
                      <a:pt x="1278" y="940"/>
                    </a:lnTo>
                    <a:lnTo>
                      <a:pt x="1280" y="935"/>
                    </a:lnTo>
                    <a:lnTo>
                      <a:pt x="1283" y="937"/>
                    </a:lnTo>
                    <a:lnTo>
                      <a:pt x="1283" y="940"/>
                    </a:lnTo>
                    <a:lnTo>
                      <a:pt x="1281" y="942"/>
                    </a:lnTo>
                    <a:lnTo>
                      <a:pt x="1281" y="943"/>
                    </a:lnTo>
                    <a:lnTo>
                      <a:pt x="1283" y="947"/>
                    </a:lnTo>
                    <a:lnTo>
                      <a:pt x="1280" y="953"/>
                    </a:lnTo>
                    <a:lnTo>
                      <a:pt x="1278" y="955"/>
                    </a:lnTo>
                    <a:lnTo>
                      <a:pt x="1278" y="955"/>
                    </a:lnTo>
                    <a:close/>
                    <a:moveTo>
                      <a:pt x="1275" y="850"/>
                    </a:moveTo>
                    <a:lnTo>
                      <a:pt x="1275" y="855"/>
                    </a:lnTo>
                    <a:lnTo>
                      <a:pt x="1276" y="855"/>
                    </a:lnTo>
                    <a:lnTo>
                      <a:pt x="1281" y="855"/>
                    </a:lnTo>
                    <a:lnTo>
                      <a:pt x="1285" y="854"/>
                    </a:lnTo>
                    <a:lnTo>
                      <a:pt x="1283" y="852"/>
                    </a:lnTo>
                    <a:lnTo>
                      <a:pt x="1280" y="850"/>
                    </a:lnTo>
                    <a:lnTo>
                      <a:pt x="1275" y="850"/>
                    </a:lnTo>
                    <a:lnTo>
                      <a:pt x="1275" y="850"/>
                    </a:lnTo>
                    <a:close/>
                    <a:moveTo>
                      <a:pt x="1276" y="849"/>
                    </a:moveTo>
                    <a:lnTo>
                      <a:pt x="1278" y="845"/>
                    </a:lnTo>
                    <a:lnTo>
                      <a:pt x="1278" y="840"/>
                    </a:lnTo>
                    <a:lnTo>
                      <a:pt x="1285" y="837"/>
                    </a:lnTo>
                    <a:lnTo>
                      <a:pt x="1288" y="834"/>
                    </a:lnTo>
                    <a:lnTo>
                      <a:pt x="1288" y="835"/>
                    </a:lnTo>
                    <a:lnTo>
                      <a:pt x="1288" y="840"/>
                    </a:lnTo>
                    <a:lnTo>
                      <a:pt x="1286" y="844"/>
                    </a:lnTo>
                    <a:lnTo>
                      <a:pt x="1286" y="849"/>
                    </a:lnTo>
                    <a:lnTo>
                      <a:pt x="1283" y="849"/>
                    </a:lnTo>
                    <a:lnTo>
                      <a:pt x="1276" y="849"/>
                    </a:lnTo>
                    <a:lnTo>
                      <a:pt x="1276" y="849"/>
                    </a:lnTo>
                    <a:close/>
                    <a:moveTo>
                      <a:pt x="1044" y="806"/>
                    </a:moveTo>
                    <a:lnTo>
                      <a:pt x="1047" y="804"/>
                    </a:lnTo>
                    <a:lnTo>
                      <a:pt x="1047" y="801"/>
                    </a:lnTo>
                    <a:lnTo>
                      <a:pt x="1042" y="801"/>
                    </a:lnTo>
                    <a:lnTo>
                      <a:pt x="1042" y="804"/>
                    </a:lnTo>
                    <a:lnTo>
                      <a:pt x="1044" y="806"/>
                    </a:lnTo>
                    <a:lnTo>
                      <a:pt x="1044" y="806"/>
                    </a:lnTo>
                    <a:close/>
                    <a:moveTo>
                      <a:pt x="846" y="756"/>
                    </a:moveTo>
                    <a:lnTo>
                      <a:pt x="848" y="754"/>
                    </a:lnTo>
                    <a:lnTo>
                      <a:pt x="851" y="754"/>
                    </a:lnTo>
                    <a:lnTo>
                      <a:pt x="848" y="756"/>
                    </a:lnTo>
                    <a:lnTo>
                      <a:pt x="848" y="756"/>
                    </a:lnTo>
                    <a:lnTo>
                      <a:pt x="846" y="756"/>
                    </a:lnTo>
                    <a:lnTo>
                      <a:pt x="846" y="756"/>
                    </a:lnTo>
                    <a:close/>
                    <a:moveTo>
                      <a:pt x="829" y="762"/>
                    </a:moveTo>
                    <a:lnTo>
                      <a:pt x="834" y="762"/>
                    </a:lnTo>
                    <a:lnTo>
                      <a:pt x="834" y="761"/>
                    </a:lnTo>
                    <a:lnTo>
                      <a:pt x="831" y="759"/>
                    </a:lnTo>
                    <a:lnTo>
                      <a:pt x="829" y="762"/>
                    </a:lnTo>
                    <a:lnTo>
                      <a:pt x="829" y="762"/>
                    </a:lnTo>
                    <a:close/>
                    <a:moveTo>
                      <a:pt x="836" y="777"/>
                    </a:moveTo>
                    <a:lnTo>
                      <a:pt x="836" y="776"/>
                    </a:lnTo>
                    <a:lnTo>
                      <a:pt x="838" y="774"/>
                    </a:lnTo>
                    <a:lnTo>
                      <a:pt x="838" y="777"/>
                    </a:lnTo>
                    <a:lnTo>
                      <a:pt x="836" y="777"/>
                    </a:lnTo>
                    <a:lnTo>
                      <a:pt x="836" y="777"/>
                    </a:lnTo>
                    <a:close/>
                    <a:moveTo>
                      <a:pt x="836" y="779"/>
                    </a:moveTo>
                    <a:lnTo>
                      <a:pt x="834" y="774"/>
                    </a:lnTo>
                    <a:lnTo>
                      <a:pt x="833" y="776"/>
                    </a:lnTo>
                    <a:lnTo>
                      <a:pt x="834" y="777"/>
                    </a:lnTo>
                    <a:lnTo>
                      <a:pt x="836" y="779"/>
                    </a:lnTo>
                    <a:lnTo>
                      <a:pt x="836" y="779"/>
                    </a:lnTo>
                    <a:close/>
                    <a:moveTo>
                      <a:pt x="844" y="789"/>
                    </a:moveTo>
                    <a:lnTo>
                      <a:pt x="846" y="796"/>
                    </a:lnTo>
                    <a:lnTo>
                      <a:pt x="848" y="796"/>
                    </a:lnTo>
                    <a:lnTo>
                      <a:pt x="851" y="792"/>
                    </a:lnTo>
                    <a:lnTo>
                      <a:pt x="851" y="791"/>
                    </a:lnTo>
                    <a:lnTo>
                      <a:pt x="853" y="787"/>
                    </a:lnTo>
                    <a:lnTo>
                      <a:pt x="849" y="787"/>
                    </a:lnTo>
                    <a:lnTo>
                      <a:pt x="848" y="791"/>
                    </a:lnTo>
                    <a:lnTo>
                      <a:pt x="846" y="789"/>
                    </a:lnTo>
                    <a:lnTo>
                      <a:pt x="844" y="789"/>
                    </a:lnTo>
                    <a:lnTo>
                      <a:pt x="844" y="789"/>
                    </a:lnTo>
                    <a:close/>
                    <a:moveTo>
                      <a:pt x="838" y="816"/>
                    </a:moveTo>
                    <a:lnTo>
                      <a:pt x="836" y="809"/>
                    </a:lnTo>
                    <a:lnTo>
                      <a:pt x="839" y="807"/>
                    </a:lnTo>
                    <a:lnTo>
                      <a:pt x="839" y="804"/>
                    </a:lnTo>
                    <a:lnTo>
                      <a:pt x="843" y="799"/>
                    </a:lnTo>
                    <a:lnTo>
                      <a:pt x="843" y="801"/>
                    </a:lnTo>
                    <a:lnTo>
                      <a:pt x="843" y="804"/>
                    </a:lnTo>
                    <a:lnTo>
                      <a:pt x="844" y="806"/>
                    </a:lnTo>
                    <a:lnTo>
                      <a:pt x="843" y="807"/>
                    </a:lnTo>
                    <a:lnTo>
                      <a:pt x="844" y="811"/>
                    </a:lnTo>
                    <a:lnTo>
                      <a:pt x="841" y="812"/>
                    </a:lnTo>
                    <a:lnTo>
                      <a:pt x="839" y="814"/>
                    </a:lnTo>
                    <a:lnTo>
                      <a:pt x="838" y="816"/>
                    </a:lnTo>
                    <a:lnTo>
                      <a:pt x="838" y="816"/>
                    </a:lnTo>
                    <a:close/>
                    <a:moveTo>
                      <a:pt x="1017" y="716"/>
                    </a:moveTo>
                    <a:lnTo>
                      <a:pt x="1017" y="714"/>
                    </a:lnTo>
                    <a:lnTo>
                      <a:pt x="1019" y="713"/>
                    </a:lnTo>
                    <a:lnTo>
                      <a:pt x="1020" y="714"/>
                    </a:lnTo>
                    <a:lnTo>
                      <a:pt x="1019" y="718"/>
                    </a:lnTo>
                    <a:lnTo>
                      <a:pt x="1017" y="716"/>
                    </a:lnTo>
                    <a:lnTo>
                      <a:pt x="1017" y="716"/>
                    </a:lnTo>
                    <a:close/>
                    <a:moveTo>
                      <a:pt x="1077" y="683"/>
                    </a:moveTo>
                    <a:lnTo>
                      <a:pt x="1077" y="678"/>
                    </a:lnTo>
                    <a:lnTo>
                      <a:pt x="1075" y="676"/>
                    </a:lnTo>
                    <a:lnTo>
                      <a:pt x="1077" y="671"/>
                    </a:lnTo>
                    <a:lnTo>
                      <a:pt x="1079" y="669"/>
                    </a:lnTo>
                    <a:lnTo>
                      <a:pt x="1080" y="671"/>
                    </a:lnTo>
                    <a:lnTo>
                      <a:pt x="1080" y="674"/>
                    </a:lnTo>
                    <a:lnTo>
                      <a:pt x="1082" y="676"/>
                    </a:lnTo>
                    <a:lnTo>
                      <a:pt x="1080" y="679"/>
                    </a:lnTo>
                    <a:lnTo>
                      <a:pt x="1080" y="683"/>
                    </a:lnTo>
                    <a:lnTo>
                      <a:pt x="1077" y="683"/>
                    </a:lnTo>
                    <a:lnTo>
                      <a:pt x="1077" y="683"/>
                    </a:lnTo>
                    <a:close/>
                    <a:moveTo>
                      <a:pt x="1010" y="749"/>
                    </a:moveTo>
                    <a:lnTo>
                      <a:pt x="1010" y="747"/>
                    </a:lnTo>
                    <a:lnTo>
                      <a:pt x="1010" y="744"/>
                    </a:lnTo>
                    <a:lnTo>
                      <a:pt x="1012" y="742"/>
                    </a:lnTo>
                    <a:lnTo>
                      <a:pt x="1012" y="741"/>
                    </a:lnTo>
                    <a:lnTo>
                      <a:pt x="1015" y="737"/>
                    </a:lnTo>
                    <a:lnTo>
                      <a:pt x="1015" y="734"/>
                    </a:lnTo>
                    <a:lnTo>
                      <a:pt x="1010" y="734"/>
                    </a:lnTo>
                    <a:lnTo>
                      <a:pt x="1010" y="731"/>
                    </a:lnTo>
                    <a:lnTo>
                      <a:pt x="1012" y="728"/>
                    </a:lnTo>
                    <a:lnTo>
                      <a:pt x="1015" y="728"/>
                    </a:lnTo>
                    <a:lnTo>
                      <a:pt x="1015" y="724"/>
                    </a:lnTo>
                    <a:lnTo>
                      <a:pt x="1010" y="721"/>
                    </a:lnTo>
                    <a:lnTo>
                      <a:pt x="1009" y="723"/>
                    </a:lnTo>
                    <a:lnTo>
                      <a:pt x="1007" y="724"/>
                    </a:lnTo>
                    <a:lnTo>
                      <a:pt x="1005" y="726"/>
                    </a:lnTo>
                    <a:lnTo>
                      <a:pt x="1004" y="724"/>
                    </a:lnTo>
                    <a:lnTo>
                      <a:pt x="997" y="724"/>
                    </a:lnTo>
                    <a:lnTo>
                      <a:pt x="992" y="729"/>
                    </a:lnTo>
                    <a:lnTo>
                      <a:pt x="987" y="733"/>
                    </a:lnTo>
                    <a:lnTo>
                      <a:pt x="987" y="731"/>
                    </a:lnTo>
                    <a:lnTo>
                      <a:pt x="992" y="728"/>
                    </a:lnTo>
                    <a:lnTo>
                      <a:pt x="995" y="724"/>
                    </a:lnTo>
                    <a:lnTo>
                      <a:pt x="995" y="719"/>
                    </a:lnTo>
                    <a:lnTo>
                      <a:pt x="992" y="723"/>
                    </a:lnTo>
                    <a:lnTo>
                      <a:pt x="990" y="721"/>
                    </a:lnTo>
                    <a:lnTo>
                      <a:pt x="990" y="718"/>
                    </a:lnTo>
                    <a:lnTo>
                      <a:pt x="994" y="716"/>
                    </a:lnTo>
                    <a:lnTo>
                      <a:pt x="992" y="711"/>
                    </a:lnTo>
                    <a:lnTo>
                      <a:pt x="994" y="708"/>
                    </a:lnTo>
                    <a:lnTo>
                      <a:pt x="997" y="708"/>
                    </a:lnTo>
                    <a:lnTo>
                      <a:pt x="997" y="709"/>
                    </a:lnTo>
                    <a:lnTo>
                      <a:pt x="999" y="716"/>
                    </a:lnTo>
                    <a:lnTo>
                      <a:pt x="1002" y="718"/>
                    </a:lnTo>
                    <a:lnTo>
                      <a:pt x="1004" y="718"/>
                    </a:lnTo>
                    <a:lnTo>
                      <a:pt x="1009" y="718"/>
                    </a:lnTo>
                    <a:lnTo>
                      <a:pt x="1012" y="713"/>
                    </a:lnTo>
                    <a:lnTo>
                      <a:pt x="1009" y="711"/>
                    </a:lnTo>
                    <a:lnTo>
                      <a:pt x="1009" y="709"/>
                    </a:lnTo>
                    <a:lnTo>
                      <a:pt x="1012" y="708"/>
                    </a:lnTo>
                    <a:lnTo>
                      <a:pt x="1014" y="709"/>
                    </a:lnTo>
                    <a:lnTo>
                      <a:pt x="1017" y="709"/>
                    </a:lnTo>
                    <a:lnTo>
                      <a:pt x="1020" y="706"/>
                    </a:lnTo>
                    <a:lnTo>
                      <a:pt x="1022" y="701"/>
                    </a:lnTo>
                    <a:lnTo>
                      <a:pt x="1022" y="706"/>
                    </a:lnTo>
                    <a:lnTo>
                      <a:pt x="1024" y="706"/>
                    </a:lnTo>
                    <a:lnTo>
                      <a:pt x="1029" y="703"/>
                    </a:lnTo>
                    <a:lnTo>
                      <a:pt x="1025" y="709"/>
                    </a:lnTo>
                    <a:lnTo>
                      <a:pt x="1025" y="714"/>
                    </a:lnTo>
                    <a:lnTo>
                      <a:pt x="1027" y="714"/>
                    </a:lnTo>
                    <a:lnTo>
                      <a:pt x="1029" y="714"/>
                    </a:lnTo>
                    <a:lnTo>
                      <a:pt x="1027" y="718"/>
                    </a:lnTo>
                    <a:lnTo>
                      <a:pt x="1030" y="718"/>
                    </a:lnTo>
                    <a:lnTo>
                      <a:pt x="1032" y="713"/>
                    </a:lnTo>
                    <a:lnTo>
                      <a:pt x="1035" y="713"/>
                    </a:lnTo>
                    <a:lnTo>
                      <a:pt x="1039" y="706"/>
                    </a:lnTo>
                    <a:lnTo>
                      <a:pt x="1042" y="704"/>
                    </a:lnTo>
                    <a:lnTo>
                      <a:pt x="1040" y="709"/>
                    </a:lnTo>
                    <a:lnTo>
                      <a:pt x="1037" y="713"/>
                    </a:lnTo>
                    <a:lnTo>
                      <a:pt x="1037" y="719"/>
                    </a:lnTo>
                    <a:lnTo>
                      <a:pt x="1040" y="719"/>
                    </a:lnTo>
                    <a:lnTo>
                      <a:pt x="1044" y="721"/>
                    </a:lnTo>
                    <a:lnTo>
                      <a:pt x="1045" y="719"/>
                    </a:lnTo>
                    <a:lnTo>
                      <a:pt x="1052" y="714"/>
                    </a:lnTo>
                    <a:lnTo>
                      <a:pt x="1054" y="708"/>
                    </a:lnTo>
                    <a:lnTo>
                      <a:pt x="1055" y="703"/>
                    </a:lnTo>
                    <a:lnTo>
                      <a:pt x="1054" y="699"/>
                    </a:lnTo>
                    <a:lnTo>
                      <a:pt x="1055" y="698"/>
                    </a:lnTo>
                    <a:lnTo>
                      <a:pt x="1055" y="694"/>
                    </a:lnTo>
                    <a:lnTo>
                      <a:pt x="1052" y="694"/>
                    </a:lnTo>
                    <a:lnTo>
                      <a:pt x="1050" y="694"/>
                    </a:lnTo>
                    <a:lnTo>
                      <a:pt x="1047" y="696"/>
                    </a:lnTo>
                    <a:lnTo>
                      <a:pt x="1047" y="691"/>
                    </a:lnTo>
                    <a:lnTo>
                      <a:pt x="1049" y="689"/>
                    </a:lnTo>
                    <a:lnTo>
                      <a:pt x="1047" y="688"/>
                    </a:lnTo>
                    <a:lnTo>
                      <a:pt x="1044" y="688"/>
                    </a:lnTo>
                    <a:lnTo>
                      <a:pt x="1042" y="686"/>
                    </a:lnTo>
                    <a:lnTo>
                      <a:pt x="1039" y="683"/>
                    </a:lnTo>
                    <a:lnTo>
                      <a:pt x="1039" y="679"/>
                    </a:lnTo>
                    <a:lnTo>
                      <a:pt x="1035" y="673"/>
                    </a:lnTo>
                    <a:lnTo>
                      <a:pt x="1034" y="668"/>
                    </a:lnTo>
                    <a:lnTo>
                      <a:pt x="1037" y="663"/>
                    </a:lnTo>
                    <a:lnTo>
                      <a:pt x="1034" y="656"/>
                    </a:lnTo>
                    <a:lnTo>
                      <a:pt x="1032" y="661"/>
                    </a:lnTo>
                    <a:lnTo>
                      <a:pt x="1032" y="666"/>
                    </a:lnTo>
                    <a:lnTo>
                      <a:pt x="1029" y="661"/>
                    </a:lnTo>
                    <a:lnTo>
                      <a:pt x="1024" y="659"/>
                    </a:lnTo>
                    <a:lnTo>
                      <a:pt x="1022" y="649"/>
                    </a:lnTo>
                    <a:lnTo>
                      <a:pt x="1019" y="648"/>
                    </a:lnTo>
                    <a:lnTo>
                      <a:pt x="1017" y="641"/>
                    </a:lnTo>
                    <a:lnTo>
                      <a:pt x="1014" y="638"/>
                    </a:lnTo>
                    <a:lnTo>
                      <a:pt x="1014" y="633"/>
                    </a:lnTo>
                    <a:lnTo>
                      <a:pt x="1012" y="630"/>
                    </a:lnTo>
                    <a:lnTo>
                      <a:pt x="1012" y="628"/>
                    </a:lnTo>
                    <a:lnTo>
                      <a:pt x="1017" y="626"/>
                    </a:lnTo>
                    <a:lnTo>
                      <a:pt x="1019" y="621"/>
                    </a:lnTo>
                    <a:lnTo>
                      <a:pt x="1022" y="621"/>
                    </a:lnTo>
                    <a:lnTo>
                      <a:pt x="1024" y="623"/>
                    </a:lnTo>
                    <a:lnTo>
                      <a:pt x="1025" y="621"/>
                    </a:lnTo>
                    <a:lnTo>
                      <a:pt x="1027" y="618"/>
                    </a:lnTo>
                    <a:lnTo>
                      <a:pt x="1030" y="610"/>
                    </a:lnTo>
                    <a:lnTo>
                      <a:pt x="1030" y="603"/>
                    </a:lnTo>
                    <a:lnTo>
                      <a:pt x="1032" y="601"/>
                    </a:lnTo>
                    <a:lnTo>
                      <a:pt x="1029" y="595"/>
                    </a:lnTo>
                    <a:lnTo>
                      <a:pt x="1030" y="590"/>
                    </a:lnTo>
                    <a:lnTo>
                      <a:pt x="1034" y="588"/>
                    </a:lnTo>
                    <a:lnTo>
                      <a:pt x="1034" y="581"/>
                    </a:lnTo>
                    <a:lnTo>
                      <a:pt x="1039" y="576"/>
                    </a:lnTo>
                    <a:lnTo>
                      <a:pt x="1039" y="573"/>
                    </a:lnTo>
                    <a:lnTo>
                      <a:pt x="1042" y="570"/>
                    </a:lnTo>
                    <a:lnTo>
                      <a:pt x="1042" y="561"/>
                    </a:lnTo>
                    <a:lnTo>
                      <a:pt x="1044" y="560"/>
                    </a:lnTo>
                    <a:lnTo>
                      <a:pt x="1044" y="556"/>
                    </a:lnTo>
                    <a:lnTo>
                      <a:pt x="1049" y="551"/>
                    </a:lnTo>
                    <a:lnTo>
                      <a:pt x="1049" y="546"/>
                    </a:lnTo>
                    <a:lnTo>
                      <a:pt x="1049" y="543"/>
                    </a:lnTo>
                    <a:lnTo>
                      <a:pt x="1052" y="541"/>
                    </a:lnTo>
                    <a:lnTo>
                      <a:pt x="1054" y="538"/>
                    </a:lnTo>
                    <a:lnTo>
                      <a:pt x="1050" y="533"/>
                    </a:lnTo>
                    <a:lnTo>
                      <a:pt x="1052" y="530"/>
                    </a:lnTo>
                    <a:lnTo>
                      <a:pt x="1052" y="527"/>
                    </a:lnTo>
                    <a:lnTo>
                      <a:pt x="1047" y="525"/>
                    </a:lnTo>
                    <a:lnTo>
                      <a:pt x="1045" y="518"/>
                    </a:lnTo>
                    <a:lnTo>
                      <a:pt x="1047" y="517"/>
                    </a:lnTo>
                    <a:lnTo>
                      <a:pt x="1044" y="510"/>
                    </a:lnTo>
                    <a:lnTo>
                      <a:pt x="1039" y="508"/>
                    </a:lnTo>
                    <a:lnTo>
                      <a:pt x="1037" y="507"/>
                    </a:lnTo>
                    <a:lnTo>
                      <a:pt x="1035" y="507"/>
                    </a:lnTo>
                    <a:lnTo>
                      <a:pt x="1034" y="513"/>
                    </a:lnTo>
                    <a:lnTo>
                      <a:pt x="1032" y="513"/>
                    </a:lnTo>
                    <a:lnTo>
                      <a:pt x="1027" y="505"/>
                    </a:lnTo>
                    <a:lnTo>
                      <a:pt x="1024" y="503"/>
                    </a:lnTo>
                    <a:lnTo>
                      <a:pt x="1020" y="500"/>
                    </a:lnTo>
                    <a:lnTo>
                      <a:pt x="1017" y="502"/>
                    </a:lnTo>
                    <a:lnTo>
                      <a:pt x="1019" y="508"/>
                    </a:lnTo>
                    <a:lnTo>
                      <a:pt x="1017" y="508"/>
                    </a:lnTo>
                    <a:lnTo>
                      <a:pt x="1014" y="508"/>
                    </a:lnTo>
                    <a:lnTo>
                      <a:pt x="1010" y="513"/>
                    </a:lnTo>
                    <a:lnTo>
                      <a:pt x="1010" y="515"/>
                    </a:lnTo>
                    <a:lnTo>
                      <a:pt x="1007" y="517"/>
                    </a:lnTo>
                    <a:lnTo>
                      <a:pt x="1004" y="528"/>
                    </a:lnTo>
                    <a:lnTo>
                      <a:pt x="1004" y="532"/>
                    </a:lnTo>
                    <a:lnTo>
                      <a:pt x="1000" y="537"/>
                    </a:lnTo>
                    <a:lnTo>
                      <a:pt x="1000" y="541"/>
                    </a:lnTo>
                    <a:lnTo>
                      <a:pt x="999" y="541"/>
                    </a:lnTo>
                    <a:lnTo>
                      <a:pt x="999" y="546"/>
                    </a:lnTo>
                    <a:lnTo>
                      <a:pt x="995" y="548"/>
                    </a:lnTo>
                    <a:lnTo>
                      <a:pt x="995" y="556"/>
                    </a:lnTo>
                    <a:lnTo>
                      <a:pt x="990" y="558"/>
                    </a:lnTo>
                    <a:lnTo>
                      <a:pt x="989" y="558"/>
                    </a:lnTo>
                    <a:lnTo>
                      <a:pt x="986" y="565"/>
                    </a:lnTo>
                    <a:lnTo>
                      <a:pt x="987" y="568"/>
                    </a:lnTo>
                    <a:lnTo>
                      <a:pt x="986" y="571"/>
                    </a:lnTo>
                    <a:lnTo>
                      <a:pt x="986" y="576"/>
                    </a:lnTo>
                    <a:lnTo>
                      <a:pt x="982" y="580"/>
                    </a:lnTo>
                    <a:lnTo>
                      <a:pt x="984" y="583"/>
                    </a:lnTo>
                    <a:lnTo>
                      <a:pt x="984" y="586"/>
                    </a:lnTo>
                    <a:lnTo>
                      <a:pt x="979" y="586"/>
                    </a:lnTo>
                    <a:lnTo>
                      <a:pt x="981" y="590"/>
                    </a:lnTo>
                    <a:lnTo>
                      <a:pt x="986" y="591"/>
                    </a:lnTo>
                    <a:lnTo>
                      <a:pt x="986" y="595"/>
                    </a:lnTo>
                    <a:lnTo>
                      <a:pt x="982" y="593"/>
                    </a:lnTo>
                    <a:lnTo>
                      <a:pt x="979" y="593"/>
                    </a:lnTo>
                    <a:lnTo>
                      <a:pt x="976" y="596"/>
                    </a:lnTo>
                    <a:lnTo>
                      <a:pt x="972" y="595"/>
                    </a:lnTo>
                    <a:lnTo>
                      <a:pt x="971" y="598"/>
                    </a:lnTo>
                    <a:lnTo>
                      <a:pt x="971" y="601"/>
                    </a:lnTo>
                    <a:lnTo>
                      <a:pt x="967" y="603"/>
                    </a:lnTo>
                    <a:lnTo>
                      <a:pt x="964" y="601"/>
                    </a:lnTo>
                    <a:lnTo>
                      <a:pt x="964" y="598"/>
                    </a:lnTo>
                    <a:lnTo>
                      <a:pt x="966" y="595"/>
                    </a:lnTo>
                    <a:lnTo>
                      <a:pt x="962" y="591"/>
                    </a:lnTo>
                    <a:lnTo>
                      <a:pt x="962" y="585"/>
                    </a:lnTo>
                    <a:lnTo>
                      <a:pt x="966" y="578"/>
                    </a:lnTo>
                    <a:lnTo>
                      <a:pt x="967" y="573"/>
                    </a:lnTo>
                    <a:lnTo>
                      <a:pt x="971" y="570"/>
                    </a:lnTo>
                    <a:lnTo>
                      <a:pt x="971" y="566"/>
                    </a:lnTo>
                    <a:lnTo>
                      <a:pt x="972" y="563"/>
                    </a:lnTo>
                    <a:lnTo>
                      <a:pt x="974" y="553"/>
                    </a:lnTo>
                    <a:lnTo>
                      <a:pt x="981" y="551"/>
                    </a:lnTo>
                    <a:lnTo>
                      <a:pt x="981" y="546"/>
                    </a:lnTo>
                    <a:lnTo>
                      <a:pt x="977" y="546"/>
                    </a:lnTo>
                    <a:lnTo>
                      <a:pt x="976" y="546"/>
                    </a:lnTo>
                    <a:lnTo>
                      <a:pt x="976" y="543"/>
                    </a:lnTo>
                    <a:lnTo>
                      <a:pt x="979" y="540"/>
                    </a:lnTo>
                    <a:lnTo>
                      <a:pt x="979" y="532"/>
                    </a:lnTo>
                    <a:lnTo>
                      <a:pt x="977" y="530"/>
                    </a:lnTo>
                    <a:lnTo>
                      <a:pt x="976" y="525"/>
                    </a:lnTo>
                    <a:lnTo>
                      <a:pt x="976" y="523"/>
                    </a:lnTo>
                    <a:lnTo>
                      <a:pt x="977" y="517"/>
                    </a:lnTo>
                    <a:lnTo>
                      <a:pt x="974" y="517"/>
                    </a:lnTo>
                    <a:lnTo>
                      <a:pt x="969" y="512"/>
                    </a:lnTo>
                    <a:lnTo>
                      <a:pt x="962" y="513"/>
                    </a:lnTo>
                    <a:lnTo>
                      <a:pt x="961" y="518"/>
                    </a:lnTo>
                    <a:lnTo>
                      <a:pt x="966" y="522"/>
                    </a:lnTo>
                    <a:lnTo>
                      <a:pt x="966" y="525"/>
                    </a:lnTo>
                    <a:lnTo>
                      <a:pt x="967" y="528"/>
                    </a:lnTo>
                    <a:lnTo>
                      <a:pt x="967" y="532"/>
                    </a:lnTo>
                    <a:lnTo>
                      <a:pt x="964" y="532"/>
                    </a:lnTo>
                    <a:lnTo>
                      <a:pt x="962" y="527"/>
                    </a:lnTo>
                    <a:lnTo>
                      <a:pt x="961" y="527"/>
                    </a:lnTo>
                    <a:lnTo>
                      <a:pt x="957" y="532"/>
                    </a:lnTo>
                    <a:lnTo>
                      <a:pt x="961" y="533"/>
                    </a:lnTo>
                    <a:lnTo>
                      <a:pt x="961" y="537"/>
                    </a:lnTo>
                    <a:lnTo>
                      <a:pt x="962" y="541"/>
                    </a:lnTo>
                    <a:lnTo>
                      <a:pt x="961" y="543"/>
                    </a:lnTo>
                    <a:lnTo>
                      <a:pt x="961" y="541"/>
                    </a:lnTo>
                    <a:lnTo>
                      <a:pt x="957" y="540"/>
                    </a:lnTo>
                    <a:lnTo>
                      <a:pt x="957" y="545"/>
                    </a:lnTo>
                    <a:lnTo>
                      <a:pt x="952" y="541"/>
                    </a:lnTo>
                    <a:lnTo>
                      <a:pt x="952" y="538"/>
                    </a:lnTo>
                    <a:lnTo>
                      <a:pt x="949" y="540"/>
                    </a:lnTo>
                    <a:lnTo>
                      <a:pt x="947" y="543"/>
                    </a:lnTo>
                    <a:lnTo>
                      <a:pt x="946" y="543"/>
                    </a:lnTo>
                    <a:lnTo>
                      <a:pt x="946" y="538"/>
                    </a:lnTo>
                    <a:lnTo>
                      <a:pt x="947" y="535"/>
                    </a:lnTo>
                    <a:lnTo>
                      <a:pt x="947" y="535"/>
                    </a:lnTo>
                    <a:lnTo>
                      <a:pt x="941" y="537"/>
                    </a:lnTo>
                    <a:lnTo>
                      <a:pt x="936" y="541"/>
                    </a:lnTo>
                    <a:lnTo>
                      <a:pt x="932" y="537"/>
                    </a:lnTo>
                    <a:lnTo>
                      <a:pt x="929" y="537"/>
                    </a:lnTo>
                    <a:lnTo>
                      <a:pt x="926" y="540"/>
                    </a:lnTo>
                    <a:lnTo>
                      <a:pt x="921" y="540"/>
                    </a:lnTo>
                    <a:lnTo>
                      <a:pt x="919" y="537"/>
                    </a:lnTo>
                    <a:lnTo>
                      <a:pt x="914" y="538"/>
                    </a:lnTo>
                    <a:lnTo>
                      <a:pt x="911" y="537"/>
                    </a:lnTo>
                    <a:lnTo>
                      <a:pt x="916" y="533"/>
                    </a:lnTo>
                    <a:lnTo>
                      <a:pt x="921" y="532"/>
                    </a:lnTo>
                    <a:lnTo>
                      <a:pt x="924" y="533"/>
                    </a:lnTo>
                    <a:lnTo>
                      <a:pt x="929" y="532"/>
                    </a:lnTo>
                    <a:lnTo>
                      <a:pt x="931" y="528"/>
                    </a:lnTo>
                    <a:lnTo>
                      <a:pt x="934" y="528"/>
                    </a:lnTo>
                    <a:lnTo>
                      <a:pt x="937" y="528"/>
                    </a:lnTo>
                    <a:lnTo>
                      <a:pt x="941" y="525"/>
                    </a:lnTo>
                    <a:lnTo>
                      <a:pt x="941" y="522"/>
                    </a:lnTo>
                    <a:lnTo>
                      <a:pt x="942" y="518"/>
                    </a:lnTo>
                    <a:lnTo>
                      <a:pt x="939" y="517"/>
                    </a:lnTo>
                    <a:lnTo>
                      <a:pt x="936" y="510"/>
                    </a:lnTo>
                    <a:lnTo>
                      <a:pt x="929" y="508"/>
                    </a:lnTo>
                    <a:lnTo>
                      <a:pt x="929" y="505"/>
                    </a:lnTo>
                    <a:lnTo>
                      <a:pt x="922" y="498"/>
                    </a:lnTo>
                    <a:lnTo>
                      <a:pt x="921" y="497"/>
                    </a:lnTo>
                    <a:lnTo>
                      <a:pt x="917" y="497"/>
                    </a:lnTo>
                    <a:lnTo>
                      <a:pt x="911" y="500"/>
                    </a:lnTo>
                    <a:lnTo>
                      <a:pt x="909" y="500"/>
                    </a:lnTo>
                    <a:lnTo>
                      <a:pt x="901" y="507"/>
                    </a:lnTo>
                    <a:lnTo>
                      <a:pt x="902" y="508"/>
                    </a:lnTo>
                    <a:lnTo>
                      <a:pt x="902" y="512"/>
                    </a:lnTo>
                    <a:lnTo>
                      <a:pt x="899" y="512"/>
                    </a:lnTo>
                    <a:lnTo>
                      <a:pt x="896" y="513"/>
                    </a:lnTo>
                    <a:lnTo>
                      <a:pt x="896" y="512"/>
                    </a:lnTo>
                    <a:lnTo>
                      <a:pt x="892" y="513"/>
                    </a:lnTo>
                    <a:lnTo>
                      <a:pt x="889" y="510"/>
                    </a:lnTo>
                    <a:lnTo>
                      <a:pt x="884" y="510"/>
                    </a:lnTo>
                    <a:lnTo>
                      <a:pt x="883" y="512"/>
                    </a:lnTo>
                    <a:lnTo>
                      <a:pt x="878" y="512"/>
                    </a:lnTo>
                    <a:lnTo>
                      <a:pt x="876" y="510"/>
                    </a:lnTo>
                    <a:lnTo>
                      <a:pt x="878" y="508"/>
                    </a:lnTo>
                    <a:lnTo>
                      <a:pt x="884" y="508"/>
                    </a:lnTo>
                    <a:lnTo>
                      <a:pt x="886" y="503"/>
                    </a:lnTo>
                    <a:lnTo>
                      <a:pt x="889" y="502"/>
                    </a:lnTo>
                    <a:lnTo>
                      <a:pt x="892" y="503"/>
                    </a:lnTo>
                    <a:lnTo>
                      <a:pt x="896" y="498"/>
                    </a:lnTo>
                    <a:lnTo>
                      <a:pt x="896" y="493"/>
                    </a:lnTo>
                    <a:lnTo>
                      <a:pt x="899" y="492"/>
                    </a:lnTo>
                    <a:lnTo>
                      <a:pt x="902" y="492"/>
                    </a:lnTo>
                    <a:lnTo>
                      <a:pt x="906" y="485"/>
                    </a:lnTo>
                    <a:lnTo>
                      <a:pt x="906" y="478"/>
                    </a:lnTo>
                    <a:lnTo>
                      <a:pt x="906" y="475"/>
                    </a:lnTo>
                    <a:lnTo>
                      <a:pt x="906" y="472"/>
                    </a:lnTo>
                    <a:lnTo>
                      <a:pt x="901" y="472"/>
                    </a:lnTo>
                    <a:lnTo>
                      <a:pt x="894" y="473"/>
                    </a:lnTo>
                    <a:lnTo>
                      <a:pt x="884" y="475"/>
                    </a:lnTo>
                    <a:lnTo>
                      <a:pt x="876" y="478"/>
                    </a:lnTo>
                    <a:lnTo>
                      <a:pt x="858" y="480"/>
                    </a:lnTo>
                    <a:lnTo>
                      <a:pt x="836" y="488"/>
                    </a:lnTo>
                    <a:lnTo>
                      <a:pt x="831" y="493"/>
                    </a:lnTo>
                    <a:lnTo>
                      <a:pt x="818" y="495"/>
                    </a:lnTo>
                    <a:lnTo>
                      <a:pt x="799" y="503"/>
                    </a:lnTo>
                    <a:lnTo>
                      <a:pt x="794" y="508"/>
                    </a:lnTo>
                    <a:lnTo>
                      <a:pt x="793" y="512"/>
                    </a:lnTo>
                    <a:lnTo>
                      <a:pt x="798" y="512"/>
                    </a:lnTo>
                    <a:lnTo>
                      <a:pt x="799" y="513"/>
                    </a:lnTo>
                    <a:lnTo>
                      <a:pt x="794" y="517"/>
                    </a:lnTo>
                    <a:lnTo>
                      <a:pt x="791" y="517"/>
                    </a:lnTo>
                    <a:lnTo>
                      <a:pt x="783" y="523"/>
                    </a:lnTo>
                    <a:lnTo>
                      <a:pt x="776" y="523"/>
                    </a:lnTo>
                    <a:lnTo>
                      <a:pt x="773" y="527"/>
                    </a:lnTo>
                    <a:lnTo>
                      <a:pt x="771" y="530"/>
                    </a:lnTo>
                    <a:lnTo>
                      <a:pt x="765" y="535"/>
                    </a:lnTo>
                    <a:lnTo>
                      <a:pt x="763" y="538"/>
                    </a:lnTo>
                    <a:lnTo>
                      <a:pt x="761" y="543"/>
                    </a:lnTo>
                    <a:lnTo>
                      <a:pt x="765" y="541"/>
                    </a:lnTo>
                    <a:lnTo>
                      <a:pt x="768" y="543"/>
                    </a:lnTo>
                    <a:lnTo>
                      <a:pt x="766" y="546"/>
                    </a:lnTo>
                    <a:lnTo>
                      <a:pt x="768" y="548"/>
                    </a:lnTo>
                    <a:lnTo>
                      <a:pt x="771" y="546"/>
                    </a:lnTo>
                    <a:lnTo>
                      <a:pt x="775" y="545"/>
                    </a:lnTo>
                    <a:lnTo>
                      <a:pt x="780" y="545"/>
                    </a:lnTo>
                    <a:lnTo>
                      <a:pt x="783" y="548"/>
                    </a:lnTo>
                    <a:lnTo>
                      <a:pt x="781" y="551"/>
                    </a:lnTo>
                    <a:lnTo>
                      <a:pt x="776" y="553"/>
                    </a:lnTo>
                    <a:lnTo>
                      <a:pt x="771" y="550"/>
                    </a:lnTo>
                    <a:lnTo>
                      <a:pt x="768" y="551"/>
                    </a:lnTo>
                    <a:lnTo>
                      <a:pt x="768" y="556"/>
                    </a:lnTo>
                    <a:lnTo>
                      <a:pt x="776" y="560"/>
                    </a:lnTo>
                    <a:lnTo>
                      <a:pt x="780" y="558"/>
                    </a:lnTo>
                    <a:lnTo>
                      <a:pt x="781" y="555"/>
                    </a:lnTo>
                    <a:lnTo>
                      <a:pt x="783" y="555"/>
                    </a:lnTo>
                    <a:lnTo>
                      <a:pt x="785" y="556"/>
                    </a:lnTo>
                    <a:lnTo>
                      <a:pt x="783" y="560"/>
                    </a:lnTo>
                    <a:lnTo>
                      <a:pt x="786" y="560"/>
                    </a:lnTo>
                    <a:lnTo>
                      <a:pt x="794" y="561"/>
                    </a:lnTo>
                    <a:lnTo>
                      <a:pt x="803" y="560"/>
                    </a:lnTo>
                    <a:lnTo>
                      <a:pt x="808" y="560"/>
                    </a:lnTo>
                    <a:lnTo>
                      <a:pt x="814" y="561"/>
                    </a:lnTo>
                    <a:lnTo>
                      <a:pt x="819" y="561"/>
                    </a:lnTo>
                    <a:lnTo>
                      <a:pt x="824" y="563"/>
                    </a:lnTo>
                    <a:lnTo>
                      <a:pt x="826" y="566"/>
                    </a:lnTo>
                    <a:lnTo>
                      <a:pt x="829" y="566"/>
                    </a:lnTo>
                    <a:lnTo>
                      <a:pt x="829" y="570"/>
                    </a:lnTo>
                    <a:lnTo>
                      <a:pt x="824" y="570"/>
                    </a:lnTo>
                    <a:lnTo>
                      <a:pt x="818" y="565"/>
                    </a:lnTo>
                    <a:lnTo>
                      <a:pt x="809" y="565"/>
                    </a:lnTo>
                    <a:lnTo>
                      <a:pt x="808" y="566"/>
                    </a:lnTo>
                    <a:lnTo>
                      <a:pt x="813" y="568"/>
                    </a:lnTo>
                    <a:lnTo>
                      <a:pt x="814" y="571"/>
                    </a:lnTo>
                    <a:lnTo>
                      <a:pt x="806" y="571"/>
                    </a:lnTo>
                    <a:lnTo>
                      <a:pt x="803" y="568"/>
                    </a:lnTo>
                    <a:lnTo>
                      <a:pt x="793" y="570"/>
                    </a:lnTo>
                    <a:lnTo>
                      <a:pt x="790" y="571"/>
                    </a:lnTo>
                    <a:lnTo>
                      <a:pt x="786" y="570"/>
                    </a:lnTo>
                    <a:lnTo>
                      <a:pt x="785" y="570"/>
                    </a:lnTo>
                    <a:lnTo>
                      <a:pt x="781" y="571"/>
                    </a:lnTo>
                    <a:lnTo>
                      <a:pt x="776" y="570"/>
                    </a:lnTo>
                    <a:lnTo>
                      <a:pt x="765" y="571"/>
                    </a:lnTo>
                    <a:lnTo>
                      <a:pt x="763" y="573"/>
                    </a:lnTo>
                    <a:lnTo>
                      <a:pt x="755" y="575"/>
                    </a:lnTo>
                    <a:lnTo>
                      <a:pt x="753" y="578"/>
                    </a:lnTo>
                    <a:lnTo>
                      <a:pt x="755" y="591"/>
                    </a:lnTo>
                    <a:lnTo>
                      <a:pt x="755" y="593"/>
                    </a:lnTo>
                    <a:lnTo>
                      <a:pt x="755" y="598"/>
                    </a:lnTo>
                    <a:lnTo>
                      <a:pt x="753" y="598"/>
                    </a:lnTo>
                    <a:lnTo>
                      <a:pt x="755" y="601"/>
                    </a:lnTo>
                    <a:lnTo>
                      <a:pt x="756" y="603"/>
                    </a:lnTo>
                    <a:lnTo>
                      <a:pt x="760" y="603"/>
                    </a:lnTo>
                    <a:lnTo>
                      <a:pt x="763" y="603"/>
                    </a:lnTo>
                    <a:lnTo>
                      <a:pt x="766" y="605"/>
                    </a:lnTo>
                    <a:lnTo>
                      <a:pt x="770" y="605"/>
                    </a:lnTo>
                    <a:lnTo>
                      <a:pt x="771" y="603"/>
                    </a:lnTo>
                    <a:lnTo>
                      <a:pt x="771" y="603"/>
                    </a:lnTo>
                    <a:lnTo>
                      <a:pt x="775" y="605"/>
                    </a:lnTo>
                    <a:lnTo>
                      <a:pt x="776" y="606"/>
                    </a:lnTo>
                    <a:lnTo>
                      <a:pt x="780" y="605"/>
                    </a:lnTo>
                    <a:lnTo>
                      <a:pt x="783" y="608"/>
                    </a:lnTo>
                    <a:lnTo>
                      <a:pt x="783" y="610"/>
                    </a:lnTo>
                    <a:lnTo>
                      <a:pt x="786" y="611"/>
                    </a:lnTo>
                    <a:lnTo>
                      <a:pt x="790" y="610"/>
                    </a:lnTo>
                    <a:lnTo>
                      <a:pt x="793" y="610"/>
                    </a:lnTo>
                    <a:lnTo>
                      <a:pt x="794" y="611"/>
                    </a:lnTo>
                    <a:lnTo>
                      <a:pt x="799" y="611"/>
                    </a:lnTo>
                    <a:lnTo>
                      <a:pt x="803" y="611"/>
                    </a:lnTo>
                    <a:lnTo>
                      <a:pt x="808" y="613"/>
                    </a:lnTo>
                    <a:lnTo>
                      <a:pt x="811" y="611"/>
                    </a:lnTo>
                    <a:lnTo>
                      <a:pt x="814" y="611"/>
                    </a:lnTo>
                    <a:lnTo>
                      <a:pt x="819" y="613"/>
                    </a:lnTo>
                    <a:lnTo>
                      <a:pt x="824" y="611"/>
                    </a:lnTo>
                    <a:lnTo>
                      <a:pt x="828" y="613"/>
                    </a:lnTo>
                    <a:lnTo>
                      <a:pt x="829" y="616"/>
                    </a:lnTo>
                    <a:lnTo>
                      <a:pt x="833" y="615"/>
                    </a:lnTo>
                    <a:lnTo>
                      <a:pt x="834" y="618"/>
                    </a:lnTo>
                    <a:lnTo>
                      <a:pt x="838" y="621"/>
                    </a:lnTo>
                    <a:lnTo>
                      <a:pt x="838" y="623"/>
                    </a:lnTo>
                    <a:lnTo>
                      <a:pt x="839" y="625"/>
                    </a:lnTo>
                    <a:lnTo>
                      <a:pt x="844" y="625"/>
                    </a:lnTo>
                    <a:lnTo>
                      <a:pt x="848" y="626"/>
                    </a:lnTo>
                    <a:lnTo>
                      <a:pt x="848" y="628"/>
                    </a:lnTo>
                    <a:lnTo>
                      <a:pt x="851" y="630"/>
                    </a:lnTo>
                    <a:lnTo>
                      <a:pt x="853" y="633"/>
                    </a:lnTo>
                    <a:lnTo>
                      <a:pt x="853" y="635"/>
                    </a:lnTo>
                    <a:lnTo>
                      <a:pt x="853" y="636"/>
                    </a:lnTo>
                    <a:lnTo>
                      <a:pt x="856" y="641"/>
                    </a:lnTo>
                    <a:lnTo>
                      <a:pt x="863" y="644"/>
                    </a:lnTo>
                    <a:lnTo>
                      <a:pt x="863" y="646"/>
                    </a:lnTo>
                    <a:lnTo>
                      <a:pt x="861" y="648"/>
                    </a:lnTo>
                    <a:lnTo>
                      <a:pt x="863" y="651"/>
                    </a:lnTo>
                    <a:lnTo>
                      <a:pt x="861" y="649"/>
                    </a:lnTo>
                    <a:lnTo>
                      <a:pt x="853" y="648"/>
                    </a:lnTo>
                    <a:lnTo>
                      <a:pt x="844" y="646"/>
                    </a:lnTo>
                    <a:lnTo>
                      <a:pt x="841" y="646"/>
                    </a:lnTo>
                    <a:lnTo>
                      <a:pt x="838" y="646"/>
                    </a:lnTo>
                    <a:lnTo>
                      <a:pt x="836" y="646"/>
                    </a:lnTo>
                    <a:lnTo>
                      <a:pt x="833" y="646"/>
                    </a:lnTo>
                    <a:lnTo>
                      <a:pt x="829" y="643"/>
                    </a:lnTo>
                    <a:lnTo>
                      <a:pt x="826" y="643"/>
                    </a:lnTo>
                    <a:lnTo>
                      <a:pt x="824" y="639"/>
                    </a:lnTo>
                    <a:lnTo>
                      <a:pt x="823" y="638"/>
                    </a:lnTo>
                    <a:lnTo>
                      <a:pt x="816" y="639"/>
                    </a:lnTo>
                    <a:lnTo>
                      <a:pt x="814" y="638"/>
                    </a:lnTo>
                    <a:lnTo>
                      <a:pt x="811" y="636"/>
                    </a:lnTo>
                    <a:lnTo>
                      <a:pt x="806" y="635"/>
                    </a:lnTo>
                    <a:lnTo>
                      <a:pt x="806" y="631"/>
                    </a:lnTo>
                    <a:lnTo>
                      <a:pt x="804" y="631"/>
                    </a:lnTo>
                    <a:lnTo>
                      <a:pt x="801" y="631"/>
                    </a:lnTo>
                    <a:lnTo>
                      <a:pt x="796" y="631"/>
                    </a:lnTo>
                    <a:lnTo>
                      <a:pt x="794" y="630"/>
                    </a:lnTo>
                    <a:lnTo>
                      <a:pt x="783" y="630"/>
                    </a:lnTo>
                    <a:lnTo>
                      <a:pt x="776" y="630"/>
                    </a:lnTo>
                    <a:lnTo>
                      <a:pt x="771" y="628"/>
                    </a:lnTo>
                    <a:lnTo>
                      <a:pt x="753" y="628"/>
                    </a:lnTo>
                    <a:lnTo>
                      <a:pt x="750" y="630"/>
                    </a:lnTo>
                    <a:lnTo>
                      <a:pt x="745" y="631"/>
                    </a:lnTo>
                    <a:lnTo>
                      <a:pt x="741" y="635"/>
                    </a:lnTo>
                    <a:lnTo>
                      <a:pt x="741" y="641"/>
                    </a:lnTo>
                    <a:lnTo>
                      <a:pt x="736" y="646"/>
                    </a:lnTo>
                    <a:lnTo>
                      <a:pt x="738" y="653"/>
                    </a:lnTo>
                    <a:lnTo>
                      <a:pt x="736" y="656"/>
                    </a:lnTo>
                    <a:lnTo>
                      <a:pt x="738" y="658"/>
                    </a:lnTo>
                    <a:lnTo>
                      <a:pt x="741" y="659"/>
                    </a:lnTo>
                    <a:lnTo>
                      <a:pt x="740" y="661"/>
                    </a:lnTo>
                    <a:lnTo>
                      <a:pt x="738" y="663"/>
                    </a:lnTo>
                    <a:lnTo>
                      <a:pt x="741" y="671"/>
                    </a:lnTo>
                    <a:lnTo>
                      <a:pt x="745" y="674"/>
                    </a:lnTo>
                    <a:lnTo>
                      <a:pt x="746" y="676"/>
                    </a:lnTo>
                    <a:lnTo>
                      <a:pt x="753" y="681"/>
                    </a:lnTo>
                    <a:lnTo>
                      <a:pt x="756" y="683"/>
                    </a:lnTo>
                    <a:lnTo>
                      <a:pt x="760" y="681"/>
                    </a:lnTo>
                    <a:lnTo>
                      <a:pt x="761" y="684"/>
                    </a:lnTo>
                    <a:lnTo>
                      <a:pt x="765" y="684"/>
                    </a:lnTo>
                    <a:lnTo>
                      <a:pt x="770" y="683"/>
                    </a:lnTo>
                    <a:lnTo>
                      <a:pt x="773" y="683"/>
                    </a:lnTo>
                    <a:lnTo>
                      <a:pt x="776" y="686"/>
                    </a:lnTo>
                    <a:lnTo>
                      <a:pt x="781" y="686"/>
                    </a:lnTo>
                    <a:lnTo>
                      <a:pt x="785" y="691"/>
                    </a:lnTo>
                    <a:lnTo>
                      <a:pt x="788" y="691"/>
                    </a:lnTo>
                    <a:lnTo>
                      <a:pt x="790" y="694"/>
                    </a:lnTo>
                    <a:lnTo>
                      <a:pt x="783" y="696"/>
                    </a:lnTo>
                    <a:lnTo>
                      <a:pt x="785" y="698"/>
                    </a:lnTo>
                    <a:lnTo>
                      <a:pt x="781" y="701"/>
                    </a:lnTo>
                    <a:lnTo>
                      <a:pt x="783" y="703"/>
                    </a:lnTo>
                    <a:lnTo>
                      <a:pt x="780" y="706"/>
                    </a:lnTo>
                    <a:lnTo>
                      <a:pt x="775" y="708"/>
                    </a:lnTo>
                    <a:lnTo>
                      <a:pt x="775" y="711"/>
                    </a:lnTo>
                    <a:lnTo>
                      <a:pt x="773" y="713"/>
                    </a:lnTo>
                    <a:lnTo>
                      <a:pt x="776" y="716"/>
                    </a:lnTo>
                    <a:lnTo>
                      <a:pt x="776" y="721"/>
                    </a:lnTo>
                    <a:lnTo>
                      <a:pt x="780" y="726"/>
                    </a:lnTo>
                    <a:lnTo>
                      <a:pt x="778" y="728"/>
                    </a:lnTo>
                    <a:lnTo>
                      <a:pt x="773" y="729"/>
                    </a:lnTo>
                    <a:lnTo>
                      <a:pt x="775" y="731"/>
                    </a:lnTo>
                    <a:lnTo>
                      <a:pt x="783" y="733"/>
                    </a:lnTo>
                    <a:lnTo>
                      <a:pt x="786" y="733"/>
                    </a:lnTo>
                    <a:lnTo>
                      <a:pt x="788" y="733"/>
                    </a:lnTo>
                    <a:lnTo>
                      <a:pt x="790" y="734"/>
                    </a:lnTo>
                    <a:lnTo>
                      <a:pt x="791" y="731"/>
                    </a:lnTo>
                    <a:lnTo>
                      <a:pt x="794" y="731"/>
                    </a:lnTo>
                    <a:lnTo>
                      <a:pt x="796" y="733"/>
                    </a:lnTo>
                    <a:lnTo>
                      <a:pt x="803" y="733"/>
                    </a:lnTo>
                    <a:lnTo>
                      <a:pt x="809" y="736"/>
                    </a:lnTo>
                    <a:lnTo>
                      <a:pt x="813" y="733"/>
                    </a:lnTo>
                    <a:lnTo>
                      <a:pt x="819" y="733"/>
                    </a:lnTo>
                    <a:lnTo>
                      <a:pt x="821" y="734"/>
                    </a:lnTo>
                    <a:lnTo>
                      <a:pt x="821" y="734"/>
                    </a:lnTo>
                    <a:lnTo>
                      <a:pt x="823" y="734"/>
                    </a:lnTo>
                    <a:lnTo>
                      <a:pt x="826" y="733"/>
                    </a:lnTo>
                    <a:lnTo>
                      <a:pt x="829" y="734"/>
                    </a:lnTo>
                    <a:lnTo>
                      <a:pt x="829" y="736"/>
                    </a:lnTo>
                    <a:lnTo>
                      <a:pt x="833" y="736"/>
                    </a:lnTo>
                    <a:lnTo>
                      <a:pt x="834" y="734"/>
                    </a:lnTo>
                    <a:lnTo>
                      <a:pt x="836" y="736"/>
                    </a:lnTo>
                    <a:lnTo>
                      <a:pt x="838" y="739"/>
                    </a:lnTo>
                    <a:lnTo>
                      <a:pt x="839" y="739"/>
                    </a:lnTo>
                    <a:lnTo>
                      <a:pt x="841" y="737"/>
                    </a:lnTo>
                    <a:lnTo>
                      <a:pt x="848" y="737"/>
                    </a:lnTo>
                    <a:lnTo>
                      <a:pt x="851" y="734"/>
                    </a:lnTo>
                    <a:lnTo>
                      <a:pt x="854" y="733"/>
                    </a:lnTo>
                    <a:lnTo>
                      <a:pt x="858" y="733"/>
                    </a:lnTo>
                    <a:lnTo>
                      <a:pt x="863" y="729"/>
                    </a:lnTo>
                    <a:lnTo>
                      <a:pt x="869" y="726"/>
                    </a:lnTo>
                    <a:lnTo>
                      <a:pt x="873" y="726"/>
                    </a:lnTo>
                    <a:lnTo>
                      <a:pt x="874" y="724"/>
                    </a:lnTo>
                    <a:lnTo>
                      <a:pt x="878" y="724"/>
                    </a:lnTo>
                    <a:lnTo>
                      <a:pt x="883" y="724"/>
                    </a:lnTo>
                    <a:lnTo>
                      <a:pt x="886" y="724"/>
                    </a:lnTo>
                    <a:lnTo>
                      <a:pt x="888" y="726"/>
                    </a:lnTo>
                    <a:lnTo>
                      <a:pt x="897" y="726"/>
                    </a:lnTo>
                    <a:lnTo>
                      <a:pt x="907" y="719"/>
                    </a:lnTo>
                    <a:lnTo>
                      <a:pt x="909" y="718"/>
                    </a:lnTo>
                    <a:lnTo>
                      <a:pt x="911" y="718"/>
                    </a:lnTo>
                    <a:lnTo>
                      <a:pt x="912" y="718"/>
                    </a:lnTo>
                    <a:lnTo>
                      <a:pt x="914" y="716"/>
                    </a:lnTo>
                    <a:lnTo>
                      <a:pt x="917" y="714"/>
                    </a:lnTo>
                    <a:lnTo>
                      <a:pt x="917" y="711"/>
                    </a:lnTo>
                    <a:lnTo>
                      <a:pt x="919" y="709"/>
                    </a:lnTo>
                    <a:lnTo>
                      <a:pt x="921" y="711"/>
                    </a:lnTo>
                    <a:lnTo>
                      <a:pt x="922" y="709"/>
                    </a:lnTo>
                    <a:lnTo>
                      <a:pt x="924" y="708"/>
                    </a:lnTo>
                    <a:lnTo>
                      <a:pt x="924" y="706"/>
                    </a:lnTo>
                    <a:lnTo>
                      <a:pt x="926" y="706"/>
                    </a:lnTo>
                    <a:lnTo>
                      <a:pt x="929" y="706"/>
                    </a:lnTo>
                    <a:lnTo>
                      <a:pt x="931" y="708"/>
                    </a:lnTo>
                    <a:lnTo>
                      <a:pt x="931" y="711"/>
                    </a:lnTo>
                    <a:lnTo>
                      <a:pt x="932" y="713"/>
                    </a:lnTo>
                    <a:lnTo>
                      <a:pt x="929" y="714"/>
                    </a:lnTo>
                    <a:lnTo>
                      <a:pt x="929" y="718"/>
                    </a:lnTo>
                    <a:lnTo>
                      <a:pt x="926" y="721"/>
                    </a:lnTo>
                    <a:lnTo>
                      <a:pt x="924" y="721"/>
                    </a:lnTo>
                    <a:lnTo>
                      <a:pt x="924" y="723"/>
                    </a:lnTo>
                    <a:lnTo>
                      <a:pt x="927" y="724"/>
                    </a:lnTo>
                    <a:lnTo>
                      <a:pt x="931" y="726"/>
                    </a:lnTo>
                    <a:lnTo>
                      <a:pt x="932" y="726"/>
                    </a:lnTo>
                    <a:lnTo>
                      <a:pt x="936" y="724"/>
                    </a:lnTo>
                    <a:lnTo>
                      <a:pt x="939" y="726"/>
                    </a:lnTo>
                    <a:lnTo>
                      <a:pt x="941" y="731"/>
                    </a:lnTo>
                    <a:lnTo>
                      <a:pt x="942" y="733"/>
                    </a:lnTo>
                    <a:lnTo>
                      <a:pt x="944" y="731"/>
                    </a:lnTo>
                    <a:lnTo>
                      <a:pt x="944" y="729"/>
                    </a:lnTo>
                    <a:lnTo>
                      <a:pt x="947" y="731"/>
                    </a:lnTo>
                    <a:lnTo>
                      <a:pt x="947" y="733"/>
                    </a:lnTo>
                    <a:lnTo>
                      <a:pt x="944" y="736"/>
                    </a:lnTo>
                    <a:lnTo>
                      <a:pt x="941" y="736"/>
                    </a:lnTo>
                    <a:lnTo>
                      <a:pt x="939" y="739"/>
                    </a:lnTo>
                    <a:lnTo>
                      <a:pt x="939" y="741"/>
                    </a:lnTo>
                    <a:lnTo>
                      <a:pt x="942" y="741"/>
                    </a:lnTo>
                    <a:lnTo>
                      <a:pt x="944" y="741"/>
                    </a:lnTo>
                    <a:lnTo>
                      <a:pt x="949" y="744"/>
                    </a:lnTo>
                    <a:lnTo>
                      <a:pt x="951" y="744"/>
                    </a:lnTo>
                    <a:lnTo>
                      <a:pt x="956" y="739"/>
                    </a:lnTo>
                    <a:lnTo>
                      <a:pt x="956" y="739"/>
                    </a:lnTo>
                    <a:lnTo>
                      <a:pt x="956" y="742"/>
                    </a:lnTo>
                    <a:lnTo>
                      <a:pt x="959" y="747"/>
                    </a:lnTo>
                    <a:lnTo>
                      <a:pt x="962" y="747"/>
                    </a:lnTo>
                    <a:lnTo>
                      <a:pt x="964" y="746"/>
                    </a:lnTo>
                    <a:lnTo>
                      <a:pt x="967" y="747"/>
                    </a:lnTo>
                    <a:lnTo>
                      <a:pt x="971" y="749"/>
                    </a:lnTo>
                    <a:lnTo>
                      <a:pt x="974" y="749"/>
                    </a:lnTo>
                    <a:lnTo>
                      <a:pt x="976" y="752"/>
                    </a:lnTo>
                    <a:lnTo>
                      <a:pt x="977" y="752"/>
                    </a:lnTo>
                    <a:lnTo>
                      <a:pt x="977" y="749"/>
                    </a:lnTo>
                    <a:lnTo>
                      <a:pt x="979" y="749"/>
                    </a:lnTo>
                    <a:lnTo>
                      <a:pt x="982" y="747"/>
                    </a:lnTo>
                    <a:lnTo>
                      <a:pt x="984" y="749"/>
                    </a:lnTo>
                    <a:lnTo>
                      <a:pt x="984" y="752"/>
                    </a:lnTo>
                    <a:lnTo>
                      <a:pt x="986" y="752"/>
                    </a:lnTo>
                    <a:lnTo>
                      <a:pt x="989" y="752"/>
                    </a:lnTo>
                    <a:lnTo>
                      <a:pt x="992" y="749"/>
                    </a:lnTo>
                    <a:lnTo>
                      <a:pt x="994" y="749"/>
                    </a:lnTo>
                    <a:lnTo>
                      <a:pt x="995" y="752"/>
                    </a:lnTo>
                    <a:lnTo>
                      <a:pt x="997" y="752"/>
                    </a:lnTo>
                    <a:lnTo>
                      <a:pt x="999" y="751"/>
                    </a:lnTo>
                    <a:lnTo>
                      <a:pt x="999" y="749"/>
                    </a:lnTo>
                    <a:lnTo>
                      <a:pt x="1002" y="747"/>
                    </a:lnTo>
                    <a:lnTo>
                      <a:pt x="1005" y="747"/>
                    </a:lnTo>
                    <a:lnTo>
                      <a:pt x="1007" y="749"/>
                    </a:lnTo>
                    <a:lnTo>
                      <a:pt x="1009" y="749"/>
                    </a:lnTo>
                    <a:lnTo>
                      <a:pt x="1010" y="749"/>
                    </a:lnTo>
                    <a:lnTo>
                      <a:pt x="1010" y="749"/>
                    </a:lnTo>
                    <a:close/>
                    <a:moveTo>
                      <a:pt x="1462" y="904"/>
                    </a:moveTo>
                    <a:lnTo>
                      <a:pt x="1464" y="899"/>
                    </a:lnTo>
                    <a:lnTo>
                      <a:pt x="1462" y="897"/>
                    </a:lnTo>
                    <a:lnTo>
                      <a:pt x="1464" y="892"/>
                    </a:lnTo>
                    <a:lnTo>
                      <a:pt x="1464" y="887"/>
                    </a:lnTo>
                    <a:lnTo>
                      <a:pt x="1471" y="882"/>
                    </a:lnTo>
                    <a:lnTo>
                      <a:pt x="1472" y="877"/>
                    </a:lnTo>
                    <a:lnTo>
                      <a:pt x="1476" y="874"/>
                    </a:lnTo>
                    <a:lnTo>
                      <a:pt x="1484" y="865"/>
                    </a:lnTo>
                    <a:lnTo>
                      <a:pt x="1487" y="862"/>
                    </a:lnTo>
                    <a:lnTo>
                      <a:pt x="1490" y="862"/>
                    </a:lnTo>
                    <a:lnTo>
                      <a:pt x="1492" y="860"/>
                    </a:lnTo>
                    <a:lnTo>
                      <a:pt x="1495" y="862"/>
                    </a:lnTo>
                    <a:lnTo>
                      <a:pt x="1499" y="859"/>
                    </a:lnTo>
                    <a:lnTo>
                      <a:pt x="1504" y="860"/>
                    </a:lnTo>
                    <a:lnTo>
                      <a:pt x="1507" y="864"/>
                    </a:lnTo>
                    <a:lnTo>
                      <a:pt x="1509" y="864"/>
                    </a:lnTo>
                    <a:lnTo>
                      <a:pt x="1512" y="867"/>
                    </a:lnTo>
                    <a:lnTo>
                      <a:pt x="1514" y="872"/>
                    </a:lnTo>
                    <a:lnTo>
                      <a:pt x="1514" y="875"/>
                    </a:lnTo>
                    <a:lnTo>
                      <a:pt x="1510" y="877"/>
                    </a:lnTo>
                    <a:lnTo>
                      <a:pt x="1509" y="882"/>
                    </a:lnTo>
                    <a:lnTo>
                      <a:pt x="1507" y="887"/>
                    </a:lnTo>
                    <a:lnTo>
                      <a:pt x="1502" y="895"/>
                    </a:lnTo>
                    <a:lnTo>
                      <a:pt x="1499" y="899"/>
                    </a:lnTo>
                    <a:lnTo>
                      <a:pt x="1495" y="900"/>
                    </a:lnTo>
                    <a:lnTo>
                      <a:pt x="1489" y="902"/>
                    </a:lnTo>
                    <a:lnTo>
                      <a:pt x="1489" y="904"/>
                    </a:lnTo>
                    <a:lnTo>
                      <a:pt x="1485" y="904"/>
                    </a:lnTo>
                    <a:lnTo>
                      <a:pt x="1479" y="907"/>
                    </a:lnTo>
                    <a:lnTo>
                      <a:pt x="1477" y="905"/>
                    </a:lnTo>
                    <a:lnTo>
                      <a:pt x="1471" y="905"/>
                    </a:lnTo>
                    <a:lnTo>
                      <a:pt x="1466" y="905"/>
                    </a:lnTo>
                    <a:lnTo>
                      <a:pt x="1464" y="905"/>
                    </a:lnTo>
                    <a:lnTo>
                      <a:pt x="1462" y="904"/>
                    </a:lnTo>
                    <a:lnTo>
                      <a:pt x="1462" y="904"/>
                    </a:lnTo>
                    <a:close/>
                    <a:moveTo>
                      <a:pt x="1034" y="736"/>
                    </a:moveTo>
                    <a:lnTo>
                      <a:pt x="1032" y="733"/>
                    </a:lnTo>
                    <a:lnTo>
                      <a:pt x="1034" y="731"/>
                    </a:lnTo>
                    <a:lnTo>
                      <a:pt x="1037" y="729"/>
                    </a:lnTo>
                    <a:lnTo>
                      <a:pt x="1034" y="726"/>
                    </a:lnTo>
                    <a:lnTo>
                      <a:pt x="1035" y="724"/>
                    </a:lnTo>
                    <a:lnTo>
                      <a:pt x="1037" y="724"/>
                    </a:lnTo>
                    <a:lnTo>
                      <a:pt x="1037" y="726"/>
                    </a:lnTo>
                    <a:lnTo>
                      <a:pt x="1040" y="729"/>
                    </a:lnTo>
                    <a:lnTo>
                      <a:pt x="1040" y="731"/>
                    </a:lnTo>
                    <a:lnTo>
                      <a:pt x="1039" y="734"/>
                    </a:lnTo>
                    <a:lnTo>
                      <a:pt x="1037" y="733"/>
                    </a:lnTo>
                    <a:lnTo>
                      <a:pt x="1035" y="736"/>
                    </a:lnTo>
                    <a:lnTo>
                      <a:pt x="1034" y="736"/>
                    </a:lnTo>
                    <a:lnTo>
                      <a:pt x="1034" y="736"/>
                    </a:lnTo>
                    <a:close/>
                    <a:moveTo>
                      <a:pt x="992" y="769"/>
                    </a:moveTo>
                    <a:lnTo>
                      <a:pt x="995" y="767"/>
                    </a:lnTo>
                    <a:lnTo>
                      <a:pt x="997" y="764"/>
                    </a:lnTo>
                    <a:lnTo>
                      <a:pt x="997" y="762"/>
                    </a:lnTo>
                    <a:lnTo>
                      <a:pt x="997" y="759"/>
                    </a:lnTo>
                    <a:lnTo>
                      <a:pt x="995" y="759"/>
                    </a:lnTo>
                    <a:lnTo>
                      <a:pt x="992" y="761"/>
                    </a:lnTo>
                    <a:lnTo>
                      <a:pt x="992" y="762"/>
                    </a:lnTo>
                    <a:lnTo>
                      <a:pt x="987" y="762"/>
                    </a:lnTo>
                    <a:lnTo>
                      <a:pt x="986" y="764"/>
                    </a:lnTo>
                    <a:lnTo>
                      <a:pt x="989" y="767"/>
                    </a:lnTo>
                    <a:lnTo>
                      <a:pt x="992" y="769"/>
                    </a:lnTo>
                    <a:lnTo>
                      <a:pt x="992" y="769"/>
                    </a:lnTo>
                    <a:close/>
                    <a:moveTo>
                      <a:pt x="1040" y="761"/>
                    </a:moveTo>
                    <a:lnTo>
                      <a:pt x="1035" y="764"/>
                    </a:lnTo>
                    <a:lnTo>
                      <a:pt x="1035" y="766"/>
                    </a:lnTo>
                    <a:lnTo>
                      <a:pt x="1034" y="769"/>
                    </a:lnTo>
                    <a:lnTo>
                      <a:pt x="1030" y="764"/>
                    </a:lnTo>
                    <a:lnTo>
                      <a:pt x="1030" y="762"/>
                    </a:lnTo>
                    <a:lnTo>
                      <a:pt x="1035" y="756"/>
                    </a:lnTo>
                    <a:lnTo>
                      <a:pt x="1034" y="752"/>
                    </a:lnTo>
                    <a:lnTo>
                      <a:pt x="1037" y="751"/>
                    </a:lnTo>
                    <a:lnTo>
                      <a:pt x="1040" y="751"/>
                    </a:lnTo>
                    <a:lnTo>
                      <a:pt x="1040" y="754"/>
                    </a:lnTo>
                    <a:lnTo>
                      <a:pt x="1044" y="757"/>
                    </a:lnTo>
                    <a:lnTo>
                      <a:pt x="1040" y="761"/>
                    </a:lnTo>
                    <a:lnTo>
                      <a:pt x="1040" y="761"/>
                    </a:lnTo>
                    <a:close/>
                    <a:moveTo>
                      <a:pt x="1045" y="756"/>
                    </a:moveTo>
                    <a:lnTo>
                      <a:pt x="1045" y="752"/>
                    </a:lnTo>
                    <a:lnTo>
                      <a:pt x="1044" y="751"/>
                    </a:lnTo>
                    <a:lnTo>
                      <a:pt x="1047" y="746"/>
                    </a:lnTo>
                    <a:lnTo>
                      <a:pt x="1049" y="746"/>
                    </a:lnTo>
                    <a:lnTo>
                      <a:pt x="1052" y="749"/>
                    </a:lnTo>
                    <a:lnTo>
                      <a:pt x="1049" y="752"/>
                    </a:lnTo>
                    <a:lnTo>
                      <a:pt x="1049" y="756"/>
                    </a:lnTo>
                    <a:lnTo>
                      <a:pt x="1049" y="756"/>
                    </a:lnTo>
                    <a:lnTo>
                      <a:pt x="1045" y="756"/>
                    </a:lnTo>
                    <a:lnTo>
                      <a:pt x="1045" y="756"/>
                    </a:lnTo>
                    <a:close/>
                    <a:moveTo>
                      <a:pt x="1135" y="757"/>
                    </a:moveTo>
                    <a:lnTo>
                      <a:pt x="1138" y="751"/>
                    </a:lnTo>
                    <a:lnTo>
                      <a:pt x="1143" y="746"/>
                    </a:lnTo>
                    <a:lnTo>
                      <a:pt x="1148" y="747"/>
                    </a:lnTo>
                    <a:lnTo>
                      <a:pt x="1148" y="751"/>
                    </a:lnTo>
                    <a:lnTo>
                      <a:pt x="1143" y="759"/>
                    </a:lnTo>
                    <a:lnTo>
                      <a:pt x="1140" y="759"/>
                    </a:lnTo>
                    <a:lnTo>
                      <a:pt x="1142" y="756"/>
                    </a:lnTo>
                    <a:lnTo>
                      <a:pt x="1142" y="752"/>
                    </a:lnTo>
                    <a:lnTo>
                      <a:pt x="1140" y="754"/>
                    </a:lnTo>
                    <a:lnTo>
                      <a:pt x="1138" y="757"/>
                    </a:lnTo>
                    <a:lnTo>
                      <a:pt x="1138" y="757"/>
                    </a:lnTo>
                    <a:lnTo>
                      <a:pt x="1135" y="757"/>
                    </a:lnTo>
                    <a:lnTo>
                      <a:pt x="1135" y="757"/>
                    </a:lnTo>
                    <a:close/>
                    <a:moveTo>
                      <a:pt x="1132" y="752"/>
                    </a:moveTo>
                    <a:lnTo>
                      <a:pt x="1133" y="752"/>
                    </a:lnTo>
                    <a:lnTo>
                      <a:pt x="1137" y="747"/>
                    </a:lnTo>
                    <a:lnTo>
                      <a:pt x="1133" y="742"/>
                    </a:lnTo>
                    <a:lnTo>
                      <a:pt x="1132" y="746"/>
                    </a:lnTo>
                    <a:lnTo>
                      <a:pt x="1132" y="752"/>
                    </a:lnTo>
                    <a:lnTo>
                      <a:pt x="1132" y="752"/>
                    </a:lnTo>
                    <a:close/>
                    <a:moveTo>
                      <a:pt x="1128" y="789"/>
                    </a:moveTo>
                    <a:lnTo>
                      <a:pt x="1130" y="787"/>
                    </a:lnTo>
                    <a:lnTo>
                      <a:pt x="1137" y="784"/>
                    </a:lnTo>
                    <a:lnTo>
                      <a:pt x="1138" y="781"/>
                    </a:lnTo>
                    <a:lnTo>
                      <a:pt x="1132" y="782"/>
                    </a:lnTo>
                    <a:lnTo>
                      <a:pt x="1130" y="779"/>
                    </a:lnTo>
                    <a:lnTo>
                      <a:pt x="1135" y="769"/>
                    </a:lnTo>
                    <a:lnTo>
                      <a:pt x="1137" y="766"/>
                    </a:lnTo>
                    <a:lnTo>
                      <a:pt x="1130" y="767"/>
                    </a:lnTo>
                    <a:lnTo>
                      <a:pt x="1127" y="774"/>
                    </a:lnTo>
                    <a:lnTo>
                      <a:pt x="1127" y="771"/>
                    </a:lnTo>
                    <a:lnTo>
                      <a:pt x="1130" y="761"/>
                    </a:lnTo>
                    <a:lnTo>
                      <a:pt x="1128" y="746"/>
                    </a:lnTo>
                    <a:lnTo>
                      <a:pt x="1122" y="741"/>
                    </a:lnTo>
                    <a:lnTo>
                      <a:pt x="1122" y="737"/>
                    </a:lnTo>
                    <a:lnTo>
                      <a:pt x="1117" y="737"/>
                    </a:lnTo>
                    <a:lnTo>
                      <a:pt x="1113" y="741"/>
                    </a:lnTo>
                    <a:lnTo>
                      <a:pt x="1113" y="736"/>
                    </a:lnTo>
                    <a:lnTo>
                      <a:pt x="1117" y="734"/>
                    </a:lnTo>
                    <a:lnTo>
                      <a:pt x="1115" y="729"/>
                    </a:lnTo>
                    <a:lnTo>
                      <a:pt x="1115" y="726"/>
                    </a:lnTo>
                    <a:lnTo>
                      <a:pt x="1115" y="721"/>
                    </a:lnTo>
                    <a:lnTo>
                      <a:pt x="1108" y="723"/>
                    </a:lnTo>
                    <a:lnTo>
                      <a:pt x="1102" y="728"/>
                    </a:lnTo>
                    <a:lnTo>
                      <a:pt x="1098" y="736"/>
                    </a:lnTo>
                    <a:lnTo>
                      <a:pt x="1100" y="742"/>
                    </a:lnTo>
                    <a:lnTo>
                      <a:pt x="1097" y="741"/>
                    </a:lnTo>
                    <a:lnTo>
                      <a:pt x="1095" y="736"/>
                    </a:lnTo>
                    <a:lnTo>
                      <a:pt x="1093" y="736"/>
                    </a:lnTo>
                    <a:lnTo>
                      <a:pt x="1092" y="741"/>
                    </a:lnTo>
                    <a:lnTo>
                      <a:pt x="1088" y="741"/>
                    </a:lnTo>
                    <a:lnTo>
                      <a:pt x="1092" y="744"/>
                    </a:lnTo>
                    <a:lnTo>
                      <a:pt x="1088" y="747"/>
                    </a:lnTo>
                    <a:lnTo>
                      <a:pt x="1085" y="747"/>
                    </a:lnTo>
                    <a:lnTo>
                      <a:pt x="1082" y="752"/>
                    </a:lnTo>
                    <a:lnTo>
                      <a:pt x="1074" y="751"/>
                    </a:lnTo>
                    <a:lnTo>
                      <a:pt x="1070" y="752"/>
                    </a:lnTo>
                    <a:lnTo>
                      <a:pt x="1067" y="752"/>
                    </a:lnTo>
                    <a:lnTo>
                      <a:pt x="1057" y="757"/>
                    </a:lnTo>
                    <a:lnTo>
                      <a:pt x="1059" y="762"/>
                    </a:lnTo>
                    <a:lnTo>
                      <a:pt x="1062" y="767"/>
                    </a:lnTo>
                    <a:lnTo>
                      <a:pt x="1067" y="766"/>
                    </a:lnTo>
                    <a:lnTo>
                      <a:pt x="1065" y="764"/>
                    </a:lnTo>
                    <a:lnTo>
                      <a:pt x="1067" y="761"/>
                    </a:lnTo>
                    <a:lnTo>
                      <a:pt x="1072" y="764"/>
                    </a:lnTo>
                    <a:lnTo>
                      <a:pt x="1070" y="769"/>
                    </a:lnTo>
                    <a:lnTo>
                      <a:pt x="1075" y="774"/>
                    </a:lnTo>
                    <a:lnTo>
                      <a:pt x="1079" y="769"/>
                    </a:lnTo>
                    <a:lnTo>
                      <a:pt x="1080" y="772"/>
                    </a:lnTo>
                    <a:lnTo>
                      <a:pt x="1079" y="776"/>
                    </a:lnTo>
                    <a:lnTo>
                      <a:pt x="1084" y="781"/>
                    </a:lnTo>
                    <a:lnTo>
                      <a:pt x="1088" y="782"/>
                    </a:lnTo>
                    <a:lnTo>
                      <a:pt x="1090" y="789"/>
                    </a:lnTo>
                    <a:lnTo>
                      <a:pt x="1093" y="792"/>
                    </a:lnTo>
                    <a:lnTo>
                      <a:pt x="1098" y="787"/>
                    </a:lnTo>
                    <a:lnTo>
                      <a:pt x="1098" y="791"/>
                    </a:lnTo>
                    <a:lnTo>
                      <a:pt x="1105" y="796"/>
                    </a:lnTo>
                    <a:lnTo>
                      <a:pt x="1108" y="796"/>
                    </a:lnTo>
                    <a:lnTo>
                      <a:pt x="1112" y="796"/>
                    </a:lnTo>
                    <a:lnTo>
                      <a:pt x="1117" y="791"/>
                    </a:lnTo>
                    <a:lnTo>
                      <a:pt x="1120" y="791"/>
                    </a:lnTo>
                    <a:lnTo>
                      <a:pt x="1127" y="786"/>
                    </a:lnTo>
                    <a:lnTo>
                      <a:pt x="1128" y="789"/>
                    </a:lnTo>
                    <a:lnTo>
                      <a:pt x="1128" y="789"/>
                    </a:lnTo>
                    <a:close/>
                    <a:moveTo>
                      <a:pt x="1623" y="759"/>
                    </a:moveTo>
                    <a:lnTo>
                      <a:pt x="1623" y="756"/>
                    </a:lnTo>
                    <a:lnTo>
                      <a:pt x="1622" y="754"/>
                    </a:lnTo>
                    <a:lnTo>
                      <a:pt x="1623" y="751"/>
                    </a:lnTo>
                    <a:lnTo>
                      <a:pt x="1628" y="747"/>
                    </a:lnTo>
                    <a:lnTo>
                      <a:pt x="1632" y="749"/>
                    </a:lnTo>
                    <a:lnTo>
                      <a:pt x="1633" y="752"/>
                    </a:lnTo>
                    <a:lnTo>
                      <a:pt x="1637" y="752"/>
                    </a:lnTo>
                    <a:lnTo>
                      <a:pt x="1638" y="754"/>
                    </a:lnTo>
                    <a:lnTo>
                      <a:pt x="1635" y="757"/>
                    </a:lnTo>
                    <a:lnTo>
                      <a:pt x="1632" y="757"/>
                    </a:lnTo>
                    <a:lnTo>
                      <a:pt x="1630" y="757"/>
                    </a:lnTo>
                    <a:lnTo>
                      <a:pt x="1627" y="757"/>
                    </a:lnTo>
                    <a:lnTo>
                      <a:pt x="1625" y="761"/>
                    </a:lnTo>
                    <a:lnTo>
                      <a:pt x="1625" y="761"/>
                    </a:lnTo>
                    <a:lnTo>
                      <a:pt x="1623" y="759"/>
                    </a:lnTo>
                    <a:lnTo>
                      <a:pt x="1623" y="759"/>
                    </a:lnTo>
                    <a:close/>
                    <a:moveTo>
                      <a:pt x="1613" y="1143"/>
                    </a:moveTo>
                    <a:lnTo>
                      <a:pt x="1608" y="1143"/>
                    </a:lnTo>
                    <a:lnTo>
                      <a:pt x="1603" y="1141"/>
                    </a:lnTo>
                    <a:lnTo>
                      <a:pt x="1597" y="1138"/>
                    </a:lnTo>
                    <a:lnTo>
                      <a:pt x="1593" y="1136"/>
                    </a:lnTo>
                    <a:lnTo>
                      <a:pt x="1590" y="1136"/>
                    </a:lnTo>
                    <a:lnTo>
                      <a:pt x="1583" y="1131"/>
                    </a:lnTo>
                    <a:lnTo>
                      <a:pt x="1582" y="1128"/>
                    </a:lnTo>
                    <a:lnTo>
                      <a:pt x="1579" y="1126"/>
                    </a:lnTo>
                    <a:lnTo>
                      <a:pt x="1575" y="1126"/>
                    </a:lnTo>
                    <a:lnTo>
                      <a:pt x="1574" y="1126"/>
                    </a:lnTo>
                    <a:lnTo>
                      <a:pt x="1572" y="1126"/>
                    </a:lnTo>
                    <a:lnTo>
                      <a:pt x="1564" y="1125"/>
                    </a:lnTo>
                    <a:lnTo>
                      <a:pt x="1564" y="1121"/>
                    </a:lnTo>
                    <a:lnTo>
                      <a:pt x="1560" y="1120"/>
                    </a:lnTo>
                    <a:lnTo>
                      <a:pt x="1557" y="1120"/>
                    </a:lnTo>
                    <a:lnTo>
                      <a:pt x="1552" y="1115"/>
                    </a:lnTo>
                    <a:lnTo>
                      <a:pt x="1552" y="1111"/>
                    </a:lnTo>
                    <a:lnTo>
                      <a:pt x="1550" y="1111"/>
                    </a:lnTo>
                    <a:lnTo>
                      <a:pt x="1547" y="1110"/>
                    </a:lnTo>
                    <a:lnTo>
                      <a:pt x="1545" y="1106"/>
                    </a:lnTo>
                    <a:lnTo>
                      <a:pt x="1547" y="1105"/>
                    </a:lnTo>
                    <a:lnTo>
                      <a:pt x="1550" y="1103"/>
                    </a:lnTo>
                    <a:lnTo>
                      <a:pt x="1545" y="1101"/>
                    </a:lnTo>
                    <a:lnTo>
                      <a:pt x="1544" y="1103"/>
                    </a:lnTo>
                    <a:lnTo>
                      <a:pt x="1542" y="1105"/>
                    </a:lnTo>
                    <a:lnTo>
                      <a:pt x="1540" y="1103"/>
                    </a:lnTo>
                    <a:lnTo>
                      <a:pt x="1540" y="1101"/>
                    </a:lnTo>
                    <a:lnTo>
                      <a:pt x="1535" y="1101"/>
                    </a:lnTo>
                    <a:lnTo>
                      <a:pt x="1529" y="1096"/>
                    </a:lnTo>
                    <a:lnTo>
                      <a:pt x="1525" y="1096"/>
                    </a:lnTo>
                    <a:lnTo>
                      <a:pt x="1524" y="1095"/>
                    </a:lnTo>
                    <a:lnTo>
                      <a:pt x="1519" y="1091"/>
                    </a:lnTo>
                    <a:lnTo>
                      <a:pt x="1519" y="1088"/>
                    </a:lnTo>
                    <a:lnTo>
                      <a:pt x="1515" y="1088"/>
                    </a:lnTo>
                    <a:lnTo>
                      <a:pt x="1514" y="1085"/>
                    </a:lnTo>
                    <a:lnTo>
                      <a:pt x="1510" y="1081"/>
                    </a:lnTo>
                    <a:lnTo>
                      <a:pt x="1510" y="1076"/>
                    </a:lnTo>
                    <a:lnTo>
                      <a:pt x="1505" y="1075"/>
                    </a:lnTo>
                    <a:lnTo>
                      <a:pt x="1507" y="1073"/>
                    </a:lnTo>
                    <a:lnTo>
                      <a:pt x="1514" y="1073"/>
                    </a:lnTo>
                    <a:lnTo>
                      <a:pt x="1522" y="1068"/>
                    </a:lnTo>
                    <a:lnTo>
                      <a:pt x="1524" y="1065"/>
                    </a:lnTo>
                    <a:lnTo>
                      <a:pt x="1517" y="1066"/>
                    </a:lnTo>
                    <a:lnTo>
                      <a:pt x="1514" y="1061"/>
                    </a:lnTo>
                    <a:lnTo>
                      <a:pt x="1512" y="1056"/>
                    </a:lnTo>
                    <a:lnTo>
                      <a:pt x="1514" y="1055"/>
                    </a:lnTo>
                    <a:lnTo>
                      <a:pt x="1510" y="1056"/>
                    </a:lnTo>
                    <a:lnTo>
                      <a:pt x="1509" y="1060"/>
                    </a:lnTo>
                    <a:lnTo>
                      <a:pt x="1507" y="1063"/>
                    </a:lnTo>
                    <a:lnTo>
                      <a:pt x="1504" y="1060"/>
                    </a:lnTo>
                    <a:lnTo>
                      <a:pt x="1507" y="1056"/>
                    </a:lnTo>
                    <a:lnTo>
                      <a:pt x="1507" y="1050"/>
                    </a:lnTo>
                    <a:lnTo>
                      <a:pt x="1504" y="1055"/>
                    </a:lnTo>
                    <a:lnTo>
                      <a:pt x="1502" y="1053"/>
                    </a:lnTo>
                    <a:lnTo>
                      <a:pt x="1502" y="1048"/>
                    </a:lnTo>
                    <a:lnTo>
                      <a:pt x="1499" y="1048"/>
                    </a:lnTo>
                    <a:lnTo>
                      <a:pt x="1497" y="1045"/>
                    </a:lnTo>
                    <a:lnTo>
                      <a:pt x="1497" y="1041"/>
                    </a:lnTo>
                    <a:lnTo>
                      <a:pt x="1495" y="1035"/>
                    </a:lnTo>
                    <a:lnTo>
                      <a:pt x="1492" y="1033"/>
                    </a:lnTo>
                    <a:lnTo>
                      <a:pt x="1492" y="1030"/>
                    </a:lnTo>
                    <a:lnTo>
                      <a:pt x="1497" y="1025"/>
                    </a:lnTo>
                    <a:lnTo>
                      <a:pt x="1495" y="1023"/>
                    </a:lnTo>
                    <a:lnTo>
                      <a:pt x="1487" y="1030"/>
                    </a:lnTo>
                    <a:lnTo>
                      <a:pt x="1487" y="1033"/>
                    </a:lnTo>
                    <a:lnTo>
                      <a:pt x="1485" y="1030"/>
                    </a:lnTo>
                    <a:lnTo>
                      <a:pt x="1489" y="1025"/>
                    </a:lnTo>
                    <a:lnTo>
                      <a:pt x="1485" y="1025"/>
                    </a:lnTo>
                    <a:lnTo>
                      <a:pt x="1482" y="1025"/>
                    </a:lnTo>
                    <a:lnTo>
                      <a:pt x="1482" y="1025"/>
                    </a:lnTo>
                    <a:lnTo>
                      <a:pt x="1479" y="1031"/>
                    </a:lnTo>
                    <a:lnTo>
                      <a:pt x="1476" y="1033"/>
                    </a:lnTo>
                    <a:lnTo>
                      <a:pt x="1474" y="1030"/>
                    </a:lnTo>
                    <a:lnTo>
                      <a:pt x="1477" y="1027"/>
                    </a:lnTo>
                    <a:lnTo>
                      <a:pt x="1477" y="1022"/>
                    </a:lnTo>
                    <a:lnTo>
                      <a:pt x="1479" y="1018"/>
                    </a:lnTo>
                    <a:lnTo>
                      <a:pt x="1474" y="1020"/>
                    </a:lnTo>
                    <a:lnTo>
                      <a:pt x="1471" y="1023"/>
                    </a:lnTo>
                    <a:lnTo>
                      <a:pt x="1469" y="1023"/>
                    </a:lnTo>
                    <a:lnTo>
                      <a:pt x="1466" y="1027"/>
                    </a:lnTo>
                    <a:lnTo>
                      <a:pt x="1464" y="1030"/>
                    </a:lnTo>
                    <a:lnTo>
                      <a:pt x="1459" y="1028"/>
                    </a:lnTo>
                    <a:lnTo>
                      <a:pt x="1456" y="1025"/>
                    </a:lnTo>
                    <a:lnTo>
                      <a:pt x="1452" y="1025"/>
                    </a:lnTo>
                    <a:lnTo>
                      <a:pt x="1447" y="1018"/>
                    </a:lnTo>
                    <a:lnTo>
                      <a:pt x="1446" y="1018"/>
                    </a:lnTo>
                    <a:lnTo>
                      <a:pt x="1444" y="1022"/>
                    </a:lnTo>
                    <a:lnTo>
                      <a:pt x="1444" y="1025"/>
                    </a:lnTo>
                    <a:lnTo>
                      <a:pt x="1441" y="1028"/>
                    </a:lnTo>
                    <a:lnTo>
                      <a:pt x="1437" y="1027"/>
                    </a:lnTo>
                    <a:lnTo>
                      <a:pt x="1434" y="1027"/>
                    </a:lnTo>
                    <a:lnTo>
                      <a:pt x="1429" y="1028"/>
                    </a:lnTo>
                    <a:lnTo>
                      <a:pt x="1427" y="1030"/>
                    </a:lnTo>
                    <a:lnTo>
                      <a:pt x="1422" y="1030"/>
                    </a:lnTo>
                    <a:lnTo>
                      <a:pt x="1421" y="1031"/>
                    </a:lnTo>
                    <a:lnTo>
                      <a:pt x="1417" y="1030"/>
                    </a:lnTo>
                    <a:lnTo>
                      <a:pt x="1409" y="1030"/>
                    </a:lnTo>
                    <a:lnTo>
                      <a:pt x="1411" y="1027"/>
                    </a:lnTo>
                    <a:lnTo>
                      <a:pt x="1406" y="1022"/>
                    </a:lnTo>
                    <a:lnTo>
                      <a:pt x="1402" y="1023"/>
                    </a:lnTo>
                    <a:lnTo>
                      <a:pt x="1399" y="1020"/>
                    </a:lnTo>
                    <a:lnTo>
                      <a:pt x="1396" y="1012"/>
                    </a:lnTo>
                    <a:lnTo>
                      <a:pt x="1397" y="1007"/>
                    </a:lnTo>
                    <a:lnTo>
                      <a:pt x="1401" y="1005"/>
                    </a:lnTo>
                    <a:lnTo>
                      <a:pt x="1401" y="1000"/>
                    </a:lnTo>
                    <a:lnTo>
                      <a:pt x="1404" y="997"/>
                    </a:lnTo>
                    <a:lnTo>
                      <a:pt x="1411" y="997"/>
                    </a:lnTo>
                    <a:lnTo>
                      <a:pt x="1412" y="993"/>
                    </a:lnTo>
                    <a:lnTo>
                      <a:pt x="1417" y="993"/>
                    </a:lnTo>
                    <a:lnTo>
                      <a:pt x="1419" y="993"/>
                    </a:lnTo>
                    <a:lnTo>
                      <a:pt x="1421" y="990"/>
                    </a:lnTo>
                    <a:lnTo>
                      <a:pt x="1417" y="987"/>
                    </a:lnTo>
                    <a:lnTo>
                      <a:pt x="1417" y="983"/>
                    </a:lnTo>
                    <a:lnTo>
                      <a:pt x="1419" y="983"/>
                    </a:lnTo>
                    <a:lnTo>
                      <a:pt x="1422" y="983"/>
                    </a:lnTo>
                    <a:lnTo>
                      <a:pt x="1422" y="982"/>
                    </a:lnTo>
                    <a:lnTo>
                      <a:pt x="1422" y="980"/>
                    </a:lnTo>
                    <a:lnTo>
                      <a:pt x="1424" y="978"/>
                    </a:lnTo>
                    <a:lnTo>
                      <a:pt x="1429" y="985"/>
                    </a:lnTo>
                    <a:lnTo>
                      <a:pt x="1434" y="985"/>
                    </a:lnTo>
                    <a:lnTo>
                      <a:pt x="1439" y="988"/>
                    </a:lnTo>
                    <a:lnTo>
                      <a:pt x="1442" y="992"/>
                    </a:lnTo>
                    <a:lnTo>
                      <a:pt x="1444" y="993"/>
                    </a:lnTo>
                    <a:lnTo>
                      <a:pt x="1451" y="995"/>
                    </a:lnTo>
                    <a:lnTo>
                      <a:pt x="1452" y="992"/>
                    </a:lnTo>
                    <a:lnTo>
                      <a:pt x="1457" y="993"/>
                    </a:lnTo>
                    <a:lnTo>
                      <a:pt x="1459" y="995"/>
                    </a:lnTo>
                    <a:lnTo>
                      <a:pt x="1462" y="995"/>
                    </a:lnTo>
                    <a:lnTo>
                      <a:pt x="1467" y="997"/>
                    </a:lnTo>
                    <a:lnTo>
                      <a:pt x="1471" y="993"/>
                    </a:lnTo>
                    <a:lnTo>
                      <a:pt x="1472" y="988"/>
                    </a:lnTo>
                    <a:lnTo>
                      <a:pt x="1479" y="988"/>
                    </a:lnTo>
                    <a:lnTo>
                      <a:pt x="1479" y="990"/>
                    </a:lnTo>
                    <a:lnTo>
                      <a:pt x="1477" y="992"/>
                    </a:lnTo>
                    <a:lnTo>
                      <a:pt x="1481" y="993"/>
                    </a:lnTo>
                    <a:lnTo>
                      <a:pt x="1485" y="990"/>
                    </a:lnTo>
                    <a:lnTo>
                      <a:pt x="1487" y="987"/>
                    </a:lnTo>
                    <a:lnTo>
                      <a:pt x="1492" y="983"/>
                    </a:lnTo>
                    <a:lnTo>
                      <a:pt x="1494" y="987"/>
                    </a:lnTo>
                    <a:lnTo>
                      <a:pt x="1494" y="992"/>
                    </a:lnTo>
                    <a:lnTo>
                      <a:pt x="1495" y="997"/>
                    </a:lnTo>
                    <a:lnTo>
                      <a:pt x="1495" y="992"/>
                    </a:lnTo>
                    <a:lnTo>
                      <a:pt x="1499" y="990"/>
                    </a:lnTo>
                    <a:lnTo>
                      <a:pt x="1500" y="992"/>
                    </a:lnTo>
                    <a:lnTo>
                      <a:pt x="1504" y="988"/>
                    </a:lnTo>
                    <a:lnTo>
                      <a:pt x="1502" y="978"/>
                    </a:lnTo>
                    <a:lnTo>
                      <a:pt x="1497" y="973"/>
                    </a:lnTo>
                    <a:lnTo>
                      <a:pt x="1497" y="968"/>
                    </a:lnTo>
                    <a:lnTo>
                      <a:pt x="1494" y="965"/>
                    </a:lnTo>
                    <a:lnTo>
                      <a:pt x="1495" y="960"/>
                    </a:lnTo>
                    <a:lnTo>
                      <a:pt x="1497" y="958"/>
                    </a:lnTo>
                    <a:lnTo>
                      <a:pt x="1500" y="958"/>
                    </a:lnTo>
                    <a:lnTo>
                      <a:pt x="1507" y="953"/>
                    </a:lnTo>
                    <a:lnTo>
                      <a:pt x="1515" y="948"/>
                    </a:lnTo>
                    <a:lnTo>
                      <a:pt x="1519" y="947"/>
                    </a:lnTo>
                    <a:lnTo>
                      <a:pt x="1525" y="940"/>
                    </a:lnTo>
                    <a:lnTo>
                      <a:pt x="1527" y="940"/>
                    </a:lnTo>
                    <a:lnTo>
                      <a:pt x="1530" y="943"/>
                    </a:lnTo>
                    <a:lnTo>
                      <a:pt x="1534" y="942"/>
                    </a:lnTo>
                    <a:lnTo>
                      <a:pt x="1535" y="942"/>
                    </a:lnTo>
                    <a:lnTo>
                      <a:pt x="1530" y="938"/>
                    </a:lnTo>
                    <a:lnTo>
                      <a:pt x="1529" y="935"/>
                    </a:lnTo>
                    <a:lnTo>
                      <a:pt x="1539" y="929"/>
                    </a:lnTo>
                    <a:lnTo>
                      <a:pt x="1539" y="925"/>
                    </a:lnTo>
                    <a:lnTo>
                      <a:pt x="1542" y="924"/>
                    </a:lnTo>
                    <a:lnTo>
                      <a:pt x="1549" y="925"/>
                    </a:lnTo>
                    <a:lnTo>
                      <a:pt x="1555" y="924"/>
                    </a:lnTo>
                    <a:lnTo>
                      <a:pt x="1557" y="920"/>
                    </a:lnTo>
                    <a:lnTo>
                      <a:pt x="1554" y="917"/>
                    </a:lnTo>
                    <a:lnTo>
                      <a:pt x="1557" y="914"/>
                    </a:lnTo>
                    <a:lnTo>
                      <a:pt x="1557" y="905"/>
                    </a:lnTo>
                    <a:lnTo>
                      <a:pt x="1559" y="904"/>
                    </a:lnTo>
                    <a:lnTo>
                      <a:pt x="1557" y="904"/>
                    </a:lnTo>
                    <a:lnTo>
                      <a:pt x="1557" y="899"/>
                    </a:lnTo>
                    <a:lnTo>
                      <a:pt x="1560" y="895"/>
                    </a:lnTo>
                    <a:lnTo>
                      <a:pt x="1560" y="892"/>
                    </a:lnTo>
                    <a:lnTo>
                      <a:pt x="1557" y="890"/>
                    </a:lnTo>
                    <a:lnTo>
                      <a:pt x="1557" y="889"/>
                    </a:lnTo>
                    <a:lnTo>
                      <a:pt x="1559" y="882"/>
                    </a:lnTo>
                    <a:lnTo>
                      <a:pt x="1562" y="882"/>
                    </a:lnTo>
                    <a:lnTo>
                      <a:pt x="1562" y="879"/>
                    </a:lnTo>
                    <a:lnTo>
                      <a:pt x="1565" y="875"/>
                    </a:lnTo>
                    <a:lnTo>
                      <a:pt x="1564" y="872"/>
                    </a:lnTo>
                    <a:lnTo>
                      <a:pt x="1562" y="874"/>
                    </a:lnTo>
                    <a:lnTo>
                      <a:pt x="1559" y="875"/>
                    </a:lnTo>
                    <a:lnTo>
                      <a:pt x="1559" y="879"/>
                    </a:lnTo>
                    <a:lnTo>
                      <a:pt x="1557" y="879"/>
                    </a:lnTo>
                    <a:lnTo>
                      <a:pt x="1557" y="875"/>
                    </a:lnTo>
                    <a:lnTo>
                      <a:pt x="1557" y="872"/>
                    </a:lnTo>
                    <a:lnTo>
                      <a:pt x="1555" y="872"/>
                    </a:lnTo>
                    <a:lnTo>
                      <a:pt x="1545" y="870"/>
                    </a:lnTo>
                    <a:lnTo>
                      <a:pt x="1542" y="869"/>
                    </a:lnTo>
                    <a:lnTo>
                      <a:pt x="1544" y="865"/>
                    </a:lnTo>
                    <a:lnTo>
                      <a:pt x="1550" y="864"/>
                    </a:lnTo>
                    <a:lnTo>
                      <a:pt x="1550" y="862"/>
                    </a:lnTo>
                    <a:lnTo>
                      <a:pt x="1545" y="860"/>
                    </a:lnTo>
                    <a:lnTo>
                      <a:pt x="1549" y="855"/>
                    </a:lnTo>
                    <a:lnTo>
                      <a:pt x="1549" y="854"/>
                    </a:lnTo>
                    <a:lnTo>
                      <a:pt x="1544" y="849"/>
                    </a:lnTo>
                    <a:lnTo>
                      <a:pt x="1542" y="850"/>
                    </a:lnTo>
                    <a:lnTo>
                      <a:pt x="1540" y="852"/>
                    </a:lnTo>
                    <a:lnTo>
                      <a:pt x="1542" y="855"/>
                    </a:lnTo>
                    <a:lnTo>
                      <a:pt x="1542" y="859"/>
                    </a:lnTo>
                    <a:lnTo>
                      <a:pt x="1535" y="859"/>
                    </a:lnTo>
                    <a:lnTo>
                      <a:pt x="1534" y="855"/>
                    </a:lnTo>
                    <a:lnTo>
                      <a:pt x="1532" y="855"/>
                    </a:lnTo>
                    <a:lnTo>
                      <a:pt x="1530" y="849"/>
                    </a:lnTo>
                    <a:lnTo>
                      <a:pt x="1535" y="845"/>
                    </a:lnTo>
                    <a:lnTo>
                      <a:pt x="1534" y="844"/>
                    </a:lnTo>
                    <a:lnTo>
                      <a:pt x="1527" y="844"/>
                    </a:lnTo>
                    <a:lnTo>
                      <a:pt x="1527" y="842"/>
                    </a:lnTo>
                    <a:lnTo>
                      <a:pt x="1534" y="840"/>
                    </a:lnTo>
                    <a:lnTo>
                      <a:pt x="1534" y="839"/>
                    </a:lnTo>
                    <a:lnTo>
                      <a:pt x="1530" y="839"/>
                    </a:lnTo>
                    <a:lnTo>
                      <a:pt x="1534" y="837"/>
                    </a:lnTo>
                    <a:lnTo>
                      <a:pt x="1535" y="835"/>
                    </a:lnTo>
                    <a:lnTo>
                      <a:pt x="1537" y="834"/>
                    </a:lnTo>
                    <a:lnTo>
                      <a:pt x="1534" y="832"/>
                    </a:lnTo>
                    <a:lnTo>
                      <a:pt x="1530" y="834"/>
                    </a:lnTo>
                    <a:lnTo>
                      <a:pt x="1527" y="839"/>
                    </a:lnTo>
                    <a:lnTo>
                      <a:pt x="1524" y="840"/>
                    </a:lnTo>
                    <a:lnTo>
                      <a:pt x="1522" y="839"/>
                    </a:lnTo>
                    <a:lnTo>
                      <a:pt x="1522" y="834"/>
                    </a:lnTo>
                    <a:lnTo>
                      <a:pt x="1519" y="835"/>
                    </a:lnTo>
                    <a:lnTo>
                      <a:pt x="1517" y="840"/>
                    </a:lnTo>
                    <a:lnTo>
                      <a:pt x="1514" y="840"/>
                    </a:lnTo>
                    <a:lnTo>
                      <a:pt x="1510" y="842"/>
                    </a:lnTo>
                    <a:lnTo>
                      <a:pt x="1505" y="842"/>
                    </a:lnTo>
                    <a:lnTo>
                      <a:pt x="1502" y="842"/>
                    </a:lnTo>
                    <a:lnTo>
                      <a:pt x="1502" y="844"/>
                    </a:lnTo>
                    <a:lnTo>
                      <a:pt x="1499" y="844"/>
                    </a:lnTo>
                    <a:lnTo>
                      <a:pt x="1499" y="842"/>
                    </a:lnTo>
                    <a:lnTo>
                      <a:pt x="1502" y="839"/>
                    </a:lnTo>
                    <a:lnTo>
                      <a:pt x="1500" y="837"/>
                    </a:lnTo>
                    <a:lnTo>
                      <a:pt x="1499" y="835"/>
                    </a:lnTo>
                    <a:lnTo>
                      <a:pt x="1502" y="832"/>
                    </a:lnTo>
                    <a:lnTo>
                      <a:pt x="1504" y="831"/>
                    </a:lnTo>
                    <a:lnTo>
                      <a:pt x="1507" y="832"/>
                    </a:lnTo>
                    <a:lnTo>
                      <a:pt x="1510" y="834"/>
                    </a:lnTo>
                    <a:lnTo>
                      <a:pt x="1512" y="832"/>
                    </a:lnTo>
                    <a:lnTo>
                      <a:pt x="1515" y="832"/>
                    </a:lnTo>
                    <a:lnTo>
                      <a:pt x="1519" y="829"/>
                    </a:lnTo>
                    <a:lnTo>
                      <a:pt x="1520" y="826"/>
                    </a:lnTo>
                    <a:lnTo>
                      <a:pt x="1519" y="822"/>
                    </a:lnTo>
                    <a:lnTo>
                      <a:pt x="1517" y="821"/>
                    </a:lnTo>
                    <a:lnTo>
                      <a:pt x="1512" y="819"/>
                    </a:lnTo>
                    <a:lnTo>
                      <a:pt x="1510" y="816"/>
                    </a:lnTo>
                    <a:lnTo>
                      <a:pt x="1509" y="812"/>
                    </a:lnTo>
                    <a:lnTo>
                      <a:pt x="1509" y="811"/>
                    </a:lnTo>
                    <a:lnTo>
                      <a:pt x="1509" y="807"/>
                    </a:lnTo>
                    <a:lnTo>
                      <a:pt x="1504" y="807"/>
                    </a:lnTo>
                    <a:lnTo>
                      <a:pt x="1502" y="807"/>
                    </a:lnTo>
                    <a:lnTo>
                      <a:pt x="1500" y="806"/>
                    </a:lnTo>
                    <a:lnTo>
                      <a:pt x="1499" y="802"/>
                    </a:lnTo>
                    <a:lnTo>
                      <a:pt x="1502" y="801"/>
                    </a:lnTo>
                    <a:lnTo>
                      <a:pt x="1504" y="802"/>
                    </a:lnTo>
                    <a:lnTo>
                      <a:pt x="1507" y="802"/>
                    </a:lnTo>
                    <a:lnTo>
                      <a:pt x="1507" y="799"/>
                    </a:lnTo>
                    <a:lnTo>
                      <a:pt x="1512" y="797"/>
                    </a:lnTo>
                    <a:lnTo>
                      <a:pt x="1505" y="797"/>
                    </a:lnTo>
                    <a:lnTo>
                      <a:pt x="1502" y="794"/>
                    </a:lnTo>
                    <a:lnTo>
                      <a:pt x="1500" y="794"/>
                    </a:lnTo>
                    <a:lnTo>
                      <a:pt x="1499" y="792"/>
                    </a:lnTo>
                    <a:lnTo>
                      <a:pt x="1495" y="792"/>
                    </a:lnTo>
                    <a:lnTo>
                      <a:pt x="1494" y="796"/>
                    </a:lnTo>
                    <a:lnTo>
                      <a:pt x="1492" y="796"/>
                    </a:lnTo>
                    <a:lnTo>
                      <a:pt x="1492" y="794"/>
                    </a:lnTo>
                    <a:lnTo>
                      <a:pt x="1495" y="786"/>
                    </a:lnTo>
                    <a:lnTo>
                      <a:pt x="1499" y="781"/>
                    </a:lnTo>
                    <a:lnTo>
                      <a:pt x="1500" y="779"/>
                    </a:lnTo>
                    <a:lnTo>
                      <a:pt x="1502" y="772"/>
                    </a:lnTo>
                    <a:lnTo>
                      <a:pt x="1502" y="769"/>
                    </a:lnTo>
                    <a:lnTo>
                      <a:pt x="1504" y="767"/>
                    </a:lnTo>
                    <a:lnTo>
                      <a:pt x="1502" y="764"/>
                    </a:lnTo>
                    <a:lnTo>
                      <a:pt x="1499" y="766"/>
                    </a:lnTo>
                    <a:lnTo>
                      <a:pt x="1495" y="764"/>
                    </a:lnTo>
                    <a:lnTo>
                      <a:pt x="1494" y="766"/>
                    </a:lnTo>
                    <a:lnTo>
                      <a:pt x="1494" y="767"/>
                    </a:lnTo>
                    <a:lnTo>
                      <a:pt x="1490" y="767"/>
                    </a:lnTo>
                    <a:lnTo>
                      <a:pt x="1485" y="762"/>
                    </a:lnTo>
                    <a:lnTo>
                      <a:pt x="1484" y="759"/>
                    </a:lnTo>
                    <a:lnTo>
                      <a:pt x="1482" y="756"/>
                    </a:lnTo>
                    <a:lnTo>
                      <a:pt x="1481" y="756"/>
                    </a:lnTo>
                    <a:lnTo>
                      <a:pt x="1481" y="751"/>
                    </a:lnTo>
                    <a:lnTo>
                      <a:pt x="1485" y="749"/>
                    </a:lnTo>
                    <a:lnTo>
                      <a:pt x="1487" y="746"/>
                    </a:lnTo>
                    <a:lnTo>
                      <a:pt x="1485" y="744"/>
                    </a:lnTo>
                    <a:lnTo>
                      <a:pt x="1484" y="739"/>
                    </a:lnTo>
                    <a:lnTo>
                      <a:pt x="1482" y="741"/>
                    </a:lnTo>
                    <a:lnTo>
                      <a:pt x="1479" y="742"/>
                    </a:lnTo>
                    <a:lnTo>
                      <a:pt x="1479" y="749"/>
                    </a:lnTo>
                    <a:lnTo>
                      <a:pt x="1477" y="752"/>
                    </a:lnTo>
                    <a:lnTo>
                      <a:pt x="1476" y="749"/>
                    </a:lnTo>
                    <a:lnTo>
                      <a:pt x="1472" y="747"/>
                    </a:lnTo>
                    <a:lnTo>
                      <a:pt x="1472" y="747"/>
                    </a:lnTo>
                    <a:lnTo>
                      <a:pt x="1472" y="751"/>
                    </a:lnTo>
                    <a:lnTo>
                      <a:pt x="1469" y="751"/>
                    </a:lnTo>
                    <a:lnTo>
                      <a:pt x="1469" y="756"/>
                    </a:lnTo>
                    <a:lnTo>
                      <a:pt x="1472" y="761"/>
                    </a:lnTo>
                    <a:lnTo>
                      <a:pt x="1476" y="761"/>
                    </a:lnTo>
                    <a:lnTo>
                      <a:pt x="1479" y="767"/>
                    </a:lnTo>
                    <a:lnTo>
                      <a:pt x="1481" y="771"/>
                    </a:lnTo>
                    <a:lnTo>
                      <a:pt x="1479" y="774"/>
                    </a:lnTo>
                    <a:lnTo>
                      <a:pt x="1479" y="777"/>
                    </a:lnTo>
                    <a:lnTo>
                      <a:pt x="1476" y="782"/>
                    </a:lnTo>
                    <a:lnTo>
                      <a:pt x="1472" y="784"/>
                    </a:lnTo>
                    <a:lnTo>
                      <a:pt x="1462" y="784"/>
                    </a:lnTo>
                    <a:lnTo>
                      <a:pt x="1461" y="784"/>
                    </a:lnTo>
                    <a:lnTo>
                      <a:pt x="1457" y="784"/>
                    </a:lnTo>
                    <a:lnTo>
                      <a:pt x="1452" y="781"/>
                    </a:lnTo>
                    <a:lnTo>
                      <a:pt x="1452" y="779"/>
                    </a:lnTo>
                    <a:lnTo>
                      <a:pt x="1452" y="776"/>
                    </a:lnTo>
                    <a:lnTo>
                      <a:pt x="1446" y="776"/>
                    </a:lnTo>
                    <a:lnTo>
                      <a:pt x="1437" y="772"/>
                    </a:lnTo>
                    <a:lnTo>
                      <a:pt x="1431" y="771"/>
                    </a:lnTo>
                    <a:lnTo>
                      <a:pt x="1434" y="779"/>
                    </a:lnTo>
                    <a:lnTo>
                      <a:pt x="1436" y="784"/>
                    </a:lnTo>
                    <a:lnTo>
                      <a:pt x="1436" y="784"/>
                    </a:lnTo>
                    <a:lnTo>
                      <a:pt x="1431" y="784"/>
                    </a:lnTo>
                    <a:lnTo>
                      <a:pt x="1429" y="781"/>
                    </a:lnTo>
                    <a:lnTo>
                      <a:pt x="1426" y="776"/>
                    </a:lnTo>
                    <a:lnTo>
                      <a:pt x="1424" y="776"/>
                    </a:lnTo>
                    <a:lnTo>
                      <a:pt x="1422" y="772"/>
                    </a:lnTo>
                    <a:lnTo>
                      <a:pt x="1417" y="769"/>
                    </a:lnTo>
                    <a:lnTo>
                      <a:pt x="1414" y="764"/>
                    </a:lnTo>
                    <a:lnTo>
                      <a:pt x="1414" y="762"/>
                    </a:lnTo>
                    <a:lnTo>
                      <a:pt x="1411" y="762"/>
                    </a:lnTo>
                    <a:lnTo>
                      <a:pt x="1406" y="757"/>
                    </a:lnTo>
                    <a:lnTo>
                      <a:pt x="1402" y="756"/>
                    </a:lnTo>
                    <a:lnTo>
                      <a:pt x="1402" y="754"/>
                    </a:lnTo>
                    <a:lnTo>
                      <a:pt x="1397" y="752"/>
                    </a:lnTo>
                    <a:lnTo>
                      <a:pt x="1399" y="756"/>
                    </a:lnTo>
                    <a:lnTo>
                      <a:pt x="1407" y="762"/>
                    </a:lnTo>
                    <a:lnTo>
                      <a:pt x="1411" y="766"/>
                    </a:lnTo>
                    <a:lnTo>
                      <a:pt x="1414" y="769"/>
                    </a:lnTo>
                    <a:lnTo>
                      <a:pt x="1417" y="771"/>
                    </a:lnTo>
                    <a:lnTo>
                      <a:pt x="1419" y="774"/>
                    </a:lnTo>
                    <a:lnTo>
                      <a:pt x="1416" y="777"/>
                    </a:lnTo>
                    <a:lnTo>
                      <a:pt x="1414" y="776"/>
                    </a:lnTo>
                    <a:lnTo>
                      <a:pt x="1412" y="779"/>
                    </a:lnTo>
                    <a:lnTo>
                      <a:pt x="1406" y="774"/>
                    </a:lnTo>
                    <a:lnTo>
                      <a:pt x="1402" y="776"/>
                    </a:lnTo>
                    <a:lnTo>
                      <a:pt x="1401" y="772"/>
                    </a:lnTo>
                    <a:lnTo>
                      <a:pt x="1396" y="771"/>
                    </a:lnTo>
                    <a:lnTo>
                      <a:pt x="1394" y="766"/>
                    </a:lnTo>
                    <a:lnTo>
                      <a:pt x="1386" y="767"/>
                    </a:lnTo>
                    <a:lnTo>
                      <a:pt x="1383" y="769"/>
                    </a:lnTo>
                    <a:lnTo>
                      <a:pt x="1379" y="767"/>
                    </a:lnTo>
                    <a:lnTo>
                      <a:pt x="1374" y="766"/>
                    </a:lnTo>
                    <a:lnTo>
                      <a:pt x="1369" y="766"/>
                    </a:lnTo>
                    <a:lnTo>
                      <a:pt x="1366" y="762"/>
                    </a:lnTo>
                    <a:lnTo>
                      <a:pt x="1361" y="759"/>
                    </a:lnTo>
                    <a:lnTo>
                      <a:pt x="1361" y="757"/>
                    </a:lnTo>
                    <a:lnTo>
                      <a:pt x="1368" y="751"/>
                    </a:lnTo>
                    <a:lnTo>
                      <a:pt x="1371" y="751"/>
                    </a:lnTo>
                    <a:lnTo>
                      <a:pt x="1371" y="749"/>
                    </a:lnTo>
                    <a:lnTo>
                      <a:pt x="1368" y="749"/>
                    </a:lnTo>
                    <a:lnTo>
                      <a:pt x="1363" y="752"/>
                    </a:lnTo>
                    <a:lnTo>
                      <a:pt x="1359" y="756"/>
                    </a:lnTo>
                    <a:lnTo>
                      <a:pt x="1358" y="757"/>
                    </a:lnTo>
                    <a:lnTo>
                      <a:pt x="1353" y="754"/>
                    </a:lnTo>
                    <a:lnTo>
                      <a:pt x="1349" y="752"/>
                    </a:lnTo>
                    <a:lnTo>
                      <a:pt x="1348" y="754"/>
                    </a:lnTo>
                    <a:lnTo>
                      <a:pt x="1351" y="756"/>
                    </a:lnTo>
                    <a:lnTo>
                      <a:pt x="1349" y="757"/>
                    </a:lnTo>
                    <a:lnTo>
                      <a:pt x="1343" y="757"/>
                    </a:lnTo>
                    <a:lnTo>
                      <a:pt x="1336" y="752"/>
                    </a:lnTo>
                    <a:lnTo>
                      <a:pt x="1336" y="747"/>
                    </a:lnTo>
                    <a:lnTo>
                      <a:pt x="1331" y="744"/>
                    </a:lnTo>
                    <a:lnTo>
                      <a:pt x="1333" y="741"/>
                    </a:lnTo>
                    <a:lnTo>
                      <a:pt x="1341" y="737"/>
                    </a:lnTo>
                    <a:lnTo>
                      <a:pt x="1343" y="734"/>
                    </a:lnTo>
                    <a:lnTo>
                      <a:pt x="1341" y="734"/>
                    </a:lnTo>
                    <a:lnTo>
                      <a:pt x="1338" y="736"/>
                    </a:lnTo>
                    <a:lnTo>
                      <a:pt x="1331" y="736"/>
                    </a:lnTo>
                    <a:lnTo>
                      <a:pt x="1329" y="741"/>
                    </a:lnTo>
                    <a:lnTo>
                      <a:pt x="1326" y="741"/>
                    </a:lnTo>
                    <a:lnTo>
                      <a:pt x="1326" y="739"/>
                    </a:lnTo>
                    <a:lnTo>
                      <a:pt x="1326" y="734"/>
                    </a:lnTo>
                    <a:lnTo>
                      <a:pt x="1324" y="734"/>
                    </a:lnTo>
                    <a:lnTo>
                      <a:pt x="1323" y="734"/>
                    </a:lnTo>
                    <a:lnTo>
                      <a:pt x="1321" y="737"/>
                    </a:lnTo>
                    <a:lnTo>
                      <a:pt x="1323" y="739"/>
                    </a:lnTo>
                    <a:lnTo>
                      <a:pt x="1321" y="741"/>
                    </a:lnTo>
                    <a:lnTo>
                      <a:pt x="1318" y="741"/>
                    </a:lnTo>
                    <a:lnTo>
                      <a:pt x="1314" y="737"/>
                    </a:lnTo>
                    <a:lnTo>
                      <a:pt x="1311" y="736"/>
                    </a:lnTo>
                    <a:lnTo>
                      <a:pt x="1308" y="737"/>
                    </a:lnTo>
                    <a:lnTo>
                      <a:pt x="1308" y="741"/>
                    </a:lnTo>
                    <a:lnTo>
                      <a:pt x="1304" y="741"/>
                    </a:lnTo>
                    <a:lnTo>
                      <a:pt x="1301" y="737"/>
                    </a:lnTo>
                    <a:lnTo>
                      <a:pt x="1299" y="733"/>
                    </a:lnTo>
                    <a:lnTo>
                      <a:pt x="1301" y="734"/>
                    </a:lnTo>
                    <a:lnTo>
                      <a:pt x="1304" y="736"/>
                    </a:lnTo>
                    <a:lnTo>
                      <a:pt x="1304" y="734"/>
                    </a:lnTo>
                    <a:lnTo>
                      <a:pt x="1299" y="729"/>
                    </a:lnTo>
                    <a:lnTo>
                      <a:pt x="1294" y="726"/>
                    </a:lnTo>
                    <a:lnTo>
                      <a:pt x="1293" y="723"/>
                    </a:lnTo>
                    <a:lnTo>
                      <a:pt x="1294" y="718"/>
                    </a:lnTo>
                    <a:lnTo>
                      <a:pt x="1293" y="713"/>
                    </a:lnTo>
                    <a:lnTo>
                      <a:pt x="1291" y="706"/>
                    </a:lnTo>
                    <a:lnTo>
                      <a:pt x="1293" y="703"/>
                    </a:lnTo>
                    <a:lnTo>
                      <a:pt x="1296" y="703"/>
                    </a:lnTo>
                    <a:lnTo>
                      <a:pt x="1296" y="701"/>
                    </a:lnTo>
                    <a:lnTo>
                      <a:pt x="1293" y="696"/>
                    </a:lnTo>
                    <a:lnTo>
                      <a:pt x="1294" y="694"/>
                    </a:lnTo>
                    <a:lnTo>
                      <a:pt x="1299" y="694"/>
                    </a:lnTo>
                    <a:lnTo>
                      <a:pt x="1301" y="698"/>
                    </a:lnTo>
                    <a:lnTo>
                      <a:pt x="1308" y="698"/>
                    </a:lnTo>
                    <a:lnTo>
                      <a:pt x="1313" y="701"/>
                    </a:lnTo>
                    <a:lnTo>
                      <a:pt x="1314" y="704"/>
                    </a:lnTo>
                    <a:lnTo>
                      <a:pt x="1323" y="708"/>
                    </a:lnTo>
                    <a:lnTo>
                      <a:pt x="1331" y="708"/>
                    </a:lnTo>
                    <a:lnTo>
                      <a:pt x="1333" y="706"/>
                    </a:lnTo>
                    <a:lnTo>
                      <a:pt x="1339" y="706"/>
                    </a:lnTo>
                    <a:lnTo>
                      <a:pt x="1336" y="704"/>
                    </a:lnTo>
                    <a:lnTo>
                      <a:pt x="1336" y="701"/>
                    </a:lnTo>
                    <a:lnTo>
                      <a:pt x="1329" y="698"/>
                    </a:lnTo>
                    <a:lnTo>
                      <a:pt x="1329" y="693"/>
                    </a:lnTo>
                    <a:lnTo>
                      <a:pt x="1323" y="693"/>
                    </a:lnTo>
                    <a:lnTo>
                      <a:pt x="1318" y="689"/>
                    </a:lnTo>
                    <a:lnTo>
                      <a:pt x="1313" y="689"/>
                    </a:lnTo>
                    <a:lnTo>
                      <a:pt x="1308" y="686"/>
                    </a:lnTo>
                    <a:lnTo>
                      <a:pt x="1303" y="686"/>
                    </a:lnTo>
                    <a:lnTo>
                      <a:pt x="1294" y="681"/>
                    </a:lnTo>
                    <a:lnTo>
                      <a:pt x="1293" y="678"/>
                    </a:lnTo>
                    <a:lnTo>
                      <a:pt x="1294" y="671"/>
                    </a:lnTo>
                    <a:lnTo>
                      <a:pt x="1298" y="668"/>
                    </a:lnTo>
                    <a:lnTo>
                      <a:pt x="1298" y="664"/>
                    </a:lnTo>
                    <a:lnTo>
                      <a:pt x="1299" y="659"/>
                    </a:lnTo>
                    <a:lnTo>
                      <a:pt x="1303" y="659"/>
                    </a:lnTo>
                    <a:lnTo>
                      <a:pt x="1306" y="656"/>
                    </a:lnTo>
                    <a:lnTo>
                      <a:pt x="1306" y="648"/>
                    </a:lnTo>
                    <a:lnTo>
                      <a:pt x="1308" y="644"/>
                    </a:lnTo>
                    <a:lnTo>
                      <a:pt x="1311" y="644"/>
                    </a:lnTo>
                    <a:lnTo>
                      <a:pt x="1311" y="639"/>
                    </a:lnTo>
                    <a:lnTo>
                      <a:pt x="1318" y="636"/>
                    </a:lnTo>
                    <a:lnTo>
                      <a:pt x="1323" y="636"/>
                    </a:lnTo>
                    <a:lnTo>
                      <a:pt x="1323" y="633"/>
                    </a:lnTo>
                    <a:lnTo>
                      <a:pt x="1321" y="635"/>
                    </a:lnTo>
                    <a:lnTo>
                      <a:pt x="1319" y="635"/>
                    </a:lnTo>
                    <a:lnTo>
                      <a:pt x="1319" y="631"/>
                    </a:lnTo>
                    <a:lnTo>
                      <a:pt x="1324" y="625"/>
                    </a:lnTo>
                    <a:lnTo>
                      <a:pt x="1328" y="618"/>
                    </a:lnTo>
                    <a:lnTo>
                      <a:pt x="1329" y="616"/>
                    </a:lnTo>
                    <a:lnTo>
                      <a:pt x="1333" y="613"/>
                    </a:lnTo>
                    <a:lnTo>
                      <a:pt x="1336" y="613"/>
                    </a:lnTo>
                    <a:lnTo>
                      <a:pt x="1338" y="613"/>
                    </a:lnTo>
                    <a:lnTo>
                      <a:pt x="1339" y="606"/>
                    </a:lnTo>
                    <a:lnTo>
                      <a:pt x="1343" y="606"/>
                    </a:lnTo>
                    <a:lnTo>
                      <a:pt x="1344" y="610"/>
                    </a:lnTo>
                    <a:lnTo>
                      <a:pt x="1346" y="606"/>
                    </a:lnTo>
                    <a:lnTo>
                      <a:pt x="1344" y="603"/>
                    </a:lnTo>
                    <a:lnTo>
                      <a:pt x="1351" y="596"/>
                    </a:lnTo>
                    <a:lnTo>
                      <a:pt x="1354" y="596"/>
                    </a:lnTo>
                    <a:lnTo>
                      <a:pt x="1354" y="591"/>
                    </a:lnTo>
                    <a:lnTo>
                      <a:pt x="1358" y="586"/>
                    </a:lnTo>
                    <a:lnTo>
                      <a:pt x="1363" y="586"/>
                    </a:lnTo>
                    <a:lnTo>
                      <a:pt x="1366" y="583"/>
                    </a:lnTo>
                    <a:lnTo>
                      <a:pt x="1369" y="583"/>
                    </a:lnTo>
                    <a:lnTo>
                      <a:pt x="1373" y="585"/>
                    </a:lnTo>
                    <a:lnTo>
                      <a:pt x="1371" y="581"/>
                    </a:lnTo>
                    <a:lnTo>
                      <a:pt x="1373" y="576"/>
                    </a:lnTo>
                    <a:lnTo>
                      <a:pt x="1381" y="573"/>
                    </a:lnTo>
                    <a:lnTo>
                      <a:pt x="1389" y="566"/>
                    </a:lnTo>
                    <a:lnTo>
                      <a:pt x="1402" y="563"/>
                    </a:lnTo>
                    <a:lnTo>
                      <a:pt x="1411" y="561"/>
                    </a:lnTo>
                    <a:lnTo>
                      <a:pt x="1414" y="561"/>
                    </a:lnTo>
                    <a:lnTo>
                      <a:pt x="1421" y="561"/>
                    </a:lnTo>
                    <a:lnTo>
                      <a:pt x="1424" y="561"/>
                    </a:lnTo>
                    <a:lnTo>
                      <a:pt x="1427" y="561"/>
                    </a:lnTo>
                    <a:lnTo>
                      <a:pt x="1434" y="561"/>
                    </a:lnTo>
                    <a:lnTo>
                      <a:pt x="1439" y="565"/>
                    </a:lnTo>
                    <a:lnTo>
                      <a:pt x="1451" y="570"/>
                    </a:lnTo>
                    <a:lnTo>
                      <a:pt x="1451" y="573"/>
                    </a:lnTo>
                    <a:lnTo>
                      <a:pt x="1449" y="576"/>
                    </a:lnTo>
                    <a:lnTo>
                      <a:pt x="1444" y="578"/>
                    </a:lnTo>
                    <a:lnTo>
                      <a:pt x="1436" y="581"/>
                    </a:lnTo>
                    <a:lnTo>
                      <a:pt x="1431" y="581"/>
                    </a:lnTo>
                    <a:lnTo>
                      <a:pt x="1429" y="585"/>
                    </a:lnTo>
                    <a:lnTo>
                      <a:pt x="1424" y="588"/>
                    </a:lnTo>
                    <a:lnTo>
                      <a:pt x="1419" y="590"/>
                    </a:lnTo>
                    <a:lnTo>
                      <a:pt x="1411" y="598"/>
                    </a:lnTo>
                    <a:lnTo>
                      <a:pt x="1402" y="608"/>
                    </a:lnTo>
                    <a:lnTo>
                      <a:pt x="1394" y="611"/>
                    </a:lnTo>
                    <a:lnTo>
                      <a:pt x="1392" y="613"/>
                    </a:lnTo>
                    <a:lnTo>
                      <a:pt x="1387" y="621"/>
                    </a:lnTo>
                    <a:lnTo>
                      <a:pt x="1386" y="626"/>
                    </a:lnTo>
                    <a:lnTo>
                      <a:pt x="1389" y="631"/>
                    </a:lnTo>
                    <a:lnTo>
                      <a:pt x="1391" y="633"/>
                    </a:lnTo>
                    <a:lnTo>
                      <a:pt x="1391" y="638"/>
                    </a:lnTo>
                    <a:lnTo>
                      <a:pt x="1387" y="639"/>
                    </a:lnTo>
                    <a:lnTo>
                      <a:pt x="1384" y="643"/>
                    </a:lnTo>
                    <a:lnTo>
                      <a:pt x="1379" y="648"/>
                    </a:lnTo>
                    <a:lnTo>
                      <a:pt x="1379" y="653"/>
                    </a:lnTo>
                    <a:lnTo>
                      <a:pt x="1376" y="658"/>
                    </a:lnTo>
                    <a:lnTo>
                      <a:pt x="1374" y="659"/>
                    </a:lnTo>
                    <a:lnTo>
                      <a:pt x="1373" y="663"/>
                    </a:lnTo>
                    <a:lnTo>
                      <a:pt x="1376" y="666"/>
                    </a:lnTo>
                    <a:lnTo>
                      <a:pt x="1376" y="673"/>
                    </a:lnTo>
                    <a:lnTo>
                      <a:pt x="1378" y="676"/>
                    </a:lnTo>
                    <a:lnTo>
                      <a:pt x="1378" y="681"/>
                    </a:lnTo>
                    <a:lnTo>
                      <a:pt x="1383" y="686"/>
                    </a:lnTo>
                    <a:lnTo>
                      <a:pt x="1383" y="689"/>
                    </a:lnTo>
                    <a:lnTo>
                      <a:pt x="1387" y="691"/>
                    </a:lnTo>
                    <a:lnTo>
                      <a:pt x="1387" y="696"/>
                    </a:lnTo>
                    <a:lnTo>
                      <a:pt x="1386" y="699"/>
                    </a:lnTo>
                    <a:lnTo>
                      <a:pt x="1384" y="696"/>
                    </a:lnTo>
                    <a:lnTo>
                      <a:pt x="1383" y="696"/>
                    </a:lnTo>
                    <a:lnTo>
                      <a:pt x="1381" y="698"/>
                    </a:lnTo>
                    <a:lnTo>
                      <a:pt x="1379" y="698"/>
                    </a:lnTo>
                    <a:lnTo>
                      <a:pt x="1376" y="699"/>
                    </a:lnTo>
                    <a:lnTo>
                      <a:pt x="1373" y="699"/>
                    </a:lnTo>
                    <a:lnTo>
                      <a:pt x="1374" y="701"/>
                    </a:lnTo>
                    <a:lnTo>
                      <a:pt x="1378" y="704"/>
                    </a:lnTo>
                    <a:lnTo>
                      <a:pt x="1381" y="704"/>
                    </a:lnTo>
                    <a:lnTo>
                      <a:pt x="1383" y="703"/>
                    </a:lnTo>
                    <a:lnTo>
                      <a:pt x="1384" y="704"/>
                    </a:lnTo>
                    <a:lnTo>
                      <a:pt x="1381" y="708"/>
                    </a:lnTo>
                    <a:lnTo>
                      <a:pt x="1378" y="714"/>
                    </a:lnTo>
                    <a:lnTo>
                      <a:pt x="1378" y="718"/>
                    </a:lnTo>
                    <a:lnTo>
                      <a:pt x="1378" y="721"/>
                    </a:lnTo>
                    <a:lnTo>
                      <a:pt x="1383" y="716"/>
                    </a:lnTo>
                    <a:lnTo>
                      <a:pt x="1383" y="713"/>
                    </a:lnTo>
                    <a:lnTo>
                      <a:pt x="1387" y="704"/>
                    </a:lnTo>
                    <a:lnTo>
                      <a:pt x="1391" y="703"/>
                    </a:lnTo>
                    <a:lnTo>
                      <a:pt x="1391" y="694"/>
                    </a:lnTo>
                    <a:lnTo>
                      <a:pt x="1394" y="691"/>
                    </a:lnTo>
                    <a:lnTo>
                      <a:pt x="1397" y="689"/>
                    </a:lnTo>
                    <a:lnTo>
                      <a:pt x="1397" y="684"/>
                    </a:lnTo>
                    <a:lnTo>
                      <a:pt x="1396" y="683"/>
                    </a:lnTo>
                    <a:lnTo>
                      <a:pt x="1397" y="679"/>
                    </a:lnTo>
                    <a:lnTo>
                      <a:pt x="1394" y="678"/>
                    </a:lnTo>
                    <a:lnTo>
                      <a:pt x="1391" y="678"/>
                    </a:lnTo>
                    <a:lnTo>
                      <a:pt x="1391" y="671"/>
                    </a:lnTo>
                    <a:lnTo>
                      <a:pt x="1391" y="671"/>
                    </a:lnTo>
                    <a:lnTo>
                      <a:pt x="1389" y="664"/>
                    </a:lnTo>
                    <a:lnTo>
                      <a:pt x="1387" y="661"/>
                    </a:lnTo>
                    <a:lnTo>
                      <a:pt x="1386" y="656"/>
                    </a:lnTo>
                    <a:lnTo>
                      <a:pt x="1389" y="654"/>
                    </a:lnTo>
                    <a:lnTo>
                      <a:pt x="1391" y="658"/>
                    </a:lnTo>
                    <a:lnTo>
                      <a:pt x="1392" y="656"/>
                    </a:lnTo>
                    <a:lnTo>
                      <a:pt x="1397" y="654"/>
                    </a:lnTo>
                    <a:lnTo>
                      <a:pt x="1401" y="653"/>
                    </a:lnTo>
                    <a:lnTo>
                      <a:pt x="1399" y="649"/>
                    </a:lnTo>
                    <a:lnTo>
                      <a:pt x="1401" y="646"/>
                    </a:lnTo>
                    <a:lnTo>
                      <a:pt x="1406" y="646"/>
                    </a:lnTo>
                    <a:lnTo>
                      <a:pt x="1407" y="653"/>
                    </a:lnTo>
                    <a:lnTo>
                      <a:pt x="1407" y="654"/>
                    </a:lnTo>
                    <a:lnTo>
                      <a:pt x="1409" y="656"/>
                    </a:lnTo>
                    <a:lnTo>
                      <a:pt x="1412" y="653"/>
                    </a:lnTo>
                    <a:lnTo>
                      <a:pt x="1412" y="649"/>
                    </a:lnTo>
                    <a:lnTo>
                      <a:pt x="1416" y="646"/>
                    </a:lnTo>
                    <a:lnTo>
                      <a:pt x="1419" y="646"/>
                    </a:lnTo>
                    <a:lnTo>
                      <a:pt x="1417" y="643"/>
                    </a:lnTo>
                    <a:lnTo>
                      <a:pt x="1421" y="641"/>
                    </a:lnTo>
                    <a:lnTo>
                      <a:pt x="1424" y="641"/>
                    </a:lnTo>
                    <a:lnTo>
                      <a:pt x="1422" y="638"/>
                    </a:lnTo>
                    <a:lnTo>
                      <a:pt x="1419" y="638"/>
                    </a:lnTo>
                    <a:lnTo>
                      <a:pt x="1412" y="643"/>
                    </a:lnTo>
                    <a:lnTo>
                      <a:pt x="1409" y="643"/>
                    </a:lnTo>
                    <a:lnTo>
                      <a:pt x="1407" y="638"/>
                    </a:lnTo>
                    <a:lnTo>
                      <a:pt x="1404" y="636"/>
                    </a:lnTo>
                    <a:lnTo>
                      <a:pt x="1404" y="633"/>
                    </a:lnTo>
                    <a:lnTo>
                      <a:pt x="1409" y="631"/>
                    </a:lnTo>
                    <a:lnTo>
                      <a:pt x="1407" y="628"/>
                    </a:lnTo>
                    <a:lnTo>
                      <a:pt x="1409" y="623"/>
                    </a:lnTo>
                    <a:lnTo>
                      <a:pt x="1412" y="616"/>
                    </a:lnTo>
                    <a:lnTo>
                      <a:pt x="1412" y="613"/>
                    </a:lnTo>
                    <a:lnTo>
                      <a:pt x="1416" y="610"/>
                    </a:lnTo>
                    <a:lnTo>
                      <a:pt x="1422" y="610"/>
                    </a:lnTo>
                    <a:lnTo>
                      <a:pt x="1426" y="615"/>
                    </a:lnTo>
                    <a:lnTo>
                      <a:pt x="1427" y="616"/>
                    </a:lnTo>
                    <a:lnTo>
                      <a:pt x="1432" y="620"/>
                    </a:lnTo>
                    <a:lnTo>
                      <a:pt x="1436" y="625"/>
                    </a:lnTo>
                    <a:lnTo>
                      <a:pt x="1441" y="625"/>
                    </a:lnTo>
                    <a:lnTo>
                      <a:pt x="1437" y="621"/>
                    </a:lnTo>
                    <a:lnTo>
                      <a:pt x="1436" y="618"/>
                    </a:lnTo>
                    <a:lnTo>
                      <a:pt x="1429" y="615"/>
                    </a:lnTo>
                    <a:lnTo>
                      <a:pt x="1427" y="610"/>
                    </a:lnTo>
                    <a:lnTo>
                      <a:pt x="1427" y="608"/>
                    </a:lnTo>
                    <a:lnTo>
                      <a:pt x="1422" y="608"/>
                    </a:lnTo>
                    <a:lnTo>
                      <a:pt x="1419" y="606"/>
                    </a:lnTo>
                    <a:lnTo>
                      <a:pt x="1421" y="605"/>
                    </a:lnTo>
                    <a:lnTo>
                      <a:pt x="1429" y="605"/>
                    </a:lnTo>
                    <a:lnTo>
                      <a:pt x="1431" y="603"/>
                    </a:lnTo>
                    <a:lnTo>
                      <a:pt x="1432" y="603"/>
                    </a:lnTo>
                    <a:lnTo>
                      <a:pt x="1441" y="610"/>
                    </a:lnTo>
                    <a:lnTo>
                      <a:pt x="1447" y="613"/>
                    </a:lnTo>
                    <a:lnTo>
                      <a:pt x="1449" y="613"/>
                    </a:lnTo>
                    <a:lnTo>
                      <a:pt x="1444" y="610"/>
                    </a:lnTo>
                    <a:lnTo>
                      <a:pt x="1439" y="603"/>
                    </a:lnTo>
                    <a:lnTo>
                      <a:pt x="1434" y="600"/>
                    </a:lnTo>
                    <a:lnTo>
                      <a:pt x="1434" y="598"/>
                    </a:lnTo>
                    <a:lnTo>
                      <a:pt x="1436" y="593"/>
                    </a:lnTo>
                    <a:lnTo>
                      <a:pt x="1442" y="591"/>
                    </a:lnTo>
                    <a:lnTo>
                      <a:pt x="1444" y="593"/>
                    </a:lnTo>
                    <a:lnTo>
                      <a:pt x="1444" y="596"/>
                    </a:lnTo>
                    <a:lnTo>
                      <a:pt x="1444" y="600"/>
                    </a:lnTo>
                    <a:lnTo>
                      <a:pt x="1447" y="598"/>
                    </a:lnTo>
                    <a:lnTo>
                      <a:pt x="1446" y="595"/>
                    </a:lnTo>
                    <a:lnTo>
                      <a:pt x="1449" y="591"/>
                    </a:lnTo>
                    <a:lnTo>
                      <a:pt x="1454" y="591"/>
                    </a:lnTo>
                    <a:lnTo>
                      <a:pt x="1457" y="596"/>
                    </a:lnTo>
                    <a:lnTo>
                      <a:pt x="1459" y="598"/>
                    </a:lnTo>
                    <a:lnTo>
                      <a:pt x="1461" y="603"/>
                    </a:lnTo>
                    <a:lnTo>
                      <a:pt x="1464" y="601"/>
                    </a:lnTo>
                    <a:lnTo>
                      <a:pt x="1464" y="598"/>
                    </a:lnTo>
                    <a:lnTo>
                      <a:pt x="1459" y="593"/>
                    </a:lnTo>
                    <a:lnTo>
                      <a:pt x="1461" y="590"/>
                    </a:lnTo>
                    <a:lnTo>
                      <a:pt x="1472" y="588"/>
                    </a:lnTo>
                    <a:lnTo>
                      <a:pt x="1479" y="585"/>
                    </a:lnTo>
                    <a:lnTo>
                      <a:pt x="1485" y="585"/>
                    </a:lnTo>
                    <a:lnTo>
                      <a:pt x="1490" y="581"/>
                    </a:lnTo>
                    <a:lnTo>
                      <a:pt x="1497" y="583"/>
                    </a:lnTo>
                    <a:lnTo>
                      <a:pt x="1505" y="583"/>
                    </a:lnTo>
                    <a:lnTo>
                      <a:pt x="1512" y="585"/>
                    </a:lnTo>
                    <a:lnTo>
                      <a:pt x="1514" y="588"/>
                    </a:lnTo>
                    <a:lnTo>
                      <a:pt x="1512" y="590"/>
                    </a:lnTo>
                    <a:lnTo>
                      <a:pt x="1510" y="600"/>
                    </a:lnTo>
                    <a:lnTo>
                      <a:pt x="1510" y="601"/>
                    </a:lnTo>
                    <a:lnTo>
                      <a:pt x="1507" y="605"/>
                    </a:lnTo>
                    <a:lnTo>
                      <a:pt x="1504" y="610"/>
                    </a:lnTo>
                    <a:lnTo>
                      <a:pt x="1504" y="613"/>
                    </a:lnTo>
                    <a:lnTo>
                      <a:pt x="1509" y="615"/>
                    </a:lnTo>
                    <a:lnTo>
                      <a:pt x="1510" y="618"/>
                    </a:lnTo>
                    <a:lnTo>
                      <a:pt x="1510" y="620"/>
                    </a:lnTo>
                    <a:lnTo>
                      <a:pt x="1504" y="626"/>
                    </a:lnTo>
                    <a:lnTo>
                      <a:pt x="1502" y="630"/>
                    </a:lnTo>
                    <a:lnTo>
                      <a:pt x="1502" y="635"/>
                    </a:lnTo>
                    <a:lnTo>
                      <a:pt x="1505" y="636"/>
                    </a:lnTo>
                    <a:lnTo>
                      <a:pt x="1505" y="639"/>
                    </a:lnTo>
                    <a:lnTo>
                      <a:pt x="1502" y="643"/>
                    </a:lnTo>
                    <a:lnTo>
                      <a:pt x="1499" y="644"/>
                    </a:lnTo>
                    <a:lnTo>
                      <a:pt x="1495" y="648"/>
                    </a:lnTo>
                    <a:lnTo>
                      <a:pt x="1490" y="648"/>
                    </a:lnTo>
                    <a:lnTo>
                      <a:pt x="1487" y="651"/>
                    </a:lnTo>
                    <a:lnTo>
                      <a:pt x="1484" y="654"/>
                    </a:lnTo>
                    <a:lnTo>
                      <a:pt x="1482" y="658"/>
                    </a:lnTo>
                    <a:lnTo>
                      <a:pt x="1485" y="658"/>
                    </a:lnTo>
                    <a:lnTo>
                      <a:pt x="1490" y="653"/>
                    </a:lnTo>
                    <a:lnTo>
                      <a:pt x="1495" y="649"/>
                    </a:lnTo>
                    <a:lnTo>
                      <a:pt x="1499" y="649"/>
                    </a:lnTo>
                    <a:lnTo>
                      <a:pt x="1500" y="649"/>
                    </a:lnTo>
                    <a:lnTo>
                      <a:pt x="1497" y="653"/>
                    </a:lnTo>
                    <a:lnTo>
                      <a:pt x="1495" y="656"/>
                    </a:lnTo>
                    <a:lnTo>
                      <a:pt x="1489" y="661"/>
                    </a:lnTo>
                    <a:lnTo>
                      <a:pt x="1485" y="663"/>
                    </a:lnTo>
                    <a:lnTo>
                      <a:pt x="1484" y="664"/>
                    </a:lnTo>
                    <a:lnTo>
                      <a:pt x="1485" y="666"/>
                    </a:lnTo>
                    <a:lnTo>
                      <a:pt x="1484" y="669"/>
                    </a:lnTo>
                    <a:lnTo>
                      <a:pt x="1482" y="668"/>
                    </a:lnTo>
                    <a:lnTo>
                      <a:pt x="1479" y="668"/>
                    </a:lnTo>
                    <a:lnTo>
                      <a:pt x="1479" y="671"/>
                    </a:lnTo>
                    <a:lnTo>
                      <a:pt x="1481" y="671"/>
                    </a:lnTo>
                    <a:lnTo>
                      <a:pt x="1482" y="673"/>
                    </a:lnTo>
                    <a:lnTo>
                      <a:pt x="1482" y="676"/>
                    </a:lnTo>
                    <a:lnTo>
                      <a:pt x="1479" y="678"/>
                    </a:lnTo>
                    <a:lnTo>
                      <a:pt x="1482" y="678"/>
                    </a:lnTo>
                    <a:lnTo>
                      <a:pt x="1484" y="676"/>
                    </a:lnTo>
                    <a:lnTo>
                      <a:pt x="1489" y="674"/>
                    </a:lnTo>
                    <a:lnTo>
                      <a:pt x="1490" y="671"/>
                    </a:lnTo>
                    <a:lnTo>
                      <a:pt x="1490" y="668"/>
                    </a:lnTo>
                    <a:lnTo>
                      <a:pt x="1495" y="666"/>
                    </a:lnTo>
                    <a:lnTo>
                      <a:pt x="1497" y="663"/>
                    </a:lnTo>
                    <a:lnTo>
                      <a:pt x="1499" y="664"/>
                    </a:lnTo>
                    <a:lnTo>
                      <a:pt x="1499" y="669"/>
                    </a:lnTo>
                    <a:lnTo>
                      <a:pt x="1502" y="671"/>
                    </a:lnTo>
                    <a:lnTo>
                      <a:pt x="1502" y="666"/>
                    </a:lnTo>
                    <a:lnTo>
                      <a:pt x="1500" y="661"/>
                    </a:lnTo>
                    <a:lnTo>
                      <a:pt x="1500" y="658"/>
                    </a:lnTo>
                    <a:lnTo>
                      <a:pt x="1504" y="656"/>
                    </a:lnTo>
                    <a:lnTo>
                      <a:pt x="1507" y="658"/>
                    </a:lnTo>
                    <a:lnTo>
                      <a:pt x="1507" y="663"/>
                    </a:lnTo>
                    <a:lnTo>
                      <a:pt x="1509" y="664"/>
                    </a:lnTo>
                    <a:lnTo>
                      <a:pt x="1510" y="663"/>
                    </a:lnTo>
                    <a:lnTo>
                      <a:pt x="1517" y="658"/>
                    </a:lnTo>
                    <a:lnTo>
                      <a:pt x="1517" y="663"/>
                    </a:lnTo>
                    <a:lnTo>
                      <a:pt x="1520" y="664"/>
                    </a:lnTo>
                    <a:lnTo>
                      <a:pt x="1519" y="669"/>
                    </a:lnTo>
                    <a:lnTo>
                      <a:pt x="1514" y="676"/>
                    </a:lnTo>
                    <a:lnTo>
                      <a:pt x="1509" y="679"/>
                    </a:lnTo>
                    <a:lnTo>
                      <a:pt x="1507" y="683"/>
                    </a:lnTo>
                    <a:lnTo>
                      <a:pt x="1510" y="683"/>
                    </a:lnTo>
                    <a:lnTo>
                      <a:pt x="1515" y="686"/>
                    </a:lnTo>
                    <a:lnTo>
                      <a:pt x="1519" y="683"/>
                    </a:lnTo>
                    <a:lnTo>
                      <a:pt x="1515" y="681"/>
                    </a:lnTo>
                    <a:lnTo>
                      <a:pt x="1517" y="676"/>
                    </a:lnTo>
                    <a:lnTo>
                      <a:pt x="1522" y="673"/>
                    </a:lnTo>
                    <a:lnTo>
                      <a:pt x="1525" y="678"/>
                    </a:lnTo>
                    <a:lnTo>
                      <a:pt x="1525" y="681"/>
                    </a:lnTo>
                    <a:lnTo>
                      <a:pt x="1527" y="679"/>
                    </a:lnTo>
                    <a:lnTo>
                      <a:pt x="1525" y="673"/>
                    </a:lnTo>
                    <a:lnTo>
                      <a:pt x="1524" y="669"/>
                    </a:lnTo>
                    <a:lnTo>
                      <a:pt x="1524" y="661"/>
                    </a:lnTo>
                    <a:lnTo>
                      <a:pt x="1525" y="661"/>
                    </a:lnTo>
                    <a:lnTo>
                      <a:pt x="1530" y="663"/>
                    </a:lnTo>
                    <a:lnTo>
                      <a:pt x="1529" y="666"/>
                    </a:lnTo>
                    <a:lnTo>
                      <a:pt x="1527" y="669"/>
                    </a:lnTo>
                    <a:lnTo>
                      <a:pt x="1530" y="669"/>
                    </a:lnTo>
                    <a:lnTo>
                      <a:pt x="1534" y="668"/>
                    </a:lnTo>
                    <a:lnTo>
                      <a:pt x="1542" y="674"/>
                    </a:lnTo>
                    <a:lnTo>
                      <a:pt x="1542" y="678"/>
                    </a:lnTo>
                    <a:lnTo>
                      <a:pt x="1547" y="678"/>
                    </a:lnTo>
                    <a:lnTo>
                      <a:pt x="1550" y="679"/>
                    </a:lnTo>
                    <a:lnTo>
                      <a:pt x="1554" y="679"/>
                    </a:lnTo>
                    <a:lnTo>
                      <a:pt x="1550" y="674"/>
                    </a:lnTo>
                    <a:lnTo>
                      <a:pt x="1547" y="674"/>
                    </a:lnTo>
                    <a:lnTo>
                      <a:pt x="1545" y="673"/>
                    </a:lnTo>
                    <a:lnTo>
                      <a:pt x="1537" y="666"/>
                    </a:lnTo>
                    <a:lnTo>
                      <a:pt x="1534" y="664"/>
                    </a:lnTo>
                    <a:lnTo>
                      <a:pt x="1532" y="663"/>
                    </a:lnTo>
                    <a:lnTo>
                      <a:pt x="1537" y="656"/>
                    </a:lnTo>
                    <a:lnTo>
                      <a:pt x="1542" y="656"/>
                    </a:lnTo>
                    <a:lnTo>
                      <a:pt x="1547" y="653"/>
                    </a:lnTo>
                    <a:lnTo>
                      <a:pt x="1554" y="651"/>
                    </a:lnTo>
                    <a:lnTo>
                      <a:pt x="1560" y="651"/>
                    </a:lnTo>
                    <a:lnTo>
                      <a:pt x="1562" y="653"/>
                    </a:lnTo>
                    <a:lnTo>
                      <a:pt x="1565" y="653"/>
                    </a:lnTo>
                    <a:lnTo>
                      <a:pt x="1572" y="656"/>
                    </a:lnTo>
                    <a:lnTo>
                      <a:pt x="1572" y="659"/>
                    </a:lnTo>
                    <a:lnTo>
                      <a:pt x="1575" y="661"/>
                    </a:lnTo>
                    <a:lnTo>
                      <a:pt x="1579" y="663"/>
                    </a:lnTo>
                    <a:lnTo>
                      <a:pt x="1579" y="666"/>
                    </a:lnTo>
                    <a:lnTo>
                      <a:pt x="1582" y="666"/>
                    </a:lnTo>
                    <a:lnTo>
                      <a:pt x="1582" y="664"/>
                    </a:lnTo>
                    <a:lnTo>
                      <a:pt x="1587" y="664"/>
                    </a:lnTo>
                    <a:lnTo>
                      <a:pt x="1588" y="668"/>
                    </a:lnTo>
                    <a:lnTo>
                      <a:pt x="1593" y="671"/>
                    </a:lnTo>
                    <a:lnTo>
                      <a:pt x="1593" y="673"/>
                    </a:lnTo>
                    <a:lnTo>
                      <a:pt x="1593" y="676"/>
                    </a:lnTo>
                    <a:lnTo>
                      <a:pt x="1593" y="679"/>
                    </a:lnTo>
                    <a:lnTo>
                      <a:pt x="1595" y="681"/>
                    </a:lnTo>
                    <a:lnTo>
                      <a:pt x="1590" y="686"/>
                    </a:lnTo>
                    <a:lnTo>
                      <a:pt x="1587" y="686"/>
                    </a:lnTo>
                    <a:lnTo>
                      <a:pt x="1582" y="684"/>
                    </a:lnTo>
                    <a:lnTo>
                      <a:pt x="1575" y="686"/>
                    </a:lnTo>
                    <a:lnTo>
                      <a:pt x="1569" y="693"/>
                    </a:lnTo>
                    <a:lnTo>
                      <a:pt x="1577" y="688"/>
                    </a:lnTo>
                    <a:lnTo>
                      <a:pt x="1583" y="688"/>
                    </a:lnTo>
                    <a:lnTo>
                      <a:pt x="1585" y="689"/>
                    </a:lnTo>
                    <a:lnTo>
                      <a:pt x="1582" y="693"/>
                    </a:lnTo>
                    <a:lnTo>
                      <a:pt x="1577" y="694"/>
                    </a:lnTo>
                    <a:lnTo>
                      <a:pt x="1572" y="703"/>
                    </a:lnTo>
                    <a:lnTo>
                      <a:pt x="1569" y="704"/>
                    </a:lnTo>
                    <a:lnTo>
                      <a:pt x="1565" y="706"/>
                    </a:lnTo>
                    <a:lnTo>
                      <a:pt x="1565" y="709"/>
                    </a:lnTo>
                    <a:lnTo>
                      <a:pt x="1567" y="709"/>
                    </a:lnTo>
                    <a:lnTo>
                      <a:pt x="1575" y="701"/>
                    </a:lnTo>
                    <a:lnTo>
                      <a:pt x="1580" y="696"/>
                    </a:lnTo>
                    <a:lnTo>
                      <a:pt x="1585" y="693"/>
                    </a:lnTo>
                    <a:lnTo>
                      <a:pt x="1590" y="689"/>
                    </a:lnTo>
                    <a:lnTo>
                      <a:pt x="1595" y="691"/>
                    </a:lnTo>
                    <a:lnTo>
                      <a:pt x="1598" y="693"/>
                    </a:lnTo>
                    <a:lnTo>
                      <a:pt x="1602" y="693"/>
                    </a:lnTo>
                    <a:lnTo>
                      <a:pt x="1602" y="696"/>
                    </a:lnTo>
                    <a:lnTo>
                      <a:pt x="1600" y="699"/>
                    </a:lnTo>
                    <a:lnTo>
                      <a:pt x="1600" y="703"/>
                    </a:lnTo>
                    <a:lnTo>
                      <a:pt x="1595" y="704"/>
                    </a:lnTo>
                    <a:lnTo>
                      <a:pt x="1592" y="709"/>
                    </a:lnTo>
                    <a:lnTo>
                      <a:pt x="1587" y="709"/>
                    </a:lnTo>
                    <a:lnTo>
                      <a:pt x="1585" y="708"/>
                    </a:lnTo>
                    <a:lnTo>
                      <a:pt x="1580" y="708"/>
                    </a:lnTo>
                    <a:lnTo>
                      <a:pt x="1579" y="709"/>
                    </a:lnTo>
                    <a:lnTo>
                      <a:pt x="1583" y="709"/>
                    </a:lnTo>
                    <a:lnTo>
                      <a:pt x="1583" y="713"/>
                    </a:lnTo>
                    <a:lnTo>
                      <a:pt x="1575" y="716"/>
                    </a:lnTo>
                    <a:lnTo>
                      <a:pt x="1579" y="718"/>
                    </a:lnTo>
                    <a:lnTo>
                      <a:pt x="1582" y="714"/>
                    </a:lnTo>
                    <a:lnTo>
                      <a:pt x="1587" y="713"/>
                    </a:lnTo>
                    <a:lnTo>
                      <a:pt x="1590" y="713"/>
                    </a:lnTo>
                    <a:lnTo>
                      <a:pt x="1590" y="714"/>
                    </a:lnTo>
                    <a:lnTo>
                      <a:pt x="1588" y="716"/>
                    </a:lnTo>
                    <a:lnTo>
                      <a:pt x="1583" y="718"/>
                    </a:lnTo>
                    <a:lnTo>
                      <a:pt x="1579" y="721"/>
                    </a:lnTo>
                    <a:lnTo>
                      <a:pt x="1582" y="719"/>
                    </a:lnTo>
                    <a:lnTo>
                      <a:pt x="1583" y="721"/>
                    </a:lnTo>
                    <a:lnTo>
                      <a:pt x="1580" y="724"/>
                    </a:lnTo>
                    <a:lnTo>
                      <a:pt x="1575" y="729"/>
                    </a:lnTo>
                    <a:lnTo>
                      <a:pt x="1572" y="731"/>
                    </a:lnTo>
                    <a:lnTo>
                      <a:pt x="1575" y="733"/>
                    </a:lnTo>
                    <a:lnTo>
                      <a:pt x="1582" y="729"/>
                    </a:lnTo>
                    <a:lnTo>
                      <a:pt x="1585" y="721"/>
                    </a:lnTo>
                    <a:lnTo>
                      <a:pt x="1588" y="718"/>
                    </a:lnTo>
                    <a:lnTo>
                      <a:pt x="1595" y="713"/>
                    </a:lnTo>
                    <a:lnTo>
                      <a:pt x="1597" y="714"/>
                    </a:lnTo>
                    <a:lnTo>
                      <a:pt x="1597" y="718"/>
                    </a:lnTo>
                    <a:lnTo>
                      <a:pt x="1600" y="716"/>
                    </a:lnTo>
                    <a:lnTo>
                      <a:pt x="1602" y="713"/>
                    </a:lnTo>
                    <a:lnTo>
                      <a:pt x="1607" y="709"/>
                    </a:lnTo>
                    <a:lnTo>
                      <a:pt x="1610" y="709"/>
                    </a:lnTo>
                    <a:lnTo>
                      <a:pt x="1610" y="713"/>
                    </a:lnTo>
                    <a:lnTo>
                      <a:pt x="1603" y="718"/>
                    </a:lnTo>
                    <a:lnTo>
                      <a:pt x="1595" y="723"/>
                    </a:lnTo>
                    <a:lnTo>
                      <a:pt x="1592" y="723"/>
                    </a:lnTo>
                    <a:lnTo>
                      <a:pt x="1592" y="726"/>
                    </a:lnTo>
                    <a:lnTo>
                      <a:pt x="1593" y="726"/>
                    </a:lnTo>
                    <a:lnTo>
                      <a:pt x="1590" y="731"/>
                    </a:lnTo>
                    <a:lnTo>
                      <a:pt x="1590" y="734"/>
                    </a:lnTo>
                    <a:lnTo>
                      <a:pt x="1592" y="734"/>
                    </a:lnTo>
                    <a:lnTo>
                      <a:pt x="1593" y="731"/>
                    </a:lnTo>
                    <a:lnTo>
                      <a:pt x="1595" y="728"/>
                    </a:lnTo>
                    <a:lnTo>
                      <a:pt x="1602" y="723"/>
                    </a:lnTo>
                    <a:lnTo>
                      <a:pt x="1607" y="719"/>
                    </a:lnTo>
                    <a:lnTo>
                      <a:pt x="1607" y="723"/>
                    </a:lnTo>
                    <a:lnTo>
                      <a:pt x="1607" y="724"/>
                    </a:lnTo>
                    <a:lnTo>
                      <a:pt x="1605" y="728"/>
                    </a:lnTo>
                    <a:lnTo>
                      <a:pt x="1598" y="733"/>
                    </a:lnTo>
                    <a:lnTo>
                      <a:pt x="1598" y="736"/>
                    </a:lnTo>
                    <a:lnTo>
                      <a:pt x="1595" y="741"/>
                    </a:lnTo>
                    <a:lnTo>
                      <a:pt x="1592" y="742"/>
                    </a:lnTo>
                    <a:lnTo>
                      <a:pt x="1592" y="744"/>
                    </a:lnTo>
                    <a:lnTo>
                      <a:pt x="1597" y="742"/>
                    </a:lnTo>
                    <a:lnTo>
                      <a:pt x="1598" y="739"/>
                    </a:lnTo>
                    <a:lnTo>
                      <a:pt x="1605" y="733"/>
                    </a:lnTo>
                    <a:lnTo>
                      <a:pt x="1608" y="731"/>
                    </a:lnTo>
                    <a:lnTo>
                      <a:pt x="1610" y="734"/>
                    </a:lnTo>
                    <a:lnTo>
                      <a:pt x="1612" y="734"/>
                    </a:lnTo>
                    <a:lnTo>
                      <a:pt x="1612" y="737"/>
                    </a:lnTo>
                    <a:lnTo>
                      <a:pt x="1608" y="737"/>
                    </a:lnTo>
                    <a:lnTo>
                      <a:pt x="1603" y="744"/>
                    </a:lnTo>
                    <a:lnTo>
                      <a:pt x="1602" y="749"/>
                    </a:lnTo>
                    <a:lnTo>
                      <a:pt x="1605" y="749"/>
                    </a:lnTo>
                    <a:lnTo>
                      <a:pt x="1607" y="747"/>
                    </a:lnTo>
                    <a:lnTo>
                      <a:pt x="1607" y="744"/>
                    </a:lnTo>
                    <a:lnTo>
                      <a:pt x="1610" y="739"/>
                    </a:lnTo>
                    <a:lnTo>
                      <a:pt x="1615" y="737"/>
                    </a:lnTo>
                    <a:lnTo>
                      <a:pt x="1615" y="733"/>
                    </a:lnTo>
                    <a:lnTo>
                      <a:pt x="1617" y="729"/>
                    </a:lnTo>
                    <a:lnTo>
                      <a:pt x="1620" y="728"/>
                    </a:lnTo>
                    <a:lnTo>
                      <a:pt x="1622" y="724"/>
                    </a:lnTo>
                    <a:lnTo>
                      <a:pt x="1623" y="723"/>
                    </a:lnTo>
                    <a:lnTo>
                      <a:pt x="1625" y="721"/>
                    </a:lnTo>
                    <a:lnTo>
                      <a:pt x="1627" y="719"/>
                    </a:lnTo>
                    <a:lnTo>
                      <a:pt x="1627" y="716"/>
                    </a:lnTo>
                    <a:lnTo>
                      <a:pt x="1630" y="714"/>
                    </a:lnTo>
                    <a:lnTo>
                      <a:pt x="1633" y="721"/>
                    </a:lnTo>
                    <a:lnTo>
                      <a:pt x="1637" y="723"/>
                    </a:lnTo>
                    <a:lnTo>
                      <a:pt x="1640" y="728"/>
                    </a:lnTo>
                    <a:lnTo>
                      <a:pt x="1642" y="731"/>
                    </a:lnTo>
                    <a:lnTo>
                      <a:pt x="1642" y="736"/>
                    </a:lnTo>
                    <a:lnTo>
                      <a:pt x="1647" y="739"/>
                    </a:lnTo>
                    <a:lnTo>
                      <a:pt x="1647" y="742"/>
                    </a:lnTo>
                    <a:lnTo>
                      <a:pt x="1643" y="744"/>
                    </a:lnTo>
                    <a:lnTo>
                      <a:pt x="1640" y="749"/>
                    </a:lnTo>
                    <a:lnTo>
                      <a:pt x="1637" y="749"/>
                    </a:lnTo>
                    <a:lnTo>
                      <a:pt x="1633" y="747"/>
                    </a:lnTo>
                    <a:lnTo>
                      <a:pt x="1630" y="744"/>
                    </a:lnTo>
                    <a:lnTo>
                      <a:pt x="1627" y="744"/>
                    </a:lnTo>
                    <a:lnTo>
                      <a:pt x="1625" y="746"/>
                    </a:lnTo>
                    <a:lnTo>
                      <a:pt x="1622" y="747"/>
                    </a:lnTo>
                    <a:lnTo>
                      <a:pt x="1620" y="751"/>
                    </a:lnTo>
                    <a:lnTo>
                      <a:pt x="1617" y="752"/>
                    </a:lnTo>
                    <a:lnTo>
                      <a:pt x="1613" y="752"/>
                    </a:lnTo>
                    <a:lnTo>
                      <a:pt x="1612" y="756"/>
                    </a:lnTo>
                    <a:lnTo>
                      <a:pt x="1617" y="756"/>
                    </a:lnTo>
                    <a:lnTo>
                      <a:pt x="1618" y="756"/>
                    </a:lnTo>
                    <a:lnTo>
                      <a:pt x="1620" y="757"/>
                    </a:lnTo>
                    <a:lnTo>
                      <a:pt x="1617" y="761"/>
                    </a:lnTo>
                    <a:lnTo>
                      <a:pt x="1612" y="762"/>
                    </a:lnTo>
                    <a:lnTo>
                      <a:pt x="1608" y="764"/>
                    </a:lnTo>
                    <a:lnTo>
                      <a:pt x="1613" y="766"/>
                    </a:lnTo>
                    <a:lnTo>
                      <a:pt x="1618" y="762"/>
                    </a:lnTo>
                    <a:lnTo>
                      <a:pt x="1623" y="762"/>
                    </a:lnTo>
                    <a:lnTo>
                      <a:pt x="1627" y="762"/>
                    </a:lnTo>
                    <a:lnTo>
                      <a:pt x="1632" y="759"/>
                    </a:lnTo>
                    <a:lnTo>
                      <a:pt x="1635" y="759"/>
                    </a:lnTo>
                    <a:lnTo>
                      <a:pt x="1638" y="762"/>
                    </a:lnTo>
                    <a:lnTo>
                      <a:pt x="1638" y="764"/>
                    </a:lnTo>
                    <a:lnTo>
                      <a:pt x="1638" y="766"/>
                    </a:lnTo>
                    <a:lnTo>
                      <a:pt x="1640" y="764"/>
                    </a:lnTo>
                    <a:lnTo>
                      <a:pt x="1642" y="759"/>
                    </a:lnTo>
                    <a:lnTo>
                      <a:pt x="1640" y="756"/>
                    </a:lnTo>
                    <a:lnTo>
                      <a:pt x="1643" y="752"/>
                    </a:lnTo>
                    <a:lnTo>
                      <a:pt x="1650" y="749"/>
                    </a:lnTo>
                    <a:lnTo>
                      <a:pt x="1652" y="751"/>
                    </a:lnTo>
                    <a:lnTo>
                      <a:pt x="1650" y="754"/>
                    </a:lnTo>
                    <a:lnTo>
                      <a:pt x="1652" y="757"/>
                    </a:lnTo>
                    <a:lnTo>
                      <a:pt x="1650" y="761"/>
                    </a:lnTo>
                    <a:lnTo>
                      <a:pt x="1645" y="766"/>
                    </a:lnTo>
                    <a:lnTo>
                      <a:pt x="1640" y="767"/>
                    </a:lnTo>
                    <a:lnTo>
                      <a:pt x="1637" y="771"/>
                    </a:lnTo>
                    <a:lnTo>
                      <a:pt x="1637" y="772"/>
                    </a:lnTo>
                    <a:lnTo>
                      <a:pt x="1632" y="772"/>
                    </a:lnTo>
                    <a:lnTo>
                      <a:pt x="1630" y="771"/>
                    </a:lnTo>
                    <a:lnTo>
                      <a:pt x="1627" y="771"/>
                    </a:lnTo>
                    <a:lnTo>
                      <a:pt x="1623" y="774"/>
                    </a:lnTo>
                    <a:lnTo>
                      <a:pt x="1623" y="777"/>
                    </a:lnTo>
                    <a:lnTo>
                      <a:pt x="1618" y="781"/>
                    </a:lnTo>
                    <a:lnTo>
                      <a:pt x="1618" y="784"/>
                    </a:lnTo>
                    <a:lnTo>
                      <a:pt x="1617" y="786"/>
                    </a:lnTo>
                    <a:lnTo>
                      <a:pt x="1620" y="786"/>
                    </a:lnTo>
                    <a:lnTo>
                      <a:pt x="1625" y="781"/>
                    </a:lnTo>
                    <a:lnTo>
                      <a:pt x="1628" y="774"/>
                    </a:lnTo>
                    <a:lnTo>
                      <a:pt x="1632" y="774"/>
                    </a:lnTo>
                    <a:lnTo>
                      <a:pt x="1632" y="774"/>
                    </a:lnTo>
                    <a:lnTo>
                      <a:pt x="1635" y="776"/>
                    </a:lnTo>
                    <a:lnTo>
                      <a:pt x="1635" y="777"/>
                    </a:lnTo>
                    <a:lnTo>
                      <a:pt x="1633" y="779"/>
                    </a:lnTo>
                    <a:lnTo>
                      <a:pt x="1630" y="784"/>
                    </a:lnTo>
                    <a:lnTo>
                      <a:pt x="1623" y="789"/>
                    </a:lnTo>
                    <a:lnTo>
                      <a:pt x="1620" y="792"/>
                    </a:lnTo>
                    <a:lnTo>
                      <a:pt x="1620" y="794"/>
                    </a:lnTo>
                    <a:lnTo>
                      <a:pt x="1628" y="789"/>
                    </a:lnTo>
                    <a:lnTo>
                      <a:pt x="1637" y="782"/>
                    </a:lnTo>
                    <a:lnTo>
                      <a:pt x="1638" y="774"/>
                    </a:lnTo>
                    <a:lnTo>
                      <a:pt x="1640" y="772"/>
                    </a:lnTo>
                    <a:lnTo>
                      <a:pt x="1642" y="769"/>
                    </a:lnTo>
                    <a:lnTo>
                      <a:pt x="1645" y="769"/>
                    </a:lnTo>
                    <a:lnTo>
                      <a:pt x="1652" y="766"/>
                    </a:lnTo>
                    <a:lnTo>
                      <a:pt x="1658" y="762"/>
                    </a:lnTo>
                    <a:lnTo>
                      <a:pt x="1662" y="762"/>
                    </a:lnTo>
                    <a:lnTo>
                      <a:pt x="1662" y="764"/>
                    </a:lnTo>
                    <a:lnTo>
                      <a:pt x="1660" y="766"/>
                    </a:lnTo>
                    <a:lnTo>
                      <a:pt x="1655" y="771"/>
                    </a:lnTo>
                    <a:lnTo>
                      <a:pt x="1650" y="771"/>
                    </a:lnTo>
                    <a:lnTo>
                      <a:pt x="1647" y="772"/>
                    </a:lnTo>
                    <a:lnTo>
                      <a:pt x="1647" y="777"/>
                    </a:lnTo>
                    <a:lnTo>
                      <a:pt x="1647" y="777"/>
                    </a:lnTo>
                    <a:lnTo>
                      <a:pt x="1650" y="774"/>
                    </a:lnTo>
                    <a:lnTo>
                      <a:pt x="1655" y="774"/>
                    </a:lnTo>
                    <a:lnTo>
                      <a:pt x="1660" y="771"/>
                    </a:lnTo>
                    <a:lnTo>
                      <a:pt x="1663" y="769"/>
                    </a:lnTo>
                    <a:lnTo>
                      <a:pt x="1665" y="767"/>
                    </a:lnTo>
                    <a:lnTo>
                      <a:pt x="1668" y="766"/>
                    </a:lnTo>
                    <a:lnTo>
                      <a:pt x="1672" y="766"/>
                    </a:lnTo>
                    <a:lnTo>
                      <a:pt x="1675" y="771"/>
                    </a:lnTo>
                    <a:lnTo>
                      <a:pt x="1680" y="776"/>
                    </a:lnTo>
                    <a:lnTo>
                      <a:pt x="1682" y="779"/>
                    </a:lnTo>
                    <a:lnTo>
                      <a:pt x="1686" y="781"/>
                    </a:lnTo>
                    <a:lnTo>
                      <a:pt x="1686" y="784"/>
                    </a:lnTo>
                    <a:lnTo>
                      <a:pt x="1686" y="787"/>
                    </a:lnTo>
                    <a:lnTo>
                      <a:pt x="1682" y="791"/>
                    </a:lnTo>
                    <a:lnTo>
                      <a:pt x="1680" y="791"/>
                    </a:lnTo>
                    <a:lnTo>
                      <a:pt x="1680" y="786"/>
                    </a:lnTo>
                    <a:lnTo>
                      <a:pt x="1677" y="786"/>
                    </a:lnTo>
                    <a:lnTo>
                      <a:pt x="1677" y="789"/>
                    </a:lnTo>
                    <a:lnTo>
                      <a:pt x="1673" y="791"/>
                    </a:lnTo>
                    <a:lnTo>
                      <a:pt x="1672" y="794"/>
                    </a:lnTo>
                    <a:lnTo>
                      <a:pt x="1663" y="794"/>
                    </a:lnTo>
                    <a:lnTo>
                      <a:pt x="1660" y="796"/>
                    </a:lnTo>
                    <a:lnTo>
                      <a:pt x="1655" y="796"/>
                    </a:lnTo>
                    <a:lnTo>
                      <a:pt x="1648" y="799"/>
                    </a:lnTo>
                    <a:lnTo>
                      <a:pt x="1645" y="799"/>
                    </a:lnTo>
                    <a:lnTo>
                      <a:pt x="1638" y="802"/>
                    </a:lnTo>
                    <a:lnTo>
                      <a:pt x="1642" y="802"/>
                    </a:lnTo>
                    <a:lnTo>
                      <a:pt x="1645" y="804"/>
                    </a:lnTo>
                    <a:lnTo>
                      <a:pt x="1643" y="806"/>
                    </a:lnTo>
                    <a:lnTo>
                      <a:pt x="1637" y="807"/>
                    </a:lnTo>
                    <a:lnTo>
                      <a:pt x="1635" y="809"/>
                    </a:lnTo>
                    <a:lnTo>
                      <a:pt x="1643" y="809"/>
                    </a:lnTo>
                    <a:lnTo>
                      <a:pt x="1648" y="804"/>
                    </a:lnTo>
                    <a:lnTo>
                      <a:pt x="1655" y="799"/>
                    </a:lnTo>
                    <a:lnTo>
                      <a:pt x="1660" y="797"/>
                    </a:lnTo>
                    <a:lnTo>
                      <a:pt x="1663" y="799"/>
                    </a:lnTo>
                    <a:lnTo>
                      <a:pt x="1667" y="797"/>
                    </a:lnTo>
                    <a:lnTo>
                      <a:pt x="1670" y="797"/>
                    </a:lnTo>
                    <a:lnTo>
                      <a:pt x="1670" y="799"/>
                    </a:lnTo>
                    <a:lnTo>
                      <a:pt x="1670" y="804"/>
                    </a:lnTo>
                    <a:lnTo>
                      <a:pt x="1667" y="806"/>
                    </a:lnTo>
                    <a:lnTo>
                      <a:pt x="1663" y="809"/>
                    </a:lnTo>
                    <a:lnTo>
                      <a:pt x="1660" y="807"/>
                    </a:lnTo>
                    <a:lnTo>
                      <a:pt x="1657" y="809"/>
                    </a:lnTo>
                    <a:lnTo>
                      <a:pt x="1653" y="814"/>
                    </a:lnTo>
                    <a:lnTo>
                      <a:pt x="1650" y="816"/>
                    </a:lnTo>
                    <a:lnTo>
                      <a:pt x="1647" y="814"/>
                    </a:lnTo>
                    <a:lnTo>
                      <a:pt x="1643" y="814"/>
                    </a:lnTo>
                    <a:lnTo>
                      <a:pt x="1640" y="817"/>
                    </a:lnTo>
                    <a:lnTo>
                      <a:pt x="1642" y="817"/>
                    </a:lnTo>
                    <a:lnTo>
                      <a:pt x="1647" y="816"/>
                    </a:lnTo>
                    <a:lnTo>
                      <a:pt x="1650" y="817"/>
                    </a:lnTo>
                    <a:lnTo>
                      <a:pt x="1652" y="817"/>
                    </a:lnTo>
                    <a:lnTo>
                      <a:pt x="1657" y="814"/>
                    </a:lnTo>
                    <a:lnTo>
                      <a:pt x="1660" y="811"/>
                    </a:lnTo>
                    <a:lnTo>
                      <a:pt x="1663" y="809"/>
                    </a:lnTo>
                    <a:lnTo>
                      <a:pt x="1667" y="811"/>
                    </a:lnTo>
                    <a:lnTo>
                      <a:pt x="1672" y="811"/>
                    </a:lnTo>
                    <a:lnTo>
                      <a:pt x="1673" y="807"/>
                    </a:lnTo>
                    <a:lnTo>
                      <a:pt x="1678" y="806"/>
                    </a:lnTo>
                    <a:lnTo>
                      <a:pt x="1680" y="804"/>
                    </a:lnTo>
                    <a:lnTo>
                      <a:pt x="1680" y="802"/>
                    </a:lnTo>
                    <a:lnTo>
                      <a:pt x="1678" y="801"/>
                    </a:lnTo>
                    <a:lnTo>
                      <a:pt x="1682" y="797"/>
                    </a:lnTo>
                    <a:lnTo>
                      <a:pt x="1682" y="794"/>
                    </a:lnTo>
                    <a:lnTo>
                      <a:pt x="1685" y="794"/>
                    </a:lnTo>
                    <a:lnTo>
                      <a:pt x="1686" y="796"/>
                    </a:lnTo>
                    <a:lnTo>
                      <a:pt x="1688" y="794"/>
                    </a:lnTo>
                    <a:lnTo>
                      <a:pt x="1690" y="799"/>
                    </a:lnTo>
                    <a:lnTo>
                      <a:pt x="1693" y="807"/>
                    </a:lnTo>
                    <a:lnTo>
                      <a:pt x="1695" y="812"/>
                    </a:lnTo>
                    <a:lnTo>
                      <a:pt x="1696" y="816"/>
                    </a:lnTo>
                    <a:lnTo>
                      <a:pt x="1696" y="819"/>
                    </a:lnTo>
                    <a:lnTo>
                      <a:pt x="1695" y="822"/>
                    </a:lnTo>
                    <a:lnTo>
                      <a:pt x="1690" y="822"/>
                    </a:lnTo>
                    <a:lnTo>
                      <a:pt x="1686" y="821"/>
                    </a:lnTo>
                    <a:lnTo>
                      <a:pt x="1680" y="819"/>
                    </a:lnTo>
                    <a:lnTo>
                      <a:pt x="1677" y="821"/>
                    </a:lnTo>
                    <a:lnTo>
                      <a:pt x="1672" y="824"/>
                    </a:lnTo>
                    <a:lnTo>
                      <a:pt x="1670" y="824"/>
                    </a:lnTo>
                    <a:lnTo>
                      <a:pt x="1668" y="822"/>
                    </a:lnTo>
                    <a:lnTo>
                      <a:pt x="1663" y="822"/>
                    </a:lnTo>
                    <a:lnTo>
                      <a:pt x="1662" y="826"/>
                    </a:lnTo>
                    <a:lnTo>
                      <a:pt x="1653" y="826"/>
                    </a:lnTo>
                    <a:lnTo>
                      <a:pt x="1657" y="827"/>
                    </a:lnTo>
                    <a:lnTo>
                      <a:pt x="1665" y="826"/>
                    </a:lnTo>
                    <a:lnTo>
                      <a:pt x="1670" y="827"/>
                    </a:lnTo>
                    <a:lnTo>
                      <a:pt x="1677" y="832"/>
                    </a:lnTo>
                    <a:lnTo>
                      <a:pt x="1680" y="834"/>
                    </a:lnTo>
                    <a:lnTo>
                      <a:pt x="1682" y="834"/>
                    </a:lnTo>
                    <a:lnTo>
                      <a:pt x="1685" y="832"/>
                    </a:lnTo>
                    <a:lnTo>
                      <a:pt x="1686" y="834"/>
                    </a:lnTo>
                    <a:lnTo>
                      <a:pt x="1691" y="837"/>
                    </a:lnTo>
                    <a:lnTo>
                      <a:pt x="1695" y="839"/>
                    </a:lnTo>
                    <a:lnTo>
                      <a:pt x="1696" y="840"/>
                    </a:lnTo>
                    <a:lnTo>
                      <a:pt x="1698" y="845"/>
                    </a:lnTo>
                    <a:lnTo>
                      <a:pt x="1698" y="849"/>
                    </a:lnTo>
                    <a:lnTo>
                      <a:pt x="1696" y="850"/>
                    </a:lnTo>
                    <a:lnTo>
                      <a:pt x="1693" y="850"/>
                    </a:lnTo>
                    <a:lnTo>
                      <a:pt x="1691" y="847"/>
                    </a:lnTo>
                    <a:lnTo>
                      <a:pt x="1690" y="847"/>
                    </a:lnTo>
                    <a:lnTo>
                      <a:pt x="1688" y="850"/>
                    </a:lnTo>
                    <a:lnTo>
                      <a:pt x="1685" y="849"/>
                    </a:lnTo>
                    <a:lnTo>
                      <a:pt x="1683" y="847"/>
                    </a:lnTo>
                    <a:lnTo>
                      <a:pt x="1682" y="847"/>
                    </a:lnTo>
                    <a:lnTo>
                      <a:pt x="1678" y="847"/>
                    </a:lnTo>
                    <a:lnTo>
                      <a:pt x="1673" y="842"/>
                    </a:lnTo>
                    <a:lnTo>
                      <a:pt x="1670" y="840"/>
                    </a:lnTo>
                    <a:lnTo>
                      <a:pt x="1667" y="840"/>
                    </a:lnTo>
                    <a:lnTo>
                      <a:pt x="1663" y="842"/>
                    </a:lnTo>
                    <a:lnTo>
                      <a:pt x="1660" y="840"/>
                    </a:lnTo>
                    <a:lnTo>
                      <a:pt x="1662" y="842"/>
                    </a:lnTo>
                    <a:lnTo>
                      <a:pt x="1665" y="844"/>
                    </a:lnTo>
                    <a:lnTo>
                      <a:pt x="1670" y="844"/>
                    </a:lnTo>
                    <a:lnTo>
                      <a:pt x="1668" y="845"/>
                    </a:lnTo>
                    <a:lnTo>
                      <a:pt x="1662" y="845"/>
                    </a:lnTo>
                    <a:lnTo>
                      <a:pt x="1660" y="847"/>
                    </a:lnTo>
                    <a:lnTo>
                      <a:pt x="1655" y="847"/>
                    </a:lnTo>
                    <a:lnTo>
                      <a:pt x="1650" y="849"/>
                    </a:lnTo>
                    <a:lnTo>
                      <a:pt x="1652" y="852"/>
                    </a:lnTo>
                    <a:lnTo>
                      <a:pt x="1653" y="852"/>
                    </a:lnTo>
                    <a:lnTo>
                      <a:pt x="1655" y="850"/>
                    </a:lnTo>
                    <a:lnTo>
                      <a:pt x="1662" y="850"/>
                    </a:lnTo>
                    <a:lnTo>
                      <a:pt x="1665" y="849"/>
                    </a:lnTo>
                    <a:lnTo>
                      <a:pt x="1668" y="847"/>
                    </a:lnTo>
                    <a:lnTo>
                      <a:pt x="1670" y="850"/>
                    </a:lnTo>
                    <a:lnTo>
                      <a:pt x="1670" y="852"/>
                    </a:lnTo>
                    <a:lnTo>
                      <a:pt x="1673" y="854"/>
                    </a:lnTo>
                    <a:lnTo>
                      <a:pt x="1673" y="855"/>
                    </a:lnTo>
                    <a:lnTo>
                      <a:pt x="1673" y="855"/>
                    </a:lnTo>
                    <a:lnTo>
                      <a:pt x="1668" y="855"/>
                    </a:lnTo>
                    <a:lnTo>
                      <a:pt x="1667" y="857"/>
                    </a:lnTo>
                    <a:lnTo>
                      <a:pt x="1665" y="855"/>
                    </a:lnTo>
                    <a:lnTo>
                      <a:pt x="1663" y="854"/>
                    </a:lnTo>
                    <a:lnTo>
                      <a:pt x="1660" y="854"/>
                    </a:lnTo>
                    <a:lnTo>
                      <a:pt x="1660" y="855"/>
                    </a:lnTo>
                    <a:lnTo>
                      <a:pt x="1663" y="857"/>
                    </a:lnTo>
                    <a:lnTo>
                      <a:pt x="1667" y="859"/>
                    </a:lnTo>
                    <a:lnTo>
                      <a:pt x="1668" y="860"/>
                    </a:lnTo>
                    <a:lnTo>
                      <a:pt x="1668" y="864"/>
                    </a:lnTo>
                    <a:lnTo>
                      <a:pt x="1670" y="865"/>
                    </a:lnTo>
                    <a:lnTo>
                      <a:pt x="1667" y="865"/>
                    </a:lnTo>
                    <a:lnTo>
                      <a:pt x="1658" y="864"/>
                    </a:lnTo>
                    <a:lnTo>
                      <a:pt x="1652" y="864"/>
                    </a:lnTo>
                    <a:lnTo>
                      <a:pt x="1643" y="860"/>
                    </a:lnTo>
                    <a:lnTo>
                      <a:pt x="1640" y="860"/>
                    </a:lnTo>
                    <a:lnTo>
                      <a:pt x="1640" y="862"/>
                    </a:lnTo>
                    <a:lnTo>
                      <a:pt x="1645" y="864"/>
                    </a:lnTo>
                    <a:lnTo>
                      <a:pt x="1658" y="869"/>
                    </a:lnTo>
                    <a:lnTo>
                      <a:pt x="1658" y="870"/>
                    </a:lnTo>
                    <a:lnTo>
                      <a:pt x="1657" y="872"/>
                    </a:lnTo>
                    <a:lnTo>
                      <a:pt x="1650" y="867"/>
                    </a:lnTo>
                    <a:lnTo>
                      <a:pt x="1648" y="869"/>
                    </a:lnTo>
                    <a:lnTo>
                      <a:pt x="1645" y="872"/>
                    </a:lnTo>
                    <a:lnTo>
                      <a:pt x="1648" y="870"/>
                    </a:lnTo>
                    <a:lnTo>
                      <a:pt x="1650" y="872"/>
                    </a:lnTo>
                    <a:lnTo>
                      <a:pt x="1652" y="874"/>
                    </a:lnTo>
                    <a:lnTo>
                      <a:pt x="1653" y="874"/>
                    </a:lnTo>
                    <a:lnTo>
                      <a:pt x="1657" y="875"/>
                    </a:lnTo>
                    <a:lnTo>
                      <a:pt x="1657" y="877"/>
                    </a:lnTo>
                    <a:lnTo>
                      <a:pt x="1658" y="880"/>
                    </a:lnTo>
                    <a:lnTo>
                      <a:pt x="1660" y="879"/>
                    </a:lnTo>
                    <a:lnTo>
                      <a:pt x="1660" y="877"/>
                    </a:lnTo>
                    <a:lnTo>
                      <a:pt x="1665" y="877"/>
                    </a:lnTo>
                    <a:lnTo>
                      <a:pt x="1663" y="879"/>
                    </a:lnTo>
                    <a:lnTo>
                      <a:pt x="1662" y="880"/>
                    </a:lnTo>
                    <a:lnTo>
                      <a:pt x="1662" y="882"/>
                    </a:lnTo>
                    <a:lnTo>
                      <a:pt x="1665" y="882"/>
                    </a:lnTo>
                    <a:lnTo>
                      <a:pt x="1665" y="879"/>
                    </a:lnTo>
                    <a:lnTo>
                      <a:pt x="1668" y="879"/>
                    </a:lnTo>
                    <a:lnTo>
                      <a:pt x="1673" y="880"/>
                    </a:lnTo>
                    <a:lnTo>
                      <a:pt x="1678" y="882"/>
                    </a:lnTo>
                    <a:lnTo>
                      <a:pt x="1682" y="882"/>
                    </a:lnTo>
                    <a:lnTo>
                      <a:pt x="1680" y="885"/>
                    </a:lnTo>
                    <a:lnTo>
                      <a:pt x="1678" y="887"/>
                    </a:lnTo>
                    <a:lnTo>
                      <a:pt x="1675" y="885"/>
                    </a:lnTo>
                    <a:lnTo>
                      <a:pt x="1672" y="884"/>
                    </a:lnTo>
                    <a:lnTo>
                      <a:pt x="1667" y="885"/>
                    </a:lnTo>
                    <a:lnTo>
                      <a:pt x="1660" y="887"/>
                    </a:lnTo>
                    <a:lnTo>
                      <a:pt x="1660" y="890"/>
                    </a:lnTo>
                    <a:lnTo>
                      <a:pt x="1662" y="889"/>
                    </a:lnTo>
                    <a:lnTo>
                      <a:pt x="1668" y="889"/>
                    </a:lnTo>
                    <a:lnTo>
                      <a:pt x="1672" y="889"/>
                    </a:lnTo>
                    <a:lnTo>
                      <a:pt x="1668" y="890"/>
                    </a:lnTo>
                    <a:lnTo>
                      <a:pt x="1667" y="892"/>
                    </a:lnTo>
                    <a:lnTo>
                      <a:pt x="1670" y="890"/>
                    </a:lnTo>
                    <a:lnTo>
                      <a:pt x="1677" y="892"/>
                    </a:lnTo>
                    <a:lnTo>
                      <a:pt x="1678" y="894"/>
                    </a:lnTo>
                    <a:lnTo>
                      <a:pt x="1677" y="894"/>
                    </a:lnTo>
                    <a:lnTo>
                      <a:pt x="1682" y="895"/>
                    </a:lnTo>
                    <a:lnTo>
                      <a:pt x="1683" y="899"/>
                    </a:lnTo>
                    <a:lnTo>
                      <a:pt x="1682" y="900"/>
                    </a:lnTo>
                    <a:lnTo>
                      <a:pt x="1678" y="905"/>
                    </a:lnTo>
                    <a:lnTo>
                      <a:pt x="1680" y="909"/>
                    </a:lnTo>
                    <a:lnTo>
                      <a:pt x="1682" y="907"/>
                    </a:lnTo>
                    <a:lnTo>
                      <a:pt x="1682" y="904"/>
                    </a:lnTo>
                    <a:lnTo>
                      <a:pt x="1685" y="900"/>
                    </a:lnTo>
                    <a:lnTo>
                      <a:pt x="1688" y="900"/>
                    </a:lnTo>
                    <a:lnTo>
                      <a:pt x="1688" y="904"/>
                    </a:lnTo>
                    <a:lnTo>
                      <a:pt x="1686" y="907"/>
                    </a:lnTo>
                    <a:lnTo>
                      <a:pt x="1683" y="914"/>
                    </a:lnTo>
                    <a:lnTo>
                      <a:pt x="1680" y="917"/>
                    </a:lnTo>
                    <a:lnTo>
                      <a:pt x="1680" y="920"/>
                    </a:lnTo>
                    <a:lnTo>
                      <a:pt x="1683" y="919"/>
                    </a:lnTo>
                    <a:lnTo>
                      <a:pt x="1686" y="914"/>
                    </a:lnTo>
                    <a:lnTo>
                      <a:pt x="1686" y="912"/>
                    </a:lnTo>
                    <a:lnTo>
                      <a:pt x="1688" y="909"/>
                    </a:lnTo>
                    <a:lnTo>
                      <a:pt x="1693" y="907"/>
                    </a:lnTo>
                    <a:lnTo>
                      <a:pt x="1693" y="905"/>
                    </a:lnTo>
                    <a:lnTo>
                      <a:pt x="1695" y="902"/>
                    </a:lnTo>
                    <a:lnTo>
                      <a:pt x="1698" y="900"/>
                    </a:lnTo>
                    <a:lnTo>
                      <a:pt x="1698" y="902"/>
                    </a:lnTo>
                    <a:lnTo>
                      <a:pt x="1698" y="905"/>
                    </a:lnTo>
                    <a:lnTo>
                      <a:pt x="1693" y="910"/>
                    </a:lnTo>
                    <a:lnTo>
                      <a:pt x="1691" y="914"/>
                    </a:lnTo>
                    <a:lnTo>
                      <a:pt x="1691" y="917"/>
                    </a:lnTo>
                    <a:lnTo>
                      <a:pt x="1691" y="920"/>
                    </a:lnTo>
                    <a:lnTo>
                      <a:pt x="1693" y="920"/>
                    </a:lnTo>
                    <a:lnTo>
                      <a:pt x="1693" y="917"/>
                    </a:lnTo>
                    <a:lnTo>
                      <a:pt x="1693" y="914"/>
                    </a:lnTo>
                    <a:lnTo>
                      <a:pt x="1696" y="910"/>
                    </a:lnTo>
                    <a:lnTo>
                      <a:pt x="1700" y="907"/>
                    </a:lnTo>
                    <a:lnTo>
                      <a:pt x="1705" y="904"/>
                    </a:lnTo>
                    <a:lnTo>
                      <a:pt x="1708" y="900"/>
                    </a:lnTo>
                    <a:lnTo>
                      <a:pt x="1710" y="902"/>
                    </a:lnTo>
                    <a:lnTo>
                      <a:pt x="1710" y="907"/>
                    </a:lnTo>
                    <a:lnTo>
                      <a:pt x="1706" y="909"/>
                    </a:lnTo>
                    <a:lnTo>
                      <a:pt x="1701" y="910"/>
                    </a:lnTo>
                    <a:lnTo>
                      <a:pt x="1701" y="914"/>
                    </a:lnTo>
                    <a:lnTo>
                      <a:pt x="1700" y="917"/>
                    </a:lnTo>
                    <a:lnTo>
                      <a:pt x="1701" y="919"/>
                    </a:lnTo>
                    <a:lnTo>
                      <a:pt x="1701" y="917"/>
                    </a:lnTo>
                    <a:lnTo>
                      <a:pt x="1705" y="919"/>
                    </a:lnTo>
                    <a:lnTo>
                      <a:pt x="1706" y="917"/>
                    </a:lnTo>
                    <a:lnTo>
                      <a:pt x="1713" y="915"/>
                    </a:lnTo>
                    <a:lnTo>
                      <a:pt x="1715" y="917"/>
                    </a:lnTo>
                    <a:lnTo>
                      <a:pt x="1715" y="922"/>
                    </a:lnTo>
                    <a:lnTo>
                      <a:pt x="1715" y="925"/>
                    </a:lnTo>
                    <a:lnTo>
                      <a:pt x="1711" y="927"/>
                    </a:lnTo>
                    <a:lnTo>
                      <a:pt x="1711" y="927"/>
                    </a:lnTo>
                    <a:lnTo>
                      <a:pt x="1715" y="929"/>
                    </a:lnTo>
                    <a:lnTo>
                      <a:pt x="1716" y="932"/>
                    </a:lnTo>
                    <a:lnTo>
                      <a:pt x="1713" y="932"/>
                    </a:lnTo>
                    <a:lnTo>
                      <a:pt x="1710" y="932"/>
                    </a:lnTo>
                    <a:lnTo>
                      <a:pt x="1713" y="933"/>
                    </a:lnTo>
                    <a:lnTo>
                      <a:pt x="1716" y="935"/>
                    </a:lnTo>
                    <a:lnTo>
                      <a:pt x="1708" y="937"/>
                    </a:lnTo>
                    <a:lnTo>
                      <a:pt x="1703" y="937"/>
                    </a:lnTo>
                    <a:lnTo>
                      <a:pt x="1705" y="938"/>
                    </a:lnTo>
                    <a:lnTo>
                      <a:pt x="1710" y="938"/>
                    </a:lnTo>
                    <a:lnTo>
                      <a:pt x="1716" y="940"/>
                    </a:lnTo>
                    <a:lnTo>
                      <a:pt x="1718" y="938"/>
                    </a:lnTo>
                    <a:lnTo>
                      <a:pt x="1723" y="937"/>
                    </a:lnTo>
                    <a:lnTo>
                      <a:pt x="1723" y="937"/>
                    </a:lnTo>
                    <a:lnTo>
                      <a:pt x="1720" y="942"/>
                    </a:lnTo>
                    <a:lnTo>
                      <a:pt x="1718" y="947"/>
                    </a:lnTo>
                    <a:lnTo>
                      <a:pt x="1723" y="942"/>
                    </a:lnTo>
                    <a:lnTo>
                      <a:pt x="1726" y="942"/>
                    </a:lnTo>
                    <a:lnTo>
                      <a:pt x="1728" y="938"/>
                    </a:lnTo>
                    <a:lnTo>
                      <a:pt x="1733" y="935"/>
                    </a:lnTo>
                    <a:lnTo>
                      <a:pt x="1736" y="937"/>
                    </a:lnTo>
                    <a:lnTo>
                      <a:pt x="1736" y="938"/>
                    </a:lnTo>
                    <a:lnTo>
                      <a:pt x="1733" y="942"/>
                    </a:lnTo>
                    <a:lnTo>
                      <a:pt x="1731" y="942"/>
                    </a:lnTo>
                    <a:lnTo>
                      <a:pt x="1730" y="945"/>
                    </a:lnTo>
                    <a:lnTo>
                      <a:pt x="1726" y="948"/>
                    </a:lnTo>
                    <a:lnTo>
                      <a:pt x="1721" y="950"/>
                    </a:lnTo>
                    <a:lnTo>
                      <a:pt x="1720" y="955"/>
                    </a:lnTo>
                    <a:lnTo>
                      <a:pt x="1720" y="957"/>
                    </a:lnTo>
                    <a:lnTo>
                      <a:pt x="1723" y="958"/>
                    </a:lnTo>
                    <a:lnTo>
                      <a:pt x="1726" y="955"/>
                    </a:lnTo>
                    <a:lnTo>
                      <a:pt x="1726" y="953"/>
                    </a:lnTo>
                    <a:lnTo>
                      <a:pt x="1731" y="947"/>
                    </a:lnTo>
                    <a:lnTo>
                      <a:pt x="1735" y="947"/>
                    </a:lnTo>
                    <a:lnTo>
                      <a:pt x="1735" y="948"/>
                    </a:lnTo>
                    <a:lnTo>
                      <a:pt x="1731" y="953"/>
                    </a:lnTo>
                    <a:lnTo>
                      <a:pt x="1731" y="958"/>
                    </a:lnTo>
                    <a:lnTo>
                      <a:pt x="1730" y="962"/>
                    </a:lnTo>
                    <a:lnTo>
                      <a:pt x="1731" y="960"/>
                    </a:lnTo>
                    <a:lnTo>
                      <a:pt x="1735" y="953"/>
                    </a:lnTo>
                    <a:lnTo>
                      <a:pt x="1735" y="952"/>
                    </a:lnTo>
                    <a:lnTo>
                      <a:pt x="1738" y="950"/>
                    </a:lnTo>
                    <a:lnTo>
                      <a:pt x="1738" y="952"/>
                    </a:lnTo>
                    <a:lnTo>
                      <a:pt x="1740" y="957"/>
                    </a:lnTo>
                    <a:lnTo>
                      <a:pt x="1741" y="960"/>
                    </a:lnTo>
                    <a:lnTo>
                      <a:pt x="1743" y="960"/>
                    </a:lnTo>
                    <a:lnTo>
                      <a:pt x="1743" y="955"/>
                    </a:lnTo>
                    <a:lnTo>
                      <a:pt x="1745" y="952"/>
                    </a:lnTo>
                    <a:lnTo>
                      <a:pt x="1750" y="948"/>
                    </a:lnTo>
                    <a:lnTo>
                      <a:pt x="1751" y="950"/>
                    </a:lnTo>
                    <a:lnTo>
                      <a:pt x="1750" y="953"/>
                    </a:lnTo>
                    <a:lnTo>
                      <a:pt x="1751" y="953"/>
                    </a:lnTo>
                    <a:lnTo>
                      <a:pt x="1755" y="953"/>
                    </a:lnTo>
                    <a:lnTo>
                      <a:pt x="1756" y="957"/>
                    </a:lnTo>
                    <a:lnTo>
                      <a:pt x="1755" y="960"/>
                    </a:lnTo>
                    <a:lnTo>
                      <a:pt x="1760" y="960"/>
                    </a:lnTo>
                    <a:lnTo>
                      <a:pt x="1761" y="962"/>
                    </a:lnTo>
                    <a:lnTo>
                      <a:pt x="1761" y="965"/>
                    </a:lnTo>
                    <a:lnTo>
                      <a:pt x="1765" y="967"/>
                    </a:lnTo>
                    <a:lnTo>
                      <a:pt x="1765" y="970"/>
                    </a:lnTo>
                    <a:lnTo>
                      <a:pt x="1763" y="972"/>
                    </a:lnTo>
                    <a:lnTo>
                      <a:pt x="1761" y="972"/>
                    </a:lnTo>
                    <a:lnTo>
                      <a:pt x="1756" y="972"/>
                    </a:lnTo>
                    <a:lnTo>
                      <a:pt x="1756" y="970"/>
                    </a:lnTo>
                    <a:lnTo>
                      <a:pt x="1755" y="967"/>
                    </a:lnTo>
                    <a:lnTo>
                      <a:pt x="1751" y="965"/>
                    </a:lnTo>
                    <a:lnTo>
                      <a:pt x="1750" y="965"/>
                    </a:lnTo>
                    <a:lnTo>
                      <a:pt x="1748" y="967"/>
                    </a:lnTo>
                    <a:lnTo>
                      <a:pt x="1746" y="970"/>
                    </a:lnTo>
                    <a:lnTo>
                      <a:pt x="1750" y="968"/>
                    </a:lnTo>
                    <a:lnTo>
                      <a:pt x="1751" y="968"/>
                    </a:lnTo>
                    <a:lnTo>
                      <a:pt x="1753" y="970"/>
                    </a:lnTo>
                    <a:lnTo>
                      <a:pt x="1751" y="972"/>
                    </a:lnTo>
                    <a:lnTo>
                      <a:pt x="1753" y="972"/>
                    </a:lnTo>
                    <a:lnTo>
                      <a:pt x="1755" y="975"/>
                    </a:lnTo>
                    <a:lnTo>
                      <a:pt x="1753" y="975"/>
                    </a:lnTo>
                    <a:lnTo>
                      <a:pt x="1750" y="975"/>
                    </a:lnTo>
                    <a:lnTo>
                      <a:pt x="1746" y="977"/>
                    </a:lnTo>
                    <a:lnTo>
                      <a:pt x="1748" y="977"/>
                    </a:lnTo>
                    <a:lnTo>
                      <a:pt x="1753" y="977"/>
                    </a:lnTo>
                    <a:lnTo>
                      <a:pt x="1756" y="977"/>
                    </a:lnTo>
                    <a:lnTo>
                      <a:pt x="1756" y="978"/>
                    </a:lnTo>
                    <a:lnTo>
                      <a:pt x="1755" y="982"/>
                    </a:lnTo>
                    <a:lnTo>
                      <a:pt x="1750" y="982"/>
                    </a:lnTo>
                    <a:lnTo>
                      <a:pt x="1746" y="982"/>
                    </a:lnTo>
                    <a:lnTo>
                      <a:pt x="1743" y="982"/>
                    </a:lnTo>
                    <a:lnTo>
                      <a:pt x="1738" y="982"/>
                    </a:lnTo>
                    <a:lnTo>
                      <a:pt x="1740" y="978"/>
                    </a:lnTo>
                    <a:lnTo>
                      <a:pt x="1740" y="977"/>
                    </a:lnTo>
                    <a:lnTo>
                      <a:pt x="1736" y="975"/>
                    </a:lnTo>
                    <a:lnTo>
                      <a:pt x="1735" y="973"/>
                    </a:lnTo>
                    <a:lnTo>
                      <a:pt x="1733" y="973"/>
                    </a:lnTo>
                    <a:lnTo>
                      <a:pt x="1733" y="975"/>
                    </a:lnTo>
                    <a:lnTo>
                      <a:pt x="1735" y="977"/>
                    </a:lnTo>
                    <a:lnTo>
                      <a:pt x="1736" y="980"/>
                    </a:lnTo>
                    <a:lnTo>
                      <a:pt x="1736" y="982"/>
                    </a:lnTo>
                    <a:lnTo>
                      <a:pt x="1733" y="983"/>
                    </a:lnTo>
                    <a:lnTo>
                      <a:pt x="1730" y="980"/>
                    </a:lnTo>
                    <a:lnTo>
                      <a:pt x="1728" y="978"/>
                    </a:lnTo>
                    <a:lnTo>
                      <a:pt x="1728" y="982"/>
                    </a:lnTo>
                    <a:lnTo>
                      <a:pt x="1730" y="985"/>
                    </a:lnTo>
                    <a:lnTo>
                      <a:pt x="1735" y="985"/>
                    </a:lnTo>
                    <a:lnTo>
                      <a:pt x="1738" y="987"/>
                    </a:lnTo>
                    <a:lnTo>
                      <a:pt x="1740" y="987"/>
                    </a:lnTo>
                    <a:lnTo>
                      <a:pt x="1741" y="990"/>
                    </a:lnTo>
                    <a:lnTo>
                      <a:pt x="1740" y="993"/>
                    </a:lnTo>
                    <a:lnTo>
                      <a:pt x="1733" y="993"/>
                    </a:lnTo>
                    <a:lnTo>
                      <a:pt x="1731" y="990"/>
                    </a:lnTo>
                    <a:lnTo>
                      <a:pt x="1726" y="987"/>
                    </a:lnTo>
                    <a:lnTo>
                      <a:pt x="1725" y="985"/>
                    </a:lnTo>
                    <a:lnTo>
                      <a:pt x="1723" y="985"/>
                    </a:lnTo>
                    <a:lnTo>
                      <a:pt x="1725" y="987"/>
                    </a:lnTo>
                    <a:lnTo>
                      <a:pt x="1730" y="990"/>
                    </a:lnTo>
                    <a:lnTo>
                      <a:pt x="1731" y="993"/>
                    </a:lnTo>
                    <a:lnTo>
                      <a:pt x="1731" y="998"/>
                    </a:lnTo>
                    <a:lnTo>
                      <a:pt x="1730" y="1002"/>
                    </a:lnTo>
                    <a:lnTo>
                      <a:pt x="1726" y="1000"/>
                    </a:lnTo>
                    <a:lnTo>
                      <a:pt x="1726" y="998"/>
                    </a:lnTo>
                    <a:lnTo>
                      <a:pt x="1723" y="995"/>
                    </a:lnTo>
                    <a:lnTo>
                      <a:pt x="1720" y="995"/>
                    </a:lnTo>
                    <a:lnTo>
                      <a:pt x="1720" y="997"/>
                    </a:lnTo>
                    <a:lnTo>
                      <a:pt x="1721" y="997"/>
                    </a:lnTo>
                    <a:lnTo>
                      <a:pt x="1721" y="1002"/>
                    </a:lnTo>
                    <a:lnTo>
                      <a:pt x="1721" y="1007"/>
                    </a:lnTo>
                    <a:lnTo>
                      <a:pt x="1720" y="1007"/>
                    </a:lnTo>
                    <a:lnTo>
                      <a:pt x="1718" y="1007"/>
                    </a:lnTo>
                    <a:lnTo>
                      <a:pt x="1716" y="1005"/>
                    </a:lnTo>
                    <a:lnTo>
                      <a:pt x="1716" y="1002"/>
                    </a:lnTo>
                    <a:lnTo>
                      <a:pt x="1715" y="1002"/>
                    </a:lnTo>
                    <a:lnTo>
                      <a:pt x="1715" y="1005"/>
                    </a:lnTo>
                    <a:lnTo>
                      <a:pt x="1711" y="1005"/>
                    </a:lnTo>
                    <a:lnTo>
                      <a:pt x="1710" y="1005"/>
                    </a:lnTo>
                    <a:lnTo>
                      <a:pt x="1710" y="1002"/>
                    </a:lnTo>
                    <a:lnTo>
                      <a:pt x="1708" y="998"/>
                    </a:lnTo>
                    <a:lnTo>
                      <a:pt x="1708" y="995"/>
                    </a:lnTo>
                    <a:lnTo>
                      <a:pt x="1706" y="993"/>
                    </a:lnTo>
                    <a:lnTo>
                      <a:pt x="1706" y="997"/>
                    </a:lnTo>
                    <a:lnTo>
                      <a:pt x="1706" y="1002"/>
                    </a:lnTo>
                    <a:lnTo>
                      <a:pt x="1705" y="1003"/>
                    </a:lnTo>
                    <a:lnTo>
                      <a:pt x="1701" y="1003"/>
                    </a:lnTo>
                    <a:lnTo>
                      <a:pt x="1701" y="1005"/>
                    </a:lnTo>
                    <a:lnTo>
                      <a:pt x="1705" y="1005"/>
                    </a:lnTo>
                    <a:lnTo>
                      <a:pt x="1705" y="1007"/>
                    </a:lnTo>
                    <a:lnTo>
                      <a:pt x="1703" y="1010"/>
                    </a:lnTo>
                    <a:lnTo>
                      <a:pt x="1700" y="1008"/>
                    </a:lnTo>
                    <a:lnTo>
                      <a:pt x="1700" y="1008"/>
                    </a:lnTo>
                    <a:lnTo>
                      <a:pt x="1698" y="1010"/>
                    </a:lnTo>
                    <a:lnTo>
                      <a:pt x="1701" y="1012"/>
                    </a:lnTo>
                    <a:lnTo>
                      <a:pt x="1703" y="1012"/>
                    </a:lnTo>
                    <a:lnTo>
                      <a:pt x="1705" y="1013"/>
                    </a:lnTo>
                    <a:lnTo>
                      <a:pt x="1703" y="1015"/>
                    </a:lnTo>
                    <a:lnTo>
                      <a:pt x="1701" y="1017"/>
                    </a:lnTo>
                    <a:lnTo>
                      <a:pt x="1701" y="1018"/>
                    </a:lnTo>
                    <a:lnTo>
                      <a:pt x="1703" y="1022"/>
                    </a:lnTo>
                    <a:lnTo>
                      <a:pt x="1703" y="1023"/>
                    </a:lnTo>
                    <a:lnTo>
                      <a:pt x="1701" y="1023"/>
                    </a:lnTo>
                    <a:lnTo>
                      <a:pt x="1700" y="1022"/>
                    </a:lnTo>
                    <a:lnTo>
                      <a:pt x="1698" y="1023"/>
                    </a:lnTo>
                    <a:lnTo>
                      <a:pt x="1701" y="1025"/>
                    </a:lnTo>
                    <a:lnTo>
                      <a:pt x="1701" y="1028"/>
                    </a:lnTo>
                    <a:lnTo>
                      <a:pt x="1701" y="1031"/>
                    </a:lnTo>
                    <a:lnTo>
                      <a:pt x="1696" y="1033"/>
                    </a:lnTo>
                    <a:lnTo>
                      <a:pt x="1695" y="1035"/>
                    </a:lnTo>
                    <a:lnTo>
                      <a:pt x="1693" y="1033"/>
                    </a:lnTo>
                    <a:lnTo>
                      <a:pt x="1693" y="1031"/>
                    </a:lnTo>
                    <a:lnTo>
                      <a:pt x="1691" y="1031"/>
                    </a:lnTo>
                    <a:lnTo>
                      <a:pt x="1691" y="1030"/>
                    </a:lnTo>
                    <a:lnTo>
                      <a:pt x="1690" y="1028"/>
                    </a:lnTo>
                    <a:lnTo>
                      <a:pt x="1690" y="1027"/>
                    </a:lnTo>
                    <a:lnTo>
                      <a:pt x="1691" y="1025"/>
                    </a:lnTo>
                    <a:lnTo>
                      <a:pt x="1691" y="1023"/>
                    </a:lnTo>
                    <a:lnTo>
                      <a:pt x="1690" y="1023"/>
                    </a:lnTo>
                    <a:lnTo>
                      <a:pt x="1686" y="1025"/>
                    </a:lnTo>
                    <a:lnTo>
                      <a:pt x="1685" y="1027"/>
                    </a:lnTo>
                    <a:lnTo>
                      <a:pt x="1683" y="1027"/>
                    </a:lnTo>
                    <a:lnTo>
                      <a:pt x="1682" y="1025"/>
                    </a:lnTo>
                    <a:lnTo>
                      <a:pt x="1683" y="1022"/>
                    </a:lnTo>
                    <a:lnTo>
                      <a:pt x="1682" y="1020"/>
                    </a:lnTo>
                    <a:lnTo>
                      <a:pt x="1682" y="1018"/>
                    </a:lnTo>
                    <a:lnTo>
                      <a:pt x="1683" y="1017"/>
                    </a:lnTo>
                    <a:lnTo>
                      <a:pt x="1683" y="1015"/>
                    </a:lnTo>
                    <a:lnTo>
                      <a:pt x="1683" y="1013"/>
                    </a:lnTo>
                    <a:lnTo>
                      <a:pt x="1683" y="1013"/>
                    </a:lnTo>
                    <a:lnTo>
                      <a:pt x="1680" y="1015"/>
                    </a:lnTo>
                    <a:lnTo>
                      <a:pt x="1678" y="1020"/>
                    </a:lnTo>
                    <a:lnTo>
                      <a:pt x="1677" y="1023"/>
                    </a:lnTo>
                    <a:lnTo>
                      <a:pt x="1675" y="1022"/>
                    </a:lnTo>
                    <a:lnTo>
                      <a:pt x="1675" y="1018"/>
                    </a:lnTo>
                    <a:lnTo>
                      <a:pt x="1673" y="1017"/>
                    </a:lnTo>
                    <a:lnTo>
                      <a:pt x="1672" y="1013"/>
                    </a:lnTo>
                    <a:lnTo>
                      <a:pt x="1673" y="1012"/>
                    </a:lnTo>
                    <a:lnTo>
                      <a:pt x="1678" y="1010"/>
                    </a:lnTo>
                    <a:lnTo>
                      <a:pt x="1678" y="1010"/>
                    </a:lnTo>
                    <a:lnTo>
                      <a:pt x="1680" y="1008"/>
                    </a:lnTo>
                    <a:lnTo>
                      <a:pt x="1680" y="1008"/>
                    </a:lnTo>
                    <a:lnTo>
                      <a:pt x="1677" y="1007"/>
                    </a:lnTo>
                    <a:lnTo>
                      <a:pt x="1673" y="1008"/>
                    </a:lnTo>
                    <a:lnTo>
                      <a:pt x="1670" y="1007"/>
                    </a:lnTo>
                    <a:lnTo>
                      <a:pt x="1670" y="1007"/>
                    </a:lnTo>
                    <a:lnTo>
                      <a:pt x="1670" y="1003"/>
                    </a:lnTo>
                    <a:lnTo>
                      <a:pt x="1673" y="1003"/>
                    </a:lnTo>
                    <a:lnTo>
                      <a:pt x="1677" y="1000"/>
                    </a:lnTo>
                    <a:lnTo>
                      <a:pt x="1675" y="1000"/>
                    </a:lnTo>
                    <a:lnTo>
                      <a:pt x="1672" y="1002"/>
                    </a:lnTo>
                    <a:lnTo>
                      <a:pt x="1670" y="1000"/>
                    </a:lnTo>
                    <a:lnTo>
                      <a:pt x="1670" y="998"/>
                    </a:lnTo>
                    <a:lnTo>
                      <a:pt x="1672" y="997"/>
                    </a:lnTo>
                    <a:lnTo>
                      <a:pt x="1675" y="997"/>
                    </a:lnTo>
                    <a:lnTo>
                      <a:pt x="1678" y="995"/>
                    </a:lnTo>
                    <a:lnTo>
                      <a:pt x="1677" y="993"/>
                    </a:lnTo>
                    <a:lnTo>
                      <a:pt x="1672" y="995"/>
                    </a:lnTo>
                    <a:lnTo>
                      <a:pt x="1670" y="995"/>
                    </a:lnTo>
                    <a:lnTo>
                      <a:pt x="1668" y="995"/>
                    </a:lnTo>
                    <a:lnTo>
                      <a:pt x="1668" y="993"/>
                    </a:lnTo>
                    <a:lnTo>
                      <a:pt x="1672" y="988"/>
                    </a:lnTo>
                    <a:lnTo>
                      <a:pt x="1675" y="987"/>
                    </a:lnTo>
                    <a:lnTo>
                      <a:pt x="1680" y="987"/>
                    </a:lnTo>
                    <a:lnTo>
                      <a:pt x="1683" y="983"/>
                    </a:lnTo>
                    <a:lnTo>
                      <a:pt x="1686" y="982"/>
                    </a:lnTo>
                    <a:lnTo>
                      <a:pt x="1688" y="978"/>
                    </a:lnTo>
                    <a:lnTo>
                      <a:pt x="1691" y="975"/>
                    </a:lnTo>
                    <a:lnTo>
                      <a:pt x="1693" y="973"/>
                    </a:lnTo>
                    <a:lnTo>
                      <a:pt x="1693" y="972"/>
                    </a:lnTo>
                    <a:lnTo>
                      <a:pt x="1691" y="973"/>
                    </a:lnTo>
                    <a:lnTo>
                      <a:pt x="1686" y="975"/>
                    </a:lnTo>
                    <a:lnTo>
                      <a:pt x="1685" y="977"/>
                    </a:lnTo>
                    <a:lnTo>
                      <a:pt x="1683" y="980"/>
                    </a:lnTo>
                    <a:lnTo>
                      <a:pt x="1677" y="983"/>
                    </a:lnTo>
                    <a:lnTo>
                      <a:pt x="1673" y="982"/>
                    </a:lnTo>
                    <a:lnTo>
                      <a:pt x="1668" y="987"/>
                    </a:lnTo>
                    <a:lnTo>
                      <a:pt x="1663" y="987"/>
                    </a:lnTo>
                    <a:lnTo>
                      <a:pt x="1660" y="987"/>
                    </a:lnTo>
                    <a:lnTo>
                      <a:pt x="1660" y="985"/>
                    </a:lnTo>
                    <a:lnTo>
                      <a:pt x="1667" y="978"/>
                    </a:lnTo>
                    <a:lnTo>
                      <a:pt x="1672" y="975"/>
                    </a:lnTo>
                    <a:lnTo>
                      <a:pt x="1673" y="973"/>
                    </a:lnTo>
                    <a:lnTo>
                      <a:pt x="1675" y="972"/>
                    </a:lnTo>
                    <a:lnTo>
                      <a:pt x="1675" y="968"/>
                    </a:lnTo>
                    <a:lnTo>
                      <a:pt x="1672" y="973"/>
                    </a:lnTo>
                    <a:lnTo>
                      <a:pt x="1662" y="978"/>
                    </a:lnTo>
                    <a:lnTo>
                      <a:pt x="1658" y="980"/>
                    </a:lnTo>
                    <a:lnTo>
                      <a:pt x="1657" y="980"/>
                    </a:lnTo>
                    <a:lnTo>
                      <a:pt x="1655" y="978"/>
                    </a:lnTo>
                    <a:lnTo>
                      <a:pt x="1657" y="975"/>
                    </a:lnTo>
                    <a:lnTo>
                      <a:pt x="1655" y="973"/>
                    </a:lnTo>
                    <a:lnTo>
                      <a:pt x="1652" y="973"/>
                    </a:lnTo>
                    <a:lnTo>
                      <a:pt x="1650" y="973"/>
                    </a:lnTo>
                    <a:lnTo>
                      <a:pt x="1652" y="972"/>
                    </a:lnTo>
                    <a:lnTo>
                      <a:pt x="1653" y="970"/>
                    </a:lnTo>
                    <a:lnTo>
                      <a:pt x="1653" y="968"/>
                    </a:lnTo>
                    <a:lnTo>
                      <a:pt x="1652" y="967"/>
                    </a:lnTo>
                    <a:lnTo>
                      <a:pt x="1650" y="967"/>
                    </a:lnTo>
                    <a:lnTo>
                      <a:pt x="1648" y="967"/>
                    </a:lnTo>
                    <a:lnTo>
                      <a:pt x="1650" y="962"/>
                    </a:lnTo>
                    <a:lnTo>
                      <a:pt x="1652" y="962"/>
                    </a:lnTo>
                    <a:lnTo>
                      <a:pt x="1652" y="958"/>
                    </a:lnTo>
                    <a:lnTo>
                      <a:pt x="1648" y="957"/>
                    </a:lnTo>
                    <a:lnTo>
                      <a:pt x="1647" y="955"/>
                    </a:lnTo>
                    <a:lnTo>
                      <a:pt x="1647" y="955"/>
                    </a:lnTo>
                    <a:lnTo>
                      <a:pt x="1645" y="958"/>
                    </a:lnTo>
                    <a:lnTo>
                      <a:pt x="1647" y="960"/>
                    </a:lnTo>
                    <a:lnTo>
                      <a:pt x="1643" y="962"/>
                    </a:lnTo>
                    <a:lnTo>
                      <a:pt x="1640" y="960"/>
                    </a:lnTo>
                    <a:lnTo>
                      <a:pt x="1638" y="958"/>
                    </a:lnTo>
                    <a:lnTo>
                      <a:pt x="1633" y="958"/>
                    </a:lnTo>
                    <a:lnTo>
                      <a:pt x="1638" y="960"/>
                    </a:lnTo>
                    <a:lnTo>
                      <a:pt x="1642" y="965"/>
                    </a:lnTo>
                    <a:lnTo>
                      <a:pt x="1642" y="968"/>
                    </a:lnTo>
                    <a:lnTo>
                      <a:pt x="1638" y="967"/>
                    </a:lnTo>
                    <a:lnTo>
                      <a:pt x="1638" y="968"/>
                    </a:lnTo>
                    <a:lnTo>
                      <a:pt x="1638" y="970"/>
                    </a:lnTo>
                    <a:lnTo>
                      <a:pt x="1635" y="970"/>
                    </a:lnTo>
                    <a:lnTo>
                      <a:pt x="1633" y="968"/>
                    </a:lnTo>
                    <a:lnTo>
                      <a:pt x="1632" y="963"/>
                    </a:lnTo>
                    <a:lnTo>
                      <a:pt x="1630" y="962"/>
                    </a:lnTo>
                    <a:lnTo>
                      <a:pt x="1628" y="963"/>
                    </a:lnTo>
                    <a:lnTo>
                      <a:pt x="1632" y="965"/>
                    </a:lnTo>
                    <a:lnTo>
                      <a:pt x="1632" y="968"/>
                    </a:lnTo>
                    <a:lnTo>
                      <a:pt x="1630" y="972"/>
                    </a:lnTo>
                    <a:lnTo>
                      <a:pt x="1633" y="972"/>
                    </a:lnTo>
                    <a:lnTo>
                      <a:pt x="1637" y="975"/>
                    </a:lnTo>
                    <a:lnTo>
                      <a:pt x="1638" y="980"/>
                    </a:lnTo>
                    <a:lnTo>
                      <a:pt x="1637" y="982"/>
                    </a:lnTo>
                    <a:lnTo>
                      <a:pt x="1638" y="983"/>
                    </a:lnTo>
                    <a:lnTo>
                      <a:pt x="1638" y="985"/>
                    </a:lnTo>
                    <a:lnTo>
                      <a:pt x="1637" y="985"/>
                    </a:lnTo>
                    <a:lnTo>
                      <a:pt x="1632" y="985"/>
                    </a:lnTo>
                    <a:lnTo>
                      <a:pt x="1628" y="982"/>
                    </a:lnTo>
                    <a:lnTo>
                      <a:pt x="1628" y="987"/>
                    </a:lnTo>
                    <a:lnTo>
                      <a:pt x="1627" y="987"/>
                    </a:lnTo>
                    <a:lnTo>
                      <a:pt x="1622" y="982"/>
                    </a:lnTo>
                    <a:lnTo>
                      <a:pt x="1622" y="978"/>
                    </a:lnTo>
                    <a:lnTo>
                      <a:pt x="1622" y="977"/>
                    </a:lnTo>
                    <a:lnTo>
                      <a:pt x="1622" y="973"/>
                    </a:lnTo>
                    <a:lnTo>
                      <a:pt x="1618" y="972"/>
                    </a:lnTo>
                    <a:lnTo>
                      <a:pt x="1613" y="972"/>
                    </a:lnTo>
                    <a:lnTo>
                      <a:pt x="1613" y="970"/>
                    </a:lnTo>
                    <a:lnTo>
                      <a:pt x="1612" y="967"/>
                    </a:lnTo>
                    <a:lnTo>
                      <a:pt x="1608" y="968"/>
                    </a:lnTo>
                    <a:lnTo>
                      <a:pt x="1605" y="968"/>
                    </a:lnTo>
                    <a:lnTo>
                      <a:pt x="1600" y="968"/>
                    </a:lnTo>
                    <a:lnTo>
                      <a:pt x="1602" y="970"/>
                    </a:lnTo>
                    <a:lnTo>
                      <a:pt x="1607" y="972"/>
                    </a:lnTo>
                    <a:lnTo>
                      <a:pt x="1612" y="973"/>
                    </a:lnTo>
                    <a:lnTo>
                      <a:pt x="1617" y="973"/>
                    </a:lnTo>
                    <a:lnTo>
                      <a:pt x="1617" y="978"/>
                    </a:lnTo>
                    <a:lnTo>
                      <a:pt x="1613" y="982"/>
                    </a:lnTo>
                    <a:lnTo>
                      <a:pt x="1613" y="983"/>
                    </a:lnTo>
                    <a:lnTo>
                      <a:pt x="1617" y="983"/>
                    </a:lnTo>
                    <a:lnTo>
                      <a:pt x="1618" y="985"/>
                    </a:lnTo>
                    <a:lnTo>
                      <a:pt x="1617" y="988"/>
                    </a:lnTo>
                    <a:lnTo>
                      <a:pt x="1618" y="988"/>
                    </a:lnTo>
                    <a:lnTo>
                      <a:pt x="1622" y="988"/>
                    </a:lnTo>
                    <a:lnTo>
                      <a:pt x="1622" y="990"/>
                    </a:lnTo>
                    <a:lnTo>
                      <a:pt x="1620" y="993"/>
                    </a:lnTo>
                    <a:lnTo>
                      <a:pt x="1613" y="998"/>
                    </a:lnTo>
                    <a:lnTo>
                      <a:pt x="1610" y="1002"/>
                    </a:lnTo>
                    <a:lnTo>
                      <a:pt x="1618" y="1000"/>
                    </a:lnTo>
                    <a:lnTo>
                      <a:pt x="1620" y="997"/>
                    </a:lnTo>
                    <a:lnTo>
                      <a:pt x="1622" y="995"/>
                    </a:lnTo>
                    <a:lnTo>
                      <a:pt x="1628" y="995"/>
                    </a:lnTo>
                    <a:lnTo>
                      <a:pt x="1630" y="998"/>
                    </a:lnTo>
                    <a:lnTo>
                      <a:pt x="1630" y="998"/>
                    </a:lnTo>
                    <a:lnTo>
                      <a:pt x="1627" y="1002"/>
                    </a:lnTo>
                    <a:lnTo>
                      <a:pt x="1623" y="1003"/>
                    </a:lnTo>
                    <a:lnTo>
                      <a:pt x="1625" y="1005"/>
                    </a:lnTo>
                    <a:lnTo>
                      <a:pt x="1630" y="1005"/>
                    </a:lnTo>
                    <a:lnTo>
                      <a:pt x="1632" y="1008"/>
                    </a:lnTo>
                    <a:lnTo>
                      <a:pt x="1630" y="1008"/>
                    </a:lnTo>
                    <a:lnTo>
                      <a:pt x="1625" y="1010"/>
                    </a:lnTo>
                    <a:lnTo>
                      <a:pt x="1625" y="1012"/>
                    </a:lnTo>
                    <a:lnTo>
                      <a:pt x="1627" y="1012"/>
                    </a:lnTo>
                    <a:lnTo>
                      <a:pt x="1627" y="1015"/>
                    </a:lnTo>
                    <a:lnTo>
                      <a:pt x="1627" y="1015"/>
                    </a:lnTo>
                    <a:lnTo>
                      <a:pt x="1627" y="1017"/>
                    </a:lnTo>
                    <a:lnTo>
                      <a:pt x="1628" y="1017"/>
                    </a:lnTo>
                    <a:lnTo>
                      <a:pt x="1628" y="1020"/>
                    </a:lnTo>
                    <a:lnTo>
                      <a:pt x="1630" y="1020"/>
                    </a:lnTo>
                    <a:lnTo>
                      <a:pt x="1632" y="1023"/>
                    </a:lnTo>
                    <a:lnTo>
                      <a:pt x="1632" y="1028"/>
                    </a:lnTo>
                    <a:lnTo>
                      <a:pt x="1633" y="1030"/>
                    </a:lnTo>
                    <a:lnTo>
                      <a:pt x="1633" y="1027"/>
                    </a:lnTo>
                    <a:lnTo>
                      <a:pt x="1635" y="1023"/>
                    </a:lnTo>
                    <a:lnTo>
                      <a:pt x="1637" y="1022"/>
                    </a:lnTo>
                    <a:lnTo>
                      <a:pt x="1640" y="1023"/>
                    </a:lnTo>
                    <a:lnTo>
                      <a:pt x="1640" y="1028"/>
                    </a:lnTo>
                    <a:lnTo>
                      <a:pt x="1642" y="1030"/>
                    </a:lnTo>
                    <a:lnTo>
                      <a:pt x="1642" y="1031"/>
                    </a:lnTo>
                    <a:lnTo>
                      <a:pt x="1637" y="1033"/>
                    </a:lnTo>
                    <a:lnTo>
                      <a:pt x="1638" y="1035"/>
                    </a:lnTo>
                    <a:lnTo>
                      <a:pt x="1643" y="1035"/>
                    </a:lnTo>
                    <a:lnTo>
                      <a:pt x="1645" y="1033"/>
                    </a:lnTo>
                    <a:lnTo>
                      <a:pt x="1645" y="1036"/>
                    </a:lnTo>
                    <a:lnTo>
                      <a:pt x="1648" y="1033"/>
                    </a:lnTo>
                    <a:lnTo>
                      <a:pt x="1648" y="1031"/>
                    </a:lnTo>
                    <a:lnTo>
                      <a:pt x="1650" y="1031"/>
                    </a:lnTo>
                    <a:lnTo>
                      <a:pt x="1653" y="1035"/>
                    </a:lnTo>
                    <a:lnTo>
                      <a:pt x="1652" y="1038"/>
                    </a:lnTo>
                    <a:lnTo>
                      <a:pt x="1648" y="1041"/>
                    </a:lnTo>
                    <a:lnTo>
                      <a:pt x="1648" y="1043"/>
                    </a:lnTo>
                    <a:lnTo>
                      <a:pt x="1647" y="1045"/>
                    </a:lnTo>
                    <a:lnTo>
                      <a:pt x="1650" y="1046"/>
                    </a:lnTo>
                    <a:lnTo>
                      <a:pt x="1655" y="1046"/>
                    </a:lnTo>
                    <a:lnTo>
                      <a:pt x="1658" y="1045"/>
                    </a:lnTo>
                    <a:lnTo>
                      <a:pt x="1660" y="1046"/>
                    </a:lnTo>
                    <a:lnTo>
                      <a:pt x="1657" y="1050"/>
                    </a:lnTo>
                    <a:lnTo>
                      <a:pt x="1655" y="1051"/>
                    </a:lnTo>
                    <a:lnTo>
                      <a:pt x="1650" y="1051"/>
                    </a:lnTo>
                    <a:lnTo>
                      <a:pt x="1653" y="1055"/>
                    </a:lnTo>
                    <a:lnTo>
                      <a:pt x="1655" y="1060"/>
                    </a:lnTo>
                    <a:lnTo>
                      <a:pt x="1655" y="1063"/>
                    </a:lnTo>
                    <a:lnTo>
                      <a:pt x="1657" y="1063"/>
                    </a:lnTo>
                    <a:lnTo>
                      <a:pt x="1658" y="1068"/>
                    </a:lnTo>
                    <a:lnTo>
                      <a:pt x="1663" y="1076"/>
                    </a:lnTo>
                    <a:lnTo>
                      <a:pt x="1665" y="1076"/>
                    </a:lnTo>
                    <a:lnTo>
                      <a:pt x="1662" y="1078"/>
                    </a:lnTo>
                    <a:lnTo>
                      <a:pt x="1662" y="1085"/>
                    </a:lnTo>
                    <a:lnTo>
                      <a:pt x="1658" y="1090"/>
                    </a:lnTo>
                    <a:lnTo>
                      <a:pt x="1660" y="1093"/>
                    </a:lnTo>
                    <a:lnTo>
                      <a:pt x="1658" y="1095"/>
                    </a:lnTo>
                    <a:lnTo>
                      <a:pt x="1652" y="1088"/>
                    </a:lnTo>
                    <a:lnTo>
                      <a:pt x="1650" y="1083"/>
                    </a:lnTo>
                    <a:lnTo>
                      <a:pt x="1652" y="1080"/>
                    </a:lnTo>
                    <a:lnTo>
                      <a:pt x="1650" y="1073"/>
                    </a:lnTo>
                    <a:lnTo>
                      <a:pt x="1650" y="1078"/>
                    </a:lnTo>
                    <a:lnTo>
                      <a:pt x="1648" y="1085"/>
                    </a:lnTo>
                    <a:lnTo>
                      <a:pt x="1652" y="1093"/>
                    </a:lnTo>
                    <a:lnTo>
                      <a:pt x="1652" y="1100"/>
                    </a:lnTo>
                    <a:lnTo>
                      <a:pt x="1650" y="1103"/>
                    </a:lnTo>
                    <a:lnTo>
                      <a:pt x="1652" y="1106"/>
                    </a:lnTo>
                    <a:lnTo>
                      <a:pt x="1650" y="1108"/>
                    </a:lnTo>
                    <a:lnTo>
                      <a:pt x="1647" y="1108"/>
                    </a:lnTo>
                    <a:lnTo>
                      <a:pt x="1645" y="1105"/>
                    </a:lnTo>
                    <a:lnTo>
                      <a:pt x="1640" y="1105"/>
                    </a:lnTo>
                    <a:lnTo>
                      <a:pt x="1643" y="1111"/>
                    </a:lnTo>
                    <a:lnTo>
                      <a:pt x="1643" y="1118"/>
                    </a:lnTo>
                    <a:lnTo>
                      <a:pt x="1643" y="1118"/>
                    </a:lnTo>
                    <a:lnTo>
                      <a:pt x="1643" y="1121"/>
                    </a:lnTo>
                    <a:lnTo>
                      <a:pt x="1640" y="1121"/>
                    </a:lnTo>
                    <a:lnTo>
                      <a:pt x="1637" y="1118"/>
                    </a:lnTo>
                    <a:lnTo>
                      <a:pt x="1635" y="1111"/>
                    </a:lnTo>
                    <a:lnTo>
                      <a:pt x="1637" y="1110"/>
                    </a:lnTo>
                    <a:lnTo>
                      <a:pt x="1637" y="1105"/>
                    </a:lnTo>
                    <a:lnTo>
                      <a:pt x="1635" y="1108"/>
                    </a:lnTo>
                    <a:lnTo>
                      <a:pt x="1632" y="1108"/>
                    </a:lnTo>
                    <a:lnTo>
                      <a:pt x="1630" y="1105"/>
                    </a:lnTo>
                    <a:lnTo>
                      <a:pt x="1630" y="1100"/>
                    </a:lnTo>
                    <a:lnTo>
                      <a:pt x="1627" y="1101"/>
                    </a:lnTo>
                    <a:lnTo>
                      <a:pt x="1627" y="1103"/>
                    </a:lnTo>
                    <a:lnTo>
                      <a:pt x="1625" y="1103"/>
                    </a:lnTo>
                    <a:lnTo>
                      <a:pt x="1625" y="1100"/>
                    </a:lnTo>
                    <a:lnTo>
                      <a:pt x="1623" y="1096"/>
                    </a:lnTo>
                    <a:lnTo>
                      <a:pt x="1622" y="1095"/>
                    </a:lnTo>
                    <a:lnTo>
                      <a:pt x="1622" y="1096"/>
                    </a:lnTo>
                    <a:lnTo>
                      <a:pt x="1623" y="1098"/>
                    </a:lnTo>
                    <a:lnTo>
                      <a:pt x="1622" y="1101"/>
                    </a:lnTo>
                    <a:lnTo>
                      <a:pt x="1618" y="1100"/>
                    </a:lnTo>
                    <a:lnTo>
                      <a:pt x="1617" y="1098"/>
                    </a:lnTo>
                    <a:lnTo>
                      <a:pt x="1615" y="1095"/>
                    </a:lnTo>
                    <a:lnTo>
                      <a:pt x="1617" y="1091"/>
                    </a:lnTo>
                    <a:lnTo>
                      <a:pt x="1613" y="1085"/>
                    </a:lnTo>
                    <a:lnTo>
                      <a:pt x="1613" y="1083"/>
                    </a:lnTo>
                    <a:lnTo>
                      <a:pt x="1612" y="1086"/>
                    </a:lnTo>
                    <a:lnTo>
                      <a:pt x="1613" y="1093"/>
                    </a:lnTo>
                    <a:lnTo>
                      <a:pt x="1613" y="1096"/>
                    </a:lnTo>
                    <a:lnTo>
                      <a:pt x="1612" y="1100"/>
                    </a:lnTo>
                    <a:lnTo>
                      <a:pt x="1608" y="1091"/>
                    </a:lnTo>
                    <a:lnTo>
                      <a:pt x="1605" y="1090"/>
                    </a:lnTo>
                    <a:lnTo>
                      <a:pt x="1605" y="1086"/>
                    </a:lnTo>
                    <a:lnTo>
                      <a:pt x="1602" y="1086"/>
                    </a:lnTo>
                    <a:lnTo>
                      <a:pt x="1598" y="1080"/>
                    </a:lnTo>
                    <a:lnTo>
                      <a:pt x="1597" y="1078"/>
                    </a:lnTo>
                    <a:lnTo>
                      <a:pt x="1597" y="1076"/>
                    </a:lnTo>
                    <a:lnTo>
                      <a:pt x="1595" y="1073"/>
                    </a:lnTo>
                    <a:lnTo>
                      <a:pt x="1592" y="1073"/>
                    </a:lnTo>
                    <a:lnTo>
                      <a:pt x="1592" y="1076"/>
                    </a:lnTo>
                    <a:lnTo>
                      <a:pt x="1595" y="1081"/>
                    </a:lnTo>
                    <a:lnTo>
                      <a:pt x="1595" y="1085"/>
                    </a:lnTo>
                    <a:lnTo>
                      <a:pt x="1593" y="1083"/>
                    </a:lnTo>
                    <a:lnTo>
                      <a:pt x="1592" y="1080"/>
                    </a:lnTo>
                    <a:lnTo>
                      <a:pt x="1590" y="1078"/>
                    </a:lnTo>
                    <a:lnTo>
                      <a:pt x="1585" y="1075"/>
                    </a:lnTo>
                    <a:lnTo>
                      <a:pt x="1582" y="1070"/>
                    </a:lnTo>
                    <a:lnTo>
                      <a:pt x="1582" y="1065"/>
                    </a:lnTo>
                    <a:lnTo>
                      <a:pt x="1577" y="1065"/>
                    </a:lnTo>
                    <a:lnTo>
                      <a:pt x="1575" y="1068"/>
                    </a:lnTo>
                    <a:lnTo>
                      <a:pt x="1572" y="1066"/>
                    </a:lnTo>
                    <a:lnTo>
                      <a:pt x="1570" y="1070"/>
                    </a:lnTo>
                    <a:lnTo>
                      <a:pt x="1572" y="1075"/>
                    </a:lnTo>
                    <a:lnTo>
                      <a:pt x="1579" y="1080"/>
                    </a:lnTo>
                    <a:lnTo>
                      <a:pt x="1579" y="1081"/>
                    </a:lnTo>
                    <a:lnTo>
                      <a:pt x="1579" y="1085"/>
                    </a:lnTo>
                    <a:lnTo>
                      <a:pt x="1580" y="1090"/>
                    </a:lnTo>
                    <a:lnTo>
                      <a:pt x="1582" y="1090"/>
                    </a:lnTo>
                    <a:lnTo>
                      <a:pt x="1587" y="1091"/>
                    </a:lnTo>
                    <a:lnTo>
                      <a:pt x="1590" y="1095"/>
                    </a:lnTo>
                    <a:lnTo>
                      <a:pt x="1588" y="1096"/>
                    </a:lnTo>
                    <a:lnTo>
                      <a:pt x="1592" y="1096"/>
                    </a:lnTo>
                    <a:lnTo>
                      <a:pt x="1593" y="1096"/>
                    </a:lnTo>
                    <a:lnTo>
                      <a:pt x="1592" y="1100"/>
                    </a:lnTo>
                    <a:lnTo>
                      <a:pt x="1597" y="1100"/>
                    </a:lnTo>
                    <a:lnTo>
                      <a:pt x="1597" y="1103"/>
                    </a:lnTo>
                    <a:lnTo>
                      <a:pt x="1600" y="1108"/>
                    </a:lnTo>
                    <a:lnTo>
                      <a:pt x="1598" y="1111"/>
                    </a:lnTo>
                    <a:lnTo>
                      <a:pt x="1603" y="1111"/>
                    </a:lnTo>
                    <a:lnTo>
                      <a:pt x="1605" y="1111"/>
                    </a:lnTo>
                    <a:lnTo>
                      <a:pt x="1607" y="1116"/>
                    </a:lnTo>
                    <a:lnTo>
                      <a:pt x="1603" y="1120"/>
                    </a:lnTo>
                    <a:lnTo>
                      <a:pt x="1605" y="1120"/>
                    </a:lnTo>
                    <a:lnTo>
                      <a:pt x="1607" y="1123"/>
                    </a:lnTo>
                    <a:lnTo>
                      <a:pt x="1607" y="1125"/>
                    </a:lnTo>
                    <a:lnTo>
                      <a:pt x="1610" y="1121"/>
                    </a:lnTo>
                    <a:lnTo>
                      <a:pt x="1612" y="1123"/>
                    </a:lnTo>
                    <a:lnTo>
                      <a:pt x="1612" y="1128"/>
                    </a:lnTo>
                    <a:lnTo>
                      <a:pt x="1613" y="1130"/>
                    </a:lnTo>
                    <a:lnTo>
                      <a:pt x="1615" y="1128"/>
                    </a:lnTo>
                    <a:lnTo>
                      <a:pt x="1617" y="1130"/>
                    </a:lnTo>
                    <a:lnTo>
                      <a:pt x="1615" y="1133"/>
                    </a:lnTo>
                    <a:lnTo>
                      <a:pt x="1612" y="1131"/>
                    </a:lnTo>
                    <a:lnTo>
                      <a:pt x="1610" y="1134"/>
                    </a:lnTo>
                    <a:lnTo>
                      <a:pt x="1612" y="1136"/>
                    </a:lnTo>
                    <a:lnTo>
                      <a:pt x="1613" y="1139"/>
                    </a:lnTo>
                    <a:lnTo>
                      <a:pt x="1613" y="1143"/>
                    </a:lnTo>
                    <a:lnTo>
                      <a:pt x="1613" y="1143"/>
                    </a:lnTo>
                    <a:lnTo>
                      <a:pt x="1613" y="1143"/>
                    </a:lnTo>
                    <a:close/>
                    <a:moveTo>
                      <a:pt x="1208" y="1035"/>
                    </a:moveTo>
                    <a:lnTo>
                      <a:pt x="1208" y="1035"/>
                    </a:lnTo>
                    <a:lnTo>
                      <a:pt x="1210" y="1035"/>
                    </a:lnTo>
                    <a:lnTo>
                      <a:pt x="1211" y="1031"/>
                    </a:lnTo>
                    <a:lnTo>
                      <a:pt x="1213" y="1030"/>
                    </a:lnTo>
                    <a:lnTo>
                      <a:pt x="1215" y="1031"/>
                    </a:lnTo>
                    <a:lnTo>
                      <a:pt x="1218" y="1033"/>
                    </a:lnTo>
                    <a:lnTo>
                      <a:pt x="1221" y="1033"/>
                    </a:lnTo>
                    <a:lnTo>
                      <a:pt x="1223" y="1031"/>
                    </a:lnTo>
                    <a:lnTo>
                      <a:pt x="1226" y="1031"/>
                    </a:lnTo>
                    <a:lnTo>
                      <a:pt x="1228" y="1033"/>
                    </a:lnTo>
                    <a:lnTo>
                      <a:pt x="1230" y="1036"/>
                    </a:lnTo>
                    <a:lnTo>
                      <a:pt x="1226" y="1041"/>
                    </a:lnTo>
                    <a:lnTo>
                      <a:pt x="1226" y="1045"/>
                    </a:lnTo>
                    <a:lnTo>
                      <a:pt x="1223" y="1048"/>
                    </a:lnTo>
                    <a:lnTo>
                      <a:pt x="1223" y="1053"/>
                    </a:lnTo>
                    <a:lnTo>
                      <a:pt x="1225" y="1055"/>
                    </a:lnTo>
                    <a:lnTo>
                      <a:pt x="1228" y="1055"/>
                    </a:lnTo>
                    <a:lnTo>
                      <a:pt x="1230" y="1055"/>
                    </a:lnTo>
                    <a:lnTo>
                      <a:pt x="1233" y="1055"/>
                    </a:lnTo>
                    <a:lnTo>
                      <a:pt x="1235" y="1053"/>
                    </a:lnTo>
                    <a:lnTo>
                      <a:pt x="1240" y="1053"/>
                    </a:lnTo>
                    <a:lnTo>
                      <a:pt x="1241" y="1051"/>
                    </a:lnTo>
                    <a:lnTo>
                      <a:pt x="1245" y="1050"/>
                    </a:lnTo>
                    <a:lnTo>
                      <a:pt x="1248" y="1050"/>
                    </a:lnTo>
                    <a:lnTo>
                      <a:pt x="1251" y="1046"/>
                    </a:lnTo>
                    <a:lnTo>
                      <a:pt x="1253" y="1043"/>
                    </a:lnTo>
                    <a:lnTo>
                      <a:pt x="1256" y="1040"/>
                    </a:lnTo>
                    <a:lnTo>
                      <a:pt x="1258" y="1036"/>
                    </a:lnTo>
                    <a:lnTo>
                      <a:pt x="1260" y="1036"/>
                    </a:lnTo>
                    <a:lnTo>
                      <a:pt x="1263" y="1038"/>
                    </a:lnTo>
                    <a:lnTo>
                      <a:pt x="1266" y="1036"/>
                    </a:lnTo>
                    <a:lnTo>
                      <a:pt x="1268" y="1035"/>
                    </a:lnTo>
                    <a:lnTo>
                      <a:pt x="1271" y="1035"/>
                    </a:lnTo>
                    <a:lnTo>
                      <a:pt x="1273" y="1030"/>
                    </a:lnTo>
                    <a:lnTo>
                      <a:pt x="1273" y="1025"/>
                    </a:lnTo>
                    <a:lnTo>
                      <a:pt x="1276" y="1022"/>
                    </a:lnTo>
                    <a:lnTo>
                      <a:pt x="1278" y="1018"/>
                    </a:lnTo>
                    <a:lnTo>
                      <a:pt x="1281" y="1018"/>
                    </a:lnTo>
                    <a:lnTo>
                      <a:pt x="1283" y="1020"/>
                    </a:lnTo>
                    <a:lnTo>
                      <a:pt x="1286" y="1018"/>
                    </a:lnTo>
                    <a:lnTo>
                      <a:pt x="1288" y="1017"/>
                    </a:lnTo>
                    <a:lnTo>
                      <a:pt x="1291" y="1018"/>
                    </a:lnTo>
                    <a:lnTo>
                      <a:pt x="1291" y="1022"/>
                    </a:lnTo>
                    <a:lnTo>
                      <a:pt x="1288" y="1025"/>
                    </a:lnTo>
                    <a:lnTo>
                      <a:pt x="1286" y="1027"/>
                    </a:lnTo>
                    <a:lnTo>
                      <a:pt x="1289" y="1028"/>
                    </a:lnTo>
                    <a:lnTo>
                      <a:pt x="1296" y="1028"/>
                    </a:lnTo>
                    <a:lnTo>
                      <a:pt x="1299" y="1030"/>
                    </a:lnTo>
                    <a:lnTo>
                      <a:pt x="1301" y="1033"/>
                    </a:lnTo>
                    <a:lnTo>
                      <a:pt x="1298" y="1036"/>
                    </a:lnTo>
                    <a:lnTo>
                      <a:pt x="1294" y="1038"/>
                    </a:lnTo>
                    <a:lnTo>
                      <a:pt x="1294" y="1043"/>
                    </a:lnTo>
                    <a:lnTo>
                      <a:pt x="1298" y="1045"/>
                    </a:lnTo>
                    <a:lnTo>
                      <a:pt x="1299" y="1043"/>
                    </a:lnTo>
                    <a:lnTo>
                      <a:pt x="1303" y="1043"/>
                    </a:lnTo>
                    <a:lnTo>
                      <a:pt x="1304" y="1045"/>
                    </a:lnTo>
                    <a:lnTo>
                      <a:pt x="1308" y="1043"/>
                    </a:lnTo>
                    <a:lnTo>
                      <a:pt x="1309" y="1046"/>
                    </a:lnTo>
                    <a:lnTo>
                      <a:pt x="1313" y="1046"/>
                    </a:lnTo>
                    <a:lnTo>
                      <a:pt x="1316" y="1050"/>
                    </a:lnTo>
                    <a:lnTo>
                      <a:pt x="1318" y="1050"/>
                    </a:lnTo>
                    <a:lnTo>
                      <a:pt x="1324" y="1051"/>
                    </a:lnTo>
                    <a:lnTo>
                      <a:pt x="1326" y="1051"/>
                    </a:lnTo>
                    <a:lnTo>
                      <a:pt x="1329" y="1046"/>
                    </a:lnTo>
                    <a:lnTo>
                      <a:pt x="1331" y="1045"/>
                    </a:lnTo>
                    <a:lnTo>
                      <a:pt x="1336" y="1041"/>
                    </a:lnTo>
                    <a:lnTo>
                      <a:pt x="1339" y="1041"/>
                    </a:lnTo>
                    <a:lnTo>
                      <a:pt x="1341" y="1040"/>
                    </a:lnTo>
                    <a:lnTo>
                      <a:pt x="1338" y="1038"/>
                    </a:lnTo>
                    <a:lnTo>
                      <a:pt x="1334" y="1035"/>
                    </a:lnTo>
                    <a:lnTo>
                      <a:pt x="1338" y="1035"/>
                    </a:lnTo>
                    <a:lnTo>
                      <a:pt x="1339" y="1031"/>
                    </a:lnTo>
                    <a:lnTo>
                      <a:pt x="1336" y="1031"/>
                    </a:lnTo>
                    <a:lnTo>
                      <a:pt x="1334" y="1028"/>
                    </a:lnTo>
                    <a:lnTo>
                      <a:pt x="1333" y="1028"/>
                    </a:lnTo>
                    <a:lnTo>
                      <a:pt x="1333" y="1031"/>
                    </a:lnTo>
                    <a:lnTo>
                      <a:pt x="1331" y="1031"/>
                    </a:lnTo>
                    <a:lnTo>
                      <a:pt x="1329" y="1031"/>
                    </a:lnTo>
                    <a:lnTo>
                      <a:pt x="1326" y="1030"/>
                    </a:lnTo>
                    <a:lnTo>
                      <a:pt x="1324" y="1027"/>
                    </a:lnTo>
                    <a:lnTo>
                      <a:pt x="1323" y="1027"/>
                    </a:lnTo>
                    <a:lnTo>
                      <a:pt x="1319" y="1030"/>
                    </a:lnTo>
                    <a:lnTo>
                      <a:pt x="1313" y="1030"/>
                    </a:lnTo>
                    <a:lnTo>
                      <a:pt x="1309" y="1028"/>
                    </a:lnTo>
                    <a:lnTo>
                      <a:pt x="1314" y="1025"/>
                    </a:lnTo>
                    <a:lnTo>
                      <a:pt x="1318" y="1025"/>
                    </a:lnTo>
                    <a:lnTo>
                      <a:pt x="1321" y="1023"/>
                    </a:lnTo>
                    <a:lnTo>
                      <a:pt x="1321" y="1020"/>
                    </a:lnTo>
                    <a:lnTo>
                      <a:pt x="1319" y="1018"/>
                    </a:lnTo>
                    <a:lnTo>
                      <a:pt x="1319" y="1015"/>
                    </a:lnTo>
                    <a:lnTo>
                      <a:pt x="1319" y="1012"/>
                    </a:lnTo>
                    <a:lnTo>
                      <a:pt x="1319" y="1010"/>
                    </a:lnTo>
                    <a:lnTo>
                      <a:pt x="1318" y="1007"/>
                    </a:lnTo>
                    <a:lnTo>
                      <a:pt x="1318" y="1005"/>
                    </a:lnTo>
                    <a:lnTo>
                      <a:pt x="1311" y="998"/>
                    </a:lnTo>
                    <a:lnTo>
                      <a:pt x="1306" y="995"/>
                    </a:lnTo>
                    <a:lnTo>
                      <a:pt x="1304" y="993"/>
                    </a:lnTo>
                    <a:lnTo>
                      <a:pt x="1303" y="988"/>
                    </a:lnTo>
                    <a:lnTo>
                      <a:pt x="1299" y="988"/>
                    </a:lnTo>
                    <a:lnTo>
                      <a:pt x="1299" y="987"/>
                    </a:lnTo>
                    <a:lnTo>
                      <a:pt x="1299" y="982"/>
                    </a:lnTo>
                    <a:lnTo>
                      <a:pt x="1298" y="978"/>
                    </a:lnTo>
                    <a:lnTo>
                      <a:pt x="1293" y="978"/>
                    </a:lnTo>
                    <a:lnTo>
                      <a:pt x="1285" y="975"/>
                    </a:lnTo>
                    <a:lnTo>
                      <a:pt x="1281" y="970"/>
                    </a:lnTo>
                    <a:lnTo>
                      <a:pt x="1285" y="968"/>
                    </a:lnTo>
                    <a:lnTo>
                      <a:pt x="1285" y="967"/>
                    </a:lnTo>
                    <a:lnTo>
                      <a:pt x="1280" y="963"/>
                    </a:lnTo>
                    <a:lnTo>
                      <a:pt x="1280" y="960"/>
                    </a:lnTo>
                    <a:lnTo>
                      <a:pt x="1278" y="960"/>
                    </a:lnTo>
                    <a:lnTo>
                      <a:pt x="1273" y="965"/>
                    </a:lnTo>
                    <a:lnTo>
                      <a:pt x="1273" y="968"/>
                    </a:lnTo>
                    <a:lnTo>
                      <a:pt x="1270" y="972"/>
                    </a:lnTo>
                    <a:lnTo>
                      <a:pt x="1268" y="970"/>
                    </a:lnTo>
                    <a:lnTo>
                      <a:pt x="1268" y="963"/>
                    </a:lnTo>
                    <a:lnTo>
                      <a:pt x="1266" y="960"/>
                    </a:lnTo>
                    <a:lnTo>
                      <a:pt x="1266" y="957"/>
                    </a:lnTo>
                    <a:lnTo>
                      <a:pt x="1270" y="958"/>
                    </a:lnTo>
                    <a:lnTo>
                      <a:pt x="1273" y="958"/>
                    </a:lnTo>
                    <a:lnTo>
                      <a:pt x="1271" y="955"/>
                    </a:lnTo>
                    <a:lnTo>
                      <a:pt x="1273" y="952"/>
                    </a:lnTo>
                    <a:lnTo>
                      <a:pt x="1271" y="947"/>
                    </a:lnTo>
                    <a:lnTo>
                      <a:pt x="1266" y="948"/>
                    </a:lnTo>
                    <a:lnTo>
                      <a:pt x="1266" y="945"/>
                    </a:lnTo>
                    <a:lnTo>
                      <a:pt x="1271" y="942"/>
                    </a:lnTo>
                    <a:lnTo>
                      <a:pt x="1268" y="940"/>
                    </a:lnTo>
                    <a:lnTo>
                      <a:pt x="1260" y="943"/>
                    </a:lnTo>
                    <a:lnTo>
                      <a:pt x="1255" y="948"/>
                    </a:lnTo>
                    <a:lnTo>
                      <a:pt x="1251" y="957"/>
                    </a:lnTo>
                    <a:lnTo>
                      <a:pt x="1246" y="962"/>
                    </a:lnTo>
                    <a:lnTo>
                      <a:pt x="1246" y="965"/>
                    </a:lnTo>
                    <a:lnTo>
                      <a:pt x="1243" y="968"/>
                    </a:lnTo>
                    <a:lnTo>
                      <a:pt x="1243" y="972"/>
                    </a:lnTo>
                    <a:lnTo>
                      <a:pt x="1238" y="978"/>
                    </a:lnTo>
                    <a:lnTo>
                      <a:pt x="1240" y="982"/>
                    </a:lnTo>
                    <a:lnTo>
                      <a:pt x="1236" y="982"/>
                    </a:lnTo>
                    <a:lnTo>
                      <a:pt x="1236" y="987"/>
                    </a:lnTo>
                    <a:lnTo>
                      <a:pt x="1236" y="990"/>
                    </a:lnTo>
                    <a:lnTo>
                      <a:pt x="1230" y="995"/>
                    </a:lnTo>
                    <a:lnTo>
                      <a:pt x="1228" y="998"/>
                    </a:lnTo>
                    <a:lnTo>
                      <a:pt x="1228" y="1005"/>
                    </a:lnTo>
                    <a:lnTo>
                      <a:pt x="1226" y="1007"/>
                    </a:lnTo>
                    <a:lnTo>
                      <a:pt x="1226" y="1013"/>
                    </a:lnTo>
                    <a:lnTo>
                      <a:pt x="1223" y="1017"/>
                    </a:lnTo>
                    <a:lnTo>
                      <a:pt x="1218" y="1017"/>
                    </a:lnTo>
                    <a:lnTo>
                      <a:pt x="1210" y="1020"/>
                    </a:lnTo>
                    <a:lnTo>
                      <a:pt x="1210" y="1023"/>
                    </a:lnTo>
                    <a:lnTo>
                      <a:pt x="1206" y="1030"/>
                    </a:lnTo>
                    <a:lnTo>
                      <a:pt x="1208" y="1035"/>
                    </a:lnTo>
                    <a:lnTo>
                      <a:pt x="1208" y="1035"/>
                    </a:lnTo>
                    <a:close/>
                    <a:moveTo>
                      <a:pt x="1248" y="1098"/>
                    </a:moveTo>
                    <a:lnTo>
                      <a:pt x="1248" y="1098"/>
                    </a:lnTo>
                    <a:lnTo>
                      <a:pt x="1248" y="1100"/>
                    </a:lnTo>
                    <a:lnTo>
                      <a:pt x="1250" y="1100"/>
                    </a:lnTo>
                    <a:lnTo>
                      <a:pt x="1255" y="1095"/>
                    </a:lnTo>
                    <a:lnTo>
                      <a:pt x="1258" y="1095"/>
                    </a:lnTo>
                    <a:lnTo>
                      <a:pt x="1260" y="1095"/>
                    </a:lnTo>
                    <a:lnTo>
                      <a:pt x="1261" y="1096"/>
                    </a:lnTo>
                    <a:lnTo>
                      <a:pt x="1265" y="1098"/>
                    </a:lnTo>
                    <a:lnTo>
                      <a:pt x="1271" y="1093"/>
                    </a:lnTo>
                    <a:lnTo>
                      <a:pt x="1275" y="1091"/>
                    </a:lnTo>
                    <a:lnTo>
                      <a:pt x="1278" y="1088"/>
                    </a:lnTo>
                    <a:lnTo>
                      <a:pt x="1283" y="1083"/>
                    </a:lnTo>
                    <a:lnTo>
                      <a:pt x="1286" y="1083"/>
                    </a:lnTo>
                    <a:lnTo>
                      <a:pt x="1291" y="1080"/>
                    </a:lnTo>
                    <a:lnTo>
                      <a:pt x="1293" y="1076"/>
                    </a:lnTo>
                    <a:lnTo>
                      <a:pt x="1296" y="1073"/>
                    </a:lnTo>
                    <a:lnTo>
                      <a:pt x="1294" y="1071"/>
                    </a:lnTo>
                    <a:lnTo>
                      <a:pt x="1289" y="1071"/>
                    </a:lnTo>
                    <a:lnTo>
                      <a:pt x="1288" y="1070"/>
                    </a:lnTo>
                    <a:lnTo>
                      <a:pt x="1285" y="1070"/>
                    </a:lnTo>
                    <a:lnTo>
                      <a:pt x="1281" y="1071"/>
                    </a:lnTo>
                    <a:lnTo>
                      <a:pt x="1280" y="1071"/>
                    </a:lnTo>
                    <a:lnTo>
                      <a:pt x="1276" y="1071"/>
                    </a:lnTo>
                    <a:lnTo>
                      <a:pt x="1273" y="1075"/>
                    </a:lnTo>
                    <a:lnTo>
                      <a:pt x="1270" y="1073"/>
                    </a:lnTo>
                    <a:lnTo>
                      <a:pt x="1268" y="1070"/>
                    </a:lnTo>
                    <a:lnTo>
                      <a:pt x="1266" y="1070"/>
                    </a:lnTo>
                    <a:lnTo>
                      <a:pt x="1261" y="1071"/>
                    </a:lnTo>
                    <a:lnTo>
                      <a:pt x="1256" y="1076"/>
                    </a:lnTo>
                    <a:lnTo>
                      <a:pt x="1256" y="1078"/>
                    </a:lnTo>
                    <a:lnTo>
                      <a:pt x="1255" y="1081"/>
                    </a:lnTo>
                    <a:lnTo>
                      <a:pt x="1246" y="1083"/>
                    </a:lnTo>
                    <a:lnTo>
                      <a:pt x="1245" y="1086"/>
                    </a:lnTo>
                    <a:lnTo>
                      <a:pt x="1248" y="1088"/>
                    </a:lnTo>
                    <a:lnTo>
                      <a:pt x="1248" y="1091"/>
                    </a:lnTo>
                    <a:lnTo>
                      <a:pt x="1248" y="1095"/>
                    </a:lnTo>
                    <a:lnTo>
                      <a:pt x="1248" y="1098"/>
                    </a:lnTo>
                    <a:lnTo>
                      <a:pt x="1248" y="1098"/>
                    </a:lnTo>
                    <a:close/>
                    <a:moveTo>
                      <a:pt x="1638" y="1128"/>
                    </a:moveTo>
                    <a:lnTo>
                      <a:pt x="1638" y="1128"/>
                    </a:lnTo>
                    <a:lnTo>
                      <a:pt x="1643" y="1128"/>
                    </a:lnTo>
                    <a:lnTo>
                      <a:pt x="1647" y="1131"/>
                    </a:lnTo>
                    <a:lnTo>
                      <a:pt x="1650" y="1131"/>
                    </a:lnTo>
                    <a:lnTo>
                      <a:pt x="1650" y="1128"/>
                    </a:lnTo>
                    <a:lnTo>
                      <a:pt x="1652" y="1126"/>
                    </a:lnTo>
                    <a:lnTo>
                      <a:pt x="1652" y="1125"/>
                    </a:lnTo>
                    <a:lnTo>
                      <a:pt x="1648" y="1123"/>
                    </a:lnTo>
                    <a:lnTo>
                      <a:pt x="1645" y="1125"/>
                    </a:lnTo>
                    <a:lnTo>
                      <a:pt x="1642" y="1125"/>
                    </a:lnTo>
                    <a:lnTo>
                      <a:pt x="1638" y="1128"/>
                    </a:lnTo>
                    <a:lnTo>
                      <a:pt x="1638" y="1128"/>
                    </a:lnTo>
                    <a:close/>
                    <a:moveTo>
                      <a:pt x="1515" y="1098"/>
                    </a:moveTo>
                    <a:lnTo>
                      <a:pt x="1517" y="1100"/>
                    </a:lnTo>
                    <a:lnTo>
                      <a:pt x="1522" y="1101"/>
                    </a:lnTo>
                    <a:lnTo>
                      <a:pt x="1522" y="1103"/>
                    </a:lnTo>
                    <a:lnTo>
                      <a:pt x="1522" y="1105"/>
                    </a:lnTo>
                    <a:lnTo>
                      <a:pt x="1524" y="1106"/>
                    </a:lnTo>
                    <a:lnTo>
                      <a:pt x="1525" y="1108"/>
                    </a:lnTo>
                    <a:lnTo>
                      <a:pt x="1527" y="1110"/>
                    </a:lnTo>
                    <a:lnTo>
                      <a:pt x="1530" y="1110"/>
                    </a:lnTo>
                    <a:lnTo>
                      <a:pt x="1532" y="1108"/>
                    </a:lnTo>
                    <a:lnTo>
                      <a:pt x="1532" y="1108"/>
                    </a:lnTo>
                    <a:lnTo>
                      <a:pt x="1532" y="1105"/>
                    </a:lnTo>
                    <a:lnTo>
                      <a:pt x="1529" y="1103"/>
                    </a:lnTo>
                    <a:lnTo>
                      <a:pt x="1525" y="1101"/>
                    </a:lnTo>
                    <a:lnTo>
                      <a:pt x="1525" y="1100"/>
                    </a:lnTo>
                    <a:lnTo>
                      <a:pt x="1520" y="1098"/>
                    </a:lnTo>
                    <a:lnTo>
                      <a:pt x="1517" y="1098"/>
                    </a:lnTo>
                    <a:lnTo>
                      <a:pt x="1515" y="1098"/>
                    </a:lnTo>
                    <a:lnTo>
                      <a:pt x="1515" y="1098"/>
                    </a:lnTo>
                    <a:close/>
                    <a:moveTo>
                      <a:pt x="1633" y="1156"/>
                    </a:moveTo>
                    <a:lnTo>
                      <a:pt x="1628" y="1153"/>
                    </a:lnTo>
                    <a:lnTo>
                      <a:pt x="1628" y="1149"/>
                    </a:lnTo>
                    <a:lnTo>
                      <a:pt x="1627" y="1148"/>
                    </a:lnTo>
                    <a:lnTo>
                      <a:pt x="1627" y="1146"/>
                    </a:lnTo>
                    <a:lnTo>
                      <a:pt x="1628" y="1144"/>
                    </a:lnTo>
                    <a:lnTo>
                      <a:pt x="1632" y="1148"/>
                    </a:lnTo>
                    <a:lnTo>
                      <a:pt x="1632" y="1149"/>
                    </a:lnTo>
                    <a:lnTo>
                      <a:pt x="1633" y="1151"/>
                    </a:lnTo>
                    <a:lnTo>
                      <a:pt x="1635" y="1154"/>
                    </a:lnTo>
                    <a:lnTo>
                      <a:pt x="1633" y="1156"/>
                    </a:lnTo>
                    <a:lnTo>
                      <a:pt x="1633" y="1156"/>
                    </a:lnTo>
                    <a:close/>
                    <a:moveTo>
                      <a:pt x="1628" y="1169"/>
                    </a:moveTo>
                    <a:lnTo>
                      <a:pt x="1627" y="1168"/>
                    </a:lnTo>
                    <a:lnTo>
                      <a:pt x="1627" y="1164"/>
                    </a:lnTo>
                    <a:lnTo>
                      <a:pt x="1625" y="1163"/>
                    </a:lnTo>
                    <a:lnTo>
                      <a:pt x="1622" y="1163"/>
                    </a:lnTo>
                    <a:lnTo>
                      <a:pt x="1618" y="1159"/>
                    </a:lnTo>
                    <a:lnTo>
                      <a:pt x="1618" y="1158"/>
                    </a:lnTo>
                    <a:lnTo>
                      <a:pt x="1622" y="1156"/>
                    </a:lnTo>
                    <a:lnTo>
                      <a:pt x="1623" y="1156"/>
                    </a:lnTo>
                    <a:lnTo>
                      <a:pt x="1630" y="1156"/>
                    </a:lnTo>
                    <a:lnTo>
                      <a:pt x="1635" y="1159"/>
                    </a:lnTo>
                    <a:lnTo>
                      <a:pt x="1635" y="1161"/>
                    </a:lnTo>
                    <a:lnTo>
                      <a:pt x="1633" y="1163"/>
                    </a:lnTo>
                    <a:lnTo>
                      <a:pt x="1633" y="1164"/>
                    </a:lnTo>
                    <a:lnTo>
                      <a:pt x="1632" y="1166"/>
                    </a:lnTo>
                    <a:lnTo>
                      <a:pt x="1630" y="1168"/>
                    </a:lnTo>
                    <a:lnTo>
                      <a:pt x="1628" y="1169"/>
                    </a:lnTo>
                    <a:lnTo>
                      <a:pt x="1628" y="1169"/>
                    </a:lnTo>
                    <a:close/>
                    <a:moveTo>
                      <a:pt x="1509" y="1234"/>
                    </a:moveTo>
                    <a:lnTo>
                      <a:pt x="1507" y="1237"/>
                    </a:lnTo>
                    <a:lnTo>
                      <a:pt x="1509" y="1236"/>
                    </a:lnTo>
                    <a:lnTo>
                      <a:pt x="1509" y="1234"/>
                    </a:lnTo>
                    <a:lnTo>
                      <a:pt x="1509" y="1234"/>
                    </a:lnTo>
                    <a:close/>
                    <a:moveTo>
                      <a:pt x="1510" y="1236"/>
                    </a:moveTo>
                    <a:lnTo>
                      <a:pt x="1510" y="1237"/>
                    </a:lnTo>
                    <a:lnTo>
                      <a:pt x="1510" y="1237"/>
                    </a:lnTo>
                    <a:lnTo>
                      <a:pt x="1510" y="1236"/>
                    </a:lnTo>
                    <a:lnTo>
                      <a:pt x="1510" y="1236"/>
                    </a:lnTo>
                    <a:close/>
                    <a:moveTo>
                      <a:pt x="1514" y="1234"/>
                    </a:moveTo>
                    <a:lnTo>
                      <a:pt x="1512" y="1237"/>
                    </a:lnTo>
                    <a:lnTo>
                      <a:pt x="1514" y="1241"/>
                    </a:lnTo>
                    <a:lnTo>
                      <a:pt x="1514" y="1242"/>
                    </a:lnTo>
                    <a:lnTo>
                      <a:pt x="1514" y="1242"/>
                    </a:lnTo>
                    <a:lnTo>
                      <a:pt x="1515" y="1237"/>
                    </a:lnTo>
                    <a:lnTo>
                      <a:pt x="1514" y="1234"/>
                    </a:lnTo>
                    <a:lnTo>
                      <a:pt x="1514" y="1234"/>
                    </a:lnTo>
                    <a:close/>
                    <a:moveTo>
                      <a:pt x="1545" y="1203"/>
                    </a:moveTo>
                    <a:lnTo>
                      <a:pt x="1545" y="1199"/>
                    </a:lnTo>
                    <a:lnTo>
                      <a:pt x="1547" y="1196"/>
                    </a:lnTo>
                    <a:lnTo>
                      <a:pt x="1549" y="1194"/>
                    </a:lnTo>
                    <a:lnTo>
                      <a:pt x="1549" y="1191"/>
                    </a:lnTo>
                    <a:lnTo>
                      <a:pt x="1554" y="1188"/>
                    </a:lnTo>
                    <a:lnTo>
                      <a:pt x="1559" y="1188"/>
                    </a:lnTo>
                    <a:lnTo>
                      <a:pt x="1560" y="1189"/>
                    </a:lnTo>
                    <a:lnTo>
                      <a:pt x="1559" y="1191"/>
                    </a:lnTo>
                    <a:lnTo>
                      <a:pt x="1560" y="1193"/>
                    </a:lnTo>
                    <a:lnTo>
                      <a:pt x="1560" y="1194"/>
                    </a:lnTo>
                    <a:lnTo>
                      <a:pt x="1557" y="1196"/>
                    </a:lnTo>
                    <a:lnTo>
                      <a:pt x="1555" y="1199"/>
                    </a:lnTo>
                    <a:lnTo>
                      <a:pt x="1552" y="1199"/>
                    </a:lnTo>
                    <a:lnTo>
                      <a:pt x="1547" y="1203"/>
                    </a:lnTo>
                    <a:lnTo>
                      <a:pt x="1545" y="1203"/>
                    </a:lnTo>
                    <a:lnTo>
                      <a:pt x="1545" y="1203"/>
                    </a:lnTo>
                    <a:close/>
                    <a:moveTo>
                      <a:pt x="1441" y="1093"/>
                    </a:moveTo>
                    <a:lnTo>
                      <a:pt x="1444" y="1096"/>
                    </a:lnTo>
                    <a:lnTo>
                      <a:pt x="1447" y="1100"/>
                    </a:lnTo>
                    <a:lnTo>
                      <a:pt x="1451" y="1100"/>
                    </a:lnTo>
                    <a:lnTo>
                      <a:pt x="1456" y="1101"/>
                    </a:lnTo>
                    <a:lnTo>
                      <a:pt x="1454" y="1100"/>
                    </a:lnTo>
                    <a:lnTo>
                      <a:pt x="1451" y="1098"/>
                    </a:lnTo>
                    <a:lnTo>
                      <a:pt x="1444" y="1095"/>
                    </a:lnTo>
                    <a:lnTo>
                      <a:pt x="1442" y="1093"/>
                    </a:lnTo>
                    <a:lnTo>
                      <a:pt x="1441" y="1093"/>
                    </a:lnTo>
                    <a:lnTo>
                      <a:pt x="1441" y="1093"/>
                    </a:lnTo>
                    <a:close/>
                    <a:moveTo>
                      <a:pt x="1404" y="1065"/>
                    </a:moveTo>
                    <a:lnTo>
                      <a:pt x="1404" y="1065"/>
                    </a:lnTo>
                    <a:lnTo>
                      <a:pt x="1407" y="1065"/>
                    </a:lnTo>
                    <a:lnTo>
                      <a:pt x="1409" y="1066"/>
                    </a:lnTo>
                    <a:lnTo>
                      <a:pt x="1411" y="1066"/>
                    </a:lnTo>
                    <a:lnTo>
                      <a:pt x="1412" y="1065"/>
                    </a:lnTo>
                    <a:lnTo>
                      <a:pt x="1414" y="1063"/>
                    </a:lnTo>
                    <a:lnTo>
                      <a:pt x="1414" y="1061"/>
                    </a:lnTo>
                    <a:lnTo>
                      <a:pt x="1411" y="1060"/>
                    </a:lnTo>
                    <a:lnTo>
                      <a:pt x="1414" y="1058"/>
                    </a:lnTo>
                    <a:lnTo>
                      <a:pt x="1414" y="1058"/>
                    </a:lnTo>
                    <a:lnTo>
                      <a:pt x="1409" y="1055"/>
                    </a:lnTo>
                    <a:lnTo>
                      <a:pt x="1406" y="1055"/>
                    </a:lnTo>
                    <a:lnTo>
                      <a:pt x="1406" y="1053"/>
                    </a:lnTo>
                    <a:lnTo>
                      <a:pt x="1404" y="1051"/>
                    </a:lnTo>
                    <a:lnTo>
                      <a:pt x="1402" y="1051"/>
                    </a:lnTo>
                    <a:lnTo>
                      <a:pt x="1399" y="1051"/>
                    </a:lnTo>
                    <a:lnTo>
                      <a:pt x="1396" y="1051"/>
                    </a:lnTo>
                    <a:lnTo>
                      <a:pt x="1396" y="1053"/>
                    </a:lnTo>
                    <a:lnTo>
                      <a:pt x="1396" y="1055"/>
                    </a:lnTo>
                    <a:lnTo>
                      <a:pt x="1397" y="1055"/>
                    </a:lnTo>
                    <a:lnTo>
                      <a:pt x="1399" y="1056"/>
                    </a:lnTo>
                    <a:lnTo>
                      <a:pt x="1401" y="1058"/>
                    </a:lnTo>
                    <a:lnTo>
                      <a:pt x="1404" y="1061"/>
                    </a:lnTo>
                    <a:lnTo>
                      <a:pt x="1404" y="1065"/>
                    </a:lnTo>
                    <a:lnTo>
                      <a:pt x="1404" y="1065"/>
                    </a:lnTo>
                    <a:close/>
                    <a:moveTo>
                      <a:pt x="1379" y="1075"/>
                    </a:moveTo>
                    <a:lnTo>
                      <a:pt x="1383" y="1075"/>
                    </a:lnTo>
                    <a:lnTo>
                      <a:pt x="1384" y="1073"/>
                    </a:lnTo>
                    <a:lnTo>
                      <a:pt x="1387" y="1073"/>
                    </a:lnTo>
                    <a:lnTo>
                      <a:pt x="1389" y="1071"/>
                    </a:lnTo>
                    <a:lnTo>
                      <a:pt x="1389" y="1070"/>
                    </a:lnTo>
                    <a:lnTo>
                      <a:pt x="1389" y="1068"/>
                    </a:lnTo>
                    <a:lnTo>
                      <a:pt x="1389" y="1061"/>
                    </a:lnTo>
                    <a:lnTo>
                      <a:pt x="1387" y="1061"/>
                    </a:lnTo>
                    <a:lnTo>
                      <a:pt x="1383" y="1060"/>
                    </a:lnTo>
                    <a:lnTo>
                      <a:pt x="1379" y="1058"/>
                    </a:lnTo>
                    <a:lnTo>
                      <a:pt x="1378" y="1055"/>
                    </a:lnTo>
                    <a:lnTo>
                      <a:pt x="1376" y="1056"/>
                    </a:lnTo>
                    <a:lnTo>
                      <a:pt x="1371" y="1056"/>
                    </a:lnTo>
                    <a:lnTo>
                      <a:pt x="1369" y="1056"/>
                    </a:lnTo>
                    <a:lnTo>
                      <a:pt x="1368" y="1058"/>
                    </a:lnTo>
                    <a:lnTo>
                      <a:pt x="1369" y="1061"/>
                    </a:lnTo>
                    <a:lnTo>
                      <a:pt x="1373" y="1065"/>
                    </a:lnTo>
                    <a:lnTo>
                      <a:pt x="1374" y="1068"/>
                    </a:lnTo>
                    <a:lnTo>
                      <a:pt x="1376" y="1070"/>
                    </a:lnTo>
                    <a:lnTo>
                      <a:pt x="1376" y="1073"/>
                    </a:lnTo>
                    <a:lnTo>
                      <a:pt x="1379" y="1075"/>
                    </a:lnTo>
                    <a:lnTo>
                      <a:pt x="1379" y="1075"/>
                    </a:lnTo>
                    <a:close/>
                    <a:moveTo>
                      <a:pt x="1374" y="1093"/>
                    </a:moveTo>
                    <a:lnTo>
                      <a:pt x="1374" y="1093"/>
                    </a:lnTo>
                    <a:lnTo>
                      <a:pt x="1376" y="1093"/>
                    </a:lnTo>
                    <a:lnTo>
                      <a:pt x="1371" y="1091"/>
                    </a:lnTo>
                    <a:lnTo>
                      <a:pt x="1369" y="1091"/>
                    </a:lnTo>
                    <a:lnTo>
                      <a:pt x="1371" y="1093"/>
                    </a:lnTo>
                    <a:lnTo>
                      <a:pt x="1374" y="1093"/>
                    </a:lnTo>
                    <a:lnTo>
                      <a:pt x="1374" y="1093"/>
                    </a:lnTo>
                    <a:close/>
                    <a:moveTo>
                      <a:pt x="1321" y="1128"/>
                    </a:moveTo>
                    <a:lnTo>
                      <a:pt x="1323" y="1128"/>
                    </a:lnTo>
                    <a:lnTo>
                      <a:pt x="1323" y="1126"/>
                    </a:lnTo>
                    <a:lnTo>
                      <a:pt x="1324" y="1125"/>
                    </a:lnTo>
                    <a:lnTo>
                      <a:pt x="1326" y="1123"/>
                    </a:lnTo>
                    <a:lnTo>
                      <a:pt x="1326" y="1120"/>
                    </a:lnTo>
                    <a:lnTo>
                      <a:pt x="1324" y="1120"/>
                    </a:lnTo>
                    <a:lnTo>
                      <a:pt x="1326" y="1118"/>
                    </a:lnTo>
                    <a:lnTo>
                      <a:pt x="1329" y="1115"/>
                    </a:lnTo>
                    <a:lnTo>
                      <a:pt x="1333" y="1111"/>
                    </a:lnTo>
                    <a:lnTo>
                      <a:pt x="1336" y="1110"/>
                    </a:lnTo>
                    <a:lnTo>
                      <a:pt x="1336" y="1110"/>
                    </a:lnTo>
                    <a:lnTo>
                      <a:pt x="1336" y="1108"/>
                    </a:lnTo>
                    <a:lnTo>
                      <a:pt x="1336" y="1105"/>
                    </a:lnTo>
                    <a:lnTo>
                      <a:pt x="1338" y="1103"/>
                    </a:lnTo>
                    <a:lnTo>
                      <a:pt x="1339" y="1100"/>
                    </a:lnTo>
                    <a:lnTo>
                      <a:pt x="1339" y="1098"/>
                    </a:lnTo>
                    <a:lnTo>
                      <a:pt x="1339" y="1095"/>
                    </a:lnTo>
                    <a:lnTo>
                      <a:pt x="1338" y="1093"/>
                    </a:lnTo>
                    <a:lnTo>
                      <a:pt x="1334" y="1095"/>
                    </a:lnTo>
                    <a:lnTo>
                      <a:pt x="1333" y="1095"/>
                    </a:lnTo>
                    <a:lnTo>
                      <a:pt x="1331" y="1093"/>
                    </a:lnTo>
                    <a:lnTo>
                      <a:pt x="1329" y="1091"/>
                    </a:lnTo>
                    <a:lnTo>
                      <a:pt x="1326" y="1095"/>
                    </a:lnTo>
                    <a:lnTo>
                      <a:pt x="1323" y="1098"/>
                    </a:lnTo>
                    <a:lnTo>
                      <a:pt x="1321" y="1098"/>
                    </a:lnTo>
                    <a:lnTo>
                      <a:pt x="1318" y="1101"/>
                    </a:lnTo>
                    <a:lnTo>
                      <a:pt x="1316" y="1105"/>
                    </a:lnTo>
                    <a:lnTo>
                      <a:pt x="1318" y="1108"/>
                    </a:lnTo>
                    <a:lnTo>
                      <a:pt x="1314" y="1110"/>
                    </a:lnTo>
                    <a:lnTo>
                      <a:pt x="1314" y="1113"/>
                    </a:lnTo>
                    <a:lnTo>
                      <a:pt x="1314" y="1116"/>
                    </a:lnTo>
                    <a:lnTo>
                      <a:pt x="1313" y="1118"/>
                    </a:lnTo>
                    <a:lnTo>
                      <a:pt x="1313" y="1120"/>
                    </a:lnTo>
                    <a:lnTo>
                      <a:pt x="1318" y="1121"/>
                    </a:lnTo>
                    <a:lnTo>
                      <a:pt x="1318" y="1123"/>
                    </a:lnTo>
                    <a:lnTo>
                      <a:pt x="1319" y="1125"/>
                    </a:lnTo>
                    <a:lnTo>
                      <a:pt x="1321" y="1128"/>
                    </a:lnTo>
                    <a:lnTo>
                      <a:pt x="1321" y="1128"/>
                    </a:lnTo>
                    <a:close/>
                    <a:moveTo>
                      <a:pt x="1273" y="1311"/>
                    </a:moveTo>
                    <a:lnTo>
                      <a:pt x="1273" y="1312"/>
                    </a:lnTo>
                    <a:lnTo>
                      <a:pt x="1275" y="1312"/>
                    </a:lnTo>
                    <a:lnTo>
                      <a:pt x="1275" y="1311"/>
                    </a:lnTo>
                    <a:lnTo>
                      <a:pt x="1273" y="1311"/>
                    </a:lnTo>
                    <a:lnTo>
                      <a:pt x="1273" y="1311"/>
                    </a:lnTo>
                    <a:close/>
                    <a:moveTo>
                      <a:pt x="1275" y="1329"/>
                    </a:moveTo>
                    <a:lnTo>
                      <a:pt x="1278" y="1326"/>
                    </a:lnTo>
                    <a:lnTo>
                      <a:pt x="1280" y="1322"/>
                    </a:lnTo>
                    <a:lnTo>
                      <a:pt x="1281" y="1322"/>
                    </a:lnTo>
                    <a:lnTo>
                      <a:pt x="1281" y="1327"/>
                    </a:lnTo>
                    <a:lnTo>
                      <a:pt x="1278" y="1329"/>
                    </a:lnTo>
                    <a:lnTo>
                      <a:pt x="1278" y="1329"/>
                    </a:lnTo>
                    <a:lnTo>
                      <a:pt x="1275" y="1329"/>
                    </a:lnTo>
                    <a:lnTo>
                      <a:pt x="1275" y="1329"/>
                    </a:lnTo>
                    <a:close/>
                    <a:moveTo>
                      <a:pt x="1246" y="1324"/>
                    </a:moveTo>
                    <a:lnTo>
                      <a:pt x="1250" y="1319"/>
                    </a:lnTo>
                    <a:lnTo>
                      <a:pt x="1253" y="1319"/>
                    </a:lnTo>
                    <a:lnTo>
                      <a:pt x="1253" y="1317"/>
                    </a:lnTo>
                    <a:lnTo>
                      <a:pt x="1255" y="1317"/>
                    </a:lnTo>
                    <a:lnTo>
                      <a:pt x="1260" y="1316"/>
                    </a:lnTo>
                    <a:lnTo>
                      <a:pt x="1261" y="1314"/>
                    </a:lnTo>
                    <a:lnTo>
                      <a:pt x="1258" y="1319"/>
                    </a:lnTo>
                    <a:lnTo>
                      <a:pt x="1251" y="1324"/>
                    </a:lnTo>
                    <a:lnTo>
                      <a:pt x="1248" y="1324"/>
                    </a:lnTo>
                    <a:lnTo>
                      <a:pt x="1246" y="1324"/>
                    </a:lnTo>
                    <a:lnTo>
                      <a:pt x="1246" y="1324"/>
                    </a:lnTo>
                    <a:close/>
                    <a:moveTo>
                      <a:pt x="1266" y="1332"/>
                    </a:moveTo>
                    <a:lnTo>
                      <a:pt x="1271" y="1324"/>
                    </a:lnTo>
                    <a:lnTo>
                      <a:pt x="1273" y="1322"/>
                    </a:lnTo>
                    <a:lnTo>
                      <a:pt x="1275" y="1322"/>
                    </a:lnTo>
                    <a:lnTo>
                      <a:pt x="1275" y="1324"/>
                    </a:lnTo>
                    <a:lnTo>
                      <a:pt x="1268" y="1330"/>
                    </a:lnTo>
                    <a:lnTo>
                      <a:pt x="1266" y="1334"/>
                    </a:lnTo>
                    <a:lnTo>
                      <a:pt x="1270" y="1332"/>
                    </a:lnTo>
                    <a:lnTo>
                      <a:pt x="1275" y="1326"/>
                    </a:lnTo>
                    <a:lnTo>
                      <a:pt x="1276" y="1324"/>
                    </a:lnTo>
                    <a:lnTo>
                      <a:pt x="1278" y="1321"/>
                    </a:lnTo>
                    <a:lnTo>
                      <a:pt x="1276" y="1317"/>
                    </a:lnTo>
                    <a:lnTo>
                      <a:pt x="1275" y="1317"/>
                    </a:lnTo>
                    <a:lnTo>
                      <a:pt x="1275" y="1316"/>
                    </a:lnTo>
                    <a:lnTo>
                      <a:pt x="1271" y="1314"/>
                    </a:lnTo>
                    <a:lnTo>
                      <a:pt x="1270" y="1316"/>
                    </a:lnTo>
                    <a:lnTo>
                      <a:pt x="1266" y="1322"/>
                    </a:lnTo>
                    <a:lnTo>
                      <a:pt x="1263" y="1324"/>
                    </a:lnTo>
                    <a:lnTo>
                      <a:pt x="1260" y="1327"/>
                    </a:lnTo>
                    <a:lnTo>
                      <a:pt x="1261" y="1324"/>
                    </a:lnTo>
                    <a:lnTo>
                      <a:pt x="1265" y="1321"/>
                    </a:lnTo>
                    <a:lnTo>
                      <a:pt x="1266" y="1317"/>
                    </a:lnTo>
                    <a:lnTo>
                      <a:pt x="1265" y="1316"/>
                    </a:lnTo>
                    <a:lnTo>
                      <a:pt x="1261" y="1317"/>
                    </a:lnTo>
                    <a:lnTo>
                      <a:pt x="1260" y="1322"/>
                    </a:lnTo>
                    <a:lnTo>
                      <a:pt x="1255" y="1327"/>
                    </a:lnTo>
                    <a:lnTo>
                      <a:pt x="1253" y="1330"/>
                    </a:lnTo>
                    <a:lnTo>
                      <a:pt x="1250" y="1334"/>
                    </a:lnTo>
                    <a:lnTo>
                      <a:pt x="1251" y="1337"/>
                    </a:lnTo>
                    <a:lnTo>
                      <a:pt x="1253" y="1335"/>
                    </a:lnTo>
                    <a:lnTo>
                      <a:pt x="1258" y="1330"/>
                    </a:lnTo>
                    <a:lnTo>
                      <a:pt x="1260" y="1330"/>
                    </a:lnTo>
                    <a:lnTo>
                      <a:pt x="1258" y="1332"/>
                    </a:lnTo>
                    <a:lnTo>
                      <a:pt x="1255" y="1337"/>
                    </a:lnTo>
                    <a:lnTo>
                      <a:pt x="1256" y="1337"/>
                    </a:lnTo>
                    <a:lnTo>
                      <a:pt x="1260" y="1335"/>
                    </a:lnTo>
                    <a:lnTo>
                      <a:pt x="1263" y="1335"/>
                    </a:lnTo>
                    <a:lnTo>
                      <a:pt x="1263" y="1335"/>
                    </a:lnTo>
                    <a:lnTo>
                      <a:pt x="1266" y="1332"/>
                    </a:lnTo>
                    <a:lnTo>
                      <a:pt x="1266" y="1332"/>
                    </a:lnTo>
                    <a:close/>
                    <a:moveTo>
                      <a:pt x="1261" y="1332"/>
                    </a:moveTo>
                    <a:lnTo>
                      <a:pt x="1263" y="1329"/>
                    </a:lnTo>
                    <a:lnTo>
                      <a:pt x="1270" y="1322"/>
                    </a:lnTo>
                    <a:lnTo>
                      <a:pt x="1266" y="1327"/>
                    </a:lnTo>
                    <a:lnTo>
                      <a:pt x="1263" y="1332"/>
                    </a:lnTo>
                    <a:lnTo>
                      <a:pt x="1261" y="1332"/>
                    </a:lnTo>
                    <a:lnTo>
                      <a:pt x="1261" y="1332"/>
                    </a:lnTo>
                    <a:close/>
                    <a:moveTo>
                      <a:pt x="1588" y="1631"/>
                    </a:moveTo>
                    <a:lnTo>
                      <a:pt x="1587" y="1631"/>
                    </a:lnTo>
                    <a:lnTo>
                      <a:pt x="1585" y="1629"/>
                    </a:lnTo>
                    <a:lnTo>
                      <a:pt x="1587" y="1629"/>
                    </a:lnTo>
                    <a:lnTo>
                      <a:pt x="1588" y="1626"/>
                    </a:lnTo>
                    <a:lnTo>
                      <a:pt x="1592" y="1624"/>
                    </a:lnTo>
                    <a:lnTo>
                      <a:pt x="1592" y="1624"/>
                    </a:lnTo>
                    <a:lnTo>
                      <a:pt x="1592" y="1623"/>
                    </a:lnTo>
                    <a:lnTo>
                      <a:pt x="1592" y="1623"/>
                    </a:lnTo>
                    <a:lnTo>
                      <a:pt x="1587" y="1626"/>
                    </a:lnTo>
                    <a:lnTo>
                      <a:pt x="1585" y="1629"/>
                    </a:lnTo>
                    <a:lnTo>
                      <a:pt x="1585" y="1633"/>
                    </a:lnTo>
                    <a:lnTo>
                      <a:pt x="1587" y="1633"/>
                    </a:lnTo>
                    <a:lnTo>
                      <a:pt x="1588" y="1631"/>
                    </a:lnTo>
                    <a:lnTo>
                      <a:pt x="1588" y="1631"/>
                    </a:lnTo>
                    <a:close/>
                    <a:moveTo>
                      <a:pt x="1708" y="1651"/>
                    </a:moveTo>
                    <a:lnTo>
                      <a:pt x="1706" y="1649"/>
                    </a:lnTo>
                    <a:lnTo>
                      <a:pt x="1708" y="1646"/>
                    </a:lnTo>
                    <a:lnTo>
                      <a:pt x="1706" y="1643"/>
                    </a:lnTo>
                    <a:lnTo>
                      <a:pt x="1705" y="1639"/>
                    </a:lnTo>
                    <a:lnTo>
                      <a:pt x="1706" y="1638"/>
                    </a:lnTo>
                    <a:lnTo>
                      <a:pt x="1708" y="1636"/>
                    </a:lnTo>
                    <a:lnTo>
                      <a:pt x="1708" y="1638"/>
                    </a:lnTo>
                    <a:lnTo>
                      <a:pt x="1710" y="1639"/>
                    </a:lnTo>
                    <a:lnTo>
                      <a:pt x="1710" y="1643"/>
                    </a:lnTo>
                    <a:lnTo>
                      <a:pt x="1708" y="1643"/>
                    </a:lnTo>
                    <a:lnTo>
                      <a:pt x="1708" y="1646"/>
                    </a:lnTo>
                    <a:lnTo>
                      <a:pt x="1710" y="1646"/>
                    </a:lnTo>
                    <a:lnTo>
                      <a:pt x="1710" y="1648"/>
                    </a:lnTo>
                    <a:lnTo>
                      <a:pt x="1710" y="1651"/>
                    </a:lnTo>
                    <a:lnTo>
                      <a:pt x="1708" y="1651"/>
                    </a:lnTo>
                    <a:lnTo>
                      <a:pt x="1708" y="1651"/>
                    </a:lnTo>
                    <a:close/>
                    <a:moveTo>
                      <a:pt x="1711" y="1653"/>
                    </a:moveTo>
                    <a:lnTo>
                      <a:pt x="1713" y="1651"/>
                    </a:lnTo>
                    <a:lnTo>
                      <a:pt x="1715" y="1651"/>
                    </a:lnTo>
                    <a:lnTo>
                      <a:pt x="1715" y="1653"/>
                    </a:lnTo>
                    <a:lnTo>
                      <a:pt x="1713" y="1654"/>
                    </a:lnTo>
                    <a:lnTo>
                      <a:pt x="1711" y="1653"/>
                    </a:lnTo>
                    <a:lnTo>
                      <a:pt x="1711" y="1653"/>
                    </a:lnTo>
                    <a:close/>
                    <a:moveTo>
                      <a:pt x="1760" y="1500"/>
                    </a:moveTo>
                    <a:lnTo>
                      <a:pt x="1761" y="1495"/>
                    </a:lnTo>
                    <a:lnTo>
                      <a:pt x="1765" y="1493"/>
                    </a:lnTo>
                    <a:lnTo>
                      <a:pt x="1765" y="1497"/>
                    </a:lnTo>
                    <a:lnTo>
                      <a:pt x="1763" y="1498"/>
                    </a:lnTo>
                    <a:lnTo>
                      <a:pt x="1760" y="1500"/>
                    </a:lnTo>
                    <a:lnTo>
                      <a:pt x="1760" y="1500"/>
                    </a:lnTo>
                    <a:lnTo>
                      <a:pt x="1760" y="1500"/>
                    </a:lnTo>
                    <a:lnTo>
                      <a:pt x="1760" y="1500"/>
                    </a:lnTo>
                    <a:close/>
                    <a:moveTo>
                      <a:pt x="1745" y="1531"/>
                    </a:moveTo>
                    <a:lnTo>
                      <a:pt x="1745" y="1533"/>
                    </a:lnTo>
                    <a:lnTo>
                      <a:pt x="1746" y="1535"/>
                    </a:lnTo>
                    <a:lnTo>
                      <a:pt x="1746" y="1533"/>
                    </a:lnTo>
                    <a:lnTo>
                      <a:pt x="1748" y="1533"/>
                    </a:lnTo>
                    <a:lnTo>
                      <a:pt x="1748" y="1531"/>
                    </a:lnTo>
                    <a:lnTo>
                      <a:pt x="1746" y="1531"/>
                    </a:lnTo>
                    <a:lnTo>
                      <a:pt x="1745" y="1531"/>
                    </a:lnTo>
                    <a:lnTo>
                      <a:pt x="1745" y="1531"/>
                    </a:lnTo>
                    <a:close/>
                    <a:moveTo>
                      <a:pt x="1770" y="1568"/>
                    </a:moveTo>
                    <a:lnTo>
                      <a:pt x="1768" y="1563"/>
                    </a:lnTo>
                    <a:lnTo>
                      <a:pt x="1768" y="1563"/>
                    </a:lnTo>
                    <a:lnTo>
                      <a:pt x="1770" y="1563"/>
                    </a:lnTo>
                    <a:lnTo>
                      <a:pt x="1771" y="1565"/>
                    </a:lnTo>
                    <a:lnTo>
                      <a:pt x="1773" y="1563"/>
                    </a:lnTo>
                    <a:lnTo>
                      <a:pt x="1775" y="1565"/>
                    </a:lnTo>
                    <a:lnTo>
                      <a:pt x="1775" y="1566"/>
                    </a:lnTo>
                    <a:lnTo>
                      <a:pt x="1773" y="1568"/>
                    </a:lnTo>
                    <a:lnTo>
                      <a:pt x="1773" y="1568"/>
                    </a:lnTo>
                    <a:lnTo>
                      <a:pt x="1770" y="1568"/>
                    </a:lnTo>
                    <a:lnTo>
                      <a:pt x="1770" y="1568"/>
                    </a:lnTo>
                    <a:close/>
                    <a:moveTo>
                      <a:pt x="1758" y="1568"/>
                    </a:moveTo>
                    <a:lnTo>
                      <a:pt x="1761" y="1568"/>
                    </a:lnTo>
                    <a:lnTo>
                      <a:pt x="1763" y="1568"/>
                    </a:lnTo>
                    <a:lnTo>
                      <a:pt x="1763" y="1565"/>
                    </a:lnTo>
                    <a:lnTo>
                      <a:pt x="1763" y="1565"/>
                    </a:lnTo>
                    <a:lnTo>
                      <a:pt x="1765" y="1565"/>
                    </a:lnTo>
                    <a:lnTo>
                      <a:pt x="1765" y="1566"/>
                    </a:lnTo>
                    <a:lnTo>
                      <a:pt x="1763" y="1570"/>
                    </a:lnTo>
                    <a:lnTo>
                      <a:pt x="1760" y="1571"/>
                    </a:lnTo>
                    <a:lnTo>
                      <a:pt x="1756" y="1570"/>
                    </a:lnTo>
                    <a:lnTo>
                      <a:pt x="1758" y="1568"/>
                    </a:lnTo>
                    <a:lnTo>
                      <a:pt x="1758" y="1568"/>
                    </a:lnTo>
                    <a:lnTo>
                      <a:pt x="1758" y="1568"/>
                    </a:lnTo>
                    <a:close/>
                    <a:moveTo>
                      <a:pt x="1720" y="1624"/>
                    </a:moveTo>
                    <a:lnTo>
                      <a:pt x="1720" y="1621"/>
                    </a:lnTo>
                    <a:lnTo>
                      <a:pt x="1721" y="1623"/>
                    </a:lnTo>
                    <a:lnTo>
                      <a:pt x="1721" y="1624"/>
                    </a:lnTo>
                    <a:lnTo>
                      <a:pt x="1720" y="1624"/>
                    </a:lnTo>
                    <a:lnTo>
                      <a:pt x="1720" y="1624"/>
                    </a:lnTo>
                    <a:close/>
                    <a:moveTo>
                      <a:pt x="1770" y="1611"/>
                    </a:moveTo>
                    <a:lnTo>
                      <a:pt x="1770" y="1613"/>
                    </a:lnTo>
                    <a:lnTo>
                      <a:pt x="1773" y="1613"/>
                    </a:lnTo>
                    <a:lnTo>
                      <a:pt x="1776" y="1613"/>
                    </a:lnTo>
                    <a:lnTo>
                      <a:pt x="1776" y="1611"/>
                    </a:lnTo>
                    <a:lnTo>
                      <a:pt x="1773" y="1611"/>
                    </a:lnTo>
                    <a:lnTo>
                      <a:pt x="1770" y="1611"/>
                    </a:lnTo>
                    <a:lnTo>
                      <a:pt x="1770" y="1611"/>
                    </a:lnTo>
                    <a:close/>
                    <a:moveTo>
                      <a:pt x="1716" y="1528"/>
                    </a:moveTo>
                    <a:lnTo>
                      <a:pt x="1713" y="1530"/>
                    </a:lnTo>
                    <a:lnTo>
                      <a:pt x="1710" y="1533"/>
                    </a:lnTo>
                    <a:lnTo>
                      <a:pt x="1706" y="1533"/>
                    </a:lnTo>
                    <a:lnTo>
                      <a:pt x="1708" y="1535"/>
                    </a:lnTo>
                    <a:lnTo>
                      <a:pt x="1706" y="1536"/>
                    </a:lnTo>
                    <a:lnTo>
                      <a:pt x="1705" y="1536"/>
                    </a:lnTo>
                    <a:lnTo>
                      <a:pt x="1705" y="1540"/>
                    </a:lnTo>
                    <a:lnTo>
                      <a:pt x="1706" y="1540"/>
                    </a:lnTo>
                    <a:lnTo>
                      <a:pt x="1705" y="1541"/>
                    </a:lnTo>
                    <a:lnTo>
                      <a:pt x="1701" y="1541"/>
                    </a:lnTo>
                    <a:lnTo>
                      <a:pt x="1700" y="1545"/>
                    </a:lnTo>
                    <a:lnTo>
                      <a:pt x="1700" y="1546"/>
                    </a:lnTo>
                    <a:lnTo>
                      <a:pt x="1700" y="1546"/>
                    </a:lnTo>
                    <a:lnTo>
                      <a:pt x="1701" y="1546"/>
                    </a:lnTo>
                    <a:lnTo>
                      <a:pt x="1700" y="1548"/>
                    </a:lnTo>
                    <a:lnTo>
                      <a:pt x="1696" y="1548"/>
                    </a:lnTo>
                    <a:lnTo>
                      <a:pt x="1693" y="1553"/>
                    </a:lnTo>
                    <a:lnTo>
                      <a:pt x="1693" y="1555"/>
                    </a:lnTo>
                    <a:lnTo>
                      <a:pt x="1688" y="1561"/>
                    </a:lnTo>
                    <a:lnTo>
                      <a:pt x="1688" y="1565"/>
                    </a:lnTo>
                    <a:lnTo>
                      <a:pt x="1690" y="1566"/>
                    </a:lnTo>
                    <a:lnTo>
                      <a:pt x="1690" y="1568"/>
                    </a:lnTo>
                    <a:lnTo>
                      <a:pt x="1688" y="1568"/>
                    </a:lnTo>
                    <a:lnTo>
                      <a:pt x="1686" y="1566"/>
                    </a:lnTo>
                    <a:lnTo>
                      <a:pt x="1686" y="1568"/>
                    </a:lnTo>
                    <a:lnTo>
                      <a:pt x="1682" y="1570"/>
                    </a:lnTo>
                    <a:lnTo>
                      <a:pt x="1680" y="1571"/>
                    </a:lnTo>
                    <a:lnTo>
                      <a:pt x="1680" y="1573"/>
                    </a:lnTo>
                    <a:lnTo>
                      <a:pt x="1683" y="1575"/>
                    </a:lnTo>
                    <a:lnTo>
                      <a:pt x="1685" y="1576"/>
                    </a:lnTo>
                    <a:lnTo>
                      <a:pt x="1683" y="1576"/>
                    </a:lnTo>
                    <a:lnTo>
                      <a:pt x="1682" y="1580"/>
                    </a:lnTo>
                    <a:lnTo>
                      <a:pt x="1680" y="1581"/>
                    </a:lnTo>
                    <a:lnTo>
                      <a:pt x="1675" y="1580"/>
                    </a:lnTo>
                    <a:lnTo>
                      <a:pt x="1673" y="1581"/>
                    </a:lnTo>
                    <a:lnTo>
                      <a:pt x="1673" y="1583"/>
                    </a:lnTo>
                    <a:lnTo>
                      <a:pt x="1670" y="1586"/>
                    </a:lnTo>
                    <a:lnTo>
                      <a:pt x="1668" y="1590"/>
                    </a:lnTo>
                    <a:lnTo>
                      <a:pt x="1665" y="1593"/>
                    </a:lnTo>
                    <a:lnTo>
                      <a:pt x="1663" y="1593"/>
                    </a:lnTo>
                    <a:lnTo>
                      <a:pt x="1663" y="1590"/>
                    </a:lnTo>
                    <a:lnTo>
                      <a:pt x="1662" y="1593"/>
                    </a:lnTo>
                    <a:lnTo>
                      <a:pt x="1660" y="1590"/>
                    </a:lnTo>
                    <a:lnTo>
                      <a:pt x="1662" y="1588"/>
                    </a:lnTo>
                    <a:lnTo>
                      <a:pt x="1663" y="1586"/>
                    </a:lnTo>
                    <a:lnTo>
                      <a:pt x="1665" y="1585"/>
                    </a:lnTo>
                    <a:lnTo>
                      <a:pt x="1663" y="1585"/>
                    </a:lnTo>
                    <a:lnTo>
                      <a:pt x="1660" y="1588"/>
                    </a:lnTo>
                    <a:lnTo>
                      <a:pt x="1655" y="1591"/>
                    </a:lnTo>
                    <a:lnTo>
                      <a:pt x="1652" y="1596"/>
                    </a:lnTo>
                    <a:lnTo>
                      <a:pt x="1653" y="1596"/>
                    </a:lnTo>
                    <a:lnTo>
                      <a:pt x="1657" y="1595"/>
                    </a:lnTo>
                    <a:lnTo>
                      <a:pt x="1663" y="1595"/>
                    </a:lnTo>
                    <a:lnTo>
                      <a:pt x="1670" y="1595"/>
                    </a:lnTo>
                    <a:lnTo>
                      <a:pt x="1667" y="1596"/>
                    </a:lnTo>
                    <a:lnTo>
                      <a:pt x="1662" y="1601"/>
                    </a:lnTo>
                    <a:lnTo>
                      <a:pt x="1658" y="1606"/>
                    </a:lnTo>
                    <a:lnTo>
                      <a:pt x="1653" y="1608"/>
                    </a:lnTo>
                    <a:lnTo>
                      <a:pt x="1648" y="1613"/>
                    </a:lnTo>
                    <a:lnTo>
                      <a:pt x="1647" y="1613"/>
                    </a:lnTo>
                    <a:lnTo>
                      <a:pt x="1645" y="1615"/>
                    </a:lnTo>
                    <a:lnTo>
                      <a:pt x="1647" y="1616"/>
                    </a:lnTo>
                    <a:lnTo>
                      <a:pt x="1645" y="1620"/>
                    </a:lnTo>
                    <a:lnTo>
                      <a:pt x="1647" y="1621"/>
                    </a:lnTo>
                    <a:lnTo>
                      <a:pt x="1648" y="1623"/>
                    </a:lnTo>
                    <a:lnTo>
                      <a:pt x="1653" y="1623"/>
                    </a:lnTo>
                    <a:lnTo>
                      <a:pt x="1658" y="1623"/>
                    </a:lnTo>
                    <a:lnTo>
                      <a:pt x="1662" y="1621"/>
                    </a:lnTo>
                    <a:lnTo>
                      <a:pt x="1667" y="1620"/>
                    </a:lnTo>
                    <a:lnTo>
                      <a:pt x="1670" y="1618"/>
                    </a:lnTo>
                    <a:lnTo>
                      <a:pt x="1670" y="1616"/>
                    </a:lnTo>
                    <a:lnTo>
                      <a:pt x="1670" y="1618"/>
                    </a:lnTo>
                    <a:lnTo>
                      <a:pt x="1668" y="1620"/>
                    </a:lnTo>
                    <a:lnTo>
                      <a:pt x="1673" y="1621"/>
                    </a:lnTo>
                    <a:lnTo>
                      <a:pt x="1677" y="1620"/>
                    </a:lnTo>
                    <a:lnTo>
                      <a:pt x="1678" y="1621"/>
                    </a:lnTo>
                    <a:lnTo>
                      <a:pt x="1685" y="1623"/>
                    </a:lnTo>
                    <a:lnTo>
                      <a:pt x="1688" y="1621"/>
                    </a:lnTo>
                    <a:lnTo>
                      <a:pt x="1690" y="1623"/>
                    </a:lnTo>
                    <a:lnTo>
                      <a:pt x="1691" y="1624"/>
                    </a:lnTo>
                    <a:lnTo>
                      <a:pt x="1695" y="1624"/>
                    </a:lnTo>
                    <a:lnTo>
                      <a:pt x="1696" y="1624"/>
                    </a:lnTo>
                    <a:lnTo>
                      <a:pt x="1698" y="1626"/>
                    </a:lnTo>
                    <a:lnTo>
                      <a:pt x="1700" y="1626"/>
                    </a:lnTo>
                    <a:lnTo>
                      <a:pt x="1703" y="1624"/>
                    </a:lnTo>
                    <a:lnTo>
                      <a:pt x="1703" y="1623"/>
                    </a:lnTo>
                    <a:lnTo>
                      <a:pt x="1706" y="1623"/>
                    </a:lnTo>
                    <a:lnTo>
                      <a:pt x="1708" y="1624"/>
                    </a:lnTo>
                    <a:lnTo>
                      <a:pt x="1710" y="1624"/>
                    </a:lnTo>
                    <a:lnTo>
                      <a:pt x="1711" y="1623"/>
                    </a:lnTo>
                    <a:lnTo>
                      <a:pt x="1713" y="1623"/>
                    </a:lnTo>
                    <a:lnTo>
                      <a:pt x="1716" y="1623"/>
                    </a:lnTo>
                    <a:lnTo>
                      <a:pt x="1716" y="1621"/>
                    </a:lnTo>
                    <a:lnTo>
                      <a:pt x="1716" y="1620"/>
                    </a:lnTo>
                    <a:lnTo>
                      <a:pt x="1716" y="1616"/>
                    </a:lnTo>
                    <a:lnTo>
                      <a:pt x="1718" y="1618"/>
                    </a:lnTo>
                    <a:lnTo>
                      <a:pt x="1720" y="1615"/>
                    </a:lnTo>
                    <a:lnTo>
                      <a:pt x="1721" y="1615"/>
                    </a:lnTo>
                    <a:lnTo>
                      <a:pt x="1720" y="1616"/>
                    </a:lnTo>
                    <a:lnTo>
                      <a:pt x="1718" y="1620"/>
                    </a:lnTo>
                    <a:lnTo>
                      <a:pt x="1720" y="1621"/>
                    </a:lnTo>
                    <a:lnTo>
                      <a:pt x="1720" y="1620"/>
                    </a:lnTo>
                    <a:lnTo>
                      <a:pt x="1723" y="1616"/>
                    </a:lnTo>
                    <a:lnTo>
                      <a:pt x="1725" y="1616"/>
                    </a:lnTo>
                    <a:lnTo>
                      <a:pt x="1725" y="1618"/>
                    </a:lnTo>
                    <a:lnTo>
                      <a:pt x="1723" y="1621"/>
                    </a:lnTo>
                    <a:lnTo>
                      <a:pt x="1723" y="1623"/>
                    </a:lnTo>
                    <a:lnTo>
                      <a:pt x="1726" y="1621"/>
                    </a:lnTo>
                    <a:lnTo>
                      <a:pt x="1726" y="1621"/>
                    </a:lnTo>
                    <a:lnTo>
                      <a:pt x="1726" y="1623"/>
                    </a:lnTo>
                    <a:lnTo>
                      <a:pt x="1721" y="1624"/>
                    </a:lnTo>
                    <a:lnTo>
                      <a:pt x="1718" y="1626"/>
                    </a:lnTo>
                    <a:lnTo>
                      <a:pt x="1718" y="1628"/>
                    </a:lnTo>
                    <a:lnTo>
                      <a:pt x="1720" y="1626"/>
                    </a:lnTo>
                    <a:lnTo>
                      <a:pt x="1723" y="1626"/>
                    </a:lnTo>
                    <a:lnTo>
                      <a:pt x="1723" y="1628"/>
                    </a:lnTo>
                    <a:lnTo>
                      <a:pt x="1726" y="1628"/>
                    </a:lnTo>
                    <a:lnTo>
                      <a:pt x="1728" y="1629"/>
                    </a:lnTo>
                    <a:lnTo>
                      <a:pt x="1730" y="1628"/>
                    </a:lnTo>
                    <a:lnTo>
                      <a:pt x="1731" y="1628"/>
                    </a:lnTo>
                    <a:lnTo>
                      <a:pt x="1733" y="1624"/>
                    </a:lnTo>
                    <a:lnTo>
                      <a:pt x="1733" y="1623"/>
                    </a:lnTo>
                    <a:lnTo>
                      <a:pt x="1735" y="1623"/>
                    </a:lnTo>
                    <a:lnTo>
                      <a:pt x="1738" y="1624"/>
                    </a:lnTo>
                    <a:lnTo>
                      <a:pt x="1741" y="1626"/>
                    </a:lnTo>
                    <a:lnTo>
                      <a:pt x="1743" y="1626"/>
                    </a:lnTo>
                    <a:lnTo>
                      <a:pt x="1746" y="1624"/>
                    </a:lnTo>
                    <a:lnTo>
                      <a:pt x="1750" y="1624"/>
                    </a:lnTo>
                    <a:lnTo>
                      <a:pt x="1746" y="1626"/>
                    </a:lnTo>
                    <a:lnTo>
                      <a:pt x="1746" y="1628"/>
                    </a:lnTo>
                    <a:lnTo>
                      <a:pt x="1741" y="1629"/>
                    </a:lnTo>
                    <a:lnTo>
                      <a:pt x="1738" y="1629"/>
                    </a:lnTo>
                    <a:lnTo>
                      <a:pt x="1735" y="1631"/>
                    </a:lnTo>
                    <a:lnTo>
                      <a:pt x="1735" y="1633"/>
                    </a:lnTo>
                    <a:lnTo>
                      <a:pt x="1735" y="1634"/>
                    </a:lnTo>
                    <a:lnTo>
                      <a:pt x="1733" y="1636"/>
                    </a:lnTo>
                    <a:lnTo>
                      <a:pt x="1730" y="1636"/>
                    </a:lnTo>
                    <a:lnTo>
                      <a:pt x="1728" y="1636"/>
                    </a:lnTo>
                    <a:lnTo>
                      <a:pt x="1728" y="1638"/>
                    </a:lnTo>
                    <a:lnTo>
                      <a:pt x="1726" y="1639"/>
                    </a:lnTo>
                    <a:lnTo>
                      <a:pt x="1721" y="1639"/>
                    </a:lnTo>
                    <a:lnTo>
                      <a:pt x="1718" y="1643"/>
                    </a:lnTo>
                    <a:lnTo>
                      <a:pt x="1718" y="1644"/>
                    </a:lnTo>
                    <a:lnTo>
                      <a:pt x="1718" y="1646"/>
                    </a:lnTo>
                    <a:lnTo>
                      <a:pt x="1720" y="1646"/>
                    </a:lnTo>
                    <a:lnTo>
                      <a:pt x="1723" y="1646"/>
                    </a:lnTo>
                    <a:lnTo>
                      <a:pt x="1725" y="1644"/>
                    </a:lnTo>
                    <a:lnTo>
                      <a:pt x="1725" y="1644"/>
                    </a:lnTo>
                    <a:lnTo>
                      <a:pt x="1728" y="1644"/>
                    </a:lnTo>
                    <a:lnTo>
                      <a:pt x="1728" y="1646"/>
                    </a:lnTo>
                    <a:lnTo>
                      <a:pt x="1730" y="1648"/>
                    </a:lnTo>
                    <a:lnTo>
                      <a:pt x="1733" y="1646"/>
                    </a:lnTo>
                    <a:lnTo>
                      <a:pt x="1735" y="1644"/>
                    </a:lnTo>
                    <a:lnTo>
                      <a:pt x="1736" y="1641"/>
                    </a:lnTo>
                    <a:lnTo>
                      <a:pt x="1736" y="1641"/>
                    </a:lnTo>
                    <a:lnTo>
                      <a:pt x="1738" y="1639"/>
                    </a:lnTo>
                    <a:lnTo>
                      <a:pt x="1738" y="1636"/>
                    </a:lnTo>
                    <a:lnTo>
                      <a:pt x="1740" y="1636"/>
                    </a:lnTo>
                    <a:lnTo>
                      <a:pt x="1745" y="1631"/>
                    </a:lnTo>
                    <a:lnTo>
                      <a:pt x="1746" y="1631"/>
                    </a:lnTo>
                    <a:lnTo>
                      <a:pt x="1748" y="1633"/>
                    </a:lnTo>
                    <a:lnTo>
                      <a:pt x="1751" y="1631"/>
                    </a:lnTo>
                    <a:lnTo>
                      <a:pt x="1750" y="1633"/>
                    </a:lnTo>
                    <a:lnTo>
                      <a:pt x="1751" y="1633"/>
                    </a:lnTo>
                    <a:lnTo>
                      <a:pt x="1753" y="1631"/>
                    </a:lnTo>
                    <a:lnTo>
                      <a:pt x="1755" y="1626"/>
                    </a:lnTo>
                    <a:lnTo>
                      <a:pt x="1758" y="1623"/>
                    </a:lnTo>
                    <a:lnTo>
                      <a:pt x="1758" y="1618"/>
                    </a:lnTo>
                    <a:lnTo>
                      <a:pt x="1758" y="1618"/>
                    </a:lnTo>
                    <a:lnTo>
                      <a:pt x="1760" y="1618"/>
                    </a:lnTo>
                    <a:lnTo>
                      <a:pt x="1761" y="1620"/>
                    </a:lnTo>
                    <a:lnTo>
                      <a:pt x="1763" y="1620"/>
                    </a:lnTo>
                    <a:lnTo>
                      <a:pt x="1765" y="1621"/>
                    </a:lnTo>
                    <a:lnTo>
                      <a:pt x="1766" y="1624"/>
                    </a:lnTo>
                    <a:lnTo>
                      <a:pt x="1765" y="1628"/>
                    </a:lnTo>
                    <a:lnTo>
                      <a:pt x="1765" y="1631"/>
                    </a:lnTo>
                    <a:lnTo>
                      <a:pt x="1765" y="1633"/>
                    </a:lnTo>
                    <a:lnTo>
                      <a:pt x="1765" y="1634"/>
                    </a:lnTo>
                    <a:lnTo>
                      <a:pt x="1761" y="1638"/>
                    </a:lnTo>
                    <a:lnTo>
                      <a:pt x="1758" y="1644"/>
                    </a:lnTo>
                    <a:lnTo>
                      <a:pt x="1758" y="1646"/>
                    </a:lnTo>
                    <a:lnTo>
                      <a:pt x="1756" y="1648"/>
                    </a:lnTo>
                    <a:lnTo>
                      <a:pt x="1756" y="1649"/>
                    </a:lnTo>
                    <a:lnTo>
                      <a:pt x="1760" y="1651"/>
                    </a:lnTo>
                    <a:lnTo>
                      <a:pt x="1763" y="1649"/>
                    </a:lnTo>
                    <a:lnTo>
                      <a:pt x="1766" y="1643"/>
                    </a:lnTo>
                    <a:lnTo>
                      <a:pt x="1768" y="1643"/>
                    </a:lnTo>
                    <a:lnTo>
                      <a:pt x="1771" y="1639"/>
                    </a:lnTo>
                    <a:lnTo>
                      <a:pt x="1773" y="1638"/>
                    </a:lnTo>
                    <a:lnTo>
                      <a:pt x="1773" y="1639"/>
                    </a:lnTo>
                    <a:lnTo>
                      <a:pt x="1778" y="1639"/>
                    </a:lnTo>
                    <a:lnTo>
                      <a:pt x="1778" y="1639"/>
                    </a:lnTo>
                    <a:lnTo>
                      <a:pt x="1775" y="1641"/>
                    </a:lnTo>
                    <a:lnTo>
                      <a:pt x="1770" y="1644"/>
                    </a:lnTo>
                    <a:lnTo>
                      <a:pt x="1770" y="1648"/>
                    </a:lnTo>
                    <a:lnTo>
                      <a:pt x="1770" y="1649"/>
                    </a:lnTo>
                    <a:lnTo>
                      <a:pt x="1770" y="1651"/>
                    </a:lnTo>
                    <a:lnTo>
                      <a:pt x="1771" y="1656"/>
                    </a:lnTo>
                    <a:lnTo>
                      <a:pt x="1773" y="1658"/>
                    </a:lnTo>
                    <a:lnTo>
                      <a:pt x="1775" y="1654"/>
                    </a:lnTo>
                    <a:lnTo>
                      <a:pt x="1776" y="1653"/>
                    </a:lnTo>
                    <a:lnTo>
                      <a:pt x="1776" y="1653"/>
                    </a:lnTo>
                    <a:lnTo>
                      <a:pt x="1778" y="1653"/>
                    </a:lnTo>
                    <a:lnTo>
                      <a:pt x="1778" y="1653"/>
                    </a:lnTo>
                    <a:lnTo>
                      <a:pt x="1780" y="1654"/>
                    </a:lnTo>
                    <a:lnTo>
                      <a:pt x="1783" y="1656"/>
                    </a:lnTo>
                    <a:lnTo>
                      <a:pt x="1786" y="1654"/>
                    </a:lnTo>
                    <a:lnTo>
                      <a:pt x="1786" y="1651"/>
                    </a:lnTo>
                    <a:lnTo>
                      <a:pt x="1786" y="1651"/>
                    </a:lnTo>
                    <a:lnTo>
                      <a:pt x="1788" y="1649"/>
                    </a:lnTo>
                    <a:lnTo>
                      <a:pt x="1788" y="1646"/>
                    </a:lnTo>
                    <a:lnTo>
                      <a:pt x="1789" y="1646"/>
                    </a:lnTo>
                    <a:lnTo>
                      <a:pt x="1789" y="1644"/>
                    </a:lnTo>
                    <a:lnTo>
                      <a:pt x="1788" y="1643"/>
                    </a:lnTo>
                    <a:lnTo>
                      <a:pt x="1789" y="1639"/>
                    </a:lnTo>
                    <a:lnTo>
                      <a:pt x="1793" y="1634"/>
                    </a:lnTo>
                    <a:lnTo>
                      <a:pt x="1796" y="1629"/>
                    </a:lnTo>
                    <a:lnTo>
                      <a:pt x="1796" y="1624"/>
                    </a:lnTo>
                    <a:lnTo>
                      <a:pt x="1794" y="1621"/>
                    </a:lnTo>
                    <a:lnTo>
                      <a:pt x="1793" y="1621"/>
                    </a:lnTo>
                    <a:lnTo>
                      <a:pt x="1793" y="1623"/>
                    </a:lnTo>
                    <a:lnTo>
                      <a:pt x="1791" y="1626"/>
                    </a:lnTo>
                    <a:lnTo>
                      <a:pt x="1789" y="1628"/>
                    </a:lnTo>
                    <a:lnTo>
                      <a:pt x="1786" y="1631"/>
                    </a:lnTo>
                    <a:lnTo>
                      <a:pt x="1784" y="1631"/>
                    </a:lnTo>
                    <a:lnTo>
                      <a:pt x="1783" y="1629"/>
                    </a:lnTo>
                    <a:lnTo>
                      <a:pt x="1783" y="1626"/>
                    </a:lnTo>
                    <a:lnTo>
                      <a:pt x="1783" y="1623"/>
                    </a:lnTo>
                    <a:lnTo>
                      <a:pt x="1786" y="1620"/>
                    </a:lnTo>
                    <a:lnTo>
                      <a:pt x="1788" y="1618"/>
                    </a:lnTo>
                    <a:lnTo>
                      <a:pt x="1791" y="1616"/>
                    </a:lnTo>
                    <a:lnTo>
                      <a:pt x="1793" y="1616"/>
                    </a:lnTo>
                    <a:lnTo>
                      <a:pt x="1794" y="1615"/>
                    </a:lnTo>
                    <a:lnTo>
                      <a:pt x="1793" y="1613"/>
                    </a:lnTo>
                    <a:lnTo>
                      <a:pt x="1791" y="1615"/>
                    </a:lnTo>
                    <a:lnTo>
                      <a:pt x="1789" y="1615"/>
                    </a:lnTo>
                    <a:lnTo>
                      <a:pt x="1786" y="1616"/>
                    </a:lnTo>
                    <a:lnTo>
                      <a:pt x="1784" y="1616"/>
                    </a:lnTo>
                    <a:lnTo>
                      <a:pt x="1781" y="1620"/>
                    </a:lnTo>
                    <a:lnTo>
                      <a:pt x="1781" y="1621"/>
                    </a:lnTo>
                    <a:lnTo>
                      <a:pt x="1776" y="1624"/>
                    </a:lnTo>
                    <a:lnTo>
                      <a:pt x="1775" y="1626"/>
                    </a:lnTo>
                    <a:lnTo>
                      <a:pt x="1773" y="1628"/>
                    </a:lnTo>
                    <a:lnTo>
                      <a:pt x="1770" y="1624"/>
                    </a:lnTo>
                    <a:lnTo>
                      <a:pt x="1770" y="1623"/>
                    </a:lnTo>
                    <a:lnTo>
                      <a:pt x="1768" y="1620"/>
                    </a:lnTo>
                    <a:lnTo>
                      <a:pt x="1768" y="1618"/>
                    </a:lnTo>
                    <a:lnTo>
                      <a:pt x="1770" y="1620"/>
                    </a:lnTo>
                    <a:lnTo>
                      <a:pt x="1771" y="1620"/>
                    </a:lnTo>
                    <a:lnTo>
                      <a:pt x="1775" y="1616"/>
                    </a:lnTo>
                    <a:lnTo>
                      <a:pt x="1771" y="1616"/>
                    </a:lnTo>
                    <a:lnTo>
                      <a:pt x="1768" y="1615"/>
                    </a:lnTo>
                    <a:lnTo>
                      <a:pt x="1771" y="1615"/>
                    </a:lnTo>
                    <a:lnTo>
                      <a:pt x="1775" y="1615"/>
                    </a:lnTo>
                    <a:lnTo>
                      <a:pt x="1771" y="1615"/>
                    </a:lnTo>
                    <a:lnTo>
                      <a:pt x="1770" y="1613"/>
                    </a:lnTo>
                    <a:lnTo>
                      <a:pt x="1770" y="1610"/>
                    </a:lnTo>
                    <a:lnTo>
                      <a:pt x="1770" y="1610"/>
                    </a:lnTo>
                    <a:lnTo>
                      <a:pt x="1775" y="1610"/>
                    </a:lnTo>
                    <a:lnTo>
                      <a:pt x="1776" y="1608"/>
                    </a:lnTo>
                    <a:lnTo>
                      <a:pt x="1780" y="1606"/>
                    </a:lnTo>
                    <a:lnTo>
                      <a:pt x="1781" y="1603"/>
                    </a:lnTo>
                    <a:lnTo>
                      <a:pt x="1784" y="1603"/>
                    </a:lnTo>
                    <a:lnTo>
                      <a:pt x="1786" y="1603"/>
                    </a:lnTo>
                    <a:lnTo>
                      <a:pt x="1789" y="1601"/>
                    </a:lnTo>
                    <a:lnTo>
                      <a:pt x="1791" y="1598"/>
                    </a:lnTo>
                    <a:lnTo>
                      <a:pt x="1791" y="1595"/>
                    </a:lnTo>
                    <a:lnTo>
                      <a:pt x="1789" y="1593"/>
                    </a:lnTo>
                    <a:lnTo>
                      <a:pt x="1786" y="1596"/>
                    </a:lnTo>
                    <a:lnTo>
                      <a:pt x="1784" y="1598"/>
                    </a:lnTo>
                    <a:lnTo>
                      <a:pt x="1784" y="1596"/>
                    </a:lnTo>
                    <a:lnTo>
                      <a:pt x="1781" y="1596"/>
                    </a:lnTo>
                    <a:lnTo>
                      <a:pt x="1781" y="1598"/>
                    </a:lnTo>
                    <a:lnTo>
                      <a:pt x="1781" y="1600"/>
                    </a:lnTo>
                    <a:lnTo>
                      <a:pt x="1780" y="1601"/>
                    </a:lnTo>
                    <a:lnTo>
                      <a:pt x="1776" y="1601"/>
                    </a:lnTo>
                    <a:lnTo>
                      <a:pt x="1775" y="1603"/>
                    </a:lnTo>
                    <a:lnTo>
                      <a:pt x="1771" y="1605"/>
                    </a:lnTo>
                    <a:lnTo>
                      <a:pt x="1771" y="1606"/>
                    </a:lnTo>
                    <a:lnTo>
                      <a:pt x="1770" y="1608"/>
                    </a:lnTo>
                    <a:lnTo>
                      <a:pt x="1770" y="1606"/>
                    </a:lnTo>
                    <a:lnTo>
                      <a:pt x="1771" y="1603"/>
                    </a:lnTo>
                    <a:lnTo>
                      <a:pt x="1770" y="1605"/>
                    </a:lnTo>
                    <a:lnTo>
                      <a:pt x="1766" y="1605"/>
                    </a:lnTo>
                    <a:lnTo>
                      <a:pt x="1770" y="1603"/>
                    </a:lnTo>
                    <a:lnTo>
                      <a:pt x="1771" y="1601"/>
                    </a:lnTo>
                    <a:lnTo>
                      <a:pt x="1773" y="1600"/>
                    </a:lnTo>
                    <a:lnTo>
                      <a:pt x="1771" y="1598"/>
                    </a:lnTo>
                    <a:lnTo>
                      <a:pt x="1773" y="1596"/>
                    </a:lnTo>
                    <a:lnTo>
                      <a:pt x="1775" y="1593"/>
                    </a:lnTo>
                    <a:lnTo>
                      <a:pt x="1773" y="1593"/>
                    </a:lnTo>
                    <a:lnTo>
                      <a:pt x="1771" y="1595"/>
                    </a:lnTo>
                    <a:lnTo>
                      <a:pt x="1771" y="1593"/>
                    </a:lnTo>
                    <a:lnTo>
                      <a:pt x="1771" y="1590"/>
                    </a:lnTo>
                    <a:lnTo>
                      <a:pt x="1771" y="1590"/>
                    </a:lnTo>
                    <a:lnTo>
                      <a:pt x="1768" y="1591"/>
                    </a:lnTo>
                    <a:lnTo>
                      <a:pt x="1763" y="1590"/>
                    </a:lnTo>
                    <a:lnTo>
                      <a:pt x="1768" y="1590"/>
                    </a:lnTo>
                    <a:lnTo>
                      <a:pt x="1770" y="1590"/>
                    </a:lnTo>
                    <a:lnTo>
                      <a:pt x="1773" y="1588"/>
                    </a:lnTo>
                    <a:lnTo>
                      <a:pt x="1776" y="1586"/>
                    </a:lnTo>
                    <a:lnTo>
                      <a:pt x="1778" y="1585"/>
                    </a:lnTo>
                    <a:lnTo>
                      <a:pt x="1780" y="1585"/>
                    </a:lnTo>
                    <a:lnTo>
                      <a:pt x="1783" y="1583"/>
                    </a:lnTo>
                    <a:lnTo>
                      <a:pt x="1783" y="1581"/>
                    </a:lnTo>
                    <a:lnTo>
                      <a:pt x="1784" y="1580"/>
                    </a:lnTo>
                    <a:lnTo>
                      <a:pt x="1784" y="1576"/>
                    </a:lnTo>
                    <a:lnTo>
                      <a:pt x="1781" y="1575"/>
                    </a:lnTo>
                    <a:lnTo>
                      <a:pt x="1778" y="1571"/>
                    </a:lnTo>
                    <a:lnTo>
                      <a:pt x="1775" y="1571"/>
                    </a:lnTo>
                    <a:lnTo>
                      <a:pt x="1770" y="1573"/>
                    </a:lnTo>
                    <a:lnTo>
                      <a:pt x="1768" y="1573"/>
                    </a:lnTo>
                    <a:lnTo>
                      <a:pt x="1768" y="1575"/>
                    </a:lnTo>
                    <a:lnTo>
                      <a:pt x="1766" y="1578"/>
                    </a:lnTo>
                    <a:lnTo>
                      <a:pt x="1765" y="1581"/>
                    </a:lnTo>
                    <a:lnTo>
                      <a:pt x="1763" y="1583"/>
                    </a:lnTo>
                    <a:lnTo>
                      <a:pt x="1765" y="1581"/>
                    </a:lnTo>
                    <a:lnTo>
                      <a:pt x="1765" y="1578"/>
                    </a:lnTo>
                    <a:lnTo>
                      <a:pt x="1763" y="1576"/>
                    </a:lnTo>
                    <a:lnTo>
                      <a:pt x="1765" y="1575"/>
                    </a:lnTo>
                    <a:lnTo>
                      <a:pt x="1766" y="1571"/>
                    </a:lnTo>
                    <a:lnTo>
                      <a:pt x="1765" y="1571"/>
                    </a:lnTo>
                    <a:lnTo>
                      <a:pt x="1761" y="1573"/>
                    </a:lnTo>
                    <a:lnTo>
                      <a:pt x="1760" y="1575"/>
                    </a:lnTo>
                    <a:lnTo>
                      <a:pt x="1758" y="1576"/>
                    </a:lnTo>
                    <a:lnTo>
                      <a:pt x="1756" y="1575"/>
                    </a:lnTo>
                    <a:lnTo>
                      <a:pt x="1755" y="1576"/>
                    </a:lnTo>
                    <a:lnTo>
                      <a:pt x="1751" y="1578"/>
                    </a:lnTo>
                    <a:lnTo>
                      <a:pt x="1751" y="1576"/>
                    </a:lnTo>
                    <a:lnTo>
                      <a:pt x="1748" y="1578"/>
                    </a:lnTo>
                    <a:lnTo>
                      <a:pt x="1746" y="1583"/>
                    </a:lnTo>
                    <a:lnTo>
                      <a:pt x="1743" y="1585"/>
                    </a:lnTo>
                    <a:lnTo>
                      <a:pt x="1746" y="1581"/>
                    </a:lnTo>
                    <a:lnTo>
                      <a:pt x="1746" y="1576"/>
                    </a:lnTo>
                    <a:lnTo>
                      <a:pt x="1750" y="1573"/>
                    </a:lnTo>
                    <a:lnTo>
                      <a:pt x="1748" y="1573"/>
                    </a:lnTo>
                    <a:lnTo>
                      <a:pt x="1746" y="1573"/>
                    </a:lnTo>
                    <a:lnTo>
                      <a:pt x="1745" y="1575"/>
                    </a:lnTo>
                    <a:lnTo>
                      <a:pt x="1741" y="1578"/>
                    </a:lnTo>
                    <a:lnTo>
                      <a:pt x="1741" y="1576"/>
                    </a:lnTo>
                    <a:lnTo>
                      <a:pt x="1743" y="1575"/>
                    </a:lnTo>
                    <a:lnTo>
                      <a:pt x="1743" y="1573"/>
                    </a:lnTo>
                    <a:lnTo>
                      <a:pt x="1743" y="1571"/>
                    </a:lnTo>
                    <a:lnTo>
                      <a:pt x="1740" y="1573"/>
                    </a:lnTo>
                    <a:lnTo>
                      <a:pt x="1736" y="1575"/>
                    </a:lnTo>
                    <a:lnTo>
                      <a:pt x="1735" y="1575"/>
                    </a:lnTo>
                    <a:lnTo>
                      <a:pt x="1733" y="1571"/>
                    </a:lnTo>
                    <a:lnTo>
                      <a:pt x="1731" y="1571"/>
                    </a:lnTo>
                    <a:lnTo>
                      <a:pt x="1728" y="1575"/>
                    </a:lnTo>
                    <a:lnTo>
                      <a:pt x="1726" y="1573"/>
                    </a:lnTo>
                    <a:lnTo>
                      <a:pt x="1726" y="1573"/>
                    </a:lnTo>
                    <a:lnTo>
                      <a:pt x="1730" y="1570"/>
                    </a:lnTo>
                    <a:lnTo>
                      <a:pt x="1733" y="1566"/>
                    </a:lnTo>
                    <a:lnTo>
                      <a:pt x="1733" y="1563"/>
                    </a:lnTo>
                    <a:lnTo>
                      <a:pt x="1731" y="1565"/>
                    </a:lnTo>
                    <a:lnTo>
                      <a:pt x="1730" y="1565"/>
                    </a:lnTo>
                    <a:lnTo>
                      <a:pt x="1726" y="1566"/>
                    </a:lnTo>
                    <a:lnTo>
                      <a:pt x="1728" y="1565"/>
                    </a:lnTo>
                    <a:lnTo>
                      <a:pt x="1733" y="1561"/>
                    </a:lnTo>
                    <a:lnTo>
                      <a:pt x="1736" y="1561"/>
                    </a:lnTo>
                    <a:lnTo>
                      <a:pt x="1738" y="1560"/>
                    </a:lnTo>
                    <a:lnTo>
                      <a:pt x="1741" y="1560"/>
                    </a:lnTo>
                    <a:lnTo>
                      <a:pt x="1745" y="1556"/>
                    </a:lnTo>
                    <a:lnTo>
                      <a:pt x="1745" y="1555"/>
                    </a:lnTo>
                    <a:lnTo>
                      <a:pt x="1743" y="1556"/>
                    </a:lnTo>
                    <a:lnTo>
                      <a:pt x="1738" y="1556"/>
                    </a:lnTo>
                    <a:lnTo>
                      <a:pt x="1736" y="1556"/>
                    </a:lnTo>
                    <a:lnTo>
                      <a:pt x="1733" y="1553"/>
                    </a:lnTo>
                    <a:lnTo>
                      <a:pt x="1731" y="1555"/>
                    </a:lnTo>
                    <a:lnTo>
                      <a:pt x="1728" y="1555"/>
                    </a:lnTo>
                    <a:lnTo>
                      <a:pt x="1730" y="1551"/>
                    </a:lnTo>
                    <a:lnTo>
                      <a:pt x="1731" y="1551"/>
                    </a:lnTo>
                    <a:lnTo>
                      <a:pt x="1731" y="1550"/>
                    </a:lnTo>
                    <a:lnTo>
                      <a:pt x="1730" y="1550"/>
                    </a:lnTo>
                    <a:lnTo>
                      <a:pt x="1726" y="1553"/>
                    </a:lnTo>
                    <a:lnTo>
                      <a:pt x="1725" y="1555"/>
                    </a:lnTo>
                    <a:lnTo>
                      <a:pt x="1721" y="1558"/>
                    </a:lnTo>
                    <a:lnTo>
                      <a:pt x="1718" y="1560"/>
                    </a:lnTo>
                    <a:lnTo>
                      <a:pt x="1718" y="1561"/>
                    </a:lnTo>
                    <a:lnTo>
                      <a:pt x="1715" y="1563"/>
                    </a:lnTo>
                    <a:lnTo>
                      <a:pt x="1711" y="1566"/>
                    </a:lnTo>
                    <a:lnTo>
                      <a:pt x="1711" y="1563"/>
                    </a:lnTo>
                    <a:lnTo>
                      <a:pt x="1713" y="1560"/>
                    </a:lnTo>
                    <a:lnTo>
                      <a:pt x="1715" y="1556"/>
                    </a:lnTo>
                    <a:lnTo>
                      <a:pt x="1715" y="1555"/>
                    </a:lnTo>
                    <a:lnTo>
                      <a:pt x="1716" y="1551"/>
                    </a:lnTo>
                    <a:lnTo>
                      <a:pt x="1720" y="1548"/>
                    </a:lnTo>
                    <a:lnTo>
                      <a:pt x="1720" y="1546"/>
                    </a:lnTo>
                    <a:lnTo>
                      <a:pt x="1723" y="1545"/>
                    </a:lnTo>
                    <a:lnTo>
                      <a:pt x="1723" y="1543"/>
                    </a:lnTo>
                    <a:lnTo>
                      <a:pt x="1726" y="1540"/>
                    </a:lnTo>
                    <a:lnTo>
                      <a:pt x="1728" y="1538"/>
                    </a:lnTo>
                    <a:lnTo>
                      <a:pt x="1730" y="1535"/>
                    </a:lnTo>
                    <a:lnTo>
                      <a:pt x="1733" y="1535"/>
                    </a:lnTo>
                    <a:lnTo>
                      <a:pt x="1733" y="1533"/>
                    </a:lnTo>
                    <a:lnTo>
                      <a:pt x="1733" y="1531"/>
                    </a:lnTo>
                    <a:lnTo>
                      <a:pt x="1735" y="1528"/>
                    </a:lnTo>
                    <a:lnTo>
                      <a:pt x="1736" y="1526"/>
                    </a:lnTo>
                    <a:lnTo>
                      <a:pt x="1736" y="1528"/>
                    </a:lnTo>
                    <a:lnTo>
                      <a:pt x="1735" y="1530"/>
                    </a:lnTo>
                    <a:lnTo>
                      <a:pt x="1736" y="1533"/>
                    </a:lnTo>
                    <a:lnTo>
                      <a:pt x="1740" y="1528"/>
                    </a:lnTo>
                    <a:lnTo>
                      <a:pt x="1745" y="1525"/>
                    </a:lnTo>
                    <a:lnTo>
                      <a:pt x="1745" y="1522"/>
                    </a:lnTo>
                    <a:lnTo>
                      <a:pt x="1743" y="1520"/>
                    </a:lnTo>
                    <a:lnTo>
                      <a:pt x="1741" y="1520"/>
                    </a:lnTo>
                    <a:lnTo>
                      <a:pt x="1740" y="1522"/>
                    </a:lnTo>
                    <a:lnTo>
                      <a:pt x="1740" y="1518"/>
                    </a:lnTo>
                    <a:lnTo>
                      <a:pt x="1738" y="1517"/>
                    </a:lnTo>
                    <a:lnTo>
                      <a:pt x="1738" y="1515"/>
                    </a:lnTo>
                    <a:lnTo>
                      <a:pt x="1741" y="1515"/>
                    </a:lnTo>
                    <a:lnTo>
                      <a:pt x="1745" y="1515"/>
                    </a:lnTo>
                    <a:lnTo>
                      <a:pt x="1748" y="1517"/>
                    </a:lnTo>
                    <a:lnTo>
                      <a:pt x="1750" y="1517"/>
                    </a:lnTo>
                    <a:lnTo>
                      <a:pt x="1751" y="1513"/>
                    </a:lnTo>
                    <a:lnTo>
                      <a:pt x="1751" y="1508"/>
                    </a:lnTo>
                    <a:lnTo>
                      <a:pt x="1748" y="1508"/>
                    </a:lnTo>
                    <a:lnTo>
                      <a:pt x="1746" y="1510"/>
                    </a:lnTo>
                    <a:lnTo>
                      <a:pt x="1746" y="1512"/>
                    </a:lnTo>
                    <a:lnTo>
                      <a:pt x="1745" y="1512"/>
                    </a:lnTo>
                    <a:lnTo>
                      <a:pt x="1745" y="1508"/>
                    </a:lnTo>
                    <a:lnTo>
                      <a:pt x="1745" y="1507"/>
                    </a:lnTo>
                    <a:lnTo>
                      <a:pt x="1741" y="1508"/>
                    </a:lnTo>
                    <a:lnTo>
                      <a:pt x="1740" y="1512"/>
                    </a:lnTo>
                    <a:lnTo>
                      <a:pt x="1736" y="1512"/>
                    </a:lnTo>
                    <a:lnTo>
                      <a:pt x="1735" y="1513"/>
                    </a:lnTo>
                    <a:lnTo>
                      <a:pt x="1731" y="1515"/>
                    </a:lnTo>
                    <a:lnTo>
                      <a:pt x="1728" y="1515"/>
                    </a:lnTo>
                    <a:lnTo>
                      <a:pt x="1725" y="1517"/>
                    </a:lnTo>
                    <a:lnTo>
                      <a:pt x="1720" y="1520"/>
                    </a:lnTo>
                    <a:lnTo>
                      <a:pt x="1720" y="1523"/>
                    </a:lnTo>
                    <a:lnTo>
                      <a:pt x="1718" y="1523"/>
                    </a:lnTo>
                    <a:lnTo>
                      <a:pt x="1715" y="1523"/>
                    </a:lnTo>
                    <a:lnTo>
                      <a:pt x="1715" y="1525"/>
                    </a:lnTo>
                    <a:lnTo>
                      <a:pt x="1716" y="1525"/>
                    </a:lnTo>
                    <a:lnTo>
                      <a:pt x="1716" y="1528"/>
                    </a:lnTo>
                    <a:lnTo>
                      <a:pt x="1716" y="1528"/>
                    </a:lnTo>
                    <a:close/>
                    <a:moveTo>
                      <a:pt x="1560" y="1568"/>
                    </a:moveTo>
                    <a:lnTo>
                      <a:pt x="1564" y="1568"/>
                    </a:lnTo>
                    <a:lnTo>
                      <a:pt x="1572" y="1575"/>
                    </a:lnTo>
                    <a:lnTo>
                      <a:pt x="1579" y="1575"/>
                    </a:lnTo>
                    <a:lnTo>
                      <a:pt x="1583" y="1575"/>
                    </a:lnTo>
                    <a:lnTo>
                      <a:pt x="1587" y="1578"/>
                    </a:lnTo>
                    <a:lnTo>
                      <a:pt x="1590" y="1578"/>
                    </a:lnTo>
                    <a:lnTo>
                      <a:pt x="1595" y="1580"/>
                    </a:lnTo>
                    <a:lnTo>
                      <a:pt x="1600" y="1578"/>
                    </a:lnTo>
                    <a:lnTo>
                      <a:pt x="1602" y="1576"/>
                    </a:lnTo>
                    <a:lnTo>
                      <a:pt x="1598" y="1573"/>
                    </a:lnTo>
                    <a:lnTo>
                      <a:pt x="1597" y="1571"/>
                    </a:lnTo>
                    <a:lnTo>
                      <a:pt x="1595" y="1570"/>
                    </a:lnTo>
                    <a:lnTo>
                      <a:pt x="1592" y="1568"/>
                    </a:lnTo>
                    <a:lnTo>
                      <a:pt x="1588" y="1565"/>
                    </a:lnTo>
                    <a:lnTo>
                      <a:pt x="1582" y="1561"/>
                    </a:lnTo>
                    <a:lnTo>
                      <a:pt x="1580" y="1560"/>
                    </a:lnTo>
                    <a:lnTo>
                      <a:pt x="1575" y="1556"/>
                    </a:lnTo>
                    <a:lnTo>
                      <a:pt x="1570" y="1553"/>
                    </a:lnTo>
                    <a:lnTo>
                      <a:pt x="1564" y="1553"/>
                    </a:lnTo>
                    <a:lnTo>
                      <a:pt x="1552" y="1550"/>
                    </a:lnTo>
                    <a:lnTo>
                      <a:pt x="1549" y="1548"/>
                    </a:lnTo>
                    <a:lnTo>
                      <a:pt x="1544" y="1551"/>
                    </a:lnTo>
                    <a:lnTo>
                      <a:pt x="1545" y="1555"/>
                    </a:lnTo>
                    <a:lnTo>
                      <a:pt x="1550" y="1556"/>
                    </a:lnTo>
                    <a:lnTo>
                      <a:pt x="1559" y="1561"/>
                    </a:lnTo>
                    <a:lnTo>
                      <a:pt x="1559" y="1566"/>
                    </a:lnTo>
                    <a:lnTo>
                      <a:pt x="1560" y="1568"/>
                    </a:lnTo>
                    <a:lnTo>
                      <a:pt x="1560" y="1568"/>
                    </a:lnTo>
                    <a:close/>
                    <a:moveTo>
                      <a:pt x="1562" y="1668"/>
                    </a:moveTo>
                    <a:lnTo>
                      <a:pt x="1557" y="1666"/>
                    </a:lnTo>
                    <a:lnTo>
                      <a:pt x="1555" y="1661"/>
                    </a:lnTo>
                    <a:lnTo>
                      <a:pt x="1544" y="1659"/>
                    </a:lnTo>
                    <a:lnTo>
                      <a:pt x="1542" y="1658"/>
                    </a:lnTo>
                    <a:lnTo>
                      <a:pt x="1540" y="1656"/>
                    </a:lnTo>
                    <a:lnTo>
                      <a:pt x="1539" y="1653"/>
                    </a:lnTo>
                    <a:lnTo>
                      <a:pt x="1537" y="1653"/>
                    </a:lnTo>
                    <a:lnTo>
                      <a:pt x="1535" y="1651"/>
                    </a:lnTo>
                    <a:lnTo>
                      <a:pt x="1532" y="1649"/>
                    </a:lnTo>
                    <a:lnTo>
                      <a:pt x="1532" y="1646"/>
                    </a:lnTo>
                    <a:lnTo>
                      <a:pt x="1530" y="1644"/>
                    </a:lnTo>
                    <a:lnTo>
                      <a:pt x="1527" y="1644"/>
                    </a:lnTo>
                    <a:lnTo>
                      <a:pt x="1525" y="1644"/>
                    </a:lnTo>
                    <a:lnTo>
                      <a:pt x="1527" y="1639"/>
                    </a:lnTo>
                    <a:lnTo>
                      <a:pt x="1537" y="1634"/>
                    </a:lnTo>
                    <a:lnTo>
                      <a:pt x="1537" y="1638"/>
                    </a:lnTo>
                    <a:lnTo>
                      <a:pt x="1535" y="1641"/>
                    </a:lnTo>
                    <a:lnTo>
                      <a:pt x="1535" y="1643"/>
                    </a:lnTo>
                    <a:lnTo>
                      <a:pt x="1537" y="1644"/>
                    </a:lnTo>
                    <a:lnTo>
                      <a:pt x="1537" y="1648"/>
                    </a:lnTo>
                    <a:lnTo>
                      <a:pt x="1540" y="1651"/>
                    </a:lnTo>
                    <a:lnTo>
                      <a:pt x="1540" y="1648"/>
                    </a:lnTo>
                    <a:lnTo>
                      <a:pt x="1545" y="1648"/>
                    </a:lnTo>
                    <a:lnTo>
                      <a:pt x="1550" y="1653"/>
                    </a:lnTo>
                    <a:lnTo>
                      <a:pt x="1554" y="1653"/>
                    </a:lnTo>
                    <a:lnTo>
                      <a:pt x="1555" y="1654"/>
                    </a:lnTo>
                    <a:lnTo>
                      <a:pt x="1562" y="1654"/>
                    </a:lnTo>
                    <a:lnTo>
                      <a:pt x="1565" y="1651"/>
                    </a:lnTo>
                    <a:lnTo>
                      <a:pt x="1569" y="1653"/>
                    </a:lnTo>
                    <a:lnTo>
                      <a:pt x="1575" y="1653"/>
                    </a:lnTo>
                    <a:lnTo>
                      <a:pt x="1574" y="1654"/>
                    </a:lnTo>
                    <a:lnTo>
                      <a:pt x="1569" y="1656"/>
                    </a:lnTo>
                    <a:lnTo>
                      <a:pt x="1567" y="1659"/>
                    </a:lnTo>
                    <a:lnTo>
                      <a:pt x="1567" y="1663"/>
                    </a:lnTo>
                    <a:lnTo>
                      <a:pt x="1565" y="1666"/>
                    </a:lnTo>
                    <a:lnTo>
                      <a:pt x="1562" y="1668"/>
                    </a:lnTo>
                    <a:lnTo>
                      <a:pt x="1562" y="1668"/>
                    </a:lnTo>
                    <a:close/>
                    <a:moveTo>
                      <a:pt x="1597" y="1683"/>
                    </a:moveTo>
                    <a:lnTo>
                      <a:pt x="1595" y="1679"/>
                    </a:lnTo>
                    <a:lnTo>
                      <a:pt x="1588" y="1676"/>
                    </a:lnTo>
                    <a:lnTo>
                      <a:pt x="1587" y="1669"/>
                    </a:lnTo>
                    <a:lnTo>
                      <a:pt x="1585" y="1668"/>
                    </a:lnTo>
                    <a:lnTo>
                      <a:pt x="1588" y="1664"/>
                    </a:lnTo>
                    <a:lnTo>
                      <a:pt x="1595" y="1661"/>
                    </a:lnTo>
                    <a:lnTo>
                      <a:pt x="1600" y="1654"/>
                    </a:lnTo>
                    <a:lnTo>
                      <a:pt x="1602" y="1651"/>
                    </a:lnTo>
                    <a:lnTo>
                      <a:pt x="1603" y="1648"/>
                    </a:lnTo>
                    <a:lnTo>
                      <a:pt x="1610" y="1643"/>
                    </a:lnTo>
                    <a:lnTo>
                      <a:pt x="1612" y="1639"/>
                    </a:lnTo>
                    <a:lnTo>
                      <a:pt x="1615" y="1639"/>
                    </a:lnTo>
                    <a:lnTo>
                      <a:pt x="1617" y="1641"/>
                    </a:lnTo>
                    <a:lnTo>
                      <a:pt x="1613" y="1644"/>
                    </a:lnTo>
                    <a:lnTo>
                      <a:pt x="1618" y="1644"/>
                    </a:lnTo>
                    <a:lnTo>
                      <a:pt x="1618" y="1648"/>
                    </a:lnTo>
                    <a:lnTo>
                      <a:pt x="1613" y="1656"/>
                    </a:lnTo>
                    <a:lnTo>
                      <a:pt x="1610" y="1658"/>
                    </a:lnTo>
                    <a:lnTo>
                      <a:pt x="1615" y="1659"/>
                    </a:lnTo>
                    <a:lnTo>
                      <a:pt x="1617" y="1663"/>
                    </a:lnTo>
                    <a:lnTo>
                      <a:pt x="1613" y="1666"/>
                    </a:lnTo>
                    <a:lnTo>
                      <a:pt x="1615" y="1668"/>
                    </a:lnTo>
                    <a:lnTo>
                      <a:pt x="1618" y="1666"/>
                    </a:lnTo>
                    <a:lnTo>
                      <a:pt x="1618" y="1663"/>
                    </a:lnTo>
                    <a:lnTo>
                      <a:pt x="1622" y="1661"/>
                    </a:lnTo>
                    <a:lnTo>
                      <a:pt x="1627" y="1663"/>
                    </a:lnTo>
                    <a:lnTo>
                      <a:pt x="1627" y="1668"/>
                    </a:lnTo>
                    <a:lnTo>
                      <a:pt x="1628" y="1669"/>
                    </a:lnTo>
                    <a:lnTo>
                      <a:pt x="1623" y="1671"/>
                    </a:lnTo>
                    <a:lnTo>
                      <a:pt x="1622" y="1673"/>
                    </a:lnTo>
                    <a:lnTo>
                      <a:pt x="1615" y="1674"/>
                    </a:lnTo>
                    <a:lnTo>
                      <a:pt x="1607" y="1679"/>
                    </a:lnTo>
                    <a:lnTo>
                      <a:pt x="1603" y="1679"/>
                    </a:lnTo>
                    <a:lnTo>
                      <a:pt x="1602" y="1676"/>
                    </a:lnTo>
                    <a:lnTo>
                      <a:pt x="1600" y="1678"/>
                    </a:lnTo>
                    <a:lnTo>
                      <a:pt x="1598" y="1681"/>
                    </a:lnTo>
                    <a:lnTo>
                      <a:pt x="1597" y="1683"/>
                    </a:lnTo>
                    <a:lnTo>
                      <a:pt x="1597" y="1683"/>
                    </a:lnTo>
                    <a:close/>
                    <a:moveTo>
                      <a:pt x="1221" y="1419"/>
                    </a:moveTo>
                    <a:lnTo>
                      <a:pt x="1223" y="1422"/>
                    </a:lnTo>
                    <a:lnTo>
                      <a:pt x="1223" y="1424"/>
                    </a:lnTo>
                    <a:lnTo>
                      <a:pt x="1225" y="1422"/>
                    </a:lnTo>
                    <a:lnTo>
                      <a:pt x="1225" y="1417"/>
                    </a:lnTo>
                    <a:lnTo>
                      <a:pt x="1223" y="1417"/>
                    </a:lnTo>
                    <a:lnTo>
                      <a:pt x="1221" y="1419"/>
                    </a:lnTo>
                    <a:lnTo>
                      <a:pt x="1221" y="1419"/>
                    </a:lnTo>
                    <a:close/>
                    <a:moveTo>
                      <a:pt x="1221" y="1467"/>
                    </a:moveTo>
                    <a:lnTo>
                      <a:pt x="1223" y="1463"/>
                    </a:lnTo>
                    <a:lnTo>
                      <a:pt x="1226" y="1463"/>
                    </a:lnTo>
                    <a:lnTo>
                      <a:pt x="1228" y="1462"/>
                    </a:lnTo>
                    <a:lnTo>
                      <a:pt x="1230" y="1465"/>
                    </a:lnTo>
                    <a:lnTo>
                      <a:pt x="1223" y="1468"/>
                    </a:lnTo>
                    <a:lnTo>
                      <a:pt x="1221" y="1467"/>
                    </a:lnTo>
                    <a:lnTo>
                      <a:pt x="1221" y="1467"/>
                    </a:lnTo>
                    <a:close/>
                    <a:moveTo>
                      <a:pt x="1177" y="1432"/>
                    </a:moveTo>
                    <a:lnTo>
                      <a:pt x="1182" y="1427"/>
                    </a:lnTo>
                    <a:lnTo>
                      <a:pt x="1185" y="1428"/>
                    </a:lnTo>
                    <a:lnTo>
                      <a:pt x="1185" y="1425"/>
                    </a:lnTo>
                    <a:lnTo>
                      <a:pt x="1188" y="1424"/>
                    </a:lnTo>
                    <a:lnTo>
                      <a:pt x="1193" y="1424"/>
                    </a:lnTo>
                    <a:lnTo>
                      <a:pt x="1193" y="1425"/>
                    </a:lnTo>
                    <a:lnTo>
                      <a:pt x="1198" y="1424"/>
                    </a:lnTo>
                    <a:lnTo>
                      <a:pt x="1203" y="1428"/>
                    </a:lnTo>
                    <a:lnTo>
                      <a:pt x="1205" y="1433"/>
                    </a:lnTo>
                    <a:lnTo>
                      <a:pt x="1205" y="1435"/>
                    </a:lnTo>
                    <a:lnTo>
                      <a:pt x="1205" y="1438"/>
                    </a:lnTo>
                    <a:lnTo>
                      <a:pt x="1193" y="1437"/>
                    </a:lnTo>
                    <a:lnTo>
                      <a:pt x="1190" y="1433"/>
                    </a:lnTo>
                    <a:lnTo>
                      <a:pt x="1185" y="1433"/>
                    </a:lnTo>
                    <a:lnTo>
                      <a:pt x="1185" y="1437"/>
                    </a:lnTo>
                    <a:lnTo>
                      <a:pt x="1185" y="1438"/>
                    </a:lnTo>
                    <a:lnTo>
                      <a:pt x="1183" y="1435"/>
                    </a:lnTo>
                    <a:lnTo>
                      <a:pt x="1182" y="1433"/>
                    </a:lnTo>
                    <a:lnTo>
                      <a:pt x="1178" y="1433"/>
                    </a:lnTo>
                    <a:lnTo>
                      <a:pt x="1177" y="1432"/>
                    </a:lnTo>
                    <a:lnTo>
                      <a:pt x="1177" y="1432"/>
                    </a:lnTo>
                    <a:close/>
                    <a:moveTo>
                      <a:pt x="185" y="1450"/>
                    </a:moveTo>
                    <a:lnTo>
                      <a:pt x="190" y="1453"/>
                    </a:lnTo>
                    <a:lnTo>
                      <a:pt x="195" y="1460"/>
                    </a:lnTo>
                    <a:lnTo>
                      <a:pt x="193" y="1462"/>
                    </a:lnTo>
                    <a:lnTo>
                      <a:pt x="187" y="1455"/>
                    </a:lnTo>
                    <a:lnTo>
                      <a:pt x="185" y="1450"/>
                    </a:lnTo>
                    <a:lnTo>
                      <a:pt x="185" y="1450"/>
                    </a:lnTo>
                    <a:close/>
                    <a:moveTo>
                      <a:pt x="177" y="1440"/>
                    </a:moveTo>
                    <a:lnTo>
                      <a:pt x="175" y="1433"/>
                    </a:lnTo>
                    <a:lnTo>
                      <a:pt x="178" y="1433"/>
                    </a:lnTo>
                    <a:lnTo>
                      <a:pt x="177" y="1440"/>
                    </a:lnTo>
                    <a:lnTo>
                      <a:pt x="177" y="1440"/>
                    </a:lnTo>
                    <a:close/>
                    <a:moveTo>
                      <a:pt x="150" y="1419"/>
                    </a:moveTo>
                    <a:lnTo>
                      <a:pt x="157" y="1422"/>
                    </a:lnTo>
                    <a:lnTo>
                      <a:pt x="157" y="1419"/>
                    </a:lnTo>
                    <a:lnTo>
                      <a:pt x="150" y="1419"/>
                    </a:lnTo>
                    <a:lnTo>
                      <a:pt x="150" y="1419"/>
                    </a:lnTo>
                    <a:close/>
                    <a:moveTo>
                      <a:pt x="110" y="1404"/>
                    </a:moveTo>
                    <a:lnTo>
                      <a:pt x="112" y="1409"/>
                    </a:lnTo>
                    <a:lnTo>
                      <a:pt x="113" y="1410"/>
                    </a:lnTo>
                    <a:lnTo>
                      <a:pt x="115" y="1415"/>
                    </a:lnTo>
                    <a:lnTo>
                      <a:pt x="127" y="1417"/>
                    </a:lnTo>
                    <a:lnTo>
                      <a:pt x="123" y="1419"/>
                    </a:lnTo>
                    <a:lnTo>
                      <a:pt x="117" y="1419"/>
                    </a:lnTo>
                    <a:lnTo>
                      <a:pt x="113" y="1424"/>
                    </a:lnTo>
                    <a:lnTo>
                      <a:pt x="117" y="1425"/>
                    </a:lnTo>
                    <a:lnTo>
                      <a:pt x="113" y="1430"/>
                    </a:lnTo>
                    <a:lnTo>
                      <a:pt x="115" y="1432"/>
                    </a:lnTo>
                    <a:lnTo>
                      <a:pt x="120" y="1430"/>
                    </a:lnTo>
                    <a:lnTo>
                      <a:pt x="122" y="1433"/>
                    </a:lnTo>
                    <a:lnTo>
                      <a:pt x="127" y="1433"/>
                    </a:lnTo>
                    <a:lnTo>
                      <a:pt x="127" y="1438"/>
                    </a:lnTo>
                    <a:lnTo>
                      <a:pt x="132" y="1440"/>
                    </a:lnTo>
                    <a:lnTo>
                      <a:pt x="137" y="1438"/>
                    </a:lnTo>
                    <a:lnTo>
                      <a:pt x="130" y="1445"/>
                    </a:lnTo>
                    <a:lnTo>
                      <a:pt x="133" y="1450"/>
                    </a:lnTo>
                    <a:lnTo>
                      <a:pt x="137" y="1450"/>
                    </a:lnTo>
                    <a:lnTo>
                      <a:pt x="137" y="1445"/>
                    </a:lnTo>
                    <a:lnTo>
                      <a:pt x="143" y="1443"/>
                    </a:lnTo>
                    <a:lnTo>
                      <a:pt x="142" y="1448"/>
                    </a:lnTo>
                    <a:lnTo>
                      <a:pt x="137" y="1452"/>
                    </a:lnTo>
                    <a:lnTo>
                      <a:pt x="138" y="1455"/>
                    </a:lnTo>
                    <a:lnTo>
                      <a:pt x="140" y="1455"/>
                    </a:lnTo>
                    <a:lnTo>
                      <a:pt x="142" y="1460"/>
                    </a:lnTo>
                    <a:lnTo>
                      <a:pt x="150" y="1460"/>
                    </a:lnTo>
                    <a:lnTo>
                      <a:pt x="150" y="1463"/>
                    </a:lnTo>
                    <a:lnTo>
                      <a:pt x="153" y="1463"/>
                    </a:lnTo>
                    <a:lnTo>
                      <a:pt x="155" y="1468"/>
                    </a:lnTo>
                    <a:lnTo>
                      <a:pt x="153" y="1472"/>
                    </a:lnTo>
                    <a:lnTo>
                      <a:pt x="158" y="1477"/>
                    </a:lnTo>
                    <a:lnTo>
                      <a:pt x="162" y="1473"/>
                    </a:lnTo>
                    <a:lnTo>
                      <a:pt x="165" y="1475"/>
                    </a:lnTo>
                    <a:lnTo>
                      <a:pt x="168" y="1475"/>
                    </a:lnTo>
                    <a:lnTo>
                      <a:pt x="162" y="1482"/>
                    </a:lnTo>
                    <a:lnTo>
                      <a:pt x="172" y="1490"/>
                    </a:lnTo>
                    <a:lnTo>
                      <a:pt x="173" y="1492"/>
                    </a:lnTo>
                    <a:lnTo>
                      <a:pt x="177" y="1495"/>
                    </a:lnTo>
                    <a:lnTo>
                      <a:pt x="192" y="1502"/>
                    </a:lnTo>
                    <a:lnTo>
                      <a:pt x="193" y="1500"/>
                    </a:lnTo>
                    <a:lnTo>
                      <a:pt x="198" y="1502"/>
                    </a:lnTo>
                    <a:lnTo>
                      <a:pt x="195" y="1490"/>
                    </a:lnTo>
                    <a:lnTo>
                      <a:pt x="195" y="1483"/>
                    </a:lnTo>
                    <a:lnTo>
                      <a:pt x="193" y="1480"/>
                    </a:lnTo>
                    <a:lnTo>
                      <a:pt x="195" y="1472"/>
                    </a:lnTo>
                    <a:lnTo>
                      <a:pt x="190" y="1467"/>
                    </a:lnTo>
                    <a:lnTo>
                      <a:pt x="180" y="1460"/>
                    </a:lnTo>
                    <a:lnTo>
                      <a:pt x="178" y="1447"/>
                    </a:lnTo>
                    <a:lnTo>
                      <a:pt x="173" y="1440"/>
                    </a:lnTo>
                    <a:lnTo>
                      <a:pt x="172" y="1432"/>
                    </a:lnTo>
                    <a:lnTo>
                      <a:pt x="170" y="1430"/>
                    </a:lnTo>
                    <a:lnTo>
                      <a:pt x="165" y="1428"/>
                    </a:lnTo>
                    <a:lnTo>
                      <a:pt x="157" y="1425"/>
                    </a:lnTo>
                    <a:lnTo>
                      <a:pt x="152" y="1425"/>
                    </a:lnTo>
                    <a:lnTo>
                      <a:pt x="147" y="1424"/>
                    </a:lnTo>
                    <a:lnTo>
                      <a:pt x="143" y="1419"/>
                    </a:lnTo>
                    <a:lnTo>
                      <a:pt x="137" y="1415"/>
                    </a:lnTo>
                    <a:lnTo>
                      <a:pt x="133" y="1412"/>
                    </a:lnTo>
                    <a:lnTo>
                      <a:pt x="132" y="1407"/>
                    </a:lnTo>
                    <a:lnTo>
                      <a:pt x="125" y="1409"/>
                    </a:lnTo>
                    <a:lnTo>
                      <a:pt x="123" y="1404"/>
                    </a:lnTo>
                    <a:lnTo>
                      <a:pt x="118" y="1402"/>
                    </a:lnTo>
                    <a:lnTo>
                      <a:pt x="117" y="1404"/>
                    </a:lnTo>
                    <a:lnTo>
                      <a:pt x="110" y="1404"/>
                    </a:lnTo>
                    <a:lnTo>
                      <a:pt x="110" y="1404"/>
                    </a:lnTo>
                    <a:close/>
                    <a:moveTo>
                      <a:pt x="153" y="1414"/>
                    </a:moveTo>
                    <a:lnTo>
                      <a:pt x="157" y="1412"/>
                    </a:lnTo>
                    <a:lnTo>
                      <a:pt x="158" y="1410"/>
                    </a:lnTo>
                    <a:lnTo>
                      <a:pt x="160" y="1414"/>
                    </a:lnTo>
                    <a:lnTo>
                      <a:pt x="157" y="1415"/>
                    </a:lnTo>
                    <a:lnTo>
                      <a:pt x="153" y="1417"/>
                    </a:lnTo>
                    <a:lnTo>
                      <a:pt x="153" y="1414"/>
                    </a:lnTo>
                    <a:lnTo>
                      <a:pt x="153" y="1414"/>
                    </a:lnTo>
                    <a:close/>
                    <a:moveTo>
                      <a:pt x="148" y="1409"/>
                    </a:moveTo>
                    <a:lnTo>
                      <a:pt x="152" y="1405"/>
                    </a:lnTo>
                    <a:lnTo>
                      <a:pt x="153" y="1410"/>
                    </a:lnTo>
                    <a:lnTo>
                      <a:pt x="148" y="1409"/>
                    </a:lnTo>
                    <a:lnTo>
                      <a:pt x="148" y="1409"/>
                    </a:lnTo>
                    <a:close/>
                    <a:moveTo>
                      <a:pt x="122" y="1312"/>
                    </a:moveTo>
                    <a:lnTo>
                      <a:pt x="122" y="1319"/>
                    </a:lnTo>
                    <a:lnTo>
                      <a:pt x="123" y="1316"/>
                    </a:lnTo>
                    <a:lnTo>
                      <a:pt x="122" y="1312"/>
                    </a:lnTo>
                    <a:lnTo>
                      <a:pt x="122" y="1312"/>
                    </a:lnTo>
                    <a:close/>
                    <a:moveTo>
                      <a:pt x="133" y="1359"/>
                    </a:moveTo>
                    <a:lnTo>
                      <a:pt x="133" y="1354"/>
                    </a:lnTo>
                    <a:lnTo>
                      <a:pt x="135" y="1354"/>
                    </a:lnTo>
                    <a:lnTo>
                      <a:pt x="137" y="1355"/>
                    </a:lnTo>
                    <a:lnTo>
                      <a:pt x="135" y="1359"/>
                    </a:lnTo>
                    <a:lnTo>
                      <a:pt x="133" y="1359"/>
                    </a:lnTo>
                    <a:lnTo>
                      <a:pt x="133" y="1359"/>
                    </a:lnTo>
                    <a:close/>
                    <a:moveTo>
                      <a:pt x="133" y="1372"/>
                    </a:moveTo>
                    <a:lnTo>
                      <a:pt x="130" y="1375"/>
                    </a:lnTo>
                    <a:lnTo>
                      <a:pt x="130" y="1379"/>
                    </a:lnTo>
                    <a:lnTo>
                      <a:pt x="132" y="1382"/>
                    </a:lnTo>
                    <a:lnTo>
                      <a:pt x="133" y="1375"/>
                    </a:lnTo>
                    <a:lnTo>
                      <a:pt x="133" y="1372"/>
                    </a:lnTo>
                    <a:lnTo>
                      <a:pt x="133" y="1372"/>
                    </a:lnTo>
                    <a:close/>
                    <a:moveTo>
                      <a:pt x="137" y="1367"/>
                    </a:moveTo>
                    <a:lnTo>
                      <a:pt x="140" y="1362"/>
                    </a:lnTo>
                    <a:lnTo>
                      <a:pt x="138" y="1359"/>
                    </a:lnTo>
                    <a:lnTo>
                      <a:pt x="132" y="1362"/>
                    </a:lnTo>
                    <a:lnTo>
                      <a:pt x="132" y="1367"/>
                    </a:lnTo>
                    <a:lnTo>
                      <a:pt x="133" y="1367"/>
                    </a:lnTo>
                    <a:lnTo>
                      <a:pt x="133" y="1367"/>
                    </a:lnTo>
                    <a:lnTo>
                      <a:pt x="137" y="1367"/>
                    </a:lnTo>
                    <a:lnTo>
                      <a:pt x="137" y="1367"/>
                    </a:lnTo>
                    <a:close/>
                    <a:moveTo>
                      <a:pt x="142" y="1362"/>
                    </a:moveTo>
                    <a:lnTo>
                      <a:pt x="147" y="1355"/>
                    </a:lnTo>
                    <a:lnTo>
                      <a:pt x="150" y="1355"/>
                    </a:lnTo>
                    <a:lnTo>
                      <a:pt x="153" y="1350"/>
                    </a:lnTo>
                    <a:lnTo>
                      <a:pt x="160" y="1349"/>
                    </a:lnTo>
                    <a:lnTo>
                      <a:pt x="160" y="1350"/>
                    </a:lnTo>
                    <a:lnTo>
                      <a:pt x="153" y="1357"/>
                    </a:lnTo>
                    <a:lnTo>
                      <a:pt x="148" y="1357"/>
                    </a:lnTo>
                    <a:lnTo>
                      <a:pt x="143" y="1362"/>
                    </a:lnTo>
                    <a:lnTo>
                      <a:pt x="142" y="1362"/>
                    </a:lnTo>
                    <a:lnTo>
                      <a:pt x="142" y="1362"/>
                    </a:lnTo>
                    <a:close/>
                    <a:moveTo>
                      <a:pt x="137" y="1339"/>
                    </a:moveTo>
                    <a:lnTo>
                      <a:pt x="137" y="1334"/>
                    </a:lnTo>
                    <a:lnTo>
                      <a:pt x="140" y="1330"/>
                    </a:lnTo>
                    <a:lnTo>
                      <a:pt x="142" y="1334"/>
                    </a:lnTo>
                    <a:lnTo>
                      <a:pt x="140" y="1335"/>
                    </a:lnTo>
                    <a:lnTo>
                      <a:pt x="140" y="1337"/>
                    </a:lnTo>
                    <a:lnTo>
                      <a:pt x="137" y="1339"/>
                    </a:lnTo>
                    <a:lnTo>
                      <a:pt x="137" y="1339"/>
                    </a:lnTo>
                    <a:close/>
                    <a:moveTo>
                      <a:pt x="127" y="1337"/>
                    </a:moveTo>
                    <a:lnTo>
                      <a:pt x="133" y="1340"/>
                    </a:lnTo>
                    <a:lnTo>
                      <a:pt x="135" y="1337"/>
                    </a:lnTo>
                    <a:lnTo>
                      <a:pt x="133" y="1335"/>
                    </a:lnTo>
                    <a:lnTo>
                      <a:pt x="127" y="1337"/>
                    </a:lnTo>
                    <a:lnTo>
                      <a:pt x="127" y="1337"/>
                    </a:lnTo>
                    <a:close/>
                    <a:moveTo>
                      <a:pt x="120" y="1324"/>
                    </a:moveTo>
                    <a:lnTo>
                      <a:pt x="120" y="1332"/>
                    </a:lnTo>
                    <a:lnTo>
                      <a:pt x="123" y="1334"/>
                    </a:lnTo>
                    <a:lnTo>
                      <a:pt x="123" y="1337"/>
                    </a:lnTo>
                    <a:lnTo>
                      <a:pt x="125" y="1334"/>
                    </a:lnTo>
                    <a:lnTo>
                      <a:pt x="123" y="1329"/>
                    </a:lnTo>
                    <a:lnTo>
                      <a:pt x="120" y="1324"/>
                    </a:lnTo>
                    <a:lnTo>
                      <a:pt x="120" y="1324"/>
                    </a:lnTo>
                    <a:close/>
                    <a:moveTo>
                      <a:pt x="123" y="1321"/>
                    </a:moveTo>
                    <a:lnTo>
                      <a:pt x="128" y="1321"/>
                    </a:lnTo>
                    <a:lnTo>
                      <a:pt x="127" y="1324"/>
                    </a:lnTo>
                    <a:lnTo>
                      <a:pt x="127" y="1327"/>
                    </a:lnTo>
                    <a:lnTo>
                      <a:pt x="130" y="1327"/>
                    </a:lnTo>
                    <a:lnTo>
                      <a:pt x="135" y="1324"/>
                    </a:lnTo>
                    <a:lnTo>
                      <a:pt x="133" y="1329"/>
                    </a:lnTo>
                    <a:lnTo>
                      <a:pt x="133" y="1332"/>
                    </a:lnTo>
                    <a:lnTo>
                      <a:pt x="138" y="1329"/>
                    </a:lnTo>
                    <a:lnTo>
                      <a:pt x="140" y="1317"/>
                    </a:lnTo>
                    <a:lnTo>
                      <a:pt x="133" y="1316"/>
                    </a:lnTo>
                    <a:lnTo>
                      <a:pt x="128" y="1316"/>
                    </a:lnTo>
                    <a:lnTo>
                      <a:pt x="123" y="1321"/>
                    </a:lnTo>
                    <a:lnTo>
                      <a:pt x="123" y="1321"/>
                    </a:lnTo>
                    <a:close/>
                    <a:moveTo>
                      <a:pt x="123" y="1311"/>
                    </a:moveTo>
                    <a:lnTo>
                      <a:pt x="127" y="1314"/>
                    </a:lnTo>
                    <a:lnTo>
                      <a:pt x="128" y="1312"/>
                    </a:lnTo>
                    <a:lnTo>
                      <a:pt x="127" y="1309"/>
                    </a:lnTo>
                    <a:lnTo>
                      <a:pt x="123" y="1311"/>
                    </a:lnTo>
                    <a:lnTo>
                      <a:pt x="123" y="1311"/>
                    </a:lnTo>
                    <a:close/>
                    <a:moveTo>
                      <a:pt x="133" y="1304"/>
                    </a:moveTo>
                    <a:lnTo>
                      <a:pt x="135" y="1299"/>
                    </a:lnTo>
                    <a:lnTo>
                      <a:pt x="140" y="1296"/>
                    </a:lnTo>
                    <a:lnTo>
                      <a:pt x="142" y="1296"/>
                    </a:lnTo>
                    <a:lnTo>
                      <a:pt x="140" y="1301"/>
                    </a:lnTo>
                    <a:lnTo>
                      <a:pt x="137" y="1302"/>
                    </a:lnTo>
                    <a:lnTo>
                      <a:pt x="133" y="1304"/>
                    </a:lnTo>
                    <a:lnTo>
                      <a:pt x="133" y="1304"/>
                    </a:lnTo>
                    <a:close/>
                    <a:moveTo>
                      <a:pt x="103" y="1291"/>
                    </a:moveTo>
                    <a:lnTo>
                      <a:pt x="113" y="1302"/>
                    </a:lnTo>
                    <a:lnTo>
                      <a:pt x="117" y="1307"/>
                    </a:lnTo>
                    <a:lnTo>
                      <a:pt x="115" y="1312"/>
                    </a:lnTo>
                    <a:lnTo>
                      <a:pt x="112" y="1311"/>
                    </a:lnTo>
                    <a:lnTo>
                      <a:pt x="112" y="1306"/>
                    </a:lnTo>
                    <a:lnTo>
                      <a:pt x="105" y="1299"/>
                    </a:lnTo>
                    <a:lnTo>
                      <a:pt x="102" y="1294"/>
                    </a:lnTo>
                    <a:lnTo>
                      <a:pt x="102" y="1294"/>
                    </a:lnTo>
                    <a:lnTo>
                      <a:pt x="103" y="1291"/>
                    </a:lnTo>
                    <a:lnTo>
                      <a:pt x="103" y="1291"/>
                    </a:lnTo>
                    <a:close/>
                    <a:moveTo>
                      <a:pt x="113" y="1287"/>
                    </a:moveTo>
                    <a:lnTo>
                      <a:pt x="113" y="1292"/>
                    </a:lnTo>
                    <a:lnTo>
                      <a:pt x="117" y="1297"/>
                    </a:lnTo>
                    <a:lnTo>
                      <a:pt x="118" y="1304"/>
                    </a:lnTo>
                    <a:lnTo>
                      <a:pt x="123" y="1307"/>
                    </a:lnTo>
                    <a:lnTo>
                      <a:pt x="123" y="1301"/>
                    </a:lnTo>
                    <a:lnTo>
                      <a:pt x="118" y="1292"/>
                    </a:lnTo>
                    <a:lnTo>
                      <a:pt x="117" y="1286"/>
                    </a:lnTo>
                    <a:lnTo>
                      <a:pt x="115" y="1286"/>
                    </a:lnTo>
                    <a:lnTo>
                      <a:pt x="113" y="1287"/>
                    </a:lnTo>
                    <a:lnTo>
                      <a:pt x="113" y="1287"/>
                    </a:lnTo>
                    <a:close/>
                    <a:moveTo>
                      <a:pt x="105" y="1281"/>
                    </a:moveTo>
                    <a:lnTo>
                      <a:pt x="112" y="1281"/>
                    </a:lnTo>
                    <a:lnTo>
                      <a:pt x="112" y="1282"/>
                    </a:lnTo>
                    <a:lnTo>
                      <a:pt x="115" y="1282"/>
                    </a:lnTo>
                    <a:lnTo>
                      <a:pt x="118" y="1277"/>
                    </a:lnTo>
                    <a:lnTo>
                      <a:pt x="113" y="1276"/>
                    </a:lnTo>
                    <a:lnTo>
                      <a:pt x="107" y="1277"/>
                    </a:lnTo>
                    <a:lnTo>
                      <a:pt x="105" y="1281"/>
                    </a:lnTo>
                    <a:lnTo>
                      <a:pt x="105" y="1281"/>
                    </a:lnTo>
                    <a:close/>
                    <a:moveTo>
                      <a:pt x="54" y="1284"/>
                    </a:moveTo>
                    <a:lnTo>
                      <a:pt x="52" y="1276"/>
                    </a:lnTo>
                    <a:lnTo>
                      <a:pt x="60" y="1264"/>
                    </a:lnTo>
                    <a:lnTo>
                      <a:pt x="67" y="1266"/>
                    </a:lnTo>
                    <a:lnTo>
                      <a:pt x="67" y="1272"/>
                    </a:lnTo>
                    <a:lnTo>
                      <a:pt x="69" y="1271"/>
                    </a:lnTo>
                    <a:lnTo>
                      <a:pt x="72" y="1267"/>
                    </a:lnTo>
                    <a:lnTo>
                      <a:pt x="75" y="1269"/>
                    </a:lnTo>
                    <a:lnTo>
                      <a:pt x="75" y="1272"/>
                    </a:lnTo>
                    <a:lnTo>
                      <a:pt x="75" y="1277"/>
                    </a:lnTo>
                    <a:lnTo>
                      <a:pt x="72" y="1281"/>
                    </a:lnTo>
                    <a:lnTo>
                      <a:pt x="62" y="1284"/>
                    </a:lnTo>
                    <a:lnTo>
                      <a:pt x="65" y="1286"/>
                    </a:lnTo>
                    <a:lnTo>
                      <a:pt x="65" y="1289"/>
                    </a:lnTo>
                    <a:lnTo>
                      <a:pt x="70" y="1287"/>
                    </a:lnTo>
                    <a:lnTo>
                      <a:pt x="74" y="1281"/>
                    </a:lnTo>
                    <a:lnTo>
                      <a:pt x="80" y="1274"/>
                    </a:lnTo>
                    <a:lnTo>
                      <a:pt x="87" y="1271"/>
                    </a:lnTo>
                    <a:lnTo>
                      <a:pt x="90" y="1271"/>
                    </a:lnTo>
                    <a:lnTo>
                      <a:pt x="82" y="1281"/>
                    </a:lnTo>
                    <a:lnTo>
                      <a:pt x="79" y="1287"/>
                    </a:lnTo>
                    <a:lnTo>
                      <a:pt x="75" y="1292"/>
                    </a:lnTo>
                    <a:lnTo>
                      <a:pt x="74" y="1299"/>
                    </a:lnTo>
                    <a:lnTo>
                      <a:pt x="69" y="1302"/>
                    </a:lnTo>
                    <a:lnTo>
                      <a:pt x="65" y="1302"/>
                    </a:lnTo>
                    <a:lnTo>
                      <a:pt x="60" y="1307"/>
                    </a:lnTo>
                    <a:lnTo>
                      <a:pt x="65" y="1307"/>
                    </a:lnTo>
                    <a:lnTo>
                      <a:pt x="69" y="1306"/>
                    </a:lnTo>
                    <a:lnTo>
                      <a:pt x="74" y="1306"/>
                    </a:lnTo>
                    <a:lnTo>
                      <a:pt x="74" y="1311"/>
                    </a:lnTo>
                    <a:lnTo>
                      <a:pt x="67" y="1311"/>
                    </a:lnTo>
                    <a:lnTo>
                      <a:pt x="65" y="1316"/>
                    </a:lnTo>
                    <a:lnTo>
                      <a:pt x="65" y="1321"/>
                    </a:lnTo>
                    <a:lnTo>
                      <a:pt x="65" y="1327"/>
                    </a:lnTo>
                    <a:lnTo>
                      <a:pt x="69" y="1334"/>
                    </a:lnTo>
                    <a:lnTo>
                      <a:pt x="69" y="1340"/>
                    </a:lnTo>
                    <a:lnTo>
                      <a:pt x="72" y="1340"/>
                    </a:lnTo>
                    <a:lnTo>
                      <a:pt x="75" y="1342"/>
                    </a:lnTo>
                    <a:lnTo>
                      <a:pt x="72" y="1345"/>
                    </a:lnTo>
                    <a:lnTo>
                      <a:pt x="65" y="1345"/>
                    </a:lnTo>
                    <a:lnTo>
                      <a:pt x="59" y="1330"/>
                    </a:lnTo>
                    <a:lnTo>
                      <a:pt x="59" y="1324"/>
                    </a:lnTo>
                    <a:lnTo>
                      <a:pt x="59" y="1321"/>
                    </a:lnTo>
                    <a:lnTo>
                      <a:pt x="54" y="1321"/>
                    </a:lnTo>
                    <a:lnTo>
                      <a:pt x="52" y="1317"/>
                    </a:lnTo>
                    <a:lnTo>
                      <a:pt x="54" y="1314"/>
                    </a:lnTo>
                    <a:lnTo>
                      <a:pt x="60" y="1314"/>
                    </a:lnTo>
                    <a:lnTo>
                      <a:pt x="55" y="1309"/>
                    </a:lnTo>
                    <a:lnTo>
                      <a:pt x="52" y="1309"/>
                    </a:lnTo>
                    <a:lnTo>
                      <a:pt x="55" y="1304"/>
                    </a:lnTo>
                    <a:lnTo>
                      <a:pt x="52" y="1301"/>
                    </a:lnTo>
                    <a:lnTo>
                      <a:pt x="52" y="1297"/>
                    </a:lnTo>
                    <a:lnTo>
                      <a:pt x="57" y="1299"/>
                    </a:lnTo>
                    <a:lnTo>
                      <a:pt x="59" y="1299"/>
                    </a:lnTo>
                    <a:lnTo>
                      <a:pt x="59" y="1296"/>
                    </a:lnTo>
                    <a:lnTo>
                      <a:pt x="55" y="1292"/>
                    </a:lnTo>
                    <a:lnTo>
                      <a:pt x="52" y="1292"/>
                    </a:lnTo>
                    <a:lnTo>
                      <a:pt x="50" y="1287"/>
                    </a:lnTo>
                    <a:lnTo>
                      <a:pt x="54" y="1284"/>
                    </a:lnTo>
                    <a:lnTo>
                      <a:pt x="54" y="1284"/>
                    </a:lnTo>
                    <a:close/>
                    <a:moveTo>
                      <a:pt x="112" y="1261"/>
                    </a:moveTo>
                    <a:lnTo>
                      <a:pt x="112" y="1256"/>
                    </a:lnTo>
                    <a:lnTo>
                      <a:pt x="115" y="1254"/>
                    </a:lnTo>
                    <a:lnTo>
                      <a:pt x="115" y="1257"/>
                    </a:lnTo>
                    <a:lnTo>
                      <a:pt x="112" y="1261"/>
                    </a:lnTo>
                    <a:lnTo>
                      <a:pt x="112" y="1261"/>
                    </a:lnTo>
                    <a:close/>
                    <a:moveTo>
                      <a:pt x="605" y="593"/>
                    </a:moveTo>
                    <a:lnTo>
                      <a:pt x="608" y="595"/>
                    </a:lnTo>
                    <a:lnTo>
                      <a:pt x="610" y="595"/>
                    </a:lnTo>
                    <a:lnTo>
                      <a:pt x="610" y="593"/>
                    </a:lnTo>
                    <a:lnTo>
                      <a:pt x="612" y="591"/>
                    </a:lnTo>
                    <a:lnTo>
                      <a:pt x="607" y="591"/>
                    </a:lnTo>
                    <a:lnTo>
                      <a:pt x="605" y="593"/>
                    </a:lnTo>
                    <a:lnTo>
                      <a:pt x="605" y="593"/>
                    </a:lnTo>
                    <a:close/>
                    <a:moveTo>
                      <a:pt x="559" y="551"/>
                    </a:moveTo>
                    <a:lnTo>
                      <a:pt x="562" y="553"/>
                    </a:lnTo>
                    <a:lnTo>
                      <a:pt x="567" y="550"/>
                    </a:lnTo>
                    <a:lnTo>
                      <a:pt x="567" y="545"/>
                    </a:lnTo>
                    <a:lnTo>
                      <a:pt x="560" y="548"/>
                    </a:lnTo>
                    <a:lnTo>
                      <a:pt x="559" y="551"/>
                    </a:lnTo>
                    <a:lnTo>
                      <a:pt x="559" y="551"/>
                    </a:lnTo>
                    <a:close/>
                    <a:moveTo>
                      <a:pt x="388" y="565"/>
                    </a:moveTo>
                    <a:lnTo>
                      <a:pt x="391" y="565"/>
                    </a:lnTo>
                    <a:lnTo>
                      <a:pt x="393" y="561"/>
                    </a:lnTo>
                    <a:lnTo>
                      <a:pt x="391" y="561"/>
                    </a:lnTo>
                    <a:lnTo>
                      <a:pt x="391" y="561"/>
                    </a:lnTo>
                    <a:lnTo>
                      <a:pt x="388" y="565"/>
                    </a:lnTo>
                    <a:lnTo>
                      <a:pt x="388" y="565"/>
                    </a:lnTo>
                    <a:close/>
                    <a:moveTo>
                      <a:pt x="388" y="571"/>
                    </a:moveTo>
                    <a:lnTo>
                      <a:pt x="386" y="570"/>
                    </a:lnTo>
                    <a:lnTo>
                      <a:pt x="389" y="568"/>
                    </a:lnTo>
                    <a:lnTo>
                      <a:pt x="391" y="570"/>
                    </a:lnTo>
                    <a:lnTo>
                      <a:pt x="388" y="571"/>
                    </a:lnTo>
                    <a:lnTo>
                      <a:pt x="388" y="571"/>
                    </a:lnTo>
                    <a:close/>
                    <a:moveTo>
                      <a:pt x="379" y="585"/>
                    </a:moveTo>
                    <a:lnTo>
                      <a:pt x="379" y="591"/>
                    </a:lnTo>
                    <a:lnTo>
                      <a:pt x="376" y="595"/>
                    </a:lnTo>
                    <a:lnTo>
                      <a:pt x="378" y="600"/>
                    </a:lnTo>
                    <a:lnTo>
                      <a:pt x="383" y="600"/>
                    </a:lnTo>
                    <a:lnTo>
                      <a:pt x="386" y="596"/>
                    </a:lnTo>
                    <a:lnTo>
                      <a:pt x="389" y="596"/>
                    </a:lnTo>
                    <a:lnTo>
                      <a:pt x="406" y="585"/>
                    </a:lnTo>
                    <a:lnTo>
                      <a:pt x="412" y="581"/>
                    </a:lnTo>
                    <a:lnTo>
                      <a:pt x="416" y="576"/>
                    </a:lnTo>
                    <a:lnTo>
                      <a:pt x="412" y="576"/>
                    </a:lnTo>
                    <a:lnTo>
                      <a:pt x="411" y="575"/>
                    </a:lnTo>
                    <a:lnTo>
                      <a:pt x="409" y="568"/>
                    </a:lnTo>
                    <a:lnTo>
                      <a:pt x="406" y="568"/>
                    </a:lnTo>
                    <a:lnTo>
                      <a:pt x="402" y="573"/>
                    </a:lnTo>
                    <a:lnTo>
                      <a:pt x="397" y="575"/>
                    </a:lnTo>
                    <a:lnTo>
                      <a:pt x="399" y="578"/>
                    </a:lnTo>
                    <a:lnTo>
                      <a:pt x="396" y="578"/>
                    </a:lnTo>
                    <a:lnTo>
                      <a:pt x="394" y="580"/>
                    </a:lnTo>
                    <a:lnTo>
                      <a:pt x="393" y="583"/>
                    </a:lnTo>
                    <a:lnTo>
                      <a:pt x="389" y="580"/>
                    </a:lnTo>
                    <a:lnTo>
                      <a:pt x="391" y="578"/>
                    </a:lnTo>
                    <a:lnTo>
                      <a:pt x="389" y="575"/>
                    </a:lnTo>
                    <a:lnTo>
                      <a:pt x="386" y="578"/>
                    </a:lnTo>
                    <a:lnTo>
                      <a:pt x="384" y="578"/>
                    </a:lnTo>
                    <a:lnTo>
                      <a:pt x="381" y="581"/>
                    </a:lnTo>
                    <a:lnTo>
                      <a:pt x="379" y="585"/>
                    </a:lnTo>
                    <a:lnTo>
                      <a:pt x="379" y="585"/>
                    </a:lnTo>
                    <a:close/>
                    <a:moveTo>
                      <a:pt x="361" y="598"/>
                    </a:moveTo>
                    <a:lnTo>
                      <a:pt x="363" y="595"/>
                    </a:lnTo>
                    <a:lnTo>
                      <a:pt x="363" y="586"/>
                    </a:lnTo>
                    <a:lnTo>
                      <a:pt x="358" y="590"/>
                    </a:lnTo>
                    <a:lnTo>
                      <a:pt x="358" y="593"/>
                    </a:lnTo>
                    <a:lnTo>
                      <a:pt x="356" y="595"/>
                    </a:lnTo>
                    <a:lnTo>
                      <a:pt x="358" y="596"/>
                    </a:lnTo>
                    <a:lnTo>
                      <a:pt x="358" y="596"/>
                    </a:lnTo>
                    <a:lnTo>
                      <a:pt x="361" y="598"/>
                    </a:lnTo>
                    <a:lnTo>
                      <a:pt x="361" y="598"/>
                    </a:lnTo>
                    <a:close/>
                    <a:moveTo>
                      <a:pt x="363" y="601"/>
                    </a:moveTo>
                    <a:lnTo>
                      <a:pt x="366" y="600"/>
                    </a:lnTo>
                    <a:lnTo>
                      <a:pt x="368" y="596"/>
                    </a:lnTo>
                    <a:lnTo>
                      <a:pt x="364" y="591"/>
                    </a:lnTo>
                    <a:lnTo>
                      <a:pt x="366" y="585"/>
                    </a:lnTo>
                    <a:lnTo>
                      <a:pt x="368" y="581"/>
                    </a:lnTo>
                    <a:lnTo>
                      <a:pt x="371" y="583"/>
                    </a:lnTo>
                    <a:lnTo>
                      <a:pt x="371" y="580"/>
                    </a:lnTo>
                    <a:lnTo>
                      <a:pt x="374" y="580"/>
                    </a:lnTo>
                    <a:lnTo>
                      <a:pt x="376" y="583"/>
                    </a:lnTo>
                    <a:lnTo>
                      <a:pt x="376" y="595"/>
                    </a:lnTo>
                    <a:lnTo>
                      <a:pt x="373" y="598"/>
                    </a:lnTo>
                    <a:lnTo>
                      <a:pt x="374" y="601"/>
                    </a:lnTo>
                    <a:lnTo>
                      <a:pt x="368" y="605"/>
                    </a:lnTo>
                    <a:lnTo>
                      <a:pt x="363" y="601"/>
                    </a:lnTo>
                    <a:lnTo>
                      <a:pt x="363" y="601"/>
                    </a:lnTo>
                    <a:close/>
                    <a:moveTo>
                      <a:pt x="369" y="623"/>
                    </a:moveTo>
                    <a:lnTo>
                      <a:pt x="373" y="620"/>
                    </a:lnTo>
                    <a:lnTo>
                      <a:pt x="369" y="613"/>
                    </a:lnTo>
                    <a:lnTo>
                      <a:pt x="369" y="606"/>
                    </a:lnTo>
                    <a:lnTo>
                      <a:pt x="364" y="606"/>
                    </a:lnTo>
                    <a:lnTo>
                      <a:pt x="358" y="600"/>
                    </a:lnTo>
                    <a:lnTo>
                      <a:pt x="356" y="601"/>
                    </a:lnTo>
                    <a:lnTo>
                      <a:pt x="356" y="603"/>
                    </a:lnTo>
                    <a:lnTo>
                      <a:pt x="364" y="611"/>
                    </a:lnTo>
                    <a:lnTo>
                      <a:pt x="358" y="610"/>
                    </a:lnTo>
                    <a:lnTo>
                      <a:pt x="358" y="613"/>
                    </a:lnTo>
                    <a:lnTo>
                      <a:pt x="363" y="616"/>
                    </a:lnTo>
                    <a:lnTo>
                      <a:pt x="369" y="623"/>
                    </a:lnTo>
                    <a:lnTo>
                      <a:pt x="369" y="623"/>
                    </a:lnTo>
                    <a:close/>
                    <a:moveTo>
                      <a:pt x="316" y="545"/>
                    </a:moveTo>
                    <a:lnTo>
                      <a:pt x="319" y="550"/>
                    </a:lnTo>
                    <a:lnTo>
                      <a:pt x="323" y="548"/>
                    </a:lnTo>
                    <a:lnTo>
                      <a:pt x="326" y="550"/>
                    </a:lnTo>
                    <a:lnTo>
                      <a:pt x="329" y="550"/>
                    </a:lnTo>
                    <a:lnTo>
                      <a:pt x="324" y="543"/>
                    </a:lnTo>
                    <a:lnTo>
                      <a:pt x="319" y="541"/>
                    </a:lnTo>
                    <a:lnTo>
                      <a:pt x="316" y="545"/>
                    </a:lnTo>
                    <a:lnTo>
                      <a:pt x="316" y="545"/>
                    </a:lnTo>
                    <a:close/>
                    <a:moveTo>
                      <a:pt x="215" y="1480"/>
                    </a:moveTo>
                    <a:lnTo>
                      <a:pt x="215" y="1480"/>
                    </a:lnTo>
                    <a:lnTo>
                      <a:pt x="211" y="1478"/>
                    </a:lnTo>
                    <a:lnTo>
                      <a:pt x="210" y="1472"/>
                    </a:lnTo>
                    <a:lnTo>
                      <a:pt x="215" y="1462"/>
                    </a:lnTo>
                    <a:lnTo>
                      <a:pt x="215" y="1457"/>
                    </a:lnTo>
                    <a:lnTo>
                      <a:pt x="213" y="1460"/>
                    </a:lnTo>
                    <a:lnTo>
                      <a:pt x="206" y="1462"/>
                    </a:lnTo>
                    <a:lnTo>
                      <a:pt x="201" y="1465"/>
                    </a:lnTo>
                    <a:lnTo>
                      <a:pt x="196" y="1458"/>
                    </a:lnTo>
                    <a:lnTo>
                      <a:pt x="196" y="1453"/>
                    </a:lnTo>
                    <a:lnTo>
                      <a:pt x="200" y="1455"/>
                    </a:lnTo>
                    <a:lnTo>
                      <a:pt x="201" y="1458"/>
                    </a:lnTo>
                    <a:lnTo>
                      <a:pt x="203" y="1458"/>
                    </a:lnTo>
                    <a:lnTo>
                      <a:pt x="203" y="1457"/>
                    </a:lnTo>
                    <a:lnTo>
                      <a:pt x="201" y="1453"/>
                    </a:lnTo>
                    <a:lnTo>
                      <a:pt x="200" y="1448"/>
                    </a:lnTo>
                    <a:lnTo>
                      <a:pt x="196" y="1448"/>
                    </a:lnTo>
                    <a:lnTo>
                      <a:pt x="193" y="1450"/>
                    </a:lnTo>
                    <a:lnTo>
                      <a:pt x="188" y="1448"/>
                    </a:lnTo>
                    <a:lnTo>
                      <a:pt x="185" y="1443"/>
                    </a:lnTo>
                    <a:lnTo>
                      <a:pt x="185" y="1440"/>
                    </a:lnTo>
                    <a:lnTo>
                      <a:pt x="192" y="1437"/>
                    </a:lnTo>
                    <a:lnTo>
                      <a:pt x="193" y="1432"/>
                    </a:lnTo>
                    <a:lnTo>
                      <a:pt x="196" y="1428"/>
                    </a:lnTo>
                    <a:lnTo>
                      <a:pt x="196" y="1428"/>
                    </a:lnTo>
                    <a:lnTo>
                      <a:pt x="192" y="1428"/>
                    </a:lnTo>
                    <a:lnTo>
                      <a:pt x="187" y="1428"/>
                    </a:lnTo>
                    <a:lnTo>
                      <a:pt x="185" y="1427"/>
                    </a:lnTo>
                    <a:lnTo>
                      <a:pt x="188" y="1424"/>
                    </a:lnTo>
                    <a:lnTo>
                      <a:pt x="193" y="1419"/>
                    </a:lnTo>
                    <a:lnTo>
                      <a:pt x="193" y="1412"/>
                    </a:lnTo>
                    <a:lnTo>
                      <a:pt x="195" y="1410"/>
                    </a:lnTo>
                    <a:lnTo>
                      <a:pt x="195" y="1407"/>
                    </a:lnTo>
                    <a:lnTo>
                      <a:pt x="192" y="1409"/>
                    </a:lnTo>
                    <a:lnTo>
                      <a:pt x="190" y="1412"/>
                    </a:lnTo>
                    <a:lnTo>
                      <a:pt x="188" y="1419"/>
                    </a:lnTo>
                    <a:lnTo>
                      <a:pt x="183" y="1425"/>
                    </a:lnTo>
                    <a:lnTo>
                      <a:pt x="180" y="1427"/>
                    </a:lnTo>
                    <a:lnTo>
                      <a:pt x="178" y="1425"/>
                    </a:lnTo>
                    <a:lnTo>
                      <a:pt x="175" y="1424"/>
                    </a:lnTo>
                    <a:lnTo>
                      <a:pt x="175" y="1422"/>
                    </a:lnTo>
                    <a:lnTo>
                      <a:pt x="177" y="1420"/>
                    </a:lnTo>
                    <a:lnTo>
                      <a:pt x="177" y="1417"/>
                    </a:lnTo>
                    <a:lnTo>
                      <a:pt x="173" y="1420"/>
                    </a:lnTo>
                    <a:lnTo>
                      <a:pt x="172" y="1422"/>
                    </a:lnTo>
                    <a:lnTo>
                      <a:pt x="170" y="1422"/>
                    </a:lnTo>
                    <a:lnTo>
                      <a:pt x="168" y="1420"/>
                    </a:lnTo>
                    <a:lnTo>
                      <a:pt x="165" y="1420"/>
                    </a:lnTo>
                    <a:lnTo>
                      <a:pt x="163" y="1422"/>
                    </a:lnTo>
                    <a:lnTo>
                      <a:pt x="160" y="1420"/>
                    </a:lnTo>
                    <a:lnTo>
                      <a:pt x="160" y="1420"/>
                    </a:lnTo>
                    <a:lnTo>
                      <a:pt x="163" y="1417"/>
                    </a:lnTo>
                    <a:lnTo>
                      <a:pt x="167" y="1415"/>
                    </a:lnTo>
                    <a:lnTo>
                      <a:pt x="173" y="1415"/>
                    </a:lnTo>
                    <a:lnTo>
                      <a:pt x="178" y="1410"/>
                    </a:lnTo>
                    <a:lnTo>
                      <a:pt x="182" y="1407"/>
                    </a:lnTo>
                    <a:lnTo>
                      <a:pt x="182" y="1402"/>
                    </a:lnTo>
                    <a:lnTo>
                      <a:pt x="180" y="1405"/>
                    </a:lnTo>
                    <a:lnTo>
                      <a:pt x="177" y="1409"/>
                    </a:lnTo>
                    <a:lnTo>
                      <a:pt x="173" y="1412"/>
                    </a:lnTo>
                    <a:lnTo>
                      <a:pt x="170" y="1414"/>
                    </a:lnTo>
                    <a:lnTo>
                      <a:pt x="163" y="1412"/>
                    </a:lnTo>
                    <a:lnTo>
                      <a:pt x="163" y="1409"/>
                    </a:lnTo>
                    <a:lnTo>
                      <a:pt x="158" y="1409"/>
                    </a:lnTo>
                    <a:lnTo>
                      <a:pt x="158" y="1407"/>
                    </a:lnTo>
                    <a:lnTo>
                      <a:pt x="162" y="1405"/>
                    </a:lnTo>
                    <a:lnTo>
                      <a:pt x="160" y="1404"/>
                    </a:lnTo>
                    <a:lnTo>
                      <a:pt x="153" y="1405"/>
                    </a:lnTo>
                    <a:lnTo>
                      <a:pt x="150" y="1404"/>
                    </a:lnTo>
                    <a:lnTo>
                      <a:pt x="147" y="1404"/>
                    </a:lnTo>
                    <a:lnTo>
                      <a:pt x="145" y="1407"/>
                    </a:lnTo>
                    <a:lnTo>
                      <a:pt x="140" y="1404"/>
                    </a:lnTo>
                    <a:lnTo>
                      <a:pt x="138" y="1400"/>
                    </a:lnTo>
                    <a:lnTo>
                      <a:pt x="140" y="1399"/>
                    </a:lnTo>
                    <a:lnTo>
                      <a:pt x="143" y="1400"/>
                    </a:lnTo>
                    <a:lnTo>
                      <a:pt x="148" y="1402"/>
                    </a:lnTo>
                    <a:lnTo>
                      <a:pt x="153" y="1400"/>
                    </a:lnTo>
                    <a:lnTo>
                      <a:pt x="153" y="1399"/>
                    </a:lnTo>
                    <a:lnTo>
                      <a:pt x="152" y="1399"/>
                    </a:lnTo>
                    <a:lnTo>
                      <a:pt x="145" y="1399"/>
                    </a:lnTo>
                    <a:lnTo>
                      <a:pt x="143" y="1397"/>
                    </a:lnTo>
                    <a:lnTo>
                      <a:pt x="145" y="1395"/>
                    </a:lnTo>
                    <a:lnTo>
                      <a:pt x="148" y="1397"/>
                    </a:lnTo>
                    <a:lnTo>
                      <a:pt x="153" y="1395"/>
                    </a:lnTo>
                    <a:lnTo>
                      <a:pt x="153" y="1394"/>
                    </a:lnTo>
                    <a:lnTo>
                      <a:pt x="148" y="1394"/>
                    </a:lnTo>
                    <a:lnTo>
                      <a:pt x="145" y="1392"/>
                    </a:lnTo>
                    <a:lnTo>
                      <a:pt x="140" y="1394"/>
                    </a:lnTo>
                    <a:lnTo>
                      <a:pt x="137" y="1394"/>
                    </a:lnTo>
                    <a:lnTo>
                      <a:pt x="133" y="1392"/>
                    </a:lnTo>
                    <a:lnTo>
                      <a:pt x="135" y="1389"/>
                    </a:lnTo>
                    <a:lnTo>
                      <a:pt x="140" y="1387"/>
                    </a:lnTo>
                    <a:lnTo>
                      <a:pt x="142" y="1389"/>
                    </a:lnTo>
                    <a:lnTo>
                      <a:pt x="147" y="1389"/>
                    </a:lnTo>
                    <a:lnTo>
                      <a:pt x="150" y="1387"/>
                    </a:lnTo>
                    <a:lnTo>
                      <a:pt x="145" y="1387"/>
                    </a:lnTo>
                    <a:lnTo>
                      <a:pt x="142" y="1385"/>
                    </a:lnTo>
                    <a:lnTo>
                      <a:pt x="135" y="1385"/>
                    </a:lnTo>
                    <a:lnTo>
                      <a:pt x="137" y="1384"/>
                    </a:lnTo>
                    <a:lnTo>
                      <a:pt x="143" y="1382"/>
                    </a:lnTo>
                    <a:lnTo>
                      <a:pt x="145" y="1384"/>
                    </a:lnTo>
                    <a:lnTo>
                      <a:pt x="148" y="1382"/>
                    </a:lnTo>
                    <a:lnTo>
                      <a:pt x="148" y="1380"/>
                    </a:lnTo>
                    <a:lnTo>
                      <a:pt x="148" y="1379"/>
                    </a:lnTo>
                    <a:lnTo>
                      <a:pt x="150" y="1375"/>
                    </a:lnTo>
                    <a:lnTo>
                      <a:pt x="157" y="1375"/>
                    </a:lnTo>
                    <a:lnTo>
                      <a:pt x="162" y="1377"/>
                    </a:lnTo>
                    <a:lnTo>
                      <a:pt x="162" y="1375"/>
                    </a:lnTo>
                    <a:lnTo>
                      <a:pt x="155" y="1374"/>
                    </a:lnTo>
                    <a:lnTo>
                      <a:pt x="153" y="1372"/>
                    </a:lnTo>
                    <a:lnTo>
                      <a:pt x="150" y="1372"/>
                    </a:lnTo>
                    <a:lnTo>
                      <a:pt x="148" y="1375"/>
                    </a:lnTo>
                    <a:lnTo>
                      <a:pt x="143" y="1377"/>
                    </a:lnTo>
                    <a:lnTo>
                      <a:pt x="140" y="1379"/>
                    </a:lnTo>
                    <a:lnTo>
                      <a:pt x="138" y="1377"/>
                    </a:lnTo>
                    <a:lnTo>
                      <a:pt x="138" y="1374"/>
                    </a:lnTo>
                    <a:lnTo>
                      <a:pt x="138" y="1372"/>
                    </a:lnTo>
                    <a:lnTo>
                      <a:pt x="140" y="1367"/>
                    </a:lnTo>
                    <a:lnTo>
                      <a:pt x="147" y="1365"/>
                    </a:lnTo>
                    <a:lnTo>
                      <a:pt x="148" y="1362"/>
                    </a:lnTo>
                    <a:lnTo>
                      <a:pt x="160" y="1355"/>
                    </a:lnTo>
                    <a:lnTo>
                      <a:pt x="163" y="1354"/>
                    </a:lnTo>
                    <a:lnTo>
                      <a:pt x="165" y="1355"/>
                    </a:lnTo>
                    <a:lnTo>
                      <a:pt x="165" y="1362"/>
                    </a:lnTo>
                    <a:lnTo>
                      <a:pt x="168" y="1365"/>
                    </a:lnTo>
                    <a:lnTo>
                      <a:pt x="170" y="1364"/>
                    </a:lnTo>
                    <a:lnTo>
                      <a:pt x="168" y="1359"/>
                    </a:lnTo>
                    <a:lnTo>
                      <a:pt x="168" y="1352"/>
                    </a:lnTo>
                    <a:lnTo>
                      <a:pt x="173" y="1350"/>
                    </a:lnTo>
                    <a:lnTo>
                      <a:pt x="178" y="1350"/>
                    </a:lnTo>
                    <a:lnTo>
                      <a:pt x="173" y="1349"/>
                    </a:lnTo>
                    <a:lnTo>
                      <a:pt x="168" y="1349"/>
                    </a:lnTo>
                    <a:lnTo>
                      <a:pt x="165" y="1350"/>
                    </a:lnTo>
                    <a:lnTo>
                      <a:pt x="163" y="1347"/>
                    </a:lnTo>
                    <a:lnTo>
                      <a:pt x="163" y="1345"/>
                    </a:lnTo>
                    <a:lnTo>
                      <a:pt x="168" y="1344"/>
                    </a:lnTo>
                    <a:lnTo>
                      <a:pt x="173" y="1340"/>
                    </a:lnTo>
                    <a:lnTo>
                      <a:pt x="177" y="1334"/>
                    </a:lnTo>
                    <a:lnTo>
                      <a:pt x="177" y="1332"/>
                    </a:lnTo>
                    <a:lnTo>
                      <a:pt x="175" y="1332"/>
                    </a:lnTo>
                    <a:lnTo>
                      <a:pt x="173" y="1335"/>
                    </a:lnTo>
                    <a:lnTo>
                      <a:pt x="170" y="1339"/>
                    </a:lnTo>
                    <a:lnTo>
                      <a:pt x="165" y="1340"/>
                    </a:lnTo>
                    <a:lnTo>
                      <a:pt x="160" y="1345"/>
                    </a:lnTo>
                    <a:lnTo>
                      <a:pt x="153" y="1350"/>
                    </a:lnTo>
                    <a:lnTo>
                      <a:pt x="147" y="1352"/>
                    </a:lnTo>
                    <a:lnTo>
                      <a:pt x="143" y="1349"/>
                    </a:lnTo>
                    <a:lnTo>
                      <a:pt x="143" y="1345"/>
                    </a:lnTo>
                    <a:lnTo>
                      <a:pt x="148" y="1345"/>
                    </a:lnTo>
                    <a:lnTo>
                      <a:pt x="143" y="1344"/>
                    </a:lnTo>
                    <a:lnTo>
                      <a:pt x="137" y="1347"/>
                    </a:lnTo>
                    <a:lnTo>
                      <a:pt x="135" y="1344"/>
                    </a:lnTo>
                    <a:lnTo>
                      <a:pt x="137" y="1342"/>
                    </a:lnTo>
                    <a:lnTo>
                      <a:pt x="142" y="1339"/>
                    </a:lnTo>
                    <a:lnTo>
                      <a:pt x="147" y="1337"/>
                    </a:lnTo>
                    <a:lnTo>
                      <a:pt x="150" y="1337"/>
                    </a:lnTo>
                    <a:lnTo>
                      <a:pt x="152" y="1335"/>
                    </a:lnTo>
                    <a:lnTo>
                      <a:pt x="152" y="1334"/>
                    </a:lnTo>
                    <a:lnTo>
                      <a:pt x="148" y="1332"/>
                    </a:lnTo>
                    <a:lnTo>
                      <a:pt x="150" y="1330"/>
                    </a:lnTo>
                    <a:lnTo>
                      <a:pt x="152" y="1329"/>
                    </a:lnTo>
                    <a:lnTo>
                      <a:pt x="150" y="1327"/>
                    </a:lnTo>
                    <a:lnTo>
                      <a:pt x="147" y="1329"/>
                    </a:lnTo>
                    <a:lnTo>
                      <a:pt x="143" y="1329"/>
                    </a:lnTo>
                    <a:lnTo>
                      <a:pt x="142" y="1326"/>
                    </a:lnTo>
                    <a:lnTo>
                      <a:pt x="142" y="1316"/>
                    </a:lnTo>
                    <a:lnTo>
                      <a:pt x="140" y="1312"/>
                    </a:lnTo>
                    <a:lnTo>
                      <a:pt x="138" y="1309"/>
                    </a:lnTo>
                    <a:lnTo>
                      <a:pt x="140" y="1306"/>
                    </a:lnTo>
                    <a:lnTo>
                      <a:pt x="147" y="1307"/>
                    </a:lnTo>
                    <a:lnTo>
                      <a:pt x="152" y="1309"/>
                    </a:lnTo>
                    <a:lnTo>
                      <a:pt x="157" y="1309"/>
                    </a:lnTo>
                    <a:lnTo>
                      <a:pt x="163" y="1311"/>
                    </a:lnTo>
                    <a:lnTo>
                      <a:pt x="160" y="1309"/>
                    </a:lnTo>
                    <a:lnTo>
                      <a:pt x="157" y="1307"/>
                    </a:lnTo>
                    <a:lnTo>
                      <a:pt x="152" y="1307"/>
                    </a:lnTo>
                    <a:lnTo>
                      <a:pt x="148" y="1304"/>
                    </a:lnTo>
                    <a:lnTo>
                      <a:pt x="145" y="1301"/>
                    </a:lnTo>
                    <a:lnTo>
                      <a:pt x="145" y="1299"/>
                    </a:lnTo>
                    <a:lnTo>
                      <a:pt x="148" y="1296"/>
                    </a:lnTo>
                    <a:lnTo>
                      <a:pt x="150" y="1294"/>
                    </a:lnTo>
                    <a:lnTo>
                      <a:pt x="153" y="1291"/>
                    </a:lnTo>
                    <a:lnTo>
                      <a:pt x="152" y="1286"/>
                    </a:lnTo>
                    <a:lnTo>
                      <a:pt x="150" y="1286"/>
                    </a:lnTo>
                    <a:lnTo>
                      <a:pt x="147" y="1291"/>
                    </a:lnTo>
                    <a:lnTo>
                      <a:pt x="142" y="1294"/>
                    </a:lnTo>
                    <a:lnTo>
                      <a:pt x="135" y="1296"/>
                    </a:lnTo>
                    <a:lnTo>
                      <a:pt x="130" y="1299"/>
                    </a:lnTo>
                    <a:lnTo>
                      <a:pt x="130" y="1302"/>
                    </a:lnTo>
                    <a:lnTo>
                      <a:pt x="127" y="1302"/>
                    </a:lnTo>
                    <a:lnTo>
                      <a:pt x="123" y="1296"/>
                    </a:lnTo>
                    <a:lnTo>
                      <a:pt x="122" y="1289"/>
                    </a:lnTo>
                    <a:lnTo>
                      <a:pt x="123" y="1277"/>
                    </a:lnTo>
                    <a:lnTo>
                      <a:pt x="125" y="1271"/>
                    </a:lnTo>
                    <a:lnTo>
                      <a:pt x="123" y="1267"/>
                    </a:lnTo>
                    <a:lnTo>
                      <a:pt x="120" y="1267"/>
                    </a:lnTo>
                    <a:lnTo>
                      <a:pt x="120" y="1261"/>
                    </a:lnTo>
                    <a:lnTo>
                      <a:pt x="123" y="1259"/>
                    </a:lnTo>
                    <a:lnTo>
                      <a:pt x="125" y="1261"/>
                    </a:lnTo>
                    <a:lnTo>
                      <a:pt x="128" y="1262"/>
                    </a:lnTo>
                    <a:lnTo>
                      <a:pt x="127" y="1257"/>
                    </a:lnTo>
                    <a:lnTo>
                      <a:pt x="132" y="1254"/>
                    </a:lnTo>
                    <a:lnTo>
                      <a:pt x="133" y="1247"/>
                    </a:lnTo>
                    <a:lnTo>
                      <a:pt x="138" y="1247"/>
                    </a:lnTo>
                    <a:lnTo>
                      <a:pt x="143" y="1247"/>
                    </a:lnTo>
                    <a:lnTo>
                      <a:pt x="145" y="1246"/>
                    </a:lnTo>
                    <a:lnTo>
                      <a:pt x="142" y="1246"/>
                    </a:lnTo>
                    <a:lnTo>
                      <a:pt x="142" y="1244"/>
                    </a:lnTo>
                    <a:lnTo>
                      <a:pt x="148" y="1237"/>
                    </a:lnTo>
                    <a:lnTo>
                      <a:pt x="152" y="1234"/>
                    </a:lnTo>
                    <a:lnTo>
                      <a:pt x="158" y="1229"/>
                    </a:lnTo>
                    <a:lnTo>
                      <a:pt x="158" y="1228"/>
                    </a:lnTo>
                    <a:lnTo>
                      <a:pt x="155" y="1228"/>
                    </a:lnTo>
                    <a:lnTo>
                      <a:pt x="155" y="1226"/>
                    </a:lnTo>
                    <a:lnTo>
                      <a:pt x="148" y="1229"/>
                    </a:lnTo>
                    <a:lnTo>
                      <a:pt x="147" y="1234"/>
                    </a:lnTo>
                    <a:lnTo>
                      <a:pt x="140" y="1242"/>
                    </a:lnTo>
                    <a:lnTo>
                      <a:pt x="138" y="1242"/>
                    </a:lnTo>
                    <a:lnTo>
                      <a:pt x="138" y="1239"/>
                    </a:lnTo>
                    <a:lnTo>
                      <a:pt x="143" y="1232"/>
                    </a:lnTo>
                    <a:lnTo>
                      <a:pt x="145" y="1226"/>
                    </a:lnTo>
                    <a:lnTo>
                      <a:pt x="150" y="1216"/>
                    </a:lnTo>
                    <a:lnTo>
                      <a:pt x="153" y="1211"/>
                    </a:lnTo>
                    <a:lnTo>
                      <a:pt x="152" y="1211"/>
                    </a:lnTo>
                    <a:lnTo>
                      <a:pt x="152" y="1209"/>
                    </a:lnTo>
                    <a:lnTo>
                      <a:pt x="152" y="1206"/>
                    </a:lnTo>
                    <a:lnTo>
                      <a:pt x="153" y="1204"/>
                    </a:lnTo>
                    <a:lnTo>
                      <a:pt x="153" y="1203"/>
                    </a:lnTo>
                    <a:lnTo>
                      <a:pt x="155" y="1201"/>
                    </a:lnTo>
                    <a:lnTo>
                      <a:pt x="153" y="1199"/>
                    </a:lnTo>
                    <a:lnTo>
                      <a:pt x="150" y="1198"/>
                    </a:lnTo>
                    <a:lnTo>
                      <a:pt x="150" y="1193"/>
                    </a:lnTo>
                    <a:lnTo>
                      <a:pt x="148" y="1189"/>
                    </a:lnTo>
                    <a:lnTo>
                      <a:pt x="143" y="1186"/>
                    </a:lnTo>
                    <a:lnTo>
                      <a:pt x="140" y="1183"/>
                    </a:lnTo>
                    <a:lnTo>
                      <a:pt x="138" y="1181"/>
                    </a:lnTo>
                    <a:lnTo>
                      <a:pt x="133" y="1174"/>
                    </a:lnTo>
                    <a:lnTo>
                      <a:pt x="130" y="1174"/>
                    </a:lnTo>
                    <a:lnTo>
                      <a:pt x="127" y="1174"/>
                    </a:lnTo>
                    <a:lnTo>
                      <a:pt x="127" y="1173"/>
                    </a:lnTo>
                    <a:lnTo>
                      <a:pt x="128" y="1169"/>
                    </a:lnTo>
                    <a:lnTo>
                      <a:pt x="127" y="1166"/>
                    </a:lnTo>
                    <a:lnTo>
                      <a:pt x="125" y="1164"/>
                    </a:lnTo>
                    <a:lnTo>
                      <a:pt x="125" y="1163"/>
                    </a:lnTo>
                    <a:lnTo>
                      <a:pt x="127" y="1161"/>
                    </a:lnTo>
                    <a:lnTo>
                      <a:pt x="128" y="1159"/>
                    </a:lnTo>
                    <a:lnTo>
                      <a:pt x="128" y="1158"/>
                    </a:lnTo>
                    <a:lnTo>
                      <a:pt x="125" y="1156"/>
                    </a:lnTo>
                    <a:lnTo>
                      <a:pt x="123" y="1156"/>
                    </a:lnTo>
                    <a:lnTo>
                      <a:pt x="123" y="1153"/>
                    </a:lnTo>
                    <a:lnTo>
                      <a:pt x="127" y="1151"/>
                    </a:lnTo>
                    <a:lnTo>
                      <a:pt x="125" y="1134"/>
                    </a:lnTo>
                    <a:lnTo>
                      <a:pt x="127" y="1120"/>
                    </a:lnTo>
                    <a:lnTo>
                      <a:pt x="128" y="1106"/>
                    </a:lnTo>
                    <a:lnTo>
                      <a:pt x="127" y="1103"/>
                    </a:lnTo>
                    <a:lnTo>
                      <a:pt x="125" y="1100"/>
                    </a:lnTo>
                    <a:lnTo>
                      <a:pt x="128" y="1095"/>
                    </a:lnTo>
                    <a:lnTo>
                      <a:pt x="127" y="1091"/>
                    </a:lnTo>
                    <a:lnTo>
                      <a:pt x="125" y="1088"/>
                    </a:lnTo>
                    <a:lnTo>
                      <a:pt x="123" y="1080"/>
                    </a:lnTo>
                    <a:lnTo>
                      <a:pt x="118" y="1075"/>
                    </a:lnTo>
                    <a:lnTo>
                      <a:pt x="117" y="1066"/>
                    </a:lnTo>
                    <a:lnTo>
                      <a:pt x="118" y="1063"/>
                    </a:lnTo>
                    <a:lnTo>
                      <a:pt x="113" y="1050"/>
                    </a:lnTo>
                    <a:lnTo>
                      <a:pt x="115" y="1046"/>
                    </a:lnTo>
                    <a:lnTo>
                      <a:pt x="118" y="1041"/>
                    </a:lnTo>
                    <a:lnTo>
                      <a:pt x="117" y="1038"/>
                    </a:lnTo>
                    <a:lnTo>
                      <a:pt x="117" y="1033"/>
                    </a:lnTo>
                    <a:lnTo>
                      <a:pt x="112" y="1030"/>
                    </a:lnTo>
                    <a:lnTo>
                      <a:pt x="103" y="1030"/>
                    </a:lnTo>
                    <a:lnTo>
                      <a:pt x="95" y="1033"/>
                    </a:lnTo>
                    <a:lnTo>
                      <a:pt x="94" y="1033"/>
                    </a:lnTo>
                    <a:lnTo>
                      <a:pt x="85" y="1036"/>
                    </a:lnTo>
                    <a:lnTo>
                      <a:pt x="80" y="1041"/>
                    </a:lnTo>
                    <a:lnTo>
                      <a:pt x="74" y="1050"/>
                    </a:lnTo>
                    <a:lnTo>
                      <a:pt x="67" y="1053"/>
                    </a:lnTo>
                    <a:lnTo>
                      <a:pt x="59" y="1055"/>
                    </a:lnTo>
                    <a:lnTo>
                      <a:pt x="50" y="1055"/>
                    </a:lnTo>
                    <a:lnTo>
                      <a:pt x="49" y="1056"/>
                    </a:lnTo>
                    <a:lnTo>
                      <a:pt x="49" y="1053"/>
                    </a:lnTo>
                    <a:lnTo>
                      <a:pt x="52" y="1046"/>
                    </a:lnTo>
                    <a:lnTo>
                      <a:pt x="50" y="1041"/>
                    </a:lnTo>
                    <a:lnTo>
                      <a:pt x="44" y="1017"/>
                    </a:lnTo>
                    <a:lnTo>
                      <a:pt x="39" y="1005"/>
                    </a:lnTo>
                    <a:lnTo>
                      <a:pt x="37" y="998"/>
                    </a:lnTo>
                    <a:lnTo>
                      <a:pt x="42" y="990"/>
                    </a:lnTo>
                    <a:lnTo>
                      <a:pt x="30" y="988"/>
                    </a:lnTo>
                    <a:lnTo>
                      <a:pt x="20" y="993"/>
                    </a:lnTo>
                    <a:lnTo>
                      <a:pt x="15" y="990"/>
                    </a:lnTo>
                    <a:lnTo>
                      <a:pt x="0" y="990"/>
                    </a:lnTo>
                    <a:lnTo>
                      <a:pt x="281" y="527"/>
                    </a:lnTo>
                    <a:lnTo>
                      <a:pt x="281" y="530"/>
                    </a:lnTo>
                    <a:lnTo>
                      <a:pt x="285" y="530"/>
                    </a:lnTo>
                    <a:lnTo>
                      <a:pt x="298" y="538"/>
                    </a:lnTo>
                    <a:lnTo>
                      <a:pt x="303" y="540"/>
                    </a:lnTo>
                    <a:lnTo>
                      <a:pt x="306" y="543"/>
                    </a:lnTo>
                    <a:lnTo>
                      <a:pt x="308" y="546"/>
                    </a:lnTo>
                    <a:lnTo>
                      <a:pt x="309" y="545"/>
                    </a:lnTo>
                    <a:lnTo>
                      <a:pt x="314" y="548"/>
                    </a:lnTo>
                    <a:lnTo>
                      <a:pt x="314" y="553"/>
                    </a:lnTo>
                    <a:lnTo>
                      <a:pt x="321" y="558"/>
                    </a:lnTo>
                    <a:lnTo>
                      <a:pt x="319" y="560"/>
                    </a:lnTo>
                    <a:lnTo>
                      <a:pt x="319" y="561"/>
                    </a:lnTo>
                    <a:lnTo>
                      <a:pt x="318" y="566"/>
                    </a:lnTo>
                    <a:lnTo>
                      <a:pt x="319" y="571"/>
                    </a:lnTo>
                    <a:lnTo>
                      <a:pt x="323" y="573"/>
                    </a:lnTo>
                    <a:lnTo>
                      <a:pt x="324" y="570"/>
                    </a:lnTo>
                    <a:lnTo>
                      <a:pt x="324" y="571"/>
                    </a:lnTo>
                    <a:lnTo>
                      <a:pt x="326" y="578"/>
                    </a:lnTo>
                    <a:lnTo>
                      <a:pt x="328" y="585"/>
                    </a:lnTo>
                    <a:lnTo>
                      <a:pt x="334" y="591"/>
                    </a:lnTo>
                    <a:lnTo>
                      <a:pt x="339" y="595"/>
                    </a:lnTo>
                    <a:lnTo>
                      <a:pt x="341" y="593"/>
                    </a:lnTo>
                    <a:lnTo>
                      <a:pt x="344" y="595"/>
                    </a:lnTo>
                    <a:lnTo>
                      <a:pt x="344" y="600"/>
                    </a:lnTo>
                    <a:lnTo>
                      <a:pt x="348" y="600"/>
                    </a:lnTo>
                    <a:lnTo>
                      <a:pt x="349" y="600"/>
                    </a:lnTo>
                    <a:lnTo>
                      <a:pt x="354" y="606"/>
                    </a:lnTo>
                    <a:lnTo>
                      <a:pt x="354" y="613"/>
                    </a:lnTo>
                    <a:lnTo>
                      <a:pt x="358" y="613"/>
                    </a:lnTo>
                    <a:lnTo>
                      <a:pt x="359" y="616"/>
                    </a:lnTo>
                    <a:lnTo>
                      <a:pt x="363" y="616"/>
                    </a:lnTo>
                    <a:lnTo>
                      <a:pt x="369" y="623"/>
                    </a:lnTo>
                    <a:lnTo>
                      <a:pt x="369" y="626"/>
                    </a:lnTo>
                    <a:lnTo>
                      <a:pt x="371" y="628"/>
                    </a:lnTo>
                    <a:lnTo>
                      <a:pt x="371" y="631"/>
                    </a:lnTo>
                    <a:lnTo>
                      <a:pt x="366" y="636"/>
                    </a:lnTo>
                    <a:lnTo>
                      <a:pt x="363" y="639"/>
                    </a:lnTo>
                    <a:lnTo>
                      <a:pt x="373" y="633"/>
                    </a:lnTo>
                    <a:lnTo>
                      <a:pt x="376" y="630"/>
                    </a:lnTo>
                    <a:lnTo>
                      <a:pt x="379" y="631"/>
                    </a:lnTo>
                    <a:lnTo>
                      <a:pt x="379" y="625"/>
                    </a:lnTo>
                    <a:lnTo>
                      <a:pt x="379" y="613"/>
                    </a:lnTo>
                    <a:lnTo>
                      <a:pt x="379" y="606"/>
                    </a:lnTo>
                    <a:lnTo>
                      <a:pt x="383" y="601"/>
                    </a:lnTo>
                    <a:lnTo>
                      <a:pt x="389" y="600"/>
                    </a:lnTo>
                    <a:lnTo>
                      <a:pt x="396" y="596"/>
                    </a:lnTo>
                    <a:lnTo>
                      <a:pt x="401" y="593"/>
                    </a:lnTo>
                    <a:lnTo>
                      <a:pt x="404" y="591"/>
                    </a:lnTo>
                    <a:lnTo>
                      <a:pt x="407" y="590"/>
                    </a:lnTo>
                    <a:lnTo>
                      <a:pt x="411" y="590"/>
                    </a:lnTo>
                    <a:lnTo>
                      <a:pt x="414" y="588"/>
                    </a:lnTo>
                    <a:lnTo>
                      <a:pt x="419" y="588"/>
                    </a:lnTo>
                    <a:lnTo>
                      <a:pt x="421" y="588"/>
                    </a:lnTo>
                    <a:lnTo>
                      <a:pt x="426" y="588"/>
                    </a:lnTo>
                    <a:lnTo>
                      <a:pt x="427" y="590"/>
                    </a:lnTo>
                    <a:lnTo>
                      <a:pt x="434" y="583"/>
                    </a:lnTo>
                    <a:lnTo>
                      <a:pt x="436" y="578"/>
                    </a:lnTo>
                    <a:lnTo>
                      <a:pt x="439" y="578"/>
                    </a:lnTo>
                    <a:lnTo>
                      <a:pt x="444" y="580"/>
                    </a:lnTo>
                    <a:lnTo>
                      <a:pt x="446" y="578"/>
                    </a:lnTo>
                    <a:lnTo>
                      <a:pt x="446" y="576"/>
                    </a:lnTo>
                    <a:lnTo>
                      <a:pt x="449" y="576"/>
                    </a:lnTo>
                    <a:lnTo>
                      <a:pt x="451" y="578"/>
                    </a:lnTo>
                    <a:lnTo>
                      <a:pt x="464" y="576"/>
                    </a:lnTo>
                    <a:lnTo>
                      <a:pt x="476" y="573"/>
                    </a:lnTo>
                    <a:lnTo>
                      <a:pt x="481" y="571"/>
                    </a:lnTo>
                    <a:lnTo>
                      <a:pt x="482" y="571"/>
                    </a:lnTo>
                    <a:lnTo>
                      <a:pt x="486" y="575"/>
                    </a:lnTo>
                    <a:lnTo>
                      <a:pt x="489" y="573"/>
                    </a:lnTo>
                    <a:lnTo>
                      <a:pt x="491" y="568"/>
                    </a:lnTo>
                    <a:lnTo>
                      <a:pt x="497" y="565"/>
                    </a:lnTo>
                    <a:lnTo>
                      <a:pt x="502" y="565"/>
                    </a:lnTo>
                    <a:lnTo>
                      <a:pt x="504" y="566"/>
                    </a:lnTo>
                    <a:lnTo>
                      <a:pt x="507" y="566"/>
                    </a:lnTo>
                    <a:lnTo>
                      <a:pt x="507" y="570"/>
                    </a:lnTo>
                    <a:lnTo>
                      <a:pt x="512" y="568"/>
                    </a:lnTo>
                    <a:lnTo>
                      <a:pt x="512" y="565"/>
                    </a:lnTo>
                    <a:lnTo>
                      <a:pt x="514" y="563"/>
                    </a:lnTo>
                    <a:lnTo>
                      <a:pt x="517" y="565"/>
                    </a:lnTo>
                    <a:lnTo>
                      <a:pt x="517" y="570"/>
                    </a:lnTo>
                    <a:lnTo>
                      <a:pt x="520" y="571"/>
                    </a:lnTo>
                    <a:lnTo>
                      <a:pt x="517" y="573"/>
                    </a:lnTo>
                    <a:lnTo>
                      <a:pt x="515" y="573"/>
                    </a:lnTo>
                    <a:lnTo>
                      <a:pt x="514" y="578"/>
                    </a:lnTo>
                    <a:lnTo>
                      <a:pt x="504" y="580"/>
                    </a:lnTo>
                    <a:lnTo>
                      <a:pt x="494" y="583"/>
                    </a:lnTo>
                    <a:lnTo>
                      <a:pt x="491" y="586"/>
                    </a:lnTo>
                    <a:lnTo>
                      <a:pt x="486" y="588"/>
                    </a:lnTo>
                    <a:lnTo>
                      <a:pt x="481" y="588"/>
                    </a:lnTo>
                    <a:lnTo>
                      <a:pt x="477" y="590"/>
                    </a:lnTo>
                    <a:lnTo>
                      <a:pt x="476" y="590"/>
                    </a:lnTo>
                    <a:lnTo>
                      <a:pt x="474" y="586"/>
                    </a:lnTo>
                    <a:lnTo>
                      <a:pt x="466" y="590"/>
                    </a:lnTo>
                    <a:lnTo>
                      <a:pt x="459" y="590"/>
                    </a:lnTo>
                    <a:lnTo>
                      <a:pt x="457" y="591"/>
                    </a:lnTo>
                    <a:lnTo>
                      <a:pt x="449" y="591"/>
                    </a:lnTo>
                    <a:lnTo>
                      <a:pt x="444" y="593"/>
                    </a:lnTo>
                    <a:lnTo>
                      <a:pt x="441" y="598"/>
                    </a:lnTo>
                    <a:lnTo>
                      <a:pt x="429" y="601"/>
                    </a:lnTo>
                    <a:lnTo>
                      <a:pt x="427" y="600"/>
                    </a:lnTo>
                    <a:lnTo>
                      <a:pt x="422" y="605"/>
                    </a:lnTo>
                    <a:lnTo>
                      <a:pt x="421" y="606"/>
                    </a:lnTo>
                    <a:lnTo>
                      <a:pt x="417" y="608"/>
                    </a:lnTo>
                    <a:lnTo>
                      <a:pt x="416" y="606"/>
                    </a:lnTo>
                    <a:lnTo>
                      <a:pt x="411" y="610"/>
                    </a:lnTo>
                    <a:lnTo>
                      <a:pt x="407" y="615"/>
                    </a:lnTo>
                    <a:lnTo>
                      <a:pt x="404" y="615"/>
                    </a:lnTo>
                    <a:lnTo>
                      <a:pt x="402" y="618"/>
                    </a:lnTo>
                    <a:lnTo>
                      <a:pt x="406" y="623"/>
                    </a:lnTo>
                    <a:lnTo>
                      <a:pt x="411" y="625"/>
                    </a:lnTo>
                    <a:lnTo>
                      <a:pt x="406" y="620"/>
                    </a:lnTo>
                    <a:lnTo>
                      <a:pt x="407" y="618"/>
                    </a:lnTo>
                    <a:lnTo>
                      <a:pt x="411" y="620"/>
                    </a:lnTo>
                    <a:lnTo>
                      <a:pt x="414" y="618"/>
                    </a:lnTo>
                    <a:lnTo>
                      <a:pt x="417" y="620"/>
                    </a:lnTo>
                    <a:lnTo>
                      <a:pt x="416" y="616"/>
                    </a:lnTo>
                    <a:lnTo>
                      <a:pt x="422" y="610"/>
                    </a:lnTo>
                    <a:lnTo>
                      <a:pt x="431" y="608"/>
                    </a:lnTo>
                    <a:lnTo>
                      <a:pt x="434" y="608"/>
                    </a:lnTo>
                    <a:lnTo>
                      <a:pt x="447" y="601"/>
                    </a:lnTo>
                    <a:lnTo>
                      <a:pt x="449" y="596"/>
                    </a:lnTo>
                    <a:lnTo>
                      <a:pt x="452" y="596"/>
                    </a:lnTo>
                    <a:lnTo>
                      <a:pt x="456" y="600"/>
                    </a:lnTo>
                    <a:lnTo>
                      <a:pt x="459" y="596"/>
                    </a:lnTo>
                    <a:lnTo>
                      <a:pt x="462" y="596"/>
                    </a:lnTo>
                    <a:lnTo>
                      <a:pt x="462" y="598"/>
                    </a:lnTo>
                    <a:lnTo>
                      <a:pt x="471" y="595"/>
                    </a:lnTo>
                    <a:lnTo>
                      <a:pt x="472" y="596"/>
                    </a:lnTo>
                    <a:lnTo>
                      <a:pt x="466" y="603"/>
                    </a:lnTo>
                    <a:lnTo>
                      <a:pt x="467" y="606"/>
                    </a:lnTo>
                    <a:lnTo>
                      <a:pt x="472" y="600"/>
                    </a:lnTo>
                    <a:lnTo>
                      <a:pt x="479" y="598"/>
                    </a:lnTo>
                    <a:lnTo>
                      <a:pt x="494" y="588"/>
                    </a:lnTo>
                    <a:lnTo>
                      <a:pt x="500" y="588"/>
                    </a:lnTo>
                    <a:lnTo>
                      <a:pt x="507" y="585"/>
                    </a:lnTo>
                    <a:lnTo>
                      <a:pt x="515" y="585"/>
                    </a:lnTo>
                    <a:lnTo>
                      <a:pt x="519" y="583"/>
                    </a:lnTo>
                    <a:lnTo>
                      <a:pt x="524" y="583"/>
                    </a:lnTo>
                    <a:lnTo>
                      <a:pt x="522" y="586"/>
                    </a:lnTo>
                    <a:lnTo>
                      <a:pt x="515" y="590"/>
                    </a:lnTo>
                    <a:lnTo>
                      <a:pt x="515" y="593"/>
                    </a:lnTo>
                    <a:lnTo>
                      <a:pt x="520" y="595"/>
                    </a:lnTo>
                    <a:lnTo>
                      <a:pt x="525" y="590"/>
                    </a:lnTo>
                    <a:lnTo>
                      <a:pt x="537" y="585"/>
                    </a:lnTo>
                    <a:lnTo>
                      <a:pt x="539" y="585"/>
                    </a:lnTo>
                    <a:lnTo>
                      <a:pt x="539" y="581"/>
                    </a:lnTo>
                    <a:lnTo>
                      <a:pt x="544" y="578"/>
                    </a:lnTo>
                    <a:lnTo>
                      <a:pt x="547" y="580"/>
                    </a:lnTo>
                    <a:lnTo>
                      <a:pt x="547" y="576"/>
                    </a:lnTo>
                    <a:lnTo>
                      <a:pt x="549" y="575"/>
                    </a:lnTo>
                    <a:lnTo>
                      <a:pt x="552" y="576"/>
                    </a:lnTo>
                    <a:lnTo>
                      <a:pt x="555" y="578"/>
                    </a:lnTo>
                    <a:lnTo>
                      <a:pt x="557" y="571"/>
                    </a:lnTo>
                    <a:lnTo>
                      <a:pt x="555" y="566"/>
                    </a:lnTo>
                    <a:lnTo>
                      <a:pt x="557" y="565"/>
                    </a:lnTo>
                    <a:lnTo>
                      <a:pt x="555" y="561"/>
                    </a:lnTo>
                    <a:lnTo>
                      <a:pt x="559" y="555"/>
                    </a:lnTo>
                    <a:lnTo>
                      <a:pt x="565" y="553"/>
                    </a:lnTo>
                    <a:lnTo>
                      <a:pt x="565" y="558"/>
                    </a:lnTo>
                    <a:lnTo>
                      <a:pt x="567" y="575"/>
                    </a:lnTo>
                    <a:lnTo>
                      <a:pt x="564" y="580"/>
                    </a:lnTo>
                    <a:lnTo>
                      <a:pt x="565" y="593"/>
                    </a:lnTo>
                    <a:lnTo>
                      <a:pt x="560" y="601"/>
                    </a:lnTo>
                    <a:lnTo>
                      <a:pt x="560" y="621"/>
                    </a:lnTo>
                    <a:lnTo>
                      <a:pt x="562" y="626"/>
                    </a:lnTo>
                    <a:lnTo>
                      <a:pt x="569" y="628"/>
                    </a:lnTo>
                    <a:lnTo>
                      <a:pt x="572" y="635"/>
                    </a:lnTo>
                    <a:lnTo>
                      <a:pt x="579" y="631"/>
                    </a:lnTo>
                    <a:lnTo>
                      <a:pt x="577" y="628"/>
                    </a:lnTo>
                    <a:lnTo>
                      <a:pt x="572" y="628"/>
                    </a:lnTo>
                    <a:lnTo>
                      <a:pt x="570" y="625"/>
                    </a:lnTo>
                    <a:lnTo>
                      <a:pt x="575" y="623"/>
                    </a:lnTo>
                    <a:lnTo>
                      <a:pt x="580" y="625"/>
                    </a:lnTo>
                    <a:lnTo>
                      <a:pt x="580" y="620"/>
                    </a:lnTo>
                    <a:lnTo>
                      <a:pt x="579" y="618"/>
                    </a:lnTo>
                    <a:lnTo>
                      <a:pt x="584" y="615"/>
                    </a:lnTo>
                    <a:lnTo>
                      <a:pt x="589" y="615"/>
                    </a:lnTo>
                    <a:lnTo>
                      <a:pt x="590" y="618"/>
                    </a:lnTo>
                    <a:lnTo>
                      <a:pt x="593" y="615"/>
                    </a:lnTo>
                    <a:lnTo>
                      <a:pt x="589" y="606"/>
                    </a:lnTo>
                    <a:lnTo>
                      <a:pt x="593" y="608"/>
                    </a:lnTo>
                    <a:lnTo>
                      <a:pt x="602" y="603"/>
                    </a:lnTo>
                    <a:lnTo>
                      <a:pt x="602" y="598"/>
                    </a:lnTo>
                    <a:lnTo>
                      <a:pt x="608" y="598"/>
                    </a:lnTo>
                    <a:lnTo>
                      <a:pt x="608" y="603"/>
                    </a:lnTo>
                    <a:lnTo>
                      <a:pt x="608" y="606"/>
                    </a:lnTo>
                    <a:lnTo>
                      <a:pt x="605" y="610"/>
                    </a:lnTo>
                    <a:lnTo>
                      <a:pt x="605" y="611"/>
                    </a:lnTo>
                    <a:lnTo>
                      <a:pt x="600" y="616"/>
                    </a:lnTo>
                    <a:lnTo>
                      <a:pt x="600" y="618"/>
                    </a:lnTo>
                    <a:lnTo>
                      <a:pt x="602" y="620"/>
                    </a:lnTo>
                    <a:lnTo>
                      <a:pt x="605" y="620"/>
                    </a:lnTo>
                    <a:lnTo>
                      <a:pt x="607" y="621"/>
                    </a:lnTo>
                    <a:lnTo>
                      <a:pt x="605" y="623"/>
                    </a:lnTo>
                    <a:lnTo>
                      <a:pt x="602" y="625"/>
                    </a:lnTo>
                    <a:lnTo>
                      <a:pt x="597" y="628"/>
                    </a:lnTo>
                    <a:lnTo>
                      <a:pt x="595" y="628"/>
                    </a:lnTo>
                    <a:lnTo>
                      <a:pt x="593" y="630"/>
                    </a:lnTo>
                    <a:lnTo>
                      <a:pt x="589" y="635"/>
                    </a:lnTo>
                    <a:lnTo>
                      <a:pt x="592" y="636"/>
                    </a:lnTo>
                    <a:lnTo>
                      <a:pt x="598" y="638"/>
                    </a:lnTo>
                    <a:lnTo>
                      <a:pt x="603" y="641"/>
                    </a:lnTo>
                    <a:lnTo>
                      <a:pt x="607" y="639"/>
                    </a:lnTo>
                    <a:lnTo>
                      <a:pt x="612" y="636"/>
                    </a:lnTo>
                    <a:lnTo>
                      <a:pt x="617" y="636"/>
                    </a:lnTo>
                    <a:lnTo>
                      <a:pt x="622" y="628"/>
                    </a:lnTo>
                    <a:lnTo>
                      <a:pt x="627" y="623"/>
                    </a:lnTo>
                    <a:lnTo>
                      <a:pt x="632" y="621"/>
                    </a:lnTo>
                    <a:lnTo>
                      <a:pt x="635" y="625"/>
                    </a:lnTo>
                    <a:lnTo>
                      <a:pt x="640" y="625"/>
                    </a:lnTo>
                    <a:lnTo>
                      <a:pt x="643" y="628"/>
                    </a:lnTo>
                    <a:lnTo>
                      <a:pt x="648" y="628"/>
                    </a:lnTo>
                    <a:lnTo>
                      <a:pt x="655" y="631"/>
                    </a:lnTo>
                    <a:lnTo>
                      <a:pt x="658" y="631"/>
                    </a:lnTo>
                    <a:lnTo>
                      <a:pt x="658" y="636"/>
                    </a:lnTo>
                    <a:lnTo>
                      <a:pt x="663" y="646"/>
                    </a:lnTo>
                    <a:lnTo>
                      <a:pt x="663" y="651"/>
                    </a:lnTo>
                    <a:lnTo>
                      <a:pt x="668" y="659"/>
                    </a:lnTo>
                    <a:lnTo>
                      <a:pt x="688" y="671"/>
                    </a:lnTo>
                    <a:lnTo>
                      <a:pt x="690" y="674"/>
                    </a:lnTo>
                    <a:lnTo>
                      <a:pt x="696" y="678"/>
                    </a:lnTo>
                    <a:lnTo>
                      <a:pt x="703" y="684"/>
                    </a:lnTo>
                    <a:lnTo>
                      <a:pt x="705" y="684"/>
                    </a:lnTo>
                    <a:lnTo>
                      <a:pt x="710" y="688"/>
                    </a:lnTo>
                    <a:lnTo>
                      <a:pt x="711" y="691"/>
                    </a:lnTo>
                    <a:lnTo>
                      <a:pt x="715" y="693"/>
                    </a:lnTo>
                    <a:lnTo>
                      <a:pt x="718" y="691"/>
                    </a:lnTo>
                    <a:lnTo>
                      <a:pt x="720" y="694"/>
                    </a:lnTo>
                    <a:lnTo>
                      <a:pt x="726" y="698"/>
                    </a:lnTo>
                    <a:lnTo>
                      <a:pt x="730" y="698"/>
                    </a:lnTo>
                    <a:lnTo>
                      <a:pt x="730" y="703"/>
                    </a:lnTo>
                    <a:lnTo>
                      <a:pt x="733" y="706"/>
                    </a:lnTo>
                    <a:lnTo>
                      <a:pt x="735" y="703"/>
                    </a:lnTo>
                    <a:lnTo>
                      <a:pt x="733" y="699"/>
                    </a:lnTo>
                    <a:lnTo>
                      <a:pt x="735" y="698"/>
                    </a:lnTo>
                    <a:lnTo>
                      <a:pt x="730" y="694"/>
                    </a:lnTo>
                    <a:lnTo>
                      <a:pt x="730" y="691"/>
                    </a:lnTo>
                    <a:lnTo>
                      <a:pt x="736" y="694"/>
                    </a:lnTo>
                    <a:lnTo>
                      <a:pt x="738" y="698"/>
                    </a:lnTo>
                    <a:lnTo>
                      <a:pt x="741" y="698"/>
                    </a:lnTo>
                    <a:lnTo>
                      <a:pt x="741" y="694"/>
                    </a:lnTo>
                    <a:lnTo>
                      <a:pt x="745" y="694"/>
                    </a:lnTo>
                    <a:lnTo>
                      <a:pt x="750" y="699"/>
                    </a:lnTo>
                    <a:lnTo>
                      <a:pt x="751" y="703"/>
                    </a:lnTo>
                    <a:lnTo>
                      <a:pt x="755" y="704"/>
                    </a:lnTo>
                    <a:lnTo>
                      <a:pt x="758" y="709"/>
                    </a:lnTo>
                    <a:lnTo>
                      <a:pt x="760" y="713"/>
                    </a:lnTo>
                    <a:lnTo>
                      <a:pt x="760" y="719"/>
                    </a:lnTo>
                    <a:lnTo>
                      <a:pt x="763" y="724"/>
                    </a:lnTo>
                    <a:lnTo>
                      <a:pt x="760" y="728"/>
                    </a:lnTo>
                    <a:lnTo>
                      <a:pt x="760" y="733"/>
                    </a:lnTo>
                    <a:lnTo>
                      <a:pt x="755" y="737"/>
                    </a:lnTo>
                    <a:lnTo>
                      <a:pt x="745" y="734"/>
                    </a:lnTo>
                    <a:lnTo>
                      <a:pt x="738" y="733"/>
                    </a:lnTo>
                    <a:lnTo>
                      <a:pt x="738" y="736"/>
                    </a:lnTo>
                    <a:lnTo>
                      <a:pt x="736" y="736"/>
                    </a:lnTo>
                    <a:lnTo>
                      <a:pt x="731" y="734"/>
                    </a:lnTo>
                    <a:lnTo>
                      <a:pt x="726" y="734"/>
                    </a:lnTo>
                    <a:lnTo>
                      <a:pt x="728" y="737"/>
                    </a:lnTo>
                    <a:lnTo>
                      <a:pt x="723" y="739"/>
                    </a:lnTo>
                    <a:lnTo>
                      <a:pt x="723" y="744"/>
                    </a:lnTo>
                    <a:lnTo>
                      <a:pt x="718" y="744"/>
                    </a:lnTo>
                    <a:lnTo>
                      <a:pt x="713" y="746"/>
                    </a:lnTo>
                    <a:lnTo>
                      <a:pt x="716" y="747"/>
                    </a:lnTo>
                    <a:lnTo>
                      <a:pt x="720" y="749"/>
                    </a:lnTo>
                    <a:lnTo>
                      <a:pt x="721" y="754"/>
                    </a:lnTo>
                    <a:lnTo>
                      <a:pt x="726" y="757"/>
                    </a:lnTo>
                    <a:lnTo>
                      <a:pt x="728" y="756"/>
                    </a:lnTo>
                    <a:lnTo>
                      <a:pt x="735" y="759"/>
                    </a:lnTo>
                    <a:lnTo>
                      <a:pt x="735" y="764"/>
                    </a:lnTo>
                    <a:lnTo>
                      <a:pt x="741" y="764"/>
                    </a:lnTo>
                    <a:lnTo>
                      <a:pt x="748" y="767"/>
                    </a:lnTo>
                    <a:lnTo>
                      <a:pt x="756" y="767"/>
                    </a:lnTo>
                    <a:lnTo>
                      <a:pt x="766" y="772"/>
                    </a:lnTo>
                    <a:lnTo>
                      <a:pt x="773" y="772"/>
                    </a:lnTo>
                    <a:lnTo>
                      <a:pt x="773" y="771"/>
                    </a:lnTo>
                    <a:lnTo>
                      <a:pt x="776" y="771"/>
                    </a:lnTo>
                    <a:lnTo>
                      <a:pt x="780" y="772"/>
                    </a:lnTo>
                    <a:lnTo>
                      <a:pt x="780" y="776"/>
                    </a:lnTo>
                    <a:lnTo>
                      <a:pt x="786" y="771"/>
                    </a:lnTo>
                    <a:lnTo>
                      <a:pt x="790" y="772"/>
                    </a:lnTo>
                    <a:lnTo>
                      <a:pt x="791" y="772"/>
                    </a:lnTo>
                    <a:lnTo>
                      <a:pt x="794" y="769"/>
                    </a:lnTo>
                    <a:lnTo>
                      <a:pt x="798" y="769"/>
                    </a:lnTo>
                    <a:lnTo>
                      <a:pt x="798" y="771"/>
                    </a:lnTo>
                    <a:lnTo>
                      <a:pt x="799" y="772"/>
                    </a:lnTo>
                    <a:lnTo>
                      <a:pt x="808" y="769"/>
                    </a:lnTo>
                    <a:lnTo>
                      <a:pt x="821" y="764"/>
                    </a:lnTo>
                    <a:lnTo>
                      <a:pt x="824" y="764"/>
                    </a:lnTo>
                    <a:lnTo>
                      <a:pt x="824" y="767"/>
                    </a:lnTo>
                    <a:lnTo>
                      <a:pt x="823" y="771"/>
                    </a:lnTo>
                    <a:lnTo>
                      <a:pt x="823" y="771"/>
                    </a:lnTo>
                    <a:lnTo>
                      <a:pt x="826" y="772"/>
                    </a:lnTo>
                    <a:lnTo>
                      <a:pt x="826" y="776"/>
                    </a:lnTo>
                    <a:lnTo>
                      <a:pt x="824" y="779"/>
                    </a:lnTo>
                    <a:lnTo>
                      <a:pt x="826" y="782"/>
                    </a:lnTo>
                    <a:lnTo>
                      <a:pt x="828" y="782"/>
                    </a:lnTo>
                    <a:lnTo>
                      <a:pt x="831" y="781"/>
                    </a:lnTo>
                    <a:lnTo>
                      <a:pt x="834" y="782"/>
                    </a:lnTo>
                    <a:lnTo>
                      <a:pt x="833" y="786"/>
                    </a:lnTo>
                    <a:lnTo>
                      <a:pt x="829" y="794"/>
                    </a:lnTo>
                    <a:lnTo>
                      <a:pt x="831" y="797"/>
                    </a:lnTo>
                    <a:lnTo>
                      <a:pt x="833" y="799"/>
                    </a:lnTo>
                    <a:lnTo>
                      <a:pt x="836" y="796"/>
                    </a:lnTo>
                    <a:lnTo>
                      <a:pt x="836" y="791"/>
                    </a:lnTo>
                    <a:lnTo>
                      <a:pt x="838" y="787"/>
                    </a:lnTo>
                    <a:lnTo>
                      <a:pt x="839" y="787"/>
                    </a:lnTo>
                    <a:lnTo>
                      <a:pt x="839" y="794"/>
                    </a:lnTo>
                    <a:lnTo>
                      <a:pt x="836" y="801"/>
                    </a:lnTo>
                    <a:lnTo>
                      <a:pt x="833" y="806"/>
                    </a:lnTo>
                    <a:lnTo>
                      <a:pt x="833" y="812"/>
                    </a:lnTo>
                    <a:lnTo>
                      <a:pt x="836" y="817"/>
                    </a:lnTo>
                    <a:lnTo>
                      <a:pt x="836" y="826"/>
                    </a:lnTo>
                    <a:lnTo>
                      <a:pt x="834" y="831"/>
                    </a:lnTo>
                    <a:lnTo>
                      <a:pt x="839" y="834"/>
                    </a:lnTo>
                    <a:lnTo>
                      <a:pt x="839" y="837"/>
                    </a:lnTo>
                    <a:lnTo>
                      <a:pt x="836" y="840"/>
                    </a:lnTo>
                    <a:lnTo>
                      <a:pt x="839" y="842"/>
                    </a:lnTo>
                    <a:lnTo>
                      <a:pt x="841" y="849"/>
                    </a:lnTo>
                    <a:lnTo>
                      <a:pt x="843" y="862"/>
                    </a:lnTo>
                    <a:lnTo>
                      <a:pt x="843" y="849"/>
                    </a:lnTo>
                    <a:lnTo>
                      <a:pt x="839" y="839"/>
                    </a:lnTo>
                    <a:lnTo>
                      <a:pt x="841" y="829"/>
                    </a:lnTo>
                    <a:lnTo>
                      <a:pt x="848" y="819"/>
                    </a:lnTo>
                    <a:lnTo>
                      <a:pt x="851" y="821"/>
                    </a:lnTo>
                    <a:lnTo>
                      <a:pt x="851" y="824"/>
                    </a:lnTo>
                    <a:lnTo>
                      <a:pt x="849" y="824"/>
                    </a:lnTo>
                    <a:lnTo>
                      <a:pt x="848" y="827"/>
                    </a:lnTo>
                    <a:lnTo>
                      <a:pt x="849" y="829"/>
                    </a:lnTo>
                    <a:lnTo>
                      <a:pt x="853" y="827"/>
                    </a:lnTo>
                    <a:lnTo>
                      <a:pt x="854" y="829"/>
                    </a:lnTo>
                    <a:lnTo>
                      <a:pt x="856" y="827"/>
                    </a:lnTo>
                    <a:lnTo>
                      <a:pt x="856" y="822"/>
                    </a:lnTo>
                    <a:lnTo>
                      <a:pt x="853" y="819"/>
                    </a:lnTo>
                    <a:lnTo>
                      <a:pt x="853" y="816"/>
                    </a:lnTo>
                    <a:lnTo>
                      <a:pt x="858" y="816"/>
                    </a:lnTo>
                    <a:lnTo>
                      <a:pt x="859" y="812"/>
                    </a:lnTo>
                    <a:lnTo>
                      <a:pt x="854" y="809"/>
                    </a:lnTo>
                    <a:lnTo>
                      <a:pt x="854" y="806"/>
                    </a:lnTo>
                    <a:lnTo>
                      <a:pt x="858" y="799"/>
                    </a:lnTo>
                    <a:lnTo>
                      <a:pt x="861" y="787"/>
                    </a:lnTo>
                    <a:lnTo>
                      <a:pt x="861" y="784"/>
                    </a:lnTo>
                    <a:lnTo>
                      <a:pt x="861" y="781"/>
                    </a:lnTo>
                    <a:lnTo>
                      <a:pt x="863" y="777"/>
                    </a:lnTo>
                    <a:lnTo>
                      <a:pt x="871" y="777"/>
                    </a:lnTo>
                    <a:lnTo>
                      <a:pt x="871" y="776"/>
                    </a:lnTo>
                    <a:lnTo>
                      <a:pt x="873" y="774"/>
                    </a:lnTo>
                    <a:lnTo>
                      <a:pt x="876" y="772"/>
                    </a:lnTo>
                    <a:lnTo>
                      <a:pt x="878" y="776"/>
                    </a:lnTo>
                    <a:lnTo>
                      <a:pt x="881" y="774"/>
                    </a:lnTo>
                    <a:lnTo>
                      <a:pt x="884" y="771"/>
                    </a:lnTo>
                    <a:lnTo>
                      <a:pt x="888" y="769"/>
                    </a:lnTo>
                    <a:lnTo>
                      <a:pt x="888" y="772"/>
                    </a:lnTo>
                    <a:lnTo>
                      <a:pt x="889" y="772"/>
                    </a:lnTo>
                    <a:lnTo>
                      <a:pt x="894" y="771"/>
                    </a:lnTo>
                    <a:lnTo>
                      <a:pt x="897" y="767"/>
                    </a:lnTo>
                    <a:lnTo>
                      <a:pt x="899" y="767"/>
                    </a:lnTo>
                    <a:lnTo>
                      <a:pt x="901" y="771"/>
                    </a:lnTo>
                    <a:lnTo>
                      <a:pt x="904" y="771"/>
                    </a:lnTo>
                    <a:lnTo>
                      <a:pt x="904" y="776"/>
                    </a:lnTo>
                    <a:lnTo>
                      <a:pt x="904" y="771"/>
                    </a:lnTo>
                    <a:lnTo>
                      <a:pt x="902" y="766"/>
                    </a:lnTo>
                    <a:lnTo>
                      <a:pt x="907" y="759"/>
                    </a:lnTo>
                    <a:lnTo>
                      <a:pt x="911" y="759"/>
                    </a:lnTo>
                    <a:lnTo>
                      <a:pt x="912" y="761"/>
                    </a:lnTo>
                    <a:lnTo>
                      <a:pt x="916" y="761"/>
                    </a:lnTo>
                    <a:lnTo>
                      <a:pt x="919" y="759"/>
                    </a:lnTo>
                    <a:lnTo>
                      <a:pt x="922" y="761"/>
                    </a:lnTo>
                    <a:lnTo>
                      <a:pt x="927" y="756"/>
                    </a:lnTo>
                    <a:lnTo>
                      <a:pt x="926" y="752"/>
                    </a:lnTo>
                    <a:lnTo>
                      <a:pt x="929" y="749"/>
                    </a:lnTo>
                    <a:lnTo>
                      <a:pt x="924" y="749"/>
                    </a:lnTo>
                    <a:lnTo>
                      <a:pt x="924" y="747"/>
                    </a:lnTo>
                    <a:lnTo>
                      <a:pt x="921" y="747"/>
                    </a:lnTo>
                    <a:lnTo>
                      <a:pt x="911" y="751"/>
                    </a:lnTo>
                    <a:lnTo>
                      <a:pt x="907" y="751"/>
                    </a:lnTo>
                    <a:lnTo>
                      <a:pt x="906" y="754"/>
                    </a:lnTo>
                    <a:lnTo>
                      <a:pt x="902" y="754"/>
                    </a:lnTo>
                    <a:lnTo>
                      <a:pt x="902" y="757"/>
                    </a:lnTo>
                    <a:lnTo>
                      <a:pt x="901" y="759"/>
                    </a:lnTo>
                    <a:lnTo>
                      <a:pt x="897" y="754"/>
                    </a:lnTo>
                    <a:lnTo>
                      <a:pt x="897" y="751"/>
                    </a:lnTo>
                    <a:lnTo>
                      <a:pt x="894" y="754"/>
                    </a:lnTo>
                    <a:lnTo>
                      <a:pt x="894" y="757"/>
                    </a:lnTo>
                    <a:lnTo>
                      <a:pt x="891" y="759"/>
                    </a:lnTo>
                    <a:lnTo>
                      <a:pt x="886" y="756"/>
                    </a:lnTo>
                    <a:lnTo>
                      <a:pt x="883" y="756"/>
                    </a:lnTo>
                    <a:lnTo>
                      <a:pt x="881" y="754"/>
                    </a:lnTo>
                    <a:lnTo>
                      <a:pt x="879" y="754"/>
                    </a:lnTo>
                    <a:lnTo>
                      <a:pt x="878" y="757"/>
                    </a:lnTo>
                    <a:lnTo>
                      <a:pt x="881" y="761"/>
                    </a:lnTo>
                    <a:lnTo>
                      <a:pt x="881" y="762"/>
                    </a:lnTo>
                    <a:lnTo>
                      <a:pt x="876" y="764"/>
                    </a:lnTo>
                    <a:lnTo>
                      <a:pt x="874" y="762"/>
                    </a:lnTo>
                    <a:lnTo>
                      <a:pt x="868" y="761"/>
                    </a:lnTo>
                    <a:lnTo>
                      <a:pt x="868" y="759"/>
                    </a:lnTo>
                    <a:lnTo>
                      <a:pt x="871" y="756"/>
                    </a:lnTo>
                    <a:lnTo>
                      <a:pt x="873" y="752"/>
                    </a:lnTo>
                    <a:lnTo>
                      <a:pt x="869" y="752"/>
                    </a:lnTo>
                    <a:lnTo>
                      <a:pt x="868" y="754"/>
                    </a:lnTo>
                    <a:lnTo>
                      <a:pt x="863" y="752"/>
                    </a:lnTo>
                    <a:lnTo>
                      <a:pt x="866" y="749"/>
                    </a:lnTo>
                    <a:lnTo>
                      <a:pt x="869" y="746"/>
                    </a:lnTo>
                    <a:lnTo>
                      <a:pt x="876" y="739"/>
                    </a:lnTo>
                    <a:lnTo>
                      <a:pt x="881" y="739"/>
                    </a:lnTo>
                    <a:lnTo>
                      <a:pt x="886" y="739"/>
                    </a:lnTo>
                    <a:lnTo>
                      <a:pt x="902" y="739"/>
                    </a:lnTo>
                    <a:lnTo>
                      <a:pt x="916" y="736"/>
                    </a:lnTo>
                    <a:lnTo>
                      <a:pt x="919" y="736"/>
                    </a:lnTo>
                    <a:lnTo>
                      <a:pt x="924" y="734"/>
                    </a:lnTo>
                    <a:lnTo>
                      <a:pt x="927" y="737"/>
                    </a:lnTo>
                    <a:lnTo>
                      <a:pt x="931" y="739"/>
                    </a:lnTo>
                    <a:lnTo>
                      <a:pt x="932" y="741"/>
                    </a:lnTo>
                    <a:lnTo>
                      <a:pt x="934" y="744"/>
                    </a:lnTo>
                    <a:lnTo>
                      <a:pt x="932" y="752"/>
                    </a:lnTo>
                    <a:lnTo>
                      <a:pt x="932" y="756"/>
                    </a:lnTo>
                    <a:lnTo>
                      <a:pt x="934" y="756"/>
                    </a:lnTo>
                    <a:lnTo>
                      <a:pt x="934" y="757"/>
                    </a:lnTo>
                    <a:lnTo>
                      <a:pt x="929" y="761"/>
                    </a:lnTo>
                    <a:lnTo>
                      <a:pt x="931" y="762"/>
                    </a:lnTo>
                    <a:lnTo>
                      <a:pt x="932" y="764"/>
                    </a:lnTo>
                    <a:lnTo>
                      <a:pt x="932" y="772"/>
                    </a:lnTo>
                    <a:lnTo>
                      <a:pt x="936" y="772"/>
                    </a:lnTo>
                    <a:lnTo>
                      <a:pt x="939" y="774"/>
                    </a:lnTo>
                    <a:lnTo>
                      <a:pt x="939" y="776"/>
                    </a:lnTo>
                    <a:lnTo>
                      <a:pt x="936" y="777"/>
                    </a:lnTo>
                    <a:lnTo>
                      <a:pt x="936" y="781"/>
                    </a:lnTo>
                    <a:lnTo>
                      <a:pt x="934" y="784"/>
                    </a:lnTo>
                    <a:lnTo>
                      <a:pt x="937" y="784"/>
                    </a:lnTo>
                    <a:lnTo>
                      <a:pt x="942" y="786"/>
                    </a:lnTo>
                    <a:lnTo>
                      <a:pt x="944" y="787"/>
                    </a:lnTo>
                    <a:lnTo>
                      <a:pt x="946" y="787"/>
                    </a:lnTo>
                    <a:lnTo>
                      <a:pt x="949" y="791"/>
                    </a:lnTo>
                    <a:lnTo>
                      <a:pt x="954" y="791"/>
                    </a:lnTo>
                    <a:lnTo>
                      <a:pt x="957" y="787"/>
                    </a:lnTo>
                    <a:lnTo>
                      <a:pt x="959" y="789"/>
                    </a:lnTo>
                    <a:lnTo>
                      <a:pt x="959" y="792"/>
                    </a:lnTo>
                    <a:lnTo>
                      <a:pt x="961" y="794"/>
                    </a:lnTo>
                    <a:lnTo>
                      <a:pt x="962" y="792"/>
                    </a:lnTo>
                    <a:lnTo>
                      <a:pt x="966" y="796"/>
                    </a:lnTo>
                    <a:lnTo>
                      <a:pt x="964" y="797"/>
                    </a:lnTo>
                    <a:lnTo>
                      <a:pt x="964" y="801"/>
                    </a:lnTo>
                    <a:lnTo>
                      <a:pt x="966" y="801"/>
                    </a:lnTo>
                    <a:lnTo>
                      <a:pt x="967" y="804"/>
                    </a:lnTo>
                    <a:lnTo>
                      <a:pt x="974" y="809"/>
                    </a:lnTo>
                    <a:lnTo>
                      <a:pt x="974" y="812"/>
                    </a:lnTo>
                    <a:lnTo>
                      <a:pt x="979" y="809"/>
                    </a:lnTo>
                    <a:lnTo>
                      <a:pt x="981" y="811"/>
                    </a:lnTo>
                    <a:lnTo>
                      <a:pt x="981" y="814"/>
                    </a:lnTo>
                    <a:lnTo>
                      <a:pt x="982" y="814"/>
                    </a:lnTo>
                    <a:lnTo>
                      <a:pt x="987" y="819"/>
                    </a:lnTo>
                    <a:lnTo>
                      <a:pt x="992" y="816"/>
                    </a:lnTo>
                    <a:lnTo>
                      <a:pt x="1000" y="816"/>
                    </a:lnTo>
                    <a:lnTo>
                      <a:pt x="1004" y="812"/>
                    </a:lnTo>
                    <a:lnTo>
                      <a:pt x="1010" y="809"/>
                    </a:lnTo>
                    <a:lnTo>
                      <a:pt x="1010" y="809"/>
                    </a:lnTo>
                    <a:lnTo>
                      <a:pt x="1012" y="812"/>
                    </a:lnTo>
                    <a:lnTo>
                      <a:pt x="1022" y="812"/>
                    </a:lnTo>
                    <a:lnTo>
                      <a:pt x="1030" y="817"/>
                    </a:lnTo>
                    <a:lnTo>
                      <a:pt x="1034" y="817"/>
                    </a:lnTo>
                    <a:lnTo>
                      <a:pt x="1037" y="821"/>
                    </a:lnTo>
                    <a:lnTo>
                      <a:pt x="1039" y="819"/>
                    </a:lnTo>
                    <a:lnTo>
                      <a:pt x="1049" y="817"/>
                    </a:lnTo>
                    <a:lnTo>
                      <a:pt x="1052" y="822"/>
                    </a:lnTo>
                    <a:lnTo>
                      <a:pt x="1054" y="821"/>
                    </a:lnTo>
                    <a:lnTo>
                      <a:pt x="1054" y="816"/>
                    </a:lnTo>
                    <a:lnTo>
                      <a:pt x="1049" y="812"/>
                    </a:lnTo>
                    <a:lnTo>
                      <a:pt x="1049" y="806"/>
                    </a:lnTo>
                    <a:lnTo>
                      <a:pt x="1050" y="804"/>
                    </a:lnTo>
                    <a:lnTo>
                      <a:pt x="1052" y="804"/>
                    </a:lnTo>
                    <a:lnTo>
                      <a:pt x="1055" y="812"/>
                    </a:lnTo>
                    <a:lnTo>
                      <a:pt x="1057" y="817"/>
                    </a:lnTo>
                    <a:lnTo>
                      <a:pt x="1064" y="824"/>
                    </a:lnTo>
                    <a:lnTo>
                      <a:pt x="1067" y="827"/>
                    </a:lnTo>
                    <a:lnTo>
                      <a:pt x="1069" y="832"/>
                    </a:lnTo>
                    <a:lnTo>
                      <a:pt x="1069" y="822"/>
                    </a:lnTo>
                    <a:lnTo>
                      <a:pt x="1065" y="819"/>
                    </a:lnTo>
                    <a:lnTo>
                      <a:pt x="1059" y="817"/>
                    </a:lnTo>
                    <a:lnTo>
                      <a:pt x="1057" y="811"/>
                    </a:lnTo>
                    <a:lnTo>
                      <a:pt x="1055" y="802"/>
                    </a:lnTo>
                    <a:lnTo>
                      <a:pt x="1057" y="799"/>
                    </a:lnTo>
                    <a:lnTo>
                      <a:pt x="1059" y="799"/>
                    </a:lnTo>
                    <a:lnTo>
                      <a:pt x="1059" y="802"/>
                    </a:lnTo>
                    <a:lnTo>
                      <a:pt x="1060" y="804"/>
                    </a:lnTo>
                    <a:lnTo>
                      <a:pt x="1064" y="802"/>
                    </a:lnTo>
                    <a:lnTo>
                      <a:pt x="1064" y="799"/>
                    </a:lnTo>
                    <a:lnTo>
                      <a:pt x="1060" y="796"/>
                    </a:lnTo>
                    <a:lnTo>
                      <a:pt x="1062" y="794"/>
                    </a:lnTo>
                    <a:lnTo>
                      <a:pt x="1062" y="791"/>
                    </a:lnTo>
                    <a:lnTo>
                      <a:pt x="1062" y="789"/>
                    </a:lnTo>
                    <a:lnTo>
                      <a:pt x="1065" y="789"/>
                    </a:lnTo>
                    <a:lnTo>
                      <a:pt x="1069" y="792"/>
                    </a:lnTo>
                    <a:lnTo>
                      <a:pt x="1069" y="794"/>
                    </a:lnTo>
                    <a:lnTo>
                      <a:pt x="1070" y="796"/>
                    </a:lnTo>
                    <a:lnTo>
                      <a:pt x="1070" y="794"/>
                    </a:lnTo>
                    <a:lnTo>
                      <a:pt x="1075" y="791"/>
                    </a:lnTo>
                    <a:lnTo>
                      <a:pt x="1079" y="787"/>
                    </a:lnTo>
                    <a:lnTo>
                      <a:pt x="1082" y="787"/>
                    </a:lnTo>
                    <a:lnTo>
                      <a:pt x="1084" y="791"/>
                    </a:lnTo>
                    <a:lnTo>
                      <a:pt x="1082" y="792"/>
                    </a:lnTo>
                    <a:lnTo>
                      <a:pt x="1082" y="796"/>
                    </a:lnTo>
                    <a:lnTo>
                      <a:pt x="1084" y="792"/>
                    </a:lnTo>
                    <a:lnTo>
                      <a:pt x="1087" y="792"/>
                    </a:lnTo>
                    <a:lnTo>
                      <a:pt x="1090" y="796"/>
                    </a:lnTo>
                    <a:lnTo>
                      <a:pt x="1088" y="801"/>
                    </a:lnTo>
                    <a:lnTo>
                      <a:pt x="1088" y="802"/>
                    </a:lnTo>
                    <a:lnTo>
                      <a:pt x="1090" y="806"/>
                    </a:lnTo>
                    <a:lnTo>
                      <a:pt x="1093" y="806"/>
                    </a:lnTo>
                    <a:lnTo>
                      <a:pt x="1097" y="806"/>
                    </a:lnTo>
                    <a:lnTo>
                      <a:pt x="1097" y="811"/>
                    </a:lnTo>
                    <a:lnTo>
                      <a:pt x="1090" y="812"/>
                    </a:lnTo>
                    <a:lnTo>
                      <a:pt x="1090" y="814"/>
                    </a:lnTo>
                    <a:lnTo>
                      <a:pt x="1093" y="816"/>
                    </a:lnTo>
                    <a:lnTo>
                      <a:pt x="1098" y="812"/>
                    </a:lnTo>
                    <a:lnTo>
                      <a:pt x="1102" y="807"/>
                    </a:lnTo>
                    <a:lnTo>
                      <a:pt x="1107" y="806"/>
                    </a:lnTo>
                    <a:lnTo>
                      <a:pt x="1112" y="806"/>
                    </a:lnTo>
                    <a:lnTo>
                      <a:pt x="1112" y="807"/>
                    </a:lnTo>
                    <a:lnTo>
                      <a:pt x="1108" y="809"/>
                    </a:lnTo>
                    <a:lnTo>
                      <a:pt x="1105" y="811"/>
                    </a:lnTo>
                    <a:lnTo>
                      <a:pt x="1105" y="817"/>
                    </a:lnTo>
                    <a:lnTo>
                      <a:pt x="1098" y="821"/>
                    </a:lnTo>
                    <a:lnTo>
                      <a:pt x="1097" y="824"/>
                    </a:lnTo>
                    <a:lnTo>
                      <a:pt x="1090" y="829"/>
                    </a:lnTo>
                    <a:lnTo>
                      <a:pt x="1090" y="832"/>
                    </a:lnTo>
                    <a:lnTo>
                      <a:pt x="1088" y="834"/>
                    </a:lnTo>
                    <a:lnTo>
                      <a:pt x="1088" y="831"/>
                    </a:lnTo>
                    <a:lnTo>
                      <a:pt x="1085" y="834"/>
                    </a:lnTo>
                    <a:lnTo>
                      <a:pt x="1084" y="842"/>
                    </a:lnTo>
                    <a:lnTo>
                      <a:pt x="1084" y="844"/>
                    </a:lnTo>
                    <a:lnTo>
                      <a:pt x="1087" y="842"/>
                    </a:lnTo>
                    <a:lnTo>
                      <a:pt x="1090" y="842"/>
                    </a:lnTo>
                    <a:lnTo>
                      <a:pt x="1090" y="847"/>
                    </a:lnTo>
                    <a:lnTo>
                      <a:pt x="1085" y="849"/>
                    </a:lnTo>
                    <a:lnTo>
                      <a:pt x="1084" y="852"/>
                    </a:lnTo>
                    <a:lnTo>
                      <a:pt x="1090" y="850"/>
                    </a:lnTo>
                    <a:lnTo>
                      <a:pt x="1093" y="847"/>
                    </a:lnTo>
                    <a:lnTo>
                      <a:pt x="1097" y="847"/>
                    </a:lnTo>
                    <a:lnTo>
                      <a:pt x="1095" y="852"/>
                    </a:lnTo>
                    <a:lnTo>
                      <a:pt x="1092" y="854"/>
                    </a:lnTo>
                    <a:lnTo>
                      <a:pt x="1093" y="855"/>
                    </a:lnTo>
                    <a:lnTo>
                      <a:pt x="1098" y="854"/>
                    </a:lnTo>
                    <a:lnTo>
                      <a:pt x="1095" y="859"/>
                    </a:lnTo>
                    <a:lnTo>
                      <a:pt x="1095" y="862"/>
                    </a:lnTo>
                    <a:lnTo>
                      <a:pt x="1092" y="865"/>
                    </a:lnTo>
                    <a:lnTo>
                      <a:pt x="1087" y="864"/>
                    </a:lnTo>
                    <a:lnTo>
                      <a:pt x="1085" y="859"/>
                    </a:lnTo>
                    <a:lnTo>
                      <a:pt x="1079" y="862"/>
                    </a:lnTo>
                    <a:lnTo>
                      <a:pt x="1077" y="855"/>
                    </a:lnTo>
                    <a:lnTo>
                      <a:pt x="1075" y="855"/>
                    </a:lnTo>
                    <a:lnTo>
                      <a:pt x="1074" y="862"/>
                    </a:lnTo>
                    <a:lnTo>
                      <a:pt x="1077" y="867"/>
                    </a:lnTo>
                    <a:lnTo>
                      <a:pt x="1079" y="872"/>
                    </a:lnTo>
                    <a:lnTo>
                      <a:pt x="1077" y="882"/>
                    </a:lnTo>
                    <a:lnTo>
                      <a:pt x="1080" y="874"/>
                    </a:lnTo>
                    <a:lnTo>
                      <a:pt x="1079" y="865"/>
                    </a:lnTo>
                    <a:lnTo>
                      <a:pt x="1082" y="864"/>
                    </a:lnTo>
                    <a:lnTo>
                      <a:pt x="1085" y="867"/>
                    </a:lnTo>
                    <a:lnTo>
                      <a:pt x="1090" y="867"/>
                    </a:lnTo>
                    <a:lnTo>
                      <a:pt x="1095" y="869"/>
                    </a:lnTo>
                    <a:lnTo>
                      <a:pt x="1098" y="867"/>
                    </a:lnTo>
                    <a:lnTo>
                      <a:pt x="1098" y="862"/>
                    </a:lnTo>
                    <a:lnTo>
                      <a:pt x="1105" y="860"/>
                    </a:lnTo>
                    <a:lnTo>
                      <a:pt x="1108" y="855"/>
                    </a:lnTo>
                    <a:lnTo>
                      <a:pt x="1113" y="855"/>
                    </a:lnTo>
                    <a:lnTo>
                      <a:pt x="1117" y="852"/>
                    </a:lnTo>
                    <a:lnTo>
                      <a:pt x="1113" y="854"/>
                    </a:lnTo>
                    <a:lnTo>
                      <a:pt x="1108" y="854"/>
                    </a:lnTo>
                    <a:lnTo>
                      <a:pt x="1105" y="857"/>
                    </a:lnTo>
                    <a:lnTo>
                      <a:pt x="1103" y="859"/>
                    </a:lnTo>
                    <a:lnTo>
                      <a:pt x="1102" y="859"/>
                    </a:lnTo>
                    <a:lnTo>
                      <a:pt x="1103" y="854"/>
                    </a:lnTo>
                    <a:lnTo>
                      <a:pt x="1107" y="850"/>
                    </a:lnTo>
                    <a:lnTo>
                      <a:pt x="1105" y="849"/>
                    </a:lnTo>
                    <a:lnTo>
                      <a:pt x="1105" y="845"/>
                    </a:lnTo>
                    <a:lnTo>
                      <a:pt x="1107" y="839"/>
                    </a:lnTo>
                    <a:lnTo>
                      <a:pt x="1107" y="835"/>
                    </a:lnTo>
                    <a:lnTo>
                      <a:pt x="1105" y="834"/>
                    </a:lnTo>
                    <a:lnTo>
                      <a:pt x="1107" y="832"/>
                    </a:lnTo>
                    <a:lnTo>
                      <a:pt x="1110" y="826"/>
                    </a:lnTo>
                    <a:lnTo>
                      <a:pt x="1112" y="821"/>
                    </a:lnTo>
                    <a:lnTo>
                      <a:pt x="1117" y="817"/>
                    </a:lnTo>
                    <a:lnTo>
                      <a:pt x="1118" y="819"/>
                    </a:lnTo>
                    <a:lnTo>
                      <a:pt x="1117" y="821"/>
                    </a:lnTo>
                    <a:lnTo>
                      <a:pt x="1120" y="821"/>
                    </a:lnTo>
                    <a:lnTo>
                      <a:pt x="1122" y="816"/>
                    </a:lnTo>
                    <a:lnTo>
                      <a:pt x="1123" y="819"/>
                    </a:lnTo>
                    <a:lnTo>
                      <a:pt x="1125" y="819"/>
                    </a:lnTo>
                    <a:lnTo>
                      <a:pt x="1127" y="821"/>
                    </a:lnTo>
                    <a:lnTo>
                      <a:pt x="1132" y="821"/>
                    </a:lnTo>
                    <a:lnTo>
                      <a:pt x="1135" y="816"/>
                    </a:lnTo>
                    <a:lnTo>
                      <a:pt x="1145" y="812"/>
                    </a:lnTo>
                    <a:lnTo>
                      <a:pt x="1148" y="809"/>
                    </a:lnTo>
                    <a:lnTo>
                      <a:pt x="1147" y="806"/>
                    </a:lnTo>
                    <a:lnTo>
                      <a:pt x="1150" y="806"/>
                    </a:lnTo>
                    <a:lnTo>
                      <a:pt x="1155" y="801"/>
                    </a:lnTo>
                    <a:lnTo>
                      <a:pt x="1162" y="801"/>
                    </a:lnTo>
                    <a:lnTo>
                      <a:pt x="1165" y="797"/>
                    </a:lnTo>
                    <a:lnTo>
                      <a:pt x="1165" y="794"/>
                    </a:lnTo>
                    <a:lnTo>
                      <a:pt x="1167" y="789"/>
                    </a:lnTo>
                    <a:lnTo>
                      <a:pt x="1170" y="784"/>
                    </a:lnTo>
                    <a:lnTo>
                      <a:pt x="1170" y="779"/>
                    </a:lnTo>
                    <a:lnTo>
                      <a:pt x="1168" y="777"/>
                    </a:lnTo>
                    <a:lnTo>
                      <a:pt x="1165" y="779"/>
                    </a:lnTo>
                    <a:lnTo>
                      <a:pt x="1162" y="781"/>
                    </a:lnTo>
                    <a:lnTo>
                      <a:pt x="1163" y="782"/>
                    </a:lnTo>
                    <a:lnTo>
                      <a:pt x="1160" y="786"/>
                    </a:lnTo>
                    <a:lnTo>
                      <a:pt x="1155" y="786"/>
                    </a:lnTo>
                    <a:lnTo>
                      <a:pt x="1153" y="784"/>
                    </a:lnTo>
                    <a:lnTo>
                      <a:pt x="1150" y="784"/>
                    </a:lnTo>
                    <a:lnTo>
                      <a:pt x="1148" y="782"/>
                    </a:lnTo>
                    <a:lnTo>
                      <a:pt x="1152" y="777"/>
                    </a:lnTo>
                    <a:lnTo>
                      <a:pt x="1155" y="777"/>
                    </a:lnTo>
                    <a:lnTo>
                      <a:pt x="1158" y="774"/>
                    </a:lnTo>
                    <a:lnTo>
                      <a:pt x="1165" y="771"/>
                    </a:lnTo>
                    <a:lnTo>
                      <a:pt x="1165" y="769"/>
                    </a:lnTo>
                    <a:lnTo>
                      <a:pt x="1162" y="766"/>
                    </a:lnTo>
                    <a:lnTo>
                      <a:pt x="1167" y="762"/>
                    </a:lnTo>
                    <a:lnTo>
                      <a:pt x="1172" y="761"/>
                    </a:lnTo>
                    <a:lnTo>
                      <a:pt x="1177" y="762"/>
                    </a:lnTo>
                    <a:lnTo>
                      <a:pt x="1173" y="764"/>
                    </a:lnTo>
                    <a:lnTo>
                      <a:pt x="1173" y="769"/>
                    </a:lnTo>
                    <a:lnTo>
                      <a:pt x="1173" y="771"/>
                    </a:lnTo>
                    <a:lnTo>
                      <a:pt x="1178" y="767"/>
                    </a:lnTo>
                    <a:lnTo>
                      <a:pt x="1183" y="759"/>
                    </a:lnTo>
                    <a:lnTo>
                      <a:pt x="1183" y="756"/>
                    </a:lnTo>
                    <a:lnTo>
                      <a:pt x="1178" y="756"/>
                    </a:lnTo>
                    <a:lnTo>
                      <a:pt x="1173" y="756"/>
                    </a:lnTo>
                    <a:lnTo>
                      <a:pt x="1172" y="752"/>
                    </a:lnTo>
                    <a:lnTo>
                      <a:pt x="1165" y="752"/>
                    </a:lnTo>
                    <a:lnTo>
                      <a:pt x="1162" y="746"/>
                    </a:lnTo>
                    <a:lnTo>
                      <a:pt x="1163" y="741"/>
                    </a:lnTo>
                    <a:lnTo>
                      <a:pt x="1160" y="746"/>
                    </a:lnTo>
                    <a:lnTo>
                      <a:pt x="1157" y="746"/>
                    </a:lnTo>
                    <a:lnTo>
                      <a:pt x="1155" y="741"/>
                    </a:lnTo>
                    <a:lnTo>
                      <a:pt x="1150" y="739"/>
                    </a:lnTo>
                    <a:lnTo>
                      <a:pt x="1148" y="734"/>
                    </a:lnTo>
                    <a:lnTo>
                      <a:pt x="1147" y="733"/>
                    </a:lnTo>
                    <a:lnTo>
                      <a:pt x="1143" y="734"/>
                    </a:lnTo>
                    <a:lnTo>
                      <a:pt x="1142" y="729"/>
                    </a:lnTo>
                    <a:lnTo>
                      <a:pt x="1140" y="728"/>
                    </a:lnTo>
                    <a:lnTo>
                      <a:pt x="1143" y="724"/>
                    </a:lnTo>
                    <a:lnTo>
                      <a:pt x="1143" y="721"/>
                    </a:lnTo>
                    <a:lnTo>
                      <a:pt x="1140" y="718"/>
                    </a:lnTo>
                    <a:lnTo>
                      <a:pt x="1142" y="706"/>
                    </a:lnTo>
                    <a:lnTo>
                      <a:pt x="1145" y="703"/>
                    </a:lnTo>
                    <a:lnTo>
                      <a:pt x="1153" y="696"/>
                    </a:lnTo>
                    <a:lnTo>
                      <a:pt x="1158" y="694"/>
                    </a:lnTo>
                    <a:lnTo>
                      <a:pt x="1162" y="694"/>
                    </a:lnTo>
                    <a:lnTo>
                      <a:pt x="1162" y="693"/>
                    </a:lnTo>
                    <a:lnTo>
                      <a:pt x="1165" y="691"/>
                    </a:lnTo>
                    <a:lnTo>
                      <a:pt x="1167" y="688"/>
                    </a:lnTo>
                    <a:lnTo>
                      <a:pt x="1163" y="688"/>
                    </a:lnTo>
                    <a:lnTo>
                      <a:pt x="1160" y="689"/>
                    </a:lnTo>
                    <a:lnTo>
                      <a:pt x="1157" y="689"/>
                    </a:lnTo>
                    <a:lnTo>
                      <a:pt x="1157" y="686"/>
                    </a:lnTo>
                    <a:lnTo>
                      <a:pt x="1155" y="681"/>
                    </a:lnTo>
                    <a:lnTo>
                      <a:pt x="1157" y="678"/>
                    </a:lnTo>
                    <a:lnTo>
                      <a:pt x="1162" y="671"/>
                    </a:lnTo>
                    <a:lnTo>
                      <a:pt x="1167" y="663"/>
                    </a:lnTo>
                    <a:lnTo>
                      <a:pt x="1170" y="663"/>
                    </a:lnTo>
                    <a:lnTo>
                      <a:pt x="1173" y="656"/>
                    </a:lnTo>
                    <a:lnTo>
                      <a:pt x="1175" y="656"/>
                    </a:lnTo>
                    <a:lnTo>
                      <a:pt x="1180" y="651"/>
                    </a:lnTo>
                    <a:lnTo>
                      <a:pt x="1185" y="649"/>
                    </a:lnTo>
                    <a:lnTo>
                      <a:pt x="1188" y="651"/>
                    </a:lnTo>
                    <a:lnTo>
                      <a:pt x="1187" y="656"/>
                    </a:lnTo>
                    <a:lnTo>
                      <a:pt x="1190" y="659"/>
                    </a:lnTo>
                    <a:lnTo>
                      <a:pt x="1188" y="663"/>
                    </a:lnTo>
                    <a:lnTo>
                      <a:pt x="1193" y="659"/>
                    </a:lnTo>
                    <a:lnTo>
                      <a:pt x="1193" y="656"/>
                    </a:lnTo>
                    <a:lnTo>
                      <a:pt x="1200" y="649"/>
                    </a:lnTo>
                    <a:lnTo>
                      <a:pt x="1200" y="648"/>
                    </a:lnTo>
                    <a:lnTo>
                      <a:pt x="1195" y="646"/>
                    </a:lnTo>
                    <a:lnTo>
                      <a:pt x="1191" y="644"/>
                    </a:lnTo>
                    <a:lnTo>
                      <a:pt x="1188" y="641"/>
                    </a:lnTo>
                    <a:lnTo>
                      <a:pt x="1193" y="638"/>
                    </a:lnTo>
                    <a:lnTo>
                      <a:pt x="1198" y="638"/>
                    </a:lnTo>
                    <a:lnTo>
                      <a:pt x="1200" y="636"/>
                    </a:lnTo>
                    <a:lnTo>
                      <a:pt x="1206" y="631"/>
                    </a:lnTo>
                    <a:lnTo>
                      <a:pt x="1206" y="628"/>
                    </a:lnTo>
                    <a:lnTo>
                      <a:pt x="1210" y="626"/>
                    </a:lnTo>
                    <a:lnTo>
                      <a:pt x="1216" y="628"/>
                    </a:lnTo>
                    <a:lnTo>
                      <a:pt x="1223" y="630"/>
                    </a:lnTo>
                    <a:lnTo>
                      <a:pt x="1225" y="633"/>
                    </a:lnTo>
                    <a:lnTo>
                      <a:pt x="1223" y="636"/>
                    </a:lnTo>
                    <a:lnTo>
                      <a:pt x="1226" y="636"/>
                    </a:lnTo>
                    <a:lnTo>
                      <a:pt x="1230" y="639"/>
                    </a:lnTo>
                    <a:lnTo>
                      <a:pt x="1233" y="643"/>
                    </a:lnTo>
                    <a:lnTo>
                      <a:pt x="1231" y="646"/>
                    </a:lnTo>
                    <a:lnTo>
                      <a:pt x="1230" y="648"/>
                    </a:lnTo>
                    <a:lnTo>
                      <a:pt x="1231" y="651"/>
                    </a:lnTo>
                    <a:lnTo>
                      <a:pt x="1230" y="654"/>
                    </a:lnTo>
                    <a:lnTo>
                      <a:pt x="1235" y="658"/>
                    </a:lnTo>
                    <a:lnTo>
                      <a:pt x="1235" y="661"/>
                    </a:lnTo>
                    <a:lnTo>
                      <a:pt x="1235" y="669"/>
                    </a:lnTo>
                    <a:lnTo>
                      <a:pt x="1238" y="671"/>
                    </a:lnTo>
                    <a:lnTo>
                      <a:pt x="1238" y="673"/>
                    </a:lnTo>
                    <a:lnTo>
                      <a:pt x="1235" y="678"/>
                    </a:lnTo>
                    <a:lnTo>
                      <a:pt x="1233" y="681"/>
                    </a:lnTo>
                    <a:lnTo>
                      <a:pt x="1230" y="686"/>
                    </a:lnTo>
                    <a:lnTo>
                      <a:pt x="1230" y="691"/>
                    </a:lnTo>
                    <a:lnTo>
                      <a:pt x="1228" y="693"/>
                    </a:lnTo>
                    <a:lnTo>
                      <a:pt x="1230" y="696"/>
                    </a:lnTo>
                    <a:lnTo>
                      <a:pt x="1228" y="701"/>
                    </a:lnTo>
                    <a:lnTo>
                      <a:pt x="1233" y="706"/>
                    </a:lnTo>
                    <a:lnTo>
                      <a:pt x="1233" y="709"/>
                    </a:lnTo>
                    <a:lnTo>
                      <a:pt x="1231" y="711"/>
                    </a:lnTo>
                    <a:lnTo>
                      <a:pt x="1233" y="714"/>
                    </a:lnTo>
                    <a:lnTo>
                      <a:pt x="1231" y="719"/>
                    </a:lnTo>
                    <a:lnTo>
                      <a:pt x="1231" y="723"/>
                    </a:lnTo>
                    <a:lnTo>
                      <a:pt x="1235" y="723"/>
                    </a:lnTo>
                    <a:lnTo>
                      <a:pt x="1238" y="726"/>
                    </a:lnTo>
                    <a:lnTo>
                      <a:pt x="1238" y="731"/>
                    </a:lnTo>
                    <a:lnTo>
                      <a:pt x="1233" y="733"/>
                    </a:lnTo>
                    <a:lnTo>
                      <a:pt x="1231" y="731"/>
                    </a:lnTo>
                    <a:lnTo>
                      <a:pt x="1226" y="733"/>
                    </a:lnTo>
                    <a:lnTo>
                      <a:pt x="1225" y="728"/>
                    </a:lnTo>
                    <a:lnTo>
                      <a:pt x="1226" y="724"/>
                    </a:lnTo>
                    <a:lnTo>
                      <a:pt x="1220" y="726"/>
                    </a:lnTo>
                    <a:lnTo>
                      <a:pt x="1218" y="731"/>
                    </a:lnTo>
                    <a:lnTo>
                      <a:pt x="1213" y="733"/>
                    </a:lnTo>
                    <a:lnTo>
                      <a:pt x="1213" y="734"/>
                    </a:lnTo>
                    <a:lnTo>
                      <a:pt x="1220" y="733"/>
                    </a:lnTo>
                    <a:lnTo>
                      <a:pt x="1223" y="736"/>
                    </a:lnTo>
                    <a:lnTo>
                      <a:pt x="1221" y="737"/>
                    </a:lnTo>
                    <a:lnTo>
                      <a:pt x="1210" y="746"/>
                    </a:lnTo>
                    <a:lnTo>
                      <a:pt x="1206" y="746"/>
                    </a:lnTo>
                    <a:lnTo>
                      <a:pt x="1205" y="749"/>
                    </a:lnTo>
                    <a:lnTo>
                      <a:pt x="1201" y="749"/>
                    </a:lnTo>
                    <a:lnTo>
                      <a:pt x="1201" y="754"/>
                    </a:lnTo>
                    <a:lnTo>
                      <a:pt x="1203" y="756"/>
                    </a:lnTo>
                    <a:lnTo>
                      <a:pt x="1208" y="756"/>
                    </a:lnTo>
                    <a:lnTo>
                      <a:pt x="1211" y="756"/>
                    </a:lnTo>
                    <a:lnTo>
                      <a:pt x="1211" y="761"/>
                    </a:lnTo>
                    <a:lnTo>
                      <a:pt x="1216" y="764"/>
                    </a:lnTo>
                    <a:lnTo>
                      <a:pt x="1221" y="762"/>
                    </a:lnTo>
                    <a:lnTo>
                      <a:pt x="1223" y="759"/>
                    </a:lnTo>
                    <a:lnTo>
                      <a:pt x="1226" y="759"/>
                    </a:lnTo>
                    <a:lnTo>
                      <a:pt x="1228" y="761"/>
                    </a:lnTo>
                    <a:lnTo>
                      <a:pt x="1226" y="762"/>
                    </a:lnTo>
                    <a:lnTo>
                      <a:pt x="1226" y="762"/>
                    </a:lnTo>
                    <a:lnTo>
                      <a:pt x="1230" y="764"/>
                    </a:lnTo>
                    <a:lnTo>
                      <a:pt x="1233" y="767"/>
                    </a:lnTo>
                    <a:lnTo>
                      <a:pt x="1238" y="764"/>
                    </a:lnTo>
                    <a:lnTo>
                      <a:pt x="1241" y="766"/>
                    </a:lnTo>
                    <a:lnTo>
                      <a:pt x="1238" y="769"/>
                    </a:lnTo>
                    <a:lnTo>
                      <a:pt x="1233" y="769"/>
                    </a:lnTo>
                    <a:lnTo>
                      <a:pt x="1228" y="774"/>
                    </a:lnTo>
                    <a:lnTo>
                      <a:pt x="1226" y="776"/>
                    </a:lnTo>
                    <a:lnTo>
                      <a:pt x="1225" y="771"/>
                    </a:lnTo>
                    <a:lnTo>
                      <a:pt x="1223" y="771"/>
                    </a:lnTo>
                    <a:lnTo>
                      <a:pt x="1221" y="771"/>
                    </a:lnTo>
                    <a:lnTo>
                      <a:pt x="1221" y="772"/>
                    </a:lnTo>
                    <a:lnTo>
                      <a:pt x="1225" y="776"/>
                    </a:lnTo>
                    <a:lnTo>
                      <a:pt x="1225" y="779"/>
                    </a:lnTo>
                    <a:lnTo>
                      <a:pt x="1228" y="786"/>
                    </a:lnTo>
                    <a:lnTo>
                      <a:pt x="1228" y="791"/>
                    </a:lnTo>
                    <a:lnTo>
                      <a:pt x="1228" y="792"/>
                    </a:lnTo>
                    <a:lnTo>
                      <a:pt x="1228" y="796"/>
                    </a:lnTo>
                    <a:lnTo>
                      <a:pt x="1225" y="799"/>
                    </a:lnTo>
                    <a:lnTo>
                      <a:pt x="1225" y="802"/>
                    </a:lnTo>
                    <a:lnTo>
                      <a:pt x="1223" y="807"/>
                    </a:lnTo>
                    <a:lnTo>
                      <a:pt x="1220" y="812"/>
                    </a:lnTo>
                    <a:lnTo>
                      <a:pt x="1220" y="814"/>
                    </a:lnTo>
                    <a:lnTo>
                      <a:pt x="1221" y="819"/>
                    </a:lnTo>
                    <a:lnTo>
                      <a:pt x="1218" y="821"/>
                    </a:lnTo>
                    <a:lnTo>
                      <a:pt x="1218" y="824"/>
                    </a:lnTo>
                    <a:lnTo>
                      <a:pt x="1221" y="824"/>
                    </a:lnTo>
                    <a:lnTo>
                      <a:pt x="1225" y="819"/>
                    </a:lnTo>
                    <a:lnTo>
                      <a:pt x="1226" y="816"/>
                    </a:lnTo>
                    <a:lnTo>
                      <a:pt x="1233" y="814"/>
                    </a:lnTo>
                    <a:lnTo>
                      <a:pt x="1233" y="812"/>
                    </a:lnTo>
                    <a:lnTo>
                      <a:pt x="1233" y="811"/>
                    </a:lnTo>
                    <a:lnTo>
                      <a:pt x="1236" y="807"/>
                    </a:lnTo>
                    <a:lnTo>
                      <a:pt x="1238" y="809"/>
                    </a:lnTo>
                    <a:lnTo>
                      <a:pt x="1241" y="807"/>
                    </a:lnTo>
                    <a:lnTo>
                      <a:pt x="1241" y="799"/>
                    </a:lnTo>
                    <a:lnTo>
                      <a:pt x="1241" y="796"/>
                    </a:lnTo>
                    <a:lnTo>
                      <a:pt x="1248" y="791"/>
                    </a:lnTo>
                    <a:lnTo>
                      <a:pt x="1253" y="782"/>
                    </a:lnTo>
                    <a:lnTo>
                      <a:pt x="1255" y="779"/>
                    </a:lnTo>
                    <a:lnTo>
                      <a:pt x="1258" y="779"/>
                    </a:lnTo>
                    <a:lnTo>
                      <a:pt x="1260" y="781"/>
                    </a:lnTo>
                    <a:lnTo>
                      <a:pt x="1260" y="784"/>
                    </a:lnTo>
                    <a:lnTo>
                      <a:pt x="1265" y="792"/>
                    </a:lnTo>
                    <a:lnTo>
                      <a:pt x="1265" y="797"/>
                    </a:lnTo>
                    <a:lnTo>
                      <a:pt x="1270" y="802"/>
                    </a:lnTo>
                    <a:lnTo>
                      <a:pt x="1270" y="807"/>
                    </a:lnTo>
                    <a:lnTo>
                      <a:pt x="1268" y="811"/>
                    </a:lnTo>
                    <a:lnTo>
                      <a:pt x="1270" y="821"/>
                    </a:lnTo>
                    <a:lnTo>
                      <a:pt x="1266" y="824"/>
                    </a:lnTo>
                    <a:lnTo>
                      <a:pt x="1263" y="826"/>
                    </a:lnTo>
                    <a:lnTo>
                      <a:pt x="1260" y="824"/>
                    </a:lnTo>
                    <a:lnTo>
                      <a:pt x="1256" y="826"/>
                    </a:lnTo>
                    <a:lnTo>
                      <a:pt x="1255" y="829"/>
                    </a:lnTo>
                    <a:lnTo>
                      <a:pt x="1256" y="834"/>
                    </a:lnTo>
                    <a:lnTo>
                      <a:pt x="1253" y="837"/>
                    </a:lnTo>
                    <a:lnTo>
                      <a:pt x="1250" y="844"/>
                    </a:lnTo>
                    <a:lnTo>
                      <a:pt x="1251" y="845"/>
                    </a:lnTo>
                    <a:lnTo>
                      <a:pt x="1253" y="854"/>
                    </a:lnTo>
                    <a:lnTo>
                      <a:pt x="1256" y="869"/>
                    </a:lnTo>
                    <a:lnTo>
                      <a:pt x="1260" y="875"/>
                    </a:lnTo>
                    <a:lnTo>
                      <a:pt x="1258" y="879"/>
                    </a:lnTo>
                    <a:lnTo>
                      <a:pt x="1261" y="882"/>
                    </a:lnTo>
                    <a:lnTo>
                      <a:pt x="1266" y="882"/>
                    </a:lnTo>
                    <a:lnTo>
                      <a:pt x="1265" y="877"/>
                    </a:lnTo>
                    <a:lnTo>
                      <a:pt x="1263" y="875"/>
                    </a:lnTo>
                    <a:lnTo>
                      <a:pt x="1266" y="872"/>
                    </a:lnTo>
                    <a:lnTo>
                      <a:pt x="1270" y="872"/>
                    </a:lnTo>
                    <a:lnTo>
                      <a:pt x="1271" y="877"/>
                    </a:lnTo>
                    <a:lnTo>
                      <a:pt x="1275" y="877"/>
                    </a:lnTo>
                    <a:lnTo>
                      <a:pt x="1276" y="872"/>
                    </a:lnTo>
                    <a:lnTo>
                      <a:pt x="1280" y="869"/>
                    </a:lnTo>
                    <a:lnTo>
                      <a:pt x="1280" y="862"/>
                    </a:lnTo>
                    <a:lnTo>
                      <a:pt x="1283" y="860"/>
                    </a:lnTo>
                    <a:lnTo>
                      <a:pt x="1288" y="854"/>
                    </a:lnTo>
                    <a:lnTo>
                      <a:pt x="1289" y="854"/>
                    </a:lnTo>
                    <a:lnTo>
                      <a:pt x="1293" y="850"/>
                    </a:lnTo>
                    <a:lnTo>
                      <a:pt x="1301" y="844"/>
                    </a:lnTo>
                    <a:lnTo>
                      <a:pt x="1306" y="835"/>
                    </a:lnTo>
                    <a:lnTo>
                      <a:pt x="1311" y="827"/>
                    </a:lnTo>
                    <a:lnTo>
                      <a:pt x="1314" y="819"/>
                    </a:lnTo>
                    <a:lnTo>
                      <a:pt x="1319" y="816"/>
                    </a:lnTo>
                    <a:lnTo>
                      <a:pt x="1323" y="821"/>
                    </a:lnTo>
                    <a:lnTo>
                      <a:pt x="1326" y="817"/>
                    </a:lnTo>
                    <a:lnTo>
                      <a:pt x="1328" y="819"/>
                    </a:lnTo>
                    <a:lnTo>
                      <a:pt x="1333" y="819"/>
                    </a:lnTo>
                    <a:lnTo>
                      <a:pt x="1333" y="816"/>
                    </a:lnTo>
                    <a:lnTo>
                      <a:pt x="1331" y="816"/>
                    </a:lnTo>
                    <a:lnTo>
                      <a:pt x="1326" y="812"/>
                    </a:lnTo>
                    <a:lnTo>
                      <a:pt x="1328" y="811"/>
                    </a:lnTo>
                    <a:lnTo>
                      <a:pt x="1334" y="809"/>
                    </a:lnTo>
                    <a:lnTo>
                      <a:pt x="1336" y="812"/>
                    </a:lnTo>
                    <a:lnTo>
                      <a:pt x="1338" y="811"/>
                    </a:lnTo>
                    <a:lnTo>
                      <a:pt x="1341" y="811"/>
                    </a:lnTo>
                    <a:lnTo>
                      <a:pt x="1344" y="809"/>
                    </a:lnTo>
                    <a:lnTo>
                      <a:pt x="1341" y="806"/>
                    </a:lnTo>
                    <a:lnTo>
                      <a:pt x="1339" y="804"/>
                    </a:lnTo>
                    <a:lnTo>
                      <a:pt x="1338" y="801"/>
                    </a:lnTo>
                    <a:lnTo>
                      <a:pt x="1334" y="801"/>
                    </a:lnTo>
                    <a:lnTo>
                      <a:pt x="1334" y="794"/>
                    </a:lnTo>
                    <a:lnTo>
                      <a:pt x="1338" y="791"/>
                    </a:lnTo>
                    <a:lnTo>
                      <a:pt x="1338" y="787"/>
                    </a:lnTo>
                    <a:lnTo>
                      <a:pt x="1341" y="787"/>
                    </a:lnTo>
                    <a:lnTo>
                      <a:pt x="1339" y="784"/>
                    </a:lnTo>
                    <a:lnTo>
                      <a:pt x="1339" y="781"/>
                    </a:lnTo>
                    <a:lnTo>
                      <a:pt x="1343" y="777"/>
                    </a:lnTo>
                    <a:lnTo>
                      <a:pt x="1341" y="776"/>
                    </a:lnTo>
                    <a:lnTo>
                      <a:pt x="1341" y="774"/>
                    </a:lnTo>
                    <a:lnTo>
                      <a:pt x="1346" y="774"/>
                    </a:lnTo>
                    <a:lnTo>
                      <a:pt x="1348" y="771"/>
                    </a:lnTo>
                    <a:lnTo>
                      <a:pt x="1344" y="769"/>
                    </a:lnTo>
                    <a:lnTo>
                      <a:pt x="1343" y="767"/>
                    </a:lnTo>
                    <a:lnTo>
                      <a:pt x="1348" y="767"/>
                    </a:lnTo>
                    <a:lnTo>
                      <a:pt x="1349" y="771"/>
                    </a:lnTo>
                    <a:lnTo>
                      <a:pt x="1353" y="771"/>
                    </a:lnTo>
                    <a:lnTo>
                      <a:pt x="1356" y="769"/>
                    </a:lnTo>
                    <a:lnTo>
                      <a:pt x="1364" y="769"/>
                    </a:lnTo>
                    <a:lnTo>
                      <a:pt x="1371" y="774"/>
                    </a:lnTo>
                    <a:lnTo>
                      <a:pt x="1371" y="776"/>
                    </a:lnTo>
                    <a:lnTo>
                      <a:pt x="1373" y="779"/>
                    </a:lnTo>
                    <a:lnTo>
                      <a:pt x="1383" y="782"/>
                    </a:lnTo>
                    <a:lnTo>
                      <a:pt x="1386" y="781"/>
                    </a:lnTo>
                    <a:lnTo>
                      <a:pt x="1391" y="782"/>
                    </a:lnTo>
                    <a:lnTo>
                      <a:pt x="1397" y="786"/>
                    </a:lnTo>
                    <a:lnTo>
                      <a:pt x="1397" y="787"/>
                    </a:lnTo>
                    <a:lnTo>
                      <a:pt x="1394" y="789"/>
                    </a:lnTo>
                    <a:lnTo>
                      <a:pt x="1397" y="792"/>
                    </a:lnTo>
                    <a:lnTo>
                      <a:pt x="1394" y="794"/>
                    </a:lnTo>
                    <a:lnTo>
                      <a:pt x="1391" y="791"/>
                    </a:lnTo>
                    <a:lnTo>
                      <a:pt x="1387" y="791"/>
                    </a:lnTo>
                    <a:lnTo>
                      <a:pt x="1387" y="792"/>
                    </a:lnTo>
                    <a:lnTo>
                      <a:pt x="1397" y="799"/>
                    </a:lnTo>
                    <a:lnTo>
                      <a:pt x="1399" y="802"/>
                    </a:lnTo>
                    <a:lnTo>
                      <a:pt x="1394" y="804"/>
                    </a:lnTo>
                    <a:lnTo>
                      <a:pt x="1397" y="806"/>
                    </a:lnTo>
                    <a:lnTo>
                      <a:pt x="1401" y="804"/>
                    </a:lnTo>
                    <a:lnTo>
                      <a:pt x="1409" y="806"/>
                    </a:lnTo>
                    <a:lnTo>
                      <a:pt x="1411" y="809"/>
                    </a:lnTo>
                    <a:lnTo>
                      <a:pt x="1412" y="809"/>
                    </a:lnTo>
                    <a:lnTo>
                      <a:pt x="1414" y="811"/>
                    </a:lnTo>
                    <a:lnTo>
                      <a:pt x="1411" y="816"/>
                    </a:lnTo>
                    <a:lnTo>
                      <a:pt x="1402" y="821"/>
                    </a:lnTo>
                    <a:lnTo>
                      <a:pt x="1399" y="822"/>
                    </a:lnTo>
                    <a:lnTo>
                      <a:pt x="1396" y="824"/>
                    </a:lnTo>
                    <a:lnTo>
                      <a:pt x="1402" y="824"/>
                    </a:lnTo>
                    <a:lnTo>
                      <a:pt x="1404" y="824"/>
                    </a:lnTo>
                    <a:lnTo>
                      <a:pt x="1404" y="827"/>
                    </a:lnTo>
                    <a:lnTo>
                      <a:pt x="1406" y="827"/>
                    </a:lnTo>
                    <a:lnTo>
                      <a:pt x="1407" y="829"/>
                    </a:lnTo>
                    <a:lnTo>
                      <a:pt x="1404" y="834"/>
                    </a:lnTo>
                    <a:lnTo>
                      <a:pt x="1407" y="835"/>
                    </a:lnTo>
                    <a:lnTo>
                      <a:pt x="1401" y="839"/>
                    </a:lnTo>
                    <a:lnTo>
                      <a:pt x="1394" y="840"/>
                    </a:lnTo>
                    <a:lnTo>
                      <a:pt x="1391" y="840"/>
                    </a:lnTo>
                    <a:lnTo>
                      <a:pt x="1389" y="842"/>
                    </a:lnTo>
                    <a:lnTo>
                      <a:pt x="1384" y="842"/>
                    </a:lnTo>
                    <a:lnTo>
                      <a:pt x="1381" y="837"/>
                    </a:lnTo>
                    <a:lnTo>
                      <a:pt x="1376" y="837"/>
                    </a:lnTo>
                    <a:lnTo>
                      <a:pt x="1376" y="835"/>
                    </a:lnTo>
                    <a:lnTo>
                      <a:pt x="1373" y="835"/>
                    </a:lnTo>
                    <a:lnTo>
                      <a:pt x="1373" y="839"/>
                    </a:lnTo>
                    <a:lnTo>
                      <a:pt x="1369" y="840"/>
                    </a:lnTo>
                    <a:lnTo>
                      <a:pt x="1374" y="840"/>
                    </a:lnTo>
                    <a:lnTo>
                      <a:pt x="1378" y="844"/>
                    </a:lnTo>
                    <a:lnTo>
                      <a:pt x="1376" y="845"/>
                    </a:lnTo>
                    <a:lnTo>
                      <a:pt x="1373" y="849"/>
                    </a:lnTo>
                    <a:lnTo>
                      <a:pt x="1378" y="849"/>
                    </a:lnTo>
                    <a:lnTo>
                      <a:pt x="1374" y="852"/>
                    </a:lnTo>
                    <a:lnTo>
                      <a:pt x="1374" y="855"/>
                    </a:lnTo>
                    <a:lnTo>
                      <a:pt x="1376" y="855"/>
                    </a:lnTo>
                    <a:lnTo>
                      <a:pt x="1379" y="854"/>
                    </a:lnTo>
                    <a:lnTo>
                      <a:pt x="1381" y="854"/>
                    </a:lnTo>
                    <a:lnTo>
                      <a:pt x="1379" y="857"/>
                    </a:lnTo>
                    <a:lnTo>
                      <a:pt x="1374" y="859"/>
                    </a:lnTo>
                    <a:lnTo>
                      <a:pt x="1371" y="862"/>
                    </a:lnTo>
                    <a:lnTo>
                      <a:pt x="1373" y="867"/>
                    </a:lnTo>
                    <a:lnTo>
                      <a:pt x="1378" y="870"/>
                    </a:lnTo>
                    <a:lnTo>
                      <a:pt x="1378" y="874"/>
                    </a:lnTo>
                    <a:lnTo>
                      <a:pt x="1383" y="884"/>
                    </a:lnTo>
                    <a:lnTo>
                      <a:pt x="1381" y="889"/>
                    </a:lnTo>
                    <a:lnTo>
                      <a:pt x="1379" y="890"/>
                    </a:lnTo>
                    <a:lnTo>
                      <a:pt x="1379" y="894"/>
                    </a:lnTo>
                    <a:lnTo>
                      <a:pt x="1373" y="899"/>
                    </a:lnTo>
                    <a:lnTo>
                      <a:pt x="1374" y="902"/>
                    </a:lnTo>
                    <a:lnTo>
                      <a:pt x="1371" y="905"/>
                    </a:lnTo>
                    <a:lnTo>
                      <a:pt x="1368" y="904"/>
                    </a:lnTo>
                    <a:lnTo>
                      <a:pt x="1359" y="904"/>
                    </a:lnTo>
                    <a:lnTo>
                      <a:pt x="1356" y="905"/>
                    </a:lnTo>
                    <a:lnTo>
                      <a:pt x="1356" y="910"/>
                    </a:lnTo>
                    <a:lnTo>
                      <a:pt x="1351" y="914"/>
                    </a:lnTo>
                    <a:lnTo>
                      <a:pt x="1348" y="915"/>
                    </a:lnTo>
                    <a:lnTo>
                      <a:pt x="1344" y="915"/>
                    </a:lnTo>
                    <a:lnTo>
                      <a:pt x="1338" y="922"/>
                    </a:lnTo>
                    <a:lnTo>
                      <a:pt x="1336" y="922"/>
                    </a:lnTo>
                    <a:lnTo>
                      <a:pt x="1331" y="922"/>
                    </a:lnTo>
                    <a:lnTo>
                      <a:pt x="1329" y="927"/>
                    </a:lnTo>
                    <a:lnTo>
                      <a:pt x="1318" y="929"/>
                    </a:lnTo>
                    <a:lnTo>
                      <a:pt x="1314" y="927"/>
                    </a:lnTo>
                    <a:lnTo>
                      <a:pt x="1316" y="925"/>
                    </a:lnTo>
                    <a:lnTo>
                      <a:pt x="1314" y="919"/>
                    </a:lnTo>
                    <a:lnTo>
                      <a:pt x="1311" y="915"/>
                    </a:lnTo>
                    <a:lnTo>
                      <a:pt x="1311" y="914"/>
                    </a:lnTo>
                    <a:lnTo>
                      <a:pt x="1314" y="912"/>
                    </a:lnTo>
                    <a:lnTo>
                      <a:pt x="1314" y="909"/>
                    </a:lnTo>
                    <a:lnTo>
                      <a:pt x="1318" y="904"/>
                    </a:lnTo>
                    <a:lnTo>
                      <a:pt x="1313" y="907"/>
                    </a:lnTo>
                    <a:lnTo>
                      <a:pt x="1311" y="909"/>
                    </a:lnTo>
                    <a:lnTo>
                      <a:pt x="1311" y="899"/>
                    </a:lnTo>
                    <a:lnTo>
                      <a:pt x="1309" y="899"/>
                    </a:lnTo>
                    <a:lnTo>
                      <a:pt x="1306" y="894"/>
                    </a:lnTo>
                    <a:lnTo>
                      <a:pt x="1301" y="897"/>
                    </a:lnTo>
                    <a:lnTo>
                      <a:pt x="1299" y="895"/>
                    </a:lnTo>
                    <a:lnTo>
                      <a:pt x="1296" y="895"/>
                    </a:lnTo>
                    <a:lnTo>
                      <a:pt x="1291" y="902"/>
                    </a:lnTo>
                    <a:lnTo>
                      <a:pt x="1294" y="902"/>
                    </a:lnTo>
                    <a:lnTo>
                      <a:pt x="1299" y="899"/>
                    </a:lnTo>
                    <a:lnTo>
                      <a:pt x="1303" y="899"/>
                    </a:lnTo>
                    <a:lnTo>
                      <a:pt x="1303" y="904"/>
                    </a:lnTo>
                    <a:lnTo>
                      <a:pt x="1306" y="905"/>
                    </a:lnTo>
                    <a:lnTo>
                      <a:pt x="1309" y="912"/>
                    </a:lnTo>
                    <a:lnTo>
                      <a:pt x="1308" y="917"/>
                    </a:lnTo>
                    <a:lnTo>
                      <a:pt x="1311" y="919"/>
                    </a:lnTo>
                    <a:lnTo>
                      <a:pt x="1311" y="925"/>
                    </a:lnTo>
                    <a:lnTo>
                      <a:pt x="1309" y="927"/>
                    </a:lnTo>
                    <a:lnTo>
                      <a:pt x="1311" y="929"/>
                    </a:lnTo>
                    <a:lnTo>
                      <a:pt x="1311" y="932"/>
                    </a:lnTo>
                    <a:lnTo>
                      <a:pt x="1308" y="933"/>
                    </a:lnTo>
                    <a:lnTo>
                      <a:pt x="1301" y="927"/>
                    </a:lnTo>
                    <a:lnTo>
                      <a:pt x="1299" y="924"/>
                    </a:lnTo>
                    <a:lnTo>
                      <a:pt x="1296" y="922"/>
                    </a:lnTo>
                    <a:lnTo>
                      <a:pt x="1296" y="919"/>
                    </a:lnTo>
                    <a:lnTo>
                      <a:pt x="1293" y="922"/>
                    </a:lnTo>
                    <a:lnTo>
                      <a:pt x="1298" y="925"/>
                    </a:lnTo>
                    <a:lnTo>
                      <a:pt x="1296" y="930"/>
                    </a:lnTo>
                    <a:lnTo>
                      <a:pt x="1291" y="927"/>
                    </a:lnTo>
                    <a:lnTo>
                      <a:pt x="1286" y="925"/>
                    </a:lnTo>
                    <a:lnTo>
                      <a:pt x="1286" y="924"/>
                    </a:lnTo>
                    <a:lnTo>
                      <a:pt x="1283" y="925"/>
                    </a:lnTo>
                    <a:lnTo>
                      <a:pt x="1283" y="922"/>
                    </a:lnTo>
                    <a:lnTo>
                      <a:pt x="1285" y="915"/>
                    </a:lnTo>
                    <a:lnTo>
                      <a:pt x="1286" y="915"/>
                    </a:lnTo>
                    <a:lnTo>
                      <a:pt x="1283" y="914"/>
                    </a:lnTo>
                    <a:lnTo>
                      <a:pt x="1283" y="912"/>
                    </a:lnTo>
                    <a:lnTo>
                      <a:pt x="1276" y="914"/>
                    </a:lnTo>
                    <a:lnTo>
                      <a:pt x="1271" y="914"/>
                    </a:lnTo>
                    <a:lnTo>
                      <a:pt x="1266" y="912"/>
                    </a:lnTo>
                    <a:lnTo>
                      <a:pt x="1263" y="912"/>
                    </a:lnTo>
                    <a:lnTo>
                      <a:pt x="1258" y="909"/>
                    </a:lnTo>
                    <a:lnTo>
                      <a:pt x="1256" y="912"/>
                    </a:lnTo>
                    <a:lnTo>
                      <a:pt x="1258" y="915"/>
                    </a:lnTo>
                    <a:lnTo>
                      <a:pt x="1256" y="917"/>
                    </a:lnTo>
                    <a:lnTo>
                      <a:pt x="1256" y="920"/>
                    </a:lnTo>
                    <a:lnTo>
                      <a:pt x="1258" y="924"/>
                    </a:lnTo>
                    <a:lnTo>
                      <a:pt x="1265" y="925"/>
                    </a:lnTo>
                    <a:lnTo>
                      <a:pt x="1266" y="929"/>
                    </a:lnTo>
                    <a:lnTo>
                      <a:pt x="1263" y="935"/>
                    </a:lnTo>
                    <a:lnTo>
                      <a:pt x="1260" y="935"/>
                    </a:lnTo>
                    <a:lnTo>
                      <a:pt x="1248" y="943"/>
                    </a:lnTo>
                    <a:lnTo>
                      <a:pt x="1243" y="948"/>
                    </a:lnTo>
                    <a:lnTo>
                      <a:pt x="1238" y="955"/>
                    </a:lnTo>
                    <a:lnTo>
                      <a:pt x="1235" y="953"/>
                    </a:lnTo>
                    <a:lnTo>
                      <a:pt x="1231" y="957"/>
                    </a:lnTo>
                    <a:lnTo>
                      <a:pt x="1228" y="962"/>
                    </a:lnTo>
                    <a:lnTo>
                      <a:pt x="1225" y="963"/>
                    </a:lnTo>
                    <a:lnTo>
                      <a:pt x="1210" y="960"/>
                    </a:lnTo>
                    <a:lnTo>
                      <a:pt x="1206" y="955"/>
                    </a:lnTo>
                    <a:lnTo>
                      <a:pt x="1203" y="950"/>
                    </a:lnTo>
                    <a:lnTo>
                      <a:pt x="1196" y="948"/>
                    </a:lnTo>
                    <a:lnTo>
                      <a:pt x="1196" y="945"/>
                    </a:lnTo>
                    <a:lnTo>
                      <a:pt x="1198" y="945"/>
                    </a:lnTo>
                    <a:lnTo>
                      <a:pt x="1201" y="943"/>
                    </a:lnTo>
                    <a:lnTo>
                      <a:pt x="1198" y="942"/>
                    </a:lnTo>
                    <a:lnTo>
                      <a:pt x="1193" y="940"/>
                    </a:lnTo>
                    <a:lnTo>
                      <a:pt x="1188" y="932"/>
                    </a:lnTo>
                    <a:lnTo>
                      <a:pt x="1183" y="929"/>
                    </a:lnTo>
                    <a:lnTo>
                      <a:pt x="1173" y="929"/>
                    </a:lnTo>
                    <a:lnTo>
                      <a:pt x="1167" y="924"/>
                    </a:lnTo>
                    <a:lnTo>
                      <a:pt x="1155" y="924"/>
                    </a:lnTo>
                    <a:lnTo>
                      <a:pt x="1150" y="922"/>
                    </a:lnTo>
                    <a:lnTo>
                      <a:pt x="1150" y="925"/>
                    </a:lnTo>
                    <a:lnTo>
                      <a:pt x="1153" y="929"/>
                    </a:lnTo>
                    <a:lnTo>
                      <a:pt x="1155" y="927"/>
                    </a:lnTo>
                    <a:lnTo>
                      <a:pt x="1158" y="925"/>
                    </a:lnTo>
                    <a:lnTo>
                      <a:pt x="1168" y="929"/>
                    </a:lnTo>
                    <a:lnTo>
                      <a:pt x="1178" y="929"/>
                    </a:lnTo>
                    <a:lnTo>
                      <a:pt x="1182" y="930"/>
                    </a:lnTo>
                    <a:lnTo>
                      <a:pt x="1182" y="933"/>
                    </a:lnTo>
                    <a:lnTo>
                      <a:pt x="1180" y="933"/>
                    </a:lnTo>
                    <a:lnTo>
                      <a:pt x="1178" y="935"/>
                    </a:lnTo>
                    <a:lnTo>
                      <a:pt x="1178" y="937"/>
                    </a:lnTo>
                    <a:lnTo>
                      <a:pt x="1180" y="943"/>
                    </a:lnTo>
                    <a:lnTo>
                      <a:pt x="1182" y="943"/>
                    </a:lnTo>
                    <a:lnTo>
                      <a:pt x="1187" y="953"/>
                    </a:lnTo>
                    <a:lnTo>
                      <a:pt x="1190" y="960"/>
                    </a:lnTo>
                    <a:lnTo>
                      <a:pt x="1198" y="962"/>
                    </a:lnTo>
                    <a:lnTo>
                      <a:pt x="1208" y="963"/>
                    </a:lnTo>
                    <a:lnTo>
                      <a:pt x="1226" y="968"/>
                    </a:lnTo>
                    <a:lnTo>
                      <a:pt x="1226" y="973"/>
                    </a:lnTo>
                    <a:lnTo>
                      <a:pt x="1225" y="975"/>
                    </a:lnTo>
                    <a:lnTo>
                      <a:pt x="1218" y="978"/>
                    </a:lnTo>
                    <a:lnTo>
                      <a:pt x="1215" y="980"/>
                    </a:lnTo>
                    <a:lnTo>
                      <a:pt x="1208" y="988"/>
                    </a:lnTo>
                    <a:lnTo>
                      <a:pt x="1206" y="987"/>
                    </a:lnTo>
                    <a:lnTo>
                      <a:pt x="1205" y="988"/>
                    </a:lnTo>
                    <a:lnTo>
                      <a:pt x="1203" y="990"/>
                    </a:lnTo>
                    <a:lnTo>
                      <a:pt x="1188" y="1005"/>
                    </a:lnTo>
                    <a:lnTo>
                      <a:pt x="1182" y="1008"/>
                    </a:lnTo>
                    <a:lnTo>
                      <a:pt x="1178" y="1015"/>
                    </a:lnTo>
                    <a:lnTo>
                      <a:pt x="1173" y="1015"/>
                    </a:lnTo>
                    <a:lnTo>
                      <a:pt x="1172" y="1013"/>
                    </a:lnTo>
                    <a:lnTo>
                      <a:pt x="1168" y="1013"/>
                    </a:lnTo>
                    <a:lnTo>
                      <a:pt x="1168" y="1017"/>
                    </a:lnTo>
                    <a:lnTo>
                      <a:pt x="1162" y="1010"/>
                    </a:lnTo>
                    <a:lnTo>
                      <a:pt x="1158" y="1008"/>
                    </a:lnTo>
                    <a:lnTo>
                      <a:pt x="1155" y="1012"/>
                    </a:lnTo>
                    <a:lnTo>
                      <a:pt x="1153" y="1008"/>
                    </a:lnTo>
                    <a:lnTo>
                      <a:pt x="1152" y="1008"/>
                    </a:lnTo>
                    <a:lnTo>
                      <a:pt x="1155" y="1003"/>
                    </a:lnTo>
                    <a:lnTo>
                      <a:pt x="1153" y="1002"/>
                    </a:lnTo>
                    <a:lnTo>
                      <a:pt x="1153" y="1000"/>
                    </a:lnTo>
                    <a:lnTo>
                      <a:pt x="1148" y="1003"/>
                    </a:lnTo>
                    <a:lnTo>
                      <a:pt x="1145" y="1012"/>
                    </a:lnTo>
                    <a:lnTo>
                      <a:pt x="1145" y="1007"/>
                    </a:lnTo>
                    <a:lnTo>
                      <a:pt x="1142" y="1000"/>
                    </a:lnTo>
                    <a:lnTo>
                      <a:pt x="1140" y="1007"/>
                    </a:lnTo>
                    <a:lnTo>
                      <a:pt x="1142" y="1010"/>
                    </a:lnTo>
                    <a:lnTo>
                      <a:pt x="1142" y="1017"/>
                    </a:lnTo>
                    <a:lnTo>
                      <a:pt x="1135" y="1025"/>
                    </a:lnTo>
                    <a:lnTo>
                      <a:pt x="1132" y="1023"/>
                    </a:lnTo>
                    <a:lnTo>
                      <a:pt x="1132" y="1022"/>
                    </a:lnTo>
                    <a:lnTo>
                      <a:pt x="1128" y="1017"/>
                    </a:lnTo>
                    <a:lnTo>
                      <a:pt x="1127" y="1020"/>
                    </a:lnTo>
                    <a:lnTo>
                      <a:pt x="1130" y="1022"/>
                    </a:lnTo>
                    <a:lnTo>
                      <a:pt x="1125" y="1025"/>
                    </a:lnTo>
                    <a:lnTo>
                      <a:pt x="1125" y="1030"/>
                    </a:lnTo>
                    <a:lnTo>
                      <a:pt x="1123" y="1028"/>
                    </a:lnTo>
                    <a:lnTo>
                      <a:pt x="1118" y="1027"/>
                    </a:lnTo>
                    <a:lnTo>
                      <a:pt x="1117" y="1023"/>
                    </a:lnTo>
                    <a:lnTo>
                      <a:pt x="1113" y="1020"/>
                    </a:lnTo>
                    <a:lnTo>
                      <a:pt x="1108" y="1015"/>
                    </a:lnTo>
                    <a:lnTo>
                      <a:pt x="1098" y="1012"/>
                    </a:lnTo>
                    <a:lnTo>
                      <a:pt x="1090" y="1007"/>
                    </a:lnTo>
                    <a:lnTo>
                      <a:pt x="1087" y="1000"/>
                    </a:lnTo>
                    <a:lnTo>
                      <a:pt x="1084" y="1000"/>
                    </a:lnTo>
                    <a:lnTo>
                      <a:pt x="1077" y="995"/>
                    </a:lnTo>
                    <a:lnTo>
                      <a:pt x="1074" y="992"/>
                    </a:lnTo>
                    <a:lnTo>
                      <a:pt x="1074" y="998"/>
                    </a:lnTo>
                    <a:lnTo>
                      <a:pt x="1069" y="997"/>
                    </a:lnTo>
                    <a:lnTo>
                      <a:pt x="1072" y="1003"/>
                    </a:lnTo>
                    <a:lnTo>
                      <a:pt x="1077" y="1007"/>
                    </a:lnTo>
                    <a:lnTo>
                      <a:pt x="1079" y="1005"/>
                    </a:lnTo>
                    <a:lnTo>
                      <a:pt x="1075" y="1002"/>
                    </a:lnTo>
                    <a:lnTo>
                      <a:pt x="1077" y="1000"/>
                    </a:lnTo>
                    <a:lnTo>
                      <a:pt x="1079" y="1000"/>
                    </a:lnTo>
                    <a:lnTo>
                      <a:pt x="1088" y="1008"/>
                    </a:lnTo>
                    <a:lnTo>
                      <a:pt x="1097" y="1013"/>
                    </a:lnTo>
                    <a:lnTo>
                      <a:pt x="1098" y="1017"/>
                    </a:lnTo>
                    <a:lnTo>
                      <a:pt x="1092" y="1020"/>
                    </a:lnTo>
                    <a:lnTo>
                      <a:pt x="1087" y="1020"/>
                    </a:lnTo>
                    <a:lnTo>
                      <a:pt x="1084" y="1020"/>
                    </a:lnTo>
                    <a:lnTo>
                      <a:pt x="1084" y="1022"/>
                    </a:lnTo>
                    <a:lnTo>
                      <a:pt x="1084" y="1023"/>
                    </a:lnTo>
                    <a:lnTo>
                      <a:pt x="1087" y="1022"/>
                    </a:lnTo>
                    <a:lnTo>
                      <a:pt x="1097" y="1022"/>
                    </a:lnTo>
                    <a:lnTo>
                      <a:pt x="1102" y="1017"/>
                    </a:lnTo>
                    <a:lnTo>
                      <a:pt x="1103" y="1017"/>
                    </a:lnTo>
                    <a:lnTo>
                      <a:pt x="1107" y="1020"/>
                    </a:lnTo>
                    <a:lnTo>
                      <a:pt x="1107" y="1025"/>
                    </a:lnTo>
                    <a:lnTo>
                      <a:pt x="1117" y="1035"/>
                    </a:lnTo>
                    <a:lnTo>
                      <a:pt x="1115" y="1045"/>
                    </a:lnTo>
                    <a:lnTo>
                      <a:pt x="1110" y="1051"/>
                    </a:lnTo>
                    <a:lnTo>
                      <a:pt x="1105" y="1051"/>
                    </a:lnTo>
                    <a:lnTo>
                      <a:pt x="1103" y="1053"/>
                    </a:lnTo>
                    <a:lnTo>
                      <a:pt x="1097" y="1053"/>
                    </a:lnTo>
                    <a:lnTo>
                      <a:pt x="1093" y="1050"/>
                    </a:lnTo>
                    <a:lnTo>
                      <a:pt x="1082" y="1048"/>
                    </a:lnTo>
                    <a:lnTo>
                      <a:pt x="1075" y="1041"/>
                    </a:lnTo>
                    <a:lnTo>
                      <a:pt x="1074" y="1033"/>
                    </a:lnTo>
                    <a:lnTo>
                      <a:pt x="1070" y="1031"/>
                    </a:lnTo>
                    <a:lnTo>
                      <a:pt x="1069" y="1033"/>
                    </a:lnTo>
                    <a:lnTo>
                      <a:pt x="1070" y="1035"/>
                    </a:lnTo>
                    <a:lnTo>
                      <a:pt x="1070" y="1040"/>
                    </a:lnTo>
                    <a:lnTo>
                      <a:pt x="1074" y="1045"/>
                    </a:lnTo>
                    <a:lnTo>
                      <a:pt x="1077" y="1053"/>
                    </a:lnTo>
                    <a:lnTo>
                      <a:pt x="1082" y="1061"/>
                    </a:lnTo>
                    <a:lnTo>
                      <a:pt x="1079" y="1063"/>
                    </a:lnTo>
                    <a:lnTo>
                      <a:pt x="1077" y="1061"/>
                    </a:lnTo>
                    <a:lnTo>
                      <a:pt x="1072" y="1063"/>
                    </a:lnTo>
                    <a:lnTo>
                      <a:pt x="1070" y="1056"/>
                    </a:lnTo>
                    <a:lnTo>
                      <a:pt x="1070" y="1060"/>
                    </a:lnTo>
                    <a:lnTo>
                      <a:pt x="1067" y="1061"/>
                    </a:lnTo>
                    <a:lnTo>
                      <a:pt x="1069" y="1063"/>
                    </a:lnTo>
                    <a:lnTo>
                      <a:pt x="1074" y="1065"/>
                    </a:lnTo>
                    <a:lnTo>
                      <a:pt x="1075" y="1068"/>
                    </a:lnTo>
                    <a:lnTo>
                      <a:pt x="1065" y="1066"/>
                    </a:lnTo>
                    <a:lnTo>
                      <a:pt x="1064" y="1065"/>
                    </a:lnTo>
                    <a:lnTo>
                      <a:pt x="1064" y="1068"/>
                    </a:lnTo>
                    <a:lnTo>
                      <a:pt x="1067" y="1070"/>
                    </a:lnTo>
                    <a:lnTo>
                      <a:pt x="1067" y="1073"/>
                    </a:lnTo>
                    <a:lnTo>
                      <a:pt x="1062" y="1078"/>
                    </a:lnTo>
                    <a:lnTo>
                      <a:pt x="1062" y="1073"/>
                    </a:lnTo>
                    <a:lnTo>
                      <a:pt x="1059" y="1073"/>
                    </a:lnTo>
                    <a:lnTo>
                      <a:pt x="1060" y="1075"/>
                    </a:lnTo>
                    <a:lnTo>
                      <a:pt x="1060" y="1078"/>
                    </a:lnTo>
                    <a:lnTo>
                      <a:pt x="1059" y="1076"/>
                    </a:lnTo>
                    <a:lnTo>
                      <a:pt x="1052" y="1076"/>
                    </a:lnTo>
                    <a:lnTo>
                      <a:pt x="1050" y="1080"/>
                    </a:lnTo>
                    <a:lnTo>
                      <a:pt x="1042" y="1081"/>
                    </a:lnTo>
                    <a:lnTo>
                      <a:pt x="1047" y="1083"/>
                    </a:lnTo>
                    <a:lnTo>
                      <a:pt x="1047" y="1086"/>
                    </a:lnTo>
                    <a:lnTo>
                      <a:pt x="1045" y="1088"/>
                    </a:lnTo>
                    <a:lnTo>
                      <a:pt x="1044" y="1086"/>
                    </a:lnTo>
                    <a:lnTo>
                      <a:pt x="1039" y="1081"/>
                    </a:lnTo>
                    <a:lnTo>
                      <a:pt x="1035" y="1081"/>
                    </a:lnTo>
                    <a:lnTo>
                      <a:pt x="1035" y="1085"/>
                    </a:lnTo>
                    <a:lnTo>
                      <a:pt x="1032" y="1085"/>
                    </a:lnTo>
                    <a:lnTo>
                      <a:pt x="1039" y="1090"/>
                    </a:lnTo>
                    <a:lnTo>
                      <a:pt x="1035" y="1091"/>
                    </a:lnTo>
                    <a:lnTo>
                      <a:pt x="1035" y="1095"/>
                    </a:lnTo>
                    <a:lnTo>
                      <a:pt x="1032" y="1095"/>
                    </a:lnTo>
                    <a:lnTo>
                      <a:pt x="1027" y="1100"/>
                    </a:lnTo>
                    <a:lnTo>
                      <a:pt x="1022" y="1103"/>
                    </a:lnTo>
                    <a:lnTo>
                      <a:pt x="1024" y="1105"/>
                    </a:lnTo>
                    <a:lnTo>
                      <a:pt x="1022" y="1108"/>
                    </a:lnTo>
                    <a:lnTo>
                      <a:pt x="1020" y="1108"/>
                    </a:lnTo>
                    <a:lnTo>
                      <a:pt x="1017" y="1111"/>
                    </a:lnTo>
                    <a:lnTo>
                      <a:pt x="1017" y="1115"/>
                    </a:lnTo>
                    <a:lnTo>
                      <a:pt x="1014" y="1116"/>
                    </a:lnTo>
                    <a:lnTo>
                      <a:pt x="1007" y="1123"/>
                    </a:lnTo>
                    <a:lnTo>
                      <a:pt x="1002" y="1125"/>
                    </a:lnTo>
                    <a:lnTo>
                      <a:pt x="1000" y="1128"/>
                    </a:lnTo>
                    <a:lnTo>
                      <a:pt x="995" y="1133"/>
                    </a:lnTo>
                    <a:lnTo>
                      <a:pt x="990" y="1130"/>
                    </a:lnTo>
                    <a:lnTo>
                      <a:pt x="990" y="1133"/>
                    </a:lnTo>
                    <a:lnTo>
                      <a:pt x="992" y="1138"/>
                    </a:lnTo>
                    <a:lnTo>
                      <a:pt x="989" y="1141"/>
                    </a:lnTo>
                    <a:lnTo>
                      <a:pt x="987" y="1149"/>
                    </a:lnTo>
                    <a:lnTo>
                      <a:pt x="984" y="1153"/>
                    </a:lnTo>
                    <a:lnTo>
                      <a:pt x="982" y="1159"/>
                    </a:lnTo>
                    <a:lnTo>
                      <a:pt x="977" y="1161"/>
                    </a:lnTo>
                    <a:lnTo>
                      <a:pt x="974" y="1169"/>
                    </a:lnTo>
                    <a:lnTo>
                      <a:pt x="976" y="1171"/>
                    </a:lnTo>
                    <a:lnTo>
                      <a:pt x="976" y="1178"/>
                    </a:lnTo>
                    <a:lnTo>
                      <a:pt x="972" y="1184"/>
                    </a:lnTo>
                    <a:lnTo>
                      <a:pt x="971" y="1189"/>
                    </a:lnTo>
                    <a:lnTo>
                      <a:pt x="966" y="1189"/>
                    </a:lnTo>
                    <a:lnTo>
                      <a:pt x="964" y="1193"/>
                    </a:lnTo>
                    <a:lnTo>
                      <a:pt x="969" y="1193"/>
                    </a:lnTo>
                    <a:lnTo>
                      <a:pt x="971" y="1196"/>
                    </a:lnTo>
                    <a:lnTo>
                      <a:pt x="969" y="1199"/>
                    </a:lnTo>
                    <a:lnTo>
                      <a:pt x="971" y="1203"/>
                    </a:lnTo>
                    <a:lnTo>
                      <a:pt x="971" y="1208"/>
                    </a:lnTo>
                    <a:lnTo>
                      <a:pt x="972" y="1209"/>
                    </a:lnTo>
                    <a:lnTo>
                      <a:pt x="969" y="1219"/>
                    </a:lnTo>
                    <a:lnTo>
                      <a:pt x="962" y="1226"/>
                    </a:lnTo>
                    <a:lnTo>
                      <a:pt x="949" y="1228"/>
                    </a:lnTo>
                    <a:lnTo>
                      <a:pt x="947" y="1232"/>
                    </a:lnTo>
                    <a:lnTo>
                      <a:pt x="954" y="1228"/>
                    </a:lnTo>
                    <a:lnTo>
                      <a:pt x="966" y="1226"/>
                    </a:lnTo>
                    <a:lnTo>
                      <a:pt x="974" y="1218"/>
                    </a:lnTo>
                    <a:lnTo>
                      <a:pt x="979" y="1206"/>
                    </a:lnTo>
                    <a:lnTo>
                      <a:pt x="994" y="1206"/>
                    </a:lnTo>
                    <a:lnTo>
                      <a:pt x="997" y="1208"/>
                    </a:lnTo>
                    <a:lnTo>
                      <a:pt x="997" y="1211"/>
                    </a:lnTo>
                    <a:lnTo>
                      <a:pt x="995" y="1216"/>
                    </a:lnTo>
                    <a:lnTo>
                      <a:pt x="995" y="1221"/>
                    </a:lnTo>
                    <a:lnTo>
                      <a:pt x="999" y="1228"/>
                    </a:lnTo>
                    <a:lnTo>
                      <a:pt x="999" y="1236"/>
                    </a:lnTo>
                    <a:lnTo>
                      <a:pt x="994" y="1244"/>
                    </a:lnTo>
                    <a:lnTo>
                      <a:pt x="997" y="1247"/>
                    </a:lnTo>
                    <a:lnTo>
                      <a:pt x="999" y="1257"/>
                    </a:lnTo>
                    <a:lnTo>
                      <a:pt x="997" y="1261"/>
                    </a:lnTo>
                    <a:lnTo>
                      <a:pt x="982" y="1274"/>
                    </a:lnTo>
                    <a:lnTo>
                      <a:pt x="976" y="1276"/>
                    </a:lnTo>
                    <a:lnTo>
                      <a:pt x="971" y="1276"/>
                    </a:lnTo>
                    <a:lnTo>
                      <a:pt x="976" y="1277"/>
                    </a:lnTo>
                    <a:lnTo>
                      <a:pt x="982" y="1277"/>
                    </a:lnTo>
                    <a:lnTo>
                      <a:pt x="1000" y="1272"/>
                    </a:lnTo>
                    <a:lnTo>
                      <a:pt x="1017" y="1267"/>
                    </a:lnTo>
                    <a:lnTo>
                      <a:pt x="1025" y="1266"/>
                    </a:lnTo>
                    <a:lnTo>
                      <a:pt x="1037" y="1272"/>
                    </a:lnTo>
                    <a:lnTo>
                      <a:pt x="1044" y="1279"/>
                    </a:lnTo>
                    <a:lnTo>
                      <a:pt x="1055" y="1282"/>
                    </a:lnTo>
                    <a:lnTo>
                      <a:pt x="1057" y="1284"/>
                    </a:lnTo>
                    <a:lnTo>
                      <a:pt x="1062" y="1286"/>
                    </a:lnTo>
                    <a:lnTo>
                      <a:pt x="1070" y="1292"/>
                    </a:lnTo>
                    <a:lnTo>
                      <a:pt x="1074" y="1294"/>
                    </a:lnTo>
                    <a:lnTo>
                      <a:pt x="1077" y="1301"/>
                    </a:lnTo>
                    <a:lnTo>
                      <a:pt x="1082" y="1302"/>
                    </a:lnTo>
                    <a:lnTo>
                      <a:pt x="1082" y="1306"/>
                    </a:lnTo>
                    <a:lnTo>
                      <a:pt x="1085" y="1309"/>
                    </a:lnTo>
                    <a:lnTo>
                      <a:pt x="1088" y="1317"/>
                    </a:lnTo>
                    <a:lnTo>
                      <a:pt x="1088" y="1319"/>
                    </a:lnTo>
                    <a:lnTo>
                      <a:pt x="1092" y="1317"/>
                    </a:lnTo>
                    <a:lnTo>
                      <a:pt x="1093" y="1321"/>
                    </a:lnTo>
                    <a:lnTo>
                      <a:pt x="1103" y="1326"/>
                    </a:lnTo>
                    <a:lnTo>
                      <a:pt x="1107" y="1327"/>
                    </a:lnTo>
                    <a:lnTo>
                      <a:pt x="1113" y="1330"/>
                    </a:lnTo>
                    <a:lnTo>
                      <a:pt x="1118" y="1332"/>
                    </a:lnTo>
                    <a:lnTo>
                      <a:pt x="1125" y="1339"/>
                    </a:lnTo>
                    <a:lnTo>
                      <a:pt x="1127" y="1342"/>
                    </a:lnTo>
                    <a:lnTo>
                      <a:pt x="1133" y="1347"/>
                    </a:lnTo>
                    <a:lnTo>
                      <a:pt x="1132" y="1349"/>
                    </a:lnTo>
                    <a:lnTo>
                      <a:pt x="1133" y="1350"/>
                    </a:lnTo>
                    <a:lnTo>
                      <a:pt x="1142" y="1350"/>
                    </a:lnTo>
                    <a:lnTo>
                      <a:pt x="1143" y="1352"/>
                    </a:lnTo>
                    <a:lnTo>
                      <a:pt x="1148" y="1350"/>
                    </a:lnTo>
                    <a:lnTo>
                      <a:pt x="1160" y="1350"/>
                    </a:lnTo>
                    <a:lnTo>
                      <a:pt x="1162" y="1354"/>
                    </a:lnTo>
                    <a:lnTo>
                      <a:pt x="1163" y="1354"/>
                    </a:lnTo>
                    <a:lnTo>
                      <a:pt x="1172" y="1355"/>
                    </a:lnTo>
                    <a:lnTo>
                      <a:pt x="1180" y="1357"/>
                    </a:lnTo>
                    <a:lnTo>
                      <a:pt x="1185" y="1355"/>
                    </a:lnTo>
                    <a:lnTo>
                      <a:pt x="1188" y="1355"/>
                    </a:lnTo>
                    <a:lnTo>
                      <a:pt x="1188" y="1357"/>
                    </a:lnTo>
                    <a:lnTo>
                      <a:pt x="1190" y="1355"/>
                    </a:lnTo>
                    <a:lnTo>
                      <a:pt x="1193" y="1355"/>
                    </a:lnTo>
                    <a:lnTo>
                      <a:pt x="1193" y="1362"/>
                    </a:lnTo>
                    <a:lnTo>
                      <a:pt x="1187" y="1372"/>
                    </a:lnTo>
                    <a:lnTo>
                      <a:pt x="1187" y="1377"/>
                    </a:lnTo>
                    <a:lnTo>
                      <a:pt x="1183" y="1380"/>
                    </a:lnTo>
                    <a:lnTo>
                      <a:pt x="1180" y="1387"/>
                    </a:lnTo>
                    <a:lnTo>
                      <a:pt x="1182" y="1392"/>
                    </a:lnTo>
                    <a:lnTo>
                      <a:pt x="1183" y="1392"/>
                    </a:lnTo>
                    <a:lnTo>
                      <a:pt x="1183" y="1402"/>
                    </a:lnTo>
                    <a:lnTo>
                      <a:pt x="1177" y="1410"/>
                    </a:lnTo>
                    <a:lnTo>
                      <a:pt x="1177" y="1415"/>
                    </a:lnTo>
                    <a:lnTo>
                      <a:pt x="1175" y="1420"/>
                    </a:lnTo>
                    <a:lnTo>
                      <a:pt x="1170" y="1424"/>
                    </a:lnTo>
                    <a:lnTo>
                      <a:pt x="1167" y="1433"/>
                    </a:lnTo>
                    <a:lnTo>
                      <a:pt x="1170" y="1437"/>
                    </a:lnTo>
                    <a:lnTo>
                      <a:pt x="1175" y="1440"/>
                    </a:lnTo>
                    <a:lnTo>
                      <a:pt x="1175" y="1445"/>
                    </a:lnTo>
                    <a:lnTo>
                      <a:pt x="1178" y="1447"/>
                    </a:lnTo>
                    <a:lnTo>
                      <a:pt x="1180" y="1450"/>
                    </a:lnTo>
                    <a:lnTo>
                      <a:pt x="1180" y="1453"/>
                    </a:lnTo>
                    <a:lnTo>
                      <a:pt x="1180" y="1457"/>
                    </a:lnTo>
                    <a:lnTo>
                      <a:pt x="1180" y="1458"/>
                    </a:lnTo>
                    <a:lnTo>
                      <a:pt x="1185" y="1460"/>
                    </a:lnTo>
                    <a:lnTo>
                      <a:pt x="1190" y="1463"/>
                    </a:lnTo>
                    <a:lnTo>
                      <a:pt x="1191" y="1463"/>
                    </a:lnTo>
                    <a:lnTo>
                      <a:pt x="1191" y="1467"/>
                    </a:lnTo>
                    <a:lnTo>
                      <a:pt x="1195" y="1470"/>
                    </a:lnTo>
                    <a:lnTo>
                      <a:pt x="1196" y="1477"/>
                    </a:lnTo>
                    <a:lnTo>
                      <a:pt x="1196" y="1480"/>
                    </a:lnTo>
                    <a:lnTo>
                      <a:pt x="1195" y="1487"/>
                    </a:lnTo>
                    <a:lnTo>
                      <a:pt x="1187" y="1493"/>
                    </a:lnTo>
                    <a:lnTo>
                      <a:pt x="1193" y="1490"/>
                    </a:lnTo>
                    <a:lnTo>
                      <a:pt x="1198" y="1487"/>
                    </a:lnTo>
                    <a:lnTo>
                      <a:pt x="1205" y="1488"/>
                    </a:lnTo>
                    <a:lnTo>
                      <a:pt x="1210" y="1492"/>
                    </a:lnTo>
                    <a:lnTo>
                      <a:pt x="1213" y="1492"/>
                    </a:lnTo>
                    <a:lnTo>
                      <a:pt x="1215" y="1488"/>
                    </a:lnTo>
                    <a:lnTo>
                      <a:pt x="1215" y="1485"/>
                    </a:lnTo>
                    <a:lnTo>
                      <a:pt x="1223" y="1475"/>
                    </a:lnTo>
                    <a:lnTo>
                      <a:pt x="1225" y="1475"/>
                    </a:lnTo>
                    <a:lnTo>
                      <a:pt x="1225" y="1480"/>
                    </a:lnTo>
                    <a:lnTo>
                      <a:pt x="1225" y="1482"/>
                    </a:lnTo>
                    <a:lnTo>
                      <a:pt x="1228" y="1482"/>
                    </a:lnTo>
                    <a:lnTo>
                      <a:pt x="1230" y="1490"/>
                    </a:lnTo>
                    <a:lnTo>
                      <a:pt x="1228" y="1497"/>
                    </a:lnTo>
                    <a:lnTo>
                      <a:pt x="1235" y="1500"/>
                    </a:lnTo>
                    <a:lnTo>
                      <a:pt x="1243" y="1500"/>
                    </a:lnTo>
                    <a:lnTo>
                      <a:pt x="1238" y="1498"/>
                    </a:lnTo>
                    <a:lnTo>
                      <a:pt x="1233" y="1493"/>
                    </a:lnTo>
                    <a:lnTo>
                      <a:pt x="1231" y="1488"/>
                    </a:lnTo>
                    <a:lnTo>
                      <a:pt x="1233" y="1482"/>
                    </a:lnTo>
                    <a:lnTo>
                      <a:pt x="1236" y="1478"/>
                    </a:lnTo>
                    <a:lnTo>
                      <a:pt x="1233" y="1477"/>
                    </a:lnTo>
                    <a:lnTo>
                      <a:pt x="1233" y="1472"/>
                    </a:lnTo>
                    <a:lnTo>
                      <a:pt x="1235" y="1473"/>
                    </a:lnTo>
                    <a:lnTo>
                      <a:pt x="1238" y="1472"/>
                    </a:lnTo>
                    <a:lnTo>
                      <a:pt x="1240" y="1467"/>
                    </a:lnTo>
                    <a:lnTo>
                      <a:pt x="1245" y="1462"/>
                    </a:lnTo>
                    <a:lnTo>
                      <a:pt x="1243" y="1458"/>
                    </a:lnTo>
                    <a:lnTo>
                      <a:pt x="1243" y="1453"/>
                    </a:lnTo>
                    <a:lnTo>
                      <a:pt x="1240" y="1452"/>
                    </a:lnTo>
                    <a:lnTo>
                      <a:pt x="1240" y="1447"/>
                    </a:lnTo>
                    <a:lnTo>
                      <a:pt x="1245" y="1442"/>
                    </a:lnTo>
                    <a:lnTo>
                      <a:pt x="1243" y="1440"/>
                    </a:lnTo>
                    <a:lnTo>
                      <a:pt x="1243" y="1437"/>
                    </a:lnTo>
                    <a:lnTo>
                      <a:pt x="1241" y="1437"/>
                    </a:lnTo>
                    <a:lnTo>
                      <a:pt x="1240" y="1433"/>
                    </a:lnTo>
                    <a:lnTo>
                      <a:pt x="1245" y="1422"/>
                    </a:lnTo>
                    <a:lnTo>
                      <a:pt x="1243" y="1419"/>
                    </a:lnTo>
                    <a:lnTo>
                      <a:pt x="1245" y="1410"/>
                    </a:lnTo>
                    <a:lnTo>
                      <a:pt x="1246" y="1409"/>
                    </a:lnTo>
                    <a:lnTo>
                      <a:pt x="1245" y="1405"/>
                    </a:lnTo>
                    <a:lnTo>
                      <a:pt x="1248" y="1404"/>
                    </a:lnTo>
                    <a:lnTo>
                      <a:pt x="1246" y="1400"/>
                    </a:lnTo>
                    <a:lnTo>
                      <a:pt x="1248" y="1397"/>
                    </a:lnTo>
                    <a:lnTo>
                      <a:pt x="1246" y="1397"/>
                    </a:lnTo>
                    <a:lnTo>
                      <a:pt x="1245" y="1394"/>
                    </a:lnTo>
                    <a:lnTo>
                      <a:pt x="1246" y="1394"/>
                    </a:lnTo>
                    <a:lnTo>
                      <a:pt x="1245" y="1390"/>
                    </a:lnTo>
                    <a:lnTo>
                      <a:pt x="1245" y="1385"/>
                    </a:lnTo>
                    <a:lnTo>
                      <a:pt x="1243" y="1382"/>
                    </a:lnTo>
                    <a:lnTo>
                      <a:pt x="1243" y="1377"/>
                    </a:lnTo>
                    <a:lnTo>
                      <a:pt x="1241" y="1375"/>
                    </a:lnTo>
                    <a:lnTo>
                      <a:pt x="1248" y="1372"/>
                    </a:lnTo>
                    <a:lnTo>
                      <a:pt x="1256" y="1372"/>
                    </a:lnTo>
                    <a:lnTo>
                      <a:pt x="1261" y="1367"/>
                    </a:lnTo>
                    <a:lnTo>
                      <a:pt x="1268" y="1369"/>
                    </a:lnTo>
                    <a:lnTo>
                      <a:pt x="1270" y="1365"/>
                    </a:lnTo>
                    <a:lnTo>
                      <a:pt x="1280" y="1362"/>
                    </a:lnTo>
                    <a:lnTo>
                      <a:pt x="1294" y="1357"/>
                    </a:lnTo>
                    <a:lnTo>
                      <a:pt x="1294" y="1355"/>
                    </a:lnTo>
                    <a:lnTo>
                      <a:pt x="1298" y="1352"/>
                    </a:lnTo>
                    <a:lnTo>
                      <a:pt x="1309" y="1349"/>
                    </a:lnTo>
                    <a:lnTo>
                      <a:pt x="1309" y="1344"/>
                    </a:lnTo>
                    <a:lnTo>
                      <a:pt x="1316" y="1342"/>
                    </a:lnTo>
                    <a:lnTo>
                      <a:pt x="1323" y="1332"/>
                    </a:lnTo>
                    <a:lnTo>
                      <a:pt x="1324" y="1332"/>
                    </a:lnTo>
                    <a:lnTo>
                      <a:pt x="1328" y="1335"/>
                    </a:lnTo>
                    <a:lnTo>
                      <a:pt x="1333" y="1334"/>
                    </a:lnTo>
                    <a:lnTo>
                      <a:pt x="1336" y="1330"/>
                    </a:lnTo>
                    <a:lnTo>
                      <a:pt x="1331" y="1326"/>
                    </a:lnTo>
                    <a:lnTo>
                      <a:pt x="1331" y="1321"/>
                    </a:lnTo>
                    <a:lnTo>
                      <a:pt x="1328" y="1322"/>
                    </a:lnTo>
                    <a:lnTo>
                      <a:pt x="1328" y="1327"/>
                    </a:lnTo>
                    <a:lnTo>
                      <a:pt x="1324" y="1327"/>
                    </a:lnTo>
                    <a:lnTo>
                      <a:pt x="1326" y="1322"/>
                    </a:lnTo>
                    <a:lnTo>
                      <a:pt x="1331" y="1311"/>
                    </a:lnTo>
                    <a:lnTo>
                      <a:pt x="1333" y="1309"/>
                    </a:lnTo>
                    <a:lnTo>
                      <a:pt x="1333" y="1302"/>
                    </a:lnTo>
                    <a:lnTo>
                      <a:pt x="1334" y="1297"/>
                    </a:lnTo>
                    <a:lnTo>
                      <a:pt x="1329" y="1291"/>
                    </a:lnTo>
                    <a:lnTo>
                      <a:pt x="1331" y="1277"/>
                    </a:lnTo>
                    <a:lnTo>
                      <a:pt x="1329" y="1266"/>
                    </a:lnTo>
                    <a:lnTo>
                      <a:pt x="1321" y="1256"/>
                    </a:lnTo>
                    <a:lnTo>
                      <a:pt x="1316" y="1252"/>
                    </a:lnTo>
                    <a:lnTo>
                      <a:pt x="1314" y="1247"/>
                    </a:lnTo>
                    <a:lnTo>
                      <a:pt x="1309" y="1246"/>
                    </a:lnTo>
                    <a:lnTo>
                      <a:pt x="1308" y="1242"/>
                    </a:lnTo>
                    <a:lnTo>
                      <a:pt x="1311" y="1234"/>
                    </a:lnTo>
                    <a:lnTo>
                      <a:pt x="1316" y="1232"/>
                    </a:lnTo>
                    <a:lnTo>
                      <a:pt x="1329" y="1221"/>
                    </a:lnTo>
                    <a:lnTo>
                      <a:pt x="1333" y="1219"/>
                    </a:lnTo>
                    <a:lnTo>
                      <a:pt x="1336" y="1216"/>
                    </a:lnTo>
                    <a:lnTo>
                      <a:pt x="1336" y="1213"/>
                    </a:lnTo>
                    <a:lnTo>
                      <a:pt x="1334" y="1213"/>
                    </a:lnTo>
                    <a:lnTo>
                      <a:pt x="1334" y="1211"/>
                    </a:lnTo>
                    <a:lnTo>
                      <a:pt x="1339" y="1204"/>
                    </a:lnTo>
                    <a:lnTo>
                      <a:pt x="1341" y="1204"/>
                    </a:lnTo>
                    <a:lnTo>
                      <a:pt x="1344" y="1209"/>
                    </a:lnTo>
                    <a:lnTo>
                      <a:pt x="1348" y="1211"/>
                    </a:lnTo>
                    <a:lnTo>
                      <a:pt x="1346" y="1209"/>
                    </a:lnTo>
                    <a:lnTo>
                      <a:pt x="1346" y="1204"/>
                    </a:lnTo>
                    <a:lnTo>
                      <a:pt x="1351" y="1201"/>
                    </a:lnTo>
                    <a:lnTo>
                      <a:pt x="1356" y="1193"/>
                    </a:lnTo>
                    <a:lnTo>
                      <a:pt x="1356" y="1191"/>
                    </a:lnTo>
                    <a:lnTo>
                      <a:pt x="1349" y="1191"/>
                    </a:lnTo>
                    <a:lnTo>
                      <a:pt x="1349" y="1189"/>
                    </a:lnTo>
                    <a:lnTo>
                      <a:pt x="1353" y="1184"/>
                    </a:lnTo>
                    <a:lnTo>
                      <a:pt x="1351" y="1181"/>
                    </a:lnTo>
                    <a:lnTo>
                      <a:pt x="1349" y="1179"/>
                    </a:lnTo>
                    <a:lnTo>
                      <a:pt x="1353" y="1174"/>
                    </a:lnTo>
                    <a:lnTo>
                      <a:pt x="1356" y="1174"/>
                    </a:lnTo>
                    <a:lnTo>
                      <a:pt x="1351" y="1173"/>
                    </a:lnTo>
                    <a:lnTo>
                      <a:pt x="1351" y="1171"/>
                    </a:lnTo>
                    <a:lnTo>
                      <a:pt x="1353" y="1164"/>
                    </a:lnTo>
                    <a:lnTo>
                      <a:pt x="1358" y="1163"/>
                    </a:lnTo>
                    <a:lnTo>
                      <a:pt x="1354" y="1161"/>
                    </a:lnTo>
                    <a:lnTo>
                      <a:pt x="1346" y="1163"/>
                    </a:lnTo>
                    <a:lnTo>
                      <a:pt x="1344" y="1161"/>
                    </a:lnTo>
                    <a:lnTo>
                      <a:pt x="1344" y="1158"/>
                    </a:lnTo>
                    <a:lnTo>
                      <a:pt x="1354" y="1151"/>
                    </a:lnTo>
                    <a:lnTo>
                      <a:pt x="1361" y="1143"/>
                    </a:lnTo>
                    <a:lnTo>
                      <a:pt x="1363" y="1138"/>
                    </a:lnTo>
                    <a:lnTo>
                      <a:pt x="1366" y="1138"/>
                    </a:lnTo>
                    <a:lnTo>
                      <a:pt x="1368" y="1136"/>
                    </a:lnTo>
                    <a:lnTo>
                      <a:pt x="1368" y="1131"/>
                    </a:lnTo>
                    <a:lnTo>
                      <a:pt x="1364" y="1130"/>
                    </a:lnTo>
                    <a:lnTo>
                      <a:pt x="1364" y="1128"/>
                    </a:lnTo>
                    <a:lnTo>
                      <a:pt x="1363" y="1128"/>
                    </a:lnTo>
                    <a:lnTo>
                      <a:pt x="1359" y="1123"/>
                    </a:lnTo>
                    <a:lnTo>
                      <a:pt x="1359" y="1115"/>
                    </a:lnTo>
                    <a:lnTo>
                      <a:pt x="1363" y="1108"/>
                    </a:lnTo>
                    <a:lnTo>
                      <a:pt x="1363" y="1103"/>
                    </a:lnTo>
                    <a:lnTo>
                      <a:pt x="1366" y="1101"/>
                    </a:lnTo>
                    <a:lnTo>
                      <a:pt x="1368" y="1101"/>
                    </a:lnTo>
                    <a:lnTo>
                      <a:pt x="1371" y="1101"/>
                    </a:lnTo>
                    <a:lnTo>
                      <a:pt x="1371" y="1100"/>
                    </a:lnTo>
                    <a:lnTo>
                      <a:pt x="1374" y="1096"/>
                    </a:lnTo>
                    <a:lnTo>
                      <a:pt x="1378" y="1096"/>
                    </a:lnTo>
                    <a:lnTo>
                      <a:pt x="1381" y="1095"/>
                    </a:lnTo>
                    <a:lnTo>
                      <a:pt x="1383" y="1096"/>
                    </a:lnTo>
                    <a:lnTo>
                      <a:pt x="1391" y="1096"/>
                    </a:lnTo>
                    <a:lnTo>
                      <a:pt x="1399" y="1101"/>
                    </a:lnTo>
                    <a:lnTo>
                      <a:pt x="1411" y="1106"/>
                    </a:lnTo>
                    <a:lnTo>
                      <a:pt x="1416" y="1106"/>
                    </a:lnTo>
                    <a:lnTo>
                      <a:pt x="1414" y="1110"/>
                    </a:lnTo>
                    <a:lnTo>
                      <a:pt x="1409" y="1113"/>
                    </a:lnTo>
                    <a:lnTo>
                      <a:pt x="1416" y="1113"/>
                    </a:lnTo>
                    <a:lnTo>
                      <a:pt x="1422" y="1108"/>
                    </a:lnTo>
                    <a:lnTo>
                      <a:pt x="1427" y="1108"/>
                    </a:lnTo>
                    <a:lnTo>
                      <a:pt x="1431" y="1111"/>
                    </a:lnTo>
                    <a:lnTo>
                      <a:pt x="1434" y="1111"/>
                    </a:lnTo>
                    <a:lnTo>
                      <a:pt x="1437" y="1115"/>
                    </a:lnTo>
                    <a:lnTo>
                      <a:pt x="1437" y="1110"/>
                    </a:lnTo>
                    <a:lnTo>
                      <a:pt x="1442" y="1113"/>
                    </a:lnTo>
                    <a:lnTo>
                      <a:pt x="1446" y="1110"/>
                    </a:lnTo>
                    <a:lnTo>
                      <a:pt x="1449" y="1110"/>
                    </a:lnTo>
                    <a:lnTo>
                      <a:pt x="1456" y="1106"/>
                    </a:lnTo>
                    <a:lnTo>
                      <a:pt x="1464" y="1113"/>
                    </a:lnTo>
                    <a:lnTo>
                      <a:pt x="1464" y="1116"/>
                    </a:lnTo>
                    <a:lnTo>
                      <a:pt x="1469" y="1121"/>
                    </a:lnTo>
                    <a:lnTo>
                      <a:pt x="1474" y="1121"/>
                    </a:lnTo>
                    <a:lnTo>
                      <a:pt x="1474" y="1128"/>
                    </a:lnTo>
                    <a:lnTo>
                      <a:pt x="1471" y="1131"/>
                    </a:lnTo>
                    <a:lnTo>
                      <a:pt x="1471" y="1134"/>
                    </a:lnTo>
                    <a:lnTo>
                      <a:pt x="1474" y="1133"/>
                    </a:lnTo>
                    <a:lnTo>
                      <a:pt x="1479" y="1136"/>
                    </a:lnTo>
                    <a:lnTo>
                      <a:pt x="1482" y="1141"/>
                    </a:lnTo>
                    <a:lnTo>
                      <a:pt x="1477" y="1143"/>
                    </a:lnTo>
                    <a:lnTo>
                      <a:pt x="1482" y="1146"/>
                    </a:lnTo>
                    <a:lnTo>
                      <a:pt x="1485" y="1143"/>
                    </a:lnTo>
                    <a:lnTo>
                      <a:pt x="1489" y="1148"/>
                    </a:lnTo>
                    <a:lnTo>
                      <a:pt x="1489" y="1151"/>
                    </a:lnTo>
                    <a:lnTo>
                      <a:pt x="1485" y="1148"/>
                    </a:lnTo>
                    <a:lnTo>
                      <a:pt x="1482" y="1151"/>
                    </a:lnTo>
                    <a:lnTo>
                      <a:pt x="1479" y="1151"/>
                    </a:lnTo>
                    <a:lnTo>
                      <a:pt x="1484" y="1158"/>
                    </a:lnTo>
                    <a:lnTo>
                      <a:pt x="1484" y="1161"/>
                    </a:lnTo>
                    <a:lnTo>
                      <a:pt x="1489" y="1158"/>
                    </a:lnTo>
                    <a:lnTo>
                      <a:pt x="1489" y="1161"/>
                    </a:lnTo>
                    <a:lnTo>
                      <a:pt x="1492" y="1159"/>
                    </a:lnTo>
                    <a:lnTo>
                      <a:pt x="1500" y="1164"/>
                    </a:lnTo>
                    <a:lnTo>
                      <a:pt x="1502" y="1164"/>
                    </a:lnTo>
                    <a:lnTo>
                      <a:pt x="1505" y="1166"/>
                    </a:lnTo>
                    <a:lnTo>
                      <a:pt x="1510" y="1164"/>
                    </a:lnTo>
                    <a:lnTo>
                      <a:pt x="1515" y="1166"/>
                    </a:lnTo>
                    <a:lnTo>
                      <a:pt x="1515" y="1174"/>
                    </a:lnTo>
                    <a:lnTo>
                      <a:pt x="1517" y="1178"/>
                    </a:lnTo>
                    <a:lnTo>
                      <a:pt x="1524" y="1173"/>
                    </a:lnTo>
                    <a:lnTo>
                      <a:pt x="1524" y="1168"/>
                    </a:lnTo>
                    <a:lnTo>
                      <a:pt x="1529" y="1166"/>
                    </a:lnTo>
                    <a:lnTo>
                      <a:pt x="1529" y="1174"/>
                    </a:lnTo>
                    <a:lnTo>
                      <a:pt x="1527" y="1181"/>
                    </a:lnTo>
                    <a:lnTo>
                      <a:pt x="1520" y="1183"/>
                    </a:lnTo>
                    <a:lnTo>
                      <a:pt x="1515" y="1189"/>
                    </a:lnTo>
                    <a:lnTo>
                      <a:pt x="1517" y="1199"/>
                    </a:lnTo>
                    <a:lnTo>
                      <a:pt x="1515" y="1204"/>
                    </a:lnTo>
                    <a:lnTo>
                      <a:pt x="1514" y="1198"/>
                    </a:lnTo>
                    <a:lnTo>
                      <a:pt x="1512" y="1201"/>
                    </a:lnTo>
                    <a:lnTo>
                      <a:pt x="1510" y="1208"/>
                    </a:lnTo>
                    <a:lnTo>
                      <a:pt x="1500" y="1206"/>
                    </a:lnTo>
                    <a:lnTo>
                      <a:pt x="1487" y="1203"/>
                    </a:lnTo>
                    <a:lnTo>
                      <a:pt x="1499" y="1208"/>
                    </a:lnTo>
                    <a:lnTo>
                      <a:pt x="1507" y="1209"/>
                    </a:lnTo>
                    <a:lnTo>
                      <a:pt x="1514" y="1214"/>
                    </a:lnTo>
                    <a:lnTo>
                      <a:pt x="1514" y="1223"/>
                    </a:lnTo>
                    <a:lnTo>
                      <a:pt x="1509" y="1228"/>
                    </a:lnTo>
                    <a:lnTo>
                      <a:pt x="1509" y="1229"/>
                    </a:lnTo>
                    <a:lnTo>
                      <a:pt x="1504" y="1236"/>
                    </a:lnTo>
                    <a:lnTo>
                      <a:pt x="1505" y="1236"/>
                    </a:lnTo>
                    <a:lnTo>
                      <a:pt x="1512" y="1244"/>
                    </a:lnTo>
                    <a:lnTo>
                      <a:pt x="1515" y="1246"/>
                    </a:lnTo>
                    <a:lnTo>
                      <a:pt x="1512" y="1247"/>
                    </a:lnTo>
                    <a:lnTo>
                      <a:pt x="1504" y="1244"/>
                    </a:lnTo>
                    <a:lnTo>
                      <a:pt x="1510" y="1251"/>
                    </a:lnTo>
                    <a:lnTo>
                      <a:pt x="1514" y="1254"/>
                    </a:lnTo>
                    <a:lnTo>
                      <a:pt x="1515" y="1254"/>
                    </a:lnTo>
                    <a:lnTo>
                      <a:pt x="1514" y="1249"/>
                    </a:lnTo>
                    <a:lnTo>
                      <a:pt x="1519" y="1249"/>
                    </a:lnTo>
                    <a:lnTo>
                      <a:pt x="1524" y="1252"/>
                    </a:lnTo>
                    <a:lnTo>
                      <a:pt x="1525" y="1257"/>
                    </a:lnTo>
                    <a:lnTo>
                      <a:pt x="1525" y="1262"/>
                    </a:lnTo>
                    <a:lnTo>
                      <a:pt x="1525" y="1267"/>
                    </a:lnTo>
                    <a:lnTo>
                      <a:pt x="1520" y="1274"/>
                    </a:lnTo>
                    <a:lnTo>
                      <a:pt x="1519" y="1279"/>
                    </a:lnTo>
                    <a:lnTo>
                      <a:pt x="1515" y="1282"/>
                    </a:lnTo>
                    <a:lnTo>
                      <a:pt x="1520" y="1281"/>
                    </a:lnTo>
                    <a:lnTo>
                      <a:pt x="1527" y="1269"/>
                    </a:lnTo>
                    <a:lnTo>
                      <a:pt x="1534" y="1264"/>
                    </a:lnTo>
                    <a:lnTo>
                      <a:pt x="1535" y="1264"/>
                    </a:lnTo>
                    <a:lnTo>
                      <a:pt x="1534" y="1267"/>
                    </a:lnTo>
                    <a:lnTo>
                      <a:pt x="1535" y="1277"/>
                    </a:lnTo>
                    <a:lnTo>
                      <a:pt x="1534" y="1279"/>
                    </a:lnTo>
                    <a:lnTo>
                      <a:pt x="1534" y="1282"/>
                    </a:lnTo>
                    <a:lnTo>
                      <a:pt x="1532" y="1287"/>
                    </a:lnTo>
                    <a:lnTo>
                      <a:pt x="1537" y="1281"/>
                    </a:lnTo>
                    <a:lnTo>
                      <a:pt x="1537" y="1276"/>
                    </a:lnTo>
                    <a:lnTo>
                      <a:pt x="1544" y="1272"/>
                    </a:lnTo>
                    <a:lnTo>
                      <a:pt x="1547" y="1272"/>
                    </a:lnTo>
                    <a:lnTo>
                      <a:pt x="1552" y="1269"/>
                    </a:lnTo>
                    <a:lnTo>
                      <a:pt x="1555" y="1269"/>
                    </a:lnTo>
                    <a:lnTo>
                      <a:pt x="1555" y="1271"/>
                    </a:lnTo>
                    <a:lnTo>
                      <a:pt x="1557" y="1269"/>
                    </a:lnTo>
                    <a:lnTo>
                      <a:pt x="1562" y="1267"/>
                    </a:lnTo>
                    <a:lnTo>
                      <a:pt x="1564" y="1264"/>
                    </a:lnTo>
                    <a:lnTo>
                      <a:pt x="1565" y="1259"/>
                    </a:lnTo>
                    <a:lnTo>
                      <a:pt x="1572" y="1256"/>
                    </a:lnTo>
                    <a:lnTo>
                      <a:pt x="1575" y="1257"/>
                    </a:lnTo>
                    <a:lnTo>
                      <a:pt x="1577" y="1264"/>
                    </a:lnTo>
                    <a:lnTo>
                      <a:pt x="1577" y="1269"/>
                    </a:lnTo>
                    <a:lnTo>
                      <a:pt x="1580" y="1262"/>
                    </a:lnTo>
                    <a:lnTo>
                      <a:pt x="1579" y="1256"/>
                    </a:lnTo>
                    <a:lnTo>
                      <a:pt x="1582" y="1256"/>
                    </a:lnTo>
                    <a:lnTo>
                      <a:pt x="1580" y="1254"/>
                    </a:lnTo>
                    <a:lnTo>
                      <a:pt x="1583" y="1249"/>
                    </a:lnTo>
                    <a:lnTo>
                      <a:pt x="1587" y="1249"/>
                    </a:lnTo>
                    <a:lnTo>
                      <a:pt x="1588" y="1244"/>
                    </a:lnTo>
                    <a:lnTo>
                      <a:pt x="1592" y="1241"/>
                    </a:lnTo>
                    <a:lnTo>
                      <a:pt x="1595" y="1237"/>
                    </a:lnTo>
                    <a:lnTo>
                      <a:pt x="1597" y="1234"/>
                    </a:lnTo>
                    <a:lnTo>
                      <a:pt x="1600" y="1234"/>
                    </a:lnTo>
                    <a:lnTo>
                      <a:pt x="1603" y="1237"/>
                    </a:lnTo>
                    <a:lnTo>
                      <a:pt x="1603" y="1236"/>
                    </a:lnTo>
                    <a:lnTo>
                      <a:pt x="1602" y="1232"/>
                    </a:lnTo>
                    <a:lnTo>
                      <a:pt x="1597" y="1232"/>
                    </a:lnTo>
                    <a:lnTo>
                      <a:pt x="1597" y="1229"/>
                    </a:lnTo>
                    <a:lnTo>
                      <a:pt x="1600" y="1223"/>
                    </a:lnTo>
                    <a:lnTo>
                      <a:pt x="1603" y="1221"/>
                    </a:lnTo>
                    <a:lnTo>
                      <a:pt x="1605" y="1224"/>
                    </a:lnTo>
                    <a:lnTo>
                      <a:pt x="1605" y="1219"/>
                    </a:lnTo>
                    <a:lnTo>
                      <a:pt x="1608" y="1218"/>
                    </a:lnTo>
                    <a:lnTo>
                      <a:pt x="1608" y="1214"/>
                    </a:lnTo>
                    <a:lnTo>
                      <a:pt x="1613" y="1209"/>
                    </a:lnTo>
                    <a:lnTo>
                      <a:pt x="1617" y="1206"/>
                    </a:lnTo>
                    <a:lnTo>
                      <a:pt x="1615" y="1203"/>
                    </a:lnTo>
                    <a:lnTo>
                      <a:pt x="1620" y="1198"/>
                    </a:lnTo>
                    <a:lnTo>
                      <a:pt x="1625" y="1196"/>
                    </a:lnTo>
                    <a:lnTo>
                      <a:pt x="1627" y="1198"/>
                    </a:lnTo>
                    <a:lnTo>
                      <a:pt x="1622" y="1201"/>
                    </a:lnTo>
                    <a:lnTo>
                      <a:pt x="1627" y="1199"/>
                    </a:lnTo>
                    <a:lnTo>
                      <a:pt x="1628" y="1201"/>
                    </a:lnTo>
                    <a:lnTo>
                      <a:pt x="1625" y="1203"/>
                    </a:lnTo>
                    <a:lnTo>
                      <a:pt x="1625" y="1206"/>
                    </a:lnTo>
                    <a:lnTo>
                      <a:pt x="1628" y="1208"/>
                    </a:lnTo>
                    <a:lnTo>
                      <a:pt x="1625" y="1211"/>
                    </a:lnTo>
                    <a:lnTo>
                      <a:pt x="1622" y="1213"/>
                    </a:lnTo>
                    <a:lnTo>
                      <a:pt x="1622" y="1213"/>
                    </a:lnTo>
                    <a:lnTo>
                      <a:pt x="1625" y="1214"/>
                    </a:lnTo>
                    <a:lnTo>
                      <a:pt x="1628" y="1214"/>
                    </a:lnTo>
                    <a:lnTo>
                      <a:pt x="1627" y="1218"/>
                    </a:lnTo>
                    <a:lnTo>
                      <a:pt x="1625" y="1219"/>
                    </a:lnTo>
                    <a:lnTo>
                      <a:pt x="1628" y="1219"/>
                    </a:lnTo>
                    <a:lnTo>
                      <a:pt x="1630" y="1223"/>
                    </a:lnTo>
                    <a:lnTo>
                      <a:pt x="1627" y="1226"/>
                    </a:lnTo>
                    <a:lnTo>
                      <a:pt x="1627" y="1229"/>
                    </a:lnTo>
                    <a:lnTo>
                      <a:pt x="1632" y="1232"/>
                    </a:lnTo>
                    <a:lnTo>
                      <a:pt x="1632" y="1239"/>
                    </a:lnTo>
                    <a:lnTo>
                      <a:pt x="1630" y="1241"/>
                    </a:lnTo>
                    <a:lnTo>
                      <a:pt x="1628" y="1239"/>
                    </a:lnTo>
                    <a:lnTo>
                      <a:pt x="1625" y="1239"/>
                    </a:lnTo>
                    <a:lnTo>
                      <a:pt x="1628" y="1242"/>
                    </a:lnTo>
                    <a:lnTo>
                      <a:pt x="1628" y="1244"/>
                    </a:lnTo>
                    <a:lnTo>
                      <a:pt x="1632" y="1244"/>
                    </a:lnTo>
                    <a:lnTo>
                      <a:pt x="1633" y="1242"/>
                    </a:lnTo>
                    <a:lnTo>
                      <a:pt x="1635" y="1246"/>
                    </a:lnTo>
                    <a:lnTo>
                      <a:pt x="1638" y="1247"/>
                    </a:lnTo>
                    <a:lnTo>
                      <a:pt x="1635" y="1252"/>
                    </a:lnTo>
                    <a:lnTo>
                      <a:pt x="1630" y="1254"/>
                    </a:lnTo>
                    <a:lnTo>
                      <a:pt x="1625" y="1252"/>
                    </a:lnTo>
                    <a:lnTo>
                      <a:pt x="1622" y="1256"/>
                    </a:lnTo>
                    <a:lnTo>
                      <a:pt x="1627" y="1257"/>
                    </a:lnTo>
                    <a:lnTo>
                      <a:pt x="1637" y="1254"/>
                    </a:lnTo>
                    <a:lnTo>
                      <a:pt x="1642" y="1256"/>
                    </a:lnTo>
                    <a:lnTo>
                      <a:pt x="1640" y="1259"/>
                    </a:lnTo>
                    <a:lnTo>
                      <a:pt x="1635" y="1264"/>
                    </a:lnTo>
                    <a:lnTo>
                      <a:pt x="1638" y="1264"/>
                    </a:lnTo>
                    <a:lnTo>
                      <a:pt x="1643" y="1262"/>
                    </a:lnTo>
                    <a:lnTo>
                      <a:pt x="1643" y="1267"/>
                    </a:lnTo>
                    <a:lnTo>
                      <a:pt x="1638" y="1272"/>
                    </a:lnTo>
                    <a:lnTo>
                      <a:pt x="1632" y="1272"/>
                    </a:lnTo>
                    <a:lnTo>
                      <a:pt x="1628" y="1271"/>
                    </a:lnTo>
                    <a:lnTo>
                      <a:pt x="1625" y="1274"/>
                    </a:lnTo>
                    <a:lnTo>
                      <a:pt x="1627" y="1276"/>
                    </a:lnTo>
                    <a:lnTo>
                      <a:pt x="1625" y="1279"/>
                    </a:lnTo>
                    <a:lnTo>
                      <a:pt x="1632" y="1277"/>
                    </a:lnTo>
                    <a:lnTo>
                      <a:pt x="1640" y="1277"/>
                    </a:lnTo>
                    <a:lnTo>
                      <a:pt x="1645" y="1276"/>
                    </a:lnTo>
                    <a:lnTo>
                      <a:pt x="1647" y="1276"/>
                    </a:lnTo>
                    <a:lnTo>
                      <a:pt x="1643" y="1279"/>
                    </a:lnTo>
                    <a:lnTo>
                      <a:pt x="1643" y="1281"/>
                    </a:lnTo>
                    <a:lnTo>
                      <a:pt x="1638" y="1284"/>
                    </a:lnTo>
                    <a:lnTo>
                      <a:pt x="1635" y="1284"/>
                    </a:lnTo>
                    <a:lnTo>
                      <a:pt x="1627" y="1292"/>
                    </a:lnTo>
                    <a:lnTo>
                      <a:pt x="1635" y="1289"/>
                    </a:lnTo>
                    <a:lnTo>
                      <a:pt x="1640" y="1289"/>
                    </a:lnTo>
                    <a:lnTo>
                      <a:pt x="1643" y="1287"/>
                    </a:lnTo>
                    <a:lnTo>
                      <a:pt x="1648" y="1287"/>
                    </a:lnTo>
                    <a:lnTo>
                      <a:pt x="1648" y="1292"/>
                    </a:lnTo>
                    <a:lnTo>
                      <a:pt x="1645" y="1292"/>
                    </a:lnTo>
                    <a:lnTo>
                      <a:pt x="1640" y="1296"/>
                    </a:lnTo>
                    <a:lnTo>
                      <a:pt x="1638" y="1299"/>
                    </a:lnTo>
                    <a:lnTo>
                      <a:pt x="1640" y="1297"/>
                    </a:lnTo>
                    <a:lnTo>
                      <a:pt x="1645" y="1299"/>
                    </a:lnTo>
                    <a:lnTo>
                      <a:pt x="1648" y="1296"/>
                    </a:lnTo>
                    <a:lnTo>
                      <a:pt x="1653" y="1299"/>
                    </a:lnTo>
                    <a:lnTo>
                      <a:pt x="1655" y="1307"/>
                    </a:lnTo>
                    <a:lnTo>
                      <a:pt x="1650" y="1311"/>
                    </a:lnTo>
                    <a:lnTo>
                      <a:pt x="1647" y="1309"/>
                    </a:lnTo>
                    <a:lnTo>
                      <a:pt x="1645" y="1311"/>
                    </a:lnTo>
                    <a:lnTo>
                      <a:pt x="1640" y="1311"/>
                    </a:lnTo>
                    <a:lnTo>
                      <a:pt x="1643" y="1314"/>
                    </a:lnTo>
                    <a:lnTo>
                      <a:pt x="1647" y="1314"/>
                    </a:lnTo>
                    <a:lnTo>
                      <a:pt x="1648" y="1314"/>
                    </a:lnTo>
                    <a:lnTo>
                      <a:pt x="1653" y="1314"/>
                    </a:lnTo>
                    <a:lnTo>
                      <a:pt x="1655" y="1317"/>
                    </a:lnTo>
                    <a:lnTo>
                      <a:pt x="1655" y="1321"/>
                    </a:lnTo>
                    <a:lnTo>
                      <a:pt x="1652" y="1322"/>
                    </a:lnTo>
                    <a:lnTo>
                      <a:pt x="1655" y="1324"/>
                    </a:lnTo>
                    <a:lnTo>
                      <a:pt x="1658" y="1322"/>
                    </a:lnTo>
                    <a:lnTo>
                      <a:pt x="1663" y="1327"/>
                    </a:lnTo>
                    <a:lnTo>
                      <a:pt x="1662" y="1330"/>
                    </a:lnTo>
                    <a:lnTo>
                      <a:pt x="1658" y="1332"/>
                    </a:lnTo>
                    <a:lnTo>
                      <a:pt x="1653" y="1337"/>
                    </a:lnTo>
                    <a:lnTo>
                      <a:pt x="1648" y="1335"/>
                    </a:lnTo>
                    <a:lnTo>
                      <a:pt x="1648" y="1337"/>
                    </a:lnTo>
                    <a:lnTo>
                      <a:pt x="1652" y="1339"/>
                    </a:lnTo>
                    <a:lnTo>
                      <a:pt x="1652" y="1342"/>
                    </a:lnTo>
                    <a:lnTo>
                      <a:pt x="1647" y="1342"/>
                    </a:lnTo>
                    <a:lnTo>
                      <a:pt x="1642" y="1339"/>
                    </a:lnTo>
                    <a:lnTo>
                      <a:pt x="1635" y="1339"/>
                    </a:lnTo>
                    <a:lnTo>
                      <a:pt x="1640" y="1342"/>
                    </a:lnTo>
                    <a:lnTo>
                      <a:pt x="1640" y="1345"/>
                    </a:lnTo>
                    <a:lnTo>
                      <a:pt x="1645" y="1350"/>
                    </a:lnTo>
                    <a:lnTo>
                      <a:pt x="1648" y="1352"/>
                    </a:lnTo>
                    <a:lnTo>
                      <a:pt x="1647" y="1355"/>
                    </a:lnTo>
                    <a:lnTo>
                      <a:pt x="1642" y="1355"/>
                    </a:lnTo>
                    <a:lnTo>
                      <a:pt x="1640" y="1359"/>
                    </a:lnTo>
                    <a:lnTo>
                      <a:pt x="1633" y="1357"/>
                    </a:lnTo>
                    <a:lnTo>
                      <a:pt x="1642" y="1360"/>
                    </a:lnTo>
                    <a:lnTo>
                      <a:pt x="1645" y="1359"/>
                    </a:lnTo>
                    <a:lnTo>
                      <a:pt x="1645" y="1357"/>
                    </a:lnTo>
                    <a:lnTo>
                      <a:pt x="1652" y="1355"/>
                    </a:lnTo>
                    <a:lnTo>
                      <a:pt x="1655" y="1357"/>
                    </a:lnTo>
                    <a:lnTo>
                      <a:pt x="1655" y="1360"/>
                    </a:lnTo>
                    <a:lnTo>
                      <a:pt x="1657" y="1362"/>
                    </a:lnTo>
                    <a:lnTo>
                      <a:pt x="1653" y="1364"/>
                    </a:lnTo>
                    <a:lnTo>
                      <a:pt x="1657" y="1364"/>
                    </a:lnTo>
                    <a:lnTo>
                      <a:pt x="1658" y="1365"/>
                    </a:lnTo>
                    <a:lnTo>
                      <a:pt x="1657" y="1369"/>
                    </a:lnTo>
                    <a:lnTo>
                      <a:pt x="1658" y="1370"/>
                    </a:lnTo>
                    <a:lnTo>
                      <a:pt x="1663" y="1367"/>
                    </a:lnTo>
                    <a:lnTo>
                      <a:pt x="1665" y="1369"/>
                    </a:lnTo>
                    <a:lnTo>
                      <a:pt x="1668" y="1369"/>
                    </a:lnTo>
                    <a:lnTo>
                      <a:pt x="1667" y="1374"/>
                    </a:lnTo>
                    <a:lnTo>
                      <a:pt x="1665" y="1377"/>
                    </a:lnTo>
                    <a:lnTo>
                      <a:pt x="1665" y="1379"/>
                    </a:lnTo>
                    <a:lnTo>
                      <a:pt x="1668" y="1379"/>
                    </a:lnTo>
                    <a:lnTo>
                      <a:pt x="1673" y="1374"/>
                    </a:lnTo>
                    <a:lnTo>
                      <a:pt x="1673" y="1374"/>
                    </a:lnTo>
                    <a:lnTo>
                      <a:pt x="1673" y="1377"/>
                    </a:lnTo>
                    <a:lnTo>
                      <a:pt x="1677" y="1380"/>
                    </a:lnTo>
                    <a:lnTo>
                      <a:pt x="1670" y="1384"/>
                    </a:lnTo>
                    <a:lnTo>
                      <a:pt x="1663" y="1392"/>
                    </a:lnTo>
                    <a:lnTo>
                      <a:pt x="1658" y="1395"/>
                    </a:lnTo>
                    <a:lnTo>
                      <a:pt x="1653" y="1394"/>
                    </a:lnTo>
                    <a:lnTo>
                      <a:pt x="1658" y="1397"/>
                    </a:lnTo>
                    <a:lnTo>
                      <a:pt x="1662" y="1395"/>
                    </a:lnTo>
                    <a:lnTo>
                      <a:pt x="1672" y="1387"/>
                    </a:lnTo>
                    <a:lnTo>
                      <a:pt x="1675" y="1387"/>
                    </a:lnTo>
                    <a:lnTo>
                      <a:pt x="1675" y="1390"/>
                    </a:lnTo>
                    <a:lnTo>
                      <a:pt x="1672" y="1392"/>
                    </a:lnTo>
                    <a:lnTo>
                      <a:pt x="1668" y="1397"/>
                    </a:lnTo>
                    <a:lnTo>
                      <a:pt x="1672" y="1397"/>
                    </a:lnTo>
                    <a:lnTo>
                      <a:pt x="1677" y="1392"/>
                    </a:lnTo>
                    <a:lnTo>
                      <a:pt x="1680" y="1387"/>
                    </a:lnTo>
                    <a:lnTo>
                      <a:pt x="1685" y="1387"/>
                    </a:lnTo>
                    <a:lnTo>
                      <a:pt x="1685" y="1389"/>
                    </a:lnTo>
                    <a:lnTo>
                      <a:pt x="1682" y="1390"/>
                    </a:lnTo>
                    <a:lnTo>
                      <a:pt x="1680" y="1392"/>
                    </a:lnTo>
                    <a:lnTo>
                      <a:pt x="1682" y="1394"/>
                    </a:lnTo>
                    <a:lnTo>
                      <a:pt x="1688" y="1390"/>
                    </a:lnTo>
                    <a:lnTo>
                      <a:pt x="1690" y="1394"/>
                    </a:lnTo>
                    <a:lnTo>
                      <a:pt x="1683" y="1397"/>
                    </a:lnTo>
                    <a:lnTo>
                      <a:pt x="1680" y="1400"/>
                    </a:lnTo>
                    <a:lnTo>
                      <a:pt x="1682" y="1402"/>
                    </a:lnTo>
                    <a:lnTo>
                      <a:pt x="1686" y="1399"/>
                    </a:lnTo>
                    <a:lnTo>
                      <a:pt x="1695" y="1392"/>
                    </a:lnTo>
                    <a:lnTo>
                      <a:pt x="1696" y="1392"/>
                    </a:lnTo>
                    <a:lnTo>
                      <a:pt x="1695" y="1394"/>
                    </a:lnTo>
                    <a:lnTo>
                      <a:pt x="1693" y="1395"/>
                    </a:lnTo>
                    <a:lnTo>
                      <a:pt x="1700" y="1392"/>
                    </a:lnTo>
                    <a:lnTo>
                      <a:pt x="1700" y="1394"/>
                    </a:lnTo>
                    <a:lnTo>
                      <a:pt x="1700" y="1402"/>
                    </a:lnTo>
                    <a:lnTo>
                      <a:pt x="1696" y="1402"/>
                    </a:lnTo>
                    <a:lnTo>
                      <a:pt x="1698" y="1405"/>
                    </a:lnTo>
                    <a:lnTo>
                      <a:pt x="1703" y="1404"/>
                    </a:lnTo>
                    <a:lnTo>
                      <a:pt x="1708" y="1407"/>
                    </a:lnTo>
                    <a:lnTo>
                      <a:pt x="1711" y="1404"/>
                    </a:lnTo>
                    <a:lnTo>
                      <a:pt x="1718" y="1402"/>
                    </a:lnTo>
                    <a:lnTo>
                      <a:pt x="1721" y="1402"/>
                    </a:lnTo>
                    <a:lnTo>
                      <a:pt x="1720" y="1407"/>
                    </a:lnTo>
                    <a:lnTo>
                      <a:pt x="1716" y="1407"/>
                    </a:lnTo>
                    <a:lnTo>
                      <a:pt x="1715" y="1409"/>
                    </a:lnTo>
                    <a:lnTo>
                      <a:pt x="1726" y="1412"/>
                    </a:lnTo>
                    <a:lnTo>
                      <a:pt x="1731" y="1415"/>
                    </a:lnTo>
                    <a:lnTo>
                      <a:pt x="1723" y="1415"/>
                    </a:lnTo>
                    <a:lnTo>
                      <a:pt x="1723" y="1417"/>
                    </a:lnTo>
                    <a:lnTo>
                      <a:pt x="1713" y="1419"/>
                    </a:lnTo>
                    <a:lnTo>
                      <a:pt x="1711" y="1417"/>
                    </a:lnTo>
                    <a:lnTo>
                      <a:pt x="1705" y="1420"/>
                    </a:lnTo>
                    <a:lnTo>
                      <a:pt x="1700" y="1424"/>
                    </a:lnTo>
                    <a:lnTo>
                      <a:pt x="1691" y="1425"/>
                    </a:lnTo>
                    <a:lnTo>
                      <a:pt x="1678" y="1427"/>
                    </a:lnTo>
                    <a:lnTo>
                      <a:pt x="1678" y="1430"/>
                    </a:lnTo>
                    <a:lnTo>
                      <a:pt x="1686" y="1428"/>
                    </a:lnTo>
                    <a:lnTo>
                      <a:pt x="1696" y="1425"/>
                    </a:lnTo>
                    <a:lnTo>
                      <a:pt x="1700" y="1425"/>
                    </a:lnTo>
                    <a:lnTo>
                      <a:pt x="1700" y="1428"/>
                    </a:lnTo>
                    <a:lnTo>
                      <a:pt x="1691" y="1428"/>
                    </a:lnTo>
                    <a:lnTo>
                      <a:pt x="1682" y="1430"/>
                    </a:lnTo>
                    <a:lnTo>
                      <a:pt x="1673" y="1435"/>
                    </a:lnTo>
                    <a:lnTo>
                      <a:pt x="1672" y="1437"/>
                    </a:lnTo>
                    <a:lnTo>
                      <a:pt x="1665" y="1437"/>
                    </a:lnTo>
                    <a:lnTo>
                      <a:pt x="1665" y="1442"/>
                    </a:lnTo>
                    <a:lnTo>
                      <a:pt x="1663" y="1443"/>
                    </a:lnTo>
                    <a:lnTo>
                      <a:pt x="1653" y="1438"/>
                    </a:lnTo>
                    <a:lnTo>
                      <a:pt x="1648" y="1430"/>
                    </a:lnTo>
                    <a:lnTo>
                      <a:pt x="1650" y="1433"/>
                    </a:lnTo>
                    <a:lnTo>
                      <a:pt x="1648" y="1437"/>
                    </a:lnTo>
                    <a:lnTo>
                      <a:pt x="1652" y="1438"/>
                    </a:lnTo>
                    <a:lnTo>
                      <a:pt x="1653" y="1440"/>
                    </a:lnTo>
                    <a:lnTo>
                      <a:pt x="1662" y="1447"/>
                    </a:lnTo>
                    <a:lnTo>
                      <a:pt x="1660" y="1450"/>
                    </a:lnTo>
                    <a:lnTo>
                      <a:pt x="1658" y="1448"/>
                    </a:lnTo>
                    <a:lnTo>
                      <a:pt x="1655" y="1452"/>
                    </a:lnTo>
                    <a:lnTo>
                      <a:pt x="1657" y="1455"/>
                    </a:lnTo>
                    <a:lnTo>
                      <a:pt x="1660" y="1455"/>
                    </a:lnTo>
                    <a:lnTo>
                      <a:pt x="1662" y="1453"/>
                    </a:lnTo>
                    <a:lnTo>
                      <a:pt x="1663" y="1453"/>
                    </a:lnTo>
                    <a:lnTo>
                      <a:pt x="1668" y="1445"/>
                    </a:lnTo>
                    <a:lnTo>
                      <a:pt x="1675" y="1447"/>
                    </a:lnTo>
                    <a:lnTo>
                      <a:pt x="1680" y="1442"/>
                    </a:lnTo>
                    <a:lnTo>
                      <a:pt x="1683" y="1442"/>
                    </a:lnTo>
                    <a:lnTo>
                      <a:pt x="1686" y="1437"/>
                    </a:lnTo>
                    <a:lnTo>
                      <a:pt x="1690" y="1433"/>
                    </a:lnTo>
                    <a:lnTo>
                      <a:pt x="1696" y="1432"/>
                    </a:lnTo>
                    <a:lnTo>
                      <a:pt x="1703" y="1428"/>
                    </a:lnTo>
                    <a:lnTo>
                      <a:pt x="1710" y="1430"/>
                    </a:lnTo>
                    <a:lnTo>
                      <a:pt x="1715" y="1430"/>
                    </a:lnTo>
                    <a:lnTo>
                      <a:pt x="1713" y="1428"/>
                    </a:lnTo>
                    <a:lnTo>
                      <a:pt x="1708" y="1428"/>
                    </a:lnTo>
                    <a:lnTo>
                      <a:pt x="1706" y="1427"/>
                    </a:lnTo>
                    <a:lnTo>
                      <a:pt x="1710" y="1425"/>
                    </a:lnTo>
                    <a:lnTo>
                      <a:pt x="1720" y="1425"/>
                    </a:lnTo>
                    <a:lnTo>
                      <a:pt x="1728" y="1427"/>
                    </a:lnTo>
                    <a:lnTo>
                      <a:pt x="1731" y="1433"/>
                    </a:lnTo>
                    <a:lnTo>
                      <a:pt x="1731" y="1437"/>
                    </a:lnTo>
                    <a:lnTo>
                      <a:pt x="1725" y="1442"/>
                    </a:lnTo>
                    <a:lnTo>
                      <a:pt x="1723" y="1442"/>
                    </a:lnTo>
                    <a:lnTo>
                      <a:pt x="1720" y="1445"/>
                    </a:lnTo>
                    <a:lnTo>
                      <a:pt x="1725" y="1445"/>
                    </a:lnTo>
                    <a:lnTo>
                      <a:pt x="1726" y="1450"/>
                    </a:lnTo>
                    <a:lnTo>
                      <a:pt x="1730" y="1447"/>
                    </a:lnTo>
                    <a:lnTo>
                      <a:pt x="1731" y="1443"/>
                    </a:lnTo>
                    <a:lnTo>
                      <a:pt x="1738" y="1440"/>
                    </a:lnTo>
                    <a:lnTo>
                      <a:pt x="1743" y="1440"/>
                    </a:lnTo>
                    <a:lnTo>
                      <a:pt x="1745" y="1442"/>
                    </a:lnTo>
                    <a:lnTo>
                      <a:pt x="1743" y="1443"/>
                    </a:lnTo>
                    <a:lnTo>
                      <a:pt x="1741" y="1445"/>
                    </a:lnTo>
                    <a:lnTo>
                      <a:pt x="1748" y="1445"/>
                    </a:lnTo>
                    <a:lnTo>
                      <a:pt x="1755" y="1448"/>
                    </a:lnTo>
                    <a:lnTo>
                      <a:pt x="1755" y="1450"/>
                    </a:lnTo>
                    <a:lnTo>
                      <a:pt x="1751" y="1448"/>
                    </a:lnTo>
                    <a:lnTo>
                      <a:pt x="1748" y="1450"/>
                    </a:lnTo>
                    <a:lnTo>
                      <a:pt x="1750" y="1453"/>
                    </a:lnTo>
                    <a:lnTo>
                      <a:pt x="1756" y="1455"/>
                    </a:lnTo>
                    <a:lnTo>
                      <a:pt x="1758" y="1458"/>
                    </a:lnTo>
                    <a:lnTo>
                      <a:pt x="1755" y="1462"/>
                    </a:lnTo>
                    <a:lnTo>
                      <a:pt x="1750" y="1460"/>
                    </a:lnTo>
                    <a:lnTo>
                      <a:pt x="1746" y="1463"/>
                    </a:lnTo>
                    <a:lnTo>
                      <a:pt x="1753" y="1465"/>
                    </a:lnTo>
                    <a:lnTo>
                      <a:pt x="1751" y="1470"/>
                    </a:lnTo>
                    <a:lnTo>
                      <a:pt x="1748" y="1472"/>
                    </a:lnTo>
                    <a:lnTo>
                      <a:pt x="1746" y="1475"/>
                    </a:lnTo>
                    <a:lnTo>
                      <a:pt x="1743" y="1477"/>
                    </a:lnTo>
                    <a:lnTo>
                      <a:pt x="1738" y="1473"/>
                    </a:lnTo>
                    <a:lnTo>
                      <a:pt x="1740" y="1477"/>
                    </a:lnTo>
                    <a:lnTo>
                      <a:pt x="1746" y="1480"/>
                    </a:lnTo>
                    <a:lnTo>
                      <a:pt x="1750" y="1478"/>
                    </a:lnTo>
                    <a:lnTo>
                      <a:pt x="1753" y="1482"/>
                    </a:lnTo>
                    <a:lnTo>
                      <a:pt x="1750" y="1483"/>
                    </a:lnTo>
                    <a:lnTo>
                      <a:pt x="1746" y="1483"/>
                    </a:lnTo>
                    <a:lnTo>
                      <a:pt x="1743" y="1483"/>
                    </a:lnTo>
                    <a:lnTo>
                      <a:pt x="1746" y="1485"/>
                    </a:lnTo>
                    <a:lnTo>
                      <a:pt x="1751" y="1485"/>
                    </a:lnTo>
                    <a:lnTo>
                      <a:pt x="1753" y="1487"/>
                    </a:lnTo>
                    <a:lnTo>
                      <a:pt x="1751" y="1490"/>
                    </a:lnTo>
                    <a:lnTo>
                      <a:pt x="1751" y="1493"/>
                    </a:lnTo>
                    <a:lnTo>
                      <a:pt x="1746" y="1493"/>
                    </a:lnTo>
                    <a:lnTo>
                      <a:pt x="1745" y="1498"/>
                    </a:lnTo>
                    <a:lnTo>
                      <a:pt x="1738" y="1502"/>
                    </a:lnTo>
                    <a:lnTo>
                      <a:pt x="1733" y="1502"/>
                    </a:lnTo>
                    <a:lnTo>
                      <a:pt x="1728" y="1507"/>
                    </a:lnTo>
                    <a:lnTo>
                      <a:pt x="1726" y="1507"/>
                    </a:lnTo>
                    <a:lnTo>
                      <a:pt x="1723" y="1510"/>
                    </a:lnTo>
                    <a:lnTo>
                      <a:pt x="1720" y="1510"/>
                    </a:lnTo>
                    <a:lnTo>
                      <a:pt x="1720" y="1512"/>
                    </a:lnTo>
                    <a:lnTo>
                      <a:pt x="1715" y="1513"/>
                    </a:lnTo>
                    <a:lnTo>
                      <a:pt x="1711" y="1510"/>
                    </a:lnTo>
                    <a:lnTo>
                      <a:pt x="1708" y="1512"/>
                    </a:lnTo>
                    <a:lnTo>
                      <a:pt x="1705" y="1512"/>
                    </a:lnTo>
                    <a:lnTo>
                      <a:pt x="1703" y="1510"/>
                    </a:lnTo>
                    <a:lnTo>
                      <a:pt x="1698" y="1513"/>
                    </a:lnTo>
                    <a:lnTo>
                      <a:pt x="1693" y="1513"/>
                    </a:lnTo>
                    <a:lnTo>
                      <a:pt x="1691" y="1510"/>
                    </a:lnTo>
                    <a:lnTo>
                      <a:pt x="1690" y="1510"/>
                    </a:lnTo>
                    <a:lnTo>
                      <a:pt x="1690" y="1513"/>
                    </a:lnTo>
                    <a:lnTo>
                      <a:pt x="1685" y="1515"/>
                    </a:lnTo>
                    <a:lnTo>
                      <a:pt x="1680" y="1513"/>
                    </a:lnTo>
                    <a:lnTo>
                      <a:pt x="1680" y="1515"/>
                    </a:lnTo>
                    <a:lnTo>
                      <a:pt x="1682" y="1517"/>
                    </a:lnTo>
                    <a:lnTo>
                      <a:pt x="1680" y="1518"/>
                    </a:lnTo>
                    <a:lnTo>
                      <a:pt x="1677" y="1522"/>
                    </a:lnTo>
                    <a:lnTo>
                      <a:pt x="1673" y="1522"/>
                    </a:lnTo>
                    <a:lnTo>
                      <a:pt x="1673" y="1525"/>
                    </a:lnTo>
                    <a:lnTo>
                      <a:pt x="1670" y="1531"/>
                    </a:lnTo>
                    <a:lnTo>
                      <a:pt x="1667" y="1531"/>
                    </a:lnTo>
                    <a:lnTo>
                      <a:pt x="1665" y="1533"/>
                    </a:lnTo>
                    <a:lnTo>
                      <a:pt x="1662" y="1535"/>
                    </a:lnTo>
                    <a:lnTo>
                      <a:pt x="1658" y="1540"/>
                    </a:lnTo>
                    <a:lnTo>
                      <a:pt x="1657" y="1538"/>
                    </a:lnTo>
                    <a:lnTo>
                      <a:pt x="1653" y="1540"/>
                    </a:lnTo>
                    <a:lnTo>
                      <a:pt x="1648" y="1540"/>
                    </a:lnTo>
                    <a:lnTo>
                      <a:pt x="1647" y="1543"/>
                    </a:lnTo>
                    <a:lnTo>
                      <a:pt x="1643" y="1545"/>
                    </a:lnTo>
                    <a:lnTo>
                      <a:pt x="1640" y="1543"/>
                    </a:lnTo>
                    <a:lnTo>
                      <a:pt x="1632" y="1543"/>
                    </a:lnTo>
                    <a:lnTo>
                      <a:pt x="1630" y="1541"/>
                    </a:lnTo>
                    <a:lnTo>
                      <a:pt x="1625" y="1543"/>
                    </a:lnTo>
                    <a:lnTo>
                      <a:pt x="1622" y="1543"/>
                    </a:lnTo>
                    <a:lnTo>
                      <a:pt x="1610" y="1546"/>
                    </a:lnTo>
                    <a:lnTo>
                      <a:pt x="1607" y="1545"/>
                    </a:lnTo>
                    <a:lnTo>
                      <a:pt x="1607" y="1543"/>
                    </a:lnTo>
                    <a:lnTo>
                      <a:pt x="1603" y="1541"/>
                    </a:lnTo>
                    <a:lnTo>
                      <a:pt x="1600" y="1543"/>
                    </a:lnTo>
                    <a:lnTo>
                      <a:pt x="1595" y="1543"/>
                    </a:lnTo>
                    <a:lnTo>
                      <a:pt x="1588" y="1540"/>
                    </a:lnTo>
                    <a:lnTo>
                      <a:pt x="1587" y="1541"/>
                    </a:lnTo>
                    <a:lnTo>
                      <a:pt x="1580" y="1540"/>
                    </a:lnTo>
                    <a:lnTo>
                      <a:pt x="1577" y="1538"/>
                    </a:lnTo>
                    <a:lnTo>
                      <a:pt x="1575" y="1538"/>
                    </a:lnTo>
                    <a:lnTo>
                      <a:pt x="1572" y="1540"/>
                    </a:lnTo>
                    <a:lnTo>
                      <a:pt x="1564" y="1540"/>
                    </a:lnTo>
                    <a:lnTo>
                      <a:pt x="1559" y="1536"/>
                    </a:lnTo>
                    <a:lnTo>
                      <a:pt x="1554" y="1538"/>
                    </a:lnTo>
                    <a:lnTo>
                      <a:pt x="1550" y="1538"/>
                    </a:lnTo>
                    <a:lnTo>
                      <a:pt x="1547" y="1536"/>
                    </a:lnTo>
                    <a:lnTo>
                      <a:pt x="1540" y="1538"/>
                    </a:lnTo>
                    <a:lnTo>
                      <a:pt x="1539" y="1538"/>
                    </a:lnTo>
                    <a:lnTo>
                      <a:pt x="1535" y="1538"/>
                    </a:lnTo>
                    <a:lnTo>
                      <a:pt x="1527" y="1535"/>
                    </a:lnTo>
                    <a:lnTo>
                      <a:pt x="1517" y="1536"/>
                    </a:lnTo>
                    <a:lnTo>
                      <a:pt x="1512" y="1535"/>
                    </a:lnTo>
                    <a:lnTo>
                      <a:pt x="1507" y="1531"/>
                    </a:lnTo>
                    <a:lnTo>
                      <a:pt x="1504" y="1533"/>
                    </a:lnTo>
                    <a:lnTo>
                      <a:pt x="1500" y="1535"/>
                    </a:lnTo>
                    <a:lnTo>
                      <a:pt x="1504" y="1538"/>
                    </a:lnTo>
                    <a:lnTo>
                      <a:pt x="1502" y="1540"/>
                    </a:lnTo>
                    <a:lnTo>
                      <a:pt x="1497" y="1540"/>
                    </a:lnTo>
                    <a:lnTo>
                      <a:pt x="1489" y="1548"/>
                    </a:lnTo>
                    <a:lnTo>
                      <a:pt x="1482" y="1550"/>
                    </a:lnTo>
                    <a:lnTo>
                      <a:pt x="1482" y="1553"/>
                    </a:lnTo>
                    <a:lnTo>
                      <a:pt x="1481" y="1556"/>
                    </a:lnTo>
                    <a:lnTo>
                      <a:pt x="1479" y="1561"/>
                    </a:lnTo>
                    <a:lnTo>
                      <a:pt x="1477" y="1565"/>
                    </a:lnTo>
                    <a:lnTo>
                      <a:pt x="1469" y="1565"/>
                    </a:lnTo>
                    <a:lnTo>
                      <a:pt x="1466" y="1566"/>
                    </a:lnTo>
                    <a:lnTo>
                      <a:pt x="1457" y="1566"/>
                    </a:lnTo>
                    <a:lnTo>
                      <a:pt x="1454" y="1571"/>
                    </a:lnTo>
                    <a:lnTo>
                      <a:pt x="1451" y="1573"/>
                    </a:lnTo>
                    <a:lnTo>
                      <a:pt x="1449" y="1571"/>
                    </a:lnTo>
                    <a:lnTo>
                      <a:pt x="1444" y="1573"/>
                    </a:lnTo>
                    <a:lnTo>
                      <a:pt x="1442" y="1578"/>
                    </a:lnTo>
                    <a:lnTo>
                      <a:pt x="1437" y="1578"/>
                    </a:lnTo>
                    <a:lnTo>
                      <a:pt x="1432" y="1581"/>
                    </a:lnTo>
                    <a:lnTo>
                      <a:pt x="1432" y="1585"/>
                    </a:lnTo>
                    <a:lnTo>
                      <a:pt x="1429" y="1585"/>
                    </a:lnTo>
                    <a:lnTo>
                      <a:pt x="1422" y="1593"/>
                    </a:lnTo>
                    <a:lnTo>
                      <a:pt x="1414" y="1596"/>
                    </a:lnTo>
                    <a:lnTo>
                      <a:pt x="1411" y="1605"/>
                    </a:lnTo>
                    <a:lnTo>
                      <a:pt x="1404" y="1608"/>
                    </a:lnTo>
                    <a:lnTo>
                      <a:pt x="1399" y="1613"/>
                    </a:lnTo>
                    <a:lnTo>
                      <a:pt x="1394" y="1613"/>
                    </a:lnTo>
                    <a:lnTo>
                      <a:pt x="1392" y="1620"/>
                    </a:lnTo>
                    <a:lnTo>
                      <a:pt x="1389" y="1624"/>
                    </a:lnTo>
                    <a:lnTo>
                      <a:pt x="1378" y="1629"/>
                    </a:lnTo>
                    <a:lnTo>
                      <a:pt x="1378" y="1633"/>
                    </a:lnTo>
                    <a:lnTo>
                      <a:pt x="1364" y="1638"/>
                    </a:lnTo>
                    <a:lnTo>
                      <a:pt x="1358" y="1639"/>
                    </a:lnTo>
                    <a:lnTo>
                      <a:pt x="1363" y="1639"/>
                    </a:lnTo>
                    <a:lnTo>
                      <a:pt x="1376" y="1634"/>
                    </a:lnTo>
                    <a:lnTo>
                      <a:pt x="1386" y="1629"/>
                    </a:lnTo>
                    <a:lnTo>
                      <a:pt x="1394" y="1626"/>
                    </a:lnTo>
                    <a:lnTo>
                      <a:pt x="1401" y="1618"/>
                    </a:lnTo>
                    <a:lnTo>
                      <a:pt x="1407" y="1613"/>
                    </a:lnTo>
                    <a:lnTo>
                      <a:pt x="1411" y="1611"/>
                    </a:lnTo>
                    <a:lnTo>
                      <a:pt x="1422" y="1601"/>
                    </a:lnTo>
                    <a:lnTo>
                      <a:pt x="1439" y="1591"/>
                    </a:lnTo>
                    <a:lnTo>
                      <a:pt x="1451" y="1585"/>
                    </a:lnTo>
                    <a:lnTo>
                      <a:pt x="1457" y="1585"/>
                    </a:lnTo>
                    <a:lnTo>
                      <a:pt x="1464" y="1581"/>
                    </a:lnTo>
                    <a:lnTo>
                      <a:pt x="1476" y="1578"/>
                    </a:lnTo>
                    <a:lnTo>
                      <a:pt x="1490" y="1575"/>
                    </a:lnTo>
                    <a:lnTo>
                      <a:pt x="1495" y="1573"/>
                    </a:lnTo>
                    <a:lnTo>
                      <a:pt x="1500" y="1571"/>
                    </a:lnTo>
                    <a:lnTo>
                      <a:pt x="1517" y="1571"/>
                    </a:lnTo>
                    <a:lnTo>
                      <a:pt x="1525" y="1575"/>
                    </a:lnTo>
                    <a:lnTo>
                      <a:pt x="1535" y="1580"/>
                    </a:lnTo>
                    <a:lnTo>
                      <a:pt x="1535" y="1581"/>
                    </a:lnTo>
                    <a:lnTo>
                      <a:pt x="1529" y="1581"/>
                    </a:lnTo>
                    <a:lnTo>
                      <a:pt x="1529" y="1581"/>
                    </a:lnTo>
                    <a:lnTo>
                      <a:pt x="1527" y="1583"/>
                    </a:lnTo>
                    <a:lnTo>
                      <a:pt x="1532" y="1583"/>
                    </a:lnTo>
                    <a:lnTo>
                      <a:pt x="1537" y="1585"/>
                    </a:lnTo>
                    <a:lnTo>
                      <a:pt x="1539" y="1588"/>
                    </a:lnTo>
                    <a:lnTo>
                      <a:pt x="1535" y="1588"/>
                    </a:lnTo>
                    <a:lnTo>
                      <a:pt x="1539" y="1590"/>
                    </a:lnTo>
                    <a:lnTo>
                      <a:pt x="1534" y="1598"/>
                    </a:lnTo>
                    <a:lnTo>
                      <a:pt x="1529" y="1598"/>
                    </a:lnTo>
                    <a:lnTo>
                      <a:pt x="1524" y="1603"/>
                    </a:lnTo>
                    <a:lnTo>
                      <a:pt x="1520" y="1603"/>
                    </a:lnTo>
                    <a:lnTo>
                      <a:pt x="1514" y="1606"/>
                    </a:lnTo>
                    <a:lnTo>
                      <a:pt x="1509" y="1606"/>
                    </a:lnTo>
                    <a:lnTo>
                      <a:pt x="1505" y="1603"/>
                    </a:lnTo>
                    <a:lnTo>
                      <a:pt x="1499" y="1601"/>
                    </a:lnTo>
                    <a:lnTo>
                      <a:pt x="1495" y="1605"/>
                    </a:lnTo>
                    <a:lnTo>
                      <a:pt x="1490" y="1605"/>
                    </a:lnTo>
                    <a:lnTo>
                      <a:pt x="1485" y="1605"/>
                    </a:lnTo>
                    <a:lnTo>
                      <a:pt x="1479" y="1606"/>
                    </a:lnTo>
                    <a:lnTo>
                      <a:pt x="1485" y="1606"/>
                    </a:lnTo>
                    <a:lnTo>
                      <a:pt x="1492" y="1606"/>
                    </a:lnTo>
                    <a:lnTo>
                      <a:pt x="1502" y="1610"/>
                    </a:lnTo>
                    <a:lnTo>
                      <a:pt x="1504" y="1613"/>
                    </a:lnTo>
                    <a:lnTo>
                      <a:pt x="1505" y="1616"/>
                    </a:lnTo>
                    <a:lnTo>
                      <a:pt x="1510" y="1613"/>
                    </a:lnTo>
                    <a:lnTo>
                      <a:pt x="1515" y="1611"/>
                    </a:lnTo>
                    <a:lnTo>
                      <a:pt x="1520" y="1611"/>
                    </a:lnTo>
                    <a:lnTo>
                      <a:pt x="1522" y="1613"/>
                    </a:lnTo>
                    <a:lnTo>
                      <a:pt x="1525" y="1613"/>
                    </a:lnTo>
                    <a:lnTo>
                      <a:pt x="1525" y="1615"/>
                    </a:lnTo>
                    <a:lnTo>
                      <a:pt x="1522" y="1618"/>
                    </a:lnTo>
                    <a:lnTo>
                      <a:pt x="1515" y="1629"/>
                    </a:lnTo>
                    <a:lnTo>
                      <a:pt x="1512" y="1629"/>
                    </a:lnTo>
                    <a:lnTo>
                      <a:pt x="1509" y="1633"/>
                    </a:lnTo>
                    <a:lnTo>
                      <a:pt x="1519" y="1633"/>
                    </a:lnTo>
                    <a:lnTo>
                      <a:pt x="1519" y="1634"/>
                    </a:lnTo>
                    <a:lnTo>
                      <a:pt x="1515" y="1639"/>
                    </a:lnTo>
                    <a:lnTo>
                      <a:pt x="1519" y="1643"/>
                    </a:lnTo>
                    <a:lnTo>
                      <a:pt x="1519" y="1646"/>
                    </a:lnTo>
                    <a:lnTo>
                      <a:pt x="1519" y="1653"/>
                    </a:lnTo>
                    <a:lnTo>
                      <a:pt x="1520" y="1653"/>
                    </a:lnTo>
                    <a:lnTo>
                      <a:pt x="1524" y="1659"/>
                    </a:lnTo>
                    <a:lnTo>
                      <a:pt x="1529" y="1659"/>
                    </a:lnTo>
                    <a:lnTo>
                      <a:pt x="1530" y="1661"/>
                    </a:lnTo>
                    <a:lnTo>
                      <a:pt x="1537" y="1661"/>
                    </a:lnTo>
                    <a:lnTo>
                      <a:pt x="1535" y="1664"/>
                    </a:lnTo>
                    <a:lnTo>
                      <a:pt x="1530" y="1666"/>
                    </a:lnTo>
                    <a:lnTo>
                      <a:pt x="1537" y="1669"/>
                    </a:lnTo>
                    <a:lnTo>
                      <a:pt x="1545" y="1669"/>
                    </a:lnTo>
                    <a:lnTo>
                      <a:pt x="1549" y="1673"/>
                    </a:lnTo>
                    <a:lnTo>
                      <a:pt x="1552" y="1671"/>
                    </a:lnTo>
                    <a:lnTo>
                      <a:pt x="1559" y="1673"/>
                    </a:lnTo>
                    <a:lnTo>
                      <a:pt x="1559" y="1676"/>
                    </a:lnTo>
                    <a:lnTo>
                      <a:pt x="1567" y="1676"/>
                    </a:lnTo>
                    <a:lnTo>
                      <a:pt x="1569" y="1674"/>
                    </a:lnTo>
                    <a:lnTo>
                      <a:pt x="1577" y="1669"/>
                    </a:lnTo>
                    <a:lnTo>
                      <a:pt x="1577" y="1674"/>
                    </a:lnTo>
                    <a:lnTo>
                      <a:pt x="1575" y="1676"/>
                    </a:lnTo>
                    <a:lnTo>
                      <a:pt x="1582" y="1676"/>
                    </a:lnTo>
                    <a:lnTo>
                      <a:pt x="1590" y="1679"/>
                    </a:lnTo>
                    <a:lnTo>
                      <a:pt x="1590" y="1683"/>
                    </a:lnTo>
                    <a:lnTo>
                      <a:pt x="1587" y="1683"/>
                    </a:lnTo>
                    <a:lnTo>
                      <a:pt x="1585" y="1683"/>
                    </a:lnTo>
                    <a:lnTo>
                      <a:pt x="1588" y="1686"/>
                    </a:lnTo>
                    <a:lnTo>
                      <a:pt x="1593" y="1686"/>
                    </a:lnTo>
                    <a:lnTo>
                      <a:pt x="1597" y="1688"/>
                    </a:lnTo>
                    <a:lnTo>
                      <a:pt x="1592" y="1689"/>
                    </a:lnTo>
                    <a:lnTo>
                      <a:pt x="1588" y="1688"/>
                    </a:lnTo>
                    <a:lnTo>
                      <a:pt x="1585" y="1689"/>
                    </a:lnTo>
                    <a:lnTo>
                      <a:pt x="1577" y="1691"/>
                    </a:lnTo>
                    <a:lnTo>
                      <a:pt x="1567" y="1696"/>
                    </a:lnTo>
                    <a:lnTo>
                      <a:pt x="1562" y="1696"/>
                    </a:lnTo>
                    <a:lnTo>
                      <a:pt x="1554" y="1698"/>
                    </a:lnTo>
                    <a:lnTo>
                      <a:pt x="1547" y="1699"/>
                    </a:lnTo>
                    <a:lnTo>
                      <a:pt x="1539" y="1704"/>
                    </a:lnTo>
                    <a:lnTo>
                      <a:pt x="1535" y="1704"/>
                    </a:lnTo>
                    <a:lnTo>
                      <a:pt x="1535" y="1706"/>
                    </a:lnTo>
                    <a:lnTo>
                      <a:pt x="1529" y="1704"/>
                    </a:lnTo>
                    <a:lnTo>
                      <a:pt x="1527" y="1701"/>
                    </a:lnTo>
                    <a:lnTo>
                      <a:pt x="1525" y="1701"/>
                    </a:lnTo>
                    <a:lnTo>
                      <a:pt x="1524" y="1703"/>
                    </a:lnTo>
                    <a:lnTo>
                      <a:pt x="1520" y="1703"/>
                    </a:lnTo>
                    <a:lnTo>
                      <a:pt x="1517" y="1708"/>
                    </a:lnTo>
                    <a:lnTo>
                      <a:pt x="1519" y="1709"/>
                    </a:lnTo>
                    <a:lnTo>
                      <a:pt x="1510" y="1714"/>
                    </a:lnTo>
                    <a:lnTo>
                      <a:pt x="1504" y="1722"/>
                    </a:lnTo>
                    <a:lnTo>
                      <a:pt x="1500" y="1724"/>
                    </a:lnTo>
                    <a:lnTo>
                      <a:pt x="1494" y="1727"/>
                    </a:lnTo>
                    <a:lnTo>
                      <a:pt x="1492" y="1727"/>
                    </a:lnTo>
                    <a:lnTo>
                      <a:pt x="1490" y="1727"/>
                    </a:lnTo>
                    <a:lnTo>
                      <a:pt x="1489" y="1732"/>
                    </a:lnTo>
                    <a:lnTo>
                      <a:pt x="1487" y="1734"/>
                    </a:lnTo>
                    <a:lnTo>
                      <a:pt x="1484" y="1732"/>
                    </a:lnTo>
                    <a:lnTo>
                      <a:pt x="1482" y="1734"/>
                    </a:lnTo>
                    <a:lnTo>
                      <a:pt x="1479" y="1731"/>
                    </a:lnTo>
                    <a:lnTo>
                      <a:pt x="1477" y="1726"/>
                    </a:lnTo>
                    <a:lnTo>
                      <a:pt x="1476" y="1724"/>
                    </a:lnTo>
                    <a:lnTo>
                      <a:pt x="1472" y="1726"/>
                    </a:lnTo>
                    <a:lnTo>
                      <a:pt x="1472" y="1721"/>
                    </a:lnTo>
                    <a:lnTo>
                      <a:pt x="1471" y="1718"/>
                    </a:lnTo>
                    <a:lnTo>
                      <a:pt x="1471" y="1713"/>
                    </a:lnTo>
                    <a:lnTo>
                      <a:pt x="1474" y="1706"/>
                    </a:lnTo>
                    <a:lnTo>
                      <a:pt x="1481" y="1701"/>
                    </a:lnTo>
                    <a:lnTo>
                      <a:pt x="1481" y="1698"/>
                    </a:lnTo>
                    <a:lnTo>
                      <a:pt x="1490" y="1693"/>
                    </a:lnTo>
                    <a:lnTo>
                      <a:pt x="1500" y="1691"/>
                    </a:lnTo>
                    <a:lnTo>
                      <a:pt x="1509" y="1686"/>
                    </a:lnTo>
                    <a:lnTo>
                      <a:pt x="1515" y="1684"/>
                    </a:lnTo>
                    <a:lnTo>
                      <a:pt x="1519" y="1686"/>
                    </a:lnTo>
                    <a:lnTo>
                      <a:pt x="1520" y="1689"/>
                    </a:lnTo>
                    <a:lnTo>
                      <a:pt x="1524" y="1691"/>
                    </a:lnTo>
                    <a:lnTo>
                      <a:pt x="1522" y="1689"/>
                    </a:lnTo>
                    <a:lnTo>
                      <a:pt x="1524" y="1686"/>
                    </a:lnTo>
                    <a:lnTo>
                      <a:pt x="1529" y="1686"/>
                    </a:lnTo>
                    <a:lnTo>
                      <a:pt x="1535" y="1684"/>
                    </a:lnTo>
                    <a:lnTo>
                      <a:pt x="1540" y="1683"/>
                    </a:lnTo>
                    <a:lnTo>
                      <a:pt x="1532" y="1683"/>
                    </a:lnTo>
                    <a:lnTo>
                      <a:pt x="1522" y="1683"/>
                    </a:lnTo>
                    <a:lnTo>
                      <a:pt x="1519" y="1681"/>
                    </a:lnTo>
                    <a:lnTo>
                      <a:pt x="1514" y="1681"/>
                    </a:lnTo>
                    <a:lnTo>
                      <a:pt x="1512" y="1684"/>
                    </a:lnTo>
                    <a:lnTo>
                      <a:pt x="1505" y="1683"/>
                    </a:lnTo>
                    <a:lnTo>
                      <a:pt x="1510" y="1678"/>
                    </a:lnTo>
                    <a:lnTo>
                      <a:pt x="1515" y="1676"/>
                    </a:lnTo>
                    <a:lnTo>
                      <a:pt x="1520" y="1671"/>
                    </a:lnTo>
                    <a:lnTo>
                      <a:pt x="1520" y="1669"/>
                    </a:lnTo>
                    <a:lnTo>
                      <a:pt x="1517" y="1671"/>
                    </a:lnTo>
                    <a:lnTo>
                      <a:pt x="1517" y="1668"/>
                    </a:lnTo>
                    <a:lnTo>
                      <a:pt x="1512" y="1674"/>
                    </a:lnTo>
                    <a:lnTo>
                      <a:pt x="1507" y="1676"/>
                    </a:lnTo>
                    <a:lnTo>
                      <a:pt x="1502" y="1681"/>
                    </a:lnTo>
                    <a:lnTo>
                      <a:pt x="1497" y="1681"/>
                    </a:lnTo>
                    <a:lnTo>
                      <a:pt x="1495" y="1683"/>
                    </a:lnTo>
                    <a:lnTo>
                      <a:pt x="1484" y="1686"/>
                    </a:lnTo>
                    <a:lnTo>
                      <a:pt x="1482" y="1684"/>
                    </a:lnTo>
                    <a:lnTo>
                      <a:pt x="1484" y="1683"/>
                    </a:lnTo>
                    <a:lnTo>
                      <a:pt x="1482" y="1683"/>
                    </a:lnTo>
                    <a:lnTo>
                      <a:pt x="1484" y="1678"/>
                    </a:lnTo>
                    <a:lnTo>
                      <a:pt x="1481" y="1683"/>
                    </a:lnTo>
                    <a:lnTo>
                      <a:pt x="1477" y="1686"/>
                    </a:lnTo>
                    <a:lnTo>
                      <a:pt x="1472" y="1688"/>
                    </a:lnTo>
                    <a:lnTo>
                      <a:pt x="1469" y="1686"/>
                    </a:lnTo>
                    <a:lnTo>
                      <a:pt x="1466" y="1689"/>
                    </a:lnTo>
                    <a:lnTo>
                      <a:pt x="1464" y="1688"/>
                    </a:lnTo>
                    <a:lnTo>
                      <a:pt x="1462" y="1684"/>
                    </a:lnTo>
                    <a:lnTo>
                      <a:pt x="1457" y="1686"/>
                    </a:lnTo>
                    <a:lnTo>
                      <a:pt x="1449" y="1684"/>
                    </a:lnTo>
                    <a:lnTo>
                      <a:pt x="1449" y="1684"/>
                    </a:lnTo>
                    <a:lnTo>
                      <a:pt x="1449" y="1683"/>
                    </a:lnTo>
                    <a:lnTo>
                      <a:pt x="1449" y="1681"/>
                    </a:lnTo>
                    <a:lnTo>
                      <a:pt x="1449" y="1679"/>
                    </a:lnTo>
                    <a:lnTo>
                      <a:pt x="1449" y="1676"/>
                    </a:lnTo>
                    <a:lnTo>
                      <a:pt x="1449" y="1673"/>
                    </a:lnTo>
                    <a:lnTo>
                      <a:pt x="1447" y="1671"/>
                    </a:lnTo>
                    <a:lnTo>
                      <a:pt x="1446" y="1668"/>
                    </a:lnTo>
                    <a:lnTo>
                      <a:pt x="1444" y="1668"/>
                    </a:lnTo>
                    <a:lnTo>
                      <a:pt x="1446" y="1664"/>
                    </a:lnTo>
                    <a:lnTo>
                      <a:pt x="1451" y="1636"/>
                    </a:lnTo>
                    <a:lnTo>
                      <a:pt x="1451" y="1629"/>
                    </a:lnTo>
                    <a:lnTo>
                      <a:pt x="1441" y="1621"/>
                    </a:lnTo>
                    <a:lnTo>
                      <a:pt x="1439" y="1623"/>
                    </a:lnTo>
                    <a:lnTo>
                      <a:pt x="1432" y="1621"/>
                    </a:lnTo>
                    <a:lnTo>
                      <a:pt x="1427" y="1623"/>
                    </a:lnTo>
                    <a:lnTo>
                      <a:pt x="1424" y="1620"/>
                    </a:lnTo>
                    <a:lnTo>
                      <a:pt x="1421" y="1618"/>
                    </a:lnTo>
                    <a:lnTo>
                      <a:pt x="1419" y="1618"/>
                    </a:lnTo>
                    <a:lnTo>
                      <a:pt x="1416" y="1623"/>
                    </a:lnTo>
                    <a:lnTo>
                      <a:pt x="1412" y="1626"/>
                    </a:lnTo>
                    <a:lnTo>
                      <a:pt x="1404" y="1634"/>
                    </a:lnTo>
                    <a:lnTo>
                      <a:pt x="1401" y="1639"/>
                    </a:lnTo>
                    <a:lnTo>
                      <a:pt x="1401" y="1643"/>
                    </a:lnTo>
                    <a:lnTo>
                      <a:pt x="1394" y="1646"/>
                    </a:lnTo>
                    <a:lnTo>
                      <a:pt x="1394" y="1651"/>
                    </a:lnTo>
                    <a:lnTo>
                      <a:pt x="1391" y="1656"/>
                    </a:lnTo>
                    <a:lnTo>
                      <a:pt x="1386" y="1663"/>
                    </a:lnTo>
                    <a:lnTo>
                      <a:pt x="1383" y="1664"/>
                    </a:lnTo>
                    <a:lnTo>
                      <a:pt x="1374" y="1671"/>
                    </a:lnTo>
                    <a:lnTo>
                      <a:pt x="1373" y="1674"/>
                    </a:lnTo>
                    <a:lnTo>
                      <a:pt x="1371" y="1676"/>
                    </a:lnTo>
                    <a:lnTo>
                      <a:pt x="1366" y="1676"/>
                    </a:lnTo>
                    <a:lnTo>
                      <a:pt x="1363" y="1676"/>
                    </a:lnTo>
                    <a:lnTo>
                      <a:pt x="1361" y="1678"/>
                    </a:lnTo>
                    <a:lnTo>
                      <a:pt x="1359" y="1678"/>
                    </a:lnTo>
                    <a:lnTo>
                      <a:pt x="1353" y="1683"/>
                    </a:lnTo>
                    <a:lnTo>
                      <a:pt x="1283" y="1681"/>
                    </a:lnTo>
                    <a:lnTo>
                      <a:pt x="1275" y="1683"/>
                    </a:lnTo>
                    <a:lnTo>
                      <a:pt x="1270" y="1686"/>
                    </a:lnTo>
                    <a:lnTo>
                      <a:pt x="1265" y="1688"/>
                    </a:lnTo>
                    <a:lnTo>
                      <a:pt x="1260" y="1691"/>
                    </a:lnTo>
                    <a:lnTo>
                      <a:pt x="1248" y="1701"/>
                    </a:lnTo>
                    <a:lnTo>
                      <a:pt x="1241" y="1703"/>
                    </a:lnTo>
                    <a:lnTo>
                      <a:pt x="1238" y="1704"/>
                    </a:lnTo>
                    <a:lnTo>
                      <a:pt x="1216" y="1719"/>
                    </a:lnTo>
                    <a:lnTo>
                      <a:pt x="1172" y="1731"/>
                    </a:lnTo>
                    <a:lnTo>
                      <a:pt x="1170" y="1741"/>
                    </a:lnTo>
                    <a:lnTo>
                      <a:pt x="1158" y="1744"/>
                    </a:lnTo>
                    <a:lnTo>
                      <a:pt x="1075" y="1764"/>
                    </a:lnTo>
                    <a:lnTo>
                      <a:pt x="1072" y="1757"/>
                    </a:lnTo>
                    <a:lnTo>
                      <a:pt x="1077" y="1752"/>
                    </a:lnTo>
                    <a:lnTo>
                      <a:pt x="1085" y="1749"/>
                    </a:lnTo>
                    <a:lnTo>
                      <a:pt x="1088" y="1744"/>
                    </a:lnTo>
                    <a:lnTo>
                      <a:pt x="1092" y="1739"/>
                    </a:lnTo>
                    <a:lnTo>
                      <a:pt x="1095" y="1734"/>
                    </a:lnTo>
                    <a:lnTo>
                      <a:pt x="1097" y="1704"/>
                    </a:lnTo>
                    <a:lnTo>
                      <a:pt x="1080" y="1638"/>
                    </a:lnTo>
                    <a:lnTo>
                      <a:pt x="1065" y="1626"/>
                    </a:lnTo>
                    <a:lnTo>
                      <a:pt x="1060" y="1620"/>
                    </a:lnTo>
                    <a:lnTo>
                      <a:pt x="962" y="1578"/>
                    </a:lnTo>
                    <a:lnTo>
                      <a:pt x="959" y="1576"/>
                    </a:lnTo>
                    <a:lnTo>
                      <a:pt x="954" y="1575"/>
                    </a:lnTo>
                    <a:lnTo>
                      <a:pt x="951" y="1573"/>
                    </a:lnTo>
                    <a:lnTo>
                      <a:pt x="939" y="1573"/>
                    </a:lnTo>
                    <a:lnTo>
                      <a:pt x="937" y="1570"/>
                    </a:lnTo>
                    <a:lnTo>
                      <a:pt x="936" y="1566"/>
                    </a:lnTo>
                    <a:lnTo>
                      <a:pt x="931" y="1570"/>
                    </a:lnTo>
                    <a:lnTo>
                      <a:pt x="922" y="1570"/>
                    </a:lnTo>
                    <a:lnTo>
                      <a:pt x="919" y="1568"/>
                    </a:lnTo>
                    <a:lnTo>
                      <a:pt x="916" y="1565"/>
                    </a:lnTo>
                    <a:lnTo>
                      <a:pt x="911" y="1563"/>
                    </a:lnTo>
                    <a:lnTo>
                      <a:pt x="902" y="1561"/>
                    </a:lnTo>
                    <a:lnTo>
                      <a:pt x="901" y="1556"/>
                    </a:lnTo>
                    <a:lnTo>
                      <a:pt x="897" y="1556"/>
                    </a:lnTo>
                    <a:lnTo>
                      <a:pt x="892" y="1551"/>
                    </a:lnTo>
                    <a:lnTo>
                      <a:pt x="888" y="1553"/>
                    </a:lnTo>
                    <a:lnTo>
                      <a:pt x="884" y="1551"/>
                    </a:lnTo>
                    <a:lnTo>
                      <a:pt x="879" y="1553"/>
                    </a:lnTo>
                    <a:lnTo>
                      <a:pt x="878" y="1553"/>
                    </a:lnTo>
                    <a:lnTo>
                      <a:pt x="874" y="1550"/>
                    </a:lnTo>
                    <a:lnTo>
                      <a:pt x="869" y="1548"/>
                    </a:lnTo>
                    <a:lnTo>
                      <a:pt x="869" y="1548"/>
                    </a:lnTo>
                    <a:lnTo>
                      <a:pt x="864" y="1546"/>
                    </a:lnTo>
                    <a:lnTo>
                      <a:pt x="863" y="1545"/>
                    </a:lnTo>
                    <a:lnTo>
                      <a:pt x="859" y="1543"/>
                    </a:lnTo>
                    <a:lnTo>
                      <a:pt x="859" y="1541"/>
                    </a:lnTo>
                    <a:lnTo>
                      <a:pt x="854" y="1536"/>
                    </a:lnTo>
                    <a:lnTo>
                      <a:pt x="849" y="1536"/>
                    </a:lnTo>
                    <a:lnTo>
                      <a:pt x="844" y="1536"/>
                    </a:lnTo>
                    <a:lnTo>
                      <a:pt x="215" y="14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7" name="Freeform 149"/>
              <p:cNvSpPr>
                <a:spLocks noEditPoints="1"/>
              </p:cNvSpPr>
              <p:nvPr/>
            </p:nvSpPr>
            <p:spPr bwMode="auto">
              <a:xfrm>
                <a:off x="4480005" y="2005932"/>
                <a:ext cx="497665" cy="466915"/>
              </a:xfrm>
              <a:custGeom>
                <a:avLst/>
                <a:gdLst/>
                <a:ahLst/>
                <a:cxnLst>
                  <a:cxn ang="0">
                    <a:pos x="776" y="741"/>
                  </a:cxn>
                  <a:cxn ang="0">
                    <a:pos x="924" y="173"/>
                  </a:cxn>
                  <a:cxn ang="0">
                    <a:pos x="837" y="125"/>
                  </a:cxn>
                  <a:cxn ang="0">
                    <a:pos x="769" y="92"/>
                  </a:cxn>
                  <a:cxn ang="0">
                    <a:pos x="733" y="22"/>
                  </a:cxn>
                  <a:cxn ang="0">
                    <a:pos x="718" y="7"/>
                  </a:cxn>
                  <a:cxn ang="0">
                    <a:pos x="605" y="44"/>
                  </a:cxn>
                  <a:cxn ang="0">
                    <a:pos x="435" y="82"/>
                  </a:cxn>
                  <a:cxn ang="0">
                    <a:pos x="434" y="231"/>
                  </a:cxn>
                  <a:cxn ang="0">
                    <a:pos x="410" y="260"/>
                  </a:cxn>
                  <a:cxn ang="0">
                    <a:pos x="341" y="216"/>
                  </a:cxn>
                  <a:cxn ang="0">
                    <a:pos x="289" y="281"/>
                  </a:cxn>
                  <a:cxn ang="0">
                    <a:pos x="316" y="324"/>
                  </a:cxn>
                  <a:cxn ang="0">
                    <a:pos x="346" y="368"/>
                  </a:cxn>
                  <a:cxn ang="0">
                    <a:pos x="219" y="422"/>
                  </a:cxn>
                  <a:cxn ang="0">
                    <a:pos x="168" y="494"/>
                  </a:cxn>
                  <a:cxn ang="0">
                    <a:pos x="154" y="510"/>
                  </a:cxn>
                  <a:cxn ang="0">
                    <a:pos x="201" y="560"/>
                  </a:cxn>
                  <a:cxn ang="0">
                    <a:pos x="216" y="600"/>
                  </a:cxn>
                  <a:cxn ang="0">
                    <a:pos x="291" y="615"/>
                  </a:cxn>
                  <a:cxn ang="0">
                    <a:pos x="194" y="703"/>
                  </a:cxn>
                  <a:cxn ang="0">
                    <a:pos x="78" y="758"/>
                  </a:cxn>
                  <a:cxn ang="0">
                    <a:pos x="111" y="750"/>
                  </a:cxn>
                  <a:cxn ang="0">
                    <a:pos x="174" y="743"/>
                  </a:cxn>
                  <a:cxn ang="0">
                    <a:pos x="236" y="713"/>
                  </a:cxn>
                  <a:cxn ang="0">
                    <a:pos x="317" y="672"/>
                  </a:cxn>
                  <a:cxn ang="0">
                    <a:pos x="362" y="608"/>
                  </a:cxn>
                  <a:cxn ang="0">
                    <a:pos x="473" y="547"/>
                  </a:cxn>
                  <a:cxn ang="0">
                    <a:pos x="410" y="612"/>
                  </a:cxn>
                  <a:cxn ang="0">
                    <a:pos x="445" y="625"/>
                  </a:cxn>
                  <a:cxn ang="0">
                    <a:pos x="507" y="588"/>
                  </a:cxn>
                  <a:cxn ang="0">
                    <a:pos x="553" y="580"/>
                  </a:cxn>
                  <a:cxn ang="0">
                    <a:pos x="585" y="617"/>
                  </a:cxn>
                  <a:cxn ang="0">
                    <a:pos x="663" y="662"/>
                  </a:cxn>
                  <a:cxn ang="0">
                    <a:pos x="688" y="720"/>
                  </a:cxn>
                  <a:cxn ang="0">
                    <a:pos x="726" y="720"/>
                  </a:cxn>
                  <a:cxn ang="0">
                    <a:pos x="747" y="730"/>
                  </a:cxn>
                  <a:cxn ang="0">
                    <a:pos x="756" y="798"/>
                  </a:cxn>
                  <a:cxn ang="0">
                    <a:pos x="774" y="849"/>
                  </a:cxn>
                  <a:cxn ang="0">
                    <a:pos x="799" y="861"/>
                  </a:cxn>
                  <a:cxn ang="0">
                    <a:pos x="772" y="856"/>
                  </a:cxn>
                  <a:cxn ang="0">
                    <a:pos x="719" y="874"/>
                  </a:cxn>
                  <a:cxn ang="0">
                    <a:pos x="739" y="841"/>
                  </a:cxn>
                  <a:cxn ang="0">
                    <a:pos x="738" y="876"/>
                  </a:cxn>
                  <a:cxn ang="0">
                    <a:pos x="754" y="849"/>
                  </a:cxn>
                  <a:cxn ang="0">
                    <a:pos x="749" y="804"/>
                  </a:cxn>
                  <a:cxn ang="0">
                    <a:pos x="721" y="834"/>
                  </a:cxn>
                  <a:cxn ang="0">
                    <a:pos x="706" y="813"/>
                  </a:cxn>
                  <a:cxn ang="0">
                    <a:pos x="736" y="780"/>
                  </a:cxn>
                  <a:cxn ang="0">
                    <a:pos x="734" y="760"/>
                  </a:cxn>
                  <a:cxn ang="0">
                    <a:pos x="711" y="748"/>
                  </a:cxn>
                  <a:cxn ang="0">
                    <a:pos x="248" y="401"/>
                  </a:cxn>
                  <a:cxn ang="0">
                    <a:pos x="535" y="610"/>
                  </a:cxn>
                  <a:cxn ang="0">
                    <a:pos x="502" y="618"/>
                  </a:cxn>
                  <a:cxn ang="0">
                    <a:pos x="374" y="615"/>
                  </a:cxn>
                  <a:cxn ang="0">
                    <a:pos x="362" y="677"/>
                  </a:cxn>
                  <a:cxn ang="0">
                    <a:pos x="334" y="690"/>
                  </a:cxn>
                  <a:cxn ang="0">
                    <a:pos x="327" y="708"/>
                  </a:cxn>
                  <a:cxn ang="0">
                    <a:pos x="287" y="731"/>
                  </a:cxn>
                  <a:cxn ang="0">
                    <a:pos x="143" y="776"/>
                  </a:cxn>
                  <a:cxn ang="0">
                    <a:pos x="75" y="781"/>
                  </a:cxn>
                  <a:cxn ang="0">
                    <a:pos x="25" y="768"/>
                  </a:cxn>
                </a:cxnLst>
                <a:rect l="0" t="0" r="r" b="b"/>
                <a:pathLst>
                  <a:path w="930" h="899">
                    <a:moveTo>
                      <a:pt x="801" y="861"/>
                    </a:moveTo>
                    <a:lnTo>
                      <a:pt x="801" y="859"/>
                    </a:lnTo>
                    <a:lnTo>
                      <a:pt x="801" y="856"/>
                    </a:lnTo>
                    <a:lnTo>
                      <a:pt x="802" y="854"/>
                    </a:lnTo>
                    <a:lnTo>
                      <a:pt x="802" y="853"/>
                    </a:lnTo>
                    <a:lnTo>
                      <a:pt x="804" y="851"/>
                    </a:lnTo>
                    <a:lnTo>
                      <a:pt x="802" y="849"/>
                    </a:lnTo>
                    <a:lnTo>
                      <a:pt x="799" y="848"/>
                    </a:lnTo>
                    <a:lnTo>
                      <a:pt x="799" y="843"/>
                    </a:lnTo>
                    <a:lnTo>
                      <a:pt x="797" y="839"/>
                    </a:lnTo>
                    <a:lnTo>
                      <a:pt x="792" y="836"/>
                    </a:lnTo>
                    <a:lnTo>
                      <a:pt x="789" y="833"/>
                    </a:lnTo>
                    <a:lnTo>
                      <a:pt x="787" y="831"/>
                    </a:lnTo>
                    <a:lnTo>
                      <a:pt x="782" y="824"/>
                    </a:lnTo>
                    <a:lnTo>
                      <a:pt x="779" y="824"/>
                    </a:lnTo>
                    <a:lnTo>
                      <a:pt x="776" y="824"/>
                    </a:lnTo>
                    <a:lnTo>
                      <a:pt x="776" y="823"/>
                    </a:lnTo>
                    <a:lnTo>
                      <a:pt x="777" y="819"/>
                    </a:lnTo>
                    <a:lnTo>
                      <a:pt x="776" y="816"/>
                    </a:lnTo>
                    <a:lnTo>
                      <a:pt x="774" y="814"/>
                    </a:lnTo>
                    <a:lnTo>
                      <a:pt x="774" y="813"/>
                    </a:lnTo>
                    <a:lnTo>
                      <a:pt x="776" y="811"/>
                    </a:lnTo>
                    <a:lnTo>
                      <a:pt x="777" y="809"/>
                    </a:lnTo>
                    <a:lnTo>
                      <a:pt x="777" y="808"/>
                    </a:lnTo>
                    <a:lnTo>
                      <a:pt x="774" y="806"/>
                    </a:lnTo>
                    <a:lnTo>
                      <a:pt x="772" y="806"/>
                    </a:lnTo>
                    <a:lnTo>
                      <a:pt x="772" y="803"/>
                    </a:lnTo>
                    <a:lnTo>
                      <a:pt x="776" y="801"/>
                    </a:lnTo>
                    <a:lnTo>
                      <a:pt x="774" y="784"/>
                    </a:lnTo>
                    <a:lnTo>
                      <a:pt x="776" y="770"/>
                    </a:lnTo>
                    <a:lnTo>
                      <a:pt x="777" y="756"/>
                    </a:lnTo>
                    <a:lnTo>
                      <a:pt x="776" y="753"/>
                    </a:lnTo>
                    <a:lnTo>
                      <a:pt x="774" y="750"/>
                    </a:lnTo>
                    <a:lnTo>
                      <a:pt x="777" y="745"/>
                    </a:lnTo>
                    <a:lnTo>
                      <a:pt x="776" y="741"/>
                    </a:lnTo>
                    <a:lnTo>
                      <a:pt x="774" y="738"/>
                    </a:lnTo>
                    <a:lnTo>
                      <a:pt x="772" y="730"/>
                    </a:lnTo>
                    <a:lnTo>
                      <a:pt x="767" y="725"/>
                    </a:lnTo>
                    <a:lnTo>
                      <a:pt x="766" y="716"/>
                    </a:lnTo>
                    <a:lnTo>
                      <a:pt x="767" y="713"/>
                    </a:lnTo>
                    <a:lnTo>
                      <a:pt x="762" y="700"/>
                    </a:lnTo>
                    <a:lnTo>
                      <a:pt x="764" y="696"/>
                    </a:lnTo>
                    <a:lnTo>
                      <a:pt x="767" y="691"/>
                    </a:lnTo>
                    <a:lnTo>
                      <a:pt x="766" y="688"/>
                    </a:lnTo>
                    <a:lnTo>
                      <a:pt x="766" y="683"/>
                    </a:lnTo>
                    <a:lnTo>
                      <a:pt x="761" y="680"/>
                    </a:lnTo>
                    <a:lnTo>
                      <a:pt x="752" y="680"/>
                    </a:lnTo>
                    <a:lnTo>
                      <a:pt x="744" y="683"/>
                    </a:lnTo>
                    <a:lnTo>
                      <a:pt x="743" y="683"/>
                    </a:lnTo>
                    <a:lnTo>
                      <a:pt x="734" y="686"/>
                    </a:lnTo>
                    <a:lnTo>
                      <a:pt x="729" y="691"/>
                    </a:lnTo>
                    <a:lnTo>
                      <a:pt x="723" y="700"/>
                    </a:lnTo>
                    <a:lnTo>
                      <a:pt x="716" y="703"/>
                    </a:lnTo>
                    <a:lnTo>
                      <a:pt x="708" y="705"/>
                    </a:lnTo>
                    <a:lnTo>
                      <a:pt x="699" y="705"/>
                    </a:lnTo>
                    <a:lnTo>
                      <a:pt x="698" y="706"/>
                    </a:lnTo>
                    <a:lnTo>
                      <a:pt x="698" y="703"/>
                    </a:lnTo>
                    <a:lnTo>
                      <a:pt x="701" y="696"/>
                    </a:lnTo>
                    <a:lnTo>
                      <a:pt x="699" y="691"/>
                    </a:lnTo>
                    <a:lnTo>
                      <a:pt x="693" y="667"/>
                    </a:lnTo>
                    <a:lnTo>
                      <a:pt x="688" y="655"/>
                    </a:lnTo>
                    <a:lnTo>
                      <a:pt x="686" y="648"/>
                    </a:lnTo>
                    <a:lnTo>
                      <a:pt x="691" y="640"/>
                    </a:lnTo>
                    <a:lnTo>
                      <a:pt x="679" y="638"/>
                    </a:lnTo>
                    <a:lnTo>
                      <a:pt x="669" y="643"/>
                    </a:lnTo>
                    <a:lnTo>
                      <a:pt x="664" y="640"/>
                    </a:lnTo>
                    <a:lnTo>
                      <a:pt x="649" y="640"/>
                    </a:lnTo>
                    <a:lnTo>
                      <a:pt x="930" y="177"/>
                    </a:lnTo>
                    <a:lnTo>
                      <a:pt x="929" y="175"/>
                    </a:lnTo>
                    <a:lnTo>
                      <a:pt x="924" y="173"/>
                    </a:lnTo>
                    <a:lnTo>
                      <a:pt x="920" y="175"/>
                    </a:lnTo>
                    <a:lnTo>
                      <a:pt x="917" y="172"/>
                    </a:lnTo>
                    <a:lnTo>
                      <a:pt x="915" y="163"/>
                    </a:lnTo>
                    <a:lnTo>
                      <a:pt x="914" y="158"/>
                    </a:lnTo>
                    <a:lnTo>
                      <a:pt x="910" y="157"/>
                    </a:lnTo>
                    <a:lnTo>
                      <a:pt x="909" y="152"/>
                    </a:lnTo>
                    <a:lnTo>
                      <a:pt x="905" y="147"/>
                    </a:lnTo>
                    <a:lnTo>
                      <a:pt x="904" y="145"/>
                    </a:lnTo>
                    <a:lnTo>
                      <a:pt x="895" y="145"/>
                    </a:lnTo>
                    <a:lnTo>
                      <a:pt x="894" y="145"/>
                    </a:lnTo>
                    <a:lnTo>
                      <a:pt x="887" y="145"/>
                    </a:lnTo>
                    <a:lnTo>
                      <a:pt x="880" y="147"/>
                    </a:lnTo>
                    <a:lnTo>
                      <a:pt x="877" y="145"/>
                    </a:lnTo>
                    <a:lnTo>
                      <a:pt x="875" y="145"/>
                    </a:lnTo>
                    <a:lnTo>
                      <a:pt x="874" y="143"/>
                    </a:lnTo>
                    <a:lnTo>
                      <a:pt x="872" y="145"/>
                    </a:lnTo>
                    <a:lnTo>
                      <a:pt x="869" y="145"/>
                    </a:lnTo>
                    <a:lnTo>
                      <a:pt x="869" y="143"/>
                    </a:lnTo>
                    <a:lnTo>
                      <a:pt x="870" y="143"/>
                    </a:lnTo>
                    <a:lnTo>
                      <a:pt x="872" y="142"/>
                    </a:lnTo>
                    <a:lnTo>
                      <a:pt x="867" y="138"/>
                    </a:lnTo>
                    <a:lnTo>
                      <a:pt x="864" y="140"/>
                    </a:lnTo>
                    <a:lnTo>
                      <a:pt x="862" y="138"/>
                    </a:lnTo>
                    <a:lnTo>
                      <a:pt x="862" y="137"/>
                    </a:lnTo>
                    <a:lnTo>
                      <a:pt x="864" y="135"/>
                    </a:lnTo>
                    <a:lnTo>
                      <a:pt x="862" y="133"/>
                    </a:lnTo>
                    <a:lnTo>
                      <a:pt x="859" y="135"/>
                    </a:lnTo>
                    <a:lnTo>
                      <a:pt x="855" y="133"/>
                    </a:lnTo>
                    <a:lnTo>
                      <a:pt x="855" y="132"/>
                    </a:lnTo>
                    <a:lnTo>
                      <a:pt x="852" y="128"/>
                    </a:lnTo>
                    <a:lnTo>
                      <a:pt x="845" y="123"/>
                    </a:lnTo>
                    <a:lnTo>
                      <a:pt x="844" y="123"/>
                    </a:lnTo>
                    <a:lnTo>
                      <a:pt x="842" y="123"/>
                    </a:lnTo>
                    <a:lnTo>
                      <a:pt x="841" y="123"/>
                    </a:lnTo>
                    <a:lnTo>
                      <a:pt x="837" y="125"/>
                    </a:lnTo>
                    <a:lnTo>
                      <a:pt x="839" y="123"/>
                    </a:lnTo>
                    <a:lnTo>
                      <a:pt x="837" y="122"/>
                    </a:lnTo>
                    <a:lnTo>
                      <a:pt x="834" y="120"/>
                    </a:lnTo>
                    <a:lnTo>
                      <a:pt x="831" y="123"/>
                    </a:lnTo>
                    <a:lnTo>
                      <a:pt x="829" y="122"/>
                    </a:lnTo>
                    <a:lnTo>
                      <a:pt x="829" y="120"/>
                    </a:lnTo>
                    <a:lnTo>
                      <a:pt x="831" y="118"/>
                    </a:lnTo>
                    <a:lnTo>
                      <a:pt x="829" y="117"/>
                    </a:lnTo>
                    <a:lnTo>
                      <a:pt x="826" y="115"/>
                    </a:lnTo>
                    <a:lnTo>
                      <a:pt x="822" y="115"/>
                    </a:lnTo>
                    <a:lnTo>
                      <a:pt x="824" y="113"/>
                    </a:lnTo>
                    <a:lnTo>
                      <a:pt x="822" y="112"/>
                    </a:lnTo>
                    <a:lnTo>
                      <a:pt x="819" y="110"/>
                    </a:lnTo>
                    <a:lnTo>
                      <a:pt x="816" y="107"/>
                    </a:lnTo>
                    <a:lnTo>
                      <a:pt x="816" y="105"/>
                    </a:lnTo>
                    <a:lnTo>
                      <a:pt x="816" y="103"/>
                    </a:lnTo>
                    <a:lnTo>
                      <a:pt x="812" y="102"/>
                    </a:lnTo>
                    <a:lnTo>
                      <a:pt x="809" y="103"/>
                    </a:lnTo>
                    <a:lnTo>
                      <a:pt x="801" y="112"/>
                    </a:lnTo>
                    <a:lnTo>
                      <a:pt x="791" y="117"/>
                    </a:lnTo>
                    <a:lnTo>
                      <a:pt x="799" y="112"/>
                    </a:lnTo>
                    <a:lnTo>
                      <a:pt x="804" y="103"/>
                    </a:lnTo>
                    <a:lnTo>
                      <a:pt x="811" y="98"/>
                    </a:lnTo>
                    <a:lnTo>
                      <a:pt x="811" y="93"/>
                    </a:lnTo>
                    <a:lnTo>
                      <a:pt x="807" y="92"/>
                    </a:lnTo>
                    <a:lnTo>
                      <a:pt x="802" y="87"/>
                    </a:lnTo>
                    <a:lnTo>
                      <a:pt x="796" y="87"/>
                    </a:lnTo>
                    <a:lnTo>
                      <a:pt x="789" y="90"/>
                    </a:lnTo>
                    <a:lnTo>
                      <a:pt x="786" y="90"/>
                    </a:lnTo>
                    <a:lnTo>
                      <a:pt x="784" y="90"/>
                    </a:lnTo>
                    <a:lnTo>
                      <a:pt x="777" y="92"/>
                    </a:lnTo>
                    <a:lnTo>
                      <a:pt x="771" y="98"/>
                    </a:lnTo>
                    <a:lnTo>
                      <a:pt x="764" y="102"/>
                    </a:lnTo>
                    <a:lnTo>
                      <a:pt x="769" y="97"/>
                    </a:lnTo>
                    <a:lnTo>
                      <a:pt x="769" y="92"/>
                    </a:lnTo>
                    <a:lnTo>
                      <a:pt x="769" y="87"/>
                    </a:lnTo>
                    <a:lnTo>
                      <a:pt x="769" y="84"/>
                    </a:lnTo>
                    <a:lnTo>
                      <a:pt x="762" y="79"/>
                    </a:lnTo>
                    <a:lnTo>
                      <a:pt x="762" y="77"/>
                    </a:lnTo>
                    <a:lnTo>
                      <a:pt x="766" y="75"/>
                    </a:lnTo>
                    <a:lnTo>
                      <a:pt x="771" y="75"/>
                    </a:lnTo>
                    <a:lnTo>
                      <a:pt x="769" y="74"/>
                    </a:lnTo>
                    <a:lnTo>
                      <a:pt x="757" y="67"/>
                    </a:lnTo>
                    <a:lnTo>
                      <a:pt x="757" y="65"/>
                    </a:lnTo>
                    <a:lnTo>
                      <a:pt x="759" y="62"/>
                    </a:lnTo>
                    <a:lnTo>
                      <a:pt x="766" y="59"/>
                    </a:lnTo>
                    <a:lnTo>
                      <a:pt x="769" y="55"/>
                    </a:lnTo>
                    <a:lnTo>
                      <a:pt x="767" y="52"/>
                    </a:lnTo>
                    <a:lnTo>
                      <a:pt x="764" y="49"/>
                    </a:lnTo>
                    <a:lnTo>
                      <a:pt x="762" y="49"/>
                    </a:lnTo>
                    <a:lnTo>
                      <a:pt x="759" y="49"/>
                    </a:lnTo>
                    <a:lnTo>
                      <a:pt x="757" y="45"/>
                    </a:lnTo>
                    <a:lnTo>
                      <a:pt x="754" y="44"/>
                    </a:lnTo>
                    <a:lnTo>
                      <a:pt x="749" y="45"/>
                    </a:lnTo>
                    <a:lnTo>
                      <a:pt x="744" y="42"/>
                    </a:lnTo>
                    <a:lnTo>
                      <a:pt x="741" y="42"/>
                    </a:lnTo>
                    <a:lnTo>
                      <a:pt x="738" y="44"/>
                    </a:lnTo>
                    <a:lnTo>
                      <a:pt x="733" y="44"/>
                    </a:lnTo>
                    <a:lnTo>
                      <a:pt x="729" y="47"/>
                    </a:lnTo>
                    <a:lnTo>
                      <a:pt x="729" y="49"/>
                    </a:lnTo>
                    <a:lnTo>
                      <a:pt x="726" y="45"/>
                    </a:lnTo>
                    <a:lnTo>
                      <a:pt x="728" y="42"/>
                    </a:lnTo>
                    <a:lnTo>
                      <a:pt x="731" y="40"/>
                    </a:lnTo>
                    <a:lnTo>
                      <a:pt x="729" y="37"/>
                    </a:lnTo>
                    <a:lnTo>
                      <a:pt x="731" y="34"/>
                    </a:lnTo>
                    <a:lnTo>
                      <a:pt x="734" y="32"/>
                    </a:lnTo>
                    <a:lnTo>
                      <a:pt x="734" y="29"/>
                    </a:lnTo>
                    <a:lnTo>
                      <a:pt x="736" y="24"/>
                    </a:lnTo>
                    <a:lnTo>
                      <a:pt x="734" y="22"/>
                    </a:lnTo>
                    <a:lnTo>
                      <a:pt x="733" y="22"/>
                    </a:lnTo>
                    <a:lnTo>
                      <a:pt x="728" y="27"/>
                    </a:lnTo>
                    <a:lnTo>
                      <a:pt x="726" y="30"/>
                    </a:lnTo>
                    <a:lnTo>
                      <a:pt x="724" y="30"/>
                    </a:lnTo>
                    <a:lnTo>
                      <a:pt x="721" y="29"/>
                    </a:lnTo>
                    <a:lnTo>
                      <a:pt x="716" y="30"/>
                    </a:lnTo>
                    <a:lnTo>
                      <a:pt x="716" y="32"/>
                    </a:lnTo>
                    <a:lnTo>
                      <a:pt x="716" y="37"/>
                    </a:lnTo>
                    <a:lnTo>
                      <a:pt x="714" y="40"/>
                    </a:lnTo>
                    <a:lnTo>
                      <a:pt x="711" y="40"/>
                    </a:lnTo>
                    <a:lnTo>
                      <a:pt x="709" y="39"/>
                    </a:lnTo>
                    <a:lnTo>
                      <a:pt x="708" y="44"/>
                    </a:lnTo>
                    <a:lnTo>
                      <a:pt x="708" y="49"/>
                    </a:lnTo>
                    <a:lnTo>
                      <a:pt x="706" y="44"/>
                    </a:lnTo>
                    <a:lnTo>
                      <a:pt x="706" y="39"/>
                    </a:lnTo>
                    <a:lnTo>
                      <a:pt x="708" y="35"/>
                    </a:lnTo>
                    <a:lnTo>
                      <a:pt x="706" y="35"/>
                    </a:lnTo>
                    <a:lnTo>
                      <a:pt x="703" y="37"/>
                    </a:lnTo>
                    <a:lnTo>
                      <a:pt x="701" y="40"/>
                    </a:lnTo>
                    <a:lnTo>
                      <a:pt x="698" y="42"/>
                    </a:lnTo>
                    <a:lnTo>
                      <a:pt x="699" y="35"/>
                    </a:lnTo>
                    <a:lnTo>
                      <a:pt x="698" y="30"/>
                    </a:lnTo>
                    <a:lnTo>
                      <a:pt x="693" y="32"/>
                    </a:lnTo>
                    <a:lnTo>
                      <a:pt x="694" y="29"/>
                    </a:lnTo>
                    <a:lnTo>
                      <a:pt x="699" y="25"/>
                    </a:lnTo>
                    <a:lnTo>
                      <a:pt x="704" y="24"/>
                    </a:lnTo>
                    <a:lnTo>
                      <a:pt x="709" y="27"/>
                    </a:lnTo>
                    <a:lnTo>
                      <a:pt x="716" y="25"/>
                    </a:lnTo>
                    <a:lnTo>
                      <a:pt x="721" y="24"/>
                    </a:lnTo>
                    <a:lnTo>
                      <a:pt x="726" y="19"/>
                    </a:lnTo>
                    <a:lnTo>
                      <a:pt x="726" y="17"/>
                    </a:lnTo>
                    <a:lnTo>
                      <a:pt x="728" y="15"/>
                    </a:lnTo>
                    <a:lnTo>
                      <a:pt x="726" y="14"/>
                    </a:lnTo>
                    <a:lnTo>
                      <a:pt x="721" y="10"/>
                    </a:lnTo>
                    <a:lnTo>
                      <a:pt x="719" y="12"/>
                    </a:lnTo>
                    <a:lnTo>
                      <a:pt x="718" y="7"/>
                    </a:lnTo>
                    <a:lnTo>
                      <a:pt x="716" y="5"/>
                    </a:lnTo>
                    <a:lnTo>
                      <a:pt x="714" y="5"/>
                    </a:lnTo>
                    <a:lnTo>
                      <a:pt x="716" y="4"/>
                    </a:lnTo>
                    <a:lnTo>
                      <a:pt x="718" y="2"/>
                    </a:lnTo>
                    <a:lnTo>
                      <a:pt x="719" y="0"/>
                    </a:lnTo>
                    <a:lnTo>
                      <a:pt x="716" y="0"/>
                    </a:lnTo>
                    <a:lnTo>
                      <a:pt x="708" y="5"/>
                    </a:lnTo>
                    <a:lnTo>
                      <a:pt x="706" y="7"/>
                    </a:lnTo>
                    <a:lnTo>
                      <a:pt x="699" y="7"/>
                    </a:lnTo>
                    <a:lnTo>
                      <a:pt x="694" y="10"/>
                    </a:lnTo>
                    <a:lnTo>
                      <a:pt x="684" y="17"/>
                    </a:lnTo>
                    <a:lnTo>
                      <a:pt x="678" y="19"/>
                    </a:lnTo>
                    <a:lnTo>
                      <a:pt x="666" y="19"/>
                    </a:lnTo>
                    <a:lnTo>
                      <a:pt x="659" y="15"/>
                    </a:lnTo>
                    <a:lnTo>
                      <a:pt x="658" y="14"/>
                    </a:lnTo>
                    <a:lnTo>
                      <a:pt x="658" y="15"/>
                    </a:lnTo>
                    <a:lnTo>
                      <a:pt x="653" y="15"/>
                    </a:lnTo>
                    <a:lnTo>
                      <a:pt x="648" y="12"/>
                    </a:lnTo>
                    <a:lnTo>
                      <a:pt x="645" y="14"/>
                    </a:lnTo>
                    <a:lnTo>
                      <a:pt x="643" y="17"/>
                    </a:lnTo>
                    <a:lnTo>
                      <a:pt x="641" y="17"/>
                    </a:lnTo>
                    <a:lnTo>
                      <a:pt x="640" y="14"/>
                    </a:lnTo>
                    <a:lnTo>
                      <a:pt x="641" y="12"/>
                    </a:lnTo>
                    <a:lnTo>
                      <a:pt x="645" y="10"/>
                    </a:lnTo>
                    <a:lnTo>
                      <a:pt x="643" y="9"/>
                    </a:lnTo>
                    <a:lnTo>
                      <a:pt x="636" y="10"/>
                    </a:lnTo>
                    <a:lnTo>
                      <a:pt x="628" y="14"/>
                    </a:lnTo>
                    <a:lnTo>
                      <a:pt x="621" y="17"/>
                    </a:lnTo>
                    <a:lnTo>
                      <a:pt x="618" y="22"/>
                    </a:lnTo>
                    <a:lnTo>
                      <a:pt x="620" y="25"/>
                    </a:lnTo>
                    <a:lnTo>
                      <a:pt x="626" y="27"/>
                    </a:lnTo>
                    <a:lnTo>
                      <a:pt x="623" y="29"/>
                    </a:lnTo>
                    <a:lnTo>
                      <a:pt x="616" y="29"/>
                    </a:lnTo>
                    <a:lnTo>
                      <a:pt x="610" y="34"/>
                    </a:lnTo>
                    <a:lnTo>
                      <a:pt x="605" y="44"/>
                    </a:lnTo>
                    <a:lnTo>
                      <a:pt x="603" y="52"/>
                    </a:lnTo>
                    <a:lnTo>
                      <a:pt x="600" y="52"/>
                    </a:lnTo>
                    <a:lnTo>
                      <a:pt x="600" y="50"/>
                    </a:lnTo>
                    <a:lnTo>
                      <a:pt x="601" y="42"/>
                    </a:lnTo>
                    <a:lnTo>
                      <a:pt x="608" y="32"/>
                    </a:lnTo>
                    <a:lnTo>
                      <a:pt x="608" y="30"/>
                    </a:lnTo>
                    <a:lnTo>
                      <a:pt x="606" y="30"/>
                    </a:lnTo>
                    <a:lnTo>
                      <a:pt x="593" y="34"/>
                    </a:lnTo>
                    <a:lnTo>
                      <a:pt x="588" y="34"/>
                    </a:lnTo>
                    <a:lnTo>
                      <a:pt x="585" y="34"/>
                    </a:lnTo>
                    <a:lnTo>
                      <a:pt x="581" y="29"/>
                    </a:lnTo>
                    <a:lnTo>
                      <a:pt x="576" y="27"/>
                    </a:lnTo>
                    <a:lnTo>
                      <a:pt x="573" y="27"/>
                    </a:lnTo>
                    <a:lnTo>
                      <a:pt x="573" y="29"/>
                    </a:lnTo>
                    <a:lnTo>
                      <a:pt x="580" y="32"/>
                    </a:lnTo>
                    <a:lnTo>
                      <a:pt x="583" y="35"/>
                    </a:lnTo>
                    <a:lnTo>
                      <a:pt x="581" y="35"/>
                    </a:lnTo>
                    <a:lnTo>
                      <a:pt x="573" y="34"/>
                    </a:lnTo>
                    <a:lnTo>
                      <a:pt x="565" y="34"/>
                    </a:lnTo>
                    <a:lnTo>
                      <a:pt x="555" y="37"/>
                    </a:lnTo>
                    <a:lnTo>
                      <a:pt x="543" y="47"/>
                    </a:lnTo>
                    <a:lnTo>
                      <a:pt x="530" y="54"/>
                    </a:lnTo>
                    <a:lnTo>
                      <a:pt x="520" y="60"/>
                    </a:lnTo>
                    <a:lnTo>
                      <a:pt x="510" y="69"/>
                    </a:lnTo>
                    <a:lnTo>
                      <a:pt x="497" y="79"/>
                    </a:lnTo>
                    <a:lnTo>
                      <a:pt x="488" y="80"/>
                    </a:lnTo>
                    <a:lnTo>
                      <a:pt x="485" y="82"/>
                    </a:lnTo>
                    <a:lnTo>
                      <a:pt x="478" y="85"/>
                    </a:lnTo>
                    <a:lnTo>
                      <a:pt x="473" y="85"/>
                    </a:lnTo>
                    <a:lnTo>
                      <a:pt x="465" y="90"/>
                    </a:lnTo>
                    <a:lnTo>
                      <a:pt x="457" y="90"/>
                    </a:lnTo>
                    <a:lnTo>
                      <a:pt x="453" y="87"/>
                    </a:lnTo>
                    <a:lnTo>
                      <a:pt x="447" y="87"/>
                    </a:lnTo>
                    <a:lnTo>
                      <a:pt x="440" y="84"/>
                    </a:lnTo>
                    <a:lnTo>
                      <a:pt x="435" y="82"/>
                    </a:lnTo>
                    <a:lnTo>
                      <a:pt x="427" y="79"/>
                    </a:lnTo>
                    <a:lnTo>
                      <a:pt x="425" y="79"/>
                    </a:lnTo>
                    <a:lnTo>
                      <a:pt x="419" y="84"/>
                    </a:lnTo>
                    <a:lnTo>
                      <a:pt x="410" y="92"/>
                    </a:lnTo>
                    <a:lnTo>
                      <a:pt x="409" y="97"/>
                    </a:lnTo>
                    <a:lnTo>
                      <a:pt x="404" y="100"/>
                    </a:lnTo>
                    <a:lnTo>
                      <a:pt x="400" y="107"/>
                    </a:lnTo>
                    <a:lnTo>
                      <a:pt x="397" y="105"/>
                    </a:lnTo>
                    <a:lnTo>
                      <a:pt x="394" y="103"/>
                    </a:lnTo>
                    <a:lnTo>
                      <a:pt x="392" y="105"/>
                    </a:lnTo>
                    <a:lnTo>
                      <a:pt x="395" y="115"/>
                    </a:lnTo>
                    <a:lnTo>
                      <a:pt x="402" y="133"/>
                    </a:lnTo>
                    <a:lnTo>
                      <a:pt x="407" y="148"/>
                    </a:lnTo>
                    <a:lnTo>
                      <a:pt x="410" y="162"/>
                    </a:lnTo>
                    <a:lnTo>
                      <a:pt x="409" y="175"/>
                    </a:lnTo>
                    <a:lnTo>
                      <a:pt x="404" y="183"/>
                    </a:lnTo>
                    <a:lnTo>
                      <a:pt x="399" y="188"/>
                    </a:lnTo>
                    <a:lnTo>
                      <a:pt x="399" y="191"/>
                    </a:lnTo>
                    <a:lnTo>
                      <a:pt x="409" y="201"/>
                    </a:lnTo>
                    <a:lnTo>
                      <a:pt x="414" y="203"/>
                    </a:lnTo>
                    <a:lnTo>
                      <a:pt x="414" y="198"/>
                    </a:lnTo>
                    <a:lnTo>
                      <a:pt x="415" y="200"/>
                    </a:lnTo>
                    <a:lnTo>
                      <a:pt x="419" y="198"/>
                    </a:lnTo>
                    <a:lnTo>
                      <a:pt x="424" y="198"/>
                    </a:lnTo>
                    <a:lnTo>
                      <a:pt x="419" y="201"/>
                    </a:lnTo>
                    <a:lnTo>
                      <a:pt x="419" y="203"/>
                    </a:lnTo>
                    <a:lnTo>
                      <a:pt x="430" y="213"/>
                    </a:lnTo>
                    <a:lnTo>
                      <a:pt x="429" y="215"/>
                    </a:lnTo>
                    <a:lnTo>
                      <a:pt x="424" y="213"/>
                    </a:lnTo>
                    <a:lnTo>
                      <a:pt x="422" y="216"/>
                    </a:lnTo>
                    <a:lnTo>
                      <a:pt x="420" y="228"/>
                    </a:lnTo>
                    <a:lnTo>
                      <a:pt x="422" y="233"/>
                    </a:lnTo>
                    <a:lnTo>
                      <a:pt x="424" y="235"/>
                    </a:lnTo>
                    <a:lnTo>
                      <a:pt x="427" y="231"/>
                    </a:lnTo>
                    <a:lnTo>
                      <a:pt x="434" y="231"/>
                    </a:lnTo>
                    <a:lnTo>
                      <a:pt x="437" y="233"/>
                    </a:lnTo>
                    <a:lnTo>
                      <a:pt x="439" y="235"/>
                    </a:lnTo>
                    <a:lnTo>
                      <a:pt x="445" y="233"/>
                    </a:lnTo>
                    <a:lnTo>
                      <a:pt x="452" y="235"/>
                    </a:lnTo>
                    <a:lnTo>
                      <a:pt x="458" y="238"/>
                    </a:lnTo>
                    <a:lnTo>
                      <a:pt x="452" y="241"/>
                    </a:lnTo>
                    <a:lnTo>
                      <a:pt x="453" y="246"/>
                    </a:lnTo>
                    <a:lnTo>
                      <a:pt x="452" y="251"/>
                    </a:lnTo>
                    <a:lnTo>
                      <a:pt x="444" y="251"/>
                    </a:lnTo>
                    <a:lnTo>
                      <a:pt x="445" y="248"/>
                    </a:lnTo>
                    <a:lnTo>
                      <a:pt x="440" y="246"/>
                    </a:lnTo>
                    <a:lnTo>
                      <a:pt x="437" y="248"/>
                    </a:lnTo>
                    <a:lnTo>
                      <a:pt x="430" y="246"/>
                    </a:lnTo>
                    <a:lnTo>
                      <a:pt x="429" y="245"/>
                    </a:lnTo>
                    <a:lnTo>
                      <a:pt x="425" y="238"/>
                    </a:lnTo>
                    <a:lnTo>
                      <a:pt x="422" y="236"/>
                    </a:lnTo>
                    <a:lnTo>
                      <a:pt x="419" y="238"/>
                    </a:lnTo>
                    <a:lnTo>
                      <a:pt x="414" y="233"/>
                    </a:lnTo>
                    <a:lnTo>
                      <a:pt x="414" y="226"/>
                    </a:lnTo>
                    <a:lnTo>
                      <a:pt x="420" y="213"/>
                    </a:lnTo>
                    <a:lnTo>
                      <a:pt x="419" y="210"/>
                    </a:lnTo>
                    <a:lnTo>
                      <a:pt x="417" y="210"/>
                    </a:lnTo>
                    <a:lnTo>
                      <a:pt x="412" y="213"/>
                    </a:lnTo>
                    <a:lnTo>
                      <a:pt x="412" y="226"/>
                    </a:lnTo>
                    <a:lnTo>
                      <a:pt x="410" y="235"/>
                    </a:lnTo>
                    <a:lnTo>
                      <a:pt x="405" y="240"/>
                    </a:lnTo>
                    <a:lnTo>
                      <a:pt x="405" y="243"/>
                    </a:lnTo>
                    <a:lnTo>
                      <a:pt x="409" y="238"/>
                    </a:lnTo>
                    <a:lnTo>
                      <a:pt x="412" y="238"/>
                    </a:lnTo>
                    <a:lnTo>
                      <a:pt x="414" y="240"/>
                    </a:lnTo>
                    <a:lnTo>
                      <a:pt x="420" y="240"/>
                    </a:lnTo>
                    <a:lnTo>
                      <a:pt x="422" y="245"/>
                    </a:lnTo>
                    <a:lnTo>
                      <a:pt x="422" y="253"/>
                    </a:lnTo>
                    <a:lnTo>
                      <a:pt x="417" y="258"/>
                    </a:lnTo>
                    <a:lnTo>
                      <a:pt x="410" y="260"/>
                    </a:lnTo>
                    <a:lnTo>
                      <a:pt x="417" y="253"/>
                    </a:lnTo>
                    <a:lnTo>
                      <a:pt x="417" y="250"/>
                    </a:lnTo>
                    <a:lnTo>
                      <a:pt x="414" y="250"/>
                    </a:lnTo>
                    <a:lnTo>
                      <a:pt x="412" y="248"/>
                    </a:lnTo>
                    <a:lnTo>
                      <a:pt x="409" y="250"/>
                    </a:lnTo>
                    <a:lnTo>
                      <a:pt x="400" y="255"/>
                    </a:lnTo>
                    <a:lnTo>
                      <a:pt x="400" y="258"/>
                    </a:lnTo>
                    <a:lnTo>
                      <a:pt x="397" y="260"/>
                    </a:lnTo>
                    <a:lnTo>
                      <a:pt x="392" y="261"/>
                    </a:lnTo>
                    <a:lnTo>
                      <a:pt x="390" y="258"/>
                    </a:lnTo>
                    <a:lnTo>
                      <a:pt x="389" y="256"/>
                    </a:lnTo>
                    <a:lnTo>
                      <a:pt x="382" y="258"/>
                    </a:lnTo>
                    <a:lnTo>
                      <a:pt x="379" y="256"/>
                    </a:lnTo>
                    <a:lnTo>
                      <a:pt x="379" y="251"/>
                    </a:lnTo>
                    <a:lnTo>
                      <a:pt x="375" y="251"/>
                    </a:lnTo>
                    <a:lnTo>
                      <a:pt x="372" y="251"/>
                    </a:lnTo>
                    <a:lnTo>
                      <a:pt x="369" y="251"/>
                    </a:lnTo>
                    <a:lnTo>
                      <a:pt x="369" y="248"/>
                    </a:lnTo>
                    <a:lnTo>
                      <a:pt x="365" y="246"/>
                    </a:lnTo>
                    <a:lnTo>
                      <a:pt x="362" y="248"/>
                    </a:lnTo>
                    <a:lnTo>
                      <a:pt x="359" y="248"/>
                    </a:lnTo>
                    <a:lnTo>
                      <a:pt x="359" y="243"/>
                    </a:lnTo>
                    <a:lnTo>
                      <a:pt x="357" y="240"/>
                    </a:lnTo>
                    <a:lnTo>
                      <a:pt x="357" y="236"/>
                    </a:lnTo>
                    <a:lnTo>
                      <a:pt x="362" y="235"/>
                    </a:lnTo>
                    <a:lnTo>
                      <a:pt x="367" y="228"/>
                    </a:lnTo>
                    <a:lnTo>
                      <a:pt x="369" y="228"/>
                    </a:lnTo>
                    <a:lnTo>
                      <a:pt x="372" y="225"/>
                    </a:lnTo>
                    <a:lnTo>
                      <a:pt x="372" y="221"/>
                    </a:lnTo>
                    <a:lnTo>
                      <a:pt x="365" y="216"/>
                    </a:lnTo>
                    <a:lnTo>
                      <a:pt x="362" y="215"/>
                    </a:lnTo>
                    <a:lnTo>
                      <a:pt x="357" y="215"/>
                    </a:lnTo>
                    <a:lnTo>
                      <a:pt x="350" y="218"/>
                    </a:lnTo>
                    <a:lnTo>
                      <a:pt x="346" y="218"/>
                    </a:lnTo>
                    <a:lnTo>
                      <a:pt x="341" y="216"/>
                    </a:lnTo>
                    <a:lnTo>
                      <a:pt x="337" y="216"/>
                    </a:lnTo>
                    <a:lnTo>
                      <a:pt x="322" y="221"/>
                    </a:lnTo>
                    <a:lnTo>
                      <a:pt x="322" y="223"/>
                    </a:lnTo>
                    <a:lnTo>
                      <a:pt x="324" y="226"/>
                    </a:lnTo>
                    <a:lnTo>
                      <a:pt x="329" y="230"/>
                    </a:lnTo>
                    <a:lnTo>
                      <a:pt x="329" y="231"/>
                    </a:lnTo>
                    <a:lnTo>
                      <a:pt x="324" y="231"/>
                    </a:lnTo>
                    <a:lnTo>
                      <a:pt x="321" y="231"/>
                    </a:lnTo>
                    <a:lnTo>
                      <a:pt x="319" y="228"/>
                    </a:lnTo>
                    <a:lnTo>
                      <a:pt x="314" y="228"/>
                    </a:lnTo>
                    <a:lnTo>
                      <a:pt x="306" y="226"/>
                    </a:lnTo>
                    <a:lnTo>
                      <a:pt x="296" y="228"/>
                    </a:lnTo>
                    <a:lnTo>
                      <a:pt x="292" y="230"/>
                    </a:lnTo>
                    <a:lnTo>
                      <a:pt x="292" y="231"/>
                    </a:lnTo>
                    <a:lnTo>
                      <a:pt x="287" y="231"/>
                    </a:lnTo>
                    <a:lnTo>
                      <a:pt x="287" y="231"/>
                    </a:lnTo>
                    <a:lnTo>
                      <a:pt x="282" y="231"/>
                    </a:lnTo>
                    <a:lnTo>
                      <a:pt x="276" y="235"/>
                    </a:lnTo>
                    <a:lnTo>
                      <a:pt x="276" y="236"/>
                    </a:lnTo>
                    <a:lnTo>
                      <a:pt x="272" y="238"/>
                    </a:lnTo>
                    <a:lnTo>
                      <a:pt x="266" y="241"/>
                    </a:lnTo>
                    <a:lnTo>
                      <a:pt x="261" y="245"/>
                    </a:lnTo>
                    <a:lnTo>
                      <a:pt x="257" y="245"/>
                    </a:lnTo>
                    <a:lnTo>
                      <a:pt x="259" y="243"/>
                    </a:lnTo>
                    <a:lnTo>
                      <a:pt x="259" y="240"/>
                    </a:lnTo>
                    <a:lnTo>
                      <a:pt x="256" y="241"/>
                    </a:lnTo>
                    <a:lnTo>
                      <a:pt x="252" y="246"/>
                    </a:lnTo>
                    <a:lnTo>
                      <a:pt x="251" y="248"/>
                    </a:lnTo>
                    <a:lnTo>
                      <a:pt x="257" y="256"/>
                    </a:lnTo>
                    <a:lnTo>
                      <a:pt x="264" y="265"/>
                    </a:lnTo>
                    <a:lnTo>
                      <a:pt x="271" y="266"/>
                    </a:lnTo>
                    <a:lnTo>
                      <a:pt x="276" y="273"/>
                    </a:lnTo>
                    <a:lnTo>
                      <a:pt x="282" y="275"/>
                    </a:lnTo>
                    <a:lnTo>
                      <a:pt x="284" y="280"/>
                    </a:lnTo>
                    <a:lnTo>
                      <a:pt x="289" y="281"/>
                    </a:lnTo>
                    <a:lnTo>
                      <a:pt x="294" y="285"/>
                    </a:lnTo>
                    <a:lnTo>
                      <a:pt x="292" y="286"/>
                    </a:lnTo>
                    <a:lnTo>
                      <a:pt x="284" y="286"/>
                    </a:lnTo>
                    <a:lnTo>
                      <a:pt x="284" y="281"/>
                    </a:lnTo>
                    <a:lnTo>
                      <a:pt x="277" y="278"/>
                    </a:lnTo>
                    <a:lnTo>
                      <a:pt x="274" y="275"/>
                    </a:lnTo>
                    <a:lnTo>
                      <a:pt x="272" y="276"/>
                    </a:lnTo>
                    <a:lnTo>
                      <a:pt x="267" y="281"/>
                    </a:lnTo>
                    <a:lnTo>
                      <a:pt x="264" y="281"/>
                    </a:lnTo>
                    <a:lnTo>
                      <a:pt x="261" y="276"/>
                    </a:lnTo>
                    <a:lnTo>
                      <a:pt x="264" y="273"/>
                    </a:lnTo>
                    <a:lnTo>
                      <a:pt x="264" y="271"/>
                    </a:lnTo>
                    <a:lnTo>
                      <a:pt x="261" y="271"/>
                    </a:lnTo>
                    <a:lnTo>
                      <a:pt x="257" y="276"/>
                    </a:lnTo>
                    <a:lnTo>
                      <a:pt x="257" y="285"/>
                    </a:lnTo>
                    <a:lnTo>
                      <a:pt x="259" y="286"/>
                    </a:lnTo>
                    <a:lnTo>
                      <a:pt x="259" y="289"/>
                    </a:lnTo>
                    <a:lnTo>
                      <a:pt x="254" y="293"/>
                    </a:lnTo>
                    <a:lnTo>
                      <a:pt x="251" y="299"/>
                    </a:lnTo>
                    <a:lnTo>
                      <a:pt x="249" y="304"/>
                    </a:lnTo>
                    <a:lnTo>
                      <a:pt x="251" y="311"/>
                    </a:lnTo>
                    <a:lnTo>
                      <a:pt x="259" y="319"/>
                    </a:lnTo>
                    <a:lnTo>
                      <a:pt x="267" y="323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81" y="324"/>
                    </a:lnTo>
                    <a:lnTo>
                      <a:pt x="287" y="321"/>
                    </a:lnTo>
                    <a:lnTo>
                      <a:pt x="294" y="324"/>
                    </a:lnTo>
                    <a:lnTo>
                      <a:pt x="304" y="326"/>
                    </a:lnTo>
                    <a:lnTo>
                      <a:pt x="309" y="328"/>
                    </a:lnTo>
                    <a:lnTo>
                      <a:pt x="311" y="333"/>
                    </a:lnTo>
                    <a:lnTo>
                      <a:pt x="312" y="334"/>
                    </a:lnTo>
                    <a:lnTo>
                      <a:pt x="316" y="333"/>
                    </a:lnTo>
                    <a:lnTo>
                      <a:pt x="314" y="326"/>
                    </a:lnTo>
                    <a:lnTo>
                      <a:pt x="316" y="324"/>
                    </a:lnTo>
                    <a:lnTo>
                      <a:pt x="321" y="326"/>
                    </a:lnTo>
                    <a:lnTo>
                      <a:pt x="321" y="329"/>
                    </a:lnTo>
                    <a:lnTo>
                      <a:pt x="316" y="334"/>
                    </a:lnTo>
                    <a:lnTo>
                      <a:pt x="316" y="338"/>
                    </a:lnTo>
                    <a:lnTo>
                      <a:pt x="319" y="338"/>
                    </a:lnTo>
                    <a:lnTo>
                      <a:pt x="324" y="333"/>
                    </a:lnTo>
                    <a:lnTo>
                      <a:pt x="327" y="331"/>
                    </a:lnTo>
                    <a:lnTo>
                      <a:pt x="334" y="329"/>
                    </a:lnTo>
                    <a:lnTo>
                      <a:pt x="344" y="324"/>
                    </a:lnTo>
                    <a:lnTo>
                      <a:pt x="350" y="323"/>
                    </a:lnTo>
                    <a:lnTo>
                      <a:pt x="354" y="319"/>
                    </a:lnTo>
                    <a:lnTo>
                      <a:pt x="357" y="319"/>
                    </a:lnTo>
                    <a:lnTo>
                      <a:pt x="357" y="321"/>
                    </a:lnTo>
                    <a:lnTo>
                      <a:pt x="360" y="323"/>
                    </a:lnTo>
                    <a:lnTo>
                      <a:pt x="369" y="318"/>
                    </a:lnTo>
                    <a:lnTo>
                      <a:pt x="374" y="318"/>
                    </a:lnTo>
                    <a:lnTo>
                      <a:pt x="377" y="316"/>
                    </a:lnTo>
                    <a:lnTo>
                      <a:pt x="375" y="319"/>
                    </a:lnTo>
                    <a:lnTo>
                      <a:pt x="369" y="323"/>
                    </a:lnTo>
                    <a:lnTo>
                      <a:pt x="369" y="324"/>
                    </a:lnTo>
                    <a:lnTo>
                      <a:pt x="372" y="326"/>
                    </a:lnTo>
                    <a:lnTo>
                      <a:pt x="367" y="333"/>
                    </a:lnTo>
                    <a:lnTo>
                      <a:pt x="360" y="334"/>
                    </a:lnTo>
                    <a:lnTo>
                      <a:pt x="359" y="331"/>
                    </a:lnTo>
                    <a:lnTo>
                      <a:pt x="355" y="331"/>
                    </a:lnTo>
                    <a:lnTo>
                      <a:pt x="349" y="336"/>
                    </a:lnTo>
                    <a:lnTo>
                      <a:pt x="349" y="338"/>
                    </a:lnTo>
                    <a:lnTo>
                      <a:pt x="355" y="338"/>
                    </a:lnTo>
                    <a:lnTo>
                      <a:pt x="357" y="341"/>
                    </a:lnTo>
                    <a:lnTo>
                      <a:pt x="357" y="346"/>
                    </a:lnTo>
                    <a:lnTo>
                      <a:pt x="349" y="354"/>
                    </a:lnTo>
                    <a:lnTo>
                      <a:pt x="349" y="359"/>
                    </a:lnTo>
                    <a:lnTo>
                      <a:pt x="346" y="363"/>
                    </a:lnTo>
                    <a:lnTo>
                      <a:pt x="346" y="366"/>
                    </a:lnTo>
                    <a:lnTo>
                      <a:pt x="346" y="368"/>
                    </a:lnTo>
                    <a:lnTo>
                      <a:pt x="347" y="371"/>
                    </a:lnTo>
                    <a:lnTo>
                      <a:pt x="346" y="374"/>
                    </a:lnTo>
                    <a:lnTo>
                      <a:pt x="341" y="381"/>
                    </a:lnTo>
                    <a:lnTo>
                      <a:pt x="337" y="383"/>
                    </a:lnTo>
                    <a:lnTo>
                      <a:pt x="332" y="383"/>
                    </a:lnTo>
                    <a:lnTo>
                      <a:pt x="329" y="384"/>
                    </a:lnTo>
                    <a:lnTo>
                      <a:pt x="324" y="387"/>
                    </a:lnTo>
                    <a:lnTo>
                      <a:pt x="321" y="389"/>
                    </a:lnTo>
                    <a:lnTo>
                      <a:pt x="316" y="389"/>
                    </a:lnTo>
                    <a:lnTo>
                      <a:pt x="307" y="384"/>
                    </a:lnTo>
                    <a:lnTo>
                      <a:pt x="306" y="386"/>
                    </a:lnTo>
                    <a:lnTo>
                      <a:pt x="304" y="384"/>
                    </a:lnTo>
                    <a:lnTo>
                      <a:pt x="301" y="379"/>
                    </a:lnTo>
                    <a:lnTo>
                      <a:pt x="299" y="381"/>
                    </a:lnTo>
                    <a:lnTo>
                      <a:pt x="294" y="386"/>
                    </a:lnTo>
                    <a:lnTo>
                      <a:pt x="289" y="389"/>
                    </a:lnTo>
                    <a:lnTo>
                      <a:pt x="284" y="394"/>
                    </a:lnTo>
                    <a:lnTo>
                      <a:pt x="276" y="397"/>
                    </a:lnTo>
                    <a:lnTo>
                      <a:pt x="272" y="399"/>
                    </a:lnTo>
                    <a:lnTo>
                      <a:pt x="267" y="399"/>
                    </a:lnTo>
                    <a:lnTo>
                      <a:pt x="264" y="397"/>
                    </a:lnTo>
                    <a:lnTo>
                      <a:pt x="256" y="397"/>
                    </a:lnTo>
                    <a:lnTo>
                      <a:pt x="249" y="402"/>
                    </a:lnTo>
                    <a:lnTo>
                      <a:pt x="244" y="402"/>
                    </a:lnTo>
                    <a:lnTo>
                      <a:pt x="241" y="404"/>
                    </a:lnTo>
                    <a:lnTo>
                      <a:pt x="241" y="411"/>
                    </a:lnTo>
                    <a:lnTo>
                      <a:pt x="238" y="417"/>
                    </a:lnTo>
                    <a:lnTo>
                      <a:pt x="234" y="421"/>
                    </a:lnTo>
                    <a:lnTo>
                      <a:pt x="234" y="417"/>
                    </a:lnTo>
                    <a:lnTo>
                      <a:pt x="228" y="412"/>
                    </a:lnTo>
                    <a:lnTo>
                      <a:pt x="221" y="412"/>
                    </a:lnTo>
                    <a:lnTo>
                      <a:pt x="218" y="414"/>
                    </a:lnTo>
                    <a:lnTo>
                      <a:pt x="219" y="417"/>
                    </a:lnTo>
                    <a:lnTo>
                      <a:pt x="223" y="419"/>
                    </a:lnTo>
                    <a:lnTo>
                      <a:pt x="219" y="422"/>
                    </a:lnTo>
                    <a:lnTo>
                      <a:pt x="218" y="422"/>
                    </a:lnTo>
                    <a:lnTo>
                      <a:pt x="216" y="419"/>
                    </a:lnTo>
                    <a:lnTo>
                      <a:pt x="211" y="414"/>
                    </a:lnTo>
                    <a:lnTo>
                      <a:pt x="209" y="414"/>
                    </a:lnTo>
                    <a:lnTo>
                      <a:pt x="203" y="421"/>
                    </a:lnTo>
                    <a:lnTo>
                      <a:pt x="199" y="426"/>
                    </a:lnTo>
                    <a:lnTo>
                      <a:pt x="198" y="427"/>
                    </a:lnTo>
                    <a:lnTo>
                      <a:pt x="194" y="427"/>
                    </a:lnTo>
                    <a:lnTo>
                      <a:pt x="183" y="436"/>
                    </a:lnTo>
                    <a:lnTo>
                      <a:pt x="181" y="442"/>
                    </a:lnTo>
                    <a:lnTo>
                      <a:pt x="179" y="444"/>
                    </a:lnTo>
                    <a:lnTo>
                      <a:pt x="174" y="446"/>
                    </a:lnTo>
                    <a:lnTo>
                      <a:pt x="169" y="444"/>
                    </a:lnTo>
                    <a:lnTo>
                      <a:pt x="168" y="446"/>
                    </a:lnTo>
                    <a:lnTo>
                      <a:pt x="173" y="451"/>
                    </a:lnTo>
                    <a:lnTo>
                      <a:pt x="173" y="452"/>
                    </a:lnTo>
                    <a:lnTo>
                      <a:pt x="169" y="454"/>
                    </a:lnTo>
                    <a:lnTo>
                      <a:pt x="166" y="449"/>
                    </a:lnTo>
                    <a:lnTo>
                      <a:pt x="164" y="451"/>
                    </a:lnTo>
                    <a:lnTo>
                      <a:pt x="163" y="454"/>
                    </a:lnTo>
                    <a:lnTo>
                      <a:pt x="156" y="461"/>
                    </a:lnTo>
                    <a:lnTo>
                      <a:pt x="156" y="462"/>
                    </a:lnTo>
                    <a:lnTo>
                      <a:pt x="161" y="469"/>
                    </a:lnTo>
                    <a:lnTo>
                      <a:pt x="161" y="474"/>
                    </a:lnTo>
                    <a:lnTo>
                      <a:pt x="161" y="477"/>
                    </a:lnTo>
                    <a:lnTo>
                      <a:pt x="158" y="482"/>
                    </a:lnTo>
                    <a:lnTo>
                      <a:pt x="159" y="485"/>
                    </a:lnTo>
                    <a:lnTo>
                      <a:pt x="163" y="484"/>
                    </a:lnTo>
                    <a:lnTo>
                      <a:pt x="166" y="481"/>
                    </a:lnTo>
                    <a:lnTo>
                      <a:pt x="166" y="484"/>
                    </a:lnTo>
                    <a:lnTo>
                      <a:pt x="168" y="489"/>
                    </a:lnTo>
                    <a:lnTo>
                      <a:pt x="164" y="490"/>
                    </a:lnTo>
                    <a:lnTo>
                      <a:pt x="163" y="492"/>
                    </a:lnTo>
                    <a:lnTo>
                      <a:pt x="164" y="494"/>
                    </a:lnTo>
                    <a:lnTo>
                      <a:pt x="168" y="494"/>
                    </a:lnTo>
                    <a:lnTo>
                      <a:pt x="169" y="492"/>
                    </a:lnTo>
                    <a:lnTo>
                      <a:pt x="173" y="492"/>
                    </a:lnTo>
                    <a:lnTo>
                      <a:pt x="174" y="494"/>
                    </a:lnTo>
                    <a:lnTo>
                      <a:pt x="174" y="495"/>
                    </a:lnTo>
                    <a:lnTo>
                      <a:pt x="179" y="497"/>
                    </a:lnTo>
                    <a:lnTo>
                      <a:pt x="184" y="499"/>
                    </a:lnTo>
                    <a:lnTo>
                      <a:pt x="189" y="499"/>
                    </a:lnTo>
                    <a:lnTo>
                      <a:pt x="193" y="495"/>
                    </a:lnTo>
                    <a:lnTo>
                      <a:pt x="194" y="487"/>
                    </a:lnTo>
                    <a:lnTo>
                      <a:pt x="198" y="484"/>
                    </a:lnTo>
                    <a:lnTo>
                      <a:pt x="206" y="484"/>
                    </a:lnTo>
                    <a:lnTo>
                      <a:pt x="211" y="482"/>
                    </a:lnTo>
                    <a:lnTo>
                      <a:pt x="206" y="487"/>
                    </a:lnTo>
                    <a:lnTo>
                      <a:pt x="203" y="487"/>
                    </a:lnTo>
                    <a:lnTo>
                      <a:pt x="194" y="494"/>
                    </a:lnTo>
                    <a:lnTo>
                      <a:pt x="193" y="499"/>
                    </a:lnTo>
                    <a:lnTo>
                      <a:pt x="191" y="500"/>
                    </a:lnTo>
                    <a:lnTo>
                      <a:pt x="194" y="505"/>
                    </a:lnTo>
                    <a:lnTo>
                      <a:pt x="196" y="509"/>
                    </a:lnTo>
                    <a:lnTo>
                      <a:pt x="189" y="510"/>
                    </a:lnTo>
                    <a:lnTo>
                      <a:pt x="186" y="509"/>
                    </a:lnTo>
                    <a:lnTo>
                      <a:pt x="186" y="505"/>
                    </a:lnTo>
                    <a:lnTo>
                      <a:pt x="184" y="504"/>
                    </a:lnTo>
                    <a:lnTo>
                      <a:pt x="181" y="504"/>
                    </a:lnTo>
                    <a:lnTo>
                      <a:pt x="178" y="500"/>
                    </a:lnTo>
                    <a:lnTo>
                      <a:pt x="171" y="499"/>
                    </a:lnTo>
                    <a:lnTo>
                      <a:pt x="169" y="495"/>
                    </a:lnTo>
                    <a:lnTo>
                      <a:pt x="164" y="499"/>
                    </a:lnTo>
                    <a:lnTo>
                      <a:pt x="161" y="499"/>
                    </a:lnTo>
                    <a:lnTo>
                      <a:pt x="159" y="504"/>
                    </a:lnTo>
                    <a:lnTo>
                      <a:pt x="156" y="505"/>
                    </a:lnTo>
                    <a:lnTo>
                      <a:pt x="151" y="504"/>
                    </a:lnTo>
                    <a:lnTo>
                      <a:pt x="151" y="507"/>
                    </a:lnTo>
                    <a:lnTo>
                      <a:pt x="153" y="510"/>
                    </a:lnTo>
                    <a:lnTo>
                      <a:pt x="154" y="510"/>
                    </a:lnTo>
                    <a:lnTo>
                      <a:pt x="153" y="514"/>
                    </a:lnTo>
                    <a:lnTo>
                      <a:pt x="151" y="520"/>
                    </a:lnTo>
                    <a:lnTo>
                      <a:pt x="153" y="524"/>
                    </a:lnTo>
                    <a:lnTo>
                      <a:pt x="156" y="524"/>
                    </a:lnTo>
                    <a:lnTo>
                      <a:pt x="156" y="532"/>
                    </a:lnTo>
                    <a:lnTo>
                      <a:pt x="158" y="534"/>
                    </a:lnTo>
                    <a:lnTo>
                      <a:pt x="158" y="537"/>
                    </a:lnTo>
                    <a:lnTo>
                      <a:pt x="161" y="540"/>
                    </a:lnTo>
                    <a:lnTo>
                      <a:pt x="161" y="542"/>
                    </a:lnTo>
                    <a:lnTo>
                      <a:pt x="156" y="544"/>
                    </a:lnTo>
                    <a:lnTo>
                      <a:pt x="154" y="545"/>
                    </a:lnTo>
                    <a:lnTo>
                      <a:pt x="171" y="552"/>
                    </a:lnTo>
                    <a:lnTo>
                      <a:pt x="178" y="552"/>
                    </a:lnTo>
                    <a:lnTo>
                      <a:pt x="184" y="550"/>
                    </a:lnTo>
                    <a:lnTo>
                      <a:pt x="188" y="549"/>
                    </a:lnTo>
                    <a:lnTo>
                      <a:pt x="191" y="550"/>
                    </a:lnTo>
                    <a:lnTo>
                      <a:pt x="194" y="549"/>
                    </a:lnTo>
                    <a:lnTo>
                      <a:pt x="201" y="542"/>
                    </a:lnTo>
                    <a:lnTo>
                      <a:pt x="201" y="537"/>
                    </a:lnTo>
                    <a:lnTo>
                      <a:pt x="198" y="535"/>
                    </a:lnTo>
                    <a:lnTo>
                      <a:pt x="198" y="532"/>
                    </a:lnTo>
                    <a:lnTo>
                      <a:pt x="204" y="530"/>
                    </a:lnTo>
                    <a:lnTo>
                      <a:pt x="211" y="525"/>
                    </a:lnTo>
                    <a:lnTo>
                      <a:pt x="223" y="519"/>
                    </a:lnTo>
                    <a:lnTo>
                      <a:pt x="226" y="519"/>
                    </a:lnTo>
                    <a:lnTo>
                      <a:pt x="221" y="520"/>
                    </a:lnTo>
                    <a:lnTo>
                      <a:pt x="211" y="529"/>
                    </a:lnTo>
                    <a:lnTo>
                      <a:pt x="206" y="532"/>
                    </a:lnTo>
                    <a:lnTo>
                      <a:pt x="204" y="535"/>
                    </a:lnTo>
                    <a:lnTo>
                      <a:pt x="209" y="537"/>
                    </a:lnTo>
                    <a:lnTo>
                      <a:pt x="209" y="540"/>
                    </a:lnTo>
                    <a:lnTo>
                      <a:pt x="204" y="547"/>
                    </a:lnTo>
                    <a:lnTo>
                      <a:pt x="199" y="550"/>
                    </a:lnTo>
                    <a:lnTo>
                      <a:pt x="199" y="554"/>
                    </a:lnTo>
                    <a:lnTo>
                      <a:pt x="201" y="560"/>
                    </a:lnTo>
                    <a:lnTo>
                      <a:pt x="199" y="564"/>
                    </a:lnTo>
                    <a:lnTo>
                      <a:pt x="199" y="567"/>
                    </a:lnTo>
                    <a:lnTo>
                      <a:pt x="199" y="570"/>
                    </a:lnTo>
                    <a:lnTo>
                      <a:pt x="199" y="575"/>
                    </a:lnTo>
                    <a:lnTo>
                      <a:pt x="193" y="577"/>
                    </a:lnTo>
                    <a:lnTo>
                      <a:pt x="189" y="579"/>
                    </a:lnTo>
                    <a:lnTo>
                      <a:pt x="189" y="582"/>
                    </a:lnTo>
                    <a:lnTo>
                      <a:pt x="186" y="582"/>
                    </a:lnTo>
                    <a:lnTo>
                      <a:pt x="184" y="582"/>
                    </a:lnTo>
                    <a:lnTo>
                      <a:pt x="186" y="587"/>
                    </a:lnTo>
                    <a:lnTo>
                      <a:pt x="186" y="592"/>
                    </a:lnTo>
                    <a:lnTo>
                      <a:pt x="189" y="592"/>
                    </a:lnTo>
                    <a:lnTo>
                      <a:pt x="193" y="592"/>
                    </a:lnTo>
                    <a:lnTo>
                      <a:pt x="196" y="590"/>
                    </a:lnTo>
                    <a:lnTo>
                      <a:pt x="198" y="593"/>
                    </a:lnTo>
                    <a:lnTo>
                      <a:pt x="194" y="597"/>
                    </a:lnTo>
                    <a:lnTo>
                      <a:pt x="189" y="595"/>
                    </a:lnTo>
                    <a:lnTo>
                      <a:pt x="188" y="598"/>
                    </a:lnTo>
                    <a:lnTo>
                      <a:pt x="188" y="600"/>
                    </a:lnTo>
                    <a:lnTo>
                      <a:pt x="188" y="602"/>
                    </a:lnTo>
                    <a:lnTo>
                      <a:pt x="189" y="605"/>
                    </a:lnTo>
                    <a:lnTo>
                      <a:pt x="186" y="607"/>
                    </a:lnTo>
                    <a:lnTo>
                      <a:pt x="183" y="608"/>
                    </a:lnTo>
                    <a:lnTo>
                      <a:pt x="178" y="610"/>
                    </a:lnTo>
                    <a:lnTo>
                      <a:pt x="174" y="610"/>
                    </a:lnTo>
                    <a:lnTo>
                      <a:pt x="173" y="610"/>
                    </a:lnTo>
                    <a:lnTo>
                      <a:pt x="176" y="613"/>
                    </a:lnTo>
                    <a:lnTo>
                      <a:pt x="181" y="613"/>
                    </a:lnTo>
                    <a:lnTo>
                      <a:pt x="183" y="615"/>
                    </a:lnTo>
                    <a:lnTo>
                      <a:pt x="188" y="610"/>
                    </a:lnTo>
                    <a:lnTo>
                      <a:pt x="198" y="605"/>
                    </a:lnTo>
                    <a:lnTo>
                      <a:pt x="201" y="605"/>
                    </a:lnTo>
                    <a:lnTo>
                      <a:pt x="204" y="605"/>
                    </a:lnTo>
                    <a:lnTo>
                      <a:pt x="208" y="602"/>
                    </a:lnTo>
                    <a:lnTo>
                      <a:pt x="216" y="600"/>
                    </a:lnTo>
                    <a:lnTo>
                      <a:pt x="214" y="603"/>
                    </a:lnTo>
                    <a:lnTo>
                      <a:pt x="211" y="605"/>
                    </a:lnTo>
                    <a:lnTo>
                      <a:pt x="211" y="607"/>
                    </a:lnTo>
                    <a:lnTo>
                      <a:pt x="214" y="608"/>
                    </a:lnTo>
                    <a:lnTo>
                      <a:pt x="216" y="612"/>
                    </a:lnTo>
                    <a:lnTo>
                      <a:pt x="214" y="613"/>
                    </a:lnTo>
                    <a:lnTo>
                      <a:pt x="218" y="617"/>
                    </a:lnTo>
                    <a:lnTo>
                      <a:pt x="223" y="613"/>
                    </a:lnTo>
                    <a:lnTo>
                      <a:pt x="224" y="610"/>
                    </a:lnTo>
                    <a:lnTo>
                      <a:pt x="226" y="612"/>
                    </a:lnTo>
                    <a:lnTo>
                      <a:pt x="224" y="613"/>
                    </a:lnTo>
                    <a:lnTo>
                      <a:pt x="228" y="618"/>
                    </a:lnTo>
                    <a:lnTo>
                      <a:pt x="229" y="627"/>
                    </a:lnTo>
                    <a:lnTo>
                      <a:pt x="228" y="630"/>
                    </a:lnTo>
                    <a:lnTo>
                      <a:pt x="231" y="635"/>
                    </a:lnTo>
                    <a:lnTo>
                      <a:pt x="233" y="637"/>
                    </a:lnTo>
                    <a:lnTo>
                      <a:pt x="236" y="630"/>
                    </a:lnTo>
                    <a:lnTo>
                      <a:pt x="234" y="627"/>
                    </a:lnTo>
                    <a:lnTo>
                      <a:pt x="239" y="620"/>
                    </a:lnTo>
                    <a:lnTo>
                      <a:pt x="241" y="617"/>
                    </a:lnTo>
                    <a:lnTo>
                      <a:pt x="246" y="612"/>
                    </a:lnTo>
                    <a:lnTo>
                      <a:pt x="248" y="612"/>
                    </a:lnTo>
                    <a:lnTo>
                      <a:pt x="252" y="608"/>
                    </a:lnTo>
                    <a:lnTo>
                      <a:pt x="259" y="608"/>
                    </a:lnTo>
                    <a:lnTo>
                      <a:pt x="252" y="612"/>
                    </a:lnTo>
                    <a:lnTo>
                      <a:pt x="246" y="618"/>
                    </a:lnTo>
                    <a:lnTo>
                      <a:pt x="246" y="620"/>
                    </a:lnTo>
                    <a:lnTo>
                      <a:pt x="251" y="627"/>
                    </a:lnTo>
                    <a:lnTo>
                      <a:pt x="254" y="627"/>
                    </a:lnTo>
                    <a:lnTo>
                      <a:pt x="262" y="623"/>
                    </a:lnTo>
                    <a:lnTo>
                      <a:pt x="271" y="623"/>
                    </a:lnTo>
                    <a:lnTo>
                      <a:pt x="276" y="620"/>
                    </a:lnTo>
                    <a:lnTo>
                      <a:pt x="279" y="620"/>
                    </a:lnTo>
                    <a:lnTo>
                      <a:pt x="287" y="615"/>
                    </a:lnTo>
                    <a:lnTo>
                      <a:pt x="291" y="615"/>
                    </a:lnTo>
                    <a:lnTo>
                      <a:pt x="287" y="617"/>
                    </a:lnTo>
                    <a:lnTo>
                      <a:pt x="282" y="623"/>
                    </a:lnTo>
                    <a:lnTo>
                      <a:pt x="282" y="625"/>
                    </a:lnTo>
                    <a:lnTo>
                      <a:pt x="279" y="628"/>
                    </a:lnTo>
                    <a:lnTo>
                      <a:pt x="266" y="635"/>
                    </a:lnTo>
                    <a:lnTo>
                      <a:pt x="259" y="638"/>
                    </a:lnTo>
                    <a:lnTo>
                      <a:pt x="256" y="647"/>
                    </a:lnTo>
                    <a:lnTo>
                      <a:pt x="254" y="650"/>
                    </a:lnTo>
                    <a:lnTo>
                      <a:pt x="256" y="653"/>
                    </a:lnTo>
                    <a:lnTo>
                      <a:pt x="261" y="657"/>
                    </a:lnTo>
                    <a:lnTo>
                      <a:pt x="252" y="655"/>
                    </a:lnTo>
                    <a:lnTo>
                      <a:pt x="249" y="657"/>
                    </a:lnTo>
                    <a:lnTo>
                      <a:pt x="246" y="662"/>
                    </a:lnTo>
                    <a:lnTo>
                      <a:pt x="244" y="667"/>
                    </a:lnTo>
                    <a:lnTo>
                      <a:pt x="238" y="673"/>
                    </a:lnTo>
                    <a:lnTo>
                      <a:pt x="234" y="677"/>
                    </a:lnTo>
                    <a:lnTo>
                      <a:pt x="236" y="680"/>
                    </a:lnTo>
                    <a:lnTo>
                      <a:pt x="238" y="681"/>
                    </a:lnTo>
                    <a:lnTo>
                      <a:pt x="238" y="685"/>
                    </a:lnTo>
                    <a:lnTo>
                      <a:pt x="234" y="683"/>
                    </a:lnTo>
                    <a:lnTo>
                      <a:pt x="233" y="680"/>
                    </a:lnTo>
                    <a:lnTo>
                      <a:pt x="229" y="680"/>
                    </a:lnTo>
                    <a:lnTo>
                      <a:pt x="226" y="685"/>
                    </a:lnTo>
                    <a:lnTo>
                      <a:pt x="219" y="688"/>
                    </a:lnTo>
                    <a:lnTo>
                      <a:pt x="221" y="690"/>
                    </a:lnTo>
                    <a:lnTo>
                      <a:pt x="219" y="693"/>
                    </a:lnTo>
                    <a:lnTo>
                      <a:pt x="216" y="693"/>
                    </a:lnTo>
                    <a:lnTo>
                      <a:pt x="214" y="690"/>
                    </a:lnTo>
                    <a:lnTo>
                      <a:pt x="213" y="691"/>
                    </a:lnTo>
                    <a:lnTo>
                      <a:pt x="201" y="700"/>
                    </a:lnTo>
                    <a:lnTo>
                      <a:pt x="198" y="705"/>
                    </a:lnTo>
                    <a:lnTo>
                      <a:pt x="199" y="706"/>
                    </a:lnTo>
                    <a:lnTo>
                      <a:pt x="198" y="708"/>
                    </a:lnTo>
                    <a:lnTo>
                      <a:pt x="194" y="706"/>
                    </a:lnTo>
                    <a:lnTo>
                      <a:pt x="194" y="703"/>
                    </a:lnTo>
                    <a:lnTo>
                      <a:pt x="186" y="706"/>
                    </a:lnTo>
                    <a:lnTo>
                      <a:pt x="181" y="710"/>
                    </a:lnTo>
                    <a:lnTo>
                      <a:pt x="178" y="711"/>
                    </a:lnTo>
                    <a:lnTo>
                      <a:pt x="176" y="713"/>
                    </a:lnTo>
                    <a:lnTo>
                      <a:pt x="173" y="715"/>
                    </a:lnTo>
                    <a:lnTo>
                      <a:pt x="166" y="715"/>
                    </a:lnTo>
                    <a:lnTo>
                      <a:pt x="159" y="721"/>
                    </a:lnTo>
                    <a:lnTo>
                      <a:pt x="148" y="725"/>
                    </a:lnTo>
                    <a:lnTo>
                      <a:pt x="140" y="730"/>
                    </a:lnTo>
                    <a:lnTo>
                      <a:pt x="138" y="736"/>
                    </a:lnTo>
                    <a:lnTo>
                      <a:pt x="136" y="738"/>
                    </a:lnTo>
                    <a:lnTo>
                      <a:pt x="138" y="741"/>
                    </a:lnTo>
                    <a:lnTo>
                      <a:pt x="138" y="745"/>
                    </a:lnTo>
                    <a:lnTo>
                      <a:pt x="136" y="746"/>
                    </a:lnTo>
                    <a:lnTo>
                      <a:pt x="135" y="743"/>
                    </a:lnTo>
                    <a:lnTo>
                      <a:pt x="131" y="743"/>
                    </a:lnTo>
                    <a:lnTo>
                      <a:pt x="131" y="745"/>
                    </a:lnTo>
                    <a:lnTo>
                      <a:pt x="131" y="748"/>
                    </a:lnTo>
                    <a:lnTo>
                      <a:pt x="130" y="750"/>
                    </a:lnTo>
                    <a:lnTo>
                      <a:pt x="126" y="746"/>
                    </a:lnTo>
                    <a:lnTo>
                      <a:pt x="126" y="741"/>
                    </a:lnTo>
                    <a:lnTo>
                      <a:pt x="128" y="740"/>
                    </a:lnTo>
                    <a:lnTo>
                      <a:pt x="125" y="738"/>
                    </a:lnTo>
                    <a:lnTo>
                      <a:pt x="120" y="738"/>
                    </a:lnTo>
                    <a:lnTo>
                      <a:pt x="118" y="736"/>
                    </a:lnTo>
                    <a:lnTo>
                      <a:pt x="113" y="738"/>
                    </a:lnTo>
                    <a:lnTo>
                      <a:pt x="106" y="738"/>
                    </a:lnTo>
                    <a:lnTo>
                      <a:pt x="101" y="741"/>
                    </a:lnTo>
                    <a:lnTo>
                      <a:pt x="98" y="745"/>
                    </a:lnTo>
                    <a:lnTo>
                      <a:pt x="91" y="746"/>
                    </a:lnTo>
                    <a:lnTo>
                      <a:pt x="86" y="750"/>
                    </a:lnTo>
                    <a:lnTo>
                      <a:pt x="81" y="755"/>
                    </a:lnTo>
                    <a:lnTo>
                      <a:pt x="81" y="758"/>
                    </a:lnTo>
                    <a:lnTo>
                      <a:pt x="80" y="760"/>
                    </a:lnTo>
                    <a:lnTo>
                      <a:pt x="78" y="758"/>
                    </a:lnTo>
                    <a:lnTo>
                      <a:pt x="71" y="761"/>
                    </a:lnTo>
                    <a:lnTo>
                      <a:pt x="68" y="763"/>
                    </a:lnTo>
                    <a:lnTo>
                      <a:pt x="68" y="766"/>
                    </a:lnTo>
                    <a:lnTo>
                      <a:pt x="66" y="766"/>
                    </a:lnTo>
                    <a:lnTo>
                      <a:pt x="61" y="765"/>
                    </a:lnTo>
                    <a:lnTo>
                      <a:pt x="58" y="766"/>
                    </a:lnTo>
                    <a:lnTo>
                      <a:pt x="56" y="770"/>
                    </a:lnTo>
                    <a:lnTo>
                      <a:pt x="55" y="773"/>
                    </a:lnTo>
                    <a:lnTo>
                      <a:pt x="56" y="776"/>
                    </a:lnTo>
                    <a:lnTo>
                      <a:pt x="60" y="775"/>
                    </a:lnTo>
                    <a:lnTo>
                      <a:pt x="60" y="773"/>
                    </a:lnTo>
                    <a:lnTo>
                      <a:pt x="60" y="770"/>
                    </a:lnTo>
                    <a:lnTo>
                      <a:pt x="63" y="768"/>
                    </a:lnTo>
                    <a:lnTo>
                      <a:pt x="65" y="770"/>
                    </a:lnTo>
                    <a:lnTo>
                      <a:pt x="65" y="773"/>
                    </a:lnTo>
                    <a:lnTo>
                      <a:pt x="65" y="775"/>
                    </a:lnTo>
                    <a:lnTo>
                      <a:pt x="68" y="773"/>
                    </a:lnTo>
                    <a:lnTo>
                      <a:pt x="73" y="766"/>
                    </a:lnTo>
                    <a:lnTo>
                      <a:pt x="75" y="766"/>
                    </a:lnTo>
                    <a:lnTo>
                      <a:pt x="76" y="768"/>
                    </a:lnTo>
                    <a:lnTo>
                      <a:pt x="76" y="771"/>
                    </a:lnTo>
                    <a:lnTo>
                      <a:pt x="76" y="773"/>
                    </a:lnTo>
                    <a:lnTo>
                      <a:pt x="81" y="773"/>
                    </a:lnTo>
                    <a:lnTo>
                      <a:pt x="83" y="768"/>
                    </a:lnTo>
                    <a:lnTo>
                      <a:pt x="83" y="771"/>
                    </a:lnTo>
                    <a:lnTo>
                      <a:pt x="85" y="771"/>
                    </a:lnTo>
                    <a:lnTo>
                      <a:pt x="86" y="768"/>
                    </a:lnTo>
                    <a:lnTo>
                      <a:pt x="90" y="766"/>
                    </a:lnTo>
                    <a:lnTo>
                      <a:pt x="95" y="768"/>
                    </a:lnTo>
                    <a:lnTo>
                      <a:pt x="98" y="765"/>
                    </a:lnTo>
                    <a:lnTo>
                      <a:pt x="101" y="760"/>
                    </a:lnTo>
                    <a:lnTo>
                      <a:pt x="101" y="756"/>
                    </a:lnTo>
                    <a:lnTo>
                      <a:pt x="105" y="755"/>
                    </a:lnTo>
                    <a:lnTo>
                      <a:pt x="108" y="750"/>
                    </a:lnTo>
                    <a:lnTo>
                      <a:pt x="111" y="750"/>
                    </a:lnTo>
                    <a:lnTo>
                      <a:pt x="116" y="753"/>
                    </a:lnTo>
                    <a:lnTo>
                      <a:pt x="115" y="755"/>
                    </a:lnTo>
                    <a:lnTo>
                      <a:pt x="111" y="756"/>
                    </a:lnTo>
                    <a:lnTo>
                      <a:pt x="108" y="760"/>
                    </a:lnTo>
                    <a:lnTo>
                      <a:pt x="108" y="763"/>
                    </a:lnTo>
                    <a:lnTo>
                      <a:pt x="110" y="765"/>
                    </a:lnTo>
                    <a:lnTo>
                      <a:pt x="116" y="760"/>
                    </a:lnTo>
                    <a:lnTo>
                      <a:pt x="118" y="756"/>
                    </a:lnTo>
                    <a:lnTo>
                      <a:pt x="120" y="756"/>
                    </a:lnTo>
                    <a:lnTo>
                      <a:pt x="121" y="758"/>
                    </a:lnTo>
                    <a:lnTo>
                      <a:pt x="123" y="755"/>
                    </a:lnTo>
                    <a:lnTo>
                      <a:pt x="125" y="756"/>
                    </a:lnTo>
                    <a:lnTo>
                      <a:pt x="126" y="758"/>
                    </a:lnTo>
                    <a:lnTo>
                      <a:pt x="125" y="761"/>
                    </a:lnTo>
                    <a:lnTo>
                      <a:pt x="126" y="761"/>
                    </a:lnTo>
                    <a:lnTo>
                      <a:pt x="130" y="756"/>
                    </a:lnTo>
                    <a:lnTo>
                      <a:pt x="133" y="758"/>
                    </a:lnTo>
                    <a:lnTo>
                      <a:pt x="136" y="755"/>
                    </a:lnTo>
                    <a:lnTo>
                      <a:pt x="141" y="755"/>
                    </a:lnTo>
                    <a:lnTo>
                      <a:pt x="146" y="748"/>
                    </a:lnTo>
                    <a:lnTo>
                      <a:pt x="149" y="746"/>
                    </a:lnTo>
                    <a:lnTo>
                      <a:pt x="153" y="748"/>
                    </a:lnTo>
                    <a:lnTo>
                      <a:pt x="153" y="750"/>
                    </a:lnTo>
                    <a:lnTo>
                      <a:pt x="149" y="755"/>
                    </a:lnTo>
                    <a:lnTo>
                      <a:pt x="146" y="760"/>
                    </a:lnTo>
                    <a:lnTo>
                      <a:pt x="146" y="761"/>
                    </a:lnTo>
                    <a:lnTo>
                      <a:pt x="149" y="761"/>
                    </a:lnTo>
                    <a:lnTo>
                      <a:pt x="156" y="755"/>
                    </a:lnTo>
                    <a:lnTo>
                      <a:pt x="156" y="748"/>
                    </a:lnTo>
                    <a:lnTo>
                      <a:pt x="156" y="746"/>
                    </a:lnTo>
                    <a:lnTo>
                      <a:pt x="159" y="750"/>
                    </a:lnTo>
                    <a:lnTo>
                      <a:pt x="163" y="748"/>
                    </a:lnTo>
                    <a:lnTo>
                      <a:pt x="166" y="748"/>
                    </a:lnTo>
                    <a:lnTo>
                      <a:pt x="171" y="748"/>
                    </a:lnTo>
                    <a:lnTo>
                      <a:pt x="174" y="743"/>
                    </a:lnTo>
                    <a:lnTo>
                      <a:pt x="176" y="743"/>
                    </a:lnTo>
                    <a:lnTo>
                      <a:pt x="178" y="745"/>
                    </a:lnTo>
                    <a:lnTo>
                      <a:pt x="181" y="740"/>
                    </a:lnTo>
                    <a:lnTo>
                      <a:pt x="183" y="736"/>
                    </a:lnTo>
                    <a:lnTo>
                      <a:pt x="184" y="738"/>
                    </a:lnTo>
                    <a:lnTo>
                      <a:pt x="183" y="741"/>
                    </a:lnTo>
                    <a:lnTo>
                      <a:pt x="183" y="745"/>
                    </a:lnTo>
                    <a:lnTo>
                      <a:pt x="186" y="745"/>
                    </a:lnTo>
                    <a:lnTo>
                      <a:pt x="189" y="741"/>
                    </a:lnTo>
                    <a:lnTo>
                      <a:pt x="188" y="740"/>
                    </a:lnTo>
                    <a:lnTo>
                      <a:pt x="191" y="736"/>
                    </a:lnTo>
                    <a:lnTo>
                      <a:pt x="191" y="735"/>
                    </a:lnTo>
                    <a:lnTo>
                      <a:pt x="184" y="735"/>
                    </a:lnTo>
                    <a:lnTo>
                      <a:pt x="183" y="733"/>
                    </a:lnTo>
                    <a:lnTo>
                      <a:pt x="188" y="733"/>
                    </a:lnTo>
                    <a:lnTo>
                      <a:pt x="196" y="728"/>
                    </a:lnTo>
                    <a:lnTo>
                      <a:pt x="206" y="728"/>
                    </a:lnTo>
                    <a:lnTo>
                      <a:pt x="208" y="726"/>
                    </a:lnTo>
                    <a:lnTo>
                      <a:pt x="208" y="723"/>
                    </a:lnTo>
                    <a:lnTo>
                      <a:pt x="204" y="723"/>
                    </a:lnTo>
                    <a:lnTo>
                      <a:pt x="208" y="721"/>
                    </a:lnTo>
                    <a:lnTo>
                      <a:pt x="211" y="721"/>
                    </a:lnTo>
                    <a:lnTo>
                      <a:pt x="214" y="720"/>
                    </a:lnTo>
                    <a:lnTo>
                      <a:pt x="216" y="720"/>
                    </a:lnTo>
                    <a:lnTo>
                      <a:pt x="218" y="723"/>
                    </a:lnTo>
                    <a:lnTo>
                      <a:pt x="219" y="723"/>
                    </a:lnTo>
                    <a:lnTo>
                      <a:pt x="221" y="720"/>
                    </a:lnTo>
                    <a:lnTo>
                      <a:pt x="221" y="720"/>
                    </a:lnTo>
                    <a:lnTo>
                      <a:pt x="224" y="716"/>
                    </a:lnTo>
                    <a:lnTo>
                      <a:pt x="224" y="713"/>
                    </a:lnTo>
                    <a:lnTo>
                      <a:pt x="226" y="711"/>
                    </a:lnTo>
                    <a:lnTo>
                      <a:pt x="228" y="713"/>
                    </a:lnTo>
                    <a:lnTo>
                      <a:pt x="228" y="716"/>
                    </a:lnTo>
                    <a:lnTo>
                      <a:pt x="231" y="718"/>
                    </a:lnTo>
                    <a:lnTo>
                      <a:pt x="236" y="713"/>
                    </a:lnTo>
                    <a:lnTo>
                      <a:pt x="239" y="711"/>
                    </a:lnTo>
                    <a:lnTo>
                      <a:pt x="243" y="711"/>
                    </a:lnTo>
                    <a:lnTo>
                      <a:pt x="244" y="706"/>
                    </a:lnTo>
                    <a:lnTo>
                      <a:pt x="246" y="706"/>
                    </a:lnTo>
                    <a:lnTo>
                      <a:pt x="249" y="708"/>
                    </a:lnTo>
                    <a:lnTo>
                      <a:pt x="252" y="708"/>
                    </a:lnTo>
                    <a:lnTo>
                      <a:pt x="257" y="701"/>
                    </a:lnTo>
                    <a:lnTo>
                      <a:pt x="257" y="698"/>
                    </a:lnTo>
                    <a:lnTo>
                      <a:pt x="256" y="698"/>
                    </a:lnTo>
                    <a:lnTo>
                      <a:pt x="252" y="698"/>
                    </a:lnTo>
                    <a:lnTo>
                      <a:pt x="252" y="698"/>
                    </a:lnTo>
                    <a:lnTo>
                      <a:pt x="259" y="693"/>
                    </a:lnTo>
                    <a:lnTo>
                      <a:pt x="262" y="691"/>
                    </a:lnTo>
                    <a:lnTo>
                      <a:pt x="267" y="688"/>
                    </a:lnTo>
                    <a:lnTo>
                      <a:pt x="269" y="688"/>
                    </a:lnTo>
                    <a:lnTo>
                      <a:pt x="271" y="690"/>
                    </a:lnTo>
                    <a:lnTo>
                      <a:pt x="276" y="686"/>
                    </a:lnTo>
                    <a:lnTo>
                      <a:pt x="279" y="685"/>
                    </a:lnTo>
                    <a:lnTo>
                      <a:pt x="281" y="681"/>
                    </a:lnTo>
                    <a:lnTo>
                      <a:pt x="284" y="680"/>
                    </a:lnTo>
                    <a:lnTo>
                      <a:pt x="286" y="678"/>
                    </a:lnTo>
                    <a:lnTo>
                      <a:pt x="289" y="677"/>
                    </a:lnTo>
                    <a:lnTo>
                      <a:pt x="291" y="680"/>
                    </a:lnTo>
                    <a:lnTo>
                      <a:pt x="292" y="681"/>
                    </a:lnTo>
                    <a:lnTo>
                      <a:pt x="294" y="678"/>
                    </a:lnTo>
                    <a:lnTo>
                      <a:pt x="297" y="678"/>
                    </a:lnTo>
                    <a:lnTo>
                      <a:pt x="299" y="677"/>
                    </a:lnTo>
                    <a:lnTo>
                      <a:pt x="299" y="673"/>
                    </a:lnTo>
                    <a:lnTo>
                      <a:pt x="304" y="673"/>
                    </a:lnTo>
                    <a:lnTo>
                      <a:pt x="304" y="672"/>
                    </a:lnTo>
                    <a:lnTo>
                      <a:pt x="306" y="672"/>
                    </a:lnTo>
                    <a:lnTo>
                      <a:pt x="312" y="673"/>
                    </a:lnTo>
                    <a:lnTo>
                      <a:pt x="314" y="668"/>
                    </a:lnTo>
                    <a:lnTo>
                      <a:pt x="316" y="668"/>
                    </a:lnTo>
                    <a:lnTo>
                      <a:pt x="317" y="672"/>
                    </a:lnTo>
                    <a:lnTo>
                      <a:pt x="319" y="672"/>
                    </a:lnTo>
                    <a:lnTo>
                      <a:pt x="321" y="668"/>
                    </a:lnTo>
                    <a:lnTo>
                      <a:pt x="322" y="670"/>
                    </a:lnTo>
                    <a:lnTo>
                      <a:pt x="324" y="670"/>
                    </a:lnTo>
                    <a:lnTo>
                      <a:pt x="327" y="663"/>
                    </a:lnTo>
                    <a:lnTo>
                      <a:pt x="326" y="663"/>
                    </a:lnTo>
                    <a:lnTo>
                      <a:pt x="322" y="665"/>
                    </a:lnTo>
                    <a:lnTo>
                      <a:pt x="324" y="662"/>
                    </a:lnTo>
                    <a:lnTo>
                      <a:pt x="329" y="658"/>
                    </a:lnTo>
                    <a:lnTo>
                      <a:pt x="331" y="658"/>
                    </a:lnTo>
                    <a:lnTo>
                      <a:pt x="332" y="658"/>
                    </a:lnTo>
                    <a:lnTo>
                      <a:pt x="334" y="658"/>
                    </a:lnTo>
                    <a:lnTo>
                      <a:pt x="332" y="655"/>
                    </a:lnTo>
                    <a:lnTo>
                      <a:pt x="329" y="653"/>
                    </a:lnTo>
                    <a:lnTo>
                      <a:pt x="332" y="653"/>
                    </a:lnTo>
                    <a:lnTo>
                      <a:pt x="336" y="655"/>
                    </a:lnTo>
                    <a:lnTo>
                      <a:pt x="341" y="650"/>
                    </a:lnTo>
                    <a:lnTo>
                      <a:pt x="347" y="650"/>
                    </a:lnTo>
                    <a:lnTo>
                      <a:pt x="352" y="647"/>
                    </a:lnTo>
                    <a:lnTo>
                      <a:pt x="355" y="645"/>
                    </a:lnTo>
                    <a:lnTo>
                      <a:pt x="360" y="640"/>
                    </a:lnTo>
                    <a:lnTo>
                      <a:pt x="360" y="633"/>
                    </a:lnTo>
                    <a:lnTo>
                      <a:pt x="359" y="632"/>
                    </a:lnTo>
                    <a:lnTo>
                      <a:pt x="357" y="632"/>
                    </a:lnTo>
                    <a:lnTo>
                      <a:pt x="355" y="628"/>
                    </a:lnTo>
                    <a:lnTo>
                      <a:pt x="354" y="627"/>
                    </a:lnTo>
                    <a:lnTo>
                      <a:pt x="347" y="627"/>
                    </a:lnTo>
                    <a:lnTo>
                      <a:pt x="349" y="622"/>
                    </a:lnTo>
                    <a:lnTo>
                      <a:pt x="347" y="618"/>
                    </a:lnTo>
                    <a:lnTo>
                      <a:pt x="354" y="615"/>
                    </a:lnTo>
                    <a:lnTo>
                      <a:pt x="355" y="613"/>
                    </a:lnTo>
                    <a:lnTo>
                      <a:pt x="359" y="613"/>
                    </a:lnTo>
                    <a:lnTo>
                      <a:pt x="360" y="610"/>
                    </a:lnTo>
                    <a:lnTo>
                      <a:pt x="359" y="610"/>
                    </a:lnTo>
                    <a:lnTo>
                      <a:pt x="362" y="608"/>
                    </a:lnTo>
                    <a:lnTo>
                      <a:pt x="365" y="608"/>
                    </a:lnTo>
                    <a:lnTo>
                      <a:pt x="372" y="605"/>
                    </a:lnTo>
                    <a:lnTo>
                      <a:pt x="377" y="608"/>
                    </a:lnTo>
                    <a:lnTo>
                      <a:pt x="382" y="605"/>
                    </a:lnTo>
                    <a:lnTo>
                      <a:pt x="382" y="608"/>
                    </a:lnTo>
                    <a:lnTo>
                      <a:pt x="384" y="612"/>
                    </a:lnTo>
                    <a:lnTo>
                      <a:pt x="385" y="610"/>
                    </a:lnTo>
                    <a:lnTo>
                      <a:pt x="392" y="605"/>
                    </a:lnTo>
                    <a:lnTo>
                      <a:pt x="390" y="603"/>
                    </a:lnTo>
                    <a:lnTo>
                      <a:pt x="387" y="603"/>
                    </a:lnTo>
                    <a:lnTo>
                      <a:pt x="387" y="600"/>
                    </a:lnTo>
                    <a:lnTo>
                      <a:pt x="389" y="600"/>
                    </a:lnTo>
                    <a:lnTo>
                      <a:pt x="394" y="602"/>
                    </a:lnTo>
                    <a:lnTo>
                      <a:pt x="402" y="600"/>
                    </a:lnTo>
                    <a:lnTo>
                      <a:pt x="404" y="593"/>
                    </a:lnTo>
                    <a:lnTo>
                      <a:pt x="402" y="588"/>
                    </a:lnTo>
                    <a:lnTo>
                      <a:pt x="395" y="585"/>
                    </a:lnTo>
                    <a:lnTo>
                      <a:pt x="392" y="585"/>
                    </a:lnTo>
                    <a:lnTo>
                      <a:pt x="389" y="587"/>
                    </a:lnTo>
                    <a:lnTo>
                      <a:pt x="389" y="585"/>
                    </a:lnTo>
                    <a:lnTo>
                      <a:pt x="392" y="583"/>
                    </a:lnTo>
                    <a:lnTo>
                      <a:pt x="399" y="582"/>
                    </a:lnTo>
                    <a:lnTo>
                      <a:pt x="402" y="585"/>
                    </a:lnTo>
                    <a:lnTo>
                      <a:pt x="409" y="585"/>
                    </a:lnTo>
                    <a:lnTo>
                      <a:pt x="414" y="582"/>
                    </a:lnTo>
                    <a:lnTo>
                      <a:pt x="414" y="579"/>
                    </a:lnTo>
                    <a:lnTo>
                      <a:pt x="424" y="574"/>
                    </a:lnTo>
                    <a:lnTo>
                      <a:pt x="430" y="569"/>
                    </a:lnTo>
                    <a:lnTo>
                      <a:pt x="435" y="569"/>
                    </a:lnTo>
                    <a:lnTo>
                      <a:pt x="437" y="567"/>
                    </a:lnTo>
                    <a:lnTo>
                      <a:pt x="437" y="564"/>
                    </a:lnTo>
                    <a:lnTo>
                      <a:pt x="447" y="557"/>
                    </a:lnTo>
                    <a:lnTo>
                      <a:pt x="457" y="557"/>
                    </a:lnTo>
                    <a:lnTo>
                      <a:pt x="467" y="549"/>
                    </a:lnTo>
                    <a:lnTo>
                      <a:pt x="473" y="547"/>
                    </a:lnTo>
                    <a:lnTo>
                      <a:pt x="482" y="539"/>
                    </a:lnTo>
                    <a:lnTo>
                      <a:pt x="478" y="544"/>
                    </a:lnTo>
                    <a:lnTo>
                      <a:pt x="478" y="549"/>
                    </a:lnTo>
                    <a:lnTo>
                      <a:pt x="482" y="550"/>
                    </a:lnTo>
                    <a:lnTo>
                      <a:pt x="485" y="550"/>
                    </a:lnTo>
                    <a:lnTo>
                      <a:pt x="487" y="552"/>
                    </a:lnTo>
                    <a:lnTo>
                      <a:pt x="493" y="547"/>
                    </a:lnTo>
                    <a:lnTo>
                      <a:pt x="498" y="545"/>
                    </a:lnTo>
                    <a:lnTo>
                      <a:pt x="507" y="542"/>
                    </a:lnTo>
                    <a:lnTo>
                      <a:pt x="510" y="539"/>
                    </a:lnTo>
                    <a:lnTo>
                      <a:pt x="508" y="544"/>
                    </a:lnTo>
                    <a:lnTo>
                      <a:pt x="502" y="547"/>
                    </a:lnTo>
                    <a:lnTo>
                      <a:pt x="495" y="549"/>
                    </a:lnTo>
                    <a:lnTo>
                      <a:pt x="485" y="559"/>
                    </a:lnTo>
                    <a:lnTo>
                      <a:pt x="483" y="562"/>
                    </a:lnTo>
                    <a:lnTo>
                      <a:pt x="490" y="569"/>
                    </a:lnTo>
                    <a:lnTo>
                      <a:pt x="490" y="574"/>
                    </a:lnTo>
                    <a:lnTo>
                      <a:pt x="485" y="570"/>
                    </a:lnTo>
                    <a:lnTo>
                      <a:pt x="482" y="570"/>
                    </a:lnTo>
                    <a:lnTo>
                      <a:pt x="480" y="570"/>
                    </a:lnTo>
                    <a:lnTo>
                      <a:pt x="475" y="570"/>
                    </a:lnTo>
                    <a:lnTo>
                      <a:pt x="472" y="567"/>
                    </a:lnTo>
                    <a:lnTo>
                      <a:pt x="470" y="562"/>
                    </a:lnTo>
                    <a:lnTo>
                      <a:pt x="462" y="565"/>
                    </a:lnTo>
                    <a:lnTo>
                      <a:pt x="458" y="565"/>
                    </a:lnTo>
                    <a:lnTo>
                      <a:pt x="452" y="570"/>
                    </a:lnTo>
                    <a:lnTo>
                      <a:pt x="445" y="570"/>
                    </a:lnTo>
                    <a:lnTo>
                      <a:pt x="440" y="574"/>
                    </a:lnTo>
                    <a:lnTo>
                      <a:pt x="440" y="579"/>
                    </a:lnTo>
                    <a:lnTo>
                      <a:pt x="440" y="580"/>
                    </a:lnTo>
                    <a:lnTo>
                      <a:pt x="437" y="587"/>
                    </a:lnTo>
                    <a:lnTo>
                      <a:pt x="430" y="590"/>
                    </a:lnTo>
                    <a:lnTo>
                      <a:pt x="429" y="597"/>
                    </a:lnTo>
                    <a:lnTo>
                      <a:pt x="415" y="607"/>
                    </a:lnTo>
                    <a:lnTo>
                      <a:pt x="410" y="612"/>
                    </a:lnTo>
                    <a:lnTo>
                      <a:pt x="412" y="615"/>
                    </a:lnTo>
                    <a:lnTo>
                      <a:pt x="417" y="622"/>
                    </a:lnTo>
                    <a:lnTo>
                      <a:pt x="419" y="617"/>
                    </a:lnTo>
                    <a:lnTo>
                      <a:pt x="422" y="617"/>
                    </a:lnTo>
                    <a:lnTo>
                      <a:pt x="425" y="615"/>
                    </a:lnTo>
                    <a:lnTo>
                      <a:pt x="430" y="615"/>
                    </a:lnTo>
                    <a:lnTo>
                      <a:pt x="430" y="618"/>
                    </a:lnTo>
                    <a:lnTo>
                      <a:pt x="420" y="623"/>
                    </a:lnTo>
                    <a:lnTo>
                      <a:pt x="417" y="623"/>
                    </a:lnTo>
                    <a:lnTo>
                      <a:pt x="415" y="628"/>
                    </a:lnTo>
                    <a:lnTo>
                      <a:pt x="410" y="625"/>
                    </a:lnTo>
                    <a:lnTo>
                      <a:pt x="407" y="627"/>
                    </a:lnTo>
                    <a:lnTo>
                      <a:pt x="404" y="627"/>
                    </a:lnTo>
                    <a:lnTo>
                      <a:pt x="404" y="632"/>
                    </a:lnTo>
                    <a:lnTo>
                      <a:pt x="400" y="630"/>
                    </a:lnTo>
                    <a:lnTo>
                      <a:pt x="395" y="632"/>
                    </a:lnTo>
                    <a:lnTo>
                      <a:pt x="397" y="637"/>
                    </a:lnTo>
                    <a:lnTo>
                      <a:pt x="404" y="643"/>
                    </a:lnTo>
                    <a:lnTo>
                      <a:pt x="405" y="642"/>
                    </a:lnTo>
                    <a:lnTo>
                      <a:pt x="407" y="638"/>
                    </a:lnTo>
                    <a:lnTo>
                      <a:pt x="410" y="642"/>
                    </a:lnTo>
                    <a:lnTo>
                      <a:pt x="412" y="637"/>
                    </a:lnTo>
                    <a:lnTo>
                      <a:pt x="415" y="637"/>
                    </a:lnTo>
                    <a:lnTo>
                      <a:pt x="415" y="640"/>
                    </a:lnTo>
                    <a:lnTo>
                      <a:pt x="419" y="638"/>
                    </a:lnTo>
                    <a:lnTo>
                      <a:pt x="419" y="637"/>
                    </a:lnTo>
                    <a:lnTo>
                      <a:pt x="422" y="635"/>
                    </a:lnTo>
                    <a:lnTo>
                      <a:pt x="427" y="632"/>
                    </a:lnTo>
                    <a:lnTo>
                      <a:pt x="427" y="627"/>
                    </a:lnTo>
                    <a:lnTo>
                      <a:pt x="430" y="623"/>
                    </a:lnTo>
                    <a:lnTo>
                      <a:pt x="432" y="627"/>
                    </a:lnTo>
                    <a:lnTo>
                      <a:pt x="430" y="628"/>
                    </a:lnTo>
                    <a:lnTo>
                      <a:pt x="432" y="632"/>
                    </a:lnTo>
                    <a:lnTo>
                      <a:pt x="437" y="630"/>
                    </a:lnTo>
                    <a:lnTo>
                      <a:pt x="445" y="625"/>
                    </a:lnTo>
                    <a:lnTo>
                      <a:pt x="450" y="625"/>
                    </a:lnTo>
                    <a:lnTo>
                      <a:pt x="452" y="628"/>
                    </a:lnTo>
                    <a:lnTo>
                      <a:pt x="453" y="625"/>
                    </a:lnTo>
                    <a:lnTo>
                      <a:pt x="457" y="618"/>
                    </a:lnTo>
                    <a:lnTo>
                      <a:pt x="462" y="615"/>
                    </a:lnTo>
                    <a:lnTo>
                      <a:pt x="463" y="615"/>
                    </a:lnTo>
                    <a:lnTo>
                      <a:pt x="458" y="620"/>
                    </a:lnTo>
                    <a:lnTo>
                      <a:pt x="458" y="625"/>
                    </a:lnTo>
                    <a:lnTo>
                      <a:pt x="462" y="622"/>
                    </a:lnTo>
                    <a:lnTo>
                      <a:pt x="467" y="617"/>
                    </a:lnTo>
                    <a:lnTo>
                      <a:pt x="470" y="608"/>
                    </a:lnTo>
                    <a:lnTo>
                      <a:pt x="473" y="607"/>
                    </a:lnTo>
                    <a:lnTo>
                      <a:pt x="473" y="610"/>
                    </a:lnTo>
                    <a:lnTo>
                      <a:pt x="470" y="615"/>
                    </a:lnTo>
                    <a:lnTo>
                      <a:pt x="470" y="617"/>
                    </a:lnTo>
                    <a:lnTo>
                      <a:pt x="475" y="612"/>
                    </a:lnTo>
                    <a:lnTo>
                      <a:pt x="477" y="615"/>
                    </a:lnTo>
                    <a:lnTo>
                      <a:pt x="477" y="617"/>
                    </a:lnTo>
                    <a:lnTo>
                      <a:pt x="482" y="618"/>
                    </a:lnTo>
                    <a:lnTo>
                      <a:pt x="485" y="620"/>
                    </a:lnTo>
                    <a:lnTo>
                      <a:pt x="488" y="617"/>
                    </a:lnTo>
                    <a:lnTo>
                      <a:pt x="490" y="612"/>
                    </a:lnTo>
                    <a:lnTo>
                      <a:pt x="497" y="612"/>
                    </a:lnTo>
                    <a:lnTo>
                      <a:pt x="502" y="608"/>
                    </a:lnTo>
                    <a:lnTo>
                      <a:pt x="498" y="607"/>
                    </a:lnTo>
                    <a:lnTo>
                      <a:pt x="500" y="603"/>
                    </a:lnTo>
                    <a:lnTo>
                      <a:pt x="508" y="600"/>
                    </a:lnTo>
                    <a:lnTo>
                      <a:pt x="510" y="597"/>
                    </a:lnTo>
                    <a:lnTo>
                      <a:pt x="510" y="593"/>
                    </a:lnTo>
                    <a:lnTo>
                      <a:pt x="507" y="593"/>
                    </a:lnTo>
                    <a:lnTo>
                      <a:pt x="503" y="592"/>
                    </a:lnTo>
                    <a:lnTo>
                      <a:pt x="497" y="590"/>
                    </a:lnTo>
                    <a:lnTo>
                      <a:pt x="500" y="588"/>
                    </a:lnTo>
                    <a:lnTo>
                      <a:pt x="503" y="588"/>
                    </a:lnTo>
                    <a:lnTo>
                      <a:pt x="507" y="588"/>
                    </a:lnTo>
                    <a:lnTo>
                      <a:pt x="510" y="587"/>
                    </a:lnTo>
                    <a:lnTo>
                      <a:pt x="510" y="583"/>
                    </a:lnTo>
                    <a:lnTo>
                      <a:pt x="505" y="585"/>
                    </a:lnTo>
                    <a:lnTo>
                      <a:pt x="500" y="582"/>
                    </a:lnTo>
                    <a:lnTo>
                      <a:pt x="500" y="577"/>
                    </a:lnTo>
                    <a:lnTo>
                      <a:pt x="507" y="577"/>
                    </a:lnTo>
                    <a:lnTo>
                      <a:pt x="508" y="575"/>
                    </a:lnTo>
                    <a:lnTo>
                      <a:pt x="512" y="577"/>
                    </a:lnTo>
                    <a:lnTo>
                      <a:pt x="512" y="575"/>
                    </a:lnTo>
                    <a:lnTo>
                      <a:pt x="510" y="570"/>
                    </a:lnTo>
                    <a:lnTo>
                      <a:pt x="518" y="567"/>
                    </a:lnTo>
                    <a:lnTo>
                      <a:pt x="523" y="570"/>
                    </a:lnTo>
                    <a:lnTo>
                      <a:pt x="527" y="569"/>
                    </a:lnTo>
                    <a:lnTo>
                      <a:pt x="532" y="569"/>
                    </a:lnTo>
                    <a:lnTo>
                      <a:pt x="523" y="575"/>
                    </a:lnTo>
                    <a:lnTo>
                      <a:pt x="523" y="579"/>
                    </a:lnTo>
                    <a:lnTo>
                      <a:pt x="525" y="585"/>
                    </a:lnTo>
                    <a:lnTo>
                      <a:pt x="527" y="585"/>
                    </a:lnTo>
                    <a:lnTo>
                      <a:pt x="530" y="577"/>
                    </a:lnTo>
                    <a:lnTo>
                      <a:pt x="533" y="575"/>
                    </a:lnTo>
                    <a:lnTo>
                      <a:pt x="537" y="575"/>
                    </a:lnTo>
                    <a:lnTo>
                      <a:pt x="535" y="577"/>
                    </a:lnTo>
                    <a:lnTo>
                      <a:pt x="532" y="580"/>
                    </a:lnTo>
                    <a:lnTo>
                      <a:pt x="533" y="583"/>
                    </a:lnTo>
                    <a:lnTo>
                      <a:pt x="538" y="580"/>
                    </a:lnTo>
                    <a:lnTo>
                      <a:pt x="540" y="577"/>
                    </a:lnTo>
                    <a:lnTo>
                      <a:pt x="543" y="580"/>
                    </a:lnTo>
                    <a:lnTo>
                      <a:pt x="548" y="577"/>
                    </a:lnTo>
                    <a:lnTo>
                      <a:pt x="550" y="577"/>
                    </a:lnTo>
                    <a:lnTo>
                      <a:pt x="555" y="574"/>
                    </a:lnTo>
                    <a:lnTo>
                      <a:pt x="560" y="572"/>
                    </a:lnTo>
                    <a:lnTo>
                      <a:pt x="565" y="574"/>
                    </a:lnTo>
                    <a:lnTo>
                      <a:pt x="563" y="575"/>
                    </a:lnTo>
                    <a:lnTo>
                      <a:pt x="558" y="575"/>
                    </a:lnTo>
                    <a:lnTo>
                      <a:pt x="553" y="580"/>
                    </a:lnTo>
                    <a:lnTo>
                      <a:pt x="550" y="580"/>
                    </a:lnTo>
                    <a:lnTo>
                      <a:pt x="548" y="583"/>
                    </a:lnTo>
                    <a:lnTo>
                      <a:pt x="550" y="585"/>
                    </a:lnTo>
                    <a:lnTo>
                      <a:pt x="558" y="587"/>
                    </a:lnTo>
                    <a:lnTo>
                      <a:pt x="561" y="590"/>
                    </a:lnTo>
                    <a:lnTo>
                      <a:pt x="561" y="592"/>
                    </a:lnTo>
                    <a:lnTo>
                      <a:pt x="556" y="588"/>
                    </a:lnTo>
                    <a:lnTo>
                      <a:pt x="550" y="587"/>
                    </a:lnTo>
                    <a:lnTo>
                      <a:pt x="545" y="588"/>
                    </a:lnTo>
                    <a:lnTo>
                      <a:pt x="545" y="593"/>
                    </a:lnTo>
                    <a:lnTo>
                      <a:pt x="548" y="593"/>
                    </a:lnTo>
                    <a:lnTo>
                      <a:pt x="551" y="592"/>
                    </a:lnTo>
                    <a:lnTo>
                      <a:pt x="556" y="595"/>
                    </a:lnTo>
                    <a:lnTo>
                      <a:pt x="553" y="595"/>
                    </a:lnTo>
                    <a:lnTo>
                      <a:pt x="548" y="595"/>
                    </a:lnTo>
                    <a:lnTo>
                      <a:pt x="550" y="598"/>
                    </a:lnTo>
                    <a:lnTo>
                      <a:pt x="556" y="600"/>
                    </a:lnTo>
                    <a:lnTo>
                      <a:pt x="558" y="603"/>
                    </a:lnTo>
                    <a:lnTo>
                      <a:pt x="555" y="605"/>
                    </a:lnTo>
                    <a:lnTo>
                      <a:pt x="551" y="605"/>
                    </a:lnTo>
                    <a:lnTo>
                      <a:pt x="551" y="608"/>
                    </a:lnTo>
                    <a:lnTo>
                      <a:pt x="556" y="608"/>
                    </a:lnTo>
                    <a:lnTo>
                      <a:pt x="561" y="607"/>
                    </a:lnTo>
                    <a:lnTo>
                      <a:pt x="565" y="610"/>
                    </a:lnTo>
                    <a:lnTo>
                      <a:pt x="570" y="612"/>
                    </a:lnTo>
                    <a:lnTo>
                      <a:pt x="576" y="608"/>
                    </a:lnTo>
                    <a:lnTo>
                      <a:pt x="578" y="612"/>
                    </a:lnTo>
                    <a:lnTo>
                      <a:pt x="578" y="613"/>
                    </a:lnTo>
                    <a:lnTo>
                      <a:pt x="575" y="615"/>
                    </a:lnTo>
                    <a:lnTo>
                      <a:pt x="576" y="618"/>
                    </a:lnTo>
                    <a:lnTo>
                      <a:pt x="578" y="618"/>
                    </a:lnTo>
                    <a:lnTo>
                      <a:pt x="578" y="622"/>
                    </a:lnTo>
                    <a:lnTo>
                      <a:pt x="583" y="622"/>
                    </a:lnTo>
                    <a:lnTo>
                      <a:pt x="586" y="618"/>
                    </a:lnTo>
                    <a:lnTo>
                      <a:pt x="585" y="617"/>
                    </a:lnTo>
                    <a:lnTo>
                      <a:pt x="585" y="615"/>
                    </a:lnTo>
                    <a:lnTo>
                      <a:pt x="591" y="615"/>
                    </a:lnTo>
                    <a:lnTo>
                      <a:pt x="588" y="618"/>
                    </a:lnTo>
                    <a:lnTo>
                      <a:pt x="588" y="622"/>
                    </a:lnTo>
                    <a:lnTo>
                      <a:pt x="581" y="627"/>
                    </a:lnTo>
                    <a:lnTo>
                      <a:pt x="586" y="630"/>
                    </a:lnTo>
                    <a:lnTo>
                      <a:pt x="585" y="632"/>
                    </a:lnTo>
                    <a:lnTo>
                      <a:pt x="581" y="632"/>
                    </a:lnTo>
                    <a:lnTo>
                      <a:pt x="580" y="632"/>
                    </a:lnTo>
                    <a:lnTo>
                      <a:pt x="581" y="635"/>
                    </a:lnTo>
                    <a:lnTo>
                      <a:pt x="593" y="637"/>
                    </a:lnTo>
                    <a:lnTo>
                      <a:pt x="596" y="635"/>
                    </a:lnTo>
                    <a:lnTo>
                      <a:pt x="600" y="637"/>
                    </a:lnTo>
                    <a:lnTo>
                      <a:pt x="605" y="635"/>
                    </a:lnTo>
                    <a:lnTo>
                      <a:pt x="610" y="637"/>
                    </a:lnTo>
                    <a:lnTo>
                      <a:pt x="616" y="635"/>
                    </a:lnTo>
                    <a:lnTo>
                      <a:pt x="618" y="637"/>
                    </a:lnTo>
                    <a:lnTo>
                      <a:pt x="618" y="638"/>
                    </a:lnTo>
                    <a:lnTo>
                      <a:pt x="621" y="640"/>
                    </a:lnTo>
                    <a:lnTo>
                      <a:pt x="625" y="643"/>
                    </a:lnTo>
                    <a:lnTo>
                      <a:pt x="628" y="645"/>
                    </a:lnTo>
                    <a:lnTo>
                      <a:pt x="628" y="648"/>
                    </a:lnTo>
                    <a:lnTo>
                      <a:pt x="633" y="648"/>
                    </a:lnTo>
                    <a:lnTo>
                      <a:pt x="640" y="645"/>
                    </a:lnTo>
                    <a:lnTo>
                      <a:pt x="641" y="643"/>
                    </a:lnTo>
                    <a:lnTo>
                      <a:pt x="643" y="645"/>
                    </a:lnTo>
                    <a:lnTo>
                      <a:pt x="643" y="648"/>
                    </a:lnTo>
                    <a:lnTo>
                      <a:pt x="640" y="650"/>
                    </a:lnTo>
                    <a:lnTo>
                      <a:pt x="635" y="652"/>
                    </a:lnTo>
                    <a:lnTo>
                      <a:pt x="636" y="653"/>
                    </a:lnTo>
                    <a:lnTo>
                      <a:pt x="643" y="655"/>
                    </a:lnTo>
                    <a:lnTo>
                      <a:pt x="645" y="658"/>
                    </a:lnTo>
                    <a:lnTo>
                      <a:pt x="648" y="662"/>
                    </a:lnTo>
                    <a:lnTo>
                      <a:pt x="654" y="663"/>
                    </a:lnTo>
                    <a:lnTo>
                      <a:pt x="663" y="662"/>
                    </a:lnTo>
                    <a:lnTo>
                      <a:pt x="668" y="660"/>
                    </a:lnTo>
                    <a:lnTo>
                      <a:pt x="668" y="663"/>
                    </a:lnTo>
                    <a:lnTo>
                      <a:pt x="671" y="660"/>
                    </a:lnTo>
                    <a:lnTo>
                      <a:pt x="678" y="655"/>
                    </a:lnTo>
                    <a:lnTo>
                      <a:pt x="679" y="655"/>
                    </a:lnTo>
                    <a:lnTo>
                      <a:pt x="678" y="658"/>
                    </a:lnTo>
                    <a:lnTo>
                      <a:pt x="673" y="662"/>
                    </a:lnTo>
                    <a:lnTo>
                      <a:pt x="673" y="668"/>
                    </a:lnTo>
                    <a:lnTo>
                      <a:pt x="669" y="673"/>
                    </a:lnTo>
                    <a:lnTo>
                      <a:pt x="668" y="673"/>
                    </a:lnTo>
                    <a:lnTo>
                      <a:pt x="663" y="672"/>
                    </a:lnTo>
                    <a:lnTo>
                      <a:pt x="661" y="672"/>
                    </a:lnTo>
                    <a:lnTo>
                      <a:pt x="663" y="677"/>
                    </a:lnTo>
                    <a:lnTo>
                      <a:pt x="664" y="681"/>
                    </a:lnTo>
                    <a:lnTo>
                      <a:pt x="668" y="683"/>
                    </a:lnTo>
                    <a:lnTo>
                      <a:pt x="671" y="681"/>
                    </a:lnTo>
                    <a:lnTo>
                      <a:pt x="674" y="683"/>
                    </a:lnTo>
                    <a:lnTo>
                      <a:pt x="673" y="686"/>
                    </a:lnTo>
                    <a:lnTo>
                      <a:pt x="671" y="686"/>
                    </a:lnTo>
                    <a:lnTo>
                      <a:pt x="671" y="688"/>
                    </a:lnTo>
                    <a:lnTo>
                      <a:pt x="678" y="695"/>
                    </a:lnTo>
                    <a:lnTo>
                      <a:pt x="679" y="693"/>
                    </a:lnTo>
                    <a:lnTo>
                      <a:pt x="684" y="693"/>
                    </a:lnTo>
                    <a:lnTo>
                      <a:pt x="688" y="690"/>
                    </a:lnTo>
                    <a:lnTo>
                      <a:pt x="693" y="680"/>
                    </a:lnTo>
                    <a:lnTo>
                      <a:pt x="691" y="686"/>
                    </a:lnTo>
                    <a:lnTo>
                      <a:pt x="691" y="691"/>
                    </a:lnTo>
                    <a:lnTo>
                      <a:pt x="689" y="695"/>
                    </a:lnTo>
                    <a:lnTo>
                      <a:pt x="686" y="696"/>
                    </a:lnTo>
                    <a:lnTo>
                      <a:pt x="683" y="700"/>
                    </a:lnTo>
                    <a:lnTo>
                      <a:pt x="684" y="703"/>
                    </a:lnTo>
                    <a:lnTo>
                      <a:pt x="688" y="705"/>
                    </a:lnTo>
                    <a:lnTo>
                      <a:pt x="686" y="706"/>
                    </a:lnTo>
                    <a:lnTo>
                      <a:pt x="686" y="716"/>
                    </a:lnTo>
                    <a:lnTo>
                      <a:pt x="688" y="720"/>
                    </a:lnTo>
                    <a:lnTo>
                      <a:pt x="691" y="720"/>
                    </a:lnTo>
                    <a:lnTo>
                      <a:pt x="689" y="723"/>
                    </a:lnTo>
                    <a:lnTo>
                      <a:pt x="691" y="726"/>
                    </a:lnTo>
                    <a:lnTo>
                      <a:pt x="699" y="735"/>
                    </a:lnTo>
                    <a:lnTo>
                      <a:pt x="701" y="735"/>
                    </a:lnTo>
                    <a:lnTo>
                      <a:pt x="703" y="738"/>
                    </a:lnTo>
                    <a:lnTo>
                      <a:pt x="704" y="736"/>
                    </a:lnTo>
                    <a:lnTo>
                      <a:pt x="708" y="740"/>
                    </a:lnTo>
                    <a:lnTo>
                      <a:pt x="711" y="738"/>
                    </a:lnTo>
                    <a:lnTo>
                      <a:pt x="709" y="736"/>
                    </a:lnTo>
                    <a:lnTo>
                      <a:pt x="711" y="735"/>
                    </a:lnTo>
                    <a:lnTo>
                      <a:pt x="713" y="736"/>
                    </a:lnTo>
                    <a:lnTo>
                      <a:pt x="714" y="736"/>
                    </a:lnTo>
                    <a:lnTo>
                      <a:pt x="718" y="733"/>
                    </a:lnTo>
                    <a:lnTo>
                      <a:pt x="714" y="726"/>
                    </a:lnTo>
                    <a:lnTo>
                      <a:pt x="711" y="728"/>
                    </a:lnTo>
                    <a:lnTo>
                      <a:pt x="709" y="728"/>
                    </a:lnTo>
                    <a:lnTo>
                      <a:pt x="708" y="726"/>
                    </a:lnTo>
                    <a:lnTo>
                      <a:pt x="711" y="723"/>
                    </a:lnTo>
                    <a:lnTo>
                      <a:pt x="711" y="720"/>
                    </a:lnTo>
                    <a:lnTo>
                      <a:pt x="709" y="716"/>
                    </a:lnTo>
                    <a:lnTo>
                      <a:pt x="706" y="716"/>
                    </a:lnTo>
                    <a:lnTo>
                      <a:pt x="706" y="713"/>
                    </a:lnTo>
                    <a:lnTo>
                      <a:pt x="708" y="711"/>
                    </a:lnTo>
                    <a:lnTo>
                      <a:pt x="709" y="706"/>
                    </a:lnTo>
                    <a:lnTo>
                      <a:pt x="711" y="706"/>
                    </a:lnTo>
                    <a:lnTo>
                      <a:pt x="711" y="711"/>
                    </a:lnTo>
                    <a:lnTo>
                      <a:pt x="713" y="715"/>
                    </a:lnTo>
                    <a:lnTo>
                      <a:pt x="716" y="710"/>
                    </a:lnTo>
                    <a:lnTo>
                      <a:pt x="718" y="713"/>
                    </a:lnTo>
                    <a:lnTo>
                      <a:pt x="719" y="715"/>
                    </a:lnTo>
                    <a:lnTo>
                      <a:pt x="718" y="720"/>
                    </a:lnTo>
                    <a:lnTo>
                      <a:pt x="719" y="723"/>
                    </a:lnTo>
                    <a:lnTo>
                      <a:pt x="721" y="723"/>
                    </a:lnTo>
                    <a:lnTo>
                      <a:pt x="726" y="720"/>
                    </a:lnTo>
                    <a:lnTo>
                      <a:pt x="728" y="720"/>
                    </a:lnTo>
                    <a:lnTo>
                      <a:pt x="726" y="723"/>
                    </a:lnTo>
                    <a:lnTo>
                      <a:pt x="723" y="726"/>
                    </a:lnTo>
                    <a:lnTo>
                      <a:pt x="723" y="730"/>
                    </a:lnTo>
                    <a:lnTo>
                      <a:pt x="724" y="733"/>
                    </a:lnTo>
                    <a:lnTo>
                      <a:pt x="723" y="738"/>
                    </a:lnTo>
                    <a:lnTo>
                      <a:pt x="724" y="740"/>
                    </a:lnTo>
                    <a:lnTo>
                      <a:pt x="729" y="741"/>
                    </a:lnTo>
                    <a:lnTo>
                      <a:pt x="729" y="740"/>
                    </a:lnTo>
                    <a:lnTo>
                      <a:pt x="733" y="736"/>
                    </a:lnTo>
                    <a:lnTo>
                      <a:pt x="733" y="740"/>
                    </a:lnTo>
                    <a:lnTo>
                      <a:pt x="731" y="741"/>
                    </a:lnTo>
                    <a:lnTo>
                      <a:pt x="733" y="746"/>
                    </a:lnTo>
                    <a:lnTo>
                      <a:pt x="736" y="748"/>
                    </a:lnTo>
                    <a:lnTo>
                      <a:pt x="739" y="741"/>
                    </a:lnTo>
                    <a:lnTo>
                      <a:pt x="741" y="735"/>
                    </a:lnTo>
                    <a:lnTo>
                      <a:pt x="743" y="733"/>
                    </a:lnTo>
                    <a:lnTo>
                      <a:pt x="743" y="721"/>
                    </a:lnTo>
                    <a:lnTo>
                      <a:pt x="746" y="713"/>
                    </a:lnTo>
                    <a:lnTo>
                      <a:pt x="746" y="703"/>
                    </a:lnTo>
                    <a:lnTo>
                      <a:pt x="746" y="696"/>
                    </a:lnTo>
                    <a:lnTo>
                      <a:pt x="744" y="693"/>
                    </a:lnTo>
                    <a:lnTo>
                      <a:pt x="744" y="693"/>
                    </a:lnTo>
                    <a:lnTo>
                      <a:pt x="746" y="693"/>
                    </a:lnTo>
                    <a:lnTo>
                      <a:pt x="747" y="700"/>
                    </a:lnTo>
                    <a:lnTo>
                      <a:pt x="751" y="700"/>
                    </a:lnTo>
                    <a:lnTo>
                      <a:pt x="752" y="695"/>
                    </a:lnTo>
                    <a:lnTo>
                      <a:pt x="757" y="691"/>
                    </a:lnTo>
                    <a:lnTo>
                      <a:pt x="754" y="698"/>
                    </a:lnTo>
                    <a:lnTo>
                      <a:pt x="752" y="705"/>
                    </a:lnTo>
                    <a:lnTo>
                      <a:pt x="754" y="711"/>
                    </a:lnTo>
                    <a:lnTo>
                      <a:pt x="749" y="720"/>
                    </a:lnTo>
                    <a:lnTo>
                      <a:pt x="749" y="725"/>
                    </a:lnTo>
                    <a:lnTo>
                      <a:pt x="751" y="726"/>
                    </a:lnTo>
                    <a:lnTo>
                      <a:pt x="747" y="730"/>
                    </a:lnTo>
                    <a:lnTo>
                      <a:pt x="747" y="736"/>
                    </a:lnTo>
                    <a:lnTo>
                      <a:pt x="747" y="740"/>
                    </a:lnTo>
                    <a:lnTo>
                      <a:pt x="749" y="745"/>
                    </a:lnTo>
                    <a:lnTo>
                      <a:pt x="752" y="748"/>
                    </a:lnTo>
                    <a:lnTo>
                      <a:pt x="754" y="753"/>
                    </a:lnTo>
                    <a:lnTo>
                      <a:pt x="756" y="753"/>
                    </a:lnTo>
                    <a:lnTo>
                      <a:pt x="756" y="758"/>
                    </a:lnTo>
                    <a:lnTo>
                      <a:pt x="761" y="760"/>
                    </a:lnTo>
                    <a:lnTo>
                      <a:pt x="762" y="758"/>
                    </a:lnTo>
                    <a:lnTo>
                      <a:pt x="766" y="760"/>
                    </a:lnTo>
                    <a:lnTo>
                      <a:pt x="769" y="758"/>
                    </a:lnTo>
                    <a:lnTo>
                      <a:pt x="776" y="758"/>
                    </a:lnTo>
                    <a:lnTo>
                      <a:pt x="776" y="760"/>
                    </a:lnTo>
                    <a:lnTo>
                      <a:pt x="769" y="763"/>
                    </a:lnTo>
                    <a:lnTo>
                      <a:pt x="766" y="765"/>
                    </a:lnTo>
                    <a:lnTo>
                      <a:pt x="766" y="766"/>
                    </a:lnTo>
                    <a:lnTo>
                      <a:pt x="769" y="768"/>
                    </a:lnTo>
                    <a:lnTo>
                      <a:pt x="767" y="770"/>
                    </a:lnTo>
                    <a:lnTo>
                      <a:pt x="764" y="770"/>
                    </a:lnTo>
                    <a:lnTo>
                      <a:pt x="764" y="773"/>
                    </a:lnTo>
                    <a:lnTo>
                      <a:pt x="767" y="778"/>
                    </a:lnTo>
                    <a:lnTo>
                      <a:pt x="767" y="781"/>
                    </a:lnTo>
                    <a:lnTo>
                      <a:pt x="766" y="783"/>
                    </a:lnTo>
                    <a:lnTo>
                      <a:pt x="762" y="780"/>
                    </a:lnTo>
                    <a:lnTo>
                      <a:pt x="761" y="776"/>
                    </a:lnTo>
                    <a:lnTo>
                      <a:pt x="759" y="778"/>
                    </a:lnTo>
                    <a:lnTo>
                      <a:pt x="761" y="781"/>
                    </a:lnTo>
                    <a:lnTo>
                      <a:pt x="757" y="784"/>
                    </a:lnTo>
                    <a:lnTo>
                      <a:pt x="757" y="789"/>
                    </a:lnTo>
                    <a:lnTo>
                      <a:pt x="759" y="791"/>
                    </a:lnTo>
                    <a:lnTo>
                      <a:pt x="757" y="793"/>
                    </a:lnTo>
                    <a:lnTo>
                      <a:pt x="754" y="793"/>
                    </a:lnTo>
                    <a:lnTo>
                      <a:pt x="752" y="796"/>
                    </a:lnTo>
                    <a:lnTo>
                      <a:pt x="752" y="798"/>
                    </a:lnTo>
                    <a:lnTo>
                      <a:pt x="756" y="798"/>
                    </a:lnTo>
                    <a:lnTo>
                      <a:pt x="757" y="798"/>
                    </a:lnTo>
                    <a:lnTo>
                      <a:pt x="759" y="801"/>
                    </a:lnTo>
                    <a:lnTo>
                      <a:pt x="762" y="804"/>
                    </a:lnTo>
                    <a:lnTo>
                      <a:pt x="766" y="804"/>
                    </a:lnTo>
                    <a:lnTo>
                      <a:pt x="767" y="806"/>
                    </a:lnTo>
                    <a:lnTo>
                      <a:pt x="767" y="808"/>
                    </a:lnTo>
                    <a:lnTo>
                      <a:pt x="764" y="808"/>
                    </a:lnTo>
                    <a:lnTo>
                      <a:pt x="762" y="808"/>
                    </a:lnTo>
                    <a:lnTo>
                      <a:pt x="764" y="811"/>
                    </a:lnTo>
                    <a:lnTo>
                      <a:pt x="767" y="813"/>
                    </a:lnTo>
                    <a:lnTo>
                      <a:pt x="769" y="816"/>
                    </a:lnTo>
                    <a:lnTo>
                      <a:pt x="772" y="819"/>
                    </a:lnTo>
                    <a:lnTo>
                      <a:pt x="774" y="819"/>
                    </a:lnTo>
                    <a:lnTo>
                      <a:pt x="772" y="821"/>
                    </a:lnTo>
                    <a:lnTo>
                      <a:pt x="769" y="821"/>
                    </a:lnTo>
                    <a:lnTo>
                      <a:pt x="766" y="824"/>
                    </a:lnTo>
                    <a:lnTo>
                      <a:pt x="767" y="829"/>
                    </a:lnTo>
                    <a:lnTo>
                      <a:pt x="771" y="836"/>
                    </a:lnTo>
                    <a:lnTo>
                      <a:pt x="774" y="838"/>
                    </a:lnTo>
                    <a:lnTo>
                      <a:pt x="779" y="838"/>
                    </a:lnTo>
                    <a:lnTo>
                      <a:pt x="782" y="839"/>
                    </a:lnTo>
                    <a:lnTo>
                      <a:pt x="777" y="841"/>
                    </a:lnTo>
                    <a:lnTo>
                      <a:pt x="772" y="841"/>
                    </a:lnTo>
                    <a:lnTo>
                      <a:pt x="769" y="841"/>
                    </a:lnTo>
                    <a:lnTo>
                      <a:pt x="766" y="846"/>
                    </a:lnTo>
                    <a:lnTo>
                      <a:pt x="759" y="854"/>
                    </a:lnTo>
                    <a:lnTo>
                      <a:pt x="752" y="858"/>
                    </a:lnTo>
                    <a:lnTo>
                      <a:pt x="752" y="863"/>
                    </a:lnTo>
                    <a:lnTo>
                      <a:pt x="756" y="866"/>
                    </a:lnTo>
                    <a:lnTo>
                      <a:pt x="761" y="863"/>
                    </a:lnTo>
                    <a:lnTo>
                      <a:pt x="764" y="856"/>
                    </a:lnTo>
                    <a:lnTo>
                      <a:pt x="764" y="854"/>
                    </a:lnTo>
                    <a:lnTo>
                      <a:pt x="767" y="853"/>
                    </a:lnTo>
                    <a:lnTo>
                      <a:pt x="772" y="848"/>
                    </a:lnTo>
                    <a:lnTo>
                      <a:pt x="774" y="849"/>
                    </a:lnTo>
                    <a:lnTo>
                      <a:pt x="777" y="849"/>
                    </a:lnTo>
                    <a:lnTo>
                      <a:pt x="784" y="849"/>
                    </a:lnTo>
                    <a:lnTo>
                      <a:pt x="781" y="853"/>
                    </a:lnTo>
                    <a:lnTo>
                      <a:pt x="781" y="854"/>
                    </a:lnTo>
                    <a:lnTo>
                      <a:pt x="786" y="854"/>
                    </a:lnTo>
                    <a:lnTo>
                      <a:pt x="786" y="856"/>
                    </a:lnTo>
                    <a:lnTo>
                      <a:pt x="781" y="861"/>
                    </a:lnTo>
                    <a:lnTo>
                      <a:pt x="781" y="864"/>
                    </a:lnTo>
                    <a:lnTo>
                      <a:pt x="782" y="868"/>
                    </a:lnTo>
                    <a:lnTo>
                      <a:pt x="779" y="873"/>
                    </a:lnTo>
                    <a:lnTo>
                      <a:pt x="777" y="876"/>
                    </a:lnTo>
                    <a:lnTo>
                      <a:pt x="779" y="878"/>
                    </a:lnTo>
                    <a:lnTo>
                      <a:pt x="779" y="879"/>
                    </a:lnTo>
                    <a:lnTo>
                      <a:pt x="776" y="879"/>
                    </a:lnTo>
                    <a:lnTo>
                      <a:pt x="772" y="879"/>
                    </a:lnTo>
                    <a:lnTo>
                      <a:pt x="769" y="882"/>
                    </a:lnTo>
                    <a:lnTo>
                      <a:pt x="769" y="884"/>
                    </a:lnTo>
                    <a:lnTo>
                      <a:pt x="772" y="886"/>
                    </a:lnTo>
                    <a:lnTo>
                      <a:pt x="774" y="884"/>
                    </a:lnTo>
                    <a:lnTo>
                      <a:pt x="779" y="884"/>
                    </a:lnTo>
                    <a:lnTo>
                      <a:pt x="779" y="886"/>
                    </a:lnTo>
                    <a:lnTo>
                      <a:pt x="776" y="889"/>
                    </a:lnTo>
                    <a:lnTo>
                      <a:pt x="772" y="887"/>
                    </a:lnTo>
                    <a:lnTo>
                      <a:pt x="771" y="887"/>
                    </a:lnTo>
                    <a:lnTo>
                      <a:pt x="767" y="891"/>
                    </a:lnTo>
                    <a:lnTo>
                      <a:pt x="766" y="896"/>
                    </a:lnTo>
                    <a:lnTo>
                      <a:pt x="769" y="899"/>
                    </a:lnTo>
                    <a:lnTo>
                      <a:pt x="772" y="897"/>
                    </a:lnTo>
                    <a:lnTo>
                      <a:pt x="772" y="896"/>
                    </a:lnTo>
                    <a:lnTo>
                      <a:pt x="776" y="896"/>
                    </a:lnTo>
                    <a:lnTo>
                      <a:pt x="781" y="894"/>
                    </a:lnTo>
                    <a:lnTo>
                      <a:pt x="786" y="887"/>
                    </a:lnTo>
                    <a:lnTo>
                      <a:pt x="791" y="881"/>
                    </a:lnTo>
                    <a:lnTo>
                      <a:pt x="792" y="873"/>
                    </a:lnTo>
                    <a:lnTo>
                      <a:pt x="799" y="861"/>
                    </a:lnTo>
                    <a:lnTo>
                      <a:pt x="801" y="861"/>
                    </a:lnTo>
                    <a:lnTo>
                      <a:pt x="801" y="861"/>
                    </a:lnTo>
                    <a:lnTo>
                      <a:pt x="801" y="861"/>
                    </a:lnTo>
                    <a:close/>
                    <a:moveTo>
                      <a:pt x="729" y="884"/>
                    </a:moveTo>
                    <a:lnTo>
                      <a:pt x="728" y="882"/>
                    </a:lnTo>
                    <a:lnTo>
                      <a:pt x="729" y="879"/>
                    </a:lnTo>
                    <a:lnTo>
                      <a:pt x="731" y="882"/>
                    </a:lnTo>
                    <a:lnTo>
                      <a:pt x="729" y="884"/>
                    </a:lnTo>
                    <a:lnTo>
                      <a:pt x="729" y="884"/>
                    </a:lnTo>
                    <a:close/>
                    <a:moveTo>
                      <a:pt x="756" y="892"/>
                    </a:moveTo>
                    <a:lnTo>
                      <a:pt x="759" y="889"/>
                    </a:lnTo>
                    <a:lnTo>
                      <a:pt x="762" y="891"/>
                    </a:lnTo>
                    <a:lnTo>
                      <a:pt x="759" y="894"/>
                    </a:lnTo>
                    <a:lnTo>
                      <a:pt x="756" y="892"/>
                    </a:lnTo>
                    <a:lnTo>
                      <a:pt x="756" y="892"/>
                    </a:lnTo>
                    <a:close/>
                    <a:moveTo>
                      <a:pt x="757" y="881"/>
                    </a:moveTo>
                    <a:lnTo>
                      <a:pt x="761" y="879"/>
                    </a:lnTo>
                    <a:lnTo>
                      <a:pt x="764" y="884"/>
                    </a:lnTo>
                    <a:lnTo>
                      <a:pt x="759" y="887"/>
                    </a:lnTo>
                    <a:lnTo>
                      <a:pt x="756" y="886"/>
                    </a:lnTo>
                    <a:lnTo>
                      <a:pt x="757" y="882"/>
                    </a:lnTo>
                    <a:lnTo>
                      <a:pt x="757" y="881"/>
                    </a:lnTo>
                    <a:lnTo>
                      <a:pt x="757" y="881"/>
                    </a:lnTo>
                    <a:close/>
                    <a:moveTo>
                      <a:pt x="756" y="871"/>
                    </a:moveTo>
                    <a:lnTo>
                      <a:pt x="759" y="876"/>
                    </a:lnTo>
                    <a:lnTo>
                      <a:pt x="756" y="879"/>
                    </a:lnTo>
                    <a:lnTo>
                      <a:pt x="756" y="874"/>
                    </a:lnTo>
                    <a:lnTo>
                      <a:pt x="754" y="873"/>
                    </a:lnTo>
                    <a:lnTo>
                      <a:pt x="756" y="871"/>
                    </a:lnTo>
                    <a:lnTo>
                      <a:pt x="756" y="871"/>
                    </a:lnTo>
                    <a:close/>
                    <a:moveTo>
                      <a:pt x="761" y="869"/>
                    </a:moveTo>
                    <a:lnTo>
                      <a:pt x="764" y="866"/>
                    </a:lnTo>
                    <a:lnTo>
                      <a:pt x="764" y="864"/>
                    </a:lnTo>
                    <a:lnTo>
                      <a:pt x="767" y="858"/>
                    </a:lnTo>
                    <a:lnTo>
                      <a:pt x="772" y="856"/>
                    </a:lnTo>
                    <a:lnTo>
                      <a:pt x="772" y="854"/>
                    </a:lnTo>
                    <a:lnTo>
                      <a:pt x="777" y="854"/>
                    </a:lnTo>
                    <a:lnTo>
                      <a:pt x="779" y="858"/>
                    </a:lnTo>
                    <a:lnTo>
                      <a:pt x="777" y="863"/>
                    </a:lnTo>
                    <a:lnTo>
                      <a:pt x="779" y="868"/>
                    </a:lnTo>
                    <a:lnTo>
                      <a:pt x="772" y="876"/>
                    </a:lnTo>
                    <a:lnTo>
                      <a:pt x="766" y="881"/>
                    </a:lnTo>
                    <a:lnTo>
                      <a:pt x="762" y="878"/>
                    </a:lnTo>
                    <a:lnTo>
                      <a:pt x="766" y="874"/>
                    </a:lnTo>
                    <a:lnTo>
                      <a:pt x="771" y="871"/>
                    </a:lnTo>
                    <a:lnTo>
                      <a:pt x="771" y="868"/>
                    </a:lnTo>
                    <a:lnTo>
                      <a:pt x="762" y="873"/>
                    </a:lnTo>
                    <a:lnTo>
                      <a:pt x="761" y="869"/>
                    </a:lnTo>
                    <a:lnTo>
                      <a:pt x="761" y="869"/>
                    </a:lnTo>
                    <a:close/>
                    <a:moveTo>
                      <a:pt x="718" y="884"/>
                    </a:moveTo>
                    <a:lnTo>
                      <a:pt x="719" y="882"/>
                    </a:lnTo>
                    <a:lnTo>
                      <a:pt x="723" y="884"/>
                    </a:lnTo>
                    <a:lnTo>
                      <a:pt x="723" y="887"/>
                    </a:lnTo>
                    <a:lnTo>
                      <a:pt x="726" y="892"/>
                    </a:lnTo>
                    <a:lnTo>
                      <a:pt x="723" y="897"/>
                    </a:lnTo>
                    <a:lnTo>
                      <a:pt x="721" y="896"/>
                    </a:lnTo>
                    <a:lnTo>
                      <a:pt x="721" y="892"/>
                    </a:lnTo>
                    <a:lnTo>
                      <a:pt x="716" y="886"/>
                    </a:lnTo>
                    <a:lnTo>
                      <a:pt x="718" y="884"/>
                    </a:lnTo>
                    <a:lnTo>
                      <a:pt x="718" y="884"/>
                    </a:lnTo>
                    <a:close/>
                    <a:moveTo>
                      <a:pt x="719" y="878"/>
                    </a:moveTo>
                    <a:lnTo>
                      <a:pt x="721" y="876"/>
                    </a:lnTo>
                    <a:lnTo>
                      <a:pt x="723" y="878"/>
                    </a:lnTo>
                    <a:lnTo>
                      <a:pt x="724" y="881"/>
                    </a:lnTo>
                    <a:lnTo>
                      <a:pt x="721" y="881"/>
                    </a:lnTo>
                    <a:lnTo>
                      <a:pt x="719" y="878"/>
                    </a:lnTo>
                    <a:lnTo>
                      <a:pt x="719" y="878"/>
                    </a:lnTo>
                    <a:close/>
                    <a:moveTo>
                      <a:pt x="716" y="873"/>
                    </a:moveTo>
                    <a:lnTo>
                      <a:pt x="719" y="869"/>
                    </a:lnTo>
                    <a:lnTo>
                      <a:pt x="719" y="874"/>
                    </a:lnTo>
                    <a:lnTo>
                      <a:pt x="716" y="873"/>
                    </a:lnTo>
                    <a:lnTo>
                      <a:pt x="716" y="873"/>
                    </a:lnTo>
                    <a:close/>
                    <a:moveTo>
                      <a:pt x="713" y="866"/>
                    </a:moveTo>
                    <a:lnTo>
                      <a:pt x="716" y="868"/>
                    </a:lnTo>
                    <a:lnTo>
                      <a:pt x="713" y="873"/>
                    </a:lnTo>
                    <a:lnTo>
                      <a:pt x="713" y="866"/>
                    </a:lnTo>
                    <a:lnTo>
                      <a:pt x="713" y="866"/>
                    </a:lnTo>
                    <a:close/>
                    <a:moveTo>
                      <a:pt x="711" y="846"/>
                    </a:moveTo>
                    <a:lnTo>
                      <a:pt x="709" y="843"/>
                    </a:lnTo>
                    <a:lnTo>
                      <a:pt x="713" y="844"/>
                    </a:lnTo>
                    <a:lnTo>
                      <a:pt x="711" y="846"/>
                    </a:lnTo>
                    <a:lnTo>
                      <a:pt x="711" y="846"/>
                    </a:lnTo>
                    <a:close/>
                    <a:moveTo>
                      <a:pt x="723" y="851"/>
                    </a:moveTo>
                    <a:lnTo>
                      <a:pt x="726" y="849"/>
                    </a:lnTo>
                    <a:lnTo>
                      <a:pt x="728" y="853"/>
                    </a:lnTo>
                    <a:lnTo>
                      <a:pt x="726" y="854"/>
                    </a:lnTo>
                    <a:lnTo>
                      <a:pt x="723" y="851"/>
                    </a:lnTo>
                    <a:lnTo>
                      <a:pt x="723" y="851"/>
                    </a:lnTo>
                    <a:close/>
                    <a:moveTo>
                      <a:pt x="724" y="844"/>
                    </a:moveTo>
                    <a:lnTo>
                      <a:pt x="728" y="839"/>
                    </a:lnTo>
                    <a:lnTo>
                      <a:pt x="733" y="838"/>
                    </a:lnTo>
                    <a:lnTo>
                      <a:pt x="736" y="841"/>
                    </a:lnTo>
                    <a:lnTo>
                      <a:pt x="733" y="843"/>
                    </a:lnTo>
                    <a:lnTo>
                      <a:pt x="729" y="843"/>
                    </a:lnTo>
                    <a:lnTo>
                      <a:pt x="726" y="846"/>
                    </a:lnTo>
                    <a:lnTo>
                      <a:pt x="724" y="844"/>
                    </a:lnTo>
                    <a:lnTo>
                      <a:pt x="724" y="844"/>
                    </a:lnTo>
                    <a:close/>
                    <a:moveTo>
                      <a:pt x="736" y="848"/>
                    </a:moveTo>
                    <a:lnTo>
                      <a:pt x="738" y="841"/>
                    </a:lnTo>
                    <a:lnTo>
                      <a:pt x="736" y="838"/>
                    </a:lnTo>
                    <a:lnTo>
                      <a:pt x="733" y="834"/>
                    </a:lnTo>
                    <a:lnTo>
                      <a:pt x="736" y="831"/>
                    </a:lnTo>
                    <a:lnTo>
                      <a:pt x="739" y="833"/>
                    </a:lnTo>
                    <a:lnTo>
                      <a:pt x="743" y="838"/>
                    </a:lnTo>
                    <a:lnTo>
                      <a:pt x="739" y="841"/>
                    </a:lnTo>
                    <a:lnTo>
                      <a:pt x="739" y="844"/>
                    </a:lnTo>
                    <a:lnTo>
                      <a:pt x="741" y="846"/>
                    </a:lnTo>
                    <a:lnTo>
                      <a:pt x="743" y="846"/>
                    </a:lnTo>
                    <a:lnTo>
                      <a:pt x="747" y="849"/>
                    </a:lnTo>
                    <a:lnTo>
                      <a:pt x="747" y="854"/>
                    </a:lnTo>
                    <a:lnTo>
                      <a:pt x="744" y="856"/>
                    </a:lnTo>
                    <a:lnTo>
                      <a:pt x="749" y="859"/>
                    </a:lnTo>
                    <a:lnTo>
                      <a:pt x="749" y="863"/>
                    </a:lnTo>
                    <a:lnTo>
                      <a:pt x="746" y="863"/>
                    </a:lnTo>
                    <a:lnTo>
                      <a:pt x="744" y="861"/>
                    </a:lnTo>
                    <a:lnTo>
                      <a:pt x="743" y="866"/>
                    </a:lnTo>
                    <a:lnTo>
                      <a:pt x="747" y="869"/>
                    </a:lnTo>
                    <a:lnTo>
                      <a:pt x="751" y="873"/>
                    </a:lnTo>
                    <a:lnTo>
                      <a:pt x="746" y="876"/>
                    </a:lnTo>
                    <a:lnTo>
                      <a:pt x="744" y="878"/>
                    </a:lnTo>
                    <a:lnTo>
                      <a:pt x="747" y="878"/>
                    </a:lnTo>
                    <a:lnTo>
                      <a:pt x="749" y="878"/>
                    </a:lnTo>
                    <a:lnTo>
                      <a:pt x="749" y="881"/>
                    </a:lnTo>
                    <a:lnTo>
                      <a:pt x="746" y="884"/>
                    </a:lnTo>
                    <a:lnTo>
                      <a:pt x="743" y="884"/>
                    </a:lnTo>
                    <a:lnTo>
                      <a:pt x="741" y="887"/>
                    </a:lnTo>
                    <a:lnTo>
                      <a:pt x="743" y="887"/>
                    </a:lnTo>
                    <a:lnTo>
                      <a:pt x="744" y="889"/>
                    </a:lnTo>
                    <a:lnTo>
                      <a:pt x="743" y="892"/>
                    </a:lnTo>
                    <a:lnTo>
                      <a:pt x="744" y="894"/>
                    </a:lnTo>
                    <a:lnTo>
                      <a:pt x="743" y="897"/>
                    </a:lnTo>
                    <a:lnTo>
                      <a:pt x="738" y="897"/>
                    </a:lnTo>
                    <a:lnTo>
                      <a:pt x="736" y="896"/>
                    </a:lnTo>
                    <a:lnTo>
                      <a:pt x="738" y="892"/>
                    </a:lnTo>
                    <a:lnTo>
                      <a:pt x="733" y="889"/>
                    </a:lnTo>
                    <a:lnTo>
                      <a:pt x="733" y="886"/>
                    </a:lnTo>
                    <a:lnTo>
                      <a:pt x="736" y="882"/>
                    </a:lnTo>
                    <a:lnTo>
                      <a:pt x="734" y="879"/>
                    </a:lnTo>
                    <a:lnTo>
                      <a:pt x="734" y="878"/>
                    </a:lnTo>
                    <a:lnTo>
                      <a:pt x="738" y="876"/>
                    </a:lnTo>
                    <a:lnTo>
                      <a:pt x="736" y="874"/>
                    </a:lnTo>
                    <a:lnTo>
                      <a:pt x="733" y="874"/>
                    </a:lnTo>
                    <a:lnTo>
                      <a:pt x="731" y="876"/>
                    </a:lnTo>
                    <a:lnTo>
                      <a:pt x="729" y="874"/>
                    </a:lnTo>
                    <a:lnTo>
                      <a:pt x="726" y="874"/>
                    </a:lnTo>
                    <a:lnTo>
                      <a:pt x="724" y="873"/>
                    </a:lnTo>
                    <a:lnTo>
                      <a:pt x="726" y="869"/>
                    </a:lnTo>
                    <a:lnTo>
                      <a:pt x="729" y="869"/>
                    </a:lnTo>
                    <a:lnTo>
                      <a:pt x="731" y="868"/>
                    </a:lnTo>
                    <a:lnTo>
                      <a:pt x="731" y="864"/>
                    </a:lnTo>
                    <a:lnTo>
                      <a:pt x="736" y="861"/>
                    </a:lnTo>
                    <a:lnTo>
                      <a:pt x="736" y="859"/>
                    </a:lnTo>
                    <a:lnTo>
                      <a:pt x="733" y="859"/>
                    </a:lnTo>
                    <a:lnTo>
                      <a:pt x="729" y="859"/>
                    </a:lnTo>
                    <a:lnTo>
                      <a:pt x="728" y="858"/>
                    </a:lnTo>
                    <a:lnTo>
                      <a:pt x="729" y="856"/>
                    </a:lnTo>
                    <a:lnTo>
                      <a:pt x="734" y="854"/>
                    </a:lnTo>
                    <a:lnTo>
                      <a:pt x="736" y="851"/>
                    </a:lnTo>
                    <a:lnTo>
                      <a:pt x="736" y="848"/>
                    </a:lnTo>
                    <a:lnTo>
                      <a:pt x="736" y="848"/>
                    </a:lnTo>
                    <a:close/>
                    <a:moveTo>
                      <a:pt x="764" y="844"/>
                    </a:moveTo>
                    <a:lnTo>
                      <a:pt x="761" y="841"/>
                    </a:lnTo>
                    <a:lnTo>
                      <a:pt x="764" y="838"/>
                    </a:lnTo>
                    <a:lnTo>
                      <a:pt x="766" y="834"/>
                    </a:lnTo>
                    <a:lnTo>
                      <a:pt x="767" y="836"/>
                    </a:lnTo>
                    <a:lnTo>
                      <a:pt x="767" y="841"/>
                    </a:lnTo>
                    <a:lnTo>
                      <a:pt x="764" y="844"/>
                    </a:lnTo>
                    <a:lnTo>
                      <a:pt x="764" y="844"/>
                    </a:lnTo>
                    <a:close/>
                    <a:moveTo>
                      <a:pt x="754" y="849"/>
                    </a:moveTo>
                    <a:lnTo>
                      <a:pt x="757" y="843"/>
                    </a:lnTo>
                    <a:lnTo>
                      <a:pt x="761" y="843"/>
                    </a:lnTo>
                    <a:lnTo>
                      <a:pt x="761" y="848"/>
                    </a:lnTo>
                    <a:lnTo>
                      <a:pt x="757" y="849"/>
                    </a:lnTo>
                    <a:lnTo>
                      <a:pt x="754" y="849"/>
                    </a:lnTo>
                    <a:lnTo>
                      <a:pt x="754" y="849"/>
                    </a:lnTo>
                    <a:close/>
                    <a:moveTo>
                      <a:pt x="751" y="844"/>
                    </a:moveTo>
                    <a:lnTo>
                      <a:pt x="752" y="841"/>
                    </a:lnTo>
                    <a:lnTo>
                      <a:pt x="759" y="836"/>
                    </a:lnTo>
                    <a:lnTo>
                      <a:pt x="759" y="839"/>
                    </a:lnTo>
                    <a:lnTo>
                      <a:pt x="757" y="841"/>
                    </a:lnTo>
                    <a:lnTo>
                      <a:pt x="754" y="844"/>
                    </a:lnTo>
                    <a:lnTo>
                      <a:pt x="751" y="844"/>
                    </a:lnTo>
                    <a:lnTo>
                      <a:pt x="751" y="844"/>
                    </a:lnTo>
                    <a:close/>
                    <a:moveTo>
                      <a:pt x="746" y="833"/>
                    </a:moveTo>
                    <a:lnTo>
                      <a:pt x="751" y="829"/>
                    </a:lnTo>
                    <a:lnTo>
                      <a:pt x="757" y="829"/>
                    </a:lnTo>
                    <a:lnTo>
                      <a:pt x="757" y="833"/>
                    </a:lnTo>
                    <a:lnTo>
                      <a:pt x="752" y="838"/>
                    </a:lnTo>
                    <a:lnTo>
                      <a:pt x="749" y="836"/>
                    </a:lnTo>
                    <a:lnTo>
                      <a:pt x="746" y="833"/>
                    </a:lnTo>
                    <a:lnTo>
                      <a:pt x="746" y="833"/>
                    </a:lnTo>
                    <a:close/>
                    <a:moveTo>
                      <a:pt x="752" y="823"/>
                    </a:moveTo>
                    <a:lnTo>
                      <a:pt x="757" y="816"/>
                    </a:lnTo>
                    <a:lnTo>
                      <a:pt x="761" y="814"/>
                    </a:lnTo>
                    <a:lnTo>
                      <a:pt x="764" y="821"/>
                    </a:lnTo>
                    <a:lnTo>
                      <a:pt x="761" y="826"/>
                    </a:lnTo>
                    <a:lnTo>
                      <a:pt x="754" y="828"/>
                    </a:lnTo>
                    <a:lnTo>
                      <a:pt x="752" y="824"/>
                    </a:lnTo>
                    <a:lnTo>
                      <a:pt x="752" y="823"/>
                    </a:lnTo>
                    <a:lnTo>
                      <a:pt x="752" y="823"/>
                    </a:lnTo>
                    <a:close/>
                    <a:moveTo>
                      <a:pt x="738" y="828"/>
                    </a:moveTo>
                    <a:lnTo>
                      <a:pt x="738" y="823"/>
                    </a:lnTo>
                    <a:lnTo>
                      <a:pt x="741" y="813"/>
                    </a:lnTo>
                    <a:lnTo>
                      <a:pt x="743" y="809"/>
                    </a:lnTo>
                    <a:lnTo>
                      <a:pt x="738" y="808"/>
                    </a:lnTo>
                    <a:lnTo>
                      <a:pt x="739" y="804"/>
                    </a:lnTo>
                    <a:lnTo>
                      <a:pt x="738" y="803"/>
                    </a:lnTo>
                    <a:lnTo>
                      <a:pt x="738" y="799"/>
                    </a:lnTo>
                    <a:lnTo>
                      <a:pt x="744" y="799"/>
                    </a:lnTo>
                    <a:lnTo>
                      <a:pt x="749" y="804"/>
                    </a:lnTo>
                    <a:lnTo>
                      <a:pt x="752" y="804"/>
                    </a:lnTo>
                    <a:lnTo>
                      <a:pt x="756" y="808"/>
                    </a:lnTo>
                    <a:lnTo>
                      <a:pt x="756" y="814"/>
                    </a:lnTo>
                    <a:lnTo>
                      <a:pt x="752" y="819"/>
                    </a:lnTo>
                    <a:lnTo>
                      <a:pt x="751" y="819"/>
                    </a:lnTo>
                    <a:lnTo>
                      <a:pt x="751" y="814"/>
                    </a:lnTo>
                    <a:lnTo>
                      <a:pt x="747" y="814"/>
                    </a:lnTo>
                    <a:lnTo>
                      <a:pt x="747" y="819"/>
                    </a:lnTo>
                    <a:lnTo>
                      <a:pt x="746" y="821"/>
                    </a:lnTo>
                    <a:lnTo>
                      <a:pt x="747" y="826"/>
                    </a:lnTo>
                    <a:lnTo>
                      <a:pt x="744" y="828"/>
                    </a:lnTo>
                    <a:lnTo>
                      <a:pt x="743" y="826"/>
                    </a:lnTo>
                    <a:lnTo>
                      <a:pt x="741" y="829"/>
                    </a:lnTo>
                    <a:lnTo>
                      <a:pt x="738" y="828"/>
                    </a:lnTo>
                    <a:lnTo>
                      <a:pt x="738" y="828"/>
                    </a:lnTo>
                    <a:close/>
                    <a:moveTo>
                      <a:pt x="724" y="823"/>
                    </a:moveTo>
                    <a:lnTo>
                      <a:pt x="721" y="819"/>
                    </a:lnTo>
                    <a:lnTo>
                      <a:pt x="724" y="814"/>
                    </a:lnTo>
                    <a:lnTo>
                      <a:pt x="723" y="813"/>
                    </a:lnTo>
                    <a:lnTo>
                      <a:pt x="723" y="809"/>
                    </a:lnTo>
                    <a:lnTo>
                      <a:pt x="724" y="806"/>
                    </a:lnTo>
                    <a:lnTo>
                      <a:pt x="729" y="808"/>
                    </a:lnTo>
                    <a:lnTo>
                      <a:pt x="729" y="803"/>
                    </a:lnTo>
                    <a:lnTo>
                      <a:pt x="731" y="803"/>
                    </a:lnTo>
                    <a:lnTo>
                      <a:pt x="734" y="808"/>
                    </a:lnTo>
                    <a:lnTo>
                      <a:pt x="733" y="811"/>
                    </a:lnTo>
                    <a:lnTo>
                      <a:pt x="734" y="814"/>
                    </a:lnTo>
                    <a:lnTo>
                      <a:pt x="736" y="813"/>
                    </a:lnTo>
                    <a:lnTo>
                      <a:pt x="738" y="814"/>
                    </a:lnTo>
                    <a:lnTo>
                      <a:pt x="734" y="823"/>
                    </a:lnTo>
                    <a:lnTo>
                      <a:pt x="728" y="829"/>
                    </a:lnTo>
                    <a:lnTo>
                      <a:pt x="728" y="833"/>
                    </a:lnTo>
                    <a:lnTo>
                      <a:pt x="724" y="836"/>
                    </a:lnTo>
                    <a:lnTo>
                      <a:pt x="719" y="838"/>
                    </a:lnTo>
                    <a:lnTo>
                      <a:pt x="721" y="834"/>
                    </a:lnTo>
                    <a:lnTo>
                      <a:pt x="719" y="831"/>
                    </a:lnTo>
                    <a:lnTo>
                      <a:pt x="718" y="839"/>
                    </a:lnTo>
                    <a:lnTo>
                      <a:pt x="716" y="838"/>
                    </a:lnTo>
                    <a:lnTo>
                      <a:pt x="716" y="834"/>
                    </a:lnTo>
                    <a:lnTo>
                      <a:pt x="718" y="831"/>
                    </a:lnTo>
                    <a:lnTo>
                      <a:pt x="718" y="828"/>
                    </a:lnTo>
                    <a:lnTo>
                      <a:pt x="719" y="824"/>
                    </a:lnTo>
                    <a:lnTo>
                      <a:pt x="723" y="828"/>
                    </a:lnTo>
                    <a:lnTo>
                      <a:pt x="724" y="824"/>
                    </a:lnTo>
                    <a:lnTo>
                      <a:pt x="724" y="823"/>
                    </a:lnTo>
                    <a:lnTo>
                      <a:pt x="724" y="823"/>
                    </a:lnTo>
                    <a:close/>
                    <a:moveTo>
                      <a:pt x="721" y="784"/>
                    </a:moveTo>
                    <a:lnTo>
                      <a:pt x="726" y="784"/>
                    </a:lnTo>
                    <a:lnTo>
                      <a:pt x="724" y="788"/>
                    </a:lnTo>
                    <a:lnTo>
                      <a:pt x="721" y="784"/>
                    </a:lnTo>
                    <a:lnTo>
                      <a:pt x="721" y="784"/>
                    </a:lnTo>
                    <a:close/>
                    <a:moveTo>
                      <a:pt x="709" y="784"/>
                    </a:moveTo>
                    <a:lnTo>
                      <a:pt x="714" y="783"/>
                    </a:lnTo>
                    <a:lnTo>
                      <a:pt x="716" y="781"/>
                    </a:lnTo>
                    <a:lnTo>
                      <a:pt x="719" y="783"/>
                    </a:lnTo>
                    <a:lnTo>
                      <a:pt x="721" y="788"/>
                    </a:lnTo>
                    <a:lnTo>
                      <a:pt x="721" y="796"/>
                    </a:lnTo>
                    <a:lnTo>
                      <a:pt x="721" y="803"/>
                    </a:lnTo>
                    <a:lnTo>
                      <a:pt x="718" y="804"/>
                    </a:lnTo>
                    <a:lnTo>
                      <a:pt x="716" y="813"/>
                    </a:lnTo>
                    <a:lnTo>
                      <a:pt x="714" y="814"/>
                    </a:lnTo>
                    <a:lnTo>
                      <a:pt x="713" y="821"/>
                    </a:lnTo>
                    <a:lnTo>
                      <a:pt x="711" y="826"/>
                    </a:lnTo>
                    <a:lnTo>
                      <a:pt x="709" y="829"/>
                    </a:lnTo>
                    <a:lnTo>
                      <a:pt x="708" y="831"/>
                    </a:lnTo>
                    <a:lnTo>
                      <a:pt x="708" y="828"/>
                    </a:lnTo>
                    <a:lnTo>
                      <a:pt x="708" y="824"/>
                    </a:lnTo>
                    <a:lnTo>
                      <a:pt x="706" y="823"/>
                    </a:lnTo>
                    <a:lnTo>
                      <a:pt x="704" y="816"/>
                    </a:lnTo>
                    <a:lnTo>
                      <a:pt x="706" y="813"/>
                    </a:lnTo>
                    <a:lnTo>
                      <a:pt x="709" y="813"/>
                    </a:lnTo>
                    <a:lnTo>
                      <a:pt x="713" y="811"/>
                    </a:lnTo>
                    <a:lnTo>
                      <a:pt x="711" y="809"/>
                    </a:lnTo>
                    <a:lnTo>
                      <a:pt x="709" y="811"/>
                    </a:lnTo>
                    <a:lnTo>
                      <a:pt x="706" y="811"/>
                    </a:lnTo>
                    <a:lnTo>
                      <a:pt x="706" y="808"/>
                    </a:lnTo>
                    <a:lnTo>
                      <a:pt x="708" y="806"/>
                    </a:lnTo>
                    <a:lnTo>
                      <a:pt x="709" y="804"/>
                    </a:lnTo>
                    <a:lnTo>
                      <a:pt x="704" y="803"/>
                    </a:lnTo>
                    <a:lnTo>
                      <a:pt x="704" y="801"/>
                    </a:lnTo>
                    <a:lnTo>
                      <a:pt x="709" y="801"/>
                    </a:lnTo>
                    <a:lnTo>
                      <a:pt x="711" y="798"/>
                    </a:lnTo>
                    <a:lnTo>
                      <a:pt x="711" y="793"/>
                    </a:lnTo>
                    <a:lnTo>
                      <a:pt x="714" y="791"/>
                    </a:lnTo>
                    <a:lnTo>
                      <a:pt x="711" y="788"/>
                    </a:lnTo>
                    <a:lnTo>
                      <a:pt x="709" y="784"/>
                    </a:lnTo>
                    <a:lnTo>
                      <a:pt x="709" y="784"/>
                    </a:lnTo>
                    <a:close/>
                    <a:moveTo>
                      <a:pt x="701" y="786"/>
                    </a:moveTo>
                    <a:lnTo>
                      <a:pt x="704" y="784"/>
                    </a:lnTo>
                    <a:lnTo>
                      <a:pt x="706" y="786"/>
                    </a:lnTo>
                    <a:lnTo>
                      <a:pt x="704" y="789"/>
                    </a:lnTo>
                    <a:lnTo>
                      <a:pt x="704" y="794"/>
                    </a:lnTo>
                    <a:lnTo>
                      <a:pt x="699" y="796"/>
                    </a:lnTo>
                    <a:lnTo>
                      <a:pt x="699" y="793"/>
                    </a:lnTo>
                    <a:lnTo>
                      <a:pt x="701" y="791"/>
                    </a:lnTo>
                    <a:lnTo>
                      <a:pt x="701" y="789"/>
                    </a:lnTo>
                    <a:lnTo>
                      <a:pt x="701" y="786"/>
                    </a:lnTo>
                    <a:lnTo>
                      <a:pt x="701" y="786"/>
                    </a:lnTo>
                    <a:close/>
                    <a:moveTo>
                      <a:pt x="724" y="796"/>
                    </a:moveTo>
                    <a:lnTo>
                      <a:pt x="728" y="791"/>
                    </a:lnTo>
                    <a:lnTo>
                      <a:pt x="728" y="786"/>
                    </a:lnTo>
                    <a:lnTo>
                      <a:pt x="731" y="784"/>
                    </a:lnTo>
                    <a:lnTo>
                      <a:pt x="736" y="784"/>
                    </a:lnTo>
                    <a:lnTo>
                      <a:pt x="734" y="781"/>
                    </a:lnTo>
                    <a:lnTo>
                      <a:pt x="736" y="780"/>
                    </a:lnTo>
                    <a:lnTo>
                      <a:pt x="733" y="776"/>
                    </a:lnTo>
                    <a:lnTo>
                      <a:pt x="733" y="770"/>
                    </a:lnTo>
                    <a:lnTo>
                      <a:pt x="738" y="765"/>
                    </a:lnTo>
                    <a:lnTo>
                      <a:pt x="739" y="750"/>
                    </a:lnTo>
                    <a:lnTo>
                      <a:pt x="743" y="745"/>
                    </a:lnTo>
                    <a:lnTo>
                      <a:pt x="744" y="746"/>
                    </a:lnTo>
                    <a:lnTo>
                      <a:pt x="744" y="751"/>
                    </a:lnTo>
                    <a:lnTo>
                      <a:pt x="751" y="755"/>
                    </a:lnTo>
                    <a:lnTo>
                      <a:pt x="752" y="758"/>
                    </a:lnTo>
                    <a:lnTo>
                      <a:pt x="754" y="775"/>
                    </a:lnTo>
                    <a:lnTo>
                      <a:pt x="751" y="780"/>
                    </a:lnTo>
                    <a:lnTo>
                      <a:pt x="749" y="780"/>
                    </a:lnTo>
                    <a:lnTo>
                      <a:pt x="751" y="770"/>
                    </a:lnTo>
                    <a:lnTo>
                      <a:pt x="749" y="760"/>
                    </a:lnTo>
                    <a:lnTo>
                      <a:pt x="747" y="765"/>
                    </a:lnTo>
                    <a:lnTo>
                      <a:pt x="747" y="780"/>
                    </a:lnTo>
                    <a:lnTo>
                      <a:pt x="746" y="781"/>
                    </a:lnTo>
                    <a:lnTo>
                      <a:pt x="744" y="786"/>
                    </a:lnTo>
                    <a:lnTo>
                      <a:pt x="743" y="788"/>
                    </a:lnTo>
                    <a:lnTo>
                      <a:pt x="739" y="786"/>
                    </a:lnTo>
                    <a:lnTo>
                      <a:pt x="738" y="793"/>
                    </a:lnTo>
                    <a:lnTo>
                      <a:pt x="731" y="796"/>
                    </a:lnTo>
                    <a:lnTo>
                      <a:pt x="726" y="799"/>
                    </a:lnTo>
                    <a:lnTo>
                      <a:pt x="724" y="796"/>
                    </a:lnTo>
                    <a:lnTo>
                      <a:pt x="724" y="796"/>
                    </a:lnTo>
                    <a:close/>
                    <a:moveTo>
                      <a:pt x="713" y="746"/>
                    </a:moveTo>
                    <a:lnTo>
                      <a:pt x="719" y="745"/>
                    </a:lnTo>
                    <a:lnTo>
                      <a:pt x="724" y="748"/>
                    </a:lnTo>
                    <a:lnTo>
                      <a:pt x="724" y="751"/>
                    </a:lnTo>
                    <a:lnTo>
                      <a:pt x="721" y="753"/>
                    </a:lnTo>
                    <a:lnTo>
                      <a:pt x="723" y="756"/>
                    </a:lnTo>
                    <a:lnTo>
                      <a:pt x="724" y="755"/>
                    </a:lnTo>
                    <a:lnTo>
                      <a:pt x="729" y="753"/>
                    </a:lnTo>
                    <a:lnTo>
                      <a:pt x="734" y="756"/>
                    </a:lnTo>
                    <a:lnTo>
                      <a:pt x="734" y="760"/>
                    </a:lnTo>
                    <a:lnTo>
                      <a:pt x="729" y="761"/>
                    </a:lnTo>
                    <a:lnTo>
                      <a:pt x="731" y="763"/>
                    </a:lnTo>
                    <a:lnTo>
                      <a:pt x="728" y="766"/>
                    </a:lnTo>
                    <a:lnTo>
                      <a:pt x="724" y="765"/>
                    </a:lnTo>
                    <a:lnTo>
                      <a:pt x="721" y="760"/>
                    </a:lnTo>
                    <a:lnTo>
                      <a:pt x="716" y="755"/>
                    </a:lnTo>
                    <a:lnTo>
                      <a:pt x="716" y="756"/>
                    </a:lnTo>
                    <a:lnTo>
                      <a:pt x="721" y="765"/>
                    </a:lnTo>
                    <a:lnTo>
                      <a:pt x="721" y="768"/>
                    </a:lnTo>
                    <a:lnTo>
                      <a:pt x="726" y="770"/>
                    </a:lnTo>
                    <a:lnTo>
                      <a:pt x="729" y="773"/>
                    </a:lnTo>
                    <a:lnTo>
                      <a:pt x="726" y="775"/>
                    </a:lnTo>
                    <a:lnTo>
                      <a:pt x="726" y="781"/>
                    </a:lnTo>
                    <a:lnTo>
                      <a:pt x="723" y="781"/>
                    </a:lnTo>
                    <a:lnTo>
                      <a:pt x="718" y="776"/>
                    </a:lnTo>
                    <a:lnTo>
                      <a:pt x="718" y="773"/>
                    </a:lnTo>
                    <a:lnTo>
                      <a:pt x="713" y="763"/>
                    </a:lnTo>
                    <a:lnTo>
                      <a:pt x="711" y="768"/>
                    </a:lnTo>
                    <a:lnTo>
                      <a:pt x="714" y="773"/>
                    </a:lnTo>
                    <a:lnTo>
                      <a:pt x="714" y="778"/>
                    </a:lnTo>
                    <a:lnTo>
                      <a:pt x="711" y="781"/>
                    </a:lnTo>
                    <a:lnTo>
                      <a:pt x="708" y="781"/>
                    </a:lnTo>
                    <a:lnTo>
                      <a:pt x="703" y="776"/>
                    </a:lnTo>
                    <a:lnTo>
                      <a:pt x="706" y="773"/>
                    </a:lnTo>
                    <a:lnTo>
                      <a:pt x="703" y="771"/>
                    </a:lnTo>
                    <a:lnTo>
                      <a:pt x="704" y="766"/>
                    </a:lnTo>
                    <a:lnTo>
                      <a:pt x="701" y="761"/>
                    </a:lnTo>
                    <a:lnTo>
                      <a:pt x="704" y="758"/>
                    </a:lnTo>
                    <a:lnTo>
                      <a:pt x="706" y="760"/>
                    </a:lnTo>
                    <a:lnTo>
                      <a:pt x="708" y="756"/>
                    </a:lnTo>
                    <a:lnTo>
                      <a:pt x="706" y="755"/>
                    </a:lnTo>
                    <a:lnTo>
                      <a:pt x="704" y="750"/>
                    </a:lnTo>
                    <a:lnTo>
                      <a:pt x="708" y="745"/>
                    </a:lnTo>
                    <a:lnTo>
                      <a:pt x="709" y="750"/>
                    </a:lnTo>
                    <a:lnTo>
                      <a:pt x="711" y="748"/>
                    </a:lnTo>
                    <a:lnTo>
                      <a:pt x="713" y="746"/>
                    </a:lnTo>
                    <a:lnTo>
                      <a:pt x="713" y="746"/>
                    </a:lnTo>
                    <a:close/>
                    <a:moveTo>
                      <a:pt x="713" y="741"/>
                    </a:moveTo>
                    <a:lnTo>
                      <a:pt x="718" y="738"/>
                    </a:lnTo>
                    <a:lnTo>
                      <a:pt x="719" y="741"/>
                    </a:lnTo>
                    <a:lnTo>
                      <a:pt x="716" y="743"/>
                    </a:lnTo>
                    <a:lnTo>
                      <a:pt x="713" y="741"/>
                    </a:lnTo>
                    <a:lnTo>
                      <a:pt x="713" y="741"/>
                    </a:lnTo>
                    <a:close/>
                    <a:moveTo>
                      <a:pt x="239" y="401"/>
                    </a:moveTo>
                    <a:lnTo>
                      <a:pt x="238" y="406"/>
                    </a:lnTo>
                    <a:lnTo>
                      <a:pt x="236" y="414"/>
                    </a:lnTo>
                    <a:lnTo>
                      <a:pt x="233" y="412"/>
                    </a:lnTo>
                    <a:lnTo>
                      <a:pt x="233" y="411"/>
                    </a:lnTo>
                    <a:lnTo>
                      <a:pt x="229" y="407"/>
                    </a:lnTo>
                    <a:lnTo>
                      <a:pt x="224" y="409"/>
                    </a:lnTo>
                    <a:lnTo>
                      <a:pt x="219" y="407"/>
                    </a:lnTo>
                    <a:lnTo>
                      <a:pt x="219" y="404"/>
                    </a:lnTo>
                    <a:lnTo>
                      <a:pt x="233" y="392"/>
                    </a:lnTo>
                    <a:lnTo>
                      <a:pt x="238" y="389"/>
                    </a:lnTo>
                    <a:lnTo>
                      <a:pt x="239" y="391"/>
                    </a:lnTo>
                    <a:lnTo>
                      <a:pt x="239" y="401"/>
                    </a:lnTo>
                    <a:lnTo>
                      <a:pt x="239" y="401"/>
                    </a:lnTo>
                    <a:close/>
                    <a:moveTo>
                      <a:pt x="244" y="401"/>
                    </a:moveTo>
                    <a:lnTo>
                      <a:pt x="244" y="401"/>
                    </a:lnTo>
                    <a:lnTo>
                      <a:pt x="246" y="397"/>
                    </a:lnTo>
                    <a:lnTo>
                      <a:pt x="246" y="396"/>
                    </a:lnTo>
                    <a:lnTo>
                      <a:pt x="244" y="392"/>
                    </a:lnTo>
                    <a:lnTo>
                      <a:pt x="244" y="389"/>
                    </a:lnTo>
                    <a:lnTo>
                      <a:pt x="241" y="386"/>
                    </a:lnTo>
                    <a:lnTo>
                      <a:pt x="244" y="384"/>
                    </a:lnTo>
                    <a:lnTo>
                      <a:pt x="252" y="383"/>
                    </a:lnTo>
                    <a:lnTo>
                      <a:pt x="261" y="387"/>
                    </a:lnTo>
                    <a:lnTo>
                      <a:pt x="262" y="391"/>
                    </a:lnTo>
                    <a:lnTo>
                      <a:pt x="257" y="392"/>
                    </a:lnTo>
                    <a:lnTo>
                      <a:pt x="248" y="401"/>
                    </a:lnTo>
                    <a:lnTo>
                      <a:pt x="244" y="401"/>
                    </a:lnTo>
                    <a:lnTo>
                      <a:pt x="244" y="401"/>
                    </a:lnTo>
                    <a:close/>
                    <a:moveTo>
                      <a:pt x="291" y="373"/>
                    </a:moveTo>
                    <a:lnTo>
                      <a:pt x="292" y="371"/>
                    </a:lnTo>
                    <a:lnTo>
                      <a:pt x="297" y="371"/>
                    </a:lnTo>
                    <a:lnTo>
                      <a:pt x="301" y="374"/>
                    </a:lnTo>
                    <a:lnTo>
                      <a:pt x="299" y="378"/>
                    </a:lnTo>
                    <a:lnTo>
                      <a:pt x="296" y="378"/>
                    </a:lnTo>
                    <a:lnTo>
                      <a:pt x="291" y="373"/>
                    </a:lnTo>
                    <a:lnTo>
                      <a:pt x="291" y="373"/>
                    </a:lnTo>
                    <a:close/>
                    <a:moveTo>
                      <a:pt x="537" y="583"/>
                    </a:moveTo>
                    <a:lnTo>
                      <a:pt x="540" y="582"/>
                    </a:lnTo>
                    <a:lnTo>
                      <a:pt x="543" y="582"/>
                    </a:lnTo>
                    <a:lnTo>
                      <a:pt x="542" y="585"/>
                    </a:lnTo>
                    <a:lnTo>
                      <a:pt x="537" y="583"/>
                    </a:lnTo>
                    <a:lnTo>
                      <a:pt x="537" y="583"/>
                    </a:lnTo>
                    <a:close/>
                    <a:moveTo>
                      <a:pt x="513" y="648"/>
                    </a:moveTo>
                    <a:lnTo>
                      <a:pt x="518" y="647"/>
                    </a:lnTo>
                    <a:lnTo>
                      <a:pt x="522" y="648"/>
                    </a:lnTo>
                    <a:lnTo>
                      <a:pt x="513" y="648"/>
                    </a:lnTo>
                    <a:lnTo>
                      <a:pt x="513" y="648"/>
                    </a:lnTo>
                    <a:close/>
                    <a:moveTo>
                      <a:pt x="566" y="637"/>
                    </a:moveTo>
                    <a:lnTo>
                      <a:pt x="573" y="635"/>
                    </a:lnTo>
                    <a:lnTo>
                      <a:pt x="576" y="635"/>
                    </a:lnTo>
                    <a:lnTo>
                      <a:pt x="571" y="640"/>
                    </a:lnTo>
                    <a:lnTo>
                      <a:pt x="566" y="642"/>
                    </a:lnTo>
                    <a:lnTo>
                      <a:pt x="566" y="637"/>
                    </a:lnTo>
                    <a:lnTo>
                      <a:pt x="566" y="637"/>
                    </a:lnTo>
                    <a:close/>
                    <a:moveTo>
                      <a:pt x="528" y="592"/>
                    </a:moveTo>
                    <a:lnTo>
                      <a:pt x="528" y="590"/>
                    </a:lnTo>
                    <a:lnTo>
                      <a:pt x="532" y="590"/>
                    </a:lnTo>
                    <a:lnTo>
                      <a:pt x="533" y="593"/>
                    </a:lnTo>
                    <a:lnTo>
                      <a:pt x="528" y="592"/>
                    </a:lnTo>
                    <a:lnTo>
                      <a:pt x="528" y="592"/>
                    </a:lnTo>
                    <a:close/>
                    <a:moveTo>
                      <a:pt x="535" y="610"/>
                    </a:moveTo>
                    <a:lnTo>
                      <a:pt x="535" y="603"/>
                    </a:lnTo>
                    <a:lnTo>
                      <a:pt x="538" y="602"/>
                    </a:lnTo>
                    <a:lnTo>
                      <a:pt x="540" y="602"/>
                    </a:lnTo>
                    <a:lnTo>
                      <a:pt x="542" y="607"/>
                    </a:lnTo>
                    <a:lnTo>
                      <a:pt x="543" y="607"/>
                    </a:lnTo>
                    <a:lnTo>
                      <a:pt x="545" y="608"/>
                    </a:lnTo>
                    <a:lnTo>
                      <a:pt x="542" y="612"/>
                    </a:lnTo>
                    <a:lnTo>
                      <a:pt x="535" y="610"/>
                    </a:lnTo>
                    <a:lnTo>
                      <a:pt x="535" y="610"/>
                    </a:lnTo>
                    <a:close/>
                    <a:moveTo>
                      <a:pt x="495" y="628"/>
                    </a:moveTo>
                    <a:lnTo>
                      <a:pt x="500" y="627"/>
                    </a:lnTo>
                    <a:lnTo>
                      <a:pt x="502" y="625"/>
                    </a:lnTo>
                    <a:lnTo>
                      <a:pt x="502" y="623"/>
                    </a:lnTo>
                    <a:lnTo>
                      <a:pt x="510" y="617"/>
                    </a:lnTo>
                    <a:lnTo>
                      <a:pt x="515" y="615"/>
                    </a:lnTo>
                    <a:lnTo>
                      <a:pt x="520" y="610"/>
                    </a:lnTo>
                    <a:lnTo>
                      <a:pt x="522" y="610"/>
                    </a:lnTo>
                    <a:lnTo>
                      <a:pt x="527" y="605"/>
                    </a:lnTo>
                    <a:lnTo>
                      <a:pt x="528" y="607"/>
                    </a:lnTo>
                    <a:lnTo>
                      <a:pt x="527" y="610"/>
                    </a:lnTo>
                    <a:lnTo>
                      <a:pt x="528" y="612"/>
                    </a:lnTo>
                    <a:lnTo>
                      <a:pt x="527" y="613"/>
                    </a:lnTo>
                    <a:lnTo>
                      <a:pt x="520" y="615"/>
                    </a:lnTo>
                    <a:lnTo>
                      <a:pt x="513" y="623"/>
                    </a:lnTo>
                    <a:lnTo>
                      <a:pt x="508" y="623"/>
                    </a:lnTo>
                    <a:lnTo>
                      <a:pt x="510" y="627"/>
                    </a:lnTo>
                    <a:lnTo>
                      <a:pt x="508" y="628"/>
                    </a:lnTo>
                    <a:lnTo>
                      <a:pt x="503" y="628"/>
                    </a:lnTo>
                    <a:lnTo>
                      <a:pt x="500" y="630"/>
                    </a:lnTo>
                    <a:lnTo>
                      <a:pt x="495" y="630"/>
                    </a:lnTo>
                    <a:lnTo>
                      <a:pt x="495" y="628"/>
                    </a:lnTo>
                    <a:lnTo>
                      <a:pt x="495" y="628"/>
                    </a:lnTo>
                    <a:close/>
                    <a:moveTo>
                      <a:pt x="495" y="620"/>
                    </a:moveTo>
                    <a:lnTo>
                      <a:pt x="502" y="615"/>
                    </a:lnTo>
                    <a:lnTo>
                      <a:pt x="502" y="618"/>
                    </a:lnTo>
                    <a:lnTo>
                      <a:pt x="497" y="620"/>
                    </a:lnTo>
                    <a:lnTo>
                      <a:pt x="497" y="620"/>
                    </a:lnTo>
                    <a:lnTo>
                      <a:pt x="495" y="620"/>
                    </a:lnTo>
                    <a:lnTo>
                      <a:pt x="495" y="620"/>
                    </a:lnTo>
                    <a:close/>
                    <a:moveTo>
                      <a:pt x="507" y="608"/>
                    </a:moveTo>
                    <a:lnTo>
                      <a:pt x="513" y="603"/>
                    </a:lnTo>
                    <a:lnTo>
                      <a:pt x="513" y="600"/>
                    </a:lnTo>
                    <a:lnTo>
                      <a:pt x="517" y="597"/>
                    </a:lnTo>
                    <a:lnTo>
                      <a:pt x="520" y="597"/>
                    </a:lnTo>
                    <a:lnTo>
                      <a:pt x="522" y="598"/>
                    </a:lnTo>
                    <a:lnTo>
                      <a:pt x="518" y="602"/>
                    </a:lnTo>
                    <a:lnTo>
                      <a:pt x="515" y="605"/>
                    </a:lnTo>
                    <a:lnTo>
                      <a:pt x="512" y="608"/>
                    </a:lnTo>
                    <a:lnTo>
                      <a:pt x="510" y="612"/>
                    </a:lnTo>
                    <a:lnTo>
                      <a:pt x="508" y="612"/>
                    </a:lnTo>
                    <a:lnTo>
                      <a:pt x="507" y="608"/>
                    </a:lnTo>
                    <a:lnTo>
                      <a:pt x="507" y="608"/>
                    </a:lnTo>
                    <a:close/>
                    <a:moveTo>
                      <a:pt x="513" y="580"/>
                    </a:moveTo>
                    <a:lnTo>
                      <a:pt x="517" y="577"/>
                    </a:lnTo>
                    <a:lnTo>
                      <a:pt x="520" y="579"/>
                    </a:lnTo>
                    <a:lnTo>
                      <a:pt x="518" y="582"/>
                    </a:lnTo>
                    <a:lnTo>
                      <a:pt x="520" y="583"/>
                    </a:lnTo>
                    <a:lnTo>
                      <a:pt x="518" y="585"/>
                    </a:lnTo>
                    <a:lnTo>
                      <a:pt x="513" y="580"/>
                    </a:lnTo>
                    <a:lnTo>
                      <a:pt x="513" y="580"/>
                    </a:lnTo>
                    <a:close/>
                    <a:moveTo>
                      <a:pt x="417" y="583"/>
                    </a:moveTo>
                    <a:lnTo>
                      <a:pt x="424" y="577"/>
                    </a:lnTo>
                    <a:lnTo>
                      <a:pt x="427" y="577"/>
                    </a:lnTo>
                    <a:lnTo>
                      <a:pt x="429" y="580"/>
                    </a:lnTo>
                    <a:lnTo>
                      <a:pt x="422" y="583"/>
                    </a:lnTo>
                    <a:lnTo>
                      <a:pt x="417" y="583"/>
                    </a:lnTo>
                    <a:lnTo>
                      <a:pt x="417" y="583"/>
                    </a:lnTo>
                    <a:close/>
                    <a:moveTo>
                      <a:pt x="367" y="615"/>
                    </a:moveTo>
                    <a:lnTo>
                      <a:pt x="370" y="613"/>
                    </a:lnTo>
                    <a:lnTo>
                      <a:pt x="374" y="615"/>
                    </a:lnTo>
                    <a:lnTo>
                      <a:pt x="370" y="617"/>
                    </a:lnTo>
                    <a:lnTo>
                      <a:pt x="367" y="615"/>
                    </a:lnTo>
                    <a:lnTo>
                      <a:pt x="367" y="615"/>
                    </a:lnTo>
                    <a:close/>
                    <a:moveTo>
                      <a:pt x="367" y="652"/>
                    </a:moveTo>
                    <a:lnTo>
                      <a:pt x="369" y="652"/>
                    </a:lnTo>
                    <a:lnTo>
                      <a:pt x="372" y="652"/>
                    </a:lnTo>
                    <a:lnTo>
                      <a:pt x="372" y="655"/>
                    </a:lnTo>
                    <a:lnTo>
                      <a:pt x="369" y="658"/>
                    </a:lnTo>
                    <a:lnTo>
                      <a:pt x="365" y="655"/>
                    </a:lnTo>
                    <a:lnTo>
                      <a:pt x="367" y="652"/>
                    </a:lnTo>
                    <a:lnTo>
                      <a:pt x="367" y="652"/>
                    </a:lnTo>
                    <a:close/>
                    <a:moveTo>
                      <a:pt x="347" y="673"/>
                    </a:moveTo>
                    <a:lnTo>
                      <a:pt x="346" y="672"/>
                    </a:lnTo>
                    <a:lnTo>
                      <a:pt x="349" y="670"/>
                    </a:lnTo>
                    <a:lnTo>
                      <a:pt x="350" y="670"/>
                    </a:lnTo>
                    <a:lnTo>
                      <a:pt x="354" y="668"/>
                    </a:lnTo>
                    <a:lnTo>
                      <a:pt x="355" y="670"/>
                    </a:lnTo>
                    <a:lnTo>
                      <a:pt x="359" y="667"/>
                    </a:lnTo>
                    <a:lnTo>
                      <a:pt x="357" y="663"/>
                    </a:lnTo>
                    <a:lnTo>
                      <a:pt x="359" y="662"/>
                    </a:lnTo>
                    <a:lnTo>
                      <a:pt x="364" y="660"/>
                    </a:lnTo>
                    <a:lnTo>
                      <a:pt x="365" y="662"/>
                    </a:lnTo>
                    <a:lnTo>
                      <a:pt x="365" y="665"/>
                    </a:lnTo>
                    <a:lnTo>
                      <a:pt x="367" y="665"/>
                    </a:lnTo>
                    <a:lnTo>
                      <a:pt x="369" y="663"/>
                    </a:lnTo>
                    <a:lnTo>
                      <a:pt x="372" y="662"/>
                    </a:lnTo>
                    <a:lnTo>
                      <a:pt x="374" y="665"/>
                    </a:lnTo>
                    <a:lnTo>
                      <a:pt x="370" y="668"/>
                    </a:lnTo>
                    <a:lnTo>
                      <a:pt x="369" y="672"/>
                    </a:lnTo>
                    <a:lnTo>
                      <a:pt x="372" y="672"/>
                    </a:lnTo>
                    <a:lnTo>
                      <a:pt x="374" y="675"/>
                    </a:lnTo>
                    <a:lnTo>
                      <a:pt x="370" y="675"/>
                    </a:lnTo>
                    <a:lnTo>
                      <a:pt x="367" y="673"/>
                    </a:lnTo>
                    <a:lnTo>
                      <a:pt x="364" y="677"/>
                    </a:lnTo>
                    <a:lnTo>
                      <a:pt x="362" y="677"/>
                    </a:lnTo>
                    <a:lnTo>
                      <a:pt x="360" y="675"/>
                    </a:lnTo>
                    <a:lnTo>
                      <a:pt x="355" y="678"/>
                    </a:lnTo>
                    <a:lnTo>
                      <a:pt x="352" y="678"/>
                    </a:lnTo>
                    <a:lnTo>
                      <a:pt x="347" y="673"/>
                    </a:lnTo>
                    <a:lnTo>
                      <a:pt x="347" y="673"/>
                    </a:lnTo>
                    <a:close/>
                    <a:moveTo>
                      <a:pt x="296" y="718"/>
                    </a:moveTo>
                    <a:lnTo>
                      <a:pt x="296" y="721"/>
                    </a:lnTo>
                    <a:lnTo>
                      <a:pt x="292" y="721"/>
                    </a:lnTo>
                    <a:lnTo>
                      <a:pt x="289" y="720"/>
                    </a:lnTo>
                    <a:lnTo>
                      <a:pt x="289" y="716"/>
                    </a:lnTo>
                    <a:lnTo>
                      <a:pt x="291" y="713"/>
                    </a:lnTo>
                    <a:lnTo>
                      <a:pt x="292" y="708"/>
                    </a:lnTo>
                    <a:lnTo>
                      <a:pt x="292" y="703"/>
                    </a:lnTo>
                    <a:lnTo>
                      <a:pt x="291" y="701"/>
                    </a:lnTo>
                    <a:lnTo>
                      <a:pt x="292" y="698"/>
                    </a:lnTo>
                    <a:lnTo>
                      <a:pt x="297" y="695"/>
                    </a:lnTo>
                    <a:lnTo>
                      <a:pt x="309" y="690"/>
                    </a:lnTo>
                    <a:lnTo>
                      <a:pt x="316" y="688"/>
                    </a:lnTo>
                    <a:lnTo>
                      <a:pt x="317" y="690"/>
                    </a:lnTo>
                    <a:lnTo>
                      <a:pt x="317" y="698"/>
                    </a:lnTo>
                    <a:lnTo>
                      <a:pt x="319" y="700"/>
                    </a:lnTo>
                    <a:lnTo>
                      <a:pt x="322" y="695"/>
                    </a:lnTo>
                    <a:lnTo>
                      <a:pt x="321" y="690"/>
                    </a:lnTo>
                    <a:lnTo>
                      <a:pt x="322" y="690"/>
                    </a:lnTo>
                    <a:lnTo>
                      <a:pt x="326" y="691"/>
                    </a:lnTo>
                    <a:lnTo>
                      <a:pt x="327" y="688"/>
                    </a:lnTo>
                    <a:lnTo>
                      <a:pt x="322" y="685"/>
                    </a:lnTo>
                    <a:lnTo>
                      <a:pt x="322" y="683"/>
                    </a:lnTo>
                    <a:lnTo>
                      <a:pt x="326" y="680"/>
                    </a:lnTo>
                    <a:lnTo>
                      <a:pt x="329" y="678"/>
                    </a:lnTo>
                    <a:lnTo>
                      <a:pt x="332" y="681"/>
                    </a:lnTo>
                    <a:lnTo>
                      <a:pt x="332" y="685"/>
                    </a:lnTo>
                    <a:lnTo>
                      <a:pt x="331" y="688"/>
                    </a:lnTo>
                    <a:lnTo>
                      <a:pt x="331" y="690"/>
                    </a:lnTo>
                    <a:lnTo>
                      <a:pt x="334" y="690"/>
                    </a:lnTo>
                    <a:lnTo>
                      <a:pt x="336" y="686"/>
                    </a:lnTo>
                    <a:lnTo>
                      <a:pt x="337" y="685"/>
                    </a:lnTo>
                    <a:lnTo>
                      <a:pt x="341" y="686"/>
                    </a:lnTo>
                    <a:lnTo>
                      <a:pt x="341" y="683"/>
                    </a:lnTo>
                    <a:lnTo>
                      <a:pt x="339" y="680"/>
                    </a:lnTo>
                    <a:lnTo>
                      <a:pt x="342" y="678"/>
                    </a:lnTo>
                    <a:lnTo>
                      <a:pt x="346" y="681"/>
                    </a:lnTo>
                    <a:lnTo>
                      <a:pt x="346" y="685"/>
                    </a:lnTo>
                    <a:lnTo>
                      <a:pt x="344" y="686"/>
                    </a:lnTo>
                    <a:lnTo>
                      <a:pt x="344" y="688"/>
                    </a:lnTo>
                    <a:lnTo>
                      <a:pt x="347" y="688"/>
                    </a:lnTo>
                    <a:lnTo>
                      <a:pt x="350" y="683"/>
                    </a:lnTo>
                    <a:lnTo>
                      <a:pt x="355" y="683"/>
                    </a:lnTo>
                    <a:lnTo>
                      <a:pt x="359" y="683"/>
                    </a:lnTo>
                    <a:lnTo>
                      <a:pt x="360" y="688"/>
                    </a:lnTo>
                    <a:lnTo>
                      <a:pt x="355" y="690"/>
                    </a:lnTo>
                    <a:lnTo>
                      <a:pt x="352" y="690"/>
                    </a:lnTo>
                    <a:lnTo>
                      <a:pt x="352" y="691"/>
                    </a:lnTo>
                    <a:lnTo>
                      <a:pt x="354" y="693"/>
                    </a:lnTo>
                    <a:lnTo>
                      <a:pt x="355" y="696"/>
                    </a:lnTo>
                    <a:lnTo>
                      <a:pt x="352" y="701"/>
                    </a:lnTo>
                    <a:lnTo>
                      <a:pt x="349" y="700"/>
                    </a:lnTo>
                    <a:lnTo>
                      <a:pt x="347" y="698"/>
                    </a:lnTo>
                    <a:lnTo>
                      <a:pt x="344" y="700"/>
                    </a:lnTo>
                    <a:lnTo>
                      <a:pt x="341" y="698"/>
                    </a:lnTo>
                    <a:lnTo>
                      <a:pt x="337" y="698"/>
                    </a:lnTo>
                    <a:lnTo>
                      <a:pt x="336" y="700"/>
                    </a:lnTo>
                    <a:lnTo>
                      <a:pt x="341" y="701"/>
                    </a:lnTo>
                    <a:lnTo>
                      <a:pt x="342" y="706"/>
                    </a:lnTo>
                    <a:lnTo>
                      <a:pt x="339" y="710"/>
                    </a:lnTo>
                    <a:lnTo>
                      <a:pt x="336" y="710"/>
                    </a:lnTo>
                    <a:lnTo>
                      <a:pt x="332" y="705"/>
                    </a:lnTo>
                    <a:lnTo>
                      <a:pt x="327" y="705"/>
                    </a:lnTo>
                    <a:lnTo>
                      <a:pt x="322" y="706"/>
                    </a:lnTo>
                    <a:lnTo>
                      <a:pt x="327" y="708"/>
                    </a:lnTo>
                    <a:lnTo>
                      <a:pt x="329" y="710"/>
                    </a:lnTo>
                    <a:lnTo>
                      <a:pt x="327" y="713"/>
                    </a:lnTo>
                    <a:lnTo>
                      <a:pt x="322" y="711"/>
                    </a:lnTo>
                    <a:lnTo>
                      <a:pt x="319" y="713"/>
                    </a:lnTo>
                    <a:lnTo>
                      <a:pt x="316" y="711"/>
                    </a:lnTo>
                    <a:lnTo>
                      <a:pt x="314" y="716"/>
                    </a:lnTo>
                    <a:lnTo>
                      <a:pt x="311" y="716"/>
                    </a:lnTo>
                    <a:lnTo>
                      <a:pt x="309" y="718"/>
                    </a:lnTo>
                    <a:lnTo>
                      <a:pt x="311" y="721"/>
                    </a:lnTo>
                    <a:lnTo>
                      <a:pt x="304" y="723"/>
                    </a:lnTo>
                    <a:lnTo>
                      <a:pt x="304" y="726"/>
                    </a:lnTo>
                    <a:lnTo>
                      <a:pt x="301" y="728"/>
                    </a:lnTo>
                    <a:lnTo>
                      <a:pt x="299" y="731"/>
                    </a:lnTo>
                    <a:lnTo>
                      <a:pt x="294" y="730"/>
                    </a:lnTo>
                    <a:lnTo>
                      <a:pt x="296" y="728"/>
                    </a:lnTo>
                    <a:lnTo>
                      <a:pt x="304" y="721"/>
                    </a:lnTo>
                    <a:lnTo>
                      <a:pt x="304" y="720"/>
                    </a:lnTo>
                    <a:lnTo>
                      <a:pt x="307" y="716"/>
                    </a:lnTo>
                    <a:lnTo>
                      <a:pt x="304" y="716"/>
                    </a:lnTo>
                    <a:lnTo>
                      <a:pt x="301" y="718"/>
                    </a:lnTo>
                    <a:lnTo>
                      <a:pt x="299" y="716"/>
                    </a:lnTo>
                    <a:lnTo>
                      <a:pt x="301" y="715"/>
                    </a:lnTo>
                    <a:lnTo>
                      <a:pt x="296" y="715"/>
                    </a:lnTo>
                    <a:lnTo>
                      <a:pt x="292" y="716"/>
                    </a:lnTo>
                    <a:lnTo>
                      <a:pt x="296" y="716"/>
                    </a:lnTo>
                    <a:lnTo>
                      <a:pt x="296" y="718"/>
                    </a:lnTo>
                    <a:lnTo>
                      <a:pt x="296" y="718"/>
                    </a:lnTo>
                    <a:close/>
                    <a:moveTo>
                      <a:pt x="287" y="736"/>
                    </a:moveTo>
                    <a:lnTo>
                      <a:pt x="291" y="735"/>
                    </a:lnTo>
                    <a:lnTo>
                      <a:pt x="289" y="738"/>
                    </a:lnTo>
                    <a:lnTo>
                      <a:pt x="287" y="736"/>
                    </a:lnTo>
                    <a:lnTo>
                      <a:pt x="287" y="736"/>
                    </a:lnTo>
                    <a:close/>
                    <a:moveTo>
                      <a:pt x="272" y="741"/>
                    </a:moveTo>
                    <a:lnTo>
                      <a:pt x="277" y="735"/>
                    </a:lnTo>
                    <a:lnTo>
                      <a:pt x="287" y="731"/>
                    </a:lnTo>
                    <a:lnTo>
                      <a:pt x="277" y="740"/>
                    </a:lnTo>
                    <a:lnTo>
                      <a:pt x="272" y="741"/>
                    </a:lnTo>
                    <a:lnTo>
                      <a:pt x="272" y="741"/>
                    </a:lnTo>
                    <a:close/>
                    <a:moveTo>
                      <a:pt x="241" y="765"/>
                    </a:moveTo>
                    <a:lnTo>
                      <a:pt x="238" y="765"/>
                    </a:lnTo>
                    <a:lnTo>
                      <a:pt x="239" y="763"/>
                    </a:lnTo>
                    <a:lnTo>
                      <a:pt x="244" y="761"/>
                    </a:lnTo>
                    <a:lnTo>
                      <a:pt x="243" y="765"/>
                    </a:lnTo>
                    <a:lnTo>
                      <a:pt x="241" y="765"/>
                    </a:lnTo>
                    <a:lnTo>
                      <a:pt x="241" y="765"/>
                    </a:lnTo>
                    <a:close/>
                    <a:moveTo>
                      <a:pt x="223" y="726"/>
                    </a:moveTo>
                    <a:lnTo>
                      <a:pt x="228" y="726"/>
                    </a:lnTo>
                    <a:lnTo>
                      <a:pt x="229" y="728"/>
                    </a:lnTo>
                    <a:lnTo>
                      <a:pt x="226" y="730"/>
                    </a:lnTo>
                    <a:lnTo>
                      <a:pt x="223" y="726"/>
                    </a:lnTo>
                    <a:lnTo>
                      <a:pt x="223" y="726"/>
                    </a:lnTo>
                    <a:close/>
                    <a:moveTo>
                      <a:pt x="128" y="765"/>
                    </a:moveTo>
                    <a:lnTo>
                      <a:pt x="128" y="765"/>
                    </a:lnTo>
                    <a:lnTo>
                      <a:pt x="130" y="763"/>
                    </a:lnTo>
                    <a:lnTo>
                      <a:pt x="131" y="766"/>
                    </a:lnTo>
                    <a:lnTo>
                      <a:pt x="128" y="765"/>
                    </a:lnTo>
                    <a:lnTo>
                      <a:pt x="128" y="765"/>
                    </a:lnTo>
                    <a:close/>
                    <a:moveTo>
                      <a:pt x="123" y="766"/>
                    </a:moveTo>
                    <a:lnTo>
                      <a:pt x="126" y="768"/>
                    </a:lnTo>
                    <a:lnTo>
                      <a:pt x="123" y="770"/>
                    </a:lnTo>
                    <a:lnTo>
                      <a:pt x="123" y="766"/>
                    </a:lnTo>
                    <a:lnTo>
                      <a:pt x="123" y="766"/>
                    </a:lnTo>
                    <a:close/>
                    <a:moveTo>
                      <a:pt x="145" y="783"/>
                    </a:moveTo>
                    <a:lnTo>
                      <a:pt x="145" y="786"/>
                    </a:lnTo>
                    <a:lnTo>
                      <a:pt x="143" y="788"/>
                    </a:lnTo>
                    <a:lnTo>
                      <a:pt x="141" y="784"/>
                    </a:lnTo>
                    <a:lnTo>
                      <a:pt x="145" y="783"/>
                    </a:lnTo>
                    <a:lnTo>
                      <a:pt x="145" y="783"/>
                    </a:lnTo>
                    <a:close/>
                    <a:moveTo>
                      <a:pt x="140" y="781"/>
                    </a:moveTo>
                    <a:lnTo>
                      <a:pt x="143" y="776"/>
                    </a:lnTo>
                    <a:lnTo>
                      <a:pt x="143" y="780"/>
                    </a:lnTo>
                    <a:lnTo>
                      <a:pt x="143" y="780"/>
                    </a:lnTo>
                    <a:lnTo>
                      <a:pt x="140" y="781"/>
                    </a:lnTo>
                    <a:lnTo>
                      <a:pt x="140" y="781"/>
                    </a:lnTo>
                    <a:close/>
                    <a:moveTo>
                      <a:pt x="120" y="786"/>
                    </a:moveTo>
                    <a:lnTo>
                      <a:pt x="123" y="781"/>
                    </a:lnTo>
                    <a:lnTo>
                      <a:pt x="128" y="776"/>
                    </a:lnTo>
                    <a:lnTo>
                      <a:pt x="128" y="775"/>
                    </a:lnTo>
                    <a:lnTo>
                      <a:pt x="135" y="775"/>
                    </a:lnTo>
                    <a:lnTo>
                      <a:pt x="131" y="778"/>
                    </a:lnTo>
                    <a:lnTo>
                      <a:pt x="130" y="780"/>
                    </a:lnTo>
                    <a:lnTo>
                      <a:pt x="123" y="783"/>
                    </a:lnTo>
                    <a:lnTo>
                      <a:pt x="120" y="786"/>
                    </a:lnTo>
                    <a:lnTo>
                      <a:pt x="120" y="786"/>
                    </a:lnTo>
                    <a:close/>
                    <a:moveTo>
                      <a:pt x="115" y="773"/>
                    </a:moveTo>
                    <a:lnTo>
                      <a:pt x="111" y="770"/>
                    </a:lnTo>
                    <a:lnTo>
                      <a:pt x="113" y="766"/>
                    </a:lnTo>
                    <a:lnTo>
                      <a:pt x="116" y="765"/>
                    </a:lnTo>
                    <a:lnTo>
                      <a:pt x="120" y="766"/>
                    </a:lnTo>
                    <a:lnTo>
                      <a:pt x="118" y="770"/>
                    </a:lnTo>
                    <a:lnTo>
                      <a:pt x="116" y="773"/>
                    </a:lnTo>
                    <a:lnTo>
                      <a:pt x="115" y="773"/>
                    </a:lnTo>
                    <a:lnTo>
                      <a:pt x="115" y="773"/>
                    </a:lnTo>
                    <a:close/>
                    <a:moveTo>
                      <a:pt x="90" y="770"/>
                    </a:moveTo>
                    <a:lnTo>
                      <a:pt x="93" y="770"/>
                    </a:lnTo>
                    <a:lnTo>
                      <a:pt x="95" y="773"/>
                    </a:lnTo>
                    <a:lnTo>
                      <a:pt x="91" y="775"/>
                    </a:lnTo>
                    <a:lnTo>
                      <a:pt x="90" y="770"/>
                    </a:lnTo>
                    <a:lnTo>
                      <a:pt x="90" y="770"/>
                    </a:lnTo>
                    <a:close/>
                    <a:moveTo>
                      <a:pt x="75" y="781"/>
                    </a:moveTo>
                    <a:lnTo>
                      <a:pt x="71" y="778"/>
                    </a:lnTo>
                    <a:lnTo>
                      <a:pt x="76" y="775"/>
                    </a:lnTo>
                    <a:lnTo>
                      <a:pt x="78" y="778"/>
                    </a:lnTo>
                    <a:lnTo>
                      <a:pt x="75" y="781"/>
                    </a:lnTo>
                    <a:lnTo>
                      <a:pt x="75" y="781"/>
                    </a:lnTo>
                    <a:close/>
                    <a:moveTo>
                      <a:pt x="56" y="791"/>
                    </a:moveTo>
                    <a:lnTo>
                      <a:pt x="61" y="796"/>
                    </a:lnTo>
                    <a:lnTo>
                      <a:pt x="58" y="798"/>
                    </a:lnTo>
                    <a:lnTo>
                      <a:pt x="55" y="794"/>
                    </a:lnTo>
                    <a:lnTo>
                      <a:pt x="56" y="791"/>
                    </a:lnTo>
                    <a:lnTo>
                      <a:pt x="56" y="791"/>
                    </a:lnTo>
                    <a:close/>
                    <a:moveTo>
                      <a:pt x="0" y="801"/>
                    </a:moveTo>
                    <a:lnTo>
                      <a:pt x="0" y="799"/>
                    </a:lnTo>
                    <a:lnTo>
                      <a:pt x="3" y="799"/>
                    </a:lnTo>
                    <a:lnTo>
                      <a:pt x="5" y="801"/>
                    </a:lnTo>
                    <a:lnTo>
                      <a:pt x="0" y="803"/>
                    </a:lnTo>
                    <a:lnTo>
                      <a:pt x="0" y="801"/>
                    </a:lnTo>
                    <a:lnTo>
                      <a:pt x="0" y="801"/>
                    </a:lnTo>
                    <a:close/>
                    <a:moveTo>
                      <a:pt x="204" y="617"/>
                    </a:moveTo>
                    <a:lnTo>
                      <a:pt x="203" y="615"/>
                    </a:lnTo>
                    <a:lnTo>
                      <a:pt x="208" y="613"/>
                    </a:lnTo>
                    <a:lnTo>
                      <a:pt x="206" y="615"/>
                    </a:lnTo>
                    <a:lnTo>
                      <a:pt x="204" y="617"/>
                    </a:lnTo>
                    <a:lnTo>
                      <a:pt x="204" y="617"/>
                    </a:lnTo>
                    <a:close/>
                    <a:moveTo>
                      <a:pt x="194" y="618"/>
                    </a:moveTo>
                    <a:lnTo>
                      <a:pt x="193" y="617"/>
                    </a:lnTo>
                    <a:lnTo>
                      <a:pt x="193" y="613"/>
                    </a:lnTo>
                    <a:lnTo>
                      <a:pt x="199" y="610"/>
                    </a:lnTo>
                    <a:lnTo>
                      <a:pt x="203" y="608"/>
                    </a:lnTo>
                    <a:lnTo>
                      <a:pt x="203" y="610"/>
                    </a:lnTo>
                    <a:lnTo>
                      <a:pt x="198" y="617"/>
                    </a:lnTo>
                    <a:lnTo>
                      <a:pt x="194" y="618"/>
                    </a:lnTo>
                    <a:lnTo>
                      <a:pt x="194" y="618"/>
                    </a:lnTo>
                    <a:close/>
                    <a:moveTo>
                      <a:pt x="10" y="784"/>
                    </a:moveTo>
                    <a:lnTo>
                      <a:pt x="10" y="780"/>
                    </a:lnTo>
                    <a:lnTo>
                      <a:pt x="13" y="778"/>
                    </a:lnTo>
                    <a:lnTo>
                      <a:pt x="15" y="780"/>
                    </a:lnTo>
                    <a:lnTo>
                      <a:pt x="20" y="776"/>
                    </a:lnTo>
                    <a:lnTo>
                      <a:pt x="22" y="775"/>
                    </a:lnTo>
                    <a:lnTo>
                      <a:pt x="25" y="768"/>
                    </a:lnTo>
                    <a:lnTo>
                      <a:pt x="27" y="768"/>
                    </a:lnTo>
                    <a:lnTo>
                      <a:pt x="32" y="771"/>
                    </a:lnTo>
                    <a:lnTo>
                      <a:pt x="33" y="770"/>
                    </a:lnTo>
                    <a:lnTo>
                      <a:pt x="38" y="770"/>
                    </a:lnTo>
                    <a:lnTo>
                      <a:pt x="42" y="768"/>
                    </a:lnTo>
                    <a:lnTo>
                      <a:pt x="43" y="766"/>
                    </a:lnTo>
                    <a:lnTo>
                      <a:pt x="50" y="768"/>
                    </a:lnTo>
                    <a:lnTo>
                      <a:pt x="53" y="771"/>
                    </a:lnTo>
                    <a:lnTo>
                      <a:pt x="50" y="775"/>
                    </a:lnTo>
                    <a:lnTo>
                      <a:pt x="56" y="781"/>
                    </a:lnTo>
                    <a:lnTo>
                      <a:pt x="56" y="783"/>
                    </a:lnTo>
                    <a:lnTo>
                      <a:pt x="50" y="781"/>
                    </a:lnTo>
                    <a:lnTo>
                      <a:pt x="47" y="784"/>
                    </a:lnTo>
                    <a:lnTo>
                      <a:pt x="40" y="784"/>
                    </a:lnTo>
                    <a:lnTo>
                      <a:pt x="35" y="784"/>
                    </a:lnTo>
                    <a:lnTo>
                      <a:pt x="27" y="784"/>
                    </a:lnTo>
                    <a:lnTo>
                      <a:pt x="20" y="789"/>
                    </a:lnTo>
                    <a:lnTo>
                      <a:pt x="18" y="788"/>
                    </a:lnTo>
                    <a:lnTo>
                      <a:pt x="15" y="789"/>
                    </a:lnTo>
                    <a:lnTo>
                      <a:pt x="10" y="788"/>
                    </a:lnTo>
                    <a:lnTo>
                      <a:pt x="10" y="78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8" name="Freeform 150"/>
              <p:cNvSpPr>
                <a:spLocks/>
              </p:cNvSpPr>
              <p:nvPr/>
            </p:nvSpPr>
            <p:spPr bwMode="auto">
              <a:xfrm>
                <a:off x="5376873" y="3043520"/>
                <a:ext cx="3210" cy="20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5" y="4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9" name="Freeform 151"/>
              <p:cNvSpPr>
                <a:spLocks/>
              </p:cNvSpPr>
              <p:nvPr/>
            </p:nvSpPr>
            <p:spPr bwMode="auto">
              <a:xfrm>
                <a:off x="5415402" y="3053896"/>
                <a:ext cx="28896" cy="103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4" y="2"/>
                  </a:cxn>
                  <a:cxn ang="0">
                    <a:pos x="22" y="0"/>
                  </a:cxn>
                  <a:cxn ang="0">
                    <a:pos x="40" y="0"/>
                  </a:cxn>
                  <a:cxn ang="0">
                    <a:pos x="45" y="7"/>
                  </a:cxn>
                  <a:cxn ang="0">
                    <a:pos x="52" y="9"/>
                  </a:cxn>
                  <a:cxn ang="0">
                    <a:pos x="55" y="12"/>
                  </a:cxn>
                  <a:cxn ang="0">
                    <a:pos x="55" y="14"/>
                  </a:cxn>
                  <a:cxn ang="0">
                    <a:pos x="47" y="14"/>
                  </a:cxn>
                  <a:cxn ang="0">
                    <a:pos x="44" y="14"/>
                  </a:cxn>
                  <a:cxn ang="0">
                    <a:pos x="42" y="17"/>
                  </a:cxn>
                  <a:cxn ang="0">
                    <a:pos x="39" y="17"/>
                  </a:cxn>
                  <a:cxn ang="0">
                    <a:pos x="37" y="15"/>
                  </a:cxn>
                  <a:cxn ang="0">
                    <a:pos x="34" y="15"/>
                  </a:cxn>
                  <a:cxn ang="0">
                    <a:pos x="34" y="20"/>
                  </a:cxn>
                  <a:cxn ang="0">
                    <a:pos x="27" y="20"/>
                  </a:cxn>
                  <a:cxn ang="0">
                    <a:pos x="24" y="17"/>
                  </a:cxn>
                  <a:cxn ang="0">
                    <a:pos x="17" y="17"/>
                  </a:cxn>
                  <a:cxn ang="0">
                    <a:pos x="14" y="15"/>
                  </a:cxn>
                  <a:cxn ang="0">
                    <a:pos x="12" y="9"/>
                  </a:cxn>
                  <a:cxn ang="0">
                    <a:pos x="9" y="7"/>
                  </a:cxn>
                  <a:cxn ang="0">
                    <a:pos x="5" y="9"/>
                  </a:cxn>
                  <a:cxn ang="0">
                    <a:pos x="0" y="5"/>
                  </a:cxn>
                  <a:cxn ang="0">
                    <a:pos x="4" y="2"/>
                  </a:cxn>
                  <a:cxn ang="0">
                    <a:pos x="7" y="0"/>
                  </a:cxn>
                </a:cxnLst>
                <a:rect l="0" t="0" r="r" b="b"/>
                <a:pathLst>
                  <a:path w="55" h="20">
                    <a:moveTo>
                      <a:pt x="7" y="0"/>
                    </a:moveTo>
                    <a:lnTo>
                      <a:pt x="14" y="2"/>
                    </a:lnTo>
                    <a:lnTo>
                      <a:pt x="22" y="0"/>
                    </a:lnTo>
                    <a:lnTo>
                      <a:pt x="40" y="0"/>
                    </a:lnTo>
                    <a:lnTo>
                      <a:pt x="45" y="7"/>
                    </a:lnTo>
                    <a:lnTo>
                      <a:pt x="52" y="9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47" y="14"/>
                    </a:lnTo>
                    <a:lnTo>
                      <a:pt x="44" y="14"/>
                    </a:lnTo>
                    <a:lnTo>
                      <a:pt x="42" y="17"/>
                    </a:lnTo>
                    <a:lnTo>
                      <a:pt x="39" y="17"/>
                    </a:lnTo>
                    <a:lnTo>
                      <a:pt x="37" y="15"/>
                    </a:lnTo>
                    <a:lnTo>
                      <a:pt x="34" y="15"/>
                    </a:lnTo>
                    <a:lnTo>
                      <a:pt x="34" y="20"/>
                    </a:lnTo>
                    <a:lnTo>
                      <a:pt x="27" y="20"/>
                    </a:lnTo>
                    <a:lnTo>
                      <a:pt x="24" y="17"/>
                    </a:lnTo>
                    <a:lnTo>
                      <a:pt x="17" y="17"/>
                    </a:lnTo>
                    <a:lnTo>
                      <a:pt x="14" y="15"/>
                    </a:lnTo>
                    <a:lnTo>
                      <a:pt x="12" y="9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0" y="5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0" name="Freeform 152"/>
              <p:cNvSpPr>
                <a:spLocks noEditPoints="1"/>
              </p:cNvSpPr>
              <p:nvPr/>
            </p:nvSpPr>
            <p:spPr bwMode="auto">
              <a:xfrm>
                <a:off x="5466774" y="3033144"/>
                <a:ext cx="36388" cy="26977"/>
              </a:xfrm>
              <a:custGeom>
                <a:avLst/>
                <a:gdLst/>
                <a:ahLst/>
                <a:cxnLst>
                  <a:cxn ang="0">
                    <a:pos x="56" y="47"/>
                  </a:cxn>
                  <a:cxn ang="0">
                    <a:pos x="63" y="39"/>
                  </a:cxn>
                  <a:cxn ang="0">
                    <a:pos x="61" y="30"/>
                  </a:cxn>
                  <a:cxn ang="0">
                    <a:pos x="66" y="27"/>
                  </a:cxn>
                  <a:cxn ang="0">
                    <a:pos x="65" y="19"/>
                  </a:cxn>
                  <a:cxn ang="0">
                    <a:pos x="66" y="12"/>
                  </a:cxn>
                  <a:cxn ang="0">
                    <a:pos x="63" y="12"/>
                  </a:cxn>
                  <a:cxn ang="0">
                    <a:pos x="55" y="9"/>
                  </a:cxn>
                  <a:cxn ang="0">
                    <a:pos x="41" y="9"/>
                  </a:cxn>
                  <a:cxn ang="0">
                    <a:pos x="28" y="7"/>
                  </a:cxn>
                  <a:cxn ang="0">
                    <a:pos x="26" y="10"/>
                  </a:cxn>
                  <a:cxn ang="0">
                    <a:pos x="45" y="17"/>
                  </a:cxn>
                  <a:cxn ang="0">
                    <a:pos x="45" y="22"/>
                  </a:cxn>
                  <a:cxn ang="0">
                    <a:pos x="45" y="32"/>
                  </a:cxn>
                  <a:cxn ang="0">
                    <a:pos x="55" y="37"/>
                  </a:cxn>
                  <a:cxn ang="0">
                    <a:pos x="43" y="39"/>
                  </a:cxn>
                  <a:cxn ang="0">
                    <a:pos x="38" y="39"/>
                  </a:cxn>
                  <a:cxn ang="0">
                    <a:pos x="26" y="39"/>
                  </a:cxn>
                  <a:cxn ang="0">
                    <a:pos x="20" y="39"/>
                  </a:cxn>
                  <a:cxn ang="0">
                    <a:pos x="11" y="39"/>
                  </a:cxn>
                  <a:cxn ang="0">
                    <a:pos x="1" y="39"/>
                  </a:cxn>
                  <a:cxn ang="0">
                    <a:pos x="1" y="44"/>
                  </a:cxn>
                  <a:cxn ang="0">
                    <a:pos x="13" y="50"/>
                  </a:cxn>
                  <a:cxn ang="0">
                    <a:pos x="16" y="49"/>
                  </a:cxn>
                  <a:cxn ang="0">
                    <a:pos x="30" y="45"/>
                  </a:cxn>
                  <a:cxn ang="0">
                    <a:pos x="48" y="49"/>
                  </a:cxn>
                  <a:cxn ang="0">
                    <a:pos x="53" y="49"/>
                  </a:cxn>
                  <a:cxn ang="0">
                    <a:pos x="58" y="49"/>
                  </a:cxn>
                  <a:cxn ang="0">
                    <a:pos x="43" y="0"/>
                  </a:cxn>
                  <a:cxn ang="0">
                    <a:pos x="43" y="5"/>
                  </a:cxn>
                  <a:cxn ang="0">
                    <a:pos x="38" y="2"/>
                  </a:cxn>
                  <a:cxn ang="0">
                    <a:pos x="33" y="29"/>
                  </a:cxn>
                  <a:cxn ang="0">
                    <a:pos x="40" y="34"/>
                  </a:cxn>
                  <a:cxn ang="0">
                    <a:pos x="30" y="30"/>
                  </a:cxn>
                </a:cxnLst>
                <a:rect l="0" t="0" r="r" b="b"/>
                <a:pathLst>
                  <a:path w="68" h="52">
                    <a:moveTo>
                      <a:pt x="58" y="49"/>
                    </a:moveTo>
                    <a:lnTo>
                      <a:pt x="56" y="47"/>
                    </a:lnTo>
                    <a:lnTo>
                      <a:pt x="63" y="42"/>
                    </a:lnTo>
                    <a:lnTo>
                      <a:pt x="63" y="39"/>
                    </a:lnTo>
                    <a:lnTo>
                      <a:pt x="63" y="35"/>
                    </a:lnTo>
                    <a:lnTo>
                      <a:pt x="61" y="30"/>
                    </a:lnTo>
                    <a:lnTo>
                      <a:pt x="61" y="29"/>
                    </a:lnTo>
                    <a:lnTo>
                      <a:pt x="66" y="27"/>
                    </a:lnTo>
                    <a:lnTo>
                      <a:pt x="66" y="22"/>
                    </a:lnTo>
                    <a:lnTo>
                      <a:pt x="65" y="19"/>
                    </a:lnTo>
                    <a:lnTo>
                      <a:pt x="68" y="14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3" y="12"/>
                    </a:lnTo>
                    <a:lnTo>
                      <a:pt x="58" y="12"/>
                    </a:lnTo>
                    <a:lnTo>
                      <a:pt x="55" y="9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6" y="7"/>
                    </a:lnTo>
                    <a:lnTo>
                      <a:pt x="28" y="7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1" y="12"/>
                    </a:lnTo>
                    <a:lnTo>
                      <a:pt x="45" y="17"/>
                    </a:lnTo>
                    <a:lnTo>
                      <a:pt x="43" y="19"/>
                    </a:lnTo>
                    <a:lnTo>
                      <a:pt x="45" y="22"/>
                    </a:lnTo>
                    <a:lnTo>
                      <a:pt x="43" y="27"/>
                    </a:lnTo>
                    <a:lnTo>
                      <a:pt x="45" y="32"/>
                    </a:lnTo>
                    <a:lnTo>
                      <a:pt x="50" y="32"/>
                    </a:lnTo>
                    <a:lnTo>
                      <a:pt x="55" y="37"/>
                    </a:lnTo>
                    <a:lnTo>
                      <a:pt x="53" y="40"/>
                    </a:lnTo>
                    <a:lnTo>
                      <a:pt x="43" y="39"/>
                    </a:lnTo>
                    <a:lnTo>
                      <a:pt x="41" y="40"/>
                    </a:lnTo>
                    <a:lnTo>
                      <a:pt x="38" y="39"/>
                    </a:lnTo>
                    <a:lnTo>
                      <a:pt x="31" y="40"/>
                    </a:lnTo>
                    <a:lnTo>
                      <a:pt x="26" y="39"/>
                    </a:lnTo>
                    <a:lnTo>
                      <a:pt x="21" y="40"/>
                    </a:lnTo>
                    <a:lnTo>
                      <a:pt x="20" y="39"/>
                    </a:lnTo>
                    <a:lnTo>
                      <a:pt x="18" y="37"/>
                    </a:lnTo>
                    <a:lnTo>
                      <a:pt x="11" y="39"/>
                    </a:lnTo>
                    <a:lnTo>
                      <a:pt x="6" y="35"/>
                    </a:lnTo>
                    <a:lnTo>
                      <a:pt x="1" y="39"/>
                    </a:lnTo>
                    <a:lnTo>
                      <a:pt x="0" y="40"/>
                    </a:lnTo>
                    <a:lnTo>
                      <a:pt x="1" y="44"/>
                    </a:lnTo>
                    <a:lnTo>
                      <a:pt x="6" y="45"/>
                    </a:lnTo>
                    <a:lnTo>
                      <a:pt x="13" y="50"/>
                    </a:lnTo>
                    <a:lnTo>
                      <a:pt x="16" y="52"/>
                    </a:lnTo>
                    <a:lnTo>
                      <a:pt x="16" y="49"/>
                    </a:lnTo>
                    <a:lnTo>
                      <a:pt x="18" y="45"/>
                    </a:lnTo>
                    <a:lnTo>
                      <a:pt x="30" y="45"/>
                    </a:lnTo>
                    <a:lnTo>
                      <a:pt x="35" y="49"/>
                    </a:lnTo>
                    <a:lnTo>
                      <a:pt x="48" y="49"/>
                    </a:lnTo>
                    <a:lnTo>
                      <a:pt x="50" y="47"/>
                    </a:lnTo>
                    <a:lnTo>
                      <a:pt x="53" y="49"/>
                    </a:lnTo>
                    <a:lnTo>
                      <a:pt x="58" y="49"/>
                    </a:lnTo>
                    <a:lnTo>
                      <a:pt x="58" y="49"/>
                    </a:lnTo>
                    <a:close/>
                    <a:moveTo>
                      <a:pt x="38" y="2"/>
                    </a:moveTo>
                    <a:lnTo>
                      <a:pt x="43" y="0"/>
                    </a:lnTo>
                    <a:lnTo>
                      <a:pt x="51" y="5"/>
                    </a:lnTo>
                    <a:lnTo>
                      <a:pt x="43" y="5"/>
                    </a:lnTo>
                    <a:lnTo>
                      <a:pt x="38" y="2"/>
                    </a:lnTo>
                    <a:lnTo>
                      <a:pt x="38" y="2"/>
                    </a:lnTo>
                    <a:close/>
                    <a:moveTo>
                      <a:pt x="30" y="30"/>
                    </a:moveTo>
                    <a:lnTo>
                      <a:pt x="33" y="29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33" y="32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1" name="Freeform 153"/>
              <p:cNvSpPr>
                <a:spLocks noEditPoints="1"/>
              </p:cNvSpPr>
              <p:nvPr/>
            </p:nvSpPr>
            <p:spPr bwMode="auto">
              <a:xfrm>
                <a:off x="5332993" y="2995791"/>
                <a:ext cx="138062" cy="42541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51" y="42"/>
                  </a:cxn>
                  <a:cxn ang="0">
                    <a:pos x="48" y="40"/>
                  </a:cxn>
                  <a:cxn ang="0">
                    <a:pos x="49" y="37"/>
                  </a:cxn>
                  <a:cxn ang="0">
                    <a:pos x="15" y="24"/>
                  </a:cxn>
                  <a:cxn ang="0">
                    <a:pos x="11" y="27"/>
                  </a:cxn>
                  <a:cxn ang="0">
                    <a:pos x="0" y="34"/>
                  </a:cxn>
                  <a:cxn ang="0">
                    <a:pos x="11" y="32"/>
                  </a:cxn>
                  <a:cxn ang="0">
                    <a:pos x="21" y="32"/>
                  </a:cxn>
                  <a:cxn ang="0">
                    <a:pos x="35" y="24"/>
                  </a:cxn>
                  <a:cxn ang="0">
                    <a:pos x="49" y="17"/>
                  </a:cxn>
                  <a:cxn ang="0">
                    <a:pos x="64" y="14"/>
                  </a:cxn>
                  <a:cxn ang="0">
                    <a:pos x="83" y="17"/>
                  </a:cxn>
                  <a:cxn ang="0">
                    <a:pos x="69" y="22"/>
                  </a:cxn>
                  <a:cxn ang="0">
                    <a:pos x="91" y="25"/>
                  </a:cxn>
                  <a:cxn ang="0">
                    <a:pos x="106" y="29"/>
                  </a:cxn>
                  <a:cxn ang="0">
                    <a:pos x="114" y="29"/>
                  </a:cxn>
                  <a:cxn ang="0">
                    <a:pos x="129" y="37"/>
                  </a:cxn>
                  <a:cxn ang="0">
                    <a:pos x="141" y="39"/>
                  </a:cxn>
                  <a:cxn ang="0">
                    <a:pos x="154" y="39"/>
                  </a:cxn>
                  <a:cxn ang="0">
                    <a:pos x="169" y="60"/>
                  </a:cxn>
                  <a:cxn ang="0">
                    <a:pos x="186" y="62"/>
                  </a:cxn>
                  <a:cxn ang="0">
                    <a:pos x="189" y="70"/>
                  </a:cxn>
                  <a:cxn ang="0">
                    <a:pos x="176" y="82"/>
                  </a:cxn>
                  <a:cxn ang="0">
                    <a:pos x="194" y="82"/>
                  </a:cxn>
                  <a:cxn ang="0">
                    <a:pos x="221" y="83"/>
                  </a:cxn>
                  <a:cxn ang="0">
                    <a:pos x="237" y="78"/>
                  </a:cxn>
                  <a:cxn ang="0">
                    <a:pos x="255" y="77"/>
                  </a:cxn>
                  <a:cxn ang="0">
                    <a:pos x="250" y="68"/>
                  </a:cxn>
                  <a:cxn ang="0">
                    <a:pos x="226" y="58"/>
                  </a:cxn>
                  <a:cxn ang="0">
                    <a:pos x="226" y="50"/>
                  </a:cxn>
                  <a:cxn ang="0">
                    <a:pos x="214" y="50"/>
                  </a:cxn>
                  <a:cxn ang="0">
                    <a:pos x="199" y="44"/>
                  </a:cxn>
                  <a:cxn ang="0">
                    <a:pos x="187" y="40"/>
                  </a:cxn>
                  <a:cxn ang="0">
                    <a:pos x="184" y="40"/>
                  </a:cxn>
                  <a:cxn ang="0">
                    <a:pos x="166" y="30"/>
                  </a:cxn>
                  <a:cxn ang="0">
                    <a:pos x="141" y="22"/>
                  </a:cxn>
                  <a:cxn ang="0">
                    <a:pos x="129" y="10"/>
                  </a:cxn>
                  <a:cxn ang="0">
                    <a:pos x="104" y="5"/>
                  </a:cxn>
                  <a:cxn ang="0">
                    <a:pos x="86" y="2"/>
                  </a:cxn>
                  <a:cxn ang="0">
                    <a:pos x="61" y="4"/>
                  </a:cxn>
                  <a:cxn ang="0">
                    <a:pos x="33" y="10"/>
                  </a:cxn>
                  <a:cxn ang="0">
                    <a:pos x="15" y="19"/>
                  </a:cxn>
                </a:cxnLst>
                <a:rect l="0" t="0" r="r" b="b"/>
                <a:pathLst>
                  <a:path w="257" h="83">
                    <a:moveTo>
                      <a:pt x="48" y="34"/>
                    </a:moveTo>
                    <a:lnTo>
                      <a:pt x="49" y="32"/>
                    </a:lnTo>
                    <a:lnTo>
                      <a:pt x="54" y="32"/>
                    </a:lnTo>
                    <a:lnTo>
                      <a:pt x="59" y="37"/>
                    </a:lnTo>
                    <a:lnTo>
                      <a:pt x="58" y="40"/>
                    </a:lnTo>
                    <a:lnTo>
                      <a:pt x="51" y="42"/>
                    </a:lnTo>
                    <a:lnTo>
                      <a:pt x="46" y="40"/>
                    </a:lnTo>
                    <a:lnTo>
                      <a:pt x="44" y="39"/>
                    </a:lnTo>
                    <a:lnTo>
                      <a:pt x="48" y="40"/>
                    </a:lnTo>
                    <a:lnTo>
                      <a:pt x="49" y="40"/>
                    </a:lnTo>
                    <a:lnTo>
                      <a:pt x="53" y="39"/>
                    </a:lnTo>
                    <a:lnTo>
                      <a:pt x="49" y="37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  <a:moveTo>
                      <a:pt x="15" y="24"/>
                    </a:moveTo>
                    <a:lnTo>
                      <a:pt x="18" y="27"/>
                    </a:lnTo>
                    <a:lnTo>
                      <a:pt x="16" y="29"/>
                    </a:lnTo>
                    <a:lnTo>
                      <a:pt x="11" y="27"/>
                    </a:lnTo>
                    <a:lnTo>
                      <a:pt x="3" y="32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5" y="35"/>
                    </a:lnTo>
                    <a:lnTo>
                      <a:pt x="10" y="30"/>
                    </a:lnTo>
                    <a:lnTo>
                      <a:pt x="11" y="32"/>
                    </a:lnTo>
                    <a:lnTo>
                      <a:pt x="11" y="35"/>
                    </a:lnTo>
                    <a:lnTo>
                      <a:pt x="16" y="32"/>
                    </a:lnTo>
                    <a:lnTo>
                      <a:pt x="21" y="32"/>
                    </a:lnTo>
                    <a:lnTo>
                      <a:pt x="26" y="25"/>
                    </a:lnTo>
                    <a:lnTo>
                      <a:pt x="33" y="25"/>
                    </a:lnTo>
                    <a:lnTo>
                      <a:pt x="35" y="24"/>
                    </a:lnTo>
                    <a:lnTo>
                      <a:pt x="38" y="25"/>
                    </a:lnTo>
                    <a:lnTo>
                      <a:pt x="43" y="25"/>
                    </a:lnTo>
                    <a:lnTo>
                      <a:pt x="49" y="17"/>
                    </a:lnTo>
                    <a:lnTo>
                      <a:pt x="54" y="17"/>
                    </a:lnTo>
                    <a:lnTo>
                      <a:pt x="58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9" y="15"/>
                    </a:lnTo>
                    <a:lnTo>
                      <a:pt x="83" y="17"/>
                    </a:lnTo>
                    <a:lnTo>
                      <a:pt x="79" y="20"/>
                    </a:lnTo>
                    <a:lnTo>
                      <a:pt x="74" y="19"/>
                    </a:lnTo>
                    <a:lnTo>
                      <a:pt x="69" y="22"/>
                    </a:lnTo>
                    <a:lnTo>
                      <a:pt x="74" y="24"/>
                    </a:lnTo>
                    <a:lnTo>
                      <a:pt x="88" y="27"/>
                    </a:lnTo>
                    <a:lnTo>
                      <a:pt x="91" y="25"/>
                    </a:lnTo>
                    <a:lnTo>
                      <a:pt x="96" y="25"/>
                    </a:lnTo>
                    <a:lnTo>
                      <a:pt x="99" y="29"/>
                    </a:lnTo>
                    <a:lnTo>
                      <a:pt x="106" y="29"/>
                    </a:lnTo>
                    <a:lnTo>
                      <a:pt x="109" y="29"/>
                    </a:lnTo>
                    <a:lnTo>
                      <a:pt x="111" y="27"/>
                    </a:lnTo>
                    <a:lnTo>
                      <a:pt x="114" y="29"/>
                    </a:lnTo>
                    <a:lnTo>
                      <a:pt x="114" y="32"/>
                    </a:lnTo>
                    <a:lnTo>
                      <a:pt x="123" y="37"/>
                    </a:lnTo>
                    <a:lnTo>
                      <a:pt x="129" y="37"/>
                    </a:lnTo>
                    <a:lnTo>
                      <a:pt x="131" y="35"/>
                    </a:lnTo>
                    <a:lnTo>
                      <a:pt x="136" y="39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51" y="39"/>
                    </a:lnTo>
                    <a:lnTo>
                      <a:pt x="154" y="39"/>
                    </a:lnTo>
                    <a:lnTo>
                      <a:pt x="157" y="52"/>
                    </a:lnTo>
                    <a:lnTo>
                      <a:pt x="166" y="60"/>
                    </a:lnTo>
                    <a:lnTo>
                      <a:pt x="169" y="60"/>
                    </a:lnTo>
                    <a:lnTo>
                      <a:pt x="171" y="58"/>
                    </a:lnTo>
                    <a:lnTo>
                      <a:pt x="176" y="62"/>
                    </a:lnTo>
                    <a:lnTo>
                      <a:pt x="186" y="62"/>
                    </a:lnTo>
                    <a:lnTo>
                      <a:pt x="186" y="65"/>
                    </a:lnTo>
                    <a:lnTo>
                      <a:pt x="191" y="65"/>
                    </a:lnTo>
                    <a:lnTo>
                      <a:pt x="189" y="70"/>
                    </a:lnTo>
                    <a:lnTo>
                      <a:pt x="184" y="72"/>
                    </a:lnTo>
                    <a:lnTo>
                      <a:pt x="176" y="78"/>
                    </a:lnTo>
                    <a:lnTo>
                      <a:pt x="176" y="82"/>
                    </a:lnTo>
                    <a:lnTo>
                      <a:pt x="184" y="83"/>
                    </a:lnTo>
                    <a:lnTo>
                      <a:pt x="189" y="80"/>
                    </a:lnTo>
                    <a:lnTo>
                      <a:pt x="194" y="82"/>
                    </a:lnTo>
                    <a:lnTo>
                      <a:pt x="206" y="80"/>
                    </a:lnTo>
                    <a:lnTo>
                      <a:pt x="212" y="80"/>
                    </a:lnTo>
                    <a:lnTo>
                      <a:pt x="221" y="83"/>
                    </a:lnTo>
                    <a:lnTo>
                      <a:pt x="232" y="82"/>
                    </a:lnTo>
                    <a:lnTo>
                      <a:pt x="234" y="78"/>
                    </a:lnTo>
                    <a:lnTo>
                      <a:pt x="237" y="78"/>
                    </a:lnTo>
                    <a:lnTo>
                      <a:pt x="241" y="77"/>
                    </a:lnTo>
                    <a:lnTo>
                      <a:pt x="249" y="77"/>
                    </a:lnTo>
                    <a:lnTo>
                      <a:pt x="255" y="77"/>
                    </a:lnTo>
                    <a:lnTo>
                      <a:pt x="257" y="72"/>
                    </a:lnTo>
                    <a:lnTo>
                      <a:pt x="255" y="70"/>
                    </a:lnTo>
                    <a:lnTo>
                      <a:pt x="250" y="68"/>
                    </a:lnTo>
                    <a:lnTo>
                      <a:pt x="249" y="63"/>
                    </a:lnTo>
                    <a:lnTo>
                      <a:pt x="237" y="58"/>
                    </a:lnTo>
                    <a:lnTo>
                      <a:pt x="226" y="58"/>
                    </a:lnTo>
                    <a:lnTo>
                      <a:pt x="222" y="58"/>
                    </a:lnTo>
                    <a:lnTo>
                      <a:pt x="224" y="55"/>
                    </a:lnTo>
                    <a:lnTo>
                      <a:pt x="226" y="50"/>
                    </a:lnTo>
                    <a:lnTo>
                      <a:pt x="224" y="50"/>
                    </a:lnTo>
                    <a:lnTo>
                      <a:pt x="219" y="52"/>
                    </a:lnTo>
                    <a:lnTo>
                      <a:pt x="214" y="50"/>
                    </a:lnTo>
                    <a:lnTo>
                      <a:pt x="206" y="45"/>
                    </a:lnTo>
                    <a:lnTo>
                      <a:pt x="204" y="47"/>
                    </a:lnTo>
                    <a:lnTo>
                      <a:pt x="199" y="44"/>
                    </a:lnTo>
                    <a:lnTo>
                      <a:pt x="192" y="39"/>
                    </a:lnTo>
                    <a:lnTo>
                      <a:pt x="189" y="44"/>
                    </a:lnTo>
                    <a:lnTo>
                      <a:pt x="187" y="40"/>
                    </a:lnTo>
                    <a:lnTo>
                      <a:pt x="189" y="39"/>
                    </a:lnTo>
                    <a:lnTo>
                      <a:pt x="186" y="37"/>
                    </a:lnTo>
                    <a:lnTo>
                      <a:pt x="184" y="40"/>
                    </a:lnTo>
                    <a:lnTo>
                      <a:pt x="181" y="37"/>
                    </a:lnTo>
                    <a:lnTo>
                      <a:pt x="172" y="35"/>
                    </a:lnTo>
                    <a:lnTo>
                      <a:pt x="166" y="30"/>
                    </a:lnTo>
                    <a:lnTo>
                      <a:pt x="161" y="27"/>
                    </a:lnTo>
                    <a:lnTo>
                      <a:pt x="154" y="24"/>
                    </a:lnTo>
                    <a:lnTo>
                      <a:pt x="141" y="22"/>
                    </a:lnTo>
                    <a:lnTo>
                      <a:pt x="136" y="20"/>
                    </a:lnTo>
                    <a:lnTo>
                      <a:pt x="134" y="15"/>
                    </a:lnTo>
                    <a:lnTo>
                      <a:pt x="129" y="10"/>
                    </a:lnTo>
                    <a:lnTo>
                      <a:pt x="124" y="10"/>
                    </a:lnTo>
                    <a:lnTo>
                      <a:pt x="123" y="9"/>
                    </a:lnTo>
                    <a:lnTo>
                      <a:pt x="104" y="5"/>
                    </a:lnTo>
                    <a:lnTo>
                      <a:pt x="98" y="9"/>
                    </a:lnTo>
                    <a:lnTo>
                      <a:pt x="91" y="7"/>
                    </a:lnTo>
                    <a:lnTo>
                      <a:pt x="86" y="2"/>
                    </a:lnTo>
                    <a:lnTo>
                      <a:pt x="74" y="0"/>
                    </a:lnTo>
                    <a:lnTo>
                      <a:pt x="64" y="0"/>
                    </a:lnTo>
                    <a:lnTo>
                      <a:pt x="61" y="4"/>
                    </a:lnTo>
                    <a:lnTo>
                      <a:pt x="48" y="5"/>
                    </a:lnTo>
                    <a:lnTo>
                      <a:pt x="36" y="7"/>
                    </a:lnTo>
                    <a:lnTo>
                      <a:pt x="33" y="10"/>
                    </a:lnTo>
                    <a:lnTo>
                      <a:pt x="23" y="12"/>
                    </a:lnTo>
                    <a:lnTo>
                      <a:pt x="20" y="17"/>
                    </a:lnTo>
                    <a:lnTo>
                      <a:pt x="15" y="19"/>
                    </a:lnTo>
                    <a:lnTo>
                      <a:pt x="15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2" name="Freeform 154"/>
              <p:cNvSpPr>
                <a:spLocks noEditPoints="1"/>
              </p:cNvSpPr>
              <p:nvPr/>
            </p:nvSpPr>
            <p:spPr bwMode="auto">
              <a:xfrm>
                <a:off x="4878137" y="2592169"/>
                <a:ext cx="734190" cy="378720"/>
              </a:xfrm>
              <a:custGeom>
                <a:avLst/>
                <a:gdLst/>
                <a:ahLst/>
                <a:cxnLst>
                  <a:cxn ang="0">
                    <a:pos x="797" y="71"/>
                  </a:cxn>
                  <a:cxn ang="0">
                    <a:pos x="965" y="140"/>
                  </a:cxn>
                  <a:cxn ang="0">
                    <a:pos x="1146" y="223"/>
                  </a:cxn>
                  <a:cxn ang="0">
                    <a:pos x="1291" y="183"/>
                  </a:cxn>
                  <a:cxn ang="0">
                    <a:pos x="1356" y="149"/>
                  </a:cxn>
                  <a:cxn ang="0">
                    <a:pos x="1366" y="218"/>
                  </a:cxn>
                  <a:cxn ang="0">
                    <a:pos x="1319" y="228"/>
                  </a:cxn>
                  <a:cxn ang="0">
                    <a:pos x="1283" y="247"/>
                  </a:cxn>
                  <a:cxn ang="0">
                    <a:pos x="1276" y="289"/>
                  </a:cxn>
                  <a:cxn ang="0">
                    <a:pos x="1246" y="311"/>
                  </a:cxn>
                  <a:cxn ang="0">
                    <a:pos x="1178" y="336"/>
                  </a:cxn>
                  <a:cxn ang="0">
                    <a:pos x="1151" y="375"/>
                  </a:cxn>
                  <a:cxn ang="0">
                    <a:pos x="1145" y="384"/>
                  </a:cxn>
                  <a:cxn ang="0">
                    <a:pos x="1121" y="410"/>
                  </a:cxn>
                  <a:cxn ang="0">
                    <a:pos x="1116" y="367"/>
                  </a:cxn>
                  <a:cxn ang="0">
                    <a:pos x="1110" y="399"/>
                  </a:cxn>
                  <a:cxn ang="0">
                    <a:pos x="1110" y="412"/>
                  </a:cxn>
                  <a:cxn ang="0">
                    <a:pos x="1096" y="425"/>
                  </a:cxn>
                  <a:cxn ang="0">
                    <a:pos x="1101" y="455"/>
                  </a:cxn>
                  <a:cxn ang="0">
                    <a:pos x="1116" y="468"/>
                  </a:cxn>
                  <a:cxn ang="0">
                    <a:pos x="1095" y="482"/>
                  </a:cxn>
                  <a:cxn ang="0">
                    <a:pos x="1053" y="513"/>
                  </a:cxn>
                  <a:cxn ang="0">
                    <a:pos x="997" y="545"/>
                  </a:cxn>
                  <a:cxn ang="0">
                    <a:pos x="964" y="603"/>
                  </a:cxn>
                  <a:cxn ang="0">
                    <a:pos x="980" y="699"/>
                  </a:cxn>
                  <a:cxn ang="0">
                    <a:pos x="942" y="713"/>
                  </a:cxn>
                  <a:cxn ang="0">
                    <a:pos x="924" y="681"/>
                  </a:cxn>
                  <a:cxn ang="0">
                    <a:pos x="919" y="631"/>
                  </a:cxn>
                  <a:cxn ang="0">
                    <a:pos x="877" y="616"/>
                  </a:cxn>
                  <a:cxn ang="0">
                    <a:pos x="854" y="603"/>
                  </a:cxn>
                  <a:cxn ang="0">
                    <a:pos x="812" y="598"/>
                  </a:cxn>
                  <a:cxn ang="0">
                    <a:pos x="758" y="611"/>
                  </a:cxn>
                  <a:cxn ang="0">
                    <a:pos x="763" y="631"/>
                  </a:cxn>
                  <a:cxn ang="0">
                    <a:pos x="721" y="626"/>
                  </a:cxn>
                  <a:cxn ang="0">
                    <a:pos x="683" y="616"/>
                  </a:cxn>
                  <a:cxn ang="0">
                    <a:pos x="635" y="618"/>
                  </a:cxn>
                  <a:cxn ang="0">
                    <a:pos x="590" y="644"/>
                  </a:cxn>
                  <a:cxn ang="0">
                    <a:pos x="565" y="706"/>
                  </a:cxn>
                  <a:cxn ang="0">
                    <a:pos x="522" y="674"/>
                  </a:cxn>
                  <a:cxn ang="0">
                    <a:pos x="494" y="616"/>
                  </a:cxn>
                  <a:cxn ang="0">
                    <a:pos x="450" y="616"/>
                  </a:cxn>
                  <a:cxn ang="0">
                    <a:pos x="417" y="615"/>
                  </a:cxn>
                  <a:cxn ang="0">
                    <a:pos x="399" y="588"/>
                  </a:cxn>
                  <a:cxn ang="0">
                    <a:pos x="367" y="551"/>
                  </a:cxn>
                  <a:cxn ang="0">
                    <a:pos x="97" y="483"/>
                  </a:cxn>
                  <a:cxn ang="0">
                    <a:pos x="50" y="448"/>
                  </a:cxn>
                  <a:cxn ang="0">
                    <a:pos x="33" y="392"/>
                  </a:cxn>
                  <a:cxn ang="0">
                    <a:pos x="32" y="362"/>
                  </a:cxn>
                  <a:cxn ang="0">
                    <a:pos x="23" y="362"/>
                  </a:cxn>
                  <a:cxn ang="0">
                    <a:pos x="5" y="286"/>
                  </a:cxn>
                  <a:cxn ang="0">
                    <a:pos x="17" y="211"/>
                  </a:cxn>
                  <a:cxn ang="0">
                    <a:pos x="60" y="105"/>
                  </a:cxn>
                  <a:cxn ang="0">
                    <a:pos x="63" y="90"/>
                  </a:cxn>
                  <a:cxn ang="0">
                    <a:pos x="70" y="40"/>
                  </a:cxn>
                  <a:cxn ang="0">
                    <a:pos x="101" y="45"/>
                  </a:cxn>
                  <a:cxn ang="0">
                    <a:pos x="105" y="63"/>
                  </a:cxn>
                  <a:cxn ang="0">
                    <a:pos x="126" y="13"/>
                  </a:cxn>
                  <a:cxn ang="0">
                    <a:pos x="1183" y="331"/>
                  </a:cxn>
                  <a:cxn ang="0">
                    <a:pos x="1223" y="317"/>
                  </a:cxn>
                  <a:cxn ang="0">
                    <a:pos x="120" y="37"/>
                  </a:cxn>
                  <a:cxn ang="0">
                    <a:pos x="578" y="663"/>
                  </a:cxn>
                </a:cxnLst>
                <a:rect l="0" t="0" r="r" b="b"/>
                <a:pathLst>
                  <a:path w="1372" h="731">
                    <a:moveTo>
                      <a:pt x="120" y="0"/>
                    </a:moveTo>
                    <a:lnTo>
                      <a:pt x="749" y="56"/>
                    </a:lnTo>
                    <a:lnTo>
                      <a:pt x="754" y="56"/>
                    </a:lnTo>
                    <a:lnTo>
                      <a:pt x="759" y="56"/>
                    </a:lnTo>
                    <a:lnTo>
                      <a:pt x="764" y="61"/>
                    </a:lnTo>
                    <a:lnTo>
                      <a:pt x="764" y="63"/>
                    </a:lnTo>
                    <a:lnTo>
                      <a:pt x="768" y="65"/>
                    </a:lnTo>
                    <a:lnTo>
                      <a:pt x="769" y="66"/>
                    </a:lnTo>
                    <a:lnTo>
                      <a:pt x="774" y="68"/>
                    </a:lnTo>
                    <a:lnTo>
                      <a:pt x="774" y="68"/>
                    </a:lnTo>
                    <a:lnTo>
                      <a:pt x="779" y="70"/>
                    </a:lnTo>
                    <a:lnTo>
                      <a:pt x="783" y="73"/>
                    </a:lnTo>
                    <a:lnTo>
                      <a:pt x="784" y="73"/>
                    </a:lnTo>
                    <a:lnTo>
                      <a:pt x="789" y="71"/>
                    </a:lnTo>
                    <a:lnTo>
                      <a:pt x="793" y="73"/>
                    </a:lnTo>
                    <a:lnTo>
                      <a:pt x="797" y="71"/>
                    </a:lnTo>
                    <a:lnTo>
                      <a:pt x="802" y="76"/>
                    </a:lnTo>
                    <a:lnTo>
                      <a:pt x="806" y="76"/>
                    </a:lnTo>
                    <a:lnTo>
                      <a:pt x="807" y="81"/>
                    </a:lnTo>
                    <a:lnTo>
                      <a:pt x="816" y="83"/>
                    </a:lnTo>
                    <a:lnTo>
                      <a:pt x="821" y="85"/>
                    </a:lnTo>
                    <a:lnTo>
                      <a:pt x="824" y="88"/>
                    </a:lnTo>
                    <a:lnTo>
                      <a:pt x="827" y="90"/>
                    </a:lnTo>
                    <a:lnTo>
                      <a:pt x="836" y="90"/>
                    </a:lnTo>
                    <a:lnTo>
                      <a:pt x="841" y="86"/>
                    </a:lnTo>
                    <a:lnTo>
                      <a:pt x="842" y="90"/>
                    </a:lnTo>
                    <a:lnTo>
                      <a:pt x="844" y="93"/>
                    </a:lnTo>
                    <a:lnTo>
                      <a:pt x="856" y="93"/>
                    </a:lnTo>
                    <a:lnTo>
                      <a:pt x="859" y="95"/>
                    </a:lnTo>
                    <a:lnTo>
                      <a:pt x="864" y="96"/>
                    </a:lnTo>
                    <a:lnTo>
                      <a:pt x="867" y="98"/>
                    </a:lnTo>
                    <a:lnTo>
                      <a:pt x="965" y="140"/>
                    </a:lnTo>
                    <a:lnTo>
                      <a:pt x="970" y="146"/>
                    </a:lnTo>
                    <a:lnTo>
                      <a:pt x="985" y="158"/>
                    </a:lnTo>
                    <a:lnTo>
                      <a:pt x="1002" y="224"/>
                    </a:lnTo>
                    <a:lnTo>
                      <a:pt x="1000" y="254"/>
                    </a:lnTo>
                    <a:lnTo>
                      <a:pt x="997" y="259"/>
                    </a:lnTo>
                    <a:lnTo>
                      <a:pt x="993" y="264"/>
                    </a:lnTo>
                    <a:lnTo>
                      <a:pt x="990" y="269"/>
                    </a:lnTo>
                    <a:lnTo>
                      <a:pt x="982" y="272"/>
                    </a:lnTo>
                    <a:lnTo>
                      <a:pt x="977" y="277"/>
                    </a:lnTo>
                    <a:lnTo>
                      <a:pt x="980" y="284"/>
                    </a:lnTo>
                    <a:lnTo>
                      <a:pt x="1063" y="264"/>
                    </a:lnTo>
                    <a:lnTo>
                      <a:pt x="1075" y="261"/>
                    </a:lnTo>
                    <a:lnTo>
                      <a:pt x="1077" y="251"/>
                    </a:lnTo>
                    <a:lnTo>
                      <a:pt x="1121" y="239"/>
                    </a:lnTo>
                    <a:lnTo>
                      <a:pt x="1143" y="224"/>
                    </a:lnTo>
                    <a:lnTo>
                      <a:pt x="1146" y="223"/>
                    </a:lnTo>
                    <a:lnTo>
                      <a:pt x="1153" y="221"/>
                    </a:lnTo>
                    <a:lnTo>
                      <a:pt x="1165" y="211"/>
                    </a:lnTo>
                    <a:lnTo>
                      <a:pt x="1170" y="208"/>
                    </a:lnTo>
                    <a:lnTo>
                      <a:pt x="1175" y="206"/>
                    </a:lnTo>
                    <a:lnTo>
                      <a:pt x="1180" y="203"/>
                    </a:lnTo>
                    <a:lnTo>
                      <a:pt x="1188" y="201"/>
                    </a:lnTo>
                    <a:lnTo>
                      <a:pt x="1258" y="203"/>
                    </a:lnTo>
                    <a:lnTo>
                      <a:pt x="1264" y="198"/>
                    </a:lnTo>
                    <a:lnTo>
                      <a:pt x="1266" y="198"/>
                    </a:lnTo>
                    <a:lnTo>
                      <a:pt x="1268" y="196"/>
                    </a:lnTo>
                    <a:lnTo>
                      <a:pt x="1271" y="196"/>
                    </a:lnTo>
                    <a:lnTo>
                      <a:pt x="1276" y="196"/>
                    </a:lnTo>
                    <a:lnTo>
                      <a:pt x="1278" y="194"/>
                    </a:lnTo>
                    <a:lnTo>
                      <a:pt x="1279" y="191"/>
                    </a:lnTo>
                    <a:lnTo>
                      <a:pt x="1288" y="184"/>
                    </a:lnTo>
                    <a:lnTo>
                      <a:pt x="1291" y="183"/>
                    </a:lnTo>
                    <a:lnTo>
                      <a:pt x="1296" y="176"/>
                    </a:lnTo>
                    <a:lnTo>
                      <a:pt x="1299" y="171"/>
                    </a:lnTo>
                    <a:lnTo>
                      <a:pt x="1299" y="166"/>
                    </a:lnTo>
                    <a:lnTo>
                      <a:pt x="1306" y="163"/>
                    </a:lnTo>
                    <a:lnTo>
                      <a:pt x="1306" y="159"/>
                    </a:lnTo>
                    <a:lnTo>
                      <a:pt x="1309" y="154"/>
                    </a:lnTo>
                    <a:lnTo>
                      <a:pt x="1317" y="146"/>
                    </a:lnTo>
                    <a:lnTo>
                      <a:pt x="1321" y="143"/>
                    </a:lnTo>
                    <a:lnTo>
                      <a:pt x="1324" y="138"/>
                    </a:lnTo>
                    <a:lnTo>
                      <a:pt x="1326" y="138"/>
                    </a:lnTo>
                    <a:lnTo>
                      <a:pt x="1329" y="140"/>
                    </a:lnTo>
                    <a:lnTo>
                      <a:pt x="1332" y="143"/>
                    </a:lnTo>
                    <a:lnTo>
                      <a:pt x="1337" y="141"/>
                    </a:lnTo>
                    <a:lnTo>
                      <a:pt x="1344" y="143"/>
                    </a:lnTo>
                    <a:lnTo>
                      <a:pt x="1346" y="141"/>
                    </a:lnTo>
                    <a:lnTo>
                      <a:pt x="1356" y="149"/>
                    </a:lnTo>
                    <a:lnTo>
                      <a:pt x="1356" y="156"/>
                    </a:lnTo>
                    <a:lnTo>
                      <a:pt x="1351" y="184"/>
                    </a:lnTo>
                    <a:lnTo>
                      <a:pt x="1349" y="188"/>
                    </a:lnTo>
                    <a:lnTo>
                      <a:pt x="1351" y="188"/>
                    </a:lnTo>
                    <a:lnTo>
                      <a:pt x="1352" y="191"/>
                    </a:lnTo>
                    <a:lnTo>
                      <a:pt x="1354" y="193"/>
                    </a:lnTo>
                    <a:lnTo>
                      <a:pt x="1354" y="196"/>
                    </a:lnTo>
                    <a:lnTo>
                      <a:pt x="1354" y="199"/>
                    </a:lnTo>
                    <a:lnTo>
                      <a:pt x="1354" y="201"/>
                    </a:lnTo>
                    <a:lnTo>
                      <a:pt x="1354" y="203"/>
                    </a:lnTo>
                    <a:lnTo>
                      <a:pt x="1354" y="204"/>
                    </a:lnTo>
                    <a:lnTo>
                      <a:pt x="1354" y="204"/>
                    </a:lnTo>
                    <a:lnTo>
                      <a:pt x="1354" y="204"/>
                    </a:lnTo>
                    <a:lnTo>
                      <a:pt x="1364" y="209"/>
                    </a:lnTo>
                    <a:lnTo>
                      <a:pt x="1362" y="214"/>
                    </a:lnTo>
                    <a:lnTo>
                      <a:pt x="1366" y="218"/>
                    </a:lnTo>
                    <a:lnTo>
                      <a:pt x="1367" y="214"/>
                    </a:lnTo>
                    <a:lnTo>
                      <a:pt x="1372" y="216"/>
                    </a:lnTo>
                    <a:lnTo>
                      <a:pt x="1369" y="221"/>
                    </a:lnTo>
                    <a:lnTo>
                      <a:pt x="1364" y="221"/>
                    </a:lnTo>
                    <a:lnTo>
                      <a:pt x="1362" y="218"/>
                    </a:lnTo>
                    <a:lnTo>
                      <a:pt x="1357" y="221"/>
                    </a:lnTo>
                    <a:lnTo>
                      <a:pt x="1354" y="221"/>
                    </a:lnTo>
                    <a:lnTo>
                      <a:pt x="1349" y="224"/>
                    </a:lnTo>
                    <a:lnTo>
                      <a:pt x="1346" y="224"/>
                    </a:lnTo>
                    <a:lnTo>
                      <a:pt x="1342" y="224"/>
                    </a:lnTo>
                    <a:lnTo>
                      <a:pt x="1339" y="228"/>
                    </a:lnTo>
                    <a:lnTo>
                      <a:pt x="1336" y="228"/>
                    </a:lnTo>
                    <a:lnTo>
                      <a:pt x="1334" y="224"/>
                    </a:lnTo>
                    <a:lnTo>
                      <a:pt x="1329" y="224"/>
                    </a:lnTo>
                    <a:lnTo>
                      <a:pt x="1324" y="228"/>
                    </a:lnTo>
                    <a:lnTo>
                      <a:pt x="1319" y="228"/>
                    </a:lnTo>
                    <a:lnTo>
                      <a:pt x="1319" y="224"/>
                    </a:lnTo>
                    <a:lnTo>
                      <a:pt x="1321" y="221"/>
                    </a:lnTo>
                    <a:lnTo>
                      <a:pt x="1314" y="228"/>
                    </a:lnTo>
                    <a:lnTo>
                      <a:pt x="1309" y="234"/>
                    </a:lnTo>
                    <a:lnTo>
                      <a:pt x="1306" y="236"/>
                    </a:lnTo>
                    <a:lnTo>
                      <a:pt x="1306" y="234"/>
                    </a:lnTo>
                    <a:lnTo>
                      <a:pt x="1302" y="239"/>
                    </a:lnTo>
                    <a:lnTo>
                      <a:pt x="1299" y="239"/>
                    </a:lnTo>
                    <a:lnTo>
                      <a:pt x="1299" y="234"/>
                    </a:lnTo>
                    <a:lnTo>
                      <a:pt x="1296" y="239"/>
                    </a:lnTo>
                    <a:lnTo>
                      <a:pt x="1294" y="241"/>
                    </a:lnTo>
                    <a:lnTo>
                      <a:pt x="1291" y="241"/>
                    </a:lnTo>
                    <a:lnTo>
                      <a:pt x="1291" y="238"/>
                    </a:lnTo>
                    <a:lnTo>
                      <a:pt x="1288" y="241"/>
                    </a:lnTo>
                    <a:lnTo>
                      <a:pt x="1284" y="241"/>
                    </a:lnTo>
                    <a:lnTo>
                      <a:pt x="1283" y="247"/>
                    </a:lnTo>
                    <a:lnTo>
                      <a:pt x="1273" y="254"/>
                    </a:lnTo>
                    <a:lnTo>
                      <a:pt x="1269" y="261"/>
                    </a:lnTo>
                    <a:lnTo>
                      <a:pt x="1268" y="264"/>
                    </a:lnTo>
                    <a:lnTo>
                      <a:pt x="1266" y="267"/>
                    </a:lnTo>
                    <a:lnTo>
                      <a:pt x="1263" y="269"/>
                    </a:lnTo>
                    <a:lnTo>
                      <a:pt x="1263" y="272"/>
                    </a:lnTo>
                    <a:lnTo>
                      <a:pt x="1266" y="272"/>
                    </a:lnTo>
                    <a:lnTo>
                      <a:pt x="1266" y="276"/>
                    </a:lnTo>
                    <a:lnTo>
                      <a:pt x="1258" y="282"/>
                    </a:lnTo>
                    <a:lnTo>
                      <a:pt x="1258" y="284"/>
                    </a:lnTo>
                    <a:lnTo>
                      <a:pt x="1264" y="287"/>
                    </a:lnTo>
                    <a:lnTo>
                      <a:pt x="1266" y="296"/>
                    </a:lnTo>
                    <a:lnTo>
                      <a:pt x="1268" y="299"/>
                    </a:lnTo>
                    <a:lnTo>
                      <a:pt x="1274" y="299"/>
                    </a:lnTo>
                    <a:lnTo>
                      <a:pt x="1276" y="294"/>
                    </a:lnTo>
                    <a:lnTo>
                      <a:pt x="1276" y="289"/>
                    </a:lnTo>
                    <a:lnTo>
                      <a:pt x="1278" y="289"/>
                    </a:lnTo>
                    <a:lnTo>
                      <a:pt x="1281" y="296"/>
                    </a:lnTo>
                    <a:lnTo>
                      <a:pt x="1278" y="301"/>
                    </a:lnTo>
                    <a:lnTo>
                      <a:pt x="1266" y="306"/>
                    </a:lnTo>
                    <a:lnTo>
                      <a:pt x="1263" y="306"/>
                    </a:lnTo>
                    <a:lnTo>
                      <a:pt x="1263" y="302"/>
                    </a:lnTo>
                    <a:lnTo>
                      <a:pt x="1261" y="297"/>
                    </a:lnTo>
                    <a:lnTo>
                      <a:pt x="1256" y="306"/>
                    </a:lnTo>
                    <a:lnTo>
                      <a:pt x="1251" y="309"/>
                    </a:lnTo>
                    <a:lnTo>
                      <a:pt x="1249" y="309"/>
                    </a:lnTo>
                    <a:lnTo>
                      <a:pt x="1249" y="306"/>
                    </a:lnTo>
                    <a:lnTo>
                      <a:pt x="1249" y="302"/>
                    </a:lnTo>
                    <a:lnTo>
                      <a:pt x="1244" y="297"/>
                    </a:lnTo>
                    <a:lnTo>
                      <a:pt x="1244" y="302"/>
                    </a:lnTo>
                    <a:lnTo>
                      <a:pt x="1244" y="309"/>
                    </a:lnTo>
                    <a:lnTo>
                      <a:pt x="1246" y="311"/>
                    </a:lnTo>
                    <a:lnTo>
                      <a:pt x="1243" y="311"/>
                    </a:lnTo>
                    <a:lnTo>
                      <a:pt x="1233" y="312"/>
                    </a:lnTo>
                    <a:lnTo>
                      <a:pt x="1226" y="312"/>
                    </a:lnTo>
                    <a:lnTo>
                      <a:pt x="1223" y="312"/>
                    </a:lnTo>
                    <a:lnTo>
                      <a:pt x="1213" y="312"/>
                    </a:lnTo>
                    <a:lnTo>
                      <a:pt x="1211" y="311"/>
                    </a:lnTo>
                    <a:lnTo>
                      <a:pt x="1208" y="311"/>
                    </a:lnTo>
                    <a:lnTo>
                      <a:pt x="1199" y="316"/>
                    </a:lnTo>
                    <a:lnTo>
                      <a:pt x="1194" y="316"/>
                    </a:lnTo>
                    <a:lnTo>
                      <a:pt x="1188" y="321"/>
                    </a:lnTo>
                    <a:lnTo>
                      <a:pt x="1183" y="321"/>
                    </a:lnTo>
                    <a:lnTo>
                      <a:pt x="1180" y="324"/>
                    </a:lnTo>
                    <a:lnTo>
                      <a:pt x="1180" y="327"/>
                    </a:lnTo>
                    <a:lnTo>
                      <a:pt x="1173" y="331"/>
                    </a:lnTo>
                    <a:lnTo>
                      <a:pt x="1175" y="334"/>
                    </a:lnTo>
                    <a:lnTo>
                      <a:pt x="1178" y="336"/>
                    </a:lnTo>
                    <a:lnTo>
                      <a:pt x="1178" y="339"/>
                    </a:lnTo>
                    <a:lnTo>
                      <a:pt x="1176" y="342"/>
                    </a:lnTo>
                    <a:lnTo>
                      <a:pt x="1176" y="344"/>
                    </a:lnTo>
                    <a:lnTo>
                      <a:pt x="1173" y="347"/>
                    </a:lnTo>
                    <a:lnTo>
                      <a:pt x="1175" y="349"/>
                    </a:lnTo>
                    <a:lnTo>
                      <a:pt x="1173" y="352"/>
                    </a:lnTo>
                    <a:lnTo>
                      <a:pt x="1171" y="357"/>
                    </a:lnTo>
                    <a:lnTo>
                      <a:pt x="1168" y="357"/>
                    </a:lnTo>
                    <a:lnTo>
                      <a:pt x="1166" y="359"/>
                    </a:lnTo>
                    <a:lnTo>
                      <a:pt x="1165" y="365"/>
                    </a:lnTo>
                    <a:lnTo>
                      <a:pt x="1161" y="367"/>
                    </a:lnTo>
                    <a:lnTo>
                      <a:pt x="1158" y="369"/>
                    </a:lnTo>
                    <a:lnTo>
                      <a:pt x="1156" y="369"/>
                    </a:lnTo>
                    <a:lnTo>
                      <a:pt x="1156" y="372"/>
                    </a:lnTo>
                    <a:lnTo>
                      <a:pt x="1153" y="375"/>
                    </a:lnTo>
                    <a:lnTo>
                      <a:pt x="1151" y="375"/>
                    </a:lnTo>
                    <a:lnTo>
                      <a:pt x="1148" y="377"/>
                    </a:lnTo>
                    <a:lnTo>
                      <a:pt x="1151" y="372"/>
                    </a:lnTo>
                    <a:lnTo>
                      <a:pt x="1150" y="369"/>
                    </a:lnTo>
                    <a:lnTo>
                      <a:pt x="1145" y="370"/>
                    </a:lnTo>
                    <a:lnTo>
                      <a:pt x="1140" y="365"/>
                    </a:lnTo>
                    <a:lnTo>
                      <a:pt x="1138" y="362"/>
                    </a:lnTo>
                    <a:lnTo>
                      <a:pt x="1140" y="359"/>
                    </a:lnTo>
                    <a:lnTo>
                      <a:pt x="1146" y="350"/>
                    </a:lnTo>
                    <a:lnTo>
                      <a:pt x="1141" y="354"/>
                    </a:lnTo>
                    <a:lnTo>
                      <a:pt x="1138" y="357"/>
                    </a:lnTo>
                    <a:lnTo>
                      <a:pt x="1135" y="360"/>
                    </a:lnTo>
                    <a:lnTo>
                      <a:pt x="1136" y="365"/>
                    </a:lnTo>
                    <a:lnTo>
                      <a:pt x="1138" y="367"/>
                    </a:lnTo>
                    <a:lnTo>
                      <a:pt x="1138" y="374"/>
                    </a:lnTo>
                    <a:lnTo>
                      <a:pt x="1141" y="375"/>
                    </a:lnTo>
                    <a:lnTo>
                      <a:pt x="1145" y="384"/>
                    </a:lnTo>
                    <a:lnTo>
                      <a:pt x="1145" y="389"/>
                    </a:lnTo>
                    <a:lnTo>
                      <a:pt x="1140" y="397"/>
                    </a:lnTo>
                    <a:lnTo>
                      <a:pt x="1135" y="400"/>
                    </a:lnTo>
                    <a:lnTo>
                      <a:pt x="1131" y="409"/>
                    </a:lnTo>
                    <a:lnTo>
                      <a:pt x="1128" y="414"/>
                    </a:lnTo>
                    <a:lnTo>
                      <a:pt x="1128" y="415"/>
                    </a:lnTo>
                    <a:lnTo>
                      <a:pt x="1126" y="417"/>
                    </a:lnTo>
                    <a:lnTo>
                      <a:pt x="1126" y="415"/>
                    </a:lnTo>
                    <a:lnTo>
                      <a:pt x="1126" y="414"/>
                    </a:lnTo>
                    <a:lnTo>
                      <a:pt x="1121" y="422"/>
                    </a:lnTo>
                    <a:lnTo>
                      <a:pt x="1120" y="424"/>
                    </a:lnTo>
                    <a:lnTo>
                      <a:pt x="1120" y="425"/>
                    </a:lnTo>
                    <a:lnTo>
                      <a:pt x="1118" y="422"/>
                    </a:lnTo>
                    <a:lnTo>
                      <a:pt x="1120" y="417"/>
                    </a:lnTo>
                    <a:lnTo>
                      <a:pt x="1123" y="412"/>
                    </a:lnTo>
                    <a:lnTo>
                      <a:pt x="1121" y="410"/>
                    </a:lnTo>
                    <a:lnTo>
                      <a:pt x="1125" y="407"/>
                    </a:lnTo>
                    <a:lnTo>
                      <a:pt x="1125" y="405"/>
                    </a:lnTo>
                    <a:lnTo>
                      <a:pt x="1128" y="404"/>
                    </a:lnTo>
                    <a:lnTo>
                      <a:pt x="1123" y="404"/>
                    </a:lnTo>
                    <a:lnTo>
                      <a:pt x="1121" y="400"/>
                    </a:lnTo>
                    <a:lnTo>
                      <a:pt x="1121" y="399"/>
                    </a:lnTo>
                    <a:lnTo>
                      <a:pt x="1121" y="397"/>
                    </a:lnTo>
                    <a:lnTo>
                      <a:pt x="1120" y="397"/>
                    </a:lnTo>
                    <a:lnTo>
                      <a:pt x="1120" y="395"/>
                    </a:lnTo>
                    <a:lnTo>
                      <a:pt x="1118" y="397"/>
                    </a:lnTo>
                    <a:lnTo>
                      <a:pt x="1113" y="392"/>
                    </a:lnTo>
                    <a:lnTo>
                      <a:pt x="1113" y="389"/>
                    </a:lnTo>
                    <a:lnTo>
                      <a:pt x="1116" y="384"/>
                    </a:lnTo>
                    <a:lnTo>
                      <a:pt x="1118" y="377"/>
                    </a:lnTo>
                    <a:lnTo>
                      <a:pt x="1115" y="372"/>
                    </a:lnTo>
                    <a:lnTo>
                      <a:pt x="1116" y="367"/>
                    </a:lnTo>
                    <a:lnTo>
                      <a:pt x="1121" y="365"/>
                    </a:lnTo>
                    <a:lnTo>
                      <a:pt x="1120" y="364"/>
                    </a:lnTo>
                    <a:lnTo>
                      <a:pt x="1121" y="359"/>
                    </a:lnTo>
                    <a:lnTo>
                      <a:pt x="1120" y="357"/>
                    </a:lnTo>
                    <a:lnTo>
                      <a:pt x="1120" y="359"/>
                    </a:lnTo>
                    <a:lnTo>
                      <a:pt x="1118" y="364"/>
                    </a:lnTo>
                    <a:lnTo>
                      <a:pt x="1113" y="367"/>
                    </a:lnTo>
                    <a:lnTo>
                      <a:pt x="1110" y="369"/>
                    </a:lnTo>
                    <a:lnTo>
                      <a:pt x="1108" y="369"/>
                    </a:lnTo>
                    <a:lnTo>
                      <a:pt x="1111" y="372"/>
                    </a:lnTo>
                    <a:lnTo>
                      <a:pt x="1110" y="374"/>
                    </a:lnTo>
                    <a:lnTo>
                      <a:pt x="1110" y="380"/>
                    </a:lnTo>
                    <a:lnTo>
                      <a:pt x="1110" y="384"/>
                    </a:lnTo>
                    <a:lnTo>
                      <a:pt x="1110" y="385"/>
                    </a:lnTo>
                    <a:lnTo>
                      <a:pt x="1110" y="390"/>
                    </a:lnTo>
                    <a:lnTo>
                      <a:pt x="1110" y="399"/>
                    </a:lnTo>
                    <a:lnTo>
                      <a:pt x="1108" y="399"/>
                    </a:lnTo>
                    <a:lnTo>
                      <a:pt x="1101" y="394"/>
                    </a:lnTo>
                    <a:lnTo>
                      <a:pt x="1098" y="392"/>
                    </a:lnTo>
                    <a:lnTo>
                      <a:pt x="1095" y="387"/>
                    </a:lnTo>
                    <a:lnTo>
                      <a:pt x="1092" y="387"/>
                    </a:lnTo>
                    <a:lnTo>
                      <a:pt x="1092" y="385"/>
                    </a:lnTo>
                    <a:lnTo>
                      <a:pt x="1093" y="380"/>
                    </a:lnTo>
                    <a:lnTo>
                      <a:pt x="1090" y="385"/>
                    </a:lnTo>
                    <a:lnTo>
                      <a:pt x="1090" y="389"/>
                    </a:lnTo>
                    <a:lnTo>
                      <a:pt x="1093" y="390"/>
                    </a:lnTo>
                    <a:lnTo>
                      <a:pt x="1096" y="394"/>
                    </a:lnTo>
                    <a:lnTo>
                      <a:pt x="1101" y="395"/>
                    </a:lnTo>
                    <a:lnTo>
                      <a:pt x="1106" y="402"/>
                    </a:lnTo>
                    <a:lnTo>
                      <a:pt x="1111" y="404"/>
                    </a:lnTo>
                    <a:lnTo>
                      <a:pt x="1111" y="407"/>
                    </a:lnTo>
                    <a:lnTo>
                      <a:pt x="1110" y="412"/>
                    </a:lnTo>
                    <a:lnTo>
                      <a:pt x="1106" y="412"/>
                    </a:lnTo>
                    <a:lnTo>
                      <a:pt x="1105" y="409"/>
                    </a:lnTo>
                    <a:lnTo>
                      <a:pt x="1103" y="407"/>
                    </a:lnTo>
                    <a:lnTo>
                      <a:pt x="1105" y="412"/>
                    </a:lnTo>
                    <a:lnTo>
                      <a:pt x="1110" y="415"/>
                    </a:lnTo>
                    <a:lnTo>
                      <a:pt x="1111" y="419"/>
                    </a:lnTo>
                    <a:lnTo>
                      <a:pt x="1110" y="420"/>
                    </a:lnTo>
                    <a:lnTo>
                      <a:pt x="1110" y="422"/>
                    </a:lnTo>
                    <a:lnTo>
                      <a:pt x="1105" y="420"/>
                    </a:lnTo>
                    <a:lnTo>
                      <a:pt x="1110" y="425"/>
                    </a:lnTo>
                    <a:lnTo>
                      <a:pt x="1108" y="429"/>
                    </a:lnTo>
                    <a:lnTo>
                      <a:pt x="1105" y="427"/>
                    </a:lnTo>
                    <a:lnTo>
                      <a:pt x="1103" y="424"/>
                    </a:lnTo>
                    <a:lnTo>
                      <a:pt x="1096" y="424"/>
                    </a:lnTo>
                    <a:lnTo>
                      <a:pt x="1093" y="422"/>
                    </a:lnTo>
                    <a:lnTo>
                      <a:pt x="1096" y="425"/>
                    </a:lnTo>
                    <a:lnTo>
                      <a:pt x="1100" y="427"/>
                    </a:lnTo>
                    <a:lnTo>
                      <a:pt x="1103" y="427"/>
                    </a:lnTo>
                    <a:lnTo>
                      <a:pt x="1105" y="432"/>
                    </a:lnTo>
                    <a:lnTo>
                      <a:pt x="1110" y="434"/>
                    </a:lnTo>
                    <a:lnTo>
                      <a:pt x="1113" y="432"/>
                    </a:lnTo>
                    <a:lnTo>
                      <a:pt x="1115" y="434"/>
                    </a:lnTo>
                    <a:lnTo>
                      <a:pt x="1116" y="438"/>
                    </a:lnTo>
                    <a:lnTo>
                      <a:pt x="1115" y="442"/>
                    </a:lnTo>
                    <a:lnTo>
                      <a:pt x="1111" y="440"/>
                    </a:lnTo>
                    <a:lnTo>
                      <a:pt x="1111" y="443"/>
                    </a:lnTo>
                    <a:lnTo>
                      <a:pt x="1113" y="445"/>
                    </a:lnTo>
                    <a:lnTo>
                      <a:pt x="1115" y="450"/>
                    </a:lnTo>
                    <a:lnTo>
                      <a:pt x="1113" y="452"/>
                    </a:lnTo>
                    <a:lnTo>
                      <a:pt x="1110" y="452"/>
                    </a:lnTo>
                    <a:lnTo>
                      <a:pt x="1108" y="453"/>
                    </a:lnTo>
                    <a:lnTo>
                      <a:pt x="1101" y="455"/>
                    </a:lnTo>
                    <a:lnTo>
                      <a:pt x="1100" y="457"/>
                    </a:lnTo>
                    <a:lnTo>
                      <a:pt x="1096" y="455"/>
                    </a:lnTo>
                    <a:lnTo>
                      <a:pt x="1095" y="452"/>
                    </a:lnTo>
                    <a:lnTo>
                      <a:pt x="1093" y="452"/>
                    </a:lnTo>
                    <a:lnTo>
                      <a:pt x="1093" y="458"/>
                    </a:lnTo>
                    <a:lnTo>
                      <a:pt x="1092" y="462"/>
                    </a:lnTo>
                    <a:lnTo>
                      <a:pt x="1096" y="460"/>
                    </a:lnTo>
                    <a:lnTo>
                      <a:pt x="1106" y="458"/>
                    </a:lnTo>
                    <a:lnTo>
                      <a:pt x="1108" y="460"/>
                    </a:lnTo>
                    <a:lnTo>
                      <a:pt x="1108" y="465"/>
                    </a:lnTo>
                    <a:lnTo>
                      <a:pt x="1111" y="467"/>
                    </a:lnTo>
                    <a:lnTo>
                      <a:pt x="1111" y="463"/>
                    </a:lnTo>
                    <a:lnTo>
                      <a:pt x="1115" y="460"/>
                    </a:lnTo>
                    <a:lnTo>
                      <a:pt x="1115" y="460"/>
                    </a:lnTo>
                    <a:lnTo>
                      <a:pt x="1116" y="463"/>
                    </a:lnTo>
                    <a:lnTo>
                      <a:pt x="1116" y="468"/>
                    </a:lnTo>
                    <a:lnTo>
                      <a:pt x="1115" y="468"/>
                    </a:lnTo>
                    <a:lnTo>
                      <a:pt x="1110" y="472"/>
                    </a:lnTo>
                    <a:lnTo>
                      <a:pt x="1108" y="475"/>
                    </a:lnTo>
                    <a:lnTo>
                      <a:pt x="1105" y="477"/>
                    </a:lnTo>
                    <a:lnTo>
                      <a:pt x="1101" y="475"/>
                    </a:lnTo>
                    <a:lnTo>
                      <a:pt x="1098" y="475"/>
                    </a:lnTo>
                    <a:lnTo>
                      <a:pt x="1096" y="470"/>
                    </a:lnTo>
                    <a:lnTo>
                      <a:pt x="1096" y="473"/>
                    </a:lnTo>
                    <a:lnTo>
                      <a:pt x="1093" y="475"/>
                    </a:lnTo>
                    <a:lnTo>
                      <a:pt x="1090" y="473"/>
                    </a:lnTo>
                    <a:lnTo>
                      <a:pt x="1087" y="473"/>
                    </a:lnTo>
                    <a:lnTo>
                      <a:pt x="1090" y="475"/>
                    </a:lnTo>
                    <a:lnTo>
                      <a:pt x="1095" y="477"/>
                    </a:lnTo>
                    <a:lnTo>
                      <a:pt x="1096" y="478"/>
                    </a:lnTo>
                    <a:lnTo>
                      <a:pt x="1095" y="482"/>
                    </a:lnTo>
                    <a:lnTo>
                      <a:pt x="1095" y="482"/>
                    </a:lnTo>
                    <a:lnTo>
                      <a:pt x="1088" y="485"/>
                    </a:lnTo>
                    <a:lnTo>
                      <a:pt x="1085" y="483"/>
                    </a:lnTo>
                    <a:lnTo>
                      <a:pt x="1088" y="487"/>
                    </a:lnTo>
                    <a:lnTo>
                      <a:pt x="1095" y="487"/>
                    </a:lnTo>
                    <a:lnTo>
                      <a:pt x="1098" y="483"/>
                    </a:lnTo>
                    <a:lnTo>
                      <a:pt x="1100" y="485"/>
                    </a:lnTo>
                    <a:lnTo>
                      <a:pt x="1101" y="485"/>
                    </a:lnTo>
                    <a:lnTo>
                      <a:pt x="1096" y="490"/>
                    </a:lnTo>
                    <a:lnTo>
                      <a:pt x="1093" y="490"/>
                    </a:lnTo>
                    <a:lnTo>
                      <a:pt x="1092" y="488"/>
                    </a:lnTo>
                    <a:lnTo>
                      <a:pt x="1088" y="490"/>
                    </a:lnTo>
                    <a:lnTo>
                      <a:pt x="1088" y="490"/>
                    </a:lnTo>
                    <a:lnTo>
                      <a:pt x="1082" y="492"/>
                    </a:lnTo>
                    <a:lnTo>
                      <a:pt x="1070" y="497"/>
                    </a:lnTo>
                    <a:lnTo>
                      <a:pt x="1058" y="507"/>
                    </a:lnTo>
                    <a:lnTo>
                      <a:pt x="1053" y="513"/>
                    </a:lnTo>
                    <a:lnTo>
                      <a:pt x="1052" y="513"/>
                    </a:lnTo>
                    <a:lnTo>
                      <a:pt x="1050" y="512"/>
                    </a:lnTo>
                    <a:lnTo>
                      <a:pt x="1042" y="513"/>
                    </a:lnTo>
                    <a:lnTo>
                      <a:pt x="1038" y="517"/>
                    </a:lnTo>
                    <a:lnTo>
                      <a:pt x="1028" y="527"/>
                    </a:lnTo>
                    <a:lnTo>
                      <a:pt x="1028" y="530"/>
                    </a:lnTo>
                    <a:lnTo>
                      <a:pt x="1025" y="533"/>
                    </a:lnTo>
                    <a:lnTo>
                      <a:pt x="1022" y="533"/>
                    </a:lnTo>
                    <a:lnTo>
                      <a:pt x="1022" y="535"/>
                    </a:lnTo>
                    <a:lnTo>
                      <a:pt x="1018" y="540"/>
                    </a:lnTo>
                    <a:lnTo>
                      <a:pt x="1015" y="538"/>
                    </a:lnTo>
                    <a:lnTo>
                      <a:pt x="1012" y="540"/>
                    </a:lnTo>
                    <a:lnTo>
                      <a:pt x="1012" y="541"/>
                    </a:lnTo>
                    <a:lnTo>
                      <a:pt x="1007" y="541"/>
                    </a:lnTo>
                    <a:lnTo>
                      <a:pt x="1003" y="545"/>
                    </a:lnTo>
                    <a:lnTo>
                      <a:pt x="997" y="545"/>
                    </a:lnTo>
                    <a:lnTo>
                      <a:pt x="995" y="546"/>
                    </a:lnTo>
                    <a:lnTo>
                      <a:pt x="990" y="546"/>
                    </a:lnTo>
                    <a:lnTo>
                      <a:pt x="989" y="550"/>
                    </a:lnTo>
                    <a:lnTo>
                      <a:pt x="984" y="550"/>
                    </a:lnTo>
                    <a:lnTo>
                      <a:pt x="982" y="550"/>
                    </a:lnTo>
                    <a:lnTo>
                      <a:pt x="984" y="551"/>
                    </a:lnTo>
                    <a:lnTo>
                      <a:pt x="984" y="555"/>
                    </a:lnTo>
                    <a:lnTo>
                      <a:pt x="980" y="560"/>
                    </a:lnTo>
                    <a:lnTo>
                      <a:pt x="979" y="560"/>
                    </a:lnTo>
                    <a:lnTo>
                      <a:pt x="975" y="563"/>
                    </a:lnTo>
                    <a:lnTo>
                      <a:pt x="972" y="563"/>
                    </a:lnTo>
                    <a:lnTo>
                      <a:pt x="967" y="570"/>
                    </a:lnTo>
                    <a:lnTo>
                      <a:pt x="964" y="576"/>
                    </a:lnTo>
                    <a:lnTo>
                      <a:pt x="964" y="583"/>
                    </a:lnTo>
                    <a:lnTo>
                      <a:pt x="964" y="596"/>
                    </a:lnTo>
                    <a:lnTo>
                      <a:pt x="964" y="603"/>
                    </a:lnTo>
                    <a:lnTo>
                      <a:pt x="962" y="613"/>
                    </a:lnTo>
                    <a:lnTo>
                      <a:pt x="965" y="618"/>
                    </a:lnTo>
                    <a:lnTo>
                      <a:pt x="965" y="628"/>
                    </a:lnTo>
                    <a:lnTo>
                      <a:pt x="969" y="633"/>
                    </a:lnTo>
                    <a:lnTo>
                      <a:pt x="970" y="643"/>
                    </a:lnTo>
                    <a:lnTo>
                      <a:pt x="974" y="646"/>
                    </a:lnTo>
                    <a:lnTo>
                      <a:pt x="975" y="651"/>
                    </a:lnTo>
                    <a:lnTo>
                      <a:pt x="974" y="656"/>
                    </a:lnTo>
                    <a:lnTo>
                      <a:pt x="972" y="663"/>
                    </a:lnTo>
                    <a:lnTo>
                      <a:pt x="974" y="664"/>
                    </a:lnTo>
                    <a:lnTo>
                      <a:pt x="977" y="678"/>
                    </a:lnTo>
                    <a:lnTo>
                      <a:pt x="982" y="681"/>
                    </a:lnTo>
                    <a:lnTo>
                      <a:pt x="984" y="688"/>
                    </a:lnTo>
                    <a:lnTo>
                      <a:pt x="980" y="689"/>
                    </a:lnTo>
                    <a:lnTo>
                      <a:pt x="982" y="691"/>
                    </a:lnTo>
                    <a:lnTo>
                      <a:pt x="980" y="699"/>
                    </a:lnTo>
                    <a:lnTo>
                      <a:pt x="980" y="701"/>
                    </a:lnTo>
                    <a:lnTo>
                      <a:pt x="980" y="706"/>
                    </a:lnTo>
                    <a:lnTo>
                      <a:pt x="975" y="713"/>
                    </a:lnTo>
                    <a:lnTo>
                      <a:pt x="974" y="718"/>
                    </a:lnTo>
                    <a:lnTo>
                      <a:pt x="970" y="723"/>
                    </a:lnTo>
                    <a:lnTo>
                      <a:pt x="970" y="728"/>
                    </a:lnTo>
                    <a:lnTo>
                      <a:pt x="967" y="729"/>
                    </a:lnTo>
                    <a:lnTo>
                      <a:pt x="962" y="731"/>
                    </a:lnTo>
                    <a:lnTo>
                      <a:pt x="957" y="729"/>
                    </a:lnTo>
                    <a:lnTo>
                      <a:pt x="955" y="726"/>
                    </a:lnTo>
                    <a:lnTo>
                      <a:pt x="950" y="726"/>
                    </a:lnTo>
                    <a:lnTo>
                      <a:pt x="952" y="724"/>
                    </a:lnTo>
                    <a:lnTo>
                      <a:pt x="947" y="719"/>
                    </a:lnTo>
                    <a:lnTo>
                      <a:pt x="947" y="716"/>
                    </a:lnTo>
                    <a:lnTo>
                      <a:pt x="945" y="713"/>
                    </a:lnTo>
                    <a:lnTo>
                      <a:pt x="942" y="713"/>
                    </a:lnTo>
                    <a:lnTo>
                      <a:pt x="940" y="711"/>
                    </a:lnTo>
                    <a:lnTo>
                      <a:pt x="940" y="706"/>
                    </a:lnTo>
                    <a:lnTo>
                      <a:pt x="939" y="701"/>
                    </a:lnTo>
                    <a:lnTo>
                      <a:pt x="934" y="698"/>
                    </a:lnTo>
                    <a:lnTo>
                      <a:pt x="932" y="694"/>
                    </a:lnTo>
                    <a:lnTo>
                      <a:pt x="935" y="693"/>
                    </a:lnTo>
                    <a:lnTo>
                      <a:pt x="935" y="689"/>
                    </a:lnTo>
                    <a:lnTo>
                      <a:pt x="939" y="686"/>
                    </a:lnTo>
                    <a:lnTo>
                      <a:pt x="935" y="688"/>
                    </a:lnTo>
                    <a:lnTo>
                      <a:pt x="932" y="686"/>
                    </a:lnTo>
                    <a:lnTo>
                      <a:pt x="932" y="688"/>
                    </a:lnTo>
                    <a:lnTo>
                      <a:pt x="930" y="689"/>
                    </a:lnTo>
                    <a:lnTo>
                      <a:pt x="930" y="686"/>
                    </a:lnTo>
                    <a:lnTo>
                      <a:pt x="929" y="686"/>
                    </a:lnTo>
                    <a:lnTo>
                      <a:pt x="927" y="684"/>
                    </a:lnTo>
                    <a:lnTo>
                      <a:pt x="924" y="681"/>
                    </a:lnTo>
                    <a:lnTo>
                      <a:pt x="924" y="676"/>
                    </a:lnTo>
                    <a:lnTo>
                      <a:pt x="922" y="674"/>
                    </a:lnTo>
                    <a:lnTo>
                      <a:pt x="929" y="666"/>
                    </a:lnTo>
                    <a:lnTo>
                      <a:pt x="929" y="663"/>
                    </a:lnTo>
                    <a:lnTo>
                      <a:pt x="925" y="661"/>
                    </a:lnTo>
                    <a:lnTo>
                      <a:pt x="922" y="663"/>
                    </a:lnTo>
                    <a:lnTo>
                      <a:pt x="924" y="664"/>
                    </a:lnTo>
                    <a:lnTo>
                      <a:pt x="920" y="668"/>
                    </a:lnTo>
                    <a:lnTo>
                      <a:pt x="919" y="668"/>
                    </a:lnTo>
                    <a:lnTo>
                      <a:pt x="917" y="664"/>
                    </a:lnTo>
                    <a:lnTo>
                      <a:pt x="917" y="661"/>
                    </a:lnTo>
                    <a:lnTo>
                      <a:pt x="922" y="653"/>
                    </a:lnTo>
                    <a:lnTo>
                      <a:pt x="925" y="643"/>
                    </a:lnTo>
                    <a:lnTo>
                      <a:pt x="925" y="638"/>
                    </a:lnTo>
                    <a:lnTo>
                      <a:pt x="922" y="633"/>
                    </a:lnTo>
                    <a:lnTo>
                      <a:pt x="919" y="631"/>
                    </a:lnTo>
                    <a:lnTo>
                      <a:pt x="915" y="628"/>
                    </a:lnTo>
                    <a:lnTo>
                      <a:pt x="917" y="626"/>
                    </a:lnTo>
                    <a:lnTo>
                      <a:pt x="914" y="626"/>
                    </a:lnTo>
                    <a:lnTo>
                      <a:pt x="910" y="625"/>
                    </a:lnTo>
                    <a:lnTo>
                      <a:pt x="910" y="620"/>
                    </a:lnTo>
                    <a:lnTo>
                      <a:pt x="909" y="620"/>
                    </a:lnTo>
                    <a:lnTo>
                      <a:pt x="905" y="618"/>
                    </a:lnTo>
                    <a:lnTo>
                      <a:pt x="904" y="610"/>
                    </a:lnTo>
                    <a:lnTo>
                      <a:pt x="899" y="608"/>
                    </a:lnTo>
                    <a:lnTo>
                      <a:pt x="895" y="606"/>
                    </a:lnTo>
                    <a:lnTo>
                      <a:pt x="891" y="606"/>
                    </a:lnTo>
                    <a:lnTo>
                      <a:pt x="887" y="610"/>
                    </a:lnTo>
                    <a:lnTo>
                      <a:pt x="887" y="610"/>
                    </a:lnTo>
                    <a:lnTo>
                      <a:pt x="886" y="611"/>
                    </a:lnTo>
                    <a:lnTo>
                      <a:pt x="884" y="610"/>
                    </a:lnTo>
                    <a:lnTo>
                      <a:pt x="877" y="616"/>
                    </a:lnTo>
                    <a:lnTo>
                      <a:pt x="874" y="616"/>
                    </a:lnTo>
                    <a:lnTo>
                      <a:pt x="866" y="618"/>
                    </a:lnTo>
                    <a:lnTo>
                      <a:pt x="866" y="616"/>
                    </a:lnTo>
                    <a:lnTo>
                      <a:pt x="866" y="615"/>
                    </a:lnTo>
                    <a:lnTo>
                      <a:pt x="867" y="615"/>
                    </a:lnTo>
                    <a:lnTo>
                      <a:pt x="867" y="615"/>
                    </a:lnTo>
                    <a:lnTo>
                      <a:pt x="867" y="613"/>
                    </a:lnTo>
                    <a:lnTo>
                      <a:pt x="864" y="610"/>
                    </a:lnTo>
                    <a:lnTo>
                      <a:pt x="859" y="606"/>
                    </a:lnTo>
                    <a:lnTo>
                      <a:pt x="859" y="606"/>
                    </a:lnTo>
                    <a:lnTo>
                      <a:pt x="862" y="608"/>
                    </a:lnTo>
                    <a:lnTo>
                      <a:pt x="862" y="606"/>
                    </a:lnTo>
                    <a:lnTo>
                      <a:pt x="859" y="603"/>
                    </a:lnTo>
                    <a:lnTo>
                      <a:pt x="857" y="601"/>
                    </a:lnTo>
                    <a:lnTo>
                      <a:pt x="856" y="600"/>
                    </a:lnTo>
                    <a:lnTo>
                      <a:pt x="854" y="603"/>
                    </a:lnTo>
                    <a:lnTo>
                      <a:pt x="857" y="605"/>
                    </a:lnTo>
                    <a:lnTo>
                      <a:pt x="854" y="603"/>
                    </a:lnTo>
                    <a:lnTo>
                      <a:pt x="849" y="600"/>
                    </a:lnTo>
                    <a:lnTo>
                      <a:pt x="844" y="600"/>
                    </a:lnTo>
                    <a:lnTo>
                      <a:pt x="837" y="600"/>
                    </a:lnTo>
                    <a:lnTo>
                      <a:pt x="837" y="598"/>
                    </a:lnTo>
                    <a:lnTo>
                      <a:pt x="844" y="598"/>
                    </a:lnTo>
                    <a:lnTo>
                      <a:pt x="847" y="598"/>
                    </a:lnTo>
                    <a:lnTo>
                      <a:pt x="846" y="596"/>
                    </a:lnTo>
                    <a:lnTo>
                      <a:pt x="841" y="596"/>
                    </a:lnTo>
                    <a:lnTo>
                      <a:pt x="836" y="600"/>
                    </a:lnTo>
                    <a:lnTo>
                      <a:pt x="832" y="598"/>
                    </a:lnTo>
                    <a:lnTo>
                      <a:pt x="826" y="600"/>
                    </a:lnTo>
                    <a:lnTo>
                      <a:pt x="822" y="598"/>
                    </a:lnTo>
                    <a:lnTo>
                      <a:pt x="819" y="600"/>
                    </a:lnTo>
                    <a:lnTo>
                      <a:pt x="812" y="598"/>
                    </a:lnTo>
                    <a:lnTo>
                      <a:pt x="809" y="600"/>
                    </a:lnTo>
                    <a:lnTo>
                      <a:pt x="804" y="596"/>
                    </a:lnTo>
                    <a:lnTo>
                      <a:pt x="804" y="595"/>
                    </a:lnTo>
                    <a:lnTo>
                      <a:pt x="804" y="591"/>
                    </a:lnTo>
                    <a:lnTo>
                      <a:pt x="801" y="591"/>
                    </a:lnTo>
                    <a:lnTo>
                      <a:pt x="799" y="595"/>
                    </a:lnTo>
                    <a:lnTo>
                      <a:pt x="797" y="598"/>
                    </a:lnTo>
                    <a:lnTo>
                      <a:pt x="794" y="598"/>
                    </a:lnTo>
                    <a:lnTo>
                      <a:pt x="791" y="598"/>
                    </a:lnTo>
                    <a:lnTo>
                      <a:pt x="786" y="598"/>
                    </a:lnTo>
                    <a:lnTo>
                      <a:pt x="771" y="600"/>
                    </a:lnTo>
                    <a:lnTo>
                      <a:pt x="768" y="603"/>
                    </a:lnTo>
                    <a:lnTo>
                      <a:pt x="759" y="606"/>
                    </a:lnTo>
                    <a:lnTo>
                      <a:pt x="754" y="610"/>
                    </a:lnTo>
                    <a:lnTo>
                      <a:pt x="754" y="613"/>
                    </a:lnTo>
                    <a:lnTo>
                      <a:pt x="758" y="611"/>
                    </a:lnTo>
                    <a:lnTo>
                      <a:pt x="761" y="610"/>
                    </a:lnTo>
                    <a:lnTo>
                      <a:pt x="763" y="610"/>
                    </a:lnTo>
                    <a:lnTo>
                      <a:pt x="764" y="611"/>
                    </a:lnTo>
                    <a:lnTo>
                      <a:pt x="768" y="613"/>
                    </a:lnTo>
                    <a:lnTo>
                      <a:pt x="766" y="615"/>
                    </a:lnTo>
                    <a:lnTo>
                      <a:pt x="759" y="618"/>
                    </a:lnTo>
                    <a:lnTo>
                      <a:pt x="759" y="621"/>
                    </a:lnTo>
                    <a:lnTo>
                      <a:pt x="761" y="625"/>
                    </a:lnTo>
                    <a:lnTo>
                      <a:pt x="768" y="626"/>
                    </a:lnTo>
                    <a:lnTo>
                      <a:pt x="774" y="631"/>
                    </a:lnTo>
                    <a:lnTo>
                      <a:pt x="773" y="633"/>
                    </a:lnTo>
                    <a:lnTo>
                      <a:pt x="769" y="633"/>
                    </a:lnTo>
                    <a:lnTo>
                      <a:pt x="768" y="636"/>
                    </a:lnTo>
                    <a:lnTo>
                      <a:pt x="768" y="631"/>
                    </a:lnTo>
                    <a:lnTo>
                      <a:pt x="766" y="630"/>
                    </a:lnTo>
                    <a:lnTo>
                      <a:pt x="763" y="631"/>
                    </a:lnTo>
                    <a:lnTo>
                      <a:pt x="761" y="628"/>
                    </a:lnTo>
                    <a:lnTo>
                      <a:pt x="756" y="626"/>
                    </a:lnTo>
                    <a:lnTo>
                      <a:pt x="753" y="621"/>
                    </a:lnTo>
                    <a:lnTo>
                      <a:pt x="749" y="621"/>
                    </a:lnTo>
                    <a:lnTo>
                      <a:pt x="751" y="626"/>
                    </a:lnTo>
                    <a:lnTo>
                      <a:pt x="751" y="631"/>
                    </a:lnTo>
                    <a:lnTo>
                      <a:pt x="748" y="633"/>
                    </a:lnTo>
                    <a:lnTo>
                      <a:pt x="746" y="630"/>
                    </a:lnTo>
                    <a:lnTo>
                      <a:pt x="741" y="628"/>
                    </a:lnTo>
                    <a:lnTo>
                      <a:pt x="738" y="630"/>
                    </a:lnTo>
                    <a:lnTo>
                      <a:pt x="734" y="633"/>
                    </a:lnTo>
                    <a:lnTo>
                      <a:pt x="729" y="631"/>
                    </a:lnTo>
                    <a:lnTo>
                      <a:pt x="726" y="630"/>
                    </a:lnTo>
                    <a:lnTo>
                      <a:pt x="721" y="630"/>
                    </a:lnTo>
                    <a:lnTo>
                      <a:pt x="719" y="628"/>
                    </a:lnTo>
                    <a:lnTo>
                      <a:pt x="721" y="626"/>
                    </a:lnTo>
                    <a:lnTo>
                      <a:pt x="724" y="625"/>
                    </a:lnTo>
                    <a:lnTo>
                      <a:pt x="723" y="621"/>
                    </a:lnTo>
                    <a:lnTo>
                      <a:pt x="718" y="623"/>
                    </a:lnTo>
                    <a:lnTo>
                      <a:pt x="716" y="621"/>
                    </a:lnTo>
                    <a:lnTo>
                      <a:pt x="716" y="618"/>
                    </a:lnTo>
                    <a:lnTo>
                      <a:pt x="714" y="616"/>
                    </a:lnTo>
                    <a:lnTo>
                      <a:pt x="711" y="616"/>
                    </a:lnTo>
                    <a:lnTo>
                      <a:pt x="709" y="616"/>
                    </a:lnTo>
                    <a:lnTo>
                      <a:pt x="711" y="613"/>
                    </a:lnTo>
                    <a:lnTo>
                      <a:pt x="708" y="613"/>
                    </a:lnTo>
                    <a:lnTo>
                      <a:pt x="703" y="615"/>
                    </a:lnTo>
                    <a:lnTo>
                      <a:pt x="703" y="616"/>
                    </a:lnTo>
                    <a:lnTo>
                      <a:pt x="703" y="620"/>
                    </a:lnTo>
                    <a:lnTo>
                      <a:pt x="699" y="620"/>
                    </a:lnTo>
                    <a:lnTo>
                      <a:pt x="685" y="618"/>
                    </a:lnTo>
                    <a:lnTo>
                      <a:pt x="683" y="616"/>
                    </a:lnTo>
                    <a:lnTo>
                      <a:pt x="671" y="613"/>
                    </a:lnTo>
                    <a:lnTo>
                      <a:pt x="666" y="613"/>
                    </a:lnTo>
                    <a:lnTo>
                      <a:pt x="658" y="615"/>
                    </a:lnTo>
                    <a:lnTo>
                      <a:pt x="655" y="618"/>
                    </a:lnTo>
                    <a:lnTo>
                      <a:pt x="651" y="618"/>
                    </a:lnTo>
                    <a:lnTo>
                      <a:pt x="646" y="623"/>
                    </a:lnTo>
                    <a:lnTo>
                      <a:pt x="641" y="623"/>
                    </a:lnTo>
                    <a:lnTo>
                      <a:pt x="643" y="620"/>
                    </a:lnTo>
                    <a:lnTo>
                      <a:pt x="641" y="616"/>
                    </a:lnTo>
                    <a:lnTo>
                      <a:pt x="643" y="613"/>
                    </a:lnTo>
                    <a:lnTo>
                      <a:pt x="641" y="608"/>
                    </a:lnTo>
                    <a:lnTo>
                      <a:pt x="641" y="611"/>
                    </a:lnTo>
                    <a:lnTo>
                      <a:pt x="636" y="615"/>
                    </a:lnTo>
                    <a:lnTo>
                      <a:pt x="635" y="615"/>
                    </a:lnTo>
                    <a:lnTo>
                      <a:pt x="631" y="611"/>
                    </a:lnTo>
                    <a:lnTo>
                      <a:pt x="635" y="618"/>
                    </a:lnTo>
                    <a:lnTo>
                      <a:pt x="635" y="623"/>
                    </a:lnTo>
                    <a:lnTo>
                      <a:pt x="636" y="626"/>
                    </a:lnTo>
                    <a:lnTo>
                      <a:pt x="633" y="630"/>
                    </a:lnTo>
                    <a:lnTo>
                      <a:pt x="630" y="630"/>
                    </a:lnTo>
                    <a:lnTo>
                      <a:pt x="621" y="634"/>
                    </a:lnTo>
                    <a:lnTo>
                      <a:pt x="611" y="639"/>
                    </a:lnTo>
                    <a:lnTo>
                      <a:pt x="608" y="639"/>
                    </a:lnTo>
                    <a:lnTo>
                      <a:pt x="603" y="643"/>
                    </a:lnTo>
                    <a:lnTo>
                      <a:pt x="600" y="643"/>
                    </a:lnTo>
                    <a:lnTo>
                      <a:pt x="605" y="639"/>
                    </a:lnTo>
                    <a:lnTo>
                      <a:pt x="601" y="638"/>
                    </a:lnTo>
                    <a:lnTo>
                      <a:pt x="598" y="639"/>
                    </a:lnTo>
                    <a:lnTo>
                      <a:pt x="596" y="638"/>
                    </a:lnTo>
                    <a:lnTo>
                      <a:pt x="592" y="639"/>
                    </a:lnTo>
                    <a:lnTo>
                      <a:pt x="595" y="643"/>
                    </a:lnTo>
                    <a:lnTo>
                      <a:pt x="590" y="644"/>
                    </a:lnTo>
                    <a:lnTo>
                      <a:pt x="587" y="643"/>
                    </a:lnTo>
                    <a:lnTo>
                      <a:pt x="588" y="648"/>
                    </a:lnTo>
                    <a:lnTo>
                      <a:pt x="583" y="649"/>
                    </a:lnTo>
                    <a:lnTo>
                      <a:pt x="582" y="648"/>
                    </a:lnTo>
                    <a:lnTo>
                      <a:pt x="577" y="653"/>
                    </a:lnTo>
                    <a:lnTo>
                      <a:pt x="580" y="656"/>
                    </a:lnTo>
                    <a:lnTo>
                      <a:pt x="575" y="659"/>
                    </a:lnTo>
                    <a:lnTo>
                      <a:pt x="572" y="661"/>
                    </a:lnTo>
                    <a:lnTo>
                      <a:pt x="573" y="669"/>
                    </a:lnTo>
                    <a:lnTo>
                      <a:pt x="570" y="673"/>
                    </a:lnTo>
                    <a:lnTo>
                      <a:pt x="567" y="679"/>
                    </a:lnTo>
                    <a:lnTo>
                      <a:pt x="565" y="684"/>
                    </a:lnTo>
                    <a:lnTo>
                      <a:pt x="567" y="688"/>
                    </a:lnTo>
                    <a:lnTo>
                      <a:pt x="567" y="698"/>
                    </a:lnTo>
                    <a:lnTo>
                      <a:pt x="567" y="701"/>
                    </a:lnTo>
                    <a:lnTo>
                      <a:pt x="565" y="706"/>
                    </a:lnTo>
                    <a:lnTo>
                      <a:pt x="563" y="713"/>
                    </a:lnTo>
                    <a:lnTo>
                      <a:pt x="562" y="711"/>
                    </a:lnTo>
                    <a:lnTo>
                      <a:pt x="560" y="708"/>
                    </a:lnTo>
                    <a:lnTo>
                      <a:pt x="555" y="708"/>
                    </a:lnTo>
                    <a:lnTo>
                      <a:pt x="550" y="706"/>
                    </a:lnTo>
                    <a:lnTo>
                      <a:pt x="542" y="703"/>
                    </a:lnTo>
                    <a:lnTo>
                      <a:pt x="538" y="699"/>
                    </a:lnTo>
                    <a:lnTo>
                      <a:pt x="535" y="698"/>
                    </a:lnTo>
                    <a:lnTo>
                      <a:pt x="532" y="698"/>
                    </a:lnTo>
                    <a:lnTo>
                      <a:pt x="530" y="698"/>
                    </a:lnTo>
                    <a:lnTo>
                      <a:pt x="528" y="696"/>
                    </a:lnTo>
                    <a:lnTo>
                      <a:pt x="527" y="694"/>
                    </a:lnTo>
                    <a:lnTo>
                      <a:pt x="527" y="689"/>
                    </a:lnTo>
                    <a:lnTo>
                      <a:pt x="522" y="676"/>
                    </a:lnTo>
                    <a:lnTo>
                      <a:pt x="522" y="674"/>
                    </a:lnTo>
                    <a:lnTo>
                      <a:pt x="522" y="674"/>
                    </a:lnTo>
                    <a:lnTo>
                      <a:pt x="522" y="669"/>
                    </a:lnTo>
                    <a:lnTo>
                      <a:pt x="523" y="666"/>
                    </a:lnTo>
                    <a:lnTo>
                      <a:pt x="518" y="661"/>
                    </a:lnTo>
                    <a:lnTo>
                      <a:pt x="517" y="658"/>
                    </a:lnTo>
                    <a:lnTo>
                      <a:pt x="515" y="654"/>
                    </a:lnTo>
                    <a:lnTo>
                      <a:pt x="512" y="653"/>
                    </a:lnTo>
                    <a:lnTo>
                      <a:pt x="510" y="649"/>
                    </a:lnTo>
                    <a:lnTo>
                      <a:pt x="508" y="648"/>
                    </a:lnTo>
                    <a:lnTo>
                      <a:pt x="505" y="639"/>
                    </a:lnTo>
                    <a:lnTo>
                      <a:pt x="503" y="638"/>
                    </a:lnTo>
                    <a:lnTo>
                      <a:pt x="502" y="636"/>
                    </a:lnTo>
                    <a:lnTo>
                      <a:pt x="502" y="631"/>
                    </a:lnTo>
                    <a:lnTo>
                      <a:pt x="500" y="628"/>
                    </a:lnTo>
                    <a:lnTo>
                      <a:pt x="500" y="626"/>
                    </a:lnTo>
                    <a:lnTo>
                      <a:pt x="497" y="621"/>
                    </a:lnTo>
                    <a:lnTo>
                      <a:pt x="494" y="616"/>
                    </a:lnTo>
                    <a:lnTo>
                      <a:pt x="489" y="613"/>
                    </a:lnTo>
                    <a:lnTo>
                      <a:pt x="487" y="610"/>
                    </a:lnTo>
                    <a:lnTo>
                      <a:pt x="484" y="608"/>
                    </a:lnTo>
                    <a:lnTo>
                      <a:pt x="480" y="608"/>
                    </a:lnTo>
                    <a:lnTo>
                      <a:pt x="480" y="606"/>
                    </a:lnTo>
                    <a:lnTo>
                      <a:pt x="477" y="606"/>
                    </a:lnTo>
                    <a:lnTo>
                      <a:pt x="474" y="606"/>
                    </a:lnTo>
                    <a:lnTo>
                      <a:pt x="469" y="606"/>
                    </a:lnTo>
                    <a:lnTo>
                      <a:pt x="465" y="606"/>
                    </a:lnTo>
                    <a:lnTo>
                      <a:pt x="464" y="608"/>
                    </a:lnTo>
                    <a:lnTo>
                      <a:pt x="462" y="608"/>
                    </a:lnTo>
                    <a:lnTo>
                      <a:pt x="460" y="608"/>
                    </a:lnTo>
                    <a:lnTo>
                      <a:pt x="459" y="608"/>
                    </a:lnTo>
                    <a:lnTo>
                      <a:pt x="457" y="608"/>
                    </a:lnTo>
                    <a:lnTo>
                      <a:pt x="454" y="611"/>
                    </a:lnTo>
                    <a:lnTo>
                      <a:pt x="450" y="616"/>
                    </a:lnTo>
                    <a:lnTo>
                      <a:pt x="449" y="620"/>
                    </a:lnTo>
                    <a:lnTo>
                      <a:pt x="449" y="620"/>
                    </a:lnTo>
                    <a:lnTo>
                      <a:pt x="449" y="623"/>
                    </a:lnTo>
                    <a:lnTo>
                      <a:pt x="445" y="623"/>
                    </a:lnTo>
                    <a:lnTo>
                      <a:pt x="442" y="625"/>
                    </a:lnTo>
                    <a:lnTo>
                      <a:pt x="442" y="626"/>
                    </a:lnTo>
                    <a:lnTo>
                      <a:pt x="439" y="628"/>
                    </a:lnTo>
                    <a:lnTo>
                      <a:pt x="437" y="626"/>
                    </a:lnTo>
                    <a:lnTo>
                      <a:pt x="435" y="626"/>
                    </a:lnTo>
                    <a:lnTo>
                      <a:pt x="430" y="623"/>
                    </a:lnTo>
                    <a:lnTo>
                      <a:pt x="427" y="623"/>
                    </a:lnTo>
                    <a:lnTo>
                      <a:pt x="427" y="621"/>
                    </a:lnTo>
                    <a:lnTo>
                      <a:pt x="422" y="618"/>
                    </a:lnTo>
                    <a:lnTo>
                      <a:pt x="419" y="618"/>
                    </a:lnTo>
                    <a:lnTo>
                      <a:pt x="417" y="616"/>
                    </a:lnTo>
                    <a:lnTo>
                      <a:pt x="417" y="615"/>
                    </a:lnTo>
                    <a:lnTo>
                      <a:pt x="415" y="615"/>
                    </a:lnTo>
                    <a:lnTo>
                      <a:pt x="414" y="613"/>
                    </a:lnTo>
                    <a:lnTo>
                      <a:pt x="412" y="613"/>
                    </a:lnTo>
                    <a:lnTo>
                      <a:pt x="410" y="611"/>
                    </a:lnTo>
                    <a:lnTo>
                      <a:pt x="409" y="611"/>
                    </a:lnTo>
                    <a:lnTo>
                      <a:pt x="409" y="610"/>
                    </a:lnTo>
                    <a:lnTo>
                      <a:pt x="407" y="606"/>
                    </a:lnTo>
                    <a:lnTo>
                      <a:pt x="404" y="603"/>
                    </a:lnTo>
                    <a:lnTo>
                      <a:pt x="400" y="600"/>
                    </a:lnTo>
                    <a:lnTo>
                      <a:pt x="400" y="598"/>
                    </a:lnTo>
                    <a:lnTo>
                      <a:pt x="402" y="596"/>
                    </a:lnTo>
                    <a:lnTo>
                      <a:pt x="404" y="596"/>
                    </a:lnTo>
                    <a:lnTo>
                      <a:pt x="404" y="593"/>
                    </a:lnTo>
                    <a:lnTo>
                      <a:pt x="400" y="590"/>
                    </a:lnTo>
                    <a:lnTo>
                      <a:pt x="400" y="588"/>
                    </a:lnTo>
                    <a:lnTo>
                      <a:pt x="399" y="588"/>
                    </a:lnTo>
                    <a:lnTo>
                      <a:pt x="397" y="586"/>
                    </a:lnTo>
                    <a:lnTo>
                      <a:pt x="397" y="581"/>
                    </a:lnTo>
                    <a:lnTo>
                      <a:pt x="396" y="578"/>
                    </a:lnTo>
                    <a:lnTo>
                      <a:pt x="392" y="576"/>
                    </a:lnTo>
                    <a:lnTo>
                      <a:pt x="389" y="576"/>
                    </a:lnTo>
                    <a:lnTo>
                      <a:pt x="389" y="573"/>
                    </a:lnTo>
                    <a:lnTo>
                      <a:pt x="391" y="571"/>
                    </a:lnTo>
                    <a:lnTo>
                      <a:pt x="386" y="570"/>
                    </a:lnTo>
                    <a:lnTo>
                      <a:pt x="382" y="568"/>
                    </a:lnTo>
                    <a:lnTo>
                      <a:pt x="384" y="566"/>
                    </a:lnTo>
                    <a:lnTo>
                      <a:pt x="381" y="563"/>
                    </a:lnTo>
                    <a:lnTo>
                      <a:pt x="379" y="563"/>
                    </a:lnTo>
                    <a:lnTo>
                      <a:pt x="379" y="561"/>
                    </a:lnTo>
                    <a:lnTo>
                      <a:pt x="376" y="558"/>
                    </a:lnTo>
                    <a:lnTo>
                      <a:pt x="372" y="553"/>
                    </a:lnTo>
                    <a:lnTo>
                      <a:pt x="367" y="551"/>
                    </a:lnTo>
                    <a:lnTo>
                      <a:pt x="329" y="550"/>
                    </a:lnTo>
                    <a:lnTo>
                      <a:pt x="327" y="558"/>
                    </a:lnTo>
                    <a:lnTo>
                      <a:pt x="259" y="556"/>
                    </a:lnTo>
                    <a:lnTo>
                      <a:pt x="176" y="522"/>
                    </a:lnTo>
                    <a:lnTo>
                      <a:pt x="178" y="520"/>
                    </a:lnTo>
                    <a:lnTo>
                      <a:pt x="176" y="518"/>
                    </a:lnTo>
                    <a:lnTo>
                      <a:pt x="118" y="520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8" y="503"/>
                    </a:lnTo>
                    <a:lnTo>
                      <a:pt x="110" y="492"/>
                    </a:lnTo>
                    <a:lnTo>
                      <a:pt x="103" y="487"/>
                    </a:lnTo>
                    <a:lnTo>
                      <a:pt x="101" y="488"/>
                    </a:lnTo>
                    <a:lnTo>
                      <a:pt x="98" y="488"/>
                    </a:lnTo>
                    <a:lnTo>
                      <a:pt x="97" y="487"/>
                    </a:lnTo>
                    <a:lnTo>
                      <a:pt x="97" y="483"/>
                    </a:lnTo>
                    <a:lnTo>
                      <a:pt x="97" y="482"/>
                    </a:lnTo>
                    <a:lnTo>
                      <a:pt x="90" y="480"/>
                    </a:lnTo>
                    <a:lnTo>
                      <a:pt x="87" y="478"/>
                    </a:lnTo>
                    <a:lnTo>
                      <a:pt x="80" y="477"/>
                    </a:lnTo>
                    <a:lnTo>
                      <a:pt x="80" y="472"/>
                    </a:lnTo>
                    <a:lnTo>
                      <a:pt x="77" y="470"/>
                    </a:lnTo>
                    <a:lnTo>
                      <a:pt x="70" y="470"/>
                    </a:lnTo>
                    <a:lnTo>
                      <a:pt x="67" y="468"/>
                    </a:lnTo>
                    <a:lnTo>
                      <a:pt x="63" y="467"/>
                    </a:lnTo>
                    <a:lnTo>
                      <a:pt x="58" y="465"/>
                    </a:lnTo>
                    <a:lnTo>
                      <a:pt x="50" y="465"/>
                    </a:lnTo>
                    <a:lnTo>
                      <a:pt x="47" y="463"/>
                    </a:lnTo>
                    <a:lnTo>
                      <a:pt x="45" y="460"/>
                    </a:lnTo>
                    <a:lnTo>
                      <a:pt x="47" y="460"/>
                    </a:lnTo>
                    <a:lnTo>
                      <a:pt x="48" y="455"/>
                    </a:lnTo>
                    <a:lnTo>
                      <a:pt x="50" y="448"/>
                    </a:lnTo>
                    <a:lnTo>
                      <a:pt x="48" y="445"/>
                    </a:lnTo>
                    <a:lnTo>
                      <a:pt x="45" y="440"/>
                    </a:lnTo>
                    <a:lnTo>
                      <a:pt x="43" y="440"/>
                    </a:lnTo>
                    <a:lnTo>
                      <a:pt x="45" y="438"/>
                    </a:lnTo>
                    <a:lnTo>
                      <a:pt x="43" y="437"/>
                    </a:lnTo>
                    <a:lnTo>
                      <a:pt x="38" y="432"/>
                    </a:lnTo>
                    <a:lnTo>
                      <a:pt x="33" y="422"/>
                    </a:lnTo>
                    <a:lnTo>
                      <a:pt x="33" y="415"/>
                    </a:lnTo>
                    <a:lnTo>
                      <a:pt x="28" y="412"/>
                    </a:lnTo>
                    <a:lnTo>
                      <a:pt x="28" y="410"/>
                    </a:lnTo>
                    <a:lnTo>
                      <a:pt x="28" y="405"/>
                    </a:lnTo>
                    <a:lnTo>
                      <a:pt x="28" y="400"/>
                    </a:lnTo>
                    <a:lnTo>
                      <a:pt x="28" y="399"/>
                    </a:lnTo>
                    <a:lnTo>
                      <a:pt x="30" y="399"/>
                    </a:lnTo>
                    <a:lnTo>
                      <a:pt x="33" y="395"/>
                    </a:lnTo>
                    <a:lnTo>
                      <a:pt x="33" y="392"/>
                    </a:lnTo>
                    <a:lnTo>
                      <a:pt x="30" y="390"/>
                    </a:lnTo>
                    <a:lnTo>
                      <a:pt x="27" y="389"/>
                    </a:lnTo>
                    <a:lnTo>
                      <a:pt x="25" y="384"/>
                    </a:lnTo>
                    <a:lnTo>
                      <a:pt x="23" y="382"/>
                    </a:lnTo>
                    <a:lnTo>
                      <a:pt x="23" y="379"/>
                    </a:lnTo>
                    <a:lnTo>
                      <a:pt x="23" y="375"/>
                    </a:lnTo>
                    <a:lnTo>
                      <a:pt x="23" y="374"/>
                    </a:lnTo>
                    <a:lnTo>
                      <a:pt x="25" y="372"/>
                    </a:lnTo>
                    <a:lnTo>
                      <a:pt x="25" y="369"/>
                    </a:lnTo>
                    <a:lnTo>
                      <a:pt x="27" y="367"/>
                    </a:lnTo>
                    <a:lnTo>
                      <a:pt x="28" y="367"/>
                    </a:lnTo>
                    <a:lnTo>
                      <a:pt x="32" y="372"/>
                    </a:lnTo>
                    <a:lnTo>
                      <a:pt x="35" y="374"/>
                    </a:lnTo>
                    <a:lnTo>
                      <a:pt x="33" y="372"/>
                    </a:lnTo>
                    <a:lnTo>
                      <a:pt x="32" y="369"/>
                    </a:lnTo>
                    <a:lnTo>
                      <a:pt x="32" y="362"/>
                    </a:lnTo>
                    <a:lnTo>
                      <a:pt x="30" y="362"/>
                    </a:lnTo>
                    <a:lnTo>
                      <a:pt x="30" y="359"/>
                    </a:lnTo>
                    <a:lnTo>
                      <a:pt x="32" y="359"/>
                    </a:lnTo>
                    <a:lnTo>
                      <a:pt x="33" y="360"/>
                    </a:lnTo>
                    <a:lnTo>
                      <a:pt x="38" y="359"/>
                    </a:lnTo>
                    <a:lnTo>
                      <a:pt x="42" y="357"/>
                    </a:lnTo>
                    <a:lnTo>
                      <a:pt x="37" y="357"/>
                    </a:lnTo>
                    <a:lnTo>
                      <a:pt x="35" y="355"/>
                    </a:lnTo>
                    <a:lnTo>
                      <a:pt x="32" y="355"/>
                    </a:lnTo>
                    <a:lnTo>
                      <a:pt x="30" y="354"/>
                    </a:lnTo>
                    <a:lnTo>
                      <a:pt x="28" y="354"/>
                    </a:lnTo>
                    <a:lnTo>
                      <a:pt x="27" y="352"/>
                    </a:lnTo>
                    <a:lnTo>
                      <a:pt x="25" y="357"/>
                    </a:lnTo>
                    <a:lnTo>
                      <a:pt x="25" y="362"/>
                    </a:lnTo>
                    <a:lnTo>
                      <a:pt x="25" y="362"/>
                    </a:lnTo>
                    <a:lnTo>
                      <a:pt x="23" y="362"/>
                    </a:lnTo>
                    <a:lnTo>
                      <a:pt x="22" y="360"/>
                    </a:lnTo>
                    <a:lnTo>
                      <a:pt x="17" y="355"/>
                    </a:lnTo>
                    <a:lnTo>
                      <a:pt x="15" y="352"/>
                    </a:lnTo>
                    <a:lnTo>
                      <a:pt x="17" y="349"/>
                    </a:lnTo>
                    <a:lnTo>
                      <a:pt x="15" y="345"/>
                    </a:lnTo>
                    <a:lnTo>
                      <a:pt x="5" y="331"/>
                    </a:lnTo>
                    <a:lnTo>
                      <a:pt x="5" y="329"/>
                    </a:lnTo>
                    <a:lnTo>
                      <a:pt x="5" y="326"/>
                    </a:lnTo>
                    <a:lnTo>
                      <a:pt x="7" y="322"/>
                    </a:lnTo>
                    <a:lnTo>
                      <a:pt x="7" y="317"/>
                    </a:lnTo>
                    <a:lnTo>
                      <a:pt x="5" y="314"/>
                    </a:lnTo>
                    <a:lnTo>
                      <a:pt x="5" y="312"/>
                    </a:lnTo>
                    <a:lnTo>
                      <a:pt x="8" y="307"/>
                    </a:lnTo>
                    <a:lnTo>
                      <a:pt x="8" y="302"/>
                    </a:lnTo>
                    <a:lnTo>
                      <a:pt x="8" y="294"/>
                    </a:lnTo>
                    <a:lnTo>
                      <a:pt x="5" y="286"/>
                    </a:lnTo>
                    <a:lnTo>
                      <a:pt x="0" y="281"/>
                    </a:lnTo>
                    <a:lnTo>
                      <a:pt x="0" y="276"/>
                    </a:lnTo>
                    <a:lnTo>
                      <a:pt x="3" y="271"/>
                    </a:lnTo>
                    <a:lnTo>
                      <a:pt x="10" y="267"/>
                    </a:lnTo>
                    <a:lnTo>
                      <a:pt x="12" y="261"/>
                    </a:lnTo>
                    <a:lnTo>
                      <a:pt x="10" y="259"/>
                    </a:lnTo>
                    <a:lnTo>
                      <a:pt x="10" y="257"/>
                    </a:lnTo>
                    <a:lnTo>
                      <a:pt x="13" y="254"/>
                    </a:lnTo>
                    <a:lnTo>
                      <a:pt x="15" y="249"/>
                    </a:lnTo>
                    <a:lnTo>
                      <a:pt x="17" y="241"/>
                    </a:lnTo>
                    <a:lnTo>
                      <a:pt x="15" y="236"/>
                    </a:lnTo>
                    <a:lnTo>
                      <a:pt x="15" y="233"/>
                    </a:lnTo>
                    <a:lnTo>
                      <a:pt x="17" y="229"/>
                    </a:lnTo>
                    <a:lnTo>
                      <a:pt x="13" y="224"/>
                    </a:lnTo>
                    <a:lnTo>
                      <a:pt x="13" y="219"/>
                    </a:lnTo>
                    <a:lnTo>
                      <a:pt x="17" y="211"/>
                    </a:lnTo>
                    <a:lnTo>
                      <a:pt x="15" y="203"/>
                    </a:lnTo>
                    <a:lnTo>
                      <a:pt x="17" y="198"/>
                    </a:lnTo>
                    <a:lnTo>
                      <a:pt x="23" y="191"/>
                    </a:lnTo>
                    <a:lnTo>
                      <a:pt x="25" y="186"/>
                    </a:lnTo>
                    <a:lnTo>
                      <a:pt x="28" y="184"/>
                    </a:lnTo>
                    <a:lnTo>
                      <a:pt x="30" y="178"/>
                    </a:lnTo>
                    <a:lnTo>
                      <a:pt x="35" y="173"/>
                    </a:lnTo>
                    <a:lnTo>
                      <a:pt x="38" y="166"/>
                    </a:lnTo>
                    <a:lnTo>
                      <a:pt x="40" y="154"/>
                    </a:lnTo>
                    <a:lnTo>
                      <a:pt x="45" y="144"/>
                    </a:lnTo>
                    <a:lnTo>
                      <a:pt x="47" y="135"/>
                    </a:lnTo>
                    <a:lnTo>
                      <a:pt x="53" y="121"/>
                    </a:lnTo>
                    <a:lnTo>
                      <a:pt x="57" y="116"/>
                    </a:lnTo>
                    <a:lnTo>
                      <a:pt x="60" y="111"/>
                    </a:lnTo>
                    <a:lnTo>
                      <a:pt x="60" y="108"/>
                    </a:lnTo>
                    <a:lnTo>
                      <a:pt x="60" y="105"/>
                    </a:lnTo>
                    <a:lnTo>
                      <a:pt x="63" y="98"/>
                    </a:lnTo>
                    <a:lnTo>
                      <a:pt x="63" y="95"/>
                    </a:lnTo>
                    <a:lnTo>
                      <a:pt x="65" y="95"/>
                    </a:lnTo>
                    <a:lnTo>
                      <a:pt x="68" y="96"/>
                    </a:lnTo>
                    <a:lnTo>
                      <a:pt x="77" y="96"/>
                    </a:lnTo>
                    <a:lnTo>
                      <a:pt x="80" y="98"/>
                    </a:lnTo>
                    <a:lnTo>
                      <a:pt x="83" y="98"/>
                    </a:lnTo>
                    <a:lnTo>
                      <a:pt x="87" y="101"/>
                    </a:lnTo>
                    <a:lnTo>
                      <a:pt x="90" y="105"/>
                    </a:lnTo>
                    <a:lnTo>
                      <a:pt x="88" y="100"/>
                    </a:lnTo>
                    <a:lnTo>
                      <a:pt x="87" y="98"/>
                    </a:lnTo>
                    <a:lnTo>
                      <a:pt x="82" y="96"/>
                    </a:lnTo>
                    <a:lnTo>
                      <a:pt x="77" y="93"/>
                    </a:lnTo>
                    <a:lnTo>
                      <a:pt x="70" y="93"/>
                    </a:lnTo>
                    <a:lnTo>
                      <a:pt x="63" y="91"/>
                    </a:lnTo>
                    <a:lnTo>
                      <a:pt x="63" y="90"/>
                    </a:lnTo>
                    <a:lnTo>
                      <a:pt x="65" y="88"/>
                    </a:lnTo>
                    <a:lnTo>
                      <a:pt x="67" y="88"/>
                    </a:lnTo>
                    <a:lnTo>
                      <a:pt x="70" y="85"/>
                    </a:lnTo>
                    <a:lnTo>
                      <a:pt x="70" y="81"/>
                    </a:lnTo>
                    <a:lnTo>
                      <a:pt x="72" y="78"/>
                    </a:lnTo>
                    <a:lnTo>
                      <a:pt x="67" y="76"/>
                    </a:lnTo>
                    <a:lnTo>
                      <a:pt x="65" y="75"/>
                    </a:lnTo>
                    <a:lnTo>
                      <a:pt x="67" y="70"/>
                    </a:lnTo>
                    <a:lnTo>
                      <a:pt x="70" y="70"/>
                    </a:lnTo>
                    <a:lnTo>
                      <a:pt x="72" y="68"/>
                    </a:lnTo>
                    <a:lnTo>
                      <a:pt x="70" y="66"/>
                    </a:lnTo>
                    <a:lnTo>
                      <a:pt x="68" y="66"/>
                    </a:lnTo>
                    <a:lnTo>
                      <a:pt x="67" y="63"/>
                    </a:lnTo>
                    <a:lnTo>
                      <a:pt x="68" y="58"/>
                    </a:lnTo>
                    <a:lnTo>
                      <a:pt x="67" y="51"/>
                    </a:lnTo>
                    <a:lnTo>
                      <a:pt x="70" y="40"/>
                    </a:lnTo>
                    <a:lnTo>
                      <a:pt x="67" y="32"/>
                    </a:lnTo>
                    <a:lnTo>
                      <a:pt x="67" y="28"/>
                    </a:lnTo>
                    <a:lnTo>
                      <a:pt x="70" y="20"/>
                    </a:lnTo>
                    <a:lnTo>
                      <a:pt x="72" y="17"/>
                    </a:lnTo>
                    <a:lnTo>
                      <a:pt x="73" y="15"/>
                    </a:lnTo>
                    <a:lnTo>
                      <a:pt x="85" y="25"/>
                    </a:lnTo>
                    <a:lnTo>
                      <a:pt x="90" y="28"/>
                    </a:lnTo>
                    <a:lnTo>
                      <a:pt x="101" y="28"/>
                    </a:lnTo>
                    <a:lnTo>
                      <a:pt x="105" y="30"/>
                    </a:lnTo>
                    <a:lnTo>
                      <a:pt x="106" y="35"/>
                    </a:lnTo>
                    <a:lnTo>
                      <a:pt x="110" y="33"/>
                    </a:lnTo>
                    <a:lnTo>
                      <a:pt x="111" y="33"/>
                    </a:lnTo>
                    <a:lnTo>
                      <a:pt x="113" y="37"/>
                    </a:lnTo>
                    <a:lnTo>
                      <a:pt x="111" y="38"/>
                    </a:lnTo>
                    <a:lnTo>
                      <a:pt x="106" y="40"/>
                    </a:lnTo>
                    <a:lnTo>
                      <a:pt x="101" y="45"/>
                    </a:lnTo>
                    <a:lnTo>
                      <a:pt x="101" y="46"/>
                    </a:lnTo>
                    <a:lnTo>
                      <a:pt x="106" y="46"/>
                    </a:lnTo>
                    <a:lnTo>
                      <a:pt x="108" y="43"/>
                    </a:lnTo>
                    <a:lnTo>
                      <a:pt x="113" y="40"/>
                    </a:lnTo>
                    <a:lnTo>
                      <a:pt x="115" y="40"/>
                    </a:lnTo>
                    <a:lnTo>
                      <a:pt x="115" y="43"/>
                    </a:lnTo>
                    <a:lnTo>
                      <a:pt x="111" y="46"/>
                    </a:lnTo>
                    <a:lnTo>
                      <a:pt x="110" y="51"/>
                    </a:lnTo>
                    <a:lnTo>
                      <a:pt x="108" y="56"/>
                    </a:lnTo>
                    <a:lnTo>
                      <a:pt x="108" y="58"/>
                    </a:lnTo>
                    <a:lnTo>
                      <a:pt x="106" y="55"/>
                    </a:lnTo>
                    <a:lnTo>
                      <a:pt x="103" y="56"/>
                    </a:lnTo>
                    <a:lnTo>
                      <a:pt x="103" y="55"/>
                    </a:lnTo>
                    <a:lnTo>
                      <a:pt x="98" y="60"/>
                    </a:lnTo>
                    <a:lnTo>
                      <a:pt x="100" y="61"/>
                    </a:lnTo>
                    <a:lnTo>
                      <a:pt x="105" y="63"/>
                    </a:lnTo>
                    <a:lnTo>
                      <a:pt x="110" y="60"/>
                    </a:lnTo>
                    <a:lnTo>
                      <a:pt x="111" y="56"/>
                    </a:lnTo>
                    <a:lnTo>
                      <a:pt x="113" y="53"/>
                    </a:lnTo>
                    <a:lnTo>
                      <a:pt x="115" y="48"/>
                    </a:lnTo>
                    <a:lnTo>
                      <a:pt x="116" y="46"/>
                    </a:lnTo>
                    <a:lnTo>
                      <a:pt x="118" y="42"/>
                    </a:lnTo>
                    <a:lnTo>
                      <a:pt x="121" y="38"/>
                    </a:lnTo>
                    <a:lnTo>
                      <a:pt x="126" y="35"/>
                    </a:lnTo>
                    <a:lnTo>
                      <a:pt x="125" y="32"/>
                    </a:lnTo>
                    <a:lnTo>
                      <a:pt x="123" y="28"/>
                    </a:lnTo>
                    <a:lnTo>
                      <a:pt x="121" y="28"/>
                    </a:lnTo>
                    <a:lnTo>
                      <a:pt x="125" y="25"/>
                    </a:lnTo>
                    <a:lnTo>
                      <a:pt x="126" y="23"/>
                    </a:lnTo>
                    <a:lnTo>
                      <a:pt x="123" y="20"/>
                    </a:lnTo>
                    <a:lnTo>
                      <a:pt x="121" y="17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1" y="7"/>
                    </a:lnTo>
                    <a:lnTo>
                      <a:pt x="120" y="0"/>
                    </a:lnTo>
                    <a:lnTo>
                      <a:pt x="120" y="0"/>
                    </a:lnTo>
                    <a:close/>
                    <a:moveTo>
                      <a:pt x="1259" y="311"/>
                    </a:moveTo>
                    <a:lnTo>
                      <a:pt x="1259" y="312"/>
                    </a:lnTo>
                    <a:lnTo>
                      <a:pt x="1263" y="312"/>
                    </a:lnTo>
                    <a:lnTo>
                      <a:pt x="1264" y="311"/>
                    </a:lnTo>
                    <a:lnTo>
                      <a:pt x="1268" y="311"/>
                    </a:lnTo>
                    <a:lnTo>
                      <a:pt x="1266" y="309"/>
                    </a:lnTo>
                    <a:lnTo>
                      <a:pt x="1261" y="309"/>
                    </a:lnTo>
                    <a:lnTo>
                      <a:pt x="1261" y="309"/>
                    </a:lnTo>
                    <a:lnTo>
                      <a:pt x="1259" y="311"/>
                    </a:lnTo>
                    <a:lnTo>
                      <a:pt x="1259" y="311"/>
                    </a:lnTo>
                    <a:close/>
                    <a:moveTo>
                      <a:pt x="1185" y="329"/>
                    </a:moveTo>
                    <a:lnTo>
                      <a:pt x="1183" y="331"/>
                    </a:lnTo>
                    <a:lnTo>
                      <a:pt x="1186" y="329"/>
                    </a:lnTo>
                    <a:lnTo>
                      <a:pt x="1188" y="329"/>
                    </a:lnTo>
                    <a:lnTo>
                      <a:pt x="1193" y="327"/>
                    </a:lnTo>
                    <a:lnTo>
                      <a:pt x="1198" y="327"/>
                    </a:lnTo>
                    <a:lnTo>
                      <a:pt x="1206" y="326"/>
                    </a:lnTo>
                    <a:lnTo>
                      <a:pt x="1209" y="324"/>
                    </a:lnTo>
                    <a:lnTo>
                      <a:pt x="1218" y="324"/>
                    </a:lnTo>
                    <a:lnTo>
                      <a:pt x="1219" y="324"/>
                    </a:lnTo>
                    <a:lnTo>
                      <a:pt x="1221" y="324"/>
                    </a:lnTo>
                    <a:lnTo>
                      <a:pt x="1228" y="322"/>
                    </a:lnTo>
                    <a:lnTo>
                      <a:pt x="1229" y="319"/>
                    </a:lnTo>
                    <a:lnTo>
                      <a:pt x="1226" y="321"/>
                    </a:lnTo>
                    <a:lnTo>
                      <a:pt x="1223" y="319"/>
                    </a:lnTo>
                    <a:lnTo>
                      <a:pt x="1218" y="322"/>
                    </a:lnTo>
                    <a:lnTo>
                      <a:pt x="1221" y="319"/>
                    </a:lnTo>
                    <a:lnTo>
                      <a:pt x="1223" y="317"/>
                    </a:lnTo>
                    <a:lnTo>
                      <a:pt x="1223" y="316"/>
                    </a:lnTo>
                    <a:lnTo>
                      <a:pt x="1214" y="319"/>
                    </a:lnTo>
                    <a:lnTo>
                      <a:pt x="1208" y="319"/>
                    </a:lnTo>
                    <a:lnTo>
                      <a:pt x="1201" y="322"/>
                    </a:lnTo>
                    <a:lnTo>
                      <a:pt x="1196" y="321"/>
                    </a:lnTo>
                    <a:lnTo>
                      <a:pt x="1190" y="322"/>
                    </a:lnTo>
                    <a:lnTo>
                      <a:pt x="1185" y="324"/>
                    </a:lnTo>
                    <a:lnTo>
                      <a:pt x="1181" y="327"/>
                    </a:lnTo>
                    <a:lnTo>
                      <a:pt x="1181" y="329"/>
                    </a:lnTo>
                    <a:lnTo>
                      <a:pt x="1185" y="329"/>
                    </a:lnTo>
                    <a:lnTo>
                      <a:pt x="1185" y="329"/>
                    </a:lnTo>
                    <a:close/>
                    <a:moveTo>
                      <a:pt x="120" y="22"/>
                    </a:moveTo>
                    <a:lnTo>
                      <a:pt x="115" y="25"/>
                    </a:lnTo>
                    <a:lnTo>
                      <a:pt x="115" y="32"/>
                    </a:lnTo>
                    <a:lnTo>
                      <a:pt x="118" y="38"/>
                    </a:lnTo>
                    <a:lnTo>
                      <a:pt x="120" y="37"/>
                    </a:lnTo>
                    <a:lnTo>
                      <a:pt x="118" y="28"/>
                    </a:lnTo>
                    <a:lnTo>
                      <a:pt x="118" y="25"/>
                    </a:lnTo>
                    <a:lnTo>
                      <a:pt x="121" y="23"/>
                    </a:lnTo>
                    <a:lnTo>
                      <a:pt x="120" y="22"/>
                    </a:lnTo>
                    <a:lnTo>
                      <a:pt x="120" y="22"/>
                    </a:lnTo>
                    <a:close/>
                    <a:moveTo>
                      <a:pt x="580" y="661"/>
                    </a:moveTo>
                    <a:lnTo>
                      <a:pt x="582" y="659"/>
                    </a:lnTo>
                    <a:lnTo>
                      <a:pt x="587" y="653"/>
                    </a:lnTo>
                    <a:lnTo>
                      <a:pt x="590" y="649"/>
                    </a:lnTo>
                    <a:lnTo>
                      <a:pt x="585" y="653"/>
                    </a:lnTo>
                    <a:lnTo>
                      <a:pt x="580" y="661"/>
                    </a:lnTo>
                    <a:lnTo>
                      <a:pt x="580" y="661"/>
                    </a:lnTo>
                    <a:close/>
                    <a:moveTo>
                      <a:pt x="573" y="671"/>
                    </a:moveTo>
                    <a:lnTo>
                      <a:pt x="575" y="671"/>
                    </a:lnTo>
                    <a:lnTo>
                      <a:pt x="578" y="666"/>
                    </a:lnTo>
                    <a:lnTo>
                      <a:pt x="578" y="663"/>
                    </a:lnTo>
                    <a:lnTo>
                      <a:pt x="573" y="671"/>
                    </a:lnTo>
                    <a:lnTo>
                      <a:pt x="573" y="671"/>
                    </a:lnTo>
                    <a:close/>
                    <a:moveTo>
                      <a:pt x="572" y="701"/>
                    </a:moveTo>
                    <a:lnTo>
                      <a:pt x="570" y="694"/>
                    </a:lnTo>
                    <a:lnTo>
                      <a:pt x="570" y="684"/>
                    </a:lnTo>
                    <a:lnTo>
                      <a:pt x="573" y="674"/>
                    </a:lnTo>
                    <a:lnTo>
                      <a:pt x="568" y="684"/>
                    </a:lnTo>
                    <a:lnTo>
                      <a:pt x="568" y="694"/>
                    </a:lnTo>
                    <a:lnTo>
                      <a:pt x="568" y="694"/>
                    </a:lnTo>
                    <a:lnTo>
                      <a:pt x="572" y="701"/>
                    </a:lnTo>
                    <a:lnTo>
                      <a:pt x="572" y="7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3" name="Freeform 158"/>
              <p:cNvSpPr>
                <a:spLocks/>
              </p:cNvSpPr>
              <p:nvPr/>
            </p:nvSpPr>
            <p:spPr bwMode="auto">
              <a:xfrm>
                <a:off x="5266637" y="3082949"/>
                <a:ext cx="86690" cy="36316"/>
              </a:xfrm>
              <a:custGeom>
                <a:avLst/>
                <a:gdLst/>
                <a:ahLst/>
                <a:cxnLst>
                  <a:cxn ang="0">
                    <a:pos x="60" y="70"/>
                  </a:cxn>
                  <a:cxn ang="0">
                    <a:pos x="68" y="67"/>
                  </a:cxn>
                  <a:cxn ang="0">
                    <a:pos x="68" y="58"/>
                  </a:cxn>
                  <a:cxn ang="0">
                    <a:pos x="76" y="53"/>
                  </a:cxn>
                  <a:cxn ang="0">
                    <a:pos x="90" y="50"/>
                  </a:cxn>
                  <a:cxn ang="0">
                    <a:pos x="95" y="52"/>
                  </a:cxn>
                  <a:cxn ang="0">
                    <a:pos x="100" y="50"/>
                  </a:cxn>
                  <a:cxn ang="0">
                    <a:pos x="110" y="45"/>
                  </a:cxn>
                  <a:cxn ang="0">
                    <a:pos x="113" y="42"/>
                  </a:cxn>
                  <a:cxn ang="0">
                    <a:pos x="121" y="35"/>
                  </a:cxn>
                  <a:cxn ang="0">
                    <a:pos x="123" y="32"/>
                  </a:cxn>
                  <a:cxn ang="0">
                    <a:pos x="128" y="35"/>
                  </a:cxn>
                  <a:cxn ang="0">
                    <a:pos x="135" y="37"/>
                  </a:cxn>
                  <a:cxn ang="0">
                    <a:pos x="140" y="33"/>
                  </a:cxn>
                  <a:cxn ang="0">
                    <a:pos x="148" y="28"/>
                  </a:cxn>
                  <a:cxn ang="0">
                    <a:pos x="151" y="25"/>
                  </a:cxn>
                  <a:cxn ang="0">
                    <a:pos x="155" y="27"/>
                  </a:cxn>
                  <a:cxn ang="0">
                    <a:pos x="161" y="25"/>
                  </a:cxn>
                  <a:cxn ang="0">
                    <a:pos x="161" y="22"/>
                  </a:cxn>
                  <a:cxn ang="0">
                    <a:pos x="150" y="17"/>
                  </a:cxn>
                  <a:cxn ang="0">
                    <a:pos x="151" y="20"/>
                  </a:cxn>
                  <a:cxn ang="0">
                    <a:pos x="140" y="20"/>
                  </a:cxn>
                  <a:cxn ang="0">
                    <a:pos x="133" y="17"/>
                  </a:cxn>
                  <a:cxn ang="0">
                    <a:pos x="130" y="15"/>
                  </a:cxn>
                  <a:cxn ang="0">
                    <a:pos x="133" y="13"/>
                  </a:cxn>
                  <a:cxn ang="0">
                    <a:pos x="140" y="13"/>
                  </a:cxn>
                  <a:cxn ang="0">
                    <a:pos x="146" y="15"/>
                  </a:cxn>
                  <a:cxn ang="0">
                    <a:pos x="136" y="8"/>
                  </a:cxn>
                  <a:cxn ang="0">
                    <a:pos x="128" y="8"/>
                  </a:cxn>
                  <a:cxn ang="0">
                    <a:pos x="125" y="10"/>
                  </a:cxn>
                  <a:cxn ang="0">
                    <a:pos x="110" y="7"/>
                  </a:cxn>
                  <a:cxn ang="0">
                    <a:pos x="95" y="2"/>
                  </a:cxn>
                  <a:cxn ang="0">
                    <a:pos x="88" y="3"/>
                  </a:cxn>
                  <a:cxn ang="0">
                    <a:pos x="86" y="5"/>
                  </a:cxn>
                  <a:cxn ang="0">
                    <a:pos x="80" y="5"/>
                  </a:cxn>
                  <a:cxn ang="0">
                    <a:pos x="62" y="7"/>
                  </a:cxn>
                  <a:cxn ang="0">
                    <a:pos x="42" y="10"/>
                  </a:cxn>
                  <a:cxn ang="0">
                    <a:pos x="37" y="10"/>
                  </a:cxn>
                  <a:cxn ang="0">
                    <a:pos x="33" y="17"/>
                  </a:cxn>
                  <a:cxn ang="0">
                    <a:pos x="22" y="20"/>
                  </a:cxn>
                  <a:cxn ang="0">
                    <a:pos x="12" y="28"/>
                  </a:cxn>
                  <a:cxn ang="0">
                    <a:pos x="10" y="38"/>
                  </a:cxn>
                  <a:cxn ang="0">
                    <a:pos x="3" y="43"/>
                  </a:cxn>
                  <a:cxn ang="0">
                    <a:pos x="3" y="45"/>
                  </a:cxn>
                  <a:cxn ang="0">
                    <a:pos x="5" y="62"/>
                  </a:cxn>
                  <a:cxn ang="0">
                    <a:pos x="15" y="65"/>
                  </a:cxn>
                  <a:cxn ang="0">
                    <a:pos x="23" y="67"/>
                  </a:cxn>
                  <a:cxn ang="0">
                    <a:pos x="22" y="65"/>
                  </a:cxn>
                  <a:cxn ang="0">
                    <a:pos x="30" y="68"/>
                  </a:cxn>
                  <a:cxn ang="0">
                    <a:pos x="43" y="72"/>
                  </a:cxn>
                  <a:cxn ang="0">
                    <a:pos x="45" y="65"/>
                  </a:cxn>
                  <a:cxn ang="0">
                    <a:pos x="50" y="65"/>
                  </a:cxn>
                  <a:cxn ang="0">
                    <a:pos x="53" y="67"/>
                  </a:cxn>
                  <a:cxn ang="0">
                    <a:pos x="55" y="67"/>
                  </a:cxn>
                  <a:cxn ang="0">
                    <a:pos x="57" y="72"/>
                  </a:cxn>
                </a:cxnLst>
                <a:rect l="0" t="0" r="r" b="b"/>
                <a:pathLst>
                  <a:path w="163" h="72">
                    <a:moveTo>
                      <a:pt x="57" y="72"/>
                    </a:moveTo>
                    <a:lnTo>
                      <a:pt x="60" y="70"/>
                    </a:lnTo>
                    <a:lnTo>
                      <a:pt x="67" y="70"/>
                    </a:lnTo>
                    <a:lnTo>
                      <a:pt x="68" y="67"/>
                    </a:lnTo>
                    <a:lnTo>
                      <a:pt x="68" y="62"/>
                    </a:lnTo>
                    <a:lnTo>
                      <a:pt x="68" y="58"/>
                    </a:lnTo>
                    <a:lnTo>
                      <a:pt x="68" y="53"/>
                    </a:lnTo>
                    <a:lnTo>
                      <a:pt x="76" y="53"/>
                    </a:lnTo>
                    <a:lnTo>
                      <a:pt x="85" y="48"/>
                    </a:lnTo>
                    <a:lnTo>
                      <a:pt x="90" y="50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8" y="53"/>
                    </a:lnTo>
                    <a:lnTo>
                      <a:pt x="100" y="50"/>
                    </a:lnTo>
                    <a:lnTo>
                      <a:pt x="105" y="48"/>
                    </a:lnTo>
                    <a:lnTo>
                      <a:pt x="110" y="45"/>
                    </a:lnTo>
                    <a:lnTo>
                      <a:pt x="111" y="43"/>
                    </a:lnTo>
                    <a:lnTo>
                      <a:pt x="113" y="42"/>
                    </a:lnTo>
                    <a:lnTo>
                      <a:pt x="116" y="35"/>
                    </a:lnTo>
                    <a:lnTo>
                      <a:pt x="121" y="35"/>
                    </a:lnTo>
                    <a:lnTo>
                      <a:pt x="121" y="32"/>
                    </a:lnTo>
                    <a:lnTo>
                      <a:pt x="123" y="32"/>
                    </a:lnTo>
                    <a:lnTo>
                      <a:pt x="126" y="33"/>
                    </a:lnTo>
                    <a:lnTo>
                      <a:pt x="128" y="35"/>
                    </a:lnTo>
                    <a:lnTo>
                      <a:pt x="133" y="35"/>
                    </a:lnTo>
                    <a:lnTo>
                      <a:pt x="135" y="37"/>
                    </a:lnTo>
                    <a:lnTo>
                      <a:pt x="136" y="33"/>
                    </a:lnTo>
                    <a:lnTo>
                      <a:pt x="140" y="33"/>
                    </a:lnTo>
                    <a:lnTo>
                      <a:pt x="145" y="30"/>
                    </a:lnTo>
                    <a:lnTo>
                      <a:pt x="148" y="28"/>
                    </a:lnTo>
                    <a:lnTo>
                      <a:pt x="150" y="25"/>
                    </a:lnTo>
                    <a:lnTo>
                      <a:pt x="151" y="25"/>
                    </a:lnTo>
                    <a:lnTo>
                      <a:pt x="153" y="25"/>
                    </a:lnTo>
                    <a:lnTo>
                      <a:pt x="155" y="27"/>
                    </a:lnTo>
                    <a:lnTo>
                      <a:pt x="158" y="27"/>
                    </a:lnTo>
                    <a:lnTo>
                      <a:pt x="161" y="25"/>
                    </a:lnTo>
                    <a:lnTo>
                      <a:pt x="163" y="25"/>
                    </a:lnTo>
                    <a:lnTo>
                      <a:pt x="161" y="22"/>
                    </a:lnTo>
                    <a:lnTo>
                      <a:pt x="155" y="18"/>
                    </a:lnTo>
                    <a:lnTo>
                      <a:pt x="150" y="17"/>
                    </a:lnTo>
                    <a:lnTo>
                      <a:pt x="150" y="17"/>
                    </a:lnTo>
                    <a:lnTo>
                      <a:pt x="151" y="20"/>
                    </a:lnTo>
                    <a:lnTo>
                      <a:pt x="146" y="20"/>
                    </a:lnTo>
                    <a:lnTo>
                      <a:pt x="140" y="20"/>
                    </a:lnTo>
                    <a:lnTo>
                      <a:pt x="138" y="18"/>
                    </a:lnTo>
                    <a:lnTo>
                      <a:pt x="133" y="17"/>
                    </a:lnTo>
                    <a:lnTo>
                      <a:pt x="130" y="17"/>
                    </a:lnTo>
                    <a:lnTo>
                      <a:pt x="130" y="15"/>
                    </a:lnTo>
                    <a:lnTo>
                      <a:pt x="133" y="15"/>
                    </a:lnTo>
                    <a:lnTo>
                      <a:pt x="133" y="13"/>
                    </a:lnTo>
                    <a:lnTo>
                      <a:pt x="135" y="12"/>
                    </a:lnTo>
                    <a:lnTo>
                      <a:pt x="140" y="13"/>
                    </a:lnTo>
                    <a:lnTo>
                      <a:pt x="146" y="15"/>
                    </a:lnTo>
                    <a:lnTo>
                      <a:pt x="146" y="15"/>
                    </a:lnTo>
                    <a:lnTo>
                      <a:pt x="141" y="12"/>
                    </a:lnTo>
                    <a:lnTo>
                      <a:pt x="136" y="8"/>
                    </a:lnTo>
                    <a:lnTo>
                      <a:pt x="131" y="8"/>
                    </a:lnTo>
                    <a:lnTo>
                      <a:pt x="128" y="8"/>
                    </a:lnTo>
                    <a:lnTo>
                      <a:pt x="125" y="7"/>
                    </a:lnTo>
                    <a:lnTo>
                      <a:pt x="125" y="10"/>
                    </a:lnTo>
                    <a:lnTo>
                      <a:pt x="121" y="8"/>
                    </a:lnTo>
                    <a:lnTo>
                      <a:pt x="110" y="7"/>
                    </a:lnTo>
                    <a:lnTo>
                      <a:pt x="100" y="7"/>
                    </a:lnTo>
                    <a:lnTo>
                      <a:pt x="95" y="2"/>
                    </a:lnTo>
                    <a:lnTo>
                      <a:pt x="90" y="0"/>
                    </a:lnTo>
                    <a:lnTo>
                      <a:pt x="88" y="3"/>
                    </a:lnTo>
                    <a:lnTo>
                      <a:pt x="90" y="3"/>
                    </a:lnTo>
                    <a:lnTo>
                      <a:pt x="86" y="5"/>
                    </a:lnTo>
                    <a:lnTo>
                      <a:pt x="85" y="7"/>
                    </a:lnTo>
                    <a:lnTo>
                      <a:pt x="80" y="5"/>
                    </a:lnTo>
                    <a:lnTo>
                      <a:pt x="71" y="8"/>
                    </a:lnTo>
                    <a:lnTo>
                      <a:pt x="62" y="7"/>
                    </a:lnTo>
                    <a:lnTo>
                      <a:pt x="48" y="7"/>
                    </a:lnTo>
                    <a:lnTo>
                      <a:pt x="42" y="10"/>
                    </a:lnTo>
                    <a:lnTo>
                      <a:pt x="38" y="8"/>
                    </a:lnTo>
                    <a:lnTo>
                      <a:pt x="37" y="10"/>
                    </a:lnTo>
                    <a:lnTo>
                      <a:pt x="35" y="12"/>
                    </a:lnTo>
                    <a:lnTo>
                      <a:pt x="33" y="17"/>
                    </a:lnTo>
                    <a:lnTo>
                      <a:pt x="27" y="20"/>
                    </a:lnTo>
                    <a:lnTo>
                      <a:pt x="22" y="20"/>
                    </a:lnTo>
                    <a:lnTo>
                      <a:pt x="17" y="25"/>
                    </a:lnTo>
                    <a:lnTo>
                      <a:pt x="12" y="28"/>
                    </a:lnTo>
                    <a:lnTo>
                      <a:pt x="13" y="33"/>
                    </a:lnTo>
                    <a:lnTo>
                      <a:pt x="10" y="38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0" y="57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15" y="65"/>
                    </a:lnTo>
                    <a:lnTo>
                      <a:pt x="22" y="68"/>
                    </a:lnTo>
                    <a:lnTo>
                      <a:pt x="23" y="67"/>
                    </a:lnTo>
                    <a:lnTo>
                      <a:pt x="20" y="65"/>
                    </a:lnTo>
                    <a:lnTo>
                      <a:pt x="22" y="65"/>
                    </a:lnTo>
                    <a:lnTo>
                      <a:pt x="27" y="65"/>
                    </a:lnTo>
                    <a:lnTo>
                      <a:pt x="30" y="68"/>
                    </a:lnTo>
                    <a:lnTo>
                      <a:pt x="32" y="72"/>
                    </a:lnTo>
                    <a:lnTo>
                      <a:pt x="43" y="72"/>
                    </a:lnTo>
                    <a:lnTo>
                      <a:pt x="47" y="67"/>
                    </a:lnTo>
                    <a:lnTo>
                      <a:pt x="45" y="65"/>
                    </a:lnTo>
                    <a:lnTo>
                      <a:pt x="47" y="63"/>
                    </a:lnTo>
                    <a:lnTo>
                      <a:pt x="50" y="65"/>
                    </a:lnTo>
                    <a:lnTo>
                      <a:pt x="50" y="67"/>
                    </a:lnTo>
                    <a:lnTo>
                      <a:pt x="53" y="67"/>
                    </a:lnTo>
                    <a:lnTo>
                      <a:pt x="53" y="65"/>
                    </a:lnTo>
                    <a:lnTo>
                      <a:pt x="55" y="67"/>
                    </a:lnTo>
                    <a:lnTo>
                      <a:pt x="55" y="68"/>
                    </a:lnTo>
                    <a:lnTo>
                      <a:pt x="57" y="72"/>
                    </a:lnTo>
                    <a:lnTo>
                      <a:pt x="57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4" name="Freeform 160"/>
              <p:cNvSpPr>
                <a:spLocks/>
              </p:cNvSpPr>
              <p:nvPr/>
            </p:nvSpPr>
            <p:spPr bwMode="auto">
              <a:xfrm>
                <a:off x="5275199" y="3055971"/>
                <a:ext cx="14983" cy="29052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3" y="10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3" y="5"/>
                  </a:cxn>
                  <a:cxn ang="0">
                    <a:pos x="15" y="1"/>
                  </a:cxn>
                  <a:cxn ang="0">
                    <a:pos x="15" y="0"/>
                  </a:cxn>
                  <a:cxn ang="0">
                    <a:pos x="18" y="0"/>
                  </a:cxn>
                  <a:cxn ang="0">
                    <a:pos x="20" y="0"/>
                  </a:cxn>
                  <a:cxn ang="0">
                    <a:pos x="22" y="1"/>
                  </a:cxn>
                  <a:cxn ang="0">
                    <a:pos x="23" y="0"/>
                  </a:cxn>
                  <a:cxn ang="0">
                    <a:pos x="27" y="0"/>
                  </a:cxn>
                  <a:cxn ang="0">
                    <a:pos x="28" y="1"/>
                  </a:cxn>
                  <a:cxn ang="0">
                    <a:pos x="27" y="5"/>
                  </a:cxn>
                  <a:cxn ang="0">
                    <a:pos x="27" y="15"/>
                  </a:cxn>
                  <a:cxn ang="0">
                    <a:pos x="23" y="18"/>
                  </a:cxn>
                  <a:cxn ang="0">
                    <a:pos x="23" y="25"/>
                  </a:cxn>
                  <a:cxn ang="0">
                    <a:pos x="25" y="28"/>
                  </a:cxn>
                  <a:cxn ang="0">
                    <a:pos x="25" y="34"/>
                  </a:cxn>
                  <a:cxn ang="0">
                    <a:pos x="23" y="41"/>
                  </a:cxn>
                  <a:cxn ang="0">
                    <a:pos x="17" y="49"/>
                  </a:cxn>
                  <a:cxn ang="0">
                    <a:pos x="13" y="48"/>
                  </a:cxn>
                  <a:cxn ang="0">
                    <a:pos x="8" y="51"/>
                  </a:cxn>
                  <a:cxn ang="0">
                    <a:pos x="7" y="54"/>
                  </a:cxn>
                  <a:cxn ang="0">
                    <a:pos x="7" y="54"/>
                  </a:cxn>
                  <a:cxn ang="0">
                    <a:pos x="5" y="56"/>
                  </a:cxn>
                  <a:cxn ang="0">
                    <a:pos x="3" y="54"/>
                  </a:cxn>
                  <a:cxn ang="0">
                    <a:pos x="0" y="54"/>
                  </a:cxn>
                  <a:cxn ang="0">
                    <a:pos x="0" y="15"/>
                  </a:cxn>
                  <a:cxn ang="0">
                    <a:pos x="0" y="13"/>
                  </a:cxn>
                </a:cxnLst>
                <a:rect l="0" t="0" r="r" b="b"/>
                <a:pathLst>
                  <a:path w="28" h="56">
                    <a:moveTo>
                      <a:pt x="0" y="13"/>
                    </a:moveTo>
                    <a:lnTo>
                      <a:pt x="0" y="13"/>
                    </a:lnTo>
                    <a:lnTo>
                      <a:pt x="0" y="11"/>
                    </a:lnTo>
                    <a:lnTo>
                      <a:pt x="3" y="10"/>
                    </a:lnTo>
                    <a:lnTo>
                      <a:pt x="7" y="10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3" y="5"/>
                    </a:lnTo>
                    <a:lnTo>
                      <a:pt x="15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27" y="5"/>
                    </a:lnTo>
                    <a:lnTo>
                      <a:pt x="27" y="15"/>
                    </a:lnTo>
                    <a:lnTo>
                      <a:pt x="23" y="18"/>
                    </a:lnTo>
                    <a:lnTo>
                      <a:pt x="23" y="25"/>
                    </a:lnTo>
                    <a:lnTo>
                      <a:pt x="25" y="28"/>
                    </a:lnTo>
                    <a:lnTo>
                      <a:pt x="25" y="34"/>
                    </a:lnTo>
                    <a:lnTo>
                      <a:pt x="23" y="41"/>
                    </a:lnTo>
                    <a:lnTo>
                      <a:pt x="17" y="49"/>
                    </a:lnTo>
                    <a:lnTo>
                      <a:pt x="13" y="48"/>
                    </a:lnTo>
                    <a:lnTo>
                      <a:pt x="8" y="51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5" y="56"/>
                    </a:lnTo>
                    <a:lnTo>
                      <a:pt x="3" y="54"/>
                    </a:lnTo>
                    <a:lnTo>
                      <a:pt x="0" y="54"/>
                    </a:lnTo>
                    <a:lnTo>
                      <a:pt x="0" y="15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5" name="Freeform 161"/>
              <p:cNvSpPr>
                <a:spLocks/>
              </p:cNvSpPr>
              <p:nvPr/>
            </p:nvSpPr>
            <p:spPr bwMode="auto">
              <a:xfrm>
                <a:off x="5233460" y="3062197"/>
                <a:ext cx="53512" cy="49804"/>
              </a:xfrm>
              <a:custGeom>
                <a:avLst/>
                <a:gdLst/>
                <a:ahLst/>
                <a:cxnLst>
                  <a:cxn ang="0">
                    <a:pos x="48" y="95"/>
                  </a:cxn>
                  <a:cxn ang="0">
                    <a:pos x="49" y="93"/>
                  </a:cxn>
                  <a:cxn ang="0">
                    <a:pos x="49" y="90"/>
                  </a:cxn>
                  <a:cxn ang="0">
                    <a:pos x="54" y="86"/>
                  </a:cxn>
                  <a:cxn ang="0">
                    <a:pos x="61" y="85"/>
                  </a:cxn>
                  <a:cxn ang="0">
                    <a:pos x="64" y="83"/>
                  </a:cxn>
                  <a:cxn ang="0">
                    <a:pos x="64" y="81"/>
                  </a:cxn>
                  <a:cxn ang="0">
                    <a:pos x="71" y="76"/>
                  </a:cxn>
                  <a:cxn ang="0">
                    <a:pos x="74" y="71"/>
                  </a:cxn>
                  <a:cxn ang="0">
                    <a:pos x="73" y="66"/>
                  </a:cxn>
                  <a:cxn ang="0">
                    <a:pos x="78" y="63"/>
                  </a:cxn>
                  <a:cxn ang="0">
                    <a:pos x="83" y="58"/>
                  </a:cxn>
                  <a:cxn ang="0">
                    <a:pos x="88" y="58"/>
                  </a:cxn>
                  <a:cxn ang="0">
                    <a:pos x="94" y="55"/>
                  </a:cxn>
                  <a:cxn ang="0">
                    <a:pos x="96" y="50"/>
                  </a:cxn>
                  <a:cxn ang="0">
                    <a:pos x="98" y="48"/>
                  </a:cxn>
                  <a:cxn ang="0">
                    <a:pos x="99" y="46"/>
                  </a:cxn>
                  <a:cxn ang="0">
                    <a:pos x="98" y="45"/>
                  </a:cxn>
                  <a:cxn ang="0">
                    <a:pos x="93" y="45"/>
                  </a:cxn>
                  <a:cxn ang="0">
                    <a:pos x="91" y="46"/>
                  </a:cxn>
                  <a:cxn ang="0">
                    <a:pos x="88" y="45"/>
                  </a:cxn>
                  <a:cxn ang="0">
                    <a:pos x="84" y="45"/>
                  </a:cxn>
                  <a:cxn ang="0">
                    <a:pos x="83" y="41"/>
                  </a:cxn>
                  <a:cxn ang="0">
                    <a:pos x="81" y="43"/>
                  </a:cxn>
                  <a:cxn ang="0">
                    <a:pos x="79" y="41"/>
                  </a:cxn>
                  <a:cxn ang="0">
                    <a:pos x="76" y="41"/>
                  </a:cxn>
                  <a:cxn ang="0">
                    <a:pos x="76" y="2"/>
                  </a:cxn>
                  <a:cxn ang="0">
                    <a:pos x="76" y="0"/>
                  </a:cxn>
                  <a:cxn ang="0">
                    <a:pos x="34" y="0"/>
                  </a:cxn>
                  <a:cxn ang="0">
                    <a:pos x="33" y="12"/>
                  </a:cxn>
                  <a:cxn ang="0">
                    <a:pos x="23" y="13"/>
                  </a:cxn>
                  <a:cxn ang="0">
                    <a:pos x="26" y="15"/>
                  </a:cxn>
                  <a:cxn ang="0">
                    <a:pos x="28" y="17"/>
                  </a:cxn>
                  <a:cxn ang="0">
                    <a:pos x="31" y="21"/>
                  </a:cxn>
                  <a:cxn ang="0">
                    <a:pos x="36" y="25"/>
                  </a:cxn>
                  <a:cxn ang="0">
                    <a:pos x="38" y="25"/>
                  </a:cxn>
                  <a:cxn ang="0">
                    <a:pos x="39" y="26"/>
                  </a:cxn>
                  <a:cxn ang="0">
                    <a:pos x="41" y="30"/>
                  </a:cxn>
                  <a:cxn ang="0">
                    <a:pos x="43" y="31"/>
                  </a:cxn>
                  <a:cxn ang="0">
                    <a:pos x="46" y="31"/>
                  </a:cxn>
                  <a:cxn ang="0">
                    <a:pos x="49" y="33"/>
                  </a:cxn>
                  <a:cxn ang="0">
                    <a:pos x="49" y="36"/>
                  </a:cxn>
                  <a:cxn ang="0">
                    <a:pos x="46" y="38"/>
                  </a:cxn>
                  <a:cxn ang="0">
                    <a:pos x="16" y="38"/>
                  </a:cxn>
                  <a:cxn ang="0">
                    <a:pos x="1" y="60"/>
                  </a:cxn>
                  <a:cxn ang="0">
                    <a:pos x="1" y="63"/>
                  </a:cxn>
                  <a:cxn ang="0">
                    <a:pos x="1" y="65"/>
                  </a:cxn>
                  <a:cxn ang="0">
                    <a:pos x="1" y="66"/>
                  </a:cxn>
                  <a:cxn ang="0">
                    <a:pos x="3" y="68"/>
                  </a:cxn>
                  <a:cxn ang="0">
                    <a:pos x="3" y="68"/>
                  </a:cxn>
                  <a:cxn ang="0">
                    <a:pos x="3" y="71"/>
                  </a:cxn>
                  <a:cxn ang="0">
                    <a:pos x="1" y="73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3" y="80"/>
                  </a:cxn>
                  <a:cxn ang="0">
                    <a:pos x="6" y="85"/>
                  </a:cxn>
                  <a:cxn ang="0">
                    <a:pos x="10" y="85"/>
                  </a:cxn>
                  <a:cxn ang="0">
                    <a:pos x="13" y="88"/>
                  </a:cxn>
                  <a:cxn ang="0">
                    <a:pos x="26" y="93"/>
                  </a:cxn>
                  <a:cxn ang="0">
                    <a:pos x="33" y="93"/>
                  </a:cxn>
                  <a:cxn ang="0">
                    <a:pos x="39" y="91"/>
                  </a:cxn>
                  <a:cxn ang="0">
                    <a:pos x="48" y="95"/>
                  </a:cxn>
                </a:cxnLst>
                <a:rect l="0" t="0" r="r" b="b"/>
                <a:pathLst>
                  <a:path w="99" h="95">
                    <a:moveTo>
                      <a:pt x="48" y="95"/>
                    </a:moveTo>
                    <a:lnTo>
                      <a:pt x="49" y="93"/>
                    </a:lnTo>
                    <a:lnTo>
                      <a:pt x="49" y="90"/>
                    </a:lnTo>
                    <a:lnTo>
                      <a:pt x="54" y="86"/>
                    </a:lnTo>
                    <a:lnTo>
                      <a:pt x="61" y="85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71" y="76"/>
                    </a:lnTo>
                    <a:lnTo>
                      <a:pt x="74" y="71"/>
                    </a:lnTo>
                    <a:lnTo>
                      <a:pt x="73" y="66"/>
                    </a:lnTo>
                    <a:lnTo>
                      <a:pt x="78" y="63"/>
                    </a:lnTo>
                    <a:lnTo>
                      <a:pt x="83" y="58"/>
                    </a:lnTo>
                    <a:lnTo>
                      <a:pt x="88" y="58"/>
                    </a:lnTo>
                    <a:lnTo>
                      <a:pt x="94" y="55"/>
                    </a:lnTo>
                    <a:lnTo>
                      <a:pt x="96" y="50"/>
                    </a:lnTo>
                    <a:lnTo>
                      <a:pt x="98" y="48"/>
                    </a:lnTo>
                    <a:lnTo>
                      <a:pt x="99" y="46"/>
                    </a:lnTo>
                    <a:lnTo>
                      <a:pt x="98" y="45"/>
                    </a:lnTo>
                    <a:lnTo>
                      <a:pt x="93" y="45"/>
                    </a:lnTo>
                    <a:lnTo>
                      <a:pt x="91" y="46"/>
                    </a:lnTo>
                    <a:lnTo>
                      <a:pt x="88" y="45"/>
                    </a:lnTo>
                    <a:lnTo>
                      <a:pt x="84" y="45"/>
                    </a:lnTo>
                    <a:lnTo>
                      <a:pt x="83" y="41"/>
                    </a:lnTo>
                    <a:lnTo>
                      <a:pt x="81" y="43"/>
                    </a:lnTo>
                    <a:lnTo>
                      <a:pt x="79" y="41"/>
                    </a:lnTo>
                    <a:lnTo>
                      <a:pt x="76" y="41"/>
                    </a:lnTo>
                    <a:lnTo>
                      <a:pt x="76" y="2"/>
                    </a:lnTo>
                    <a:lnTo>
                      <a:pt x="76" y="0"/>
                    </a:lnTo>
                    <a:lnTo>
                      <a:pt x="34" y="0"/>
                    </a:lnTo>
                    <a:lnTo>
                      <a:pt x="33" y="12"/>
                    </a:lnTo>
                    <a:lnTo>
                      <a:pt x="23" y="13"/>
                    </a:lnTo>
                    <a:lnTo>
                      <a:pt x="26" y="15"/>
                    </a:lnTo>
                    <a:lnTo>
                      <a:pt x="28" y="17"/>
                    </a:lnTo>
                    <a:lnTo>
                      <a:pt x="31" y="21"/>
                    </a:lnTo>
                    <a:lnTo>
                      <a:pt x="36" y="25"/>
                    </a:lnTo>
                    <a:lnTo>
                      <a:pt x="38" y="25"/>
                    </a:lnTo>
                    <a:lnTo>
                      <a:pt x="39" y="26"/>
                    </a:lnTo>
                    <a:lnTo>
                      <a:pt x="41" y="30"/>
                    </a:lnTo>
                    <a:lnTo>
                      <a:pt x="43" y="31"/>
                    </a:lnTo>
                    <a:lnTo>
                      <a:pt x="46" y="31"/>
                    </a:lnTo>
                    <a:lnTo>
                      <a:pt x="49" y="33"/>
                    </a:lnTo>
                    <a:lnTo>
                      <a:pt x="49" y="36"/>
                    </a:lnTo>
                    <a:lnTo>
                      <a:pt x="46" y="38"/>
                    </a:lnTo>
                    <a:lnTo>
                      <a:pt x="16" y="38"/>
                    </a:lnTo>
                    <a:lnTo>
                      <a:pt x="1" y="60"/>
                    </a:lnTo>
                    <a:lnTo>
                      <a:pt x="1" y="63"/>
                    </a:lnTo>
                    <a:lnTo>
                      <a:pt x="1" y="65"/>
                    </a:lnTo>
                    <a:lnTo>
                      <a:pt x="1" y="66"/>
                    </a:lnTo>
                    <a:lnTo>
                      <a:pt x="3" y="68"/>
                    </a:lnTo>
                    <a:lnTo>
                      <a:pt x="3" y="68"/>
                    </a:lnTo>
                    <a:lnTo>
                      <a:pt x="3" y="71"/>
                    </a:lnTo>
                    <a:lnTo>
                      <a:pt x="1" y="73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3" y="80"/>
                    </a:lnTo>
                    <a:lnTo>
                      <a:pt x="6" y="85"/>
                    </a:lnTo>
                    <a:lnTo>
                      <a:pt x="10" y="85"/>
                    </a:lnTo>
                    <a:lnTo>
                      <a:pt x="13" y="88"/>
                    </a:lnTo>
                    <a:lnTo>
                      <a:pt x="26" y="93"/>
                    </a:lnTo>
                    <a:lnTo>
                      <a:pt x="33" y="93"/>
                    </a:lnTo>
                    <a:lnTo>
                      <a:pt x="39" y="91"/>
                    </a:lnTo>
                    <a:lnTo>
                      <a:pt x="48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106" name="Freeform 162"/>
              <p:cNvSpPr>
                <a:spLocks noEditPoints="1"/>
              </p:cNvSpPr>
              <p:nvPr/>
            </p:nvSpPr>
            <p:spPr bwMode="auto">
              <a:xfrm>
                <a:off x="4941282" y="2860905"/>
                <a:ext cx="370306" cy="240720"/>
              </a:xfrm>
              <a:custGeom>
                <a:avLst/>
                <a:gdLst/>
                <a:ahLst/>
                <a:cxnLst>
                  <a:cxn ang="0">
                    <a:pos x="261" y="43"/>
                  </a:cxn>
                  <a:cxn ang="0">
                    <a:pos x="279" y="63"/>
                  </a:cxn>
                  <a:cxn ang="0">
                    <a:pos x="289" y="88"/>
                  </a:cxn>
                  <a:cxn ang="0">
                    <a:pos x="309" y="103"/>
                  </a:cxn>
                  <a:cxn ang="0">
                    <a:pos x="331" y="102"/>
                  </a:cxn>
                  <a:cxn ang="0">
                    <a:pos x="359" y="88"/>
                  </a:cxn>
                  <a:cxn ang="0">
                    <a:pos x="384" y="118"/>
                  </a:cxn>
                  <a:cxn ang="0">
                    <a:pos x="404" y="156"/>
                  </a:cxn>
                  <a:cxn ang="0">
                    <a:pos x="432" y="188"/>
                  </a:cxn>
                  <a:cxn ang="0">
                    <a:pos x="449" y="196"/>
                  </a:cxn>
                  <a:cxn ang="0">
                    <a:pos x="437" y="216"/>
                  </a:cxn>
                  <a:cxn ang="0">
                    <a:pos x="429" y="274"/>
                  </a:cxn>
                  <a:cxn ang="0">
                    <a:pos x="435" y="309"/>
                  </a:cxn>
                  <a:cxn ang="0">
                    <a:pos x="474" y="366"/>
                  </a:cxn>
                  <a:cxn ang="0">
                    <a:pos x="527" y="372"/>
                  </a:cxn>
                  <a:cxn ang="0">
                    <a:pos x="568" y="379"/>
                  </a:cxn>
                  <a:cxn ang="0">
                    <a:pos x="591" y="344"/>
                  </a:cxn>
                  <a:cxn ang="0">
                    <a:pos x="653" y="303"/>
                  </a:cxn>
                  <a:cxn ang="0">
                    <a:pos x="684" y="322"/>
                  </a:cxn>
                  <a:cxn ang="0">
                    <a:pos x="668" y="357"/>
                  </a:cxn>
                  <a:cxn ang="0">
                    <a:pos x="656" y="366"/>
                  </a:cxn>
                  <a:cxn ang="0">
                    <a:pos x="631" y="386"/>
                  </a:cxn>
                  <a:cxn ang="0">
                    <a:pos x="575" y="406"/>
                  </a:cxn>
                  <a:cxn ang="0">
                    <a:pos x="563" y="427"/>
                  </a:cxn>
                  <a:cxn ang="0">
                    <a:pos x="542" y="460"/>
                  </a:cxn>
                  <a:cxn ang="0">
                    <a:pos x="495" y="425"/>
                  </a:cxn>
                  <a:cxn ang="0">
                    <a:pos x="492" y="425"/>
                  </a:cxn>
                  <a:cxn ang="0">
                    <a:pos x="485" y="429"/>
                  </a:cxn>
                  <a:cxn ang="0">
                    <a:pos x="404" y="425"/>
                  </a:cxn>
                  <a:cxn ang="0">
                    <a:pos x="351" y="407"/>
                  </a:cxn>
                  <a:cxn ang="0">
                    <a:pos x="291" y="381"/>
                  </a:cxn>
                  <a:cxn ang="0">
                    <a:pos x="251" y="356"/>
                  </a:cxn>
                  <a:cxn ang="0">
                    <a:pos x="239" y="322"/>
                  </a:cxn>
                  <a:cxn ang="0">
                    <a:pos x="236" y="278"/>
                  </a:cxn>
                  <a:cxn ang="0">
                    <a:pos x="186" y="219"/>
                  </a:cxn>
                  <a:cxn ang="0">
                    <a:pos x="160" y="193"/>
                  </a:cxn>
                  <a:cxn ang="0">
                    <a:pos x="163" y="171"/>
                  </a:cxn>
                  <a:cxn ang="0">
                    <a:pos x="136" y="138"/>
                  </a:cxn>
                  <a:cxn ang="0">
                    <a:pos x="111" y="115"/>
                  </a:cxn>
                  <a:cxn ang="0">
                    <a:pos x="93" y="77"/>
                  </a:cxn>
                  <a:cxn ang="0">
                    <a:pos x="80" y="38"/>
                  </a:cxn>
                  <a:cxn ang="0">
                    <a:pos x="50" y="43"/>
                  </a:cxn>
                  <a:cxn ang="0">
                    <a:pos x="68" y="100"/>
                  </a:cxn>
                  <a:cxn ang="0">
                    <a:pos x="91" y="136"/>
                  </a:cxn>
                  <a:cxn ang="0">
                    <a:pos x="108" y="160"/>
                  </a:cxn>
                  <a:cxn ang="0">
                    <a:pos x="120" y="201"/>
                  </a:cxn>
                  <a:cxn ang="0">
                    <a:pos x="131" y="226"/>
                  </a:cxn>
                  <a:cxn ang="0">
                    <a:pos x="138" y="261"/>
                  </a:cxn>
                  <a:cxn ang="0">
                    <a:pos x="103" y="223"/>
                  </a:cxn>
                  <a:cxn ang="0">
                    <a:pos x="86" y="175"/>
                  </a:cxn>
                  <a:cxn ang="0">
                    <a:pos x="58" y="156"/>
                  </a:cxn>
                  <a:cxn ang="0">
                    <a:pos x="38" y="131"/>
                  </a:cxn>
                  <a:cxn ang="0">
                    <a:pos x="53" y="121"/>
                  </a:cxn>
                  <a:cxn ang="0">
                    <a:pos x="25" y="82"/>
                  </a:cxn>
                  <a:cxn ang="0">
                    <a:pos x="15" y="42"/>
                  </a:cxn>
                  <a:cxn ang="0">
                    <a:pos x="128" y="210"/>
                  </a:cxn>
                  <a:cxn ang="0">
                    <a:pos x="130" y="221"/>
                  </a:cxn>
                  <a:cxn ang="0">
                    <a:pos x="439" y="216"/>
                  </a:cxn>
                </a:cxnLst>
                <a:rect l="0" t="0" r="r" b="b"/>
                <a:pathLst>
                  <a:path w="693" h="464">
                    <a:moveTo>
                      <a:pt x="0" y="2"/>
                    </a:moveTo>
                    <a:lnTo>
                      <a:pt x="58" y="0"/>
                    </a:lnTo>
                    <a:lnTo>
                      <a:pt x="60" y="2"/>
                    </a:lnTo>
                    <a:lnTo>
                      <a:pt x="58" y="4"/>
                    </a:lnTo>
                    <a:lnTo>
                      <a:pt x="141" y="38"/>
                    </a:lnTo>
                    <a:lnTo>
                      <a:pt x="209" y="40"/>
                    </a:lnTo>
                    <a:lnTo>
                      <a:pt x="211" y="32"/>
                    </a:lnTo>
                    <a:lnTo>
                      <a:pt x="249" y="33"/>
                    </a:lnTo>
                    <a:lnTo>
                      <a:pt x="254" y="35"/>
                    </a:lnTo>
                    <a:lnTo>
                      <a:pt x="258" y="40"/>
                    </a:lnTo>
                    <a:lnTo>
                      <a:pt x="261" y="43"/>
                    </a:lnTo>
                    <a:lnTo>
                      <a:pt x="261" y="45"/>
                    </a:lnTo>
                    <a:lnTo>
                      <a:pt x="263" y="45"/>
                    </a:lnTo>
                    <a:lnTo>
                      <a:pt x="266" y="48"/>
                    </a:lnTo>
                    <a:lnTo>
                      <a:pt x="264" y="50"/>
                    </a:lnTo>
                    <a:lnTo>
                      <a:pt x="268" y="52"/>
                    </a:lnTo>
                    <a:lnTo>
                      <a:pt x="273" y="53"/>
                    </a:lnTo>
                    <a:lnTo>
                      <a:pt x="271" y="55"/>
                    </a:lnTo>
                    <a:lnTo>
                      <a:pt x="271" y="58"/>
                    </a:lnTo>
                    <a:lnTo>
                      <a:pt x="274" y="58"/>
                    </a:lnTo>
                    <a:lnTo>
                      <a:pt x="278" y="60"/>
                    </a:lnTo>
                    <a:lnTo>
                      <a:pt x="279" y="63"/>
                    </a:lnTo>
                    <a:lnTo>
                      <a:pt x="279" y="68"/>
                    </a:lnTo>
                    <a:lnTo>
                      <a:pt x="281" y="70"/>
                    </a:lnTo>
                    <a:lnTo>
                      <a:pt x="282" y="70"/>
                    </a:lnTo>
                    <a:lnTo>
                      <a:pt x="282" y="72"/>
                    </a:lnTo>
                    <a:lnTo>
                      <a:pt x="286" y="75"/>
                    </a:lnTo>
                    <a:lnTo>
                      <a:pt x="286" y="78"/>
                    </a:lnTo>
                    <a:lnTo>
                      <a:pt x="284" y="78"/>
                    </a:lnTo>
                    <a:lnTo>
                      <a:pt x="282" y="80"/>
                    </a:lnTo>
                    <a:lnTo>
                      <a:pt x="282" y="82"/>
                    </a:lnTo>
                    <a:lnTo>
                      <a:pt x="286" y="85"/>
                    </a:lnTo>
                    <a:lnTo>
                      <a:pt x="289" y="88"/>
                    </a:lnTo>
                    <a:lnTo>
                      <a:pt x="291" y="92"/>
                    </a:lnTo>
                    <a:lnTo>
                      <a:pt x="291" y="93"/>
                    </a:lnTo>
                    <a:lnTo>
                      <a:pt x="292" y="93"/>
                    </a:lnTo>
                    <a:lnTo>
                      <a:pt x="294" y="95"/>
                    </a:lnTo>
                    <a:lnTo>
                      <a:pt x="296" y="95"/>
                    </a:lnTo>
                    <a:lnTo>
                      <a:pt x="297" y="97"/>
                    </a:lnTo>
                    <a:lnTo>
                      <a:pt x="299" y="97"/>
                    </a:lnTo>
                    <a:lnTo>
                      <a:pt x="299" y="98"/>
                    </a:lnTo>
                    <a:lnTo>
                      <a:pt x="301" y="100"/>
                    </a:lnTo>
                    <a:lnTo>
                      <a:pt x="304" y="100"/>
                    </a:lnTo>
                    <a:lnTo>
                      <a:pt x="309" y="103"/>
                    </a:lnTo>
                    <a:lnTo>
                      <a:pt x="309" y="105"/>
                    </a:lnTo>
                    <a:lnTo>
                      <a:pt x="312" y="105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10"/>
                    </a:lnTo>
                    <a:lnTo>
                      <a:pt x="324" y="108"/>
                    </a:lnTo>
                    <a:lnTo>
                      <a:pt x="324" y="107"/>
                    </a:lnTo>
                    <a:lnTo>
                      <a:pt x="327" y="105"/>
                    </a:lnTo>
                    <a:lnTo>
                      <a:pt x="331" y="105"/>
                    </a:lnTo>
                    <a:lnTo>
                      <a:pt x="331" y="102"/>
                    </a:lnTo>
                    <a:lnTo>
                      <a:pt x="331" y="102"/>
                    </a:lnTo>
                    <a:lnTo>
                      <a:pt x="332" y="98"/>
                    </a:lnTo>
                    <a:lnTo>
                      <a:pt x="336" y="93"/>
                    </a:lnTo>
                    <a:lnTo>
                      <a:pt x="339" y="90"/>
                    </a:lnTo>
                    <a:lnTo>
                      <a:pt x="341" y="90"/>
                    </a:lnTo>
                    <a:lnTo>
                      <a:pt x="342" y="90"/>
                    </a:lnTo>
                    <a:lnTo>
                      <a:pt x="344" y="90"/>
                    </a:lnTo>
                    <a:lnTo>
                      <a:pt x="346" y="90"/>
                    </a:lnTo>
                    <a:lnTo>
                      <a:pt x="347" y="88"/>
                    </a:lnTo>
                    <a:lnTo>
                      <a:pt x="351" y="88"/>
                    </a:lnTo>
                    <a:lnTo>
                      <a:pt x="356" y="88"/>
                    </a:lnTo>
                    <a:lnTo>
                      <a:pt x="359" y="88"/>
                    </a:lnTo>
                    <a:lnTo>
                      <a:pt x="362" y="88"/>
                    </a:lnTo>
                    <a:lnTo>
                      <a:pt x="362" y="90"/>
                    </a:lnTo>
                    <a:lnTo>
                      <a:pt x="366" y="90"/>
                    </a:lnTo>
                    <a:lnTo>
                      <a:pt x="369" y="92"/>
                    </a:lnTo>
                    <a:lnTo>
                      <a:pt x="371" y="95"/>
                    </a:lnTo>
                    <a:lnTo>
                      <a:pt x="376" y="98"/>
                    </a:lnTo>
                    <a:lnTo>
                      <a:pt x="379" y="103"/>
                    </a:lnTo>
                    <a:lnTo>
                      <a:pt x="382" y="108"/>
                    </a:lnTo>
                    <a:lnTo>
                      <a:pt x="382" y="110"/>
                    </a:lnTo>
                    <a:lnTo>
                      <a:pt x="384" y="113"/>
                    </a:lnTo>
                    <a:lnTo>
                      <a:pt x="384" y="118"/>
                    </a:lnTo>
                    <a:lnTo>
                      <a:pt x="385" y="120"/>
                    </a:lnTo>
                    <a:lnTo>
                      <a:pt x="387" y="121"/>
                    </a:lnTo>
                    <a:lnTo>
                      <a:pt x="390" y="130"/>
                    </a:lnTo>
                    <a:lnTo>
                      <a:pt x="392" y="131"/>
                    </a:lnTo>
                    <a:lnTo>
                      <a:pt x="394" y="135"/>
                    </a:lnTo>
                    <a:lnTo>
                      <a:pt x="397" y="136"/>
                    </a:lnTo>
                    <a:lnTo>
                      <a:pt x="399" y="140"/>
                    </a:lnTo>
                    <a:lnTo>
                      <a:pt x="400" y="143"/>
                    </a:lnTo>
                    <a:lnTo>
                      <a:pt x="405" y="148"/>
                    </a:lnTo>
                    <a:lnTo>
                      <a:pt x="404" y="151"/>
                    </a:lnTo>
                    <a:lnTo>
                      <a:pt x="404" y="156"/>
                    </a:lnTo>
                    <a:lnTo>
                      <a:pt x="404" y="156"/>
                    </a:lnTo>
                    <a:lnTo>
                      <a:pt x="404" y="158"/>
                    </a:lnTo>
                    <a:lnTo>
                      <a:pt x="409" y="171"/>
                    </a:lnTo>
                    <a:lnTo>
                      <a:pt x="409" y="176"/>
                    </a:lnTo>
                    <a:lnTo>
                      <a:pt x="410" y="178"/>
                    </a:lnTo>
                    <a:lnTo>
                      <a:pt x="412" y="180"/>
                    </a:lnTo>
                    <a:lnTo>
                      <a:pt x="414" y="180"/>
                    </a:lnTo>
                    <a:lnTo>
                      <a:pt x="417" y="180"/>
                    </a:lnTo>
                    <a:lnTo>
                      <a:pt x="420" y="181"/>
                    </a:lnTo>
                    <a:lnTo>
                      <a:pt x="424" y="185"/>
                    </a:lnTo>
                    <a:lnTo>
                      <a:pt x="432" y="188"/>
                    </a:lnTo>
                    <a:lnTo>
                      <a:pt x="437" y="190"/>
                    </a:lnTo>
                    <a:lnTo>
                      <a:pt x="442" y="190"/>
                    </a:lnTo>
                    <a:lnTo>
                      <a:pt x="444" y="193"/>
                    </a:lnTo>
                    <a:lnTo>
                      <a:pt x="445" y="195"/>
                    </a:lnTo>
                    <a:lnTo>
                      <a:pt x="444" y="198"/>
                    </a:lnTo>
                    <a:lnTo>
                      <a:pt x="449" y="195"/>
                    </a:lnTo>
                    <a:lnTo>
                      <a:pt x="449" y="188"/>
                    </a:lnTo>
                    <a:lnTo>
                      <a:pt x="452" y="186"/>
                    </a:lnTo>
                    <a:lnTo>
                      <a:pt x="452" y="188"/>
                    </a:lnTo>
                    <a:lnTo>
                      <a:pt x="452" y="193"/>
                    </a:lnTo>
                    <a:lnTo>
                      <a:pt x="449" y="196"/>
                    </a:lnTo>
                    <a:lnTo>
                      <a:pt x="449" y="201"/>
                    </a:lnTo>
                    <a:lnTo>
                      <a:pt x="444" y="205"/>
                    </a:lnTo>
                    <a:lnTo>
                      <a:pt x="444" y="210"/>
                    </a:lnTo>
                    <a:lnTo>
                      <a:pt x="440" y="210"/>
                    </a:lnTo>
                    <a:lnTo>
                      <a:pt x="442" y="208"/>
                    </a:lnTo>
                    <a:lnTo>
                      <a:pt x="442" y="203"/>
                    </a:lnTo>
                    <a:lnTo>
                      <a:pt x="439" y="203"/>
                    </a:lnTo>
                    <a:lnTo>
                      <a:pt x="439" y="210"/>
                    </a:lnTo>
                    <a:lnTo>
                      <a:pt x="435" y="213"/>
                    </a:lnTo>
                    <a:lnTo>
                      <a:pt x="439" y="214"/>
                    </a:lnTo>
                    <a:lnTo>
                      <a:pt x="437" y="216"/>
                    </a:lnTo>
                    <a:lnTo>
                      <a:pt x="435" y="223"/>
                    </a:lnTo>
                    <a:lnTo>
                      <a:pt x="434" y="224"/>
                    </a:lnTo>
                    <a:lnTo>
                      <a:pt x="434" y="229"/>
                    </a:lnTo>
                    <a:lnTo>
                      <a:pt x="435" y="233"/>
                    </a:lnTo>
                    <a:lnTo>
                      <a:pt x="434" y="234"/>
                    </a:lnTo>
                    <a:lnTo>
                      <a:pt x="434" y="238"/>
                    </a:lnTo>
                    <a:lnTo>
                      <a:pt x="430" y="249"/>
                    </a:lnTo>
                    <a:lnTo>
                      <a:pt x="432" y="256"/>
                    </a:lnTo>
                    <a:lnTo>
                      <a:pt x="430" y="266"/>
                    </a:lnTo>
                    <a:lnTo>
                      <a:pt x="427" y="271"/>
                    </a:lnTo>
                    <a:lnTo>
                      <a:pt x="429" y="274"/>
                    </a:lnTo>
                    <a:lnTo>
                      <a:pt x="430" y="283"/>
                    </a:lnTo>
                    <a:lnTo>
                      <a:pt x="429" y="288"/>
                    </a:lnTo>
                    <a:lnTo>
                      <a:pt x="435" y="296"/>
                    </a:lnTo>
                    <a:lnTo>
                      <a:pt x="435" y="303"/>
                    </a:lnTo>
                    <a:lnTo>
                      <a:pt x="434" y="304"/>
                    </a:lnTo>
                    <a:lnTo>
                      <a:pt x="434" y="296"/>
                    </a:lnTo>
                    <a:lnTo>
                      <a:pt x="429" y="289"/>
                    </a:lnTo>
                    <a:lnTo>
                      <a:pt x="427" y="294"/>
                    </a:lnTo>
                    <a:lnTo>
                      <a:pt x="430" y="298"/>
                    </a:lnTo>
                    <a:lnTo>
                      <a:pt x="434" y="308"/>
                    </a:lnTo>
                    <a:lnTo>
                      <a:pt x="435" y="309"/>
                    </a:lnTo>
                    <a:lnTo>
                      <a:pt x="434" y="312"/>
                    </a:lnTo>
                    <a:lnTo>
                      <a:pt x="435" y="316"/>
                    </a:lnTo>
                    <a:lnTo>
                      <a:pt x="437" y="321"/>
                    </a:lnTo>
                    <a:lnTo>
                      <a:pt x="450" y="334"/>
                    </a:lnTo>
                    <a:lnTo>
                      <a:pt x="452" y="339"/>
                    </a:lnTo>
                    <a:lnTo>
                      <a:pt x="457" y="344"/>
                    </a:lnTo>
                    <a:lnTo>
                      <a:pt x="457" y="347"/>
                    </a:lnTo>
                    <a:lnTo>
                      <a:pt x="459" y="351"/>
                    </a:lnTo>
                    <a:lnTo>
                      <a:pt x="469" y="362"/>
                    </a:lnTo>
                    <a:lnTo>
                      <a:pt x="472" y="366"/>
                    </a:lnTo>
                    <a:lnTo>
                      <a:pt x="474" y="366"/>
                    </a:lnTo>
                    <a:lnTo>
                      <a:pt x="480" y="366"/>
                    </a:lnTo>
                    <a:lnTo>
                      <a:pt x="482" y="367"/>
                    </a:lnTo>
                    <a:lnTo>
                      <a:pt x="488" y="369"/>
                    </a:lnTo>
                    <a:lnTo>
                      <a:pt x="493" y="376"/>
                    </a:lnTo>
                    <a:lnTo>
                      <a:pt x="497" y="382"/>
                    </a:lnTo>
                    <a:lnTo>
                      <a:pt x="502" y="379"/>
                    </a:lnTo>
                    <a:lnTo>
                      <a:pt x="510" y="377"/>
                    </a:lnTo>
                    <a:lnTo>
                      <a:pt x="512" y="381"/>
                    </a:lnTo>
                    <a:lnTo>
                      <a:pt x="515" y="381"/>
                    </a:lnTo>
                    <a:lnTo>
                      <a:pt x="525" y="376"/>
                    </a:lnTo>
                    <a:lnTo>
                      <a:pt x="527" y="372"/>
                    </a:lnTo>
                    <a:lnTo>
                      <a:pt x="535" y="372"/>
                    </a:lnTo>
                    <a:lnTo>
                      <a:pt x="540" y="372"/>
                    </a:lnTo>
                    <a:lnTo>
                      <a:pt x="545" y="369"/>
                    </a:lnTo>
                    <a:lnTo>
                      <a:pt x="552" y="369"/>
                    </a:lnTo>
                    <a:lnTo>
                      <a:pt x="557" y="371"/>
                    </a:lnTo>
                    <a:lnTo>
                      <a:pt x="558" y="367"/>
                    </a:lnTo>
                    <a:lnTo>
                      <a:pt x="565" y="369"/>
                    </a:lnTo>
                    <a:lnTo>
                      <a:pt x="562" y="372"/>
                    </a:lnTo>
                    <a:lnTo>
                      <a:pt x="560" y="374"/>
                    </a:lnTo>
                    <a:lnTo>
                      <a:pt x="565" y="376"/>
                    </a:lnTo>
                    <a:lnTo>
                      <a:pt x="568" y="379"/>
                    </a:lnTo>
                    <a:lnTo>
                      <a:pt x="570" y="377"/>
                    </a:lnTo>
                    <a:lnTo>
                      <a:pt x="572" y="376"/>
                    </a:lnTo>
                    <a:lnTo>
                      <a:pt x="577" y="371"/>
                    </a:lnTo>
                    <a:lnTo>
                      <a:pt x="577" y="366"/>
                    </a:lnTo>
                    <a:lnTo>
                      <a:pt x="578" y="361"/>
                    </a:lnTo>
                    <a:lnTo>
                      <a:pt x="573" y="364"/>
                    </a:lnTo>
                    <a:lnTo>
                      <a:pt x="573" y="364"/>
                    </a:lnTo>
                    <a:lnTo>
                      <a:pt x="583" y="357"/>
                    </a:lnTo>
                    <a:lnTo>
                      <a:pt x="586" y="357"/>
                    </a:lnTo>
                    <a:lnTo>
                      <a:pt x="591" y="352"/>
                    </a:lnTo>
                    <a:lnTo>
                      <a:pt x="591" y="344"/>
                    </a:lnTo>
                    <a:lnTo>
                      <a:pt x="600" y="336"/>
                    </a:lnTo>
                    <a:lnTo>
                      <a:pt x="600" y="334"/>
                    </a:lnTo>
                    <a:lnTo>
                      <a:pt x="600" y="321"/>
                    </a:lnTo>
                    <a:lnTo>
                      <a:pt x="610" y="312"/>
                    </a:lnTo>
                    <a:lnTo>
                      <a:pt x="605" y="311"/>
                    </a:lnTo>
                    <a:lnTo>
                      <a:pt x="605" y="308"/>
                    </a:lnTo>
                    <a:lnTo>
                      <a:pt x="621" y="304"/>
                    </a:lnTo>
                    <a:lnTo>
                      <a:pt x="641" y="306"/>
                    </a:lnTo>
                    <a:lnTo>
                      <a:pt x="645" y="301"/>
                    </a:lnTo>
                    <a:lnTo>
                      <a:pt x="651" y="301"/>
                    </a:lnTo>
                    <a:lnTo>
                      <a:pt x="653" y="303"/>
                    </a:lnTo>
                    <a:lnTo>
                      <a:pt x="660" y="299"/>
                    </a:lnTo>
                    <a:lnTo>
                      <a:pt x="660" y="298"/>
                    </a:lnTo>
                    <a:lnTo>
                      <a:pt x="668" y="298"/>
                    </a:lnTo>
                    <a:lnTo>
                      <a:pt x="679" y="299"/>
                    </a:lnTo>
                    <a:lnTo>
                      <a:pt x="683" y="299"/>
                    </a:lnTo>
                    <a:lnTo>
                      <a:pt x="681" y="296"/>
                    </a:lnTo>
                    <a:lnTo>
                      <a:pt x="686" y="296"/>
                    </a:lnTo>
                    <a:lnTo>
                      <a:pt x="693" y="304"/>
                    </a:lnTo>
                    <a:lnTo>
                      <a:pt x="693" y="309"/>
                    </a:lnTo>
                    <a:lnTo>
                      <a:pt x="689" y="314"/>
                    </a:lnTo>
                    <a:lnTo>
                      <a:pt x="684" y="322"/>
                    </a:lnTo>
                    <a:lnTo>
                      <a:pt x="673" y="331"/>
                    </a:lnTo>
                    <a:lnTo>
                      <a:pt x="671" y="334"/>
                    </a:lnTo>
                    <a:lnTo>
                      <a:pt x="671" y="341"/>
                    </a:lnTo>
                    <a:lnTo>
                      <a:pt x="666" y="342"/>
                    </a:lnTo>
                    <a:lnTo>
                      <a:pt x="665" y="344"/>
                    </a:lnTo>
                    <a:lnTo>
                      <a:pt x="668" y="347"/>
                    </a:lnTo>
                    <a:lnTo>
                      <a:pt x="671" y="347"/>
                    </a:lnTo>
                    <a:lnTo>
                      <a:pt x="671" y="349"/>
                    </a:lnTo>
                    <a:lnTo>
                      <a:pt x="666" y="356"/>
                    </a:lnTo>
                    <a:lnTo>
                      <a:pt x="666" y="357"/>
                    </a:lnTo>
                    <a:lnTo>
                      <a:pt x="668" y="357"/>
                    </a:lnTo>
                    <a:lnTo>
                      <a:pt x="670" y="356"/>
                    </a:lnTo>
                    <a:lnTo>
                      <a:pt x="673" y="356"/>
                    </a:lnTo>
                    <a:lnTo>
                      <a:pt x="670" y="359"/>
                    </a:lnTo>
                    <a:lnTo>
                      <a:pt x="666" y="372"/>
                    </a:lnTo>
                    <a:lnTo>
                      <a:pt x="661" y="379"/>
                    </a:lnTo>
                    <a:lnTo>
                      <a:pt x="660" y="381"/>
                    </a:lnTo>
                    <a:lnTo>
                      <a:pt x="658" y="376"/>
                    </a:lnTo>
                    <a:lnTo>
                      <a:pt x="653" y="374"/>
                    </a:lnTo>
                    <a:lnTo>
                      <a:pt x="653" y="372"/>
                    </a:lnTo>
                    <a:lnTo>
                      <a:pt x="655" y="371"/>
                    </a:lnTo>
                    <a:lnTo>
                      <a:pt x="656" y="366"/>
                    </a:lnTo>
                    <a:lnTo>
                      <a:pt x="653" y="366"/>
                    </a:lnTo>
                    <a:lnTo>
                      <a:pt x="648" y="372"/>
                    </a:lnTo>
                    <a:lnTo>
                      <a:pt x="643" y="376"/>
                    </a:lnTo>
                    <a:lnTo>
                      <a:pt x="643" y="376"/>
                    </a:lnTo>
                    <a:lnTo>
                      <a:pt x="641" y="376"/>
                    </a:lnTo>
                    <a:lnTo>
                      <a:pt x="638" y="376"/>
                    </a:lnTo>
                    <a:lnTo>
                      <a:pt x="638" y="377"/>
                    </a:lnTo>
                    <a:lnTo>
                      <a:pt x="636" y="381"/>
                    </a:lnTo>
                    <a:lnTo>
                      <a:pt x="633" y="386"/>
                    </a:lnTo>
                    <a:lnTo>
                      <a:pt x="633" y="386"/>
                    </a:lnTo>
                    <a:lnTo>
                      <a:pt x="631" y="386"/>
                    </a:lnTo>
                    <a:lnTo>
                      <a:pt x="631" y="387"/>
                    </a:lnTo>
                    <a:lnTo>
                      <a:pt x="630" y="387"/>
                    </a:lnTo>
                    <a:lnTo>
                      <a:pt x="630" y="386"/>
                    </a:lnTo>
                    <a:lnTo>
                      <a:pt x="626" y="386"/>
                    </a:lnTo>
                    <a:lnTo>
                      <a:pt x="623" y="387"/>
                    </a:lnTo>
                    <a:lnTo>
                      <a:pt x="623" y="389"/>
                    </a:lnTo>
                    <a:lnTo>
                      <a:pt x="581" y="389"/>
                    </a:lnTo>
                    <a:lnTo>
                      <a:pt x="580" y="401"/>
                    </a:lnTo>
                    <a:lnTo>
                      <a:pt x="570" y="402"/>
                    </a:lnTo>
                    <a:lnTo>
                      <a:pt x="573" y="404"/>
                    </a:lnTo>
                    <a:lnTo>
                      <a:pt x="575" y="406"/>
                    </a:lnTo>
                    <a:lnTo>
                      <a:pt x="578" y="410"/>
                    </a:lnTo>
                    <a:lnTo>
                      <a:pt x="583" y="414"/>
                    </a:lnTo>
                    <a:lnTo>
                      <a:pt x="585" y="414"/>
                    </a:lnTo>
                    <a:lnTo>
                      <a:pt x="586" y="415"/>
                    </a:lnTo>
                    <a:lnTo>
                      <a:pt x="588" y="419"/>
                    </a:lnTo>
                    <a:lnTo>
                      <a:pt x="590" y="420"/>
                    </a:lnTo>
                    <a:lnTo>
                      <a:pt x="593" y="420"/>
                    </a:lnTo>
                    <a:lnTo>
                      <a:pt x="596" y="422"/>
                    </a:lnTo>
                    <a:lnTo>
                      <a:pt x="596" y="425"/>
                    </a:lnTo>
                    <a:lnTo>
                      <a:pt x="593" y="427"/>
                    </a:lnTo>
                    <a:lnTo>
                      <a:pt x="563" y="427"/>
                    </a:lnTo>
                    <a:lnTo>
                      <a:pt x="548" y="449"/>
                    </a:lnTo>
                    <a:lnTo>
                      <a:pt x="548" y="452"/>
                    </a:lnTo>
                    <a:lnTo>
                      <a:pt x="548" y="454"/>
                    </a:lnTo>
                    <a:lnTo>
                      <a:pt x="548" y="455"/>
                    </a:lnTo>
                    <a:lnTo>
                      <a:pt x="550" y="457"/>
                    </a:lnTo>
                    <a:lnTo>
                      <a:pt x="550" y="457"/>
                    </a:lnTo>
                    <a:lnTo>
                      <a:pt x="550" y="460"/>
                    </a:lnTo>
                    <a:lnTo>
                      <a:pt x="548" y="462"/>
                    </a:lnTo>
                    <a:lnTo>
                      <a:pt x="547" y="464"/>
                    </a:lnTo>
                    <a:lnTo>
                      <a:pt x="547" y="464"/>
                    </a:lnTo>
                    <a:lnTo>
                      <a:pt x="542" y="460"/>
                    </a:lnTo>
                    <a:lnTo>
                      <a:pt x="535" y="455"/>
                    </a:lnTo>
                    <a:lnTo>
                      <a:pt x="535" y="452"/>
                    </a:lnTo>
                    <a:lnTo>
                      <a:pt x="530" y="452"/>
                    </a:lnTo>
                    <a:lnTo>
                      <a:pt x="513" y="439"/>
                    </a:lnTo>
                    <a:lnTo>
                      <a:pt x="510" y="435"/>
                    </a:lnTo>
                    <a:lnTo>
                      <a:pt x="510" y="434"/>
                    </a:lnTo>
                    <a:lnTo>
                      <a:pt x="507" y="429"/>
                    </a:lnTo>
                    <a:lnTo>
                      <a:pt x="502" y="425"/>
                    </a:lnTo>
                    <a:lnTo>
                      <a:pt x="497" y="425"/>
                    </a:lnTo>
                    <a:lnTo>
                      <a:pt x="497" y="425"/>
                    </a:lnTo>
                    <a:lnTo>
                      <a:pt x="495" y="425"/>
                    </a:lnTo>
                    <a:lnTo>
                      <a:pt x="495" y="425"/>
                    </a:lnTo>
                    <a:lnTo>
                      <a:pt x="503" y="429"/>
                    </a:lnTo>
                    <a:lnTo>
                      <a:pt x="508" y="434"/>
                    </a:lnTo>
                    <a:lnTo>
                      <a:pt x="508" y="435"/>
                    </a:lnTo>
                    <a:lnTo>
                      <a:pt x="505" y="432"/>
                    </a:lnTo>
                    <a:lnTo>
                      <a:pt x="498" y="429"/>
                    </a:lnTo>
                    <a:lnTo>
                      <a:pt x="493" y="427"/>
                    </a:lnTo>
                    <a:lnTo>
                      <a:pt x="490" y="427"/>
                    </a:lnTo>
                    <a:lnTo>
                      <a:pt x="488" y="427"/>
                    </a:lnTo>
                    <a:lnTo>
                      <a:pt x="490" y="425"/>
                    </a:lnTo>
                    <a:lnTo>
                      <a:pt x="492" y="425"/>
                    </a:lnTo>
                    <a:lnTo>
                      <a:pt x="492" y="424"/>
                    </a:lnTo>
                    <a:lnTo>
                      <a:pt x="488" y="424"/>
                    </a:lnTo>
                    <a:lnTo>
                      <a:pt x="485" y="425"/>
                    </a:lnTo>
                    <a:lnTo>
                      <a:pt x="485" y="422"/>
                    </a:lnTo>
                    <a:lnTo>
                      <a:pt x="483" y="422"/>
                    </a:lnTo>
                    <a:lnTo>
                      <a:pt x="478" y="425"/>
                    </a:lnTo>
                    <a:lnTo>
                      <a:pt x="478" y="427"/>
                    </a:lnTo>
                    <a:lnTo>
                      <a:pt x="482" y="427"/>
                    </a:lnTo>
                    <a:lnTo>
                      <a:pt x="487" y="427"/>
                    </a:lnTo>
                    <a:lnTo>
                      <a:pt x="487" y="429"/>
                    </a:lnTo>
                    <a:lnTo>
                      <a:pt x="485" y="429"/>
                    </a:lnTo>
                    <a:lnTo>
                      <a:pt x="478" y="429"/>
                    </a:lnTo>
                    <a:lnTo>
                      <a:pt x="474" y="429"/>
                    </a:lnTo>
                    <a:lnTo>
                      <a:pt x="467" y="434"/>
                    </a:lnTo>
                    <a:lnTo>
                      <a:pt x="462" y="434"/>
                    </a:lnTo>
                    <a:lnTo>
                      <a:pt x="450" y="439"/>
                    </a:lnTo>
                    <a:lnTo>
                      <a:pt x="445" y="439"/>
                    </a:lnTo>
                    <a:lnTo>
                      <a:pt x="432" y="435"/>
                    </a:lnTo>
                    <a:lnTo>
                      <a:pt x="425" y="432"/>
                    </a:lnTo>
                    <a:lnTo>
                      <a:pt x="417" y="432"/>
                    </a:lnTo>
                    <a:lnTo>
                      <a:pt x="409" y="429"/>
                    </a:lnTo>
                    <a:lnTo>
                      <a:pt x="404" y="425"/>
                    </a:lnTo>
                    <a:lnTo>
                      <a:pt x="402" y="427"/>
                    </a:lnTo>
                    <a:lnTo>
                      <a:pt x="399" y="425"/>
                    </a:lnTo>
                    <a:lnTo>
                      <a:pt x="392" y="424"/>
                    </a:lnTo>
                    <a:lnTo>
                      <a:pt x="389" y="419"/>
                    </a:lnTo>
                    <a:lnTo>
                      <a:pt x="387" y="417"/>
                    </a:lnTo>
                    <a:lnTo>
                      <a:pt x="384" y="419"/>
                    </a:lnTo>
                    <a:lnTo>
                      <a:pt x="377" y="417"/>
                    </a:lnTo>
                    <a:lnTo>
                      <a:pt x="371" y="415"/>
                    </a:lnTo>
                    <a:lnTo>
                      <a:pt x="367" y="412"/>
                    </a:lnTo>
                    <a:lnTo>
                      <a:pt x="362" y="409"/>
                    </a:lnTo>
                    <a:lnTo>
                      <a:pt x="351" y="407"/>
                    </a:lnTo>
                    <a:lnTo>
                      <a:pt x="341" y="404"/>
                    </a:lnTo>
                    <a:lnTo>
                      <a:pt x="332" y="397"/>
                    </a:lnTo>
                    <a:lnTo>
                      <a:pt x="329" y="397"/>
                    </a:lnTo>
                    <a:lnTo>
                      <a:pt x="317" y="386"/>
                    </a:lnTo>
                    <a:lnTo>
                      <a:pt x="316" y="384"/>
                    </a:lnTo>
                    <a:lnTo>
                      <a:pt x="312" y="384"/>
                    </a:lnTo>
                    <a:lnTo>
                      <a:pt x="312" y="386"/>
                    </a:lnTo>
                    <a:lnTo>
                      <a:pt x="307" y="386"/>
                    </a:lnTo>
                    <a:lnTo>
                      <a:pt x="299" y="382"/>
                    </a:lnTo>
                    <a:lnTo>
                      <a:pt x="296" y="382"/>
                    </a:lnTo>
                    <a:lnTo>
                      <a:pt x="291" y="381"/>
                    </a:lnTo>
                    <a:lnTo>
                      <a:pt x="289" y="381"/>
                    </a:lnTo>
                    <a:lnTo>
                      <a:pt x="284" y="379"/>
                    </a:lnTo>
                    <a:lnTo>
                      <a:pt x="281" y="374"/>
                    </a:lnTo>
                    <a:lnTo>
                      <a:pt x="276" y="367"/>
                    </a:lnTo>
                    <a:lnTo>
                      <a:pt x="271" y="362"/>
                    </a:lnTo>
                    <a:lnTo>
                      <a:pt x="264" y="361"/>
                    </a:lnTo>
                    <a:lnTo>
                      <a:pt x="264" y="359"/>
                    </a:lnTo>
                    <a:lnTo>
                      <a:pt x="266" y="356"/>
                    </a:lnTo>
                    <a:lnTo>
                      <a:pt x="264" y="356"/>
                    </a:lnTo>
                    <a:lnTo>
                      <a:pt x="258" y="357"/>
                    </a:lnTo>
                    <a:lnTo>
                      <a:pt x="251" y="356"/>
                    </a:lnTo>
                    <a:lnTo>
                      <a:pt x="249" y="352"/>
                    </a:lnTo>
                    <a:lnTo>
                      <a:pt x="246" y="352"/>
                    </a:lnTo>
                    <a:lnTo>
                      <a:pt x="243" y="351"/>
                    </a:lnTo>
                    <a:lnTo>
                      <a:pt x="241" y="346"/>
                    </a:lnTo>
                    <a:lnTo>
                      <a:pt x="238" y="341"/>
                    </a:lnTo>
                    <a:lnTo>
                      <a:pt x="238" y="337"/>
                    </a:lnTo>
                    <a:lnTo>
                      <a:pt x="234" y="334"/>
                    </a:lnTo>
                    <a:lnTo>
                      <a:pt x="231" y="326"/>
                    </a:lnTo>
                    <a:lnTo>
                      <a:pt x="231" y="324"/>
                    </a:lnTo>
                    <a:lnTo>
                      <a:pt x="234" y="322"/>
                    </a:lnTo>
                    <a:lnTo>
                      <a:pt x="239" y="322"/>
                    </a:lnTo>
                    <a:lnTo>
                      <a:pt x="241" y="321"/>
                    </a:lnTo>
                    <a:lnTo>
                      <a:pt x="238" y="319"/>
                    </a:lnTo>
                    <a:lnTo>
                      <a:pt x="236" y="317"/>
                    </a:lnTo>
                    <a:lnTo>
                      <a:pt x="236" y="316"/>
                    </a:lnTo>
                    <a:lnTo>
                      <a:pt x="243" y="311"/>
                    </a:lnTo>
                    <a:lnTo>
                      <a:pt x="244" y="308"/>
                    </a:lnTo>
                    <a:lnTo>
                      <a:pt x="244" y="303"/>
                    </a:lnTo>
                    <a:lnTo>
                      <a:pt x="239" y="291"/>
                    </a:lnTo>
                    <a:lnTo>
                      <a:pt x="236" y="284"/>
                    </a:lnTo>
                    <a:lnTo>
                      <a:pt x="234" y="281"/>
                    </a:lnTo>
                    <a:lnTo>
                      <a:pt x="236" y="278"/>
                    </a:lnTo>
                    <a:lnTo>
                      <a:pt x="236" y="273"/>
                    </a:lnTo>
                    <a:lnTo>
                      <a:pt x="228" y="263"/>
                    </a:lnTo>
                    <a:lnTo>
                      <a:pt x="226" y="258"/>
                    </a:lnTo>
                    <a:lnTo>
                      <a:pt x="219" y="251"/>
                    </a:lnTo>
                    <a:lnTo>
                      <a:pt x="213" y="241"/>
                    </a:lnTo>
                    <a:lnTo>
                      <a:pt x="206" y="233"/>
                    </a:lnTo>
                    <a:lnTo>
                      <a:pt x="199" y="228"/>
                    </a:lnTo>
                    <a:lnTo>
                      <a:pt x="198" y="226"/>
                    </a:lnTo>
                    <a:lnTo>
                      <a:pt x="198" y="224"/>
                    </a:lnTo>
                    <a:lnTo>
                      <a:pt x="189" y="221"/>
                    </a:lnTo>
                    <a:lnTo>
                      <a:pt x="186" y="219"/>
                    </a:lnTo>
                    <a:lnTo>
                      <a:pt x="186" y="218"/>
                    </a:lnTo>
                    <a:lnTo>
                      <a:pt x="188" y="216"/>
                    </a:lnTo>
                    <a:lnTo>
                      <a:pt x="191" y="213"/>
                    </a:lnTo>
                    <a:lnTo>
                      <a:pt x="188" y="210"/>
                    </a:lnTo>
                    <a:lnTo>
                      <a:pt x="186" y="206"/>
                    </a:lnTo>
                    <a:lnTo>
                      <a:pt x="186" y="203"/>
                    </a:lnTo>
                    <a:lnTo>
                      <a:pt x="183" y="203"/>
                    </a:lnTo>
                    <a:lnTo>
                      <a:pt x="176" y="203"/>
                    </a:lnTo>
                    <a:lnTo>
                      <a:pt x="168" y="196"/>
                    </a:lnTo>
                    <a:lnTo>
                      <a:pt x="165" y="193"/>
                    </a:lnTo>
                    <a:lnTo>
                      <a:pt x="160" y="193"/>
                    </a:lnTo>
                    <a:lnTo>
                      <a:pt x="156" y="190"/>
                    </a:lnTo>
                    <a:lnTo>
                      <a:pt x="156" y="186"/>
                    </a:lnTo>
                    <a:lnTo>
                      <a:pt x="158" y="180"/>
                    </a:lnTo>
                    <a:lnTo>
                      <a:pt x="163" y="176"/>
                    </a:lnTo>
                    <a:lnTo>
                      <a:pt x="165" y="175"/>
                    </a:lnTo>
                    <a:lnTo>
                      <a:pt x="168" y="178"/>
                    </a:lnTo>
                    <a:lnTo>
                      <a:pt x="170" y="175"/>
                    </a:lnTo>
                    <a:lnTo>
                      <a:pt x="170" y="173"/>
                    </a:lnTo>
                    <a:lnTo>
                      <a:pt x="168" y="171"/>
                    </a:lnTo>
                    <a:lnTo>
                      <a:pt x="166" y="173"/>
                    </a:lnTo>
                    <a:lnTo>
                      <a:pt x="163" y="171"/>
                    </a:lnTo>
                    <a:lnTo>
                      <a:pt x="163" y="168"/>
                    </a:lnTo>
                    <a:lnTo>
                      <a:pt x="158" y="163"/>
                    </a:lnTo>
                    <a:lnTo>
                      <a:pt x="155" y="163"/>
                    </a:lnTo>
                    <a:lnTo>
                      <a:pt x="150" y="161"/>
                    </a:lnTo>
                    <a:lnTo>
                      <a:pt x="148" y="158"/>
                    </a:lnTo>
                    <a:lnTo>
                      <a:pt x="150" y="155"/>
                    </a:lnTo>
                    <a:lnTo>
                      <a:pt x="146" y="153"/>
                    </a:lnTo>
                    <a:lnTo>
                      <a:pt x="143" y="155"/>
                    </a:lnTo>
                    <a:lnTo>
                      <a:pt x="135" y="146"/>
                    </a:lnTo>
                    <a:lnTo>
                      <a:pt x="133" y="141"/>
                    </a:lnTo>
                    <a:lnTo>
                      <a:pt x="136" y="138"/>
                    </a:lnTo>
                    <a:lnTo>
                      <a:pt x="136" y="133"/>
                    </a:lnTo>
                    <a:lnTo>
                      <a:pt x="133" y="131"/>
                    </a:lnTo>
                    <a:lnTo>
                      <a:pt x="130" y="133"/>
                    </a:lnTo>
                    <a:lnTo>
                      <a:pt x="128" y="131"/>
                    </a:lnTo>
                    <a:lnTo>
                      <a:pt x="125" y="131"/>
                    </a:lnTo>
                    <a:lnTo>
                      <a:pt x="125" y="130"/>
                    </a:lnTo>
                    <a:lnTo>
                      <a:pt x="121" y="126"/>
                    </a:lnTo>
                    <a:lnTo>
                      <a:pt x="120" y="123"/>
                    </a:lnTo>
                    <a:lnTo>
                      <a:pt x="116" y="118"/>
                    </a:lnTo>
                    <a:lnTo>
                      <a:pt x="113" y="116"/>
                    </a:lnTo>
                    <a:lnTo>
                      <a:pt x="111" y="115"/>
                    </a:lnTo>
                    <a:lnTo>
                      <a:pt x="111" y="110"/>
                    </a:lnTo>
                    <a:lnTo>
                      <a:pt x="110" y="107"/>
                    </a:lnTo>
                    <a:lnTo>
                      <a:pt x="106" y="105"/>
                    </a:lnTo>
                    <a:lnTo>
                      <a:pt x="103" y="98"/>
                    </a:lnTo>
                    <a:lnTo>
                      <a:pt x="101" y="97"/>
                    </a:lnTo>
                    <a:lnTo>
                      <a:pt x="100" y="97"/>
                    </a:lnTo>
                    <a:lnTo>
                      <a:pt x="98" y="93"/>
                    </a:lnTo>
                    <a:lnTo>
                      <a:pt x="100" y="92"/>
                    </a:lnTo>
                    <a:lnTo>
                      <a:pt x="100" y="88"/>
                    </a:lnTo>
                    <a:lnTo>
                      <a:pt x="95" y="82"/>
                    </a:lnTo>
                    <a:lnTo>
                      <a:pt x="93" y="77"/>
                    </a:lnTo>
                    <a:lnTo>
                      <a:pt x="93" y="75"/>
                    </a:lnTo>
                    <a:lnTo>
                      <a:pt x="93" y="70"/>
                    </a:lnTo>
                    <a:lnTo>
                      <a:pt x="91" y="67"/>
                    </a:lnTo>
                    <a:lnTo>
                      <a:pt x="90" y="58"/>
                    </a:lnTo>
                    <a:lnTo>
                      <a:pt x="86" y="53"/>
                    </a:lnTo>
                    <a:lnTo>
                      <a:pt x="86" y="50"/>
                    </a:lnTo>
                    <a:lnTo>
                      <a:pt x="90" y="45"/>
                    </a:lnTo>
                    <a:lnTo>
                      <a:pt x="90" y="43"/>
                    </a:lnTo>
                    <a:lnTo>
                      <a:pt x="85" y="42"/>
                    </a:lnTo>
                    <a:lnTo>
                      <a:pt x="80" y="42"/>
                    </a:lnTo>
                    <a:lnTo>
                      <a:pt x="80" y="38"/>
                    </a:lnTo>
                    <a:lnTo>
                      <a:pt x="75" y="35"/>
                    </a:lnTo>
                    <a:lnTo>
                      <a:pt x="73" y="37"/>
                    </a:lnTo>
                    <a:lnTo>
                      <a:pt x="68" y="37"/>
                    </a:lnTo>
                    <a:lnTo>
                      <a:pt x="67" y="35"/>
                    </a:lnTo>
                    <a:lnTo>
                      <a:pt x="62" y="28"/>
                    </a:lnTo>
                    <a:lnTo>
                      <a:pt x="55" y="27"/>
                    </a:lnTo>
                    <a:lnTo>
                      <a:pt x="52" y="22"/>
                    </a:lnTo>
                    <a:lnTo>
                      <a:pt x="53" y="27"/>
                    </a:lnTo>
                    <a:lnTo>
                      <a:pt x="55" y="30"/>
                    </a:lnTo>
                    <a:lnTo>
                      <a:pt x="52" y="38"/>
                    </a:lnTo>
                    <a:lnTo>
                      <a:pt x="50" y="43"/>
                    </a:lnTo>
                    <a:lnTo>
                      <a:pt x="52" y="52"/>
                    </a:lnTo>
                    <a:lnTo>
                      <a:pt x="52" y="67"/>
                    </a:lnTo>
                    <a:lnTo>
                      <a:pt x="50" y="72"/>
                    </a:lnTo>
                    <a:lnTo>
                      <a:pt x="53" y="73"/>
                    </a:lnTo>
                    <a:lnTo>
                      <a:pt x="57" y="80"/>
                    </a:lnTo>
                    <a:lnTo>
                      <a:pt x="57" y="83"/>
                    </a:lnTo>
                    <a:lnTo>
                      <a:pt x="58" y="85"/>
                    </a:lnTo>
                    <a:lnTo>
                      <a:pt x="60" y="87"/>
                    </a:lnTo>
                    <a:lnTo>
                      <a:pt x="67" y="92"/>
                    </a:lnTo>
                    <a:lnTo>
                      <a:pt x="68" y="97"/>
                    </a:lnTo>
                    <a:lnTo>
                      <a:pt x="68" y="100"/>
                    </a:lnTo>
                    <a:lnTo>
                      <a:pt x="70" y="105"/>
                    </a:lnTo>
                    <a:lnTo>
                      <a:pt x="73" y="107"/>
                    </a:lnTo>
                    <a:lnTo>
                      <a:pt x="77" y="108"/>
                    </a:lnTo>
                    <a:lnTo>
                      <a:pt x="77" y="113"/>
                    </a:lnTo>
                    <a:lnTo>
                      <a:pt x="78" y="115"/>
                    </a:lnTo>
                    <a:lnTo>
                      <a:pt x="81" y="116"/>
                    </a:lnTo>
                    <a:lnTo>
                      <a:pt x="86" y="121"/>
                    </a:lnTo>
                    <a:lnTo>
                      <a:pt x="85" y="126"/>
                    </a:lnTo>
                    <a:lnTo>
                      <a:pt x="85" y="131"/>
                    </a:lnTo>
                    <a:lnTo>
                      <a:pt x="90" y="135"/>
                    </a:lnTo>
                    <a:lnTo>
                      <a:pt x="91" y="136"/>
                    </a:lnTo>
                    <a:lnTo>
                      <a:pt x="96" y="141"/>
                    </a:lnTo>
                    <a:lnTo>
                      <a:pt x="98" y="151"/>
                    </a:lnTo>
                    <a:lnTo>
                      <a:pt x="100" y="151"/>
                    </a:lnTo>
                    <a:lnTo>
                      <a:pt x="101" y="153"/>
                    </a:lnTo>
                    <a:lnTo>
                      <a:pt x="100" y="156"/>
                    </a:lnTo>
                    <a:lnTo>
                      <a:pt x="100" y="160"/>
                    </a:lnTo>
                    <a:lnTo>
                      <a:pt x="105" y="165"/>
                    </a:lnTo>
                    <a:lnTo>
                      <a:pt x="106" y="163"/>
                    </a:lnTo>
                    <a:lnTo>
                      <a:pt x="106" y="161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0" y="163"/>
                    </a:lnTo>
                    <a:lnTo>
                      <a:pt x="111" y="166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13" y="185"/>
                    </a:lnTo>
                    <a:lnTo>
                      <a:pt x="115" y="186"/>
                    </a:lnTo>
                    <a:lnTo>
                      <a:pt x="115" y="190"/>
                    </a:lnTo>
                    <a:lnTo>
                      <a:pt x="116" y="193"/>
                    </a:lnTo>
                    <a:lnTo>
                      <a:pt x="116" y="196"/>
                    </a:lnTo>
                    <a:lnTo>
                      <a:pt x="120" y="198"/>
                    </a:lnTo>
                    <a:lnTo>
                      <a:pt x="120" y="201"/>
                    </a:lnTo>
                    <a:lnTo>
                      <a:pt x="118" y="205"/>
                    </a:lnTo>
                    <a:lnTo>
                      <a:pt x="121" y="210"/>
                    </a:lnTo>
                    <a:lnTo>
                      <a:pt x="121" y="213"/>
                    </a:lnTo>
                    <a:lnTo>
                      <a:pt x="120" y="218"/>
                    </a:lnTo>
                    <a:lnTo>
                      <a:pt x="120" y="221"/>
                    </a:lnTo>
                    <a:lnTo>
                      <a:pt x="125" y="224"/>
                    </a:lnTo>
                    <a:lnTo>
                      <a:pt x="128" y="228"/>
                    </a:lnTo>
                    <a:lnTo>
                      <a:pt x="128" y="231"/>
                    </a:lnTo>
                    <a:lnTo>
                      <a:pt x="131" y="229"/>
                    </a:lnTo>
                    <a:lnTo>
                      <a:pt x="131" y="226"/>
                    </a:lnTo>
                    <a:lnTo>
                      <a:pt x="131" y="226"/>
                    </a:lnTo>
                    <a:lnTo>
                      <a:pt x="135" y="226"/>
                    </a:lnTo>
                    <a:lnTo>
                      <a:pt x="136" y="229"/>
                    </a:lnTo>
                    <a:lnTo>
                      <a:pt x="138" y="233"/>
                    </a:lnTo>
                    <a:lnTo>
                      <a:pt x="141" y="234"/>
                    </a:lnTo>
                    <a:lnTo>
                      <a:pt x="143" y="238"/>
                    </a:lnTo>
                    <a:lnTo>
                      <a:pt x="146" y="241"/>
                    </a:lnTo>
                    <a:lnTo>
                      <a:pt x="146" y="244"/>
                    </a:lnTo>
                    <a:lnTo>
                      <a:pt x="150" y="246"/>
                    </a:lnTo>
                    <a:lnTo>
                      <a:pt x="150" y="251"/>
                    </a:lnTo>
                    <a:lnTo>
                      <a:pt x="145" y="258"/>
                    </a:lnTo>
                    <a:lnTo>
                      <a:pt x="138" y="261"/>
                    </a:lnTo>
                    <a:lnTo>
                      <a:pt x="135" y="259"/>
                    </a:lnTo>
                    <a:lnTo>
                      <a:pt x="133" y="256"/>
                    </a:lnTo>
                    <a:lnTo>
                      <a:pt x="133" y="253"/>
                    </a:lnTo>
                    <a:lnTo>
                      <a:pt x="130" y="249"/>
                    </a:lnTo>
                    <a:lnTo>
                      <a:pt x="130" y="244"/>
                    </a:lnTo>
                    <a:lnTo>
                      <a:pt x="126" y="241"/>
                    </a:lnTo>
                    <a:lnTo>
                      <a:pt x="121" y="241"/>
                    </a:lnTo>
                    <a:lnTo>
                      <a:pt x="118" y="236"/>
                    </a:lnTo>
                    <a:lnTo>
                      <a:pt x="116" y="234"/>
                    </a:lnTo>
                    <a:lnTo>
                      <a:pt x="113" y="233"/>
                    </a:lnTo>
                    <a:lnTo>
                      <a:pt x="103" y="223"/>
                    </a:lnTo>
                    <a:lnTo>
                      <a:pt x="100" y="218"/>
                    </a:lnTo>
                    <a:lnTo>
                      <a:pt x="95" y="218"/>
                    </a:lnTo>
                    <a:lnTo>
                      <a:pt x="95" y="214"/>
                    </a:lnTo>
                    <a:lnTo>
                      <a:pt x="91" y="214"/>
                    </a:lnTo>
                    <a:lnTo>
                      <a:pt x="88" y="211"/>
                    </a:lnTo>
                    <a:lnTo>
                      <a:pt x="86" y="208"/>
                    </a:lnTo>
                    <a:lnTo>
                      <a:pt x="91" y="201"/>
                    </a:lnTo>
                    <a:lnTo>
                      <a:pt x="93" y="195"/>
                    </a:lnTo>
                    <a:lnTo>
                      <a:pt x="91" y="186"/>
                    </a:lnTo>
                    <a:lnTo>
                      <a:pt x="88" y="178"/>
                    </a:lnTo>
                    <a:lnTo>
                      <a:pt x="86" y="175"/>
                    </a:lnTo>
                    <a:lnTo>
                      <a:pt x="83" y="175"/>
                    </a:lnTo>
                    <a:lnTo>
                      <a:pt x="80" y="173"/>
                    </a:lnTo>
                    <a:lnTo>
                      <a:pt x="72" y="166"/>
                    </a:lnTo>
                    <a:lnTo>
                      <a:pt x="70" y="158"/>
                    </a:lnTo>
                    <a:lnTo>
                      <a:pt x="72" y="155"/>
                    </a:lnTo>
                    <a:lnTo>
                      <a:pt x="70" y="155"/>
                    </a:lnTo>
                    <a:lnTo>
                      <a:pt x="67" y="160"/>
                    </a:lnTo>
                    <a:lnTo>
                      <a:pt x="63" y="160"/>
                    </a:lnTo>
                    <a:lnTo>
                      <a:pt x="60" y="161"/>
                    </a:lnTo>
                    <a:lnTo>
                      <a:pt x="58" y="158"/>
                    </a:lnTo>
                    <a:lnTo>
                      <a:pt x="58" y="156"/>
                    </a:lnTo>
                    <a:lnTo>
                      <a:pt x="55" y="155"/>
                    </a:lnTo>
                    <a:lnTo>
                      <a:pt x="53" y="155"/>
                    </a:lnTo>
                    <a:lnTo>
                      <a:pt x="53" y="153"/>
                    </a:lnTo>
                    <a:lnTo>
                      <a:pt x="47" y="150"/>
                    </a:lnTo>
                    <a:lnTo>
                      <a:pt x="43" y="150"/>
                    </a:lnTo>
                    <a:lnTo>
                      <a:pt x="40" y="145"/>
                    </a:lnTo>
                    <a:lnTo>
                      <a:pt x="40" y="141"/>
                    </a:lnTo>
                    <a:lnTo>
                      <a:pt x="35" y="140"/>
                    </a:lnTo>
                    <a:lnTo>
                      <a:pt x="30" y="133"/>
                    </a:lnTo>
                    <a:lnTo>
                      <a:pt x="32" y="131"/>
                    </a:lnTo>
                    <a:lnTo>
                      <a:pt x="38" y="131"/>
                    </a:lnTo>
                    <a:lnTo>
                      <a:pt x="42" y="133"/>
                    </a:lnTo>
                    <a:lnTo>
                      <a:pt x="48" y="133"/>
                    </a:lnTo>
                    <a:lnTo>
                      <a:pt x="52" y="136"/>
                    </a:lnTo>
                    <a:lnTo>
                      <a:pt x="53" y="133"/>
                    </a:lnTo>
                    <a:lnTo>
                      <a:pt x="53" y="131"/>
                    </a:lnTo>
                    <a:lnTo>
                      <a:pt x="50" y="130"/>
                    </a:lnTo>
                    <a:lnTo>
                      <a:pt x="48" y="130"/>
                    </a:lnTo>
                    <a:lnTo>
                      <a:pt x="52" y="126"/>
                    </a:lnTo>
                    <a:lnTo>
                      <a:pt x="55" y="128"/>
                    </a:lnTo>
                    <a:lnTo>
                      <a:pt x="55" y="125"/>
                    </a:lnTo>
                    <a:lnTo>
                      <a:pt x="53" y="121"/>
                    </a:lnTo>
                    <a:lnTo>
                      <a:pt x="53" y="120"/>
                    </a:lnTo>
                    <a:lnTo>
                      <a:pt x="57" y="116"/>
                    </a:lnTo>
                    <a:lnTo>
                      <a:pt x="53" y="112"/>
                    </a:lnTo>
                    <a:lnTo>
                      <a:pt x="52" y="110"/>
                    </a:lnTo>
                    <a:lnTo>
                      <a:pt x="48" y="103"/>
                    </a:lnTo>
                    <a:lnTo>
                      <a:pt x="43" y="98"/>
                    </a:lnTo>
                    <a:lnTo>
                      <a:pt x="42" y="95"/>
                    </a:lnTo>
                    <a:lnTo>
                      <a:pt x="38" y="90"/>
                    </a:lnTo>
                    <a:lnTo>
                      <a:pt x="32" y="85"/>
                    </a:lnTo>
                    <a:lnTo>
                      <a:pt x="28" y="85"/>
                    </a:lnTo>
                    <a:lnTo>
                      <a:pt x="25" y="82"/>
                    </a:lnTo>
                    <a:lnTo>
                      <a:pt x="22" y="75"/>
                    </a:lnTo>
                    <a:lnTo>
                      <a:pt x="22" y="68"/>
                    </a:lnTo>
                    <a:lnTo>
                      <a:pt x="22" y="65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20" y="57"/>
                    </a:lnTo>
                    <a:lnTo>
                      <a:pt x="18" y="52"/>
                    </a:lnTo>
                    <a:lnTo>
                      <a:pt x="13" y="48"/>
                    </a:lnTo>
                    <a:lnTo>
                      <a:pt x="13" y="45"/>
                    </a:lnTo>
                    <a:lnTo>
                      <a:pt x="15" y="43"/>
                    </a:lnTo>
                    <a:lnTo>
                      <a:pt x="15" y="42"/>
                    </a:lnTo>
                    <a:lnTo>
                      <a:pt x="8" y="35"/>
                    </a:lnTo>
                    <a:lnTo>
                      <a:pt x="7" y="30"/>
                    </a:lnTo>
                    <a:lnTo>
                      <a:pt x="7" y="27"/>
                    </a:lnTo>
                    <a:lnTo>
                      <a:pt x="10" y="25"/>
                    </a:lnTo>
                    <a:lnTo>
                      <a:pt x="7" y="22"/>
                    </a:lnTo>
                    <a:lnTo>
                      <a:pt x="3" y="17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  <a:moveTo>
                      <a:pt x="125" y="211"/>
                    </a:moveTo>
                    <a:lnTo>
                      <a:pt x="128" y="210"/>
                    </a:lnTo>
                    <a:lnTo>
                      <a:pt x="128" y="206"/>
                    </a:lnTo>
                    <a:lnTo>
                      <a:pt x="125" y="203"/>
                    </a:lnTo>
                    <a:lnTo>
                      <a:pt x="123" y="205"/>
                    </a:lnTo>
                    <a:lnTo>
                      <a:pt x="125" y="206"/>
                    </a:lnTo>
                    <a:lnTo>
                      <a:pt x="125" y="211"/>
                    </a:lnTo>
                    <a:lnTo>
                      <a:pt x="125" y="211"/>
                    </a:lnTo>
                    <a:close/>
                    <a:moveTo>
                      <a:pt x="130" y="221"/>
                    </a:moveTo>
                    <a:lnTo>
                      <a:pt x="130" y="224"/>
                    </a:lnTo>
                    <a:lnTo>
                      <a:pt x="131" y="224"/>
                    </a:lnTo>
                    <a:lnTo>
                      <a:pt x="133" y="221"/>
                    </a:lnTo>
                    <a:lnTo>
                      <a:pt x="130" y="221"/>
                    </a:lnTo>
                    <a:lnTo>
                      <a:pt x="130" y="221"/>
                    </a:lnTo>
                    <a:close/>
                    <a:moveTo>
                      <a:pt x="440" y="214"/>
                    </a:moveTo>
                    <a:lnTo>
                      <a:pt x="442" y="214"/>
                    </a:lnTo>
                    <a:lnTo>
                      <a:pt x="442" y="211"/>
                    </a:lnTo>
                    <a:lnTo>
                      <a:pt x="440" y="211"/>
                    </a:lnTo>
                    <a:lnTo>
                      <a:pt x="440" y="214"/>
                    </a:lnTo>
                    <a:lnTo>
                      <a:pt x="440" y="214"/>
                    </a:lnTo>
                    <a:close/>
                    <a:moveTo>
                      <a:pt x="439" y="219"/>
                    </a:moveTo>
                    <a:lnTo>
                      <a:pt x="439" y="221"/>
                    </a:lnTo>
                    <a:lnTo>
                      <a:pt x="440" y="216"/>
                    </a:lnTo>
                    <a:lnTo>
                      <a:pt x="439" y="216"/>
                    </a:lnTo>
                    <a:lnTo>
                      <a:pt x="439" y="219"/>
                    </a:lnTo>
                    <a:lnTo>
                      <a:pt x="439" y="219"/>
                    </a:lnTo>
                    <a:close/>
                    <a:moveTo>
                      <a:pt x="435" y="229"/>
                    </a:moveTo>
                    <a:lnTo>
                      <a:pt x="439" y="226"/>
                    </a:lnTo>
                    <a:lnTo>
                      <a:pt x="439" y="223"/>
                    </a:lnTo>
                    <a:lnTo>
                      <a:pt x="435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259146" y="3095400"/>
              <a:ext cx="717067" cy="920340"/>
              <a:chOff x="5259146" y="3095400"/>
              <a:chExt cx="717067" cy="920340"/>
            </a:xfrm>
            <a:grpFill/>
          </p:grpSpPr>
          <p:sp>
            <p:nvSpPr>
              <p:cNvPr id="75" name="Freeform 155"/>
              <p:cNvSpPr>
                <a:spLocks/>
              </p:cNvSpPr>
              <p:nvPr/>
            </p:nvSpPr>
            <p:spPr bwMode="auto">
              <a:xfrm>
                <a:off x="5352257" y="3158692"/>
                <a:ext cx="71706" cy="29052"/>
              </a:xfrm>
              <a:custGeom>
                <a:avLst/>
                <a:gdLst/>
                <a:ahLst/>
                <a:cxnLst>
                  <a:cxn ang="0">
                    <a:pos x="116" y="50"/>
                  </a:cxn>
                  <a:cxn ang="0">
                    <a:pos x="107" y="37"/>
                  </a:cxn>
                  <a:cxn ang="0">
                    <a:pos x="114" y="30"/>
                  </a:cxn>
                  <a:cxn ang="0">
                    <a:pos x="119" y="29"/>
                  </a:cxn>
                  <a:cxn ang="0">
                    <a:pos x="114" y="25"/>
                  </a:cxn>
                  <a:cxn ang="0">
                    <a:pos x="111" y="30"/>
                  </a:cxn>
                  <a:cxn ang="0">
                    <a:pos x="106" y="24"/>
                  </a:cxn>
                  <a:cxn ang="0">
                    <a:pos x="99" y="19"/>
                  </a:cxn>
                  <a:cxn ang="0">
                    <a:pos x="91" y="12"/>
                  </a:cxn>
                  <a:cxn ang="0">
                    <a:pos x="78" y="17"/>
                  </a:cxn>
                  <a:cxn ang="0">
                    <a:pos x="79" y="22"/>
                  </a:cxn>
                  <a:cxn ang="0">
                    <a:pos x="73" y="30"/>
                  </a:cxn>
                  <a:cxn ang="0">
                    <a:pos x="61" y="33"/>
                  </a:cxn>
                  <a:cxn ang="0">
                    <a:pos x="61" y="38"/>
                  </a:cxn>
                  <a:cxn ang="0">
                    <a:pos x="69" y="45"/>
                  </a:cxn>
                  <a:cxn ang="0">
                    <a:pos x="66" y="50"/>
                  </a:cxn>
                  <a:cxn ang="0">
                    <a:pos x="59" y="52"/>
                  </a:cxn>
                  <a:cxn ang="0">
                    <a:pos x="49" y="55"/>
                  </a:cxn>
                  <a:cxn ang="0">
                    <a:pos x="49" y="50"/>
                  </a:cxn>
                  <a:cxn ang="0">
                    <a:pos x="48" y="43"/>
                  </a:cxn>
                  <a:cxn ang="0">
                    <a:pos x="44" y="40"/>
                  </a:cxn>
                  <a:cxn ang="0">
                    <a:pos x="44" y="45"/>
                  </a:cxn>
                  <a:cxn ang="0">
                    <a:pos x="38" y="47"/>
                  </a:cxn>
                  <a:cxn ang="0">
                    <a:pos x="31" y="40"/>
                  </a:cxn>
                  <a:cxn ang="0">
                    <a:pos x="21" y="33"/>
                  </a:cxn>
                  <a:cxn ang="0">
                    <a:pos x="19" y="30"/>
                  </a:cxn>
                  <a:cxn ang="0">
                    <a:pos x="14" y="30"/>
                  </a:cxn>
                  <a:cxn ang="0">
                    <a:pos x="6" y="30"/>
                  </a:cxn>
                  <a:cxn ang="0">
                    <a:pos x="1" y="29"/>
                  </a:cxn>
                  <a:cxn ang="0">
                    <a:pos x="1" y="22"/>
                  </a:cxn>
                  <a:cxn ang="0">
                    <a:pos x="3" y="17"/>
                  </a:cxn>
                  <a:cxn ang="0">
                    <a:pos x="1" y="12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3" y="9"/>
                  </a:cxn>
                  <a:cxn ang="0">
                    <a:pos x="18" y="10"/>
                  </a:cxn>
                  <a:cxn ang="0">
                    <a:pos x="18" y="12"/>
                  </a:cxn>
                  <a:cxn ang="0">
                    <a:pos x="18" y="14"/>
                  </a:cxn>
                  <a:cxn ang="0">
                    <a:pos x="26" y="15"/>
                  </a:cxn>
                  <a:cxn ang="0">
                    <a:pos x="23" y="12"/>
                  </a:cxn>
                  <a:cxn ang="0">
                    <a:pos x="31" y="12"/>
                  </a:cxn>
                  <a:cxn ang="0">
                    <a:pos x="46" y="19"/>
                  </a:cxn>
                  <a:cxn ang="0">
                    <a:pos x="54" y="14"/>
                  </a:cxn>
                  <a:cxn ang="0">
                    <a:pos x="78" y="5"/>
                  </a:cxn>
                  <a:cxn ang="0">
                    <a:pos x="86" y="0"/>
                  </a:cxn>
                  <a:cxn ang="0">
                    <a:pos x="91" y="4"/>
                  </a:cxn>
                  <a:cxn ang="0">
                    <a:pos x="106" y="5"/>
                  </a:cxn>
                  <a:cxn ang="0">
                    <a:pos x="122" y="12"/>
                  </a:cxn>
                  <a:cxn ang="0">
                    <a:pos x="127" y="19"/>
                  </a:cxn>
                  <a:cxn ang="0">
                    <a:pos x="132" y="22"/>
                  </a:cxn>
                  <a:cxn ang="0">
                    <a:pos x="132" y="29"/>
                  </a:cxn>
                  <a:cxn ang="0">
                    <a:pos x="131" y="40"/>
                  </a:cxn>
                  <a:cxn ang="0">
                    <a:pos x="126" y="47"/>
                  </a:cxn>
                  <a:cxn ang="0">
                    <a:pos x="121" y="53"/>
                  </a:cxn>
                </a:cxnLst>
                <a:rect l="0" t="0" r="r" b="b"/>
                <a:pathLst>
                  <a:path w="134" h="57">
                    <a:moveTo>
                      <a:pt x="121" y="53"/>
                    </a:moveTo>
                    <a:lnTo>
                      <a:pt x="116" y="50"/>
                    </a:lnTo>
                    <a:lnTo>
                      <a:pt x="111" y="43"/>
                    </a:lnTo>
                    <a:lnTo>
                      <a:pt x="107" y="37"/>
                    </a:lnTo>
                    <a:lnTo>
                      <a:pt x="111" y="35"/>
                    </a:lnTo>
                    <a:lnTo>
                      <a:pt x="114" y="30"/>
                    </a:lnTo>
                    <a:lnTo>
                      <a:pt x="116" y="30"/>
                    </a:lnTo>
                    <a:lnTo>
                      <a:pt x="119" y="29"/>
                    </a:lnTo>
                    <a:lnTo>
                      <a:pt x="117" y="25"/>
                    </a:lnTo>
                    <a:lnTo>
                      <a:pt x="114" y="25"/>
                    </a:lnTo>
                    <a:lnTo>
                      <a:pt x="112" y="29"/>
                    </a:lnTo>
                    <a:lnTo>
                      <a:pt x="111" y="30"/>
                    </a:lnTo>
                    <a:lnTo>
                      <a:pt x="107" y="29"/>
                    </a:lnTo>
                    <a:lnTo>
                      <a:pt x="106" y="24"/>
                    </a:lnTo>
                    <a:lnTo>
                      <a:pt x="103" y="19"/>
                    </a:lnTo>
                    <a:lnTo>
                      <a:pt x="99" y="19"/>
                    </a:lnTo>
                    <a:lnTo>
                      <a:pt x="94" y="14"/>
                    </a:lnTo>
                    <a:lnTo>
                      <a:pt x="91" y="12"/>
                    </a:lnTo>
                    <a:lnTo>
                      <a:pt x="86" y="14"/>
                    </a:lnTo>
                    <a:lnTo>
                      <a:pt x="78" y="17"/>
                    </a:lnTo>
                    <a:lnTo>
                      <a:pt x="78" y="20"/>
                    </a:lnTo>
                    <a:lnTo>
                      <a:pt x="79" y="22"/>
                    </a:lnTo>
                    <a:lnTo>
                      <a:pt x="79" y="24"/>
                    </a:lnTo>
                    <a:lnTo>
                      <a:pt x="73" y="30"/>
                    </a:lnTo>
                    <a:lnTo>
                      <a:pt x="64" y="32"/>
                    </a:lnTo>
                    <a:lnTo>
                      <a:pt x="61" y="33"/>
                    </a:lnTo>
                    <a:lnTo>
                      <a:pt x="59" y="35"/>
                    </a:lnTo>
                    <a:lnTo>
                      <a:pt x="61" y="38"/>
                    </a:lnTo>
                    <a:lnTo>
                      <a:pt x="66" y="42"/>
                    </a:lnTo>
                    <a:lnTo>
                      <a:pt x="69" y="45"/>
                    </a:lnTo>
                    <a:lnTo>
                      <a:pt x="69" y="48"/>
                    </a:lnTo>
                    <a:lnTo>
                      <a:pt x="66" y="50"/>
                    </a:lnTo>
                    <a:lnTo>
                      <a:pt x="63" y="48"/>
                    </a:lnTo>
                    <a:lnTo>
                      <a:pt x="59" y="52"/>
                    </a:lnTo>
                    <a:lnTo>
                      <a:pt x="56" y="57"/>
                    </a:lnTo>
                    <a:lnTo>
                      <a:pt x="49" y="55"/>
                    </a:lnTo>
                    <a:lnTo>
                      <a:pt x="48" y="53"/>
                    </a:lnTo>
                    <a:lnTo>
                      <a:pt x="49" y="50"/>
                    </a:lnTo>
                    <a:lnTo>
                      <a:pt x="48" y="45"/>
                    </a:lnTo>
                    <a:lnTo>
                      <a:pt x="48" y="43"/>
                    </a:lnTo>
                    <a:lnTo>
                      <a:pt x="46" y="42"/>
                    </a:lnTo>
                    <a:lnTo>
                      <a:pt x="44" y="40"/>
                    </a:lnTo>
                    <a:lnTo>
                      <a:pt x="43" y="43"/>
                    </a:lnTo>
                    <a:lnTo>
                      <a:pt x="44" y="45"/>
                    </a:lnTo>
                    <a:lnTo>
                      <a:pt x="43" y="47"/>
                    </a:lnTo>
                    <a:lnTo>
                      <a:pt x="38" y="47"/>
                    </a:lnTo>
                    <a:lnTo>
                      <a:pt x="34" y="45"/>
                    </a:lnTo>
                    <a:lnTo>
                      <a:pt x="31" y="40"/>
                    </a:lnTo>
                    <a:lnTo>
                      <a:pt x="29" y="33"/>
                    </a:lnTo>
                    <a:lnTo>
                      <a:pt x="21" y="33"/>
                    </a:lnTo>
                    <a:lnTo>
                      <a:pt x="18" y="32"/>
                    </a:lnTo>
                    <a:lnTo>
                      <a:pt x="19" y="30"/>
                    </a:lnTo>
                    <a:lnTo>
                      <a:pt x="16" y="29"/>
                    </a:lnTo>
                    <a:lnTo>
                      <a:pt x="14" y="30"/>
                    </a:lnTo>
                    <a:lnTo>
                      <a:pt x="9" y="30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1" y="29"/>
                    </a:lnTo>
                    <a:lnTo>
                      <a:pt x="1" y="27"/>
                    </a:lnTo>
                    <a:lnTo>
                      <a:pt x="1" y="22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3" y="5"/>
                    </a:lnTo>
                    <a:lnTo>
                      <a:pt x="6" y="4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9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23" y="15"/>
                    </a:lnTo>
                    <a:lnTo>
                      <a:pt x="26" y="15"/>
                    </a:lnTo>
                    <a:lnTo>
                      <a:pt x="26" y="14"/>
                    </a:lnTo>
                    <a:lnTo>
                      <a:pt x="23" y="12"/>
                    </a:lnTo>
                    <a:lnTo>
                      <a:pt x="24" y="10"/>
                    </a:lnTo>
                    <a:lnTo>
                      <a:pt x="31" y="12"/>
                    </a:lnTo>
                    <a:lnTo>
                      <a:pt x="39" y="19"/>
                    </a:lnTo>
                    <a:lnTo>
                      <a:pt x="46" y="19"/>
                    </a:lnTo>
                    <a:lnTo>
                      <a:pt x="51" y="19"/>
                    </a:lnTo>
                    <a:lnTo>
                      <a:pt x="54" y="14"/>
                    </a:lnTo>
                    <a:lnTo>
                      <a:pt x="69" y="7"/>
                    </a:lnTo>
                    <a:lnTo>
                      <a:pt x="78" y="5"/>
                    </a:lnTo>
                    <a:lnTo>
                      <a:pt x="84" y="2"/>
                    </a:lnTo>
                    <a:lnTo>
                      <a:pt x="86" y="0"/>
                    </a:lnTo>
                    <a:lnTo>
                      <a:pt x="91" y="2"/>
                    </a:lnTo>
                    <a:lnTo>
                      <a:pt x="91" y="4"/>
                    </a:lnTo>
                    <a:lnTo>
                      <a:pt x="96" y="5"/>
                    </a:lnTo>
                    <a:lnTo>
                      <a:pt x="106" y="5"/>
                    </a:lnTo>
                    <a:lnTo>
                      <a:pt x="112" y="7"/>
                    </a:lnTo>
                    <a:lnTo>
                      <a:pt x="122" y="12"/>
                    </a:lnTo>
                    <a:lnTo>
                      <a:pt x="126" y="17"/>
                    </a:lnTo>
                    <a:lnTo>
                      <a:pt x="127" y="19"/>
                    </a:lnTo>
                    <a:lnTo>
                      <a:pt x="131" y="20"/>
                    </a:lnTo>
                    <a:lnTo>
                      <a:pt x="132" y="22"/>
                    </a:lnTo>
                    <a:lnTo>
                      <a:pt x="131" y="25"/>
                    </a:lnTo>
                    <a:lnTo>
                      <a:pt x="132" y="29"/>
                    </a:lnTo>
                    <a:lnTo>
                      <a:pt x="134" y="33"/>
                    </a:lnTo>
                    <a:lnTo>
                      <a:pt x="131" y="40"/>
                    </a:lnTo>
                    <a:lnTo>
                      <a:pt x="129" y="45"/>
                    </a:lnTo>
                    <a:lnTo>
                      <a:pt x="126" y="47"/>
                    </a:lnTo>
                    <a:lnTo>
                      <a:pt x="124" y="47"/>
                    </a:lnTo>
                    <a:lnTo>
                      <a:pt x="121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76" name="Freeform 156"/>
              <p:cNvSpPr>
                <a:spLocks/>
              </p:cNvSpPr>
              <p:nvPr/>
            </p:nvSpPr>
            <p:spPr bwMode="auto">
              <a:xfrm>
                <a:off x="5313728" y="3140016"/>
                <a:ext cx="43880" cy="36316"/>
              </a:xfrm>
              <a:custGeom>
                <a:avLst/>
                <a:gdLst/>
                <a:ahLst/>
                <a:cxnLst>
                  <a:cxn ang="0">
                    <a:pos x="73" y="64"/>
                  </a:cxn>
                  <a:cxn ang="0">
                    <a:pos x="73" y="65"/>
                  </a:cxn>
                  <a:cxn ang="0">
                    <a:pos x="73" y="70"/>
                  </a:cxn>
                  <a:cxn ang="0">
                    <a:pos x="68" y="68"/>
                  </a:cxn>
                  <a:cxn ang="0">
                    <a:pos x="65" y="67"/>
                  </a:cxn>
                  <a:cxn ang="0">
                    <a:pos x="62" y="59"/>
                  </a:cxn>
                  <a:cxn ang="0">
                    <a:pos x="57" y="57"/>
                  </a:cxn>
                  <a:cxn ang="0">
                    <a:pos x="62" y="60"/>
                  </a:cxn>
                  <a:cxn ang="0">
                    <a:pos x="63" y="67"/>
                  </a:cxn>
                  <a:cxn ang="0">
                    <a:pos x="57" y="65"/>
                  </a:cxn>
                  <a:cxn ang="0">
                    <a:pos x="50" y="60"/>
                  </a:cxn>
                  <a:cxn ang="0">
                    <a:pos x="53" y="54"/>
                  </a:cxn>
                  <a:cxn ang="0">
                    <a:pos x="47" y="47"/>
                  </a:cxn>
                  <a:cxn ang="0">
                    <a:pos x="40" y="40"/>
                  </a:cxn>
                  <a:cxn ang="0">
                    <a:pos x="32" y="34"/>
                  </a:cxn>
                  <a:cxn ang="0">
                    <a:pos x="27" y="27"/>
                  </a:cxn>
                  <a:cxn ang="0">
                    <a:pos x="18" y="22"/>
                  </a:cxn>
                  <a:cxn ang="0">
                    <a:pos x="18" y="25"/>
                  </a:cxn>
                  <a:cxn ang="0">
                    <a:pos x="25" y="34"/>
                  </a:cxn>
                  <a:cxn ang="0">
                    <a:pos x="20" y="39"/>
                  </a:cxn>
                  <a:cxn ang="0">
                    <a:pos x="15" y="32"/>
                  </a:cxn>
                  <a:cxn ang="0">
                    <a:pos x="2" y="27"/>
                  </a:cxn>
                  <a:cxn ang="0">
                    <a:pos x="2" y="19"/>
                  </a:cxn>
                  <a:cxn ang="0">
                    <a:pos x="5" y="12"/>
                  </a:cxn>
                  <a:cxn ang="0">
                    <a:pos x="0" y="10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13" y="0"/>
                  </a:cxn>
                  <a:cxn ang="0">
                    <a:pos x="30" y="4"/>
                  </a:cxn>
                  <a:cxn ang="0">
                    <a:pos x="40" y="5"/>
                  </a:cxn>
                  <a:cxn ang="0">
                    <a:pos x="43" y="9"/>
                  </a:cxn>
                  <a:cxn ang="0">
                    <a:pos x="50" y="12"/>
                  </a:cxn>
                  <a:cxn ang="0">
                    <a:pos x="52" y="14"/>
                  </a:cxn>
                  <a:cxn ang="0">
                    <a:pos x="58" y="10"/>
                  </a:cxn>
                  <a:cxn ang="0">
                    <a:pos x="62" y="15"/>
                  </a:cxn>
                  <a:cxn ang="0">
                    <a:pos x="65" y="24"/>
                  </a:cxn>
                  <a:cxn ang="0">
                    <a:pos x="72" y="32"/>
                  </a:cxn>
                  <a:cxn ang="0">
                    <a:pos x="78" y="35"/>
                  </a:cxn>
                  <a:cxn ang="0">
                    <a:pos x="81" y="39"/>
                  </a:cxn>
                  <a:cxn ang="0">
                    <a:pos x="75" y="40"/>
                  </a:cxn>
                  <a:cxn ang="0">
                    <a:pos x="73" y="47"/>
                  </a:cxn>
                  <a:cxn ang="0">
                    <a:pos x="75" y="52"/>
                  </a:cxn>
                  <a:cxn ang="0">
                    <a:pos x="73" y="57"/>
                  </a:cxn>
                  <a:cxn ang="0">
                    <a:pos x="73" y="64"/>
                  </a:cxn>
                  <a:cxn ang="0">
                    <a:pos x="73" y="64"/>
                  </a:cxn>
                </a:cxnLst>
                <a:rect l="0" t="0" r="r" b="b"/>
                <a:pathLst>
                  <a:path w="81" h="70">
                    <a:moveTo>
                      <a:pt x="73" y="64"/>
                    </a:moveTo>
                    <a:lnTo>
                      <a:pt x="73" y="64"/>
                    </a:lnTo>
                    <a:lnTo>
                      <a:pt x="75" y="65"/>
                    </a:lnTo>
                    <a:lnTo>
                      <a:pt x="73" y="65"/>
                    </a:lnTo>
                    <a:lnTo>
                      <a:pt x="75" y="68"/>
                    </a:lnTo>
                    <a:lnTo>
                      <a:pt x="73" y="70"/>
                    </a:lnTo>
                    <a:lnTo>
                      <a:pt x="70" y="70"/>
                    </a:lnTo>
                    <a:lnTo>
                      <a:pt x="68" y="68"/>
                    </a:lnTo>
                    <a:lnTo>
                      <a:pt x="67" y="68"/>
                    </a:lnTo>
                    <a:lnTo>
                      <a:pt x="65" y="67"/>
                    </a:lnTo>
                    <a:lnTo>
                      <a:pt x="65" y="64"/>
                    </a:lnTo>
                    <a:lnTo>
                      <a:pt x="62" y="59"/>
                    </a:lnTo>
                    <a:lnTo>
                      <a:pt x="58" y="57"/>
                    </a:lnTo>
                    <a:lnTo>
                      <a:pt x="57" y="57"/>
                    </a:lnTo>
                    <a:lnTo>
                      <a:pt x="57" y="59"/>
                    </a:lnTo>
                    <a:lnTo>
                      <a:pt x="62" y="60"/>
                    </a:lnTo>
                    <a:lnTo>
                      <a:pt x="63" y="64"/>
                    </a:lnTo>
                    <a:lnTo>
                      <a:pt x="63" y="67"/>
                    </a:lnTo>
                    <a:lnTo>
                      <a:pt x="62" y="67"/>
                    </a:lnTo>
                    <a:lnTo>
                      <a:pt x="57" y="65"/>
                    </a:lnTo>
                    <a:lnTo>
                      <a:pt x="52" y="64"/>
                    </a:lnTo>
                    <a:lnTo>
                      <a:pt x="50" y="60"/>
                    </a:lnTo>
                    <a:lnTo>
                      <a:pt x="50" y="57"/>
                    </a:lnTo>
                    <a:lnTo>
                      <a:pt x="53" y="54"/>
                    </a:lnTo>
                    <a:lnTo>
                      <a:pt x="52" y="52"/>
                    </a:lnTo>
                    <a:lnTo>
                      <a:pt x="47" y="47"/>
                    </a:lnTo>
                    <a:lnTo>
                      <a:pt x="43" y="45"/>
                    </a:lnTo>
                    <a:lnTo>
                      <a:pt x="40" y="40"/>
                    </a:lnTo>
                    <a:lnTo>
                      <a:pt x="33" y="39"/>
                    </a:lnTo>
                    <a:lnTo>
                      <a:pt x="32" y="34"/>
                    </a:lnTo>
                    <a:lnTo>
                      <a:pt x="27" y="30"/>
                    </a:lnTo>
                    <a:lnTo>
                      <a:pt x="27" y="27"/>
                    </a:lnTo>
                    <a:lnTo>
                      <a:pt x="22" y="25"/>
                    </a:lnTo>
                    <a:lnTo>
                      <a:pt x="18" y="22"/>
                    </a:lnTo>
                    <a:lnTo>
                      <a:pt x="17" y="24"/>
                    </a:lnTo>
                    <a:lnTo>
                      <a:pt x="18" y="25"/>
                    </a:lnTo>
                    <a:lnTo>
                      <a:pt x="25" y="30"/>
                    </a:lnTo>
                    <a:lnTo>
                      <a:pt x="25" y="34"/>
                    </a:lnTo>
                    <a:lnTo>
                      <a:pt x="23" y="39"/>
                    </a:lnTo>
                    <a:lnTo>
                      <a:pt x="20" y="39"/>
                    </a:lnTo>
                    <a:lnTo>
                      <a:pt x="18" y="35"/>
                    </a:lnTo>
                    <a:lnTo>
                      <a:pt x="15" y="32"/>
                    </a:lnTo>
                    <a:lnTo>
                      <a:pt x="8" y="32"/>
                    </a:lnTo>
                    <a:lnTo>
                      <a:pt x="2" y="27"/>
                    </a:lnTo>
                    <a:lnTo>
                      <a:pt x="0" y="24"/>
                    </a:lnTo>
                    <a:lnTo>
                      <a:pt x="2" y="19"/>
                    </a:lnTo>
                    <a:lnTo>
                      <a:pt x="7" y="15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3" y="0"/>
                    </a:lnTo>
                    <a:lnTo>
                      <a:pt x="27" y="4"/>
                    </a:lnTo>
                    <a:lnTo>
                      <a:pt x="30" y="4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3" y="7"/>
                    </a:lnTo>
                    <a:lnTo>
                      <a:pt x="43" y="9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3" y="12"/>
                    </a:lnTo>
                    <a:lnTo>
                      <a:pt x="52" y="14"/>
                    </a:lnTo>
                    <a:lnTo>
                      <a:pt x="57" y="14"/>
                    </a:lnTo>
                    <a:lnTo>
                      <a:pt x="58" y="10"/>
                    </a:lnTo>
                    <a:lnTo>
                      <a:pt x="60" y="10"/>
                    </a:lnTo>
                    <a:lnTo>
                      <a:pt x="62" y="15"/>
                    </a:lnTo>
                    <a:lnTo>
                      <a:pt x="62" y="19"/>
                    </a:lnTo>
                    <a:lnTo>
                      <a:pt x="65" y="24"/>
                    </a:lnTo>
                    <a:lnTo>
                      <a:pt x="70" y="29"/>
                    </a:lnTo>
                    <a:lnTo>
                      <a:pt x="72" y="32"/>
                    </a:lnTo>
                    <a:lnTo>
                      <a:pt x="75" y="35"/>
                    </a:lnTo>
                    <a:lnTo>
                      <a:pt x="78" y="35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78" y="39"/>
                    </a:lnTo>
                    <a:lnTo>
                      <a:pt x="75" y="40"/>
                    </a:lnTo>
                    <a:lnTo>
                      <a:pt x="75" y="44"/>
                    </a:lnTo>
                    <a:lnTo>
                      <a:pt x="73" y="47"/>
                    </a:lnTo>
                    <a:lnTo>
                      <a:pt x="72" y="50"/>
                    </a:lnTo>
                    <a:lnTo>
                      <a:pt x="75" y="52"/>
                    </a:lnTo>
                    <a:lnTo>
                      <a:pt x="78" y="55"/>
                    </a:lnTo>
                    <a:lnTo>
                      <a:pt x="73" y="57"/>
                    </a:lnTo>
                    <a:lnTo>
                      <a:pt x="73" y="62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77" name="Freeform 157"/>
              <p:cNvSpPr>
                <a:spLocks/>
              </p:cNvSpPr>
              <p:nvPr/>
            </p:nvSpPr>
            <p:spPr bwMode="auto">
              <a:xfrm>
                <a:off x="5293394" y="3095400"/>
                <a:ext cx="59934" cy="50842"/>
              </a:xfrm>
              <a:custGeom>
                <a:avLst/>
                <a:gdLst/>
                <a:ahLst/>
                <a:cxnLst>
                  <a:cxn ang="0">
                    <a:pos x="43" y="88"/>
                  </a:cxn>
                  <a:cxn ang="0">
                    <a:pos x="51" y="86"/>
                  </a:cxn>
                  <a:cxn ang="0">
                    <a:pos x="68" y="90"/>
                  </a:cxn>
                  <a:cxn ang="0">
                    <a:pos x="78" y="91"/>
                  </a:cxn>
                  <a:cxn ang="0">
                    <a:pos x="81" y="95"/>
                  </a:cxn>
                  <a:cxn ang="0">
                    <a:pos x="88" y="98"/>
                  </a:cxn>
                  <a:cxn ang="0">
                    <a:pos x="91" y="96"/>
                  </a:cxn>
                  <a:cxn ang="0">
                    <a:pos x="93" y="93"/>
                  </a:cxn>
                  <a:cxn ang="0">
                    <a:pos x="90" y="85"/>
                  </a:cxn>
                  <a:cxn ang="0">
                    <a:pos x="93" y="76"/>
                  </a:cxn>
                  <a:cxn ang="0">
                    <a:pos x="93" y="75"/>
                  </a:cxn>
                  <a:cxn ang="0">
                    <a:pos x="90" y="78"/>
                  </a:cxn>
                  <a:cxn ang="0">
                    <a:pos x="90" y="71"/>
                  </a:cxn>
                  <a:cxn ang="0">
                    <a:pos x="91" y="63"/>
                  </a:cxn>
                  <a:cxn ang="0">
                    <a:pos x="95" y="55"/>
                  </a:cxn>
                  <a:cxn ang="0">
                    <a:pos x="96" y="56"/>
                  </a:cxn>
                  <a:cxn ang="0">
                    <a:pos x="96" y="60"/>
                  </a:cxn>
                  <a:cxn ang="0">
                    <a:pos x="96" y="65"/>
                  </a:cxn>
                  <a:cxn ang="0">
                    <a:pos x="100" y="61"/>
                  </a:cxn>
                  <a:cxn ang="0">
                    <a:pos x="100" y="43"/>
                  </a:cxn>
                  <a:cxn ang="0">
                    <a:pos x="100" y="38"/>
                  </a:cxn>
                  <a:cxn ang="0">
                    <a:pos x="98" y="35"/>
                  </a:cxn>
                  <a:cxn ang="0">
                    <a:pos x="101" y="33"/>
                  </a:cxn>
                  <a:cxn ang="0">
                    <a:pos x="103" y="30"/>
                  </a:cxn>
                  <a:cxn ang="0">
                    <a:pos x="110" y="22"/>
                  </a:cxn>
                  <a:cxn ang="0">
                    <a:pos x="108" y="18"/>
                  </a:cxn>
                  <a:cxn ang="0">
                    <a:pos x="108" y="13"/>
                  </a:cxn>
                  <a:cxn ang="0">
                    <a:pos x="108" y="5"/>
                  </a:cxn>
                  <a:cxn ang="0">
                    <a:pos x="111" y="0"/>
                  </a:cxn>
                  <a:cxn ang="0">
                    <a:pos x="105" y="2"/>
                  </a:cxn>
                  <a:cxn ang="0">
                    <a:pos x="101" y="0"/>
                  </a:cxn>
                  <a:cxn ang="0">
                    <a:pos x="98" y="3"/>
                  </a:cxn>
                  <a:cxn ang="0">
                    <a:pos x="90" y="8"/>
                  </a:cxn>
                  <a:cxn ang="0">
                    <a:pos x="85" y="12"/>
                  </a:cxn>
                  <a:cxn ang="0">
                    <a:pos x="78" y="10"/>
                  </a:cxn>
                  <a:cxn ang="0">
                    <a:pos x="73" y="7"/>
                  </a:cxn>
                  <a:cxn ang="0">
                    <a:pos x="71" y="10"/>
                  </a:cxn>
                  <a:cxn ang="0">
                    <a:pos x="63" y="17"/>
                  </a:cxn>
                  <a:cxn ang="0">
                    <a:pos x="60" y="20"/>
                  </a:cxn>
                  <a:cxn ang="0">
                    <a:pos x="50" y="25"/>
                  </a:cxn>
                  <a:cxn ang="0">
                    <a:pos x="45" y="27"/>
                  </a:cxn>
                  <a:cxn ang="0">
                    <a:pos x="40" y="25"/>
                  </a:cxn>
                  <a:cxn ang="0">
                    <a:pos x="26" y="28"/>
                  </a:cxn>
                  <a:cxn ang="0">
                    <a:pos x="18" y="33"/>
                  </a:cxn>
                  <a:cxn ang="0">
                    <a:pos x="18" y="42"/>
                  </a:cxn>
                  <a:cxn ang="0">
                    <a:pos x="10" y="45"/>
                  </a:cxn>
                  <a:cxn ang="0">
                    <a:pos x="7" y="48"/>
                  </a:cxn>
                  <a:cxn ang="0">
                    <a:pos x="0" y="47"/>
                  </a:cxn>
                  <a:cxn ang="0">
                    <a:pos x="8" y="58"/>
                  </a:cxn>
                  <a:cxn ang="0">
                    <a:pos x="12" y="63"/>
                  </a:cxn>
                  <a:cxn ang="0">
                    <a:pos x="25" y="76"/>
                  </a:cxn>
                  <a:cxn ang="0">
                    <a:pos x="40" y="88"/>
                  </a:cxn>
                </a:cxnLst>
                <a:rect l="0" t="0" r="r" b="b"/>
                <a:pathLst>
                  <a:path w="111" h="98">
                    <a:moveTo>
                      <a:pt x="41" y="90"/>
                    </a:moveTo>
                    <a:lnTo>
                      <a:pt x="43" y="88"/>
                    </a:lnTo>
                    <a:lnTo>
                      <a:pt x="43" y="88"/>
                    </a:lnTo>
                    <a:lnTo>
                      <a:pt x="51" y="86"/>
                    </a:lnTo>
                    <a:lnTo>
                      <a:pt x="65" y="90"/>
                    </a:lnTo>
                    <a:lnTo>
                      <a:pt x="68" y="90"/>
                    </a:lnTo>
                    <a:lnTo>
                      <a:pt x="75" y="88"/>
                    </a:lnTo>
                    <a:lnTo>
                      <a:pt x="78" y="91"/>
                    </a:lnTo>
                    <a:lnTo>
                      <a:pt x="81" y="93"/>
                    </a:lnTo>
                    <a:lnTo>
                      <a:pt x="81" y="95"/>
                    </a:lnTo>
                    <a:lnTo>
                      <a:pt x="86" y="98"/>
                    </a:lnTo>
                    <a:lnTo>
                      <a:pt x="88" y="98"/>
                    </a:lnTo>
                    <a:lnTo>
                      <a:pt x="91" y="98"/>
                    </a:lnTo>
                    <a:lnTo>
                      <a:pt x="91" y="96"/>
                    </a:lnTo>
                    <a:lnTo>
                      <a:pt x="93" y="96"/>
                    </a:lnTo>
                    <a:lnTo>
                      <a:pt x="93" y="93"/>
                    </a:lnTo>
                    <a:lnTo>
                      <a:pt x="90" y="90"/>
                    </a:lnTo>
                    <a:lnTo>
                      <a:pt x="90" y="85"/>
                    </a:lnTo>
                    <a:lnTo>
                      <a:pt x="91" y="80"/>
                    </a:lnTo>
                    <a:lnTo>
                      <a:pt x="93" y="76"/>
                    </a:lnTo>
                    <a:lnTo>
                      <a:pt x="93" y="71"/>
                    </a:lnTo>
                    <a:lnTo>
                      <a:pt x="93" y="75"/>
                    </a:lnTo>
                    <a:lnTo>
                      <a:pt x="91" y="76"/>
                    </a:lnTo>
                    <a:lnTo>
                      <a:pt x="90" y="78"/>
                    </a:lnTo>
                    <a:lnTo>
                      <a:pt x="90" y="75"/>
                    </a:lnTo>
                    <a:lnTo>
                      <a:pt x="90" y="71"/>
                    </a:lnTo>
                    <a:lnTo>
                      <a:pt x="93" y="66"/>
                    </a:lnTo>
                    <a:lnTo>
                      <a:pt x="91" y="63"/>
                    </a:lnTo>
                    <a:lnTo>
                      <a:pt x="91" y="60"/>
                    </a:lnTo>
                    <a:lnTo>
                      <a:pt x="95" y="55"/>
                    </a:lnTo>
                    <a:lnTo>
                      <a:pt x="96" y="55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5"/>
                    </a:lnTo>
                    <a:lnTo>
                      <a:pt x="98" y="65"/>
                    </a:lnTo>
                    <a:lnTo>
                      <a:pt x="100" y="61"/>
                    </a:lnTo>
                    <a:lnTo>
                      <a:pt x="100" y="53"/>
                    </a:lnTo>
                    <a:lnTo>
                      <a:pt x="100" y="43"/>
                    </a:lnTo>
                    <a:lnTo>
                      <a:pt x="101" y="42"/>
                    </a:lnTo>
                    <a:lnTo>
                      <a:pt x="100" y="38"/>
                    </a:lnTo>
                    <a:lnTo>
                      <a:pt x="98" y="38"/>
                    </a:lnTo>
                    <a:lnTo>
                      <a:pt x="98" y="35"/>
                    </a:lnTo>
                    <a:lnTo>
                      <a:pt x="100" y="33"/>
                    </a:lnTo>
                    <a:lnTo>
                      <a:pt x="101" y="33"/>
                    </a:lnTo>
                    <a:lnTo>
                      <a:pt x="101" y="35"/>
                    </a:lnTo>
                    <a:lnTo>
                      <a:pt x="103" y="30"/>
                    </a:lnTo>
                    <a:lnTo>
                      <a:pt x="108" y="25"/>
                    </a:lnTo>
                    <a:lnTo>
                      <a:pt x="110" y="22"/>
                    </a:lnTo>
                    <a:lnTo>
                      <a:pt x="110" y="20"/>
                    </a:lnTo>
                    <a:lnTo>
                      <a:pt x="108" y="18"/>
                    </a:lnTo>
                    <a:lnTo>
                      <a:pt x="106" y="17"/>
                    </a:lnTo>
                    <a:lnTo>
                      <a:pt x="108" y="13"/>
                    </a:lnTo>
                    <a:lnTo>
                      <a:pt x="108" y="10"/>
                    </a:lnTo>
                    <a:lnTo>
                      <a:pt x="108" y="5"/>
                    </a:lnTo>
                    <a:lnTo>
                      <a:pt x="110" y="2"/>
                    </a:lnTo>
                    <a:lnTo>
                      <a:pt x="111" y="0"/>
                    </a:lnTo>
                    <a:lnTo>
                      <a:pt x="108" y="2"/>
                    </a:lnTo>
                    <a:lnTo>
                      <a:pt x="105" y="2"/>
                    </a:lnTo>
                    <a:lnTo>
                      <a:pt x="103" y="0"/>
                    </a:lnTo>
                    <a:lnTo>
                      <a:pt x="101" y="0"/>
                    </a:lnTo>
                    <a:lnTo>
                      <a:pt x="100" y="0"/>
                    </a:lnTo>
                    <a:lnTo>
                      <a:pt x="98" y="3"/>
                    </a:lnTo>
                    <a:lnTo>
                      <a:pt x="95" y="5"/>
                    </a:lnTo>
                    <a:lnTo>
                      <a:pt x="90" y="8"/>
                    </a:lnTo>
                    <a:lnTo>
                      <a:pt x="86" y="8"/>
                    </a:lnTo>
                    <a:lnTo>
                      <a:pt x="85" y="12"/>
                    </a:lnTo>
                    <a:lnTo>
                      <a:pt x="83" y="10"/>
                    </a:lnTo>
                    <a:lnTo>
                      <a:pt x="78" y="10"/>
                    </a:lnTo>
                    <a:lnTo>
                      <a:pt x="76" y="8"/>
                    </a:lnTo>
                    <a:lnTo>
                      <a:pt x="73" y="7"/>
                    </a:lnTo>
                    <a:lnTo>
                      <a:pt x="71" y="7"/>
                    </a:lnTo>
                    <a:lnTo>
                      <a:pt x="71" y="10"/>
                    </a:lnTo>
                    <a:lnTo>
                      <a:pt x="66" y="10"/>
                    </a:lnTo>
                    <a:lnTo>
                      <a:pt x="63" y="17"/>
                    </a:lnTo>
                    <a:lnTo>
                      <a:pt x="61" y="18"/>
                    </a:lnTo>
                    <a:lnTo>
                      <a:pt x="60" y="20"/>
                    </a:lnTo>
                    <a:lnTo>
                      <a:pt x="55" y="23"/>
                    </a:lnTo>
                    <a:lnTo>
                      <a:pt x="50" y="25"/>
                    </a:lnTo>
                    <a:lnTo>
                      <a:pt x="48" y="28"/>
                    </a:lnTo>
                    <a:lnTo>
                      <a:pt x="45" y="27"/>
                    </a:lnTo>
                    <a:lnTo>
                      <a:pt x="43" y="27"/>
                    </a:lnTo>
                    <a:lnTo>
                      <a:pt x="40" y="25"/>
                    </a:lnTo>
                    <a:lnTo>
                      <a:pt x="35" y="23"/>
                    </a:lnTo>
                    <a:lnTo>
                      <a:pt x="26" y="28"/>
                    </a:lnTo>
                    <a:lnTo>
                      <a:pt x="18" y="28"/>
                    </a:lnTo>
                    <a:lnTo>
                      <a:pt x="18" y="33"/>
                    </a:lnTo>
                    <a:lnTo>
                      <a:pt x="18" y="37"/>
                    </a:lnTo>
                    <a:lnTo>
                      <a:pt x="18" y="42"/>
                    </a:lnTo>
                    <a:lnTo>
                      <a:pt x="17" y="45"/>
                    </a:lnTo>
                    <a:lnTo>
                      <a:pt x="10" y="45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5" y="48"/>
                    </a:lnTo>
                    <a:lnTo>
                      <a:pt x="0" y="47"/>
                    </a:lnTo>
                    <a:lnTo>
                      <a:pt x="0" y="48"/>
                    </a:lnTo>
                    <a:lnTo>
                      <a:pt x="8" y="58"/>
                    </a:lnTo>
                    <a:lnTo>
                      <a:pt x="12" y="61"/>
                    </a:lnTo>
                    <a:lnTo>
                      <a:pt x="12" y="63"/>
                    </a:lnTo>
                    <a:lnTo>
                      <a:pt x="20" y="70"/>
                    </a:lnTo>
                    <a:lnTo>
                      <a:pt x="25" y="76"/>
                    </a:lnTo>
                    <a:lnTo>
                      <a:pt x="36" y="88"/>
                    </a:lnTo>
                    <a:lnTo>
                      <a:pt x="40" y="88"/>
                    </a:lnTo>
                    <a:lnTo>
                      <a:pt x="41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78" name="Freeform 159"/>
              <p:cNvSpPr>
                <a:spLocks/>
              </p:cNvSpPr>
              <p:nvPr/>
            </p:nvSpPr>
            <p:spPr bwMode="auto">
              <a:xfrm>
                <a:off x="5259146" y="3102662"/>
                <a:ext cx="33177" cy="16601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6" y="2"/>
                  </a:cxn>
                  <a:cxn ang="0">
                    <a:pos x="28" y="4"/>
                  </a:cxn>
                  <a:cxn ang="0">
                    <a:pos x="30" y="4"/>
                  </a:cxn>
                  <a:cxn ang="0">
                    <a:pos x="33" y="5"/>
                  </a:cxn>
                  <a:cxn ang="0">
                    <a:pos x="38" y="5"/>
                  </a:cxn>
                  <a:cxn ang="0">
                    <a:pos x="41" y="7"/>
                  </a:cxn>
                  <a:cxn ang="0">
                    <a:pos x="45" y="10"/>
                  </a:cxn>
                  <a:cxn ang="0">
                    <a:pos x="46" y="12"/>
                  </a:cxn>
                  <a:cxn ang="0">
                    <a:pos x="50" y="14"/>
                  </a:cxn>
                  <a:cxn ang="0">
                    <a:pos x="50" y="12"/>
                  </a:cxn>
                  <a:cxn ang="0">
                    <a:pos x="51" y="10"/>
                  </a:cxn>
                  <a:cxn ang="0">
                    <a:pos x="55" y="9"/>
                  </a:cxn>
                  <a:cxn ang="0">
                    <a:pos x="58" y="10"/>
                  </a:cxn>
                  <a:cxn ang="0">
                    <a:pos x="61" y="10"/>
                  </a:cxn>
                  <a:cxn ang="0">
                    <a:pos x="61" y="15"/>
                  </a:cxn>
                  <a:cxn ang="0">
                    <a:pos x="60" y="19"/>
                  </a:cxn>
                  <a:cxn ang="0">
                    <a:pos x="60" y="20"/>
                  </a:cxn>
                  <a:cxn ang="0">
                    <a:pos x="60" y="24"/>
                  </a:cxn>
                  <a:cxn ang="0">
                    <a:pos x="60" y="25"/>
                  </a:cxn>
                  <a:cxn ang="0">
                    <a:pos x="58" y="27"/>
                  </a:cxn>
                  <a:cxn ang="0">
                    <a:pos x="60" y="29"/>
                  </a:cxn>
                  <a:cxn ang="0">
                    <a:pos x="56" y="34"/>
                  </a:cxn>
                  <a:cxn ang="0">
                    <a:pos x="45" y="34"/>
                  </a:cxn>
                  <a:cxn ang="0">
                    <a:pos x="43" y="30"/>
                  </a:cxn>
                  <a:cxn ang="0">
                    <a:pos x="40" y="27"/>
                  </a:cxn>
                  <a:cxn ang="0">
                    <a:pos x="35" y="27"/>
                  </a:cxn>
                  <a:cxn ang="0">
                    <a:pos x="33" y="27"/>
                  </a:cxn>
                  <a:cxn ang="0">
                    <a:pos x="36" y="29"/>
                  </a:cxn>
                  <a:cxn ang="0">
                    <a:pos x="35" y="30"/>
                  </a:cxn>
                  <a:cxn ang="0">
                    <a:pos x="28" y="27"/>
                  </a:cxn>
                  <a:cxn ang="0">
                    <a:pos x="20" y="24"/>
                  </a:cxn>
                  <a:cxn ang="0">
                    <a:pos x="16" y="24"/>
                  </a:cxn>
                  <a:cxn ang="0">
                    <a:pos x="11" y="24"/>
                  </a:cxn>
                  <a:cxn ang="0">
                    <a:pos x="6" y="20"/>
                  </a:cxn>
                  <a:cxn ang="0">
                    <a:pos x="3" y="20"/>
                  </a:cxn>
                  <a:cxn ang="0">
                    <a:pos x="0" y="19"/>
                  </a:cxn>
                  <a:cxn ang="0">
                    <a:pos x="1" y="17"/>
                  </a:cxn>
                  <a:cxn ang="0">
                    <a:pos x="1" y="14"/>
                  </a:cxn>
                  <a:cxn ang="0">
                    <a:pos x="6" y="10"/>
                  </a:cxn>
                  <a:cxn ang="0">
                    <a:pos x="13" y="9"/>
                  </a:cxn>
                  <a:cxn ang="0">
                    <a:pos x="16" y="7"/>
                  </a:cxn>
                  <a:cxn ang="0">
                    <a:pos x="16" y="5"/>
                  </a:cxn>
                  <a:cxn ang="0">
                    <a:pos x="23" y="0"/>
                  </a:cxn>
                </a:cxnLst>
                <a:rect l="0" t="0" r="r" b="b"/>
                <a:pathLst>
                  <a:path w="61" h="34">
                    <a:moveTo>
                      <a:pt x="23" y="0"/>
                    </a:move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3" y="5"/>
                    </a:lnTo>
                    <a:lnTo>
                      <a:pt x="38" y="5"/>
                    </a:lnTo>
                    <a:lnTo>
                      <a:pt x="41" y="7"/>
                    </a:lnTo>
                    <a:lnTo>
                      <a:pt x="45" y="10"/>
                    </a:lnTo>
                    <a:lnTo>
                      <a:pt x="46" y="12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1" y="10"/>
                    </a:lnTo>
                    <a:lnTo>
                      <a:pt x="55" y="9"/>
                    </a:lnTo>
                    <a:lnTo>
                      <a:pt x="58" y="10"/>
                    </a:lnTo>
                    <a:lnTo>
                      <a:pt x="61" y="10"/>
                    </a:lnTo>
                    <a:lnTo>
                      <a:pt x="61" y="15"/>
                    </a:lnTo>
                    <a:lnTo>
                      <a:pt x="60" y="19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8" y="27"/>
                    </a:lnTo>
                    <a:lnTo>
                      <a:pt x="60" y="29"/>
                    </a:lnTo>
                    <a:lnTo>
                      <a:pt x="56" y="34"/>
                    </a:lnTo>
                    <a:lnTo>
                      <a:pt x="45" y="34"/>
                    </a:lnTo>
                    <a:lnTo>
                      <a:pt x="43" y="30"/>
                    </a:lnTo>
                    <a:lnTo>
                      <a:pt x="40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6" y="29"/>
                    </a:lnTo>
                    <a:lnTo>
                      <a:pt x="35" y="30"/>
                    </a:lnTo>
                    <a:lnTo>
                      <a:pt x="28" y="27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1" y="24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1" y="14"/>
                    </a:lnTo>
                    <a:lnTo>
                      <a:pt x="6" y="10"/>
                    </a:lnTo>
                    <a:lnTo>
                      <a:pt x="13" y="9"/>
                    </a:lnTo>
                    <a:lnTo>
                      <a:pt x="16" y="7"/>
                    </a:lnTo>
                    <a:lnTo>
                      <a:pt x="16" y="5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79" name="Freeform 163"/>
              <p:cNvSpPr>
                <a:spLocks noEditPoints="1"/>
              </p:cNvSpPr>
              <p:nvPr/>
            </p:nvSpPr>
            <p:spPr bwMode="auto">
              <a:xfrm>
                <a:off x="5468915" y="3209534"/>
                <a:ext cx="507298" cy="467953"/>
              </a:xfrm>
              <a:custGeom>
                <a:avLst/>
                <a:gdLst/>
                <a:ahLst/>
                <a:cxnLst>
                  <a:cxn ang="0">
                    <a:pos x="565" y="121"/>
                  </a:cxn>
                  <a:cxn ang="0">
                    <a:pos x="572" y="116"/>
                  </a:cxn>
                  <a:cxn ang="0">
                    <a:pos x="575" y="116"/>
                  </a:cxn>
                  <a:cxn ang="0">
                    <a:pos x="596" y="118"/>
                  </a:cxn>
                  <a:cxn ang="0">
                    <a:pos x="572" y="75"/>
                  </a:cxn>
                  <a:cxn ang="0">
                    <a:pos x="522" y="51"/>
                  </a:cxn>
                  <a:cxn ang="0">
                    <a:pos x="484" y="75"/>
                  </a:cxn>
                  <a:cxn ang="0">
                    <a:pos x="432" y="65"/>
                  </a:cxn>
                  <a:cxn ang="0">
                    <a:pos x="404" y="73"/>
                  </a:cxn>
                  <a:cxn ang="0">
                    <a:pos x="347" y="76"/>
                  </a:cxn>
                  <a:cxn ang="0">
                    <a:pos x="342" y="23"/>
                  </a:cxn>
                  <a:cxn ang="0">
                    <a:pos x="307" y="17"/>
                  </a:cxn>
                  <a:cxn ang="0">
                    <a:pos x="226" y="30"/>
                  </a:cxn>
                  <a:cxn ang="0">
                    <a:pos x="218" y="88"/>
                  </a:cxn>
                  <a:cxn ang="0">
                    <a:pos x="143" y="80"/>
                  </a:cxn>
                  <a:cxn ang="0">
                    <a:pos x="91" y="111"/>
                  </a:cxn>
                  <a:cxn ang="0">
                    <a:pos x="80" y="213"/>
                  </a:cxn>
                  <a:cxn ang="0">
                    <a:pos x="13" y="254"/>
                  </a:cxn>
                  <a:cxn ang="0">
                    <a:pos x="18" y="321"/>
                  </a:cxn>
                  <a:cxn ang="0">
                    <a:pos x="85" y="359"/>
                  </a:cxn>
                  <a:cxn ang="0">
                    <a:pos x="146" y="359"/>
                  </a:cxn>
                  <a:cxn ang="0">
                    <a:pos x="211" y="367"/>
                  </a:cxn>
                  <a:cxn ang="0">
                    <a:pos x="289" y="414"/>
                  </a:cxn>
                  <a:cxn ang="0">
                    <a:pos x="385" y="495"/>
                  </a:cxn>
                  <a:cxn ang="0">
                    <a:pos x="407" y="610"/>
                  </a:cxn>
                  <a:cxn ang="0">
                    <a:pos x="485" y="656"/>
                  </a:cxn>
                  <a:cxn ang="0">
                    <a:pos x="513" y="709"/>
                  </a:cxn>
                  <a:cxn ang="0">
                    <a:pos x="469" y="761"/>
                  </a:cxn>
                  <a:cxn ang="0">
                    <a:pos x="430" y="811"/>
                  </a:cxn>
                  <a:cxn ang="0">
                    <a:pos x="500" y="842"/>
                  </a:cxn>
                  <a:cxn ang="0">
                    <a:pos x="540" y="900"/>
                  </a:cxn>
                  <a:cxn ang="0">
                    <a:pos x="572" y="837"/>
                  </a:cxn>
                  <a:cxn ang="0">
                    <a:pos x="588" y="814"/>
                  </a:cxn>
                  <a:cxn ang="0">
                    <a:pos x="568" y="850"/>
                  </a:cxn>
                  <a:cxn ang="0">
                    <a:pos x="633" y="761"/>
                  </a:cxn>
                  <a:cxn ang="0">
                    <a:pos x="628" y="713"/>
                  </a:cxn>
                  <a:cxn ang="0">
                    <a:pos x="661" y="676"/>
                  </a:cxn>
                  <a:cxn ang="0">
                    <a:pos x="724" y="638"/>
                  </a:cxn>
                  <a:cxn ang="0">
                    <a:pos x="743" y="634"/>
                  </a:cxn>
                  <a:cxn ang="0">
                    <a:pos x="789" y="626"/>
                  </a:cxn>
                  <a:cxn ang="0">
                    <a:pos x="824" y="576"/>
                  </a:cxn>
                  <a:cxn ang="0">
                    <a:pos x="849" y="487"/>
                  </a:cxn>
                  <a:cxn ang="0">
                    <a:pos x="852" y="410"/>
                  </a:cxn>
                  <a:cxn ang="0">
                    <a:pos x="857" y="405"/>
                  </a:cxn>
                  <a:cxn ang="0">
                    <a:pos x="914" y="342"/>
                  </a:cxn>
                  <a:cxn ang="0">
                    <a:pos x="935" y="249"/>
                  </a:cxn>
                  <a:cxn ang="0">
                    <a:pos x="846" y="189"/>
                  </a:cxn>
                  <a:cxn ang="0">
                    <a:pos x="776" y="178"/>
                  </a:cxn>
                  <a:cxn ang="0">
                    <a:pos x="733" y="174"/>
                  </a:cxn>
                  <a:cxn ang="0">
                    <a:pos x="711" y="184"/>
                  </a:cxn>
                  <a:cxn ang="0">
                    <a:pos x="684" y="151"/>
                  </a:cxn>
                  <a:cxn ang="0">
                    <a:pos x="646" y="136"/>
                  </a:cxn>
                  <a:cxn ang="0">
                    <a:pos x="595" y="168"/>
                  </a:cxn>
                  <a:cxn ang="0">
                    <a:pos x="591" y="161"/>
                  </a:cxn>
                  <a:cxn ang="0">
                    <a:pos x="595" y="154"/>
                  </a:cxn>
                  <a:cxn ang="0">
                    <a:pos x="580" y="121"/>
                  </a:cxn>
                  <a:cxn ang="0">
                    <a:pos x="545" y="144"/>
                  </a:cxn>
                  <a:cxn ang="0">
                    <a:pos x="553" y="116"/>
                  </a:cxn>
                  <a:cxn ang="0">
                    <a:pos x="568" y="75"/>
                  </a:cxn>
                </a:cxnLst>
                <a:rect l="0" t="0" r="r" b="b"/>
                <a:pathLst>
                  <a:path w="949" h="900">
                    <a:moveTo>
                      <a:pt x="555" y="133"/>
                    </a:moveTo>
                    <a:lnTo>
                      <a:pt x="557" y="129"/>
                    </a:lnTo>
                    <a:lnTo>
                      <a:pt x="560" y="128"/>
                    </a:lnTo>
                    <a:lnTo>
                      <a:pt x="562" y="129"/>
                    </a:lnTo>
                    <a:lnTo>
                      <a:pt x="560" y="131"/>
                    </a:lnTo>
                    <a:lnTo>
                      <a:pt x="557" y="133"/>
                    </a:lnTo>
                    <a:lnTo>
                      <a:pt x="555" y="133"/>
                    </a:lnTo>
                    <a:lnTo>
                      <a:pt x="555" y="133"/>
                    </a:lnTo>
                    <a:close/>
                    <a:moveTo>
                      <a:pt x="550" y="131"/>
                    </a:moveTo>
                    <a:lnTo>
                      <a:pt x="552" y="131"/>
                    </a:lnTo>
                    <a:lnTo>
                      <a:pt x="553" y="129"/>
                    </a:lnTo>
                    <a:lnTo>
                      <a:pt x="558" y="125"/>
                    </a:lnTo>
                    <a:lnTo>
                      <a:pt x="560" y="125"/>
                    </a:lnTo>
                    <a:lnTo>
                      <a:pt x="565" y="121"/>
                    </a:lnTo>
                    <a:lnTo>
                      <a:pt x="563" y="120"/>
                    </a:lnTo>
                    <a:lnTo>
                      <a:pt x="562" y="120"/>
                    </a:lnTo>
                    <a:lnTo>
                      <a:pt x="560" y="120"/>
                    </a:lnTo>
                    <a:lnTo>
                      <a:pt x="558" y="121"/>
                    </a:lnTo>
                    <a:lnTo>
                      <a:pt x="553" y="125"/>
                    </a:lnTo>
                    <a:lnTo>
                      <a:pt x="550" y="131"/>
                    </a:lnTo>
                    <a:lnTo>
                      <a:pt x="550" y="131"/>
                    </a:lnTo>
                    <a:close/>
                    <a:moveTo>
                      <a:pt x="572" y="116"/>
                    </a:moveTo>
                    <a:lnTo>
                      <a:pt x="570" y="115"/>
                    </a:lnTo>
                    <a:lnTo>
                      <a:pt x="567" y="113"/>
                    </a:lnTo>
                    <a:lnTo>
                      <a:pt x="567" y="116"/>
                    </a:lnTo>
                    <a:lnTo>
                      <a:pt x="568" y="118"/>
                    </a:lnTo>
                    <a:lnTo>
                      <a:pt x="572" y="118"/>
                    </a:lnTo>
                    <a:lnTo>
                      <a:pt x="572" y="116"/>
                    </a:lnTo>
                    <a:lnTo>
                      <a:pt x="572" y="116"/>
                    </a:lnTo>
                    <a:close/>
                    <a:moveTo>
                      <a:pt x="572" y="111"/>
                    </a:moveTo>
                    <a:lnTo>
                      <a:pt x="570" y="108"/>
                    </a:lnTo>
                    <a:lnTo>
                      <a:pt x="573" y="105"/>
                    </a:lnTo>
                    <a:lnTo>
                      <a:pt x="575" y="105"/>
                    </a:lnTo>
                    <a:lnTo>
                      <a:pt x="578" y="101"/>
                    </a:lnTo>
                    <a:lnTo>
                      <a:pt x="582" y="103"/>
                    </a:lnTo>
                    <a:lnTo>
                      <a:pt x="578" y="105"/>
                    </a:lnTo>
                    <a:lnTo>
                      <a:pt x="577" y="106"/>
                    </a:lnTo>
                    <a:lnTo>
                      <a:pt x="573" y="110"/>
                    </a:lnTo>
                    <a:lnTo>
                      <a:pt x="572" y="111"/>
                    </a:lnTo>
                    <a:lnTo>
                      <a:pt x="572" y="111"/>
                    </a:lnTo>
                    <a:close/>
                    <a:moveTo>
                      <a:pt x="573" y="115"/>
                    </a:moveTo>
                    <a:lnTo>
                      <a:pt x="575" y="116"/>
                    </a:lnTo>
                    <a:lnTo>
                      <a:pt x="582" y="116"/>
                    </a:lnTo>
                    <a:lnTo>
                      <a:pt x="583" y="118"/>
                    </a:lnTo>
                    <a:lnTo>
                      <a:pt x="586" y="116"/>
                    </a:lnTo>
                    <a:lnTo>
                      <a:pt x="586" y="113"/>
                    </a:lnTo>
                    <a:lnTo>
                      <a:pt x="585" y="111"/>
                    </a:lnTo>
                    <a:lnTo>
                      <a:pt x="577" y="113"/>
                    </a:lnTo>
                    <a:lnTo>
                      <a:pt x="573" y="113"/>
                    </a:lnTo>
                    <a:lnTo>
                      <a:pt x="573" y="115"/>
                    </a:lnTo>
                    <a:lnTo>
                      <a:pt x="573" y="115"/>
                    </a:lnTo>
                    <a:close/>
                    <a:moveTo>
                      <a:pt x="586" y="120"/>
                    </a:moveTo>
                    <a:lnTo>
                      <a:pt x="590" y="118"/>
                    </a:lnTo>
                    <a:lnTo>
                      <a:pt x="591" y="116"/>
                    </a:lnTo>
                    <a:lnTo>
                      <a:pt x="595" y="116"/>
                    </a:lnTo>
                    <a:lnTo>
                      <a:pt x="596" y="118"/>
                    </a:lnTo>
                    <a:lnTo>
                      <a:pt x="595" y="121"/>
                    </a:lnTo>
                    <a:lnTo>
                      <a:pt x="590" y="121"/>
                    </a:lnTo>
                    <a:lnTo>
                      <a:pt x="586" y="120"/>
                    </a:lnTo>
                    <a:lnTo>
                      <a:pt x="586" y="120"/>
                    </a:lnTo>
                    <a:close/>
                    <a:moveTo>
                      <a:pt x="572" y="75"/>
                    </a:moveTo>
                    <a:lnTo>
                      <a:pt x="568" y="71"/>
                    </a:lnTo>
                    <a:lnTo>
                      <a:pt x="567" y="66"/>
                    </a:lnTo>
                    <a:lnTo>
                      <a:pt x="568" y="65"/>
                    </a:lnTo>
                    <a:lnTo>
                      <a:pt x="572" y="66"/>
                    </a:lnTo>
                    <a:lnTo>
                      <a:pt x="575" y="71"/>
                    </a:lnTo>
                    <a:lnTo>
                      <a:pt x="573" y="75"/>
                    </a:lnTo>
                    <a:lnTo>
                      <a:pt x="573" y="75"/>
                    </a:lnTo>
                    <a:lnTo>
                      <a:pt x="572" y="75"/>
                    </a:lnTo>
                    <a:lnTo>
                      <a:pt x="572" y="75"/>
                    </a:lnTo>
                    <a:close/>
                    <a:moveTo>
                      <a:pt x="550" y="31"/>
                    </a:moveTo>
                    <a:lnTo>
                      <a:pt x="548" y="30"/>
                    </a:lnTo>
                    <a:lnTo>
                      <a:pt x="547" y="25"/>
                    </a:lnTo>
                    <a:lnTo>
                      <a:pt x="543" y="20"/>
                    </a:lnTo>
                    <a:lnTo>
                      <a:pt x="543" y="20"/>
                    </a:lnTo>
                    <a:lnTo>
                      <a:pt x="543" y="23"/>
                    </a:lnTo>
                    <a:lnTo>
                      <a:pt x="542" y="27"/>
                    </a:lnTo>
                    <a:lnTo>
                      <a:pt x="535" y="30"/>
                    </a:lnTo>
                    <a:lnTo>
                      <a:pt x="535" y="30"/>
                    </a:lnTo>
                    <a:lnTo>
                      <a:pt x="535" y="30"/>
                    </a:lnTo>
                    <a:lnTo>
                      <a:pt x="533" y="33"/>
                    </a:lnTo>
                    <a:lnTo>
                      <a:pt x="528" y="40"/>
                    </a:lnTo>
                    <a:lnTo>
                      <a:pt x="522" y="46"/>
                    </a:lnTo>
                    <a:lnTo>
                      <a:pt x="522" y="51"/>
                    </a:lnTo>
                    <a:lnTo>
                      <a:pt x="517" y="60"/>
                    </a:lnTo>
                    <a:lnTo>
                      <a:pt x="513" y="65"/>
                    </a:lnTo>
                    <a:lnTo>
                      <a:pt x="510" y="71"/>
                    </a:lnTo>
                    <a:lnTo>
                      <a:pt x="505" y="71"/>
                    </a:lnTo>
                    <a:lnTo>
                      <a:pt x="503" y="73"/>
                    </a:lnTo>
                    <a:lnTo>
                      <a:pt x="502" y="76"/>
                    </a:lnTo>
                    <a:lnTo>
                      <a:pt x="498" y="80"/>
                    </a:lnTo>
                    <a:lnTo>
                      <a:pt x="495" y="78"/>
                    </a:lnTo>
                    <a:lnTo>
                      <a:pt x="495" y="73"/>
                    </a:lnTo>
                    <a:lnTo>
                      <a:pt x="493" y="71"/>
                    </a:lnTo>
                    <a:lnTo>
                      <a:pt x="492" y="70"/>
                    </a:lnTo>
                    <a:lnTo>
                      <a:pt x="490" y="70"/>
                    </a:lnTo>
                    <a:lnTo>
                      <a:pt x="487" y="71"/>
                    </a:lnTo>
                    <a:lnTo>
                      <a:pt x="484" y="75"/>
                    </a:lnTo>
                    <a:lnTo>
                      <a:pt x="480" y="73"/>
                    </a:lnTo>
                    <a:lnTo>
                      <a:pt x="477" y="70"/>
                    </a:lnTo>
                    <a:lnTo>
                      <a:pt x="477" y="68"/>
                    </a:lnTo>
                    <a:lnTo>
                      <a:pt x="475" y="66"/>
                    </a:lnTo>
                    <a:lnTo>
                      <a:pt x="474" y="63"/>
                    </a:lnTo>
                    <a:lnTo>
                      <a:pt x="472" y="61"/>
                    </a:lnTo>
                    <a:lnTo>
                      <a:pt x="469" y="60"/>
                    </a:lnTo>
                    <a:lnTo>
                      <a:pt x="465" y="56"/>
                    </a:lnTo>
                    <a:lnTo>
                      <a:pt x="459" y="56"/>
                    </a:lnTo>
                    <a:lnTo>
                      <a:pt x="454" y="58"/>
                    </a:lnTo>
                    <a:lnTo>
                      <a:pt x="444" y="58"/>
                    </a:lnTo>
                    <a:lnTo>
                      <a:pt x="439" y="56"/>
                    </a:lnTo>
                    <a:lnTo>
                      <a:pt x="434" y="60"/>
                    </a:lnTo>
                    <a:lnTo>
                      <a:pt x="432" y="65"/>
                    </a:lnTo>
                    <a:lnTo>
                      <a:pt x="437" y="68"/>
                    </a:lnTo>
                    <a:lnTo>
                      <a:pt x="439" y="70"/>
                    </a:lnTo>
                    <a:lnTo>
                      <a:pt x="440" y="75"/>
                    </a:lnTo>
                    <a:lnTo>
                      <a:pt x="440" y="76"/>
                    </a:lnTo>
                    <a:lnTo>
                      <a:pt x="435" y="76"/>
                    </a:lnTo>
                    <a:lnTo>
                      <a:pt x="429" y="76"/>
                    </a:lnTo>
                    <a:lnTo>
                      <a:pt x="427" y="75"/>
                    </a:lnTo>
                    <a:lnTo>
                      <a:pt x="425" y="75"/>
                    </a:lnTo>
                    <a:lnTo>
                      <a:pt x="425" y="75"/>
                    </a:lnTo>
                    <a:lnTo>
                      <a:pt x="425" y="75"/>
                    </a:lnTo>
                    <a:lnTo>
                      <a:pt x="417" y="75"/>
                    </a:lnTo>
                    <a:lnTo>
                      <a:pt x="414" y="75"/>
                    </a:lnTo>
                    <a:lnTo>
                      <a:pt x="412" y="73"/>
                    </a:lnTo>
                    <a:lnTo>
                      <a:pt x="404" y="73"/>
                    </a:lnTo>
                    <a:lnTo>
                      <a:pt x="399" y="75"/>
                    </a:lnTo>
                    <a:lnTo>
                      <a:pt x="397" y="83"/>
                    </a:lnTo>
                    <a:lnTo>
                      <a:pt x="387" y="81"/>
                    </a:lnTo>
                    <a:lnTo>
                      <a:pt x="381" y="83"/>
                    </a:lnTo>
                    <a:lnTo>
                      <a:pt x="381" y="86"/>
                    </a:lnTo>
                    <a:lnTo>
                      <a:pt x="377" y="90"/>
                    </a:lnTo>
                    <a:lnTo>
                      <a:pt x="372" y="90"/>
                    </a:lnTo>
                    <a:lnTo>
                      <a:pt x="371" y="88"/>
                    </a:lnTo>
                    <a:lnTo>
                      <a:pt x="367" y="90"/>
                    </a:lnTo>
                    <a:lnTo>
                      <a:pt x="366" y="93"/>
                    </a:lnTo>
                    <a:lnTo>
                      <a:pt x="361" y="91"/>
                    </a:lnTo>
                    <a:lnTo>
                      <a:pt x="351" y="83"/>
                    </a:lnTo>
                    <a:lnTo>
                      <a:pt x="347" y="80"/>
                    </a:lnTo>
                    <a:lnTo>
                      <a:pt x="347" y="76"/>
                    </a:lnTo>
                    <a:lnTo>
                      <a:pt x="342" y="71"/>
                    </a:lnTo>
                    <a:lnTo>
                      <a:pt x="337" y="68"/>
                    </a:lnTo>
                    <a:lnTo>
                      <a:pt x="337" y="63"/>
                    </a:lnTo>
                    <a:lnTo>
                      <a:pt x="339" y="60"/>
                    </a:lnTo>
                    <a:lnTo>
                      <a:pt x="337" y="58"/>
                    </a:lnTo>
                    <a:lnTo>
                      <a:pt x="337" y="55"/>
                    </a:lnTo>
                    <a:lnTo>
                      <a:pt x="339" y="51"/>
                    </a:lnTo>
                    <a:lnTo>
                      <a:pt x="339" y="46"/>
                    </a:lnTo>
                    <a:lnTo>
                      <a:pt x="344" y="38"/>
                    </a:lnTo>
                    <a:lnTo>
                      <a:pt x="346" y="33"/>
                    </a:lnTo>
                    <a:lnTo>
                      <a:pt x="351" y="28"/>
                    </a:lnTo>
                    <a:lnTo>
                      <a:pt x="351" y="25"/>
                    </a:lnTo>
                    <a:lnTo>
                      <a:pt x="346" y="27"/>
                    </a:lnTo>
                    <a:lnTo>
                      <a:pt x="342" y="23"/>
                    </a:lnTo>
                    <a:lnTo>
                      <a:pt x="342" y="20"/>
                    </a:lnTo>
                    <a:lnTo>
                      <a:pt x="336" y="20"/>
                    </a:lnTo>
                    <a:lnTo>
                      <a:pt x="332" y="18"/>
                    </a:lnTo>
                    <a:lnTo>
                      <a:pt x="334" y="15"/>
                    </a:lnTo>
                    <a:lnTo>
                      <a:pt x="337" y="12"/>
                    </a:lnTo>
                    <a:lnTo>
                      <a:pt x="337" y="5"/>
                    </a:lnTo>
                    <a:lnTo>
                      <a:pt x="334" y="0"/>
                    </a:lnTo>
                    <a:lnTo>
                      <a:pt x="327" y="0"/>
                    </a:lnTo>
                    <a:lnTo>
                      <a:pt x="326" y="2"/>
                    </a:lnTo>
                    <a:lnTo>
                      <a:pt x="324" y="0"/>
                    </a:lnTo>
                    <a:lnTo>
                      <a:pt x="321" y="0"/>
                    </a:lnTo>
                    <a:lnTo>
                      <a:pt x="321" y="3"/>
                    </a:lnTo>
                    <a:lnTo>
                      <a:pt x="319" y="10"/>
                    </a:lnTo>
                    <a:lnTo>
                      <a:pt x="307" y="17"/>
                    </a:lnTo>
                    <a:lnTo>
                      <a:pt x="299" y="18"/>
                    </a:lnTo>
                    <a:lnTo>
                      <a:pt x="287" y="22"/>
                    </a:lnTo>
                    <a:lnTo>
                      <a:pt x="284" y="20"/>
                    </a:lnTo>
                    <a:lnTo>
                      <a:pt x="278" y="22"/>
                    </a:lnTo>
                    <a:lnTo>
                      <a:pt x="269" y="27"/>
                    </a:lnTo>
                    <a:lnTo>
                      <a:pt x="261" y="30"/>
                    </a:lnTo>
                    <a:lnTo>
                      <a:pt x="259" y="28"/>
                    </a:lnTo>
                    <a:lnTo>
                      <a:pt x="248" y="30"/>
                    </a:lnTo>
                    <a:lnTo>
                      <a:pt x="239" y="30"/>
                    </a:lnTo>
                    <a:lnTo>
                      <a:pt x="233" y="27"/>
                    </a:lnTo>
                    <a:lnTo>
                      <a:pt x="224" y="25"/>
                    </a:lnTo>
                    <a:lnTo>
                      <a:pt x="218" y="23"/>
                    </a:lnTo>
                    <a:lnTo>
                      <a:pt x="221" y="28"/>
                    </a:lnTo>
                    <a:lnTo>
                      <a:pt x="226" y="30"/>
                    </a:lnTo>
                    <a:lnTo>
                      <a:pt x="231" y="35"/>
                    </a:lnTo>
                    <a:lnTo>
                      <a:pt x="233" y="38"/>
                    </a:lnTo>
                    <a:lnTo>
                      <a:pt x="226" y="48"/>
                    </a:lnTo>
                    <a:lnTo>
                      <a:pt x="229" y="53"/>
                    </a:lnTo>
                    <a:lnTo>
                      <a:pt x="228" y="60"/>
                    </a:lnTo>
                    <a:lnTo>
                      <a:pt x="238" y="63"/>
                    </a:lnTo>
                    <a:lnTo>
                      <a:pt x="246" y="63"/>
                    </a:lnTo>
                    <a:lnTo>
                      <a:pt x="254" y="63"/>
                    </a:lnTo>
                    <a:lnTo>
                      <a:pt x="254" y="68"/>
                    </a:lnTo>
                    <a:lnTo>
                      <a:pt x="249" y="70"/>
                    </a:lnTo>
                    <a:lnTo>
                      <a:pt x="238" y="73"/>
                    </a:lnTo>
                    <a:lnTo>
                      <a:pt x="233" y="76"/>
                    </a:lnTo>
                    <a:lnTo>
                      <a:pt x="231" y="81"/>
                    </a:lnTo>
                    <a:lnTo>
                      <a:pt x="218" y="88"/>
                    </a:lnTo>
                    <a:lnTo>
                      <a:pt x="214" y="93"/>
                    </a:lnTo>
                    <a:lnTo>
                      <a:pt x="206" y="98"/>
                    </a:lnTo>
                    <a:lnTo>
                      <a:pt x="201" y="103"/>
                    </a:lnTo>
                    <a:lnTo>
                      <a:pt x="191" y="105"/>
                    </a:lnTo>
                    <a:lnTo>
                      <a:pt x="185" y="103"/>
                    </a:lnTo>
                    <a:lnTo>
                      <a:pt x="176" y="96"/>
                    </a:lnTo>
                    <a:lnTo>
                      <a:pt x="166" y="91"/>
                    </a:lnTo>
                    <a:lnTo>
                      <a:pt x="160" y="91"/>
                    </a:lnTo>
                    <a:lnTo>
                      <a:pt x="160" y="85"/>
                    </a:lnTo>
                    <a:lnTo>
                      <a:pt x="160" y="80"/>
                    </a:lnTo>
                    <a:lnTo>
                      <a:pt x="155" y="76"/>
                    </a:lnTo>
                    <a:lnTo>
                      <a:pt x="153" y="73"/>
                    </a:lnTo>
                    <a:lnTo>
                      <a:pt x="146" y="75"/>
                    </a:lnTo>
                    <a:lnTo>
                      <a:pt x="143" y="80"/>
                    </a:lnTo>
                    <a:lnTo>
                      <a:pt x="140" y="80"/>
                    </a:lnTo>
                    <a:lnTo>
                      <a:pt x="136" y="78"/>
                    </a:lnTo>
                    <a:lnTo>
                      <a:pt x="131" y="78"/>
                    </a:lnTo>
                    <a:lnTo>
                      <a:pt x="128" y="80"/>
                    </a:lnTo>
                    <a:lnTo>
                      <a:pt x="101" y="80"/>
                    </a:lnTo>
                    <a:lnTo>
                      <a:pt x="100" y="88"/>
                    </a:lnTo>
                    <a:lnTo>
                      <a:pt x="101" y="93"/>
                    </a:lnTo>
                    <a:lnTo>
                      <a:pt x="111" y="95"/>
                    </a:lnTo>
                    <a:lnTo>
                      <a:pt x="115" y="101"/>
                    </a:lnTo>
                    <a:lnTo>
                      <a:pt x="111" y="103"/>
                    </a:lnTo>
                    <a:lnTo>
                      <a:pt x="115" y="106"/>
                    </a:lnTo>
                    <a:lnTo>
                      <a:pt x="113" y="110"/>
                    </a:lnTo>
                    <a:lnTo>
                      <a:pt x="108" y="106"/>
                    </a:lnTo>
                    <a:lnTo>
                      <a:pt x="91" y="111"/>
                    </a:lnTo>
                    <a:lnTo>
                      <a:pt x="93" y="123"/>
                    </a:lnTo>
                    <a:lnTo>
                      <a:pt x="96" y="128"/>
                    </a:lnTo>
                    <a:lnTo>
                      <a:pt x="106" y="134"/>
                    </a:lnTo>
                    <a:lnTo>
                      <a:pt x="111" y="144"/>
                    </a:lnTo>
                    <a:lnTo>
                      <a:pt x="111" y="151"/>
                    </a:lnTo>
                    <a:lnTo>
                      <a:pt x="111" y="154"/>
                    </a:lnTo>
                    <a:lnTo>
                      <a:pt x="98" y="201"/>
                    </a:lnTo>
                    <a:lnTo>
                      <a:pt x="93" y="213"/>
                    </a:lnTo>
                    <a:lnTo>
                      <a:pt x="95" y="214"/>
                    </a:lnTo>
                    <a:lnTo>
                      <a:pt x="91" y="218"/>
                    </a:lnTo>
                    <a:lnTo>
                      <a:pt x="87" y="216"/>
                    </a:lnTo>
                    <a:lnTo>
                      <a:pt x="87" y="216"/>
                    </a:lnTo>
                    <a:lnTo>
                      <a:pt x="82" y="213"/>
                    </a:lnTo>
                    <a:lnTo>
                      <a:pt x="80" y="213"/>
                    </a:lnTo>
                    <a:lnTo>
                      <a:pt x="75" y="213"/>
                    </a:lnTo>
                    <a:lnTo>
                      <a:pt x="73" y="211"/>
                    </a:lnTo>
                    <a:lnTo>
                      <a:pt x="72" y="216"/>
                    </a:lnTo>
                    <a:lnTo>
                      <a:pt x="55" y="221"/>
                    </a:lnTo>
                    <a:lnTo>
                      <a:pt x="42" y="223"/>
                    </a:lnTo>
                    <a:lnTo>
                      <a:pt x="40" y="226"/>
                    </a:lnTo>
                    <a:lnTo>
                      <a:pt x="37" y="226"/>
                    </a:lnTo>
                    <a:lnTo>
                      <a:pt x="32" y="231"/>
                    </a:lnTo>
                    <a:lnTo>
                      <a:pt x="25" y="232"/>
                    </a:lnTo>
                    <a:lnTo>
                      <a:pt x="22" y="236"/>
                    </a:lnTo>
                    <a:lnTo>
                      <a:pt x="22" y="241"/>
                    </a:lnTo>
                    <a:lnTo>
                      <a:pt x="20" y="244"/>
                    </a:lnTo>
                    <a:lnTo>
                      <a:pt x="20" y="247"/>
                    </a:lnTo>
                    <a:lnTo>
                      <a:pt x="13" y="254"/>
                    </a:lnTo>
                    <a:lnTo>
                      <a:pt x="17" y="262"/>
                    </a:lnTo>
                    <a:lnTo>
                      <a:pt x="18" y="266"/>
                    </a:lnTo>
                    <a:lnTo>
                      <a:pt x="15" y="269"/>
                    </a:lnTo>
                    <a:lnTo>
                      <a:pt x="12" y="269"/>
                    </a:lnTo>
                    <a:lnTo>
                      <a:pt x="3" y="272"/>
                    </a:lnTo>
                    <a:lnTo>
                      <a:pt x="3" y="277"/>
                    </a:lnTo>
                    <a:lnTo>
                      <a:pt x="2" y="279"/>
                    </a:lnTo>
                    <a:lnTo>
                      <a:pt x="3" y="282"/>
                    </a:lnTo>
                    <a:lnTo>
                      <a:pt x="2" y="287"/>
                    </a:lnTo>
                    <a:lnTo>
                      <a:pt x="0" y="291"/>
                    </a:lnTo>
                    <a:lnTo>
                      <a:pt x="2" y="294"/>
                    </a:lnTo>
                    <a:lnTo>
                      <a:pt x="0" y="297"/>
                    </a:lnTo>
                    <a:lnTo>
                      <a:pt x="7" y="304"/>
                    </a:lnTo>
                    <a:lnTo>
                      <a:pt x="18" y="321"/>
                    </a:lnTo>
                    <a:lnTo>
                      <a:pt x="13" y="329"/>
                    </a:lnTo>
                    <a:lnTo>
                      <a:pt x="28" y="327"/>
                    </a:lnTo>
                    <a:lnTo>
                      <a:pt x="35" y="329"/>
                    </a:lnTo>
                    <a:lnTo>
                      <a:pt x="40" y="335"/>
                    </a:lnTo>
                    <a:lnTo>
                      <a:pt x="42" y="342"/>
                    </a:lnTo>
                    <a:lnTo>
                      <a:pt x="53" y="342"/>
                    </a:lnTo>
                    <a:lnTo>
                      <a:pt x="65" y="342"/>
                    </a:lnTo>
                    <a:lnTo>
                      <a:pt x="75" y="334"/>
                    </a:lnTo>
                    <a:lnTo>
                      <a:pt x="83" y="329"/>
                    </a:lnTo>
                    <a:lnTo>
                      <a:pt x="87" y="332"/>
                    </a:lnTo>
                    <a:lnTo>
                      <a:pt x="85" y="337"/>
                    </a:lnTo>
                    <a:lnTo>
                      <a:pt x="83" y="339"/>
                    </a:lnTo>
                    <a:lnTo>
                      <a:pt x="83" y="345"/>
                    </a:lnTo>
                    <a:lnTo>
                      <a:pt x="85" y="359"/>
                    </a:lnTo>
                    <a:lnTo>
                      <a:pt x="85" y="364"/>
                    </a:lnTo>
                    <a:lnTo>
                      <a:pt x="88" y="367"/>
                    </a:lnTo>
                    <a:lnTo>
                      <a:pt x="93" y="365"/>
                    </a:lnTo>
                    <a:lnTo>
                      <a:pt x="96" y="365"/>
                    </a:lnTo>
                    <a:lnTo>
                      <a:pt x="103" y="365"/>
                    </a:lnTo>
                    <a:lnTo>
                      <a:pt x="105" y="364"/>
                    </a:lnTo>
                    <a:lnTo>
                      <a:pt x="108" y="365"/>
                    </a:lnTo>
                    <a:lnTo>
                      <a:pt x="108" y="365"/>
                    </a:lnTo>
                    <a:lnTo>
                      <a:pt x="108" y="365"/>
                    </a:lnTo>
                    <a:lnTo>
                      <a:pt x="123" y="365"/>
                    </a:lnTo>
                    <a:lnTo>
                      <a:pt x="130" y="365"/>
                    </a:lnTo>
                    <a:lnTo>
                      <a:pt x="138" y="362"/>
                    </a:lnTo>
                    <a:lnTo>
                      <a:pt x="141" y="362"/>
                    </a:lnTo>
                    <a:lnTo>
                      <a:pt x="146" y="359"/>
                    </a:lnTo>
                    <a:lnTo>
                      <a:pt x="153" y="359"/>
                    </a:lnTo>
                    <a:lnTo>
                      <a:pt x="160" y="357"/>
                    </a:lnTo>
                    <a:lnTo>
                      <a:pt x="163" y="347"/>
                    </a:lnTo>
                    <a:lnTo>
                      <a:pt x="175" y="340"/>
                    </a:lnTo>
                    <a:lnTo>
                      <a:pt x="183" y="339"/>
                    </a:lnTo>
                    <a:lnTo>
                      <a:pt x="191" y="335"/>
                    </a:lnTo>
                    <a:lnTo>
                      <a:pt x="196" y="335"/>
                    </a:lnTo>
                    <a:lnTo>
                      <a:pt x="201" y="339"/>
                    </a:lnTo>
                    <a:lnTo>
                      <a:pt x="206" y="335"/>
                    </a:lnTo>
                    <a:lnTo>
                      <a:pt x="209" y="337"/>
                    </a:lnTo>
                    <a:lnTo>
                      <a:pt x="209" y="342"/>
                    </a:lnTo>
                    <a:lnTo>
                      <a:pt x="211" y="350"/>
                    </a:lnTo>
                    <a:lnTo>
                      <a:pt x="208" y="357"/>
                    </a:lnTo>
                    <a:lnTo>
                      <a:pt x="211" y="367"/>
                    </a:lnTo>
                    <a:lnTo>
                      <a:pt x="209" y="372"/>
                    </a:lnTo>
                    <a:lnTo>
                      <a:pt x="213" y="380"/>
                    </a:lnTo>
                    <a:lnTo>
                      <a:pt x="218" y="382"/>
                    </a:lnTo>
                    <a:lnTo>
                      <a:pt x="219" y="389"/>
                    </a:lnTo>
                    <a:lnTo>
                      <a:pt x="226" y="390"/>
                    </a:lnTo>
                    <a:lnTo>
                      <a:pt x="234" y="395"/>
                    </a:lnTo>
                    <a:lnTo>
                      <a:pt x="239" y="400"/>
                    </a:lnTo>
                    <a:lnTo>
                      <a:pt x="241" y="397"/>
                    </a:lnTo>
                    <a:lnTo>
                      <a:pt x="251" y="395"/>
                    </a:lnTo>
                    <a:lnTo>
                      <a:pt x="259" y="404"/>
                    </a:lnTo>
                    <a:lnTo>
                      <a:pt x="266" y="402"/>
                    </a:lnTo>
                    <a:lnTo>
                      <a:pt x="274" y="410"/>
                    </a:lnTo>
                    <a:lnTo>
                      <a:pt x="278" y="410"/>
                    </a:lnTo>
                    <a:lnTo>
                      <a:pt x="289" y="414"/>
                    </a:lnTo>
                    <a:lnTo>
                      <a:pt x="296" y="415"/>
                    </a:lnTo>
                    <a:lnTo>
                      <a:pt x="297" y="422"/>
                    </a:lnTo>
                    <a:lnTo>
                      <a:pt x="302" y="423"/>
                    </a:lnTo>
                    <a:lnTo>
                      <a:pt x="307" y="425"/>
                    </a:lnTo>
                    <a:lnTo>
                      <a:pt x="322" y="425"/>
                    </a:lnTo>
                    <a:lnTo>
                      <a:pt x="332" y="430"/>
                    </a:lnTo>
                    <a:lnTo>
                      <a:pt x="334" y="433"/>
                    </a:lnTo>
                    <a:lnTo>
                      <a:pt x="332" y="443"/>
                    </a:lnTo>
                    <a:lnTo>
                      <a:pt x="334" y="452"/>
                    </a:lnTo>
                    <a:lnTo>
                      <a:pt x="332" y="457"/>
                    </a:lnTo>
                    <a:lnTo>
                      <a:pt x="341" y="470"/>
                    </a:lnTo>
                    <a:lnTo>
                      <a:pt x="341" y="482"/>
                    </a:lnTo>
                    <a:lnTo>
                      <a:pt x="382" y="482"/>
                    </a:lnTo>
                    <a:lnTo>
                      <a:pt x="385" y="495"/>
                    </a:lnTo>
                    <a:lnTo>
                      <a:pt x="384" y="505"/>
                    </a:lnTo>
                    <a:lnTo>
                      <a:pt x="397" y="507"/>
                    </a:lnTo>
                    <a:lnTo>
                      <a:pt x="409" y="526"/>
                    </a:lnTo>
                    <a:lnTo>
                      <a:pt x="410" y="538"/>
                    </a:lnTo>
                    <a:lnTo>
                      <a:pt x="399" y="560"/>
                    </a:lnTo>
                    <a:lnTo>
                      <a:pt x="399" y="563"/>
                    </a:lnTo>
                    <a:lnTo>
                      <a:pt x="395" y="566"/>
                    </a:lnTo>
                    <a:lnTo>
                      <a:pt x="397" y="568"/>
                    </a:lnTo>
                    <a:lnTo>
                      <a:pt x="397" y="573"/>
                    </a:lnTo>
                    <a:lnTo>
                      <a:pt x="402" y="578"/>
                    </a:lnTo>
                    <a:lnTo>
                      <a:pt x="402" y="585"/>
                    </a:lnTo>
                    <a:lnTo>
                      <a:pt x="407" y="591"/>
                    </a:lnTo>
                    <a:lnTo>
                      <a:pt x="405" y="605"/>
                    </a:lnTo>
                    <a:lnTo>
                      <a:pt x="407" y="610"/>
                    </a:lnTo>
                    <a:lnTo>
                      <a:pt x="405" y="615"/>
                    </a:lnTo>
                    <a:lnTo>
                      <a:pt x="407" y="620"/>
                    </a:lnTo>
                    <a:lnTo>
                      <a:pt x="415" y="618"/>
                    </a:lnTo>
                    <a:lnTo>
                      <a:pt x="419" y="620"/>
                    </a:lnTo>
                    <a:lnTo>
                      <a:pt x="430" y="620"/>
                    </a:lnTo>
                    <a:lnTo>
                      <a:pt x="437" y="621"/>
                    </a:lnTo>
                    <a:lnTo>
                      <a:pt x="449" y="618"/>
                    </a:lnTo>
                    <a:lnTo>
                      <a:pt x="455" y="621"/>
                    </a:lnTo>
                    <a:lnTo>
                      <a:pt x="459" y="623"/>
                    </a:lnTo>
                    <a:lnTo>
                      <a:pt x="460" y="628"/>
                    </a:lnTo>
                    <a:lnTo>
                      <a:pt x="467" y="651"/>
                    </a:lnTo>
                    <a:lnTo>
                      <a:pt x="472" y="659"/>
                    </a:lnTo>
                    <a:lnTo>
                      <a:pt x="475" y="661"/>
                    </a:lnTo>
                    <a:lnTo>
                      <a:pt x="485" y="656"/>
                    </a:lnTo>
                    <a:lnTo>
                      <a:pt x="490" y="658"/>
                    </a:lnTo>
                    <a:lnTo>
                      <a:pt x="495" y="661"/>
                    </a:lnTo>
                    <a:lnTo>
                      <a:pt x="498" y="661"/>
                    </a:lnTo>
                    <a:lnTo>
                      <a:pt x="495" y="664"/>
                    </a:lnTo>
                    <a:lnTo>
                      <a:pt x="495" y="686"/>
                    </a:lnTo>
                    <a:lnTo>
                      <a:pt x="493" y="688"/>
                    </a:lnTo>
                    <a:lnTo>
                      <a:pt x="493" y="689"/>
                    </a:lnTo>
                    <a:lnTo>
                      <a:pt x="493" y="691"/>
                    </a:lnTo>
                    <a:lnTo>
                      <a:pt x="493" y="694"/>
                    </a:lnTo>
                    <a:lnTo>
                      <a:pt x="492" y="696"/>
                    </a:lnTo>
                    <a:lnTo>
                      <a:pt x="497" y="694"/>
                    </a:lnTo>
                    <a:lnTo>
                      <a:pt x="508" y="696"/>
                    </a:lnTo>
                    <a:lnTo>
                      <a:pt x="508" y="699"/>
                    </a:lnTo>
                    <a:lnTo>
                      <a:pt x="513" y="709"/>
                    </a:lnTo>
                    <a:lnTo>
                      <a:pt x="512" y="716"/>
                    </a:lnTo>
                    <a:lnTo>
                      <a:pt x="513" y="726"/>
                    </a:lnTo>
                    <a:lnTo>
                      <a:pt x="515" y="732"/>
                    </a:lnTo>
                    <a:lnTo>
                      <a:pt x="513" y="736"/>
                    </a:lnTo>
                    <a:lnTo>
                      <a:pt x="508" y="736"/>
                    </a:lnTo>
                    <a:lnTo>
                      <a:pt x="502" y="739"/>
                    </a:lnTo>
                    <a:lnTo>
                      <a:pt x="502" y="741"/>
                    </a:lnTo>
                    <a:lnTo>
                      <a:pt x="498" y="742"/>
                    </a:lnTo>
                    <a:lnTo>
                      <a:pt x="497" y="742"/>
                    </a:lnTo>
                    <a:lnTo>
                      <a:pt x="487" y="749"/>
                    </a:lnTo>
                    <a:lnTo>
                      <a:pt x="484" y="751"/>
                    </a:lnTo>
                    <a:lnTo>
                      <a:pt x="480" y="752"/>
                    </a:lnTo>
                    <a:lnTo>
                      <a:pt x="472" y="759"/>
                    </a:lnTo>
                    <a:lnTo>
                      <a:pt x="469" y="761"/>
                    </a:lnTo>
                    <a:lnTo>
                      <a:pt x="469" y="766"/>
                    </a:lnTo>
                    <a:lnTo>
                      <a:pt x="465" y="766"/>
                    </a:lnTo>
                    <a:lnTo>
                      <a:pt x="462" y="766"/>
                    </a:lnTo>
                    <a:lnTo>
                      <a:pt x="454" y="774"/>
                    </a:lnTo>
                    <a:lnTo>
                      <a:pt x="452" y="777"/>
                    </a:lnTo>
                    <a:lnTo>
                      <a:pt x="454" y="782"/>
                    </a:lnTo>
                    <a:lnTo>
                      <a:pt x="449" y="784"/>
                    </a:lnTo>
                    <a:lnTo>
                      <a:pt x="447" y="786"/>
                    </a:lnTo>
                    <a:lnTo>
                      <a:pt x="442" y="794"/>
                    </a:lnTo>
                    <a:lnTo>
                      <a:pt x="439" y="797"/>
                    </a:lnTo>
                    <a:lnTo>
                      <a:pt x="435" y="804"/>
                    </a:lnTo>
                    <a:lnTo>
                      <a:pt x="435" y="806"/>
                    </a:lnTo>
                    <a:lnTo>
                      <a:pt x="430" y="809"/>
                    </a:lnTo>
                    <a:lnTo>
                      <a:pt x="430" y="811"/>
                    </a:lnTo>
                    <a:lnTo>
                      <a:pt x="434" y="811"/>
                    </a:lnTo>
                    <a:lnTo>
                      <a:pt x="435" y="812"/>
                    </a:lnTo>
                    <a:lnTo>
                      <a:pt x="449" y="809"/>
                    </a:lnTo>
                    <a:lnTo>
                      <a:pt x="454" y="812"/>
                    </a:lnTo>
                    <a:lnTo>
                      <a:pt x="459" y="819"/>
                    </a:lnTo>
                    <a:lnTo>
                      <a:pt x="464" y="820"/>
                    </a:lnTo>
                    <a:lnTo>
                      <a:pt x="467" y="825"/>
                    </a:lnTo>
                    <a:lnTo>
                      <a:pt x="472" y="835"/>
                    </a:lnTo>
                    <a:lnTo>
                      <a:pt x="475" y="835"/>
                    </a:lnTo>
                    <a:lnTo>
                      <a:pt x="480" y="830"/>
                    </a:lnTo>
                    <a:lnTo>
                      <a:pt x="482" y="830"/>
                    </a:lnTo>
                    <a:lnTo>
                      <a:pt x="488" y="839"/>
                    </a:lnTo>
                    <a:lnTo>
                      <a:pt x="495" y="842"/>
                    </a:lnTo>
                    <a:lnTo>
                      <a:pt x="500" y="842"/>
                    </a:lnTo>
                    <a:lnTo>
                      <a:pt x="507" y="847"/>
                    </a:lnTo>
                    <a:lnTo>
                      <a:pt x="507" y="854"/>
                    </a:lnTo>
                    <a:lnTo>
                      <a:pt x="512" y="852"/>
                    </a:lnTo>
                    <a:lnTo>
                      <a:pt x="520" y="857"/>
                    </a:lnTo>
                    <a:lnTo>
                      <a:pt x="527" y="862"/>
                    </a:lnTo>
                    <a:lnTo>
                      <a:pt x="532" y="870"/>
                    </a:lnTo>
                    <a:lnTo>
                      <a:pt x="538" y="874"/>
                    </a:lnTo>
                    <a:lnTo>
                      <a:pt x="537" y="880"/>
                    </a:lnTo>
                    <a:lnTo>
                      <a:pt x="532" y="885"/>
                    </a:lnTo>
                    <a:lnTo>
                      <a:pt x="535" y="892"/>
                    </a:lnTo>
                    <a:lnTo>
                      <a:pt x="535" y="894"/>
                    </a:lnTo>
                    <a:lnTo>
                      <a:pt x="535" y="895"/>
                    </a:lnTo>
                    <a:lnTo>
                      <a:pt x="538" y="899"/>
                    </a:lnTo>
                    <a:lnTo>
                      <a:pt x="540" y="900"/>
                    </a:lnTo>
                    <a:lnTo>
                      <a:pt x="548" y="894"/>
                    </a:lnTo>
                    <a:lnTo>
                      <a:pt x="552" y="887"/>
                    </a:lnTo>
                    <a:lnTo>
                      <a:pt x="557" y="870"/>
                    </a:lnTo>
                    <a:lnTo>
                      <a:pt x="560" y="860"/>
                    </a:lnTo>
                    <a:lnTo>
                      <a:pt x="562" y="859"/>
                    </a:lnTo>
                    <a:lnTo>
                      <a:pt x="560" y="855"/>
                    </a:lnTo>
                    <a:lnTo>
                      <a:pt x="557" y="850"/>
                    </a:lnTo>
                    <a:lnTo>
                      <a:pt x="558" y="847"/>
                    </a:lnTo>
                    <a:lnTo>
                      <a:pt x="562" y="845"/>
                    </a:lnTo>
                    <a:lnTo>
                      <a:pt x="562" y="842"/>
                    </a:lnTo>
                    <a:lnTo>
                      <a:pt x="565" y="839"/>
                    </a:lnTo>
                    <a:lnTo>
                      <a:pt x="565" y="835"/>
                    </a:lnTo>
                    <a:lnTo>
                      <a:pt x="568" y="837"/>
                    </a:lnTo>
                    <a:lnTo>
                      <a:pt x="572" y="837"/>
                    </a:lnTo>
                    <a:lnTo>
                      <a:pt x="575" y="832"/>
                    </a:lnTo>
                    <a:lnTo>
                      <a:pt x="575" y="829"/>
                    </a:lnTo>
                    <a:lnTo>
                      <a:pt x="577" y="827"/>
                    </a:lnTo>
                    <a:lnTo>
                      <a:pt x="578" y="822"/>
                    </a:lnTo>
                    <a:lnTo>
                      <a:pt x="580" y="820"/>
                    </a:lnTo>
                    <a:lnTo>
                      <a:pt x="582" y="820"/>
                    </a:lnTo>
                    <a:lnTo>
                      <a:pt x="583" y="816"/>
                    </a:lnTo>
                    <a:lnTo>
                      <a:pt x="582" y="812"/>
                    </a:lnTo>
                    <a:lnTo>
                      <a:pt x="580" y="811"/>
                    </a:lnTo>
                    <a:lnTo>
                      <a:pt x="580" y="804"/>
                    </a:lnTo>
                    <a:lnTo>
                      <a:pt x="578" y="802"/>
                    </a:lnTo>
                    <a:lnTo>
                      <a:pt x="580" y="802"/>
                    </a:lnTo>
                    <a:lnTo>
                      <a:pt x="583" y="807"/>
                    </a:lnTo>
                    <a:lnTo>
                      <a:pt x="588" y="814"/>
                    </a:lnTo>
                    <a:lnTo>
                      <a:pt x="591" y="814"/>
                    </a:lnTo>
                    <a:lnTo>
                      <a:pt x="593" y="812"/>
                    </a:lnTo>
                    <a:lnTo>
                      <a:pt x="595" y="814"/>
                    </a:lnTo>
                    <a:lnTo>
                      <a:pt x="596" y="817"/>
                    </a:lnTo>
                    <a:lnTo>
                      <a:pt x="593" y="817"/>
                    </a:lnTo>
                    <a:lnTo>
                      <a:pt x="591" y="825"/>
                    </a:lnTo>
                    <a:lnTo>
                      <a:pt x="586" y="834"/>
                    </a:lnTo>
                    <a:lnTo>
                      <a:pt x="582" y="834"/>
                    </a:lnTo>
                    <a:lnTo>
                      <a:pt x="580" y="839"/>
                    </a:lnTo>
                    <a:lnTo>
                      <a:pt x="578" y="842"/>
                    </a:lnTo>
                    <a:lnTo>
                      <a:pt x="577" y="842"/>
                    </a:lnTo>
                    <a:lnTo>
                      <a:pt x="572" y="844"/>
                    </a:lnTo>
                    <a:lnTo>
                      <a:pt x="568" y="847"/>
                    </a:lnTo>
                    <a:lnTo>
                      <a:pt x="568" y="850"/>
                    </a:lnTo>
                    <a:lnTo>
                      <a:pt x="563" y="850"/>
                    </a:lnTo>
                    <a:lnTo>
                      <a:pt x="562" y="852"/>
                    </a:lnTo>
                    <a:lnTo>
                      <a:pt x="562" y="854"/>
                    </a:lnTo>
                    <a:lnTo>
                      <a:pt x="567" y="855"/>
                    </a:lnTo>
                    <a:lnTo>
                      <a:pt x="582" y="845"/>
                    </a:lnTo>
                    <a:lnTo>
                      <a:pt x="590" y="837"/>
                    </a:lnTo>
                    <a:lnTo>
                      <a:pt x="601" y="819"/>
                    </a:lnTo>
                    <a:lnTo>
                      <a:pt x="606" y="811"/>
                    </a:lnTo>
                    <a:lnTo>
                      <a:pt x="610" y="799"/>
                    </a:lnTo>
                    <a:lnTo>
                      <a:pt x="621" y="781"/>
                    </a:lnTo>
                    <a:lnTo>
                      <a:pt x="631" y="769"/>
                    </a:lnTo>
                    <a:lnTo>
                      <a:pt x="633" y="766"/>
                    </a:lnTo>
                    <a:lnTo>
                      <a:pt x="633" y="764"/>
                    </a:lnTo>
                    <a:lnTo>
                      <a:pt x="633" y="761"/>
                    </a:lnTo>
                    <a:lnTo>
                      <a:pt x="635" y="761"/>
                    </a:lnTo>
                    <a:lnTo>
                      <a:pt x="636" y="756"/>
                    </a:lnTo>
                    <a:lnTo>
                      <a:pt x="640" y="754"/>
                    </a:lnTo>
                    <a:lnTo>
                      <a:pt x="640" y="749"/>
                    </a:lnTo>
                    <a:lnTo>
                      <a:pt x="640" y="747"/>
                    </a:lnTo>
                    <a:lnTo>
                      <a:pt x="640" y="746"/>
                    </a:lnTo>
                    <a:lnTo>
                      <a:pt x="638" y="744"/>
                    </a:lnTo>
                    <a:lnTo>
                      <a:pt x="638" y="739"/>
                    </a:lnTo>
                    <a:lnTo>
                      <a:pt x="633" y="734"/>
                    </a:lnTo>
                    <a:lnTo>
                      <a:pt x="633" y="731"/>
                    </a:lnTo>
                    <a:lnTo>
                      <a:pt x="633" y="727"/>
                    </a:lnTo>
                    <a:lnTo>
                      <a:pt x="633" y="726"/>
                    </a:lnTo>
                    <a:lnTo>
                      <a:pt x="631" y="719"/>
                    </a:lnTo>
                    <a:lnTo>
                      <a:pt x="628" y="713"/>
                    </a:lnTo>
                    <a:lnTo>
                      <a:pt x="631" y="711"/>
                    </a:lnTo>
                    <a:lnTo>
                      <a:pt x="636" y="709"/>
                    </a:lnTo>
                    <a:lnTo>
                      <a:pt x="635" y="706"/>
                    </a:lnTo>
                    <a:lnTo>
                      <a:pt x="633" y="704"/>
                    </a:lnTo>
                    <a:lnTo>
                      <a:pt x="638" y="703"/>
                    </a:lnTo>
                    <a:lnTo>
                      <a:pt x="638" y="699"/>
                    </a:lnTo>
                    <a:lnTo>
                      <a:pt x="633" y="696"/>
                    </a:lnTo>
                    <a:lnTo>
                      <a:pt x="638" y="696"/>
                    </a:lnTo>
                    <a:lnTo>
                      <a:pt x="640" y="691"/>
                    </a:lnTo>
                    <a:lnTo>
                      <a:pt x="643" y="693"/>
                    </a:lnTo>
                    <a:lnTo>
                      <a:pt x="651" y="686"/>
                    </a:lnTo>
                    <a:lnTo>
                      <a:pt x="655" y="684"/>
                    </a:lnTo>
                    <a:lnTo>
                      <a:pt x="655" y="681"/>
                    </a:lnTo>
                    <a:lnTo>
                      <a:pt x="661" y="676"/>
                    </a:lnTo>
                    <a:lnTo>
                      <a:pt x="670" y="673"/>
                    </a:lnTo>
                    <a:lnTo>
                      <a:pt x="680" y="663"/>
                    </a:lnTo>
                    <a:lnTo>
                      <a:pt x="688" y="661"/>
                    </a:lnTo>
                    <a:lnTo>
                      <a:pt x="693" y="658"/>
                    </a:lnTo>
                    <a:lnTo>
                      <a:pt x="698" y="653"/>
                    </a:lnTo>
                    <a:lnTo>
                      <a:pt x="703" y="653"/>
                    </a:lnTo>
                    <a:lnTo>
                      <a:pt x="706" y="656"/>
                    </a:lnTo>
                    <a:lnTo>
                      <a:pt x="709" y="656"/>
                    </a:lnTo>
                    <a:lnTo>
                      <a:pt x="709" y="653"/>
                    </a:lnTo>
                    <a:lnTo>
                      <a:pt x="713" y="648"/>
                    </a:lnTo>
                    <a:lnTo>
                      <a:pt x="723" y="641"/>
                    </a:lnTo>
                    <a:lnTo>
                      <a:pt x="728" y="641"/>
                    </a:lnTo>
                    <a:lnTo>
                      <a:pt x="728" y="638"/>
                    </a:lnTo>
                    <a:lnTo>
                      <a:pt x="724" y="638"/>
                    </a:lnTo>
                    <a:lnTo>
                      <a:pt x="721" y="636"/>
                    </a:lnTo>
                    <a:lnTo>
                      <a:pt x="719" y="634"/>
                    </a:lnTo>
                    <a:lnTo>
                      <a:pt x="724" y="633"/>
                    </a:lnTo>
                    <a:lnTo>
                      <a:pt x="729" y="629"/>
                    </a:lnTo>
                    <a:lnTo>
                      <a:pt x="734" y="631"/>
                    </a:lnTo>
                    <a:lnTo>
                      <a:pt x="738" y="629"/>
                    </a:lnTo>
                    <a:lnTo>
                      <a:pt x="741" y="628"/>
                    </a:lnTo>
                    <a:lnTo>
                      <a:pt x="744" y="628"/>
                    </a:lnTo>
                    <a:lnTo>
                      <a:pt x="744" y="629"/>
                    </a:lnTo>
                    <a:lnTo>
                      <a:pt x="739" y="633"/>
                    </a:lnTo>
                    <a:lnTo>
                      <a:pt x="733" y="634"/>
                    </a:lnTo>
                    <a:lnTo>
                      <a:pt x="731" y="636"/>
                    </a:lnTo>
                    <a:lnTo>
                      <a:pt x="733" y="636"/>
                    </a:lnTo>
                    <a:lnTo>
                      <a:pt x="743" y="634"/>
                    </a:lnTo>
                    <a:lnTo>
                      <a:pt x="754" y="629"/>
                    </a:lnTo>
                    <a:lnTo>
                      <a:pt x="753" y="628"/>
                    </a:lnTo>
                    <a:lnTo>
                      <a:pt x="756" y="626"/>
                    </a:lnTo>
                    <a:lnTo>
                      <a:pt x="759" y="626"/>
                    </a:lnTo>
                    <a:lnTo>
                      <a:pt x="758" y="628"/>
                    </a:lnTo>
                    <a:lnTo>
                      <a:pt x="758" y="628"/>
                    </a:lnTo>
                    <a:lnTo>
                      <a:pt x="759" y="633"/>
                    </a:lnTo>
                    <a:lnTo>
                      <a:pt x="759" y="633"/>
                    </a:lnTo>
                    <a:lnTo>
                      <a:pt x="766" y="633"/>
                    </a:lnTo>
                    <a:lnTo>
                      <a:pt x="769" y="631"/>
                    </a:lnTo>
                    <a:lnTo>
                      <a:pt x="776" y="631"/>
                    </a:lnTo>
                    <a:lnTo>
                      <a:pt x="784" y="633"/>
                    </a:lnTo>
                    <a:lnTo>
                      <a:pt x="789" y="629"/>
                    </a:lnTo>
                    <a:lnTo>
                      <a:pt x="789" y="626"/>
                    </a:lnTo>
                    <a:lnTo>
                      <a:pt x="787" y="626"/>
                    </a:lnTo>
                    <a:lnTo>
                      <a:pt x="789" y="623"/>
                    </a:lnTo>
                    <a:lnTo>
                      <a:pt x="799" y="616"/>
                    </a:lnTo>
                    <a:lnTo>
                      <a:pt x="809" y="615"/>
                    </a:lnTo>
                    <a:lnTo>
                      <a:pt x="814" y="611"/>
                    </a:lnTo>
                    <a:lnTo>
                      <a:pt x="814" y="608"/>
                    </a:lnTo>
                    <a:lnTo>
                      <a:pt x="814" y="606"/>
                    </a:lnTo>
                    <a:lnTo>
                      <a:pt x="809" y="598"/>
                    </a:lnTo>
                    <a:lnTo>
                      <a:pt x="812" y="593"/>
                    </a:lnTo>
                    <a:lnTo>
                      <a:pt x="816" y="590"/>
                    </a:lnTo>
                    <a:lnTo>
                      <a:pt x="816" y="585"/>
                    </a:lnTo>
                    <a:lnTo>
                      <a:pt x="819" y="583"/>
                    </a:lnTo>
                    <a:lnTo>
                      <a:pt x="822" y="581"/>
                    </a:lnTo>
                    <a:lnTo>
                      <a:pt x="824" y="576"/>
                    </a:lnTo>
                    <a:lnTo>
                      <a:pt x="822" y="576"/>
                    </a:lnTo>
                    <a:lnTo>
                      <a:pt x="829" y="566"/>
                    </a:lnTo>
                    <a:lnTo>
                      <a:pt x="837" y="556"/>
                    </a:lnTo>
                    <a:lnTo>
                      <a:pt x="839" y="551"/>
                    </a:lnTo>
                    <a:lnTo>
                      <a:pt x="836" y="538"/>
                    </a:lnTo>
                    <a:lnTo>
                      <a:pt x="834" y="535"/>
                    </a:lnTo>
                    <a:lnTo>
                      <a:pt x="837" y="526"/>
                    </a:lnTo>
                    <a:lnTo>
                      <a:pt x="841" y="523"/>
                    </a:lnTo>
                    <a:lnTo>
                      <a:pt x="841" y="520"/>
                    </a:lnTo>
                    <a:lnTo>
                      <a:pt x="847" y="515"/>
                    </a:lnTo>
                    <a:lnTo>
                      <a:pt x="849" y="513"/>
                    </a:lnTo>
                    <a:lnTo>
                      <a:pt x="847" y="505"/>
                    </a:lnTo>
                    <a:lnTo>
                      <a:pt x="851" y="495"/>
                    </a:lnTo>
                    <a:lnTo>
                      <a:pt x="849" y="487"/>
                    </a:lnTo>
                    <a:lnTo>
                      <a:pt x="851" y="482"/>
                    </a:lnTo>
                    <a:lnTo>
                      <a:pt x="851" y="478"/>
                    </a:lnTo>
                    <a:lnTo>
                      <a:pt x="852" y="470"/>
                    </a:lnTo>
                    <a:lnTo>
                      <a:pt x="851" y="440"/>
                    </a:lnTo>
                    <a:lnTo>
                      <a:pt x="851" y="435"/>
                    </a:lnTo>
                    <a:lnTo>
                      <a:pt x="852" y="430"/>
                    </a:lnTo>
                    <a:lnTo>
                      <a:pt x="852" y="427"/>
                    </a:lnTo>
                    <a:lnTo>
                      <a:pt x="851" y="428"/>
                    </a:lnTo>
                    <a:lnTo>
                      <a:pt x="847" y="427"/>
                    </a:lnTo>
                    <a:lnTo>
                      <a:pt x="847" y="423"/>
                    </a:lnTo>
                    <a:lnTo>
                      <a:pt x="851" y="419"/>
                    </a:lnTo>
                    <a:lnTo>
                      <a:pt x="849" y="414"/>
                    </a:lnTo>
                    <a:lnTo>
                      <a:pt x="851" y="410"/>
                    </a:lnTo>
                    <a:lnTo>
                      <a:pt x="852" y="410"/>
                    </a:lnTo>
                    <a:lnTo>
                      <a:pt x="854" y="405"/>
                    </a:lnTo>
                    <a:lnTo>
                      <a:pt x="851" y="400"/>
                    </a:lnTo>
                    <a:lnTo>
                      <a:pt x="844" y="397"/>
                    </a:lnTo>
                    <a:lnTo>
                      <a:pt x="846" y="397"/>
                    </a:lnTo>
                    <a:lnTo>
                      <a:pt x="847" y="395"/>
                    </a:lnTo>
                    <a:lnTo>
                      <a:pt x="847" y="397"/>
                    </a:lnTo>
                    <a:lnTo>
                      <a:pt x="852" y="399"/>
                    </a:lnTo>
                    <a:lnTo>
                      <a:pt x="856" y="400"/>
                    </a:lnTo>
                    <a:lnTo>
                      <a:pt x="857" y="395"/>
                    </a:lnTo>
                    <a:lnTo>
                      <a:pt x="861" y="395"/>
                    </a:lnTo>
                    <a:lnTo>
                      <a:pt x="861" y="399"/>
                    </a:lnTo>
                    <a:lnTo>
                      <a:pt x="864" y="400"/>
                    </a:lnTo>
                    <a:lnTo>
                      <a:pt x="861" y="402"/>
                    </a:lnTo>
                    <a:lnTo>
                      <a:pt x="857" y="405"/>
                    </a:lnTo>
                    <a:lnTo>
                      <a:pt x="857" y="409"/>
                    </a:lnTo>
                    <a:lnTo>
                      <a:pt x="859" y="409"/>
                    </a:lnTo>
                    <a:lnTo>
                      <a:pt x="864" y="404"/>
                    </a:lnTo>
                    <a:lnTo>
                      <a:pt x="871" y="400"/>
                    </a:lnTo>
                    <a:lnTo>
                      <a:pt x="879" y="390"/>
                    </a:lnTo>
                    <a:lnTo>
                      <a:pt x="882" y="382"/>
                    </a:lnTo>
                    <a:lnTo>
                      <a:pt x="884" y="377"/>
                    </a:lnTo>
                    <a:lnTo>
                      <a:pt x="887" y="374"/>
                    </a:lnTo>
                    <a:lnTo>
                      <a:pt x="890" y="365"/>
                    </a:lnTo>
                    <a:lnTo>
                      <a:pt x="894" y="360"/>
                    </a:lnTo>
                    <a:lnTo>
                      <a:pt x="905" y="352"/>
                    </a:lnTo>
                    <a:lnTo>
                      <a:pt x="907" y="349"/>
                    </a:lnTo>
                    <a:lnTo>
                      <a:pt x="912" y="347"/>
                    </a:lnTo>
                    <a:lnTo>
                      <a:pt x="914" y="342"/>
                    </a:lnTo>
                    <a:lnTo>
                      <a:pt x="925" y="334"/>
                    </a:lnTo>
                    <a:lnTo>
                      <a:pt x="935" y="322"/>
                    </a:lnTo>
                    <a:lnTo>
                      <a:pt x="937" y="319"/>
                    </a:lnTo>
                    <a:lnTo>
                      <a:pt x="944" y="307"/>
                    </a:lnTo>
                    <a:lnTo>
                      <a:pt x="945" y="302"/>
                    </a:lnTo>
                    <a:lnTo>
                      <a:pt x="947" y="299"/>
                    </a:lnTo>
                    <a:lnTo>
                      <a:pt x="947" y="294"/>
                    </a:lnTo>
                    <a:lnTo>
                      <a:pt x="944" y="291"/>
                    </a:lnTo>
                    <a:lnTo>
                      <a:pt x="945" y="286"/>
                    </a:lnTo>
                    <a:lnTo>
                      <a:pt x="949" y="284"/>
                    </a:lnTo>
                    <a:lnTo>
                      <a:pt x="947" y="272"/>
                    </a:lnTo>
                    <a:lnTo>
                      <a:pt x="945" y="271"/>
                    </a:lnTo>
                    <a:lnTo>
                      <a:pt x="944" y="266"/>
                    </a:lnTo>
                    <a:lnTo>
                      <a:pt x="935" y="249"/>
                    </a:lnTo>
                    <a:lnTo>
                      <a:pt x="935" y="242"/>
                    </a:lnTo>
                    <a:lnTo>
                      <a:pt x="934" y="236"/>
                    </a:lnTo>
                    <a:lnTo>
                      <a:pt x="919" y="231"/>
                    </a:lnTo>
                    <a:lnTo>
                      <a:pt x="909" y="231"/>
                    </a:lnTo>
                    <a:lnTo>
                      <a:pt x="902" y="232"/>
                    </a:lnTo>
                    <a:lnTo>
                      <a:pt x="899" y="227"/>
                    </a:lnTo>
                    <a:lnTo>
                      <a:pt x="892" y="226"/>
                    </a:lnTo>
                    <a:lnTo>
                      <a:pt x="887" y="221"/>
                    </a:lnTo>
                    <a:lnTo>
                      <a:pt x="881" y="218"/>
                    </a:lnTo>
                    <a:lnTo>
                      <a:pt x="876" y="218"/>
                    </a:lnTo>
                    <a:lnTo>
                      <a:pt x="866" y="206"/>
                    </a:lnTo>
                    <a:lnTo>
                      <a:pt x="856" y="196"/>
                    </a:lnTo>
                    <a:lnTo>
                      <a:pt x="852" y="194"/>
                    </a:lnTo>
                    <a:lnTo>
                      <a:pt x="846" y="189"/>
                    </a:lnTo>
                    <a:lnTo>
                      <a:pt x="841" y="189"/>
                    </a:lnTo>
                    <a:lnTo>
                      <a:pt x="826" y="181"/>
                    </a:lnTo>
                    <a:lnTo>
                      <a:pt x="819" y="181"/>
                    </a:lnTo>
                    <a:lnTo>
                      <a:pt x="812" y="178"/>
                    </a:lnTo>
                    <a:lnTo>
                      <a:pt x="807" y="179"/>
                    </a:lnTo>
                    <a:lnTo>
                      <a:pt x="801" y="179"/>
                    </a:lnTo>
                    <a:lnTo>
                      <a:pt x="796" y="178"/>
                    </a:lnTo>
                    <a:lnTo>
                      <a:pt x="792" y="179"/>
                    </a:lnTo>
                    <a:lnTo>
                      <a:pt x="789" y="183"/>
                    </a:lnTo>
                    <a:lnTo>
                      <a:pt x="787" y="179"/>
                    </a:lnTo>
                    <a:lnTo>
                      <a:pt x="781" y="176"/>
                    </a:lnTo>
                    <a:lnTo>
                      <a:pt x="779" y="178"/>
                    </a:lnTo>
                    <a:lnTo>
                      <a:pt x="776" y="176"/>
                    </a:lnTo>
                    <a:lnTo>
                      <a:pt x="776" y="178"/>
                    </a:lnTo>
                    <a:lnTo>
                      <a:pt x="776" y="181"/>
                    </a:lnTo>
                    <a:lnTo>
                      <a:pt x="771" y="178"/>
                    </a:lnTo>
                    <a:lnTo>
                      <a:pt x="771" y="176"/>
                    </a:lnTo>
                    <a:lnTo>
                      <a:pt x="768" y="174"/>
                    </a:lnTo>
                    <a:lnTo>
                      <a:pt x="769" y="176"/>
                    </a:lnTo>
                    <a:lnTo>
                      <a:pt x="768" y="178"/>
                    </a:lnTo>
                    <a:lnTo>
                      <a:pt x="761" y="174"/>
                    </a:lnTo>
                    <a:lnTo>
                      <a:pt x="758" y="176"/>
                    </a:lnTo>
                    <a:lnTo>
                      <a:pt x="753" y="174"/>
                    </a:lnTo>
                    <a:lnTo>
                      <a:pt x="739" y="169"/>
                    </a:lnTo>
                    <a:lnTo>
                      <a:pt x="733" y="169"/>
                    </a:lnTo>
                    <a:lnTo>
                      <a:pt x="733" y="171"/>
                    </a:lnTo>
                    <a:lnTo>
                      <a:pt x="734" y="173"/>
                    </a:lnTo>
                    <a:lnTo>
                      <a:pt x="733" y="174"/>
                    </a:lnTo>
                    <a:lnTo>
                      <a:pt x="731" y="173"/>
                    </a:lnTo>
                    <a:lnTo>
                      <a:pt x="729" y="173"/>
                    </a:lnTo>
                    <a:lnTo>
                      <a:pt x="728" y="176"/>
                    </a:lnTo>
                    <a:lnTo>
                      <a:pt x="724" y="178"/>
                    </a:lnTo>
                    <a:lnTo>
                      <a:pt x="723" y="179"/>
                    </a:lnTo>
                    <a:lnTo>
                      <a:pt x="721" y="184"/>
                    </a:lnTo>
                    <a:lnTo>
                      <a:pt x="719" y="181"/>
                    </a:lnTo>
                    <a:lnTo>
                      <a:pt x="718" y="178"/>
                    </a:lnTo>
                    <a:lnTo>
                      <a:pt x="714" y="178"/>
                    </a:lnTo>
                    <a:lnTo>
                      <a:pt x="716" y="183"/>
                    </a:lnTo>
                    <a:lnTo>
                      <a:pt x="711" y="189"/>
                    </a:lnTo>
                    <a:lnTo>
                      <a:pt x="711" y="196"/>
                    </a:lnTo>
                    <a:lnTo>
                      <a:pt x="709" y="189"/>
                    </a:lnTo>
                    <a:lnTo>
                      <a:pt x="711" y="184"/>
                    </a:lnTo>
                    <a:lnTo>
                      <a:pt x="711" y="179"/>
                    </a:lnTo>
                    <a:lnTo>
                      <a:pt x="713" y="173"/>
                    </a:lnTo>
                    <a:lnTo>
                      <a:pt x="714" y="171"/>
                    </a:lnTo>
                    <a:lnTo>
                      <a:pt x="713" y="169"/>
                    </a:lnTo>
                    <a:lnTo>
                      <a:pt x="709" y="169"/>
                    </a:lnTo>
                    <a:lnTo>
                      <a:pt x="714" y="164"/>
                    </a:lnTo>
                    <a:lnTo>
                      <a:pt x="708" y="158"/>
                    </a:lnTo>
                    <a:lnTo>
                      <a:pt x="704" y="151"/>
                    </a:lnTo>
                    <a:lnTo>
                      <a:pt x="701" y="153"/>
                    </a:lnTo>
                    <a:lnTo>
                      <a:pt x="694" y="151"/>
                    </a:lnTo>
                    <a:lnTo>
                      <a:pt x="693" y="154"/>
                    </a:lnTo>
                    <a:lnTo>
                      <a:pt x="689" y="156"/>
                    </a:lnTo>
                    <a:lnTo>
                      <a:pt x="688" y="153"/>
                    </a:lnTo>
                    <a:lnTo>
                      <a:pt x="684" y="151"/>
                    </a:lnTo>
                    <a:lnTo>
                      <a:pt x="684" y="148"/>
                    </a:lnTo>
                    <a:lnTo>
                      <a:pt x="681" y="146"/>
                    </a:lnTo>
                    <a:lnTo>
                      <a:pt x="678" y="146"/>
                    </a:lnTo>
                    <a:lnTo>
                      <a:pt x="676" y="144"/>
                    </a:lnTo>
                    <a:lnTo>
                      <a:pt x="673" y="143"/>
                    </a:lnTo>
                    <a:lnTo>
                      <a:pt x="670" y="146"/>
                    </a:lnTo>
                    <a:lnTo>
                      <a:pt x="670" y="144"/>
                    </a:lnTo>
                    <a:lnTo>
                      <a:pt x="668" y="143"/>
                    </a:lnTo>
                    <a:lnTo>
                      <a:pt x="666" y="139"/>
                    </a:lnTo>
                    <a:lnTo>
                      <a:pt x="663" y="141"/>
                    </a:lnTo>
                    <a:lnTo>
                      <a:pt x="658" y="139"/>
                    </a:lnTo>
                    <a:lnTo>
                      <a:pt x="650" y="134"/>
                    </a:lnTo>
                    <a:lnTo>
                      <a:pt x="648" y="134"/>
                    </a:lnTo>
                    <a:lnTo>
                      <a:pt x="646" y="136"/>
                    </a:lnTo>
                    <a:lnTo>
                      <a:pt x="643" y="134"/>
                    </a:lnTo>
                    <a:lnTo>
                      <a:pt x="640" y="134"/>
                    </a:lnTo>
                    <a:lnTo>
                      <a:pt x="638" y="138"/>
                    </a:lnTo>
                    <a:lnTo>
                      <a:pt x="636" y="138"/>
                    </a:lnTo>
                    <a:lnTo>
                      <a:pt x="635" y="134"/>
                    </a:lnTo>
                    <a:lnTo>
                      <a:pt x="630" y="134"/>
                    </a:lnTo>
                    <a:lnTo>
                      <a:pt x="625" y="136"/>
                    </a:lnTo>
                    <a:lnTo>
                      <a:pt x="623" y="141"/>
                    </a:lnTo>
                    <a:lnTo>
                      <a:pt x="623" y="143"/>
                    </a:lnTo>
                    <a:lnTo>
                      <a:pt x="618" y="148"/>
                    </a:lnTo>
                    <a:lnTo>
                      <a:pt x="611" y="151"/>
                    </a:lnTo>
                    <a:lnTo>
                      <a:pt x="601" y="156"/>
                    </a:lnTo>
                    <a:lnTo>
                      <a:pt x="598" y="161"/>
                    </a:lnTo>
                    <a:lnTo>
                      <a:pt x="595" y="168"/>
                    </a:lnTo>
                    <a:lnTo>
                      <a:pt x="595" y="173"/>
                    </a:lnTo>
                    <a:lnTo>
                      <a:pt x="591" y="176"/>
                    </a:lnTo>
                    <a:lnTo>
                      <a:pt x="588" y="179"/>
                    </a:lnTo>
                    <a:lnTo>
                      <a:pt x="588" y="183"/>
                    </a:lnTo>
                    <a:lnTo>
                      <a:pt x="590" y="188"/>
                    </a:lnTo>
                    <a:lnTo>
                      <a:pt x="588" y="196"/>
                    </a:lnTo>
                    <a:lnTo>
                      <a:pt x="586" y="191"/>
                    </a:lnTo>
                    <a:lnTo>
                      <a:pt x="583" y="186"/>
                    </a:lnTo>
                    <a:lnTo>
                      <a:pt x="583" y="181"/>
                    </a:lnTo>
                    <a:lnTo>
                      <a:pt x="586" y="178"/>
                    </a:lnTo>
                    <a:lnTo>
                      <a:pt x="591" y="174"/>
                    </a:lnTo>
                    <a:lnTo>
                      <a:pt x="590" y="169"/>
                    </a:lnTo>
                    <a:lnTo>
                      <a:pt x="591" y="164"/>
                    </a:lnTo>
                    <a:lnTo>
                      <a:pt x="591" y="161"/>
                    </a:lnTo>
                    <a:lnTo>
                      <a:pt x="588" y="161"/>
                    </a:lnTo>
                    <a:lnTo>
                      <a:pt x="583" y="163"/>
                    </a:lnTo>
                    <a:lnTo>
                      <a:pt x="577" y="161"/>
                    </a:lnTo>
                    <a:lnTo>
                      <a:pt x="572" y="161"/>
                    </a:lnTo>
                    <a:lnTo>
                      <a:pt x="567" y="163"/>
                    </a:lnTo>
                    <a:lnTo>
                      <a:pt x="565" y="161"/>
                    </a:lnTo>
                    <a:lnTo>
                      <a:pt x="568" y="161"/>
                    </a:lnTo>
                    <a:lnTo>
                      <a:pt x="572" y="158"/>
                    </a:lnTo>
                    <a:lnTo>
                      <a:pt x="577" y="158"/>
                    </a:lnTo>
                    <a:lnTo>
                      <a:pt x="583" y="158"/>
                    </a:lnTo>
                    <a:lnTo>
                      <a:pt x="588" y="158"/>
                    </a:lnTo>
                    <a:lnTo>
                      <a:pt x="591" y="153"/>
                    </a:lnTo>
                    <a:lnTo>
                      <a:pt x="593" y="153"/>
                    </a:lnTo>
                    <a:lnTo>
                      <a:pt x="595" y="154"/>
                    </a:lnTo>
                    <a:lnTo>
                      <a:pt x="598" y="154"/>
                    </a:lnTo>
                    <a:lnTo>
                      <a:pt x="601" y="151"/>
                    </a:lnTo>
                    <a:lnTo>
                      <a:pt x="610" y="149"/>
                    </a:lnTo>
                    <a:lnTo>
                      <a:pt x="610" y="144"/>
                    </a:lnTo>
                    <a:lnTo>
                      <a:pt x="615" y="138"/>
                    </a:lnTo>
                    <a:lnTo>
                      <a:pt x="615" y="133"/>
                    </a:lnTo>
                    <a:lnTo>
                      <a:pt x="618" y="129"/>
                    </a:lnTo>
                    <a:lnTo>
                      <a:pt x="618" y="126"/>
                    </a:lnTo>
                    <a:lnTo>
                      <a:pt x="611" y="125"/>
                    </a:lnTo>
                    <a:lnTo>
                      <a:pt x="606" y="121"/>
                    </a:lnTo>
                    <a:lnTo>
                      <a:pt x="601" y="121"/>
                    </a:lnTo>
                    <a:lnTo>
                      <a:pt x="595" y="125"/>
                    </a:lnTo>
                    <a:lnTo>
                      <a:pt x="588" y="125"/>
                    </a:lnTo>
                    <a:lnTo>
                      <a:pt x="580" y="121"/>
                    </a:lnTo>
                    <a:lnTo>
                      <a:pt x="572" y="121"/>
                    </a:lnTo>
                    <a:lnTo>
                      <a:pt x="565" y="128"/>
                    </a:lnTo>
                    <a:lnTo>
                      <a:pt x="565" y="129"/>
                    </a:lnTo>
                    <a:lnTo>
                      <a:pt x="567" y="131"/>
                    </a:lnTo>
                    <a:lnTo>
                      <a:pt x="568" y="134"/>
                    </a:lnTo>
                    <a:lnTo>
                      <a:pt x="565" y="134"/>
                    </a:lnTo>
                    <a:lnTo>
                      <a:pt x="563" y="134"/>
                    </a:lnTo>
                    <a:lnTo>
                      <a:pt x="562" y="139"/>
                    </a:lnTo>
                    <a:lnTo>
                      <a:pt x="560" y="136"/>
                    </a:lnTo>
                    <a:lnTo>
                      <a:pt x="558" y="134"/>
                    </a:lnTo>
                    <a:lnTo>
                      <a:pt x="553" y="136"/>
                    </a:lnTo>
                    <a:lnTo>
                      <a:pt x="547" y="144"/>
                    </a:lnTo>
                    <a:lnTo>
                      <a:pt x="540" y="151"/>
                    </a:lnTo>
                    <a:lnTo>
                      <a:pt x="545" y="144"/>
                    </a:lnTo>
                    <a:lnTo>
                      <a:pt x="545" y="139"/>
                    </a:lnTo>
                    <a:lnTo>
                      <a:pt x="547" y="138"/>
                    </a:lnTo>
                    <a:lnTo>
                      <a:pt x="547" y="134"/>
                    </a:lnTo>
                    <a:lnTo>
                      <a:pt x="545" y="134"/>
                    </a:lnTo>
                    <a:lnTo>
                      <a:pt x="540" y="138"/>
                    </a:lnTo>
                    <a:lnTo>
                      <a:pt x="537" y="143"/>
                    </a:lnTo>
                    <a:lnTo>
                      <a:pt x="535" y="148"/>
                    </a:lnTo>
                    <a:lnTo>
                      <a:pt x="530" y="151"/>
                    </a:lnTo>
                    <a:lnTo>
                      <a:pt x="535" y="144"/>
                    </a:lnTo>
                    <a:lnTo>
                      <a:pt x="535" y="139"/>
                    </a:lnTo>
                    <a:lnTo>
                      <a:pt x="543" y="129"/>
                    </a:lnTo>
                    <a:lnTo>
                      <a:pt x="545" y="123"/>
                    </a:lnTo>
                    <a:lnTo>
                      <a:pt x="548" y="120"/>
                    </a:lnTo>
                    <a:lnTo>
                      <a:pt x="553" y="116"/>
                    </a:lnTo>
                    <a:lnTo>
                      <a:pt x="558" y="113"/>
                    </a:lnTo>
                    <a:lnTo>
                      <a:pt x="562" y="111"/>
                    </a:lnTo>
                    <a:lnTo>
                      <a:pt x="567" y="106"/>
                    </a:lnTo>
                    <a:lnTo>
                      <a:pt x="578" y="95"/>
                    </a:lnTo>
                    <a:lnTo>
                      <a:pt x="578" y="93"/>
                    </a:lnTo>
                    <a:lnTo>
                      <a:pt x="582" y="91"/>
                    </a:lnTo>
                    <a:lnTo>
                      <a:pt x="578" y="88"/>
                    </a:lnTo>
                    <a:lnTo>
                      <a:pt x="580" y="85"/>
                    </a:lnTo>
                    <a:lnTo>
                      <a:pt x="582" y="85"/>
                    </a:lnTo>
                    <a:lnTo>
                      <a:pt x="582" y="80"/>
                    </a:lnTo>
                    <a:lnTo>
                      <a:pt x="577" y="76"/>
                    </a:lnTo>
                    <a:lnTo>
                      <a:pt x="572" y="76"/>
                    </a:lnTo>
                    <a:lnTo>
                      <a:pt x="570" y="78"/>
                    </a:lnTo>
                    <a:lnTo>
                      <a:pt x="568" y="75"/>
                    </a:lnTo>
                    <a:lnTo>
                      <a:pt x="565" y="66"/>
                    </a:lnTo>
                    <a:lnTo>
                      <a:pt x="560" y="55"/>
                    </a:lnTo>
                    <a:lnTo>
                      <a:pt x="555" y="48"/>
                    </a:lnTo>
                    <a:lnTo>
                      <a:pt x="552" y="40"/>
                    </a:lnTo>
                    <a:lnTo>
                      <a:pt x="552" y="36"/>
                    </a:lnTo>
                    <a:lnTo>
                      <a:pt x="550" y="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0" name="Freeform 164"/>
              <p:cNvSpPr>
                <a:spLocks/>
              </p:cNvSpPr>
              <p:nvPr/>
            </p:nvSpPr>
            <p:spPr bwMode="auto">
              <a:xfrm>
                <a:off x="5720423" y="3204346"/>
                <a:ext cx="36388" cy="46692"/>
              </a:xfrm>
              <a:custGeom>
                <a:avLst/>
                <a:gdLst/>
                <a:ahLst/>
                <a:cxnLst>
                  <a:cxn ang="0">
                    <a:pos x="0" y="71"/>
                  </a:cxn>
                  <a:cxn ang="0">
                    <a:pos x="2" y="73"/>
                  </a:cxn>
                  <a:cxn ang="0">
                    <a:pos x="3" y="76"/>
                  </a:cxn>
                  <a:cxn ang="0">
                    <a:pos x="5" y="78"/>
                  </a:cxn>
                  <a:cxn ang="0">
                    <a:pos x="5" y="80"/>
                  </a:cxn>
                  <a:cxn ang="0">
                    <a:pos x="8" y="83"/>
                  </a:cxn>
                  <a:cxn ang="0">
                    <a:pos x="12" y="85"/>
                  </a:cxn>
                  <a:cxn ang="0">
                    <a:pos x="15" y="81"/>
                  </a:cxn>
                  <a:cxn ang="0">
                    <a:pos x="18" y="80"/>
                  </a:cxn>
                  <a:cxn ang="0">
                    <a:pos x="20" y="80"/>
                  </a:cxn>
                  <a:cxn ang="0">
                    <a:pos x="21" y="81"/>
                  </a:cxn>
                  <a:cxn ang="0">
                    <a:pos x="23" y="83"/>
                  </a:cxn>
                  <a:cxn ang="0">
                    <a:pos x="23" y="88"/>
                  </a:cxn>
                  <a:cxn ang="0">
                    <a:pos x="26" y="90"/>
                  </a:cxn>
                  <a:cxn ang="0">
                    <a:pos x="30" y="86"/>
                  </a:cxn>
                  <a:cxn ang="0">
                    <a:pos x="31" y="83"/>
                  </a:cxn>
                  <a:cxn ang="0">
                    <a:pos x="33" y="81"/>
                  </a:cxn>
                  <a:cxn ang="0">
                    <a:pos x="38" y="81"/>
                  </a:cxn>
                  <a:cxn ang="0">
                    <a:pos x="41" y="75"/>
                  </a:cxn>
                  <a:cxn ang="0">
                    <a:pos x="45" y="70"/>
                  </a:cxn>
                  <a:cxn ang="0">
                    <a:pos x="50" y="61"/>
                  </a:cxn>
                  <a:cxn ang="0">
                    <a:pos x="50" y="56"/>
                  </a:cxn>
                  <a:cxn ang="0">
                    <a:pos x="56" y="50"/>
                  </a:cxn>
                  <a:cxn ang="0">
                    <a:pos x="61" y="43"/>
                  </a:cxn>
                  <a:cxn ang="0">
                    <a:pos x="63" y="40"/>
                  </a:cxn>
                  <a:cxn ang="0">
                    <a:pos x="63" y="40"/>
                  </a:cxn>
                  <a:cxn ang="0">
                    <a:pos x="68" y="35"/>
                  </a:cxn>
                  <a:cxn ang="0">
                    <a:pos x="68" y="30"/>
                  </a:cxn>
                  <a:cxn ang="0">
                    <a:pos x="63" y="25"/>
                  </a:cxn>
                  <a:cxn ang="0">
                    <a:pos x="61" y="27"/>
                  </a:cxn>
                  <a:cxn ang="0">
                    <a:pos x="58" y="25"/>
                  </a:cxn>
                  <a:cxn ang="0">
                    <a:pos x="58" y="22"/>
                  </a:cxn>
                  <a:cxn ang="0">
                    <a:pos x="50" y="13"/>
                  </a:cxn>
                  <a:cxn ang="0">
                    <a:pos x="46" y="12"/>
                  </a:cxn>
                  <a:cxn ang="0">
                    <a:pos x="41" y="8"/>
                  </a:cxn>
                  <a:cxn ang="0">
                    <a:pos x="28" y="5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7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2" y="28"/>
                  </a:cxn>
                  <a:cxn ang="0">
                    <a:pos x="2" y="32"/>
                  </a:cxn>
                  <a:cxn ang="0">
                    <a:pos x="7" y="33"/>
                  </a:cxn>
                  <a:cxn ang="0">
                    <a:pos x="8" y="37"/>
                  </a:cxn>
                  <a:cxn ang="0">
                    <a:pos x="10" y="41"/>
                  </a:cxn>
                  <a:cxn ang="0">
                    <a:pos x="12" y="45"/>
                  </a:cxn>
                  <a:cxn ang="0">
                    <a:pos x="12" y="48"/>
                  </a:cxn>
                  <a:cxn ang="0">
                    <a:pos x="12" y="51"/>
                  </a:cxn>
                  <a:cxn ang="0">
                    <a:pos x="8" y="55"/>
                  </a:cxn>
                  <a:cxn ang="0">
                    <a:pos x="8" y="60"/>
                  </a:cxn>
                  <a:cxn ang="0">
                    <a:pos x="10" y="63"/>
                  </a:cxn>
                  <a:cxn ang="0">
                    <a:pos x="8" y="68"/>
                  </a:cxn>
                  <a:cxn ang="0">
                    <a:pos x="2" y="71"/>
                  </a:cxn>
                  <a:cxn ang="0">
                    <a:pos x="0" y="71"/>
                  </a:cxn>
                </a:cxnLst>
                <a:rect l="0" t="0" r="r" b="b"/>
                <a:pathLst>
                  <a:path w="68" h="90">
                    <a:moveTo>
                      <a:pt x="0" y="71"/>
                    </a:moveTo>
                    <a:lnTo>
                      <a:pt x="2" y="73"/>
                    </a:lnTo>
                    <a:lnTo>
                      <a:pt x="3" y="76"/>
                    </a:lnTo>
                    <a:lnTo>
                      <a:pt x="5" y="78"/>
                    </a:lnTo>
                    <a:lnTo>
                      <a:pt x="5" y="80"/>
                    </a:lnTo>
                    <a:lnTo>
                      <a:pt x="8" y="83"/>
                    </a:lnTo>
                    <a:lnTo>
                      <a:pt x="12" y="85"/>
                    </a:lnTo>
                    <a:lnTo>
                      <a:pt x="15" y="81"/>
                    </a:lnTo>
                    <a:lnTo>
                      <a:pt x="18" y="80"/>
                    </a:lnTo>
                    <a:lnTo>
                      <a:pt x="20" y="80"/>
                    </a:lnTo>
                    <a:lnTo>
                      <a:pt x="21" y="81"/>
                    </a:lnTo>
                    <a:lnTo>
                      <a:pt x="23" y="83"/>
                    </a:lnTo>
                    <a:lnTo>
                      <a:pt x="23" y="88"/>
                    </a:lnTo>
                    <a:lnTo>
                      <a:pt x="26" y="90"/>
                    </a:lnTo>
                    <a:lnTo>
                      <a:pt x="30" y="86"/>
                    </a:lnTo>
                    <a:lnTo>
                      <a:pt x="31" y="83"/>
                    </a:lnTo>
                    <a:lnTo>
                      <a:pt x="33" y="81"/>
                    </a:lnTo>
                    <a:lnTo>
                      <a:pt x="38" y="81"/>
                    </a:lnTo>
                    <a:lnTo>
                      <a:pt x="41" y="75"/>
                    </a:lnTo>
                    <a:lnTo>
                      <a:pt x="45" y="70"/>
                    </a:lnTo>
                    <a:lnTo>
                      <a:pt x="50" y="61"/>
                    </a:lnTo>
                    <a:lnTo>
                      <a:pt x="50" y="56"/>
                    </a:lnTo>
                    <a:lnTo>
                      <a:pt x="56" y="50"/>
                    </a:lnTo>
                    <a:lnTo>
                      <a:pt x="61" y="43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8" y="35"/>
                    </a:lnTo>
                    <a:lnTo>
                      <a:pt x="68" y="30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58" y="25"/>
                    </a:lnTo>
                    <a:lnTo>
                      <a:pt x="58" y="22"/>
                    </a:lnTo>
                    <a:lnTo>
                      <a:pt x="50" y="13"/>
                    </a:lnTo>
                    <a:lnTo>
                      <a:pt x="46" y="12"/>
                    </a:lnTo>
                    <a:lnTo>
                      <a:pt x="41" y="8"/>
                    </a:lnTo>
                    <a:lnTo>
                      <a:pt x="28" y="5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2" y="28"/>
                    </a:lnTo>
                    <a:lnTo>
                      <a:pt x="2" y="32"/>
                    </a:lnTo>
                    <a:lnTo>
                      <a:pt x="7" y="33"/>
                    </a:lnTo>
                    <a:lnTo>
                      <a:pt x="8" y="37"/>
                    </a:lnTo>
                    <a:lnTo>
                      <a:pt x="10" y="41"/>
                    </a:lnTo>
                    <a:lnTo>
                      <a:pt x="12" y="45"/>
                    </a:lnTo>
                    <a:lnTo>
                      <a:pt x="12" y="48"/>
                    </a:lnTo>
                    <a:lnTo>
                      <a:pt x="12" y="51"/>
                    </a:lnTo>
                    <a:lnTo>
                      <a:pt x="8" y="55"/>
                    </a:lnTo>
                    <a:lnTo>
                      <a:pt x="8" y="60"/>
                    </a:lnTo>
                    <a:lnTo>
                      <a:pt x="10" y="63"/>
                    </a:lnTo>
                    <a:lnTo>
                      <a:pt x="8" y="68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1" name="Freeform 165"/>
              <p:cNvSpPr>
                <a:spLocks/>
              </p:cNvSpPr>
              <p:nvPr/>
            </p:nvSpPr>
            <p:spPr bwMode="auto">
              <a:xfrm>
                <a:off x="5675472" y="3200196"/>
                <a:ext cx="51372" cy="49804"/>
              </a:xfrm>
              <a:custGeom>
                <a:avLst/>
                <a:gdLst/>
                <a:ahLst/>
                <a:cxnLst>
                  <a:cxn ang="0">
                    <a:pos x="38" y="95"/>
                  </a:cxn>
                  <a:cxn ang="0">
                    <a:pos x="42" y="96"/>
                  </a:cxn>
                  <a:cxn ang="0">
                    <a:pos x="53" y="96"/>
                  </a:cxn>
                  <a:cxn ang="0">
                    <a:pos x="52" y="90"/>
                  </a:cxn>
                  <a:cxn ang="0">
                    <a:pos x="45" y="85"/>
                  </a:cxn>
                  <a:cxn ang="0">
                    <a:pos x="52" y="76"/>
                  </a:cxn>
                  <a:cxn ang="0">
                    <a:pos x="67" y="78"/>
                  </a:cxn>
                  <a:cxn ang="0">
                    <a:pos x="78" y="76"/>
                  </a:cxn>
                  <a:cxn ang="0">
                    <a:pos x="87" y="81"/>
                  </a:cxn>
                  <a:cxn ang="0">
                    <a:pos x="95" y="73"/>
                  </a:cxn>
                  <a:cxn ang="0">
                    <a:pos x="93" y="65"/>
                  </a:cxn>
                  <a:cxn ang="0">
                    <a:pos x="97" y="58"/>
                  </a:cxn>
                  <a:cxn ang="0">
                    <a:pos x="95" y="51"/>
                  </a:cxn>
                  <a:cxn ang="0">
                    <a:pos x="92" y="43"/>
                  </a:cxn>
                  <a:cxn ang="0">
                    <a:pos x="87" y="38"/>
                  </a:cxn>
                  <a:cxn ang="0">
                    <a:pos x="85" y="28"/>
                  </a:cxn>
                  <a:cxn ang="0">
                    <a:pos x="88" y="17"/>
                  </a:cxn>
                  <a:cxn ang="0">
                    <a:pos x="90" y="15"/>
                  </a:cxn>
                  <a:cxn ang="0">
                    <a:pos x="95" y="7"/>
                  </a:cxn>
                  <a:cxn ang="0">
                    <a:pos x="82" y="3"/>
                  </a:cxn>
                  <a:cxn ang="0">
                    <a:pos x="68" y="2"/>
                  </a:cxn>
                  <a:cxn ang="0">
                    <a:pos x="57" y="2"/>
                  </a:cxn>
                  <a:cxn ang="0">
                    <a:pos x="40" y="2"/>
                  </a:cxn>
                  <a:cxn ang="0">
                    <a:pos x="23" y="3"/>
                  </a:cxn>
                  <a:cxn ang="0">
                    <a:pos x="22" y="10"/>
                  </a:cxn>
                  <a:cxn ang="0">
                    <a:pos x="20" y="17"/>
                  </a:cxn>
                  <a:cxn ang="0">
                    <a:pos x="13" y="23"/>
                  </a:cxn>
                  <a:cxn ang="0">
                    <a:pos x="3" y="28"/>
                  </a:cxn>
                  <a:cxn ang="0">
                    <a:pos x="0" y="42"/>
                  </a:cxn>
                  <a:cxn ang="0">
                    <a:pos x="5" y="47"/>
                  </a:cxn>
                  <a:cxn ang="0">
                    <a:pos x="8" y="51"/>
                  </a:cxn>
                  <a:cxn ang="0">
                    <a:pos x="12" y="58"/>
                  </a:cxn>
                  <a:cxn ang="0">
                    <a:pos x="17" y="60"/>
                  </a:cxn>
                  <a:cxn ang="0">
                    <a:pos x="20" y="65"/>
                  </a:cxn>
                  <a:cxn ang="0">
                    <a:pos x="22" y="76"/>
                  </a:cxn>
                  <a:cxn ang="0">
                    <a:pos x="28" y="81"/>
                  </a:cxn>
                  <a:cxn ang="0">
                    <a:pos x="33" y="88"/>
                  </a:cxn>
                  <a:cxn ang="0">
                    <a:pos x="35" y="91"/>
                  </a:cxn>
                </a:cxnLst>
                <a:rect l="0" t="0" r="r" b="b"/>
                <a:pathLst>
                  <a:path w="97" h="96">
                    <a:moveTo>
                      <a:pt x="38" y="95"/>
                    </a:moveTo>
                    <a:lnTo>
                      <a:pt x="38" y="95"/>
                    </a:lnTo>
                    <a:lnTo>
                      <a:pt x="40" y="95"/>
                    </a:lnTo>
                    <a:lnTo>
                      <a:pt x="42" y="96"/>
                    </a:lnTo>
                    <a:lnTo>
                      <a:pt x="48" y="96"/>
                    </a:lnTo>
                    <a:lnTo>
                      <a:pt x="53" y="96"/>
                    </a:lnTo>
                    <a:lnTo>
                      <a:pt x="53" y="95"/>
                    </a:lnTo>
                    <a:lnTo>
                      <a:pt x="52" y="90"/>
                    </a:lnTo>
                    <a:lnTo>
                      <a:pt x="50" y="88"/>
                    </a:lnTo>
                    <a:lnTo>
                      <a:pt x="45" y="85"/>
                    </a:lnTo>
                    <a:lnTo>
                      <a:pt x="47" y="80"/>
                    </a:lnTo>
                    <a:lnTo>
                      <a:pt x="52" y="76"/>
                    </a:lnTo>
                    <a:lnTo>
                      <a:pt x="57" y="78"/>
                    </a:lnTo>
                    <a:lnTo>
                      <a:pt x="67" y="78"/>
                    </a:lnTo>
                    <a:lnTo>
                      <a:pt x="72" y="76"/>
                    </a:lnTo>
                    <a:lnTo>
                      <a:pt x="78" y="76"/>
                    </a:lnTo>
                    <a:lnTo>
                      <a:pt x="82" y="80"/>
                    </a:lnTo>
                    <a:lnTo>
                      <a:pt x="87" y="81"/>
                    </a:lnTo>
                    <a:lnTo>
                      <a:pt x="93" y="78"/>
                    </a:lnTo>
                    <a:lnTo>
                      <a:pt x="95" y="73"/>
                    </a:lnTo>
                    <a:lnTo>
                      <a:pt x="93" y="70"/>
                    </a:lnTo>
                    <a:lnTo>
                      <a:pt x="93" y="65"/>
                    </a:lnTo>
                    <a:lnTo>
                      <a:pt x="97" y="61"/>
                    </a:lnTo>
                    <a:lnTo>
                      <a:pt x="97" y="58"/>
                    </a:lnTo>
                    <a:lnTo>
                      <a:pt x="97" y="55"/>
                    </a:lnTo>
                    <a:lnTo>
                      <a:pt x="95" y="51"/>
                    </a:lnTo>
                    <a:lnTo>
                      <a:pt x="93" y="47"/>
                    </a:lnTo>
                    <a:lnTo>
                      <a:pt x="92" y="43"/>
                    </a:lnTo>
                    <a:lnTo>
                      <a:pt x="87" y="42"/>
                    </a:lnTo>
                    <a:lnTo>
                      <a:pt x="87" y="38"/>
                    </a:lnTo>
                    <a:lnTo>
                      <a:pt x="87" y="33"/>
                    </a:lnTo>
                    <a:lnTo>
                      <a:pt x="85" y="28"/>
                    </a:lnTo>
                    <a:lnTo>
                      <a:pt x="85" y="22"/>
                    </a:lnTo>
                    <a:lnTo>
                      <a:pt x="88" y="17"/>
                    </a:lnTo>
                    <a:lnTo>
                      <a:pt x="90" y="15"/>
                    </a:lnTo>
                    <a:lnTo>
                      <a:pt x="90" y="15"/>
                    </a:lnTo>
                    <a:lnTo>
                      <a:pt x="95" y="10"/>
                    </a:lnTo>
                    <a:lnTo>
                      <a:pt x="95" y="7"/>
                    </a:lnTo>
                    <a:lnTo>
                      <a:pt x="90" y="5"/>
                    </a:lnTo>
                    <a:lnTo>
                      <a:pt x="82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5" y="3"/>
                    </a:lnTo>
                    <a:lnTo>
                      <a:pt x="57" y="2"/>
                    </a:lnTo>
                    <a:lnTo>
                      <a:pt x="47" y="3"/>
                    </a:lnTo>
                    <a:lnTo>
                      <a:pt x="40" y="2"/>
                    </a:lnTo>
                    <a:lnTo>
                      <a:pt x="28" y="2"/>
                    </a:lnTo>
                    <a:lnTo>
                      <a:pt x="23" y="3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8"/>
                    </a:lnTo>
                    <a:lnTo>
                      <a:pt x="3" y="33"/>
                    </a:lnTo>
                    <a:lnTo>
                      <a:pt x="0" y="42"/>
                    </a:lnTo>
                    <a:lnTo>
                      <a:pt x="0" y="45"/>
                    </a:lnTo>
                    <a:lnTo>
                      <a:pt x="5" y="47"/>
                    </a:lnTo>
                    <a:lnTo>
                      <a:pt x="7" y="50"/>
                    </a:lnTo>
                    <a:lnTo>
                      <a:pt x="8" y="51"/>
                    </a:lnTo>
                    <a:lnTo>
                      <a:pt x="10" y="55"/>
                    </a:lnTo>
                    <a:lnTo>
                      <a:pt x="12" y="58"/>
                    </a:lnTo>
                    <a:lnTo>
                      <a:pt x="13" y="60"/>
                    </a:lnTo>
                    <a:lnTo>
                      <a:pt x="17" y="60"/>
                    </a:lnTo>
                    <a:lnTo>
                      <a:pt x="18" y="61"/>
                    </a:lnTo>
                    <a:lnTo>
                      <a:pt x="20" y="65"/>
                    </a:lnTo>
                    <a:lnTo>
                      <a:pt x="22" y="71"/>
                    </a:lnTo>
                    <a:lnTo>
                      <a:pt x="22" y="76"/>
                    </a:lnTo>
                    <a:lnTo>
                      <a:pt x="23" y="78"/>
                    </a:lnTo>
                    <a:lnTo>
                      <a:pt x="28" y="81"/>
                    </a:lnTo>
                    <a:lnTo>
                      <a:pt x="28" y="86"/>
                    </a:lnTo>
                    <a:lnTo>
                      <a:pt x="33" y="88"/>
                    </a:lnTo>
                    <a:lnTo>
                      <a:pt x="33" y="90"/>
                    </a:lnTo>
                    <a:lnTo>
                      <a:pt x="35" y="91"/>
                    </a:lnTo>
                    <a:lnTo>
                      <a:pt x="38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2" name="Freeform 166"/>
              <p:cNvSpPr>
                <a:spLocks/>
              </p:cNvSpPr>
              <p:nvPr/>
            </p:nvSpPr>
            <p:spPr bwMode="auto">
              <a:xfrm>
                <a:off x="5631592" y="3172181"/>
                <a:ext cx="64215" cy="86120"/>
              </a:xfrm>
              <a:custGeom>
                <a:avLst/>
                <a:gdLst/>
                <a:ahLst/>
                <a:cxnLst>
                  <a:cxn ang="0">
                    <a:pos x="20" y="73"/>
                  </a:cxn>
                  <a:cxn ang="0">
                    <a:pos x="23" y="73"/>
                  </a:cxn>
                  <a:cxn ang="0">
                    <a:pos x="33" y="78"/>
                  </a:cxn>
                  <a:cxn ang="0">
                    <a:pos x="30" y="88"/>
                  </a:cxn>
                  <a:cxn ang="0">
                    <a:pos x="32" y="93"/>
                  </a:cxn>
                  <a:cxn ang="0">
                    <a:pos x="38" y="96"/>
                  </a:cxn>
                  <a:cxn ang="0">
                    <a:pos x="47" y="98"/>
                  </a:cxn>
                  <a:cxn ang="0">
                    <a:pos x="42" y="106"/>
                  </a:cxn>
                  <a:cxn ang="0">
                    <a:pos x="35" y="119"/>
                  </a:cxn>
                  <a:cxn ang="0">
                    <a:pos x="33" y="128"/>
                  </a:cxn>
                  <a:cxn ang="0">
                    <a:pos x="35" y="133"/>
                  </a:cxn>
                  <a:cxn ang="0">
                    <a:pos x="33" y="141"/>
                  </a:cxn>
                  <a:cxn ang="0">
                    <a:pos x="43" y="149"/>
                  </a:cxn>
                  <a:cxn ang="0">
                    <a:pos x="47" y="156"/>
                  </a:cxn>
                  <a:cxn ang="0">
                    <a:pos x="62" y="166"/>
                  </a:cxn>
                  <a:cxn ang="0">
                    <a:pos x="67" y="161"/>
                  </a:cxn>
                  <a:cxn ang="0">
                    <a:pos x="73" y="163"/>
                  </a:cxn>
                  <a:cxn ang="0">
                    <a:pos x="77" y="156"/>
                  </a:cxn>
                  <a:cxn ang="0">
                    <a:pos x="93" y="156"/>
                  </a:cxn>
                  <a:cxn ang="0">
                    <a:pos x="100" y="146"/>
                  </a:cxn>
                  <a:cxn ang="0">
                    <a:pos x="110" y="148"/>
                  </a:cxn>
                  <a:cxn ang="0">
                    <a:pos x="121" y="148"/>
                  </a:cxn>
                  <a:cxn ang="0">
                    <a:pos x="116" y="143"/>
                  </a:cxn>
                  <a:cxn ang="0">
                    <a:pos x="111" y="139"/>
                  </a:cxn>
                  <a:cxn ang="0">
                    <a:pos x="106" y="131"/>
                  </a:cxn>
                  <a:cxn ang="0">
                    <a:pos x="105" y="124"/>
                  </a:cxn>
                  <a:cxn ang="0">
                    <a:pos x="101" y="114"/>
                  </a:cxn>
                  <a:cxn ang="0">
                    <a:pos x="96" y="113"/>
                  </a:cxn>
                  <a:cxn ang="0">
                    <a:pos x="93" y="108"/>
                  </a:cxn>
                  <a:cxn ang="0">
                    <a:pos x="90" y="103"/>
                  </a:cxn>
                  <a:cxn ang="0">
                    <a:pos x="83" y="98"/>
                  </a:cxn>
                  <a:cxn ang="0">
                    <a:pos x="86" y="86"/>
                  </a:cxn>
                  <a:cxn ang="0">
                    <a:pos x="90" y="76"/>
                  </a:cxn>
                  <a:cxn ang="0">
                    <a:pos x="100" y="73"/>
                  </a:cxn>
                  <a:cxn ang="0">
                    <a:pos x="103" y="66"/>
                  </a:cxn>
                  <a:cxn ang="0">
                    <a:pos x="105" y="61"/>
                  </a:cxn>
                  <a:cxn ang="0">
                    <a:pos x="103" y="58"/>
                  </a:cxn>
                  <a:cxn ang="0">
                    <a:pos x="101" y="48"/>
                  </a:cxn>
                  <a:cxn ang="0">
                    <a:pos x="85" y="40"/>
                  </a:cxn>
                  <a:cxn ang="0">
                    <a:pos x="78" y="38"/>
                  </a:cxn>
                  <a:cxn ang="0">
                    <a:pos x="70" y="43"/>
                  </a:cxn>
                  <a:cxn ang="0">
                    <a:pos x="67" y="41"/>
                  </a:cxn>
                  <a:cxn ang="0">
                    <a:pos x="70" y="30"/>
                  </a:cxn>
                  <a:cxn ang="0">
                    <a:pos x="63" y="21"/>
                  </a:cxn>
                  <a:cxn ang="0">
                    <a:pos x="48" y="8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28" y="10"/>
                  </a:cxn>
                  <a:cxn ang="0">
                    <a:pos x="20" y="13"/>
                  </a:cxn>
                  <a:cxn ang="0">
                    <a:pos x="15" y="23"/>
                  </a:cxn>
                  <a:cxn ang="0">
                    <a:pos x="23" y="28"/>
                  </a:cxn>
                  <a:cxn ang="0">
                    <a:pos x="28" y="36"/>
                  </a:cxn>
                  <a:cxn ang="0">
                    <a:pos x="15" y="38"/>
                  </a:cxn>
                  <a:cxn ang="0">
                    <a:pos x="8" y="38"/>
                  </a:cxn>
                  <a:cxn ang="0">
                    <a:pos x="3" y="48"/>
                  </a:cxn>
                  <a:cxn ang="0">
                    <a:pos x="2" y="58"/>
                  </a:cxn>
                  <a:cxn ang="0">
                    <a:pos x="17" y="71"/>
                  </a:cxn>
                </a:cxnLst>
                <a:rect l="0" t="0" r="r" b="b"/>
                <a:pathLst>
                  <a:path w="121" h="166">
                    <a:moveTo>
                      <a:pt x="17" y="73"/>
                    </a:moveTo>
                    <a:lnTo>
                      <a:pt x="20" y="73"/>
                    </a:lnTo>
                    <a:lnTo>
                      <a:pt x="22" y="75"/>
                    </a:lnTo>
                    <a:lnTo>
                      <a:pt x="23" y="73"/>
                    </a:lnTo>
                    <a:lnTo>
                      <a:pt x="30" y="73"/>
                    </a:lnTo>
                    <a:lnTo>
                      <a:pt x="33" y="78"/>
                    </a:lnTo>
                    <a:lnTo>
                      <a:pt x="33" y="85"/>
                    </a:lnTo>
                    <a:lnTo>
                      <a:pt x="30" y="88"/>
                    </a:lnTo>
                    <a:lnTo>
                      <a:pt x="28" y="91"/>
                    </a:lnTo>
                    <a:lnTo>
                      <a:pt x="32" y="93"/>
                    </a:lnTo>
                    <a:lnTo>
                      <a:pt x="38" y="93"/>
                    </a:lnTo>
                    <a:lnTo>
                      <a:pt x="38" y="96"/>
                    </a:lnTo>
                    <a:lnTo>
                      <a:pt x="42" y="100"/>
                    </a:lnTo>
                    <a:lnTo>
                      <a:pt x="47" y="98"/>
                    </a:lnTo>
                    <a:lnTo>
                      <a:pt x="47" y="101"/>
                    </a:lnTo>
                    <a:lnTo>
                      <a:pt x="42" y="106"/>
                    </a:lnTo>
                    <a:lnTo>
                      <a:pt x="40" y="111"/>
                    </a:lnTo>
                    <a:lnTo>
                      <a:pt x="35" y="119"/>
                    </a:lnTo>
                    <a:lnTo>
                      <a:pt x="35" y="124"/>
                    </a:lnTo>
                    <a:lnTo>
                      <a:pt x="33" y="128"/>
                    </a:lnTo>
                    <a:lnTo>
                      <a:pt x="33" y="131"/>
                    </a:lnTo>
                    <a:lnTo>
                      <a:pt x="35" y="133"/>
                    </a:lnTo>
                    <a:lnTo>
                      <a:pt x="33" y="136"/>
                    </a:lnTo>
                    <a:lnTo>
                      <a:pt x="33" y="141"/>
                    </a:lnTo>
                    <a:lnTo>
                      <a:pt x="38" y="144"/>
                    </a:lnTo>
                    <a:lnTo>
                      <a:pt x="43" y="149"/>
                    </a:lnTo>
                    <a:lnTo>
                      <a:pt x="43" y="153"/>
                    </a:lnTo>
                    <a:lnTo>
                      <a:pt x="47" y="156"/>
                    </a:lnTo>
                    <a:lnTo>
                      <a:pt x="57" y="164"/>
                    </a:lnTo>
                    <a:lnTo>
                      <a:pt x="62" y="166"/>
                    </a:lnTo>
                    <a:lnTo>
                      <a:pt x="63" y="163"/>
                    </a:lnTo>
                    <a:lnTo>
                      <a:pt x="67" y="161"/>
                    </a:lnTo>
                    <a:lnTo>
                      <a:pt x="68" y="163"/>
                    </a:lnTo>
                    <a:lnTo>
                      <a:pt x="73" y="163"/>
                    </a:lnTo>
                    <a:lnTo>
                      <a:pt x="77" y="159"/>
                    </a:lnTo>
                    <a:lnTo>
                      <a:pt x="77" y="156"/>
                    </a:lnTo>
                    <a:lnTo>
                      <a:pt x="83" y="154"/>
                    </a:lnTo>
                    <a:lnTo>
                      <a:pt x="93" y="156"/>
                    </a:lnTo>
                    <a:lnTo>
                      <a:pt x="95" y="148"/>
                    </a:lnTo>
                    <a:lnTo>
                      <a:pt x="100" y="146"/>
                    </a:lnTo>
                    <a:lnTo>
                      <a:pt x="108" y="146"/>
                    </a:lnTo>
                    <a:lnTo>
                      <a:pt x="110" y="148"/>
                    </a:lnTo>
                    <a:lnTo>
                      <a:pt x="113" y="148"/>
                    </a:lnTo>
                    <a:lnTo>
                      <a:pt x="121" y="148"/>
                    </a:lnTo>
                    <a:lnTo>
                      <a:pt x="118" y="144"/>
                    </a:lnTo>
                    <a:lnTo>
                      <a:pt x="116" y="143"/>
                    </a:lnTo>
                    <a:lnTo>
                      <a:pt x="116" y="141"/>
                    </a:lnTo>
                    <a:lnTo>
                      <a:pt x="111" y="139"/>
                    </a:lnTo>
                    <a:lnTo>
                      <a:pt x="111" y="134"/>
                    </a:lnTo>
                    <a:lnTo>
                      <a:pt x="106" y="131"/>
                    </a:lnTo>
                    <a:lnTo>
                      <a:pt x="105" y="129"/>
                    </a:lnTo>
                    <a:lnTo>
                      <a:pt x="105" y="124"/>
                    </a:lnTo>
                    <a:lnTo>
                      <a:pt x="103" y="118"/>
                    </a:lnTo>
                    <a:lnTo>
                      <a:pt x="101" y="114"/>
                    </a:lnTo>
                    <a:lnTo>
                      <a:pt x="100" y="113"/>
                    </a:lnTo>
                    <a:lnTo>
                      <a:pt x="96" y="113"/>
                    </a:lnTo>
                    <a:lnTo>
                      <a:pt x="95" y="111"/>
                    </a:lnTo>
                    <a:lnTo>
                      <a:pt x="93" y="108"/>
                    </a:lnTo>
                    <a:lnTo>
                      <a:pt x="91" y="104"/>
                    </a:lnTo>
                    <a:lnTo>
                      <a:pt x="90" y="103"/>
                    </a:lnTo>
                    <a:lnTo>
                      <a:pt x="88" y="100"/>
                    </a:lnTo>
                    <a:lnTo>
                      <a:pt x="83" y="98"/>
                    </a:lnTo>
                    <a:lnTo>
                      <a:pt x="83" y="95"/>
                    </a:lnTo>
                    <a:lnTo>
                      <a:pt x="86" y="86"/>
                    </a:lnTo>
                    <a:lnTo>
                      <a:pt x="86" y="81"/>
                    </a:lnTo>
                    <a:lnTo>
                      <a:pt x="90" y="76"/>
                    </a:lnTo>
                    <a:lnTo>
                      <a:pt x="96" y="76"/>
                    </a:lnTo>
                    <a:lnTo>
                      <a:pt x="100" y="73"/>
                    </a:lnTo>
                    <a:lnTo>
                      <a:pt x="103" y="70"/>
                    </a:lnTo>
                    <a:lnTo>
                      <a:pt x="103" y="66"/>
                    </a:lnTo>
                    <a:lnTo>
                      <a:pt x="105" y="63"/>
                    </a:lnTo>
                    <a:lnTo>
                      <a:pt x="105" y="61"/>
                    </a:lnTo>
                    <a:lnTo>
                      <a:pt x="105" y="61"/>
                    </a:lnTo>
                    <a:lnTo>
                      <a:pt x="103" y="58"/>
                    </a:lnTo>
                    <a:lnTo>
                      <a:pt x="103" y="51"/>
                    </a:lnTo>
                    <a:lnTo>
                      <a:pt x="101" y="48"/>
                    </a:lnTo>
                    <a:lnTo>
                      <a:pt x="93" y="46"/>
                    </a:lnTo>
                    <a:lnTo>
                      <a:pt x="85" y="40"/>
                    </a:lnTo>
                    <a:lnTo>
                      <a:pt x="80" y="36"/>
                    </a:lnTo>
                    <a:lnTo>
                      <a:pt x="78" y="38"/>
                    </a:lnTo>
                    <a:lnTo>
                      <a:pt x="73" y="40"/>
                    </a:lnTo>
                    <a:lnTo>
                      <a:pt x="70" y="43"/>
                    </a:lnTo>
                    <a:lnTo>
                      <a:pt x="68" y="46"/>
                    </a:lnTo>
                    <a:lnTo>
                      <a:pt x="67" y="41"/>
                    </a:lnTo>
                    <a:lnTo>
                      <a:pt x="68" y="35"/>
                    </a:lnTo>
                    <a:lnTo>
                      <a:pt x="70" y="30"/>
                    </a:lnTo>
                    <a:lnTo>
                      <a:pt x="68" y="23"/>
                    </a:lnTo>
                    <a:lnTo>
                      <a:pt x="63" y="21"/>
                    </a:lnTo>
                    <a:lnTo>
                      <a:pt x="55" y="15"/>
                    </a:lnTo>
                    <a:lnTo>
                      <a:pt x="48" y="8"/>
                    </a:lnTo>
                    <a:lnTo>
                      <a:pt x="47" y="5"/>
                    </a:lnTo>
                    <a:lnTo>
                      <a:pt x="43" y="2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7" y="2"/>
                    </a:lnTo>
                    <a:lnTo>
                      <a:pt x="28" y="10"/>
                    </a:lnTo>
                    <a:lnTo>
                      <a:pt x="23" y="13"/>
                    </a:lnTo>
                    <a:lnTo>
                      <a:pt x="20" y="13"/>
                    </a:lnTo>
                    <a:lnTo>
                      <a:pt x="13" y="20"/>
                    </a:lnTo>
                    <a:lnTo>
                      <a:pt x="15" y="23"/>
                    </a:lnTo>
                    <a:lnTo>
                      <a:pt x="17" y="28"/>
                    </a:lnTo>
                    <a:lnTo>
                      <a:pt x="23" y="28"/>
                    </a:lnTo>
                    <a:lnTo>
                      <a:pt x="28" y="31"/>
                    </a:lnTo>
                    <a:lnTo>
                      <a:pt x="28" y="36"/>
                    </a:lnTo>
                    <a:lnTo>
                      <a:pt x="20" y="40"/>
                    </a:lnTo>
                    <a:lnTo>
                      <a:pt x="15" y="38"/>
                    </a:lnTo>
                    <a:lnTo>
                      <a:pt x="12" y="40"/>
                    </a:lnTo>
                    <a:lnTo>
                      <a:pt x="8" y="38"/>
                    </a:lnTo>
                    <a:lnTo>
                      <a:pt x="5" y="41"/>
                    </a:lnTo>
                    <a:lnTo>
                      <a:pt x="3" y="48"/>
                    </a:lnTo>
                    <a:lnTo>
                      <a:pt x="0" y="51"/>
                    </a:lnTo>
                    <a:lnTo>
                      <a:pt x="2" y="58"/>
                    </a:lnTo>
                    <a:lnTo>
                      <a:pt x="8" y="65"/>
                    </a:lnTo>
                    <a:lnTo>
                      <a:pt x="17" y="71"/>
                    </a:lnTo>
                    <a:lnTo>
                      <a:pt x="17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3" name="Freeform 167"/>
              <p:cNvSpPr>
                <a:spLocks noEditPoints="1"/>
              </p:cNvSpPr>
              <p:nvPr/>
            </p:nvSpPr>
            <p:spPr bwMode="auto">
              <a:xfrm>
                <a:off x="5478547" y="3123414"/>
                <a:ext cx="172310" cy="141112"/>
              </a:xfrm>
              <a:custGeom>
                <a:avLst/>
                <a:gdLst/>
                <a:ahLst/>
                <a:cxnLst>
                  <a:cxn ang="0">
                    <a:pos x="183" y="269"/>
                  </a:cxn>
                  <a:cxn ang="0">
                    <a:pos x="215" y="242"/>
                  </a:cxn>
                  <a:cxn ang="0">
                    <a:pos x="228" y="229"/>
                  </a:cxn>
                  <a:cxn ang="0">
                    <a:pos x="215" y="204"/>
                  </a:cxn>
                  <a:cxn ang="0">
                    <a:pos x="206" y="191"/>
                  </a:cxn>
                  <a:cxn ang="0">
                    <a:pos x="243" y="196"/>
                  </a:cxn>
                  <a:cxn ang="0">
                    <a:pos x="281" y="184"/>
                  </a:cxn>
                  <a:cxn ang="0">
                    <a:pos x="294" y="158"/>
                  </a:cxn>
                  <a:cxn ang="0">
                    <a:pos x="294" y="131"/>
                  </a:cxn>
                  <a:cxn ang="0">
                    <a:pos x="314" y="124"/>
                  </a:cxn>
                  <a:cxn ang="0">
                    <a:pos x="306" y="106"/>
                  </a:cxn>
                  <a:cxn ang="0">
                    <a:pos x="321" y="93"/>
                  </a:cxn>
                  <a:cxn ang="0">
                    <a:pos x="298" y="88"/>
                  </a:cxn>
                  <a:cxn ang="0">
                    <a:pos x="283" y="90"/>
                  </a:cxn>
                  <a:cxn ang="0">
                    <a:pos x="298" y="78"/>
                  </a:cxn>
                  <a:cxn ang="0">
                    <a:pos x="278" y="66"/>
                  </a:cxn>
                  <a:cxn ang="0">
                    <a:pos x="261" y="58"/>
                  </a:cxn>
                  <a:cxn ang="0">
                    <a:pos x="250" y="51"/>
                  </a:cxn>
                  <a:cxn ang="0">
                    <a:pos x="273" y="45"/>
                  </a:cxn>
                  <a:cxn ang="0">
                    <a:pos x="243" y="41"/>
                  </a:cxn>
                  <a:cxn ang="0">
                    <a:pos x="211" y="50"/>
                  </a:cxn>
                  <a:cxn ang="0">
                    <a:pos x="190" y="56"/>
                  </a:cxn>
                  <a:cxn ang="0">
                    <a:pos x="140" y="50"/>
                  </a:cxn>
                  <a:cxn ang="0">
                    <a:pos x="125" y="40"/>
                  </a:cxn>
                  <a:cxn ang="0">
                    <a:pos x="98" y="26"/>
                  </a:cxn>
                  <a:cxn ang="0">
                    <a:pos x="85" y="8"/>
                  </a:cxn>
                  <a:cxn ang="0">
                    <a:pos x="73" y="25"/>
                  </a:cxn>
                  <a:cxn ang="0">
                    <a:pos x="82" y="30"/>
                  </a:cxn>
                  <a:cxn ang="0">
                    <a:pos x="67" y="31"/>
                  </a:cxn>
                  <a:cxn ang="0">
                    <a:pos x="45" y="50"/>
                  </a:cxn>
                  <a:cxn ang="0">
                    <a:pos x="37" y="81"/>
                  </a:cxn>
                  <a:cxn ang="0">
                    <a:pos x="30" y="61"/>
                  </a:cxn>
                  <a:cxn ang="0">
                    <a:pos x="39" y="36"/>
                  </a:cxn>
                  <a:cxn ang="0">
                    <a:pos x="39" y="23"/>
                  </a:cxn>
                  <a:cxn ang="0">
                    <a:pos x="34" y="21"/>
                  </a:cxn>
                  <a:cxn ang="0">
                    <a:pos x="12" y="43"/>
                  </a:cxn>
                  <a:cxn ang="0">
                    <a:pos x="0" y="75"/>
                  </a:cxn>
                  <a:cxn ang="0">
                    <a:pos x="20" y="99"/>
                  </a:cxn>
                  <a:cxn ang="0">
                    <a:pos x="19" y="116"/>
                  </a:cxn>
                  <a:cxn ang="0">
                    <a:pos x="44" y="124"/>
                  </a:cxn>
                  <a:cxn ang="0">
                    <a:pos x="73" y="124"/>
                  </a:cxn>
                  <a:cxn ang="0">
                    <a:pos x="105" y="143"/>
                  </a:cxn>
                  <a:cxn ang="0">
                    <a:pos x="130" y="144"/>
                  </a:cxn>
                  <a:cxn ang="0">
                    <a:pos x="138" y="156"/>
                  </a:cxn>
                  <a:cxn ang="0">
                    <a:pos x="130" y="174"/>
                  </a:cxn>
                  <a:cxn ang="0">
                    <a:pos x="132" y="196"/>
                  </a:cxn>
                  <a:cxn ang="0">
                    <a:pos x="135" y="222"/>
                  </a:cxn>
                  <a:cxn ang="0">
                    <a:pos x="140" y="236"/>
                  </a:cxn>
                  <a:cxn ang="0">
                    <a:pos x="148" y="257"/>
                  </a:cxn>
                  <a:cxn ang="0">
                    <a:pos x="122" y="11"/>
                  </a:cxn>
                  <a:cxn ang="0">
                    <a:pos x="105" y="10"/>
                  </a:cxn>
                  <a:cxn ang="0">
                    <a:pos x="100" y="5"/>
                  </a:cxn>
                  <a:cxn ang="0">
                    <a:pos x="80" y="0"/>
                  </a:cxn>
                  <a:cxn ang="0">
                    <a:pos x="221" y="36"/>
                  </a:cxn>
                  <a:cxn ang="0">
                    <a:pos x="216" y="40"/>
                  </a:cxn>
                </a:cxnLst>
                <a:rect l="0" t="0" r="r" b="b"/>
                <a:pathLst>
                  <a:path w="323" h="271">
                    <a:moveTo>
                      <a:pt x="148" y="257"/>
                    </a:moveTo>
                    <a:lnTo>
                      <a:pt x="158" y="262"/>
                    </a:lnTo>
                    <a:lnTo>
                      <a:pt x="167" y="269"/>
                    </a:lnTo>
                    <a:lnTo>
                      <a:pt x="173" y="271"/>
                    </a:lnTo>
                    <a:lnTo>
                      <a:pt x="183" y="269"/>
                    </a:lnTo>
                    <a:lnTo>
                      <a:pt x="188" y="264"/>
                    </a:lnTo>
                    <a:lnTo>
                      <a:pt x="196" y="259"/>
                    </a:lnTo>
                    <a:lnTo>
                      <a:pt x="200" y="254"/>
                    </a:lnTo>
                    <a:lnTo>
                      <a:pt x="213" y="247"/>
                    </a:lnTo>
                    <a:lnTo>
                      <a:pt x="215" y="242"/>
                    </a:lnTo>
                    <a:lnTo>
                      <a:pt x="220" y="239"/>
                    </a:lnTo>
                    <a:lnTo>
                      <a:pt x="231" y="236"/>
                    </a:lnTo>
                    <a:lnTo>
                      <a:pt x="236" y="234"/>
                    </a:lnTo>
                    <a:lnTo>
                      <a:pt x="236" y="229"/>
                    </a:lnTo>
                    <a:lnTo>
                      <a:pt x="228" y="229"/>
                    </a:lnTo>
                    <a:lnTo>
                      <a:pt x="220" y="229"/>
                    </a:lnTo>
                    <a:lnTo>
                      <a:pt x="210" y="226"/>
                    </a:lnTo>
                    <a:lnTo>
                      <a:pt x="211" y="219"/>
                    </a:lnTo>
                    <a:lnTo>
                      <a:pt x="208" y="214"/>
                    </a:lnTo>
                    <a:lnTo>
                      <a:pt x="215" y="204"/>
                    </a:lnTo>
                    <a:lnTo>
                      <a:pt x="213" y="201"/>
                    </a:lnTo>
                    <a:lnTo>
                      <a:pt x="208" y="196"/>
                    </a:lnTo>
                    <a:lnTo>
                      <a:pt x="203" y="194"/>
                    </a:lnTo>
                    <a:lnTo>
                      <a:pt x="200" y="189"/>
                    </a:lnTo>
                    <a:lnTo>
                      <a:pt x="206" y="191"/>
                    </a:lnTo>
                    <a:lnTo>
                      <a:pt x="215" y="193"/>
                    </a:lnTo>
                    <a:lnTo>
                      <a:pt x="221" y="196"/>
                    </a:lnTo>
                    <a:lnTo>
                      <a:pt x="230" y="196"/>
                    </a:lnTo>
                    <a:lnTo>
                      <a:pt x="241" y="194"/>
                    </a:lnTo>
                    <a:lnTo>
                      <a:pt x="243" y="196"/>
                    </a:lnTo>
                    <a:lnTo>
                      <a:pt x="251" y="193"/>
                    </a:lnTo>
                    <a:lnTo>
                      <a:pt x="260" y="188"/>
                    </a:lnTo>
                    <a:lnTo>
                      <a:pt x="266" y="186"/>
                    </a:lnTo>
                    <a:lnTo>
                      <a:pt x="269" y="188"/>
                    </a:lnTo>
                    <a:lnTo>
                      <a:pt x="281" y="184"/>
                    </a:lnTo>
                    <a:lnTo>
                      <a:pt x="289" y="183"/>
                    </a:lnTo>
                    <a:lnTo>
                      <a:pt x="301" y="176"/>
                    </a:lnTo>
                    <a:lnTo>
                      <a:pt x="303" y="169"/>
                    </a:lnTo>
                    <a:lnTo>
                      <a:pt x="303" y="164"/>
                    </a:lnTo>
                    <a:lnTo>
                      <a:pt x="294" y="158"/>
                    </a:lnTo>
                    <a:lnTo>
                      <a:pt x="288" y="151"/>
                    </a:lnTo>
                    <a:lnTo>
                      <a:pt x="286" y="144"/>
                    </a:lnTo>
                    <a:lnTo>
                      <a:pt x="289" y="141"/>
                    </a:lnTo>
                    <a:lnTo>
                      <a:pt x="291" y="134"/>
                    </a:lnTo>
                    <a:lnTo>
                      <a:pt x="294" y="131"/>
                    </a:lnTo>
                    <a:lnTo>
                      <a:pt x="298" y="133"/>
                    </a:lnTo>
                    <a:lnTo>
                      <a:pt x="301" y="131"/>
                    </a:lnTo>
                    <a:lnTo>
                      <a:pt x="306" y="133"/>
                    </a:lnTo>
                    <a:lnTo>
                      <a:pt x="314" y="129"/>
                    </a:lnTo>
                    <a:lnTo>
                      <a:pt x="314" y="124"/>
                    </a:lnTo>
                    <a:lnTo>
                      <a:pt x="309" y="121"/>
                    </a:lnTo>
                    <a:lnTo>
                      <a:pt x="303" y="121"/>
                    </a:lnTo>
                    <a:lnTo>
                      <a:pt x="301" y="116"/>
                    </a:lnTo>
                    <a:lnTo>
                      <a:pt x="299" y="113"/>
                    </a:lnTo>
                    <a:lnTo>
                      <a:pt x="306" y="106"/>
                    </a:lnTo>
                    <a:lnTo>
                      <a:pt x="309" y="106"/>
                    </a:lnTo>
                    <a:lnTo>
                      <a:pt x="314" y="103"/>
                    </a:lnTo>
                    <a:lnTo>
                      <a:pt x="323" y="95"/>
                    </a:lnTo>
                    <a:lnTo>
                      <a:pt x="323" y="93"/>
                    </a:lnTo>
                    <a:lnTo>
                      <a:pt x="321" y="93"/>
                    </a:lnTo>
                    <a:lnTo>
                      <a:pt x="313" y="88"/>
                    </a:lnTo>
                    <a:lnTo>
                      <a:pt x="309" y="88"/>
                    </a:lnTo>
                    <a:lnTo>
                      <a:pt x="306" y="90"/>
                    </a:lnTo>
                    <a:lnTo>
                      <a:pt x="301" y="88"/>
                    </a:lnTo>
                    <a:lnTo>
                      <a:pt x="298" y="88"/>
                    </a:lnTo>
                    <a:lnTo>
                      <a:pt x="294" y="90"/>
                    </a:lnTo>
                    <a:lnTo>
                      <a:pt x="286" y="91"/>
                    </a:lnTo>
                    <a:lnTo>
                      <a:pt x="281" y="91"/>
                    </a:lnTo>
                    <a:lnTo>
                      <a:pt x="278" y="90"/>
                    </a:lnTo>
                    <a:lnTo>
                      <a:pt x="283" y="90"/>
                    </a:lnTo>
                    <a:lnTo>
                      <a:pt x="286" y="90"/>
                    </a:lnTo>
                    <a:lnTo>
                      <a:pt x="289" y="88"/>
                    </a:lnTo>
                    <a:lnTo>
                      <a:pt x="291" y="85"/>
                    </a:lnTo>
                    <a:lnTo>
                      <a:pt x="296" y="81"/>
                    </a:lnTo>
                    <a:lnTo>
                      <a:pt x="298" y="78"/>
                    </a:lnTo>
                    <a:lnTo>
                      <a:pt x="294" y="76"/>
                    </a:lnTo>
                    <a:lnTo>
                      <a:pt x="294" y="75"/>
                    </a:lnTo>
                    <a:lnTo>
                      <a:pt x="293" y="71"/>
                    </a:lnTo>
                    <a:lnTo>
                      <a:pt x="286" y="68"/>
                    </a:lnTo>
                    <a:lnTo>
                      <a:pt x="278" y="66"/>
                    </a:lnTo>
                    <a:lnTo>
                      <a:pt x="276" y="65"/>
                    </a:lnTo>
                    <a:lnTo>
                      <a:pt x="273" y="63"/>
                    </a:lnTo>
                    <a:lnTo>
                      <a:pt x="268" y="63"/>
                    </a:lnTo>
                    <a:lnTo>
                      <a:pt x="266" y="60"/>
                    </a:lnTo>
                    <a:lnTo>
                      <a:pt x="261" y="58"/>
                    </a:lnTo>
                    <a:lnTo>
                      <a:pt x="260" y="58"/>
                    </a:lnTo>
                    <a:lnTo>
                      <a:pt x="260" y="63"/>
                    </a:lnTo>
                    <a:lnTo>
                      <a:pt x="256" y="58"/>
                    </a:lnTo>
                    <a:lnTo>
                      <a:pt x="255" y="55"/>
                    </a:lnTo>
                    <a:lnTo>
                      <a:pt x="250" y="51"/>
                    </a:lnTo>
                    <a:lnTo>
                      <a:pt x="248" y="50"/>
                    </a:lnTo>
                    <a:lnTo>
                      <a:pt x="251" y="48"/>
                    </a:lnTo>
                    <a:lnTo>
                      <a:pt x="261" y="48"/>
                    </a:lnTo>
                    <a:lnTo>
                      <a:pt x="266" y="46"/>
                    </a:lnTo>
                    <a:lnTo>
                      <a:pt x="273" y="45"/>
                    </a:lnTo>
                    <a:lnTo>
                      <a:pt x="273" y="41"/>
                    </a:lnTo>
                    <a:lnTo>
                      <a:pt x="266" y="43"/>
                    </a:lnTo>
                    <a:lnTo>
                      <a:pt x="256" y="41"/>
                    </a:lnTo>
                    <a:lnTo>
                      <a:pt x="248" y="41"/>
                    </a:lnTo>
                    <a:lnTo>
                      <a:pt x="243" y="41"/>
                    </a:lnTo>
                    <a:lnTo>
                      <a:pt x="233" y="45"/>
                    </a:lnTo>
                    <a:lnTo>
                      <a:pt x="228" y="43"/>
                    </a:lnTo>
                    <a:lnTo>
                      <a:pt x="225" y="43"/>
                    </a:lnTo>
                    <a:lnTo>
                      <a:pt x="215" y="50"/>
                    </a:lnTo>
                    <a:lnTo>
                      <a:pt x="211" y="50"/>
                    </a:lnTo>
                    <a:lnTo>
                      <a:pt x="205" y="53"/>
                    </a:lnTo>
                    <a:lnTo>
                      <a:pt x="203" y="55"/>
                    </a:lnTo>
                    <a:lnTo>
                      <a:pt x="196" y="56"/>
                    </a:lnTo>
                    <a:lnTo>
                      <a:pt x="193" y="58"/>
                    </a:lnTo>
                    <a:lnTo>
                      <a:pt x="190" y="56"/>
                    </a:lnTo>
                    <a:lnTo>
                      <a:pt x="180" y="50"/>
                    </a:lnTo>
                    <a:lnTo>
                      <a:pt x="178" y="46"/>
                    </a:lnTo>
                    <a:lnTo>
                      <a:pt x="175" y="45"/>
                    </a:lnTo>
                    <a:lnTo>
                      <a:pt x="162" y="46"/>
                    </a:lnTo>
                    <a:lnTo>
                      <a:pt x="140" y="50"/>
                    </a:lnTo>
                    <a:lnTo>
                      <a:pt x="128" y="50"/>
                    </a:lnTo>
                    <a:lnTo>
                      <a:pt x="123" y="48"/>
                    </a:lnTo>
                    <a:lnTo>
                      <a:pt x="122" y="45"/>
                    </a:lnTo>
                    <a:lnTo>
                      <a:pt x="122" y="41"/>
                    </a:lnTo>
                    <a:lnTo>
                      <a:pt x="125" y="40"/>
                    </a:lnTo>
                    <a:lnTo>
                      <a:pt x="125" y="36"/>
                    </a:lnTo>
                    <a:lnTo>
                      <a:pt x="120" y="30"/>
                    </a:lnTo>
                    <a:lnTo>
                      <a:pt x="115" y="28"/>
                    </a:lnTo>
                    <a:lnTo>
                      <a:pt x="103" y="30"/>
                    </a:lnTo>
                    <a:lnTo>
                      <a:pt x="98" y="26"/>
                    </a:lnTo>
                    <a:lnTo>
                      <a:pt x="95" y="26"/>
                    </a:lnTo>
                    <a:lnTo>
                      <a:pt x="92" y="28"/>
                    </a:lnTo>
                    <a:lnTo>
                      <a:pt x="87" y="21"/>
                    </a:lnTo>
                    <a:lnTo>
                      <a:pt x="87" y="16"/>
                    </a:lnTo>
                    <a:lnTo>
                      <a:pt x="85" y="8"/>
                    </a:lnTo>
                    <a:lnTo>
                      <a:pt x="83" y="8"/>
                    </a:lnTo>
                    <a:lnTo>
                      <a:pt x="77" y="10"/>
                    </a:lnTo>
                    <a:lnTo>
                      <a:pt x="70" y="18"/>
                    </a:lnTo>
                    <a:lnTo>
                      <a:pt x="72" y="23"/>
                    </a:lnTo>
                    <a:lnTo>
                      <a:pt x="73" y="25"/>
                    </a:lnTo>
                    <a:lnTo>
                      <a:pt x="78" y="21"/>
                    </a:lnTo>
                    <a:lnTo>
                      <a:pt x="82" y="23"/>
                    </a:lnTo>
                    <a:lnTo>
                      <a:pt x="87" y="26"/>
                    </a:lnTo>
                    <a:lnTo>
                      <a:pt x="85" y="28"/>
                    </a:lnTo>
                    <a:lnTo>
                      <a:pt x="82" y="30"/>
                    </a:lnTo>
                    <a:lnTo>
                      <a:pt x="77" y="28"/>
                    </a:lnTo>
                    <a:lnTo>
                      <a:pt x="75" y="26"/>
                    </a:lnTo>
                    <a:lnTo>
                      <a:pt x="73" y="28"/>
                    </a:lnTo>
                    <a:lnTo>
                      <a:pt x="73" y="30"/>
                    </a:lnTo>
                    <a:lnTo>
                      <a:pt x="67" y="31"/>
                    </a:lnTo>
                    <a:lnTo>
                      <a:pt x="57" y="35"/>
                    </a:lnTo>
                    <a:lnTo>
                      <a:pt x="47" y="38"/>
                    </a:lnTo>
                    <a:lnTo>
                      <a:pt x="44" y="41"/>
                    </a:lnTo>
                    <a:lnTo>
                      <a:pt x="44" y="45"/>
                    </a:lnTo>
                    <a:lnTo>
                      <a:pt x="45" y="50"/>
                    </a:lnTo>
                    <a:lnTo>
                      <a:pt x="45" y="60"/>
                    </a:lnTo>
                    <a:lnTo>
                      <a:pt x="47" y="65"/>
                    </a:lnTo>
                    <a:lnTo>
                      <a:pt x="49" y="70"/>
                    </a:lnTo>
                    <a:lnTo>
                      <a:pt x="45" y="76"/>
                    </a:lnTo>
                    <a:lnTo>
                      <a:pt x="37" y="81"/>
                    </a:lnTo>
                    <a:lnTo>
                      <a:pt x="32" y="80"/>
                    </a:lnTo>
                    <a:lnTo>
                      <a:pt x="32" y="75"/>
                    </a:lnTo>
                    <a:lnTo>
                      <a:pt x="29" y="70"/>
                    </a:lnTo>
                    <a:lnTo>
                      <a:pt x="27" y="65"/>
                    </a:lnTo>
                    <a:lnTo>
                      <a:pt x="30" y="61"/>
                    </a:lnTo>
                    <a:lnTo>
                      <a:pt x="32" y="58"/>
                    </a:lnTo>
                    <a:lnTo>
                      <a:pt x="40" y="50"/>
                    </a:lnTo>
                    <a:lnTo>
                      <a:pt x="40" y="43"/>
                    </a:lnTo>
                    <a:lnTo>
                      <a:pt x="37" y="38"/>
                    </a:lnTo>
                    <a:lnTo>
                      <a:pt x="39" y="36"/>
                    </a:lnTo>
                    <a:lnTo>
                      <a:pt x="37" y="35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4" y="25"/>
                    </a:lnTo>
                    <a:lnTo>
                      <a:pt x="39" y="23"/>
                    </a:lnTo>
                    <a:lnTo>
                      <a:pt x="45" y="21"/>
                    </a:lnTo>
                    <a:lnTo>
                      <a:pt x="50" y="16"/>
                    </a:lnTo>
                    <a:lnTo>
                      <a:pt x="47" y="16"/>
                    </a:lnTo>
                    <a:lnTo>
                      <a:pt x="45" y="16"/>
                    </a:lnTo>
                    <a:lnTo>
                      <a:pt x="34" y="21"/>
                    </a:lnTo>
                    <a:lnTo>
                      <a:pt x="25" y="31"/>
                    </a:lnTo>
                    <a:lnTo>
                      <a:pt x="24" y="33"/>
                    </a:lnTo>
                    <a:lnTo>
                      <a:pt x="20" y="35"/>
                    </a:lnTo>
                    <a:lnTo>
                      <a:pt x="15" y="40"/>
                    </a:lnTo>
                    <a:lnTo>
                      <a:pt x="12" y="43"/>
                    </a:lnTo>
                    <a:lnTo>
                      <a:pt x="4" y="53"/>
                    </a:lnTo>
                    <a:lnTo>
                      <a:pt x="4" y="58"/>
                    </a:lnTo>
                    <a:lnTo>
                      <a:pt x="4" y="61"/>
                    </a:lnTo>
                    <a:lnTo>
                      <a:pt x="4" y="68"/>
                    </a:lnTo>
                    <a:lnTo>
                      <a:pt x="0" y="75"/>
                    </a:lnTo>
                    <a:lnTo>
                      <a:pt x="0" y="78"/>
                    </a:lnTo>
                    <a:lnTo>
                      <a:pt x="2" y="78"/>
                    </a:lnTo>
                    <a:lnTo>
                      <a:pt x="7" y="78"/>
                    </a:lnTo>
                    <a:lnTo>
                      <a:pt x="17" y="93"/>
                    </a:lnTo>
                    <a:lnTo>
                      <a:pt x="20" y="99"/>
                    </a:lnTo>
                    <a:lnTo>
                      <a:pt x="22" y="103"/>
                    </a:lnTo>
                    <a:lnTo>
                      <a:pt x="20" y="108"/>
                    </a:lnTo>
                    <a:lnTo>
                      <a:pt x="20" y="111"/>
                    </a:lnTo>
                    <a:lnTo>
                      <a:pt x="19" y="113"/>
                    </a:lnTo>
                    <a:lnTo>
                      <a:pt x="19" y="116"/>
                    </a:lnTo>
                    <a:lnTo>
                      <a:pt x="24" y="121"/>
                    </a:lnTo>
                    <a:lnTo>
                      <a:pt x="30" y="123"/>
                    </a:lnTo>
                    <a:lnTo>
                      <a:pt x="35" y="124"/>
                    </a:lnTo>
                    <a:lnTo>
                      <a:pt x="40" y="126"/>
                    </a:lnTo>
                    <a:lnTo>
                      <a:pt x="44" y="124"/>
                    </a:lnTo>
                    <a:lnTo>
                      <a:pt x="50" y="124"/>
                    </a:lnTo>
                    <a:lnTo>
                      <a:pt x="57" y="126"/>
                    </a:lnTo>
                    <a:lnTo>
                      <a:pt x="59" y="124"/>
                    </a:lnTo>
                    <a:lnTo>
                      <a:pt x="65" y="124"/>
                    </a:lnTo>
                    <a:lnTo>
                      <a:pt x="73" y="124"/>
                    </a:lnTo>
                    <a:lnTo>
                      <a:pt x="77" y="126"/>
                    </a:lnTo>
                    <a:lnTo>
                      <a:pt x="95" y="143"/>
                    </a:lnTo>
                    <a:lnTo>
                      <a:pt x="102" y="141"/>
                    </a:lnTo>
                    <a:lnTo>
                      <a:pt x="103" y="143"/>
                    </a:lnTo>
                    <a:lnTo>
                      <a:pt x="105" y="143"/>
                    </a:lnTo>
                    <a:lnTo>
                      <a:pt x="110" y="144"/>
                    </a:lnTo>
                    <a:lnTo>
                      <a:pt x="113" y="146"/>
                    </a:lnTo>
                    <a:lnTo>
                      <a:pt x="118" y="143"/>
                    </a:lnTo>
                    <a:lnTo>
                      <a:pt x="123" y="143"/>
                    </a:lnTo>
                    <a:lnTo>
                      <a:pt x="130" y="144"/>
                    </a:lnTo>
                    <a:lnTo>
                      <a:pt x="132" y="143"/>
                    </a:lnTo>
                    <a:lnTo>
                      <a:pt x="135" y="143"/>
                    </a:lnTo>
                    <a:lnTo>
                      <a:pt x="138" y="144"/>
                    </a:lnTo>
                    <a:lnTo>
                      <a:pt x="140" y="153"/>
                    </a:lnTo>
                    <a:lnTo>
                      <a:pt x="138" y="156"/>
                    </a:lnTo>
                    <a:lnTo>
                      <a:pt x="138" y="159"/>
                    </a:lnTo>
                    <a:lnTo>
                      <a:pt x="137" y="163"/>
                    </a:lnTo>
                    <a:lnTo>
                      <a:pt x="132" y="164"/>
                    </a:lnTo>
                    <a:lnTo>
                      <a:pt x="128" y="168"/>
                    </a:lnTo>
                    <a:lnTo>
                      <a:pt x="130" y="174"/>
                    </a:lnTo>
                    <a:lnTo>
                      <a:pt x="130" y="178"/>
                    </a:lnTo>
                    <a:lnTo>
                      <a:pt x="128" y="183"/>
                    </a:lnTo>
                    <a:lnTo>
                      <a:pt x="128" y="191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7" y="207"/>
                    </a:lnTo>
                    <a:lnTo>
                      <a:pt x="128" y="221"/>
                    </a:lnTo>
                    <a:lnTo>
                      <a:pt x="130" y="224"/>
                    </a:lnTo>
                    <a:lnTo>
                      <a:pt x="132" y="224"/>
                    </a:lnTo>
                    <a:lnTo>
                      <a:pt x="135" y="222"/>
                    </a:lnTo>
                    <a:lnTo>
                      <a:pt x="135" y="224"/>
                    </a:lnTo>
                    <a:lnTo>
                      <a:pt x="137" y="227"/>
                    </a:lnTo>
                    <a:lnTo>
                      <a:pt x="138" y="229"/>
                    </a:lnTo>
                    <a:lnTo>
                      <a:pt x="142" y="234"/>
                    </a:lnTo>
                    <a:lnTo>
                      <a:pt x="140" y="236"/>
                    </a:lnTo>
                    <a:lnTo>
                      <a:pt x="143" y="241"/>
                    </a:lnTo>
                    <a:lnTo>
                      <a:pt x="148" y="252"/>
                    </a:lnTo>
                    <a:lnTo>
                      <a:pt x="148" y="257"/>
                    </a:lnTo>
                    <a:lnTo>
                      <a:pt x="148" y="257"/>
                    </a:lnTo>
                    <a:lnTo>
                      <a:pt x="148" y="257"/>
                    </a:lnTo>
                    <a:close/>
                    <a:moveTo>
                      <a:pt x="117" y="6"/>
                    </a:moveTo>
                    <a:lnTo>
                      <a:pt x="120" y="6"/>
                    </a:lnTo>
                    <a:lnTo>
                      <a:pt x="125" y="11"/>
                    </a:lnTo>
                    <a:lnTo>
                      <a:pt x="125" y="15"/>
                    </a:lnTo>
                    <a:lnTo>
                      <a:pt x="122" y="11"/>
                    </a:lnTo>
                    <a:lnTo>
                      <a:pt x="118" y="10"/>
                    </a:lnTo>
                    <a:lnTo>
                      <a:pt x="117" y="6"/>
                    </a:lnTo>
                    <a:lnTo>
                      <a:pt x="117" y="6"/>
                    </a:lnTo>
                    <a:close/>
                    <a:moveTo>
                      <a:pt x="100" y="5"/>
                    </a:moveTo>
                    <a:lnTo>
                      <a:pt x="105" y="10"/>
                    </a:lnTo>
                    <a:lnTo>
                      <a:pt x="108" y="10"/>
                    </a:lnTo>
                    <a:lnTo>
                      <a:pt x="107" y="13"/>
                    </a:lnTo>
                    <a:lnTo>
                      <a:pt x="100" y="11"/>
                    </a:lnTo>
                    <a:lnTo>
                      <a:pt x="98" y="6"/>
                    </a:lnTo>
                    <a:lnTo>
                      <a:pt x="100" y="5"/>
                    </a:lnTo>
                    <a:lnTo>
                      <a:pt x="100" y="5"/>
                    </a:lnTo>
                    <a:close/>
                    <a:moveTo>
                      <a:pt x="77" y="0"/>
                    </a:moveTo>
                    <a:lnTo>
                      <a:pt x="80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77" y="0"/>
                    </a:lnTo>
                    <a:lnTo>
                      <a:pt x="77" y="0"/>
                    </a:lnTo>
                    <a:close/>
                    <a:moveTo>
                      <a:pt x="213" y="38"/>
                    </a:moveTo>
                    <a:lnTo>
                      <a:pt x="218" y="35"/>
                    </a:lnTo>
                    <a:lnTo>
                      <a:pt x="221" y="36"/>
                    </a:lnTo>
                    <a:lnTo>
                      <a:pt x="228" y="31"/>
                    </a:lnTo>
                    <a:lnTo>
                      <a:pt x="230" y="35"/>
                    </a:lnTo>
                    <a:lnTo>
                      <a:pt x="226" y="40"/>
                    </a:lnTo>
                    <a:lnTo>
                      <a:pt x="221" y="38"/>
                    </a:lnTo>
                    <a:lnTo>
                      <a:pt x="216" y="40"/>
                    </a:lnTo>
                    <a:lnTo>
                      <a:pt x="216" y="40"/>
                    </a:lnTo>
                    <a:lnTo>
                      <a:pt x="213" y="38"/>
                    </a:lnTo>
                    <a:lnTo>
                      <a:pt x="213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4" name="Freeform 168"/>
              <p:cNvSpPr>
                <a:spLocks/>
              </p:cNvSpPr>
              <p:nvPr/>
            </p:nvSpPr>
            <p:spPr bwMode="auto">
              <a:xfrm>
                <a:off x="5401489" y="3125489"/>
                <a:ext cx="156256" cy="195067"/>
              </a:xfrm>
              <a:custGeom>
                <a:avLst/>
                <a:gdLst/>
                <a:ahLst/>
                <a:cxnLst>
                  <a:cxn ang="0">
                    <a:pos x="235" y="307"/>
                  </a:cxn>
                  <a:cxn ang="0">
                    <a:pos x="232" y="269"/>
                  </a:cxn>
                  <a:cxn ang="0">
                    <a:pos x="235" y="258"/>
                  </a:cxn>
                  <a:cxn ang="0">
                    <a:pos x="255" y="241"/>
                  </a:cxn>
                  <a:cxn ang="0">
                    <a:pos x="277" y="236"/>
                  </a:cxn>
                  <a:cxn ang="0">
                    <a:pos x="290" y="254"/>
                  </a:cxn>
                  <a:cxn ang="0">
                    <a:pos x="280" y="226"/>
                  </a:cxn>
                  <a:cxn ang="0">
                    <a:pos x="272" y="221"/>
                  </a:cxn>
                  <a:cxn ang="0">
                    <a:pos x="270" y="188"/>
                  </a:cxn>
                  <a:cxn ang="0">
                    <a:pos x="274" y="161"/>
                  </a:cxn>
                  <a:cxn ang="0">
                    <a:pos x="280" y="141"/>
                  </a:cxn>
                  <a:cxn ang="0">
                    <a:pos x="260" y="140"/>
                  </a:cxn>
                  <a:cxn ang="0">
                    <a:pos x="244" y="138"/>
                  </a:cxn>
                  <a:cxn ang="0">
                    <a:pos x="201" y="121"/>
                  </a:cxn>
                  <a:cxn ang="0">
                    <a:pos x="177" y="121"/>
                  </a:cxn>
                  <a:cxn ang="0">
                    <a:pos x="162" y="108"/>
                  </a:cxn>
                  <a:cxn ang="0">
                    <a:pos x="149" y="75"/>
                  </a:cxn>
                  <a:cxn ang="0">
                    <a:pos x="146" y="58"/>
                  </a:cxn>
                  <a:cxn ang="0">
                    <a:pos x="162" y="32"/>
                  </a:cxn>
                  <a:cxn ang="0">
                    <a:pos x="189" y="13"/>
                  </a:cxn>
                  <a:cxn ang="0">
                    <a:pos x="194" y="5"/>
                  </a:cxn>
                  <a:cxn ang="0">
                    <a:pos x="176" y="5"/>
                  </a:cxn>
                  <a:cxn ang="0">
                    <a:pos x="167" y="12"/>
                  </a:cxn>
                  <a:cxn ang="0">
                    <a:pos x="139" y="25"/>
                  </a:cxn>
                  <a:cxn ang="0">
                    <a:pos x="121" y="33"/>
                  </a:cxn>
                  <a:cxn ang="0">
                    <a:pos x="114" y="35"/>
                  </a:cxn>
                  <a:cxn ang="0">
                    <a:pos x="96" y="35"/>
                  </a:cxn>
                  <a:cxn ang="0">
                    <a:pos x="83" y="57"/>
                  </a:cxn>
                  <a:cxn ang="0">
                    <a:pos x="76" y="68"/>
                  </a:cxn>
                  <a:cxn ang="0">
                    <a:pos x="56" y="83"/>
                  </a:cxn>
                  <a:cxn ang="0">
                    <a:pos x="54" y="103"/>
                  </a:cxn>
                  <a:cxn ang="0">
                    <a:pos x="46" y="93"/>
                  </a:cxn>
                  <a:cxn ang="0">
                    <a:pos x="41" y="96"/>
                  </a:cxn>
                  <a:cxn ang="0">
                    <a:pos x="28" y="116"/>
                  </a:cxn>
                  <a:cxn ang="0">
                    <a:pos x="36" y="133"/>
                  </a:cxn>
                  <a:cxn ang="0">
                    <a:pos x="38" y="143"/>
                  </a:cxn>
                  <a:cxn ang="0">
                    <a:pos x="38" y="158"/>
                  </a:cxn>
                  <a:cxn ang="0">
                    <a:pos x="36" y="186"/>
                  </a:cxn>
                  <a:cxn ang="0">
                    <a:pos x="48" y="194"/>
                  </a:cxn>
                  <a:cxn ang="0">
                    <a:pos x="31" y="216"/>
                  </a:cxn>
                  <a:cxn ang="0">
                    <a:pos x="1" y="246"/>
                  </a:cxn>
                  <a:cxn ang="0">
                    <a:pos x="29" y="264"/>
                  </a:cxn>
                  <a:cxn ang="0">
                    <a:pos x="51" y="279"/>
                  </a:cxn>
                  <a:cxn ang="0">
                    <a:pos x="68" y="273"/>
                  </a:cxn>
                  <a:cxn ang="0">
                    <a:pos x="86" y="283"/>
                  </a:cxn>
                  <a:cxn ang="0">
                    <a:pos x="104" y="288"/>
                  </a:cxn>
                  <a:cxn ang="0">
                    <a:pos x="119" y="307"/>
                  </a:cxn>
                  <a:cxn ang="0">
                    <a:pos x="141" y="324"/>
                  </a:cxn>
                  <a:cxn ang="0">
                    <a:pos x="152" y="336"/>
                  </a:cxn>
                  <a:cxn ang="0">
                    <a:pos x="181" y="332"/>
                  </a:cxn>
                  <a:cxn ang="0">
                    <a:pos x="204" y="334"/>
                  </a:cxn>
                  <a:cxn ang="0">
                    <a:pos x="201" y="366"/>
                  </a:cxn>
                  <a:cxn ang="0">
                    <a:pos x="217" y="376"/>
                  </a:cxn>
                </a:cxnLst>
                <a:rect l="0" t="0" r="r" b="b"/>
                <a:pathLst>
                  <a:path w="290" h="376">
                    <a:moveTo>
                      <a:pt x="217" y="376"/>
                    </a:moveTo>
                    <a:lnTo>
                      <a:pt x="222" y="364"/>
                    </a:lnTo>
                    <a:lnTo>
                      <a:pt x="235" y="317"/>
                    </a:lnTo>
                    <a:lnTo>
                      <a:pt x="235" y="314"/>
                    </a:lnTo>
                    <a:lnTo>
                      <a:pt x="235" y="307"/>
                    </a:lnTo>
                    <a:lnTo>
                      <a:pt x="230" y="297"/>
                    </a:lnTo>
                    <a:lnTo>
                      <a:pt x="220" y="291"/>
                    </a:lnTo>
                    <a:lnTo>
                      <a:pt x="217" y="286"/>
                    </a:lnTo>
                    <a:lnTo>
                      <a:pt x="215" y="274"/>
                    </a:lnTo>
                    <a:lnTo>
                      <a:pt x="232" y="269"/>
                    </a:lnTo>
                    <a:lnTo>
                      <a:pt x="237" y="273"/>
                    </a:lnTo>
                    <a:lnTo>
                      <a:pt x="239" y="269"/>
                    </a:lnTo>
                    <a:lnTo>
                      <a:pt x="235" y="266"/>
                    </a:lnTo>
                    <a:lnTo>
                      <a:pt x="239" y="264"/>
                    </a:lnTo>
                    <a:lnTo>
                      <a:pt x="235" y="258"/>
                    </a:lnTo>
                    <a:lnTo>
                      <a:pt x="225" y="256"/>
                    </a:lnTo>
                    <a:lnTo>
                      <a:pt x="224" y="251"/>
                    </a:lnTo>
                    <a:lnTo>
                      <a:pt x="225" y="243"/>
                    </a:lnTo>
                    <a:lnTo>
                      <a:pt x="252" y="243"/>
                    </a:lnTo>
                    <a:lnTo>
                      <a:pt x="255" y="241"/>
                    </a:lnTo>
                    <a:lnTo>
                      <a:pt x="260" y="241"/>
                    </a:lnTo>
                    <a:lnTo>
                      <a:pt x="264" y="243"/>
                    </a:lnTo>
                    <a:lnTo>
                      <a:pt x="267" y="243"/>
                    </a:lnTo>
                    <a:lnTo>
                      <a:pt x="270" y="238"/>
                    </a:lnTo>
                    <a:lnTo>
                      <a:pt x="277" y="236"/>
                    </a:lnTo>
                    <a:lnTo>
                      <a:pt x="279" y="239"/>
                    </a:lnTo>
                    <a:lnTo>
                      <a:pt x="284" y="243"/>
                    </a:lnTo>
                    <a:lnTo>
                      <a:pt x="284" y="248"/>
                    </a:lnTo>
                    <a:lnTo>
                      <a:pt x="284" y="254"/>
                    </a:lnTo>
                    <a:lnTo>
                      <a:pt x="290" y="254"/>
                    </a:lnTo>
                    <a:lnTo>
                      <a:pt x="290" y="249"/>
                    </a:lnTo>
                    <a:lnTo>
                      <a:pt x="285" y="238"/>
                    </a:lnTo>
                    <a:lnTo>
                      <a:pt x="282" y="233"/>
                    </a:lnTo>
                    <a:lnTo>
                      <a:pt x="284" y="231"/>
                    </a:lnTo>
                    <a:lnTo>
                      <a:pt x="280" y="226"/>
                    </a:lnTo>
                    <a:lnTo>
                      <a:pt x="279" y="224"/>
                    </a:lnTo>
                    <a:lnTo>
                      <a:pt x="277" y="221"/>
                    </a:lnTo>
                    <a:lnTo>
                      <a:pt x="277" y="219"/>
                    </a:lnTo>
                    <a:lnTo>
                      <a:pt x="274" y="221"/>
                    </a:lnTo>
                    <a:lnTo>
                      <a:pt x="272" y="221"/>
                    </a:lnTo>
                    <a:lnTo>
                      <a:pt x="270" y="218"/>
                    </a:lnTo>
                    <a:lnTo>
                      <a:pt x="279" y="204"/>
                    </a:lnTo>
                    <a:lnTo>
                      <a:pt x="274" y="193"/>
                    </a:lnTo>
                    <a:lnTo>
                      <a:pt x="274" y="191"/>
                    </a:lnTo>
                    <a:lnTo>
                      <a:pt x="270" y="188"/>
                    </a:lnTo>
                    <a:lnTo>
                      <a:pt x="270" y="180"/>
                    </a:lnTo>
                    <a:lnTo>
                      <a:pt x="272" y="175"/>
                    </a:lnTo>
                    <a:lnTo>
                      <a:pt x="272" y="171"/>
                    </a:lnTo>
                    <a:lnTo>
                      <a:pt x="270" y="165"/>
                    </a:lnTo>
                    <a:lnTo>
                      <a:pt x="274" y="161"/>
                    </a:lnTo>
                    <a:lnTo>
                      <a:pt x="279" y="160"/>
                    </a:lnTo>
                    <a:lnTo>
                      <a:pt x="280" y="156"/>
                    </a:lnTo>
                    <a:lnTo>
                      <a:pt x="280" y="153"/>
                    </a:lnTo>
                    <a:lnTo>
                      <a:pt x="282" y="150"/>
                    </a:lnTo>
                    <a:lnTo>
                      <a:pt x="280" y="141"/>
                    </a:lnTo>
                    <a:lnTo>
                      <a:pt x="277" y="140"/>
                    </a:lnTo>
                    <a:lnTo>
                      <a:pt x="274" y="140"/>
                    </a:lnTo>
                    <a:lnTo>
                      <a:pt x="272" y="141"/>
                    </a:lnTo>
                    <a:lnTo>
                      <a:pt x="265" y="140"/>
                    </a:lnTo>
                    <a:lnTo>
                      <a:pt x="260" y="140"/>
                    </a:lnTo>
                    <a:lnTo>
                      <a:pt x="255" y="143"/>
                    </a:lnTo>
                    <a:lnTo>
                      <a:pt x="252" y="141"/>
                    </a:lnTo>
                    <a:lnTo>
                      <a:pt x="247" y="140"/>
                    </a:lnTo>
                    <a:lnTo>
                      <a:pt x="245" y="140"/>
                    </a:lnTo>
                    <a:lnTo>
                      <a:pt x="244" y="138"/>
                    </a:lnTo>
                    <a:lnTo>
                      <a:pt x="237" y="140"/>
                    </a:lnTo>
                    <a:lnTo>
                      <a:pt x="219" y="123"/>
                    </a:lnTo>
                    <a:lnTo>
                      <a:pt x="215" y="121"/>
                    </a:lnTo>
                    <a:lnTo>
                      <a:pt x="207" y="121"/>
                    </a:lnTo>
                    <a:lnTo>
                      <a:pt x="201" y="121"/>
                    </a:lnTo>
                    <a:lnTo>
                      <a:pt x="199" y="123"/>
                    </a:lnTo>
                    <a:lnTo>
                      <a:pt x="192" y="121"/>
                    </a:lnTo>
                    <a:lnTo>
                      <a:pt x="186" y="121"/>
                    </a:lnTo>
                    <a:lnTo>
                      <a:pt x="182" y="123"/>
                    </a:lnTo>
                    <a:lnTo>
                      <a:pt x="177" y="121"/>
                    </a:lnTo>
                    <a:lnTo>
                      <a:pt x="172" y="120"/>
                    </a:lnTo>
                    <a:lnTo>
                      <a:pt x="166" y="118"/>
                    </a:lnTo>
                    <a:lnTo>
                      <a:pt x="161" y="113"/>
                    </a:lnTo>
                    <a:lnTo>
                      <a:pt x="161" y="110"/>
                    </a:lnTo>
                    <a:lnTo>
                      <a:pt x="162" y="108"/>
                    </a:lnTo>
                    <a:lnTo>
                      <a:pt x="162" y="105"/>
                    </a:lnTo>
                    <a:lnTo>
                      <a:pt x="164" y="100"/>
                    </a:lnTo>
                    <a:lnTo>
                      <a:pt x="162" y="96"/>
                    </a:lnTo>
                    <a:lnTo>
                      <a:pt x="159" y="90"/>
                    </a:lnTo>
                    <a:lnTo>
                      <a:pt x="149" y="75"/>
                    </a:lnTo>
                    <a:lnTo>
                      <a:pt x="144" y="75"/>
                    </a:lnTo>
                    <a:lnTo>
                      <a:pt x="142" y="75"/>
                    </a:lnTo>
                    <a:lnTo>
                      <a:pt x="142" y="72"/>
                    </a:lnTo>
                    <a:lnTo>
                      <a:pt x="146" y="65"/>
                    </a:lnTo>
                    <a:lnTo>
                      <a:pt x="146" y="58"/>
                    </a:lnTo>
                    <a:lnTo>
                      <a:pt x="146" y="55"/>
                    </a:lnTo>
                    <a:lnTo>
                      <a:pt x="146" y="50"/>
                    </a:lnTo>
                    <a:lnTo>
                      <a:pt x="154" y="40"/>
                    </a:lnTo>
                    <a:lnTo>
                      <a:pt x="157" y="37"/>
                    </a:lnTo>
                    <a:lnTo>
                      <a:pt x="162" y="32"/>
                    </a:lnTo>
                    <a:lnTo>
                      <a:pt x="166" y="30"/>
                    </a:lnTo>
                    <a:lnTo>
                      <a:pt x="167" y="28"/>
                    </a:lnTo>
                    <a:lnTo>
                      <a:pt x="176" y="18"/>
                    </a:lnTo>
                    <a:lnTo>
                      <a:pt x="187" y="13"/>
                    </a:lnTo>
                    <a:lnTo>
                      <a:pt x="189" y="13"/>
                    </a:lnTo>
                    <a:lnTo>
                      <a:pt x="192" y="13"/>
                    </a:lnTo>
                    <a:lnTo>
                      <a:pt x="192" y="12"/>
                    </a:lnTo>
                    <a:lnTo>
                      <a:pt x="196" y="10"/>
                    </a:lnTo>
                    <a:lnTo>
                      <a:pt x="196" y="8"/>
                    </a:lnTo>
                    <a:lnTo>
                      <a:pt x="194" y="5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81" y="2"/>
                    </a:lnTo>
                    <a:lnTo>
                      <a:pt x="179" y="3"/>
                    </a:lnTo>
                    <a:lnTo>
                      <a:pt x="176" y="5"/>
                    </a:lnTo>
                    <a:lnTo>
                      <a:pt x="174" y="7"/>
                    </a:lnTo>
                    <a:lnTo>
                      <a:pt x="171" y="5"/>
                    </a:lnTo>
                    <a:lnTo>
                      <a:pt x="167" y="7"/>
                    </a:lnTo>
                    <a:lnTo>
                      <a:pt x="164" y="8"/>
                    </a:lnTo>
                    <a:lnTo>
                      <a:pt x="167" y="12"/>
                    </a:lnTo>
                    <a:lnTo>
                      <a:pt x="166" y="13"/>
                    </a:lnTo>
                    <a:lnTo>
                      <a:pt x="159" y="17"/>
                    </a:lnTo>
                    <a:lnTo>
                      <a:pt x="151" y="20"/>
                    </a:lnTo>
                    <a:lnTo>
                      <a:pt x="144" y="25"/>
                    </a:lnTo>
                    <a:lnTo>
                      <a:pt x="139" y="25"/>
                    </a:lnTo>
                    <a:lnTo>
                      <a:pt x="131" y="27"/>
                    </a:lnTo>
                    <a:lnTo>
                      <a:pt x="124" y="25"/>
                    </a:lnTo>
                    <a:lnTo>
                      <a:pt x="119" y="28"/>
                    </a:lnTo>
                    <a:lnTo>
                      <a:pt x="119" y="30"/>
                    </a:lnTo>
                    <a:lnTo>
                      <a:pt x="121" y="33"/>
                    </a:lnTo>
                    <a:lnTo>
                      <a:pt x="119" y="37"/>
                    </a:lnTo>
                    <a:lnTo>
                      <a:pt x="116" y="40"/>
                    </a:lnTo>
                    <a:lnTo>
                      <a:pt x="114" y="40"/>
                    </a:lnTo>
                    <a:lnTo>
                      <a:pt x="114" y="35"/>
                    </a:lnTo>
                    <a:lnTo>
                      <a:pt x="114" y="35"/>
                    </a:lnTo>
                    <a:lnTo>
                      <a:pt x="117" y="33"/>
                    </a:lnTo>
                    <a:lnTo>
                      <a:pt x="113" y="33"/>
                    </a:lnTo>
                    <a:lnTo>
                      <a:pt x="106" y="30"/>
                    </a:lnTo>
                    <a:lnTo>
                      <a:pt x="103" y="32"/>
                    </a:lnTo>
                    <a:lnTo>
                      <a:pt x="96" y="35"/>
                    </a:lnTo>
                    <a:lnTo>
                      <a:pt x="93" y="38"/>
                    </a:lnTo>
                    <a:lnTo>
                      <a:pt x="88" y="43"/>
                    </a:lnTo>
                    <a:lnTo>
                      <a:pt x="81" y="55"/>
                    </a:lnTo>
                    <a:lnTo>
                      <a:pt x="81" y="58"/>
                    </a:lnTo>
                    <a:lnTo>
                      <a:pt x="83" y="57"/>
                    </a:lnTo>
                    <a:lnTo>
                      <a:pt x="84" y="60"/>
                    </a:lnTo>
                    <a:lnTo>
                      <a:pt x="84" y="63"/>
                    </a:lnTo>
                    <a:lnTo>
                      <a:pt x="84" y="67"/>
                    </a:lnTo>
                    <a:lnTo>
                      <a:pt x="81" y="68"/>
                    </a:lnTo>
                    <a:lnTo>
                      <a:pt x="76" y="68"/>
                    </a:lnTo>
                    <a:lnTo>
                      <a:pt x="73" y="70"/>
                    </a:lnTo>
                    <a:lnTo>
                      <a:pt x="66" y="77"/>
                    </a:lnTo>
                    <a:lnTo>
                      <a:pt x="63" y="77"/>
                    </a:lnTo>
                    <a:lnTo>
                      <a:pt x="58" y="83"/>
                    </a:lnTo>
                    <a:lnTo>
                      <a:pt x="56" y="83"/>
                    </a:lnTo>
                    <a:lnTo>
                      <a:pt x="51" y="83"/>
                    </a:lnTo>
                    <a:lnTo>
                      <a:pt x="53" y="88"/>
                    </a:lnTo>
                    <a:lnTo>
                      <a:pt x="58" y="92"/>
                    </a:lnTo>
                    <a:lnTo>
                      <a:pt x="58" y="98"/>
                    </a:lnTo>
                    <a:lnTo>
                      <a:pt x="54" y="103"/>
                    </a:lnTo>
                    <a:lnTo>
                      <a:pt x="53" y="101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9" y="95"/>
                    </a:lnTo>
                    <a:lnTo>
                      <a:pt x="46" y="93"/>
                    </a:lnTo>
                    <a:lnTo>
                      <a:pt x="44" y="90"/>
                    </a:lnTo>
                    <a:lnTo>
                      <a:pt x="39" y="85"/>
                    </a:lnTo>
                    <a:lnTo>
                      <a:pt x="38" y="88"/>
                    </a:lnTo>
                    <a:lnTo>
                      <a:pt x="39" y="92"/>
                    </a:lnTo>
                    <a:lnTo>
                      <a:pt x="41" y="96"/>
                    </a:lnTo>
                    <a:lnTo>
                      <a:pt x="38" y="103"/>
                    </a:lnTo>
                    <a:lnTo>
                      <a:pt x="36" y="108"/>
                    </a:lnTo>
                    <a:lnTo>
                      <a:pt x="33" y="110"/>
                    </a:lnTo>
                    <a:lnTo>
                      <a:pt x="31" y="110"/>
                    </a:lnTo>
                    <a:lnTo>
                      <a:pt x="28" y="116"/>
                    </a:lnTo>
                    <a:lnTo>
                      <a:pt x="29" y="118"/>
                    </a:lnTo>
                    <a:lnTo>
                      <a:pt x="29" y="123"/>
                    </a:lnTo>
                    <a:lnTo>
                      <a:pt x="29" y="128"/>
                    </a:lnTo>
                    <a:lnTo>
                      <a:pt x="34" y="133"/>
                    </a:lnTo>
                    <a:lnTo>
                      <a:pt x="36" y="133"/>
                    </a:lnTo>
                    <a:lnTo>
                      <a:pt x="39" y="131"/>
                    </a:lnTo>
                    <a:lnTo>
                      <a:pt x="41" y="135"/>
                    </a:lnTo>
                    <a:lnTo>
                      <a:pt x="41" y="138"/>
                    </a:lnTo>
                    <a:lnTo>
                      <a:pt x="38" y="141"/>
                    </a:lnTo>
                    <a:lnTo>
                      <a:pt x="38" y="143"/>
                    </a:lnTo>
                    <a:lnTo>
                      <a:pt x="41" y="146"/>
                    </a:lnTo>
                    <a:lnTo>
                      <a:pt x="41" y="153"/>
                    </a:lnTo>
                    <a:lnTo>
                      <a:pt x="38" y="155"/>
                    </a:lnTo>
                    <a:lnTo>
                      <a:pt x="36" y="158"/>
                    </a:lnTo>
                    <a:lnTo>
                      <a:pt x="38" y="158"/>
                    </a:lnTo>
                    <a:lnTo>
                      <a:pt x="39" y="163"/>
                    </a:lnTo>
                    <a:lnTo>
                      <a:pt x="39" y="170"/>
                    </a:lnTo>
                    <a:lnTo>
                      <a:pt x="39" y="180"/>
                    </a:lnTo>
                    <a:lnTo>
                      <a:pt x="36" y="185"/>
                    </a:lnTo>
                    <a:lnTo>
                      <a:pt x="36" y="186"/>
                    </a:lnTo>
                    <a:lnTo>
                      <a:pt x="38" y="191"/>
                    </a:lnTo>
                    <a:lnTo>
                      <a:pt x="43" y="190"/>
                    </a:lnTo>
                    <a:lnTo>
                      <a:pt x="43" y="191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8" y="196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34" y="213"/>
                    </a:lnTo>
                    <a:lnTo>
                      <a:pt x="31" y="216"/>
                    </a:lnTo>
                    <a:lnTo>
                      <a:pt x="24" y="223"/>
                    </a:lnTo>
                    <a:lnTo>
                      <a:pt x="16" y="224"/>
                    </a:lnTo>
                    <a:lnTo>
                      <a:pt x="8" y="229"/>
                    </a:lnTo>
                    <a:lnTo>
                      <a:pt x="1" y="238"/>
                    </a:lnTo>
                    <a:lnTo>
                      <a:pt x="1" y="246"/>
                    </a:lnTo>
                    <a:lnTo>
                      <a:pt x="0" y="249"/>
                    </a:lnTo>
                    <a:lnTo>
                      <a:pt x="6" y="253"/>
                    </a:lnTo>
                    <a:lnTo>
                      <a:pt x="14" y="258"/>
                    </a:lnTo>
                    <a:lnTo>
                      <a:pt x="26" y="264"/>
                    </a:lnTo>
                    <a:lnTo>
                      <a:pt x="29" y="264"/>
                    </a:lnTo>
                    <a:lnTo>
                      <a:pt x="36" y="269"/>
                    </a:lnTo>
                    <a:lnTo>
                      <a:pt x="34" y="273"/>
                    </a:lnTo>
                    <a:lnTo>
                      <a:pt x="36" y="276"/>
                    </a:lnTo>
                    <a:lnTo>
                      <a:pt x="43" y="276"/>
                    </a:lnTo>
                    <a:lnTo>
                      <a:pt x="51" y="279"/>
                    </a:lnTo>
                    <a:lnTo>
                      <a:pt x="54" y="281"/>
                    </a:lnTo>
                    <a:lnTo>
                      <a:pt x="63" y="283"/>
                    </a:lnTo>
                    <a:lnTo>
                      <a:pt x="64" y="281"/>
                    </a:lnTo>
                    <a:lnTo>
                      <a:pt x="64" y="276"/>
                    </a:lnTo>
                    <a:lnTo>
                      <a:pt x="68" y="273"/>
                    </a:lnTo>
                    <a:lnTo>
                      <a:pt x="69" y="273"/>
                    </a:lnTo>
                    <a:lnTo>
                      <a:pt x="78" y="276"/>
                    </a:lnTo>
                    <a:lnTo>
                      <a:pt x="81" y="278"/>
                    </a:lnTo>
                    <a:lnTo>
                      <a:pt x="83" y="281"/>
                    </a:lnTo>
                    <a:lnTo>
                      <a:pt x="86" y="283"/>
                    </a:lnTo>
                    <a:lnTo>
                      <a:pt x="86" y="283"/>
                    </a:lnTo>
                    <a:lnTo>
                      <a:pt x="88" y="283"/>
                    </a:lnTo>
                    <a:lnTo>
                      <a:pt x="91" y="284"/>
                    </a:lnTo>
                    <a:lnTo>
                      <a:pt x="99" y="288"/>
                    </a:lnTo>
                    <a:lnTo>
                      <a:pt x="104" y="288"/>
                    </a:lnTo>
                    <a:lnTo>
                      <a:pt x="106" y="291"/>
                    </a:lnTo>
                    <a:lnTo>
                      <a:pt x="113" y="296"/>
                    </a:lnTo>
                    <a:lnTo>
                      <a:pt x="113" y="301"/>
                    </a:lnTo>
                    <a:lnTo>
                      <a:pt x="116" y="307"/>
                    </a:lnTo>
                    <a:lnTo>
                      <a:pt x="119" y="307"/>
                    </a:lnTo>
                    <a:lnTo>
                      <a:pt x="131" y="311"/>
                    </a:lnTo>
                    <a:lnTo>
                      <a:pt x="136" y="317"/>
                    </a:lnTo>
                    <a:lnTo>
                      <a:pt x="136" y="322"/>
                    </a:lnTo>
                    <a:lnTo>
                      <a:pt x="137" y="322"/>
                    </a:lnTo>
                    <a:lnTo>
                      <a:pt x="141" y="324"/>
                    </a:lnTo>
                    <a:lnTo>
                      <a:pt x="144" y="331"/>
                    </a:lnTo>
                    <a:lnTo>
                      <a:pt x="142" y="332"/>
                    </a:lnTo>
                    <a:lnTo>
                      <a:pt x="144" y="336"/>
                    </a:lnTo>
                    <a:lnTo>
                      <a:pt x="147" y="337"/>
                    </a:lnTo>
                    <a:lnTo>
                      <a:pt x="152" y="336"/>
                    </a:lnTo>
                    <a:lnTo>
                      <a:pt x="157" y="337"/>
                    </a:lnTo>
                    <a:lnTo>
                      <a:pt x="162" y="337"/>
                    </a:lnTo>
                    <a:lnTo>
                      <a:pt x="166" y="336"/>
                    </a:lnTo>
                    <a:lnTo>
                      <a:pt x="174" y="332"/>
                    </a:lnTo>
                    <a:lnTo>
                      <a:pt x="181" y="332"/>
                    </a:lnTo>
                    <a:lnTo>
                      <a:pt x="186" y="336"/>
                    </a:lnTo>
                    <a:lnTo>
                      <a:pt x="194" y="332"/>
                    </a:lnTo>
                    <a:lnTo>
                      <a:pt x="199" y="332"/>
                    </a:lnTo>
                    <a:lnTo>
                      <a:pt x="201" y="334"/>
                    </a:lnTo>
                    <a:lnTo>
                      <a:pt x="204" y="334"/>
                    </a:lnTo>
                    <a:lnTo>
                      <a:pt x="209" y="337"/>
                    </a:lnTo>
                    <a:lnTo>
                      <a:pt x="211" y="339"/>
                    </a:lnTo>
                    <a:lnTo>
                      <a:pt x="215" y="339"/>
                    </a:lnTo>
                    <a:lnTo>
                      <a:pt x="215" y="341"/>
                    </a:lnTo>
                    <a:lnTo>
                      <a:pt x="201" y="366"/>
                    </a:lnTo>
                    <a:lnTo>
                      <a:pt x="201" y="367"/>
                    </a:lnTo>
                    <a:lnTo>
                      <a:pt x="207" y="367"/>
                    </a:lnTo>
                    <a:lnTo>
                      <a:pt x="212" y="367"/>
                    </a:lnTo>
                    <a:lnTo>
                      <a:pt x="217" y="371"/>
                    </a:lnTo>
                    <a:lnTo>
                      <a:pt x="217" y="3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5" name="Freeform 169"/>
              <p:cNvSpPr>
                <a:spLocks noEditPoints="1"/>
              </p:cNvSpPr>
              <p:nvPr/>
            </p:nvSpPr>
            <p:spPr bwMode="auto">
              <a:xfrm>
                <a:off x="5374733" y="3255188"/>
                <a:ext cx="77058" cy="73669"/>
              </a:xfrm>
              <a:custGeom>
                <a:avLst/>
                <a:gdLst/>
                <a:ahLst/>
                <a:cxnLst>
                  <a:cxn ang="0">
                    <a:pos x="138" y="34"/>
                  </a:cxn>
                  <a:cxn ang="0">
                    <a:pos x="133" y="29"/>
                  </a:cxn>
                  <a:cxn ang="0">
                    <a:pos x="121" y="24"/>
                  </a:cxn>
                  <a:cxn ang="0">
                    <a:pos x="116" y="27"/>
                  </a:cxn>
                  <a:cxn ang="0">
                    <a:pos x="115" y="34"/>
                  </a:cxn>
                  <a:cxn ang="0">
                    <a:pos x="103" y="30"/>
                  </a:cxn>
                  <a:cxn ang="0">
                    <a:pos x="88" y="27"/>
                  </a:cxn>
                  <a:cxn ang="0">
                    <a:pos x="88" y="20"/>
                  </a:cxn>
                  <a:cxn ang="0">
                    <a:pos x="78" y="15"/>
                  </a:cxn>
                  <a:cxn ang="0">
                    <a:pos x="58" y="4"/>
                  </a:cxn>
                  <a:cxn ang="0">
                    <a:pos x="50" y="5"/>
                  </a:cxn>
                  <a:cxn ang="0">
                    <a:pos x="32" y="14"/>
                  </a:cxn>
                  <a:cxn ang="0">
                    <a:pos x="20" y="17"/>
                  </a:cxn>
                  <a:cxn ang="0">
                    <a:pos x="23" y="25"/>
                  </a:cxn>
                  <a:cxn ang="0">
                    <a:pos x="23" y="34"/>
                  </a:cxn>
                  <a:cxn ang="0">
                    <a:pos x="13" y="47"/>
                  </a:cxn>
                  <a:cxn ang="0">
                    <a:pos x="12" y="55"/>
                  </a:cxn>
                  <a:cxn ang="0">
                    <a:pos x="2" y="62"/>
                  </a:cxn>
                  <a:cxn ang="0">
                    <a:pos x="5" y="68"/>
                  </a:cxn>
                  <a:cxn ang="0">
                    <a:pos x="7" y="78"/>
                  </a:cxn>
                  <a:cxn ang="0">
                    <a:pos x="0" y="85"/>
                  </a:cxn>
                  <a:cxn ang="0">
                    <a:pos x="8" y="90"/>
                  </a:cxn>
                  <a:cxn ang="0">
                    <a:pos x="18" y="97"/>
                  </a:cxn>
                  <a:cxn ang="0">
                    <a:pos x="22" y="92"/>
                  </a:cxn>
                  <a:cxn ang="0">
                    <a:pos x="27" y="85"/>
                  </a:cxn>
                  <a:cxn ang="0">
                    <a:pos x="28" y="92"/>
                  </a:cxn>
                  <a:cxn ang="0">
                    <a:pos x="28" y="87"/>
                  </a:cxn>
                  <a:cxn ang="0">
                    <a:pos x="32" y="93"/>
                  </a:cxn>
                  <a:cxn ang="0">
                    <a:pos x="30" y="102"/>
                  </a:cxn>
                  <a:cxn ang="0">
                    <a:pos x="22" y="113"/>
                  </a:cxn>
                  <a:cxn ang="0">
                    <a:pos x="27" y="120"/>
                  </a:cxn>
                  <a:cxn ang="0">
                    <a:pos x="17" y="127"/>
                  </a:cxn>
                  <a:cxn ang="0">
                    <a:pos x="23" y="130"/>
                  </a:cxn>
                  <a:cxn ang="0">
                    <a:pos x="30" y="132"/>
                  </a:cxn>
                  <a:cxn ang="0">
                    <a:pos x="42" y="135"/>
                  </a:cxn>
                  <a:cxn ang="0">
                    <a:pos x="52" y="143"/>
                  </a:cxn>
                  <a:cxn ang="0">
                    <a:pos x="76" y="103"/>
                  </a:cxn>
                  <a:cxn ang="0">
                    <a:pos x="105" y="93"/>
                  </a:cxn>
                  <a:cxn ang="0">
                    <a:pos x="131" y="73"/>
                  </a:cxn>
                  <a:cxn ang="0">
                    <a:pos x="143" y="58"/>
                  </a:cxn>
                  <a:cxn ang="0">
                    <a:pos x="145" y="52"/>
                  </a:cxn>
                  <a:cxn ang="0">
                    <a:pos x="140" y="39"/>
                  </a:cxn>
                  <a:cxn ang="0">
                    <a:pos x="138" y="34"/>
                  </a:cxn>
                  <a:cxn ang="0">
                    <a:pos x="138" y="34"/>
                  </a:cxn>
                  <a:cxn ang="0">
                    <a:pos x="18" y="103"/>
                  </a:cxn>
                  <a:cxn ang="0">
                    <a:pos x="25" y="95"/>
                  </a:cxn>
                  <a:cxn ang="0">
                    <a:pos x="23" y="100"/>
                  </a:cxn>
                  <a:cxn ang="0">
                    <a:pos x="22" y="105"/>
                  </a:cxn>
                  <a:cxn ang="0">
                    <a:pos x="18" y="103"/>
                  </a:cxn>
                </a:cxnLst>
                <a:rect l="0" t="0" r="r" b="b"/>
                <a:pathLst>
                  <a:path w="145" h="143">
                    <a:moveTo>
                      <a:pt x="138" y="34"/>
                    </a:moveTo>
                    <a:lnTo>
                      <a:pt x="138" y="34"/>
                    </a:lnTo>
                    <a:lnTo>
                      <a:pt x="135" y="32"/>
                    </a:lnTo>
                    <a:lnTo>
                      <a:pt x="133" y="29"/>
                    </a:lnTo>
                    <a:lnTo>
                      <a:pt x="130" y="27"/>
                    </a:lnTo>
                    <a:lnTo>
                      <a:pt x="121" y="24"/>
                    </a:lnTo>
                    <a:lnTo>
                      <a:pt x="120" y="24"/>
                    </a:lnTo>
                    <a:lnTo>
                      <a:pt x="116" y="27"/>
                    </a:lnTo>
                    <a:lnTo>
                      <a:pt x="116" y="32"/>
                    </a:lnTo>
                    <a:lnTo>
                      <a:pt x="115" y="34"/>
                    </a:lnTo>
                    <a:lnTo>
                      <a:pt x="106" y="32"/>
                    </a:lnTo>
                    <a:lnTo>
                      <a:pt x="103" y="30"/>
                    </a:lnTo>
                    <a:lnTo>
                      <a:pt x="95" y="27"/>
                    </a:lnTo>
                    <a:lnTo>
                      <a:pt x="88" y="27"/>
                    </a:lnTo>
                    <a:lnTo>
                      <a:pt x="86" y="24"/>
                    </a:lnTo>
                    <a:lnTo>
                      <a:pt x="88" y="20"/>
                    </a:lnTo>
                    <a:lnTo>
                      <a:pt x="81" y="15"/>
                    </a:lnTo>
                    <a:lnTo>
                      <a:pt x="78" y="15"/>
                    </a:lnTo>
                    <a:lnTo>
                      <a:pt x="66" y="9"/>
                    </a:lnTo>
                    <a:lnTo>
                      <a:pt x="58" y="4"/>
                    </a:lnTo>
                    <a:lnTo>
                      <a:pt x="52" y="0"/>
                    </a:lnTo>
                    <a:lnTo>
                      <a:pt x="50" y="5"/>
                    </a:lnTo>
                    <a:lnTo>
                      <a:pt x="43" y="7"/>
                    </a:lnTo>
                    <a:lnTo>
                      <a:pt x="32" y="14"/>
                    </a:lnTo>
                    <a:lnTo>
                      <a:pt x="27" y="14"/>
                    </a:lnTo>
                    <a:lnTo>
                      <a:pt x="20" y="17"/>
                    </a:lnTo>
                    <a:lnTo>
                      <a:pt x="23" y="22"/>
                    </a:lnTo>
                    <a:lnTo>
                      <a:pt x="23" y="25"/>
                    </a:lnTo>
                    <a:lnTo>
                      <a:pt x="25" y="29"/>
                    </a:lnTo>
                    <a:lnTo>
                      <a:pt x="23" y="34"/>
                    </a:lnTo>
                    <a:lnTo>
                      <a:pt x="15" y="43"/>
                    </a:lnTo>
                    <a:lnTo>
                      <a:pt x="13" y="47"/>
                    </a:lnTo>
                    <a:lnTo>
                      <a:pt x="17" y="48"/>
                    </a:lnTo>
                    <a:lnTo>
                      <a:pt x="12" y="55"/>
                    </a:lnTo>
                    <a:lnTo>
                      <a:pt x="7" y="55"/>
                    </a:lnTo>
                    <a:lnTo>
                      <a:pt x="2" y="62"/>
                    </a:lnTo>
                    <a:lnTo>
                      <a:pt x="3" y="65"/>
                    </a:lnTo>
                    <a:lnTo>
                      <a:pt x="5" y="68"/>
                    </a:lnTo>
                    <a:lnTo>
                      <a:pt x="5" y="73"/>
                    </a:lnTo>
                    <a:lnTo>
                      <a:pt x="7" y="78"/>
                    </a:lnTo>
                    <a:lnTo>
                      <a:pt x="3" y="83"/>
                    </a:lnTo>
                    <a:lnTo>
                      <a:pt x="0" y="85"/>
                    </a:lnTo>
                    <a:lnTo>
                      <a:pt x="3" y="88"/>
                    </a:lnTo>
                    <a:lnTo>
                      <a:pt x="8" y="90"/>
                    </a:lnTo>
                    <a:lnTo>
                      <a:pt x="13" y="95"/>
                    </a:lnTo>
                    <a:lnTo>
                      <a:pt x="18" y="97"/>
                    </a:lnTo>
                    <a:lnTo>
                      <a:pt x="20" y="97"/>
                    </a:lnTo>
                    <a:lnTo>
                      <a:pt x="22" y="92"/>
                    </a:lnTo>
                    <a:lnTo>
                      <a:pt x="23" y="88"/>
                    </a:lnTo>
                    <a:lnTo>
                      <a:pt x="27" y="85"/>
                    </a:lnTo>
                    <a:lnTo>
                      <a:pt x="27" y="88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87"/>
                    </a:lnTo>
                    <a:lnTo>
                      <a:pt x="30" y="87"/>
                    </a:lnTo>
                    <a:lnTo>
                      <a:pt x="32" y="93"/>
                    </a:lnTo>
                    <a:lnTo>
                      <a:pt x="30" y="98"/>
                    </a:lnTo>
                    <a:lnTo>
                      <a:pt x="30" y="102"/>
                    </a:lnTo>
                    <a:lnTo>
                      <a:pt x="28" y="108"/>
                    </a:lnTo>
                    <a:lnTo>
                      <a:pt x="22" y="113"/>
                    </a:lnTo>
                    <a:lnTo>
                      <a:pt x="25" y="113"/>
                    </a:lnTo>
                    <a:lnTo>
                      <a:pt x="27" y="120"/>
                    </a:lnTo>
                    <a:lnTo>
                      <a:pt x="22" y="122"/>
                    </a:lnTo>
                    <a:lnTo>
                      <a:pt x="17" y="127"/>
                    </a:lnTo>
                    <a:lnTo>
                      <a:pt x="18" y="130"/>
                    </a:lnTo>
                    <a:lnTo>
                      <a:pt x="23" y="130"/>
                    </a:lnTo>
                    <a:lnTo>
                      <a:pt x="28" y="128"/>
                    </a:lnTo>
                    <a:lnTo>
                      <a:pt x="30" y="132"/>
                    </a:lnTo>
                    <a:lnTo>
                      <a:pt x="38" y="133"/>
                    </a:lnTo>
                    <a:lnTo>
                      <a:pt x="42" y="135"/>
                    </a:lnTo>
                    <a:lnTo>
                      <a:pt x="50" y="143"/>
                    </a:lnTo>
                    <a:lnTo>
                      <a:pt x="52" y="143"/>
                    </a:lnTo>
                    <a:lnTo>
                      <a:pt x="57" y="140"/>
                    </a:lnTo>
                    <a:lnTo>
                      <a:pt x="76" y="103"/>
                    </a:lnTo>
                    <a:lnTo>
                      <a:pt x="80" y="102"/>
                    </a:lnTo>
                    <a:lnTo>
                      <a:pt x="105" y="93"/>
                    </a:lnTo>
                    <a:lnTo>
                      <a:pt x="115" y="87"/>
                    </a:lnTo>
                    <a:lnTo>
                      <a:pt x="131" y="73"/>
                    </a:lnTo>
                    <a:lnTo>
                      <a:pt x="138" y="58"/>
                    </a:lnTo>
                    <a:lnTo>
                      <a:pt x="143" y="58"/>
                    </a:lnTo>
                    <a:lnTo>
                      <a:pt x="143" y="57"/>
                    </a:lnTo>
                    <a:lnTo>
                      <a:pt x="145" y="52"/>
                    </a:lnTo>
                    <a:lnTo>
                      <a:pt x="145" y="47"/>
                    </a:lnTo>
                    <a:lnTo>
                      <a:pt x="140" y="39"/>
                    </a:lnTo>
                    <a:lnTo>
                      <a:pt x="140" y="37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8" y="34"/>
                    </a:lnTo>
                    <a:close/>
                    <a:moveTo>
                      <a:pt x="18" y="103"/>
                    </a:moveTo>
                    <a:lnTo>
                      <a:pt x="18" y="103"/>
                    </a:lnTo>
                    <a:lnTo>
                      <a:pt x="20" y="98"/>
                    </a:lnTo>
                    <a:lnTo>
                      <a:pt x="25" y="95"/>
                    </a:lnTo>
                    <a:lnTo>
                      <a:pt x="25" y="97"/>
                    </a:lnTo>
                    <a:lnTo>
                      <a:pt x="23" y="100"/>
                    </a:lnTo>
                    <a:lnTo>
                      <a:pt x="23" y="102"/>
                    </a:lnTo>
                    <a:lnTo>
                      <a:pt x="22" y="105"/>
                    </a:lnTo>
                    <a:lnTo>
                      <a:pt x="20" y="107"/>
                    </a:lnTo>
                    <a:lnTo>
                      <a:pt x="18" y="10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6" name="Freeform 170"/>
              <p:cNvSpPr>
                <a:spLocks/>
              </p:cNvSpPr>
              <p:nvPr/>
            </p:nvSpPr>
            <p:spPr bwMode="auto">
              <a:xfrm>
                <a:off x="5370452" y="3271790"/>
                <a:ext cx="168029" cy="216856"/>
              </a:xfrm>
              <a:custGeom>
                <a:avLst/>
                <a:gdLst/>
                <a:ahLst/>
                <a:cxnLst>
                  <a:cxn ang="0">
                    <a:pos x="286" y="245"/>
                  </a:cxn>
                  <a:cxn ang="0">
                    <a:pos x="268" y="244"/>
                  </a:cxn>
                  <a:cxn ang="0">
                    <a:pos x="268" y="217"/>
                  </a:cxn>
                  <a:cxn ang="0">
                    <a:pos x="248" y="222"/>
                  </a:cxn>
                  <a:cxn ang="0">
                    <a:pos x="218" y="209"/>
                  </a:cxn>
                  <a:cxn ang="0">
                    <a:pos x="190" y="184"/>
                  </a:cxn>
                  <a:cxn ang="0">
                    <a:pos x="185" y="167"/>
                  </a:cxn>
                  <a:cxn ang="0">
                    <a:pos x="186" y="152"/>
                  </a:cxn>
                  <a:cxn ang="0">
                    <a:pos x="200" y="142"/>
                  </a:cxn>
                  <a:cxn ang="0">
                    <a:pos x="205" y="121"/>
                  </a:cxn>
                  <a:cxn ang="0">
                    <a:pos x="220" y="106"/>
                  </a:cxn>
                  <a:cxn ang="0">
                    <a:pos x="255" y="96"/>
                  </a:cxn>
                  <a:cxn ang="0">
                    <a:pos x="265" y="93"/>
                  </a:cxn>
                  <a:cxn ang="0">
                    <a:pos x="278" y="94"/>
                  </a:cxn>
                  <a:cxn ang="0">
                    <a:pos x="260" y="84"/>
                  </a:cxn>
                  <a:cxn ang="0">
                    <a:pos x="270" y="56"/>
                  </a:cxn>
                  <a:cxn ang="0">
                    <a:pos x="258" y="49"/>
                  </a:cxn>
                  <a:cxn ang="0">
                    <a:pos x="233" y="49"/>
                  </a:cxn>
                  <a:cxn ang="0">
                    <a:pos x="211" y="53"/>
                  </a:cxn>
                  <a:cxn ang="0">
                    <a:pos x="203" y="48"/>
                  </a:cxn>
                  <a:cxn ang="0">
                    <a:pos x="195" y="34"/>
                  </a:cxn>
                  <a:cxn ang="0">
                    <a:pos x="172" y="18"/>
                  </a:cxn>
                  <a:cxn ang="0">
                    <a:pos x="158" y="5"/>
                  </a:cxn>
                  <a:cxn ang="0">
                    <a:pos x="147" y="3"/>
                  </a:cxn>
                  <a:cxn ang="0">
                    <a:pos x="150" y="23"/>
                  </a:cxn>
                  <a:cxn ang="0">
                    <a:pos x="122" y="53"/>
                  </a:cxn>
                  <a:cxn ang="0">
                    <a:pos x="64" y="106"/>
                  </a:cxn>
                  <a:cxn ang="0">
                    <a:pos x="45" y="99"/>
                  </a:cxn>
                  <a:cxn ang="0">
                    <a:pos x="25" y="96"/>
                  </a:cxn>
                  <a:cxn ang="0">
                    <a:pos x="32" y="79"/>
                  </a:cxn>
                  <a:cxn ang="0">
                    <a:pos x="12" y="88"/>
                  </a:cxn>
                  <a:cxn ang="0">
                    <a:pos x="0" y="106"/>
                  </a:cxn>
                  <a:cxn ang="0">
                    <a:pos x="2" y="116"/>
                  </a:cxn>
                  <a:cxn ang="0">
                    <a:pos x="7" y="131"/>
                  </a:cxn>
                  <a:cxn ang="0">
                    <a:pos x="10" y="141"/>
                  </a:cxn>
                  <a:cxn ang="0">
                    <a:pos x="39" y="154"/>
                  </a:cxn>
                  <a:cxn ang="0">
                    <a:pos x="49" y="176"/>
                  </a:cxn>
                  <a:cxn ang="0">
                    <a:pos x="67" y="197"/>
                  </a:cxn>
                  <a:cxn ang="0">
                    <a:pos x="80" y="219"/>
                  </a:cxn>
                  <a:cxn ang="0">
                    <a:pos x="90" y="242"/>
                  </a:cxn>
                  <a:cxn ang="0">
                    <a:pos x="97" y="254"/>
                  </a:cxn>
                  <a:cxn ang="0">
                    <a:pos x="110" y="274"/>
                  </a:cxn>
                  <a:cxn ang="0">
                    <a:pos x="127" y="295"/>
                  </a:cxn>
                  <a:cxn ang="0">
                    <a:pos x="130" y="308"/>
                  </a:cxn>
                  <a:cxn ang="0">
                    <a:pos x="133" y="318"/>
                  </a:cxn>
                  <a:cxn ang="0">
                    <a:pos x="145" y="330"/>
                  </a:cxn>
                  <a:cxn ang="0">
                    <a:pos x="160" y="340"/>
                  </a:cxn>
                  <a:cxn ang="0">
                    <a:pos x="175" y="348"/>
                  </a:cxn>
                  <a:cxn ang="0">
                    <a:pos x="186" y="357"/>
                  </a:cxn>
                  <a:cxn ang="0">
                    <a:pos x="201" y="368"/>
                  </a:cxn>
                  <a:cxn ang="0">
                    <a:pos x="223" y="375"/>
                  </a:cxn>
                  <a:cxn ang="0">
                    <a:pos x="238" y="383"/>
                  </a:cxn>
                  <a:cxn ang="0">
                    <a:pos x="251" y="395"/>
                  </a:cxn>
                  <a:cxn ang="0">
                    <a:pos x="261" y="403"/>
                  </a:cxn>
                  <a:cxn ang="0">
                    <a:pos x="279" y="416"/>
                  </a:cxn>
                  <a:cxn ang="0">
                    <a:pos x="299" y="408"/>
                  </a:cxn>
                  <a:cxn ang="0">
                    <a:pos x="301" y="393"/>
                  </a:cxn>
                  <a:cxn ang="0">
                    <a:pos x="298" y="388"/>
                  </a:cxn>
                  <a:cxn ang="0">
                    <a:pos x="313" y="367"/>
                  </a:cxn>
                  <a:cxn ang="0">
                    <a:pos x="306" y="342"/>
                  </a:cxn>
                  <a:cxn ang="0">
                    <a:pos x="309" y="312"/>
                  </a:cxn>
                  <a:cxn ang="0">
                    <a:pos x="314" y="277"/>
                  </a:cxn>
                </a:cxnLst>
                <a:rect l="0" t="0" r="r" b="b"/>
                <a:pathLst>
                  <a:path w="314" h="416">
                    <a:moveTo>
                      <a:pt x="291" y="245"/>
                    </a:moveTo>
                    <a:lnTo>
                      <a:pt x="291" y="245"/>
                    </a:lnTo>
                    <a:lnTo>
                      <a:pt x="288" y="244"/>
                    </a:lnTo>
                    <a:lnTo>
                      <a:pt x="286" y="245"/>
                    </a:lnTo>
                    <a:lnTo>
                      <a:pt x="279" y="245"/>
                    </a:lnTo>
                    <a:lnTo>
                      <a:pt x="276" y="245"/>
                    </a:lnTo>
                    <a:lnTo>
                      <a:pt x="271" y="247"/>
                    </a:lnTo>
                    <a:lnTo>
                      <a:pt x="268" y="244"/>
                    </a:lnTo>
                    <a:lnTo>
                      <a:pt x="268" y="239"/>
                    </a:lnTo>
                    <a:lnTo>
                      <a:pt x="266" y="225"/>
                    </a:lnTo>
                    <a:lnTo>
                      <a:pt x="266" y="219"/>
                    </a:lnTo>
                    <a:lnTo>
                      <a:pt x="268" y="217"/>
                    </a:lnTo>
                    <a:lnTo>
                      <a:pt x="270" y="212"/>
                    </a:lnTo>
                    <a:lnTo>
                      <a:pt x="266" y="209"/>
                    </a:lnTo>
                    <a:lnTo>
                      <a:pt x="258" y="214"/>
                    </a:lnTo>
                    <a:lnTo>
                      <a:pt x="248" y="222"/>
                    </a:lnTo>
                    <a:lnTo>
                      <a:pt x="236" y="222"/>
                    </a:lnTo>
                    <a:lnTo>
                      <a:pt x="225" y="222"/>
                    </a:lnTo>
                    <a:lnTo>
                      <a:pt x="223" y="215"/>
                    </a:lnTo>
                    <a:lnTo>
                      <a:pt x="218" y="209"/>
                    </a:lnTo>
                    <a:lnTo>
                      <a:pt x="211" y="207"/>
                    </a:lnTo>
                    <a:lnTo>
                      <a:pt x="196" y="209"/>
                    </a:lnTo>
                    <a:lnTo>
                      <a:pt x="201" y="201"/>
                    </a:lnTo>
                    <a:lnTo>
                      <a:pt x="190" y="184"/>
                    </a:lnTo>
                    <a:lnTo>
                      <a:pt x="183" y="177"/>
                    </a:lnTo>
                    <a:lnTo>
                      <a:pt x="185" y="174"/>
                    </a:lnTo>
                    <a:lnTo>
                      <a:pt x="183" y="171"/>
                    </a:lnTo>
                    <a:lnTo>
                      <a:pt x="185" y="167"/>
                    </a:lnTo>
                    <a:lnTo>
                      <a:pt x="186" y="162"/>
                    </a:lnTo>
                    <a:lnTo>
                      <a:pt x="185" y="159"/>
                    </a:lnTo>
                    <a:lnTo>
                      <a:pt x="186" y="157"/>
                    </a:lnTo>
                    <a:lnTo>
                      <a:pt x="186" y="152"/>
                    </a:lnTo>
                    <a:lnTo>
                      <a:pt x="195" y="149"/>
                    </a:lnTo>
                    <a:lnTo>
                      <a:pt x="198" y="149"/>
                    </a:lnTo>
                    <a:lnTo>
                      <a:pt x="201" y="146"/>
                    </a:lnTo>
                    <a:lnTo>
                      <a:pt x="200" y="142"/>
                    </a:lnTo>
                    <a:lnTo>
                      <a:pt x="196" y="134"/>
                    </a:lnTo>
                    <a:lnTo>
                      <a:pt x="203" y="127"/>
                    </a:lnTo>
                    <a:lnTo>
                      <a:pt x="203" y="124"/>
                    </a:lnTo>
                    <a:lnTo>
                      <a:pt x="205" y="121"/>
                    </a:lnTo>
                    <a:lnTo>
                      <a:pt x="205" y="116"/>
                    </a:lnTo>
                    <a:lnTo>
                      <a:pt x="208" y="112"/>
                    </a:lnTo>
                    <a:lnTo>
                      <a:pt x="215" y="111"/>
                    </a:lnTo>
                    <a:lnTo>
                      <a:pt x="220" y="106"/>
                    </a:lnTo>
                    <a:lnTo>
                      <a:pt x="223" y="106"/>
                    </a:lnTo>
                    <a:lnTo>
                      <a:pt x="225" y="103"/>
                    </a:lnTo>
                    <a:lnTo>
                      <a:pt x="238" y="101"/>
                    </a:lnTo>
                    <a:lnTo>
                      <a:pt x="255" y="96"/>
                    </a:lnTo>
                    <a:lnTo>
                      <a:pt x="256" y="91"/>
                    </a:lnTo>
                    <a:lnTo>
                      <a:pt x="258" y="93"/>
                    </a:lnTo>
                    <a:lnTo>
                      <a:pt x="263" y="93"/>
                    </a:lnTo>
                    <a:lnTo>
                      <a:pt x="265" y="93"/>
                    </a:lnTo>
                    <a:lnTo>
                      <a:pt x="270" y="96"/>
                    </a:lnTo>
                    <a:lnTo>
                      <a:pt x="270" y="96"/>
                    </a:lnTo>
                    <a:lnTo>
                      <a:pt x="274" y="98"/>
                    </a:lnTo>
                    <a:lnTo>
                      <a:pt x="278" y="94"/>
                    </a:lnTo>
                    <a:lnTo>
                      <a:pt x="276" y="88"/>
                    </a:lnTo>
                    <a:lnTo>
                      <a:pt x="271" y="84"/>
                    </a:lnTo>
                    <a:lnTo>
                      <a:pt x="266" y="84"/>
                    </a:lnTo>
                    <a:lnTo>
                      <a:pt x="260" y="84"/>
                    </a:lnTo>
                    <a:lnTo>
                      <a:pt x="260" y="83"/>
                    </a:lnTo>
                    <a:lnTo>
                      <a:pt x="274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68" y="54"/>
                    </a:lnTo>
                    <a:lnTo>
                      <a:pt x="263" y="51"/>
                    </a:lnTo>
                    <a:lnTo>
                      <a:pt x="260" y="51"/>
                    </a:lnTo>
                    <a:lnTo>
                      <a:pt x="258" y="49"/>
                    </a:lnTo>
                    <a:lnTo>
                      <a:pt x="253" y="49"/>
                    </a:lnTo>
                    <a:lnTo>
                      <a:pt x="245" y="53"/>
                    </a:lnTo>
                    <a:lnTo>
                      <a:pt x="240" y="49"/>
                    </a:lnTo>
                    <a:lnTo>
                      <a:pt x="233" y="49"/>
                    </a:lnTo>
                    <a:lnTo>
                      <a:pt x="225" y="53"/>
                    </a:lnTo>
                    <a:lnTo>
                      <a:pt x="221" y="54"/>
                    </a:lnTo>
                    <a:lnTo>
                      <a:pt x="216" y="54"/>
                    </a:lnTo>
                    <a:lnTo>
                      <a:pt x="211" y="53"/>
                    </a:lnTo>
                    <a:lnTo>
                      <a:pt x="206" y="54"/>
                    </a:lnTo>
                    <a:lnTo>
                      <a:pt x="203" y="53"/>
                    </a:lnTo>
                    <a:lnTo>
                      <a:pt x="201" y="49"/>
                    </a:lnTo>
                    <a:lnTo>
                      <a:pt x="203" y="48"/>
                    </a:lnTo>
                    <a:lnTo>
                      <a:pt x="200" y="41"/>
                    </a:lnTo>
                    <a:lnTo>
                      <a:pt x="196" y="39"/>
                    </a:lnTo>
                    <a:lnTo>
                      <a:pt x="195" y="39"/>
                    </a:lnTo>
                    <a:lnTo>
                      <a:pt x="195" y="34"/>
                    </a:lnTo>
                    <a:lnTo>
                      <a:pt x="190" y="28"/>
                    </a:lnTo>
                    <a:lnTo>
                      <a:pt x="178" y="24"/>
                    </a:lnTo>
                    <a:lnTo>
                      <a:pt x="175" y="24"/>
                    </a:lnTo>
                    <a:lnTo>
                      <a:pt x="172" y="18"/>
                    </a:lnTo>
                    <a:lnTo>
                      <a:pt x="172" y="13"/>
                    </a:lnTo>
                    <a:lnTo>
                      <a:pt x="165" y="8"/>
                    </a:lnTo>
                    <a:lnTo>
                      <a:pt x="163" y="5"/>
                    </a:lnTo>
                    <a:lnTo>
                      <a:pt x="158" y="5"/>
                    </a:lnTo>
                    <a:lnTo>
                      <a:pt x="150" y="1"/>
                    </a:lnTo>
                    <a:lnTo>
                      <a:pt x="147" y="0"/>
                    </a:lnTo>
                    <a:lnTo>
                      <a:pt x="145" y="0"/>
                    </a:lnTo>
                    <a:lnTo>
                      <a:pt x="147" y="3"/>
                    </a:lnTo>
                    <a:lnTo>
                      <a:pt x="147" y="5"/>
                    </a:lnTo>
                    <a:lnTo>
                      <a:pt x="152" y="13"/>
                    </a:lnTo>
                    <a:lnTo>
                      <a:pt x="152" y="18"/>
                    </a:lnTo>
                    <a:lnTo>
                      <a:pt x="150" y="23"/>
                    </a:lnTo>
                    <a:lnTo>
                      <a:pt x="150" y="24"/>
                    </a:lnTo>
                    <a:lnTo>
                      <a:pt x="145" y="24"/>
                    </a:lnTo>
                    <a:lnTo>
                      <a:pt x="138" y="39"/>
                    </a:lnTo>
                    <a:lnTo>
                      <a:pt x="122" y="53"/>
                    </a:lnTo>
                    <a:lnTo>
                      <a:pt x="112" y="59"/>
                    </a:lnTo>
                    <a:lnTo>
                      <a:pt x="87" y="68"/>
                    </a:lnTo>
                    <a:lnTo>
                      <a:pt x="83" y="69"/>
                    </a:lnTo>
                    <a:lnTo>
                      <a:pt x="64" y="106"/>
                    </a:lnTo>
                    <a:lnTo>
                      <a:pt x="59" y="109"/>
                    </a:lnTo>
                    <a:lnTo>
                      <a:pt x="57" y="109"/>
                    </a:lnTo>
                    <a:lnTo>
                      <a:pt x="49" y="101"/>
                    </a:lnTo>
                    <a:lnTo>
                      <a:pt x="45" y="99"/>
                    </a:lnTo>
                    <a:lnTo>
                      <a:pt x="37" y="98"/>
                    </a:lnTo>
                    <a:lnTo>
                      <a:pt x="35" y="94"/>
                    </a:lnTo>
                    <a:lnTo>
                      <a:pt x="30" y="96"/>
                    </a:lnTo>
                    <a:lnTo>
                      <a:pt x="25" y="96"/>
                    </a:lnTo>
                    <a:lnTo>
                      <a:pt x="24" y="93"/>
                    </a:lnTo>
                    <a:lnTo>
                      <a:pt x="29" y="88"/>
                    </a:lnTo>
                    <a:lnTo>
                      <a:pt x="34" y="86"/>
                    </a:lnTo>
                    <a:lnTo>
                      <a:pt x="32" y="79"/>
                    </a:lnTo>
                    <a:lnTo>
                      <a:pt x="29" y="79"/>
                    </a:lnTo>
                    <a:lnTo>
                      <a:pt x="29" y="79"/>
                    </a:lnTo>
                    <a:lnTo>
                      <a:pt x="17" y="84"/>
                    </a:lnTo>
                    <a:lnTo>
                      <a:pt x="12" y="88"/>
                    </a:lnTo>
                    <a:lnTo>
                      <a:pt x="4" y="94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0" y="106"/>
                    </a:lnTo>
                    <a:lnTo>
                      <a:pt x="5" y="109"/>
                    </a:lnTo>
                    <a:lnTo>
                      <a:pt x="5" y="112"/>
                    </a:lnTo>
                    <a:lnTo>
                      <a:pt x="2" y="114"/>
                    </a:lnTo>
                    <a:lnTo>
                      <a:pt x="2" y="116"/>
                    </a:lnTo>
                    <a:lnTo>
                      <a:pt x="7" y="121"/>
                    </a:lnTo>
                    <a:lnTo>
                      <a:pt x="10" y="126"/>
                    </a:lnTo>
                    <a:lnTo>
                      <a:pt x="10" y="131"/>
                    </a:lnTo>
                    <a:lnTo>
                      <a:pt x="7" y="131"/>
                    </a:lnTo>
                    <a:lnTo>
                      <a:pt x="2" y="132"/>
                    </a:lnTo>
                    <a:lnTo>
                      <a:pt x="2" y="136"/>
                    </a:lnTo>
                    <a:lnTo>
                      <a:pt x="5" y="139"/>
                    </a:lnTo>
                    <a:lnTo>
                      <a:pt x="10" y="141"/>
                    </a:lnTo>
                    <a:lnTo>
                      <a:pt x="17" y="147"/>
                    </a:lnTo>
                    <a:lnTo>
                      <a:pt x="24" y="147"/>
                    </a:lnTo>
                    <a:lnTo>
                      <a:pt x="34" y="154"/>
                    </a:lnTo>
                    <a:lnTo>
                      <a:pt x="39" y="154"/>
                    </a:lnTo>
                    <a:lnTo>
                      <a:pt x="40" y="157"/>
                    </a:lnTo>
                    <a:lnTo>
                      <a:pt x="45" y="166"/>
                    </a:lnTo>
                    <a:lnTo>
                      <a:pt x="47" y="171"/>
                    </a:lnTo>
                    <a:lnTo>
                      <a:pt x="49" y="176"/>
                    </a:lnTo>
                    <a:lnTo>
                      <a:pt x="59" y="181"/>
                    </a:lnTo>
                    <a:lnTo>
                      <a:pt x="64" y="187"/>
                    </a:lnTo>
                    <a:lnTo>
                      <a:pt x="65" y="192"/>
                    </a:lnTo>
                    <a:lnTo>
                      <a:pt x="67" y="197"/>
                    </a:lnTo>
                    <a:lnTo>
                      <a:pt x="69" y="204"/>
                    </a:lnTo>
                    <a:lnTo>
                      <a:pt x="72" y="209"/>
                    </a:lnTo>
                    <a:lnTo>
                      <a:pt x="75" y="210"/>
                    </a:lnTo>
                    <a:lnTo>
                      <a:pt x="80" y="219"/>
                    </a:lnTo>
                    <a:lnTo>
                      <a:pt x="80" y="224"/>
                    </a:lnTo>
                    <a:lnTo>
                      <a:pt x="78" y="225"/>
                    </a:lnTo>
                    <a:lnTo>
                      <a:pt x="83" y="232"/>
                    </a:lnTo>
                    <a:lnTo>
                      <a:pt x="90" y="242"/>
                    </a:lnTo>
                    <a:lnTo>
                      <a:pt x="93" y="245"/>
                    </a:lnTo>
                    <a:lnTo>
                      <a:pt x="92" y="250"/>
                    </a:lnTo>
                    <a:lnTo>
                      <a:pt x="93" y="252"/>
                    </a:lnTo>
                    <a:lnTo>
                      <a:pt x="97" y="254"/>
                    </a:lnTo>
                    <a:lnTo>
                      <a:pt x="105" y="260"/>
                    </a:lnTo>
                    <a:lnTo>
                      <a:pt x="107" y="264"/>
                    </a:lnTo>
                    <a:lnTo>
                      <a:pt x="107" y="270"/>
                    </a:lnTo>
                    <a:lnTo>
                      <a:pt x="110" y="274"/>
                    </a:lnTo>
                    <a:lnTo>
                      <a:pt x="117" y="275"/>
                    </a:lnTo>
                    <a:lnTo>
                      <a:pt x="117" y="280"/>
                    </a:lnTo>
                    <a:lnTo>
                      <a:pt x="125" y="290"/>
                    </a:lnTo>
                    <a:lnTo>
                      <a:pt x="127" y="295"/>
                    </a:lnTo>
                    <a:lnTo>
                      <a:pt x="133" y="305"/>
                    </a:lnTo>
                    <a:lnTo>
                      <a:pt x="135" y="310"/>
                    </a:lnTo>
                    <a:lnTo>
                      <a:pt x="132" y="310"/>
                    </a:lnTo>
                    <a:lnTo>
                      <a:pt x="130" y="308"/>
                    </a:lnTo>
                    <a:lnTo>
                      <a:pt x="130" y="312"/>
                    </a:lnTo>
                    <a:lnTo>
                      <a:pt x="130" y="315"/>
                    </a:lnTo>
                    <a:lnTo>
                      <a:pt x="130" y="318"/>
                    </a:lnTo>
                    <a:lnTo>
                      <a:pt x="133" y="318"/>
                    </a:lnTo>
                    <a:lnTo>
                      <a:pt x="137" y="320"/>
                    </a:lnTo>
                    <a:lnTo>
                      <a:pt x="137" y="322"/>
                    </a:lnTo>
                    <a:lnTo>
                      <a:pt x="137" y="325"/>
                    </a:lnTo>
                    <a:lnTo>
                      <a:pt x="145" y="330"/>
                    </a:lnTo>
                    <a:lnTo>
                      <a:pt x="152" y="333"/>
                    </a:lnTo>
                    <a:lnTo>
                      <a:pt x="152" y="337"/>
                    </a:lnTo>
                    <a:lnTo>
                      <a:pt x="157" y="340"/>
                    </a:lnTo>
                    <a:lnTo>
                      <a:pt x="160" y="340"/>
                    </a:lnTo>
                    <a:lnTo>
                      <a:pt x="162" y="343"/>
                    </a:lnTo>
                    <a:lnTo>
                      <a:pt x="163" y="347"/>
                    </a:lnTo>
                    <a:lnTo>
                      <a:pt x="167" y="348"/>
                    </a:lnTo>
                    <a:lnTo>
                      <a:pt x="175" y="348"/>
                    </a:lnTo>
                    <a:lnTo>
                      <a:pt x="176" y="345"/>
                    </a:lnTo>
                    <a:lnTo>
                      <a:pt x="175" y="350"/>
                    </a:lnTo>
                    <a:lnTo>
                      <a:pt x="180" y="353"/>
                    </a:lnTo>
                    <a:lnTo>
                      <a:pt x="186" y="357"/>
                    </a:lnTo>
                    <a:lnTo>
                      <a:pt x="191" y="360"/>
                    </a:lnTo>
                    <a:lnTo>
                      <a:pt x="191" y="363"/>
                    </a:lnTo>
                    <a:lnTo>
                      <a:pt x="195" y="365"/>
                    </a:lnTo>
                    <a:lnTo>
                      <a:pt x="201" y="368"/>
                    </a:lnTo>
                    <a:lnTo>
                      <a:pt x="203" y="367"/>
                    </a:lnTo>
                    <a:lnTo>
                      <a:pt x="206" y="368"/>
                    </a:lnTo>
                    <a:lnTo>
                      <a:pt x="216" y="373"/>
                    </a:lnTo>
                    <a:lnTo>
                      <a:pt x="223" y="375"/>
                    </a:lnTo>
                    <a:lnTo>
                      <a:pt x="228" y="375"/>
                    </a:lnTo>
                    <a:lnTo>
                      <a:pt x="230" y="377"/>
                    </a:lnTo>
                    <a:lnTo>
                      <a:pt x="231" y="380"/>
                    </a:lnTo>
                    <a:lnTo>
                      <a:pt x="238" y="383"/>
                    </a:lnTo>
                    <a:lnTo>
                      <a:pt x="241" y="387"/>
                    </a:lnTo>
                    <a:lnTo>
                      <a:pt x="246" y="390"/>
                    </a:lnTo>
                    <a:lnTo>
                      <a:pt x="250" y="392"/>
                    </a:lnTo>
                    <a:lnTo>
                      <a:pt x="251" y="395"/>
                    </a:lnTo>
                    <a:lnTo>
                      <a:pt x="251" y="397"/>
                    </a:lnTo>
                    <a:lnTo>
                      <a:pt x="251" y="400"/>
                    </a:lnTo>
                    <a:lnTo>
                      <a:pt x="256" y="400"/>
                    </a:lnTo>
                    <a:lnTo>
                      <a:pt x="261" y="403"/>
                    </a:lnTo>
                    <a:lnTo>
                      <a:pt x="268" y="408"/>
                    </a:lnTo>
                    <a:lnTo>
                      <a:pt x="274" y="415"/>
                    </a:lnTo>
                    <a:lnTo>
                      <a:pt x="279" y="415"/>
                    </a:lnTo>
                    <a:lnTo>
                      <a:pt x="279" y="416"/>
                    </a:lnTo>
                    <a:lnTo>
                      <a:pt x="286" y="413"/>
                    </a:lnTo>
                    <a:lnTo>
                      <a:pt x="291" y="410"/>
                    </a:lnTo>
                    <a:lnTo>
                      <a:pt x="294" y="411"/>
                    </a:lnTo>
                    <a:lnTo>
                      <a:pt x="299" y="408"/>
                    </a:lnTo>
                    <a:lnTo>
                      <a:pt x="301" y="405"/>
                    </a:lnTo>
                    <a:lnTo>
                      <a:pt x="296" y="402"/>
                    </a:lnTo>
                    <a:lnTo>
                      <a:pt x="298" y="397"/>
                    </a:lnTo>
                    <a:lnTo>
                      <a:pt x="301" y="393"/>
                    </a:lnTo>
                    <a:lnTo>
                      <a:pt x="304" y="395"/>
                    </a:lnTo>
                    <a:lnTo>
                      <a:pt x="303" y="392"/>
                    </a:lnTo>
                    <a:lnTo>
                      <a:pt x="301" y="392"/>
                    </a:lnTo>
                    <a:lnTo>
                      <a:pt x="298" y="388"/>
                    </a:lnTo>
                    <a:lnTo>
                      <a:pt x="301" y="382"/>
                    </a:lnTo>
                    <a:lnTo>
                      <a:pt x="308" y="378"/>
                    </a:lnTo>
                    <a:lnTo>
                      <a:pt x="313" y="373"/>
                    </a:lnTo>
                    <a:lnTo>
                      <a:pt x="313" y="367"/>
                    </a:lnTo>
                    <a:lnTo>
                      <a:pt x="306" y="353"/>
                    </a:lnTo>
                    <a:lnTo>
                      <a:pt x="308" y="350"/>
                    </a:lnTo>
                    <a:lnTo>
                      <a:pt x="308" y="343"/>
                    </a:lnTo>
                    <a:lnTo>
                      <a:pt x="306" y="342"/>
                    </a:lnTo>
                    <a:lnTo>
                      <a:pt x="304" y="337"/>
                    </a:lnTo>
                    <a:lnTo>
                      <a:pt x="308" y="333"/>
                    </a:lnTo>
                    <a:lnTo>
                      <a:pt x="309" y="325"/>
                    </a:lnTo>
                    <a:lnTo>
                      <a:pt x="309" y="312"/>
                    </a:lnTo>
                    <a:lnTo>
                      <a:pt x="306" y="305"/>
                    </a:lnTo>
                    <a:lnTo>
                      <a:pt x="309" y="299"/>
                    </a:lnTo>
                    <a:lnTo>
                      <a:pt x="309" y="284"/>
                    </a:lnTo>
                    <a:lnTo>
                      <a:pt x="314" y="277"/>
                    </a:lnTo>
                    <a:lnTo>
                      <a:pt x="313" y="274"/>
                    </a:lnTo>
                    <a:lnTo>
                      <a:pt x="291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7" name="Freeform 171"/>
              <p:cNvSpPr>
                <a:spLocks/>
              </p:cNvSpPr>
              <p:nvPr/>
            </p:nvSpPr>
            <p:spPr bwMode="auto">
              <a:xfrm>
                <a:off x="5526708" y="3383849"/>
                <a:ext cx="161607" cy="158751"/>
              </a:xfrm>
              <a:custGeom>
                <a:avLst/>
                <a:gdLst/>
                <a:ahLst/>
                <a:cxnLst>
                  <a:cxn ang="0">
                    <a:pos x="291" y="225"/>
                  </a:cxn>
                  <a:cxn ang="0">
                    <a:pos x="289" y="172"/>
                  </a:cxn>
                  <a:cxn ang="0">
                    <a:pos x="274" y="147"/>
                  </a:cxn>
                  <a:cxn ang="0">
                    <a:pos x="224" y="122"/>
                  </a:cxn>
                  <a:cxn ang="0">
                    <a:pos x="226" y="98"/>
                  </a:cxn>
                  <a:cxn ang="0">
                    <a:pos x="199" y="90"/>
                  </a:cxn>
                  <a:cxn ang="0">
                    <a:pos x="188" y="80"/>
                  </a:cxn>
                  <a:cxn ang="0">
                    <a:pos x="166" y="75"/>
                  </a:cxn>
                  <a:cxn ang="0">
                    <a:pos x="143" y="60"/>
                  </a:cxn>
                  <a:cxn ang="0">
                    <a:pos x="126" y="60"/>
                  </a:cxn>
                  <a:cxn ang="0">
                    <a:pos x="110" y="47"/>
                  </a:cxn>
                  <a:cxn ang="0">
                    <a:pos x="103" y="32"/>
                  </a:cxn>
                  <a:cxn ang="0">
                    <a:pos x="101" y="7"/>
                  </a:cxn>
                  <a:cxn ang="0">
                    <a:pos x="93" y="4"/>
                  </a:cxn>
                  <a:cxn ang="0">
                    <a:pos x="75" y="4"/>
                  </a:cxn>
                  <a:cxn ang="0">
                    <a:pos x="52" y="22"/>
                  </a:cxn>
                  <a:cxn ang="0">
                    <a:pos x="33" y="27"/>
                  </a:cxn>
                  <a:cxn ang="0">
                    <a:pos x="15" y="30"/>
                  </a:cxn>
                  <a:cxn ang="0">
                    <a:pos x="23" y="62"/>
                  </a:cxn>
                  <a:cxn ang="0">
                    <a:pos x="15" y="90"/>
                  </a:cxn>
                  <a:cxn ang="0">
                    <a:pos x="17" y="118"/>
                  </a:cxn>
                  <a:cxn ang="0">
                    <a:pos x="17" y="128"/>
                  </a:cxn>
                  <a:cxn ang="0">
                    <a:pos x="22" y="152"/>
                  </a:cxn>
                  <a:cxn ang="0">
                    <a:pos x="10" y="167"/>
                  </a:cxn>
                  <a:cxn ang="0">
                    <a:pos x="12" y="177"/>
                  </a:cxn>
                  <a:cxn ang="0">
                    <a:pos x="15" y="185"/>
                  </a:cxn>
                  <a:cxn ang="0">
                    <a:pos x="23" y="195"/>
                  </a:cxn>
                  <a:cxn ang="0">
                    <a:pos x="23" y="210"/>
                  </a:cxn>
                  <a:cxn ang="0">
                    <a:pos x="40" y="225"/>
                  </a:cxn>
                  <a:cxn ang="0">
                    <a:pos x="33" y="248"/>
                  </a:cxn>
                  <a:cxn ang="0">
                    <a:pos x="67" y="306"/>
                  </a:cxn>
                  <a:cxn ang="0">
                    <a:pos x="78" y="303"/>
                  </a:cxn>
                  <a:cxn ang="0">
                    <a:pos x="85" y="291"/>
                  </a:cxn>
                  <a:cxn ang="0">
                    <a:pos x="106" y="285"/>
                  </a:cxn>
                  <a:cxn ang="0">
                    <a:pos x="123" y="285"/>
                  </a:cxn>
                  <a:cxn ang="0">
                    <a:pos x="138" y="289"/>
                  </a:cxn>
                  <a:cxn ang="0">
                    <a:pos x="145" y="298"/>
                  </a:cxn>
                  <a:cxn ang="0">
                    <a:pos x="148" y="286"/>
                  </a:cxn>
                  <a:cxn ang="0">
                    <a:pos x="178" y="281"/>
                  </a:cxn>
                  <a:cxn ang="0">
                    <a:pos x="191" y="266"/>
                  </a:cxn>
                  <a:cxn ang="0">
                    <a:pos x="188" y="251"/>
                  </a:cxn>
                  <a:cxn ang="0">
                    <a:pos x="199" y="228"/>
                  </a:cxn>
                  <a:cxn ang="0">
                    <a:pos x="264" y="218"/>
                  </a:cxn>
                  <a:cxn ang="0">
                    <a:pos x="287" y="231"/>
                  </a:cxn>
                </a:cxnLst>
                <a:rect l="0" t="0" r="r" b="b"/>
                <a:pathLst>
                  <a:path w="302" h="306">
                    <a:moveTo>
                      <a:pt x="287" y="231"/>
                    </a:moveTo>
                    <a:lnTo>
                      <a:pt x="291" y="228"/>
                    </a:lnTo>
                    <a:lnTo>
                      <a:pt x="291" y="225"/>
                    </a:lnTo>
                    <a:lnTo>
                      <a:pt x="302" y="203"/>
                    </a:lnTo>
                    <a:lnTo>
                      <a:pt x="301" y="191"/>
                    </a:lnTo>
                    <a:lnTo>
                      <a:pt x="289" y="172"/>
                    </a:lnTo>
                    <a:lnTo>
                      <a:pt x="276" y="170"/>
                    </a:lnTo>
                    <a:lnTo>
                      <a:pt x="277" y="160"/>
                    </a:lnTo>
                    <a:lnTo>
                      <a:pt x="274" y="147"/>
                    </a:lnTo>
                    <a:lnTo>
                      <a:pt x="233" y="147"/>
                    </a:lnTo>
                    <a:lnTo>
                      <a:pt x="233" y="135"/>
                    </a:lnTo>
                    <a:lnTo>
                      <a:pt x="224" y="122"/>
                    </a:lnTo>
                    <a:lnTo>
                      <a:pt x="226" y="117"/>
                    </a:lnTo>
                    <a:lnTo>
                      <a:pt x="224" y="108"/>
                    </a:lnTo>
                    <a:lnTo>
                      <a:pt x="226" y="98"/>
                    </a:lnTo>
                    <a:lnTo>
                      <a:pt x="224" y="95"/>
                    </a:lnTo>
                    <a:lnTo>
                      <a:pt x="214" y="90"/>
                    </a:lnTo>
                    <a:lnTo>
                      <a:pt x="199" y="90"/>
                    </a:lnTo>
                    <a:lnTo>
                      <a:pt x="194" y="88"/>
                    </a:lnTo>
                    <a:lnTo>
                      <a:pt x="189" y="87"/>
                    </a:lnTo>
                    <a:lnTo>
                      <a:pt x="188" y="80"/>
                    </a:lnTo>
                    <a:lnTo>
                      <a:pt x="181" y="79"/>
                    </a:lnTo>
                    <a:lnTo>
                      <a:pt x="170" y="75"/>
                    </a:lnTo>
                    <a:lnTo>
                      <a:pt x="166" y="75"/>
                    </a:lnTo>
                    <a:lnTo>
                      <a:pt x="158" y="67"/>
                    </a:lnTo>
                    <a:lnTo>
                      <a:pt x="151" y="69"/>
                    </a:lnTo>
                    <a:lnTo>
                      <a:pt x="143" y="60"/>
                    </a:lnTo>
                    <a:lnTo>
                      <a:pt x="133" y="62"/>
                    </a:lnTo>
                    <a:lnTo>
                      <a:pt x="131" y="65"/>
                    </a:lnTo>
                    <a:lnTo>
                      <a:pt x="126" y="60"/>
                    </a:lnTo>
                    <a:lnTo>
                      <a:pt x="118" y="55"/>
                    </a:lnTo>
                    <a:lnTo>
                      <a:pt x="111" y="54"/>
                    </a:lnTo>
                    <a:lnTo>
                      <a:pt x="110" y="47"/>
                    </a:lnTo>
                    <a:lnTo>
                      <a:pt x="105" y="45"/>
                    </a:lnTo>
                    <a:lnTo>
                      <a:pt x="101" y="37"/>
                    </a:lnTo>
                    <a:lnTo>
                      <a:pt x="103" y="32"/>
                    </a:lnTo>
                    <a:lnTo>
                      <a:pt x="100" y="22"/>
                    </a:lnTo>
                    <a:lnTo>
                      <a:pt x="103" y="15"/>
                    </a:lnTo>
                    <a:lnTo>
                      <a:pt x="101" y="7"/>
                    </a:lnTo>
                    <a:lnTo>
                      <a:pt x="101" y="2"/>
                    </a:lnTo>
                    <a:lnTo>
                      <a:pt x="98" y="0"/>
                    </a:lnTo>
                    <a:lnTo>
                      <a:pt x="93" y="4"/>
                    </a:lnTo>
                    <a:lnTo>
                      <a:pt x="88" y="0"/>
                    </a:lnTo>
                    <a:lnTo>
                      <a:pt x="83" y="0"/>
                    </a:lnTo>
                    <a:lnTo>
                      <a:pt x="75" y="4"/>
                    </a:lnTo>
                    <a:lnTo>
                      <a:pt x="67" y="5"/>
                    </a:lnTo>
                    <a:lnTo>
                      <a:pt x="55" y="12"/>
                    </a:lnTo>
                    <a:lnTo>
                      <a:pt x="52" y="22"/>
                    </a:lnTo>
                    <a:lnTo>
                      <a:pt x="45" y="24"/>
                    </a:lnTo>
                    <a:lnTo>
                      <a:pt x="38" y="24"/>
                    </a:lnTo>
                    <a:lnTo>
                      <a:pt x="33" y="27"/>
                    </a:lnTo>
                    <a:lnTo>
                      <a:pt x="30" y="27"/>
                    </a:lnTo>
                    <a:lnTo>
                      <a:pt x="22" y="30"/>
                    </a:lnTo>
                    <a:lnTo>
                      <a:pt x="15" y="30"/>
                    </a:lnTo>
                    <a:lnTo>
                      <a:pt x="0" y="30"/>
                    </a:lnTo>
                    <a:lnTo>
                      <a:pt x="22" y="59"/>
                    </a:lnTo>
                    <a:lnTo>
                      <a:pt x="23" y="62"/>
                    </a:lnTo>
                    <a:lnTo>
                      <a:pt x="18" y="69"/>
                    </a:lnTo>
                    <a:lnTo>
                      <a:pt x="18" y="84"/>
                    </a:lnTo>
                    <a:lnTo>
                      <a:pt x="15" y="90"/>
                    </a:lnTo>
                    <a:lnTo>
                      <a:pt x="18" y="97"/>
                    </a:lnTo>
                    <a:lnTo>
                      <a:pt x="18" y="110"/>
                    </a:lnTo>
                    <a:lnTo>
                      <a:pt x="17" y="118"/>
                    </a:lnTo>
                    <a:lnTo>
                      <a:pt x="13" y="122"/>
                    </a:lnTo>
                    <a:lnTo>
                      <a:pt x="15" y="127"/>
                    </a:lnTo>
                    <a:lnTo>
                      <a:pt x="17" y="128"/>
                    </a:lnTo>
                    <a:lnTo>
                      <a:pt x="17" y="135"/>
                    </a:lnTo>
                    <a:lnTo>
                      <a:pt x="15" y="138"/>
                    </a:lnTo>
                    <a:lnTo>
                      <a:pt x="22" y="152"/>
                    </a:lnTo>
                    <a:lnTo>
                      <a:pt x="22" y="158"/>
                    </a:lnTo>
                    <a:lnTo>
                      <a:pt x="17" y="163"/>
                    </a:lnTo>
                    <a:lnTo>
                      <a:pt x="10" y="167"/>
                    </a:lnTo>
                    <a:lnTo>
                      <a:pt x="7" y="173"/>
                    </a:lnTo>
                    <a:lnTo>
                      <a:pt x="10" y="177"/>
                    </a:lnTo>
                    <a:lnTo>
                      <a:pt x="12" y="177"/>
                    </a:lnTo>
                    <a:lnTo>
                      <a:pt x="13" y="180"/>
                    </a:lnTo>
                    <a:lnTo>
                      <a:pt x="13" y="180"/>
                    </a:lnTo>
                    <a:lnTo>
                      <a:pt x="15" y="185"/>
                    </a:lnTo>
                    <a:lnTo>
                      <a:pt x="20" y="188"/>
                    </a:lnTo>
                    <a:lnTo>
                      <a:pt x="22" y="191"/>
                    </a:lnTo>
                    <a:lnTo>
                      <a:pt x="23" y="195"/>
                    </a:lnTo>
                    <a:lnTo>
                      <a:pt x="22" y="200"/>
                    </a:lnTo>
                    <a:lnTo>
                      <a:pt x="23" y="201"/>
                    </a:lnTo>
                    <a:lnTo>
                      <a:pt x="23" y="210"/>
                    </a:lnTo>
                    <a:lnTo>
                      <a:pt x="28" y="215"/>
                    </a:lnTo>
                    <a:lnTo>
                      <a:pt x="38" y="221"/>
                    </a:lnTo>
                    <a:lnTo>
                      <a:pt x="40" y="225"/>
                    </a:lnTo>
                    <a:lnTo>
                      <a:pt x="37" y="231"/>
                    </a:lnTo>
                    <a:lnTo>
                      <a:pt x="38" y="236"/>
                    </a:lnTo>
                    <a:lnTo>
                      <a:pt x="33" y="248"/>
                    </a:lnTo>
                    <a:lnTo>
                      <a:pt x="37" y="253"/>
                    </a:lnTo>
                    <a:lnTo>
                      <a:pt x="48" y="263"/>
                    </a:lnTo>
                    <a:lnTo>
                      <a:pt x="67" y="306"/>
                    </a:lnTo>
                    <a:lnTo>
                      <a:pt x="73" y="306"/>
                    </a:lnTo>
                    <a:lnTo>
                      <a:pt x="75" y="303"/>
                    </a:lnTo>
                    <a:lnTo>
                      <a:pt x="78" y="303"/>
                    </a:lnTo>
                    <a:lnTo>
                      <a:pt x="78" y="303"/>
                    </a:lnTo>
                    <a:lnTo>
                      <a:pt x="81" y="299"/>
                    </a:lnTo>
                    <a:lnTo>
                      <a:pt x="85" y="291"/>
                    </a:lnTo>
                    <a:lnTo>
                      <a:pt x="95" y="283"/>
                    </a:lnTo>
                    <a:lnTo>
                      <a:pt x="101" y="280"/>
                    </a:lnTo>
                    <a:lnTo>
                      <a:pt x="106" y="285"/>
                    </a:lnTo>
                    <a:lnTo>
                      <a:pt x="115" y="285"/>
                    </a:lnTo>
                    <a:lnTo>
                      <a:pt x="118" y="283"/>
                    </a:lnTo>
                    <a:lnTo>
                      <a:pt x="123" y="285"/>
                    </a:lnTo>
                    <a:lnTo>
                      <a:pt x="133" y="283"/>
                    </a:lnTo>
                    <a:lnTo>
                      <a:pt x="136" y="283"/>
                    </a:lnTo>
                    <a:lnTo>
                      <a:pt x="138" y="289"/>
                    </a:lnTo>
                    <a:lnTo>
                      <a:pt x="141" y="298"/>
                    </a:lnTo>
                    <a:lnTo>
                      <a:pt x="143" y="301"/>
                    </a:lnTo>
                    <a:lnTo>
                      <a:pt x="145" y="298"/>
                    </a:lnTo>
                    <a:lnTo>
                      <a:pt x="145" y="294"/>
                    </a:lnTo>
                    <a:lnTo>
                      <a:pt x="148" y="289"/>
                    </a:lnTo>
                    <a:lnTo>
                      <a:pt x="148" y="286"/>
                    </a:lnTo>
                    <a:lnTo>
                      <a:pt x="151" y="281"/>
                    </a:lnTo>
                    <a:lnTo>
                      <a:pt x="166" y="281"/>
                    </a:lnTo>
                    <a:lnTo>
                      <a:pt x="178" y="281"/>
                    </a:lnTo>
                    <a:lnTo>
                      <a:pt x="183" y="285"/>
                    </a:lnTo>
                    <a:lnTo>
                      <a:pt x="184" y="278"/>
                    </a:lnTo>
                    <a:lnTo>
                      <a:pt x="191" y="266"/>
                    </a:lnTo>
                    <a:lnTo>
                      <a:pt x="191" y="260"/>
                    </a:lnTo>
                    <a:lnTo>
                      <a:pt x="189" y="255"/>
                    </a:lnTo>
                    <a:lnTo>
                      <a:pt x="188" y="251"/>
                    </a:lnTo>
                    <a:lnTo>
                      <a:pt x="196" y="240"/>
                    </a:lnTo>
                    <a:lnTo>
                      <a:pt x="199" y="231"/>
                    </a:lnTo>
                    <a:lnTo>
                      <a:pt x="199" y="228"/>
                    </a:lnTo>
                    <a:lnTo>
                      <a:pt x="204" y="225"/>
                    </a:lnTo>
                    <a:lnTo>
                      <a:pt x="238" y="216"/>
                    </a:lnTo>
                    <a:lnTo>
                      <a:pt x="264" y="218"/>
                    </a:lnTo>
                    <a:lnTo>
                      <a:pt x="281" y="228"/>
                    </a:lnTo>
                    <a:lnTo>
                      <a:pt x="284" y="228"/>
                    </a:lnTo>
                    <a:lnTo>
                      <a:pt x="287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8" name="Freeform 172"/>
              <p:cNvSpPr>
                <a:spLocks/>
              </p:cNvSpPr>
              <p:nvPr/>
            </p:nvSpPr>
            <p:spPr bwMode="auto">
              <a:xfrm>
                <a:off x="5624100" y="3495909"/>
                <a:ext cx="111306" cy="103759"/>
              </a:xfrm>
              <a:custGeom>
                <a:avLst/>
                <a:gdLst/>
                <a:ahLst/>
                <a:cxnLst>
                  <a:cxn ang="0">
                    <a:pos x="1" y="62"/>
                  </a:cxn>
                  <a:cxn ang="0">
                    <a:pos x="8" y="44"/>
                  </a:cxn>
                  <a:cxn ang="0">
                    <a:pos x="5" y="35"/>
                  </a:cxn>
                  <a:cxn ang="0">
                    <a:pos x="16" y="15"/>
                  </a:cxn>
                  <a:cxn ang="0">
                    <a:pos x="21" y="9"/>
                  </a:cxn>
                  <a:cxn ang="0">
                    <a:pos x="81" y="2"/>
                  </a:cxn>
                  <a:cxn ang="0">
                    <a:pos x="101" y="12"/>
                  </a:cxn>
                  <a:cxn ang="0">
                    <a:pos x="106" y="22"/>
                  </a:cxn>
                  <a:cxn ang="0">
                    <a:pos x="111" y="34"/>
                  </a:cxn>
                  <a:cxn ang="0">
                    <a:pos x="114" y="54"/>
                  </a:cxn>
                  <a:cxn ang="0">
                    <a:pos x="114" y="64"/>
                  </a:cxn>
                  <a:cxn ang="0">
                    <a:pos x="124" y="67"/>
                  </a:cxn>
                  <a:cxn ang="0">
                    <a:pos x="139" y="69"/>
                  </a:cxn>
                  <a:cxn ang="0">
                    <a:pos x="158" y="67"/>
                  </a:cxn>
                  <a:cxn ang="0">
                    <a:pos x="168" y="72"/>
                  </a:cxn>
                  <a:cxn ang="0">
                    <a:pos x="176" y="100"/>
                  </a:cxn>
                  <a:cxn ang="0">
                    <a:pos x="184" y="110"/>
                  </a:cxn>
                  <a:cxn ang="0">
                    <a:pos x="199" y="107"/>
                  </a:cxn>
                  <a:cxn ang="0">
                    <a:pos x="207" y="110"/>
                  </a:cxn>
                  <a:cxn ang="0">
                    <a:pos x="204" y="135"/>
                  </a:cxn>
                  <a:cxn ang="0">
                    <a:pos x="202" y="138"/>
                  </a:cxn>
                  <a:cxn ang="0">
                    <a:pos x="202" y="143"/>
                  </a:cxn>
                  <a:cxn ang="0">
                    <a:pos x="201" y="147"/>
                  </a:cxn>
                  <a:cxn ang="0">
                    <a:pos x="201" y="155"/>
                  </a:cxn>
                  <a:cxn ang="0">
                    <a:pos x="196" y="167"/>
                  </a:cxn>
                  <a:cxn ang="0">
                    <a:pos x="191" y="176"/>
                  </a:cxn>
                  <a:cxn ang="0">
                    <a:pos x="178" y="188"/>
                  </a:cxn>
                  <a:cxn ang="0">
                    <a:pos x="168" y="191"/>
                  </a:cxn>
                  <a:cxn ang="0">
                    <a:pos x="161" y="200"/>
                  </a:cxn>
                  <a:cxn ang="0">
                    <a:pos x="156" y="196"/>
                  </a:cxn>
                  <a:cxn ang="0">
                    <a:pos x="139" y="193"/>
                  </a:cxn>
                  <a:cxn ang="0">
                    <a:pos x="108" y="191"/>
                  </a:cxn>
                  <a:cxn ang="0">
                    <a:pos x="106" y="186"/>
                  </a:cxn>
                  <a:cxn ang="0">
                    <a:pos x="116" y="171"/>
                  </a:cxn>
                  <a:cxn ang="0">
                    <a:pos x="118" y="163"/>
                  </a:cxn>
                  <a:cxn ang="0">
                    <a:pos x="126" y="155"/>
                  </a:cxn>
                  <a:cxn ang="0">
                    <a:pos x="124" y="145"/>
                  </a:cxn>
                  <a:cxn ang="0">
                    <a:pos x="111" y="133"/>
                  </a:cxn>
                  <a:cxn ang="0">
                    <a:pos x="86" y="127"/>
                  </a:cxn>
                  <a:cxn ang="0">
                    <a:pos x="71" y="118"/>
                  </a:cxn>
                  <a:cxn ang="0">
                    <a:pos x="46" y="110"/>
                  </a:cxn>
                  <a:cxn ang="0">
                    <a:pos x="36" y="100"/>
                  </a:cxn>
                  <a:cxn ang="0">
                    <a:pos x="16" y="85"/>
                  </a:cxn>
                  <a:cxn ang="0">
                    <a:pos x="5" y="75"/>
                  </a:cxn>
                  <a:cxn ang="0">
                    <a:pos x="0" y="69"/>
                  </a:cxn>
                </a:cxnLst>
                <a:rect l="0" t="0" r="r" b="b"/>
                <a:pathLst>
                  <a:path w="207" h="200">
                    <a:moveTo>
                      <a:pt x="0" y="69"/>
                    </a:moveTo>
                    <a:lnTo>
                      <a:pt x="1" y="62"/>
                    </a:lnTo>
                    <a:lnTo>
                      <a:pt x="8" y="50"/>
                    </a:lnTo>
                    <a:lnTo>
                      <a:pt x="8" y="44"/>
                    </a:lnTo>
                    <a:lnTo>
                      <a:pt x="6" y="39"/>
                    </a:lnTo>
                    <a:lnTo>
                      <a:pt x="5" y="35"/>
                    </a:lnTo>
                    <a:lnTo>
                      <a:pt x="13" y="24"/>
                    </a:lnTo>
                    <a:lnTo>
                      <a:pt x="16" y="15"/>
                    </a:lnTo>
                    <a:lnTo>
                      <a:pt x="16" y="12"/>
                    </a:lnTo>
                    <a:lnTo>
                      <a:pt x="21" y="9"/>
                    </a:lnTo>
                    <a:lnTo>
                      <a:pt x="55" y="0"/>
                    </a:lnTo>
                    <a:lnTo>
                      <a:pt x="81" y="2"/>
                    </a:lnTo>
                    <a:lnTo>
                      <a:pt x="98" y="12"/>
                    </a:lnTo>
                    <a:lnTo>
                      <a:pt x="101" y="12"/>
                    </a:lnTo>
                    <a:lnTo>
                      <a:pt x="106" y="17"/>
                    </a:lnTo>
                    <a:lnTo>
                      <a:pt x="106" y="22"/>
                    </a:lnTo>
                    <a:lnTo>
                      <a:pt x="111" y="27"/>
                    </a:lnTo>
                    <a:lnTo>
                      <a:pt x="111" y="34"/>
                    </a:lnTo>
                    <a:lnTo>
                      <a:pt x="116" y="40"/>
                    </a:lnTo>
                    <a:lnTo>
                      <a:pt x="114" y="54"/>
                    </a:lnTo>
                    <a:lnTo>
                      <a:pt x="116" y="59"/>
                    </a:lnTo>
                    <a:lnTo>
                      <a:pt x="114" y="64"/>
                    </a:lnTo>
                    <a:lnTo>
                      <a:pt x="116" y="69"/>
                    </a:lnTo>
                    <a:lnTo>
                      <a:pt x="124" y="67"/>
                    </a:lnTo>
                    <a:lnTo>
                      <a:pt x="128" y="69"/>
                    </a:lnTo>
                    <a:lnTo>
                      <a:pt x="139" y="69"/>
                    </a:lnTo>
                    <a:lnTo>
                      <a:pt x="146" y="70"/>
                    </a:lnTo>
                    <a:lnTo>
                      <a:pt x="158" y="67"/>
                    </a:lnTo>
                    <a:lnTo>
                      <a:pt x="164" y="70"/>
                    </a:lnTo>
                    <a:lnTo>
                      <a:pt x="168" y="72"/>
                    </a:lnTo>
                    <a:lnTo>
                      <a:pt x="169" y="77"/>
                    </a:lnTo>
                    <a:lnTo>
                      <a:pt x="176" y="100"/>
                    </a:lnTo>
                    <a:lnTo>
                      <a:pt x="181" y="108"/>
                    </a:lnTo>
                    <a:lnTo>
                      <a:pt x="184" y="110"/>
                    </a:lnTo>
                    <a:lnTo>
                      <a:pt x="194" y="105"/>
                    </a:lnTo>
                    <a:lnTo>
                      <a:pt x="199" y="107"/>
                    </a:lnTo>
                    <a:lnTo>
                      <a:pt x="204" y="110"/>
                    </a:lnTo>
                    <a:lnTo>
                      <a:pt x="207" y="110"/>
                    </a:lnTo>
                    <a:lnTo>
                      <a:pt x="204" y="113"/>
                    </a:lnTo>
                    <a:lnTo>
                      <a:pt x="204" y="135"/>
                    </a:lnTo>
                    <a:lnTo>
                      <a:pt x="202" y="137"/>
                    </a:lnTo>
                    <a:lnTo>
                      <a:pt x="202" y="138"/>
                    </a:lnTo>
                    <a:lnTo>
                      <a:pt x="202" y="140"/>
                    </a:lnTo>
                    <a:lnTo>
                      <a:pt x="202" y="143"/>
                    </a:lnTo>
                    <a:lnTo>
                      <a:pt x="201" y="145"/>
                    </a:lnTo>
                    <a:lnTo>
                      <a:pt x="201" y="147"/>
                    </a:lnTo>
                    <a:lnTo>
                      <a:pt x="199" y="153"/>
                    </a:lnTo>
                    <a:lnTo>
                      <a:pt x="201" y="155"/>
                    </a:lnTo>
                    <a:lnTo>
                      <a:pt x="199" y="163"/>
                    </a:lnTo>
                    <a:lnTo>
                      <a:pt x="196" y="167"/>
                    </a:lnTo>
                    <a:lnTo>
                      <a:pt x="193" y="171"/>
                    </a:lnTo>
                    <a:lnTo>
                      <a:pt x="191" y="176"/>
                    </a:lnTo>
                    <a:lnTo>
                      <a:pt x="179" y="183"/>
                    </a:lnTo>
                    <a:lnTo>
                      <a:pt x="178" y="188"/>
                    </a:lnTo>
                    <a:lnTo>
                      <a:pt x="174" y="193"/>
                    </a:lnTo>
                    <a:lnTo>
                      <a:pt x="168" y="191"/>
                    </a:lnTo>
                    <a:lnTo>
                      <a:pt x="166" y="193"/>
                    </a:lnTo>
                    <a:lnTo>
                      <a:pt x="161" y="200"/>
                    </a:lnTo>
                    <a:lnTo>
                      <a:pt x="159" y="196"/>
                    </a:lnTo>
                    <a:lnTo>
                      <a:pt x="156" y="196"/>
                    </a:lnTo>
                    <a:lnTo>
                      <a:pt x="149" y="198"/>
                    </a:lnTo>
                    <a:lnTo>
                      <a:pt x="139" y="193"/>
                    </a:lnTo>
                    <a:lnTo>
                      <a:pt x="126" y="190"/>
                    </a:lnTo>
                    <a:lnTo>
                      <a:pt x="108" y="191"/>
                    </a:lnTo>
                    <a:lnTo>
                      <a:pt x="104" y="191"/>
                    </a:lnTo>
                    <a:lnTo>
                      <a:pt x="106" y="186"/>
                    </a:lnTo>
                    <a:lnTo>
                      <a:pt x="113" y="180"/>
                    </a:lnTo>
                    <a:lnTo>
                      <a:pt x="116" y="171"/>
                    </a:lnTo>
                    <a:lnTo>
                      <a:pt x="114" y="167"/>
                    </a:lnTo>
                    <a:lnTo>
                      <a:pt x="118" y="163"/>
                    </a:lnTo>
                    <a:lnTo>
                      <a:pt x="121" y="160"/>
                    </a:lnTo>
                    <a:lnTo>
                      <a:pt x="126" y="155"/>
                    </a:lnTo>
                    <a:lnTo>
                      <a:pt x="126" y="150"/>
                    </a:lnTo>
                    <a:lnTo>
                      <a:pt x="124" y="145"/>
                    </a:lnTo>
                    <a:lnTo>
                      <a:pt x="116" y="140"/>
                    </a:lnTo>
                    <a:lnTo>
                      <a:pt x="111" y="133"/>
                    </a:lnTo>
                    <a:lnTo>
                      <a:pt x="96" y="132"/>
                    </a:lnTo>
                    <a:lnTo>
                      <a:pt x="86" y="127"/>
                    </a:lnTo>
                    <a:lnTo>
                      <a:pt x="75" y="118"/>
                    </a:lnTo>
                    <a:lnTo>
                      <a:pt x="71" y="118"/>
                    </a:lnTo>
                    <a:lnTo>
                      <a:pt x="61" y="113"/>
                    </a:lnTo>
                    <a:lnTo>
                      <a:pt x="46" y="110"/>
                    </a:lnTo>
                    <a:lnTo>
                      <a:pt x="43" y="105"/>
                    </a:lnTo>
                    <a:lnTo>
                      <a:pt x="36" y="100"/>
                    </a:lnTo>
                    <a:lnTo>
                      <a:pt x="31" y="100"/>
                    </a:lnTo>
                    <a:lnTo>
                      <a:pt x="16" y="85"/>
                    </a:lnTo>
                    <a:lnTo>
                      <a:pt x="10" y="77"/>
                    </a:lnTo>
                    <a:lnTo>
                      <a:pt x="5" y="75"/>
                    </a:lnTo>
                    <a:lnTo>
                      <a:pt x="0" y="70"/>
                    </a:lnTo>
                    <a:lnTo>
                      <a:pt x="0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89" name="Freeform 173"/>
              <p:cNvSpPr>
                <a:spLocks/>
              </p:cNvSpPr>
              <p:nvPr/>
            </p:nvSpPr>
            <p:spPr bwMode="auto">
              <a:xfrm>
                <a:off x="5691526" y="3629757"/>
                <a:ext cx="65285" cy="65368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32" y="0"/>
                  </a:cxn>
                  <a:cxn ang="0">
                    <a:pos x="42" y="10"/>
                  </a:cxn>
                  <a:cxn ang="0">
                    <a:pos x="50" y="16"/>
                  </a:cxn>
                  <a:cxn ang="0">
                    <a:pos x="58" y="26"/>
                  </a:cxn>
                  <a:cxn ang="0">
                    <a:pos x="65" y="21"/>
                  </a:cxn>
                  <a:cxn ang="0">
                    <a:pos x="78" y="33"/>
                  </a:cxn>
                  <a:cxn ang="0">
                    <a:pos x="90" y="38"/>
                  </a:cxn>
                  <a:cxn ang="0">
                    <a:pos x="95" y="43"/>
                  </a:cxn>
                  <a:cxn ang="0">
                    <a:pos x="110" y="53"/>
                  </a:cxn>
                  <a:cxn ang="0">
                    <a:pos x="121" y="65"/>
                  </a:cxn>
                  <a:cxn ang="0">
                    <a:pos x="115" y="76"/>
                  </a:cxn>
                  <a:cxn ang="0">
                    <a:pos x="118" y="85"/>
                  </a:cxn>
                  <a:cxn ang="0">
                    <a:pos x="121" y="90"/>
                  </a:cxn>
                  <a:cxn ang="0">
                    <a:pos x="121" y="93"/>
                  </a:cxn>
                  <a:cxn ang="0">
                    <a:pos x="116" y="103"/>
                  </a:cxn>
                  <a:cxn ang="0">
                    <a:pos x="110" y="109"/>
                  </a:cxn>
                  <a:cxn ang="0">
                    <a:pos x="110" y="113"/>
                  </a:cxn>
                  <a:cxn ang="0">
                    <a:pos x="95" y="123"/>
                  </a:cxn>
                  <a:cxn ang="0">
                    <a:pos x="91" y="121"/>
                  </a:cxn>
                  <a:cxn ang="0">
                    <a:pos x="88" y="126"/>
                  </a:cxn>
                  <a:cxn ang="0">
                    <a:pos x="81" y="124"/>
                  </a:cxn>
                  <a:cxn ang="0">
                    <a:pos x="75" y="123"/>
                  </a:cxn>
                  <a:cxn ang="0">
                    <a:pos x="63" y="123"/>
                  </a:cxn>
                  <a:cxn ang="0">
                    <a:pos x="53" y="124"/>
                  </a:cxn>
                  <a:cxn ang="0">
                    <a:pos x="55" y="121"/>
                  </a:cxn>
                  <a:cxn ang="0">
                    <a:pos x="50" y="119"/>
                  </a:cxn>
                  <a:cxn ang="0">
                    <a:pos x="40" y="116"/>
                  </a:cxn>
                  <a:cxn ang="0">
                    <a:pos x="23" y="116"/>
                  </a:cxn>
                  <a:cxn ang="0">
                    <a:pos x="13" y="109"/>
                  </a:cxn>
                  <a:cxn ang="0">
                    <a:pos x="3" y="100"/>
                  </a:cxn>
                  <a:cxn ang="0">
                    <a:pos x="0" y="83"/>
                  </a:cxn>
                  <a:cxn ang="0">
                    <a:pos x="0" y="80"/>
                  </a:cxn>
                  <a:cxn ang="0">
                    <a:pos x="5" y="75"/>
                  </a:cxn>
                  <a:cxn ang="0">
                    <a:pos x="2" y="58"/>
                  </a:cxn>
                  <a:cxn ang="0">
                    <a:pos x="2" y="48"/>
                  </a:cxn>
                  <a:cxn ang="0">
                    <a:pos x="5" y="40"/>
                  </a:cxn>
                  <a:cxn ang="0">
                    <a:pos x="7" y="26"/>
                  </a:cxn>
                  <a:cxn ang="0">
                    <a:pos x="7" y="20"/>
                  </a:cxn>
                  <a:cxn ang="0">
                    <a:pos x="10" y="8"/>
                  </a:cxn>
                  <a:cxn ang="0">
                    <a:pos x="13" y="2"/>
                  </a:cxn>
                </a:cxnLst>
                <a:rect l="0" t="0" r="r" b="b"/>
                <a:pathLst>
                  <a:path w="123" h="126">
                    <a:moveTo>
                      <a:pt x="13" y="2"/>
                    </a:moveTo>
                    <a:lnTo>
                      <a:pt x="17" y="2"/>
                    </a:lnTo>
                    <a:lnTo>
                      <a:pt x="18" y="3"/>
                    </a:lnTo>
                    <a:lnTo>
                      <a:pt x="32" y="0"/>
                    </a:lnTo>
                    <a:lnTo>
                      <a:pt x="37" y="3"/>
                    </a:lnTo>
                    <a:lnTo>
                      <a:pt x="42" y="10"/>
                    </a:lnTo>
                    <a:lnTo>
                      <a:pt x="47" y="11"/>
                    </a:lnTo>
                    <a:lnTo>
                      <a:pt x="50" y="16"/>
                    </a:lnTo>
                    <a:lnTo>
                      <a:pt x="55" y="26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71" y="30"/>
                    </a:lnTo>
                    <a:lnTo>
                      <a:pt x="78" y="33"/>
                    </a:lnTo>
                    <a:lnTo>
                      <a:pt x="83" y="33"/>
                    </a:lnTo>
                    <a:lnTo>
                      <a:pt x="90" y="38"/>
                    </a:lnTo>
                    <a:lnTo>
                      <a:pt x="90" y="45"/>
                    </a:lnTo>
                    <a:lnTo>
                      <a:pt x="95" y="43"/>
                    </a:lnTo>
                    <a:lnTo>
                      <a:pt x="103" y="48"/>
                    </a:lnTo>
                    <a:lnTo>
                      <a:pt x="110" y="53"/>
                    </a:lnTo>
                    <a:lnTo>
                      <a:pt x="115" y="61"/>
                    </a:lnTo>
                    <a:lnTo>
                      <a:pt x="121" y="65"/>
                    </a:lnTo>
                    <a:lnTo>
                      <a:pt x="120" y="71"/>
                    </a:lnTo>
                    <a:lnTo>
                      <a:pt x="115" y="76"/>
                    </a:lnTo>
                    <a:lnTo>
                      <a:pt x="118" y="83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21" y="90"/>
                    </a:lnTo>
                    <a:lnTo>
                      <a:pt x="123" y="91"/>
                    </a:lnTo>
                    <a:lnTo>
                      <a:pt x="121" y="93"/>
                    </a:lnTo>
                    <a:lnTo>
                      <a:pt x="116" y="96"/>
                    </a:lnTo>
                    <a:lnTo>
                      <a:pt x="116" y="103"/>
                    </a:lnTo>
                    <a:lnTo>
                      <a:pt x="113" y="106"/>
                    </a:lnTo>
                    <a:lnTo>
                      <a:pt x="110" y="109"/>
                    </a:lnTo>
                    <a:lnTo>
                      <a:pt x="111" y="111"/>
                    </a:lnTo>
                    <a:lnTo>
                      <a:pt x="110" y="113"/>
                    </a:lnTo>
                    <a:lnTo>
                      <a:pt x="103" y="119"/>
                    </a:lnTo>
                    <a:lnTo>
                      <a:pt x="95" y="123"/>
                    </a:lnTo>
                    <a:lnTo>
                      <a:pt x="93" y="121"/>
                    </a:lnTo>
                    <a:lnTo>
                      <a:pt x="91" y="121"/>
                    </a:lnTo>
                    <a:lnTo>
                      <a:pt x="91" y="124"/>
                    </a:lnTo>
                    <a:lnTo>
                      <a:pt x="88" y="126"/>
                    </a:lnTo>
                    <a:lnTo>
                      <a:pt x="85" y="124"/>
                    </a:lnTo>
                    <a:lnTo>
                      <a:pt x="81" y="124"/>
                    </a:lnTo>
                    <a:lnTo>
                      <a:pt x="78" y="124"/>
                    </a:lnTo>
                    <a:lnTo>
                      <a:pt x="75" y="123"/>
                    </a:lnTo>
                    <a:lnTo>
                      <a:pt x="71" y="121"/>
                    </a:lnTo>
                    <a:lnTo>
                      <a:pt x="63" y="123"/>
                    </a:lnTo>
                    <a:lnTo>
                      <a:pt x="58" y="124"/>
                    </a:lnTo>
                    <a:lnTo>
                      <a:pt x="53" y="124"/>
                    </a:lnTo>
                    <a:lnTo>
                      <a:pt x="53" y="123"/>
                    </a:lnTo>
                    <a:lnTo>
                      <a:pt x="55" y="121"/>
                    </a:lnTo>
                    <a:lnTo>
                      <a:pt x="53" y="119"/>
                    </a:lnTo>
                    <a:lnTo>
                      <a:pt x="50" y="119"/>
                    </a:lnTo>
                    <a:lnTo>
                      <a:pt x="47" y="119"/>
                    </a:lnTo>
                    <a:lnTo>
                      <a:pt x="40" y="116"/>
                    </a:lnTo>
                    <a:lnTo>
                      <a:pt x="33" y="114"/>
                    </a:lnTo>
                    <a:lnTo>
                      <a:pt x="23" y="116"/>
                    </a:lnTo>
                    <a:lnTo>
                      <a:pt x="20" y="114"/>
                    </a:lnTo>
                    <a:lnTo>
                      <a:pt x="13" y="109"/>
                    </a:lnTo>
                    <a:lnTo>
                      <a:pt x="10" y="109"/>
                    </a:lnTo>
                    <a:lnTo>
                      <a:pt x="3" y="100"/>
                    </a:lnTo>
                    <a:lnTo>
                      <a:pt x="0" y="91"/>
                    </a:lnTo>
                    <a:lnTo>
                      <a:pt x="0" y="83"/>
                    </a:lnTo>
                    <a:lnTo>
                      <a:pt x="0" y="81"/>
                    </a:lnTo>
                    <a:lnTo>
                      <a:pt x="0" y="80"/>
                    </a:lnTo>
                    <a:lnTo>
                      <a:pt x="5" y="78"/>
                    </a:lnTo>
                    <a:lnTo>
                      <a:pt x="5" y="75"/>
                    </a:lnTo>
                    <a:lnTo>
                      <a:pt x="3" y="66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2" y="48"/>
                    </a:lnTo>
                    <a:lnTo>
                      <a:pt x="5" y="43"/>
                    </a:lnTo>
                    <a:lnTo>
                      <a:pt x="5" y="40"/>
                    </a:lnTo>
                    <a:lnTo>
                      <a:pt x="7" y="36"/>
                    </a:lnTo>
                    <a:lnTo>
                      <a:pt x="7" y="26"/>
                    </a:lnTo>
                    <a:lnTo>
                      <a:pt x="5" y="23"/>
                    </a:lnTo>
                    <a:lnTo>
                      <a:pt x="7" y="20"/>
                    </a:lnTo>
                    <a:lnTo>
                      <a:pt x="5" y="13"/>
                    </a:lnTo>
                    <a:lnTo>
                      <a:pt x="10" y="8"/>
                    </a:lnTo>
                    <a:lnTo>
                      <a:pt x="12" y="3"/>
                    </a:lnTo>
                    <a:lnTo>
                      <a:pt x="1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0" name="Freeform 174"/>
              <p:cNvSpPr>
                <a:spLocks noEditPoints="1"/>
              </p:cNvSpPr>
              <p:nvPr/>
            </p:nvSpPr>
            <p:spPr bwMode="auto">
              <a:xfrm>
                <a:off x="5536340" y="3529112"/>
                <a:ext cx="207628" cy="471065"/>
              </a:xfrm>
              <a:custGeom>
                <a:avLst/>
                <a:gdLst/>
                <a:ahLst/>
                <a:cxnLst>
                  <a:cxn ang="0">
                    <a:pos x="100" y="3"/>
                  </a:cxn>
                  <a:cxn ang="0">
                    <a:pos x="127" y="14"/>
                  </a:cxn>
                  <a:cxn ang="0">
                    <a:pos x="175" y="13"/>
                  </a:cxn>
                  <a:cxn ang="0">
                    <a:pos x="240" y="54"/>
                  </a:cxn>
                  <a:cxn ang="0">
                    <a:pos x="286" y="96"/>
                  </a:cxn>
                  <a:cxn ang="0">
                    <a:pos x="291" y="126"/>
                  </a:cxn>
                  <a:cxn ang="0">
                    <a:pos x="339" y="129"/>
                  </a:cxn>
                  <a:cxn ang="0">
                    <a:pos x="364" y="89"/>
                  </a:cxn>
                  <a:cxn ang="0">
                    <a:pos x="389" y="117"/>
                  </a:cxn>
                  <a:cxn ang="0">
                    <a:pos x="358" y="136"/>
                  </a:cxn>
                  <a:cxn ang="0">
                    <a:pos x="326" y="162"/>
                  </a:cxn>
                  <a:cxn ang="0">
                    <a:pos x="304" y="194"/>
                  </a:cxn>
                  <a:cxn ang="0">
                    <a:pos x="296" y="234"/>
                  </a:cxn>
                  <a:cxn ang="0">
                    <a:pos x="291" y="274"/>
                  </a:cxn>
                  <a:cxn ang="0">
                    <a:pos x="294" y="302"/>
                  </a:cxn>
                  <a:cxn ang="0">
                    <a:pos x="324" y="345"/>
                  </a:cxn>
                  <a:cxn ang="0">
                    <a:pos x="344" y="368"/>
                  </a:cxn>
                  <a:cxn ang="0">
                    <a:pos x="331" y="400"/>
                  </a:cxn>
                  <a:cxn ang="0">
                    <a:pos x="261" y="425"/>
                  </a:cxn>
                  <a:cxn ang="0">
                    <a:pos x="221" y="420"/>
                  </a:cxn>
                  <a:cxn ang="0">
                    <a:pos x="230" y="445"/>
                  </a:cxn>
                  <a:cxn ang="0">
                    <a:pos x="230" y="466"/>
                  </a:cxn>
                  <a:cxn ang="0">
                    <a:pos x="200" y="490"/>
                  </a:cxn>
                  <a:cxn ang="0">
                    <a:pos x="161" y="480"/>
                  </a:cxn>
                  <a:cxn ang="0">
                    <a:pos x="185" y="518"/>
                  </a:cxn>
                  <a:cxn ang="0">
                    <a:pos x="190" y="514"/>
                  </a:cxn>
                  <a:cxn ang="0">
                    <a:pos x="206" y="529"/>
                  </a:cxn>
                  <a:cxn ang="0">
                    <a:pos x="180" y="529"/>
                  </a:cxn>
                  <a:cxn ang="0">
                    <a:pos x="176" y="548"/>
                  </a:cxn>
                  <a:cxn ang="0">
                    <a:pos x="171" y="574"/>
                  </a:cxn>
                  <a:cxn ang="0">
                    <a:pos x="173" y="597"/>
                  </a:cxn>
                  <a:cxn ang="0">
                    <a:pos x="142" y="612"/>
                  </a:cxn>
                  <a:cxn ang="0">
                    <a:pos x="137" y="644"/>
                  </a:cxn>
                  <a:cxn ang="0">
                    <a:pos x="180" y="661"/>
                  </a:cxn>
                  <a:cxn ang="0">
                    <a:pos x="185" y="684"/>
                  </a:cxn>
                  <a:cxn ang="0">
                    <a:pos x="168" y="704"/>
                  </a:cxn>
                  <a:cxn ang="0">
                    <a:pos x="150" y="729"/>
                  </a:cxn>
                  <a:cxn ang="0">
                    <a:pos x="137" y="747"/>
                  </a:cxn>
                  <a:cxn ang="0">
                    <a:pos x="128" y="775"/>
                  </a:cxn>
                  <a:cxn ang="0">
                    <a:pos x="138" y="803"/>
                  </a:cxn>
                  <a:cxn ang="0">
                    <a:pos x="143" y="815"/>
                  </a:cxn>
                  <a:cxn ang="0">
                    <a:pos x="65" y="795"/>
                  </a:cxn>
                  <a:cxn ang="0">
                    <a:pos x="27" y="760"/>
                  </a:cxn>
                  <a:cxn ang="0">
                    <a:pos x="40" y="679"/>
                  </a:cxn>
                  <a:cxn ang="0">
                    <a:pos x="39" y="622"/>
                  </a:cxn>
                  <a:cxn ang="0">
                    <a:pos x="24" y="594"/>
                  </a:cxn>
                  <a:cxn ang="0">
                    <a:pos x="20" y="564"/>
                  </a:cxn>
                  <a:cxn ang="0">
                    <a:pos x="14" y="513"/>
                  </a:cxn>
                  <a:cxn ang="0">
                    <a:pos x="14" y="433"/>
                  </a:cxn>
                  <a:cxn ang="0">
                    <a:pos x="20" y="355"/>
                  </a:cxn>
                  <a:cxn ang="0">
                    <a:pos x="25" y="302"/>
                  </a:cxn>
                  <a:cxn ang="0">
                    <a:pos x="0" y="234"/>
                  </a:cxn>
                  <a:cxn ang="0">
                    <a:pos x="10" y="174"/>
                  </a:cxn>
                  <a:cxn ang="0">
                    <a:pos x="35" y="116"/>
                  </a:cxn>
                  <a:cxn ang="0">
                    <a:pos x="32" y="81"/>
                  </a:cxn>
                  <a:cxn ang="0">
                    <a:pos x="259" y="896"/>
                  </a:cxn>
                  <a:cxn ang="0">
                    <a:pos x="259" y="896"/>
                  </a:cxn>
                  <a:cxn ang="0">
                    <a:pos x="160" y="848"/>
                  </a:cxn>
                  <a:cxn ang="0">
                    <a:pos x="175" y="867"/>
                  </a:cxn>
                  <a:cxn ang="0">
                    <a:pos x="226" y="893"/>
                  </a:cxn>
                  <a:cxn ang="0">
                    <a:pos x="231" y="903"/>
                  </a:cxn>
                  <a:cxn ang="0">
                    <a:pos x="175" y="905"/>
                  </a:cxn>
                  <a:cxn ang="0">
                    <a:pos x="180" y="893"/>
                  </a:cxn>
                </a:cxnLst>
                <a:rect l="0" t="0" r="r" b="b"/>
                <a:pathLst>
                  <a:path w="389" h="908">
                    <a:moveTo>
                      <a:pt x="60" y="23"/>
                    </a:moveTo>
                    <a:lnTo>
                      <a:pt x="63" y="19"/>
                    </a:lnTo>
                    <a:lnTo>
                      <a:pt x="67" y="11"/>
                    </a:lnTo>
                    <a:lnTo>
                      <a:pt x="77" y="3"/>
                    </a:lnTo>
                    <a:lnTo>
                      <a:pt x="83" y="0"/>
                    </a:lnTo>
                    <a:lnTo>
                      <a:pt x="88" y="5"/>
                    </a:lnTo>
                    <a:lnTo>
                      <a:pt x="97" y="5"/>
                    </a:lnTo>
                    <a:lnTo>
                      <a:pt x="100" y="3"/>
                    </a:lnTo>
                    <a:lnTo>
                      <a:pt x="105" y="5"/>
                    </a:lnTo>
                    <a:lnTo>
                      <a:pt x="115" y="3"/>
                    </a:lnTo>
                    <a:lnTo>
                      <a:pt x="118" y="3"/>
                    </a:lnTo>
                    <a:lnTo>
                      <a:pt x="120" y="9"/>
                    </a:lnTo>
                    <a:lnTo>
                      <a:pt x="123" y="18"/>
                    </a:lnTo>
                    <a:lnTo>
                      <a:pt x="125" y="21"/>
                    </a:lnTo>
                    <a:lnTo>
                      <a:pt x="127" y="18"/>
                    </a:lnTo>
                    <a:lnTo>
                      <a:pt x="127" y="14"/>
                    </a:lnTo>
                    <a:lnTo>
                      <a:pt x="130" y="9"/>
                    </a:lnTo>
                    <a:lnTo>
                      <a:pt x="130" y="6"/>
                    </a:lnTo>
                    <a:lnTo>
                      <a:pt x="133" y="1"/>
                    </a:lnTo>
                    <a:lnTo>
                      <a:pt x="148" y="1"/>
                    </a:lnTo>
                    <a:lnTo>
                      <a:pt x="160" y="1"/>
                    </a:lnTo>
                    <a:lnTo>
                      <a:pt x="165" y="6"/>
                    </a:lnTo>
                    <a:lnTo>
                      <a:pt x="170" y="11"/>
                    </a:lnTo>
                    <a:lnTo>
                      <a:pt x="175" y="13"/>
                    </a:lnTo>
                    <a:lnTo>
                      <a:pt x="181" y="21"/>
                    </a:lnTo>
                    <a:lnTo>
                      <a:pt x="196" y="36"/>
                    </a:lnTo>
                    <a:lnTo>
                      <a:pt x="201" y="36"/>
                    </a:lnTo>
                    <a:lnTo>
                      <a:pt x="208" y="41"/>
                    </a:lnTo>
                    <a:lnTo>
                      <a:pt x="211" y="46"/>
                    </a:lnTo>
                    <a:lnTo>
                      <a:pt x="226" y="49"/>
                    </a:lnTo>
                    <a:lnTo>
                      <a:pt x="236" y="54"/>
                    </a:lnTo>
                    <a:lnTo>
                      <a:pt x="240" y="54"/>
                    </a:lnTo>
                    <a:lnTo>
                      <a:pt x="251" y="63"/>
                    </a:lnTo>
                    <a:lnTo>
                      <a:pt x="261" y="68"/>
                    </a:lnTo>
                    <a:lnTo>
                      <a:pt x="276" y="69"/>
                    </a:lnTo>
                    <a:lnTo>
                      <a:pt x="281" y="76"/>
                    </a:lnTo>
                    <a:lnTo>
                      <a:pt x="289" y="81"/>
                    </a:lnTo>
                    <a:lnTo>
                      <a:pt x="291" y="86"/>
                    </a:lnTo>
                    <a:lnTo>
                      <a:pt x="291" y="91"/>
                    </a:lnTo>
                    <a:lnTo>
                      <a:pt x="286" y="96"/>
                    </a:lnTo>
                    <a:lnTo>
                      <a:pt x="283" y="99"/>
                    </a:lnTo>
                    <a:lnTo>
                      <a:pt x="279" y="103"/>
                    </a:lnTo>
                    <a:lnTo>
                      <a:pt x="281" y="107"/>
                    </a:lnTo>
                    <a:lnTo>
                      <a:pt x="278" y="116"/>
                    </a:lnTo>
                    <a:lnTo>
                      <a:pt x="271" y="122"/>
                    </a:lnTo>
                    <a:lnTo>
                      <a:pt x="269" y="127"/>
                    </a:lnTo>
                    <a:lnTo>
                      <a:pt x="273" y="127"/>
                    </a:lnTo>
                    <a:lnTo>
                      <a:pt x="291" y="126"/>
                    </a:lnTo>
                    <a:lnTo>
                      <a:pt x="304" y="129"/>
                    </a:lnTo>
                    <a:lnTo>
                      <a:pt x="314" y="134"/>
                    </a:lnTo>
                    <a:lnTo>
                      <a:pt x="321" y="132"/>
                    </a:lnTo>
                    <a:lnTo>
                      <a:pt x="324" y="132"/>
                    </a:lnTo>
                    <a:lnTo>
                      <a:pt x="326" y="136"/>
                    </a:lnTo>
                    <a:lnTo>
                      <a:pt x="331" y="129"/>
                    </a:lnTo>
                    <a:lnTo>
                      <a:pt x="333" y="127"/>
                    </a:lnTo>
                    <a:lnTo>
                      <a:pt x="339" y="129"/>
                    </a:lnTo>
                    <a:lnTo>
                      <a:pt x="343" y="124"/>
                    </a:lnTo>
                    <a:lnTo>
                      <a:pt x="344" y="119"/>
                    </a:lnTo>
                    <a:lnTo>
                      <a:pt x="356" y="112"/>
                    </a:lnTo>
                    <a:lnTo>
                      <a:pt x="358" y="107"/>
                    </a:lnTo>
                    <a:lnTo>
                      <a:pt x="361" y="103"/>
                    </a:lnTo>
                    <a:lnTo>
                      <a:pt x="364" y="99"/>
                    </a:lnTo>
                    <a:lnTo>
                      <a:pt x="366" y="91"/>
                    </a:lnTo>
                    <a:lnTo>
                      <a:pt x="364" y="89"/>
                    </a:lnTo>
                    <a:lnTo>
                      <a:pt x="366" y="83"/>
                    </a:lnTo>
                    <a:lnTo>
                      <a:pt x="371" y="79"/>
                    </a:lnTo>
                    <a:lnTo>
                      <a:pt x="382" y="81"/>
                    </a:lnTo>
                    <a:lnTo>
                      <a:pt x="382" y="84"/>
                    </a:lnTo>
                    <a:lnTo>
                      <a:pt x="387" y="94"/>
                    </a:lnTo>
                    <a:lnTo>
                      <a:pt x="386" y="101"/>
                    </a:lnTo>
                    <a:lnTo>
                      <a:pt x="387" y="111"/>
                    </a:lnTo>
                    <a:lnTo>
                      <a:pt x="389" y="117"/>
                    </a:lnTo>
                    <a:lnTo>
                      <a:pt x="387" y="121"/>
                    </a:lnTo>
                    <a:lnTo>
                      <a:pt x="382" y="121"/>
                    </a:lnTo>
                    <a:lnTo>
                      <a:pt x="376" y="124"/>
                    </a:lnTo>
                    <a:lnTo>
                      <a:pt x="376" y="126"/>
                    </a:lnTo>
                    <a:lnTo>
                      <a:pt x="372" y="127"/>
                    </a:lnTo>
                    <a:lnTo>
                      <a:pt x="371" y="127"/>
                    </a:lnTo>
                    <a:lnTo>
                      <a:pt x="361" y="134"/>
                    </a:lnTo>
                    <a:lnTo>
                      <a:pt x="358" y="136"/>
                    </a:lnTo>
                    <a:lnTo>
                      <a:pt x="354" y="137"/>
                    </a:lnTo>
                    <a:lnTo>
                      <a:pt x="346" y="144"/>
                    </a:lnTo>
                    <a:lnTo>
                      <a:pt x="343" y="146"/>
                    </a:lnTo>
                    <a:lnTo>
                      <a:pt x="343" y="151"/>
                    </a:lnTo>
                    <a:lnTo>
                      <a:pt x="339" y="151"/>
                    </a:lnTo>
                    <a:lnTo>
                      <a:pt x="336" y="151"/>
                    </a:lnTo>
                    <a:lnTo>
                      <a:pt x="328" y="159"/>
                    </a:lnTo>
                    <a:lnTo>
                      <a:pt x="326" y="162"/>
                    </a:lnTo>
                    <a:lnTo>
                      <a:pt x="328" y="167"/>
                    </a:lnTo>
                    <a:lnTo>
                      <a:pt x="323" y="169"/>
                    </a:lnTo>
                    <a:lnTo>
                      <a:pt x="321" y="171"/>
                    </a:lnTo>
                    <a:lnTo>
                      <a:pt x="316" y="179"/>
                    </a:lnTo>
                    <a:lnTo>
                      <a:pt x="313" y="182"/>
                    </a:lnTo>
                    <a:lnTo>
                      <a:pt x="309" y="189"/>
                    </a:lnTo>
                    <a:lnTo>
                      <a:pt x="309" y="191"/>
                    </a:lnTo>
                    <a:lnTo>
                      <a:pt x="304" y="194"/>
                    </a:lnTo>
                    <a:lnTo>
                      <a:pt x="303" y="197"/>
                    </a:lnTo>
                    <a:lnTo>
                      <a:pt x="301" y="202"/>
                    </a:lnTo>
                    <a:lnTo>
                      <a:pt x="296" y="207"/>
                    </a:lnTo>
                    <a:lnTo>
                      <a:pt x="298" y="214"/>
                    </a:lnTo>
                    <a:lnTo>
                      <a:pt x="296" y="217"/>
                    </a:lnTo>
                    <a:lnTo>
                      <a:pt x="298" y="220"/>
                    </a:lnTo>
                    <a:lnTo>
                      <a:pt x="298" y="230"/>
                    </a:lnTo>
                    <a:lnTo>
                      <a:pt x="296" y="234"/>
                    </a:lnTo>
                    <a:lnTo>
                      <a:pt x="296" y="237"/>
                    </a:lnTo>
                    <a:lnTo>
                      <a:pt x="293" y="242"/>
                    </a:lnTo>
                    <a:lnTo>
                      <a:pt x="296" y="249"/>
                    </a:lnTo>
                    <a:lnTo>
                      <a:pt x="293" y="252"/>
                    </a:lnTo>
                    <a:lnTo>
                      <a:pt x="294" y="260"/>
                    </a:lnTo>
                    <a:lnTo>
                      <a:pt x="296" y="269"/>
                    </a:lnTo>
                    <a:lnTo>
                      <a:pt x="296" y="272"/>
                    </a:lnTo>
                    <a:lnTo>
                      <a:pt x="291" y="274"/>
                    </a:lnTo>
                    <a:lnTo>
                      <a:pt x="291" y="275"/>
                    </a:lnTo>
                    <a:lnTo>
                      <a:pt x="291" y="277"/>
                    </a:lnTo>
                    <a:lnTo>
                      <a:pt x="291" y="277"/>
                    </a:lnTo>
                    <a:lnTo>
                      <a:pt x="289" y="285"/>
                    </a:lnTo>
                    <a:lnTo>
                      <a:pt x="291" y="294"/>
                    </a:lnTo>
                    <a:lnTo>
                      <a:pt x="291" y="295"/>
                    </a:lnTo>
                    <a:lnTo>
                      <a:pt x="293" y="299"/>
                    </a:lnTo>
                    <a:lnTo>
                      <a:pt x="294" y="302"/>
                    </a:lnTo>
                    <a:lnTo>
                      <a:pt x="293" y="303"/>
                    </a:lnTo>
                    <a:lnTo>
                      <a:pt x="294" y="307"/>
                    </a:lnTo>
                    <a:lnTo>
                      <a:pt x="304" y="315"/>
                    </a:lnTo>
                    <a:lnTo>
                      <a:pt x="314" y="318"/>
                    </a:lnTo>
                    <a:lnTo>
                      <a:pt x="328" y="327"/>
                    </a:lnTo>
                    <a:lnTo>
                      <a:pt x="329" y="330"/>
                    </a:lnTo>
                    <a:lnTo>
                      <a:pt x="329" y="335"/>
                    </a:lnTo>
                    <a:lnTo>
                      <a:pt x="324" y="345"/>
                    </a:lnTo>
                    <a:lnTo>
                      <a:pt x="323" y="348"/>
                    </a:lnTo>
                    <a:lnTo>
                      <a:pt x="328" y="355"/>
                    </a:lnTo>
                    <a:lnTo>
                      <a:pt x="333" y="358"/>
                    </a:lnTo>
                    <a:lnTo>
                      <a:pt x="339" y="358"/>
                    </a:lnTo>
                    <a:lnTo>
                      <a:pt x="343" y="355"/>
                    </a:lnTo>
                    <a:lnTo>
                      <a:pt x="343" y="357"/>
                    </a:lnTo>
                    <a:lnTo>
                      <a:pt x="344" y="360"/>
                    </a:lnTo>
                    <a:lnTo>
                      <a:pt x="344" y="368"/>
                    </a:lnTo>
                    <a:lnTo>
                      <a:pt x="343" y="373"/>
                    </a:lnTo>
                    <a:lnTo>
                      <a:pt x="338" y="380"/>
                    </a:lnTo>
                    <a:lnTo>
                      <a:pt x="336" y="387"/>
                    </a:lnTo>
                    <a:lnTo>
                      <a:pt x="334" y="390"/>
                    </a:lnTo>
                    <a:lnTo>
                      <a:pt x="334" y="387"/>
                    </a:lnTo>
                    <a:lnTo>
                      <a:pt x="333" y="388"/>
                    </a:lnTo>
                    <a:lnTo>
                      <a:pt x="329" y="395"/>
                    </a:lnTo>
                    <a:lnTo>
                      <a:pt x="331" y="400"/>
                    </a:lnTo>
                    <a:lnTo>
                      <a:pt x="329" y="405"/>
                    </a:lnTo>
                    <a:lnTo>
                      <a:pt x="316" y="411"/>
                    </a:lnTo>
                    <a:lnTo>
                      <a:pt x="306" y="415"/>
                    </a:lnTo>
                    <a:lnTo>
                      <a:pt x="304" y="413"/>
                    </a:lnTo>
                    <a:lnTo>
                      <a:pt x="303" y="415"/>
                    </a:lnTo>
                    <a:lnTo>
                      <a:pt x="288" y="421"/>
                    </a:lnTo>
                    <a:lnTo>
                      <a:pt x="271" y="425"/>
                    </a:lnTo>
                    <a:lnTo>
                      <a:pt x="261" y="425"/>
                    </a:lnTo>
                    <a:lnTo>
                      <a:pt x="253" y="425"/>
                    </a:lnTo>
                    <a:lnTo>
                      <a:pt x="246" y="425"/>
                    </a:lnTo>
                    <a:lnTo>
                      <a:pt x="241" y="425"/>
                    </a:lnTo>
                    <a:lnTo>
                      <a:pt x="236" y="423"/>
                    </a:lnTo>
                    <a:lnTo>
                      <a:pt x="230" y="420"/>
                    </a:lnTo>
                    <a:lnTo>
                      <a:pt x="226" y="420"/>
                    </a:lnTo>
                    <a:lnTo>
                      <a:pt x="223" y="418"/>
                    </a:lnTo>
                    <a:lnTo>
                      <a:pt x="221" y="420"/>
                    </a:lnTo>
                    <a:lnTo>
                      <a:pt x="221" y="423"/>
                    </a:lnTo>
                    <a:lnTo>
                      <a:pt x="223" y="425"/>
                    </a:lnTo>
                    <a:lnTo>
                      <a:pt x="223" y="433"/>
                    </a:lnTo>
                    <a:lnTo>
                      <a:pt x="225" y="436"/>
                    </a:lnTo>
                    <a:lnTo>
                      <a:pt x="225" y="438"/>
                    </a:lnTo>
                    <a:lnTo>
                      <a:pt x="230" y="438"/>
                    </a:lnTo>
                    <a:lnTo>
                      <a:pt x="230" y="443"/>
                    </a:lnTo>
                    <a:lnTo>
                      <a:pt x="230" y="445"/>
                    </a:lnTo>
                    <a:lnTo>
                      <a:pt x="228" y="446"/>
                    </a:lnTo>
                    <a:lnTo>
                      <a:pt x="228" y="448"/>
                    </a:lnTo>
                    <a:lnTo>
                      <a:pt x="223" y="451"/>
                    </a:lnTo>
                    <a:lnTo>
                      <a:pt x="225" y="453"/>
                    </a:lnTo>
                    <a:lnTo>
                      <a:pt x="223" y="456"/>
                    </a:lnTo>
                    <a:lnTo>
                      <a:pt x="223" y="460"/>
                    </a:lnTo>
                    <a:lnTo>
                      <a:pt x="225" y="465"/>
                    </a:lnTo>
                    <a:lnTo>
                      <a:pt x="230" y="466"/>
                    </a:lnTo>
                    <a:lnTo>
                      <a:pt x="228" y="470"/>
                    </a:lnTo>
                    <a:lnTo>
                      <a:pt x="226" y="471"/>
                    </a:lnTo>
                    <a:lnTo>
                      <a:pt x="228" y="475"/>
                    </a:lnTo>
                    <a:lnTo>
                      <a:pt x="226" y="480"/>
                    </a:lnTo>
                    <a:lnTo>
                      <a:pt x="221" y="483"/>
                    </a:lnTo>
                    <a:lnTo>
                      <a:pt x="221" y="485"/>
                    </a:lnTo>
                    <a:lnTo>
                      <a:pt x="215" y="490"/>
                    </a:lnTo>
                    <a:lnTo>
                      <a:pt x="200" y="490"/>
                    </a:lnTo>
                    <a:lnTo>
                      <a:pt x="193" y="488"/>
                    </a:lnTo>
                    <a:lnTo>
                      <a:pt x="185" y="481"/>
                    </a:lnTo>
                    <a:lnTo>
                      <a:pt x="175" y="478"/>
                    </a:lnTo>
                    <a:lnTo>
                      <a:pt x="170" y="480"/>
                    </a:lnTo>
                    <a:lnTo>
                      <a:pt x="168" y="478"/>
                    </a:lnTo>
                    <a:lnTo>
                      <a:pt x="170" y="476"/>
                    </a:lnTo>
                    <a:lnTo>
                      <a:pt x="166" y="476"/>
                    </a:lnTo>
                    <a:lnTo>
                      <a:pt x="161" y="480"/>
                    </a:lnTo>
                    <a:lnTo>
                      <a:pt x="161" y="488"/>
                    </a:lnTo>
                    <a:lnTo>
                      <a:pt x="166" y="493"/>
                    </a:lnTo>
                    <a:lnTo>
                      <a:pt x="168" y="499"/>
                    </a:lnTo>
                    <a:lnTo>
                      <a:pt x="168" y="511"/>
                    </a:lnTo>
                    <a:lnTo>
                      <a:pt x="170" y="514"/>
                    </a:lnTo>
                    <a:lnTo>
                      <a:pt x="175" y="518"/>
                    </a:lnTo>
                    <a:lnTo>
                      <a:pt x="183" y="518"/>
                    </a:lnTo>
                    <a:lnTo>
                      <a:pt x="185" y="518"/>
                    </a:lnTo>
                    <a:lnTo>
                      <a:pt x="183" y="519"/>
                    </a:lnTo>
                    <a:lnTo>
                      <a:pt x="180" y="521"/>
                    </a:lnTo>
                    <a:lnTo>
                      <a:pt x="183" y="523"/>
                    </a:lnTo>
                    <a:lnTo>
                      <a:pt x="191" y="521"/>
                    </a:lnTo>
                    <a:lnTo>
                      <a:pt x="193" y="518"/>
                    </a:lnTo>
                    <a:lnTo>
                      <a:pt x="188" y="518"/>
                    </a:lnTo>
                    <a:lnTo>
                      <a:pt x="186" y="516"/>
                    </a:lnTo>
                    <a:lnTo>
                      <a:pt x="190" y="514"/>
                    </a:lnTo>
                    <a:lnTo>
                      <a:pt x="193" y="514"/>
                    </a:lnTo>
                    <a:lnTo>
                      <a:pt x="198" y="511"/>
                    </a:lnTo>
                    <a:lnTo>
                      <a:pt x="201" y="513"/>
                    </a:lnTo>
                    <a:lnTo>
                      <a:pt x="205" y="518"/>
                    </a:lnTo>
                    <a:lnTo>
                      <a:pt x="203" y="521"/>
                    </a:lnTo>
                    <a:lnTo>
                      <a:pt x="201" y="521"/>
                    </a:lnTo>
                    <a:lnTo>
                      <a:pt x="205" y="526"/>
                    </a:lnTo>
                    <a:lnTo>
                      <a:pt x="206" y="529"/>
                    </a:lnTo>
                    <a:lnTo>
                      <a:pt x="206" y="534"/>
                    </a:lnTo>
                    <a:lnTo>
                      <a:pt x="196" y="539"/>
                    </a:lnTo>
                    <a:lnTo>
                      <a:pt x="193" y="538"/>
                    </a:lnTo>
                    <a:lnTo>
                      <a:pt x="191" y="534"/>
                    </a:lnTo>
                    <a:lnTo>
                      <a:pt x="191" y="531"/>
                    </a:lnTo>
                    <a:lnTo>
                      <a:pt x="191" y="529"/>
                    </a:lnTo>
                    <a:lnTo>
                      <a:pt x="186" y="526"/>
                    </a:lnTo>
                    <a:lnTo>
                      <a:pt x="180" y="529"/>
                    </a:lnTo>
                    <a:lnTo>
                      <a:pt x="175" y="531"/>
                    </a:lnTo>
                    <a:lnTo>
                      <a:pt x="175" y="534"/>
                    </a:lnTo>
                    <a:lnTo>
                      <a:pt x="176" y="538"/>
                    </a:lnTo>
                    <a:lnTo>
                      <a:pt x="181" y="538"/>
                    </a:lnTo>
                    <a:lnTo>
                      <a:pt x="188" y="539"/>
                    </a:lnTo>
                    <a:lnTo>
                      <a:pt x="188" y="541"/>
                    </a:lnTo>
                    <a:lnTo>
                      <a:pt x="183" y="546"/>
                    </a:lnTo>
                    <a:lnTo>
                      <a:pt x="176" y="548"/>
                    </a:lnTo>
                    <a:lnTo>
                      <a:pt x="173" y="551"/>
                    </a:lnTo>
                    <a:lnTo>
                      <a:pt x="175" y="553"/>
                    </a:lnTo>
                    <a:lnTo>
                      <a:pt x="173" y="558"/>
                    </a:lnTo>
                    <a:lnTo>
                      <a:pt x="168" y="561"/>
                    </a:lnTo>
                    <a:lnTo>
                      <a:pt x="170" y="566"/>
                    </a:lnTo>
                    <a:lnTo>
                      <a:pt x="171" y="569"/>
                    </a:lnTo>
                    <a:lnTo>
                      <a:pt x="171" y="571"/>
                    </a:lnTo>
                    <a:lnTo>
                      <a:pt x="171" y="574"/>
                    </a:lnTo>
                    <a:lnTo>
                      <a:pt x="176" y="579"/>
                    </a:lnTo>
                    <a:lnTo>
                      <a:pt x="176" y="583"/>
                    </a:lnTo>
                    <a:lnTo>
                      <a:pt x="175" y="586"/>
                    </a:lnTo>
                    <a:lnTo>
                      <a:pt x="176" y="586"/>
                    </a:lnTo>
                    <a:lnTo>
                      <a:pt x="170" y="591"/>
                    </a:lnTo>
                    <a:lnTo>
                      <a:pt x="168" y="594"/>
                    </a:lnTo>
                    <a:lnTo>
                      <a:pt x="168" y="596"/>
                    </a:lnTo>
                    <a:lnTo>
                      <a:pt x="173" y="597"/>
                    </a:lnTo>
                    <a:lnTo>
                      <a:pt x="175" y="599"/>
                    </a:lnTo>
                    <a:lnTo>
                      <a:pt x="175" y="601"/>
                    </a:lnTo>
                    <a:lnTo>
                      <a:pt x="166" y="602"/>
                    </a:lnTo>
                    <a:lnTo>
                      <a:pt x="161" y="601"/>
                    </a:lnTo>
                    <a:lnTo>
                      <a:pt x="155" y="602"/>
                    </a:lnTo>
                    <a:lnTo>
                      <a:pt x="150" y="607"/>
                    </a:lnTo>
                    <a:lnTo>
                      <a:pt x="145" y="607"/>
                    </a:lnTo>
                    <a:lnTo>
                      <a:pt x="142" y="612"/>
                    </a:lnTo>
                    <a:lnTo>
                      <a:pt x="138" y="612"/>
                    </a:lnTo>
                    <a:lnTo>
                      <a:pt x="137" y="617"/>
                    </a:lnTo>
                    <a:lnTo>
                      <a:pt x="135" y="621"/>
                    </a:lnTo>
                    <a:lnTo>
                      <a:pt x="128" y="626"/>
                    </a:lnTo>
                    <a:lnTo>
                      <a:pt x="128" y="627"/>
                    </a:lnTo>
                    <a:lnTo>
                      <a:pt x="132" y="631"/>
                    </a:lnTo>
                    <a:lnTo>
                      <a:pt x="132" y="636"/>
                    </a:lnTo>
                    <a:lnTo>
                      <a:pt x="137" y="644"/>
                    </a:lnTo>
                    <a:lnTo>
                      <a:pt x="142" y="647"/>
                    </a:lnTo>
                    <a:lnTo>
                      <a:pt x="145" y="649"/>
                    </a:lnTo>
                    <a:lnTo>
                      <a:pt x="152" y="654"/>
                    </a:lnTo>
                    <a:lnTo>
                      <a:pt x="161" y="662"/>
                    </a:lnTo>
                    <a:lnTo>
                      <a:pt x="170" y="661"/>
                    </a:lnTo>
                    <a:lnTo>
                      <a:pt x="173" y="661"/>
                    </a:lnTo>
                    <a:lnTo>
                      <a:pt x="176" y="661"/>
                    </a:lnTo>
                    <a:lnTo>
                      <a:pt x="180" y="661"/>
                    </a:lnTo>
                    <a:lnTo>
                      <a:pt x="181" y="664"/>
                    </a:lnTo>
                    <a:lnTo>
                      <a:pt x="180" y="666"/>
                    </a:lnTo>
                    <a:lnTo>
                      <a:pt x="180" y="667"/>
                    </a:lnTo>
                    <a:lnTo>
                      <a:pt x="181" y="672"/>
                    </a:lnTo>
                    <a:lnTo>
                      <a:pt x="181" y="677"/>
                    </a:lnTo>
                    <a:lnTo>
                      <a:pt x="178" y="681"/>
                    </a:lnTo>
                    <a:lnTo>
                      <a:pt x="181" y="681"/>
                    </a:lnTo>
                    <a:lnTo>
                      <a:pt x="185" y="684"/>
                    </a:lnTo>
                    <a:lnTo>
                      <a:pt x="181" y="686"/>
                    </a:lnTo>
                    <a:lnTo>
                      <a:pt x="181" y="689"/>
                    </a:lnTo>
                    <a:lnTo>
                      <a:pt x="183" y="691"/>
                    </a:lnTo>
                    <a:lnTo>
                      <a:pt x="178" y="694"/>
                    </a:lnTo>
                    <a:lnTo>
                      <a:pt x="175" y="695"/>
                    </a:lnTo>
                    <a:lnTo>
                      <a:pt x="173" y="699"/>
                    </a:lnTo>
                    <a:lnTo>
                      <a:pt x="171" y="700"/>
                    </a:lnTo>
                    <a:lnTo>
                      <a:pt x="168" y="704"/>
                    </a:lnTo>
                    <a:lnTo>
                      <a:pt x="166" y="709"/>
                    </a:lnTo>
                    <a:lnTo>
                      <a:pt x="161" y="709"/>
                    </a:lnTo>
                    <a:lnTo>
                      <a:pt x="157" y="714"/>
                    </a:lnTo>
                    <a:lnTo>
                      <a:pt x="155" y="719"/>
                    </a:lnTo>
                    <a:lnTo>
                      <a:pt x="153" y="724"/>
                    </a:lnTo>
                    <a:lnTo>
                      <a:pt x="148" y="727"/>
                    </a:lnTo>
                    <a:lnTo>
                      <a:pt x="148" y="730"/>
                    </a:lnTo>
                    <a:lnTo>
                      <a:pt x="150" y="729"/>
                    </a:lnTo>
                    <a:lnTo>
                      <a:pt x="153" y="730"/>
                    </a:lnTo>
                    <a:lnTo>
                      <a:pt x="155" y="737"/>
                    </a:lnTo>
                    <a:lnTo>
                      <a:pt x="153" y="740"/>
                    </a:lnTo>
                    <a:lnTo>
                      <a:pt x="150" y="744"/>
                    </a:lnTo>
                    <a:lnTo>
                      <a:pt x="148" y="749"/>
                    </a:lnTo>
                    <a:lnTo>
                      <a:pt x="143" y="752"/>
                    </a:lnTo>
                    <a:lnTo>
                      <a:pt x="140" y="750"/>
                    </a:lnTo>
                    <a:lnTo>
                      <a:pt x="137" y="747"/>
                    </a:lnTo>
                    <a:lnTo>
                      <a:pt x="133" y="745"/>
                    </a:lnTo>
                    <a:lnTo>
                      <a:pt x="137" y="749"/>
                    </a:lnTo>
                    <a:lnTo>
                      <a:pt x="137" y="752"/>
                    </a:lnTo>
                    <a:lnTo>
                      <a:pt x="138" y="754"/>
                    </a:lnTo>
                    <a:lnTo>
                      <a:pt x="137" y="757"/>
                    </a:lnTo>
                    <a:lnTo>
                      <a:pt x="130" y="762"/>
                    </a:lnTo>
                    <a:lnTo>
                      <a:pt x="127" y="769"/>
                    </a:lnTo>
                    <a:lnTo>
                      <a:pt x="128" y="775"/>
                    </a:lnTo>
                    <a:lnTo>
                      <a:pt x="133" y="782"/>
                    </a:lnTo>
                    <a:lnTo>
                      <a:pt x="137" y="792"/>
                    </a:lnTo>
                    <a:lnTo>
                      <a:pt x="137" y="795"/>
                    </a:lnTo>
                    <a:lnTo>
                      <a:pt x="138" y="797"/>
                    </a:lnTo>
                    <a:lnTo>
                      <a:pt x="137" y="798"/>
                    </a:lnTo>
                    <a:lnTo>
                      <a:pt x="133" y="802"/>
                    </a:lnTo>
                    <a:lnTo>
                      <a:pt x="137" y="803"/>
                    </a:lnTo>
                    <a:lnTo>
                      <a:pt x="138" y="803"/>
                    </a:lnTo>
                    <a:lnTo>
                      <a:pt x="143" y="807"/>
                    </a:lnTo>
                    <a:lnTo>
                      <a:pt x="143" y="810"/>
                    </a:lnTo>
                    <a:lnTo>
                      <a:pt x="152" y="815"/>
                    </a:lnTo>
                    <a:lnTo>
                      <a:pt x="157" y="818"/>
                    </a:lnTo>
                    <a:lnTo>
                      <a:pt x="158" y="823"/>
                    </a:lnTo>
                    <a:lnTo>
                      <a:pt x="155" y="822"/>
                    </a:lnTo>
                    <a:lnTo>
                      <a:pt x="150" y="820"/>
                    </a:lnTo>
                    <a:lnTo>
                      <a:pt x="143" y="815"/>
                    </a:lnTo>
                    <a:lnTo>
                      <a:pt x="138" y="813"/>
                    </a:lnTo>
                    <a:lnTo>
                      <a:pt x="137" y="812"/>
                    </a:lnTo>
                    <a:lnTo>
                      <a:pt x="105" y="812"/>
                    </a:lnTo>
                    <a:lnTo>
                      <a:pt x="88" y="815"/>
                    </a:lnTo>
                    <a:lnTo>
                      <a:pt x="83" y="813"/>
                    </a:lnTo>
                    <a:lnTo>
                      <a:pt x="72" y="812"/>
                    </a:lnTo>
                    <a:lnTo>
                      <a:pt x="68" y="803"/>
                    </a:lnTo>
                    <a:lnTo>
                      <a:pt x="65" y="795"/>
                    </a:lnTo>
                    <a:lnTo>
                      <a:pt x="60" y="790"/>
                    </a:lnTo>
                    <a:lnTo>
                      <a:pt x="59" y="779"/>
                    </a:lnTo>
                    <a:lnTo>
                      <a:pt x="59" y="772"/>
                    </a:lnTo>
                    <a:lnTo>
                      <a:pt x="54" y="772"/>
                    </a:lnTo>
                    <a:lnTo>
                      <a:pt x="45" y="775"/>
                    </a:lnTo>
                    <a:lnTo>
                      <a:pt x="42" y="780"/>
                    </a:lnTo>
                    <a:lnTo>
                      <a:pt x="37" y="780"/>
                    </a:lnTo>
                    <a:lnTo>
                      <a:pt x="27" y="760"/>
                    </a:lnTo>
                    <a:lnTo>
                      <a:pt x="25" y="754"/>
                    </a:lnTo>
                    <a:lnTo>
                      <a:pt x="29" y="734"/>
                    </a:lnTo>
                    <a:lnTo>
                      <a:pt x="34" y="727"/>
                    </a:lnTo>
                    <a:lnTo>
                      <a:pt x="42" y="720"/>
                    </a:lnTo>
                    <a:lnTo>
                      <a:pt x="44" y="709"/>
                    </a:lnTo>
                    <a:lnTo>
                      <a:pt x="42" y="697"/>
                    </a:lnTo>
                    <a:lnTo>
                      <a:pt x="39" y="689"/>
                    </a:lnTo>
                    <a:lnTo>
                      <a:pt x="40" y="679"/>
                    </a:lnTo>
                    <a:lnTo>
                      <a:pt x="45" y="674"/>
                    </a:lnTo>
                    <a:lnTo>
                      <a:pt x="40" y="664"/>
                    </a:lnTo>
                    <a:lnTo>
                      <a:pt x="40" y="659"/>
                    </a:lnTo>
                    <a:lnTo>
                      <a:pt x="45" y="654"/>
                    </a:lnTo>
                    <a:lnTo>
                      <a:pt x="42" y="644"/>
                    </a:lnTo>
                    <a:lnTo>
                      <a:pt x="40" y="632"/>
                    </a:lnTo>
                    <a:lnTo>
                      <a:pt x="37" y="627"/>
                    </a:lnTo>
                    <a:lnTo>
                      <a:pt x="39" y="622"/>
                    </a:lnTo>
                    <a:lnTo>
                      <a:pt x="44" y="617"/>
                    </a:lnTo>
                    <a:lnTo>
                      <a:pt x="44" y="612"/>
                    </a:lnTo>
                    <a:lnTo>
                      <a:pt x="39" y="604"/>
                    </a:lnTo>
                    <a:lnTo>
                      <a:pt x="30" y="599"/>
                    </a:lnTo>
                    <a:lnTo>
                      <a:pt x="25" y="599"/>
                    </a:lnTo>
                    <a:lnTo>
                      <a:pt x="24" y="601"/>
                    </a:lnTo>
                    <a:lnTo>
                      <a:pt x="22" y="597"/>
                    </a:lnTo>
                    <a:lnTo>
                      <a:pt x="24" y="594"/>
                    </a:lnTo>
                    <a:lnTo>
                      <a:pt x="34" y="594"/>
                    </a:lnTo>
                    <a:lnTo>
                      <a:pt x="40" y="589"/>
                    </a:lnTo>
                    <a:lnTo>
                      <a:pt x="39" y="584"/>
                    </a:lnTo>
                    <a:lnTo>
                      <a:pt x="35" y="583"/>
                    </a:lnTo>
                    <a:lnTo>
                      <a:pt x="32" y="584"/>
                    </a:lnTo>
                    <a:lnTo>
                      <a:pt x="27" y="584"/>
                    </a:lnTo>
                    <a:lnTo>
                      <a:pt x="25" y="574"/>
                    </a:lnTo>
                    <a:lnTo>
                      <a:pt x="20" y="564"/>
                    </a:lnTo>
                    <a:lnTo>
                      <a:pt x="20" y="559"/>
                    </a:lnTo>
                    <a:lnTo>
                      <a:pt x="20" y="551"/>
                    </a:lnTo>
                    <a:lnTo>
                      <a:pt x="14" y="549"/>
                    </a:lnTo>
                    <a:lnTo>
                      <a:pt x="10" y="543"/>
                    </a:lnTo>
                    <a:lnTo>
                      <a:pt x="10" y="526"/>
                    </a:lnTo>
                    <a:lnTo>
                      <a:pt x="15" y="523"/>
                    </a:lnTo>
                    <a:lnTo>
                      <a:pt x="17" y="518"/>
                    </a:lnTo>
                    <a:lnTo>
                      <a:pt x="14" y="513"/>
                    </a:lnTo>
                    <a:lnTo>
                      <a:pt x="10" y="511"/>
                    </a:lnTo>
                    <a:lnTo>
                      <a:pt x="7" y="499"/>
                    </a:lnTo>
                    <a:lnTo>
                      <a:pt x="7" y="486"/>
                    </a:lnTo>
                    <a:lnTo>
                      <a:pt x="9" y="470"/>
                    </a:lnTo>
                    <a:lnTo>
                      <a:pt x="4" y="463"/>
                    </a:lnTo>
                    <a:lnTo>
                      <a:pt x="2" y="455"/>
                    </a:lnTo>
                    <a:lnTo>
                      <a:pt x="12" y="445"/>
                    </a:lnTo>
                    <a:lnTo>
                      <a:pt x="14" y="433"/>
                    </a:lnTo>
                    <a:lnTo>
                      <a:pt x="19" y="430"/>
                    </a:lnTo>
                    <a:lnTo>
                      <a:pt x="24" y="426"/>
                    </a:lnTo>
                    <a:lnTo>
                      <a:pt x="9" y="400"/>
                    </a:lnTo>
                    <a:lnTo>
                      <a:pt x="10" y="392"/>
                    </a:lnTo>
                    <a:lnTo>
                      <a:pt x="10" y="385"/>
                    </a:lnTo>
                    <a:lnTo>
                      <a:pt x="10" y="370"/>
                    </a:lnTo>
                    <a:lnTo>
                      <a:pt x="15" y="362"/>
                    </a:lnTo>
                    <a:lnTo>
                      <a:pt x="20" y="355"/>
                    </a:lnTo>
                    <a:lnTo>
                      <a:pt x="20" y="348"/>
                    </a:lnTo>
                    <a:lnTo>
                      <a:pt x="15" y="340"/>
                    </a:lnTo>
                    <a:lnTo>
                      <a:pt x="12" y="338"/>
                    </a:lnTo>
                    <a:lnTo>
                      <a:pt x="17" y="330"/>
                    </a:lnTo>
                    <a:lnTo>
                      <a:pt x="15" y="322"/>
                    </a:lnTo>
                    <a:lnTo>
                      <a:pt x="20" y="313"/>
                    </a:lnTo>
                    <a:lnTo>
                      <a:pt x="24" y="312"/>
                    </a:lnTo>
                    <a:lnTo>
                      <a:pt x="25" y="302"/>
                    </a:lnTo>
                    <a:lnTo>
                      <a:pt x="24" y="284"/>
                    </a:lnTo>
                    <a:lnTo>
                      <a:pt x="20" y="282"/>
                    </a:lnTo>
                    <a:lnTo>
                      <a:pt x="17" y="269"/>
                    </a:lnTo>
                    <a:lnTo>
                      <a:pt x="14" y="262"/>
                    </a:lnTo>
                    <a:lnTo>
                      <a:pt x="7" y="254"/>
                    </a:lnTo>
                    <a:lnTo>
                      <a:pt x="7" y="250"/>
                    </a:lnTo>
                    <a:lnTo>
                      <a:pt x="2" y="244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9" y="222"/>
                    </a:lnTo>
                    <a:lnTo>
                      <a:pt x="9" y="212"/>
                    </a:lnTo>
                    <a:lnTo>
                      <a:pt x="12" y="207"/>
                    </a:lnTo>
                    <a:lnTo>
                      <a:pt x="12" y="197"/>
                    </a:lnTo>
                    <a:lnTo>
                      <a:pt x="9" y="191"/>
                    </a:lnTo>
                    <a:lnTo>
                      <a:pt x="7" y="176"/>
                    </a:lnTo>
                    <a:lnTo>
                      <a:pt x="10" y="174"/>
                    </a:lnTo>
                    <a:lnTo>
                      <a:pt x="12" y="157"/>
                    </a:lnTo>
                    <a:lnTo>
                      <a:pt x="17" y="152"/>
                    </a:lnTo>
                    <a:lnTo>
                      <a:pt x="24" y="137"/>
                    </a:lnTo>
                    <a:lnTo>
                      <a:pt x="30" y="131"/>
                    </a:lnTo>
                    <a:lnTo>
                      <a:pt x="34" y="129"/>
                    </a:lnTo>
                    <a:lnTo>
                      <a:pt x="39" y="124"/>
                    </a:lnTo>
                    <a:lnTo>
                      <a:pt x="35" y="122"/>
                    </a:lnTo>
                    <a:lnTo>
                      <a:pt x="35" y="116"/>
                    </a:lnTo>
                    <a:lnTo>
                      <a:pt x="34" y="114"/>
                    </a:lnTo>
                    <a:lnTo>
                      <a:pt x="30" y="111"/>
                    </a:lnTo>
                    <a:lnTo>
                      <a:pt x="32" y="107"/>
                    </a:lnTo>
                    <a:lnTo>
                      <a:pt x="35" y="104"/>
                    </a:lnTo>
                    <a:lnTo>
                      <a:pt x="35" y="99"/>
                    </a:lnTo>
                    <a:lnTo>
                      <a:pt x="30" y="93"/>
                    </a:lnTo>
                    <a:lnTo>
                      <a:pt x="29" y="84"/>
                    </a:lnTo>
                    <a:lnTo>
                      <a:pt x="32" y="81"/>
                    </a:lnTo>
                    <a:lnTo>
                      <a:pt x="30" y="76"/>
                    </a:lnTo>
                    <a:lnTo>
                      <a:pt x="25" y="73"/>
                    </a:lnTo>
                    <a:lnTo>
                      <a:pt x="29" y="68"/>
                    </a:lnTo>
                    <a:lnTo>
                      <a:pt x="57" y="53"/>
                    </a:lnTo>
                    <a:lnTo>
                      <a:pt x="63" y="28"/>
                    </a:lnTo>
                    <a:lnTo>
                      <a:pt x="60" y="23"/>
                    </a:lnTo>
                    <a:lnTo>
                      <a:pt x="60" y="23"/>
                    </a:lnTo>
                    <a:close/>
                    <a:moveTo>
                      <a:pt x="259" y="896"/>
                    </a:moveTo>
                    <a:lnTo>
                      <a:pt x="263" y="900"/>
                    </a:lnTo>
                    <a:lnTo>
                      <a:pt x="268" y="896"/>
                    </a:lnTo>
                    <a:lnTo>
                      <a:pt x="273" y="896"/>
                    </a:lnTo>
                    <a:lnTo>
                      <a:pt x="278" y="891"/>
                    </a:lnTo>
                    <a:lnTo>
                      <a:pt x="271" y="891"/>
                    </a:lnTo>
                    <a:lnTo>
                      <a:pt x="268" y="895"/>
                    </a:lnTo>
                    <a:lnTo>
                      <a:pt x="261" y="895"/>
                    </a:lnTo>
                    <a:lnTo>
                      <a:pt x="259" y="896"/>
                    </a:lnTo>
                    <a:lnTo>
                      <a:pt x="259" y="896"/>
                    </a:lnTo>
                    <a:close/>
                    <a:moveTo>
                      <a:pt x="150" y="827"/>
                    </a:moveTo>
                    <a:lnTo>
                      <a:pt x="152" y="827"/>
                    </a:lnTo>
                    <a:lnTo>
                      <a:pt x="155" y="832"/>
                    </a:lnTo>
                    <a:lnTo>
                      <a:pt x="163" y="838"/>
                    </a:lnTo>
                    <a:lnTo>
                      <a:pt x="165" y="850"/>
                    </a:lnTo>
                    <a:lnTo>
                      <a:pt x="163" y="847"/>
                    </a:lnTo>
                    <a:lnTo>
                      <a:pt x="160" y="848"/>
                    </a:lnTo>
                    <a:lnTo>
                      <a:pt x="158" y="852"/>
                    </a:lnTo>
                    <a:lnTo>
                      <a:pt x="150" y="827"/>
                    </a:lnTo>
                    <a:lnTo>
                      <a:pt x="150" y="827"/>
                    </a:lnTo>
                    <a:close/>
                    <a:moveTo>
                      <a:pt x="158" y="853"/>
                    </a:moveTo>
                    <a:lnTo>
                      <a:pt x="163" y="855"/>
                    </a:lnTo>
                    <a:lnTo>
                      <a:pt x="168" y="855"/>
                    </a:lnTo>
                    <a:lnTo>
                      <a:pt x="171" y="858"/>
                    </a:lnTo>
                    <a:lnTo>
                      <a:pt x="175" y="867"/>
                    </a:lnTo>
                    <a:lnTo>
                      <a:pt x="180" y="867"/>
                    </a:lnTo>
                    <a:lnTo>
                      <a:pt x="186" y="872"/>
                    </a:lnTo>
                    <a:lnTo>
                      <a:pt x="186" y="877"/>
                    </a:lnTo>
                    <a:lnTo>
                      <a:pt x="191" y="878"/>
                    </a:lnTo>
                    <a:lnTo>
                      <a:pt x="211" y="883"/>
                    </a:lnTo>
                    <a:lnTo>
                      <a:pt x="213" y="885"/>
                    </a:lnTo>
                    <a:lnTo>
                      <a:pt x="220" y="888"/>
                    </a:lnTo>
                    <a:lnTo>
                      <a:pt x="226" y="893"/>
                    </a:lnTo>
                    <a:lnTo>
                      <a:pt x="231" y="893"/>
                    </a:lnTo>
                    <a:lnTo>
                      <a:pt x="240" y="891"/>
                    </a:lnTo>
                    <a:lnTo>
                      <a:pt x="245" y="893"/>
                    </a:lnTo>
                    <a:lnTo>
                      <a:pt x="245" y="896"/>
                    </a:lnTo>
                    <a:lnTo>
                      <a:pt x="240" y="900"/>
                    </a:lnTo>
                    <a:lnTo>
                      <a:pt x="236" y="898"/>
                    </a:lnTo>
                    <a:lnTo>
                      <a:pt x="231" y="900"/>
                    </a:lnTo>
                    <a:lnTo>
                      <a:pt x="231" y="903"/>
                    </a:lnTo>
                    <a:lnTo>
                      <a:pt x="226" y="906"/>
                    </a:lnTo>
                    <a:lnTo>
                      <a:pt x="221" y="908"/>
                    </a:lnTo>
                    <a:lnTo>
                      <a:pt x="215" y="906"/>
                    </a:lnTo>
                    <a:lnTo>
                      <a:pt x="210" y="903"/>
                    </a:lnTo>
                    <a:lnTo>
                      <a:pt x="200" y="903"/>
                    </a:lnTo>
                    <a:lnTo>
                      <a:pt x="193" y="903"/>
                    </a:lnTo>
                    <a:lnTo>
                      <a:pt x="183" y="903"/>
                    </a:lnTo>
                    <a:lnTo>
                      <a:pt x="175" y="905"/>
                    </a:lnTo>
                    <a:lnTo>
                      <a:pt x="171" y="905"/>
                    </a:lnTo>
                    <a:lnTo>
                      <a:pt x="170" y="896"/>
                    </a:lnTo>
                    <a:lnTo>
                      <a:pt x="181" y="896"/>
                    </a:lnTo>
                    <a:lnTo>
                      <a:pt x="188" y="895"/>
                    </a:lnTo>
                    <a:lnTo>
                      <a:pt x="191" y="893"/>
                    </a:lnTo>
                    <a:lnTo>
                      <a:pt x="193" y="891"/>
                    </a:lnTo>
                    <a:lnTo>
                      <a:pt x="186" y="893"/>
                    </a:lnTo>
                    <a:lnTo>
                      <a:pt x="180" y="893"/>
                    </a:lnTo>
                    <a:lnTo>
                      <a:pt x="171" y="895"/>
                    </a:lnTo>
                    <a:lnTo>
                      <a:pt x="170" y="895"/>
                    </a:lnTo>
                    <a:lnTo>
                      <a:pt x="158" y="8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  <p:sp>
            <p:nvSpPr>
              <p:cNvPr id="91" name="Freeform 175"/>
              <p:cNvSpPr>
                <a:spLocks noEditPoints="1"/>
              </p:cNvSpPr>
              <p:nvPr/>
            </p:nvSpPr>
            <p:spPr bwMode="auto">
              <a:xfrm>
                <a:off x="5507444" y="3476194"/>
                <a:ext cx="140202" cy="539546"/>
              </a:xfrm>
              <a:custGeom>
                <a:avLst/>
                <a:gdLst/>
                <a:ahLst/>
                <a:cxnLst>
                  <a:cxn ang="0">
                    <a:pos x="178" y="997"/>
                  </a:cxn>
                  <a:cxn ang="0">
                    <a:pos x="176" y="1013"/>
                  </a:cxn>
                  <a:cxn ang="0">
                    <a:pos x="224" y="1007"/>
                  </a:cxn>
                  <a:cxn ang="0">
                    <a:pos x="171" y="954"/>
                  </a:cxn>
                  <a:cxn ang="0">
                    <a:pos x="203" y="922"/>
                  </a:cxn>
                  <a:cxn ang="0">
                    <a:pos x="97" y="811"/>
                  </a:cxn>
                  <a:cxn ang="0">
                    <a:pos x="92" y="686"/>
                  </a:cxn>
                  <a:cxn ang="0">
                    <a:pos x="72" y="532"/>
                  </a:cxn>
                  <a:cxn ang="0">
                    <a:pos x="55" y="346"/>
                  </a:cxn>
                  <a:cxn ang="0">
                    <a:pos x="88" y="201"/>
                  </a:cxn>
                  <a:cxn ang="0">
                    <a:pos x="58" y="23"/>
                  </a:cxn>
                  <a:cxn ang="0">
                    <a:pos x="30" y="68"/>
                  </a:cxn>
                  <a:cxn ang="0">
                    <a:pos x="30" y="203"/>
                  </a:cxn>
                  <a:cxn ang="0">
                    <a:pos x="20" y="311"/>
                  </a:cxn>
                  <a:cxn ang="0">
                    <a:pos x="28" y="414"/>
                  </a:cxn>
                  <a:cxn ang="0">
                    <a:pos x="7" y="492"/>
                  </a:cxn>
                  <a:cxn ang="0">
                    <a:pos x="15" y="575"/>
                  </a:cxn>
                  <a:cxn ang="0">
                    <a:pos x="48" y="623"/>
                  </a:cxn>
                  <a:cxn ang="0">
                    <a:pos x="50" y="668"/>
                  </a:cxn>
                  <a:cxn ang="0">
                    <a:pos x="43" y="739"/>
                  </a:cxn>
                  <a:cxn ang="0">
                    <a:pos x="17" y="733"/>
                  </a:cxn>
                  <a:cxn ang="0">
                    <a:pos x="23" y="763"/>
                  </a:cxn>
                  <a:cxn ang="0">
                    <a:pos x="53" y="789"/>
                  </a:cxn>
                  <a:cxn ang="0">
                    <a:pos x="48" y="819"/>
                  </a:cxn>
                  <a:cxn ang="0">
                    <a:pos x="55" y="861"/>
                  </a:cxn>
                  <a:cxn ang="0">
                    <a:pos x="85" y="905"/>
                  </a:cxn>
                  <a:cxn ang="0">
                    <a:pos x="95" y="907"/>
                  </a:cxn>
                  <a:cxn ang="0">
                    <a:pos x="107" y="922"/>
                  </a:cxn>
                  <a:cxn ang="0">
                    <a:pos x="100" y="952"/>
                  </a:cxn>
                  <a:cxn ang="0">
                    <a:pos x="145" y="937"/>
                  </a:cxn>
                  <a:cxn ang="0">
                    <a:pos x="128" y="964"/>
                  </a:cxn>
                  <a:cxn ang="0">
                    <a:pos x="143" y="965"/>
                  </a:cxn>
                  <a:cxn ang="0">
                    <a:pos x="163" y="942"/>
                  </a:cxn>
                  <a:cxn ang="0">
                    <a:pos x="25" y="640"/>
                  </a:cxn>
                  <a:cxn ang="0">
                    <a:pos x="15" y="616"/>
                  </a:cxn>
                  <a:cxn ang="0">
                    <a:pos x="10" y="675"/>
                  </a:cxn>
                  <a:cxn ang="0">
                    <a:pos x="22" y="675"/>
                  </a:cxn>
                  <a:cxn ang="0">
                    <a:pos x="37" y="695"/>
                  </a:cxn>
                  <a:cxn ang="0">
                    <a:pos x="18" y="698"/>
                  </a:cxn>
                  <a:cxn ang="0">
                    <a:pos x="42" y="690"/>
                  </a:cxn>
                  <a:cxn ang="0">
                    <a:pos x="25" y="703"/>
                  </a:cxn>
                  <a:cxn ang="0">
                    <a:pos x="25" y="724"/>
                  </a:cxn>
                  <a:cxn ang="0">
                    <a:pos x="37" y="816"/>
                  </a:cxn>
                  <a:cxn ang="0">
                    <a:pos x="23" y="819"/>
                  </a:cxn>
                  <a:cxn ang="0">
                    <a:pos x="32" y="846"/>
                  </a:cxn>
                  <a:cxn ang="0">
                    <a:pos x="50" y="831"/>
                  </a:cxn>
                  <a:cxn ang="0">
                    <a:pos x="42" y="874"/>
                  </a:cxn>
                  <a:cxn ang="0">
                    <a:pos x="60" y="882"/>
                  </a:cxn>
                  <a:cxn ang="0">
                    <a:pos x="67" y="900"/>
                  </a:cxn>
                  <a:cxn ang="0">
                    <a:pos x="67" y="912"/>
                  </a:cxn>
                  <a:cxn ang="0">
                    <a:pos x="72" y="925"/>
                  </a:cxn>
                  <a:cxn ang="0">
                    <a:pos x="80" y="930"/>
                  </a:cxn>
                  <a:cxn ang="0">
                    <a:pos x="93" y="967"/>
                  </a:cxn>
                  <a:cxn ang="0">
                    <a:pos x="90" y="969"/>
                  </a:cxn>
                  <a:cxn ang="0">
                    <a:pos x="107" y="975"/>
                  </a:cxn>
                  <a:cxn ang="0">
                    <a:pos x="141" y="990"/>
                  </a:cxn>
                  <a:cxn ang="0">
                    <a:pos x="150" y="984"/>
                  </a:cxn>
                  <a:cxn ang="0">
                    <a:pos x="178" y="985"/>
                  </a:cxn>
                  <a:cxn ang="0">
                    <a:pos x="263" y="1033"/>
                  </a:cxn>
                  <a:cxn ang="0">
                    <a:pos x="241" y="1018"/>
                  </a:cxn>
                  <a:cxn ang="0">
                    <a:pos x="216" y="1025"/>
                  </a:cxn>
                </a:cxnLst>
                <a:rect l="0" t="0" r="r" b="b"/>
                <a:pathLst>
                  <a:path w="263" h="1040">
                    <a:moveTo>
                      <a:pt x="224" y="1007"/>
                    </a:moveTo>
                    <a:lnTo>
                      <a:pt x="223" y="998"/>
                    </a:lnTo>
                    <a:lnTo>
                      <a:pt x="219" y="998"/>
                    </a:lnTo>
                    <a:lnTo>
                      <a:pt x="216" y="995"/>
                    </a:lnTo>
                    <a:lnTo>
                      <a:pt x="206" y="993"/>
                    </a:lnTo>
                    <a:lnTo>
                      <a:pt x="195" y="990"/>
                    </a:lnTo>
                    <a:lnTo>
                      <a:pt x="190" y="989"/>
                    </a:lnTo>
                    <a:lnTo>
                      <a:pt x="190" y="990"/>
                    </a:lnTo>
                    <a:lnTo>
                      <a:pt x="190" y="992"/>
                    </a:lnTo>
                    <a:lnTo>
                      <a:pt x="188" y="993"/>
                    </a:lnTo>
                    <a:lnTo>
                      <a:pt x="186" y="992"/>
                    </a:lnTo>
                    <a:lnTo>
                      <a:pt x="178" y="989"/>
                    </a:lnTo>
                    <a:lnTo>
                      <a:pt x="175" y="987"/>
                    </a:lnTo>
                    <a:lnTo>
                      <a:pt x="173" y="989"/>
                    </a:lnTo>
                    <a:lnTo>
                      <a:pt x="175" y="990"/>
                    </a:lnTo>
                    <a:lnTo>
                      <a:pt x="185" y="995"/>
                    </a:lnTo>
                    <a:lnTo>
                      <a:pt x="186" y="997"/>
                    </a:lnTo>
                    <a:lnTo>
                      <a:pt x="183" y="997"/>
                    </a:lnTo>
                    <a:lnTo>
                      <a:pt x="181" y="997"/>
                    </a:lnTo>
                    <a:lnTo>
                      <a:pt x="181" y="998"/>
                    </a:lnTo>
                    <a:lnTo>
                      <a:pt x="180" y="998"/>
                    </a:lnTo>
                    <a:lnTo>
                      <a:pt x="178" y="997"/>
                    </a:lnTo>
                    <a:lnTo>
                      <a:pt x="173" y="993"/>
                    </a:lnTo>
                    <a:lnTo>
                      <a:pt x="171" y="995"/>
                    </a:lnTo>
                    <a:lnTo>
                      <a:pt x="171" y="998"/>
                    </a:lnTo>
                    <a:lnTo>
                      <a:pt x="170" y="998"/>
                    </a:lnTo>
                    <a:lnTo>
                      <a:pt x="161" y="998"/>
                    </a:lnTo>
                    <a:lnTo>
                      <a:pt x="160" y="1000"/>
                    </a:lnTo>
                    <a:lnTo>
                      <a:pt x="161" y="1002"/>
                    </a:lnTo>
                    <a:lnTo>
                      <a:pt x="160" y="1002"/>
                    </a:lnTo>
                    <a:lnTo>
                      <a:pt x="156" y="1002"/>
                    </a:lnTo>
                    <a:lnTo>
                      <a:pt x="151" y="1003"/>
                    </a:lnTo>
                    <a:lnTo>
                      <a:pt x="153" y="1005"/>
                    </a:lnTo>
                    <a:lnTo>
                      <a:pt x="158" y="1007"/>
                    </a:lnTo>
                    <a:lnTo>
                      <a:pt x="163" y="1007"/>
                    </a:lnTo>
                    <a:lnTo>
                      <a:pt x="163" y="1003"/>
                    </a:lnTo>
                    <a:lnTo>
                      <a:pt x="165" y="1003"/>
                    </a:lnTo>
                    <a:lnTo>
                      <a:pt x="168" y="1003"/>
                    </a:lnTo>
                    <a:lnTo>
                      <a:pt x="173" y="1007"/>
                    </a:lnTo>
                    <a:lnTo>
                      <a:pt x="175" y="1007"/>
                    </a:lnTo>
                    <a:lnTo>
                      <a:pt x="176" y="1008"/>
                    </a:lnTo>
                    <a:lnTo>
                      <a:pt x="176" y="1010"/>
                    </a:lnTo>
                    <a:lnTo>
                      <a:pt x="180" y="1012"/>
                    </a:lnTo>
                    <a:lnTo>
                      <a:pt x="176" y="1013"/>
                    </a:lnTo>
                    <a:lnTo>
                      <a:pt x="173" y="1017"/>
                    </a:lnTo>
                    <a:lnTo>
                      <a:pt x="176" y="1020"/>
                    </a:lnTo>
                    <a:lnTo>
                      <a:pt x="180" y="1020"/>
                    </a:lnTo>
                    <a:lnTo>
                      <a:pt x="183" y="1022"/>
                    </a:lnTo>
                    <a:lnTo>
                      <a:pt x="186" y="1025"/>
                    </a:lnTo>
                    <a:lnTo>
                      <a:pt x="190" y="1025"/>
                    </a:lnTo>
                    <a:lnTo>
                      <a:pt x="190" y="1023"/>
                    </a:lnTo>
                    <a:lnTo>
                      <a:pt x="186" y="1022"/>
                    </a:lnTo>
                    <a:lnTo>
                      <a:pt x="181" y="1018"/>
                    </a:lnTo>
                    <a:lnTo>
                      <a:pt x="181" y="1017"/>
                    </a:lnTo>
                    <a:lnTo>
                      <a:pt x="183" y="1017"/>
                    </a:lnTo>
                    <a:lnTo>
                      <a:pt x="186" y="1018"/>
                    </a:lnTo>
                    <a:lnTo>
                      <a:pt x="190" y="1015"/>
                    </a:lnTo>
                    <a:lnTo>
                      <a:pt x="190" y="1013"/>
                    </a:lnTo>
                    <a:lnTo>
                      <a:pt x="186" y="1013"/>
                    </a:lnTo>
                    <a:lnTo>
                      <a:pt x="185" y="1012"/>
                    </a:lnTo>
                    <a:lnTo>
                      <a:pt x="195" y="1008"/>
                    </a:lnTo>
                    <a:lnTo>
                      <a:pt x="198" y="1007"/>
                    </a:lnTo>
                    <a:lnTo>
                      <a:pt x="218" y="1010"/>
                    </a:lnTo>
                    <a:lnTo>
                      <a:pt x="219" y="1008"/>
                    </a:lnTo>
                    <a:lnTo>
                      <a:pt x="219" y="1007"/>
                    </a:lnTo>
                    <a:lnTo>
                      <a:pt x="224" y="1007"/>
                    </a:lnTo>
                    <a:lnTo>
                      <a:pt x="224" y="1007"/>
                    </a:lnTo>
                    <a:close/>
                    <a:moveTo>
                      <a:pt x="223" y="997"/>
                    </a:moveTo>
                    <a:lnTo>
                      <a:pt x="216" y="995"/>
                    </a:lnTo>
                    <a:lnTo>
                      <a:pt x="205" y="989"/>
                    </a:lnTo>
                    <a:lnTo>
                      <a:pt x="196" y="985"/>
                    </a:lnTo>
                    <a:lnTo>
                      <a:pt x="193" y="985"/>
                    </a:lnTo>
                    <a:lnTo>
                      <a:pt x="188" y="984"/>
                    </a:lnTo>
                    <a:lnTo>
                      <a:pt x="183" y="979"/>
                    </a:lnTo>
                    <a:lnTo>
                      <a:pt x="183" y="977"/>
                    </a:lnTo>
                    <a:lnTo>
                      <a:pt x="183" y="975"/>
                    </a:lnTo>
                    <a:lnTo>
                      <a:pt x="190" y="972"/>
                    </a:lnTo>
                    <a:lnTo>
                      <a:pt x="191" y="970"/>
                    </a:lnTo>
                    <a:lnTo>
                      <a:pt x="196" y="969"/>
                    </a:lnTo>
                    <a:lnTo>
                      <a:pt x="200" y="964"/>
                    </a:lnTo>
                    <a:lnTo>
                      <a:pt x="198" y="960"/>
                    </a:lnTo>
                    <a:lnTo>
                      <a:pt x="193" y="959"/>
                    </a:lnTo>
                    <a:lnTo>
                      <a:pt x="185" y="964"/>
                    </a:lnTo>
                    <a:lnTo>
                      <a:pt x="181" y="967"/>
                    </a:lnTo>
                    <a:lnTo>
                      <a:pt x="178" y="967"/>
                    </a:lnTo>
                    <a:lnTo>
                      <a:pt x="173" y="962"/>
                    </a:lnTo>
                    <a:lnTo>
                      <a:pt x="173" y="957"/>
                    </a:lnTo>
                    <a:lnTo>
                      <a:pt x="171" y="954"/>
                    </a:lnTo>
                    <a:lnTo>
                      <a:pt x="176" y="950"/>
                    </a:lnTo>
                    <a:lnTo>
                      <a:pt x="176" y="947"/>
                    </a:lnTo>
                    <a:lnTo>
                      <a:pt x="173" y="947"/>
                    </a:lnTo>
                    <a:lnTo>
                      <a:pt x="170" y="945"/>
                    </a:lnTo>
                    <a:lnTo>
                      <a:pt x="173" y="942"/>
                    </a:lnTo>
                    <a:lnTo>
                      <a:pt x="176" y="942"/>
                    </a:lnTo>
                    <a:lnTo>
                      <a:pt x="181" y="945"/>
                    </a:lnTo>
                    <a:lnTo>
                      <a:pt x="181" y="942"/>
                    </a:lnTo>
                    <a:lnTo>
                      <a:pt x="186" y="939"/>
                    </a:lnTo>
                    <a:lnTo>
                      <a:pt x="186" y="937"/>
                    </a:lnTo>
                    <a:lnTo>
                      <a:pt x="186" y="934"/>
                    </a:lnTo>
                    <a:lnTo>
                      <a:pt x="188" y="930"/>
                    </a:lnTo>
                    <a:lnTo>
                      <a:pt x="191" y="930"/>
                    </a:lnTo>
                    <a:lnTo>
                      <a:pt x="195" y="934"/>
                    </a:lnTo>
                    <a:lnTo>
                      <a:pt x="196" y="932"/>
                    </a:lnTo>
                    <a:lnTo>
                      <a:pt x="203" y="929"/>
                    </a:lnTo>
                    <a:lnTo>
                      <a:pt x="211" y="954"/>
                    </a:lnTo>
                    <a:lnTo>
                      <a:pt x="210" y="955"/>
                    </a:lnTo>
                    <a:lnTo>
                      <a:pt x="211" y="955"/>
                    </a:lnTo>
                    <a:lnTo>
                      <a:pt x="223" y="997"/>
                    </a:lnTo>
                    <a:lnTo>
                      <a:pt x="223" y="997"/>
                    </a:lnTo>
                    <a:close/>
                    <a:moveTo>
                      <a:pt x="203" y="922"/>
                    </a:moveTo>
                    <a:lnTo>
                      <a:pt x="196" y="917"/>
                    </a:lnTo>
                    <a:lnTo>
                      <a:pt x="191" y="915"/>
                    </a:lnTo>
                    <a:lnTo>
                      <a:pt x="190" y="914"/>
                    </a:lnTo>
                    <a:lnTo>
                      <a:pt x="158" y="914"/>
                    </a:lnTo>
                    <a:lnTo>
                      <a:pt x="141" y="917"/>
                    </a:lnTo>
                    <a:lnTo>
                      <a:pt x="136" y="915"/>
                    </a:lnTo>
                    <a:lnTo>
                      <a:pt x="125" y="914"/>
                    </a:lnTo>
                    <a:lnTo>
                      <a:pt x="121" y="905"/>
                    </a:lnTo>
                    <a:lnTo>
                      <a:pt x="118" y="897"/>
                    </a:lnTo>
                    <a:lnTo>
                      <a:pt x="113" y="892"/>
                    </a:lnTo>
                    <a:lnTo>
                      <a:pt x="112" y="881"/>
                    </a:lnTo>
                    <a:lnTo>
                      <a:pt x="112" y="874"/>
                    </a:lnTo>
                    <a:lnTo>
                      <a:pt x="107" y="874"/>
                    </a:lnTo>
                    <a:lnTo>
                      <a:pt x="98" y="877"/>
                    </a:lnTo>
                    <a:lnTo>
                      <a:pt x="95" y="882"/>
                    </a:lnTo>
                    <a:lnTo>
                      <a:pt x="90" y="882"/>
                    </a:lnTo>
                    <a:lnTo>
                      <a:pt x="80" y="862"/>
                    </a:lnTo>
                    <a:lnTo>
                      <a:pt x="78" y="856"/>
                    </a:lnTo>
                    <a:lnTo>
                      <a:pt x="82" y="836"/>
                    </a:lnTo>
                    <a:lnTo>
                      <a:pt x="87" y="829"/>
                    </a:lnTo>
                    <a:lnTo>
                      <a:pt x="95" y="822"/>
                    </a:lnTo>
                    <a:lnTo>
                      <a:pt x="97" y="811"/>
                    </a:lnTo>
                    <a:lnTo>
                      <a:pt x="95" y="799"/>
                    </a:lnTo>
                    <a:lnTo>
                      <a:pt x="92" y="791"/>
                    </a:lnTo>
                    <a:lnTo>
                      <a:pt x="93" y="781"/>
                    </a:lnTo>
                    <a:lnTo>
                      <a:pt x="98" y="776"/>
                    </a:lnTo>
                    <a:lnTo>
                      <a:pt x="93" y="766"/>
                    </a:lnTo>
                    <a:lnTo>
                      <a:pt x="93" y="761"/>
                    </a:lnTo>
                    <a:lnTo>
                      <a:pt x="98" y="756"/>
                    </a:lnTo>
                    <a:lnTo>
                      <a:pt x="95" y="746"/>
                    </a:lnTo>
                    <a:lnTo>
                      <a:pt x="93" y="734"/>
                    </a:lnTo>
                    <a:lnTo>
                      <a:pt x="90" y="729"/>
                    </a:lnTo>
                    <a:lnTo>
                      <a:pt x="92" y="724"/>
                    </a:lnTo>
                    <a:lnTo>
                      <a:pt x="97" y="719"/>
                    </a:lnTo>
                    <a:lnTo>
                      <a:pt x="97" y="714"/>
                    </a:lnTo>
                    <a:lnTo>
                      <a:pt x="92" y="706"/>
                    </a:lnTo>
                    <a:lnTo>
                      <a:pt x="83" y="701"/>
                    </a:lnTo>
                    <a:lnTo>
                      <a:pt x="78" y="701"/>
                    </a:lnTo>
                    <a:lnTo>
                      <a:pt x="77" y="703"/>
                    </a:lnTo>
                    <a:lnTo>
                      <a:pt x="75" y="699"/>
                    </a:lnTo>
                    <a:lnTo>
                      <a:pt x="77" y="696"/>
                    </a:lnTo>
                    <a:lnTo>
                      <a:pt x="87" y="696"/>
                    </a:lnTo>
                    <a:lnTo>
                      <a:pt x="93" y="691"/>
                    </a:lnTo>
                    <a:lnTo>
                      <a:pt x="92" y="686"/>
                    </a:lnTo>
                    <a:lnTo>
                      <a:pt x="88" y="685"/>
                    </a:lnTo>
                    <a:lnTo>
                      <a:pt x="85" y="686"/>
                    </a:lnTo>
                    <a:lnTo>
                      <a:pt x="80" y="686"/>
                    </a:lnTo>
                    <a:lnTo>
                      <a:pt x="78" y="676"/>
                    </a:lnTo>
                    <a:lnTo>
                      <a:pt x="73" y="666"/>
                    </a:lnTo>
                    <a:lnTo>
                      <a:pt x="73" y="661"/>
                    </a:lnTo>
                    <a:lnTo>
                      <a:pt x="73" y="653"/>
                    </a:lnTo>
                    <a:lnTo>
                      <a:pt x="67" y="651"/>
                    </a:lnTo>
                    <a:lnTo>
                      <a:pt x="63" y="645"/>
                    </a:lnTo>
                    <a:lnTo>
                      <a:pt x="63" y="628"/>
                    </a:lnTo>
                    <a:lnTo>
                      <a:pt x="68" y="625"/>
                    </a:lnTo>
                    <a:lnTo>
                      <a:pt x="70" y="620"/>
                    </a:lnTo>
                    <a:lnTo>
                      <a:pt x="67" y="615"/>
                    </a:lnTo>
                    <a:lnTo>
                      <a:pt x="63" y="613"/>
                    </a:lnTo>
                    <a:lnTo>
                      <a:pt x="60" y="601"/>
                    </a:lnTo>
                    <a:lnTo>
                      <a:pt x="60" y="588"/>
                    </a:lnTo>
                    <a:lnTo>
                      <a:pt x="62" y="572"/>
                    </a:lnTo>
                    <a:lnTo>
                      <a:pt x="57" y="565"/>
                    </a:lnTo>
                    <a:lnTo>
                      <a:pt x="55" y="557"/>
                    </a:lnTo>
                    <a:lnTo>
                      <a:pt x="65" y="547"/>
                    </a:lnTo>
                    <a:lnTo>
                      <a:pt x="67" y="535"/>
                    </a:lnTo>
                    <a:lnTo>
                      <a:pt x="72" y="532"/>
                    </a:lnTo>
                    <a:lnTo>
                      <a:pt x="77" y="528"/>
                    </a:lnTo>
                    <a:lnTo>
                      <a:pt x="62" y="502"/>
                    </a:lnTo>
                    <a:lnTo>
                      <a:pt x="63" y="494"/>
                    </a:lnTo>
                    <a:lnTo>
                      <a:pt x="63" y="487"/>
                    </a:lnTo>
                    <a:lnTo>
                      <a:pt x="63" y="472"/>
                    </a:lnTo>
                    <a:lnTo>
                      <a:pt x="68" y="464"/>
                    </a:lnTo>
                    <a:lnTo>
                      <a:pt x="73" y="457"/>
                    </a:lnTo>
                    <a:lnTo>
                      <a:pt x="73" y="450"/>
                    </a:lnTo>
                    <a:lnTo>
                      <a:pt x="68" y="442"/>
                    </a:lnTo>
                    <a:lnTo>
                      <a:pt x="65" y="440"/>
                    </a:lnTo>
                    <a:lnTo>
                      <a:pt x="70" y="432"/>
                    </a:lnTo>
                    <a:lnTo>
                      <a:pt x="68" y="424"/>
                    </a:lnTo>
                    <a:lnTo>
                      <a:pt x="73" y="415"/>
                    </a:lnTo>
                    <a:lnTo>
                      <a:pt x="77" y="414"/>
                    </a:lnTo>
                    <a:lnTo>
                      <a:pt x="78" y="404"/>
                    </a:lnTo>
                    <a:lnTo>
                      <a:pt x="77" y="386"/>
                    </a:lnTo>
                    <a:lnTo>
                      <a:pt x="73" y="384"/>
                    </a:lnTo>
                    <a:lnTo>
                      <a:pt x="70" y="371"/>
                    </a:lnTo>
                    <a:lnTo>
                      <a:pt x="67" y="364"/>
                    </a:lnTo>
                    <a:lnTo>
                      <a:pt x="60" y="356"/>
                    </a:lnTo>
                    <a:lnTo>
                      <a:pt x="60" y="352"/>
                    </a:lnTo>
                    <a:lnTo>
                      <a:pt x="55" y="346"/>
                    </a:lnTo>
                    <a:lnTo>
                      <a:pt x="53" y="336"/>
                    </a:lnTo>
                    <a:lnTo>
                      <a:pt x="53" y="327"/>
                    </a:lnTo>
                    <a:lnTo>
                      <a:pt x="62" y="324"/>
                    </a:lnTo>
                    <a:lnTo>
                      <a:pt x="62" y="314"/>
                    </a:lnTo>
                    <a:lnTo>
                      <a:pt x="65" y="309"/>
                    </a:lnTo>
                    <a:lnTo>
                      <a:pt x="65" y="299"/>
                    </a:lnTo>
                    <a:lnTo>
                      <a:pt x="62" y="293"/>
                    </a:lnTo>
                    <a:lnTo>
                      <a:pt x="60" y="278"/>
                    </a:lnTo>
                    <a:lnTo>
                      <a:pt x="63" y="276"/>
                    </a:lnTo>
                    <a:lnTo>
                      <a:pt x="65" y="259"/>
                    </a:lnTo>
                    <a:lnTo>
                      <a:pt x="70" y="254"/>
                    </a:lnTo>
                    <a:lnTo>
                      <a:pt x="77" y="239"/>
                    </a:lnTo>
                    <a:lnTo>
                      <a:pt x="83" y="233"/>
                    </a:lnTo>
                    <a:lnTo>
                      <a:pt x="87" y="231"/>
                    </a:lnTo>
                    <a:lnTo>
                      <a:pt x="92" y="226"/>
                    </a:lnTo>
                    <a:lnTo>
                      <a:pt x="88" y="224"/>
                    </a:lnTo>
                    <a:lnTo>
                      <a:pt x="88" y="218"/>
                    </a:lnTo>
                    <a:lnTo>
                      <a:pt x="87" y="216"/>
                    </a:lnTo>
                    <a:lnTo>
                      <a:pt x="83" y="213"/>
                    </a:lnTo>
                    <a:lnTo>
                      <a:pt x="85" y="209"/>
                    </a:lnTo>
                    <a:lnTo>
                      <a:pt x="88" y="206"/>
                    </a:lnTo>
                    <a:lnTo>
                      <a:pt x="88" y="201"/>
                    </a:lnTo>
                    <a:lnTo>
                      <a:pt x="83" y="195"/>
                    </a:lnTo>
                    <a:lnTo>
                      <a:pt x="82" y="186"/>
                    </a:lnTo>
                    <a:lnTo>
                      <a:pt x="85" y="183"/>
                    </a:lnTo>
                    <a:lnTo>
                      <a:pt x="83" y="178"/>
                    </a:lnTo>
                    <a:lnTo>
                      <a:pt x="78" y="175"/>
                    </a:lnTo>
                    <a:lnTo>
                      <a:pt x="82" y="170"/>
                    </a:lnTo>
                    <a:lnTo>
                      <a:pt x="110" y="155"/>
                    </a:lnTo>
                    <a:lnTo>
                      <a:pt x="116" y="130"/>
                    </a:lnTo>
                    <a:lnTo>
                      <a:pt x="113" y="125"/>
                    </a:lnTo>
                    <a:lnTo>
                      <a:pt x="110" y="125"/>
                    </a:lnTo>
                    <a:lnTo>
                      <a:pt x="108" y="128"/>
                    </a:lnTo>
                    <a:lnTo>
                      <a:pt x="102" y="128"/>
                    </a:lnTo>
                    <a:lnTo>
                      <a:pt x="83" y="85"/>
                    </a:lnTo>
                    <a:lnTo>
                      <a:pt x="72" y="75"/>
                    </a:lnTo>
                    <a:lnTo>
                      <a:pt x="68" y="70"/>
                    </a:lnTo>
                    <a:lnTo>
                      <a:pt x="73" y="58"/>
                    </a:lnTo>
                    <a:lnTo>
                      <a:pt x="72" y="53"/>
                    </a:lnTo>
                    <a:lnTo>
                      <a:pt x="75" y="47"/>
                    </a:lnTo>
                    <a:lnTo>
                      <a:pt x="73" y="43"/>
                    </a:lnTo>
                    <a:lnTo>
                      <a:pt x="63" y="37"/>
                    </a:lnTo>
                    <a:lnTo>
                      <a:pt x="58" y="32"/>
                    </a:lnTo>
                    <a:lnTo>
                      <a:pt x="58" y="23"/>
                    </a:lnTo>
                    <a:lnTo>
                      <a:pt x="57" y="22"/>
                    </a:lnTo>
                    <a:lnTo>
                      <a:pt x="58" y="17"/>
                    </a:lnTo>
                    <a:lnTo>
                      <a:pt x="57" y="13"/>
                    </a:lnTo>
                    <a:lnTo>
                      <a:pt x="55" y="10"/>
                    </a:lnTo>
                    <a:lnTo>
                      <a:pt x="50" y="7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42" y="4"/>
                    </a:lnTo>
                    <a:lnTo>
                      <a:pt x="40" y="9"/>
                    </a:lnTo>
                    <a:lnTo>
                      <a:pt x="45" y="12"/>
                    </a:lnTo>
                    <a:lnTo>
                      <a:pt x="43" y="15"/>
                    </a:lnTo>
                    <a:lnTo>
                      <a:pt x="38" y="18"/>
                    </a:lnTo>
                    <a:lnTo>
                      <a:pt x="35" y="17"/>
                    </a:lnTo>
                    <a:lnTo>
                      <a:pt x="30" y="20"/>
                    </a:lnTo>
                    <a:lnTo>
                      <a:pt x="23" y="23"/>
                    </a:lnTo>
                    <a:lnTo>
                      <a:pt x="27" y="25"/>
                    </a:lnTo>
                    <a:lnTo>
                      <a:pt x="27" y="32"/>
                    </a:lnTo>
                    <a:lnTo>
                      <a:pt x="25" y="35"/>
                    </a:lnTo>
                    <a:lnTo>
                      <a:pt x="27" y="42"/>
                    </a:lnTo>
                    <a:lnTo>
                      <a:pt x="30" y="58"/>
                    </a:lnTo>
                    <a:lnTo>
                      <a:pt x="30" y="65"/>
                    </a:lnTo>
                    <a:lnTo>
                      <a:pt x="30" y="68"/>
                    </a:lnTo>
                    <a:lnTo>
                      <a:pt x="27" y="72"/>
                    </a:lnTo>
                    <a:lnTo>
                      <a:pt x="28" y="80"/>
                    </a:lnTo>
                    <a:lnTo>
                      <a:pt x="32" y="88"/>
                    </a:lnTo>
                    <a:lnTo>
                      <a:pt x="35" y="95"/>
                    </a:lnTo>
                    <a:lnTo>
                      <a:pt x="35" y="107"/>
                    </a:lnTo>
                    <a:lnTo>
                      <a:pt x="33" y="110"/>
                    </a:lnTo>
                    <a:lnTo>
                      <a:pt x="32" y="111"/>
                    </a:lnTo>
                    <a:lnTo>
                      <a:pt x="33" y="126"/>
                    </a:lnTo>
                    <a:lnTo>
                      <a:pt x="33" y="130"/>
                    </a:lnTo>
                    <a:lnTo>
                      <a:pt x="30" y="133"/>
                    </a:lnTo>
                    <a:lnTo>
                      <a:pt x="27" y="135"/>
                    </a:lnTo>
                    <a:lnTo>
                      <a:pt x="27" y="143"/>
                    </a:lnTo>
                    <a:lnTo>
                      <a:pt x="28" y="145"/>
                    </a:lnTo>
                    <a:lnTo>
                      <a:pt x="32" y="143"/>
                    </a:lnTo>
                    <a:lnTo>
                      <a:pt x="33" y="145"/>
                    </a:lnTo>
                    <a:lnTo>
                      <a:pt x="30" y="148"/>
                    </a:lnTo>
                    <a:lnTo>
                      <a:pt x="30" y="170"/>
                    </a:lnTo>
                    <a:lnTo>
                      <a:pt x="35" y="180"/>
                    </a:lnTo>
                    <a:lnTo>
                      <a:pt x="35" y="186"/>
                    </a:lnTo>
                    <a:lnTo>
                      <a:pt x="33" y="191"/>
                    </a:lnTo>
                    <a:lnTo>
                      <a:pt x="30" y="198"/>
                    </a:lnTo>
                    <a:lnTo>
                      <a:pt x="30" y="203"/>
                    </a:lnTo>
                    <a:lnTo>
                      <a:pt x="35" y="209"/>
                    </a:lnTo>
                    <a:lnTo>
                      <a:pt x="33" y="214"/>
                    </a:lnTo>
                    <a:lnTo>
                      <a:pt x="33" y="226"/>
                    </a:lnTo>
                    <a:lnTo>
                      <a:pt x="30" y="229"/>
                    </a:lnTo>
                    <a:lnTo>
                      <a:pt x="30" y="236"/>
                    </a:lnTo>
                    <a:lnTo>
                      <a:pt x="32" y="239"/>
                    </a:lnTo>
                    <a:lnTo>
                      <a:pt x="32" y="243"/>
                    </a:lnTo>
                    <a:lnTo>
                      <a:pt x="28" y="248"/>
                    </a:lnTo>
                    <a:lnTo>
                      <a:pt x="27" y="253"/>
                    </a:lnTo>
                    <a:lnTo>
                      <a:pt x="25" y="256"/>
                    </a:lnTo>
                    <a:lnTo>
                      <a:pt x="27" y="264"/>
                    </a:lnTo>
                    <a:lnTo>
                      <a:pt x="25" y="266"/>
                    </a:lnTo>
                    <a:lnTo>
                      <a:pt x="22" y="274"/>
                    </a:lnTo>
                    <a:lnTo>
                      <a:pt x="22" y="278"/>
                    </a:lnTo>
                    <a:lnTo>
                      <a:pt x="25" y="284"/>
                    </a:lnTo>
                    <a:lnTo>
                      <a:pt x="27" y="291"/>
                    </a:lnTo>
                    <a:lnTo>
                      <a:pt x="30" y="294"/>
                    </a:lnTo>
                    <a:lnTo>
                      <a:pt x="27" y="298"/>
                    </a:lnTo>
                    <a:lnTo>
                      <a:pt x="23" y="303"/>
                    </a:lnTo>
                    <a:lnTo>
                      <a:pt x="27" y="306"/>
                    </a:lnTo>
                    <a:lnTo>
                      <a:pt x="23" y="309"/>
                    </a:lnTo>
                    <a:lnTo>
                      <a:pt x="20" y="311"/>
                    </a:lnTo>
                    <a:lnTo>
                      <a:pt x="20" y="316"/>
                    </a:lnTo>
                    <a:lnTo>
                      <a:pt x="22" y="321"/>
                    </a:lnTo>
                    <a:lnTo>
                      <a:pt x="22" y="326"/>
                    </a:lnTo>
                    <a:lnTo>
                      <a:pt x="27" y="339"/>
                    </a:lnTo>
                    <a:lnTo>
                      <a:pt x="27" y="346"/>
                    </a:lnTo>
                    <a:lnTo>
                      <a:pt x="25" y="349"/>
                    </a:lnTo>
                    <a:lnTo>
                      <a:pt x="25" y="352"/>
                    </a:lnTo>
                    <a:lnTo>
                      <a:pt x="30" y="359"/>
                    </a:lnTo>
                    <a:lnTo>
                      <a:pt x="32" y="367"/>
                    </a:lnTo>
                    <a:lnTo>
                      <a:pt x="30" y="372"/>
                    </a:lnTo>
                    <a:lnTo>
                      <a:pt x="30" y="374"/>
                    </a:lnTo>
                    <a:lnTo>
                      <a:pt x="30" y="379"/>
                    </a:lnTo>
                    <a:lnTo>
                      <a:pt x="30" y="382"/>
                    </a:lnTo>
                    <a:lnTo>
                      <a:pt x="28" y="386"/>
                    </a:lnTo>
                    <a:lnTo>
                      <a:pt x="30" y="387"/>
                    </a:lnTo>
                    <a:lnTo>
                      <a:pt x="35" y="394"/>
                    </a:lnTo>
                    <a:lnTo>
                      <a:pt x="37" y="399"/>
                    </a:lnTo>
                    <a:lnTo>
                      <a:pt x="33" y="402"/>
                    </a:lnTo>
                    <a:lnTo>
                      <a:pt x="30" y="404"/>
                    </a:lnTo>
                    <a:lnTo>
                      <a:pt x="27" y="410"/>
                    </a:lnTo>
                    <a:lnTo>
                      <a:pt x="27" y="412"/>
                    </a:lnTo>
                    <a:lnTo>
                      <a:pt x="28" y="414"/>
                    </a:lnTo>
                    <a:lnTo>
                      <a:pt x="27" y="419"/>
                    </a:lnTo>
                    <a:lnTo>
                      <a:pt x="23" y="422"/>
                    </a:lnTo>
                    <a:lnTo>
                      <a:pt x="23" y="425"/>
                    </a:lnTo>
                    <a:lnTo>
                      <a:pt x="23" y="432"/>
                    </a:lnTo>
                    <a:lnTo>
                      <a:pt x="22" y="435"/>
                    </a:lnTo>
                    <a:lnTo>
                      <a:pt x="22" y="440"/>
                    </a:lnTo>
                    <a:lnTo>
                      <a:pt x="20" y="442"/>
                    </a:lnTo>
                    <a:lnTo>
                      <a:pt x="20" y="447"/>
                    </a:lnTo>
                    <a:lnTo>
                      <a:pt x="17" y="450"/>
                    </a:lnTo>
                    <a:lnTo>
                      <a:pt x="18" y="452"/>
                    </a:lnTo>
                    <a:lnTo>
                      <a:pt x="20" y="455"/>
                    </a:lnTo>
                    <a:lnTo>
                      <a:pt x="17" y="459"/>
                    </a:lnTo>
                    <a:lnTo>
                      <a:pt x="17" y="465"/>
                    </a:lnTo>
                    <a:lnTo>
                      <a:pt x="15" y="469"/>
                    </a:lnTo>
                    <a:lnTo>
                      <a:pt x="12" y="470"/>
                    </a:lnTo>
                    <a:lnTo>
                      <a:pt x="12" y="474"/>
                    </a:lnTo>
                    <a:lnTo>
                      <a:pt x="10" y="477"/>
                    </a:lnTo>
                    <a:lnTo>
                      <a:pt x="10" y="480"/>
                    </a:lnTo>
                    <a:lnTo>
                      <a:pt x="12" y="484"/>
                    </a:lnTo>
                    <a:lnTo>
                      <a:pt x="12" y="489"/>
                    </a:lnTo>
                    <a:lnTo>
                      <a:pt x="10" y="492"/>
                    </a:lnTo>
                    <a:lnTo>
                      <a:pt x="7" y="492"/>
                    </a:lnTo>
                    <a:lnTo>
                      <a:pt x="4" y="490"/>
                    </a:lnTo>
                    <a:lnTo>
                      <a:pt x="0" y="490"/>
                    </a:lnTo>
                    <a:lnTo>
                      <a:pt x="0" y="494"/>
                    </a:lnTo>
                    <a:lnTo>
                      <a:pt x="0" y="499"/>
                    </a:lnTo>
                    <a:lnTo>
                      <a:pt x="0" y="505"/>
                    </a:lnTo>
                    <a:lnTo>
                      <a:pt x="4" y="510"/>
                    </a:lnTo>
                    <a:lnTo>
                      <a:pt x="9" y="513"/>
                    </a:lnTo>
                    <a:lnTo>
                      <a:pt x="10" y="518"/>
                    </a:lnTo>
                    <a:lnTo>
                      <a:pt x="9" y="523"/>
                    </a:lnTo>
                    <a:lnTo>
                      <a:pt x="17" y="535"/>
                    </a:lnTo>
                    <a:lnTo>
                      <a:pt x="18" y="538"/>
                    </a:lnTo>
                    <a:lnTo>
                      <a:pt x="20" y="542"/>
                    </a:lnTo>
                    <a:lnTo>
                      <a:pt x="20" y="548"/>
                    </a:lnTo>
                    <a:lnTo>
                      <a:pt x="18" y="558"/>
                    </a:lnTo>
                    <a:lnTo>
                      <a:pt x="17" y="560"/>
                    </a:lnTo>
                    <a:lnTo>
                      <a:pt x="18" y="562"/>
                    </a:lnTo>
                    <a:lnTo>
                      <a:pt x="17" y="565"/>
                    </a:lnTo>
                    <a:lnTo>
                      <a:pt x="15" y="565"/>
                    </a:lnTo>
                    <a:lnTo>
                      <a:pt x="12" y="565"/>
                    </a:lnTo>
                    <a:lnTo>
                      <a:pt x="10" y="568"/>
                    </a:lnTo>
                    <a:lnTo>
                      <a:pt x="12" y="573"/>
                    </a:lnTo>
                    <a:lnTo>
                      <a:pt x="15" y="575"/>
                    </a:lnTo>
                    <a:lnTo>
                      <a:pt x="12" y="585"/>
                    </a:lnTo>
                    <a:lnTo>
                      <a:pt x="14" y="588"/>
                    </a:lnTo>
                    <a:lnTo>
                      <a:pt x="12" y="590"/>
                    </a:lnTo>
                    <a:lnTo>
                      <a:pt x="14" y="593"/>
                    </a:lnTo>
                    <a:lnTo>
                      <a:pt x="14" y="595"/>
                    </a:lnTo>
                    <a:lnTo>
                      <a:pt x="12" y="597"/>
                    </a:lnTo>
                    <a:lnTo>
                      <a:pt x="14" y="600"/>
                    </a:lnTo>
                    <a:lnTo>
                      <a:pt x="20" y="610"/>
                    </a:lnTo>
                    <a:lnTo>
                      <a:pt x="23" y="611"/>
                    </a:lnTo>
                    <a:lnTo>
                      <a:pt x="25" y="615"/>
                    </a:lnTo>
                    <a:lnTo>
                      <a:pt x="32" y="618"/>
                    </a:lnTo>
                    <a:lnTo>
                      <a:pt x="38" y="616"/>
                    </a:lnTo>
                    <a:lnTo>
                      <a:pt x="38" y="610"/>
                    </a:lnTo>
                    <a:lnTo>
                      <a:pt x="40" y="608"/>
                    </a:lnTo>
                    <a:lnTo>
                      <a:pt x="45" y="608"/>
                    </a:lnTo>
                    <a:lnTo>
                      <a:pt x="48" y="613"/>
                    </a:lnTo>
                    <a:lnTo>
                      <a:pt x="50" y="611"/>
                    </a:lnTo>
                    <a:lnTo>
                      <a:pt x="53" y="611"/>
                    </a:lnTo>
                    <a:lnTo>
                      <a:pt x="50" y="615"/>
                    </a:lnTo>
                    <a:lnTo>
                      <a:pt x="45" y="620"/>
                    </a:lnTo>
                    <a:lnTo>
                      <a:pt x="45" y="621"/>
                    </a:lnTo>
                    <a:lnTo>
                      <a:pt x="48" y="623"/>
                    </a:lnTo>
                    <a:lnTo>
                      <a:pt x="52" y="621"/>
                    </a:lnTo>
                    <a:lnTo>
                      <a:pt x="52" y="625"/>
                    </a:lnTo>
                    <a:lnTo>
                      <a:pt x="53" y="633"/>
                    </a:lnTo>
                    <a:lnTo>
                      <a:pt x="55" y="635"/>
                    </a:lnTo>
                    <a:lnTo>
                      <a:pt x="53" y="636"/>
                    </a:lnTo>
                    <a:lnTo>
                      <a:pt x="52" y="635"/>
                    </a:lnTo>
                    <a:lnTo>
                      <a:pt x="50" y="631"/>
                    </a:lnTo>
                    <a:lnTo>
                      <a:pt x="47" y="630"/>
                    </a:lnTo>
                    <a:lnTo>
                      <a:pt x="45" y="631"/>
                    </a:lnTo>
                    <a:lnTo>
                      <a:pt x="47" y="635"/>
                    </a:lnTo>
                    <a:lnTo>
                      <a:pt x="50" y="636"/>
                    </a:lnTo>
                    <a:lnTo>
                      <a:pt x="52" y="640"/>
                    </a:lnTo>
                    <a:lnTo>
                      <a:pt x="48" y="640"/>
                    </a:lnTo>
                    <a:lnTo>
                      <a:pt x="47" y="641"/>
                    </a:lnTo>
                    <a:lnTo>
                      <a:pt x="47" y="646"/>
                    </a:lnTo>
                    <a:lnTo>
                      <a:pt x="50" y="651"/>
                    </a:lnTo>
                    <a:lnTo>
                      <a:pt x="47" y="655"/>
                    </a:lnTo>
                    <a:lnTo>
                      <a:pt x="47" y="658"/>
                    </a:lnTo>
                    <a:lnTo>
                      <a:pt x="48" y="658"/>
                    </a:lnTo>
                    <a:lnTo>
                      <a:pt x="43" y="663"/>
                    </a:lnTo>
                    <a:lnTo>
                      <a:pt x="45" y="665"/>
                    </a:lnTo>
                    <a:lnTo>
                      <a:pt x="50" y="668"/>
                    </a:lnTo>
                    <a:lnTo>
                      <a:pt x="48" y="671"/>
                    </a:lnTo>
                    <a:lnTo>
                      <a:pt x="48" y="676"/>
                    </a:lnTo>
                    <a:lnTo>
                      <a:pt x="45" y="680"/>
                    </a:lnTo>
                    <a:lnTo>
                      <a:pt x="45" y="683"/>
                    </a:lnTo>
                    <a:lnTo>
                      <a:pt x="47" y="685"/>
                    </a:lnTo>
                    <a:lnTo>
                      <a:pt x="52" y="685"/>
                    </a:lnTo>
                    <a:lnTo>
                      <a:pt x="55" y="688"/>
                    </a:lnTo>
                    <a:lnTo>
                      <a:pt x="55" y="691"/>
                    </a:lnTo>
                    <a:lnTo>
                      <a:pt x="60" y="691"/>
                    </a:lnTo>
                    <a:lnTo>
                      <a:pt x="62" y="695"/>
                    </a:lnTo>
                    <a:lnTo>
                      <a:pt x="62" y="701"/>
                    </a:lnTo>
                    <a:lnTo>
                      <a:pt x="57" y="706"/>
                    </a:lnTo>
                    <a:lnTo>
                      <a:pt x="52" y="709"/>
                    </a:lnTo>
                    <a:lnTo>
                      <a:pt x="48" y="709"/>
                    </a:lnTo>
                    <a:lnTo>
                      <a:pt x="48" y="714"/>
                    </a:lnTo>
                    <a:lnTo>
                      <a:pt x="50" y="719"/>
                    </a:lnTo>
                    <a:lnTo>
                      <a:pt x="48" y="721"/>
                    </a:lnTo>
                    <a:lnTo>
                      <a:pt x="48" y="723"/>
                    </a:lnTo>
                    <a:lnTo>
                      <a:pt x="50" y="724"/>
                    </a:lnTo>
                    <a:lnTo>
                      <a:pt x="47" y="728"/>
                    </a:lnTo>
                    <a:lnTo>
                      <a:pt x="43" y="734"/>
                    </a:lnTo>
                    <a:lnTo>
                      <a:pt x="43" y="739"/>
                    </a:lnTo>
                    <a:lnTo>
                      <a:pt x="47" y="741"/>
                    </a:lnTo>
                    <a:lnTo>
                      <a:pt x="45" y="744"/>
                    </a:lnTo>
                    <a:lnTo>
                      <a:pt x="45" y="751"/>
                    </a:lnTo>
                    <a:lnTo>
                      <a:pt x="42" y="753"/>
                    </a:lnTo>
                    <a:lnTo>
                      <a:pt x="40" y="758"/>
                    </a:lnTo>
                    <a:lnTo>
                      <a:pt x="38" y="754"/>
                    </a:lnTo>
                    <a:lnTo>
                      <a:pt x="40" y="753"/>
                    </a:lnTo>
                    <a:lnTo>
                      <a:pt x="42" y="746"/>
                    </a:lnTo>
                    <a:lnTo>
                      <a:pt x="42" y="743"/>
                    </a:lnTo>
                    <a:lnTo>
                      <a:pt x="42" y="741"/>
                    </a:lnTo>
                    <a:lnTo>
                      <a:pt x="40" y="739"/>
                    </a:lnTo>
                    <a:lnTo>
                      <a:pt x="33" y="741"/>
                    </a:lnTo>
                    <a:lnTo>
                      <a:pt x="30" y="744"/>
                    </a:lnTo>
                    <a:lnTo>
                      <a:pt x="27" y="744"/>
                    </a:lnTo>
                    <a:lnTo>
                      <a:pt x="27" y="743"/>
                    </a:lnTo>
                    <a:lnTo>
                      <a:pt x="32" y="741"/>
                    </a:lnTo>
                    <a:lnTo>
                      <a:pt x="33" y="739"/>
                    </a:lnTo>
                    <a:lnTo>
                      <a:pt x="33" y="733"/>
                    </a:lnTo>
                    <a:lnTo>
                      <a:pt x="32" y="731"/>
                    </a:lnTo>
                    <a:lnTo>
                      <a:pt x="27" y="733"/>
                    </a:lnTo>
                    <a:lnTo>
                      <a:pt x="18" y="734"/>
                    </a:lnTo>
                    <a:lnTo>
                      <a:pt x="17" y="733"/>
                    </a:lnTo>
                    <a:lnTo>
                      <a:pt x="14" y="734"/>
                    </a:lnTo>
                    <a:lnTo>
                      <a:pt x="12" y="736"/>
                    </a:lnTo>
                    <a:lnTo>
                      <a:pt x="15" y="741"/>
                    </a:lnTo>
                    <a:lnTo>
                      <a:pt x="17" y="741"/>
                    </a:lnTo>
                    <a:lnTo>
                      <a:pt x="18" y="744"/>
                    </a:lnTo>
                    <a:lnTo>
                      <a:pt x="15" y="744"/>
                    </a:lnTo>
                    <a:lnTo>
                      <a:pt x="14" y="749"/>
                    </a:lnTo>
                    <a:lnTo>
                      <a:pt x="10" y="751"/>
                    </a:lnTo>
                    <a:lnTo>
                      <a:pt x="9" y="754"/>
                    </a:lnTo>
                    <a:lnTo>
                      <a:pt x="2" y="758"/>
                    </a:lnTo>
                    <a:lnTo>
                      <a:pt x="2" y="761"/>
                    </a:lnTo>
                    <a:lnTo>
                      <a:pt x="9" y="768"/>
                    </a:lnTo>
                    <a:lnTo>
                      <a:pt x="12" y="768"/>
                    </a:lnTo>
                    <a:lnTo>
                      <a:pt x="14" y="766"/>
                    </a:lnTo>
                    <a:lnTo>
                      <a:pt x="14" y="764"/>
                    </a:lnTo>
                    <a:lnTo>
                      <a:pt x="10" y="763"/>
                    </a:lnTo>
                    <a:lnTo>
                      <a:pt x="9" y="761"/>
                    </a:lnTo>
                    <a:lnTo>
                      <a:pt x="12" y="756"/>
                    </a:lnTo>
                    <a:lnTo>
                      <a:pt x="17" y="756"/>
                    </a:lnTo>
                    <a:lnTo>
                      <a:pt x="18" y="754"/>
                    </a:lnTo>
                    <a:lnTo>
                      <a:pt x="20" y="759"/>
                    </a:lnTo>
                    <a:lnTo>
                      <a:pt x="23" y="763"/>
                    </a:lnTo>
                    <a:lnTo>
                      <a:pt x="30" y="761"/>
                    </a:lnTo>
                    <a:lnTo>
                      <a:pt x="32" y="759"/>
                    </a:lnTo>
                    <a:lnTo>
                      <a:pt x="35" y="761"/>
                    </a:lnTo>
                    <a:lnTo>
                      <a:pt x="37" y="763"/>
                    </a:lnTo>
                    <a:lnTo>
                      <a:pt x="43" y="766"/>
                    </a:lnTo>
                    <a:lnTo>
                      <a:pt x="45" y="769"/>
                    </a:lnTo>
                    <a:lnTo>
                      <a:pt x="43" y="769"/>
                    </a:lnTo>
                    <a:lnTo>
                      <a:pt x="42" y="771"/>
                    </a:lnTo>
                    <a:lnTo>
                      <a:pt x="43" y="774"/>
                    </a:lnTo>
                    <a:lnTo>
                      <a:pt x="40" y="776"/>
                    </a:lnTo>
                    <a:lnTo>
                      <a:pt x="38" y="779"/>
                    </a:lnTo>
                    <a:lnTo>
                      <a:pt x="40" y="781"/>
                    </a:lnTo>
                    <a:lnTo>
                      <a:pt x="45" y="784"/>
                    </a:lnTo>
                    <a:lnTo>
                      <a:pt x="43" y="784"/>
                    </a:lnTo>
                    <a:lnTo>
                      <a:pt x="40" y="783"/>
                    </a:lnTo>
                    <a:lnTo>
                      <a:pt x="38" y="781"/>
                    </a:lnTo>
                    <a:lnTo>
                      <a:pt x="35" y="781"/>
                    </a:lnTo>
                    <a:lnTo>
                      <a:pt x="35" y="784"/>
                    </a:lnTo>
                    <a:lnTo>
                      <a:pt x="38" y="788"/>
                    </a:lnTo>
                    <a:lnTo>
                      <a:pt x="40" y="791"/>
                    </a:lnTo>
                    <a:lnTo>
                      <a:pt x="47" y="793"/>
                    </a:lnTo>
                    <a:lnTo>
                      <a:pt x="53" y="789"/>
                    </a:lnTo>
                    <a:lnTo>
                      <a:pt x="57" y="791"/>
                    </a:lnTo>
                    <a:lnTo>
                      <a:pt x="58" y="791"/>
                    </a:lnTo>
                    <a:lnTo>
                      <a:pt x="63" y="789"/>
                    </a:lnTo>
                    <a:lnTo>
                      <a:pt x="60" y="793"/>
                    </a:lnTo>
                    <a:lnTo>
                      <a:pt x="62" y="794"/>
                    </a:lnTo>
                    <a:lnTo>
                      <a:pt x="60" y="794"/>
                    </a:lnTo>
                    <a:lnTo>
                      <a:pt x="55" y="794"/>
                    </a:lnTo>
                    <a:lnTo>
                      <a:pt x="55" y="796"/>
                    </a:lnTo>
                    <a:lnTo>
                      <a:pt x="52" y="794"/>
                    </a:lnTo>
                    <a:lnTo>
                      <a:pt x="43" y="796"/>
                    </a:lnTo>
                    <a:lnTo>
                      <a:pt x="42" y="799"/>
                    </a:lnTo>
                    <a:lnTo>
                      <a:pt x="43" y="801"/>
                    </a:lnTo>
                    <a:lnTo>
                      <a:pt x="48" y="804"/>
                    </a:lnTo>
                    <a:lnTo>
                      <a:pt x="48" y="807"/>
                    </a:lnTo>
                    <a:lnTo>
                      <a:pt x="53" y="809"/>
                    </a:lnTo>
                    <a:lnTo>
                      <a:pt x="57" y="807"/>
                    </a:lnTo>
                    <a:lnTo>
                      <a:pt x="55" y="809"/>
                    </a:lnTo>
                    <a:lnTo>
                      <a:pt x="52" y="812"/>
                    </a:lnTo>
                    <a:lnTo>
                      <a:pt x="52" y="814"/>
                    </a:lnTo>
                    <a:lnTo>
                      <a:pt x="53" y="816"/>
                    </a:lnTo>
                    <a:lnTo>
                      <a:pt x="52" y="819"/>
                    </a:lnTo>
                    <a:lnTo>
                      <a:pt x="48" y="819"/>
                    </a:lnTo>
                    <a:lnTo>
                      <a:pt x="48" y="822"/>
                    </a:lnTo>
                    <a:lnTo>
                      <a:pt x="52" y="832"/>
                    </a:lnTo>
                    <a:lnTo>
                      <a:pt x="53" y="836"/>
                    </a:lnTo>
                    <a:lnTo>
                      <a:pt x="53" y="841"/>
                    </a:lnTo>
                    <a:lnTo>
                      <a:pt x="57" y="844"/>
                    </a:lnTo>
                    <a:lnTo>
                      <a:pt x="60" y="846"/>
                    </a:lnTo>
                    <a:lnTo>
                      <a:pt x="60" y="839"/>
                    </a:lnTo>
                    <a:lnTo>
                      <a:pt x="63" y="831"/>
                    </a:lnTo>
                    <a:lnTo>
                      <a:pt x="67" y="829"/>
                    </a:lnTo>
                    <a:lnTo>
                      <a:pt x="67" y="831"/>
                    </a:lnTo>
                    <a:lnTo>
                      <a:pt x="65" y="831"/>
                    </a:lnTo>
                    <a:lnTo>
                      <a:pt x="62" y="839"/>
                    </a:lnTo>
                    <a:lnTo>
                      <a:pt x="63" y="842"/>
                    </a:lnTo>
                    <a:lnTo>
                      <a:pt x="67" y="844"/>
                    </a:lnTo>
                    <a:lnTo>
                      <a:pt x="70" y="844"/>
                    </a:lnTo>
                    <a:lnTo>
                      <a:pt x="68" y="846"/>
                    </a:lnTo>
                    <a:lnTo>
                      <a:pt x="63" y="846"/>
                    </a:lnTo>
                    <a:lnTo>
                      <a:pt x="58" y="851"/>
                    </a:lnTo>
                    <a:lnTo>
                      <a:pt x="60" y="852"/>
                    </a:lnTo>
                    <a:lnTo>
                      <a:pt x="58" y="856"/>
                    </a:lnTo>
                    <a:lnTo>
                      <a:pt x="58" y="861"/>
                    </a:lnTo>
                    <a:lnTo>
                      <a:pt x="55" y="861"/>
                    </a:lnTo>
                    <a:lnTo>
                      <a:pt x="53" y="866"/>
                    </a:lnTo>
                    <a:lnTo>
                      <a:pt x="53" y="867"/>
                    </a:lnTo>
                    <a:lnTo>
                      <a:pt x="60" y="872"/>
                    </a:lnTo>
                    <a:lnTo>
                      <a:pt x="70" y="874"/>
                    </a:lnTo>
                    <a:lnTo>
                      <a:pt x="73" y="877"/>
                    </a:lnTo>
                    <a:lnTo>
                      <a:pt x="73" y="879"/>
                    </a:lnTo>
                    <a:lnTo>
                      <a:pt x="72" y="879"/>
                    </a:lnTo>
                    <a:lnTo>
                      <a:pt x="72" y="882"/>
                    </a:lnTo>
                    <a:lnTo>
                      <a:pt x="73" y="886"/>
                    </a:lnTo>
                    <a:lnTo>
                      <a:pt x="78" y="881"/>
                    </a:lnTo>
                    <a:lnTo>
                      <a:pt x="78" y="884"/>
                    </a:lnTo>
                    <a:lnTo>
                      <a:pt x="77" y="887"/>
                    </a:lnTo>
                    <a:lnTo>
                      <a:pt x="73" y="889"/>
                    </a:lnTo>
                    <a:lnTo>
                      <a:pt x="70" y="892"/>
                    </a:lnTo>
                    <a:lnTo>
                      <a:pt x="72" y="894"/>
                    </a:lnTo>
                    <a:lnTo>
                      <a:pt x="77" y="894"/>
                    </a:lnTo>
                    <a:lnTo>
                      <a:pt x="77" y="895"/>
                    </a:lnTo>
                    <a:lnTo>
                      <a:pt x="80" y="900"/>
                    </a:lnTo>
                    <a:lnTo>
                      <a:pt x="82" y="900"/>
                    </a:lnTo>
                    <a:lnTo>
                      <a:pt x="85" y="897"/>
                    </a:lnTo>
                    <a:lnTo>
                      <a:pt x="85" y="902"/>
                    </a:lnTo>
                    <a:lnTo>
                      <a:pt x="85" y="905"/>
                    </a:lnTo>
                    <a:lnTo>
                      <a:pt x="83" y="905"/>
                    </a:lnTo>
                    <a:lnTo>
                      <a:pt x="82" y="904"/>
                    </a:lnTo>
                    <a:lnTo>
                      <a:pt x="78" y="904"/>
                    </a:lnTo>
                    <a:lnTo>
                      <a:pt x="78" y="907"/>
                    </a:lnTo>
                    <a:lnTo>
                      <a:pt x="82" y="912"/>
                    </a:lnTo>
                    <a:lnTo>
                      <a:pt x="83" y="912"/>
                    </a:lnTo>
                    <a:lnTo>
                      <a:pt x="85" y="917"/>
                    </a:lnTo>
                    <a:lnTo>
                      <a:pt x="88" y="919"/>
                    </a:lnTo>
                    <a:lnTo>
                      <a:pt x="92" y="922"/>
                    </a:lnTo>
                    <a:lnTo>
                      <a:pt x="95" y="922"/>
                    </a:lnTo>
                    <a:lnTo>
                      <a:pt x="93" y="917"/>
                    </a:lnTo>
                    <a:lnTo>
                      <a:pt x="93" y="914"/>
                    </a:lnTo>
                    <a:lnTo>
                      <a:pt x="93" y="910"/>
                    </a:lnTo>
                    <a:lnTo>
                      <a:pt x="97" y="914"/>
                    </a:lnTo>
                    <a:lnTo>
                      <a:pt x="97" y="917"/>
                    </a:lnTo>
                    <a:lnTo>
                      <a:pt x="100" y="920"/>
                    </a:lnTo>
                    <a:lnTo>
                      <a:pt x="102" y="915"/>
                    </a:lnTo>
                    <a:lnTo>
                      <a:pt x="105" y="914"/>
                    </a:lnTo>
                    <a:lnTo>
                      <a:pt x="105" y="910"/>
                    </a:lnTo>
                    <a:lnTo>
                      <a:pt x="102" y="909"/>
                    </a:lnTo>
                    <a:lnTo>
                      <a:pt x="95" y="909"/>
                    </a:lnTo>
                    <a:lnTo>
                      <a:pt x="95" y="907"/>
                    </a:lnTo>
                    <a:lnTo>
                      <a:pt x="100" y="907"/>
                    </a:lnTo>
                    <a:lnTo>
                      <a:pt x="107" y="909"/>
                    </a:lnTo>
                    <a:lnTo>
                      <a:pt x="108" y="910"/>
                    </a:lnTo>
                    <a:lnTo>
                      <a:pt x="113" y="910"/>
                    </a:lnTo>
                    <a:lnTo>
                      <a:pt x="112" y="907"/>
                    </a:lnTo>
                    <a:lnTo>
                      <a:pt x="107" y="905"/>
                    </a:lnTo>
                    <a:lnTo>
                      <a:pt x="98" y="904"/>
                    </a:lnTo>
                    <a:lnTo>
                      <a:pt x="98" y="902"/>
                    </a:lnTo>
                    <a:lnTo>
                      <a:pt x="102" y="902"/>
                    </a:lnTo>
                    <a:lnTo>
                      <a:pt x="108" y="904"/>
                    </a:lnTo>
                    <a:lnTo>
                      <a:pt x="116" y="909"/>
                    </a:lnTo>
                    <a:lnTo>
                      <a:pt x="116" y="914"/>
                    </a:lnTo>
                    <a:lnTo>
                      <a:pt x="115" y="917"/>
                    </a:lnTo>
                    <a:lnTo>
                      <a:pt x="113" y="920"/>
                    </a:lnTo>
                    <a:lnTo>
                      <a:pt x="116" y="925"/>
                    </a:lnTo>
                    <a:lnTo>
                      <a:pt x="116" y="929"/>
                    </a:lnTo>
                    <a:lnTo>
                      <a:pt x="113" y="930"/>
                    </a:lnTo>
                    <a:lnTo>
                      <a:pt x="115" y="925"/>
                    </a:lnTo>
                    <a:lnTo>
                      <a:pt x="112" y="919"/>
                    </a:lnTo>
                    <a:lnTo>
                      <a:pt x="108" y="917"/>
                    </a:lnTo>
                    <a:lnTo>
                      <a:pt x="107" y="919"/>
                    </a:lnTo>
                    <a:lnTo>
                      <a:pt x="107" y="922"/>
                    </a:lnTo>
                    <a:lnTo>
                      <a:pt x="108" y="925"/>
                    </a:lnTo>
                    <a:lnTo>
                      <a:pt x="107" y="929"/>
                    </a:lnTo>
                    <a:lnTo>
                      <a:pt x="105" y="927"/>
                    </a:lnTo>
                    <a:lnTo>
                      <a:pt x="103" y="924"/>
                    </a:lnTo>
                    <a:lnTo>
                      <a:pt x="102" y="924"/>
                    </a:lnTo>
                    <a:lnTo>
                      <a:pt x="98" y="925"/>
                    </a:lnTo>
                    <a:lnTo>
                      <a:pt x="92" y="925"/>
                    </a:lnTo>
                    <a:lnTo>
                      <a:pt x="88" y="927"/>
                    </a:lnTo>
                    <a:lnTo>
                      <a:pt x="92" y="930"/>
                    </a:lnTo>
                    <a:lnTo>
                      <a:pt x="92" y="935"/>
                    </a:lnTo>
                    <a:lnTo>
                      <a:pt x="93" y="939"/>
                    </a:lnTo>
                    <a:lnTo>
                      <a:pt x="95" y="940"/>
                    </a:lnTo>
                    <a:lnTo>
                      <a:pt x="93" y="944"/>
                    </a:lnTo>
                    <a:lnTo>
                      <a:pt x="95" y="945"/>
                    </a:lnTo>
                    <a:lnTo>
                      <a:pt x="97" y="945"/>
                    </a:lnTo>
                    <a:lnTo>
                      <a:pt x="100" y="942"/>
                    </a:lnTo>
                    <a:lnTo>
                      <a:pt x="102" y="944"/>
                    </a:lnTo>
                    <a:lnTo>
                      <a:pt x="105" y="944"/>
                    </a:lnTo>
                    <a:lnTo>
                      <a:pt x="105" y="945"/>
                    </a:lnTo>
                    <a:lnTo>
                      <a:pt x="102" y="947"/>
                    </a:lnTo>
                    <a:lnTo>
                      <a:pt x="98" y="950"/>
                    </a:lnTo>
                    <a:lnTo>
                      <a:pt x="100" y="952"/>
                    </a:lnTo>
                    <a:lnTo>
                      <a:pt x="105" y="952"/>
                    </a:lnTo>
                    <a:lnTo>
                      <a:pt x="112" y="955"/>
                    </a:lnTo>
                    <a:lnTo>
                      <a:pt x="113" y="955"/>
                    </a:lnTo>
                    <a:lnTo>
                      <a:pt x="116" y="952"/>
                    </a:lnTo>
                    <a:lnTo>
                      <a:pt x="115" y="947"/>
                    </a:lnTo>
                    <a:lnTo>
                      <a:pt x="115" y="944"/>
                    </a:lnTo>
                    <a:lnTo>
                      <a:pt x="113" y="940"/>
                    </a:lnTo>
                    <a:lnTo>
                      <a:pt x="112" y="942"/>
                    </a:lnTo>
                    <a:lnTo>
                      <a:pt x="108" y="942"/>
                    </a:lnTo>
                    <a:lnTo>
                      <a:pt x="110" y="940"/>
                    </a:lnTo>
                    <a:lnTo>
                      <a:pt x="113" y="939"/>
                    </a:lnTo>
                    <a:lnTo>
                      <a:pt x="113" y="935"/>
                    </a:lnTo>
                    <a:lnTo>
                      <a:pt x="115" y="935"/>
                    </a:lnTo>
                    <a:lnTo>
                      <a:pt x="120" y="937"/>
                    </a:lnTo>
                    <a:lnTo>
                      <a:pt x="121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6" y="937"/>
                    </a:lnTo>
                    <a:lnTo>
                      <a:pt x="131" y="935"/>
                    </a:lnTo>
                    <a:lnTo>
                      <a:pt x="135" y="937"/>
                    </a:lnTo>
                    <a:lnTo>
                      <a:pt x="140" y="937"/>
                    </a:lnTo>
                    <a:lnTo>
                      <a:pt x="145" y="937"/>
                    </a:lnTo>
                    <a:lnTo>
                      <a:pt x="145" y="939"/>
                    </a:lnTo>
                    <a:lnTo>
                      <a:pt x="141" y="939"/>
                    </a:lnTo>
                    <a:lnTo>
                      <a:pt x="140" y="942"/>
                    </a:lnTo>
                    <a:lnTo>
                      <a:pt x="138" y="942"/>
                    </a:lnTo>
                    <a:lnTo>
                      <a:pt x="135" y="939"/>
                    </a:lnTo>
                    <a:lnTo>
                      <a:pt x="131" y="940"/>
                    </a:lnTo>
                    <a:lnTo>
                      <a:pt x="123" y="945"/>
                    </a:lnTo>
                    <a:lnTo>
                      <a:pt x="121" y="947"/>
                    </a:lnTo>
                    <a:lnTo>
                      <a:pt x="120" y="945"/>
                    </a:lnTo>
                    <a:lnTo>
                      <a:pt x="116" y="949"/>
                    </a:lnTo>
                    <a:lnTo>
                      <a:pt x="118" y="952"/>
                    </a:lnTo>
                    <a:lnTo>
                      <a:pt x="116" y="954"/>
                    </a:lnTo>
                    <a:lnTo>
                      <a:pt x="115" y="955"/>
                    </a:lnTo>
                    <a:lnTo>
                      <a:pt x="115" y="957"/>
                    </a:lnTo>
                    <a:lnTo>
                      <a:pt x="116" y="959"/>
                    </a:lnTo>
                    <a:lnTo>
                      <a:pt x="115" y="960"/>
                    </a:lnTo>
                    <a:lnTo>
                      <a:pt x="115" y="962"/>
                    </a:lnTo>
                    <a:lnTo>
                      <a:pt x="121" y="965"/>
                    </a:lnTo>
                    <a:lnTo>
                      <a:pt x="126" y="969"/>
                    </a:lnTo>
                    <a:lnTo>
                      <a:pt x="128" y="969"/>
                    </a:lnTo>
                    <a:lnTo>
                      <a:pt x="130" y="967"/>
                    </a:lnTo>
                    <a:lnTo>
                      <a:pt x="128" y="964"/>
                    </a:lnTo>
                    <a:lnTo>
                      <a:pt x="131" y="960"/>
                    </a:lnTo>
                    <a:lnTo>
                      <a:pt x="135" y="960"/>
                    </a:lnTo>
                    <a:lnTo>
                      <a:pt x="135" y="959"/>
                    </a:lnTo>
                    <a:lnTo>
                      <a:pt x="131" y="954"/>
                    </a:lnTo>
                    <a:lnTo>
                      <a:pt x="138" y="954"/>
                    </a:lnTo>
                    <a:lnTo>
                      <a:pt x="141" y="950"/>
                    </a:lnTo>
                    <a:lnTo>
                      <a:pt x="146" y="944"/>
                    </a:lnTo>
                    <a:lnTo>
                      <a:pt x="148" y="942"/>
                    </a:lnTo>
                    <a:lnTo>
                      <a:pt x="150" y="944"/>
                    </a:lnTo>
                    <a:lnTo>
                      <a:pt x="153" y="945"/>
                    </a:lnTo>
                    <a:lnTo>
                      <a:pt x="156" y="945"/>
                    </a:lnTo>
                    <a:lnTo>
                      <a:pt x="156" y="947"/>
                    </a:lnTo>
                    <a:lnTo>
                      <a:pt x="153" y="947"/>
                    </a:lnTo>
                    <a:lnTo>
                      <a:pt x="150" y="952"/>
                    </a:lnTo>
                    <a:lnTo>
                      <a:pt x="150" y="954"/>
                    </a:lnTo>
                    <a:lnTo>
                      <a:pt x="145" y="957"/>
                    </a:lnTo>
                    <a:lnTo>
                      <a:pt x="145" y="962"/>
                    </a:lnTo>
                    <a:lnTo>
                      <a:pt x="146" y="965"/>
                    </a:lnTo>
                    <a:lnTo>
                      <a:pt x="145" y="967"/>
                    </a:lnTo>
                    <a:lnTo>
                      <a:pt x="141" y="969"/>
                    </a:lnTo>
                    <a:lnTo>
                      <a:pt x="141" y="967"/>
                    </a:lnTo>
                    <a:lnTo>
                      <a:pt x="143" y="965"/>
                    </a:lnTo>
                    <a:lnTo>
                      <a:pt x="143" y="960"/>
                    </a:lnTo>
                    <a:lnTo>
                      <a:pt x="141" y="960"/>
                    </a:lnTo>
                    <a:lnTo>
                      <a:pt x="140" y="962"/>
                    </a:lnTo>
                    <a:lnTo>
                      <a:pt x="138" y="964"/>
                    </a:lnTo>
                    <a:lnTo>
                      <a:pt x="136" y="964"/>
                    </a:lnTo>
                    <a:lnTo>
                      <a:pt x="133" y="964"/>
                    </a:lnTo>
                    <a:lnTo>
                      <a:pt x="131" y="965"/>
                    </a:lnTo>
                    <a:lnTo>
                      <a:pt x="135" y="969"/>
                    </a:lnTo>
                    <a:lnTo>
                      <a:pt x="143" y="977"/>
                    </a:lnTo>
                    <a:lnTo>
                      <a:pt x="150" y="977"/>
                    </a:lnTo>
                    <a:lnTo>
                      <a:pt x="153" y="980"/>
                    </a:lnTo>
                    <a:lnTo>
                      <a:pt x="156" y="979"/>
                    </a:lnTo>
                    <a:lnTo>
                      <a:pt x="160" y="980"/>
                    </a:lnTo>
                    <a:lnTo>
                      <a:pt x="161" y="979"/>
                    </a:lnTo>
                    <a:lnTo>
                      <a:pt x="165" y="974"/>
                    </a:lnTo>
                    <a:lnTo>
                      <a:pt x="163" y="967"/>
                    </a:lnTo>
                    <a:lnTo>
                      <a:pt x="163" y="964"/>
                    </a:lnTo>
                    <a:lnTo>
                      <a:pt x="163" y="962"/>
                    </a:lnTo>
                    <a:lnTo>
                      <a:pt x="163" y="955"/>
                    </a:lnTo>
                    <a:lnTo>
                      <a:pt x="165" y="949"/>
                    </a:lnTo>
                    <a:lnTo>
                      <a:pt x="163" y="944"/>
                    </a:lnTo>
                    <a:lnTo>
                      <a:pt x="163" y="942"/>
                    </a:lnTo>
                    <a:lnTo>
                      <a:pt x="170" y="939"/>
                    </a:lnTo>
                    <a:lnTo>
                      <a:pt x="175" y="932"/>
                    </a:lnTo>
                    <a:lnTo>
                      <a:pt x="178" y="930"/>
                    </a:lnTo>
                    <a:lnTo>
                      <a:pt x="183" y="930"/>
                    </a:lnTo>
                    <a:lnTo>
                      <a:pt x="185" y="929"/>
                    </a:lnTo>
                    <a:lnTo>
                      <a:pt x="185" y="924"/>
                    </a:lnTo>
                    <a:lnTo>
                      <a:pt x="188" y="922"/>
                    </a:lnTo>
                    <a:lnTo>
                      <a:pt x="193" y="920"/>
                    </a:lnTo>
                    <a:lnTo>
                      <a:pt x="200" y="924"/>
                    </a:lnTo>
                    <a:lnTo>
                      <a:pt x="203" y="922"/>
                    </a:lnTo>
                    <a:lnTo>
                      <a:pt x="203" y="922"/>
                    </a:lnTo>
                    <a:lnTo>
                      <a:pt x="203" y="922"/>
                    </a:lnTo>
                    <a:close/>
                    <a:moveTo>
                      <a:pt x="251" y="1038"/>
                    </a:moveTo>
                    <a:lnTo>
                      <a:pt x="253" y="1040"/>
                    </a:lnTo>
                    <a:lnTo>
                      <a:pt x="256" y="1037"/>
                    </a:lnTo>
                    <a:lnTo>
                      <a:pt x="254" y="1037"/>
                    </a:lnTo>
                    <a:lnTo>
                      <a:pt x="254" y="1037"/>
                    </a:lnTo>
                    <a:lnTo>
                      <a:pt x="251" y="1038"/>
                    </a:lnTo>
                    <a:lnTo>
                      <a:pt x="251" y="1038"/>
                    </a:lnTo>
                    <a:close/>
                    <a:moveTo>
                      <a:pt x="32" y="641"/>
                    </a:moveTo>
                    <a:lnTo>
                      <a:pt x="27" y="638"/>
                    </a:lnTo>
                    <a:lnTo>
                      <a:pt x="25" y="640"/>
                    </a:lnTo>
                    <a:lnTo>
                      <a:pt x="25" y="641"/>
                    </a:lnTo>
                    <a:lnTo>
                      <a:pt x="30" y="646"/>
                    </a:lnTo>
                    <a:lnTo>
                      <a:pt x="28" y="648"/>
                    </a:lnTo>
                    <a:lnTo>
                      <a:pt x="33" y="653"/>
                    </a:lnTo>
                    <a:lnTo>
                      <a:pt x="32" y="653"/>
                    </a:lnTo>
                    <a:lnTo>
                      <a:pt x="28" y="651"/>
                    </a:lnTo>
                    <a:lnTo>
                      <a:pt x="25" y="655"/>
                    </a:lnTo>
                    <a:lnTo>
                      <a:pt x="27" y="660"/>
                    </a:lnTo>
                    <a:lnTo>
                      <a:pt x="27" y="661"/>
                    </a:lnTo>
                    <a:lnTo>
                      <a:pt x="18" y="663"/>
                    </a:lnTo>
                    <a:lnTo>
                      <a:pt x="12" y="660"/>
                    </a:lnTo>
                    <a:lnTo>
                      <a:pt x="15" y="655"/>
                    </a:lnTo>
                    <a:lnTo>
                      <a:pt x="14" y="641"/>
                    </a:lnTo>
                    <a:lnTo>
                      <a:pt x="12" y="636"/>
                    </a:lnTo>
                    <a:lnTo>
                      <a:pt x="10" y="635"/>
                    </a:lnTo>
                    <a:lnTo>
                      <a:pt x="10" y="633"/>
                    </a:lnTo>
                    <a:lnTo>
                      <a:pt x="10" y="630"/>
                    </a:lnTo>
                    <a:lnTo>
                      <a:pt x="14" y="628"/>
                    </a:lnTo>
                    <a:lnTo>
                      <a:pt x="14" y="625"/>
                    </a:lnTo>
                    <a:lnTo>
                      <a:pt x="12" y="621"/>
                    </a:lnTo>
                    <a:lnTo>
                      <a:pt x="12" y="620"/>
                    </a:lnTo>
                    <a:lnTo>
                      <a:pt x="15" y="616"/>
                    </a:lnTo>
                    <a:lnTo>
                      <a:pt x="20" y="616"/>
                    </a:lnTo>
                    <a:lnTo>
                      <a:pt x="25" y="618"/>
                    </a:lnTo>
                    <a:lnTo>
                      <a:pt x="30" y="625"/>
                    </a:lnTo>
                    <a:lnTo>
                      <a:pt x="28" y="630"/>
                    </a:lnTo>
                    <a:lnTo>
                      <a:pt x="30" y="631"/>
                    </a:lnTo>
                    <a:lnTo>
                      <a:pt x="30" y="636"/>
                    </a:lnTo>
                    <a:lnTo>
                      <a:pt x="25" y="635"/>
                    </a:lnTo>
                    <a:lnTo>
                      <a:pt x="30" y="638"/>
                    </a:lnTo>
                    <a:lnTo>
                      <a:pt x="32" y="640"/>
                    </a:lnTo>
                    <a:lnTo>
                      <a:pt x="32" y="641"/>
                    </a:lnTo>
                    <a:lnTo>
                      <a:pt x="32" y="641"/>
                    </a:lnTo>
                    <a:close/>
                    <a:moveTo>
                      <a:pt x="35" y="630"/>
                    </a:moveTo>
                    <a:lnTo>
                      <a:pt x="38" y="630"/>
                    </a:lnTo>
                    <a:lnTo>
                      <a:pt x="42" y="631"/>
                    </a:lnTo>
                    <a:lnTo>
                      <a:pt x="40" y="633"/>
                    </a:lnTo>
                    <a:lnTo>
                      <a:pt x="35" y="630"/>
                    </a:lnTo>
                    <a:lnTo>
                      <a:pt x="35" y="630"/>
                    </a:lnTo>
                    <a:close/>
                    <a:moveTo>
                      <a:pt x="7" y="671"/>
                    </a:moveTo>
                    <a:lnTo>
                      <a:pt x="9" y="670"/>
                    </a:lnTo>
                    <a:lnTo>
                      <a:pt x="12" y="670"/>
                    </a:lnTo>
                    <a:lnTo>
                      <a:pt x="15" y="671"/>
                    </a:lnTo>
                    <a:lnTo>
                      <a:pt x="10" y="675"/>
                    </a:lnTo>
                    <a:lnTo>
                      <a:pt x="7" y="671"/>
                    </a:lnTo>
                    <a:lnTo>
                      <a:pt x="7" y="671"/>
                    </a:lnTo>
                    <a:close/>
                    <a:moveTo>
                      <a:pt x="40" y="676"/>
                    </a:moveTo>
                    <a:lnTo>
                      <a:pt x="45" y="673"/>
                    </a:lnTo>
                    <a:lnTo>
                      <a:pt x="45" y="676"/>
                    </a:lnTo>
                    <a:lnTo>
                      <a:pt x="42" y="680"/>
                    </a:lnTo>
                    <a:lnTo>
                      <a:pt x="40" y="676"/>
                    </a:lnTo>
                    <a:lnTo>
                      <a:pt x="40" y="676"/>
                    </a:lnTo>
                    <a:close/>
                    <a:moveTo>
                      <a:pt x="33" y="676"/>
                    </a:moveTo>
                    <a:lnTo>
                      <a:pt x="37" y="676"/>
                    </a:lnTo>
                    <a:lnTo>
                      <a:pt x="37" y="681"/>
                    </a:lnTo>
                    <a:lnTo>
                      <a:pt x="33" y="683"/>
                    </a:lnTo>
                    <a:lnTo>
                      <a:pt x="33" y="680"/>
                    </a:lnTo>
                    <a:lnTo>
                      <a:pt x="30" y="678"/>
                    </a:lnTo>
                    <a:lnTo>
                      <a:pt x="33" y="676"/>
                    </a:lnTo>
                    <a:lnTo>
                      <a:pt x="33" y="676"/>
                    </a:lnTo>
                    <a:close/>
                    <a:moveTo>
                      <a:pt x="22" y="675"/>
                    </a:moveTo>
                    <a:lnTo>
                      <a:pt x="23" y="673"/>
                    </a:lnTo>
                    <a:lnTo>
                      <a:pt x="30" y="675"/>
                    </a:lnTo>
                    <a:lnTo>
                      <a:pt x="25" y="678"/>
                    </a:lnTo>
                    <a:lnTo>
                      <a:pt x="22" y="675"/>
                    </a:lnTo>
                    <a:lnTo>
                      <a:pt x="22" y="675"/>
                    </a:lnTo>
                    <a:close/>
                    <a:moveTo>
                      <a:pt x="23" y="683"/>
                    </a:moveTo>
                    <a:lnTo>
                      <a:pt x="25" y="681"/>
                    </a:lnTo>
                    <a:lnTo>
                      <a:pt x="27" y="683"/>
                    </a:lnTo>
                    <a:lnTo>
                      <a:pt x="27" y="685"/>
                    </a:lnTo>
                    <a:lnTo>
                      <a:pt x="23" y="683"/>
                    </a:lnTo>
                    <a:lnTo>
                      <a:pt x="23" y="683"/>
                    </a:lnTo>
                    <a:close/>
                    <a:moveTo>
                      <a:pt x="17" y="688"/>
                    </a:moveTo>
                    <a:lnTo>
                      <a:pt x="18" y="685"/>
                    </a:lnTo>
                    <a:lnTo>
                      <a:pt x="23" y="686"/>
                    </a:lnTo>
                    <a:lnTo>
                      <a:pt x="25" y="688"/>
                    </a:lnTo>
                    <a:lnTo>
                      <a:pt x="25" y="690"/>
                    </a:lnTo>
                    <a:lnTo>
                      <a:pt x="22" y="691"/>
                    </a:lnTo>
                    <a:lnTo>
                      <a:pt x="18" y="690"/>
                    </a:lnTo>
                    <a:lnTo>
                      <a:pt x="17" y="688"/>
                    </a:lnTo>
                    <a:lnTo>
                      <a:pt x="17" y="688"/>
                    </a:lnTo>
                    <a:close/>
                    <a:moveTo>
                      <a:pt x="14" y="696"/>
                    </a:moveTo>
                    <a:lnTo>
                      <a:pt x="17" y="698"/>
                    </a:lnTo>
                    <a:lnTo>
                      <a:pt x="14" y="699"/>
                    </a:lnTo>
                    <a:lnTo>
                      <a:pt x="12" y="698"/>
                    </a:lnTo>
                    <a:lnTo>
                      <a:pt x="14" y="696"/>
                    </a:lnTo>
                    <a:lnTo>
                      <a:pt x="14" y="696"/>
                    </a:lnTo>
                    <a:close/>
                    <a:moveTo>
                      <a:pt x="37" y="695"/>
                    </a:moveTo>
                    <a:lnTo>
                      <a:pt x="38" y="699"/>
                    </a:lnTo>
                    <a:lnTo>
                      <a:pt x="35" y="699"/>
                    </a:lnTo>
                    <a:lnTo>
                      <a:pt x="37" y="695"/>
                    </a:lnTo>
                    <a:lnTo>
                      <a:pt x="37" y="695"/>
                    </a:lnTo>
                    <a:close/>
                    <a:moveTo>
                      <a:pt x="28" y="693"/>
                    </a:moveTo>
                    <a:lnTo>
                      <a:pt x="33" y="691"/>
                    </a:lnTo>
                    <a:lnTo>
                      <a:pt x="33" y="696"/>
                    </a:lnTo>
                    <a:lnTo>
                      <a:pt x="28" y="693"/>
                    </a:lnTo>
                    <a:lnTo>
                      <a:pt x="28" y="693"/>
                    </a:lnTo>
                    <a:close/>
                    <a:moveTo>
                      <a:pt x="18" y="726"/>
                    </a:moveTo>
                    <a:lnTo>
                      <a:pt x="20" y="726"/>
                    </a:lnTo>
                    <a:lnTo>
                      <a:pt x="22" y="731"/>
                    </a:lnTo>
                    <a:lnTo>
                      <a:pt x="18" y="729"/>
                    </a:lnTo>
                    <a:lnTo>
                      <a:pt x="18" y="726"/>
                    </a:lnTo>
                    <a:lnTo>
                      <a:pt x="18" y="726"/>
                    </a:lnTo>
                    <a:close/>
                    <a:moveTo>
                      <a:pt x="18" y="698"/>
                    </a:moveTo>
                    <a:lnTo>
                      <a:pt x="18" y="695"/>
                    </a:lnTo>
                    <a:lnTo>
                      <a:pt x="18" y="693"/>
                    </a:lnTo>
                    <a:lnTo>
                      <a:pt x="23" y="693"/>
                    </a:lnTo>
                    <a:lnTo>
                      <a:pt x="25" y="696"/>
                    </a:lnTo>
                    <a:lnTo>
                      <a:pt x="22" y="698"/>
                    </a:lnTo>
                    <a:lnTo>
                      <a:pt x="18" y="698"/>
                    </a:lnTo>
                    <a:lnTo>
                      <a:pt x="18" y="698"/>
                    </a:lnTo>
                    <a:close/>
                    <a:moveTo>
                      <a:pt x="9" y="706"/>
                    </a:moveTo>
                    <a:lnTo>
                      <a:pt x="2" y="703"/>
                    </a:lnTo>
                    <a:lnTo>
                      <a:pt x="4" y="699"/>
                    </a:lnTo>
                    <a:lnTo>
                      <a:pt x="9" y="699"/>
                    </a:lnTo>
                    <a:lnTo>
                      <a:pt x="10" y="703"/>
                    </a:lnTo>
                    <a:lnTo>
                      <a:pt x="9" y="706"/>
                    </a:lnTo>
                    <a:lnTo>
                      <a:pt x="9" y="706"/>
                    </a:lnTo>
                    <a:close/>
                    <a:moveTo>
                      <a:pt x="27" y="719"/>
                    </a:moveTo>
                    <a:lnTo>
                      <a:pt x="30" y="719"/>
                    </a:lnTo>
                    <a:lnTo>
                      <a:pt x="30" y="724"/>
                    </a:lnTo>
                    <a:lnTo>
                      <a:pt x="27" y="719"/>
                    </a:lnTo>
                    <a:lnTo>
                      <a:pt x="27" y="719"/>
                    </a:lnTo>
                    <a:close/>
                    <a:moveTo>
                      <a:pt x="32" y="726"/>
                    </a:moveTo>
                    <a:lnTo>
                      <a:pt x="37" y="724"/>
                    </a:lnTo>
                    <a:lnTo>
                      <a:pt x="35" y="728"/>
                    </a:lnTo>
                    <a:lnTo>
                      <a:pt x="32" y="726"/>
                    </a:lnTo>
                    <a:lnTo>
                      <a:pt x="32" y="726"/>
                    </a:lnTo>
                    <a:close/>
                    <a:moveTo>
                      <a:pt x="42" y="686"/>
                    </a:moveTo>
                    <a:lnTo>
                      <a:pt x="43" y="686"/>
                    </a:lnTo>
                    <a:lnTo>
                      <a:pt x="47" y="690"/>
                    </a:lnTo>
                    <a:lnTo>
                      <a:pt x="42" y="690"/>
                    </a:lnTo>
                    <a:lnTo>
                      <a:pt x="42" y="686"/>
                    </a:lnTo>
                    <a:lnTo>
                      <a:pt x="42" y="686"/>
                    </a:lnTo>
                    <a:close/>
                    <a:moveTo>
                      <a:pt x="48" y="691"/>
                    </a:moveTo>
                    <a:lnTo>
                      <a:pt x="53" y="691"/>
                    </a:lnTo>
                    <a:lnTo>
                      <a:pt x="55" y="695"/>
                    </a:lnTo>
                    <a:lnTo>
                      <a:pt x="58" y="698"/>
                    </a:lnTo>
                    <a:lnTo>
                      <a:pt x="55" y="701"/>
                    </a:lnTo>
                    <a:lnTo>
                      <a:pt x="55" y="704"/>
                    </a:lnTo>
                    <a:lnTo>
                      <a:pt x="52" y="704"/>
                    </a:lnTo>
                    <a:lnTo>
                      <a:pt x="48" y="704"/>
                    </a:lnTo>
                    <a:lnTo>
                      <a:pt x="47" y="703"/>
                    </a:lnTo>
                    <a:lnTo>
                      <a:pt x="43" y="706"/>
                    </a:lnTo>
                    <a:lnTo>
                      <a:pt x="43" y="703"/>
                    </a:lnTo>
                    <a:lnTo>
                      <a:pt x="42" y="698"/>
                    </a:lnTo>
                    <a:lnTo>
                      <a:pt x="43" y="693"/>
                    </a:lnTo>
                    <a:lnTo>
                      <a:pt x="48" y="691"/>
                    </a:lnTo>
                    <a:lnTo>
                      <a:pt x="48" y="691"/>
                    </a:lnTo>
                    <a:close/>
                    <a:moveTo>
                      <a:pt x="22" y="703"/>
                    </a:moveTo>
                    <a:lnTo>
                      <a:pt x="23" y="699"/>
                    </a:lnTo>
                    <a:lnTo>
                      <a:pt x="33" y="699"/>
                    </a:lnTo>
                    <a:lnTo>
                      <a:pt x="30" y="703"/>
                    </a:lnTo>
                    <a:lnTo>
                      <a:pt x="25" y="703"/>
                    </a:lnTo>
                    <a:lnTo>
                      <a:pt x="23" y="704"/>
                    </a:lnTo>
                    <a:lnTo>
                      <a:pt x="23" y="704"/>
                    </a:lnTo>
                    <a:lnTo>
                      <a:pt x="22" y="703"/>
                    </a:lnTo>
                    <a:lnTo>
                      <a:pt x="22" y="703"/>
                    </a:lnTo>
                    <a:close/>
                    <a:moveTo>
                      <a:pt x="27" y="711"/>
                    </a:moveTo>
                    <a:lnTo>
                      <a:pt x="25" y="709"/>
                    </a:lnTo>
                    <a:lnTo>
                      <a:pt x="30" y="708"/>
                    </a:lnTo>
                    <a:lnTo>
                      <a:pt x="33" y="708"/>
                    </a:lnTo>
                    <a:lnTo>
                      <a:pt x="33" y="711"/>
                    </a:lnTo>
                    <a:lnTo>
                      <a:pt x="27" y="711"/>
                    </a:lnTo>
                    <a:lnTo>
                      <a:pt x="27" y="711"/>
                    </a:lnTo>
                    <a:close/>
                    <a:moveTo>
                      <a:pt x="30" y="714"/>
                    </a:moveTo>
                    <a:lnTo>
                      <a:pt x="33" y="713"/>
                    </a:lnTo>
                    <a:lnTo>
                      <a:pt x="38" y="713"/>
                    </a:lnTo>
                    <a:lnTo>
                      <a:pt x="40" y="719"/>
                    </a:lnTo>
                    <a:lnTo>
                      <a:pt x="37" y="723"/>
                    </a:lnTo>
                    <a:lnTo>
                      <a:pt x="33" y="721"/>
                    </a:lnTo>
                    <a:lnTo>
                      <a:pt x="32" y="716"/>
                    </a:lnTo>
                    <a:lnTo>
                      <a:pt x="30" y="714"/>
                    </a:lnTo>
                    <a:lnTo>
                      <a:pt x="30" y="714"/>
                    </a:lnTo>
                    <a:close/>
                    <a:moveTo>
                      <a:pt x="22" y="726"/>
                    </a:moveTo>
                    <a:lnTo>
                      <a:pt x="25" y="724"/>
                    </a:lnTo>
                    <a:lnTo>
                      <a:pt x="25" y="726"/>
                    </a:lnTo>
                    <a:lnTo>
                      <a:pt x="30" y="726"/>
                    </a:lnTo>
                    <a:lnTo>
                      <a:pt x="32" y="729"/>
                    </a:lnTo>
                    <a:lnTo>
                      <a:pt x="27" y="731"/>
                    </a:lnTo>
                    <a:lnTo>
                      <a:pt x="22" y="726"/>
                    </a:lnTo>
                    <a:lnTo>
                      <a:pt x="22" y="726"/>
                    </a:lnTo>
                    <a:close/>
                    <a:moveTo>
                      <a:pt x="35" y="811"/>
                    </a:moveTo>
                    <a:lnTo>
                      <a:pt x="38" y="809"/>
                    </a:lnTo>
                    <a:lnTo>
                      <a:pt x="37" y="807"/>
                    </a:lnTo>
                    <a:lnTo>
                      <a:pt x="35" y="809"/>
                    </a:lnTo>
                    <a:lnTo>
                      <a:pt x="28" y="801"/>
                    </a:lnTo>
                    <a:lnTo>
                      <a:pt x="25" y="797"/>
                    </a:lnTo>
                    <a:lnTo>
                      <a:pt x="27" y="794"/>
                    </a:lnTo>
                    <a:lnTo>
                      <a:pt x="30" y="794"/>
                    </a:lnTo>
                    <a:lnTo>
                      <a:pt x="35" y="793"/>
                    </a:lnTo>
                    <a:lnTo>
                      <a:pt x="35" y="799"/>
                    </a:lnTo>
                    <a:lnTo>
                      <a:pt x="40" y="801"/>
                    </a:lnTo>
                    <a:lnTo>
                      <a:pt x="40" y="806"/>
                    </a:lnTo>
                    <a:lnTo>
                      <a:pt x="43" y="809"/>
                    </a:lnTo>
                    <a:lnTo>
                      <a:pt x="47" y="816"/>
                    </a:lnTo>
                    <a:lnTo>
                      <a:pt x="42" y="816"/>
                    </a:lnTo>
                    <a:lnTo>
                      <a:pt x="37" y="816"/>
                    </a:lnTo>
                    <a:lnTo>
                      <a:pt x="35" y="811"/>
                    </a:lnTo>
                    <a:lnTo>
                      <a:pt x="35" y="811"/>
                    </a:lnTo>
                    <a:close/>
                    <a:moveTo>
                      <a:pt x="17" y="802"/>
                    </a:moveTo>
                    <a:lnTo>
                      <a:pt x="17" y="801"/>
                    </a:lnTo>
                    <a:lnTo>
                      <a:pt x="18" y="799"/>
                    </a:lnTo>
                    <a:lnTo>
                      <a:pt x="23" y="799"/>
                    </a:lnTo>
                    <a:lnTo>
                      <a:pt x="30" y="809"/>
                    </a:lnTo>
                    <a:lnTo>
                      <a:pt x="33" y="814"/>
                    </a:lnTo>
                    <a:lnTo>
                      <a:pt x="33" y="819"/>
                    </a:lnTo>
                    <a:lnTo>
                      <a:pt x="32" y="821"/>
                    </a:lnTo>
                    <a:lnTo>
                      <a:pt x="28" y="819"/>
                    </a:lnTo>
                    <a:lnTo>
                      <a:pt x="27" y="812"/>
                    </a:lnTo>
                    <a:lnTo>
                      <a:pt x="27" y="811"/>
                    </a:lnTo>
                    <a:lnTo>
                      <a:pt x="23" y="809"/>
                    </a:lnTo>
                    <a:lnTo>
                      <a:pt x="18" y="807"/>
                    </a:lnTo>
                    <a:lnTo>
                      <a:pt x="17" y="802"/>
                    </a:lnTo>
                    <a:lnTo>
                      <a:pt x="17" y="802"/>
                    </a:lnTo>
                    <a:close/>
                    <a:moveTo>
                      <a:pt x="18" y="811"/>
                    </a:moveTo>
                    <a:lnTo>
                      <a:pt x="20" y="811"/>
                    </a:lnTo>
                    <a:lnTo>
                      <a:pt x="23" y="812"/>
                    </a:lnTo>
                    <a:lnTo>
                      <a:pt x="25" y="816"/>
                    </a:lnTo>
                    <a:lnTo>
                      <a:pt x="23" y="819"/>
                    </a:lnTo>
                    <a:lnTo>
                      <a:pt x="22" y="821"/>
                    </a:lnTo>
                    <a:lnTo>
                      <a:pt x="22" y="817"/>
                    </a:lnTo>
                    <a:lnTo>
                      <a:pt x="18" y="816"/>
                    </a:lnTo>
                    <a:lnTo>
                      <a:pt x="18" y="811"/>
                    </a:lnTo>
                    <a:lnTo>
                      <a:pt x="18" y="811"/>
                    </a:lnTo>
                    <a:close/>
                    <a:moveTo>
                      <a:pt x="27" y="836"/>
                    </a:moveTo>
                    <a:lnTo>
                      <a:pt x="25" y="836"/>
                    </a:lnTo>
                    <a:lnTo>
                      <a:pt x="25" y="832"/>
                    </a:lnTo>
                    <a:lnTo>
                      <a:pt x="23" y="824"/>
                    </a:lnTo>
                    <a:lnTo>
                      <a:pt x="25" y="822"/>
                    </a:lnTo>
                    <a:lnTo>
                      <a:pt x="27" y="824"/>
                    </a:lnTo>
                    <a:lnTo>
                      <a:pt x="32" y="826"/>
                    </a:lnTo>
                    <a:lnTo>
                      <a:pt x="33" y="829"/>
                    </a:lnTo>
                    <a:lnTo>
                      <a:pt x="32" y="831"/>
                    </a:lnTo>
                    <a:lnTo>
                      <a:pt x="27" y="836"/>
                    </a:lnTo>
                    <a:lnTo>
                      <a:pt x="27" y="836"/>
                    </a:lnTo>
                    <a:close/>
                    <a:moveTo>
                      <a:pt x="33" y="852"/>
                    </a:moveTo>
                    <a:lnTo>
                      <a:pt x="30" y="856"/>
                    </a:lnTo>
                    <a:lnTo>
                      <a:pt x="28" y="852"/>
                    </a:lnTo>
                    <a:lnTo>
                      <a:pt x="28" y="851"/>
                    </a:lnTo>
                    <a:lnTo>
                      <a:pt x="27" y="847"/>
                    </a:lnTo>
                    <a:lnTo>
                      <a:pt x="32" y="846"/>
                    </a:lnTo>
                    <a:lnTo>
                      <a:pt x="35" y="849"/>
                    </a:lnTo>
                    <a:lnTo>
                      <a:pt x="33" y="852"/>
                    </a:lnTo>
                    <a:lnTo>
                      <a:pt x="33" y="852"/>
                    </a:lnTo>
                    <a:close/>
                    <a:moveTo>
                      <a:pt x="47" y="851"/>
                    </a:moveTo>
                    <a:lnTo>
                      <a:pt x="45" y="856"/>
                    </a:lnTo>
                    <a:lnTo>
                      <a:pt x="42" y="857"/>
                    </a:lnTo>
                    <a:lnTo>
                      <a:pt x="38" y="854"/>
                    </a:lnTo>
                    <a:lnTo>
                      <a:pt x="37" y="847"/>
                    </a:lnTo>
                    <a:lnTo>
                      <a:pt x="32" y="839"/>
                    </a:lnTo>
                    <a:lnTo>
                      <a:pt x="37" y="839"/>
                    </a:lnTo>
                    <a:lnTo>
                      <a:pt x="40" y="836"/>
                    </a:lnTo>
                    <a:lnTo>
                      <a:pt x="40" y="832"/>
                    </a:lnTo>
                    <a:lnTo>
                      <a:pt x="38" y="836"/>
                    </a:lnTo>
                    <a:lnTo>
                      <a:pt x="37" y="836"/>
                    </a:lnTo>
                    <a:lnTo>
                      <a:pt x="35" y="832"/>
                    </a:lnTo>
                    <a:lnTo>
                      <a:pt x="37" y="829"/>
                    </a:lnTo>
                    <a:lnTo>
                      <a:pt x="35" y="827"/>
                    </a:lnTo>
                    <a:lnTo>
                      <a:pt x="33" y="822"/>
                    </a:lnTo>
                    <a:lnTo>
                      <a:pt x="37" y="819"/>
                    </a:lnTo>
                    <a:lnTo>
                      <a:pt x="43" y="819"/>
                    </a:lnTo>
                    <a:lnTo>
                      <a:pt x="47" y="822"/>
                    </a:lnTo>
                    <a:lnTo>
                      <a:pt x="50" y="831"/>
                    </a:lnTo>
                    <a:lnTo>
                      <a:pt x="52" y="836"/>
                    </a:lnTo>
                    <a:lnTo>
                      <a:pt x="53" y="844"/>
                    </a:lnTo>
                    <a:lnTo>
                      <a:pt x="52" y="846"/>
                    </a:lnTo>
                    <a:lnTo>
                      <a:pt x="55" y="852"/>
                    </a:lnTo>
                    <a:lnTo>
                      <a:pt x="53" y="859"/>
                    </a:lnTo>
                    <a:lnTo>
                      <a:pt x="50" y="861"/>
                    </a:lnTo>
                    <a:lnTo>
                      <a:pt x="48" y="859"/>
                    </a:lnTo>
                    <a:lnTo>
                      <a:pt x="47" y="854"/>
                    </a:lnTo>
                    <a:lnTo>
                      <a:pt x="47" y="851"/>
                    </a:lnTo>
                    <a:lnTo>
                      <a:pt x="47" y="851"/>
                    </a:lnTo>
                    <a:close/>
                    <a:moveTo>
                      <a:pt x="42" y="874"/>
                    </a:moveTo>
                    <a:lnTo>
                      <a:pt x="40" y="871"/>
                    </a:lnTo>
                    <a:lnTo>
                      <a:pt x="38" y="867"/>
                    </a:lnTo>
                    <a:lnTo>
                      <a:pt x="40" y="866"/>
                    </a:lnTo>
                    <a:lnTo>
                      <a:pt x="40" y="862"/>
                    </a:lnTo>
                    <a:lnTo>
                      <a:pt x="42" y="862"/>
                    </a:lnTo>
                    <a:lnTo>
                      <a:pt x="43" y="864"/>
                    </a:lnTo>
                    <a:lnTo>
                      <a:pt x="48" y="864"/>
                    </a:lnTo>
                    <a:lnTo>
                      <a:pt x="47" y="867"/>
                    </a:lnTo>
                    <a:lnTo>
                      <a:pt x="47" y="871"/>
                    </a:lnTo>
                    <a:lnTo>
                      <a:pt x="45" y="874"/>
                    </a:lnTo>
                    <a:lnTo>
                      <a:pt x="42" y="874"/>
                    </a:lnTo>
                    <a:lnTo>
                      <a:pt x="42" y="874"/>
                    </a:lnTo>
                    <a:close/>
                    <a:moveTo>
                      <a:pt x="40" y="879"/>
                    </a:moveTo>
                    <a:lnTo>
                      <a:pt x="40" y="876"/>
                    </a:lnTo>
                    <a:lnTo>
                      <a:pt x="45" y="876"/>
                    </a:lnTo>
                    <a:lnTo>
                      <a:pt x="42" y="877"/>
                    </a:lnTo>
                    <a:lnTo>
                      <a:pt x="40" y="879"/>
                    </a:lnTo>
                    <a:lnTo>
                      <a:pt x="40" y="879"/>
                    </a:lnTo>
                    <a:close/>
                    <a:moveTo>
                      <a:pt x="48" y="877"/>
                    </a:moveTo>
                    <a:lnTo>
                      <a:pt x="50" y="879"/>
                    </a:lnTo>
                    <a:lnTo>
                      <a:pt x="50" y="884"/>
                    </a:lnTo>
                    <a:lnTo>
                      <a:pt x="48" y="886"/>
                    </a:lnTo>
                    <a:lnTo>
                      <a:pt x="47" y="881"/>
                    </a:lnTo>
                    <a:lnTo>
                      <a:pt x="48" y="877"/>
                    </a:lnTo>
                    <a:lnTo>
                      <a:pt x="48" y="877"/>
                    </a:lnTo>
                    <a:close/>
                    <a:moveTo>
                      <a:pt x="52" y="876"/>
                    </a:moveTo>
                    <a:lnTo>
                      <a:pt x="53" y="874"/>
                    </a:lnTo>
                    <a:lnTo>
                      <a:pt x="55" y="874"/>
                    </a:lnTo>
                    <a:lnTo>
                      <a:pt x="58" y="876"/>
                    </a:lnTo>
                    <a:lnTo>
                      <a:pt x="62" y="876"/>
                    </a:lnTo>
                    <a:lnTo>
                      <a:pt x="65" y="882"/>
                    </a:lnTo>
                    <a:lnTo>
                      <a:pt x="67" y="887"/>
                    </a:lnTo>
                    <a:lnTo>
                      <a:pt x="60" y="882"/>
                    </a:lnTo>
                    <a:lnTo>
                      <a:pt x="57" y="881"/>
                    </a:lnTo>
                    <a:lnTo>
                      <a:pt x="52" y="876"/>
                    </a:lnTo>
                    <a:lnTo>
                      <a:pt x="52" y="876"/>
                    </a:lnTo>
                    <a:close/>
                    <a:moveTo>
                      <a:pt x="52" y="882"/>
                    </a:moveTo>
                    <a:lnTo>
                      <a:pt x="55" y="882"/>
                    </a:lnTo>
                    <a:lnTo>
                      <a:pt x="60" y="884"/>
                    </a:lnTo>
                    <a:lnTo>
                      <a:pt x="65" y="891"/>
                    </a:lnTo>
                    <a:lnTo>
                      <a:pt x="63" y="894"/>
                    </a:lnTo>
                    <a:lnTo>
                      <a:pt x="58" y="894"/>
                    </a:lnTo>
                    <a:lnTo>
                      <a:pt x="53" y="887"/>
                    </a:lnTo>
                    <a:lnTo>
                      <a:pt x="52" y="882"/>
                    </a:lnTo>
                    <a:lnTo>
                      <a:pt x="52" y="882"/>
                    </a:lnTo>
                    <a:close/>
                    <a:moveTo>
                      <a:pt x="57" y="904"/>
                    </a:moveTo>
                    <a:lnTo>
                      <a:pt x="50" y="905"/>
                    </a:lnTo>
                    <a:lnTo>
                      <a:pt x="48" y="904"/>
                    </a:lnTo>
                    <a:lnTo>
                      <a:pt x="50" y="902"/>
                    </a:lnTo>
                    <a:lnTo>
                      <a:pt x="52" y="897"/>
                    </a:lnTo>
                    <a:lnTo>
                      <a:pt x="50" y="894"/>
                    </a:lnTo>
                    <a:lnTo>
                      <a:pt x="53" y="894"/>
                    </a:lnTo>
                    <a:lnTo>
                      <a:pt x="57" y="895"/>
                    </a:lnTo>
                    <a:lnTo>
                      <a:pt x="60" y="895"/>
                    </a:lnTo>
                    <a:lnTo>
                      <a:pt x="67" y="900"/>
                    </a:lnTo>
                    <a:lnTo>
                      <a:pt x="67" y="902"/>
                    </a:lnTo>
                    <a:lnTo>
                      <a:pt x="62" y="902"/>
                    </a:lnTo>
                    <a:lnTo>
                      <a:pt x="62" y="904"/>
                    </a:lnTo>
                    <a:lnTo>
                      <a:pt x="57" y="904"/>
                    </a:lnTo>
                    <a:lnTo>
                      <a:pt x="57" y="904"/>
                    </a:lnTo>
                    <a:close/>
                    <a:moveTo>
                      <a:pt x="63" y="922"/>
                    </a:moveTo>
                    <a:lnTo>
                      <a:pt x="60" y="922"/>
                    </a:lnTo>
                    <a:lnTo>
                      <a:pt x="58" y="920"/>
                    </a:lnTo>
                    <a:lnTo>
                      <a:pt x="57" y="917"/>
                    </a:lnTo>
                    <a:lnTo>
                      <a:pt x="57" y="915"/>
                    </a:lnTo>
                    <a:lnTo>
                      <a:pt x="60" y="914"/>
                    </a:lnTo>
                    <a:lnTo>
                      <a:pt x="58" y="912"/>
                    </a:lnTo>
                    <a:lnTo>
                      <a:pt x="57" y="910"/>
                    </a:lnTo>
                    <a:lnTo>
                      <a:pt x="62" y="910"/>
                    </a:lnTo>
                    <a:lnTo>
                      <a:pt x="63" y="914"/>
                    </a:lnTo>
                    <a:lnTo>
                      <a:pt x="63" y="917"/>
                    </a:lnTo>
                    <a:lnTo>
                      <a:pt x="60" y="919"/>
                    </a:lnTo>
                    <a:lnTo>
                      <a:pt x="63" y="922"/>
                    </a:lnTo>
                    <a:lnTo>
                      <a:pt x="63" y="922"/>
                    </a:lnTo>
                    <a:close/>
                    <a:moveTo>
                      <a:pt x="63" y="915"/>
                    </a:moveTo>
                    <a:lnTo>
                      <a:pt x="65" y="912"/>
                    </a:lnTo>
                    <a:lnTo>
                      <a:pt x="67" y="912"/>
                    </a:lnTo>
                    <a:lnTo>
                      <a:pt x="68" y="914"/>
                    </a:lnTo>
                    <a:lnTo>
                      <a:pt x="70" y="915"/>
                    </a:lnTo>
                    <a:lnTo>
                      <a:pt x="70" y="920"/>
                    </a:lnTo>
                    <a:lnTo>
                      <a:pt x="68" y="922"/>
                    </a:lnTo>
                    <a:lnTo>
                      <a:pt x="67" y="922"/>
                    </a:lnTo>
                    <a:lnTo>
                      <a:pt x="65" y="919"/>
                    </a:lnTo>
                    <a:lnTo>
                      <a:pt x="65" y="919"/>
                    </a:lnTo>
                    <a:lnTo>
                      <a:pt x="63" y="915"/>
                    </a:lnTo>
                    <a:lnTo>
                      <a:pt x="63" y="915"/>
                    </a:lnTo>
                    <a:close/>
                    <a:moveTo>
                      <a:pt x="72" y="917"/>
                    </a:moveTo>
                    <a:lnTo>
                      <a:pt x="77" y="919"/>
                    </a:lnTo>
                    <a:lnTo>
                      <a:pt x="78" y="922"/>
                    </a:lnTo>
                    <a:lnTo>
                      <a:pt x="77" y="922"/>
                    </a:lnTo>
                    <a:lnTo>
                      <a:pt x="73" y="920"/>
                    </a:lnTo>
                    <a:lnTo>
                      <a:pt x="72" y="917"/>
                    </a:lnTo>
                    <a:lnTo>
                      <a:pt x="72" y="917"/>
                    </a:lnTo>
                    <a:close/>
                    <a:moveTo>
                      <a:pt x="70" y="932"/>
                    </a:moveTo>
                    <a:lnTo>
                      <a:pt x="68" y="932"/>
                    </a:lnTo>
                    <a:lnTo>
                      <a:pt x="67" y="932"/>
                    </a:lnTo>
                    <a:lnTo>
                      <a:pt x="68" y="930"/>
                    </a:lnTo>
                    <a:lnTo>
                      <a:pt x="68" y="925"/>
                    </a:lnTo>
                    <a:lnTo>
                      <a:pt x="72" y="925"/>
                    </a:lnTo>
                    <a:lnTo>
                      <a:pt x="72" y="927"/>
                    </a:lnTo>
                    <a:lnTo>
                      <a:pt x="70" y="932"/>
                    </a:lnTo>
                    <a:lnTo>
                      <a:pt x="70" y="932"/>
                    </a:lnTo>
                    <a:close/>
                    <a:moveTo>
                      <a:pt x="83" y="920"/>
                    </a:moveTo>
                    <a:lnTo>
                      <a:pt x="78" y="919"/>
                    </a:lnTo>
                    <a:lnTo>
                      <a:pt x="75" y="915"/>
                    </a:lnTo>
                    <a:lnTo>
                      <a:pt x="75" y="909"/>
                    </a:lnTo>
                    <a:lnTo>
                      <a:pt x="77" y="909"/>
                    </a:lnTo>
                    <a:lnTo>
                      <a:pt x="80" y="914"/>
                    </a:lnTo>
                    <a:lnTo>
                      <a:pt x="83" y="917"/>
                    </a:lnTo>
                    <a:lnTo>
                      <a:pt x="85" y="920"/>
                    </a:lnTo>
                    <a:lnTo>
                      <a:pt x="83" y="920"/>
                    </a:lnTo>
                    <a:lnTo>
                      <a:pt x="83" y="920"/>
                    </a:lnTo>
                    <a:close/>
                    <a:moveTo>
                      <a:pt x="83" y="927"/>
                    </a:moveTo>
                    <a:lnTo>
                      <a:pt x="80" y="924"/>
                    </a:lnTo>
                    <a:lnTo>
                      <a:pt x="80" y="922"/>
                    </a:lnTo>
                    <a:lnTo>
                      <a:pt x="83" y="924"/>
                    </a:lnTo>
                    <a:lnTo>
                      <a:pt x="85" y="927"/>
                    </a:lnTo>
                    <a:lnTo>
                      <a:pt x="83" y="927"/>
                    </a:lnTo>
                    <a:lnTo>
                      <a:pt x="83" y="927"/>
                    </a:lnTo>
                    <a:close/>
                    <a:moveTo>
                      <a:pt x="85" y="935"/>
                    </a:moveTo>
                    <a:lnTo>
                      <a:pt x="80" y="930"/>
                    </a:lnTo>
                    <a:lnTo>
                      <a:pt x="78" y="927"/>
                    </a:lnTo>
                    <a:lnTo>
                      <a:pt x="80" y="925"/>
                    </a:lnTo>
                    <a:lnTo>
                      <a:pt x="87" y="932"/>
                    </a:lnTo>
                    <a:lnTo>
                      <a:pt x="87" y="935"/>
                    </a:lnTo>
                    <a:lnTo>
                      <a:pt x="85" y="935"/>
                    </a:lnTo>
                    <a:lnTo>
                      <a:pt x="85" y="935"/>
                    </a:lnTo>
                    <a:close/>
                    <a:moveTo>
                      <a:pt x="90" y="945"/>
                    </a:moveTo>
                    <a:lnTo>
                      <a:pt x="88" y="944"/>
                    </a:lnTo>
                    <a:lnTo>
                      <a:pt x="87" y="942"/>
                    </a:lnTo>
                    <a:lnTo>
                      <a:pt x="85" y="940"/>
                    </a:lnTo>
                    <a:lnTo>
                      <a:pt x="80" y="940"/>
                    </a:lnTo>
                    <a:lnTo>
                      <a:pt x="78" y="939"/>
                    </a:lnTo>
                    <a:lnTo>
                      <a:pt x="83" y="939"/>
                    </a:lnTo>
                    <a:lnTo>
                      <a:pt x="87" y="939"/>
                    </a:lnTo>
                    <a:lnTo>
                      <a:pt x="92" y="937"/>
                    </a:lnTo>
                    <a:lnTo>
                      <a:pt x="93" y="942"/>
                    </a:lnTo>
                    <a:lnTo>
                      <a:pt x="90" y="945"/>
                    </a:lnTo>
                    <a:lnTo>
                      <a:pt x="90" y="945"/>
                    </a:lnTo>
                    <a:close/>
                    <a:moveTo>
                      <a:pt x="105" y="967"/>
                    </a:moveTo>
                    <a:lnTo>
                      <a:pt x="98" y="965"/>
                    </a:lnTo>
                    <a:lnTo>
                      <a:pt x="97" y="967"/>
                    </a:lnTo>
                    <a:lnTo>
                      <a:pt x="93" y="967"/>
                    </a:lnTo>
                    <a:lnTo>
                      <a:pt x="90" y="964"/>
                    </a:lnTo>
                    <a:lnTo>
                      <a:pt x="83" y="960"/>
                    </a:lnTo>
                    <a:lnTo>
                      <a:pt x="78" y="960"/>
                    </a:lnTo>
                    <a:lnTo>
                      <a:pt x="77" y="955"/>
                    </a:lnTo>
                    <a:lnTo>
                      <a:pt x="75" y="950"/>
                    </a:lnTo>
                    <a:lnTo>
                      <a:pt x="77" y="949"/>
                    </a:lnTo>
                    <a:lnTo>
                      <a:pt x="78" y="950"/>
                    </a:lnTo>
                    <a:lnTo>
                      <a:pt x="83" y="955"/>
                    </a:lnTo>
                    <a:lnTo>
                      <a:pt x="87" y="957"/>
                    </a:lnTo>
                    <a:lnTo>
                      <a:pt x="92" y="957"/>
                    </a:lnTo>
                    <a:lnTo>
                      <a:pt x="95" y="959"/>
                    </a:lnTo>
                    <a:lnTo>
                      <a:pt x="100" y="960"/>
                    </a:lnTo>
                    <a:lnTo>
                      <a:pt x="105" y="960"/>
                    </a:lnTo>
                    <a:lnTo>
                      <a:pt x="107" y="962"/>
                    </a:lnTo>
                    <a:lnTo>
                      <a:pt x="112" y="965"/>
                    </a:lnTo>
                    <a:lnTo>
                      <a:pt x="113" y="967"/>
                    </a:lnTo>
                    <a:lnTo>
                      <a:pt x="115" y="969"/>
                    </a:lnTo>
                    <a:lnTo>
                      <a:pt x="115" y="969"/>
                    </a:lnTo>
                    <a:lnTo>
                      <a:pt x="110" y="969"/>
                    </a:lnTo>
                    <a:lnTo>
                      <a:pt x="105" y="967"/>
                    </a:lnTo>
                    <a:lnTo>
                      <a:pt x="105" y="967"/>
                    </a:lnTo>
                    <a:close/>
                    <a:moveTo>
                      <a:pt x="90" y="969"/>
                    </a:moveTo>
                    <a:lnTo>
                      <a:pt x="90" y="969"/>
                    </a:lnTo>
                    <a:lnTo>
                      <a:pt x="93" y="972"/>
                    </a:lnTo>
                    <a:lnTo>
                      <a:pt x="87" y="970"/>
                    </a:lnTo>
                    <a:lnTo>
                      <a:pt x="90" y="969"/>
                    </a:lnTo>
                    <a:lnTo>
                      <a:pt x="90" y="969"/>
                    </a:lnTo>
                    <a:close/>
                    <a:moveTo>
                      <a:pt x="123" y="989"/>
                    </a:moveTo>
                    <a:lnTo>
                      <a:pt x="125" y="990"/>
                    </a:lnTo>
                    <a:lnTo>
                      <a:pt x="126" y="989"/>
                    </a:lnTo>
                    <a:lnTo>
                      <a:pt x="125" y="987"/>
                    </a:lnTo>
                    <a:lnTo>
                      <a:pt x="121" y="989"/>
                    </a:lnTo>
                    <a:lnTo>
                      <a:pt x="123" y="989"/>
                    </a:lnTo>
                    <a:lnTo>
                      <a:pt x="123" y="989"/>
                    </a:lnTo>
                    <a:close/>
                    <a:moveTo>
                      <a:pt x="135" y="990"/>
                    </a:moveTo>
                    <a:lnTo>
                      <a:pt x="131" y="992"/>
                    </a:lnTo>
                    <a:lnTo>
                      <a:pt x="128" y="990"/>
                    </a:lnTo>
                    <a:lnTo>
                      <a:pt x="128" y="987"/>
                    </a:lnTo>
                    <a:lnTo>
                      <a:pt x="126" y="985"/>
                    </a:lnTo>
                    <a:lnTo>
                      <a:pt x="120" y="987"/>
                    </a:lnTo>
                    <a:lnTo>
                      <a:pt x="116" y="985"/>
                    </a:lnTo>
                    <a:lnTo>
                      <a:pt x="112" y="980"/>
                    </a:lnTo>
                    <a:lnTo>
                      <a:pt x="108" y="980"/>
                    </a:lnTo>
                    <a:lnTo>
                      <a:pt x="107" y="975"/>
                    </a:lnTo>
                    <a:lnTo>
                      <a:pt x="102" y="974"/>
                    </a:lnTo>
                    <a:lnTo>
                      <a:pt x="102" y="972"/>
                    </a:lnTo>
                    <a:lnTo>
                      <a:pt x="103" y="970"/>
                    </a:lnTo>
                    <a:lnTo>
                      <a:pt x="107" y="969"/>
                    </a:lnTo>
                    <a:lnTo>
                      <a:pt x="108" y="972"/>
                    </a:lnTo>
                    <a:lnTo>
                      <a:pt x="112" y="972"/>
                    </a:lnTo>
                    <a:lnTo>
                      <a:pt x="115" y="970"/>
                    </a:lnTo>
                    <a:lnTo>
                      <a:pt x="120" y="970"/>
                    </a:lnTo>
                    <a:lnTo>
                      <a:pt x="126" y="975"/>
                    </a:lnTo>
                    <a:lnTo>
                      <a:pt x="130" y="975"/>
                    </a:lnTo>
                    <a:lnTo>
                      <a:pt x="131" y="979"/>
                    </a:lnTo>
                    <a:lnTo>
                      <a:pt x="136" y="977"/>
                    </a:lnTo>
                    <a:lnTo>
                      <a:pt x="140" y="979"/>
                    </a:lnTo>
                    <a:lnTo>
                      <a:pt x="141" y="982"/>
                    </a:lnTo>
                    <a:lnTo>
                      <a:pt x="138" y="982"/>
                    </a:lnTo>
                    <a:lnTo>
                      <a:pt x="135" y="982"/>
                    </a:lnTo>
                    <a:lnTo>
                      <a:pt x="138" y="984"/>
                    </a:lnTo>
                    <a:lnTo>
                      <a:pt x="138" y="985"/>
                    </a:lnTo>
                    <a:lnTo>
                      <a:pt x="133" y="989"/>
                    </a:lnTo>
                    <a:lnTo>
                      <a:pt x="135" y="990"/>
                    </a:lnTo>
                    <a:lnTo>
                      <a:pt x="135" y="990"/>
                    </a:lnTo>
                    <a:close/>
                    <a:moveTo>
                      <a:pt x="141" y="990"/>
                    </a:moveTo>
                    <a:lnTo>
                      <a:pt x="138" y="993"/>
                    </a:lnTo>
                    <a:lnTo>
                      <a:pt x="138" y="995"/>
                    </a:lnTo>
                    <a:lnTo>
                      <a:pt x="141" y="995"/>
                    </a:lnTo>
                    <a:lnTo>
                      <a:pt x="143" y="992"/>
                    </a:lnTo>
                    <a:lnTo>
                      <a:pt x="145" y="990"/>
                    </a:lnTo>
                    <a:lnTo>
                      <a:pt x="143" y="989"/>
                    </a:lnTo>
                    <a:lnTo>
                      <a:pt x="141" y="990"/>
                    </a:lnTo>
                    <a:lnTo>
                      <a:pt x="141" y="990"/>
                    </a:lnTo>
                    <a:close/>
                    <a:moveTo>
                      <a:pt x="168" y="985"/>
                    </a:moveTo>
                    <a:lnTo>
                      <a:pt x="166" y="990"/>
                    </a:lnTo>
                    <a:lnTo>
                      <a:pt x="168" y="992"/>
                    </a:lnTo>
                    <a:lnTo>
                      <a:pt x="165" y="993"/>
                    </a:lnTo>
                    <a:lnTo>
                      <a:pt x="161" y="993"/>
                    </a:lnTo>
                    <a:lnTo>
                      <a:pt x="160" y="990"/>
                    </a:lnTo>
                    <a:lnTo>
                      <a:pt x="156" y="992"/>
                    </a:lnTo>
                    <a:lnTo>
                      <a:pt x="155" y="990"/>
                    </a:lnTo>
                    <a:lnTo>
                      <a:pt x="150" y="990"/>
                    </a:lnTo>
                    <a:lnTo>
                      <a:pt x="148" y="992"/>
                    </a:lnTo>
                    <a:lnTo>
                      <a:pt x="146" y="989"/>
                    </a:lnTo>
                    <a:lnTo>
                      <a:pt x="143" y="987"/>
                    </a:lnTo>
                    <a:lnTo>
                      <a:pt x="143" y="984"/>
                    </a:lnTo>
                    <a:lnTo>
                      <a:pt x="150" y="984"/>
                    </a:lnTo>
                    <a:lnTo>
                      <a:pt x="151" y="982"/>
                    </a:lnTo>
                    <a:lnTo>
                      <a:pt x="160" y="985"/>
                    </a:lnTo>
                    <a:lnTo>
                      <a:pt x="161" y="987"/>
                    </a:lnTo>
                    <a:lnTo>
                      <a:pt x="163" y="985"/>
                    </a:lnTo>
                    <a:lnTo>
                      <a:pt x="166" y="985"/>
                    </a:lnTo>
                    <a:lnTo>
                      <a:pt x="168" y="985"/>
                    </a:lnTo>
                    <a:lnTo>
                      <a:pt x="168" y="985"/>
                    </a:lnTo>
                    <a:close/>
                    <a:moveTo>
                      <a:pt x="181" y="985"/>
                    </a:moveTo>
                    <a:lnTo>
                      <a:pt x="176" y="980"/>
                    </a:lnTo>
                    <a:lnTo>
                      <a:pt x="180" y="979"/>
                    </a:lnTo>
                    <a:lnTo>
                      <a:pt x="178" y="975"/>
                    </a:lnTo>
                    <a:lnTo>
                      <a:pt x="178" y="974"/>
                    </a:lnTo>
                    <a:lnTo>
                      <a:pt x="175" y="970"/>
                    </a:lnTo>
                    <a:lnTo>
                      <a:pt x="175" y="965"/>
                    </a:lnTo>
                    <a:lnTo>
                      <a:pt x="171" y="964"/>
                    </a:lnTo>
                    <a:lnTo>
                      <a:pt x="170" y="969"/>
                    </a:lnTo>
                    <a:lnTo>
                      <a:pt x="168" y="972"/>
                    </a:lnTo>
                    <a:lnTo>
                      <a:pt x="171" y="975"/>
                    </a:lnTo>
                    <a:lnTo>
                      <a:pt x="170" y="979"/>
                    </a:lnTo>
                    <a:lnTo>
                      <a:pt x="170" y="982"/>
                    </a:lnTo>
                    <a:lnTo>
                      <a:pt x="173" y="984"/>
                    </a:lnTo>
                    <a:lnTo>
                      <a:pt x="178" y="985"/>
                    </a:lnTo>
                    <a:lnTo>
                      <a:pt x="180" y="987"/>
                    </a:lnTo>
                    <a:lnTo>
                      <a:pt x="181" y="985"/>
                    </a:lnTo>
                    <a:lnTo>
                      <a:pt x="181" y="985"/>
                    </a:lnTo>
                    <a:close/>
                    <a:moveTo>
                      <a:pt x="163" y="1017"/>
                    </a:moveTo>
                    <a:lnTo>
                      <a:pt x="168" y="1015"/>
                    </a:lnTo>
                    <a:lnTo>
                      <a:pt x="170" y="1017"/>
                    </a:lnTo>
                    <a:lnTo>
                      <a:pt x="166" y="1020"/>
                    </a:lnTo>
                    <a:lnTo>
                      <a:pt x="163" y="1017"/>
                    </a:lnTo>
                    <a:lnTo>
                      <a:pt x="163" y="1017"/>
                    </a:lnTo>
                    <a:close/>
                    <a:moveTo>
                      <a:pt x="165" y="1013"/>
                    </a:moveTo>
                    <a:lnTo>
                      <a:pt x="163" y="1012"/>
                    </a:lnTo>
                    <a:lnTo>
                      <a:pt x="165" y="1008"/>
                    </a:lnTo>
                    <a:lnTo>
                      <a:pt x="168" y="1010"/>
                    </a:lnTo>
                    <a:lnTo>
                      <a:pt x="168" y="1013"/>
                    </a:lnTo>
                    <a:lnTo>
                      <a:pt x="165" y="1013"/>
                    </a:lnTo>
                    <a:lnTo>
                      <a:pt x="165" y="1013"/>
                    </a:lnTo>
                    <a:close/>
                    <a:moveTo>
                      <a:pt x="259" y="1037"/>
                    </a:moveTo>
                    <a:lnTo>
                      <a:pt x="258" y="1033"/>
                    </a:lnTo>
                    <a:lnTo>
                      <a:pt x="261" y="1030"/>
                    </a:lnTo>
                    <a:lnTo>
                      <a:pt x="259" y="1028"/>
                    </a:lnTo>
                    <a:lnTo>
                      <a:pt x="263" y="1030"/>
                    </a:lnTo>
                    <a:lnTo>
                      <a:pt x="263" y="1033"/>
                    </a:lnTo>
                    <a:lnTo>
                      <a:pt x="263" y="1037"/>
                    </a:lnTo>
                    <a:lnTo>
                      <a:pt x="259" y="1037"/>
                    </a:lnTo>
                    <a:lnTo>
                      <a:pt x="259" y="1037"/>
                    </a:lnTo>
                    <a:close/>
                    <a:moveTo>
                      <a:pt x="200" y="1013"/>
                    </a:moveTo>
                    <a:lnTo>
                      <a:pt x="203" y="1013"/>
                    </a:lnTo>
                    <a:lnTo>
                      <a:pt x="208" y="1013"/>
                    </a:lnTo>
                    <a:lnTo>
                      <a:pt x="210" y="1012"/>
                    </a:lnTo>
                    <a:lnTo>
                      <a:pt x="214" y="1013"/>
                    </a:lnTo>
                    <a:lnTo>
                      <a:pt x="226" y="1010"/>
                    </a:lnTo>
                    <a:lnTo>
                      <a:pt x="233" y="1008"/>
                    </a:lnTo>
                    <a:lnTo>
                      <a:pt x="241" y="1008"/>
                    </a:lnTo>
                    <a:lnTo>
                      <a:pt x="246" y="1008"/>
                    </a:lnTo>
                    <a:lnTo>
                      <a:pt x="254" y="1008"/>
                    </a:lnTo>
                    <a:lnTo>
                      <a:pt x="258" y="1008"/>
                    </a:lnTo>
                    <a:lnTo>
                      <a:pt x="259" y="1013"/>
                    </a:lnTo>
                    <a:lnTo>
                      <a:pt x="261" y="1015"/>
                    </a:lnTo>
                    <a:lnTo>
                      <a:pt x="259" y="1017"/>
                    </a:lnTo>
                    <a:lnTo>
                      <a:pt x="256" y="1020"/>
                    </a:lnTo>
                    <a:lnTo>
                      <a:pt x="253" y="1017"/>
                    </a:lnTo>
                    <a:lnTo>
                      <a:pt x="251" y="1015"/>
                    </a:lnTo>
                    <a:lnTo>
                      <a:pt x="246" y="1018"/>
                    </a:lnTo>
                    <a:lnTo>
                      <a:pt x="241" y="1018"/>
                    </a:lnTo>
                    <a:lnTo>
                      <a:pt x="238" y="1017"/>
                    </a:lnTo>
                    <a:lnTo>
                      <a:pt x="236" y="1012"/>
                    </a:lnTo>
                    <a:lnTo>
                      <a:pt x="233" y="1012"/>
                    </a:lnTo>
                    <a:lnTo>
                      <a:pt x="229" y="1015"/>
                    </a:lnTo>
                    <a:lnTo>
                      <a:pt x="226" y="1015"/>
                    </a:lnTo>
                    <a:lnTo>
                      <a:pt x="219" y="1017"/>
                    </a:lnTo>
                    <a:lnTo>
                      <a:pt x="224" y="1020"/>
                    </a:lnTo>
                    <a:lnTo>
                      <a:pt x="226" y="1018"/>
                    </a:lnTo>
                    <a:lnTo>
                      <a:pt x="231" y="1020"/>
                    </a:lnTo>
                    <a:lnTo>
                      <a:pt x="234" y="1022"/>
                    </a:lnTo>
                    <a:lnTo>
                      <a:pt x="233" y="1023"/>
                    </a:lnTo>
                    <a:lnTo>
                      <a:pt x="236" y="1025"/>
                    </a:lnTo>
                    <a:lnTo>
                      <a:pt x="241" y="1028"/>
                    </a:lnTo>
                    <a:lnTo>
                      <a:pt x="241" y="1033"/>
                    </a:lnTo>
                    <a:lnTo>
                      <a:pt x="239" y="1032"/>
                    </a:lnTo>
                    <a:lnTo>
                      <a:pt x="234" y="1028"/>
                    </a:lnTo>
                    <a:lnTo>
                      <a:pt x="231" y="1027"/>
                    </a:lnTo>
                    <a:lnTo>
                      <a:pt x="226" y="1028"/>
                    </a:lnTo>
                    <a:lnTo>
                      <a:pt x="223" y="1027"/>
                    </a:lnTo>
                    <a:lnTo>
                      <a:pt x="221" y="1023"/>
                    </a:lnTo>
                    <a:lnTo>
                      <a:pt x="216" y="1023"/>
                    </a:lnTo>
                    <a:lnTo>
                      <a:pt x="216" y="1025"/>
                    </a:lnTo>
                    <a:lnTo>
                      <a:pt x="219" y="1027"/>
                    </a:lnTo>
                    <a:lnTo>
                      <a:pt x="219" y="1030"/>
                    </a:lnTo>
                    <a:lnTo>
                      <a:pt x="218" y="1030"/>
                    </a:lnTo>
                    <a:lnTo>
                      <a:pt x="211" y="1028"/>
                    </a:lnTo>
                    <a:lnTo>
                      <a:pt x="208" y="1030"/>
                    </a:lnTo>
                    <a:lnTo>
                      <a:pt x="208" y="1027"/>
                    </a:lnTo>
                    <a:lnTo>
                      <a:pt x="205" y="1027"/>
                    </a:lnTo>
                    <a:lnTo>
                      <a:pt x="206" y="1023"/>
                    </a:lnTo>
                    <a:lnTo>
                      <a:pt x="203" y="1025"/>
                    </a:lnTo>
                    <a:lnTo>
                      <a:pt x="198" y="1023"/>
                    </a:lnTo>
                    <a:lnTo>
                      <a:pt x="198" y="1022"/>
                    </a:lnTo>
                    <a:lnTo>
                      <a:pt x="203" y="1020"/>
                    </a:lnTo>
                    <a:lnTo>
                      <a:pt x="210" y="1017"/>
                    </a:lnTo>
                    <a:lnTo>
                      <a:pt x="206" y="1015"/>
                    </a:lnTo>
                    <a:lnTo>
                      <a:pt x="203" y="1017"/>
                    </a:lnTo>
                    <a:lnTo>
                      <a:pt x="200" y="10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>
                  <a:latin typeface="+mj-lt"/>
                </a:endParaRPr>
              </a:p>
            </p:txBody>
          </p:sp>
        </p:grpSp>
        <p:sp>
          <p:nvSpPr>
            <p:cNvPr id="11" name="Rectangle 17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2" name="Rectangle 17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3" name="Rectangle 17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4" name="Rectangle 17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5" name="Rectangle 18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6" name="Rectangle 18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7" name="Rectangle 18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8" name="Rectangle 18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19" name="Rectangle 18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0" name="Rectangle 18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" name="Rectangle 18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" name="Rectangle 18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" name="Rectangle 18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" name="Rectangle 18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5" name="Rectangle 19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6" name="Rectangle 19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7" name="Rectangle 19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8" name="Rectangle 19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9" name="Rectangle 19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0" name="Rectangle 19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1" name="Rectangle 19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2" name="Rectangle 19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3" name="Rectangle 19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4" name="Rectangle 19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5" name="Rectangle 20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6" name="Rectangle 20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7" name="Rectangle 20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8" name="Rectangle 20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39" name="Rectangle 20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0" name="Rectangle 20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1" name="Rectangle 20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2" name="Rectangle 20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3" name="Rectangle 20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4" name="Rectangle 21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5" name="Rectangle 21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6" name="Rectangle 21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7" name="Rectangle 21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8" name="Rectangle 21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49" name="Rectangle 21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0" name="Rectangle 21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1" name="Rectangle 21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2" name="Rectangle 21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3" name="Rectangle 21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4" name="Rectangle 22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5" name="Rectangle 22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6" name="Rectangle 22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7" name="Rectangle 22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8" name="Rectangle 22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59" name="Rectangle 22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0" name="Rectangle 22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1" name="Rectangle 22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2" name="Rectangle 22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3" name="Rectangle 22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4" name="Rectangle 23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5" name="Rectangle 231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6" name="Rectangle 232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7" name="Rectangle 233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8" name="Rectangle 234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69" name="Rectangle 235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0" name="Rectangle 236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1" name="Rectangle 237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2" name="Rectangle 238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3" name="Rectangle 239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74" name="Rectangle 240"/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</p:grpSp>
      <p:sp>
        <p:nvSpPr>
          <p:cNvPr id="275" name="Oval 274"/>
          <p:cNvSpPr/>
          <p:nvPr/>
        </p:nvSpPr>
        <p:spPr>
          <a:xfrm>
            <a:off x="599767" y="1541200"/>
            <a:ext cx="1266824" cy="12668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258" name="Group 257"/>
          <p:cNvGrpSpPr/>
          <p:nvPr/>
        </p:nvGrpSpPr>
        <p:grpSpPr>
          <a:xfrm>
            <a:off x="744276" y="1791290"/>
            <a:ext cx="977806" cy="877225"/>
            <a:chOff x="744276" y="1856608"/>
            <a:chExt cx="977806" cy="877225"/>
          </a:xfrm>
        </p:grpSpPr>
        <p:sp>
          <p:nvSpPr>
            <p:cNvPr id="276" name="TextBox 275"/>
            <p:cNvSpPr txBox="1"/>
            <p:nvPr/>
          </p:nvSpPr>
          <p:spPr>
            <a:xfrm>
              <a:off x="744276" y="1979524"/>
              <a:ext cx="977806" cy="75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na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us error sit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dolor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vtiaeso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lore</a:t>
              </a:r>
            </a:p>
          </p:txBody>
        </p:sp>
        <p:sp>
          <p:nvSpPr>
            <p:cNvPr id="277" name="TextBox 276"/>
            <p:cNvSpPr txBox="1"/>
            <p:nvPr/>
          </p:nvSpPr>
          <p:spPr>
            <a:xfrm>
              <a:off x="744302" y="1856608"/>
              <a:ext cx="97775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>
                  <a:solidFill>
                    <a:schemeClr val="bg1"/>
                  </a:solidFill>
                  <a:latin typeface="+mj-lt"/>
                </a:rPr>
                <a:t>n. </a:t>
              </a:r>
              <a:r>
                <a:rPr lang="en-US" sz="900" b="1" cap="all" spc="20" err="1">
                  <a:solidFill>
                    <a:schemeClr val="bg1"/>
                  </a:solidFill>
                  <a:latin typeface="+mj-lt"/>
                </a:rPr>
                <a:t>america</a:t>
              </a:r>
              <a:endParaRPr lang="en-US" sz="900" b="1" cap="all" spc="2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78" name="Oval 277"/>
          <p:cNvSpPr/>
          <p:nvPr/>
        </p:nvSpPr>
        <p:spPr>
          <a:xfrm>
            <a:off x="1405422" y="3125977"/>
            <a:ext cx="1026628" cy="102662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251" name="Group 250"/>
          <p:cNvGrpSpPr/>
          <p:nvPr/>
        </p:nvGrpSpPr>
        <p:grpSpPr>
          <a:xfrm>
            <a:off x="1532422" y="3296315"/>
            <a:ext cx="772628" cy="723337"/>
            <a:chOff x="1532422" y="3364664"/>
            <a:chExt cx="772628" cy="723337"/>
          </a:xfrm>
        </p:grpSpPr>
        <p:sp>
          <p:nvSpPr>
            <p:cNvPr id="279" name="TextBox 278"/>
            <p:cNvSpPr txBox="1"/>
            <p:nvPr/>
          </p:nvSpPr>
          <p:spPr>
            <a:xfrm>
              <a:off x="1532422" y="3487580"/>
              <a:ext cx="772628" cy="6004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na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280" name="TextBox 279"/>
            <p:cNvSpPr txBox="1"/>
            <p:nvPr/>
          </p:nvSpPr>
          <p:spPr>
            <a:xfrm>
              <a:off x="1532443" y="3364664"/>
              <a:ext cx="7725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>
                  <a:solidFill>
                    <a:schemeClr val="bg1"/>
                  </a:solidFill>
                  <a:latin typeface="+mj-lt"/>
                </a:rPr>
                <a:t>N. </a:t>
              </a:r>
              <a:r>
                <a:rPr lang="en-US" sz="900" b="1" cap="all" spc="20" err="1">
                  <a:solidFill>
                    <a:schemeClr val="bg1"/>
                  </a:solidFill>
                  <a:latin typeface="+mj-lt"/>
                </a:rPr>
                <a:t>america</a:t>
              </a:r>
              <a:endParaRPr lang="en-US" sz="900" b="1" cap="all" spc="2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09" name="Oval 308"/>
          <p:cNvSpPr/>
          <p:nvPr/>
        </p:nvSpPr>
        <p:spPr>
          <a:xfrm>
            <a:off x="3627288" y="3005879"/>
            <a:ext cx="1266824" cy="126682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250" name="Group 249"/>
          <p:cNvGrpSpPr/>
          <p:nvPr/>
        </p:nvGrpSpPr>
        <p:grpSpPr>
          <a:xfrm>
            <a:off x="3771797" y="3212959"/>
            <a:ext cx="977806" cy="877225"/>
            <a:chOff x="3664211" y="3287419"/>
            <a:chExt cx="977806" cy="877225"/>
          </a:xfrm>
        </p:grpSpPr>
        <p:sp>
          <p:nvSpPr>
            <p:cNvPr id="310" name="TextBox 309"/>
            <p:cNvSpPr txBox="1"/>
            <p:nvPr/>
          </p:nvSpPr>
          <p:spPr>
            <a:xfrm>
              <a:off x="3664211" y="3410335"/>
              <a:ext cx="977806" cy="75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na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us error sit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dolor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vtiaeso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lore</a:t>
              </a:r>
            </a:p>
          </p:txBody>
        </p:sp>
        <p:sp>
          <p:nvSpPr>
            <p:cNvPr id="311" name="TextBox 310"/>
            <p:cNvSpPr txBox="1"/>
            <p:nvPr/>
          </p:nvSpPr>
          <p:spPr>
            <a:xfrm>
              <a:off x="3664237" y="3287419"/>
              <a:ext cx="97775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err="1">
                  <a:solidFill>
                    <a:schemeClr val="bg1"/>
                  </a:solidFill>
                  <a:latin typeface="+mj-lt"/>
                </a:rPr>
                <a:t>europe</a:t>
              </a:r>
              <a:endParaRPr lang="en-US" sz="900" b="1" cap="all" spc="2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12" name="Oval 311"/>
          <p:cNvSpPr/>
          <p:nvPr/>
        </p:nvSpPr>
        <p:spPr>
          <a:xfrm>
            <a:off x="4939181" y="3203313"/>
            <a:ext cx="871956" cy="8719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4988866" y="3296315"/>
            <a:ext cx="772588" cy="723337"/>
            <a:chOff x="5164973" y="3364664"/>
            <a:chExt cx="772588" cy="723337"/>
          </a:xfrm>
        </p:grpSpPr>
        <p:sp>
          <p:nvSpPr>
            <p:cNvPr id="313" name="TextBox 312"/>
            <p:cNvSpPr txBox="1"/>
            <p:nvPr/>
          </p:nvSpPr>
          <p:spPr>
            <a:xfrm>
              <a:off x="5225607" y="3487580"/>
              <a:ext cx="651318" cy="6004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perspicia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tis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istelor</a:t>
              </a:r>
              <a:endParaRPr lang="en-US" sz="8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4" name="TextBox 313"/>
            <p:cNvSpPr txBox="1"/>
            <p:nvPr/>
          </p:nvSpPr>
          <p:spPr>
            <a:xfrm>
              <a:off x="5164973" y="3364664"/>
              <a:ext cx="7725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>
                  <a:solidFill>
                    <a:schemeClr val="bg1"/>
                  </a:solidFill>
                  <a:latin typeface="+mj-lt"/>
                </a:rPr>
                <a:t>Africa</a:t>
              </a:r>
            </a:p>
          </p:txBody>
        </p:sp>
      </p:grpSp>
      <p:sp>
        <p:nvSpPr>
          <p:cNvPr id="315" name="Oval 314"/>
          <p:cNvSpPr/>
          <p:nvPr/>
        </p:nvSpPr>
        <p:spPr>
          <a:xfrm>
            <a:off x="7195843" y="3103618"/>
            <a:ext cx="1071346" cy="10713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248" name="Group 247"/>
          <p:cNvGrpSpPr/>
          <p:nvPr/>
        </p:nvGrpSpPr>
        <p:grpSpPr>
          <a:xfrm>
            <a:off x="7345202" y="3296315"/>
            <a:ext cx="772628" cy="723337"/>
            <a:chOff x="7345202" y="3364664"/>
            <a:chExt cx="772628" cy="723337"/>
          </a:xfrm>
        </p:grpSpPr>
        <p:sp>
          <p:nvSpPr>
            <p:cNvPr id="318" name="TextBox 317"/>
            <p:cNvSpPr txBox="1"/>
            <p:nvPr/>
          </p:nvSpPr>
          <p:spPr>
            <a:xfrm>
              <a:off x="7345202" y="3487580"/>
              <a:ext cx="772628" cy="6004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na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us error sit</a:t>
              </a:r>
            </a:p>
          </p:txBody>
        </p:sp>
        <p:sp>
          <p:nvSpPr>
            <p:cNvPr id="319" name="TextBox 318"/>
            <p:cNvSpPr txBox="1"/>
            <p:nvPr/>
          </p:nvSpPr>
          <p:spPr>
            <a:xfrm>
              <a:off x="7345223" y="3364664"/>
              <a:ext cx="7725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>
                  <a:solidFill>
                    <a:schemeClr val="bg1"/>
                  </a:solidFill>
                  <a:latin typeface="+mj-lt"/>
                </a:rPr>
                <a:t>Oceania</a:t>
              </a:r>
            </a:p>
          </p:txBody>
        </p:sp>
      </p:grpSp>
      <p:sp>
        <p:nvSpPr>
          <p:cNvPr id="320" name="Oval 319"/>
          <p:cNvSpPr/>
          <p:nvPr/>
        </p:nvSpPr>
        <p:spPr>
          <a:xfrm>
            <a:off x="7278564" y="1541200"/>
            <a:ext cx="1266824" cy="126682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260" name="Group 259"/>
          <p:cNvGrpSpPr/>
          <p:nvPr/>
        </p:nvGrpSpPr>
        <p:grpSpPr>
          <a:xfrm>
            <a:off x="7423073" y="1791290"/>
            <a:ext cx="977806" cy="877225"/>
            <a:chOff x="7423073" y="1856608"/>
            <a:chExt cx="977806" cy="877225"/>
          </a:xfrm>
        </p:grpSpPr>
        <p:sp>
          <p:nvSpPr>
            <p:cNvPr id="321" name="TextBox 320"/>
            <p:cNvSpPr txBox="1"/>
            <p:nvPr/>
          </p:nvSpPr>
          <p:spPr>
            <a:xfrm>
              <a:off x="7423073" y="1979524"/>
              <a:ext cx="977806" cy="75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8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nat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us error sit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dolor </a:t>
              </a:r>
              <a:r>
                <a:rPr lang="en-US" sz="800" err="1">
                  <a:solidFill>
                    <a:schemeClr val="bg1"/>
                  </a:solidFill>
                  <a:latin typeface="+mj-lt"/>
                </a:rPr>
                <a:t>vtiaeso</a:t>
              </a:r>
              <a:r>
                <a:rPr lang="en-US" sz="800">
                  <a:solidFill>
                    <a:schemeClr val="bg1"/>
                  </a:solidFill>
                  <a:latin typeface="+mj-lt"/>
                </a:rPr>
                <a:t> lore</a:t>
              </a:r>
            </a:p>
          </p:txBody>
        </p:sp>
        <p:sp>
          <p:nvSpPr>
            <p:cNvPr id="322" name="TextBox 321"/>
            <p:cNvSpPr txBox="1"/>
            <p:nvPr/>
          </p:nvSpPr>
          <p:spPr>
            <a:xfrm>
              <a:off x="7423099" y="1856608"/>
              <a:ext cx="97775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err="1">
                  <a:solidFill>
                    <a:schemeClr val="bg1"/>
                  </a:solidFill>
                  <a:latin typeface="+mj-lt"/>
                </a:rPr>
                <a:t>asia</a:t>
              </a:r>
              <a:endParaRPr lang="en-US" sz="900" b="1" cap="all" spc="2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2925294" y="2112932"/>
            <a:ext cx="331382" cy="331370"/>
            <a:chOff x="2925294" y="2112932"/>
            <a:chExt cx="331382" cy="331370"/>
          </a:xfrm>
        </p:grpSpPr>
        <p:sp>
          <p:nvSpPr>
            <p:cNvPr id="245" name="Oval 244"/>
            <p:cNvSpPr/>
            <p:nvPr/>
          </p:nvSpPr>
          <p:spPr>
            <a:xfrm>
              <a:off x="2925294" y="2112932"/>
              <a:ext cx="331382" cy="33137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23" name="Oval 322"/>
            <p:cNvSpPr/>
            <p:nvPr/>
          </p:nvSpPr>
          <p:spPr>
            <a:xfrm>
              <a:off x="3055469" y="2243102"/>
              <a:ext cx="71032" cy="710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>
            <a:off x="3348892" y="2968192"/>
            <a:ext cx="331382" cy="331370"/>
            <a:chOff x="3348892" y="2968192"/>
            <a:chExt cx="331382" cy="331370"/>
          </a:xfrm>
        </p:grpSpPr>
        <p:sp>
          <p:nvSpPr>
            <p:cNvPr id="324" name="Oval 323"/>
            <p:cNvSpPr/>
            <p:nvPr/>
          </p:nvSpPr>
          <p:spPr>
            <a:xfrm>
              <a:off x="3348892" y="2968192"/>
              <a:ext cx="331382" cy="33137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25" name="Oval 324"/>
            <p:cNvSpPr/>
            <p:nvPr/>
          </p:nvSpPr>
          <p:spPr>
            <a:xfrm>
              <a:off x="3479067" y="3098362"/>
              <a:ext cx="71032" cy="710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4725566" y="2706095"/>
            <a:ext cx="331382" cy="331370"/>
            <a:chOff x="4725566" y="2706095"/>
            <a:chExt cx="331382" cy="331370"/>
          </a:xfrm>
        </p:grpSpPr>
        <p:sp>
          <p:nvSpPr>
            <p:cNvPr id="326" name="Oval 325"/>
            <p:cNvSpPr/>
            <p:nvPr/>
          </p:nvSpPr>
          <p:spPr>
            <a:xfrm>
              <a:off x="4725566" y="2706095"/>
              <a:ext cx="331382" cy="33137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27" name="Oval 326"/>
            <p:cNvSpPr/>
            <p:nvPr/>
          </p:nvSpPr>
          <p:spPr>
            <a:xfrm>
              <a:off x="4855741" y="2836265"/>
              <a:ext cx="71032" cy="710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4646588" y="2093143"/>
            <a:ext cx="331382" cy="331370"/>
            <a:chOff x="4646588" y="2093143"/>
            <a:chExt cx="331382" cy="331370"/>
          </a:xfrm>
        </p:grpSpPr>
        <p:sp>
          <p:nvSpPr>
            <p:cNvPr id="328" name="Oval 327"/>
            <p:cNvSpPr/>
            <p:nvPr/>
          </p:nvSpPr>
          <p:spPr>
            <a:xfrm>
              <a:off x="4646588" y="2093143"/>
              <a:ext cx="331382" cy="33137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29" name="Oval 328"/>
            <p:cNvSpPr/>
            <p:nvPr/>
          </p:nvSpPr>
          <p:spPr>
            <a:xfrm>
              <a:off x="4776763" y="2223313"/>
              <a:ext cx="71032" cy="710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619548" y="2256857"/>
            <a:ext cx="331382" cy="331370"/>
            <a:chOff x="5619548" y="2256857"/>
            <a:chExt cx="331382" cy="331370"/>
          </a:xfrm>
        </p:grpSpPr>
        <p:sp>
          <p:nvSpPr>
            <p:cNvPr id="330" name="Oval 329"/>
            <p:cNvSpPr/>
            <p:nvPr/>
          </p:nvSpPr>
          <p:spPr>
            <a:xfrm>
              <a:off x="5619548" y="2256857"/>
              <a:ext cx="331382" cy="33137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31" name="Oval 330"/>
            <p:cNvSpPr/>
            <p:nvPr/>
          </p:nvSpPr>
          <p:spPr>
            <a:xfrm>
              <a:off x="5749723" y="2387027"/>
              <a:ext cx="71032" cy="710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>
            <a:off x="6449735" y="2978011"/>
            <a:ext cx="331382" cy="331370"/>
            <a:chOff x="6449735" y="2978011"/>
            <a:chExt cx="331382" cy="331370"/>
          </a:xfrm>
        </p:grpSpPr>
        <p:sp>
          <p:nvSpPr>
            <p:cNvPr id="332" name="Oval 331"/>
            <p:cNvSpPr/>
            <p:nvPr/>
          </p:nvSpPr>
          <p:spPr>
            <a:xfrm>
              <a:off x="6449735" y="2978011"/>
              <a:ext cx="331382" cy="33137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33" name="Oval 332"/>
            <p:cNvSpPr/>
            <p:nvPr/>
          </p:nvSpPr>
          <p:spPr>
            <a:xfrm>
              <a:off x="6579910" y="3108181"/>
              <a:ext cx="71032" cy="7103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cxnSp>
        <p:nvCxnSpPr>
          <p:cNvPr id="253" name="Elbow Connector 252"/>
          <p:cNvCxnSpPr>
            <a:stCxn id="323" idx="2"/>
            <a:endCxn id="275" idx="6"/>
          </p:cNvCxnSpPr>
          <p:nvPr/>
        </p:nvCxnSpPr>
        <p:spPr>
          <a:xfrm rot="10800000">
            <a:off x="1866591" y="2174613"/>
            <a:ext cx="1188878" cy="104005"/>
          </a:xfrm>
          <a:prstGeom prst="bentConnector3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Elbow Connector 254"/>
          <p:cNvCxnSpPr>
            <a:stCxn id="325" idx="4"/>
            <a:endCxn id="278" idx="6"/>
          </p:cNvCxnSpPr>
          <p:nvPr/>
        </p:nvCxnSpPr>
        <p:spPr>
          <a:xfrm rot="5400000">
            <a:off x="2738368" y="2863075"/>
            <a:ext cx="469899" cy="1082533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Elbow Connector 258"/>
          <p:cNvCxnSpPr>
            <a:stCxn id="329" idx="2"/>
            <a:endCxn id="309" idx="0"/>
          </p:cNvCxnSpPr>
          <p:nvPr/>
        </p:nvCxnSpPr>
        <p:spPr>
          <a:xfrm rot="10800000" flipV="1">
            <a:off x="4260701" y="2258827"/>
            <a:ext cx="516063" cy="747051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Elbow Connector 260"/>
          <p:cNvCxnSpPr>
            <a:stCxn id="312" idx="0"/>
            <a:endCxn id="327" idx="6"/>
          </p:cNvCxnSpPr>
          <p:nvPr/>
        </p:nvCxnSpPr>
        <p:spPr>
          <a:xfrm rot="16200000" flipV="1">
            <a:off x="4985200" y="2813354"/>
            <a:ext cx="331533" cy="448386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Elbow Connector 263"/>
          <p:cNvCxnSpPr>
            <a:stCxn id="320" idx="2"/>
            <a:endCxn id="331" idx="6"/>
          </p:cNvCxnSpPr>
          <p:nvPr/>
        </p:nvCxnSpPr>
        <p:spPr>
          <a:xfrm rot="10800000" flipV="1">
            <a:off x="5820756" y="2174612"/>
            <a:ext cx="1457809" cy="247930"/>
          </a:xfrm>
          <a:prstGeom prst="bentConnector3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Elbow Connector 265"/>
          <p:cNvCxnSpPr>
            <a:stCxn id="315" idx="2"/>
            <a:endCxn id="333" idx="4"/>
          </p:cNvCxnSpPr>
          <p:nvPr/>
        </p:nvCxnSpPr>
        <p:spPr>
          <a:xfrm rot="10800000">
            <a:off x="6615427" y="3179211"/>
            <a:ext cx="580417" cy="460080"/>
          </a:xfrm>
          <a:prstGeom prst="bentConnector2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201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1" name="Group 570"/>
          <p:cNvGrpSpPr/>
          <p:nvPr/>
        </p:nvGrpSpPr>
        <p:grpSpPr>
          <a:xfrm>
            <a:off x="4282772" y="1718335"/>
            <a:ext cx="3843958" cy="2512356"/>
            <a:chOff x="5157992" y="1665629"/>
            <a:chExt cx="2936367" cy="1919171"/>
          </a:xfrm>
          <a:solidFill>
            <a:schemeClr val="accent6"/>
          </a:solidFill>
        </p:grpSpPr>
        <p:sp>
          <p:nvSpPr>
            <p:cNvPr id="572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3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4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5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6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7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8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9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0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1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2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3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4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5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6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7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8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9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0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1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2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3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4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5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6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7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8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9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0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1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2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3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4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5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6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7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8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9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0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1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2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3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4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5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6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7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8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9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0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1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2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3" name="Freeform 622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4" name="Freeform 623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United states </a:t>
            </a:r>
            <a:r>
              <a:rPr lang="en-US">
                <a:solidFill>
                  <a:schemeClr val="accent2"/>
                </a:solidFill>
              </a:rPr>
              <a:t>map with tab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7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2" name="Rectangle 17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3" name="Rectangle 17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4" name="Rectangle 17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5" name="Rectangle 18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6" name="Rectangle 18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7" name="Rectangle 18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8" name="Rectangle 18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19" name="Rectangle 18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0" name="Rectangle 18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1" name="Rectangle 18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2" name="Rectangle 18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3" name="Rectangle 18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4" name="Rectangle 18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5" name="Rectangle 19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6" name="Rectangle 19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7" name="Rectangle 19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8" name="Rectangle 19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29" name="Rectangle 19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0" name="Rectangle 19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1" name="Rectangle 19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2" name="Rectangle 19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3" name="Rectangle 19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4" name="Rectangle 19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5" name="Rectangle 20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6" name="Rectangle 20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7" name="Rectangle 20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8" name="Rectangle 20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39" name="Rectangle 20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0" name="Rectangle 20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1" name="Rectangle 20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2" name="Rectangle 20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3" name="Rectangle 20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4" name="Rectangle 21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5" name="Rectangle 21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6" name="Rectangle 21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7" name="Rectangle 21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8" name="Rectangle 21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49" name="Rectangle 21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0" name="Rectangle 21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1" name="Rectangle 21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2" name="Rectangle 21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3" name="Rectangle 21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4" name="Rectangle 22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5" name="Rectangle 22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6" name="Rectangle 22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7" name="Rectangle 22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8" name="Rectangle 22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9" name="Rectangle 22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0" name="Rectangle 22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1" name="Rectangle 22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2" name="Rectangle 22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3" name="Rectangle 22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4" name="Rectangle 23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5" name="Rectangle 231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6" name="Rectangle 232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7" name="Rectangle 233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8" name="Rectangle 234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9" name="Rectangle 235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0" name="Rectangle 236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1" name="Rectangle 237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2" name="Rectangle 238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3" name="Rectangle 239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4" name="Rectangle 240"/>
          <p:cNvSpPr>
            <a:spLocks noChangeArrowheads="1"/>
          </p:cNvSpPr>
          <p:nvPr/>
        </p:nvSpPr>
        <p:spPr bwMode="auto">
          <a:xfrm>
            <a:off x="9578361" y="1855794"/>
            <a:ext cx="3536" cy="343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713691" y="2052518"/>
            <a:ext cx="428360" cy="666912"/>
            <a:chOff x="3970750" y="1940719"/>
            <a:chExt cx="428360" cy="666912"/>
          </a:xfrm>
        </p:grpSpPr>
        <p:grpSp>
          <p:nvGrpSpPr>
            <p:cNvPr id="8" name="Group 7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546" name="Group 545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547" name="Teardrop 546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548" name="Oval 547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6" name="Oval 5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550" name="TextBox 549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32%</a:t>
              </a:r>
            </a:p>
          </p:txBody>
        </p:sp>
      </p:grpSp>
      <p:grpSp>
        <p:nvGrpSpPr>
          <p:cNvPr id="659" name="Group 658"/>
          <p:cNvGrpSpPr/>
          <p:nvPr/>
        </p:nvGrpSpPr>
        <p:grpSpPr>
          <a:xfrm>
            <a:off x="5400875" y="2221504"/>
            <a:ext cx="428360" cy="666912"/>
            <a:chOff x="3970750" y="1940719"/>
            <a:chExt cx="428360" cy="666912"/>
          </a:xfrm>
        </p:grpSpPr>
        <p:grpSp>
          <p:nvGrpSpPr>
            <p:cNvPr id="660" name="Group 659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662" name="Group 661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664" name="Teardrop 663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665" name="Oval 664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663" name="Oval 662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661" name="TextBox 660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78%</a:t>
              </a:r>
            </a:p>
          </p:txBody>
        </p:sp>
      </p:grpSp>
      <p:grpSp>
        <p:nvGrpSpPr>
          <p:cNvPr id="666" name="Group 665"/>
          <p:cNvGrpSpPr/>
          <p:nvPr/>
        </p:nvGrpSpPr>
        <p:grpSpPr>
          <a:xfrm>
            <a:off x="5856080" y="1765403"/>
            <a:ext cx="428360" cy="666912"/>
            <a:chOff x="3970750" y="1940719"/>
            <a:chExt cx="428360" cy="666912"/>
          </a:xfrm>
        </p:grpSpPr>
        <p:grpSp>
          <p:nvGrpSpPr>
            <p:cNvPr id="667" name="Group 666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669" name="Group 668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671" name="Teardrop 670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672" name="Oval 671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670" name="Oval 669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668" name="TextBox 667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34%</a:t>
              </a:r>
            </a:p>
          </p:txBody>
        </p:sp>
      </p:grpSp>
      <p:grpSp>
        <p:nvGrpSpPr>
          <p:cNvPr id="673" name="Group 672"/>
          <p:cNvGrpSpPr/>
          <p:nvPr/>
        </p:nvGrpSpPr>
        <p:grpSpPr>
          <a:xfrm>
            <a:off x="6366779" y="2596342"/>
            <a:ext cx="428360" cy="666912"/>
            <a:chOff x="3970750" y="1940719"/>
            <a:chExt cx="428360" cy="666912"/>
          </a:xfrm>
        </p:grpSpPr>
        <p:grpSp>
          <p:nvGrpSpPr>
            <p:cNvPr id="674" name="Group 673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676" name="Group 675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678" name="Teardrop 677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679" name="Oval 678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677" name="Oval 676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675" name="TextBox 674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25%</a:t>
              </a:r>
            </a:p>
          </p:txBody>
        </p:sp>
      </p:grpSp>
      <p:grpSp>
        <p:nvGrpSpPr>
          <p:cNvPr id="680" name="Group 679"/>
          <p:cNvGrpSpPr/>
          <p:nvPr/>
        </p:nvGrpSpPr>
        <p:grpSpPr>
          <a:xfrm>
            <a:off x="7342999" y="1939927"/>
            <a:ext cx="428360" cy="666912"/>
            <a:chOff x="3970750" y="1940719"/>
            <a:chExt cx="428360" cy="666912"/>
          </a:xfrm>
        </p:grpSpPr>
        <p:grpSp>
          <p:nvGrpSpPr>
            <p:cNvPr id="681" name="Group 680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683" name="Group 682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685" name="Teardrop 684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686" name="Oval 685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684" name="Oval 683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682" name="TextBox 681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21%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077924"/>
              </p:ext>
            </p:extLst>
          </p:nvPr>
        </p:nvGraphicFramePr>
        <p:xfrm>
          <a:off x="593724" y="1565565"/>
          <a:ext cx="2913656" cy="25577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21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1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Lato" panose="020F0502020204030203" pitchFamily="34" charset="0"/>
                        </a:rPr>
                        <a:t>NO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Lato" panose="020F0502020204030203" pitchFamily="34" charset="0"/>
                        </a:rPr>
                        <a:t>STATE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Lato" panose="020F0502020204030203" pitchFamily="34" charset="0"/>
                        </a:rPr>
                        <a:t>NUMBER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Nevad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67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Colorado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8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South Dakot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Arkansa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17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Florid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40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Pennsylvani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389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Alask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35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4189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Michiga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27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694" name="Group 693"/>
          <p:cNvGrpSpPr/>
          <p:nvPr/>
        </p:nvGrpSpPr>
        <p:grpSpPr>
          <a:xfrm>
            <a:off x="7249139" y="3199205"/>
            <a:ext cx="428360" cy="666912"/>
            <a:chOff x="3970750" y="1940719"/>
            <a:chExt cx="428360" cy="666912"/>
          </a:xfrm>
        </p:grpSpPr>
        <p:grpSp>
          <p:nvGrpSpPr>
            <p:cNvPr id="695" name="Group 694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697" name="Group 696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699" name="Teardrop 698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700" name="Oval 699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698" name="Oval 697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696" name="TextBox 695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54%</a:t>
              </a:r>
            </a:p>
          </p:txBody>
        </p:sp>
      </p:grpSp>
      <p:grpSp>
        <p:nvGrpSpPr>
          <p:cNvPr id="701" name="Group 700"/>
          <p:cNvGrpSpPr/>
          <p:nvPr/>
        </p:nvGrpSpPr>
        <p:grpSpPr>
          <a:xfrm>
            <a:off x="6817500" y="1839928"/>
            <a:ext cx="428360" cy="666912"/>
            <a:chOff x="3970750" y="1940719"/>
            <a:chExt cx="428360" cy="666912"/>
          </a:xfrm>
        </p:grpSpPr>
        <p:grpSp>
          <p:nvGrpSpPr>
            <p:cNvPr id="702" name="Group 701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704" name="Group 703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706" name="Teardrop 705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707" name="Oval 706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705" name="Oval 704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703" name="TextBox 702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22%</a:t>
              </a:r>
            </a:p>
          </p:txBody>
        </p:sp>
      </p:grpSp>
      <p:grpSp>
        <p:nvGrpSpPr>
          <p:cNvPr id="715" name="Group 714"/>
          <p:cNvGrpSpPr/>
          <p:nvPr/>
        </p:nvGrpSpPr>
        <p:grpSpPr>
          <a:xfrm>
            <a:off x="4470835" y="3208417"/>
            <a:ext cx="428360" cy="666912"/>
            <a:chOff x="3970750" y="1940719"/>
            <a:chExt cx="428360" cy="666912"/>
          </a:xfrm>
        </p:grpSpPr>
        <p:grpSp>
          <p:nvGrpSpPr>
            <p:cNvPr id="716" name="Group 715"/>
            <p:cNvGrpSpPr/>
            <p:nvPr/>
          </p:nvGrpSpPr>
          <p:grpSpPr>
            <a:xfrm>
              <a:off x="3970750" y="1940719"/>
              <a:ext cx="428360" cy="666912"/>
              <a:chOff x="3922403" y="1865446"/>
              <a:chExt cx="525054" cy="817457"/>
            </a:xfrm>
          </p:grpSpPr>
          <p:grpSp>
            <p:nvGrpSpPr>
              <p:cNvPr id="718" name="Group 717"/>
              <p:cNvGrpSpPr/>
              <p:nvPr/>
            </p:nvGrpSpPr>
            <p:grpSpPr>
              <a:xfrm>
                <a:off x="3922403" y="1865446"/>
                <a:ext cx="525054" cy="525054"/>
                <a:chOff x="1686571" y="1879208"/>
                <a:chExt cx="630942" cy="630942"/>
              </a:xfrm>
            </p:grpSpPr>
            <p:sp>
              <p:nvSpPr>
                <p:cNvPr id="720" name="Teardrop 719"/>
                <p:cNvSpPr/>
                <p:nvPr/>
              </p:nvSpPr>
              <p:spPr>
                <a:xfrm rot="8100000">
                  <a:off x="1686571" y="1879208"/>
                  <a:ext cx="630942" cy="630942"/>
                </a:xfrm>
                <a:prstGeom prst="teardrop">
                  <a:avLst>
                    <a:gd name="adj" fmla="val 117144"/>
                  </a:avLst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  <p:sp>
              <p:nvSpPr>
                <p:cNvPr id="721" name="Oval 720"/>
                <p:cNvSpPr/>
                <p:nvPr/>
              </p:nvSpPr>
              <p:spPr>
                <a:xfrm>
                  <a:off x="1761712" y="1952008"/>
                  <a:ext cx="480660" cy="48066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719" name="Oval 718"/>
              <p:cNvSpPr/>
              <p:nvPr/>
            </p:nvSpPr>
            <p:spPr>
              <a:xfrm>
                <a:off x="4142693" y="2598429"/>
                <a:ext cx="84474" cy="844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717" name="TextBox 716"/>
            <p:cNvSpPr txBox="1"/>
            <p:nvPr/>
          </p:nvSpPr>
          <p:spPr>
            <a:xfrm>
              <a:off x="4040747" y="2069093"/>
              <a:ext cx="288366" cy="141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b="1" cap="all">
                  <a:solidFill>
                    <a:schemeClr val="bg1"/>
                  </a:solidFill>
                  <a:latin typeface="+mj-lt"/>
                </a:rPr>
                <a:t>27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651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anada </a:t>
            </a:r>
            <a:r>
              <a:rPr lang="en-US">
                <a:solidFill>
                  <a:schemeClr val="accent2"/>
                </a:solidFill>
              </a:rPr>
              <a:t>fully editable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150100553"/>
              </p:ext>
            </p:extLst>
          </p:nvPr>
        </p:nvGraphicFramePr>
        <p:xfrm>
          <a:off x="6536747" y="2035169"/>
          <a:ext cx="1696606" cy="156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787960253"/>
              </p:ext>
            </p:extLst>
          </p:nvPr>
        </p:nvGraphicFramePr>
        <p:xfrm>
          <a:off x="4636932" y="2035169"/>
          <a:ext cx="1696606" cy="156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>
            <a:spLocks/>
          </p:cNvSpPr>
          <p:nvPr/>
        </p:nvSpPr>
        <p:spPr>
          <a:xfrm>
            <a:off x="5098992" y="2693108"/>
            <a:ext cx="7845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33%</a:t>
            </a: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7020182" y="2693108"/>
            <a:ext cx="7845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>
                <a:solidFill>
                  <a:schemeClr val="accent2"/>
                </a:solidFill>
                <a:latin typeface="+mj-lt"/>
                <a:ea typeface="Roboto" panose="02000000000000000000" pitchFamily="2" charset="0"/>
              </a:rPr>
              <a:t>62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90454" y="3688030"/>
            <a:ext cx="2372246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persp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iciatis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volupt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atem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dolor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97638" y="1676341"/>
            <a:ext cx="2149973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persp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iciatis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volupt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atem</a:t>
            </a:r>
            <a:r>
              <a:rPr lang="en-US" sz="1000">
                <a:solidFill>
                  <a:schemeClr val="accent1"/>
                </a:solidFill>
                <a:latin typeface="+mj-lt"/>
                <a:ea typeface="Roboto light" panose="02000000000000000000" pitchFamily="2" charset="0"/>
              </a:rPr>
              <a:t> dolor 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962654" y="1792437"/>
            <a:ext cx="427034" cy="560232"/>
            <a:chOff x="5962654" y="1792437"/>
            <a:chExt cx="427034" cy="560232"/>
          </a:xfrm>
        </p:grpSpPr>
        <p:cxnSp>
          <p:nvCxnSpPr>
            <p:cNvPr id="12" name="Elbow Connector 11"/>
            <p:cNvCxnSpPr>
              <a:stCxn id="18" idx="2"/>
            </p:cNvCxnSpPr>
            <p:nvPr/>
          </p:nvCxnSpPr>
          <p:spPr>
            <a:xfrm rot="10800000" flipV="1">
              <a:off x="5962654" y="1819868"/>
              <a:ext cx="372171" cy="532801"/>
            </a:xfrm>
            <a:prstGeom prst="bentConnector2">
              <a:avLst/>
            </a:prstGeom>
            <a:ln w="9525">
              <a:solidFill>
                <a:schemeClr val="accent1"/>
              </a:solidFill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/>
            <p:cNvSpPr/>
            <p:nvPr/>
          </p:nvSpPr>
          <p:spPr>
            <a:xfrm>
              <a:off x="6334824" y="1792437"/>
              <a:ext cx="54864" cy="54864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506718" y="2746367"/>
            <a:ext cx="1532382" cy="1114006"/>
            <a:chOff x="6506718" y="2746367"/>
            <a:chExt cx="1532382" cy="1114006"/>
          </a:xfrm>
        </p:grpSpPr>
        <p:cxnSp>
          <p:nvCxnSpPr>
            <p:cNvPr id="10" name="Elbow Connector 9"/>
            <p:cNvCxnSpPr>
              <a:endCxn id="19" idx="6"/>
            </p:cNvCxnSpPr>
            <p:nvPr/>
          </p:nvCxnSpPr>
          <p:spPr>
            <a:xfrm rot="10800000" flipV="1">
              <a:off x="6561582" y="2746367"/>
              <a:ext cx="1477518" cy="1086573"/>
            </a:xfrm>
            <a:prstGeom prst="bentConnector3">
              <a:avLst>
                <a:gd name="adj1" fmla="val -14950"/>
              </a:avLst>
            </a:prstGeom>
            <a:ln w="9525">
              <a:solidFill>
                <a:schemeClr val="accent1"/>
              </a:solidFill>
              <a:headEnd type="none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/>
            <p:cNvSpPr/>
            <p:nvPr/>
          </p:nvSpPr>
          <p:spPr>
            <a:xfrm>
              <a:off x="6506718" y="3805509"/>
              <a:ext cx="54864" cy="54864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63152" y="1567165"/>
            <a:ext cx="3256766" cy="2667442"/>
            <a:chOff x="3237761" y="1791371"/>
            <a:chExt cx="2831252" cy="2318928"/>
          </a:xfrm>
          <a:solidFill>
            <a:schemeClr val="accent6"/>
          </a:solidFill>
        </p:grpSpPr>
        <p:sp>
          <p:nvSpPr>
            <p:cNvPr id="25" name="Freeform 5"/>
            <p:cNvSpPr>
              <a:spLocks/>
            </p:cNvSpPr>
            <p:nvPr/>
          </p:nvSpPr>
          <p:spPr bwMode="auto">
            <a:xfrm>
              <a:off x="4515869" y="3310808"/>
              <a:ext cx="865554" cy="799491"/>
            </a:xfrm>
            <a:custGeom>
              <a:avLst/>
              <a:gdLst>
                <a:gd name="T0" fmla="*/ 3 w 464"/>
                <a:gd name="T1" fmla="*/ 165 h 428"/>
                <a:gd name="T2" fmla="*/ 51 w 464"/>
                <a:gd name="T3" fmla="*/ 68 h 428"/>
                <a:gd name="T4" fmla="*/ 102 w 464"/>
                <a:gd name="T5" fmla="*/ 0 h 428"/>
                <a:gd name="T6" fmla="*/ 166 w 464"/>
                <a:gd name="T7" fmla="*/ 30 h 428"/>
                <a:gd name="T8" fmla="*/ 183 w 464"/>
                <a:gd name="T9" fmla="*/ 31 h 428"/>
                <a:gd name="T10" fmla="*/ 223 w 464"/>
                <a:gd name="T11" fmla="*/ 44 h 428"/>
                <a:gd name="T12" fmla="*/ 230 w 464"/>
                <a:gd name="T13" fmla="*/ 70 h 428"/>
                <a:gd name="T14" fmla="*/ 247 w 464"/>
                <a:gd name="T15" fmla="*/ 113 h 428"/>
                <a:gd name="T16" fmla="*/ 277 w 464"/>
                <a:gd name="T17" fmla="*/ 126 h 428"/>
                <a:gd name="T18" fmla="*/ 301 w 464"/>
                <a:gd name="T19" fmla="*/ 138 h 428"/>
                <a:gd name="T20" fmla="*/ 333 w 464"/>
                <a:gd name="T21" fmla="*/ 246 h 428"/>
                <a:gd name="T22" fmla="*/ 355 w 464"/>
                <a:gd name="T23" fmla="*/ 266 h 428"/>
                <a:gd name="T24" fmla="*/ 399 w 464"/>
                <a:gd name="T25" fmla="*/ 276 h 428"/>
                <a:gd name="T26" fmla="*/ 427 w 464"/>
                <a:gd name="T27" fmla="*/ 277 h 428"/>
                <a:gd name="T28" fmla="*/ 463 w 464"/>
                <a:gd name="T29" fmla="*/ 267 h 428"/>
                <a:gd name="T30" fmla="*/ 431 w 464"/>
                <a:gd name="T31" fmla="*/ 302 h 428"/>
                <a:gd name="T32" fmla="*/ 413 w 464"/>
                <a:gd name="T33" fmla="*/ 329 h 428"/>
                <a:gd name="T34" fmla="*/ 401 w 464"/>
                <a:gd name="T35" fmla="*/ 339 h 428"/>
                <a:gd name="T36" fmla="*/ 366 w 464"/>
                <a:gd name="T37" fmla="*/ 350 h 428"/>
                <a:gd name="T38" fmla="*/ 364 w 464"/>
                <a:gd name="T39" fmla="*/ 367 h 428"/>
                <a:gd name="T40" fmla="*/ 377 w 464"/>
                <a:gd name="T41" fmla="*/ 377 h 428"/>
                <a:gd name="T42" fmla="*/ 353 w 464"/>
                <a:gd name="T43" fmla="*/ 388 h 428"/>
                <a:gd name="T44" fmla="*/ 343 w 464"/>
                <a:gd name="T45" fmla="*/ 397 h 428"/>
                <a:gd name="T46" fmla="*/ 329 w 464"/>
                <a:gd name="T47" fmla="*/ 396 h 428"/>
                <a:gd name="T48" fmla="*/ 304 w 464"/>
                <a:gd name="T49" fmla="*/ 424 h 428"/>
                <a:gd name="T50" fmla="*/ 294 w 464"/>
                <a:gd name="T51" fmla="*/ 419 h 428"/>
                <a:gd name="T52" fmla="*/ 301 w 464"/>
                <a:gd name="T53" fmla="*/ 404 h 428"/>
                <a:gd name="T54" fmla="*/ 311 w 464"/>
                <a:gd name="T55" fmla="*/ 380 h 428"/>
                <a:gd name="T56" fmla="*/ 312 w 464"/>
                <a:gd name="T57" fmla="*/ 349 h 428"/>
                <a:gd name="T58" fmla="*/ 309 w 464"/>
                <a:gd name="T59" fmla="*/ 324 h 428"/>
                <a:gd name="T60" fmla="*/ 324 w 464"/>
                <a:gd name="T61" fmla="*/ 333 h 428"/>
                <a:gd name="T62" fmla="*/ 342 w 464"/>
                <a:gd name="T63" fmla="*/ 331 h 428"/>
                <a:gd name="T64" fmla="*/ 346 w 464"/>
                <a:gd name="T65" fmla="*/ 319 h 428"/>
                <a:gd name="T66" fmla="*/ 336 w 464"/>
                <a:gd name="T67" fmla="*/ 311 h 428"/>
                <a:gd name="T68" fmla="*/ 317 w 464"/>
                <a:gd name="T69" fmla="*/ 298 h 428"/>
                <a:gd name="T70" fmla="*/ 298 w 464"/>
                <a:gd name="T71" fmla="*/ 297 h 428"/>
                <a:gd name="T72" fmla="*/ 271 w 464"/>
                <a:gd name="T73" fmla="*/ 300 h 428"/>
                <a:gd name="T74" fmla="*/ 240 w 464"/>
                <a:gd name="T75" fmla="*/ 297 h 428"/>
                <a:gd name="T76" fmla="*/ 235 w 464"/>
                <a:gd name="T77" fmla="*/ 289 h 428"/>
                <a:gd name="T78" fmla="*/ 229 w 464"/>
                <a:gd name="T79" fmla="*/ 283 h 428"/>
                <a:gd name="T80" fmla="*/ 220 w 464"/>
                <a:gd name="T81" fmla="*/ 261 h 428"/>
                <a:gd name="T82" fmla="*/ 212 w 464"/>
                <a:gd name="T83" fmla="*/ 257 h 428"/>
                <a:gd name="T84" fmla="*/ 192 w 464"/>
                <a:gd name="T85" fmla="*/ 249 h 428"/>
                <a:gd name="T86" fmla="*/ 180 w 464"/>
                <a:gd name="T87" fmla="*/ 237 h 428"/>
                <a:gd name="T88" fmla="*/ 162 w 464"/>
                <a:gd name="T89" fmla="*/ 237 h 428"/>
                <a:gd name="T90" fmla="*/ 147 w 464"/>
                <a:gd name="T91" fmla="*/ 237 h 428"/>
                <a:gd name="T92" fmla="*/ 147 w 464"/>
                <a:gd name="T93" fmla="*/ 249 h 428"/>
                <a:gd name="T94" fmla="*/ 141 w 464"/>
                <a:gd name="T95" fmla="*/ 247 h 428"/>
                <a:gd name="T96" fmla="*/ 136 w 464"/>
                <a:gd name="T97" fmla="*/ 253 h 428"/>
                <a:gd name="T98" fmla="*/ 128 w 464"/>
                <a:gd name="T99" fmla="*/ 269 h 428"/>
                <a:gd name="T100" fmla="*/ 98 w 464"/>
                <a:gd name="T101" fmla="*/ 272 h 428"/>
                <a:gd name="T102" fmla="*/ 79 w 464"/>
                <a:gd name="T103" fmla="*/ 269 h 428"/>
                <a:gd name="T104" fmla="*/ 40 w 464"/>
                <a:gd name="T105" fmla="*/ 261 h 428"/>
                <a:gd name="T106" fmla="*/ 10 w 464"/>
                <a:gd name="T107" fmla="*/ 24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4" h="428">
                  <a:moveTo>
                    <a:pt x="8" y="240"/>
                  </a:moveTo>
                  <a:cubicBezTo>
                    <a:pt x="5" y="236"/>
                    <a:pt x="5" y="236"/>
                    <a:pt x="5" y="236"/>
                  </a:cubicBezTo>
                  <a:cubicBezTo>
                    <a:pt x="5" y="212"/>
                    <a:pt x="5" y="212"/>
                    <a:pt x="5" y="212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65"/>
                    <a:pt x="3" y="165"/>
                    <a:pt x="3" y="165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8" y="36"/>
                    <a:pt x="168" y="36"/>
                    <a:pt x="168" y="36"/>
                  </a:cubicBezTo>
                  <a:cubicBezTo>
                    <a:pt x="171" y="38"/>
                    <a:pt x="171" y="38"/>
                    <a:pt x="171" y="38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213" y="29"/>
                    <a:pt x="213" y="29"/>
                    <a:pt x="213" y="29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23" y="44"/>
                    <a:pt x="223" y="44"/>
                    <a:pt x="223" y="44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3" y="54"/>
                    <a:pt x="223" y="54"/>
                    <a:pt x="223" y="54"/>
                  </a:cubicBezTo>
                  <a:cubicBezTo>
                    <a:pt x="224" y="56"/>
                    <a:pt x="224" y="56"/>
                    <a:pt x="224" y="56"/>
                  </a:cubicBezTo>
                  <a:cubicBezTo>
                    <a:pt x="227" y="63"/>
                    <a:pt x="227" y="63"/>
                    <a:pt x="227" y="63"/>
                  </a:cubicBezTo>
                  <a:cubicBezTo>
                    <a:pt x="230" y="70"/>
                    <a:pt x="230" y="70"/>
                    <a:pt x="230" y="70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35" y="94"/>
                    <a:pt x="235" y="94"/>
                    <a:pt x="235" y="94"/>
                  </a:cubicBezTo>
                  <a:cubicBezTo>
                    <a:pt x="240" y="96"/>
                    <a:pt x="240" y="96"/>
                    <a:pt x="240" y="96"/>
                  </a:cubicBezTo>
                  <a:cubicBezTo>
                    <a:pt x="250" y="108"/>
                    <a:pt x="250" y="108"/>
                    <a:pt x="250" y="108"/>
                  </a:cubicBezTo>
                  <a:cubicBezTo>
                    <a:pt x="247" y="113"/>
                    <a:pt x="247" y="113"/>
                    <a:pt x="247" y="113"/>
                  </a:cubicBezTo>
                  <a:cubicBezTo>
                    <a:pt x="250" y="115"/>
                    <a:pt x="250" y="115"/>
                    <a:pt x="250" y="115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64" y="114"/>
                    <a:pt x="264" y="114"/>
                    <a:pt x="264" y="114"/>
                  </a:cubicBezTo>
                  <a:cubicBezTo>
                    <a:pt x="275" y="123"/>
                    <a:pt x="275" y="123"/>
                    <a:pt x="275" y="123"/>
                  </a:cubicBezTo>
                  <a:cubicBezTo>
                    <a:pt x="277" y="126"/>
                    <a:pt x="277" y="126"/>
                    <a:pt x="277" y="126"/>
                  </a:cubicBezTo>
                  <a:cubicBezTo>
                    <a:pt x="277" y="134"/>
                    <a:pt x="277" y="134"/>
                    <a:pt x="277" y="134"/>
                  </a:cubicBezTo>
                  <a:cubicBezTo>
                    <a:pt x="286" y="138"/>
                    <a:pt x="286" y="138"/>
                    <a:pt x="286" y="138"/>
                  </a:cubicBezTo>
                  <a:cubicBezTo>
                    <a:pt x="295" y="140"/>
                    <a:pt x="295" y="140"/>
                    <a:pt x="295" y="140"/>
                  </a:cubicBezTo>
                  <a:cubicBezTo>
                    <a:pt x="301" y="141"/>
                    <a:pt x="301" y="141"/>
                    <a:pt x="301" y="141"/>
                  </a:cubicBezTo>
                  <a:cubicBezTo>
                    <a:pt x="301" y="138"/>
                    <a:pt x="301" y="138"/>
                    <a:pt x="301" y="138"/>
                  </a:cubicBezTo>
                  <a:cubicBezTo>
                    <a:pt x="299" y="136"/>
                    <a:pt x="299" y="136"/>
                    <a:pt x="299" y="136"/>
                  </a:cubicBezTo>
                  <a:cubicBezTo>
                    <a:pt x="297" y="131"/>
                    <a:pt x="297" y="131"/>
                    <a:pt x="297" y="131"/>
                  </a:cubicBezTo>
                  <a:cubicBezTo>
                    <a:pt x="298" y="128"/>
                    <a:pt x="298" y="128"/>
                    <a:pt x="298" y="128"/>
                  </a:cubicBezTo>
                  <a:cubicBezTo>
                    <a:pt x="299" y="126"/>
                    <a:pt x="299" y="126"/>
                    <a:pt x="299" y="126"/>
                  </a:cubicBezTo>
                  <a:cubicBezTo>
                    <a:pt x="333" y="246"/>
                    <a:pt x="333" y="246"/>
                    <a:pt x="333" y="246"/>
                  </a:cubicBezTo>
                  <a:cubicBezTo>
                    <a:pt x="337" y="251"/>
                    <a:pt x="337" y="251"/>
                    <a:pt x="337" y="251"/>
                  </a:cubicBezTo>
                  <a:cubicBezTo>
                    <a:pt x="341" y="254"/>
                    <a:pt x="341" y="254"/>
                    <a:pt x="341" y="254"/>
                  </a:cubicBezTo>
                  <a:cubicBezTo>
                    <a:pt x="345" y="260"/>
                    <a:pt x="345" y="260"/>
                    <a:pt x="345" y="260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55" y="266"/>
                    <a:pt x="355" y="266"/>
                    <a:pt x="355" y="266"/>
                  </a:cubicBezTo>
                  <a:cubicBezTo>
                    <a:pt x="357" y="271"/>
                    <a:pt x="357" y="271"/>
                    <a:pt x="357" y="271"/>
                  </a:cubicBezTo>
                  <a:cubicBezTo>
                    <a:pt x="384" y="271"/>
                    <a:pt x="384" y="271"/>
                    <a:pt x="384" y="271"/>
                  </a:cubicBezTo>
                  <a:cubicBezTo>
                    <a:pt x="389" y="275"/>
                    <a:pt x="389" y="275"/>
                    <a:pt x="389" y="275"/>
                  </a:cubicBezTo>
                  <a:cubicBezTo>
                    <a:pt x="393" y="277"/>
                    <a:pt x="393" y="277"/>
                    <a:pt x="393" y="277"/>
                  </a:cubicBezTo>
                  <a:cubicBezTo>
                    <a:pt x="399" y="276"/>
                    <a:pt x="399" y="276"/>
                    <a:pt x="399" y="276"/>
                  </a:cubicBezTo>
                  <a:cubicBezTo>
                    <a:pt x="403" y="275"/>
                    <a:pt x="403" y="275"/>
                    <a:pt x="403" y="275"/>
                  </a:cubicBezTo>
                  <a:cubicBezTo>
                    <a:pt x="409" y="278"/>
                    <a:pt x="409" y="278"/>
                    <a:pt x="409" y="278"/>
                  </a:cubicBezTo>
                  <a:cubicBezTo>
                    <a:pt x="415" y="278"/>
                    <a:pt x="415" y="278"/>
                    <a:pt x="415" y="278"/>
                  </a:cubicBezTo>
                  <a:cubicBezTo>
                    <a:pt x="423" y="279"/>
                    <a:pt x="423" y="279"/>
                    <a:pt x="423" y="279"/>
                  </a:cubicBezTo>
                  <a:cubicBezTo>
                    <a:pt x="427" y="277"/>
                    <a:pt x="427" y="277"/>
                    <a:pt x="427" y="277"/>
                  </a:cubicBezTo>
                  <a:cubicBezTo>
                    <a:pt x="429" y="276"/>
                    <a:pt x="429" y="276"/>
                    <a:pt x="429" y="276"/>
                  </a:cubicBezTo>
                  <a:cubicBezTo>
                    <a:pt x="438" y="271"/>
                    <a:pt x="438" y="271"/>
                    <a:pt x="438" y="271"/>
                  </a:cubicBezTo>
                  <a:cubicBezTo>
                    <a:pt x="445" y="267"/>
                    <a:pt x="445" y="267"/>
                    <a:pt x="445" y="267"/>
                  </a:cubicBezTo>
                  <a:cubicBezTo>
                    <a:pt x="448" y="266"/>
                    <a:pt x="448" y="266"/>
                    <a:pt x="448" y="266"/>
                  </a:cubicBezTo>
                  <a:cubicBezTo>
                    <a:pt x="463" y="267"/>
                    <a:pt x="463" y="267"/>
                    <a:pt x="463" y="267"/>
                  </a:cubicBezTo>
                  <a:cubicBezTo>
                    <a:pt x="464" y="269"/>
                    <a:pt x="464" y="269"/>
                    <a:pt x="464" y="269"/>
                  </a:cubicBezTo>
                  <a:cubicBezTo>
                    <a:pt x="456" y="276"/>
                    <a:pt x="456" y="276"/>
                    <a:pt x="456" y="276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2" y="289"/>
                    <a:pt x="442" y="289"/>
                    <a:pt x="442" y="289"/>
                  </a:cubicBezTo>
                  <a:cubicBezTo>
                    <a:pt x="431" y="302"/>
                    <a:pt x="431" y="302"/>
                    <a:pt x="431" y="302"/>
                  </a:cubicBezTo>
                  <a:cubicBezTo>
                    <a:pt x="427" y="307"/>
                    <a:pt x="427" y="307"/>
                    <a:pt x="427" y="307"/>
                  </a:cubicBezTo>
                  <a:cubicBezTo>
                    <a:pt x="424" y="312"/>
                    <a:pt x="424" y="312"/>
                    <a:pt x="424" y="312"/>
                  </a:cubicBezTo>
                  <a:cubicBezTo>
                    <a:pt x="417" y="320"/>
                    <a:pt x="417" y="320"/>
                    <a:pt x="417" y="320"/>
                  </a:cubicBezTo>
                  <a:cubicBezTo>
                    <a:pt x="412" y="323"/>
                    <a:pt x="412" y="323"/>
                    <a:pt x="412" y="323"/>
                  </a:cubicBezTo>
                  <a:cubicBezTo>
                    <a:pt x="413" y="329"/>
                    <a:pt x="413" y="329"/>
                    <a:pt x="413" y="329"/>
                  </a:cubicBezTo>
                  <a:cubicBezTo>
                    <a:pt x="413" y="334"/>
                    <a:pt x="413" y="334"/>
                    <a:pt x="413" y="334"/>
                  </a:cubicBezTo>
                  <a:cubicBezTo>
                    <a:pt x="410" y="336"/>
                    <a:pt x="410" y="336"/>
                    <a:pt x="410" y="336"/>
                  </a:cubicBezTo>
                  <a:cubicBezTo>
                    <a:pt x="406" y="335"/>
                    <a:pt x="406" y="335"/>
                    <a:pt x="406" y="335"/>
                  </a:cubicBezTo>
                  <a:cubicBezTo>
                    <a:pt x="403" y="338"/>
                    <a:pt x="403" y="338"/>
                    <a:pt x="403" y="338"/>
                  </a:cubicBezTo>
                  <a:cubicBezTo>
                    <a:pt x="401" y="339"/>
                    <a:pt x="401" y="339"/>
                    <a:pt x="401" y="339"/>
                  </a:cubicBezTo>
                  <a:cubicBezTo>
                    <a:pt x="399" y="337"/>
                    <a:pt x="399" y="337"/>
                    <a:pt x="399" y="337"/>
                  </a:cubicBezTo>
                  <a:cubicBezTo>
                    <a:pt x="392" y="338"/>
                    <a:pt x="392" y="338"/>
                    <a:pt x="392" y="338"/>
                  </a:cubicBezTo>
                  <a:cubicBezTo>
                    <a:pt x="382" y="343"/>
                    <a:pt x="382" y="343"/>
                    <a:pt x="382" y="343"/>
                  </a:cubicBezTo>
                  <a:cubicBezTo>
                    <a:pt x="373" y="347"/>
                    <a:pt x="373" y="347"/>
                    <a:pt x="373" y="347"/>
                  </a:cubicBezTo>
                  <a:cubicBezTo>
                    <a:pt x="366" y="350"/>
                    <a:pt x="366" y="350"/>
                    <a:pt x="366" y="350"/>
                  </a:cubicBezTo>
                  <a:cubicBezTo>
                    <a:pt x="361" y="351"/>
                    <a:pt x="361" y="351"/>
                    <a:pt x="361" y="351"/>
                  </a:cubicBezTo>
                  <a:cubicBezTo>
                    <a:pt x="360" y="359"/>
                    <a:pt x="360" y="359"/>
                    <a:pt x="360" y="359"/>
                  </a:cubicBezTo>
                  <a:cubicBezTo>
                    <a:pt x="359" y="365"/>
                    <a:pt x="359" y="365"/>
                    <a:pt x="359" y="365"/>
                  </a:cubicBezTo>
                  <a:cubicBezTo>
                    <a:pt x="360" y="367"/>
                    <a:pt x="360" y="367"/>
                    <a:pt x="360" y="367"/>
                  </a:cubicBezTo>
                  <a:cubicBezTo>
                    <a:pt x="364" y="367"/>
                    <a:pt x="364" y="367"/>
                    <a:pt x="364" y="367"/>
                  </a:cubicBezTo>
                  <a:cubicBezTo>
                    <a:pt x="366" y="367"/>
                    <a:pt x="366" y="367"/>
                    <a:pt x="366" y="367"/>
                  </a:cubicBezTo>
                  <a:cubicBezTo>
                    <a:pt x="370" y="366"/>
                    <a:pt x="370" y="366"/>
                    <a:pt x="370" y="366"/>
                  </a:cubicBezTo>
                  <a:cubicBezTo>
                    <a:pt x="374" y="366"/>
                    <a:pt x="374" y="366"/>
                    <a:pt x="374" y="366"/>
                  </a:cubicBezTo>
                  <a:cubicBezTo>
                    <a:pt x="375" y="367"/>
                    <a:pt x="375" y="367"/>
                    <a:pt x="375" y="367"/>
                  </a:cubicBezTo>
                  <a:cubicBezTo>
                    <a:pt x="377" y="377"/>
                    <a:pt x="377" y="377"/>
                    <a:pt x="377" y="377"/>
                  </a:cubicBezTo>
                  <a:cubicBezTo>
                    <a:pt x="374" y="378"/>
                    <a:pt x="374" y="378"/>
                    <a:pt x="374" y="378"/>
                  </a:cubicBezTo>
                  <a:cubicBezTo>
                    <a:pt x="368" y="380"/>
                    <a:pt x="368" y="380"/>
                    <a:pt x="368" y="380"/>
                  </a:cubicBezTo>
                  <a:cubicBezTo>
                    <a:pt x="360" y="383"/>
                    <a:pt x="360" y="383"/>
                    <a:pt x="360" y="383"/>
                  </a:cubicBezTo>
                  <a:cubicBezTo>
                    <a:pt x="357" y="386"/>
                    <a:pt x="357" y="386"/>
                    <a:pt x="357" y="386"/>
                  </a:cubicBezTo>
                  <a:cubicBezTo>
                    <a:pt x="353" y="388"/>
                    <a:pt x="353" y="388"/>
                    <a:pt x="353" y="388"/>
                  </a:cubicBezTo>
                  <a:cubicBezTo>
                    <a:pt x="353" y="390"/>
                    <a:pt x="353" y="390"/>
                    <a:pt x="353" y="390"/>
                  </a:cubicBezTo>
                  <a:cubicBezTo>
                    <a:pt x="353" y="393"/>
                    <a:pt x="353" y="393"/>
                    <a:pt x="353" y="393"/>
                  </a:cubicBezTo>
                  <a:cubicBezTo>
                    <a:pt x="350" y="395"/>
                    <a:pt x="350" y="395"/>
                    <a:pt x="350" y="395"/>
                  </a:cubicBezTo>
                  <a:cubicBezTo>
                    <a:pt x="345" y="397"/>
                    <a:pt x="345" y="397"/>
                    <a:pt x="345" y="397"/>
                  </a:cubicBezTo>
                  <a:cubicBezTo>
                    <a:pt x="343" y="397"/>
                    <a:pt x="343" y="397"/>
                    <a:pt x="343" y="397"/>
                  </a:cubicBezTo>
                  <a:cubicBezTo>
                    <a:pt x="338" y="395"/>
                    <a:pt x="338" y="395"/>
                    <a:pt x="338" y="395"/>
                  </a:cubicBezTo>
                  <a:cubicBezTo>
                    <a:pt x="336" y="394"/>
                    <a:pt x="336" y="394"/>
                    <a:pt x="336" y="394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2" y="394"/>
                    <a:pt x="332" y="394"/>
                    <a:pt x="332" y="394"/>
                  </a:cubicBezTo>
                  <a:cubicBezTo>
                    <a:pt x="329" y="396"/>
                    <a:pt x="329" y="396"/>
                    <a:pt x="329" y="396"/>
                  </a:cubicBezTo>
                  <a:cubicBezTo>
                    <a:pt x="325" y="401"/>
                    <a:pt x="325" y="401"/>
                    <a:pt x="325" y="401"/>
                  </a:cubicBezTo>
                  <a:cubicBezTo>
                    <a:pt x="322" y="405"/>
                    <a:pt x="322" y="405"/>
                    <a:pt x="322" y="405"/>
                  </a:cubicBezTo>
                  <a:cubicBezTo>
                    <a:pt x="317" y="411"/>
                    <a:pt x="317" y="411"/>
                    <a:pt x="317" y="411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04" y="424"/>
                    <a:pt x="304" y="424"/>
                    <a:pt x="304" y="424"/>
                  </a:cubicBezTo>
                  <a:cubicBezTo>
                    <a:pt x="298" y="427"/>
                    <a:pt x="298" y="427"/>
                    <a:pt x="298" y="427"/>
                  </a:cubicBezTo>
                  <a:cubicBezTo>
                    <a:pt x="294" y="428"/>
                    <a:pt x="294" y="428"/>
                    <a:pt x="294" y="428"/>
                  </a:cubicBezTo>
                  <a:cubicBezTo>
                    <a:pt x="292" y="425"/>
                    <a:pt x="292" y="425"/>
                    <a:pt x="292" y="425"/>
                  </a:cubicBezTo>
                  <a:cubicBezTo>
                    <a:pt x="293" y="423"/>
                    <a:pt x="293" y="423"/>
                    <a:pt x="293" y="423"/>
                  </a:cubicBezTo>
                  <a:cubicBezTo>
                    <a:pt x="294" y="419"/>
                    <a:pt x="294" y="419"/>
                    <a:pt x="294" y="419"/>
                  </a:cubicBezTo>
                  <a:cubicBezTo>
                    <a:pt x="295" y="416"/>
                    <a:pt x="295" y="416"/>
                    <a:pt x="295" y="416"/>
                  </a:cubicBezTo>
                  <a:cubicBezTo>
                    <a:pt x="296" y="413"/>
                    <a:pt x="296" y="413"/>
                    <a:pt x="296" y="413"/>
                  </a:cubicBezTo>
                  <a:cubicBezTo>
                    <a:pt x="298" y="410"/>
                    <a:pt x="298" y="410"/>
                    <a:pt x="298" y="410"/>
                  </a:cubicBezTo>
                  <a:cubicBezTo>
                    <a:pt x="301" y="407"/>
                    <a:pt x="301" y="407"/>
                    <a:pt x="301" y="407"/>
                  </a:cubicBezTo>
                  <a:cubicBezTo>
                    <a:pt x="301" y="404"/>
                    <a:pt x="301" y="404"/>
                    <a:pt x="301" y="404"/>
                  </a:cubicBezTo>
                  <a:cubicBezTo>
                    <a:pt x="303" y="398"/>
                    <a:pt x="303" y="398"/>
                    <a:pt x="303" y="398"/>
                  </a:cubicBezTo>
                  <a:cubicBezTo>
                    <a:pt x="303" y="393"/>
                    <a:pt x="303" y="393"/>
                    <a:pt x="303" y="393"/>
                  </a:cubicBezTo>
                  <a:cubicBezTo>
                    <a:pt x="303" y="390"/>
                    <a:pt x="303" y="390"/>
                    <a:pt x="303" y="390"/>
                  </a:cubicBezTo>
                  <a:cubicBezTo>
                    <a:pt x="307" y="386"/>
                    <a:pt x="307" y="386"/>
                    <a:pt x="307" y="386"/>
                  </a:cubicBezTo>
                  <a:cubicBezTo>
                    <a:pt x="311" y="380"/>
                    <a:pt x="311" y="380"/>
                    <a:pt x="311" y="380"/>
                  </a:cubicBezTo>
                  <a:cubicBezTo>
                    <a:pt x="313" y="376"/>
                    <a:pt x="313" y="376"/>
                    <a:pt x="313" y="376"/>
                  </a:cubicBezTo>
                  <a:cubicBezTo>
                    <a:pt x="314" y="369"/>
                    <a:pt x="314" y="369"/>
                    <a:pt x="314" y="369"/>
                  </a:cubicBezTo>
                  <a:cubicBezTo>
                    <a:pt x="314" y="363"/>
                    <a:pt x="314" y="363"/>
                    <a:pt x="314" y="363"/>
                  </a:cubicBezTo>
                  <a:cubicBezTo>
                    <a:pt x="311" y="356"/>
                    <a:pt x="311" y="356"/>
                    <a:pt x="311" y="356"/>
                  </a:cubicBezTo>
                  <a:cubicBezTo>
                    <a:pt x="312" y="349"/>
                    <a:pt x="312" y="349"/>
                    <a:pt x="312" y="349"/>
                  </a:cubicBezTo>
                  <a:cubicBezTo>
                    <a:pt x="313" y="347"/>
                    <a:pt x="313" y="347"/>
                    <a:pt x="313" y="347"/>
                  </a:cubicBezTo>
                  <a:cubicBezTo>
                    <a:pt x="314" y="346"/>
                    <a:pt x="314" y="346"/>
                    <a:pt x="314" y="346"/>
                  </a:cubicBezTo>
                  <a:cubicBezTo>
                    <a:pt x="314" y="330"/>
                    <a:pt x="314" y="330"/>
                    <a:pt x="314" y="330"/>
                  </a:cubicBezTo>
                  <a:cubicBezTo>
                    <a:pt x="311" y="327"/>
                    <a:pt x="311" y="327"/>
                    <a:pt x="311" y="327"/>
                  </a:cubicBezTo>
                  <a:cubicBezTo>
                    <a:pt x="309" y="324"/>
                    <a:pt x="309" y="324"/>
                    <a:pt x="309" y="324"/>
                  </a:cubicBezTo>
                  <a:cubicBezTo>
                    <a:pt x="308" y="321"/>
                    <a:pt x="308" y="321"/>
                    <a:pt x="308" y="321"/>
                  </a:cubicBezTo>
                  <a:cubicBezTo>
                    <a:pt x="310" y="320"/>
                    <a:pt x="310" y="320"/>
                    <a:pt x="310" y="320"/>
                  </a:cubicBezTo>
                  <a:cubicBezTo>
                    <a:pt x="313" y="321"/>
                    <a:pt x="313" y="321"/>
                    <a:pt x="313" y="321"/>
                  </a:cubicBezTo>
                  <a:cubicBezTo>
                    <a:pt x="319" y="328"/>
                    <a:pt x="319" y="328"/>
                    <a:pt x="319" y="328"/>
                  </a:cubicBezTo>
                  <a:cubicBezTo>
                    <a:pt x="324" y="333"/>
                    <a:pt x="324" y="333"/>
                    <a:pt x="324" y="333"/>
                  </a:cubicBezTo>
                  <a:cubicBezTo>
                    <a:pt x="330" y="333"/>
                    <a:pt x="330" y="333"/>
                    <a:pt x="330" y="333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8" y="336"/>
                    <a:pt x="338" y="336"/>
                    <a:pt x="338" y="336"/>
                  </a:cubicBezTo>
                  <a:cubicBezTo>
                    <a:pt x="342" y="335"/>
                    <a:pt x="342" y="335"/>
                    <a:pt x="342" y="335"/>
                  </a:cubicBezTo>
                  <a:cubicBezTo>
                    <a:pt x="342" y="331"/>
                    <a:pt x="342" y="331"/>
                    <a:pt x="342" y="331"/>
                  </a:cubicBezTo>
                  <a:cubicBezTo>
                    <a:pt x="341" y="327"/>
                    <a:pt x="341" y="327"/>
                    <a:pt x="341" y="327"/>
                  </a:cubicBezTo>
                  <a:cubicBezTo>
                    <a:pt x="342" y="325"/>
                    <a:pt x="342" y="325"/>
                    <a:pt x="342" y="325"/>
                  </a:cubicBezTo>
                  <a:cubicBezTo>
                    <a:pt x="347" y="325"/>
                    <a:pt x="347" y="325"/>
                    <a:pt x="347" y="325"/>
                  </a:cubicBezTo>
                  <a:cubicBezTo>
                    <a:pt x="348" y="322"/>
                    <a:pt x="348" y="322"/>
                    <a:pt x="348" y="322"/>
                  </a:cubicBezTo>
                  <a:cubicBezTo>
                    <a:pt x="346" y="319"/>
                    <a:pt x="346" y="319"/>
                    <a:pt x="346" y="319"/>
                  </a:cubicBezTo>
                  <a:cubicBezTo>
                    <a:pt x="344" y="319"/>
                    <a:pt x="344" y="319"/>
                    <a:pt x="344" y="319"/>
                  </a:cubicBezTo>
                  <a:cubicBezTo>
                    <a:pt x="341" y="318"/>
                    <a:pt x="341" y="318"/>
                    <a:pt x="341" y="318"/>
                  </a:cubicBezTo>
                  <a:cubicBezTo>
                    <a:pt x="339" y="317"/>
                    <a:pt x="339" y="317"/>
                    <a:pt x="339" y="317"/>
                  </a:cubicBezTo>
                  <a:cubicBezTo>
                    <a:pt x="336" y="314"/>
                    <a:pt x="336" y="314"/>
                    <a:pt x="336" y="314"/>
                  </a:cubicBezTo>
                  <a:cubicBezTo>
                    <a:pt x="336" y="311"/>
                    <a:pt x="336" y="311"/>
                    <a:pt x="336" y="311"/>
                  </a:cubicBezTo>
                  <a:cubicBezTo>
                    <a:pt x="335" y="309"/>
                    <a:pt x="335" y="309"/>
                    <a:pt x="335" y="309"/>
                  </a:cubicBezTo>
                  <a:cubicBezTo>
                    <a:pt x="330" y="307"/>
                    <a:pt x="330" y="307"/>
                    <a:pt x="330" y="307"/>
                  </a:cubicBezTo>
                  <a:cubicBezTo>
                    <a:pt x="324" y="303"/>
                    <a:pt x="324" y="303"/>
                    <a:pt x="324" y="303"/>
                  </a:cubicBezTo>
                  <a:cubicBezTo>
                    <a:pt x="321" y="301"/>
                    <a:pt x="321" y="301"/>
                    <a:pt x="321" y="301"/>
                  </a:cubicBezTo>
                  <a:cubicBezTo>
                    <a:pt x="317" y="298"/>
                    <a:pt x="317" y="298"/>
                    <a:pt x="317" y="298"/>
                  </a:cubicBezTo>
                  <a:cubicBezTo>
                    <a:pt x="314" y="295"/>
                    <a:pt x="314" y="295"/>
                    <a:pt x="314" y="295"/>
                  </a:cubicBezTo>
                  <a:cubicBezTo>
                    <a:pt x="309" y="296"/>
                    <a:pt x="309" y="296"/>
                    <a:pt x="309" y="296"/>
                  </a:cubicBezTo>
                  <a:cubicBezTo>
                    <a:pt x="307" y="297"/>
                    <a:pt x="307" y="297"/>
                    <a:pt x="307" y="297"/>
                  </a:cubicBezTo>
                  <a:cubicBezTo>
                    <a:pt x="301" y="297"/>
                    <a:pt x="301" y="297"/>
                    <a:pt x="301" y="297"/>
                  </a:cubicBezTo>
                  <a:cubicBezTo>
                    <a:pt x="298" y="297"/>
                    <a:pt x="298" y="297"/>
                    <a:pt x="298" y="297"/>
                  </a:cubicBezTo>
                  <a:cubicBezTo>
                    <a:pt x="294" y="295"/>
                    <a:pt x="294" y="295"/>
                    <a:pt x="294" y="295"/>
                  </a:cubicBezTo>
                  <a:cubicBezTo>
                    <a:pt x="291" y="296"/>
                    <a:pt x="291" y="296"/>
                    <a:pt x="291" y="296"/>
                  </a:cubicBezTo>
                  <a:cubicBezTo>
                    <a:pt x="285" y="297"/>
                    <a:pt x="285" y="297"/>
                    <a:pt x="285" y="297"/>
                  </a:cubicBezTo>
                  <a:cubicBezTo>
                    <a:pt x="280" y="299"/>
                    <a:pt x="280" y="299"/>
                    <a:pt x="280" y="299"/>
                  </a:cubicBezTo>
                  <a:cubicBezTo>
                    <a:pt x="271" y="300"/>
                    <a:pt x="271" y="300"/>
                    <a:pt x="271" y="300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52" y="301"/>
                    <a:pt x="252" y="301"/>
                    <a:pt x="252" y="301"/>
                  </a:cubicBezTo>
                  <a:cubicBezTo>
                    <a:pt x="249" y="301"/>
                    <a:pt x="249" y="301"/>
                    <a:pt x="249" y="301"/>
                  </a:cubicBezTo>
                  <a:cubicBezTo>
                    <a:pt x="245" y="297"/>
                    <a:pt x="245" y="297"/>
                    <a:pt x="245" y="297"/>
                  </a:cubicBezTo>
                  <a:cubicBezTo>
                    <a:pt x="240" y="297"/>
                    <a:pt x="240" y="297"/>
                    <a:pt x="240" y="297"/>
                  </a:cubicBezTo>
                  <a:cubicBezTo>
                    <a:pt x="237" y="298"/>
                    <a:pt x="237" y="298"/>
                    <a:pt x="237" y="298"/>
                  </a:cubicBezTo>
                  <a:cubicBezTo>
                    <a:pt x="234" y="298"/>
                    <a:pt x="234" y="298"/>
                    <a:pt x="234" y="298"/>
                  </a:cubicBezTo>
                  <a:cubicBezTo>
                    <a:pt x="233" y="294"/>
                    <a:pt x="233" y="294"/>
                    <a:pt x="233" y="294"/>
                  </a:cubicBezTo>
                  <a:cubicBezTo>
                    <a:pt x="233" y="290"/>
                    <a:pt x="233" y="290"/>
                    <a:pt x="233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7" y="288"/>
                    <a:pt x="237" y="288"/>
                    <a:pt x="237" y="288"/>
                  </a:cubicBezTo>
                  <a:cubicBezTo>
                    <a:pt x="236" y="283"/>
                    <a:pt x="236" y="283"/>
                    <a:pt x="236" y="283"/>
                  </a:cubicBezTo>
                  <a:cubicBezTo>
                    <a:pt x="232" y="285"/>
                    <a:pt x="232" y="285"/>
                    <a:pt x="232" y="285"/>
                  </a:cubicBezTo>
                  <a:cubicBezTo>
                    <a:pt x="231" y="286"/>
                    <a:pt x="231" y="286"/>
                    <a:pt x="231" y="286"/>
                  </a:cubicBezTo>
                  <a:cubicBezTo>
                    <a:pt x="229" y="283"/>
                    <a:pt x="229" y="283"/>
                    <a:pt x="229" y="283"/>
                  </a:cubicBezTo>
                  <a:cubicBezTo>
                    <a:pt x="227" y="280"/>
                    <a:pt x="227" y="280"/>
                    <a:pt x="227" y="280"/>
                  </a:cubicBezTo>
                  <a:cubicBezTo>
                    <a:pt x="227" y="274"/>
                    <a:pt x="227" y="274"/>
                    <a:pt x="227" y="274"/>
                  </a:cubicBezTo>
                  <a:cubicBezTo>
                    <a:pt x="221" y="269"/>
                    <a:pt x="221" y="269"/>
                    <a:pt x="221" y="269"/>
                  </a:cubicBezTo>
                  <a:cubicBezTo>
                    <a:pt x="220" y="263"/>
                    <a:pt x="220" y="263"/>
                    <a:pt x="220" y="263"/>
                  </a:cubicBezTo>
                  <a:cubicBezTo>
                    <a:pt x="220" y="261"/>
                    <a:pt x="220" y="261"/>
                    <a:pt x="220" y="261"/>
                  </a:cubicBezTo>
                  <a:cubicBezTo>
                    <a:pt x="221" y="259"/>
                    <a:pt x="221" y="259"/>
                    <a:pt x="221" y="259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17" y="255"/>
                    <a:pt x="217" y="255"/>
                    <a:pt x="217" y="255"/>
                  </a:cubicBezTo>
                  <a:cubicBezTo>
                    <a:pt x="214" y="256"/>
                    <a:pt x="214" y="256"/>
                    <a:pt x="214" y="256"/>
                  </a:cubicBezTo>
                  <a:cubicBezTo>
                    <a:pt x="212" y="257"/>
                    <a:pt x="212" y="257"/>
                    <a:pt x="212" y="257"/>
                  </a:cubicBezTo>
                  <a:cubicBezTo>
                    <a:pt x="211" y="258"/>
                    <a:pt x="211" y="258"/>
                    <a:pt x="211" y="258"/>
                  </a:cubicBezTo>
                  <a:cubicBezTo>
                    <a:pt x="208" y="259"/>
                    <a:pt x="208" y="259"/>
                    <a:pt x="208" y="259"/>
                  </a:cubicBezTo>
                  <a:cubicBezTo>
                    <a:pt x="202" y="258"/>
                    <a:pt x="202" y="258"/>
                    <a:pt x="202" y="258"/>
                  </a:cubicBezTo>
                  <a:cubicBezTo>
                    <a:pt x="200" y="257"/>
                    <a:pt x="200" y="257"/>
                    <a:pt x="200" y="257"/>
                  </a:cubicBezTo>
                  <a:cubicBezTo>
                    <a:pt x="192" y="249"/>
                    <a:pt x="192" y="249"/>
                    <a:pt x="192" y="249"/>
                  </a:cubicBezTo>
                  <a:cubicBezTo>
                    <a:pt x="190" y="244"/>
                    <a:pt x="190" y="244"/>
                    <a:pt x="190" y="244"/>
                  </a:cubicBezTo>
                  <a:cubicBezTo>
                    <a:pt x="190" y="241"/>
                    <a:pt x="190" y="241"/>
                    <a:pt x="190" y="241"/>
                  </a:cubicBezTo>
                  <a:cubicBezTo>
                    <a:pt x="186" y="238"/>
                    <a:pt x="186" y="238"/>
                    <a:pt x="186" y="238"/>
                  </a:cubicBezTo>
                  <a:cubicBezTo>
                    <a:pt x="183" y="236"/>
                    <a:pt x="183" y="236"/>
                    <a:pt x="183" y="236"/>
                  </a:cubicBezTo>
                  <a:cubicBezTo>
                    <a:pt x="180" y="237"/>
                    <a:pt x="180" y="237"/>
                    <a:pt x="180" y="237"/>
                  </a:cubicBezTo>
                  <a:cubicBezTo>
                    <a:pt x="177" y="238"/>
                    <a:pt x="177" y="238"/>
                    <a:pt x="177" y="238"/>
                  </a:cubicBezTo>
                  <a:cubicBezTo>
                    <a:pt x="172" y="238"/>
                    <a:pt x="172" y="238"/>
                    <a:pt x="172" y="238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65" y="239"/>
                    <a:pt x="165" y="239"/>
                    <a:pt x="165" y="239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58" y="236"/>
                    <a:pt x="158" y="236"/>
                    <a:pt x="158" y="236"/>
                  </a:cubicBezTo>
                  <a:cubicBezTo>
                    <a:pt x="156" y="236"/>
                    <a:pt x="156" y="236"/>
                    <a:pt x="156" y="236"/>
                  </a:cubicBezTo>
                  <a:cubicBezTo>
                    <a:pt x="152" y="236"/>
                    <a:pt x="152" y="236"/>
                    <a:pt x="152" y="236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47" y="237"/>
                    <a:pt x="147" y="237"/>
                    <a:pt x="147" y="237"/>
                  </a:cubicBezTo>
                  <a:cubicBezTo>
                    <a:pt x="148" y="241"/>
                    <a:pt x="148" y="241"/>
                    <a:pt x="148" y="241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9" y="247"/>
                    <a:pt x="149" y="247"/>
                    <a:pt x="149" y="247"/>
                  </a:cubicBezTo>
                  <a:cubicBezTo>
                    <a:pt x="148" y="250"/>
                    <a:pt x="148" y="250"/>
                    <a:pt x="148" y="250"/>
                  </a:cubicBezTo>
                  <a:cubicBezTo>
                    <a:pt x="147" y="249"/>
                    <a:pt x="147" y="249"/>
                    <a:pt x="147" y="249"/>
                  </a:cubicBezTo>
                  <a:cubicBezTo>
                    <a:pt x="146" y="245"/>
                    <a:pt x="146" y="245"/>
                    <a:pt x="146" y="245"/>
                  </a:cubicBezTo>
                  <a:cubicBezTo>
                    <a:pt x="145" y="241"/>
                    <a:pt x="145" y="241"/>
                    <a:pt x="145" y="241"/>
                  </a:cubicBezTo>
                  <a:cubicBezTo>
                    <a:pt x="143" y="242"/>
                    <a:pt x="143" y="242"/>
                    <a:pt x="143" y="242"/>
                  </a:cubicBezTo>
                  <a:cubicBezTo>
                    <a:pt x="143" y="243"/>
                    <a:pt x="143" y="243"/>
                    <a:pt x="143" y="243"/>
                  </a:cubicBezTo>
                  <a:cubicBezTo>
                    <a:pt x="141" y="247"/>
                    <a:pt x="141" y="247"/>
                    <a:pt x="141" y="247"/>
                  </a:cubicBezTo>
                  <a:cubicBezTo>
                    <a:pt x="141" y="255"/>
                    <a:pt x="141" y="255"/>
                    <a:pt x="141" y="255"/>
                  </a:cubicBezTo>
                  <a:cubicBezTo>
                    <a:pt x="140" y="257"/>
                    <a:pt x="140" y="257"/>
                    <a:pt x="140" y="257"/>
                  </a:cubicBezTo>
                  <a:cubicBezTo>
                    <a:pt x="138" y="257"/>
                    <a:pt x="138" y="257"/>
                    <a:pt x="138" y="257"/>
                  </a:cubicBezTo>
                  <a:cubicBezTo>
                    <a:pt x="137" y="253"/>
                    <a:pt x="137" y="253"/>
                    <a:pt x="137" y="253"/>
                  </a:cubicBezTo>
                  <a:cubicBezTo>
                    <a:pt x="136" y="253"/>
                    <a:pt x="136" y="253"/>
                    <a:pt x="136" y="253"/>
                  </a:cubicBezTo>
                  <a:cubicBezTo>
                    <a:pt x="134" y="254"/>
                    <a:pt x="134" y="254"/>
                    <a:pt x="134" y="254"/>
                  </a:cubicBezTo>
                  <a:cubicBezTo>
                    <a:pt x="132" y="257"/>
                    <a:pt x="132" y="257"/>
                    <a:pt x="132" y="257"/>
                  </a:cubicBezTo>
                  <a:cubicBezTo>
                    <a:pt x="132" y="262"/>
                    <a:pt x="132" y="262"/>
                    <a:pt x="132" y="262"/>
                  </a:cubicBezTo>
                  <a:cubicBezTo>
                    <a:pt x="131" y="268"/>
                    <a:pt x="131" y="268"/>
                    <a:pt x="131" y="268"/>
                  </a:cubicBezTo>
                  <a:cubicBezTo>
                    <a:pt x="128" y="269"/>
                    <a:pt x="128" y="269"/>
                    <a:pt x="128" y="269"/>
                  </a:cubicBezTo>
                  <a:cubicBezTo>
                    <a:pt x="119" y="271"/>
                    <a:pt x="119" y="271"/>
                    <a:pt x="119" y="271"/>
                  </a:cubicBezTo>
                  <a:cubicBezTo>
                    <a:pt x="114" y="270"/>
                    <a:pt x="114" y="270"/>
                    <a:pt x="114" y="270"/>
                  </a:cubicBezTo>
                  <a:cubicBezTo>
                    <a:pt x="108" y="272"/>
                    <a:pt x="108" y="272"/>
                    <a:pt x="108" y="272"/>
                  </a:cubicBezTo>
                  <a:cubicBezTo>
                    <a:pt x="108" y="272"/>
                    <a:pt x="101" y="272"/>
                    <a:pt x="101" y="272"/>
                  </a:cubicBezTo>
                  <a:cubicBezTo>
                    <a:pt x="100" y="272"/>
                    <a:pt x="98" y="272"/>
                    <a:pt x="98" y="272"/>
                  </a:cubicBezTo>
                  <a:cubicBezTo>
                    <a:pt x="95" y="270"/>
                    <a:pt x="95" y="270"/>
                    <a:pt x="95" y="270"/>
                  </a:cubicBezTo>
                  <a:cubicBezTo>
                    <a:pt x="92" y="271"/>
                    <a:pt x="92" y="271"/>
                    <a:pt x="92" y="271"/>
                  </a:cubicBezTo>
                  <a:cubicBezTo>
                    <a:pt x="88" y="271"/>
                    <a:pt x="88" y="271"/>
                    <a:pt x="88" y="271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79" y="269"/>
                    <a:pt x="79" y="269"/>
                    <a:pt x="79" y="269"/>
                  </a:cubicBezTo>
                  <a:cubicBezTo>
                    <a:pt x="76" y="267"/>
                    <a:pt x="76" y="267"/>
                    <a:pt x="76" y="267"/>
                  </a:cubicBezTo>
                  <a:cubicBezTo>
                    <a:pt x="71" y="267"/>
                    <a:pt x="71" y="267"/>
                    <a:pt x="71" y="267"/>
                  </a:cubicBezTo>
                  <a:cubicBezTo>
                    <a:pt x="68" y="267"/>
                    <a:pt x="68" y="267"/>
                    <a:pt x="68" y="267"/>
                  </a:cubicBezTo>
                  <a:cubicBezTo>
                    <a:pt x="59" y="261"/>
                    <a:pt x="59" y="261"/>
                    <a:pt x="59" y="261"/>
                  </a:cubicBezTo>
                  <a:cubicBezTo>
                    <a:pt x="40" y="261"/>
                    <a:pt x="40" y="261"/>
                    <a:pt x="40" y="261"/>
                  </a:cubicBezTo>
                  <a:cubicBezTo>
                    <a:pt x="36" y="259"/>
                    <a:pt x="36" y="259"/>
                    <a:pt x="36" y="259"/>
                  </a:cubicBezTo>
                  <a:cubicBezTo>
                    <a:pt x="26" y="258"/>
                    <a:pt x="26" y="258"/>
                    <a:pt x="26" y="258"/>
                  </a:cubicBezTo>
                  <a:cubicBezTo>
                    <a:pt x="20" y="255"/>
                    <a:pt x="20" y="255"/>
                    <a:pt x="20" y="255"/>
                  </a:cubicBezTo>
                  <a:cubicBezTo>
                    <a:pt x="13" y="246"/>
                    <a:pt x="13" y="246"/>
                    <a:pt x="13" y="246"/>
                  </a:cubicBezTo>
                  <a:cubicBezTo>
                    <a:pt x="10" y="242"/>
                    <a:pt x="10" y="242"/>
                    <a:pt x="10" y="242"/>
                  </a:cubicBezTo>
                  <a:lnTo>
                    <a:pt x="8" y="24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4921681" y="2887469"/>
              <a:ext cx="873643" cy="945098"/>
            </a:xfrm>
            <a:custGeom>
              <a:avLst/>
              <a:gdLst>
                <a:gd name="T0" fmla="*/ 343 w 468"/>
                <a:gd name="T1" fmla="*/ 198 h 506"/>
                <a:gd name="T2" fmla="*/ 344 w 468"/>
                <a:gd name="T3" fmla="*/ 226 h 506"/>
                <a:gd name="T4" fmla="*/ 316 w 468"/>
                <a:gd name="T5" fmla="*/ 233 h 506"/>
                <a:gd name="T6" fmla="*/ 297 w 468"/>
                <a:gd name="T7" fmla="*/ 215 h 506"/>
                <a:gd name="T8" fmla="*/ 282 w 468"/>
                <a:gd name="T9" fmla="*/ 217 h 506"/>
                <a:gd name="T10" fmla="*/ 267 w 468"/>
                <a:gd name="T11" fmla="*/ 202 h 506"/>
                <a:gd name="T12" fmla="*/ 257 w 468"/>
                <a:gd name="T13" fmla="*/ 175 h 506"/>
                <a:gd name="T14" fmla="*/ 260 w 468"/>
                <a:gd name="T15" fmla="*/ 165 h 506"/>
                <a:gd name="T16" fmla="*/ 268 w 468"/>
                <a:gd name="T17" fmla="*/ 152 h 506"/>
                <a:gd name="T18" fmla="*/ 300 w 468"/>
                <a:gd name="T19" fmla="*/ 149 h 506"/>
                <a:gd name="T20" fmla="*/ 308 w 468"/>
                <a:gd name="T21" fmla="*/ 128 h 506"/>
                <a:gd name="T22" fmla="*/ 289 w 468"/>
                <a:gd name="T23" fmla="*/ 108 h 506"/>
                <a:gd name="T24" fmla="*/ 272 w 468"/>
                <a:gd name="T25" fmla="*/ 75 h 506"/>
                <a:gd name="T26" fmla="*/ 251 w 468"/>
                <a:gd name="T27" fmla="*/ 57 h 506"/>
                <a:gd name="T28" fmla="*/ 234 w 468"/>
                <a:gd name="T29" fmla="*/ 35 h 506"/>
                <a:gd name="T30" fmla="*/ 219 w 468"/>
                <a:gd name="T31" fmla="*/ 21 h 506"/>
                <a:gd name="T32" fmla="*/ 212 w 468"/>
                <a:gd name="T33" fmla="*/ 29 h 506"/>
                <a:gd name="T34" fmla="*/ 219 w 468"/>
                <a:gd name="T35" fmla="*/ 40 h 506"/>
                <a:gd name="T36" fmla="*/ 216 w 468"/>
                <a:gd name="T37" fmla="*/ 49 h 506"/>
                <a:gd name="T38" fmla="*/ 211 w 468"/>
                <a:gd name="T39" fmla="*/ 59 h 506"/>
                <a:gd name="T40" fmla="*/ 197 w 468"/>
                <a:gd name="T41" fmla="*/ 75 h 506"/>
                <a:gd name="T42" fmla="*/ 192 w 468"/>
                <a:gd name="T43" fmla="*/ 87 h 506"/>
                <a:gd name="T44" fmla="*/ 171 w 468"/>
                <a:gd name="T45" fmla="*/ 71 h 506"/>
                <a:gd name="T46" fmla="*/ 160 w 468"/>
                <a:gd name="T47" fmla="*/ 85 h 506"/>
                <a:gd name="T48" fmla="*/ 161 w 468"/>
                <a:gd name="T49" fmla="*/ 62 h 506"/>
                <a:gd name="T50" fmla="*/ 149 w 468"/>
                <a:gd name="T51" fmla="*/ 48 h 506"/>
                <a:gd name="T52" fmla="*/ 136 w 468"/>
                <a:gd name="T53" fmla="*/ 47 h 506"/>
                <a:gd name="T54" fmla="*/ 138 w 468"/>
                <a:gd name="T55" fmla="*/ 26 h 506"/>
                <a:gd name="T56" fmla="*/ 127 w 468"/>
                <a:gd name="T57" fmla="*/ 21 h 506"/>
                <a:gd name="T58" fmla="*/ 101 w 468"/>
                <a:gd name="T59" fmla="*/ 18 h 506"/>
                <a:gd name="T60" fmla="*/ 75 w 468"/>
                <a:gd name="T61" fmla="*/ 3 h 506"/>
                <a:gd name="T62" fmla="*/ 47 w 468"/>
                <a:gd name="T63" fmla="*/ 14 h 506"/>
                <a:gd name="T64" fmla="*/ 5 w 468"/>
                <a:gd name="T65" fmla="*/ 17 h 506"/>
                <a:gd name="T66" fmla="*/ 7 w 468"/>
                <a:gd name="T67" fmla="*/ 41 h 506"/>
                <a:gd name="T68" fmla="*/ 18 w 468"/>
                <a:gd name="T69" fmla="*/ 70 h 506"/>
                <a:gd name="T70" fmla="*/ 35 w 468"/>
                <a:gd name="T71" fmla="*/ 105 h 506"/>
                <a:gd name="T72" fmla="*/ 47 w 468"/>
                <a:gd name="T73" fmla="*/ 139 h 506"/>
                <a:gd name="T74" fmla="*/ 84 w 468"/>
                <a:gd name="T75" fmla="*/ 203 h 506"/>
                <a:gd name="T76" fmla="*/ 53 w 468"/>
                <a:gd name="T77" fmla="*/ 260 h 506"/>
                <a:gd name="T78" fmla="*/ 76 w 468"/>
                <a:gd name="T79" fmla="*/ 297 h 506"/>
                <a:gd name="T80" fmla="*/ 91 w 468"/>
                <a:gd name="T81" fmla="*/ 341 h 506"/>
                <a:gd name="T82" fmla="*/ 87 w 468"/>
                <a:gd name="T83" fmla="*/ 348 h 506"/>
                <a:gd name="T84" fmla="*/ 123 w 468"/>
                <a:gd name="T85" fmla="*/ 481 h 506"/>
                <a:gd name="T86" fmla="*/ 185 w 468"/>
                <a:gd name="T87" fmla="*/ 502 h 506"/>
                <a:gd name="T88" fmla="*/ 245 w 468"/>
                <a:gd name="T89" fmla="*/ 494 h 506"/>
                <a:gd name="T90" fmla="*/ 298 w 468"/>
                <a:gd name="T91" fmla="*/ 480 h 506"/>
                <a:gd name="T92" fmla="*/ 320 w 468"/>
                <a:gd name="T93" fmla="*/ 398 h 506"/>
                <a:gd name="T94" fmla="*/ 360 w 468"/>
                <a:gd name="T95" fmla="*/ 353 h 506"/>
                <a:gd name="T96" fmla="*/ 391 w 468"/>
                <a:gd name="T97" fmla="*/ 321 h 506"/>
                <a:gd name="T98" fmla="*/ 381 w 468"/>
                <a:gd name="T99" fmla="*/ 302 h 506"/>
                <a:gd name="T100" fmla="*/ 309 w 468"/>
                <a:gd name="T101" fmla="*/ 378 h 506"/>
                <a:gd name="T102" fmla="*/ 294 w 468"/>
                <a:gd name="T103" fmla="*/ 397 h 506"/>
                <a:gd name="T104" fmla="*/ 274 w 468"/>
                <a:gd name="T105" fmla="*/ 378 h 506"/>
                <a:gd name="T106" fmla="*/ 305 w 468"/>
                <a:gd name="T107" fmla="*/ 353 h 506"/>
                <a:gd name="T108" fmla="*/ 325 w 468"/>
                <a:gd name="T109" fmla="*/ 313 h 506"/>
                <a:gd name="T110" fmla="*/ 351 w 468"/>
                <a:gd name="T111" fmla="*/ 277 h 506"/>
                <a:gd name="T112" fmla="*/ 407 w 468"/>
                <a:gd name="T113" fmla="*/ 246 h 506"/>
                <a:gd name="T114" fmla="*/ 447 w 468"/>
                <a:gd name="T115" fmla="*/ 208 h 506"/>
                <a:gd name="T116" fmla="*/ 457 w 468"/>
                <a:gd name="T117" fmla="*/ 169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506">
                  <a:moveTo>
                    <a:pt x="459" y="149"/>
                  </a:moveTo>
                  <a:cubicBezTo>
                    <a:pt x="361" y="210"/>
                    <a:pt x="361" y="210"/>
                    <a:pt x="361" y="210"/>
                  </a:cubicBezTo>
                  <a:cubicBezTo>
                    <a:pt x="352" y="216"/>
                    <a:pt x="352" y="216"/>
                    <a:pt x="352" y="216"/>
                  </a:cubicBezTo>
                  <a:cubicBezTo>
                    <a:pt x="348" y="210"/>
                    <a:pt x="348" y="210"/>
                    <a:pt x="348" y="210"/>
                  </a:cubicBezTo>
                  <a:cubicBezTo>
                    <a:pt x="346" y="209"/>
                    <a:pt x="346" y="209"/>
                    <a:pt x="346" y="209"/>
                  </a:cubicBezTo>
                  <a:cubicBezTo>
                    <a:pt x="342" y="207"/>
                    <a:pt x="342" y="207"/>
                    <a:pt x="342" y="207"/>
                  </a:cubicBezTo>
                  <a:cubicBezTo>
                    <a:pt x="342" y="205"/>
                    <a:pt x="342" y="205"/>
                    <a:pt x="342" y="205"/>
                  </a:cubicBezTo>
                  <a:cubicBezTo>
                    <a:pt x="343" y="203"/>
                    <a:pt x="343" y="203"/>
                    <a:pt x="343" y="203"/>
                  </a:cubicBezTo>
                  <a:cubicBezTo>
                    <a:pt x="343" y="198"/>
                    <a:pt x="343" y="198"/>
                    <a:pt x="343" y="198"/>
                  </a:cubicBezTo>
                  <a:cubicBezTo>
                    <a:pt x="344" y="198"/>
                    <a:pt x="344" y="198"/>
                    <a:pt x="344" y="198"/>
                  </a:cubicBezTo>
                  <a:cubicBezTo>
                    <a:pt x="343" y="196"/>
                    <a:pt x="343" y="196"/>
                    <a:pt x="343" y="196"/>
                  </a:cubicBezTo>
                  <a:cubicBezTo>
                    <a:pt x="334" y="196"/>
                    <a:pt x="334" y="196"/>
                    <a:pt x="334" y="196"/>
                  </a:cubicBezTo>
                  <a:cubicBezTo>
                    <a:pt x="335" y="202"/>
                    <a:pt x="335" y="202"/>
                    <a:pt x="335" y="202"/>
                  </a:cubicBezTo>
                  <a:cubicBezTo>
                    <a:pt x="339" y="207"/>
                    <a:pt x="339" y="207"/>
                    <a:pt x="339" y="207"/>
                  </a:cubicBezTo>
                  <a:cubicBezTo>
                    <a:pt x="340" y="212"/>
                    <a:pt x="340" y="212"/>
                    <a:pt x="340" y="212"/>
                  </a:cubicBezTo>
                  <a:cubicBezTo>
                    <a:pt x="341" y="216"/>
                    <a:pt x="341" y="216"/>
                    <a:pt x="341" y="216"/>
                  </a:cubicBezTo>
                  <a:cubicBezTo>
                    <a:pt x="342" y="223"/>
                    <a:pt x="342" y="223"/>
                    <a:pt x="342" y="223"/>
                  </a:cubicBezTo>
                  <a:cubicBezTo>
                    <a:pt x="344" y="226"/>
                    <a:pt x="344" y="226"/>
                    <a:pt x="344" y="226"/>
                  </a:cubicBezTo>
                  <a:cubicBezTo>
                    <a:pt x="348" y="229"/>
                    <a:pt x="348" y="229"/>
                    <a:pt x="348" y="229"/>
                  </a:cubicBezTo>
                  <a:cubicBezTo>
                    <a:pt x="346" y="231"/>
                    <a:pt x="346" y="231"/>
                    <a:pt x="346" y="231"/>
                  </a:cubicBezTo>
                  <a:cubicBezTo>
                    <a:pt x="343" y="234"/>
                    <a:pt x="343" y="234"/>
                    <a:pt x="343" y="234"/>
                  </a:cubicBezTo>
                  <a:cubicBezTo>
                    <a:pt x="340" y="231"/>
                    <a:pt x="340" y="231"/>
                    <a:pt x="340" y="231"/>
                  </a:cubicBezTo>
                  <a:cubicBezTo>
                    <a:pt x="336" y="228"/>
                    <a:pt x="336" y="228"/>
                    <a:pt x="336" y="228"/>
                  </a:cubicBezTo>
                  <a:cubicBezTo>
                    <a:pt x="333" y="226"/>
                    <a:pt x="333" y="226"/>
                    <a:pt x="333" y="226"/>
                  </a:cubicBezTo>
                  <a:cubicBezTo>
                    <a:pt x="323" y="226"/>
                    <a:pt x="323" y="226"/>
                    <a:pt x="323" y="226"/>
                  </a:cubicBezTo>
                  <a:cubicBezTo>
                    <a:pt x="320" y="231"/>
                    <a:pt x="320" y="231"/>
                    <a:pt x="320" y="231"/>
                  </a:cubicBezTo>
                  <a:cubicBezTo>
                    <a:pt x="316" y="233"/>
                    <a:pt x="316" y="233"/>
                    <a:pt x="316" y="233"/>
                  </a:cubicBezTo>
                  <a:cubicBezTo>
                    <a:pt x="315" y="234"/>
                    <a:pt x="315" y="234"/>
                    <a:pt x="315" y="234"/>
                  </a:cubicBezTo>
                  <a:cubicBezTo>
                    <a:pt x="312" y="235"/>
                    <a:pt x="312" y="235"/>
                    <a:pt x="312" y="235"/>
                  </a:cubicBezTo>
                  <a:cubicBezTo>
                    <a:pt x="311" y="234"/>
                    <a:pt x="311" y="234"/>
                    <a:pt x="311" y="234"/>
                  </a:cubicBezTo>
                  <a:cubicBezTo>
                    <a:pt x="307" y="232"/>
                    <a:pt x="307" y="232"/>
                    <a:pt x="307" y="232"/>
                  </a:cubicBezTo>
                  <a:cubicBezTo>
                    <a:pt x="303" y="230"/>
                    <a:pt x="303" y="230"/>
                    <a:pt x="303" y="230"/>
                  </a:cubicBezTo>
                  <a:cubicBezTo>
                    <a:pt x="302" y="227"/>
                    <a:pt x="302" y="227"/>
                    <a:pt x="302" y="227"/>
                  </a:cubicBezTo>
                  <a:cubicBezTo>
                    <a:pt x="301" y="223"/>
                    <a:pt x="301" y="223"/>
                    <a:pt x="301" y="223"/>
                  </a:cubicBezTo>
                  <a:cubicBezTo>
                    <a:pt x="299" y="219"/>
                    <a:pt x="299" y="219"/>
                    <a:pt x="299" y="219"/>
                  </a:cubicBezTo>
                  <a:cubicBezTo>
                    <a:pt x="297" y="215"/>
                    <a:pt x="297" y="215"/>
                    <a:pt x="297" y="215"/>
                  </a:cubicBezTo>
                  <a:cubicBezTo>
                    <a:pt x="293" y="210"/>
                    <a:pt x="293" y="210"/>
                    <a:pt x="293" y="210"/>
                  </a:cubicBezTo>
                  <a:cubicBezTo>
                    <a:pt x="291" y="213"/>
                    <a:pt x="291" y="213"/>
                    <a:pt x="291" y="213"/>
                  </a:cubicBezTo>
                  <a:cubicBezTo>
                    <a:pt x="290" y="216"/>
                    <a:pt x="290" y="216"/>
                    <a:pt x="290" y="216"/>
                  </a:cubicBezTo>
                  <a:cubicBezTo>
                    <a:pt x="291" y="217"/>
                    <a:pt x="291" y="217"/>
                    <a:pt x="291" y="217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287" y="223"/>
                    <a:pt x="287" y="223"/>
                    <a:pt x="287" y="223"/>
                  </a:cubicBezTo>
                  <a:cubicBezTo>
                    <a:pt x="284" y="221"/>
                    <a:pt x="284" y="221"/>
                    <a:pt x="284" y="221"/>
                  </a:cubicBezTo>
                  <a:cubicBezTo>
                    <a:pt x="282" y="217"/>
                    <a:pt x="282" y="217"/>
                    <a:pt x="282" y="217"/>
                  </a:cubicBezTo>
                  <a:cubicBezTo>
                    <a:pt x="280" y="214"/>
                    <a:pt x="280" y="214"/>
                    <a:pt x="280" y="214"/>
                  </a:cubicBezTo>
                  <a:cubicBezTo>
                    <a:pt x="279" y="212"/>
                    <a:pt x="279" y="212"/>
                    <a:pt x="279" y="212"/>
                  </a:cubicBezTo>
                  <a:cubicBezTo>
                    <a:pt x="280" y="210"/>
                    <a:pt x="280" y="210"/>
                    <a:pt x="280" y="210"/>
                  </a:cubicBezTo>
                  <a:cubicBezTo>
                    <a:pt x="280" y="207"/>
                    <a:pt x="280" y="207"/>
                    <a:pt x="280" y="207"/>
                  </a:cubicBezTo>
                  <a:cubicBezTo>
                    <a:pt x="280" y="205"/>
                    <a:pt x="280" y="205"/>
                    <a:pt x="280" y="205"/>
                  </a:cubicBezTo>
                  <a:cubicBezTo>
                    <a:pt x="278" y="205"/>
                    <a:pt x="278" y="205"/>
                    <a:pt x="278" y="205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3" y="204"/>
                    <a:pt x="273" y="204"/>
                    <a:pt x="273" y="204"/>
                  </a:cubicBezTo>
                  <a:cubicBezTo>
                    <a:pt x="267" y="202"/>
                    <a:pt x="267" y="202"/>
                    <a:pt x="267" y="202"/>
                  </a:cubicBezTo>
                  <a:cubicBezTo>
                    <a:pt x="263" y="197"/>
                    <a:pt x="263" y="197"/>
                    <a:pt x="263" y="197"/>
                  </a:cubicBezTo>
                  <a:cubicBezTo>
                    <a:pt x="262" y="196"/>
                    <a:pt x="262" y="196"/>
                    <a:pt x="262" y="196"/>
                  </a:cubicBezTo>
                  <a:cubicBezTo>
                    <a:pt x="261" y="193"/>
                    <a:pt x="261" y="193"/>
                    <a:pt x="261" y="193"/>
                  </a:cubicBezTo>
                  <a:cubicBezTo>
                    <a:pt x="261" y="189"/>
                    <a:pt x="261" y="189"/>
                    <a:pt x="261" y="189"/>
                  </a:cubicBezTo>
                  <a:cubicBezTo>
                    <a:pt x="260" y="186"/>
                    <a:pt x="260" y="186"/>
                    <a:pt x="260" y="186"/>
                  </a:cubicBezTo>
                  <a:cubicBezTo>
                    <a:pt x="260" y="182"/>
                    <a:pt x="260" y="182"/>
                    <a:pt x="260" y="182"/>
                  </a:cubicBezTo>
                  <a:cubicBezTo>
                    <a:pt x="260" y="179"/>
                    <a:pt x="260" y="179"/>
                    <a:pt x="260" y="179"/>
                  </a:cubicBezTo>
                  <a:cubicBezTo>
                    <a:pt x="259" y="177"/>
                    <a:pt x="259" y="177"/>
                    <a:pt x="259" y="177"/>
                  </a:cubicBezTo>
                  <a:cubicBezTo>
                    <a:pt x="257" y="175"/>
                    <a:pt x="257" y="175"/>
                    <a:pt x="257" y="175"/>
                  </a:cubicBezTo>
                  <a:cubicBezTo>
                    <a:pt x="255" y="173"/>
                    <a:pt x="255" y="173"/>
                    <a:pt x="255" y="173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5"/>
                    <a:pt x="251" y="165"/>
                    <a:pt x="251" y="165"/>
                  </a:cubicBezTo>
                  <a:cubicBezTo>
                    <a:pt x="252" y="165"/>
                    <a:pt x="252" y="165"/>
                    <a:pt x="252" y="165"/>
                  </a:cubicBezTo>
                  <a:cubicBezTo>
                    <a:pt x="254" y="163"/>
                    <a:pt x="254" y="163"/>
                    <a:pt x="254" y="163"/>
                  </a:cubicBezTo>
                  <a:cubicBezTo>
                    <a:pt x="256" y="165"/>
                    <a:pt x="256" y="165"/>
                    <a:pt x="256" y="165"/>
                  </a:cubicBezTo>
                  <a:cubicBezTo>
                    <a:pt x="257" y="167"/>
                    <a:pt x="257" y="167"/>
                    <a:pt x="257" y="167"/>
                  </a:cubicBezTo>
                  <a:cubicBezTo>
                    <a:pt x="259" y="168"/>
                    <a:pt x="259" y="168"/>
                    <a:pt x="259" y="168"/>
                  </a:cubicBezTo>
                  <a:cubicBezTo>
                    <a:pt x="260" y="165"/>
                    <a:pt x="260" y="165"/>
                    <a:pt x="260" y="165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58" y="161"/>
                    <a:pt x="258" y="161"/>
                    <a:pt x="258" y="161"/>
                  </a:cubicBezTo>
                  <a:cubicBezTo>
                    <a:pt x="257" y="156"/>
                    <a:pt x="257" y="156"/>
                    <a:pt x="257" y="156"/>
                  </a:cubicBezTo>
                  <a:cubicBezTo>
                    <a:pt x="258" y="153"/>
                    <a:pt x="258" y="153"/>
                    <a:pt x="258" y="153"/>
                  </a:cubicBezTo>
                  <a:cubicBezTo>
                    <a:pt x="260" y="151"/>
                    <a:pt x="260" y="151"/>
                    <a:pt x="260" y="151"/>
                  </a:cubicBezTo>
                  <a:cubicBezTo>
                    <a:pt x="262" y="150"/>
                    <a:pt x="262" y="150"/>
                    <a:pt x="262" y="150"/>
                  </a:cubicBezTo>
                  <a:cubicBezTo>
                    <a:pt x="264" y="150"/>
                    <a:pt x="264" y="150"/>
                    <a:pt x="264" y="150"/>
                  </a:cubicBezTo>
                  <a:cubicBezTo>
                    <a:pt x="266" y="151"/>
                    <a:pt x="266" y="151"/>
                    <a:pt x="266" y="151"/>
                  </a:cubicBezTo>
                  <a:cubicBezTo>
                    <a:pt x="268" y="152"/>
                    <a:pt x="268" y="152"/>
                    <a:pt x="268" y="152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73" y="155"/>
                    <a:pt x="273" y="155"/>
                    <a:pt x="273" y="155"/>
                  </a:cubicBezTo>
                  <a:cubicBezTo>
                    <a:pt x="275" y="155"/>
                    <a:pt x="275" y="155"/>
                    <a:pt x="275" y="155"/>
                  </a:cubicBezTo>
                  <a:cubicBezTo>
                    <a:pt x="277" y="156"/>
                    <a:pt x="277" y="156"/>
                    <a:pt x="277" y="156"/>
                  </a:cubicBezTo>
                  <a:cubicBezTo>
                    <a:pt x="288" y="156"/>
                    <a:pt x="288" y="156"/>
                    <a:pt x="288" y="156"/>
                  </a:cubicBezTo>
                  <a:cubicBezTo>
                    <a:pt x="291" y="155"/>
                    <a:pt x="291" y="155"/>
                    <a:pt x="291" y="155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297" y="151"/>
                    <a:pt x="297" y="151"/>
                    <a:pt x="297" y="151"/>
                  </a:cubicBezTo>
                  <a:cubicBezTo>
                    <a:pt x="300" y="149"/>
                    <a:pt x="300" y="149"/>
                    <a:pt x="300" y="149"/>
                  </a:cubicBezTo>
                  <a:cubicBezTo>
                    <a:pt x="303" y="147"/>
                    <a:pt x="303" y="147"/>
                    <a:pt x="303" y="147"/>
                  </a:cubicBezTo>
                  <a:cubicBezTo>
                    <a:pt x="304" y="147"/>
                    <a:pt x="304" y="147"/>
                    <a:pt x="304" y="147"/>
                  </a:cubicBezTo>
                  <a:cubicBezTo>
                    <a:pt x="308" y="147"/>
                    <a:pt x="308" y="147"/>
                    <a:pt x="308" y="147"/>
                  </a:cubicBezTo>
                  <a:cubicBezTo>
                    <a:pt x="311" y="147"/>
                    <a:pt x="311" y="147"/>
                    <a:pt x="311" y="147"/>
                  </a:cubicBezTo>
                  <a:cubicBezTo>
                    <a:pt x="313" y="146"/>
                    <a:pt x="313" y="146"/>
                    <a:pt x="313" y="146"/>
                  </a:cubicBezTo>
                  <a:cubicBezTo>
                    <a:pt x="313" y="144"/>
                    <a:pt x="313" y="144"/>
                    <a:pt x="313" y="144"/>
                  </a:cubicBezTo>
                  <a:cubicBezTo>
                    <a:pt x="313" y="134"/>
                    <a:pt x="313" y="134"/>
                    <a:pt x="313" y="134"/>
                  </a:cubicBezTo>
                  <a:cubicBezTo>
                    <a:pt x="310" y="130"/>
                    <a:pt x="310" y="130"/>
                    <a:pt x="310" y="130"/>
                  </a:cubicBezTo>
                  <a:cubicBezTo>
                    <a:pt x="308" y="128"/>
                    <a:pt x="308" y="128"/>
                    <a:pt x="308" y="128"/>
                  </a:cubicBezTo>
                  <a:cubicBezTo>
                    <a:pt x="309" y="124"/>
                    <a:pt x="309" y="124"/>
                    <a:pt x="309" y="124"/>
                  </a:cubicBezTo>
                  <a:cubicBezTo>
                    <a:pt x="309" y="124"/>
                    <a:pt x="309" y="124"/>
                    <a:pt x="309" y="124"/>
                  </a:cubicBezTo>
                  <a:cubicBezTo>
                    <a:pt x="310" y="119"/>
                    <a:pt x="310" y="119"/>
                    <a:pt x="310" y="119"/>
                  </a:cubicBezTo>
                  <a:cubicBezTo>
                    <a:pt x="307" y="117"/>
                    <a:pt x="307" y="117"/>
                    <a:pt x="307" y="117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2" y="115"/>
                    <a:pt x="302" y="115"/>
                    <a:pt x="302" y="115"/>
                  </a:cubicBezTo>
                  <a:cubicBezTo>
                    <a:pt x="299" y="114"/>
                    <a:pt x="299" y="114"/>
                    <a:pt x="299" y="114"/>
                  </a:cubicBezTo>
                  <a:cubicBezTo>
                    <a:pt x="292" y="109"/>
                    <a:pt x="292" y="109"/>
                    <a:pt x="292" y="109"/>
                  </a:cubicBezTo>
                  <a:cubicBezTo>
                    <a:pt x="289" y="108"/>
                    <a:pt x="289" y="108"/>
                    <a:pt x="289" y="108"/>
                  </a:cubicBezTo>
                  <a:cubicBezTo>
                    <a:pt x="287" y="105"/>
                    <a:pt x="287" y="105"/>
                    <a:pt x="287" y="105"/>
                  </a:cubicBezTo>
                  <a:cubicBezTo>
                    <a:pt x="282" y="102"/>
                    <a:pt x="282" y="102"/>
                    <a:pt x="282" y="102"/>
                  </a:cubicBezTo>
                  <a:cubicBezTo>
                    <a:pt x="280" y="100"/>
                    <a:pt x="280" y="100"/>
                    <a:pt x="280" y="100"/>
                  </a:cubicBezTo>
                  <a:cubicBezTo>
                    <a:pt x="278" y="98"/>
                    <a:pt x="278" y="98"/>
                    <a:pt x="278" y="98"/>
                  </a:cubicBezTo>
                  <a:cubicBezTo>
                    <a:pt x="276" y="96"/>
                    <a:pt x="276" y="96"/>
                    <a:pt x="276" y="96"/>
                  </a:cubicBezTo>
                  <a:cubicBezTo>
                    <a:pt x="275" y="93"/>
                    <a:pt x="275" y="93"/>
                    <a:pt x="275" y="93"/>
                  </a:cubicBezTo>
                  <a:cubicBezTo>
                    <a:pt x="275" y="81"/>
                    <a:pt x="275" y="81"/>
                    <a:pt x="275" y="81"/>
                  </a:cubicBezTo>
                  <a:cubicBezTo>
                    <a:pt x="275" y="78"/>
                    <a:pt x="275" y="78"/>
                    <a:pt x="275" y="78"/>
                  </a:cubicBezTo>
                  <a:cubicBezTo>
                    <a:pt x="272" y="75"/>
                    <a:pt x="272" y="75"/>
                    <a:pt x="272" y="75"/>
                  </a:cubicBezTo>
                  <a:cubicBezTo>
                    <a:pt x="270" y="72"/>
                    <a:pt x="270" y="72"/>
                    <a:pt x="270" y="72"/>
                  </a:cubicBezTo>
                  <a:cubicBezTo>
                    <a:pt x="268" y="70"/>
                    <a:pt x="268" y="70"/>
                    <a:pt x="268" y="70"/>
                  </a:cubicBezTo>
                  <a:cubicBezTo>
                    <a:pt x="266" y="69"/>
                    <a:pt x="266" y="69"/>
                    <a:pt x="266" y="69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56" y="68"/>
                    <a:pt x="256" y="68"/>
                    <a:pt x="256" y="68"/>
                  </a:cubicBezTo>
                  <a:cubicBezTo>
                    <a:pt x="255" y="66"/>
                    <a:pt x="255" y="66"/>
                    <a:pt x="255" y="66"/>
                  </a:cubicBezTo>
                  <a:cubicBezTo>
                    <a:pt x="254" y="63"/>
                    <a:pt x="254" y="63"/>
                    <a:pt x="254" y="63"/>
                  </a:cubicBezTo>
                  <a:cubicBezTo>
                    <a:pt x="253" y="60"/>
                    <a:pt x="253" y="60"/>
                    <a:pt x="253" y="60"/>
                  </a:cubicBezTo>
                  <a:cubicBezTo>
                    <a:pt x="251" y="57"/>
                    <a:pt x="251" y="57"/>
                    <a:pt x="251" y="57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49" y="47"/>
                    <a:pt x="249" y="47"/>
                    <a:pt x="249" y="47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46" y="41"/>
                    <a:pt x="246" y="41"/>
                    <a:pt x="246" y="41"/>
                  </a:cubicBezTo>
                  <a:cubicBezTo>
                    <a:pt x="244" y="39"/>
                    <a:pt x="244" y="39"/>
                    <a:pt x="244" y="39"/>
                  </a:cubicBezTo>
                  <a:cubicBezTo>
                    <a:pt x="242" y="37"/>
                    <a:pt x="242" y="37"/>
                    <a:pt x="242" y="37"/>
                  </a:cubicBezTo>
                  <a:cubicBezTo>
                    <a:pt x="241" y="36"/>
                    <a:pt x="241" y="36"/>
                    <a:pt x="241" y="36"/>
                  </a:cubicBezTo>
                  <a:cubicBezTo>
                    <a:pt x="237" y="35"/>
                    <a:pt x="237" y="35"/>
                    <a:pt x="237" y="35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2" y="36"/>
                    <a:pt x="232" y="36"/>
                    <a:pt x="232" y="36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4"/>
                    <a:pt x="227" y="24"/>
                    <a:pt x="227" y="24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20" y="23"/>
                    <a:pt x="220" y="23"/>
                    <a:pt x="220" y="23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9" y="19"/>
                    <a:pt x="219" y="19"/>
                    <a:pt x="219" y="19"/>
                  </a:cubicBezTo>
                  <a:cubicBezTo>
                    <a:pt x="218" y="17"/>
                    <a:pt x="218" y="17"/>
                    <a:pt x="218" y="17"/>
                  </a:cubicBezTo>
                  <a:cubicBezTo>
                    <a:pt x="214" y="10"/>
                    <a:pt x="214" y="10"/>
                    <a:pt x="214" y="10"/>
                  </a:cubicBezTo>
                  <a:cubicBezTo>
                    <a:pt x="213" y="8"/>
                    <a:pt x="213" y="8"/>
                    <a:pt x="213" y="8"/>
                  </a:cubicBezTo>
                  <a:cubicBezTo>
                    <a:pt x="211" y="6"/>
                    <a:pt x="211" y="6"/>
                    <a:pt x="211" y="6"/>
                  </a:cubicBezTo>
                  <a:cubicBezTo>
                    <a:pt x="209" y="5"/>
                    <a:pt x="209" y="5"/>
                    <a:pt x="209" y="5"/>
                  </a:cubicBezTo>
                  <a:cubicBezTo>
                    <a:pt x="209" y="26"/>
                    <a:pt x="209" y="26"/>
                    <a:pt x="209" y="26"/>
                  </a:cubicBezTo>
                  <a:cubicBezTo>
                    <a:pt x="210" y="28"/>
                    <a:pt x="210" y="28"/>
                    <a:pt x="210" y="28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13" y="30"/>
                    <a:pt x="213" y="30"/>
                    <a:pt x="213" y="30"/>
                  </a:cubicBezTo>
                  <a:cubicBezTo>
                    <a:pt x="217" y="29"/>
                    <a:pt x="217" y="29"/>
                    <a:pt x="217" y="29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15" y="35"/>
                    <a:pt x="215" y="35"/>
                    <a:pt x="215" y="35"/>
                  </a:cubicBezTo>
                  <a:cubicBezTo>
                    <a:pt x="215" y="36"/>
                    <a:pt x="215" y="36"/>
                    <a:pt x="215" y="36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19" y="40"/>
                    <a:pt x="219" y="40"/>
                    <a:pt x="219" y="40"/>
                  </a:cubicBezTo>
                  <a:cubicBezTo>
                    <a:pt x="219" y="41"/>
                    <a:pt x="219" y="41"/>
                    <a:pt x="219" y="41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3"/>
                    <a:pt x="219" y="43"/>
                    <a:pt x="219" y="43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217" y="46"/>
                    <a:pt x="217" y="46"/>
                    <a:pt x="217" y="46"/>
                  </a:cubicBezTo>
                  <a:cubicBezTo>
                    <a:pt x="216" y="47"/>
                    <a:pt x="216" y="47"/>
                    <a:pt x="216" y="47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6" y="49"/>
                    <a:pt x="216" y="49"/>
                    <a:pt x="216" y="49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17" y="51"/>
                    <a:pt x="217" y="51"/>
                    <a:pt x="217" y="51"/>
                  </a:cubicBezTo>
                  <a:cubicBezTo>
                    <a:pt x="218" y="52"/>
                    <a:pt x="218" y="52"/>
                    <a:pt x="218" y="52"/>
                  </a:cubicBezTo>
                  <a:cubicBezTo>
                    <a:pt x="218" y="54"/>
                    <a:pt x="218" y="54"/>
                    <a:pt x="218" y="54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6" y="56"/>
                    <a:pt x="216" y="56"/>
                    <a:pt x="216" y="56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213" y="58"/>
                    <a:pt x="213" y="58"/>
                    <a:pt x="213" y="58"/>
                  </a:cubicBezTo>
                  <a:cubicBezTo>
                    <a:pt x="211" y="59"/>
                    <a:pt x="211" y="59"/>
                    <a:pt x="211" y="59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09" y="68"/>
                    <a:pt x="209" y="68"/>
                    <a:pt x="209" y="68"/>
                  </a:cubicBezTo>
                  <a:cubicBezTo>
                    <a:pt x="205" y="69"/>
                    <a:pt x="205" y="69"/>
                    <a:pt x="205" y="69"/>
                  </a:cubicBezTo>
                  <a:cubicBezTo>
                    <a:pt x="204" y="71"/>
                    <a:pt x="204" y="71"/>
                    <a:pt x="204" y="71"/>
                  </a:cubicBezTo>
                  <a:cubicBezTo>
                    <a:pt x="204" y="82"/>
                    <a:pt x="204" y="82"/>
                    <a:pt x="204" y="82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199" y="79"/>
                    <a:pt x="199" y="79"/>
                    <a:pt x="199" y="79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6" y="75"/>
                    <a:pt x="196" y="75"/>
                    <a:pt x="196" y="75"/>
                  </a:cubicBezTo>
                  <a:cubicBezTo>
                    <a:pt x="192" y="73"/>
                    <a:pt x="192" y="73"/>
                    <a:pt x="192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0" y="74"/>
                    <a:pt x="190" y="74"/>
                    <a:pt x="190" y="74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1" y="80"/>
                    <a:pt x="191" y="80"/>
                    <a:pt x="191" y="80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89" y="87"/>
                    <a:pt x="189" y="87"/>
                    <a:pt x="189" y="87"/>
                  </a:cubicBezTo>
                  <a:cubicBezTo>
                    <a:pt x="187" y="85"/>
                    <a:pt x="187" y="85"/>
                    <a:pt x="187" y="85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5" y="74"/>
                    <a:pt x="185" y="74"/>
                    <a:pt x="185" y="74"/>
                  </a:cubicBezTo>
                  <a:cubicBezTo>
                    <a:pt x="184" y="72"/>
                    <a:pt x="184" y="72"/>
                    <a:pt x="184" y="72"/>
                  </a:cubicBezTo>
                  <a:cubicBezTo>
                    <a:pt x="182" y="70"/>
                    <a:pt x="182" y="70"/>
                    <a:pt x="182" y="70"/>
                  </a:cubicBezTo>
                  <a:cubicBezTo>
                    <a:pt x="177" y="70"/>
                    <a:pt x="177" y="70"/>
                    <a:pt x="177" y="70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69" y="73"/>
                    <a:pt x="169" y="73"/>
                    <a:pt x="169" y="73"/>
                  </a:cubicBezTo>
                  <a:cubicBezTo>
                    <a:pt x="168" y="75"/>
                    <a:pt x="168" y="75"/>
                    <a:pt x="168" y="75"/>
                  </a:cubicBezTo>
                  <a:cubicBezTo>
                    <a:pt x="166" y="78"/>
                    <a:pt x="166" y="78"/>
                    <a:pt x="166" y="78"/>
                  </a:cubicBezTo>
                  <a:cubicBezTo>
                    <a:pt x="165" y="85"/>
                    <a:pt x="165" y="85"/>
                    <a:pt x="165" y="85"/>
                  </a:cubicBezTo>
                  <a:cubicBezTo>
                    <a:pt x="165" y="85"/>
                    <a:pt x="165" y="86"/>
                    <a:pt x="164" y="86"/>
                  </a:cubicBezTo>
                  <a:cubicBezTo>
                    <a:pt x="163" y="86"/>
                    <a:pt x="164" y="86"/>
                    <a:pt x="164" y="86"/>
                  </a:cubicBezTo>
                  <a:cubicBezTo>
                    <a:pt x="163" y="86"/>
                    <a:pt x="163" y="86"/>
                    <a:pt x="163" y="86"/>
                  </a:cubicBezTo>
                  <a:cubicBezTo>
                    <a:pt x="161" y="86"/>
                    <a:pt x="161" y="86"/>
                    <a:pt x="161" y="86"/>
                  </a:cubicBezTo>
                  <a:cubicBezTo>
                    <a:pt x="160" y="85"/>
                    <a:pt x="160" y="85"/>
                    <a:pt x="160" y="85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8" y="80"/>
                    <a:pt x="158" y="80"/>
                    <a:pt x="158" y="80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76"/>
                    <a:pt x="160" y="76"/>
                    <a:pt x="160" y="76"/>
                  </a:cubicBezTo>
                  <a:cubicBezTo>
                    <a:pt x="163" y="73"/>
                    <a:pt x="163" y="73"/>
                    <a:pt x="163" y="73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1" y="62"/>
                    <a:pt x="161" y="62"/>
                    <a:pt x="161" y="62"/>
                  </a:cubicBezTo>
                  <a:cubicBezTo>
                    <a:pt x="159" y="64"/>
                    <a:pt x="159" y="64"/>
                    <a:pt x="159" y="6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7" y="65"/>
                    <a:pt x="157" y="65"/>
                    <a:pt x="157" y="65"/>
                  </a:cubicBezTo>
                  <a:cubicBezTo>
                    <a:pt x="155" y="64"/>
                    <a:pt x="155" y="64"/>
                    <a:pt x="155" y="64"/>
                  </a:cubicBezTo>
                  <a:cubicBezTo>
                    <a:pt x="154" y="63"/>
                    <a:pt x="154" y="63"/>
                    <a:pt x="154" y="63"/>
                  </a:cubicBezTo>
                  <a:cubicBezTo>
                    <a:pt x="153" y="61"/>
                    <a:pt x="153" y="61"/>
                    <a:pt x="153" y="61"/>
                  </a:cubicBezTo>
                  <a:cubicBezTo>
                    <a:pt x="153" y="52"/>
                    <a:pt x="153" y="52"/>
                    <a:pt x="153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9" y="48"/>
                    <a:pt x="149" y="48"/>
                    <a:pt x="149" y="48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40" y="50"/>
                    <a:pt x="140" y="50"/>
                    <a:pt x="140" y="50"/>
                  </a:cubicBezTo>
                  <a:cubicBezTo>
                    <a:pt x="137" y="51"/>
                    <a:pt x="137" y="51"/>
                    <a:pt x="137" y="51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6" y="47"/>
                    <a:pt x="136" y="47"/>
                    <a:pt x="136" y="47"/>
                  </a:cubicBezTo>
                  <a:cubicBezTo>
                    <a:pt x="138" y="46"/>
                    <a:pt x="138" y="46"/>
                    <a:pt x="138" y="46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3" y="43"/>
                    <a:pt x="143" y="43"/>
                    <a:pt x="143" y="43"/>
                  </a:cubicBezTo>
                  <a:cubicBezTo>
                    <a:pt x="145" y="40"/>
                    <a:pt x="145" y="40"/>
                    <a:pt x="145" y="40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1" y="35"/>
                    <a:pt x="141" y="35"/>
                    <a:pt x="141" y="35"/>
                  </a:cubicBezTo>
                  <a:cubicBezTo>
                    <a:pt x="138" y="32"/>
                    <a:pt x="138" y="32"/>
                    <a:pt x="138" y="32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39" y="18"/>
                    <a:pt x="139" y="18"/>
                    <a:pt x="139" y="18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27" y="21"/>
                    <a:pt x="127" y="21"/>
                    <a:pt x="127" y="21"/>
                  </a:cubicBezTo>
                  <a:cubicBezTo>
                    <a:pt x="127" y="21"/>
                    <a:pt x="127" y="21"/>
                    <a:pt x="127" y="21"/>
                  </a:cubicBezTo>
                  <a:cubicBezTo>
                    <a:pt x="125" y="19"/>
                    <a:pt x="125" y="19"/>
                    <a:pt x="125" y="19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21" y="19"/>
                    <a:pt x="121" y="19"/>
                    <a:pt x="121" y="19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2" y="134"/>
                    <a:pt x="32" y="134"/>
                    <a:pt x="32" y="134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47" y="139"/>
                    <a:pt x="47" y="139"/>
                    <a:pt x="47" y="139"/>
                  </a:cubicBezTo>
                  <a:cubicBezTo>
                    <a:pt x="55" y="143"/>
                    <a:pt x="55" y="143"/>
                    <a:pt x="55" y="143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66" y="153"/>
                    <a:pt x="66" y="153"/>
                    <a:pt x="66" y="153"/>
                  </a:cubicBezTo>
                  <a:cubicBezTo>
                    <a:pt x="72" y="160"/>
                    <a:pt x="72" y="160"/>
                    <a:pt x="72" y="16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4" y="194"/>
                    <a:pt x="84" y="194"/>
                    <a:pt x="84" y="194"/>
                  </a:cubicBezTo>
                  <a:cubicBezTo>
                    <a:pt x="84" y="203"/>
                    <a:pt x="84" y="203"/>
                    <a:pt x="84" y="203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2" y="215"/>
                    <a:pt x="82" y="215"/>
                    <a:pt x="82" y="215"/>
                  </a:cubicBezTo>
                  <a:cubicBezTo>
                    <a:pt x="81" y="221"/>
                    <a:pt x="81" y="221"/>
                    <a:pt x="81" y="221"/>
                  </a:cubicBezTo>
                  <a:cubicBezTo>
                    <a:pt x="79" y="225"/>
                    <a:pt x="79" y="225"/>
                    <a:pt x="79" y="225"/>
                  </a:cubicBezTo>
                  <a:cubicBezTo>
                    <a:pt x="70" y="236"/>
                    <a:pt x="70" y="236"/>
                    <a:pt x="70" y="236"/>
                  </a:cubicBezTo>
                  <a:cubicBezTo>
                    <a:pt x="53" y="252"/>
                    <a:pt x="53" y="252"/>
                    <a:pt x="53" y="252"/>
                  </a:cubicBezTo>
                  <a:cubicBezTo>
                    <a:pt x="51" y="255"/>
                    <a:pt x="51" y="255"/>
                    <a:pt x="51" y="255"/>
                  </a:cubicBezTo>
                  <a:cubicBezTo>
                    <a:pt x="51" y="257"/>
                    <a:pt x="51" y="257"/>
                    <a:pt x="51" y="257"/>
                  </a:cubicBezTo>
                  <a:cubicBezTo>
                    <a:pt x="53" y="260"/>
                    <a:pt x="53" y="260"/>
                    <a:pt x="53" y="260"/>
                  </a:cubicBezTo>
                  <a:cubicBezTo>
                    <a:pt x="57" y="264"/>
                    <a:pt x="57" y="264"/>
                    <a:pt x="57" y="264"/>
                  </a:cubicBezTo>
                  <a:cubicBezTo>
                    <a:pt x="59" y="267"/>
                    <a:pt x="59" y="267"/>
                    <a:pt x="59" y="267"/>
                  </a:cubicBezTo>
                  <a:cubicBezTo>
                    <a:pt x="61" y="269"/>
                    <a:pt x="61" y="269"/>
                    <a:pt x="61" y="269"/>
                  </a:cubicBezTo>
                  <a:cubicBezTo>
                    <a:pt x="65" y="270"/>
                    <a:pt x="65" y="270"/>
                    <a:pt x="65" y="270"/>
                  </a:cubicBezTo>
                  <a:cubicBezTo>
                    <a:pt x="68" y="273"/>
                    <a:pt x="68" y="273"/>
                    <a:pt x="68" y="273"/>
                  </a:cubicBezTo>
                  <a:cubicBezTo>
                    <a:pt x="70" y="276"/>
                    <a:pt x="70" y="276"/>
                    <a:pt x="70" y="276"/>
                  </a:cubicBezTo>
                  <a:cubicBezTo>
                    <a:pt x="72" y="283"/>
                    <a:pt x="72" y="283"/>
                    <a:pt x="72" y="283"/>
                  </a:cubicBezTo>
                  <a:cubicBezTo>
                    <a:pt x="73" y="290"/>
                    <a:pt x="73" y="290"/>
                    <a:pt x="73" y="290"/>
                  </a:cubicBezTo>
                  <a:cubicBezTo>
                    <a:pt x="76" y="297"/>
                    <a:pt x="76" y="297"/>
                    <a:pt x="76" y="297"/>
                  </a:cubicBezTo>
                  <a:cubicBezTo>
                    <a:pt x="78" y="300"/>
                    <a:pt x="78" y="300"/>
                    <a:pt x="78" y="300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92" y="319"/>
                    <a:pt x="92" y="319"/>
                    <a:pt x="92" y="319"/>
                  </a:cubicBezTo>
                  <a:cubicBezTo>
                    <a:pt x="93" y="327"/>
                    <a:pt x="93" y="327"/>
                    <a:pt x="93" y="327"/>
                  </a:cubicBezTo>
                  <a:cubicBezTo>
                    <a:pt x="91" y="329"/>
                    <a:pt x="91" y="329"/>
                    <a:pt x="91" y="329"/>
                  </a:cubicBezTo>
                  <a:cubicBezTo>
                    <a:pt x="89" y="332"/>
                    <a:pt x="89" y="332"/>
                    <a:pt x="89" y="332"/>
                  </a:cubicBezTo>
                  <a:cubicBezTo>
                    <a:pt x="89" y="336"/>
                    <a:pt x="89" y="336"/>
                    <a:pt x="89" y="336"/>
                  </a:cubicBezTo>
                  <a:cubicBezTo>
                    <a:pt x="89" y="339"/>
                    <a:pt x="89" y="339"/>
                    <a:pt x="89" y="339"/>
                  </a:cubicBezTo>
                  <a:cubicBezTo>
                    <a:pt x="91" y="341"/>
                    <a:pt x="91" y="341"/>
                    <a:pt x="91" y="341"/>
                  </a:cubicBezTo>
                  <a:cubicBezTo>
                    <a:pt x="94" y="342"/>
                    <a:pt x="94" y="342"/>
                    <a:pt x="94" y="342"/>
                  </a:cubicBezTo>
                  <a:cubicBezTo>
                    <a:pt x="95" y="343"/>
                    <a:pt x="95" y="343"/>
                    <a:pt x="95" y="343"/>
                  </a:cubicBezTo>
                  <a:cubicBezTo>
                    <a:pt x="98" y="346"/>
                    <a:pt x="98" y="346"/>
                    <a:pt x="98" y="346"/>
                  </a:cubicBezTo>
                  <a:cubicBezTo>
                    <a:pt x="98" y="349"/>
                    <a:pt x="98" y="349"/>
                    <a:pt x="98" y="349"/>
                  </a:cubicBezTo>
                  <a:cubicBezTo>
                    <a:pt x="97" y="350"/>
                    <a:pt x="97" y="350"/>
                    <a:pt x="97" y="350"/>
                  </a:cubicBezTo>
                  <a:cubicBezTo>
                    <a:pt x="97" y="351"/>
                    <a:pt x="97" y="351"/>
                    <a:pt x="97" y="351"/>
                  </a:cubicBezTo>
                  <a:cubicBezTo>
                    <a:pt x="95" y="352"/>
                    <a:pt x="95" y="352"/>
                    <a:pt x="95" y="352"/>
                  </a:cubicBezTo>
                  <a:cubicBezTo>
                    <a:pt x="92" y="350"/>
                    <a:pt x="92" y="350"/>
                    <a:pt x="92" y="350"/>
                  </a:cubicBezTo>
                  <a:cubicBezTo>
                    <a:pt x="87" y="348"/>
                    <a:pt x="87" y="348"/>
                    <a:pt x="87" y="348"/>
                  </a:cubicBezTo>
                  <a:cubicBezTo>
                    <a:pt x="85" y="347"/>
                    <a:pt x="85" y="347"/>
                    <a:pt x="85" y="347"/>
                  </a:cubicBezTo>
                  <a:cubicBezTo>
                    <a:pt x="84" y="347"/>
                    <a:pt x="84" y="347"/>
                    <a:pt x="84" y="347"/>
                  </a:cubicBezTo>
                  <a:cubicBezTo>
                    <a:pt x="81" y="349"/>
                    <a:pt x="81" y="349"/>
                    <a:pt x="81" y="349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81" y="353"/>
                    <a:pt x="81" y="353"/>
                    <a:pt x="81" y="353"/>
                  </a:cubicBezTo>
                  <a:cubicBezTo>
                    <a:pt x="81" y="353"/>
                    <a:pt x="81" y="353"/>
                    <a:pt x="81" y="353"/>
                  </a:cubicBezTo>
                  <a:cubicBezTo>
                    <a:pt x="115" y="473"/>
                    <a:pt x="115" y="473"/>
                    <a:pt x="115" y="473"/>
                  </a:cubicBezTo>
                  <a:cubicBezTo>
                    <a:pt x="119" y="478"/>
                    <a:pt x="119" y="478"/>
                    <a:pt x="119" y="478"/>
                  </a:cubicBezTo>
                  <a:cubicBezTo>
                    <a:pt x="123" y="481"/>
                    <a:pt x="123" y="481"/>
                    <a:pt x="123" y="481"/>
                  </a:cubicBezTo>
                  <a:cubicBezTo>
                    <a:pt x="127" y="487"/>
                    <a:pt x="127" y="487"/>
                    <a:pt x="127" y="487"/>
                  </a:cubicBezTo>
                  <a:cubicBezTo>
                    <a:pt x="134" y="493"/>
                    <a:pt x="134" y="493"/>
                    <a:pt x="134" y="493"/>
                  </a:cubicBezTo>
                  <a:cubicBezTo>
                    <a:pt x="137" y="493"/>
                    <a:pt x="137" y="493"/>
                    <a:pt x="137" y="493"/>
                  </a:cubicBezTo>
                  <a:cubicBezTo>
                    <a:pt x="139" y="498"/>
                    <a:pt x="139" y="498"/>
                    <a:pt x="139" y="498"/>
                  </a:cubicBezTo>
                  <a:cubicBezTo>
                    <a:pt x="166" y="498"/>
                    <a:pt x="166" y="498"/>
                    <a:pt x="166" y="498"/>
                  </a:cubicBezTo>
                  <a:cubicBezTo>
                    <a:pt x="171" y="502"/>
                    <a:pt x="171" y="502"/>
                    <a:pt x="171" y="502"/>
                  </a:cubicBezTo>
                  <a:cubicBezTo>
                    <a:pt x="175" y="504"/>
                    <a:pt x="175" y="504"/>
                    <a:pt x="175" y="504"/>
                  </a:cubicBezTo>
                  <a:cubicBezTo>
                    <a:pt x="181" y="503"/>
                    <a:pt x="181" y="503"/>
                    <a:pt x="181" y="503"/>
                  </a:cubicBezTo>
                  <a:cubicBezTo>
                    <a:pt x="185" y="502"/>
                    <a:pt x="185" y="502"/>
                    <a:pt x="185" y="502"/>
                  </a:cubicBezTo>
                  <a:cubicBezTo>
                    <a:pt x="191" y="505"/>
                    <a:pt x="191" y="505"/>
                    <a:pt x="191" y="505"/>
                  </a:cubicBezTo>
                  <a:cubicBezTo>
                    <a:pt x="197" y="505"/>
                    <a:pt x="197" y="505"/>
                    <a:pt x="197" y="505"/>
                  </a:cubicBezTo>
                  <a:cubicBezTo>
                    <a:pt x="205" y="506"/>
                    <a:pt x="205" y="506"/>
                    <a:pt x="205" y="506"/>
                  </a:cubicBezTo>
                  <a:cubicBezTo>
                    <a:pt x="209" y="504"/>
                    <a:pt x="209" y="504"/>
                    <a:pt x="209" y="504"/>
                  </a:cubicBezTo>
                  <a:cubicBezTo>
                    <a:pt x="211" y="503"/>
                    <a:pt x="211" y="503"/>
                    <a:pt x="211" y="503"/>
                  </a:cubicBezTo>
                  <a:cubicBezTo>
                    <a:pt x="220" y="498"/>
                    <a:pt x="220" y="498"/>
                    <a:pt x="220" y="498"/>
                  </a:cubicBezTo>
                  <a:cubicBezTo>
                    <a:pt x="227" y="494"/>
                    <a:pt x="227" y="494"/>
                    <a:pt x="227" y="494"/>
                  </a:cubicBezTo>
                  <a:cubicBezTo>
                    <a:pt x="230" y="493"/>
                    <a:pt x="230" y="493"/>
                    <a:pt x="230" y="493"/>
                  </a:cubicBezTo>
                  <a:cubicBezTo>
                    <a:pt x="245" y="494"/>
                    <a:pt x="245" y="494"/>
                    <a:pt x="245" y="494"/>
                  </a:cubicBezTo>
                  <a:cubicBezTo>
                    <a:pt x="246" y="496"/>
                    <a:pt x="246" y="496"/>
                    <a:pt x="246" y="496"/>
                  </a:cubicBezTo>
                  <a:cubicBezTo>
                    <a:pt x="238" y="503"/>
                    <a:pt x="238" y="503"/>
                    <a:pt x="238" y="503"/>
                  </a:cubicBezTo>
                  <a:cubicBezTo>
                    <a:pt x="234" y="506"/>
                    <a:pt x="234" y="506"/>
                    <a:pt x="234" y="506"/>
                  </a:cubicBezTo>
                  <a:cubicBezTo>
                    <a:pt x="234" y="506"/>
                    <a:pt x="234" y="506"/>
                    <a:pt x="234" y="506"/>
                  </a:cubicBezTo>
                  <a:cubicBezTo>
                    <a:pt x="240" y="506"/>
                    <a:pt x="240" y="506"/>
                    <a:pt x="240" y="506"/>
                  </a:cubicBezTo>
                  <a:cubicBezTo>
                    <a:pt x="257" y="499"/>
                    <a:pt x="257" y="499"/>
                    <a:pt x="257" y="499"/>
                  </a:cubicBezTo>
                  <a:cubicBezTo>
                    <a:pt x="275" y="492"/>
                    <a:pt x="275" y="492"/>
                    <a:pt x="275" y="492"/>
                  </a:cubicBezTo>
                  <a:cubicBezTo>
                    <a:pt x="292" y="486"/>
                    <a:pt x="292" y="486"/>
                    <a:pt x="292" y="486"/>
                  </a:cubicBezTo>
                  <a:cubicBezTo>
                    <a:pt x="298" y="480"/>
                    <a:pt x="298" y="480"/>
                    <a:pt x="298" y="480"/>
                  </a:cubicBezTo>
                  <a:cubicBezTo>
                    <a:pt x="299" y="477"/>
                    <a:pt x="299" y="477"/>
                    <a:pt x="299" y="477"/>
                  </a:cubicBezTo>
                  <a:cubicBezTo>
                    <a:pt x="307" y="473"/>
                    <a:pt x="307" y="473"/>
                    <a:pt x="307" y="473"/>
                  </a:cubicBezTo>
                  <a:cubicBezTo>
                    <a:pt x="309" y="463"/>
                    <a:pt x="309" y="463"/>
                    <a:pt x="309" y="463"/>
                  </a:cubicBezTo>
                  <a:cubicBezTo>
                    <a:pt x="311" y="453"/>
                    <a:pt x="311" y="453"/>
                    <a:pt x="311" y="453"/>
                  </a:cubicBezTo>
                  <a:cubicBezTo>
                    <a:pt x="312" y="436"/>
                    <a:pt x="312" y="436"/>
                    <a:pt x="312" y="436"/>
                  </a:cubicBezTo>
                  <a:cubicBezTo>
                    <a:pt x="310" y="424"/>
                    <a:pt x="310" y="424"/>
                    <a:pt x="310" y="424"/>
                  </a:cubicBezTo>
                  <a:cubicBezTo>
                    <a:pt x="312" y="412"/>
                    <a:pt x="312" y="412"/>
                    <a:pt x="312" y="412"/>
                  </a:cubicBezTo>
                  <a:cubicBezTo>
                    <a:pt x="314" y="396"/>
                    <a:pt x="314" y="396"/>
                    <a:pt x="314" y="396"/>
                  </a:cubicBezTo>
                  <a:cubicBezTo>
                    <a:pt x="320" y="398"/>
                    <a:pt x="320" y="398"/>
                    <a:pt x="320" y="398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5" y="390"/>
                    <a:pt x="325" y="390"/>
                    <a:pt x="325" y="390"/>
                  </a:cubicBezTo>
                  <a:cubicBezTo>
                    <a:pt x="327" y="383"/>
                    <a:pt x="327" y="383"/>
                    <a:pt x="327" y="383"/>
                  </a:cubicBezTo>
                  <a:cubicBezTo>
                    <a:pt x="327" y="375"/>
                    <a:pt x="327" y="375"/>
                    <a:pt x="327" y="375"/>
                  </a:cubicBezTo>
                  <a:cubicBezTo>
                    <a:pt x="329" y="372"/>
                    <a:pt x="329" y="372"/>
                    <a:pt x="329" y="372"/>
                  </a:cubicBezTo>
                  <a:cubicBezTo>
                    <a:pt x="330" y="369"/>
                    <a:pt x="330" y="369"/>
                    <a:pt x="330" y="369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52" y="361"/>
                    <a:pt x="352" y="361"/>
                    <a:pt x="352" y="361"/>
                  </a:cubicBezTo>
                  <a:cubicBezTo>
                    <a:pt x="360" y="353"/>
                    <a:pt x="360" y="353"/>
                    <a:pt x="360" y="353"/>
                  </a:cubicBezTo>
                  <a:cubicBezTo>
                    <a:pt x="363" y="348"/>
                    <a:pt x="363" y="348"/>
                    <a:pt x="363" y="348"/>
                  </a:cubicBezTo>
                  <a:cubicBezTo>
                    <a:pt x="369" y="344"/>
                    <a:pt x="369" y="344"/>
                    <a:pt x="369" y="344"/>
                  </a:cubicBezTo>
                  <a:cubicBezTo>
                    <a:pt x="373" y="343"/>
                    <a:pt x="373" y="343"/>
                    <a:pt x="373" y="343"/>
                  </a:cubicBezTo>
                  <a:cubicBezTo>
                    <a:pt x="379" y="342"/>
                    <a:pt x="379" y="342"/>
                    <a:pt x="379" y="342"/>
                  </a:cubicBezTo>
                  <a:cubicBezTo>
                    <a:pt x="386" y="335"/>
                    <a:pt x="386" y="335"/>
                    <a:pt x="386" y="335"/>
                  </a:cubicBezTo>
                  <a:cubicBezTo>
                    <a:pt x="386" y="331"/>
                    <a:pt x="386" y="331"/>
                    <a:pt x="386" y="331"/>
                  </a:cubicBezTo>
                  <a:cubicBezTo>
                    <a:pt x="387" y="329"/>
                    <a:pt x="387" y="329"/>
                    <a:pt x="387" y="329"/>
                  </a:cubicBezTo>
                  <a:cubicBezTo>
                    <a:pt x="389" y="326"/>
                    <a:pt x="389" y="326"/>
                    <a:pt x="389" y="326"/>
                  </a:cubicBezTo>
                  <a:cubicBezTo>
                    <a:pt x="391" y="321"/>
                    <a:pt x="391" y="321"/>
                    <a:pt x="391" y="321"/>
                  </a:cubicBezTo>
                  <a:cubicBezTo>
                    <a:pt x="392" y="315"/>
                    <a:pt x="392" y="315"/>
                    <a:pt x="392" y="315"/>
                  </a:cubicBezTo>
                  <a:cubicBezTo>
                    <a:pt x="391" y="313"/>
                    <a:pt x="391" y="313"/>
                    <a:pt x="391" y="313"/>
                  </a:cubicBezTo>
                  <a:cubicBezTo>
                    <a:pt x="389" y="310"/>
                    <a:pt x="389" y="310"/>
                    <a:pt x="389" y="310"/>
                  </a:cubicBezTo>
                  <a:cubicBezTo>
                    <a:pt x="388" y="308"/>
                    <a:pt x="388" y="308"/>
                    <a:pt x="388" y="308"/>
                  </a:cubicBezTo>
                  <a:cubicBezTo>
                    <a:pt x="390" y="307"/>
                    <a:pt x="390" y="307"/>
                    <a:pt x="390" y="307"/>
                  </a:cubicBezTo>
                  <a:cubicBezTo>
                    <a:pt x="391" y="306"/>
                    <a:pt x="391" y="306"/>
                    <a:pt x="391" y="306"/>
                  </a:cubicBezTo>
                  <a:cubicBezTo>
                    <a:pt x="389" y="304"/>
                    <a:pt x="389" y="304"/>
                    <a:pt x="389" y="304"/>
                  </a:cubicBezTo>
                  <a:cubicBezTo>
                    <a:pt x="385" y="302"/>
                    <a:pt x="385" y="302"/>
                    <a:pt x="385" y="302"/>
                  </a:cubicBezTo>
                  <a:cubicBezTo>
                    <a:pt x="381" y="302"/>
                    <a:pt x="381" y="302"/>
                    <a:pt x="381" y="302"/>
                  </a:cubicBezTo>
                  <a:cubicBezTo>
                    <a:pt x="373" y="304"/>
                    <a:pt x="373" y="304"/>
                    <a:pt x="373" y="304"/>
                  </a:cubicBezTo>
                  <a:cubicBezTo>
                    <a:pt x="368" y="306"/>
                    <a:pt x="368" y="306"/>
                    <a:pt x="368" y="306"/>
                  </a:cubicBezTo>
                  <a:cubicBezTo>
                    <a:pt x="353" y="315"/>
                    <a:pt x="353" y="315"/>
                    <a:pt x="353" y="315"/>
                  </a:cubicBezTo>
                  <a:cubicBezTo>
                    <a:pt x="345" y="322"/>
                    <a:pt x="345" y="322"/>
                    <a:pt x="345" y="322"/>
                  </a:cubicBezTo>
                  <a:cubicBezTo>
                    <a:pt x="338" y="329"/>
                    <a:pt x="338" y="329"/>
                    <a:pt x="338" y="329"/>
                  </a:cubicBezTo>
                  <a:cubicBezTo>
                    <a:pt x="333" y="335"/>
                    <a:pt x="333" y="335"/>
                    <a:pt x="333" y="335"/>
                  </a:cubicBezTo>
                  <a:cubicBezTo>
                    <a:pt x="325" y="345"/>
                    <a:pt x="325" y="345"/>
                    <a:pt x="325" y="345"/>
                  </a:cubicBezTo>
                  <a:cubicBezTo>
                    <a:pt x="316" y="359"/>
                    <a:pt x="316" y="359"/>
                    <a:pt x="316" y="359"/>
                  </a:cubicBezTo>
                  <a:cubicBezTo>
                    <a:pt x="309" y="378"/>
                    <a:pt x="309" y="378"/>
                    <a:pt x="309" y="378"/>
                  </a:cubicBezTo>
                  <a:cubicBezTo>
                    <a:pt x="304" y="393"/>
                    <a:pt x="304" y="393"/>
                    <a:pt x="304" y="393"/>
                  </a:cubicBezTo>
                  <a:cubicBezTo>
                    <a:pt x="298" y="411"/>
                    <a:pt x="298" y="411"/>
                    <a:pt x="298" y="411"/>
                  </a:cubicBezTo>
                  <a:cubicBezTo>
                    <a:pt x="294" y="414"/>
                    <a:pt x="294" y="414"/>
                    <a:pt x="294" y="414"/>
                  </a:cubicBezTo>
                  <a:cubicBezTo>
                    <a:pt x="292" y="415"/>
                    <a:pt x="292" y="415"/>
                    <a:pt x="292" y="415"/>
                  </a:cubicBezTo>
                  <a:cubicBezTo>
                    <a:pt x="289" y="414"/>
                    <a:pt x="289" y="414"/>
                    <a:pt x="289" y="414"/>
                  </a:cubicBezTo>
                  <a:cubicBezTo>
                    <a:pt x="289" y="411"/>
                    <a:pt x="289" y="411"/>
                    <a:pt x="289" y="411"/>
                  </a:cubicBezTo>
                  <a:cubicBezTo>
                    <a:pt x="290" y="407"/>
                    <a:pt x="290" y="407"/>
                    <a:pt x="290" y="407"/>
                  </a:cubicBezTo>
                  <a:cubicBezTo>
                    <a:pt x="291" y="401"/>
                    <a:pt x="291" y="401"/>
                    <a:pt x="291" y="401"/>
                  </a:cubicBezTo>
                  <a:cubicBezTo>
                    <a:pt x="294" y="397"/>
                    <a:pt x="294" y="397"/>
                    <a:pt x="294" y="397"/>
                  </a:cubicBezTo>
                  <a:cubicBezTo>
                    <a:pt x="297" y="389"/>
                    <a:pt x="297" y="389"/>
                    <a:pt x="297" y="389"/>
                  </a:cubicBezTo>
                  <a:cubicBezTo>
                    <a:pt x="300" y="381"/>
                    <a:pt x="300" y="381"/>
                    <a:pt x="300" y="381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82" y="381"/>
                    <a:pt x="282" y="381"/>
                    <a:pt x="282" y="381"/>
                  </a:cubicBezTo>
                  <a:cubicBezTo>
                    <a:pt x="279" y="381"/>
                    <a:pt x="279" y="381"/>
                    <a:pt x="279" y="381"/>
                  </a:cubicBezTo>
                  <a:cubicBezTo>
                    <a:pt x="277" y="383"/>
                    <a:pt x="277" y="383"/>
                    <a:pt x="277" y="383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4" y="381"/>
                    <a:pt x="274" y="381"/>
                    <a:pt x="274" y="381"/>
                  </a:cubicBezTo>
                  <a:cubicBezTo>
                    <a:pt x="274" y="378"/>
                    <a:pt x="274" y="378"/>
                    <a:pt x="274" y="378"/>
                  </a:cubicBezTo>
                  <a:cubicBezTo>
                    <a:pt x="275" y="377"/>
                    <a:pt x="275" y="377"/>
                    <a:pt x="275" y="377"/>
                  </a:cubicBezTo>
                  <a:cubicBezTo>
                    <a:pt x="277" y="376"/>
                    <a:pt x="277" y="376"/>
                    <a:pt x="277" y="376"/>
                  </a:cubicBezTo>
                  <a:cubicBezTo>
                    <a:pt x="280" y="376"/>
                    <a:pt x="280" y="376"/>
                    <a:pt x="280" y="376"/>
                  </a:cubicBezTo>
                  <a:cubicBezTo>
                    <a:pt x="289" y="376"/>
                    <a:pt x="289" y="376"/>
                    <a:pt x="289" y="376"/>
                  </a:cubicBezTo>
                  <a:cubicBezTo>
                    <a:pt x="297" y="374"/>
                    <a:pt x="297" y="374"/>
                    <a:pt x="297" y="374"/>
                  </a:cubicBezTo>
                  <a:cubicBezTo>
                    <a:pt x="301" y="373"/>
                    <a:pt x="301" y="373"/>
                    <a:pt x="301" y="373"/>
                  </a:cubicBezTo>
                  <a:cubicBezTo>
                    <a:pt x="303" y="371"/>
                    <a:pt x="303" y="371"/>
                    <a:pt x="303" y="371"/>
                  </a:cubicBezTo>
                  <a:cubicBezTo>
                    <a:pt x="304" y="355"/>
                    <a:pt x="304" y="355"/>
                    <a:pt x="304" y="355"/>
                  </a:cubicBezTo>
                  <a:cubicBezTo>
                    <a:pt x="305" y="353"/>
                    <a:pt x="305" y="353"/>
                    <a:pt x="305" y="353"/>
                  </a:cubicBezTo>
                  <a:cubicBezTo>
                    <a:pt x="308" y="348"/>
                    <a:pt x="308" y="348"/>
                    <a:pt x="308" y="348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3" y="340"/>
                    <a:pt x="313" y="340"/>
                    <a:pt x="313" y="340"/>
                  </a:cubicBezTo>
                  <a:cubicBezTo>
                    <a:pt x="314" y="333"/>
                    <a:pt x="314" y="333"/>
                    <a:pt x="314" y="333"/>
                  </a:cubicBezTo>
                  <a:cubicBezTo>
                    <a:pt x="317" y="330"/>
                    <a:pt x="317" y="330"/>
                    <a:pt x="317" y="330"/>
                  </a:cubicBezTo>
                  <a:cubicBezTo>
                    <a:pt x="321" y="328"/>
                    <a:pt x="321" y="328"/>
                    <a:pt x="321" y="328"/>
                  </a:cubicBezTo>
                  <a:cubicBezTo>
                    <a:pt x="326" y="323"/>
                    <a:pt x="326" y="323"/>
                    <a:pt x="326" y="323"/>
                  </a:cubicBezTo>
                  <a:cubicBezTo>
                    <a:pt x="326" y="320"/>
                    <a:pt x="326" y="320"/>
                    <a:pt x="326" y="320"/>
                  </a:cubicBezTo>
                  <a:cubicBezTo>
                    <a:pt x="325" y="313"/>
                    <a:pt x="325" y="313"/>
                    <a:pt x="325" y="313"/>
                  </a:cubicBezTo>
                  <a:cubicBezTo>
                    <a:pt x="327" y="301"/>
                    <a:pt x="327" y="301"/>
                    <a:pt x="327" y="301"/>
                  </a:cubicBezTo>
                  <a:cubicBezTo>
                    <a:pt x="330" y="296"/>
                    <a:pt x="330" y="296"/>
                    <a:pt x="330" y="296"/>
                  </a:cubicBezTo>
                  <a:cubicBezTo>
                    <a:pt x="332" y="292"/>
                    <a:pt x="332" y="292"/>
                    <a:pt x="332" y="292"/>
                  </a:cubicBezTo>
                  <a:cubicBezTo>
                    <a:pt x="331" y="289"/>
                    <a:pt x="331" y="289"/>
                    <a:pt x="331" y="289"/>
                  </a:cubicBezTo>
                  <a:cubicBezTo>
                    <a:pt x="332" y="287"/>
                    <a:pt x="332" y="287"/>
                    <a:pt x="332" y="287"/>
                  </a:cubicBezTo>
                  <a:cubicBezTo>
                    <a:pt x="335" y="286"/>
                    <a:pt x="335" y="286"/>
                    <a:pt x="335" y="286"/>
                  </a:cubicBezTo>
                  <a:cubicBezTo>
                    <a:pt x="337" y="285"/>
                    <a:pt x="337" y="285"/>
                    <a:pt x="337" y="285"/>
                  </a:cubicBezTo>
                  <a:cubicBezTo>
                    <a:pt x="341" y="282"/>
                    <a:pt x="341" y="282"/>
                    <a:pt x="341" y="282"/>
                  </a:cubicBezTo>
                  <a:cubicBezTo>
                    <a:pt x="351" y="277"/>
                    <a:pt x="351" y="277"/>
                    <a:pt x="351" y="277"/>
                  </a:cubicBezTo>
                  <a:cubicBezTo>
                    <a:pt x="366" y="269"/>
                    <a:pt x="366" y="269"/>
                    <a:pt x="366" y="269"/>
                  </a:cubicBezTo>
                  <a:cubicBezTo>
                    <a:pt x="372" y="266"/>
                    <a:pt x="372" y="266"/>
                    <a:pt x="372" y="266"/>
                  </a:cubicBezTo>
                  <a:cubicBezTo>
                    <a:pt x="375" y="263"/>
                    <a:pt x="375" y="263"/>
                    <a:pt x="375" y="263"/>
                  </a:cubicBezTo>
                  <a:cubicBezTo>
                    <a:pt x="379" y="263"/>
                    <a:pt x="379" y="263"/>
                    <a:pt x="379" y="263"/>
                  </a:cubicBezTo>
                  <a:cubicBezTo>
                    <a:pt x="383" y="262"/>
                    <a:pt x="383" y="262"/>
                    <a:pt x="383" y="262"/>
                  </a:cubicBezTo>
                  <a:cubicBezTo>
                    <a:pt x="390" y="258"/>
                    <a:pt x="390" y="258"/>
                    <a:pt x="390" y="258"/>
                  </a:cubicBezTo>
                  <a:cubicBezTo>
                    <a:pt x="396" y="254"/>
                    <a:pt x="396" y="254"/>
                    <a:pt x="396" y="254"/>
                  </a:cubicBezTo>
                  <a:cubicBezTo>
                    <a:pt x="399" y="250"/>
                    <a:pt x="399" y="250"/>
                    <a:pt x="399" y="250"/>
                  </a:cubicBezTo>
                  <a:cubicBezTo>
                    <a:pt x="407" y="246"/>
                    <a:pt x="407" y="246"/>
                    <a:pt x="407" y="246"/>
                  </a:cubicBezTo>
                  <a:cubicBezTo>
                    <a:pt x="415" y="246"/>
                    <a:pt x="415" y="246"/>
                    <a:pt x="415" y="246"/>
                  </a:cubicBezTo>
                  <a:cubicBezTo>
                    <a:pt x="419" y="241"/>
                    <a:pt x="419" y="241"/>
                    <a:pt x="419" y="241"/>
                  </a:cubicBezTo>
                  <a:cubicBezTo>
                    <a:pt x="425" y="237"/>
                    <a:pt x="425" y="237"/>
                    <a:pt x="425" y="237"/>
                  </a:cubicBezTo>
                  <a:cubicBezTo>
                    <a:pt x="431" y="232"/>
                    <a:pt x="431" y="232"/>
                    <a:pt x="431" y="232"/>
                  </a:cubicBezTo>
                  <a:cubicBezTo>
                    <a:pt x="438" y="228"/>
                    <a:pt x="438" y="228"/>
                    <a:pt x="438" y="228"/>
                  </a:cubicBezTo>
                  <a:cubicBezTo>
                    <a:pt x="442" y="223"/>
                    <a:pt x="442" y="223"/>
                    <a:pt x="442" y="223"/>
                  </a:cubicBezTo>
                  <a:cubicBezTo>
                    <a:pt x="442" y="216"/>
                    <a:pt x="442" y="216"/>
                    <a:pt x="442" y="216"/>
                  </a:cubicBezTo>
                  <a:cubicBezTo>
                    <a:pt x="443" y="211"/>
                    <a:pt x="443" y="211"/>
                    <a:pt x="443" y="211"/>
                  </a:cubicBezTo>
                  <a:cubicBezTo>
                    <a:pt x="447" y="208"/>
                    <a:pt x="447" y="208"/>
                    <a:pt x="447" y="208"/>
                  </a:cubicBezTo>
                  <a:cubicBezTo>
                    <a:pt x="447" y="201"/>
                    <a:pt x="447" y="201"/>
                    <a:pt x="447" y="201"/>
                  </a:cubicBezTo>
                  <a:cubicBezTo>
                    <a:pt x="447" y="195"/>
                    <a:pt x="447" y="195"/>
                    <a:pt x="447" y="195"/>
                  </a:cubicBezTo>
                  <a:cubicBezTo>
                    <a:pt x="446" y="195"/>
                    <a:pt x="446" y="195"/>
                    <a:pt x="446" y="195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7" y="183"/>
                    <a:pt x="447" y="183"/>
                    <a:pt x="447" y="183"/>
                  </a:cubicBezTo>
                  <a:cubicBezTo>
                    <a:pt x="448" y="178"/>
                    <a:pt x="448" y="178"/>
                    <a:pt x="448" y="178"/>
                  </a:cubicBezTo>
                  <a:cubicBezTo>
                    <a:pt x="451" y="176"/>
                    <a:pt x="451" y="176"/>
                    <a:pt x="451" y="176"/>
                  </a:cubicBezTo>
                  <a:cubicBezTo>
                    <a:pt x="455" y="171"/>
                    <a:pt x="455" y="171"/>
                    <a:pt x="455" y="171"/>
                  </a:cubicBezTo>
                  <a:cubicBezTo>
                    <a:pt x="457" y="169"/>
                    <a:pt x="457" y="169"/>
                    <a:pt x="457" y="169"/>
                  </a:cubicBezTo>
                  <a:cubicBezTo>
                    <a:pt x="465" y="166"/>
                    <a:pt x="465" y="166"/>
                    <a:pt x="465" y="166"/>
                  </a:cubicBezTo>
                  <a:cubicBezTo>
                    <a:pt x="468" y="163"/>
                    <a:pt x="468" y="163"/>
                    <a:pt x="468" y="163"/>
                  </a:cubicBezTo>
                  <a:lnTo>
                    <a:pt x="459" y="149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5520289" y="3525174"/>
              <a:ext cx="210322" cy="183357"/>
            </a:xfrm>
            <a:custGeom>
              <a:avLst/>
              <a:gdLst>
                <a:gd name="T0" fmla="*/ 30 w 156"/>
                <a:gd name="T1" fmla="*/ 30 h 136"/>
                <a:gd name="T2" fmla="*/ 12 w 156"/>
                <a:gd name="T3" fmla="*/ 42 h 136"/>
                <a:gd name="T4" fmla="*/ 9 w 156"/>
                <a:gd name="T5" fmla="*/ 57 h 136"/>
                <a:gd name="T6" fmla="*/ 4 w 156"/>
                <a:gd name="T7" fmla="*/ 72 h 136"/>
                <a:gd name="T8" fmla="*/ 1 w 156"/>
                <a:gd name="T9" fmla="*/ 79 h 136"/>
                <a:gd name="T10" fmla="*/ 13 w 156"/>
                <a:gd name="T11" fmla="*/ 78 h 136"/>
                <a:gd name="T12" fmla="*/ 23 w 156"/>
                <a:gd name="T13" fmla="*/ 71 h 136"/>
                <a:gd name="T14" fmla="*/ 36 w 156"/>
                <a:gd name="T15" fmla="*/ 70 h 136"/>
                <a:gd name="T16" fmla="*/ 44 w 156"/>
                <a:gd name="T17" fmla="*/ 81 h 136"/>
                <a:gd name="T18" fmla="*/ 56 w 156"/>
                <a:gd name="T19" fmla="*/ 111 h 136"/>
                <a:gd name="T20" fmla="*/ 65 w 156"/>
                <a:gd name="T21" fmla="*/ 121 h 136"/>
                <a:gd name="T22" fmla="*/ 69 w 156"/>
                <a:gd name="T23" fmla="*/ 126 h 136"/>
                <a:gd name="T24" fmla="*/ 77 w 156"/>
                <a:gd name="T25" fmla="*/ 131 h 136"/>
                <a:gd name="T26" fmla="*/ 85 w 156"/>
                <a:gd name="T27" fmla="*/ 136 h 136"/>
                <a:gd name="T28" fmla="*/ 91 w 156"/>
                <a:gd name="T29" fmla="*/ 133 h 136"/>
                <a:gd name="T30" fmla="*/ 98 w 156"/>
                <a:gd name="T31" fmla="*/ 132 h 136"/>
                <a:gd name="T32" fmla="*/ 106 w 156"/>
                <a:gd name="T33" fmla="*/ 126 h 136"/>
                <a:gd name="T34" fmla="*/ 117 w 156"/>
                <a:gd name="T35" fmla="*/ 114 h 136"/>
                <a:gd name="T36" fmla="*/ 126 w 156"/>
                <a:gd name="T37" fmla="*/ 104 h 136"/>
                <a:gd name="T38" fmla="*/ 132 w 156"/>
                <a:gd name="T39" fmla="*/ 86 h 136"/>
                <a:gd name="T40" fmla="*/ 142 w 156"/>
                <a:gd name="T41" fmla="*/ 72 h 136"/>
                <a:gd name="T42" fmla="*/ 145 w 156"/>
                <a:gd name="T43" fmla="*/ 64 h 136"/>
                <a:gd name="T44" fmla="*/ 150 w 156"/>
                <a:gd name="T45" fmla="*/ 59 h 136"/>
                <a:gd name="T46" fmla="*/ 156 w 156"/>
                <a:gd name="T47" fmla="*/ 50 h 136"/>
                <a:gd name="T48" fmla="*/ 144 w 156"/>
                <a:gd name="T49" fmla="*/ 54 h 136"/>
                <a:gd name="T50" fmla="*/ 132 w 156"/>
                <a:gd name="T51" fmla="*/ 50 h 136"/>
                <a:gd name="T52" fmla="*/ 127 w 156"/>
                <a:gd name="T53" fmla="*/ 45 h 136"/>
                <a:gd name="T54" fmla="*/ 117 w 156"/>
                <a:gd name="T55" fmla="*/ 45 h 136"/>
                <a:gd name="T56" fmla="*/ 114 w 156"/>
                <a:gd name="T57" fmla="*/ 30 h 136"/>
                <a:gd name="T58" fmla="*/ 106 w 156"/>
                <a:gd name="T59" fmla="*/ 34 h 136"/>
                <a:gd name="T60" fmla="*/ 98 w 156"/>
                <a:gd name="T61" fmla="*/ 32 h 136"/>
                <a:gd name="T62" fmla="*/ 103 w 156"/>
                <a:gd name="T63" fmla="*/ 24 h 136"/>
                <a:gd name="T64" fmla="*/ 106 w 156"/>
                <a:gd name="T65" fmla="*/ 13 h 136"/>
                <a:gd name="T66" fmla="*/ 108 w 156"/>
                <a:gd name="T67" fmla="*/ 5 h 136"/>
                <a:gd name="T68" fmla="*/ 98 w 156"/>
                <a:gd name="T69" fmla="*/ 3 h 136"/>
                <a:gd name="T70" fmla="*/ 91 w 156"/>
                <a:gd name="T71" fmla="*/ 5 h 136"/>
                <a:gd name="T72" fmla="*/ 88 w 156"/>
                <a:gd name="T73" fmla="*/ 14 h 136"/>
                <a:gd name="T74" fmla="*/ 84 w 156"/>
                <a:gd name="T75" fmla="*/ 17 h 136"/>
                <a:gd name="T76" fmla="*/ 77 w 156"/>
                <a:gd name="T77" fmla="*/ 13 h 136"/>
                <a:gd name="T78" fmla="*/ 70 w 156"/>
                <a:gd name="T79" fmla="*/ 13 h 136"/>
                <a:gd name="T80" fmla="*/ 63 w 156"/>
                <a:gd name="T81" fmla="*/ 14 h 136"/>
                <a:gd name="T82" fmla="*/ 55 w 156"/>
                <a:gd name="T83" fmla="*/ 1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36">
                  <a:moveTo>
                    <a:pt x="44" y="27"/>
                  </a:moveTo>
                  <a:lnTo>
                    <a:pt x="30" y="30"/>
                  </a:lnTo>
                  <a:lnTo>
                    <a:pt x="13" y="38"/>
                  </a:lnTo>
                  <a:lnTo>
                    <a:pt x="12" y="42"/>
                  </a:lnTo>
                  <a:lnTo>
                    <a:pt x="9" y="46"/>
                  </a:lnTo>
                  <a:lnTo>
                    <a:pt x="9" y="57"/>
                  </a:lnTo>
                  <a:lnTo>
                    <a:pt x="6" y="67"/>
                  </a:lnTo>
                  <a:lnTo>
                    <a:pt x="4" y="72"/>
                  </a:lnTo>
                  <a:lnTo>
                    <a:pt x="0" y="78"/>
                  </a:lnTo>
                  <a:lnTo>
                    <a:pt x="1" y="79"/>
                  </a:lnTo>
                  <a:lnTo>
                    <a:pt x="1" y="81"/>
                  </a:lnTo>
                  <a:lnTo>
                    <a:pt x="13" y="78"/>
                  </a:lnTo>
                  <a:lnTo>
                    <a:pt x="18" y="74"/>
                  </a:lnTo>
                  <a:lnTo>
                    <a:pt x="23" y="71"/>
                  </a:lnTo>
                  <a:lnTo>
                    <a:pt x="29" y="68"/>
                  </a:lnTo>
                  <a:lnTo>
                    <a:pt x="36" y="70"/>
                  </a:lnTo>
                  <a:lnTo>
                    <a:pt x="38" y="75"/>
                  </a:lnTo>
                  <a:lnTo>
                    <a:pt x="44" y="81"/>
                  </a:lnTo>
                  <a:lnTo>
                    <a:pt x="48" y="96"/>
                  </a:lnTo>
                  <a:lnTo>
                    <a:pt x="56" y="111"/>
                  </a:lnTo>
                  <a:lnTo>
                    <a:pt x="56" y="121"/>
                  </a:lnTo>
                  <a:lnTo>
                    <a:pt x="65" y="121"/>
                  </a:lnTo>
                  <a:lnTo>
                    <a:pt x="66" y="121"/>
                  </a:lnTo>
                  <a:lnTo>
                    <a:pt x="69" y="126"/>
                  </a:lnTo>
                  <a:lnTo>
                    <a:pt x="73" y="129"/>
                  </a:lnTo>
                  <a:lnTo>
                    <a:pt x="77" y="131"/>
                  </a:lnTo>
                  <a:lnTo>
                    <a:pt x="80" y="136"/>
                  </a:lnTo>
                  <a:lnTo>
                    <a:pt x="85" y="136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1" y="131"/>
                  </a:lnTo>
                  <a:lnTo>
                    <a:pt x="98" y="132"/>
                  </a:lnTo>
                  <a:lnTo>
                    <a:pt x="101" y="131"/>
                  </a:lnTo>
                  <a:lnTo>
                    <a:pt x="106" y="126"/>
                  </a:lnTo>
                  <a:lnTo>
                    <a:pt x="113" y="121"/>
                  </a:lnTo>
                  <a:lnTo>
                    <a:pt x="117" y="114"/>
                  </a:lnTo>
                  <a:lnTo>
                    <a:pt x="121" y="111"/>
                  </a:lnTo>
                  <a:lnTo>
                    <a:pt x="126" y="104"/>
                  </a:lnTo>
                  <a:lnTo>
                    <a:pt x="130" y="95"/>
                  </a:lnTo>
                  <a:lnTo>
                    <a:pt x="132" y="86"/>
                  </a:lnTo>
                  <a:lnTo>
                    <a:pt x="139" y="77"/>
                  </a:lnTo>
                  <a:lnTo>
                    <a:pt x="142" y="72"/>
                  </a:lnTo>
                  <a:lnTo>
                    <a:pt x="145" y="68"/>
                  </a:lnTo>
                  <a:lnTo>
                    <a:pt x="145" y="64"/>
                  </a:lnTo>
                  <a:lnTo>
                    <a:pt x="148" y="61"/>
                  </a:lnTo>
                  <a:lnTo>
                    <a:pt x="150" y="59"/>
                  </a:lnTo>
                  <a:lnTo>
                    <a:pt x="155" y="59"/>
                  </a:lnTo>
                  <a:lnTo>
                    <a:pt x="156" y="50"/>
                  </a:lnTo>
                  <a:lnTo>
                    <a:pt x="146" y="54"/>
                  </a:lnTo>
                  <a:lnTo>
                    <a:pt x="144" y="54"/>
                  </a:lnTo>
                  <a:lnTo>
                    <a:pt x="137" y="53"/>
                  </a:lnTo>
                  <a:lnTo>
                    <a:pt x="132" y="50"/>
                  </a:lnTo>
                  <a:lnTo>
                    <a:pt x="128" y="48"/>
                  </a:lnTo>
                  <a:lnTo>
                    <a:pt x="127" y="45"/>
                  </a:lnTo>
                  <a:lnTo>
                    <a:pt x="123" y="45"/>
                  </a:lnTo>
                  <a:lnTo>
                    <a:pt x="117" y="45"/>
                  </a:lnTo>
                  <a:lnTo>
                    <a:pt x="116" y="41"/>
                  </a:lnTo>
                  <a:lnTo>
                    <a:pt x="114" y="30"/>
                  </a:lnTo>
                  <a:lnTo>
                    <a:pt x="110" y="30"/>
                  </a:lnTo>
                  <a:lnTo>
                    <a:pt x="106" y="34"/>
                  </a:lnTo>
                  <a:lnTo>
                    <a:pt x="101" y="35"/>
                  </a:lnTo>
                  <a:lnTo>
                    <a:pt x="98" y="32"/>
                  </a:lnTo>
                  <a:lnTo>
                    <a:pt x="99" y="30"/>
                  </a:lnTo>
                  <a:lnTo>
                    <a:pt x="103" y="24"/>
                  </a:lnTo>
                  <a:lnTo>
                    <a:pt x="105" y="17"/>
                  </a:lnTo>
                  <a:lnTo>
                    <a:pt x="106" y="13"/>
                  </a:lnTo>
                  <a:lnTo>
                    <a:pt x="108" y="7"/>
                  </a:lnTo>
                  <a:lnTo>
                    <a:pt x="108" y="5"/>
                  </a:lnTo>
                  <a:lnTo>
                    <a:pt x="103" y="0"/>
                  </a:lnTo>
                  <a:lnTo>
                    <a:pt x="98" y="3"/>
                  </a:lnTo>
                  <a:lnTo>
                    <a:pt x="94" y="3"/>
                  </a:lnTo>
                  <a:lnTo>
                    <a:pt x="91" y="5"/>
                  </a:lnTo>
                  <a:lnTo>
                    <a:pt x="90" y="7"/>
                  </a:lnTo>
                  <a:lnTo>
                    <a:pt x="88" y="14"/>
                  </a:lnTo>
                  <a:lnTo>
                    <a:pt x="87" y="14"/>
                  </a:lnTo>
                  <a:lnTo>
                    <a:pt x="84" y="17"/>
                  </a:lnTo>
                  <a:lnTo>
                    <a:pt x="80" y="14"/>
                  </a:lnTo>
                  <a:lnTo>
                    <a:pt x="77" y="13"/>
                  </a:lnTo>
                  <a:lnTo>
                    <a:pt x="74" y="10"/>
                  </a:lnTo>
                  <a:lnTo>
                    <a:pt x="70" y="13"/>
                  </a:lnTo>
                  <a:lnTo>
                    <a:pt x="67" y="14"/>
                  </a:lnTo>
                  <a:lnTo>
                    <a:pt x="63" y="14"/>
                  </a:lnTo>
                  <a:lnTo>
                    <a:pt x="58" y="12"/>
                  </a:lnTo>
                  <a:lnTo>
                    <a:pt x="55" y="16"/>
                  </a:lnTo>
                  <a:lnTo>
                    <a:pt x="44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5687468" y="3483379"/>
              <a:ext cx="188750" cy="288518"/>
            </a:xfrm>
            <a:custGeom>
              <a:avLst/>
              <a:gdLst>
                <a:gd name="T0" fmla="*/ 94 w 101"/>
                <a:gd name="T1" fmla="*/ 15 h 155"/>
                <a:gd name="T2" fmla="*/ 86 w 101"/>
                <a:gd name="T3" fmla="*/ 17 h 155"/>
                <a:gd name="T4" fmla="*/ 82 w 101"/>
                <a:gd name="T5" fmla="*/ 26 h 155"/>
                <a:gd name="T6" fmla="*/ 80 w 101"/>
                <a:gd name="T7" fmla="*/ 9 h 155"/>
                <a:gd name="T8" fmla="*/ 71 w 101"/>
                <a:gd name="T9" fmla="*/ 0 h 155"/>
                <a:gd name="T10" fmla="*/ 69 w 101"/>
                <a:gd name="T11" fmla="*/ 17 h 155"/>
                <a:gd name="T12" fmla="*/ 66 w 101"/>
                <a:gd name="T13" fmla="*/ 30 h 155"/>
                <a:gd name="T14" fmla="*/ 70 w 101"/>
                <a:gd name="T15" fmla="*/ 38 h 155"/>
                <a:gd name="T16" fmla="*/ 76 w 101"/>
                <a:gd name="T17" fmla="*/ 46 h 155"/>
                <a:gd name="T18" fmla="*/ 75 w 101"/>
                <a:gd name="T19" fmla="*/ 48 h 155"/>
                <a:gd name="T20" fmla="*/ 62 w 101"/>
                <a:gd name="T21" fmla="*/ 49 h 155"/>
                <a:gd name="T22" fmla="*/ 47 w 101"/>
                <a:gd name="T23" fmla="*/ 60 h 155"/>
                <a:gd name="T24" fmla="*/ 37 w 101"/>
                <a:gd name="T25" fmla="*/ 63 h 155"/>
                <a:gd name="T26" fmla="*/ 22 w 101"/>
                <a:gd name="T27" fmla="*/ 63 h 155"/>
                <a:gd name="T28" fmla="*/ 17 w 101"/>
                <a:gd name="T29" fmla="*/ 67 h 155"/>
                <a:gd name="T30" fmla="*/ 14 w 101"/>
                <a:gd name="T31" fmla="*/ 73 h 155"/>
                <a:gd name="T32" fmla="*/ 10 w 101"/>
                <a:gd name="T33" fmla="*/ 86 h 155"/>
                <a:gd name="T34" fmla="*/ 14 w 101"/>
                <a:gd name="T35" fmla="*/ 89 h 155"/>
                <a:gd name="T36" fmla="*/ 27 w 101"/>
                <a:gd name="T37" fmla="*/ 83 h 155"/>
                <a:gd name="T38" fmla="*/ 40 w 101"/>
                <a:gd name="T39" fmla="*/ 78 h 155"/>
                <a:gd name="T40" fmla="*/ 41 w 101"/>
                <a:gd name="T41" fmla="*/ 81 h 155"/>
                <a:gd name="T42" fmla="*/ 32 w 101"/>
                <a:gd name="T43" fmla="*/ 87 h 155"/>
                <a:gd name="T44" fmla="*/ 25 w 101"/>
                <a:gd name="T45" fmla="*/ 94 h 155"/>
                <a:gd name="T46" fmla="*/ 21 w 101"/>
                <a:gd name="T47" fmla="*/ 89 h 155"/>
                <a:gd name="T48" fmla="*/ 10 w 101"/>
                <a:gd name="T49" fmla="*/ 108 h 155"/>
                <a:gd name="T50" fmla="*/ 5 w 101"/>
                <a:gd name="T51" fmla="*/ 117 h 155"/>
                <a:gd name="T52" fmla="*/ 0 w 101"/>
                <a:gd name="T53" fmla="*/ 126 h 155"/>
                <a:gd name="T54" fmla="*/ 3 w 101"/>
                <a:gd name="T55" fmla="*/ 143 h 155"/>
                <a:gd name="T56" fmla="*/ 12 w 101"/>
                <a:gd name="T57" fmla="*/ 155 h 155"/>
                <a:gd name="T58" fmla="*/ 21 w 101"/>
                <a:gd name="T59" fmla="*/ 152 h 155"/>
                <a:gd name="T60" fmla="*/ 26 w 101"/>
                <a:gd name="T61" fmla="*/ 155 h 155"/>
                <a:gd name="T62" fmla="*/ 32 w 101"/>
                <a:gd name="T63" fmla="*/ 142 h 155"/>
                <a:gd name="T64" fmla="*/ 35 w 101"/>
                <a:gd name="T65" fmla="*/ 125 h 155"/>
                <a:gd name="T66" fmla="*/ 37 w 101"/>
                <a:gd name="T67" fmla="*/ 119 h 155"/>
                <a:gd name="T68" fmla="*/ 35 w 101"/>
                <a:gd name="T69" fmla="*/ 114 h 155"/>
                <a:gd name="T70" fmla="*/ 43 w 101"/>
                <a:gd name="T71" fmla="*/ 102 h 155"/>
                <a:gd name="T72" fmla="*/ 57 w 101"/>
                <a:gd name="T73" fmla="*/ 90 h 155"/>
                <a:gd name="T74" fmla="*/ 66 w 101"/>
                <a:gd name="T75" fmla="*/ 79 h 155"/>
                <a:gd name="T76" fmla="*/ 73 w 101"/>
                <a:gd name="T77" fmla="*/ 69 h 155"/>
                <a:gd name="T78" fmla="*/ 78 w 101"/>
                <a:gd name="T79" fmla="*/ 58 h 155"/>
                <a:gd name="T80" fmla="*/ 89 w 101"/>
                <a:gd name="T81" fmla="*/ 53 h 155"/>
                <a:gd name="T82" fmla="*/ 82 w 101"/>
                <a:gd name="T83" fmla="*/ 50 h 155"/>
                <a:gd name="T84" fmla="*/ 91 w 101"/>
                <a:gd name="T85" fmla="*/ 38 h 155"/>
                <a:gd name="T86" fmla="*/ 95 w 101"/>
                <a:gd name="T87" fmla="*/ 27 h 155"/>
                <a:gd name="T88" fmla="*/ 99 w 101"/>
                <a:gd name="T89" fmla="*/ 1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1" h="155">
                  <a:moveTo>
                    <a:pt x="99" y="18"/>
                  </a:moveTo>
                  <a:cubicBezTo>
                    <a:pt x="96" y="15"/>
                    <a:pt x="96" y="15"/>
                    <a:pt x="96" y="15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88" y="15"/>
                    <a:pt x="88" y="15"/>
                    <a:pt x="88" y="15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1" y="40"/>
                    <a:pt x="71" y="42"/>
                  </a:cubicBezTo>
                  <a:cubicBezTo>
                    <a:pt x="72" y="43"/>
                    <a:pt x="72" y="45"/>
                    <a:pt x="73" y="45"/>
                  </a:cubicBezTo>
                  <a:cubicBezTo>
                    <a:pt x="74" y="45"/>
                    <a:pt x="75" y="46"/>
                    <a:pt x="76" y="46"/>
                  </a:cubicBezTo>
                  <a:cubicBezTo>
                    <a:pt x="77" y="46"/>
                    <a:pt x="80" y="45"/>
                    <a:pt x="80" y="45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3" y="90"/>
                    <a:pt x="14" y="89"/>
                  </a:cubicBezTo>
                  <a:cubicBezTo>
                    <a:pt x="15" y="89"/>
                    <a:pt x="17" y="87"/>
                    <a:pt x="17" y="87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2" y="87"/>
                    <a:pt x="32" y="87"/>
                    <a:pt x="32" y="87"/>
                  </a:cubicBezTo>
                  <a:cubicBezTo>
                    <a:pt x="30" y="93"/>
                    <a:pt x="30" y="93"/>
                    <a:pt x="30" y="93"/>
                  </a:cubicBezTo>
                  <a:cubicBezTo>
                    <a:pt x="30" y="93"/>
                    <a:pt x="28" y="94"/>
                    <a:pt x="27" y="94"/>
                  </a:cubicBezTo>
                  <a:cubicBezTo>
                    <a:pt x="26" y="95"/>
                    <a:pt x="25" y="94"/>
                    <a:pt x="25" y="94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18"/>
                    <a:pt x="4" y="120"/>
                    <a:pt x="3" y="121"/>
                  </a:cubicBezTo>
                  <a:cubicBezTo>
                    <a:pt x="3" y="122"/>
                    <a:pt x="0" y="126"/>
                    <a:pt x="0" y="126"/>
                  </a:cubicBezTo>
                  <a:cubicBezTo>
                    <a:pt x="2" y="128"/>
                    <a:pt x="2" y="128"/>
                    <a:pt x="2" y="128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5" y="149"/>
                    <a:pt x="5" y="149"/>
                    <a:pt x="5" y="149"/>
                  </a:cubicBezTo>
                  <a:cubicBezTo>
                    <a:pt x="10" y="155"/>
                    <a:pt x="10" y="155"/>
                    <a:pt x="10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49"/>
                    <a:pt x="15" y="149"/>
                    <a:pt x="15" y="149"/>
                  </a:cubicBezTo>
                  <a:cubicBezTo>
                    <a:pt x="21" y="152"/>
                    <a:pt x="21" y="152"/>
                    <a:pt x="21" y="152"/>
                  </a:cubicBezTo>
                  <a:cubicBezTo>
                    <a:pt x="23" y="153"/>
                    <a:pt x="23" y="153"/>
                    <a:pt x="23" y="153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52"/>
                    <a:pt x="26" y="152"/>
                    <a:pt x="26" y="152"/>
                  </a:cubicBezTo>
                  <a:cubicBezTo>
                    <a:pt x="28" y="147"/>
                    <a:pt x="28" y="147"/>
                    <a:pt x="28" y="147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6"/>
                    <a:pt x="37" y="116"/>
                    <a:pt x="37" y="116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101" y="22"/>
                    <a:pt x="101" y="22"/>
                    <a:pt x="101" y="22"/>
                  </a:cubicBezTo>
                  <a:lnTo>
                    <a:pt x="99" y="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>
              <a:off x="5698253" y="3541352"/>
              <a:ext cx="88982" cy="41795"/>
            </a:xfrm>
            <a:custGeom>
              <a:avLst/>
              <a:gdLst>
                <a:gd name="T0" fmla="*/ 35 w 47"/>
                <a:gd name="T1" fmla="*/ 22 h 23"/>
                <a:gd name="T2" fmla="*/ 38 w 47"/>
                <a:gd name="T3" fmla="*/ 22 h 23"/>
                <a:gd name="T4" fmla="*/ 43 w 47"/>
                <a:gd name="T5" fmla="*/ 20 h 23"/>
                <a:gd name="T6" fmla="*/ 43 w 47"/>
                <a:gd name="T7" fmla="*/ 17 h 23"/>
                <a:gd name="T8" fmla="*/ 40 w 47"/>
                <a:gd name="T9" fmla="*/ 12 h 23"/>
                <a:gd name="T10" fmla="*/ 39 w 47"/>
                <a:gd name="T11" fmla="*/ 10 h 23"/>
                <a:gd name="T12" fmla="*/ 41 w 47"/>
                <a:gd name="T13" fmla="*/ 8 h 23"/>
                <a:gd name="T14" fmla="*/ 45 w 47"/>
                <a:gd name="T15" fmla="*/ 5 h 23"/>
                <a:gd name="T16" fmla="*/ 47 w 47"/>
                <a:gd name="T17" fmla="*/ 3 h 23"/>
                <a:gd name="T18" fmla="*/ 46 w 47"/>
                <a:gd name="T19" fmla="*/ 0 h 23"/>
                <a:gd name="T20" fmla="*/ 39 w 47"/>
                <a:gd name="T21" fmla="*/ 2 h 23"/>
                <a:gd name="T22" fmla="*/ 37 w 47"/>
                <a:gd name="T23" fmla="*/ 4 h 23"/>
                <a:gd name="T24" fmla="*/ 33 w 47"/>
                <a:gd name="T25" fmla="*/ 7 h 23"/>
                <a:gd name="T26" fmla="*/ 29 w 47"/>
                <a:gd name="T27" fmla="*/ 11 h 23"/>
                <a:gd name="T28" fmla="*/ 27 w 47"/>
                <a:gd name="T29" fmla="*/ 12 h 23"/>
                <a:gd name="T30" fmla="*/ 23 w 47"/>
                <a:gd name="T31" fmla="*/ 12 h 23"/>
                <a:gd name="T32" fmla="*/ 15 w 47"/>
                <a:gd name="T33" fmla="*/ 13 h 23"/>
                <a:gd name="T34" fmla="*/ 13 w 47"/>
                <a:gd name="T35" fmla="*/ 14 h 23"/>
                <a:gd name="T36" fmla="*/ 11 w 47"/>
                <a:gd name="T37" fmla="*/ 15 h 23"/>
                <a:gd name="T38" fmla="*/ 9 w 47"/>
                <a:gd name="T39" fmla="*/ 14 h 23"/>
                <a:gd name="T40" fmla="*/ 7 w 47"/>
                <a:gd name="T41" fmla="*/ 12 h 23"/>
                <a:gd name="T42" fmla="*/ 4 w 47"/>
                <a:gd name="T43" fmla="*/ 9 h 23"/>
                <a:gd name="T44" fmla="*/ 3 w 47"/>
                <a:gd name="T45" fmla="*/ 5 h 23"/>
                <a:gd name="T46" fmla="*/ 1 w 47"/>
                <a:gd name="T47" fmla="*/ 5 h 23"/>
                <a:gd name="T48" fmla="*/ 0 w 47"/>
                <a:gd name="T49" fmla="*/ 9 h 23"/>
                <a:gd name="T50" fmla="*/ 0 w 47"/>
                <a:gd name="T51" fmla="*/ 12 h 23"/>
                <a:gd name="T52" fmla="*/ 1 w 47"/>
                <a:gd name="T53" fmla="*/ 14 h 23"/>
                <a:gd name="T54" fmla="*/ 2 w 47"/>
                <a:gd name="T55" fmla="*/ 16 h 23"/>
                <a:gd name="T56" fmla="*/ 5 w 47"/>
                <a:gd name="T57" fmla="*/ 19 h 23"/>
                <a:gd name="T58" fmla="*/ 11 w 47"/>
                <a:gd name="T59" fmla="*/ 20 h 23"/>
                <a:gd name="T60" fmla="*/ 17 w 47"/>
                <a:gd name="T61" fmla="*/ 21 h 23"/>
                <a:gd name="T62" fmla="*/ 20 w 47"/>
                <a:gd name="T63" fmla="*/ 20 h 23"/>
                <a:gd name="T64" fmla="*/ 22 w 47"/>
                <a:gd name="T65" fmla="*/ 20 h 23"/>
                <a:gd name="T66" fmla="*/ 24 w 47"/>
                <a:gd name="T67" fmla="*/ 21 h 23"/>
                <a:gd name="T68" fmla="*/ 25 w 47"/>
                <a:gd name="T69" fmla="*/ 22 h 23"/>
                <a:gd name="T70" fmla="*/ 30 w 47"/>
                <a:gd name="T71" fmla="*/ 23 h 23"/>
                <a:gd name="T72" fmla="*/ 34 w 47"/>
                <a:gd name="T73" fmla="*/ 23 h 23"/>
                <a:gd name="T74" fmla="*/ 35 w 47"/>
                <a:gd name="T7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" h="23">
                  <a:moveTo>
                    <a:pt x="35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38" y="11"/>
                    <a:pt x="39" y="10"/>
                  </a:cubicBezTo>
                  <a:cubicBezTo>
                    <a:pt x="40" y="9"/>
                    <a:pt x="41" y="8"/>
                    <a:pt x="41" y="8"/>
                  </a:cubicBezTo>
                  <a:cubicBezTo>
                    <a:pt x="41" y="8"/>
                    <a:pt x="44" y="6"/>
                    <a:pt x="45" y="5"/>
                  </a:cubicBezTo>
                  <a:cubicBezTo>
                    <a:pt x="45" y="5"/>
                    <a:pt x="47" y="3"/>
                    <a:pt x="47" y="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7" y="4"/>
                    <a:pt x="37" y="4"/>
                  </a:cubicBezTo>
                  <a:cubicBezTo>
                    <a:pt x="36" y="4"/>
                    <a:pt x="34" y="6"/>
                    <a:pt x="33" y="7"/>
                  </a:cubicBezTo>
                  <a:cubicBezTo>
                    <a:pt x="32" y="9"/>
                    <a:pt x="30" y="10"/>
                    <a:pt x="29" y="11"/>
                  </a:cubicBezTo>
                  <a:cubicBezTo>
                    <a:pt x="28" y="12"/>
                    <a:pt x="29" y="11"/>
                    <a:pt x="27" y="12"/>
                  </a:cubicBezTo>
                  <a:cubicBezTo>
                    <a:pt x="25" y="12"/>
                    <a:pt x="24" y="11"/>
                    <a:pt x="23" y="12"/>
                  </a:cubicBezTo>
                  <a:cubicBezTo>
                    <a:pt x="21" y="12"/>
                    <a:pt x="15" y="13"/>
                    <a:pt x="15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1" y="5"/>
                    <a:pt x="1" y="5"/>
                  </a:cubicBezTo>
                  <a:cubicBezTo>
                    <a:pt x="0" y="5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4"/>
                    <a:pt x="1" y="14"/>
                  </a:cubicBezTo>
                  <a:cubicBezTo>
                    <a:pt x="1" y="15"/>
                    <a:pt x="2" y="16"/>
                    <a:pt x="2" y="16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20" y="20"/>
                    <a:pt x="20" y="20"/>
                  </a:cubicBezTo>
                  <a:cubicBezTo>
                    <a:pt x="20" y="20"/>
                    <a:pt x="22" y="20"/>
                    <a:pt x="22" y="20"/>
                  </a:cubicBezTo>
                  <a:cubicBezTo>
                    <a:pt x="22" y="20"/>
                    <a:pt x="24" y="21"/>
                    <a:pt x="24" y="21"/>
                  </a:cubicBezTo>
                  <a:cubicBezTo>
                    <a:pt x="25" y="22"/>
                    <a:pt x="23" y="21"/>
                    <a:pt x="25" y="22"/>
                  </a:cubicBezTo>
                  <a:cubicBezTo>
                    <a:pt x="27" y="23"/>
                    <a:pt x="27" y="23"/>
                    <a:pt x="30" y="23"/>
                  </a:cubicBezTo>
                  <a:cubicBezTo>
                    <a:pt x="32" y="23"/>
                    <a:pt x="34" y="23"/>
                    <a:pt x="34" y="23"/>
                  </a:cubicBezTo>
                  <a:lnTo>
                    <a:pt x="35" y="2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5312664" y="2887469"/>
              <a:ext cx="756349" cy="533893"/>
            </a:xfrm>
            <a:custGeom>
              <a:avLst/>
              <a:gdLst>
                <a:gd name="T0" fmla="*/ 381 w 405"/>
                <a:gd name="T1" fmla="*/ 201 h 286"/>
                <a:gd name="T2" fmla="*/ 371 w 405"/>
                <a:gd name="T3" fmla="*/ 213 h 286"/>
                <a:gd name="T4" fmla="*/ 367 w 405"/>
                <a:gd name="T5" fmla="*/ 190 h 286"/>
                <a:gd name="T6" fmla="*/ 353 w 405"/>
                <a:gd name="T7" fmla="*/ 183 h 286"/>
                <a:gd name="T8" fmla="*/ 327 w 405"/>
                <a:gd name="T9" fmla="*/ 197 h 286"/>
                <a:gd name="T10" fmla="*/ 316 w 405"/>
                <a:gd name="T11" fmla="*/ 200 h 286"/>
                <a:gd name="T12" fmla="*/ 311 w 405"/>
                <a:gd name="T13" fmla="*/ 183 h 286"/>
                <a:gd name="T14" fmla="*/ 295 w 405"/>
                <a:gd name="T15" fmla="*/ 188 h 286"/>
                <a:gd name="T16" fmla="*/ 285 w 405"/>
                <a:gd name="T17" fmla="*/ 190 h 286"/>
                <a:gd name="T18" fmla="*/ 277 w 405"/>
                <a:gd name="T19" fmla="*/ 157 h 286"/>
                <a:gd name="T20" fmla="*/ 267 w 405"/>
                <a:gd name="T21" fmla="*/ 158 h 286"/>
                <a:gd name="T22" fmla="*/ 259 w 405"/>
                <a:gd name="T23" fmla="*/ 126 h 286"/>
                <a:gd name="T24" fmla="*/ 236 w 405"/>
                <a:gd name="T25" fmla="*/ 100 h 286"/>
                <a:gd name="T26" fmla="*/ 212 w 405"/>
                <a:gd name="T27" fmla="*/ 100 h 286"/>
                <a:gd name="T28" fmla="*/ 188 w 405"/>
                <a:gd name="T29" fmla="*/ 129 h 286"/>
                <a:gd name="T30" fmla="*/ 166 w 405"/>
                <a:gd name="T31" fmla="*/ 143 h 286"/>
                <a:gd name="T32" fmla="*/ 185 w 405"/>
                <a:gd name="T33" fmla="*/ 114 h 286"/>
                <a:gd name="T34" fmla="*/ 198 w 405"/>
                <a:gd name="T35" fmla="*/ 85 h 286"/>
                <a:gd name="T36" fmla="*/ 172 w 405"/>
                <a:gd name="T37" fmla="*/ 91 h 286"/>
                <a:gd name="T38" fmla="*/ 139 w 405"/>
                <a:gd name="T39" fmla="*/ 97 h 286"/>
                <a:gd name="T40" fmla="*/ 108 w 405"/>
                <a:gd name="T41" fmla="*/ 86 h 286"/>
                <a:gd name="T42" fmla="*/ 97 w 405"/>
                <a:gd name="T43" fmla="*/ 75 h 286"/>
                <a:gd name="T44" fmla="*/ 91 w 405"/>
                <a:gd name="T45" fmla="*/ 59 h 286"/>
                <a:gd name="T46" fmla="*/ 77 w 405"/>
                <a:gd name="T47" fmla="*/ 44 h 286"/>
                <a:gd name="T48" fmla="*/ 62 w 405"/>
                <a:gd name="T49" fmla="*/ 50 h 286"/>
                <a:gd name="T50" fmla="*/ 55 w 405"/>
                <a:gd name="T51" fmla="*/ 35 h 286"/>
                <a:gd name="T52" fmla="*/ 50 w 405"/>
                <a:gd name="T53" fmla="*/ 28 h 286"/>
                <a:gd name="T54" fmla="*/ 35 w 405"/>
                <a:gd name="T55" fmla="*/ 20 h 286"/>
                <a:gd name="T56" fmla="*/ 17 w 405"/>
                <a:gd name="T57" fmla="*/ 10 h 286"/>
                <a:gd name="T58" fmla="*/ 1 w 405"/>
                <a:gd name="T59" fmla="*/ 3 h 286"/>
                <a:gd name="T60" fmla="*/ 12 w 405"/>
                <a:gd name="T61" fmla="*/ 24 h 286"/>
                <a:gd name="T62" fmla="*/ 32 w 405"/>
                <a:gd name="T63" fmla="*/ 36 h 286"/>
                <a:gd name="T64" fmla="*/ 45 w 405"/>
                <a:gd name="T65" fmla="*/ 63 h 286"/>
                <a:gd name="T66" fmla="*/ 66 w 405"/>
                <a:gd name="T67" fmla="*/ 81 h 286"/>
                <a:gd name="T68" fmla="*/ 90 w 405"/>
                <a:gd name="T69" fmla="*/ 114 h 286"/>
                <a:gd name="T70" fmla="*/ 104 w 405"/>
                <a:gd name="T71" fmla="*/ 134 h 286"/>
                <a:gd name="T72" fmla="*/ 84 w 405"/>
                <a:gd name="T73" fmla="*/ 153 h 286"/>
                <a:gd name="T74" fmla="*/ 55 w 405"/>
                <a:gd name="T75" fmla="*/ 150 h 286"/>
                <a:gd name="T76" fmla="*/ 48 w 405"/>
                <a:gd name="T77" fmla="*/ 167 h 286"/>
                <a:gd name="T78" fmla="*/ 51 w 405"/>
                <a:gd name="T79" fmla="*/ 179 h 286"/>
                <a:gd name="T80" fmla="*/ 67 w 405"/>
                <a:gd name="T81" fmla="*/ 204 h 286"/>
                <a:gd name="T82" fmla="*/ 78 w 405"/>
                <a:gd name="T83" fmla="*/ 223 h 286"/>
                <a:gd name="T84" fmla="*/ 92 w 405"/>
                <a:gd name="T85" fmla="*/ 223 h 286"/>
                <a:gd name="T86" fmla="*/ 114 w 405"/>
                <a:gd name="T87" fmla="*/ 226 h 286"/>
                <a:gd name="T88" fmla="*/ 132 w 405"/>
                <a:gd name="T89" fmla="*/ 216 h 286"/>
                <a:gd name="T90" fmla="*/ 133 w 405"/>
                <a:gd name="T91" fmla="*/ 205 h 286"/>
                <a:gd name="T92" fmla="*/ 261 w 405"/>
                <a:gd name="T93" fmla="*/ 161 h 286"/>
                <a:gd name="T94" fmla="*/ 269 w 405"/>
                <a:gd name="T95" fmla="*/ 180 h 286"/>
                <a:gd name="T96" fmla="*/ 271 w 405"/>
                <a:gd name="T97" fmla="*/ 205 h 286"/>
                <a:gd name="T98" fmla="*/ 279 w 405"/>
                <a:gd name="T99" fmla="*/ 233 h 286"/>
                <a:gd name="T100" fmla="*/ 281 w 405"/>
                <a:gd name="T101" fmla="*/ 250 h 286"/>
                <a:gd name="T102" fmla="*/ 277 w 405"/>
                <a:gd name="T103" fmla="*/ 263 h 286"/>
                <a:gd name="T104" fmla="*/ 282 w 405"/>
                <a:gd name="T105" fmla="*/ 282 h 286"/>
                <a:gd name="T106" fmla="*/ 302 w 405"/>
                <a:gd name="T107" fmla="*/ 275 h 286"/>
                <a:gd name="T108" fmla="*/ 330 w 405"/>
                <a:gd name="T109" fmla="*/ 260 h 286"/>
                <a:gd name="T110" fmla="*/ 347 w 405"/>
                <a:gd name="T111" fmla="*/ 252 h 286"/>
                <a:gd name="T112" fmla="*/ 361 w 405"/>
                <a:gd name="T113" fmla="*/ 237 h 286"/>
                <a:gd name="T114" fmla="*/ 348 w 405"/>
                <a:gd name="T115" fmla="*/ 269 h 286"/>
                <a:gd name="T116" fmla="*/ 366 w 405"/>
                <a:gd name="T117" fmla="*/ 245 h 286"/>
                <a:gd name="T118" fmla="*/ 378 w 405"/>
                <a:gd name="T119" fmla="*/ 228 h 286"/>
                <a:gd name="T120" fmla="*/ 388 w 405"/>
                <a:gd name="T121" fmla="*/ 24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5" h="286">
                  <a:moveTo>
                    <a:pt x="403" y="229"/>
                  </a:moveTo>
                  <a:cubicBezTo>
                    <a:pt x="400" y="225"/>
                    <a:pt x="400" y="225"/>
                    <a:pt x="400" y="225"/>
                  </a:cubicBezTo>
                  <a:cubicBezTo>
                    <a:pt x="397" y="223"/>
                    <a:pt x="397" y="223"/>
                    <a:pt x="397" y="223"/>
                  </a:cubicBezTo>
                  <a:cubicBezTo>
                    <a:pt x="390" y="218"/>
                    <a:pt x="390" y="218"/>
                    <a:pt x="390" y="218"/>
                  </a:cubicBezTo>
                  <a:cubicBezTo>
                    <a:pt x="388" y="215"/>
                    <a:pt x="388" y="215"/>
                    <a:pt x="388" y="215"/>
                  </a:cubicBezTo>
                  <a:cubicBezTo>
                    <a:pt x="386" y="212"/>
                    <a:pt x="386" y="212"/>
                    <a:pt x="386" y="212"/>
                  </a:cubicBezTo>
                  <a:cubicBezTo>
                    <a:pt x="385" y="207"/>
                    <a:pt x="385" y="207"/>
                    <a:pt x="385" y="207"/>
                  </a:cubicBezTo>
                  <a:cubicBezTo>
                    <a:pt x="385" y="201"/>
                    <a:pt x="385" y="201"/>
                    <a:pt x="385" y="201"/>
                  </a:cubicBezTo>
                  <a:cubicBezTo>
                    <a:pt x="381" y="201"/>
                    <a:pt x="381" y="201"/>
                    <a:pt x="381" y="201"/>
                  </a:cubicBezTo>
                  <a:cubicBezTo>
                    <a:pt x="380" y="202"/>
                    <a:pt x="381" y="204"/>
                    <a:pt x="381" y="204"/>
                  </a:cubicBezTo>
                  <a:cubicBezTo>
                    <a:pt x="381" y="205"/>
                    <a:pt x="381" y="208"/>
                    <a:pt x="381" y="208"/>
                  </a:cubicBezTo>
                  <a:cubicBezTo>
                    <a:pt x="380" y="211"/>
                    <a:pt x="380" y="211"/>
                    <a:pt x="380" y="211"/>
                  </a:cubicBezTo>
                  <a:cubicBezTo>
                    <a:pt x="380" y="211"/>
                    <a:pt x="381" y="212"/>
                    <a:pt x="381" y="213"/>
                  </a:cubicBezTo>
                  <a:cubicBezTo>
                    <a:pt x="381" y="213"/>
                    <a:pt x="381" y="217"/>
                    <a:pt x="381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8" y="218"/>
                    <a:pt x="376" y="217"/>
                    <a:pt x="375" y="216"/>
                  </a:cubicBezTo>
                  <a:cubicBezTo>
                    <a:pt x="375" y="215"/>
                    <a:pt x="373" y="214"/>
                    <a:pt x="373" y="214"/>
                  </a:cubicBezTo>
                  <a:cubicBezTo>
                    <a:pt x="371" y="213"/>
                    <a:pt x="371" y="213"/>
                    <a:pt x="371" y="213"/>
                  </a:cubicBezTo>
                  <a:cubicBezTo>
                    <a:pt x="366" y="210"/>
                    <a:pt x="366" y="210"/>
                    <a:pt x="366" y="210"/>
                  </a:cubicBezTo>
                  <a:cubicBezTo>
                    <a:pt x="367" y="206"/>
                    <a:pt x="367" y="206"/>
                    <a:pt x="36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70" y="198"/>
                    <a:pt x="370" y="198"/>
                    <a:pt x="370" y="198"/>
                  </a:cubicBezTo>
                  <a:cubicBezTo>
                    <a:pt x="370" y="198"/>
                    <a:pt x="370" y="196"/>
                    <a:pt x="371" y="195"/>
                  </a:cubicBezTo>
                  <a:cubicBezTo>
                    <a:pt x="372" y="194"/>
                    <a:pt x="373" y="192"/>
                    <a:pt x="373" y="192"/>
                  </a:cubicBezTo>
                  <a:cubicBezTo>
                    <a:pt x="373" y="190"/>
                    <a:pt x="373" y="190"/>
                    <a:pt x="373" y="190"/>
                  </a:cubicBezTo>
                  <a:cubicBezTo>
                    <a:pt x="369" y="188"/>
                    <a:pt x="369" y="188"/>
                    <a:pt x="369" y="188"/>
                  </a:cubicBezTo>
                  <a:cubicBezTo>
                    <a:pt x="367" y="190"/>
                    <a:pt x="367" y="190"/>
                    <a:pt x="367" y="190"/>
                  </a:cubicBezTo>
                  <a:cubicBezTo>
                    <a:pt x="362" y="193"/>
                    <a:pt x="362" y="193"/>
                    <a:pt x="362" y="193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62" y="203"/>
                    <a:pt x="362" y="203"/>
                    <a:pt x="362" y="203"/>
                  </a:cubicBezTo>
                  <a:cubicBezTo>
                    <a:pt x="362" y="203"/>
                    <a:pt x="360" y="200"/>
                    <a:pt x="359" y="200"/>
                  </a:cubicBezTo>
                  <a:cubicBezTo>
                    <a:pt x="358" y="199"/>
                    <a:pt x="357" y="194"/>
                    <a:pt x="357" y="194"/>
                  </a:cubicBezTo>
                  <a:cubicBezTo>
                    <a:pt x="352" y="192"/>
                    <a:pt x="352" y="192"/>
                    <a:pt x="352" y="192"/>
                  </a:cubicBezTo>
                  <a:cubicBezTo>
                    <a:pt x="351" y="189"/>
                    <a:pt x="351" y="189"/>
                    <a:pt x="351" y="189"/>
                  </a:cubicBezTo>
                  <a:cubicBezTo>
                    <a:pt x="352" y="185"/>
                    <a:pt x="352" y="185"/>
                    <a:pt x="352" y="185"/>
                  </a:cubicBezTo>
                  <a:cubicBezTo>
                    <a:pt x="353" y="183"/>
                    <a:pt x="353" y="183"/>
                    <a:pt x="353" y="183"/>
                  </a:cubicBezTo>
                  <a:cubicBezTo>
                    <a:pt x="353" y="180"/>
                    <a:pt x="353" y="180"/>
                    <a:pt x="353" y="180"/>
                  </a:cubicBezTo>
                  <a:cubicBezTo>
                    <a:pt x="350" y="178"/>
                    <a:pt x="350" y="178"/>
                    <a:pt x="350" y="178"/>
                  </a:cubicBezTo>
                  <a:cubicBezTo>
                    <a:pt x="344" y="178"/>
                    <a:pt x="344" y="178"/>
                    <a:pt x="344" y="178"/>
                  </a:cubicBezTo>
                  <a:cubicBezTo>
                    <a:pt x="341" y="182"/>
                    <a:pt x="341" y="182"/>
                    <a:pt x="341" y="182"/>
                  </a:cubicBezTo>
                  <a:cubicBezTo>
                    <a:pt x="337" y="183"/>
                    <a:pt x="337" y="183"/>
                    <a:pt x="337" y="183"/>
                  </a:cubicBezTo>
                  <a:cubicBezTo>
                    <a:pt x="332" y="184"/>
                    <a:pt x="332" y="184"/>
                    <a:pt x="332" y="184"/>
                  </a:cubicBezTo>
                  <a:cubicBezTo>
                    <a:pt x="331" y="189"/>
                    <a:pt x="331" y="189"/>
                    <a:pt x="331" y="189"/>
                  </a:cubicBezTo>
                  <a:cubicBezTo>
                    <a:pt x="328" y="194"/>
                    <a:pt x="328" y="194"/>
                    <a:pt x="328" y="194"/>
                  </a:cubicBezTo>
                  <a:cubicBezTo>
                    <a:pt x="327" y="197"/>
                    <a:pt x="327" y="197"/>
                    <a:pt x="327" y="197"/>
                  </a:cubicBezTo>
                  <a:cubicBezTo>
                    <a:pt x="326" y="209"/>
                    <a:pt x="326" y="209"/>
                    <a:pt x="326" y="209"/>
                  </a:cubicBezTo>
                  <a:cubicBezTo>
                    <a:pt x="325" y="208"/>
                    <a:pt x="325" y="208"/>
                    <a:pt x="325" y="208"/>
                  </a:cubicBezTo>
                  <a:cubicBezTo>
                    <a:pt x="324" y="200"/>
                    <a:pt x="324" y="200"/>
                    <a:pt x="324" y="200"/>
                  </a:cubicBezTo>
                  <a:cubicBezTo>
                    <a:pt x="323" y="196"/>
                    <a:pt x="323" y="196"/>
                    <a:pt x="323" y="196"/>
                  </a:cubicBezTo>
                  <a:cubicBezTo>
                    <a:pt x="322" y="192"/>
                    <a:pt x="322" y="192"/>
                    <a:pt x="322" y="192"/>
                  </a:cubicBezTo>
                  <a:cubicBezTo>
                    <a:pt x="320" y="192"/>
                    <a:pt x="320" y="192"/>
                    <a:pt x="320" y="192"/>
                  </a:cubicBezTo>
                  <a:cubicBezTo>
                    <a:pt x="318" y="196"/>
                    <a:pt x="318" y="196"/>
                    <a:pt x="318" y="196"/>
                  </a:cubicBezTo>
                  <a:cubicBezTo>
                    <a:pt x="318" y="198"/>
                    <a:pt x="318" y="198"/>
                    <a:pt x="318" y="198"/>
                  </a:cubicBezTo>
                  <a:cubicBezTo>
                    <a:pt x="318" y="198"/>
                    <a:pt x="317" y="199"/>
                    <a:pt x="316" y="200"/>
                  </a:cubicBezTo>
                  <a:cubicBezTo>
                    <a:pt x="315" y="200"/>
                    <a:pt x="314" y="202"/>
                    <a:pt x="313" y="202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10" y="200"/>
                    <a:pt x="310" y="200"/>
                    <a:pt x="310" y="200"/>
                  </a:cubicBezTo>
                  <a:cubicBezTo>
                    <a:pt x="308" y="198"/>
                    <a:pt x="308" y="198"/>
                    <a:pt x="308" y="198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8" y="193"/>
                    <a:pt x="308" y="193"/>
                    <a:pt x="308" y="193"/>
                  </a:cubicBezTo>
                  <a:cubicBezTo>
                    <a:pt x="308" y="193"/>
                    <a:pt x="310" y="190"/>
                    <a:pt x="310" y="189"/>
                  </a:cubicBezTo>
                  <a:cubicBezTo>
                    <a:pt x="310" y="188"/>
                    <a:pt x="311" y="185"/>
                    <a:pt x="311" y="185"/>
                  </a:cubicBezTo>
                  <a:cubicBezTo>
                    <a:pt x="311" y="183"/>
                    <a:pt x="311" y="183"/>
                    <a:pt x="311" y="183"/>
                  </a:cubicBezTo>
                  <a:cubicBezTo>
                    <a:pt x="311" y="183"/>
                    <a:pt x="308" y="183"/>
                    <a:pt x="307" y="183"/>
                  </a:cubicBezTo>
                  <a:cubicBezTo>
                    <a:pt x="307" y="184"/>
                    <a:pt x="306" y="186"/>
                    <a:pt x="306" y="186"/>
                  </a:cubicBezTo>
                  <a:cubicBezTo>
                    <a:pt x="304" y="186"/>
                    <a:pt x="304" y="186"/>
                    <a:pt x="304" y="186"/>
                  </a:cubicBezTo>
                  <a:cubicBezTo>
                    <a:pt x="304" y="186"/>
                    <a:pt x="304" y="184"/>
                    <a:pt x="302" y="185"/>
                  </a:cubicBezTo>
                  <a:cubicBezTo>
                    <a:pt x="301" y="186"/>
                    <a:pt x="301" y="186"/>
                    <a:pt x="301" y="186"/>
                  </a:cubicBezTo>
                  <a:cubicBezTo>
                    <a:pt x="300" y="187"/>
                    <a:pt x="300" y="187"/>
                    <a:pt x="300" y="187"/>
                  </a:cubicBezTo>
                  <a:cubicBezTo>
                    <a:pt x="298" y="189"/>
                    <a:pt x="298" y="189"/>
                    <a:pt x="298" y="189"/>
                  </a:cubicBezTo>
                  <a:cubicBezTo>
                    <a:pt x="295" y="186"/>
                    <a:pt x="295" y="186"/>
                    <a:pt x="295" y="186"/>
                  </a:cubicBezTo>
                  <a:cubicBezTo>
                    <a:pt x="295" y="188"/>
                    <a:pt x="295" y="188"/>
                    <a:pt x="295" y="188"/>
                  </a:cubicBezTo>
                  <a:cubicBezTo>
                    <a:pt x="294" y="194"/>
                    <a:pt x="294" y="194"/>
                    <a:pt x="294" y="194"/>
                  </a:cubicBezTo>
                  <a:cubicBezTo>
                    <a:pt x="293" y="199"/>
                    <a:pt x="293" y="199"/>
                    <a:pt x="293" y="199"/>
                  </a:cubicBezTo>
                  <a:cubicBezTo>
                    <a:pt x="294" y="203"/>
                    <a:pt x="294" y="203"/>
                    <a:pt x="294" y="203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291" y="206"/>
                    <a:pt x="291" y="206"/>
                    <a:pt x="291" y="206"/>
                  </a:cubicBezTo>
                  <a:cubicBezTo>
                    <a:pt x="290" y="205"/>
                    <a:pt x="290" y="205"/>
                    <a:pt x="290" y="205"/>
                  </a:cubicBezTo>
                  <a:cubicBezTo>
                    <a:pt x="288" y="200"/>
                    <a:pt x="288" y="200"/>
                    <a:pt x="288" y="200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5" y="190"/>
                    <a:pt x="285" y="190"/>
                    <a:pt x="285" y="190"/>
                  </a:cubicBezTo>
                  <a:cubicBezTo>
                    <a:pt x="285" y="188"/>
                    <a:pt x="285" y="188"/>
                    <a:pt x="285" y="188"/>
                  </a:cubicBezTo>
                  <a:cubicBezTo>
                    <a:pt x="285" y="182"/>
                    <a:pt x="285" y="182"/>
                    <a:pt x="285" y="182"/>
                  </a:cubicBezTo>
                  <a:cubicBezTo>
                    <a:pt x="285" y="179"/>
                    <a:pt x="285" y="179"/>
                    <a:pt x="285" y="179"/>
                  </a:cubicBezTo>
                  <a:cubicBezTo>
                    <a:pt x="286" y="169"/>
                    <a:pt x="286" y="169"/>
                    <a:pt x="286" y="169"/>
                  </a:cubicBezTo>
                  <a:cubicBezTo>
                    <a:pt x="286" y="167"/>
                    <a:pt x="286" y="167"/>
                    <a:pt x="286" y="167"/>
                  </a:cubicBezTo>
                  <a:cubicBezTo>
                    <a:pt x="286" y="159"/>
                    <a:pt x="286" y="159"/>
                    <a:pt x="286" y="159"/>
                  </a:cubicBezTo>
                  <a:cubicBezTo>
                    <a:pt x="286" y="159"/>
                    <a:pt x="287" y="157"/>
                    <a:pt x="284" y="158"/>
                  </a:cubicBezTo>
                  <a:cubicBezTo>
                    <a:pt x="282" y="158"/>
                    <a:pt x="277" y="159"/>
                    <a:pt x="277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7" y="154"/>
                    <a:pt x="277" y="154"/>
                    <a:pt x="277" y="154"/>
                  </a:cubicBezTo>
                  <a:cubicBezTo>
                    <a:pt x="277" y="154"/>
                    <a:pt x="279" y="152"/>
                    <a:pt x="279" y="152"/>
                  </a:cubicBezTo>
                  <a:cubicBezTo>
                    <a:pt x="280" y="152"/>
                    <a:pt x="282" y="150"/>
                    <a:pt x="282" y="150"/>
                  </a:cubicBezTo>
                  <a:cubicBezTo>
                    <a:pt x="282" y="148"/>
                    <a:pt x="282" y="148"/>
                    <a:pt x="282" y="148"/>
                  </a:cubicBezTo>
                  <a:cubicBezTo>
                    <a:pt x="280" y="145"/>
                    <a:pt x="280" y="145"/>
                    <a:pt x="280" y="145"/>
                  </a:cubicBezTo>
                  <a:cubicBezTo>
                    <a:pt x="280" y="145"/>
                    <a:pt x="277" y="145"/>
                    <a:pt x="276" y="146"/>
                  </a:cubicBezTo>
                  <a:cubicBezTo>
                    <a:pt x="275" y="148"/>
                    <a:pt x="273" y="152"/>
                    <a:pt x="273" y="153"/>
                  </a:cubicBezTo>
                  <a:cubicBezTo>
                    <a:pt x="272" y="154"/>
                    <a:pt x="270" y="155"/>
                    <a:pt x="269" y="156"/>
                  </a:cubicBezTo>
                  <a:cubicBezTo>
                    <a:pt x="268" y="157"/>
                    <a:pt x="267" y="158"/>
                    <a:pt x="267" y="158"/>
                  </a:cubicBezTo>
                  <a:cubicBezTo>
                    <a:pt x="265" y="157"/>
                    <a:pt x="265" y="157"/>
                    <a:pt x="265" y="157"/>
                  </a:cubicBezTo>
                  <a:cubicBezTo>
                    <a:pt x="264" y="156"/>
                    <a:pt x="264" y="156"/>
                    <a:pt x="264" y="156"/>
                  </a:cubicBezTo>
                  <a:cubicBezTo>
                    <a:pt x="262" y="155"/>
                    <a:pt x="262" y="155"/>
                    <a:pt x="262" y="155"/>
                  </a:cubicBezTo>
                  <a:cubicBezTo>
                    <a:pt x="264" y="148"/>
                    <a:pt x="264" y="148"/>
                    <a:pt x="264" y="148"/>
                  </a:cubicBezTo>
                  <a:cubicBezTo>
                    <a:pt x="266" y="144"/>
                    <a:pt x="266" y="144"/>
                    <a:pt x="266" y="144"/>
                  </a:cubicBezTo>
                  <a:cubicBezTo>
                    <a:pt x="267" y="138"/>
                    <a:pt x="267" y="138"/>
                    <a:pt x="267" y="138"/>
                  </a:cubicBezTo>
                  <a:cubicBezTo>
                    <a:pt x="268" y="131"/>
                    <a:pt x="268" y="131"/>
                    <a:pt x="268" y="131"/>
                  </a:cubicBezTo>
                  <a:cubicBezTo>
                    <a:pt x="264" y="128"/>
                    <a:pt x="264" y="128"/>
                    <a:pt x="264" y="128"/>
                  </a:cubicBezTo>
                  <a:cubicBezTo>
                    <a:pt x="259" y="126"/>
                    <a:pt x="259" y="126"/>
                    <a:pt x="259" y="126"/>
                  </a:cubicBezTo>
                  <a:cubicBezTo>
                    <a:pt x="255" y="126"/>
                    <a:pt x="255" y="126"/>
                    <a:pt x="255" y="126"/>
                  </a:cubicBezTo>
                  <a:cubicBezTo>
                    <a:pt x="255" y="122"/>
                    <a:pt x="255" y="122"/>
                    <a:pt x="255" y="122"/>
                  </a:cubicBezTo>
                  <a:cubicBezTo>
                    <a:pt x="257" y="119"/>
                    <a:pt x="257" y="119"/>
                    <a:pt x="257" y="119"/>
                  </a:cubicBezTo>
                  <a:cubicBezTo>
                    <a:pt x="253" y="116"/>
                    <a:pt x="253" y="116"/>
                    <a:pt x="253" y="116"/>
                  </a:cubicBezTo>
                  <a:cubicBezTo>
                    <a:pt x="251" y="113"/>
                    <a:pt x="251" y="113"/>
                    <a:pt x="251" y="113"/>
                  </a:cubicBezTo>
                  <a:cubicBezTo>
                    <a:pt x="251" y="108"/>
                    <a:pt x="251" y="108"/>
                    <a:pt x="251" y="108"/>
                  </a:cubicBezTo>
                  <a:cubicBezTo>
                    <a:pt x="248" y="105"/>
                    <a:pt x="248" y="105"/>
                    <a:pt x="248" y="105"/>
                  </a:cubicBezTo>
                  <a:cubicBezTo>
                    <a:pt x="241" y="102"/>
                    <a:pt x="241" y="102"/>
                    <a:pt x="241" y="102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25" y="100"/>
                    <a:pt x="225" y="100"/>
                    <a:pt x="225" y="100"/>
                  </a:cubicBezTo>
                  <a:cubicBezTo>
                    <a:pt x="221" y="105"/>
                    <a:pt x="221" y="105"/>
                    <a:pt x="221" y="105"/>
                  </a:cubicBezTo>
                  <a:cubicBezTo>
                    <a:pt x="221" y="108"/>
                    <a:pt x="221" y="108"/>
                    <a:pt x="221" y="108"/>
                  </a:cubicBezTo>
                  <a:cubicBezTo>
                    <a:pt x="219" y="117"/>
                    <a:pt x="219" y="117"/>
                    <a:pt x="219" y="117"/>
                  </a:cubicBezTo>
                  <a:cubicBezTo>
                    <a:pt x="215" y="115"/>
                    <a:pt x="215" y="115"/>
                    <a:pt x="215" y="115"/>
                  </a:cubicBezTo>
                  <a:cubicBezTo>
                    <a:pt x="215" y="115"/>
                    <a:pt x="214" y="116"/>
                    <a:pt x="214" y="114"/>
                  </a:cubicBezTo>
                  <a:cubicBezTo>
                    <a:pt x="214" y="112"/>
                    <a:pt x="214" y="106"/>
                    <a:pt x="214" y="106"/>
                  </a:cubicBezTo>
                  <a:cubicBezTo>
                    <a:pt x="214" y="101"/>
                    <a:pt x="214" y="101"/>
                    <a:pt x="214" y="101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08" y="98"/>
                    <a:pt x="208" y="98"/>
                    <a:pt x="208" y="98"/>
                  </a:cubicBezTo>
                  <a:cubicBezTo>
                    <a:pt x="206" y="99"/>
                    <a:pt x="206" y="99"/>
                    <a:pt x="206" y="99"/>
                  </a:cubicBezTo>
                  <a:cubicBezTo>
                    <a:pt x="203" y="101"/>
                    <a:pt x="203" y="101"/>
                    <a:pt x="203" y="101"/>
                  </a:cubicBezTo>
                  <a:cubicBezTo>
                    <a:pt x="197" y="108"/>
                    <a:pt x="197" y="108"/>
                    <a:pt x="197" y="108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2" y="116"/>
                    <a:pt x="192" y="116"/>
                    <a:pt x="192" y="116"/>
                  </a:cubicBezTo>
                  <a:cubicBezTo>
                    <a:pt x="190" y="122"/>
                    <a:pt x="190" y="122"/>
                    <a:pt x="190" y="122"/>
                  </a:cubicBezTo>
                  <a:cubicBezTo>
                    <a:pt x="189" y="125"/>
                    <a:pt x="189" y="125"/>
                    <a:pt x="189" y="125"/>
                  </a:cubicBezTo>
                  <a:cubicBezTo>
                    <a:pt x="188" y="129"/>
                    <a:pt x="188" y="129"/>
                    <a:pt x="188" y="129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1" y="136"/>
                    <a:pt x="181" y="136"/>
                    <a:pt x="181" y="136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80" y="143"/>
                    <a:pt x="178" y="144"/>
                    <a:pt x="178" y="145"/>
                  </a:cubicBezTo>
                  <a:cubicBezTo>
                    <a:pt x="177" y="147"/>
                    <a:pt x="177" y="147"/>
                    <a:pt x="177" y="147"/>
                  </a:cubicBezTo>
                  <a:cubicBezTo>
                    <a:pt x="174" y="144"/>
                    <a:pt x="174" y="144"/>
                    <a:pt x="174" y="144"/>
                  </a:cubicBezTo>
                  <a:cubicBezTo>
                    <a:pt x="172" y="143"/>
                    <a:pt x="172" y="143"/>
                    <a:pt x="172" y="143"/>
                  </a:cubicBezTo>
                  <a:cubicBezTo>
                    <a:pt x="172" y="143"/>
                    <a:pt x="167" y="143"/>
                    <a:pt x="166" y="143"/>
                  </a:cubicBezTo>
                  <a:cubicBezTo>
                    <a:pt x="166" y="143"/>
                    <a:pt x="162" y="143"/>
                    <a:pt x="162" y="143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5" y="137"/>
                    <a:pt x="165" y="137"/>
                    <a:pt x="165" y="13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6" y="129"/>
                    <a:pt x="176" y="129"/>
                    <a:pt x="176" y="129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81" y="122"/>
                    <a:pt x="181" y="122"/>
                    <a:pt x="181" y="122"/>
                  </a:cubicBezTo>
                  <a:cubicBezTo>
                    <a:pt x="185" y="114"/>
                    <a:pt x="185" y="114"/>
                    <a:pt x="185" y="114"/>
                  </a:cubicBezTo>
                  <a:cubicBezTo>
                    <a:pt x="189" y="108"/>
                    <a:pt x="189" y="108"/>
                    <a:pt x="189" y="108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3" y="99"/>
                    <a:pt x="193" y="99"/>
                    <a:pt x="193" y="99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203" y="88"/>
                    <a:pt x="203" y="88"/>
                    <a:pt x="203" y="88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0" y="81"/>
                    <a:pt x="200" y="81"/>
                    <a:pt x="200" y="81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0" y="86"/>
                    <a:pt x="190" y="86"/>
                    <a:pt x="190" y="86"/>
                  </a:cubicBezTo>
                  <a:cubicBezTo>
                    <a:pt x="186" y="83"/>
                    <a:pt x="186" y="83"/>
                    <a:pt x="186" y="83"/>
                  </a:cubicBezTo>
                  <a:cubicBezTo>
                    <a:pt x="184" y="85"/>
                    <a:pt x="184" y="85"/>
                    <a:pt x="184" y="85"/>
                  </a:cubicBezTo>
                  <a:cubicBezTo>
                    <a:pt x="183" y="89"/>
                    <a:pt x="183" y="89"/>
                    <a:pt x="183" y="89"/>
                  </a:cubicBezTo>
                  <a:cubicBezTo>
                    <a:pt x="183" y="89"/>
                    <a:pt x="182" y="93"/>
                    <a:pt x="181" y="94"/>
                  </a:cubicBezTo>
                  <a:cubicBezTo>
                    <a:pt x="180" y="94"/>
                    <a:pt x="179" y="95"/>
                    <a:pt x="179" y="95"/>
                  </a:cubicBezTo>
                  <a:cubicBezTo>
                    <a:pt x="175" y="93"/>
                    <a:pt x="175" y="93"/>
                    <a:pt x="175" y="93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2" y="91"/>
                    <a:pt x="172" y="91"/>
                    <a:pt x="172" y="91"/>
                  </a:cubicBezTo>
                  <a:cubicBezTo>
                    <a:pt x="168" y="90"/>
                    <a:pt x="168" y="90"/>
                    <a:pt x="168" y="90"/>
                  </a:cubicBezTo>
                  <a:cubicBezTo>
                    <a:pt x="164" y="92"/>
                    <a:pt x="164" y="92"/>
                    <a:pt x="164" y="92"/>
                  </a:cubicBezTo>
                  <a:cubicBezTo>
                    <a:pt x="156" y="94"/>
                    <a:pt x="156" y="94"/>
                    <a:pt x="156" y="94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45" y="104"/>
                    <a:pt x="143" y="106"/>
                    <a:pt x="143" y="106"/>
                  </a:cubicBezTo>
                  <a:cubicBezTo>
                    <a:pt x="142" y="106"/>
                    <a:pt x="140" y="108"/>
                    <a:pt x="140" y="108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4" y="92"/>
                    <a:pt x="134" y="92"/>
                    <a:pt x="134" y="92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2" y="85"/>
                    <a:pt x="112" y="85"/>
                    <a:pt x="112" y="85"/>
                  </a:cubicBezTo>
                  <a:cubicBezTo>
                    <a:pt x="110" y="86"/>
                    <a:pt x="110" y="86"/>
                    <a:pt x="110" y="86"/>
                  </a:cubicBezTo>
                  <a:cubicBezTo>
                    <a:pt x="110" y="86"/>
                    <a:pt x="109" y="86"/>
                    <a:pt x="108" y="86"/>
                  </a:cubicBezTo>
                  <a:cubicBezTo>
                    <a:pt x="107" y="86"/>
                    <a:pt x="105" y="86"/>
                    <a:pt x="105" y="86"/>
                  </a:cubicBezTo>
                  <a:cubicBezTo>
                    <a:pt x="103" y="84"/>
                    <a:pt x="103" y="84"/>
                    <a:pt x="103" y="84"/>
                  </a:cubicBezTo>
                  <a:cubicBezTo>
                    <a:pt x="103" y="83"/>
                    <a:pt x="103" y="83"/>
                    <a:pt x="103" y="83"/>
                  </a:cubicBezTo>
                  <a:cubicBezTo>
                    <a:pt x="101" y="81"/>
                    <a:pt x="101" y="81"/>
                    <a:pt x="101" y="81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6"/>
                    <a:pt x="100" y="76"/>
                    <a:pt x="100" y="76"/>
                  </a:cubicBezTo>
                  <a:cubicBezTo>
                    <a:pt x="100" y="76"/>
                    <a:pt x="100" y="76"/>
                    <a:pt x="100" y="75"/>
                  </a:cubicBezTo>
                  <a:cubicBezTo>
                    <a:pt x="98" y="75"/>
                    <a:pt x="97" y="75"/>
                    <a:pt x="97" y="75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93" y="71"/>
                    <a:pt x="95" y="69"/>
                    <a:pt x="95" y="69"/>
                  </a:cubicBezTo>
                  <a:cubicBezTo>
                    <a:pt x="96" y="68"/>
                    <a:pt x="99" y="67"/>
                    <a:pt x="99" y="67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5"/>
                    <a:pt x="82" y="57"/>
                  </a:cubicBezTo>
                  <a:cubicBezTo>
                    <a:pt x="80" y="58"/>
                    <a:pt x="80" y="58"/>
                    <a:pt x="79" y="58"/>
                  </a:cubicBezTo>
                  <a:cubicBezTo>
                    <a:pt x="79" y="58"/>
                    <a:pt x="78" y="58"/>
                    <a:pt x="77" y="58"/>
                  </a:cubicBezTo>
                  <a:cubicBezTo>
                    <a:pt x="76" y="58"/>
                    <a:pt x="75" y="56"/>
                    <a:pt x="75" y="56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4" y="47"/>
                    <a:pt x="73" y="47"/>
                  </a:cubicBezTo>
                  <a:cubicBezTo>
                    <a:pt x="73" y="48"/>
                    <a:pt x="71" y="48"/>
                    <a:pt x="71" y="48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1" y="40"/>
                  </a:cubicBezTo>
                  <a:cubicBezTo>
                    <a:pt x="61" y="39"/>
                    <a:pt x="59" y="37"/>
                    <a:pt x="59" y="37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8"/>
                    <a:pt x="31" y="26"/>
                    <a:pt x="32" y="26"/>
                  </a:cubicBezTo>
                  <a:cubicBezTo>
                    <a:pt x="33" y="26"/>
                    <a:pt x="36" y="24"/>
                    <a:pt x="36" y="24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71" y="100"/>
                    <a:pt x="71" y="100"/>
                    <a:pt x="71" y="100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3" y="109"/>
                    <a:pt x="83" y="109"/>
                    <a:pt x="83" y="109"/>
                  </a:cubicBezTo>
                  <a:cubicBezTo>
                    <a:pt x="90" y="114"/>
                    <a:pt x="90" y="114"/>
                    <a:pt x="90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8" y="117"/>
                    <a:pt x="98" y="117"/>
                    <a:pt x="98" y="117"/>
                  </a:cubicBezTo>
                  <a:cubicBezTo>
                    <a:pt x="101" y="119"/>
                    <a:pt x="101" y="119"/>
                    <a:pt x="101" y="119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99" y="128"/>
                    <a:pt x="99" y="128"/>
                    <a:pt x="99" y="128"/>
                  </a:cubicBezTo>
                  <a:cubicBezTo>
                    <a:pt x="101" y="130"/>
                    <a:pt x="101" y="130"/>
                    <a:pt x="101" y="130"/>
                  </a:cubicBezTo>
                  <a:cubicBezTo>
                    <a:pt x="104" y="134"/>
                    <a:pt x="104" y="134"/>
                    <a:pt x="104" y="134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04" y="146"/>
                    <a:pt x="104" y="146"/>
                    <a:pt x="104" y="146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99" y="147"/>
                    <a:pt x="99" y="147"/>
                    <a:pt x="99" y="147"/>
                  </a:cubicBezTo>
                  <a:cubicBezTo>
                    <a:pt x="95" y="147"/>
                    <a:pt x="95" y="147"/>
                    <a:pt x="95" y="147"/>
                  </a:cubicBezTo>
                  <a:cubicBezTo>
                    <a:pt x="94" y="147"/>
                    <a:pt x="94" y="147"/>
                    <a:pt x="94" y="147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88" y="151"/>
                    <a:pt x="88" y="151"/>
                    <a:pt x="88" y="151"/>
                  </a:cubicBezTo>
                  <a:cubicBezTo>
                    <a:pt x="84" y="153"/>
                    <a:pt x="84" y="153"/>
                    <a:pt x="84" y="153"/>
                  </a:cubicBezTo>
                  <a:cubicBezTo>
                    <a:pt x="82" y="155"/>
                    <a:pt x="82" y="155"/>
                    <a:pt x="82" y="155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68" y="156"/>
                    <a:pt x="68" y="156"/>
                    <a:pt x="68" y="156"/>
                  </a:cubicBezTo>
                  <a:cubicBezTo>
                    <a:pt x="66" y="155"/>
                    <a:pt x="66" y="155"/>
                    <a:pt x="66" y="155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59" y="152"/>
                    <a:pt x="59" y="152"/>
                    <a:pt x="59" y="152"/>
                  </a:cubicBezTo>
                  <a:cubicBezTo>
                    <a:pt x="57" y="151"/>
                    <a:pt x="57" y="151"/>
                    <a:pt x="57" y="151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51" y="151"/>
                    <a:pt x="51" y="151"/>
                    <a:pt x="51" y="151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51" y="163"/>
                    <a:pt x="51" y="163"/>
                    <a:pt x="51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50" y="168"/>
                    <a:pt x="50" y="168"/>
                    <a:pt x="50" y="168"/>
                  </a:cubicBezTo>
                  <a:cubicBezTo>
                    <a:pt x="48" y="167"/>
                    <a:pt x="48" y="167"/>
                    <a:pt x="48" y="167"/>
                  </a:cubicBezTo>
                  <a:cubicBezTo>
                    <a:pt x="47" y="165"/>
                    <a:pt x="47" y="165"/>
                    <a:pt x="47" y="165"/>
                  </a:cubicBezTo>
                  <a:cubicBezTo>
                    <a:pt x="45" y="163"/>
                    <a:pt x="45" y="163"/>
                    <a:pt x="45" y="163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4" y="169"/>
                    <a:pt x="44" y="169"/>
                    <a:pt x="44" y="169"/>
                  </a:cubicBezTo>
                  <a:cubicBezTo>
                    <a:pt x="46" y="173"/>
                    <a:pt x="46" y="173"/>
                    <a:pt x="46" y="173"/>
                  </a:cubicBezTo>
                  <a:cubicBezTo>
                    <a:pt x="48" y="175"/>
                    <a:pt x="48" y="175"/>
                    <a:pt x="48" y="175"/>
                  </a:cubicBezTo>
                  <a:cubicBezTo>
                    <a:pt x="50" y="177"/>
                    <a:pt x="50" y="177"/>
                    <a:pt x="50" y="177"/>
                  </a:cubicBezTo>
                  <a:cubicBezTo>
                    <a:pt x="51" y="179"/>
                    <a:pt x="51" y="179"/>
                    <a:pt x="51" y="179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6"/>
                    <a:pt x="51" y="186"/>
                    <a:pt x="51" y="186"/>
                  </a:cubicBezTo>
                  <a:cubicBezTo>
                    <a:pt x="52" y="189"/>
                    <a:pt x="52" y="189"/>
                    <a:pt x="52" y="189"/>
                  </a:cubicBezTo>
                  <a:cubicBezTo>
                    <a:pt x="52" y="193"/>
                    <a:pt x="52" y="193"/>
                    <a:pt x="52" y="193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4" y="197"/>
                    <a:pt x="54" y="197"/>
                    <a:pt x="54" y="197"/>
                  </a:cubicBezTo>
                  <a:cubicBezTo>
                    <a:pt x="58" y="202"/>
                    <a:pt x="58" y="202"/>
                    <a:pt x="58" y="202"/>
                  </a:cubicBezTo>
                  <a:cubicBezTo>
                    <a:pt x="64" y="204"/>
                    <a:pt x="64" y="204"/>
                    <a:pt x="64" y="204"/>
                  </a:cubicBezTo>
                  <a:cubicBezTo>
                    <a:pt x="67" y="204"/>
                    <a:pt x="67" y="204"/>
                    <a:pt x="67" y="204"/>
                  </a:cubicBezTo>
                  <a:cubicBezTo>
                    <a:pt x="69" y="205"/>
                    <a:pt x="69" y="205"/>
                    <a:pt x="69" y="205"/>
                  </a:cubicBezTo>
                  <a:cubicBezTo>
                    <a:pt x="71" y="205"/>
                    <a:pt x="71" y="205"/>
                    <a:pt x="71" y="205"/>
                  </a:cubicBezTo>
                  <a:cubicBezTo>
                    <a:pt x="71" y="207"/>
                    <a:pt x="71" y="207"/>
                    <a:pt x="71" y="207"/>
                  </a:cubicBezTo>
                  <a:cubicBezTo>
                    <a:pt x="71" y="210"/>
                    <a:pt x="71" y="210"/>
                    <a:pt x="71" y="210"/>
                  </a:cubicBezTo>
                  <a:cubicBezTo>
                    <a:pt x="70" y="212"/>
                    <a:pt x="70" y="212"/>
                    <a:pt x="70" y="212"/>
                  </a:cubicBezTo>
                  <a:cubicBezTo>
                    <a:pt x="71" y="214"/>
                    <a:pt x="71" y="214"/>
                    <a:pt x="71" y="214"/>
                  </a:cubicBezTo>
                  <a:cubicBezTo>
                    <a:pt x="73" y="217"/>
                    <a:pt x="73" y="217"/>
                    <a:pt x="73" y="217"/>
                  </a:cubicBezTo>
                  <a:cubicBezTo>
                    <a:pt x="75" y="221"/>
                    <a:pt x="75" y="221"/>
                    <a:pt x="75" y="221"/>
                  </a:cubicBezTo>
                  <a:cubicBezTo>
                    <a:pt x="78" y="223"/>
                    <a:pt x="78" y="223"/>
                    <a:pt x="78" y="223"/>
                  </a:cubicBezTo>
                  <a:cubicBezTo>
                    <a:pt x="82" y="222"/>
                    <a:pt x="82" y="222"/>
                    <a:pt x="82" y="222"/>
                  </a:cubicBezTo>
                  <a:cubicBezTo>
                    <a:pt x="82" y="219"/>
                    <a:pt x="82" y="219"/>
                    <a:pt x="82" y="219"/>
                  </a:cubicBezTo>
                  <a:cubicBezTo>
                    <a:pt x="82" y="217"/>
                    <a:pt x="82" y="217"/>
                    <a:pt x="82" y="217"/>
                  </a:cubicBezTo>
                  <a:cubicBezTo>
                    <a:pt x="81" y="216"/>
                    <a:pt x="81" y="216"/>
                    <a:pt x="81" y="216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88" y="215"/>
                    <a:pt x="88" y="215"/>
                    <a:pt x="88" y="215"/>
                  </a:cubicBezTo>
                  <a:cubicBezTo>
                    <a:pt x="90" y="219"/>
                    <a:pt x="90" y="219"/>
                    <a:pt x="90" y="219"/>
                  </a:cubicBezTo>
                  <a:cubicBezTo>
                    <a:pt x="92" y="223"/>
                    <a:pt x="92" y="223"/>
                    <a:pt x="92" y="223"/>
                  </a:cubicBezTo>
                  <a:cubicBezTo>
                    <a:pt x="93" y="227"/>
                    <a:pt x="93" y="227"/>
                    <a:pt x="93" y="227"/>
                  </a:cubicBezTo>
                  <a:cubicBezTo>
                    <a:pt x="94" y="230"/>
                    <a:pt x="94" y="230"/>
                    <a:pt x="94" y="230"/>
                  </a:cubicBezTo>
                  <a:cubicBezTo>
                    <a:pt x="98" y="232"/>
                    <a:pt x="98" y="232"/>
                    <a:pt x="98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3" y="235"/>
                    <a:pt x="103" y="235"/>
                    <a:pt x="103" y="235"/>
                  </a:cubicBezTo>
                  <a:cubicBezTo>
                    <a:pt x="106" y="234"/>
                    <a:pt x="106" y="234"/>
                    <a:pt x="106" y="234"/>
                  </a:cubicBezTo>
                  <a:cubicBezTo>
                    <a:pt x="107" y="233"/>
                    <a:pt x="107" y="233"/>
                    <a:pt x="107" y="233"/>
                  </a:cubicBezTo>
                  <a:cubicBezTo>
                    <a:pt x="111" y="231"/>
                    <a:pt x="111" y="231"/>
                    <a:pt x="111" y="231"/>
                  </a:cubicBezTo>
                  <a:cubicBezTo>
                    <a:pt x="114" y="226"/>
                    <a:pt x="114" y="226"/>
                    <a:pt x="114" y="226"/>
                  </a:cubicBezTo>
                  <a:cubicBezTo>
                    <a:pt x="124" y="226"/>
                    <a:pt x="124" y="226"/>
                    <a:pt x="124" y="226"/>
                  </a:cubicBezTo>
                  <a:cubicBezTo>
                    <a:pt x="127" y="228"/>
                    <a:pt x="127" y="228"/>
                    <a:pt x="127" y="228"/>
                  </a:cubicBezTo>
                  <a:cubicBezTo>
                    <a:pt x="131" y="231"/>
                    <a:pt x="131" y="231"/>
                    <a:pt x="131" y="231"/>
                  </a:cubicBezTo>
                  <a:cubicBezTo>
                    <a:pt x="134" y="234"/>
                    <a:pt x="134" y="234"/>
                    <a:pt x="134" y="234"/>
                  </a:cubicBezTo>
                  <a:cubicBezTo>
                    <a:pt x="137" y="231"/>
                    <a:pt x="137" y="231"/>
                    <a:pt x="137" y="231"/>
                  </a:cubicBezTo>
                  <a:cubicBezTo>
                    <a:pt x="139" y="229"/>
                    <a:pt x="139" y="229"/>
                    <a:pt x="139" y="229"/>
                  </a:cubicBezTo>
                  <a:cubicBezTo>
                    <a:pt x="135" y="226"/>
                    <a:pt x="135" y="226"/>
                    <a:pt x="135" y="226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2" y="216"/>
                    <a:pt x="132" y="216"/>
                    <a:pt x="132" y="216"/>
                  </a:cubicBezTo>
                  <a:cubicBezTo>
                    <a:pt x="131" y="212"/>
                    <a:pt x="131" y="212"/>
                    <a:pt x="131" y="212"/>
                  </a:cubicBezTo>
                  <a:cubicBezTo>
                    <a:pt x="130" y="207"/>
                    <a:pt x="130" y="207"/>
                    <a:pt x="130" y="207"/>
                  </a:cubicBezTo>
                  <a:cubicBezTo>
                    <a:pt x="126" y="202"/>
                    <a:pt x="126" y="202"/>
                    <a:pt x="126" y="202"/>
                  </a:cubicBezTo>
                  <a:cubicBezTo>
                    <a:pt x="125" y="196"/>
                    <a:pt x="125" y="196"/>
                    <a:pt x="125" y="196"/>
                  </a:cubicBezTo>
                  <a:cubicBezTo>
                    <a:pt x="134" y="196"/>
                    <a:pt x="134" y="196"/>
                    <a:pt x="134" y="196"/>
                  </a:cubicBezTo>
                  <a:cubicBezTo>
                    <a:pt x="135" y="198"/>
                    <a:pt x="135" y="198"/>
                    <a:pt x="135" y="198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4" y="203"/>
                    <a:pt x="134" y="203"/>
                    <a:pt x="134" y="203"/>
                  </a:cubicBezTo>
                  <a:cubicBezTo>
                    <a:pt x="133" y="205"/>
                    <a:pt x="133" y="205"/>
                    <a:pt x="133" y="205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9" y="210"/>
                    <a:pt x="139" y="210"/>
                    <a:pt x="139" y="210"/>
                  </a:cubicBezTo>
                  <a:cubicBezTo>
                    <a:pt x="143" y="216"/>
                    <a:pt x="143" y="216"/>
                    <a:pt x="143" y="216"/>
                  </a:cubicBezTo>
                  <a:cubicBezTo>
                    <a:pt x="152" y="210"/>
                    <a:pt x="152" y="210"/>
                    <a:pt x="152" y="210"/>
                  </a:cubicBezTo>
                  <a:cubicBezTo>
                    <a:pt x="250" y="149"/>
                    <a:pt x="250" y="149"/>
                    <a:pt x="250" y="149"/>
                  </a:cubicBezTo>
                  <a:cubicBezTo>
                    <a:pt x="259" y="162"/>
                    <a:pt x="259" y="162"/>
                    <a:pt x="259" y="162"/>
                  </a:cubicBezTo>
                  <a:cubicBezTo>
                    <a:pt x="259" y="162"/>
                    <a:pt x="259" y="162"/>
                    <a:pt x="259" y="162"/>
                  </a:cubicBezTo>
                  <a:cubicBezTo>
                    <a:pt x="261" y="161"/>
                    <a:pt x="261" y="161"/>
                    <a:pt x="261" y="161"/>
                  </a:cubicBezTo>
                  <a:cubicBezTo>
                    <a:pt x="261" y="160"/>
                    <a:pt x="261" y="160"/>
                    <a:pt x="261" y="160"/>
                  </a:cubicBezTo>
                  <a:cubicBezTo>
                    <a:pt x="263" y="160"/>
                    <a:pt x="263" y="160"/>
                    <a:pt x="263" y="160"/>
                  </a:cubicBezTo>
                  <a:cubicBezTo>
                    <a:pt x="264" y="160"/>
                    <a:pt x="264" y="160"/>
                    <a:pt x="264" y="160"/>
                  </a:cubicBezTo>
                  <a:cubicBezTo>
                    <a:pt x="266" y="160"/>
                    <a:pt x="266" y="160"/>
                    <a:pt x="266" y="160"/>
                  </a:cubicBezTo>
                  <a:cubicBezTo>
                    <a:pt x="266" y="164"/>
                    <a:pt x="266" y="164"/>
                    <a:pt x="266" y="164"/>
                  </a:cubicBezTo>
                  <a:cubicBezTo>
                    <a:pt x="268" y="167"/>
                    <a:pt x="268" y="167"/>
                    <a:pt x="268" y="167"/>
                  </a:cubicBezTo>
                  <a:cubicBezTo>
                    <a:pt x="268" y="172"/>
                    <a:pt x="268" y="172"/>
                    <a:pt x="268" y="17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69" y="180"/>
                    <a:pt x="269" y="180"/>
                    <a:pt x="269" y="180"/>
                  </a:cubicBezTo>
                  <a:cubicBezTo>
                    <a:pt x="267" y="182"/>
                    <a:pt x="267" y="182"/>
                    <a:pt x="267" y="182"/>
                  </a:cubicBezTo>
                  <a:cubicBezTo>
                    <a:pt x="269" y="186"/>
                    <a:pt x="269" y="186"/>
                    <a:pt x="269" y="186"/>
                  </a:cubicBezTo>
                  <a:cubicBezTo>
                    <a:pt x="269" y="186"/>
                    <a:pt x="269" y="186"/>
                    <a:pt x="269" y="186"/>
                  </a:cubicBezTo>
                  <a:cubicBezTo>
                    <a:pt x="269" y="187"/>
                    <a:pt x="269" y="188"/>
                    <a:pt x="269" y="188"/>
                  </a:cubicBezTo>
                  <a:cubicBezTo>
                    <a:pt x="270" y="194"/>
                    <a:pt x="270" y="194"/>
                    <a:pt x="270" y="194"/>
                  </a:cubicBezTo>
                  <a:cubicBezTo>
                    <a:pt x="270" y="200"/>
                    <a:pt x="270" y="200"/>
                    <a:pt x="270" y="200"/>
                  </a:cubicBezTo>
                  <a:cubicBezTo>
                    <a:pt x="271" y="201"/>
                    <a:pt x="271" y="201"/>
                    <a:pt x="271" y="201"/>
                  </a:cubicBezTo>
                  <a:cubicBezTo>
                    <a:pt x="271" y="203"/>
                    <a:pt x="271" y="203"/>
                    <a:pt x="271" y="203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272" y="216"/>
                    <a:pt x="272" y="216"/>
                    <a:pt x="272" y="216"/>
                  </a:cubicBezTo>
                  <a:cubicBezTo>
                    <a:pt x="274" y="219"/>
                    <a:pt x="274" y="219"/>
                    <a:pt x="274" y="219"/>
                  </a:cubicBezTo>
                  <a:cubicBezTo>
                    <a:pt x="274" y="219"/>
                    <a:pt x="274" y="218"/>
                    <a:pt x="275" y="219"/>
                  </a:cubicBezTo>
                  <a:cubicBezTo>
                    <a:pt x="276" y="219"/>
                    <a:pt x="275" y="218"/>
                    <a:pt x="276" y="219"/>
                  </a:cubicBezTo>
                  <a:cubicBezTo>
                    <a:pt x="277" y="220"/>
                    <a:pt x="279" y="218"/>
                    <a:pt x="277" y="220"/>
                  </a:cubicBezTo>
                  <a:cubicBezTo>
                    <a:pt x="276" y="223"/>
                    <a:pt x="274" y="226"/>
                    <a:pt x="274" y="226"/>
                  </a:cubicBezTo>
                  <a:cubicBezTo>
                    <a:pt x="274" y="228"/>
                    <a:pt x="274" y="228"/>
                    <a:pt x="274" y="228"/>
                  </a:cubicBezTo>
                  <a:cubicBezTo>
                    <a:pt x="274" y="231"/>
                    <a:pt x="274" y="231"/>
                    <a:pt x="274" y="231"/>
                  </a:cubicBezTo>
                  <a:cubicBezTo>
                    <a:pt x="279" y="233"/>
                    <a:pt x="279" y="233"/>
                    <a:pt x="279" y="233"/>
                  </a:cubicBezTo>
                  <a:cubicBezTo>
                    <a:pt x="280" y="233"/>
                    <a:pt x="281" y="232"/>
                    <a:pt x="281" y="233"/>
                  </a:cubicBezTo>
                  <a:cubicBezTo>
                    <a:pt x="281" y="234"/>
                    <a:pt x="281" y="236"/>
                    <a:pt x="281" y="236"/>
                  </a:cubicBezTo>
                  <a:cubicBezTo>
                    <a:pt x="285" y="239"/>
                    <a:pt x="285" y="239"/>
                    <a:pt x="285" y="239"/>
                  </a:cubicBezTo>
                  <a:cubicBezTo>
                    <a:pt x="285" y="240"/>
                    <a:pt x="285" y="240"/>
                    <a:pt x="285" y="240"/>
                  </a:cubicBezTo>
                  <a:cubicBezTo>
                    <a:pt x="281" y="240"/>
                    <a:pt x="281" y="240"/>
                    <a:pt x="281" y="240"/>
                  </a:cubicBezTo>
                  <a:cubicBezTo>
                    <a:pt x="281" y="240"/>
                    <a:pt x="281" y="240"/>
                    <a:pt x="281" y="240"/>
                  </a:cubicBezTo>
                  <a:cubicBezTo>
                    <a:pt x="279" y="244"/>
                    <a:pt x="279" y="244"/>
                    <a:pt x="279" y="244"/>
                  </a:cubicBezTo>
                  <a:cubicBezTo>
                    <a:pt x="279" y="247"/>
                    <a:pt x="279" y="247"/>
                    <a:pt x="279" y="247"/>
                  </a:cubicBezTo>
                  <a:cubicBezTo>
                    <a:pt x="281" y="250"/>
                    <a:pt x="281" y="250"/>
                    <a:pt x="281" y="250"/>
                  </a:cubicBezTo>
                  <a:cubicBezTo>
                    <a:pt x="280" y="253"/>
                    <a:pt x="280" y="253"/>
                    <a:pt x="280" y="253"/>
                  </a:cubicBezTo>
                  <a:cubicBezTo>
                    <a:pt x="278" y="255"/>
                    <a:pt x="278" y="255"/>
                    <a:pt x="278" y="255"/>
                  </a:cubicBezTo>
                  <a:cubicBezTo>
                    <a:pt x="278" y="257"/>
                    <a:pt x="278" y="257"/>
                    <a:pt x="278" y="257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74" y="259"/>
                    <a:pt x="274" y="259"/>
                    <a:pt x="274" y="259"/>
                  </a:cubicBezTo>
                  <a:cubicBezTo>
                    <a:pt x="272" y="261"/>
                    <a:pt x="272" y="261"/>
                    <a:pt x="272" y="261"/>
                  </a:cubicBezTo>
                  <a:cubicBezTo>
                    <a:pt x="273" y="263"/>
                    <a:pt x="273" y="263"/>
                    <a:pt x="273" y="263"/>
                  </a:cubicBezTo>
                  <a:cubicBezTo>
                    <a:pt x="274" y="263"/>
                    <a:pt x="274" y="263"/>
                    <a:pt x="274" y="263"/>
                  </a:cubicBezTo>
                  <a:cubicBezTo>
                    <a:pt x="277" y="263"/>
                    <a:pt x="277" y="263"/>
                    <a:pt x="277" y="263"/>
                  </a:cubicBezTo>
                  <a:cubicBezTo>
                    <a:pt x="279" y="261"/>
                    <a:pt x="279" y="261"/>
                    <a:pt x="279" y="261"/>
                  </a:cubicBezTo>
                  <a:cubicBezTo>
                    <a:pt x="280" y="259"/>
                    <a:pt x="280" y="259"/>
                    <a:pt x="280" y="259"/>
                  </a:cubicBezTo>
                  <a:cubicBezTo>
                    <a:pt x="284" y="257"/>
                    <a:pt x="284" y="257"/>
                    <a:pt x="284" y="257"/>
                  </a:cubicBezTo>
                  <a:cubicBezTo>
                    <a:pt x="284" y="261"/>
                    <a:pt x="284" y="261"/>
                    <a:pt x="284" y="261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82" y="270"/>
                    <a:pt x="282" y="270"/>
                    <a:pt x="282" y="270"/>
                  </a:cubicBezTo>
                  <a:cubicBezTo>
                    <a:pt x="281" y="275"/>
                    <a:pt x="281" y="275"/>
                    <a:pt x="281" y="275"/>
                  </a:cubicBezTo>
                  <a:cubicBezTo>
                    <a:pt x="281" y="275"/>
                    <a:pt x="280" y="276"/>
                    <a:pt x="280" y="277"/>
                  </a:cubicBezTo>
                  <a:cubicBezTo>
                    <a:pt x="280" y="277"/>
                    <a:pt x="282" y="282"/>
                    <a:pt x="282" y="282"/>
                  </a:cubicBezTo>
                  <a:cubicBezTo>
                    <a:pt x="285" y="286"/>
                    <a:pt x="285" y="286"/>
                    <a:pt x="285" y="286"/>
                  </a:cubicBezTo>
                  <a:cubicBezTo>
                    <a:pt x="290" y="286"/>
                    <a:pt x="290" y="286"/>
                    <a:pt x="290" y="286"/>
                  </a:cubicBezTo>
                  <a:cubicBezTo>
                    <a:pt x="292" y="283"/>
                    <a:pt x="292" y="283"/>
                    <a:pt x="292" y="283"/>
                  </a:cubicBezTo>
                  <a:cubicBezTo>
                    <a:pt x="294" y="282"/>
                    <a:pt x="294" y="282"/>
                    <a:pt x="294" y="282"/>
                  </a:cubicBezTo>
                  <a:cubicBezTo>
                    <a:pt x="297" y="280"/>
                    <a:pt x="297" y="280"/>
                    <a:pt x="297" y="280"/>
                  </a:cubicBezTo>
                  <a:cubicBezTo>
                    <a:pt x="297" y="277"/>
                    <a:pt x="297" y="277"/>
                    <a:pt x="297" y="277"/>
                  </a:cubicBezTo>
                  <a:cubicBezTo>
                    <a:pt x="297" y="277"/>
                    <a:pt x="295" y="274"/>
                    <a:pt x="297" y="274"/>
                  </a:cubicBezTo>
                  <a:cubicBezTo>
                    <a:pt x="300" y="274"/>
                    <a:pt x="300" y="274"/>
                    <a:pt x="300" y="274"/>
                  </a:cubicBezTo>
                  <a:cubicBezTo>
                    <a:pt x="300" y="274"/>
                    <a:pt x="301" y="275"/>
                    <a:pt x="302" y="275"/>
                  </a:cubicBezTo>
                  <a:cubicBezTo>
                    <a:pt x="303" y="275"/>
                    <a:pt x="302" y="275"/>
                    <a:pt x="303" y="275"/>
                  </a:cubicBezTo>
                  <a:cubicBezTo>
                    <a:pt x="304" y="274"/>
                    <a:pt x="307" y="271"/>
                    <a:pt x="307" y="271"/>
                  </a:cubicBezTo>
                  <a:cubicBezTo>
                    <a:pt x="308" y="268"/>
                    <a:pt x="308" y="268"/>
                    <a:pt x="308" y="268"/>
                  </a:cubicBezTo>
                  <a:cubicBezTo>
                    <a:pt x="310" y="268"/>
                    <a:pt x="310" y="268"/>
                    <a:pt x="310" y="268"/>
                  </a:cubicBezTo>
                  <a:cubicBezTo>
                    <a:pt x="313" y="269"/>
                    <a:pt x="313" y="269"/>
                    <a:pt x="313" y="269"/>
                  </a:cubicBezTo>
                  <a:cubicBezTo>
                    <a:pt x="313" y="269"/>
                    <a:pt x="314" y="266"/>
                    <a:pt x="315" y="266"/>
                  </a:cubicBezTo>
                  <a:cubicBezTo>
                    <a:pt x="316" y="265"/>
                    <a:pt x="319" y="262"/>
                    <a:pt x="319" y="262"/>
                  </a:cubicBezTo>
                  <a:cubicBezTo>
                    <a:pt x="319" y="262"/>
                    <a:pt x="325" y="262"/>
                    <a:pt x="325" y="262"/>
                  </a:cubicBezTo>
                  <a:cubicBezTo>
                    <a:pt x="326" y="262"/>
                    <a:pt x="330" y="260"/>
                    <a:pt x="330" y="260"/>
                  </a:cubicBezTo>
                  <a:cubicBezTo>
                    <a:pt x="332" y="256"/>
                    <a:pt x="332" y="256"/>
                    <a:pt x="332" y="256"/>
                  </a:cubicBezTo>
                  <a:cubicBezTo>
                    <a:pt x="332" y="254"/>
                    <a:pt x="332" y="254"/>
                    <a:pt x="332" y="254"/>
                  </a:cubicBezTo>
                  <a:cubicBezTo>
                    <a:pt x="334" y="251"/>
                    <a:pt x="334" y="251"/>
                    <a:pt x="334" y="251"/>
                  </a:cubicBezTo>
                  <a:cubicBezTo>
                    <a:pt x="334" y="248"/>
                    <a:pt x="334" y="248"/>
                    <a:pt x="334" y="248"/>
                  </a:cubicBezTo>
                  <a:cubicBezTo>
                    <a:pt x="334" y="247"/>
                    <a:pt x="334" y="247"/>
                    <a:pt x="334" y="247"/>
                  </a:cubicBezTo>
                  <a:cubicBezTo>
                    <a:pt x="339" y="246"/>
                    <a:pt x="339" y="246"/>
                    <a:pt x="339" y="246"/>
                  </a:cubicBezTo>
                  <a:cubicBezTo>
                    <a:pt x="340" y="249"/>
                    <a:pt x="340" y="249"/>
                    <a:pt x="340" y="249"/>
                  </a:cubicBezTo>
                  <a:cubicBezTo>
                    <a:pt x="340" y="251"/>
                    <a:pt x="340" y="251"/>
                    <a:pt x="340" y="251"/>
                  </a:cubicBezTo>
                  <a:cubicBezTo>
                    <a:pt x="347" y="252"/>
                    <a:pt x="347" y="252"/>
                    <a:pt x="347" y="252"/>
                  </a:cubicBezTo>
                  <a:cubicBezTo>
                    <a:pt x="350" y="251"/>
                    <a:pt x="350" y="251"/>
                    <a:pt x="350" y="251"/>
                  </a:cubicBezTo>
                  <a:cubicBezTo>
                    <a:pt x="353" y="250"/>
                    <a:pt x="353" y="250"/>
                    <a:pt x="353" y="250"/>
                  </a:cubicBezTo>
                  <a:cubicBezTo>
                    <a:pt x="352" y="247"/>
                    <a:pt x="352" y="247"/>
                    <a:pt x="352" y="247"/>
                  </a:cubicBezTo>
                  <a:cubicBezTo>
                    <a:pt x="350" y="244"/>
                    <a:pt x="350" y="244"/>
                    <a:pt x="350" y="244"/>
                  </a:cubicBezTo>
                  <a:cubicBezTo>
                    <a:pt x="350" y="240"/>
                    <a:pt x="350" y="240"/>
                    <a:pt x="350" y="240"/>
                  </a:cubicBezTo>
                  <a:cubicBezTo>
                    <a:pt x="353" y="240"/>
                    <a:pt x="353" y="240"/>
                    <a:pt x="353" y="240"/>
                  </a:cubicBezTo>
                  <a:cubicBezTo>
                    <a:pt x="357" y="239"/>
                    <a:pt x="357" y="239"/>
                    <a:pt x="357" y="239"/>
                  </a:cubicBezTo>
                  <a:cubicBezTo>
                    <a:pt x="360" y="236"/>
                    <a:pt x="360" y="236"/>
                    <a:pt x="360" y="236"/>
                  </a:cubicBezTo>
                  <a:cubicBezTo>
                    <a:pt x="361" y="237"/>
                    <a:pt x="361" y="237"/>
                    <a:pt x="361" y="237"/>
                  </a:cubicBezTo>
                  <a:cubicBezTo>
                    <a:pt x="360" y="241"/>
                    <a:pt x="360" y="241"/>
                    <a:pt x="360" y="241"/>
                  </a:cubicBezTo>
                  <a:cubicBezTo>
                    <a:pt x="357" y="246"/>
                    <a:pt x="357" y="246"/>
                    <a:pt x="357" y="246"/>
                  </a:cubicBezTo>
                  <a:cubicBezTo>
                    <a:pt x="355" y="248"/>
                    <a:pt x="355" y="248"/>
                    <a:pt x="355" y="248"/>
                  </a:cubicBezTo>
                  <a:cubicBezTo>
                    <a:pt x="357" y="254"/>
                    <a:pt x="357" y="254"/>
                    <a:pt x="357" y="254"/>
                  </a:cubicBezTo>
                  <a:cubicBezTo>
                    <a:pt x="357" y="257"/>
                    <a:pt x="357" y="257"/>
                    <a:pt x="357" y="257"/>
                  </a:cubicBezTo>
                  <a:cubicBezTo>
                    <a:pt x="355" y="261"/>
                    <a:pt x="355" y="261"/>
                    <a:pt x="355" y="261"/>
                  </a:cubicBezTo>
                  <a:cubicBezTo>
                    <a:pt x="355" y="261"/>
                    <a:pt x="352" y="263"/>
                    <a:pt x="352" y="264"/>
                  </a:cubicBezTo>
                  <a:cubicBezTo>
                    <a:pt x="351" y="265"/>
                    <a:pt x="349" y="266"/>
                    <a:pt x="349" y="267"/>
                  </a:cubicBezTo>
                  <a:cubicBezTo>
                    <a:pt x="349" y="267"/>
                    <a:pt x="348" y="269"/>
                    <a:pt x="348" y="269"/>
                  </a:cubicBezTo>
                  <a:cubicBezTo>
                    <a:pt x="348" y="270"/>
                    <a:pt x="347" y="269"/>
                    <a:pt x="348" y="270"/>
                  </a:cubicBezTo>
                  <a:cubicBezTo>
                    <a:pt x="349" y="271"/>
                    <a:pt x="351" y="271"/>
                    <a:pt x="351" y="271"/>
                  </a:cubicBezTo>
                  <a:cubicBezTo>
                    <a:pt x="353" y="270"/>
                    <a:pt x="353" y="270"/>
                    <a:pt x="353" y="270"/>
                  </a:cubicBezTo>
                  <a:cubicBezTo>
                    <a:pt x="356" y="267"/>
                    <a:pt x="356" y="267"/>
                    <a:pt x="356" y="267"/>
                  </a:cubicBezTo>
                  <a:cubicBezTo>
                    <a:pt x="358" y="266"/>
                    <a:pt x="358" y="266"/>
                    <a:pt x="358" y="266"/>
                  </a:cubicBezTo>
                  <a:cubicBezTo>
                    <a:pt x="361" y="263"/>
                    <a:pt x="361" y="263"/>
                    <a:pt x="361" y="263"/>
                  </a:cubicBezTo>
                  <a:cubicBezTo>
                    <a:pt x="361" y="263"/>
                    <a:pt x="365" y="261"/>
                    <a:pt x="365" y="261"/>
                  </a:cubicBezTo>
                  <a:cubicBezTo>
                    <a:pt x="365" y="260"/>
                    <a:pt x="365" y="252"/>
                    <a:pt x="365" y="252"/>
                  </a:cubicBezTo>
                  <a:cubicBezTo>
                    <a:pt x="366" y="245"/>
                    <a:pt x="366" y="245"/>
                    <a:pt x="366" y="245"/>
                  </a:cubicBezTo>
                  <a:cubicBezTo>
                    <a:pt x="366" y="242"/>
                    <a:pt x="366" y="242"/>
                    <a:pt x="366" y="242"/>
                  </a:cubicBezTo>
                  <a:cubicBezTo>
                    <a:pt x="369" y="239"/>
                    <a:pt x="369" y="239"/>
                    <a:pt x="369" y="239"/>
                  </a:cubicBezTo>
                  <a:cubicBezTo>
                    <a:pt x="369" y="236"/>
                    <a:pt x="369" y="236"/>
                    <a:pt x="369" y="236"/>
                  </a:cubicBezTo>
                  <a:cubicBezTo>
                    <a:pt x="369" y="235"/>
                    <a:pt x="369" y="235"/>
                    <a:pt x="369" y="235"/>
                  </a:cubicBezTo>
                  <a:cubicBezTo>
                    <a:pt x="369" y="230"/>
                    <a:pt x="369" y="230"/>
                    <a:pt x="369" y="230"/>
                  </a:cubicBezTo>
                  <a:cubicBezTo>
                    <a:pt x="369" y="225"/>
                    <a:pt x="369" y="225"/>
                    <a:pt x="369" y="225"/>
                  </a:cubicBezTo>
                  <a:cubicBezTo>
                    <a:pt x="369" y="224"/>
                    <a:pt x="369" y="224"/>
                    <a:pt x="369" y="224"/>
                  </a:cubicBezTo>
                  <a:cubicBezTo>
                    <a:pt x="375" y="226"/>
                    <a:pt x="375" y="226"/>
                    <a:pt x="375" y="226"/>
                  </a:cubicBezTo>
                  <a:cubicBezTo>
                    <a:pt x="378" y="228"/>
                    <a:pt x="378" y="228"/>
                    <a:pt x="378" y="228"/>
                  </a:cubicBezTo>
                  <a:cubicBezTo>
                    <a:pt x="381" y="231"/>
                    <a:pt x="381" y="231"/>
                    <a:pt x="381" y="231"/>
                  </a:cubicBezTo>
                  <a:cubicBezTo>
                    <a:pt x="381" y="233"/>
                    <a:pt x="381" y="233"/>
                    <a:pt x="381" y="233"/>
                  </a:cubicBezTo>
                  <a:cubicBezTo>
                    <a:pt x="382" y="236"/>
                    <a:pt x="382" y="236"/>
                    <a:pt x="382" y="236"/>
                  </a:cubicBezTo>
                  <a:cubicBezTo>
                    <a:pt x="382" y="243"/>
                    <a:pt x="382" y="243"/>
                    <a:pt x="382" y="243"/>
                  </a:cubicBezTo>
                  <a:cubicBezTo>
                    <a:pt x="382" y="245"/>
                    <a:pt x="382" y="245"/>
                    <a:pt x="382" y="245"/>
                  </a:cubicBezTo>
                  <a:cubicBezTo>
                    <a:pt x="384" y="247"/>
                    <a:pt x="384" y="247"/>
                    <a:pt x="384" y="247"/>
                  </a:cubicBezTo>
                  <a:cubicBezTo>
                    <a:pt x="386" y="248"/>
                    <a:pt x="386" y="248"/>
                    <a:pt x="386" y="248"/>
                  </a:cubicBezTo>
                  <a:cubicBezTo>
                    <a:pt x="388" y="245"/>
                    <a:pt x="388" y="245"/>
                    <a:pt x="388" y="245"/>
                  </a:cubicBezTo>
                  <a:cubicBezTo>
                    <a:pt x="388" y="240"/>
                    <a:pt x="388" y="240"/>
                    <a:pt x="388" y="240"/>
                  </a:cubicBezTo>
                  <a:cubicBezTo>
                    <a:pt x="390" y="233"/>
                    <a:pt x="390" y="233"/>
                    <a:pt x="390" y="233"/>
                  </a:cubicBezTo>
                  <a:cubicBezTo>
                    <a:pt x="391" y="233"/>
                    <a:pt x="391" y="233"/>
                    <a:pt x="391" y="233"/>
                  </a:cubicBezTo>
                  <a:cubicBezTo>
                    <a:pt x="395" y="240"/>
                    <a:pt x="395" y="240"/>
                    <a:pt x="395" y="240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401" y="242"/>
                    <a:pt x="401" y="242"/>
                    <a:pt x="401" y="242"/>
                  </a:cubicBezTo>
                  <a:cubicBezTo>
                    <a:pt x="404" y="239"/>
                    <a:pt x="404" y="239"/>
                    <a:pt x="404" y="239"/>
                  </a:cubicBezTo>
                  <a:cubicBezTo>
                    <a:pt x="405" y="232"/>
                    <a:pt x="405" y="232"/>
                    <a:pt x="405" y="232"/>
                  </a:cubicBezTo>
                  <a:lnTo>
                    <a:pt x="403" y="2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11"/>
            <p:cNvSpPr>
              <a:spLocks/>
            </p:cNvSpPr>
            <p:nvPr/>
          </p:nvSpPr>
          <p:spPr bwMode="auto">
            <a:xfrm>
              <a:off x="4283976" y="3149022"/>
              <a:ext cx="404465" cy="636357"/>
            </a:xfrm>
            <a:custGeom>
              <a:avLst/>
              <a:gdLst>
                <a:gd name="T0" fmla="*/ 209 w 217"/>
                <a:gd name="T1" fmla="*/ 85 h 341"/>
                <a:gd name="T2" fmla="*/ 202 w 217"/>
                <a:gd name="T3" fmla="*/ 83 h 341"/>
                <a:gd name="T4" fmla="*/ 197 w 217"/>
                <a:gd name="T5" fmla="*/ 82 h 341"/>
                <a:gd name="T6" fmla="*/ 191 w 217"/>
                <a:gd name="T7" fmla="*/ 80 h 341"/>
                <a:gd name="T8" fmla="*/ 187 w 217"/>
                <a:gd name="T9" fmla="*/ 79 h 341"/>
                <a:gd name="T10" fmla="*/ 181 w 217"/>
                <a:gd name="T11" fmla="*/ 79 h 341"/>
                <a:gd name="T12" fmla="*/ 178 w 217"/>
                <a:gd name="T13" fmla="*/ 79 h 341"/>
                <a:gd name="T14" fmla="*/ 171 w 217"/>
                <a:gd name="T15" fmla="*/ 81 h 341"/>
                <a:gd name="T16" fmla="*/ 166 w 217"/>
                <a:gd name="T17" fmla="*/ 85 h 341"/>
                <a:gd name="T18" fmla="*/ 165 w 217"/>
                <a:gd name="T19" fmla="*/ 87 h 341"/>
                <a:gd name="T20" fmla="*/ 162 w 217"/>
                <a:gd name="T21" fmla="*/ 89 h 341"/>
                <a:gd name="T22" fmla="*/ 159 w 217"/>
                <a:gd name="T23" fmla="*/ 90 h 341"/>
                <a:gd name="T24" fmla="*/ 158 w 217"/>
                <a:gd name="T25" fmla="*/ 90 h 341"/>
                <a:gd name="T26" fmla="*/ 156 w 217"/>
                <a:gd name="T27" fmla="*/ 89 h 341"/>
                <a:gd name="T28" fmla="*/ 155 w 217"/>
                <a:gd name="T29" fmla="*/ 87 h 341"/>
                <a:gd name="T30" fmla="*/ 157 w 217"/>
                <a:gd name="T31" fmla="*/ 86 h 341"/>
                <a:gd name="T32" fmla="*/ 159 w 217"/>
                <a:gd name="T33" fmla="*/ 84 h 341"/>
                <a:gd name="T34" fmla="*/ 160 w 217"/>
                <a:gd name="T35" fmla="*/ 82 h 341"/>
                <a:gd name="T36" fmla="*/ 159 w 217"/>
                <a:gd name="T37" fmla="*/ 79 h 341"/>
                <a:gd name="T38" fmla="*/ 159 w 217"/>
                <a:gd name="T39" fmla="*/ 75 h 341"/>
                <a:gd name="T40" fmla="*/ 156 w 217"/>
                <a:gd name="T41" fmla="*/ 71 h 341"/>
                <a:gd name="T42" fmla="*/ 155 w 217"/>
                <a:gd name="T43" fmla="*/ 68 h 341"/>
                <a:gd name="T44" fmla="*/ 153 w 217"/>
                <a:gd name="T45" fmla="*/ 66 h 341"/>
                <a:gd name="T46" fmla="*/ 150 w 217"/>
                <a:gd name="T47" fmla="*/ 60 h 341"/>
                <a:gd name="T48" fmla="*/ 146 w 217"/>
                <a:gd name="T49" fmla="*/ 49 h 341"/>
                <a:gd name="T50" fmla="*/ 142 w 217"/>
                <a:gd name="T51" fmla="*/ 42 h 341"/>
                <a:gd name="T52" fmla="*/ 140 w 217"/>
                <a:gd name="T53" fmla="*/ 38 h 341"/>
                <a:gd name="T54" fmla="*/ 137 w 217"/>
                <a:gd name="T55" fmla="*/ 38 h 341"/>
                <a:gd name="T56" fmla="*/ 131 w 217"/>
                <a:gd name="T57" fmla="*/ 38 h 341"/>
                <a:gd name="T58" fmla="*/ 129 w 217"/>
                <a:gd name="T59" fmla="*/ 39 h 341"/>
                <a:gd name="T60" fmla="*/ 124 w 217"/>
                <a:gd name="T61" fmla="*/ 38 h 341"/>
                <a:gd name="T62" fmla="*/ 121 w 217"/>
                <a:gd name="T63" fmla="*/ 37 h 341"/>
                <a:gd name="T64" fmla="*/ 119 w 217"/>
                <a:gd name="T65" fmla="*/ 35 h 341"/>
                <a:gd name="T66" fmla="*/ 117 w 217"/>
                <a:gd name="T67" fmla="*/ 30 h 341"/>
                <a:gd name="T68" fmla="*/ 116 w 217"/>
                <a:gd name="T69" fmla="*/ 26 h 341"/>
                <a:gd name="T70" fmla="*/ 114 w 217"/>
                <a:gd name="T71" fmla="*/ 21 h 341"/>
                <a:gd name="T72" fmla="*/ 114 w 217"/>
                <a:gd name="T73" fmla="*/ 14 h 341"/>
                <a:gd name="T74" fmla="*/ 114 w 217"/>
                <a:gd name="T75" fmla="*/ 7 h 341"/>
                <a:gd name="T76" fmla="*/ 113 w 217"/>
                <a:gd name="T77" fmla="*/ 0 h 341"/>
                <a:gd name="T78" fmla="*/ 1 w 217"/>
                <a:gd name="T79" fmla="*/ 1 h 341"/>
                <a:gd name="T80" fmla="*/ 1 w 217"/>
                <a:gd name="T81" fmla="*/ 181 h 341"/>
                <a:gd name="T82" fmla="*/ 5 w 217"/>
                <a:gd name="T83" fmla="*/ 318 h 341"/>
                <a:gd name="T84" fmla="*/ 5 w 217"/>
                <a:gd name="T85" fmla="*/ 341 h 341"/>
                <a:gd name="T86" fmla="*/ 79 w 217"/>
                <a:gd name="T87" fmla="*/ 341 h 341"/>
                <a:gd name="T88" fmla="*/ 131 w 217"/>
                <a:gd name="T89" fmla="*/ 340 h 341"/>
                <a:gd name="T90" fmla="*/ 131 w 217"/>
                <a:gd name="T91" fmla="*/ 332 h 341"/>
                <a:gd name="T92" fmla="*/ 132 w 217"/>
                <a:gd name="T93" fmla="*/ 327 h 341"/>
                <a:gd name="T94" fmla="*/ 129 w 217"/>
                <a:gd name="T95" fmla="*/ 323 h 341"/>
                <a:gd name="T96" fmla="*/ 129 w 217"/>
                <a:gd name="T97" fmla="*/ 299 h 341"/>
                <a:gd name="T98" fmla="*/ 127 w 217"/>
                <a:gd name="T99" fmla="*/ 274 h 341"/>
                <a:gd name="T100" fmla="*/ 127 w 217"/>
                <a:gd name="T101" fmla="*/ 252 h 341"/>
                <a:gd name="T102" fmla="*/ 124 w 217"/>
                <a:gd name="T103" fmla="*/ 229 h 341"/>
                <a:gd name="T104" fmla="*/ 124 w 217"/>
                <a:gd name="T105" fmla="*/ 221 h 341"/>
                <a:gd name="T106" fmla="*/ 143 w 217"/>
                <a:gd name="T107" fmla="*/ 201 h 341"/>
                <a:gd name="T108" fmla="*/ 159 w 217"/>
                <a:gd name="T109" fmla="*/ 180 h 341"/>
                <a:gd name="T110" fmla="*/ 175 w 217"/>
                <a:gd name="T111" fmla="*/ 155 h 341"/>
                <a:gd name="T112" fmla="*/ 190 w 217"/>
                <a:gd name="T113" fmla="*/ 134 h 341"/>
                <a:gd name="T114" fmla="*/ 204 w 217"/>
                <a:gd name="T115" fmla="*/ 111 h 341"/>
                <a:gd name="T116" fmla="*/ 216 w 217"/>
                <a:gd name="T117" fmla="*/ 89 h 341"/>
                <a:gd name="T118" fmla="*/ 217 w 217"/>
                <a:gd name="T119" fmla="*/ 88 h 341"/>
                <a:gd name="T120" fmla="*/ 216 w 217"/>
                <a:gd name="T121" fmla="*/ 87 h 341"/>
                <a:gd name="T122" fmla="*/ 209 w 217"/>
                <a:gd name="T123" fmla="*/ 85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7" h="341">
                  <a:moveTo>
                    <a:pt x="209" y="85"/>
                  </a:moveTo>
                  <a:cubicBezTo>
                    <a:pt x="202" y="83"/>
                    <a:pt x="202" y="83"/>
                    <a:pt x="202" y="83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191" y="80"/>
                    <a:pt x="191" y="80"/>
                    <a:pt x="191" y="80"/>
                  </a:cubicBezTo>
                  <a:cubicBezTo>
                    <a:pt x="187" y="79"/>
                    <a:pt x="187" y="79"/>
                    <a:pt x="187" y="79"/>
                  </a:cubicBezTo>
                  <a:cubicBezTo>
                    <a:pt x="181" y="79"/>
                    <a:pt x="181" y="79"/>
                    <a:pt x="181" y="79"/>
                  </a:cubicBezTo>
                  <a:cubicBezTo>
                    <a:pt x="178" y="79"/>
                    <a:pt x="178" y="79"/>
                    <a:pt x="178" y="79"/>
                  </a:cubicBezTo>
                  <a:cubicBezTo>
                    <a:pt x="171" y="81"/>
                    <a:pt x="171" y="81"/>
                    <a:pt x="171" y="81"/>
                  </a:cubicBezTo>
                  <a:cubicBezTo>
                    <a:pt x="166" y="85"/>
                    <a:pt x="166" y="85"/>
                    <a:pt x="166" y="85"/>
                  </a:cubicBezTo>
                  <a:cubicBezTo>
                    <a:pt x="165" y="87"/>
                    <a:pt x="165" y="87"/>
                    <a:pt x="165" y="87"/>
                  </a:cubicBezTo>
                  <a:cubicBezTo>
                    <a:pt x="162" y="89"/>
                    <a:pt x="162" y="89"/>
                    <a:pt x="162" y="89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58" y="90"/>
                    <a:pt x="158" y="90"/>
                    <a:pt x="158" y="90"/>
                  </a:cubicBezTo>
                  <a:cubicBezTo>
                    <a:pt x="156" y="89"/>
                    <a:pt x="156" y="89"/>
                    <a:pt x="156" y="89"/>
                  </a:cubicBezTo>
                  <a:cubicBezTo>
                    <a:pt x="155" y="87"/>
                    <a:pt x="155" y="87"/>
                    <a:pt x="155" y="87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4"/>
                    <a:pt x="159" y="84"/>
                    <a:pt x="159" y="84"/>
                  </a:cubicBezTo>
                  <a:cubicBezTo>
                    <a:pt x="160" y="82"/>
                    <a:pt x="160" y="82"/>
                    <a:pt x="160" y="82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9" y="75"/>
                    <a:pt x="159" y="75"/>
                    <a:pt x="159" y="75"/>
                  </a:cubicBezTo>
                  <a:cubicBezTo>
                    <a:pt x="156" y="71"/>
                    <a:pt x="156" y="71"/>
                    <a:pt x="156" y="71"/>
                  </a:cubicBezTo>
                  <a:cubicBezTo>
                    <a:pt x="155" y="68"/>
                    <a:pt x="155" y="68"/>
                    <a:pt x="155" y="68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0" y="60"/>
                    <a:pt x="150" y="60"/>
                    <a:pt x="150" y="60"/>
                  </a:cubicBezTo>
                  <a:cubicBezTo>
                    <a:pt x="146" y="49"/>
                    <a:pt x="146" y="49"/>
                    <a:pt x="146" y="49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36"/>
                    <a:pt x="1" y="181"/>
                  </a:cubicBezTo>
                  <a:cubicBezTo>
                    <a:pt x="1" y="215"/>
                    <a:pt x="5" y="318"/>
                    <a:pt x="5" y="318"/>
                  </a:cubicBezTo>
                  <a:cubicBezTo>
                    <a:pt x="5" y="341"/>
                    <a:pt x="5" y="341"/>
                    <a:pt x="5" y="341"/>
                  </a:cubicBezTo>
                  <a:cubicBezTo>
                    <a:pt x="79" y="341"/>
                    <a:pt x="79" y="341"/>
                    <a:pt x="79" y="341"/>
                  </a:cubicBezTo>
                  <a:cubicBezTo>
                    <a:pt x="131" y="340"/>
                    <a:pt x="131" y="340"/>
                    <a:pt x="131" y="340"/>
                  </a:cubicBezTo>
                  <a:cubicBezTo>
                    <a:pt x="131" y="332"/>
                    <a:pt x="131" y="332"/>
                    <a:pt x="131" y="332"/>
                  </a:cubicBezTo>
                  <a:cubicBezTo>
                    <a:pt x="132" y="327"/>
                    <a:pt x="132" y="327"/>
                    <a:pt x="132" y="327"/>
                  </a:cubicBezTo>
                  <a:cubicBezTo>
                    <a:pt x="129" y="323"/>
                    <a:pt x="129" y="323"/>
                    <a:pt x="129" y="323"/>
                  </a:cubicBezTo>
                  <a:cubicBezTo>
                    <a:pt x="129" y="299"/>
                    <a:pt x="129" y="299"/>
                    <a:pt x="129" y="299"/>
                  </a:cubicBezTo>
                  <a:cubicBezTo>
                    <a:pt x="127" y="274"/>
                    <a:pt x="127" y="274"/>
                    <a:pt x="127" y="274"/>
                  </a:cubicBezTo>
                  <a:cubicBezTo>
                    <a:pt x="127" y="252"/>
                    <a:pt x="127" y="252"/>
                    <a:pt x="127" y="252"/>
                  </a:cubicBezTo>
                  <a:cubicBezTo>
                    <a:pt x="124" y="229"/>
                    <a:pt x="124" y="229"/>
                    <a:pt x="124" y="229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43" y="201"/>
                    <a:pt x="143" y="201"/>
                    <a:pt x="143" y="201"/>
                  </a:cubicBezTo>
                  <a:cubicBezTo>
                    <a:pt x="159" y="180"/>
                    <a:pt x="159" y="180"/>
                    <a:pt x="159" y="180"/>
                  </a:cubicBezTo>
                  <a:cubicBezTo>
                    <a:pt x="175" y="155"/>
                    <a:pt x="175" y="155"/>
                    <a:pt x="175" y="155"/>
                  </a:cubicBezTo>
                  <a:cubicBezTo>
                    <a:pt x="190" y="134"/>
                    <a:pt x="190" y="134"/>
                    <a:pt x="190" y="134"/>
                  </a:cubicBezTo>
                  <a:cubicBezTo>
                    <a:pt x="204" y="111"/>
                    <a:pt x="204" y="111"/>
                    <a:pt x="204" y="111"/>
                  </a:cubicBezTo>
                  <a:cubicBezTo>
                    <a:pt x="216" y="89"/>
                    <a:pt x="216" y="89"/>
                    <a:pt x="216" y="89"/>
                  </a:cubicBezTo>
                  <a:cubicBezTo>
                    <a:pt x="217" y="88"/>
                    <a:pt x="217" y="88"/>
                    <a:pt x="217" y="88"/>
                  </a:cubicBezTo>
                  <a:cubicBezTo>
                    <a:pt x="216" y="87"/>
                    <a:pt x="216" y="87"/>
                    <a:pt x="216" y="87"/>
                  </a:cubicBezTo>
                  <a:lnTo>
                    <a:pt x="209" y="85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12"/>
            <p:cNvSpPr>
              <a:spLocks/>
            </p:cNvSpPr>
            <p:nvPr/>
          </p:nvSpPr>
          <p:spPr bwMode="auto">
            <a:xfrm>
              <a:off x="3965797" y="3131495"/>
              <a:ext cx="327617" cy="653884"/>
            </a:xfrm>
            <a:custGeom>
              <a:avLst/>
              <a:gdLst>
                <a:gd name="T0" fmla="*/ 171 w 175"/>
                <a:gd name="T1" fmla="*/ 190 h 350"/>
                <a:gd name="T2" fmla="*/ 171 w 175"/>
                <a:gd name="T3" fmla="*/ 10 h 350"/>
                <a:gd name="T4" fmla="*/ 108 w 175"/>
                <a:gd name="T5" fmla="*/ 7 h 350"/>
                <a:gd name="T6" fmla="*/ 49 w 175"/>
                <a:gd name="T7" fmla="*/ 0 h 350"/>
                <a:gd name="T8" fmla="*/ 0 w 175"/>
                <a:gd name="T9" fmla="*/ 337 h 350"/>
                <a:gd name="T10" fmla="*/ 79 w 175"/>
                <a:gd name="T11" fmla="*/ 346 h 350"/>
                <a:gd name="T12" fmla="*/ 175 w 175"/>
                <a:gd name="T13" fmla="*/ 350 h 350"/>
                <a:gd name="T14" fmla="*/ 175 w 175"/>
                <a:gd name="T15" fmla="*/ 327 h 350"/>
                <a:gd name="T16" fmla="*/ 171 w 175"/>
                <a:gd name="T17" fmla="*/ 19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350">
                  <a:moveTo>
                    <a:pt x="171" y="190"/>
                  </a:moveTo>
                  <a:cubicBezTo>
                    <a:pt x="170" y="145"/>
                    <a:pt x="171" y="10"/>
                    <a:pt x="171" y="10"/>
                  </a:cubicBezTo>
                  <a:cubicBezTo>
                    <a:pt x="171" y="10"/>
                    <a:pt x="123" y="8"/>
                    <a:pt x="108" y="7"/>
                  </a:cubicBezTo>
                  <a:cubicBezTo>
                    <a:pt x="93" y="5"/>
                    <a:pt x="49" y="0"/>
                    <a:pt x="49" y="0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337"/>
                    <a:pt x="33" y="341"/>
                    <a:pt x="79" y="346"/>
                  </a:cubicBezTo>
                  <a:cubicBezTo>
                    <a:pt x="114" y="350"/>
                    <a:pt x="175" y="350"/>
                    <a:pt x="175" y="350"/>
                  </a:cubicBezTo>
                  <a:cubicBezTo>
                    <a:pt x="175" y="327"/>
                    <a:pt x="175" y="327"/>
                    <a:pt x="175" y="327"/>
                  </a:cubicBezTo>
                  <a:cubicBezTo>
                    <a:pt x="175" y="327"/>
                    <a:pt x="171" y="224"/>
                    <a:pt x="171" y="19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3669190" y="3068130"/>
              <a:ext cx="388286" cy="692982"/>
            </a:xfrm>
            <a:custGeom>
              <a:avLst/>
              <a:gdLst>
                <a:gd name="T0" fmla="*/ 55 w 208"/>
                <a:gd name="T1" fmla="*/ 0 h 371"/>
                <a:gd name="T2" fmla="*/ 0 w 208"/>
                <a:gd name="T3" fmla="*/ 186 h 371"/>
                <a:gd name="T4" fmla="*/ 5 w 208"/>
                <a:gd name="T5" fmla="*/ 191 h 371"/>
                <a:gd name="T6" fmla="*/ 1 w 208"/>
                <a:gd name="T7" fmla="*/ 193 h 371"/>
                <a:gd name="T8" fmla="*/ 1 w 208"/>
                <a:gd name="T9" fmla="*/ 196 h 371"/>
                <a:gd name="T10" fmla="*/ 2 w 208"/>
                <a:gd name="T11" fmla="*/ 199 h 371"/>
                <a:gd name="T12" fmla="*/ 6 w 208"/>
                <a:gd name="T13" fmla="*/ 200 h 371"/>
                <a:gd name="T14" fmla="*/ 9 w 208"/>
                <a:gd name="T15" fmla="*/ 203 h 371"/>
                <a:gd name="T16" fmla="*/ 10 w 208"/>
                <a:gd name="T17" fmla="*/ 206 h 371"/>
                <a:gd name="T18" fmla="*/ 12 w 208"/>
                <a:gd name="T19" fmla="*/ 208 h 371"/>
                <a:gd name="T20" fmla="*/ 15 w 208"/>
                <a:gd name="T21" fmla="*/ 208 h 371"/>
                <a:gd name="T22" fmla="*/ 15 w 208"/>
                <a:gd name="T23" fmla="*/ 209 h 371"/>
                <a:gd name="T24" fmla="*/ 15 w 208"/>
                <a:gd name="T25" fmla="*/ 214 h 371"/>
                <a:gd name="T26" fmla="*/ 17 w 208"/>
                <a:gd name="T27" fmla="*/ 217 h 371"/>
                <a:gd name="T28" fmla="*/ 21 w 208"/>
                <a:gd name="T29" fmla="*/ 221 h 371"/>
                <a:gd name="T30" fmla="*/ 21 w 208"/>
                <a:gd name="T31" fmla="*/ 222 h 371"/>
                <a:gd name="T32" fmla="*/ 23 w 208"/>
                <a:gd name="T33" fmla="*/ 232 h 371"/>
                <a:gd name="T34" fmla="*/ 23 w 208"/>
                <a:gd name="T35" fmla="*/ 236 h 371"/>
                <a:gd name="T36" fmla="*/ 24 w 208"/>
                <a:gd name="T37" fmla="*/ 239 h 371"/>
                <a:gd name="T38" fmla="*/ 30 w 208"/>
                <a:gd name="T39" fmla="*/ 241 h 371"/>
                <a:gd name="T40" fmla="*/ 30 w 208"/>
                <a:gd name="T41" fmla="*/ 245 h 371"/>
                <a:gd name="T42" fmla="*/ 31 w 208"/>
                <a:gd name="T43" fmla="*/ 246 h 371"/>
                <a:gd name="T44" fmla="*/ 32 w 208"/>
                <a:gd name="T45" fmla="*/ 248 h 371"/>
                <a:gd name="T46" fmla="*/ 35 w 208"/>
                <a:gd name="T47" fmla="*/ 248 h 371"/>
                <a:gd name="T48" fmla="*/ 37 w 208"/>
                <a:gd name="T49" fmla="*/ 257 h 371"/>
                <a:gd name="T50" fmla="*/ 40 w 208"/>
                <a:gd name="T51" fmla="*/ 262 h 371"/>
                <a:gd name="T52" fmla="*/ 44 w 208"/>
                <a:gd name="T53" fmla="*/ 264 h 371"/>
                <a:gd name="T54" fmla="*/ 49 w 208"/>
                <a:gd name="T55" fmla="*/ 267 h 371"/>
                <a:gd name="T56" fmla="*/ 49 w 208"/>
                <a:gd name="T57" fmla="*/ 270 h 371"/>
                <a:gd name="T58" fmla="*/ 49 w 208"/>
                <a:gd name="T59" fmla="*/ 275 h 371"/>
                <a:gd name="T60" fmla="*/ 50 w 208"/>
                <a:gd name="T61" fmla="*/ 275 h 371"/>
                <a:gd name="T62" fmla="*/ 51 w 208"/>
                <a:gd name="T63" fmla="*/ 277 h 371"/>
                <a:gd name="T64" fmla="*/ 53 w 208"/>
                <a:gd name="T65" fmla="*/ 280 h 371"/>
                <a:gd name="T66" fmla="*/ 55 w 208"/>
                <a:gd name="T67" fmla="*/ 282 h 371"/>
                <a:gd name="T68" fmla="*/ 55 w 208"/>
                <a:gd name="T69" fmla="*/ 284 h 371"/>
                <a:gd name="T70" fmla="*/ 58 w 208"/>
                <a:gd name="T71" fmla="*/ 289 h 371"/>
                <a:gd name="T72" fmla="*/ 59 w 208"/>
                <a:gd name="T73" fmla="*/ 292 h 371"/>
                <a:gd name="T74" fmla="*/ 61 w 208"/>
                <a:gd name="T75" fmla="*/ 296 h 371"/>
                <a:gd name="T76" fmla="*/ 63 w 208"/>
                <a:gd name="T77" fmla="*/ 301 h 371"/>
                <a:gd name="T78" fmla="*/ 66 w 208"/>
                <a:gd name="T79" fmla="*/ 303 h 371"/>
                <a:gd name="T80" fmla="*/ 67 w 208"/>
                <a:gd name="T81" fmla="*/ 303 h 371"/>
                <a:gd name="T82" fmla="*/ 69 w 208"/>
                <a:gd name="T83" fmla="*/ 305 h 371"/>
                <a:gd name="T84" fmla="*/ 71 w 208"/>
                <a:gd name="T85" fmla="*/ 310 h 371"/>
                <a:gd name="T86" fmla="*/ 71 w 208"/>
                <a:gd name="T87" fmla="*/ 316 h 371"/>
                <a:gd name="T88" fmla="*/ 73 w 208"/>
                <a:gd name="T89" fmla="*/ 318 h 371"/>
                <a:gd name="T90" fmla="*/ 73 w 208"/>
                <a:gd name="T91" fmla="*/ 322 h 371"/>
                <a:gd name="T92" fmla="*/ 72 w 208"/>
                <a:gd name="T93" fmla="*/ 326 h 371"/>
                <a:gd name="T94" fmla="*/ 71 w 208"/>
                <a:gd name="T95" fmla="*/ 328 h 371"/>
                <a:gd name="T96" fmla="*/ 72 w 208"/>
                <a:gd name="T97" fmla="*/ 346 h 371"/>
                <a:gd name="T98" fmla="*/ 75 w 208"/>
                <a:gd name="T99" fmla="*/ 348 h 371"/>
                <a:gd name="T100" fmla="*/ 77 w 208"/>
                <a:gd name="T101" fmla="*/ 351 h 371"/>
                <a:gd name="T102" fmla="*/ 77 w 208"/>
                <a:gd name="T103" fmla="*/ 356 h 371"/>
                <a:gd name="T104" fmla="*/ 159 w 208"/>
                <a:gd name="T105" fmla="*/ 371 h 371"/>
                <a:gd name="T106" fmla="*/ 208 w 208"/>
                <a:gd name="T107" fmla="*/ 34 h 371"/>
                <a:gd name="T108" fmla="*/ 125 w 208"/>
                <a:gd name="T109" fmla="*/ 18 h 371"/>
                <a:gd name="T110" fmla="*/ 55 w 208"/>
                <a:gd name="T111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8" h="371">
                  <a:moveTo>
                    <a:pt x="55" y="0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5" y="191"/>
                    <a:pt x="5" y="191"/>
                    <a:pt x="5" y="191"/>
                  </a:cubicBezTo>
                  <a:cubicBezTo>
                    <a:pt x="1" y="193"/>
                    <a:pt x="1" y="193"/>
                    <a:pt x="1" y="193"/>
                  </a:cubicBezTo>
                  <a:cubicBezTo>
                    <a:pt x="1" y="196"/>
                    <a:pt x="1" y="196"/>
                    <a:pt x="1" y="196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6" y="200"/>
                    <a:pt x="6" y="200"/>
                    <a:pt x="6" y="200"/>
                  </a:cubicBezTo>
                  <a:cubicBezTo>
                    <a:pt x="9" y="203"/>
                    <a:pt x="9" y="203"/>
                    <a:pt x="9" y="203"/>
                  </a:cubicBezTo>
                  <a:cubicBezTo>
                    <a:pt x="10" y="206"/>
                    <a:pt x="10" y="206"/>
                    <a:pt x="10" y="206"/>
                  </a:cubicBezTo>
                  <a:cubicBezTo>
                    <a:pt x="12" y="208"/>
                    <a:pt x="12" y="208"/>
                    <a:pt x="12" y="208"/>
                  </a:cubicBezTo>
                  <a:cubicBezTo>
                    <a:pt x="15" y="208"/>
                    <a:pt x="15" y="208"/>
                    <a:pt x="15" y="208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7" y="217"/>
                    <a:pt x="17" y="217"/>
                    <a:pt x="17" y="217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21" y="222"/>
                    <a:pt x="21" y="222"/>
                    <a:pt x="21" y="222"/>
                  </a:cubicBezTo>
                  <a:cubicBezTo>
                    <a:pt x="23" y="232"/>
                    <a:pt x="23" y="232"/>
                    <a:pt x="23" y="232"/>
                  </a:cubicBezTo>
                  <a:cubicBezTo>
                    <a:pt x="23" y="236"/>
                    <a:pt x="23" y="236"/>
                    <a:pt x="23" y="236"/>
                  </a:cubicBezTo>
                  <a:cubicBezTo>
                    <a:pt x="24" y="239"/>
                    <a:pt x="24" y="239"/>
                    <a:pt x="24" y="239"/>
                  </a:cubicBezTo>
                  <a:cubicBezTo>
                    <a:pt x="30" y="241"/>
                    <a:pt x="30" y="241"/>
                    <a:pt x="30" y="241"/>
                  </a:cubicBezTo>
                  <a:cubicBezTo>
                    <a:pt x="30" y="245"/>
                    <a:pt x="30" y="245"/>
                    <a:pt x="30" y="245"/>
                  </a:cubicBezTo>
                  <a:cubicBezTo>
                    <a:pt x="31" y="246"/>
                    <a:pt x="31" y="246"/>
                    <a:pt x="31" y="246"/>
                  </a:cubicBezTo>
                  <a:cubicBezTo>
                    <a:pt x="32" y="248"/>
                    <a:pt x="32" y="248"/>
                    <a:pt x="32" y="248"/>
                  </a:cubicBezTo>
                  <a:cubicBezTo>
                    <a:pt x="35" y="248"/>
                    <a:pt x="35" y="248"/>
                    <a:pt x="35" y="248"/>
                  </a:cubicBezTo>
                  <a:cubicBezTo>
                    <a:pt x="37" y="257"/>
                    <a:pt x="37" y="257"/>
                    <a:pt x="37" y="257"/>
                  </a:cubicBezTo>
                  <a:cubicBezTo>
                    <a:pt x="40" y="262"/>
                    <a:pt x="40" y="262"/>
                    <a:pt x="40" y="262"/>
                  </a:cubicBezTo>
                  <a:cubicBezTo>
                    <a:pt x="44" y="264"/>
                    <a:pt x="44" y="264"/>
                    <a:pt x="44" y="264"/>
                  </a:cubicBezTo>
                  <a:cubicBezTo>
                    <a:pt x="49" y="267"/>
                    <a:pt x="49" y="267"/>
                    <a:pt x="49" y="267"/>
                  </a:cubicBezTo>
                  <a:cubicBezTo>
                    <a:pt x="49" y="270"/>
                    <a:pt x="49" y="270"/>
                    <a:pt x="49" y="270"/>
                  </a:cubicBezTo>
                  <a:cubicBezTo>
                    <a:pt x="49" y="275"/>
                    <a:pt x="49" y="275"/>
                    <a:pt x="49" y="275"/>
                  </a:cubicBezTo>
                  <a:cubicBezTo>
                    <a:pt x="50" y="275"/>
                    <a:pt x="50" y="275"/>
                    <a:pt x="50" y="275"/>
                  </a:cubicBezTo>
                  <a:cubicBezTo>
                    <a:pt x="51" y="277"/>
                    <a:pt x="51" y="277"/>
                    <a:pt x="51" y="277"/>
                  </a:cubicBezTo>
                  <a:cubicBezTo>
                    <a:pt x="53" y="280"/>
                    <a:pt x="53" y="280"/>
                    <a:pt x="53" y="280"/>
                  </a:cubicBezTo>
                  <a:cubicBezTo>
                    <a:pt x="55" y="282"/>
                    <a:pt x="55" y="282"/>
                    <a:pt x="55" y="282"/>
                  </a:cubicBezTo>
                  <a:cubicBezTo>
                    <a:pt x="55" y="284"/>
                    <a:pt x="55" y="284"/>
                    <a:pt x="55" y="284"/>
                  </a:cubicBezTo>
                  <a:cubicBezTo>
                    <a:pt x="58" y="289"/>
                    <a:pt x="58" y="289"/>
                    <a:pt x="58" y="289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1" y="296"/>
                    <a:pt x="61" y="296"/>
                    <a:pt x="61" y="296"/>
                  </a:cubicBezTo>
                  <a:cubicBezTo>
                    <a:pt x="63" y="301"/>
                    <a:pt x="63" y="301"/>
                    <a:pt x="63" y="301"/>
                  </a:cubicBezTo>
                  <a:cubicBezTo>
                    <a:pt x="66" y="303"/>
                    <a:pt x="66" y="303"/>
                    <a:pt x="66" y="303"/>
                  </a:cubicBezTo>
                  <a:cubicBezTo>
                    <a:pt x="67" y="303"/>
                    <a:pt x="67" y="303"/>
                    <a:pt x="67" y="303"/>
                  </a:cubicBezTo>
                  <a:cubicBezTo>
                    <a:pt x="69" y="305"/>
                    <a:pt x="69" y="305"/>
                    <a:pt x="69" y="305"/>
                  </a:cubicBezTo>
                  <a:cubicBezTo>
                    <a:pt x="71" y="310"/>
                    <a:pt x="71" y="310"/>
                    <a:pt x="71" y="310"/>
                  </a:cubicBezTo>
                  <a:cubicBezTo>
                    <a:pt x="71" y="316"/>
                    <a:pt x="71" y="316"/>
                    <a:pt x="71" y="316"/>
                  </a:cubicBezTo>
                  <a:cubicBezTo>
                    <a:pt x="73" y="318"/>
                    <a:pt x="73" y="318"/>
                    <a:pt x="73" y="318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72" y="326"/>
                    <a:pt x="72" y="326"/>
                    <a:pt x="72" y="326"/>
                  </a:cubicBezTo>
                  <a:cubicBezTo>
                    <a:pt x="71" y="328"/>
                    <a:pt x="71" y="328"/>
                    <a:pt x="71" y="328"/>
                  </a:cubicBezTo>
                  <a:cubicBezTo>
                    <a:pt x="72" y="346"/>
                    <a:pt x="72" y="346"/>
                    <a:pt x="72" y="346"/>
                  </a:cubicBezTo>
                  <a:cubicBezTo>
                    <a:pt x="75" y="348"/>
                    <a:pt x="75" y="348"/>
                    <a:pt x="75" y="348"/>
                  </a:cubicBezTo>
                  <a:cubicBezTo>
                    <a:pt x="77" y="351"/>
                    <a:pt x="77" y="351"/>
                    <a:pt x="77" y="351"/>
                  </a:cubicBezTo>
                  <a:cubicBezTo>
                    <a:pt x="77" y="356"/>
                    <a:pt x="77" y="356"/>
                    <a:pt x="77" y="356"/>
                  </a:cubicBezTo>
                  <a:cubicBezTo>
                    <a:pt x="159" y="371"/>
                    <a:pt x="159" y="371"/>
                    <a:pt x="159" y="371"/>
                  </a:cubicBezTo>
                  <a:cubicBezTo>
                    <a:pt x="208" y="34"/>
                    <a:pt x="208" y="34"/>
                    <a:pt x="208" y="34"/>
                  </a:cubicBezTo>
                  <a:cubicBezTo>
                    <a:pt x="208" y="34"/>
                    <a:pt x="153" y="25"/>
                    <a:pt x="125" y="18"/>
                  </a:cubicBezTo>
                  <a:cubicBezTo>
                    <a:pt x="98" y="11"/>
                    <a:pt x="55" y="0"/>
                    <a:pt x="55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>
              <a:off x="3276859" y="2849719"/>
              <a:ext cx="536590" cy="883080"/>
            </a:xfrm>
            <a:custGeom>
              <a:avLst/>
              <a:gdLst>
                <a:gd name="T0" fmla="*/ 283 w 287"/>
                <a:gd name="T1" fmla="*/ 439 h 473"/>
                <a:gd name="T2" fmla="*/ 277 w 287"/>
                <a:gd name="T3" fmla="*/ 420 h 473"/>
                <a:gd name="T4" fmla="*/ 268 w 287"/>
                <a:gd name="T5" fmla="*/ 406 h 473"/>
                <a:gd name="T6" fmla="*/ 260 w 287"/>
                <a:gd name="T7" fmla="*/ 392 h 473"/>
                <a:gd name="T8" fmla="*/ 250 w 287"/>
                <a:gd name="T9" fmla="*/ 379 h 473"/>
                <a:gd name="T10" fmla="*/ 240 w 287"/>
                <a:gd name="T11" fmla="*/ 362 h 473"/>
                <a:gd name="T12" fmla="*/ 231 w 287"/>
                <a:gd name="T13" fmla="*/ 339 h 473"/>
                <a:gd name="T14" fmla="*/ 225 w 287"/>
                <a:gd name="T15" fmla="*/ 325 h 473"/>
                <a:gd name="T16" fmla="*/ 212 w 287"/>
                <a:gd name="T17" fmla="*/ 316 h 473"/>
                <a:gd name="T18" fmla="*/ 265 w 287"/>
                <a:gd name="T19" fmla="*/ 118 h 473"/>
                <a:gd name="T20" fmla="*/ 2 w 287"/>
                <a:gd name="T21" fmla="*/ 18 h 473"/>
                <a:gd name="T22" fmla="*/ 4 w 287"/>
                <a:gd name="T23" fmla="*/ 39 h 473"/>
                <a:gd name="T24" fmla="*/ 22 w 287"/>
                <a:gd name="T25" fmla="*/ 36 h 473"/>
                <a:gd name="T26" fmla="*/ 28 w 287"/>
                <a:gd name="T27" fmla="*/ 36 h 473"/>
                <a:gd name="T28" fmla="*/ 40 w 287"/>
                <a:gd name="T29" fmla="*/ 34 h 473"/>
                <a:gd name="T30" fmla="*/ 43 w 287"/>
                <a:gd name="T31" fmla="*/ 52 h 473"/>
                <a:gd name="T32" fmla="*/ 50 w 287"/>
                <a:gd name="T33" fmla="*/ 94 h 473"/>
                <a:gd name="T34" fmla="*/ 49 w 287"/>
                <a:gd name="T35" fmla="*/ 147 h 473"/>
                <a:gd name="T36" fmla="*/ 63 w 287"/>
                <a:gd name="T37" fmla="*/ 165 h 473"/>
                <a:gd name="T38" fmla="*/ 64 w 287"/>
                <a:gd name="T39" fmla="*/ 189 h 473"/>
                <a:gd name="T40" fmla="*/ 56 w 287"/>
                <a:gd name="T41" fmla="*/ 200 h 473"/>
                <a:gd name="T42" fmla="*/ 66 w 287"/>
                <a:gd name="T43" fmla="*/ 197 h 473"/>
                <a:gd name="T44" fmla="*/ 63 w 287"/>
                <a:gd name="T45" fmla="*/ 208 h 473"/>
                <a:gd name="T46" fmla="*/ 55 w 287"/>
                <a:gd name="T47" fmla="*/ 207 h 473"/>
                <a:gd name="T48" fmla="*/ 45 w 287"/>
                <a:gd name="T49" fmla="*/ 223 h 473"/>
                <a:gd name="T50" fmla="*/ 43 w 287"/>
                <a:gd name="T51" fmla="*/ 236 h 473"/>
                <a:gd name="T52" fmla="*/ 43 w 287"/>
                <a:gd name="T53" fmla="*/ 250 h 473"/>
                <a:gd name="T54" fmla="*/ 38 w 287"/>
                <a:gd name="T55" fmla="*/ 237 h 473"/>
                <a:gd name="T56" fmla="*/ 41 w 287"/>
                <a:gd name="T57" fmla="*/ 253 h 473"/>
                <a:gd name="T58" fmla="*/ 52 w 287"/>
                <a:gd name="T59" fmla="*/ 251 h 473"/>
                <a:gd name="T60" fmla="*/ 59 w 287"/>
                <a:gd name="T61" fmla="*/ 243 h 473"/>
                <a:gd name="T62" fmla="*/ 60 w 287"/>
                <a:gd name="T63" fmla="*/ 256 h 473"/>
                <a:gd name="T64" fmla="*/ 59 w 287"/>
                <a:gd name="T65" fmla="*/ 258 h 473"/>
                <a:gd name="T66" fmla="*/ 53 w 287"/>
                <a:gd name="T67" fmla="*/ 270 h 473"/>
                <a:gd name="T68" fmla="*/ 43 w 287"/>
                <a:gd name="T69" fmla="*/ 271 h 473"/>
                <a:gd name="T70" fmla="*/ 51 w 287"/>
                <a:gd name="T71" fmla="*/ 284 h 473"/>
                <a:gd name="T72" fmla="*/ 55 w 287"/>
                <a:gd name="T73" fmla="*/ 274 h 473"/>
                <a:gd name="T74" fmla="*/ 52 w 287"/>
                <a:gd name="T75" fmla="*/ 289 h 473"/>
                <a:gd name="T76" fmla="*/ 66 w 287"/>
                <a:gd name="T77" fmla="*/ 298 h 473"/>
                <a:gd name="T78" fmla="*/ 82 w 287"/>
                <a:gd name="T79" fmla="*/ 290 h 473"/>
                <a:gd name="T80" fmla="*/ 75 w 287"/>
                <a:gd name="T81" fmla="*/ 304 h 473"/>
                <a:gd name="T82" fmla="*/ 64 w 287"/>
                <a:gd name="T83" fmla="*/ 305 h 473"/>
                <a:gd name="T84" fmla="*/ 52 w 287"/>
                <a:gd name="T85" fmla="*/ 319 h 473"/>
                <a:gd name="T86" fmla="*/ 60 w 287"/>
                <a:gd name="T87" fmla="*/ 318 h 473"/>
                <a:gd name="T88" fmla="*/ 54 w 287"/>
                <a:gd name="T89" fmla="*/ 326 h 473"/>
                <a:gd name="T90" fmla="*/ 60 w 287"/>
                <a:gd name="T91" fmla="*/ 337 h 473"/>
                <a:gd name="T92" fmla="*/ 52 w 287"/>
                <a:gd name="T93" fmla="*/ 339 h 473"/>
                <a:gd name="T94" fmla="*/ 68 w 287"/>
                <a:gd name="T95" fmla="*/ 346 h 473"/>
                <a:gd name="T96" fmla="*/ 80 w 287"/>
                <a:gd name="T97" fmla="*/ 352 h 473"/>
                <a:gd name="T98" fmla="*/ 87 w 287"/>
                <a:gd name="T99" fmla="*/ 351 h 473"/>
                <a:gd name="T100" fmla="*/ 75 w 287"/>
                <a:gd name="T101" fmla="*/ 358 h 473"/>
                <a:gd name="T102" fmla="*/ 84 w 287"/>
                <a:gd name="T103" fmla="*/ 364 h 473"/>
                <a:gd name="T104" fmla="*/ 96 w 287"/>
                <a:gd name="T105" fmla="*/ 363 h 473"/>
                <a:gd name="T106" fmla="*/ 92 w 287"/>
                <a:gd name="T107" fmla="*/ 374 h 473"/>
                <a:gd name="T108" fmla="*/ 98 w 287"/>
                <a:gd name="T109" fmla="*/ 378 h 473"/>
                <a:gd name="T110" fmla="*/ 93 w 287"/>
                <a:gd name="T111" fmla="*/ 390 h 473"/>
                <a:gd name="T112" fmla="*/ 107 w 287"/>
                <a:gd name="T113" fmla="*/ 389 h 473"/>
                <a:gd name="T114" fmla="*/ 104 w 287"/>
                <a:gd name="T115" fmla="*/ 399 h 473"/>
                <a:gd name="T116" fmla="*/ 104 w 287"/>
                <a:gd name="T117" fmla="*/ 409 h 473"/>
                <a:gd name="T118" fmla="*/ 111 w 287"/>
                <a:gd name="T119" fmla="*/ 420 h 473"/>
                <a:gd name="T120" fmla="*/ 285 w 287"/>
                <a:gd name="T121" fmla="*/ 465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" h="473">
                  <a:moveTo>
                    <a:pt x="285" y="465"/>
                  </a:moveTo>
                  <a:cubicBezTo>
                    <a:pt x="282" y="463"/>
                    <a:pt x="282" y="463"/>
                    <a:pt x="282" y="463"/>
                  </a:cubicBezTo>
                  <a:cubicBezTo>
                    <a:pt x="281" y="445"/>
                    <a:pt x="281" y="445"/>
                    <a:pt x="281" y="445"/>
                  </a:cubicBezTo>
                  <a:cubicBezTo>
                    <a:pt x="282" y="443"/>
                    <a:pt x="282" y="443"/>
                    <a:pt x="282" y="443"/>
                  </a:cubicBezTo>
                  <a:cubicBezTo>
                    <a:pt x="283" y="439"/>
                    <a:pt x="283" y="439"/>
                    <a:pt x="283" y="439"/>
                  </a:cubicBezTo>
                  <a:cubicBezTo>
                    <a:pt x="283" y="435"/>
                    <a:pt x="283" y="435"/>
                    <a:pt x="283" y="435"/>
                  </a:cubicBezTo>
                  <a:cubicBezTo>
                    <a:pt x="281" y="433"/>
                    <a:pt x="281" y="433"/>
                    <a:pt x="281" y="43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79" y="422"/>
                    <a:pt x="279" y="422"/>
                    <a:pt x="279" y="422"/>
                  </a:cubicBezTo>
                  <a:cubicBezTo>
                    <a:pt x="277" y="420"/>
                    <a:pt x="277" y="420"/>
                    <a:pt x="277" y="420"/>
                  </a:cubicBezTo>
                  <a:cubicBezTo>
                    <a:pt x="276" y="420"/>
                    <a:pt x="276" y="420"/>
                    <a:pt x="276" y="420"/>
                  </a:cubicBezTo>
                  <a:cubicBezTo>
                    <a:pt x="273" y="418"/>
                    <a:pt x="273" y="418"/>
                    <a:pt x="273" y="418"/>
                  </a:cubicBezTo>
                  <a:cubicBezTo>
                    <a:pt x="271" y="413"/>
                    <a:pt x="271" y="413"/>
                    <a:pt x="271" y="413"/>
                  </a:cubicBezTo>
                  <a:cubicBezTo>
                    <a:pt x="269" y="409"/>
                    <a:pt x="269" y="409"/>
                    <a:pt x="269" y="409"/>
                  </a:cubicBezTo>
                  <a:cubicBezTo>
                    <a:pt x="268" y="406"/>
                    <a:pt x="268" y="406"/>
                    <a:pt x="268" y="406"/>
                  </a:cubicBezTo>
                  <a:cubicBezTo>
                    <a:pt x="265" y="401"/>
                    <a:pt x="265" y="401"/>
                    <a:pt x="265" y="401"/>
                  </a:cubicBezTo>
                  <a:cubicBezTo>
                    <a:pt x="265" y="399"/>
                    <a:pt x="265" y="399"/>
                    <a:pt x="265" y="399"/>
                  </a:cubicBezTo>
                  <a:cubicBezTo>
                    <a:pt x="263" y="397"/>
                    <a:pt x="263" y="397"/>
                    <a:pt x="263" y="397"/>
                  </a:cubicBezTo>
                  <a:cubicBezTo>
                    <a:pt x="261" y="394"/>
                    <a:pt x="261" y="394"/>
                    <a:pt x="261" y="394"/>
                  </a:cubicBezTo>
                  <a:cubicBezTo>
                    <a:pt x="260" y="392"/>
                    <a:pt x="260" y="392"/>
                    <a:pt x="260" y="392"/>
                  </a:cubicBezTo>
                  <a:cubicBezTo>
                    <a:pt x="259" y="392"/>
                    <a:pt x="259" y="392"/>
                    <a:pt x="259" y="392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4"/>
                    <a:pt x="259" y="384"/>
                    <a:pt x="259" y="384"/>
                  </a:cubicBezTo>
                  <a:cubicBezTo>
                    <a:pt x="254" y="381"/>
                    <a:pt x="254" y="381"/>
                    <a:pt x="254" y="381"/>
                  </a:cubicBezTo>
                  <a:cubicBezTo>
                    <a:pt x="250" y="379"/>
                    <a:pt x="250" y="379"/>
                    <a:pt x="250" y="379"/>
                  </a:cubicBezTo>
                  <a:cubicBezTo>
                    <a:pt x="247" y="374"/>
                    <a:pt x="247" y="374"/>
                    <a:pt x="247" y="374"/>
                  </a:cubicBezTo>
                  <a:cubicBezTo>
                    <a:pt x="245" y="365"/>
                    <a:pt x="245" y="365"/>
                    <a:pt x="245" y="365"/>
                  </a:cubicBezTo>
                  <a:cubicBezTo>
                    <a:pt x="242" y="365"/>
                    <a:pt x="242" y="365"/>
                    <a:pt x="242" y="365"/>
                  </a:cubicBezTo>
                  <a:cubicBezTo>
                    <a:pt x="241" y="363"/>
                    <a:pt x="241" y="363"/>
                    <a:pt x="241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58"/>
                    <a:pt x="240" y="358"/>
                    <a:pt x="240" y="358"/>
                  </a:cubicBezTo>
                  <a:cubicBezTo>
                    <a:pt x="234" y="356"/>
                    <a:pt x="234" y="356"/>
                    <a:pt x="234" y="356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3" y="349"/>
                    <a:pt x="233" y="349"/>
                    <a:pt x="233" y="349"/>
                  </a:cubicBezTo>
                  <a:cubicBezTo>
                    <a:pt x="231" y="339"/>
                    <a:pt x="231" y="339"/>
                    <a:pt x="231" y="339"/>
                  </a:cubicBezTo>
                  <a:cubicBezTo>
                    <a:pt x="231" y="338"/>
                    <a:pt x="231" y="338"/>
                    <a:pt x="231" y="338"/>
                  </a:cubicBezTo>
                  <a:cubicBezTo>
                    <a:pt x="227" y="334"/>
                    <a:pt x="227" y="334"/>
                    <a:pt x="227" y="334"/>
                  </a:cubicBezTo>
                  <a:cubicBezTo>
                    <a:pt x="225" y="331"/>
                    <a:pt x="225" y="331"/>
                    <a:pt x="225" y="331"/>
                  </a:cubicBezTo>
                  <a:cubicBezTo>
                    <a:pt x="225" y="326"/>
                    <a:pt x="225" y="326"/>
                    <a:pt x="225" y="326"/>
                  </a:cubicBezTo>
                  <a:cubicBezTo>
                    <a:pt x="225" y="325"/>
                    <a:pt x="225" y="325"/>
                    <a:pt x="225" y="325"/>
                  </a:cubicBezTo>
                  <a:cubicBezTo>
                    <a:pt x="222" y="325"/>
                    <a:pt x="222" y="325"/>
                    <a:pt x="222" y="325"/>
                  </a:cubicBezTo>
                  <a:cubicBezTo>
                    <a:pt x="220" y="323"/>
                    <a:pt x="220" y="323"/>
                    <a:pt x="220" y="323"/>
                  </a:cubicBezTo>
                  <a:cubicBezTo>
                    <a:pt x="219" y="320"/>
                    <a:pt x="219" y="320"/>
                    <a:pt x="219" y="320"/>
                  </a:cubicBezTo>
                  <a:cubicBezTo>
                    <a:pt x="216" y="317"/>
                    <a:pt x="216" y="317"/>
                    <a:pt x="216" y="317"/>
                  </a:cubicBezTo>
                  <a:cubicBezTo>
                    <a:pt x="212" y="316"/>
                    <a:pt x="212" y="316"/>
                    <a:pt x="212" y="316"/>
                  </a:cubicBezTo>
                  <a:cubicBezTo>
                    <a:pt x="211" y="313"/>
                    <a:pt x="211" y="313"/>
                    <a:pt x="211" y="313"/>
                  </a:cubicBezTo>
                  <a:cubicBezTo>
                    <a:pt x="211" y="310"/>
                    <a:pt x="211" y="310"/>
                    <a:pt x="211" y="310"/>
                  </a:cubicBezTo>
                  <a:cubicBezTo>
                    <a:pt x="215" y="308"/>
                    <a:pt x="215" y="308"/>
                    <a:pt x="215" y="308"/>
                  </a:cubicBezTo>
                  <a:cubicBezTo>
                    <a:pt x="210" y="303"/>
                    <a:pt x="210" y="303"/>
                    <a:pt x="210" y="303"/>
                  </a:cubicBezTo>
                  <a:cubicBezTo>
                    <a:pt x="265" y="118"/>
                    <a:pt x="265" y="118"/>
                    <a:pt x="265" y="118"/>
                  </a:cubicBezTo>
                  <a:cubicBezTo>
                    <a:pt x="265" y="118"/>
                    <a:pt x="265" y="118"/>
                    <a:pt x="265" y="118"/>
                  </a:cubicBezTo>
                  <a:cubicBezTo>
                    <a:pt x="265" y="118"/>
                    <a:pt x="174" y="87"/>
                    <a:pt x="136" y="70"/>
                  </a:cubicBezTo>
                  <a:cubicBezTo>
                    <a:pt x="91" y="51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30" y="33"/>
                    <a:pt x="30" y="33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50" y="94"/>
                    <a:pt x="50" y="94"/>
                    <a:pt x="50" y="94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9" y="133"/>
                    <a:pt x="49" y="133"/>
                    <a:pt x="49" y="133"/>
                  </a:cubicBezTo>
                  <a:cubicBezTo>
                    <a:pt x="49" y="133"/>
                    <a:pt x="49" y="138"/>
                    <a:pt x="49" y="138"/>
                  </a:cubicBezTo>
                  <a:cubicBezTo>
                    <a:pt x="49" y="138"/>
                    <a:pt x="49" y="142"/>
                    <a:pt x="49" y="142"/>
                  </a:cubicBezTo>
                  <a:cubicBezTo>
                    <a:pt x="49" y="142"/>
                    <a:pt x="48" y="146"/>
                    <a:pt x="49" y="147"/>
                  </a:cubicBezTo>
                  <a:cubicBezTo>
                    <a:pt x="49" y="147"/>
                    <a:pt x="51" y="151"/>
                    <a:pt x="51" y="151"/>
                  </a:cubicBezTo>
                  <a:cubicBezTo>
                    <a:pt x="51" y="151"/>
                    <a:pt x="54" y="151"/>
                    <a:pt x="54" y="151"/>
                  </a:cubicBezTo>
                  <a:cubicBezTo>
                    <a:pt x="56" y="154"/>
                    <a:pt x="56" y="154"/>
                    <a:pt x="56" y="154"/>
                  </a:cubicBezTo>
                  <a:cubicBezTo>
                    <a:pt x="59" y="158"/>
                    <a:pt x="59" y="158"/>
                    <a:pt x="59" y="158"/>
                  </a:cubicBezTo>
                  <a:cubicBezTo>
                    <a:pt x="63" y="165"/>
                    <a:pt x="63" y="165"/>
                    <a:pt x="63" y="165"/>
                  </a:cubicBezTo>
                  <a:cubicBezTo>
                    <a:pt x="65" y="172"/>
                    <a:pt x="65" y="172"/>
                    <a:pt x="65" y="172"/>
                  </a:cubicBezTo>
                  <a:cubicBezTo>
                    <a:pt x="67" y="175"/>
                    <a:pt x="67" y="175"/>
                    <a:pt x="67" y="175"/>
                  </a:cubicBezTo>
                  <a:cubicBezTo>
                    <a:pt x="65" y="182"/>
                    <a:pt x="65" y="182"/>
                    <a:pt x="65" y="182"/>
                  </a:cubicBezTo>
                  <a:cubicBezTo>
                    <a:pt x="63" y="186"/>
                    <a:pt x="63" y="186"/>
                    <a:pt x="63" y="186"/>
                  </a:cubicBezTo>
                  <a:cubicBezTo>
                    <a:pt x="64" y="189"/>
                    <a:pt x="64" y="189"/>
                    <a:pt x="64" y="189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59" y="196"/>
                    <a:pt x="59" y="196"/>
                    <a:pt x="59" y="19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200"/>
                    <a:pt x="56" y="200"/>
                    <a:pt x="56" y="200"/>
                  </a:cubicBezTo>
                  <a:cubicBezTo>
                    <a:pt x="55" y="202"/>
                    <a:pt x="55" y="202"/>
                    <a:pt x="55" y="202"/>
                  </a:cubicBezTo>
                  <a:cubicBezTo>
                    <a:pt x="59" y="202"/>
                    <a:pt x="59" y="202"/>
                    <a:pt x="59" y="202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7"/>
                    <a:pt x="63" y="197"/>
                    <a:pt x="63" y="197"/>
                  </a:cubicBezTo>
                  <a:cubicBezTo>
                    <a:pt x="66" y="197"/>
                    <a:pt x="66" y="197"/>
                    <a:pt x="66" y="197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3" y="201"/>
                    <a:pt x="63" y="201"/>
                    <a:pt x="63" y="201"/>
                  </a:cubicBezTo>
                  <a:cubicBezTo>
                    <a:pt x="62" y="203"/>
                    <a:pt x="62" y="203"/>
                    <a:pt x="62" y="203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3" y="208"/>
                    <a:pt x="63" y="208"/>
                    <a:pt x="63" y="208"/>
                  </a:cubicBezTo>
                  <a:cubicBezTo>
                    <a:pt x="63" y="209"/>
                    <a:pt x="63" y="209"/>
                    <a:pt x="63" y="209"/>
                  </a:cubicBezTo>
                  <a:cubicBezTo>
                    <a:pt x="61" y="209"/>
                    <a:pt x="61" y="209"/>
                    <a:pt x="61" y="209"/>
                  </a:cubicBezTo>
                  <a:cubicBezTo>
                    <a:pt x="59" y="207"/>
                    <a:pt x="59" y="207"/>
                    <a:pt x="59" y="207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5" y="207"/>
                    <a:pt x="55" y="207"/>
                    <a:pt x="55" y="207"/>
                  </a:cubicBezTo>
                  <a:cubicBezTo>
                    <a:pt x="50" y="212"/>
                    <a:pt x="50" y="212"/>
                    <a:pt x="50" y="212"/>
                  </a:cubicBezTo>
                  <a:cubicBezTo>
                    <a:pt x="47" y="214"/>
                    <a:pt x="47" y="214"/>
                    <a:pt x="47" y="214"/>
                  </a:cubicBezTo>
                  <a:cubicBezTo>
                    <a:pt x="44" y="215"/>
                    <a:pt x="44" y="215"/>
                    <a:pt x="44" y="215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5" y="223"/>
                    <a:pt x="45" y="223"/>
                    <a:pt x="45" y="223"/>
                  </a:cubicBezTo>
                  <a:cubicBezTo>
                    <a:pt x="48" y="224"/>
                    <a:pt x="48" y="224"/>
                    <a:pt x="48" y="224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0" y="227"/>
                    <a:pt x="50" y="227"/>
                    <a:pt x="50" y="227"/>
                  </a:cubicBezTo>
                  <a:cubicBezTo>
                    <a:pt x="42" y="230"/>
                    <a:pt x="42" y="230"/>
                    <a:pt x="42" y="230"/>
                  </a:cubicBezTo>
                  <a:cubicBezTo>
                    <a:pt x="43" y="236"/>
                    <a:pt x="43" y="236"/>
                    <a:pt x="43" y="236"/>
                  </a:cubicBezTo>
                  <a:cubicBezTo>
                    <a:pt x="43" y="236"/>
                    <a:pt x="44" y="238"/>
                    <a:pt x="44" y="238"/>
                  </a:cubicBezTo>
                  <a:cubicBezTo>
                    <a:pt x="45" y="239"/>
                    <a:pt x="47" y="243"/>
                    <a:pt x="47" y="243"/>
                  </a:cubicBezTo>
                  <a:cubicBezTo>
                    <a:pt x="47" y="243"/>
                    <a:pt x="48" y="244"/>
                    <a:pt x="48" y="244"/>
                  </a:cubicBezTo>
                  <a:cubicBezTo>
                    <a:pt x="48" y="245"/>
                    <a:pt x="46" y="248"/>
                    <a:pt x="46" y="248"/>
                  </a:cubicBezTo>
                  <a:cubicBezTo>
                    <a:pt x="43" y="250"/>
                    <a:pt x="43" y="250"/>
                    <a:pt x="43" y="250"/>
                  </a:cubicBezTo>
                  <a:cubicBezTo>
                    <a:pt x="43" y="250"/>
                    <a:pt x="43" y="253"/>
                    <a:pt x="42" y="248"/>
                  </a:cubicBezTo>
                  <a:cubicBezTo>
                    <a:pt x="42" y="243"/>
                    <a:pt x="42" y="242"/>
                    <a:pt x="42" y="242"/>
                  </a:cubicBezTo>
                  <a:cubicBezTo>
                    <a:pt x="41" y="241"/>
                    <a:pt x="41" y="241"/>
                    <a:pt x="41" y="241"/>
                  </a:cubicBezTo>
                  <a:cubicBezTo>
                    <a:pt x="40" y="239"/>
                    <a:pt x="40" y="239"/>
                    <a:pt x="40" y="239"/>
                  </a:cubicBezTo>
                  <a:cubicBezTo>
                    <a:pt x="38" y="237"/>
                    <a:pt x="38" y="237"/>
                    <a:pt x="38" y="237"/>
                  </a:cubicBezTo>
                  <a:cubicBezTo>
                    <a:pt x="37" y="240"/>
                    <a:pt x="37" y="240"/>
                    <a:pt x="37" y="240"/>
                  </a:cubicBezTo>
                  <a:cubicBezTo>
                    <a:pt x="37" y="242"/>
                    <a:pt x="37" y="242"/>
                    <a:pt x="37" y="242"/>
                  </a:cubicBezTo>
                  <a:cubicBezTo>
                    <a:pt x="39" y="249"/>
                    <a:pt x="39" y="249"/>
                    <a:pt x="39" y="249"/>
                  </a:cubicBezTo>
                  <a:cubicBezTo>
                    <a:pt x="40" y="251"/>
                    <a:pt x="40" y="251"/>
                    <a:pt x="40" y="251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42" y="253"/>
                    <a:pt x="42" y="253"/>
                    <a:pt x="42" y="253"/>
                  </a:cubicBezTo>
                  <a:cubicBezTo>
                    <a:pt x="45" y="253"/>
                    <a:pt x="45" y="253"/>
                    <a:pt x="45" y="253"/>
                  </a:cubicBezTo>
                  <a:cubicBezTo>
                    <a:pt x="45" y="253"/>
                    <a:pt x="45" y="254"/>
                    <a:pt x="46" y="253"/>
                  </a:cubicBezTo>
                  <a:cubicBezTo>
                    <a:pt x="46" y="253"/>
                    <a:pt x="49" y="253"/>
                    <a:pt x="50" y="252"/>
                  </a:cubicBezTo>
                  <a:cubicBezTo>
                    <a:pt x="50" y="252"/>
                    <a:pt x="52" y="251"/>
                    <a:pt x="52" y="251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55" y="248"/>
                    <a:pt x="55" y="248"/>
                    <a:pt x="55" y="248"/>
                  </a:cubicBezTo>
                  <a:cubicBezTo>
                    <a:pt x="55" y="248"/>
                    <a:pt x="55" y="248"/>
                    <a:pt x="56" y="247"/>
                  </a:cubicBezTo>
                  <a:cubicBezTo>
                    <a:pt x="56" y="247"/>
                    <a:pt x="58" y="246"/>
                    <a:pt x="58" y="246"/>
                  </a:cubicBezTo>
                  <a:cubicBezTo>
                    <a:pt x="59" y="243"/>
                    <a:pt x="59" y="243"/>
                    <a:pt x="59" y="243"/>
                  </a:cubicBezTo>
                  <a:cubicBezTo>
                    <a:pt x="62" y="243"/>
                    <a:pt x="62" y="243"/>
                    <a:pt x="62" y="243"/>
                  </a:cubicBezTo>
                  <a:cubicBezTo>
                    <a:pt x="63" y="245"/>
                    <a:pt x="63" y="245"/>
                    <a:pt x="63" y="245"/>
                  </a:cubicBezTo>
                  <a:cubicBezTo>
                    <a:pt x="61" y="248"/>
                    <a:pt x="61" y="248"/>
                    <a:pt x="61" y="248"/>
                  </a:cubicBezTo>
                  <a:cubicBezTo>
                    <a:pt x="60" y="254"/>
                    <a:pt x="60" y="254"/>
                    <a:pt x="60" y="254"/>
                  </a:cubicBezTo>
                  <a:cubicBezTo>
                    <a:pt x="60" y="256"/>
                    <a:pt x="60" y="256"/>
                    <a:pt x="60" y="256"/>
                  </a:cubicBezTo>
                  <a:cubicBezTo>
                    <a:pt x="65" y="260"/>
                    <a:pt x="65" y="260"/>
                    <a:pt x="65" y="260"/>
                  </a:cubicBezTo>
                  <a:cubicBezTo>
                    <a:pt x="67" y="260"/>
                    <a:pt x="67" y="260"/>
                    <a:pt x="67" y="260"/>
                  </a:cubicBezTo>
                  <a:cubicBezTo>
                    <a:pt x="63" y="261"/>
                    <a:pt x="63" y="261"/>
                    <a:pt x="63" y="261"/>
                  </a:cubicBezTo>
                  <a:cubicBezTo>
                    <a:pt x="61" y="261"/>
                    <a:pt x="61" y="261"/>
                    <a:pt x="61" y="261"/>
                  </a:cubicBezTo>
                  <a:cubicBezTo>
                    <a:pt x="59" y="258"/>
                    <a:pt x="59" y="258"/>
                    <a:pt x="59" y="258"/>
                  </a:cubicBezTo>
                  <a:cubicBezTo>
                    <a:pt x="57" y="257"/>
                    <a:pt x="57" y="257"/>
                    <a:pt x="57" y="257"/>
                  </a:cubicBezTo>
                  <a:cubicBezTo>
                    <a:pt x="53" y="261"/>
                    <a:pt x="53" y="261"/>
                    <a:pt x="53" y="261"/>
                  </a:cubicBezTo>
                  <a:cubicBezTo>
                    <a:pt x="53" y="266"/>
                    <a:pt x="53" y="266"/>
                    <a:pt x="53" y="266"/>
                  </a:cubicBezTo>
                  <a:cubicBezTo>
                    <a:pt x="54" y="270"/>
                    <a:pt x="54" y="270"/>
                    <a:pt x="54" y="270"/>
                  </a:cubicBezTo>
                  <a:cubicBezTo>
                    <a:pt x="53" y="270"/>
                    <a:pt x="53" y="270"/>
                    <a:pt x="53" y="270"/>
                  </a:cubicBezTo>
                  <a:cubicBezTo>
                    <a:pt x="52" y="268"/>
                    <a:pt x="52" y="268"/>
                    <a:pt x="52" y="268"/>
                  </a:cubicBezTo>
                  <a:cubicBezTo>
                    <a:pt x="51" y="265"/>
                    <a:pt x="51" y="265"/>
                    <a:pt x="51" y="265"/>
                  </a:cubicBezTo>
                  <a:cubicBezTo>
                    <a:pt x="47" y="266"/>
                    <a:pt x="47" y="266"/>
                    <a:pt x="47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3" y="271"/>
                    <a:pt x="43" y="271"/>
                    <a:pt x="43" y="271"/>
                  </a:cubicBezTo>
                  <a:cubicBezTo>
                    <a:pt x="45" y="275"/>
                    <a:pt x="45" y="275"/>
                    <a:pt x="45" y="275"/>
                  </a:cubicBezTo>
                  <a:cubicBezTo>
                    <a:pt x="47" y="280"/>
                    <a:pt x="47" y="280"/>
                    <a:pt x="47" y="280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49" y="286"/>
                    <a:pt x="49" y="286"/>
                    <a:pt x="49" y="286"/>
                  </a:cubicBezTo>
                  <a:cubicBezTo>
                    <a:pt x="51" y="284"/>
                    <a:pt x="51" y="284"/>
                    <a:pt x="51" y="284"/>
                  </a:cubicBezTo>
                  <a:cubicBezTo>
                    <a:pt x="52" y="282"/>
                    <a:pt x="52" y="282"/>
                    <a:pt x="52" y="282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1"/>
                    <a:pt x="53" y="271"/>
                    <a:pt x="53" y="271"/>
                  </a:cubicBezTo>
                  <a:cubicBezTo>
                    <a:pt x="54" y="271"/>
                    <a:pt x="54" y="271"/>
                    <a:pt x="54" y="271"/>
                  </a:cubicBezTo>
                  <a:cubicBezTo>
                    <a:pt x="55" y="274"/>
                    <a:pt x="55" y="274"/>
                    <a:pt x="55" y="274"/>
                  </a:cubicBezTo>
                  <a:cubicBezTo>
                    <a:pt x="57" y="277"/>
                    <a:pt x="57" y="277"/>
                    <a:pt x="57" y="277"/>
                  </a:cubicBezTo>
                  <a:cubicBezTo>
                    <a:pt x="59" y="279"/>
                    <a:pt x="59" y="279"/>
                    <a:pt x="59" y="279"/>
                  </a:cubicBezTo>
                  <a:cubicBezTo>
                    <a:pt x="59" y="282"/>
                    <a:pt x="59" y="282"/>
                    <a:pt x="59" y="282"/>
                  </a:cubicBezTo>
                  <a:cubicBezTo>
                    <a:pt x="55" y="285"/>
                    <a:pt x="55" y="285"/>
                    <a:pt x="55" y="285"/>
                  </a:cubicBezTo>
                  <a:cubicBezTo>
                    <a:pt x="52" y="289"/>
                    <a:pt x="52" y="289"/>
                    <a:pt x="52" y="289"/>
                  </a:cubicBezTo>
                  <a:cubicBezTo>
                    <a:pt x="52" y="292"/>
                    <a:pt x="52" y="292"/>
                    <a:pt x="52" y="292"/>
                  </a:cubicBezTo>
                  <a:cubicBezTo>
                    <a:pt x="54" y="292"/>
                    <a:pt x="54" y="292"/>
                    <a:pt x="54" y="292"/>
                  </a:cubicBezTo>
                  <a:cubicBezTo>
                    <a:pt x="58" y="296"/>
                    <a:pt x="58" y="296"/>
                    <a:pt x="58" y="296"/>
                  </a:cubicBezTo>
                  <a:cubicBezTo>
                    <a:pt x="59" y="298"/>
                    <a:pt x="59" y="298"/>
                    <a:pt x="59" y="298"/>
                  </a:cubicBezTo>
                  <a:cubicBezTo>
                    <a:pt x="66" y="298"/>
                    <a:pt x="66" y="298"/>
                    <a:pt x="66" y="298"/>
                  </a:cubicBezTo>
                  <a:cubicBezTo>
                    <a:pt x="68" y="298"/>
                    <a:pt x="68" y="298"/>
                    <a:pt x="68" y="298"/>
                  </a:cubicBezTo>
                  <a:cubicBezTo>
                    <a:pt x="71" y="294"/>
                    <a:pt x="71" y="294"/>
                    <a:pt x="71" y="294"/>
                  </a:cubicBezTo>
                  <a:cubicBezTo>
                    <a:pt x="74" y="292"/>
                    <a:pt x="74" y="292"/>
                    <a:pt x="74" y="292"/>
                  </a:cubicBezTo>
                  <a:cubicBezTo>
                    <a:pt x="79" y="290"/>
                    <a:pt x="79" y="290"/>
                    <a:pt x="79" y="290"/>
                  </a:cubicBezTo>
                  <a:cubicBezTo>
                    <a:pt x="82" y="290"/>
                    <a:pt x="82" y="290"/>
                    <a:pt x="82" y="290"/>
                  </a:cubicBezTo>
                  <a:cubicBezTo>
                    <a:pt x="80" y="293"/>
                    <a:pt x="80" y="293"/>
                    <a:pt x="80" y="293"/>
                  </a:cubicBezTo>
                  <a:cubicBezTo>
                    <a:pt x="77" y="294"/>
                    <a:pt x="77" y="294"/>
                    <a:pt x="77" y="294"/>
                  </a:cubicBezTo>
                  <a:cubicBezTo>
                    <a:pt x="74" y="298"/>
                    <a:pt x="74" y="298"/>
                    <a:pt x="74" y="298"/>
                  </a:cubicBezTo>
                  <a:cubicBezTo>
                    <a:pt x="72" y="301"/>
                    <a:pt x="72" y="301"/>
                    <a:pt x="72" y="301"/>
                  </a:cubicBezTo>
                  <a:cubicBezTo>
                    <a:pt x="75" y="304"/>
                    <a:pt x="75" y="304"/>
                    <a:pt x="75" y="304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77" y="308"/>
                    <a:pt x="77" y="308"/>
                    <a:pt x="77" y="308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2" y="305"/>
                    <a:pt x="72" y="305"/>
                    <a:pt x="72" y="305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58" y="310"/>
                    <a:pt x="58" y="310"/>
                    <a:pt x="58" y="310"/>
                  </a:cubicBezTo>
                  <a:cubicBezTo>
                    <a:pt x="54" y="314"/>
                    <a:pt x="54" y="314"/>
                    <a:pt x="54" y="314"/>
                  </a:cubicBezTo>
                  <a:cubicBezTo>
                    <a:pt x="52" y="318"/>
                    <a:pt x="52" y="318"/>
                    <a:pt x="52" y="318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53" y="321"/>
                    <a:pt x="53" y="321"/>
                    <a:pt x="53" y="321"/>
                  </a:cubicBezTo>
                  <a:cubicBezTo>
                    <a:pt x="55" y="321"/>
                    <a:pt x="55" y="321"/>
                    <a:pt x="55" y="321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9" y="318"/>
                    <a:pt x="59" y="318"/>
                    <a:pt x="59" y="318"/>
                  </a:cubicBezTo>
                  <a:cubicBezTo>
                    <a:pt x="60" y="318"/>
                    <a:pt x="60" y="318"/>
                    <a:pt x="60" y="318"/>
                  </a:cubicBezTo>
                  <a:cubicBezTo>
                    <a:pt x="62" y="318"/>
                    <a:pt x="62" y="318"/>
                    <a:pt x="62" y="318"/>
                  </a:cubicBezTo>
                  <a:cubicBezTo>
                    <a:pt x="63" y="318"/>
                    <a:pt x="63" y="318"/>
                    <a:pt x="63" y="318"/>
                  </a:cubicBezTo>
                  <a:cubicBezTo>
                    <a:pt x="65" y="321"/>
                    <a:pt x="65" y="321"/>
                    <a:pt x="65" y="321"/>
                  </a:cubicBezTo>
                  <a:cubicBezTo>
                    <a:pt x="59" y="324"/>
                    <a:pt x="59" y="324"/>
                    <a:pt x="59" y="324"/>
                  </a:cubicBezTo>
                  <a:cubicBezTo>
                    <a:pt x="54" y="326"/>
                    <a:pt x="54" y="326"/>
                    <a:pt x="54" y="326"/>
                  </a:cubicBezTo>
                  <a:cubicBezTo>
                    <a:pt x="49" y="330"/>
                    <a:pt x="49" y="330"/>
                    <a:pt x="49" y="330"/>
                  </a:cubicBezTo>
                  <a:cubicBezTo>
                    <a:pt x="50" y="334"/>
                    <a:pt x="50" y="334"/>
                    <a:pt x="50" y="334"/>
                  </a:cubicBezTo>
                  <a:cubicBezTo>
                    <a:pt x="53" y="336"/>
                    <a:pt x="53" y="336"/>
                    <a:pt x="53" y="336"/>
                  </a:cubicBezTo>
                  <a:cubicBezTo>
                    <a:pt x="55" y="336"/>
                    <a:pt x="55" y="336"/>
                    <a:pt x="55" y="336"/>
                  </a:cubicBezTo>
                  <a:cubicBezTo>
                    <a:pt x="60" y="337"/>
                    <a:pt x="60" y="337"/>
                    <a:pt x="60" y="337"/>
                  </a:cubicBezTo>
                  <a:cubicBezTo>
                    <a:pt x="62" y="338"/>
                    <a:pt x="62" y="338"/>
                    <a:pt x="62" y="338"/>
                  </a:cubicBezTo>
                  <a:cubicBezTo>
                    <a:pt x="64" y="339"/>
                    <a:pt x="64" y="339"/>
                    <a:pt x="64" y="339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2" y="341"/>
                    <a:pt x="56" y="343"/>
                    <a:pt x="55" y="341"/>
                  </a:cubicBezTo>
                  <a:cubicBezTo>
                    <a:pt x="54" y="340"/>
                    <a:pt x="52" y="339"/>
                    <a:pt x="52" y="339"/>
                  </a:cubicBezTo>
                  <a:cubicBezTo>
                    <a:pt x="52" y="339"/>
                    <a:pt x="51" y="342"/>
                    <a:pt x="52" y="342"/>
                  </a:cubicBezTo>
                  <a:cubicBezTo>
                    <a:pt x="52" y="342"/>
                    <a:pt x="54" y="344"/>
                    <a:pt x="54" y="344"/>
                  </a:cubicBezTo>
                  <a:cubicBezTo>
                    <a:pt x="61" y="346"/>
                    <a:pt x="61" y="346"/>
                    <a:pt x="61" y="346"/>
                  </a:cubicBezTo>
                  <a:cubicBezTo>
                    <a:pt x="64" y="346"/>
                    <a:pt x="64" y="346"/>
                    <a:pt x="64" y="346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2" y="348"/>
                    <a:pt x="72" y="348"/>
                    <a:pt x="72" y="348"/>
                  </a:cubicBezTo>
                  <a:cubicBezTo>
                    <a:pt x="72" y="351"/>
                    <a:pt x="72" y="351"/>
                    <a:pt x="72" y="351"/>
                  </a:cubicBezTo>
                  <a:cubicBezTo>
                    <a:pt x="74" y="354"/>
                    <a:pt x="74" y="354"/>
                    <a:pt x="74" y="354"/>
                  </a:cubicBezTo>
                  <a:cubicBezTo>
                    <a:pt x="79" y="354"/>
                    <a:pt x="79" y="354"/>
                    <a:pt x="79" y="354"/>
                  </a:cubicBezTo>
                  <a:cubicBezTo>
                    <a:pt x="80" y="352"/>
                    <a:pt x="80" y="352"/>
                    <a:pt x="80" y="352"/>
                  </a:cubicBezTo>
                  <a:cubicBezTo>
                    <a:pt x="83" y="350"/>
                    <a:pt x="83" y="350"/>
                    <a:pt x="83" y="350"/>
                  </a:cubicBezTo>
                  <a:cubicBezTo>
                    <a:pt x="84" y="349"/>
                    <a:pt x="84" y="349"/>
                    <a:pt x="84" y="349"/>
                  </a:cubicBezTo>
                  <a:cubicBezTo>
                    <a:pt x="85" y="348"/>
                    <a:pt x="85" y="348"/>
                    <a:pt x="85" y="348"/>
                  </a:cubicBezTo>
                  <a:cubicBezTo>
                    <a:pt x="86" y="348"/>
                    <a:pt x="86" y="348"/>
                    <a:pt x="86" y="348"/>
                  </a:cubicBezTo>
                  <a:cubicBezTo>
                    <a:pt x="87" y="351"/>
                    <a:pt x="87" y="351"/>
                    <a:pt x="87" y="351"/>
                  </a:cubicBezTo>
                  <a:cubicBezTo>
                    <a:pt x="84" y="354"/>
                    <a:pt x="84" y="354"/>
                    <a:pt x="84" y="354"/>
                  </a:cubicBezTo>
                  <a:cubicBezTo>
                    <a:pt x="82" y="355"/>
                    <a:pt x="82" y="355"/>
                    <a:pt x="82" y="355"/>
                  </a:cubicBezTo>
                  <a:cubicBezTo>
                    <a:pt x="81" y="357"/>
                    <a:pt x="81" y="357"/>
                    <a:pt x="81" y="357"/>
                  </a:cubicBezTo>
                  <a:cubicBezTo>
                    <a:pt x="78" y="358"/>
                    <a:pt x="78" y="358"/>
                    <a:pt x="78" y="358"/>
                  </a:cubicBezTo>
                  <a:cubicBezTo>
                    <a:pt x="75" y="358"/>
                    <a:pt x="75" y="358"/>
                    <a:pt x="75" y="358"/>
                  </a:cubicBezTo>
                  <a:cubicBezTo>
                    <a:pt x="73" y="358"/>
                    <a:pt x="73" y="358"/>
                    <a:pt x="73" y="358"/>
                  </a:cubicBezTo>
                  <a:cubicBezTo>
                    <a:pt x="75" y="365"/>
                    <a:pt x="75" y="365"/>
                    <a:pt x="75" y="365"/>
                  </a:cubicBezTo>
                  <a:cubicBezTo>
                    <a:pt x="77" y="366"/>
                    <a:pt x="77" y="366"/>
                    <a:pt x="77" y="366"/>
                  </a:cubicBezTo>
                  <a:cubicBezTo>
                    <a:pt x="80" y="365"/>
                    <a:pt x="80" y="365"/>
                    <a:pt x="80" y="365"/>
                  </a:cubicBezTo>
                  <a:cubicBezTo>
                    <a:pt x="84" y="364"/>
                    <a:pt x="84" y="364"/>
                    <a:pt x="84" y="364"/>
                  </a:cubicBezTo>
                  <a:cubicBezTo>
                    <a:pt x="86" y="368"/>
                    <a:pt x="86" y="368"/>
                    <a:pt x="86" y="368"/>
                  </a:cubicBezTo>
                  <a:cubicBezTo>
                    <a:pt x="89" y="369"/>
                    <a:pt x="89" y="369"/>
                    <a:pt x="89" y="369"/>
                  </a:cubicBezTo>
                  <a:cubicBezTo>
                    <a:pt x="91" y="367"/>
                    <a:pt x="91" y="367"/>
                    <a:pt x="91" y="367"/>
                  </a:cubicBezTo>
                  <a:cubicBezTo>
                    <a:pt x="93" y="365"/>
                    <a:pt x="93" y="365"/>
                    <a:pt x="93" y="365"/>
                  </a:cubicBezTo>
                  <a:cubicBezTo>
                    <a:pt x="96" y="363"/>
                    <a:pt x="96" y="363"/>
                    <a:pt x="96" y="363"/>
                  </a:cubicBezTo>
                  <a:cubicBezTo>
                    <a:pt x="97" y="363"/>
                    <a:pt x="97" y="363"/>
                    <a:pt x="97" y="363"/>
                  </a:cubicBezTo>
                  <a:cubicBezTo>
                    <a:pt x="97" y="364"/>
                    <a:pt x="97" y="364"/>
                    <a:pt x="97" y="364"/>
                  </a:cubicBezTo>
                  <a:cubicBezTo>
                    <a:pt x="95" y="368"/>
                    <a:pt x="95" y="368"/>
                    <a:pt x="95" y="368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4"/>
                    <a:pt x="92" y="374"/>
                    <a:pt x="92" y="374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99" y="372"/>
                    <a:pt x="99" y="372"/>
                    <a:pt x="99" y="372"/>
                  </a:cubicBezTo>
                  <a:cubicBezTo>
                    <a:pt x="101" y="373"/>
                    <a:pt x="101" y="373"/>
                    <a:pt x="101" y="373"/>
                  </a:cubicBezTo>
                  <a:cubicBezTo>
                    <a:pt x="102" y="376"/>
                    <a:pt x="102" y="376"/>
                    <a:pt x="102" y="376"/>
                  </a:cubicBezTo>
                  <a:cubicBezTo>
                    <a:pt x="98" y="378"/>
                    <a:pt x="98" y="378"/>
                    <a:pt x="98" y="378"/>
                  </a:cubicBezTo>
                  <a:cubicBezTo>
                    <a:pt x="92" y="378"/>
                    <a:pt x="92" y="378"/>
                    <a:pt x="92" y="378"/>
                  </a:cubicBezTo>
                  <a:cubicBezTo>
                    <a:pt x="90" y="379"/>
                    <a:pt x="90" y="379"/>
                    <a:pt x="90" y="379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1" y="388"/>
                    <a:pt x="91" y="388"/>
                    <a:pt x="91" y="388"/>
                  </a:cubicBezTo>
                  <a:cubicBezTo>
                    <a:pt x="93" y="390"/>
                    <a:pt x="93" y="390"/>
                    <a:pt x="93" y="390"/>
                  </a:cubicBezTo>
                  <a:cubicBezTo>
                    <a:pt x="95" y="392"/>
                    <a:pt x="95" y="392"/>
                    <a:pt x="95" y="392"/>
                  </a:cubicBezTo>
                  <a:cubicBezTo>
                    <a:pt x="96" y="394"/>
                    <a:pt x="96" y="394"/>
                    <a:pt x="96" y="394"/>
                  </a:cubicBezTo>
                  <a:cubicBezTo>
                    <a:pt x="100" y="394"/>
                    <a:pt x="100" y="394"/>
                    <a:pt x="100" y="394"/>
                  </a:cubicBezTo>
                  <a:cubicBezTo>
                    <a:pt x="103" y="394"/>
                    <a:pt x="103" y="394"/>
                    <a:pt x="103" y="394"/>
                  </a:cubicBezTo>
                  <a:cubicBezTo>
                    <a:pt x="107" y="389"/>
                    <a:pt x="107" y="389"/>
                    <a:pt x="107" y="389"/>
                  </a:cubicBezTo>
                  <a:cubicBezTo>
                    <a:pt x="108" y="389"/>
                    <a:pt x="108" y="389"/>
                    <a:pt x="108" y="389"/>
                  </a:cubicBezTo>
                  <a:cubicBezTo>
                    <a:pt x="109" y="399"/>
                    <a:pt x="109" y="399"/>
                    <a:pt x="109" y="399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05" y="400"/>
                    <a:pt x="105" y="400"/>
                    <a:pt x="105" y="400"/>
                  </a:cubicBezTo>
                  <a:cubicBezTo>
                    <a:pt x="104" y="399"/>
                    <a:pt x="104" y="399"/>
                    <a:pt x="104" y="399"/>
                  </a:cubicBezTo>
                  <a:cubicBezTo>
                    <a:pt x="101" y="397"/>
                    <a:pt x="101" y="397"/>
                    <a:pt x="101" y="397"/>
                  </a:cubicBezTo>
                  <a:cubicBezTo>
                    <a:pt x="100" y="398"/>
                    <a:pt x="100" y="398"/>
                    <a:pt x="100" y="398"/>
                  </a:cubicBezTo>
                  <a:cubicBezTo>
                    <a:pt x="99" y="402"/>
                    <a:pt x="99" y="402"/>
                    <a:pt x="99" y="402"/>
                  </a:cubicBezTo>
                  <a:cubicBezTo>
                    <a:pt x="101" y="407"/>
                    <a:pt x="101" y="407"/>
                    <a:pt x="101" y="407"/>
                  </a:cubicBezTo>
                  <a:cubicBezTo>
                    <a:pt x="104" y="409"/>
                    <a:pt x="104" y="409"/>
                    <a:pt x="104" y="409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8" y="409"/>
                    <a:pt x="118" y="409"/>
                    <a:pt x="118" y="409"/>
                  </a:cubicBezTo>
                  <a:cubicBezTo>
                    <a:pt x="113" y="416"/>
                    <a:pt x="113" y="416"/>
                    <a:pt x="113" y="416"/>
                  </a:cubicBezTo>
                  <a:cubicBezTo>
                    <a:pt x="111" y="420"/>
                    <a:pt x="111" y="420"/>
                    <a:pt x="111" y="420"/>
                  </a:cubicBezTo>
                  <a:cubicBezTo>
                    <a:pt x="112" y="425"/>
                    <a:pt x="112" y="425"/>
                    <a:pt x="112" y="425"/>
                  </a:cubicBezTo>
                  <a:cubicBezTo>
                    <a:pt x="112" y="425"/>
                    <a:pt x="173" y="446"/>
                    <a:pt x="197" y="452"/>
                  </a:cubicBezTo>
                  <a:cubicBezTo>
                    <a:pt x="237" y="462"/>
                    <a:pt x="287" y="473"/>
                    <a:pt x="287" y="473"/>
                  </a:cubicBezTo>
                  <a:cubicBezTo>
                    <a:pt x="287" y="468"/>
                    <a:pt x="287" y="468"/>
                    <a:pt x="287" y="468"/>
                  </a:cubicBezTo>
                  <a:lnTo>
                    <a:pt x="285" y="46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15"/>
            <p:cNvSpPr>
              <a:spLocks/>
            </p:cNvSpPr>
            <p:nvPr/>
          </p:nvSpPr>
          <p:spPr bwMode="auto">
            <a:xfrm>
              <a:off x="3251243" y="3236656"/>
              <a:ext cx="56625" cy="125384"/>
            </a:xfrm>
            <a:custGeom>
              <a:avLst/>
              <a:gdLst>
                <a:gd name="T0" fmla="*/ 12 w 30"/>
                <a:gd name="T1" fmla="*/ 66 h 67"/>
                <a:gd name="T2" fmla="*/ 9 w 30"/>
                <a:gd name="T3" fmla="*/ 60 h 67"/>
                <a:gd name="T4" fmla="*/ 8 w 30"/>
                <a:gd name="T5" fmla="*/ 51 h 67"/>
                <a:gd name="T6" fmla="*/ 4 w 30"/>
                <a:gd name="T7" fmla="*/ 47 h 67"/>
                <a:gd name="T8" fmla="*/ 3 w 30"/>
                <a:gd name="T9" fmla="*/ 37 h 67"/>
                <a:gd name="T10" fmla="*/ 3 w 30"/>
                <a:gd name="T11" fmla="*/ 31 h 67"/>
                <a:gd name="T12" fmla="*/ 1 w 30"/>
                <a:gd name="T13" fmla="*/ 27 h 67"/>
                <a:gd name="T14" fmla="*/ 5 w 30"/>
                <a:gd name="T15" fmla="*/ 22 h 67"/>
                <a:gd name="T16" fmla="*/ 0 w 30"/>
                <a:gd name="T17" fmla="*/ 18 h 67"/>
                <a:gd name="T18" fmla="*/ 1 w 30"/>
                <a:gd name="T19" fmla="*/ 14 h 67"/>
                <a:gd name="T20" fmla="*/ 3 w 30"/>
                <a:gd name="T21" fmla="*/ 11 h 67"/>
                <a:gd name="T22" fmla="*/ 1 w 30"/>
                <a:gd name="T23" fmla="*/ 7 h 67"/>
                <a:gd name="T24" fmla="*/ 6 w 30"/>
                <a:gd name="T25" fmla="*/ 1 h 67"/>
                <a:gd name="T26" fmla="*/ 10 w 30"/>
                <a:gd name="T27" fmla="*/ 0 h 67"/>
                <a:gd name="T28" fmla="*/ 14 w 30"/>
                <a:gd name="T29" fmla="*/ 4 h 67"/>
                <a:gd name="T30" fmla="*/ 19 w 30"/>
                <a:gd name="T31" fmla="*/ 8 h 67"/>
                <a:gd name="T32" fmla="*/ 18 w 30"/>
                <a:gd name="T33" fmla="*/ 12 h 67"/>
                <a:gd name="T34" fmla="*/ 14 w 30"/>
                <a:gd name="T35" fmla="*/ 14 h 67"/>
                <a:gd name="T36" fmla="*/ 16 w 30"/>
                <a:gd name="T37" fmla="*/ 18 h 67"/>
                <a:gd name="T38" fmla="*/ 20 w 30"/>
                <a:gd name="T39" fmla="*/ 14 h 67"/>
                <a:gd name="T40" fmla="*/ 26 w 30"/>
                <a:gd name="T41" fmla="*/ 9 h 67"/>
                <a:gd name="T42" fmla="*/ 30 w 30"/>
                <a:gd name="T43" fmla="*/ 10 h 67"/>
                <a:gd name="T44" fmla="*/ 26 w 30"/>
                <a:gd name="T45" fmla="*/ 15 h 67"/>
                <a:gd name="T46" fmla="*/ 21 w 30"/>
                <a:gd name="T47" fmla="*/ 22 h 67"/>
                <a:gd name="T48" fmla="*/ 14 w 30"/>
                <a:gd name="T49" fmla="*/ 29 h 67"/>
                <a:gd name="T50" fmla="*/ 14 w 30"/>
                <a:gd name="T51" fmla="*/ 32 h 67"/>
                <a:gd name="T52" fmla="*/ 16 w 30"/>
                <a:gd name="T53" fmla="*/ 35 h 67"/>
                <a:gd name="T54" fmla="*/ 11 w 30"/>
                <a:gd name="T55" fmla="*/ 38 h 67"/>
                <a:gd name="T56" fmla="*/ 15 w 30"/>
                <a:gd name="T57" fmla="*/ 41 h 67"/>
                <a:gd name="T58" fmla="*/ 16 w 30"/>
                <a:gd name="T59" fmla="*/ 44 h 67"/>
                <a:gd name="T60" fmla="*/ 13 w 30"/>
                <a:gd name="T61" fmla="*/ 48 h 67"/>
                <a:gd name="T62" fmla="*/ 15 w 30"/>
                <a:gd name="T63" fmla="*/ 54 h 67"/>
                <a:gd name="T64" fmla="*/ 15 w 30"/>
                <a:gd name="T65" fmla="*/ 57 h 67"/>
                <a:gd name="T66" fmla="*/ 14 w 30"/>
                <a:gd name="T67" fmla="*/ 61 h 67"/>
                <a:gd name="T68" fmla="*/ 15 w 30"/>
                <a:gd name="T69" fmla="*/ 6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67">
                  <a:moveTo>
                    <a:pt x="14" y="67"/>
                  </a:moveTo>
                  <a:cubicBezTo>
                    <a:pt x="12" y="66"/>
                    <a:pt x="12" y="66"/>
                    <a:pt x="12" y="66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6" y="58"/>
                    <a:pt x="15" y="58"/>
                  </a:cubicBezTo>
                  <a:cubicBezTo>
                    <a:pt x="14" y="59"/>
                    <a:pt x="14" y="61"/>
                    <a:pt x="14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64"/>
                    <a:pt x="15" y="64"/>
                    <a:pt x="15" y="64"/>
                  </a:cubicBezTo>
                  <a:lnTo>
                    <a:pt x="14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16"/>
            <p:cNvSpPr>
              <a:spLocks/>
            </p:cNvSpPr>
            <p:nvPr/>
          </p:nvSpPr>
          <p:spPr bwMode="auto">
            <a:xfrm>
              <a:off x="3341573" y="3483379"/>
              <a:ext cx="118643" cy="182009"/>
            </a:xfrm>
            <a:custGeom>
              <a:avLst/>
              <a:gdLst>
                <a:gd name="T0" fmla="*/ 57 w 64"/>
                <a:gd name="T1" fmla="*/ 98 h 98"/>
                <a:gd name="T2" fmla="*/ 59 w 64"/>
                <a:gd name="T3" fmla="*/ 96 h 98"/>
                <a:gd name="T4" fmla="*/ 62 w 64"/>
                <a:gd name="T5" fmla="*/ 93 h 98"/>
                <a:gd name="T6" fmla="*/ 64 w 64"/>
                <a:gd name="T7" fmla="*/ 86 h 98"/>
                <a:gd name="T8" fmla="*/ 61 w 64"/>
                <a:gd name="T9" fmla="*/ 72 h 98"/>
                <a:gd name="T10" fmla="*/ 52 w 64"/>
                <a:gd name="T11" fmla="*/ 67 h 98"/>
                <a:gd name="T12" fmla="*/ 50 w 64"/>
                <a:gd name="T13" fmla="*/ 59 h 98"/>
                <a:gd name="T14" fmla="*/ 53 w 64"/>
                <a:gd name="T15" fmla="*/ 54 h 98"/>
                <a:gd name="T16" fmla="*/ 49 w 64"/>
                <a:gd name="T17" fmla="*/ 50 h 98"/>
                <a:gd name="T18" fmla="*/ 48 w 64"/>
                <a:gd name="T19" fmla="*/ 44 h 98"/>
                <a:gd name="T20" fmla="*/ 44 w 64"/>
                <a:gd name="T21" fmla="*/ 32 h 98"/>
                <a:gd name="T22" fmla="*/ 3 w 64"/>
                <a:gd name="T23" fmla="*/ 0 h 98"/>
                <a:gd name="T24" fmla="*/ 0 w 64"/>
                <a:gd name="T25" fmla="*/ 7 h 98"/>
                <a:gd name="T26" fmla="*/ 2 w 64"/>
                <a:gd name="T27" fmla="*/ 10 h 98"/>
                <a:gd name="T28" fmla="*/ 8 w 64"/>
                <a:gd name="T29" fmla="*/ 10 h 98"/>
                <a:gd name="T30" fmla="*/ 12 w 64"/>
                <a:gd name="T31" fmla="*/ 13 h 98"/>
                <a:gd name="T32" fmla="*/ 10 w 64"/>
                <a:gd name="T33" fmla="*/ 15 h 98"/>
                <a:gd name="T34" fmla="*/ 2 w 64"/>
                <a:gd name="T35" fmla="*/ 17 h 98"/>
                <a:gd name="T36" fmla="*/ 2 w 64"/>
                <a:gd name="T37" fmla="*/ 21 h 98"/>
                <a:gd name="T38" fmla="*/ 7 w 64"/>
                <a:gd name="T39" fmla="*/ 25 h 98"/>
                <a:gd name="T40" fmla="*/ 15 w 64"/>
                <a:gd name="T41" fmla="*/ 26 h 98"/>
                <a:gd name="T42" fmla="*/ 11 w 64"/>
                <a:gd name="T43" fmla="*/ 31 h 98"/>
                <a:gd name="T44" fmla="*/ 11 w 64"/>
                <a:gd name="T45" fmla="*/ 35 h 98"/>
                <a:gd name="T46" fmla="*/ 17 w 64"/>
                <a:gd name="T47" fmla="*/ 38 h 98"/>
                <a:gd name="T48" fmla="*/ 21 w 64"/>
                <a:gd name="T49" fmla="*/ 45 h 98"/>
                <a:gd name="T50" fmla="*/ 23 w 64"/>
                <a:gd name="T51" fmla="*/ 50 h 98"/>
                <a:gd name="T52" fmla="*/ 19 w 64"/>
                <a:gd name="T53" fmla="*/ 51 h 98"/>
                <a:gd name="T54" fmla="*/ 24 w 64"/>
                <a:gd name="T55" fmla="*/ 57 h 98"/>
                <a:gd name="T56" fmla="*/ 25 w 64"/>
                <a:gd name="T57" fmla="*/ 61 h 98"/>
                <a:gd name="T58" fmla="*/ 31 w 64"/>
                <a:gd name="T59" fmla="*/ 66 h 98"/>
                <a:gd name="T60" fmla="*/ 35 w 64"/>
                <a:gd name="T61" fmla="*/ 74 h 98"/>
                <a:gd name="T62" fmla="*/ 42 w 64"/>
                <a:gd name="T63" fmla="*/ 74 h 98"/>
                <a:gd name="T64" fmla="*/ 40 w 64"/>
                <a:gd name="T65" fmla="*/ 76 h 98"/>
                <a:gd name="T66" fmla="*/ 37 w 64"/>
                <a:gd name="T67" fmla="*/ 80 h 98"/>
                <a:gd name="T68" fmla="*/ 38 w 64"/>
                <a:gd name="T69" fmla="*/ 83 h 98"/>
                <a:gd name="T70" fmla="*/ 43 w 64"/>
                <a:gd name="T71" fmla="*/ 87 h 98"/>
                <a:gd name="T72" fmla="*/ 46 w 64"/>
                <a:gd name="T73" fmla="*/ 92 h 98"/>
                <a:gd name="T74" fmla="*/ 52 w 64"/>
                <a:gd name="T7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98">
                  <a:moveTo>
                    <a:pt x="52" y="98"/>
                  </a:moveTo>
                  <a:cubicBezTo>
                    <a:pt x="57" y="98"/>
                    <a:pt x="57" y="98"/>
                    <a:pt x="57" y="98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3"/>
                    <a:pt x="62" y="93"/>
                  </a:cubicBezTo>
                  <a:cubicBezTo>
                    <a:pt x="63" y="92"/>
                    <a:pt x="64" y="89"/>
                    <a:pt x="64" y="89"/>
                  </a:cubicBezTo>
                  <a:cubicBezTo>
                    <a:pt x="64" y="89"/>
                    <a:pt x="64" y="87"/>
                    <a:pt x="64" y="86"/>
                  </a:cubicBezTo>
                  <a:cubicBezTo>
                    <a:pt x="64" y="85"/>
                    <a:pt x="63" y="76"/>
                    <a:pt x="63" y="76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1"/>
                    <a:pt x="37" y="81"/>
                  </a:cubicBezTo>
                  <a:cubicBezTo>
                    <a:pt x="37" y="82"/>
                    <a:pt x="37" y="82"/>
                    <a:pt x="38" y="83"/>
                  </a:cubicBezTo>
                  <a:cubicBezTo>
                    <a:pt x="38" y="84"/>
                    <a:pt x="40" y="85"/>
                    <a:pt x="40" y="85"/>
                  </a:cubicBezTo>
                  <a:cubicBezTo>
                    <a:pt x="42" y="86"/>
                    <a:pt x="43" y="87"/>
                    <a:pt x="43" y="87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9" y="94"/>
                    <a:pt x="49" y="94"/>
                    <a:pt x="49" y="94"/>
                  </a:cubicBezTo>
                  <a:lnTo>
                    <a:pt x="52" y="9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3237761" y="2372451"/>
              <a:ext cx="439518" cy="664670"/>
            </a:xfrm>
            <a:custGeom>
              <a:avLst/>
              <a:gdLst>
                <a:gd name="T0" fmla="*/ 235 w 235"/>
                <a:gd name="T1" fmla="*/ 356 h 356"/>
                <a:gd name="T2" fmla="*/ 225 w 235"/>
                <a:gd name="T3" fmla="*/ 349 h 356"/>
                <a:gd name="T4" fmla="*/ 220 w 235"/>
                <a:gd name="T5" fmla="*/ 338 h 356"/>
                <a:gd name="T6" fmla="*/ 224 w 235"/>
                <a:gd name="T7" fmla="*/ 330 h 356"/>
                <a:gd name="T8" fmla="*/ 217 w 235"/>
                <a:gd name="T9" fmla="*/ 325 h 356"/>
                <a:gd name="T10" fmla="*/ 211 w 235"/>
                <a:gd name="T11" fmla="*/ 321 h 356"/>
                <a:gd name="T12" fmla="*/ 205 w 235"/>
                <a:gd name="T13" fmla="*/ 318 h 356"/>
                <a:gd name="T14" fmla="*/ 200 w 235"/>
                <a:gd name="T15" fmla="*/ 313 h 356"/>
                <a:gd name="T16" fmla="*/ 197 w 235"/>
                <a:gd name="T17" fmla="*/ 309 h 356"/>
                <a:gd name="T18" fmla="*/ 198 w 235"/>
                <a:gd name="T19" fmla="*/ 304 h 356"/>
                <a:gd name="T20" fmla="*/ 196 w 235"/>
                <a:gd name="T21" fmla="*/ 296 h 356"/>
                <a:gd name="T22" fmla="*/ 194 w 235"/>
                <a:gd name="T23" fmla="*/ 290 h 356"/>
                <a:gd name="T24" fmla="*/ 194 w 235"/>
                <a:gd name="T25" fmla="*/ 283 h 356"/>
                <a:gd name="T26" fmla="*/ 190 w 235"/>
                <a:gd name="T27" fmla="*/ 269 h 356"/>
                <a:gd name="T28" fmla="*/ 184 w 235"/>
                <a:gd name="T29" fmla="*/ 268 h 356"/>
                <a:gd name="T30" fmla="*/ 182 w 235"/>
                <a:gd name="T31" fmla="*/ 264 h 356"/>
                <a:gd name="T32" fmla="*/ 183 w 235"/>
                <a:gd name="T33" fmla="*/ 260 h 356"/>
                <a:gd name="T34" fmla="*/ 184 w 235"/>
                <a:gd name="T35" fmla="*/ 247 h 356"/>
                <a:gd name="T36" fmla="*/ 187 w 235"/>
                <a:gd name="T37" fmla="*/ 240 h 356"/>
                <a:gd name="T38" fmla="*/ 185 w 235"/>
                <a:gd name="T39" fmla="*/ 232 h 356"/>
                <a:gd name="T40" fmla="*/ 187 w 235"/>
                <a:gd name="T41" fmla="*/ 227 h 356"/>
                <a:gd name="T42" fmla="*/ 190 w 235"/>
                <a:gd name="T43" fmla="*/ 223 h 356"/>
                <a:gd name="T44" fmla="*/ 192 w 235"/>
                <a:gd name="T45" fmla="*/ 213 h 356"/>
                <a:gd name="T46" fmla="*/ 192 w 235"/>
                <a:gd name="T47" fmla="*/ 207 h 356"/>
                <a:gd name="T48" fmla="*/ 191 w 235"/>
                <a:gd name="T49" fmla="*/ 199 h 356"/>
                <a:gd name="T50" fmla="*/ 190 w 235"/>
                <a:gd name="T51" fmla="*/ 193 h 356"/>
                <a:gd name="T52" fmla="*/ 184 w 235"/>
                <a:gd name="T53" fmla="*/ 191 h 356"/>
                <a:gd name="T54" fmla="*/ 181 w 235"/>
                <a:gd name="T55" fmla="*/ 190 h 356"/>
                <a:gd name="T56" fmla="*/ 179 w 235"/>
                <a:gd name="T57" fmla="*/ 179 h 356"/>
                <a:gd name="T58" fmla="*/ 183 w 235"/>
                <a:gd name="T59" fmla="*/ 169 h 356"/>
                <a:gd name="T60" fmla="*/ 184 w 235"/>
                <a:gd name="T61" fmla="*/ 162 h 356"/>
                <a:gd name="T62" fmla="*/ 188 w 235"/>
                <a:gd name="T63" fmla="*/ 156 h 356"/>
                <a:gd name="T64" fmla="*/ 195 w 235"/>
                <a:gd name="T65" fmla="*/ 149 h 356"/>
                <a:gd name="T66" fmla="*/ 191 w 235"/>
                <a:gd name="T67" fmla="*/ 139 h 356"/>
                <a:gd name="T68" fmla="*/ 184 w 235"/>
                <a:gd name="T69" fmla="*/ 136 h 356"/>
                <a:gd name="T70" fmla="*/ 187 w 235"/>
                <a:gd name="T71" fmla="*/ 131 h 356"/>
                <a:gd name="T72" fmla="*/ 193 w 235"/>
                <a:gd name="T73" fmla="*/ 123 h 356"/>
                <a:gd name="T74" fmla="*/ 193 w 235"/>
                <a:gd name="T75" fmla="*/ 117 h 356"/>
                <a:gd name="T76" fmla="*/ 192 w 235"/>
                <a:gd name="T77" fmla="*/ 103 h 356"/>
                <a:gd name="T78" fmla="*/ 176 w 235"/>
                <a:gd name="T79" fmla="*/ 93 h 356"/>
                <a:gd name="T80" fmla="*/ 179 w 235"/>
                <a:gd name="T81" fmla="*/ 88 h 356"/>
                <a:gd name="T82" fmla="*/ 184 w 235"/>
                <a:gd name="T83" fmla="*/ 78 h 356"/>
                <a:gd name="T84" fmla="*/ 191 w 235"/>
                <a:gd name="T85" fmla="*/ 65 h 356"/>
                <a:gd name="T86" fmla="*/ 205 w 235"/>
                <a:gd name="T87" fmla="*/ 46 h 356"/>
                <a:gd name="T88" fmla="*/ 198 w 235"/>
                <a:gd name="T89" fmla="*/ 40 h 356"/>
                <a:gd name="T90" fmla="*/ 194 w 235"/>
                <a:gd name="T91" fmla="*/ 26 h 356"/>
                <a:gd name="T92" fmla="*/ 191 w 235"/>
                <a:gd name="T93" fmla="*/ 18 h 356"/>
                <a:gd name="T94" fmla="*/ 186 w 235"/>
                <a:gd name="T95" fmla="*/ 7 h 356"/>
                <a:gd name="T96" fmla="*/ 181 w 235"/>
                <a:gd name="T97" fmla="*/ 5 h 356"/>
                <a:gd name="T98" fmla="*/ 0 w 235"/>
                <a:gd name="T99" fmla="*/ 230 h 356"/>
                <a:gd name="T100" fmla="*/ 5 w 235"/>
                <a:gd name="T101" fmla="*/ 235 h 356"/>
                <a:gd name="T102" fmla="*/ 10 w 235"/>
                <a:gd name="T103" fmla="*/ 240 h 356"/>
                <a:gd name="T104" fmla="*/ 14 w 235"/>
                <a:gd name="T105" fmla="*/ 242 h 356"/>
                <a:gd name="T106" fmla="*/ 19 w 235"/>
                <a:gd name="T107" fmla="*/ 243 h 356"/>
                <a:gd name="T108" fmla="*/ 24 w 235"/>
                <a:gd name="T109" fmla="*/ 248 h 356"/>
                <a:gd name="T110" fmla="*/ 21 w 235"/>
                <a:gd name="T111" fmla="*/ 252 h 356"/>
                <a:gd name="T112" fmla="*/ 21 w 235"/>
                <a:gd name="T113" fmla="*/ 256 h 356"/>
                <a:gd name="T114" fmla="*/ 235 w 235"/>
                <a:gd name="T115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5" h="356">
                  <a:moveTo>
                    <a:pt x="235" y="356"/>
                  </a:moveTo>
                  <a:cubicBezTo>
                    <a:pt x="235" y="356"/>
                    <a:pt x="235" y="356"/>
                    <a:pt x="235" y="356"/>
                  </a:cubicBezTo>
                  <a:cubicBezTo>
                    <a:pt x="232" y="355"/>
                    <a:pt x="228" y="353"/>
                    <a:pt x="225" y="352"/>
                  </a:cubicBezTo>
                  <a:cubicBezTo>
                    <a:pt x="225" y="349"/>
                    <a:pt x="225" y="349"/>
                    <a:pt x="225" y="349"/>
                  </a:cubicBezTo>
                  <a:cubicBezTo>
                    <a:pt x="225" y="346"/>
                    <a:pt x="225" y="346"/>
                    <a:pt x="225" y="346"/>
                  </a:cubicBezTo>
                  <a:cubicBezTo>
                    <a:pt x="220" y="338"/>
                    <a:pt x="220" y="338"/>
                    <a:pt x="220" y="338"/>
                  </a:cubicBezTo>
                  <a:cubicBezTo>
                    <a:pt x="222" y="334"/>
                    <a:pt x="222" y="334"/>
                    <a:pt x="222" y="334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24" y="327"/>
                    <a:pt x="224" y="327"/>
                    <a:pt x="224" y="327"/>
                  </a:cubicBezTo>
                  <a:cubicBezTo>
                    <a:pt x="217" y="325"/>
                    <a:pt x="217" y="325"/>
                    <a:pt x="217" y="325"/>
                  </a:cubicBezTo>
                  <a:cubicBezTo>
                    <a:pt x="214" y="325"/>
                    <a:pt x="214" y="325"/>
                    <a:pt x="214" y="325"/>
                  </a:cubicBezTo>
                  <a:cubicBezTo>
                    <a:pt x="211" y="321"/>
                    <a:pt x="211" y="321"/>
                    <a:pt x="211" y="321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201" y="317"/>
                    <a:pt x="201" y="317"/>
                    <a:pt x="201" y="317"/>
                  </a:cubicBezTo>
                  <a:cubicBezTo>
                    <a:pt x="200" y="313"/>
                    <a:pt x="200" y="313"/>
                    <a:pt x="200" y="313"/>
                  </a:cubicBezTo>
                  <a:cubicBezTo>
                    <a:pt x="198" y="312"/>
                    <a:pt x="198" y="312"/>
                    <a:pt x="198" y="312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197" y="307"/>
                    <a:pt x="197" y="307"/>
                    <a:pt x="197" y="307"/>
                  </a:cubicBezTo>
                  <a:cubicBezTo>
                    <a:pt x="198" y="304"/>
                    <a:pt x="198" y="304"/>
                    <a:pt x="198" y="304"/>
                  </a:cubicBezTo>
                  <a:cubicBezTo>
                    <a:pt x="199" y="299"/>
                    <a:pt x="199" y="299"/>
                    <a:pt x="199" y="299"/>
                  </a:cubicBezTo>
                  <a:cubicBezTo>
                    <a:pt x="196" y="296"/>
                    <a:pt x="196" y="296"/>
                    <a:pt x="196" y="296"/>
                  </a:cubicBezTo>
                  <a:cubicBezTo>
                    <a:pt x="195" y="292"/>
                    <a:pt x="195" y="292"/>
                    <a:pt x="195" y="292"/>
                  </a:cubicBezTo>
                  <a:cubicBezTo>
                    <a:pt x="194" y="290"/>
                    <a:pt x="194" y="290"/>
                    <a:pt x="194" y="290"/>
                  </a:cubicBezTo>
                  <a:cubicBezTo>
                    <a:pt x="193" y="285"/>
                    <a:pt x="193" y="285"/>
                    <a:pt x="193" y="285"/>
                  </a:cubicBezTo>
                  <a:cubicBezTo>
                    <a:pt x="194" y="283"/>
                    <a:pt x="194" y="283"/>
                    <a:pt x="194" y="283"/>
                  </a:cubicBezTo>
                  <a:cubicBezTo>
                    <a:pt x="191" y="274"/>
                    <a:pt x="191" y="274"/>
                    <a:pt x="191" y="274"/>
                  </a:cubicBezTo>
                  <a:cubicBezTo>
                    <a:pt x="190" y="269"/>
                    <a:pt x="190" y="269"/>
                    <a:pt x="190" y="269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4" y="268"/>
                    <a:pt x="184" y="268"/>
                    <a:pt x="184" y="268"/>
                  </a:cubicBezTo>
                  <a:cubicBezTo>
                    <a:pt x="182" y="266"/>
                    <a:pt x="182" y="266"/>
                    <a:pt x="182" y="266"/>
                  </a:cubicBezTo>
                  <a:cubicBezTo>
                    <a:pt x="182" y="264"/>
                    <a:pt x="182" y="264"/>
                    <a:pt x="182" y="264"/>
                  </a:cubicBezTo>
                  <a:cubicBezTo>
                    <a:pt x="182" y="261"/>
                    <a:pt x="182" y="261"/>
                    <a:pt x="182" y="261"/>
                  </a:cubicBezTo>
                  <a:cubicBezTo>
                    <a:pt x="183" y="260"/>
                    <a:pt x="183" y="260"/>
                    <a:pt x="183" y="260"/>
                  </a:cubicBezTo>
                  <a:cubicBezTo>
                    <a:pt x="185" y="255"/>
                    <a:pt x="185" y="255"/>
                    <a:pt x="185" y="25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5" y="243"/>
                    <a:pt x="185" y="243"/>
                    <a:pt x="185" y="243"/>
                  </a:cubicBezTo>
                  <a:cubicBezTo>
                    <a:pt x="187" y="240"/>
                    <a:pt x="187" y="240"/>
                    <a:pt x="187" y="240"/>
                  </a:cubicBezTo>
                  <a:cubicBezTo>
                    <a:pt x="187" y="236"/>
                    <a:pt x="187" y="236"/>
                    <a:pt x="187" y="236"/>
                  </a:cubicBezTo>
                  <a:cubicBezTo>
                    <a:pt x="185" y="232"/>
                    <a:pt x="185" y="232"/>
                    <a:pt x="185" y="232"/>
                  </a:cubicBezTo>
                  <a:cubicBezTo>
                    <a:pt x="185" y="229"/>
                    <a:pt x="185" y="229"/>
                    <a:pt x="185" y="229"/>
                  </a:cubicBezTo>
                  <a:cubicBezTo>
                    <a:pt x="187" y="227"/>
                    <a:pt x="187" y="227"/>
                    <a:pt x="187" y="227"/>
                  </a:cubicBezTo>
                  <a:cubicBezTo>
                    <a:pt x="189" y="224"/>
                    <a:pt x="189" y="224"/>
                    <a:pt x="189" y="224"/>
                  </a:cubicBezTo>
                  <a:cubicBezTo>
                    <a:pt x="190" y="223"/>
                    <a:pt x="190" y="223"/>
                    <a:pt x="190" y="223"/>
                  </a:cubicBezTo>
                  <a:cubicBezTo>
                    <a:pt x="190" y="218"/>
                    <a:pt x="190" y="218"/>
                    <a:pt x="190" y="218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193" y="209"/>
                    <a:pt x="193" y="209"/>
                    <a:pt x="193" y="209"/>
                  </a:cubicBezTo>
                  <a:cubicBezTo>
                    <a:pt x="192" y="207"/>
                    <a:pt x="192" y="207"/>
                    <a:pt x="192" y="207"/>
                  </a:cubicBezTo>
                  <a:cubicBezTo>
                    <a:pt x="190" y="203"/>
                    <a:pt x="190" y="203"/>
                    <a:pt x="190" y="203"/>
                  </a:cubicBezTo>
                  <a:cubicBezTo>
                    <a:pt x="190" y="203"/>
                    <a:pt x="191" y="200"/>
                    <a:pt x="191" y="199"/>
                  </a:cubicBezTo>
                  <a:cubicBezTo>
                    <a:pt x="191" y="198"/>
                    <a:pt x="191" y="198"/>
                    <a:pt x="191" y="198"/>
                  </a:cubicBezTo>
                  <a:cubicBezTo>
                    <a:pt x="190" y="193"/>
                    <a:pt x="190" y="193"/>
                    <a:pt x="190" y="193"/>
                  </a:cubicBezTo>
                  <a:cubicBezTo>
                    <a:pt x="190" y="193"/>
                    <a:pt x="189" y="192"/>
                    <a:pt x="188" y="192"/>
                  </a:cubicBezTo>
                  <a:cubicBezTo>
                    <a:pt x="186" y="192"/>
                    <a:pt x="185" y="191"/>
                    <a:pt x="184" y="191"/>
                  </a:cubicBezTo>
                  <a:cubicBezTo>
                    <a:pt x="182" y="190"/>
                    <a:pt x="182" y="191"/>
                    <a:pt x="182" y="191"/>
                  </a:cubicBezTo>
                  <a:cubicBezTo>
                    <a:pt x="181" y="190"/>
                    <a:pt x="181" y="190"/>
                    <a:pt x="181" y="190"/>
                  </a:cubicBezTo>
                  <a:cubicBezTo>
                    <a:pt x="180" y="187"/>
                    <a:pt x="180" y="187"/>
                    <a:pt x="180" y="187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80" y="174"/>
                    <a:pt x="180" y="174"/>
                    <a:pt x="180" y="174"/>
                  </a:cubicBezTo>
                  <a:cubicBezTo>
                    <a:pt x="183" y="169"/>
                    <a:pt x="183" y="169"/>
                    <a:pt x="183" y="169"/>
                  </a:cubicBezTo>
                  <a:cubicBezTo>
                    <a:pt x="183" y="167"/>
                    <a:pt x="183" y="167"/>
                    <a:pt x="183" y="167"/>
                  </a:cubicBezTo>
                  <a:cubicBezTo>
                    <a:pt x="184" y="162"/>
                    <a:pt x="184" y="162"/>
                    <a:pt x="184" y="162"/>
                  </a:cubicBezTo>
                  <a:cubicBezTo>
                    <a:pt x="186" y="158"/>
                    <a:pt x="186" y="158"/>
                    <a:pt x="186" y="158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3" y="150"/>
                    <a:pt x="193" y="150"/>
                    <a:pt x="193" y="150"/>
                  </a:cubicBezTo>
                  <a:cubicBezTo>
                    <a:pt x="195" y="149"/>
                    <a:pt x="195" y="149"/>
                    <a:pt x="195" y="149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1" y="139"/>
                    <a:pt x="191" y="139"/>
                    <a:pt x="191" y="139"/>
                  </a:cubicBezTo>
                  <a:cubicBezTo>
                    <a:pt x="187" y="139"/>
                    <a:pt x="187" y="139"/>
                    <a:pt x="187" y="139"/>
                  </a:cubicBezTo>
                  <a:cubicBezTo>
                    <a:pt x="184" y="136"/>
                    <a:pt x="184" y="136"/>
                    <a:pt x="184" y="136"/>
                  </a:cubicBezTo>
                  <a:cubicBezTo>
                    <a:pt x="184" y="132"/>
                    <a:pt x="184" y="132"/>
                    <a:pt x="184" y="132"/>
                  </a:cubicBezTo>
                  <a:cubicBezTo>
                    <a:pt x="187" y="131"/>
                    <a:pt x="187" y="131"/>
                    <a:pt x="187" y="131"/>
                  </a:cubicBezTo>
                  <a:cubicBezTo>
                    <a:pt x="189" y="127"/>
                    <a:pt x="189" y="127"/>
                    <a:pt x="189" y="127"/>
                  </a:cubicBezTo>
                  <a:cubicBezTo>
                    <a:pt x="193" y="123"/>
                    <a:pt x="193" y="123"/>
                    <a:pt x="193" y="123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3" y="117"/>
                    <a:pt x="193" y="117"/>
                    <a:pt x="193" y="117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92" y="103"/>
                    <a:pt x="192" y="103"/>
                    <a:pt x="192" y="103"/>
                  </a:cubicBezTo>
                  <a:cubicBezTo>
                    <a:pt x="179" y="98"/>
                    <a:pt x="179" y="98"/>
                    <a:pt x="179" y="98"/>
                  </a:cubicBezTo>
                  <a:cubicBezTo>
                    <a:pt x="176" y="93"/>
                    <a:pt x="176" y="93"/>
                    <a:pt x="176" y="93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4" y="92"/>
                    <a:pt x="179" y="88"/>
                    <a:pt x="179" y="88"/>
                  </a:cubicBezTo>
                  <a:cubicBezTo>
                    <a:pt x="179" y="87"/>
                    <a:pt x="181" y="82"/>
                    <a:pt x="181" y="82"/>
                  </a:cubicBezTo>
                  <a:cubicBezTo>
                    <a:pt x="184" y="78"/>
                    <a:pt x="184" y="78"/>
                    <a:pt x="184" y="78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91" y="65"/>
                    <a:pt x="191" y="65"/>
                    <a:pt x="191" y="65"/>
                  </a:cubicBezTo>
                  <a:cubicBezTo>
                    <a:pt x="197" y="56"/>
                    <a:pt x="197" y="56"/>
                    <a:pt x="197" y="56"/>
                  </a:cubicBezTo>
                  <a:cubicBezTo>
                    <a:pt x="205" y="46"/>
                    <a:pt x="205" y="46"/>
                    <a:pt x="205" y="46"/>
                  </a:cubicBezTo>
                  <a:cubicBezTo>
                    <a:pt x="204" y="44"/>
                    <a:pt x="204" y="44"/>
                    <a:pt x="204" y="44"/>
                  </a:cubicBezTo>
                  <a:cubicBezTo>
                    <a:pt x="198" y="40"/>
                    <a:pt x="198" y="40"/>
                    <a:pt x="198" y="40"/>
                  </a:cubicBezTo>
                  <a:cubicBezTo>
                    <a:pt x="198" y="37"/>
                    <a:pt x="198" y="37"/>
                    <a:pt x="198" y="37"/>
                  </a:cubicBezTo>
                  <a:cubicBezTo>
                    <a:pt x="194" y="26"/>
                    <a:pt x="194" y="26"/>
                    <a:pt x="194" y="26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6" y="7"/>
                    <a:pt x="186" y="7"/>
                    <a:pt x="186" y="7"/>
                  </a:cubicBezTo>
                  <a:cubicBezTo>
                    <a:pt x="184" y="6"/>
                    <a:pt x="184" y="6"/>
                    <a:pt x="184" y="6"/>
                  </a:cubicBezTo>
                  <a:cubicBezTo>
                    <a:pt x="181" y="5"/>
                    <a:pt x="181" y="5"/>
                    <a:pt x="181" y="5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3" y="235"/>
                    <a:pt x="3" y="235"/>
                    <a:pt x="3" y="235"/>
                  </a:cubicBezTo>
                  <a:cubicBezTo>
                    <a:pt x="3" y="235"/>
                    <a:pt x="3" y="235"/>
                    <a:pt x="5" y="235"/>
                  </a:cubicBezTo>
                  <a:cubicBezTo>
                    <a:pt x="8" y="235"/>
                    <a:pt x="8" y="237"/>
                    <a:pt x="8" y="237"/>
                  </a:cubicBezTo>
                  <a:cubicBezTo>
                    <a:pt x="10" y="240"/>
                    <a:pt x="10" y="240"/>
                    <a:pt x="10" y="240"/>
                  </a:cubicBezTo>
                  <a:cubicBezTo>
                    <a:pt x="12" y="242"/>
                    <a:pt x="12" y="242"/>
                    <a:pt x="12" y="242"/>
                  </a:cubicBezTo>
                  <a:cubicBezTo>
                    <a:pt x="12" y="242"/>
                    <a:pt x="12" y="242"/>
                    <a:pt x="14" y="242"/>
                  </a:cubicBezTo>
                  <a:cubicBezTo>
                    <a:pt x="15" y="242"/>
                    <a:pt x="15" y="242"/>
                    <a:pt x="16" y="243"/>
                  </a:cubicBezTo>
                  <a:cubicBezTo>
                    <a:pt x="17" y="243"/>
                    <a:pt x="19" y="243"/>
                    <a:pt x="19" y="243"/>
                  </a:cubicBezTo>
                  <a:cubicBezTo>
                    <a:pt x="22" y="244"/>
                    <a:pt x="22" y="244"/>
                    <a:pt x="22" y="244"/>
                  </a:cubicBezTo>
                  <a:cubicBezTo>
                    <a:pt x="24" y="248"/>
                    <a:pt x="24" y="248"/>
                    <a:pt x="24" y="248"/>
                  </a:cubicBezTo>
                  <a:cubicBezTo>
                    <a:pt x="23" y="249"/>
                    <a:pt x="23" y="249"/>
                    <a:pt x="23" y="249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21" y="256"/>
                    <a:pt x="112" y="307"/>
                    <a:pt x="157" y="326"/>
                  </a:cubicBezTo>
                  <a:cubicBezTo>
                    <a:pt x="176" y="334"/>
                    <a:pt x="208" y="346"/>
                    <a:pt x="235" y="3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3562680" y="2435817"/>
              <a:ext cx="730733" cy="714553"/>
            </a:xfrm>
            <a:custGeom>
              <a:avLst/>
              <a:gdLst>
                <a:gd name="T0" fmla="*/ 182 w 391"/>
                <a:gd name="T1" fmla="*/ 357 h 383"/>
                <a:gd name="T2" fmla="*/ 387 w 391"/>
                <a:gd name="T3" fmla="*/ 362 h 383"/>
                <a:gd name="T4" fmla="*/ 271 w 391"/>
                <a:gd name="T5" fmla="*/ 203 h 383"/>
                <a:gd name="T6" fmla="*/ 200 w 391"/>
                <a:gd name="T7" fmla="*/ 59 h 383"/>
                <a:gd name="T8" fmla="*/ 182 w 391"/>
                <a:gd name="T9" fmla="*/ 45 h 383"/>
                <a:gd name="T10" fmla="*/ 172 w 391"/>
                <a:gd name="T11" fmla="*/ 52 h 383"/>
                <a:gd name="T12" fmla="*/ 159 w 391"/>
                <a:gd name="T13" fmla="*/ 52 h 383"/>
                <a:gd name="T14" fmla="*/ 166 w 391"/>
                <a:gd name="T15" fmla="*/ 41 h 383"/>
                <a:gd name="T16" fmla="*/ 168 w 391"/>
                <a:gd name="T17" fmla="*/ 29 h 383"/>
                <a:gd name="T18" fmla="*/ 161 w 391"/>
                <a:gd name="T19" fmla="*/ 36 h 383"/>
                <a:gd name="T20" fmla="*/ 151 w 391"/>
                <a:gd name="T21" fmla="*/ 42 h 383"/>
                <a:gd name="T22" fmla="*/ 144 w 391"/>
                <a:gd name="T23" fmla="*/ 44 h 383"/>
                <a:gd name="T24" fmla="*/ 140 w 391"/>
                <a:gd name="T25" fmla="*/ 33 h 383"/>
                <a:gd name="T26" fmla="*/ 142 w 391"/>
                <a:gd name="T27" fmla="*/ 11 h 383"/>
                <a:gd name="T28" fmla="*/ 134 w 391"/>
                <a:gd name="T29" fmla="*/ 10 h 383"/>
                <a:gd name="T30" fmla="*/ 127 w 391"/>
                <a:gd name="T31" fmla="*/ 20 h 383"/>
                <a:gd name="T32" fmla="*/ 118 w 391"/>
                <a:gd name="T33" fmla="*/ 19 h 383"/>
                <a:gd name="T34" fmla="*/ 98 w 391"/>
                <a:gd name="T35" fmla="*/ 23 h 383"/>
                <a:gd name="T36" fmla="*/ 88 w 391"/>
                <a:gd name="T37" fmla="*/ 22 h 383"/>
                <a:gd name="T38" fmla="*/ 71 w 391"/>
                <a:gd name="T39" fmla="*/ 26 h 383"/>
                <a:gd name="T40" fmla="*/ 62 w 391"/>
                <a:gd name="T41" fmla="*/ 31 h 383"/>
                <a:gd name="T42" fmla="*/ 67 w 391"/>
                <a:gd name="T43" fmla="*/ 23 h 383"/>
                <a:gd name="T44" fmla="*/ 83 w 391"/>
                <a:gd name="T45" fmla="*/ 18 h 383"/>
                <a:gd name="T46" fmla="*/ 92 w 391"/>
                <a:gd name="T47" fmla="*/ 18 h 383"/>
                <a:gd name="T48" fmla="*/ 109 w 391"/>
                <a:gd name="T49" fmla="*/ 16 h 383"/>
                <a:gd name="T50" fmla="*/ 116 w 391"/>
                <a:gd name="T51" fmla="*/ 7 h 383"/>
                <a:gd name="T52" fmla="*/ 109 w 391"/>
                <a:gd name="T53" fmla="*/ 10 h 383"/>
                <a:gd name="T54" fmla="*/ 100 w 391"/>
                <a:gd name="T55" fmla="*/ 6 h 383"/>
                <a:gd name="T56" fmla="*/ 91 w 391"/>
                <a:gd name="T57" fmla="*/ 9 h 383"/>
                <a:gd name="T58" fmla="*/ 81 w 391"/>
                <a:gd name="T59" fmla="*/ 8 h 383"/>
                <a:gd name="T60" fmla="*/ 66 w 391"/>
                <a:gd name="T61" fmla="*/ 13 h 383"/>
                <a:gd name="T62" fmla="*/ 66 w 391"/>
                <a:gd name="T63" fmla="*/ 6 h 383"/>
                <a:gd name="T64" fmla="*/ 60 w 391"/>
                <a:gd name="T65" fmla="*/ 4 h 383"/>
                <a:gd name="T66" fmla="*/ 43 w 391"/>
                <a:gd name="T67" fmla="*/ 6 h 383"/>
                <a:gd name="T68" fmla="*/ 39 w 391"/>
                <a:gd name="T69" fmla="*/ 24 h 383"/>
                <a:gd name="T70" fmla="*/ 36 w 391"/>
                <a:gd name="T71" fmla="*/ 17 h 383"/>
                <a:gd name="T72" fmla="*/ 17 w 391"/>
                <a:gd name="T73" fmla="*/ 31 h 383"/>
                <a:gd name="T74" fmla="*/ 5 w 391"/>
                <a:gd name="T75" fmla="*/ 54 h 383"/>
                <a:gd name="T76" fmla="*/ 18 w 391"/>
                <a:gd name="T77" fmla="*/ 69 h 383"/>
                <a:gd name="T78" fmla="*/ 19 w 391"/>
                <a:gd name="T79" fmla="*/ 89 h 383"/>
                <a:gd name="T80" fmla="*/ 10 w 391"/>
                <a:gd name="T81" fmla="*/ 102 h 383"/>
                <a:gd name="T82" fmla="*/ 21 w 391"/>
                <a:gd name="T83" fmla="*/ 115 h 383"/>
                <a:gd name="T84" fmla="*/ 10 w 391"/>
                <a:gd name="T85" fmla="*/ 128 h 383"/>
                <a:gd name="T86" fmla="*/ 5 w 391"/>
                <a:gd name="T87" fmla="*/ 145 h 383"/>
                <a:gd name="T88" fmla="*/ 10 w 391"/>
                <a:gd name="T89" fmla="*/ 157 h 383"/>
                <a:gd name="T90" fmla="*/ 17 w 391"/>
                <a:gd name="T91" fmla="*/ 165 h 383"/>
                <a:gd name="T92" fmla="*/ 18 w 391"/>
                <a:gd name="T93" fmla="*/ 179 h 383"/>
                <a:gd name="T94" fmla="*/ 13 w 391"/>
                <a:gd name="T95" fmla="*/ 193 h 383"/>
                <a:gd name="T96" fmla="*/ 13 w 391"/>
                <a:gd name="T97" fmla="*/ 206 h 383"/>
                <a:gd name="T98" fmla="*/ 9 w 391"/>
                <a:gd name="T99" fmla="*/ 226 h 383"/>
                <a:gd name="T100" fmla="*/ 10 w 391"/>
                <a:gd name="T101" fmla="*/ 234 h 383"/>
                <a:gd name="T102" fmla="*/ 20 w 391"/>
                <a:gd name="T103" fmla="*/ 249 h 383"/>
                <a:gd name="T104" fmla="*/ 22 w 391"/>
                <a:gd name="T105" fmla="*/ 262 h 383"/>
                <a:gd name="T106" fmla="*/ 23 w 391"/>
                <a:gd name="T107" fmla="*/ 275 h 383"/>
                <a:gd name="T108" fmla="*/ 31 w 391"/>
                <a:gd name="T109" fmla="*/ 284 h 383"/>
                <a:gd name="T110" fmla="*/ 43 w 391"/>
                <a:gd name="T111" fmla="*/ 291 h 383"/>
                <a:gd name="T112" fmla="*/ 46 w 391"/>
                <a:gd name="T113" fmla="*/ 304 h 383"/>
                <a:gd name="T114" fmla="*/ 51 w 391"/>
                <a:gd name="T115" fmla="*/ 318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1" h="383">
                  <a:moveTo>
                    <a:pt x="108" y="353"/>
                  </a:moveTo>
                  <a:cubicBezTo>
                    <a:pt x="108" y="353"/>
                    <a:pt x="108" y="353"/>
                    <a:pt x="108" y="353"/>
                  </a:cubicBezTo>
                  <a:cubicBezTo>
                    <a:pt x="112" y="339"/>
                    <a:pt x="112" y="339"/>
                    <a:pt x="112" y="339"/>
                  </a:cubicBezTo>
                  <a:cubicBezTo>
                    <a:pt x="112" y="339"/>
                    <a:pt x="155" y="350"/>
                    <a:pt x="182" y="357"/>
                  </a:cubicBezTo>
                  <a:cubicBezTo>
                    <a:pt x="210" y="364"/>
                    <a:pt x="265" y="373"/>
                    <a:pt x="265" y="373"/>
                  </a:cubicBezTo>
                  <a:cubicBezTo>
                    <a:pt x="265" y="373"/>
                    <a:pt x="309" y="378"/>
                    <a:pt x="324" y="380"/>
                  </a:cubicBezTo>
                  <a:cubicBezTo>
                    <a:pt x="339" y="381"/>
                    <a:pt x="387" y="383"/>
                    <a:pt x="387" y="383"/>
                  </a:cubicBezTo>
                  <a:cubicBezTo>
                    <a:pt x="387" y="362"/>
                    <a:pt x="387" y="362"/>
                    <a:pt x="387" y="362"/>
                  </a:cubicBezTo>
                  <a:cubicBezTo>
                    <a:pt x="391" y="255"/>
                    <a:pt x="391" y="255"/>
                    <a:pt x="391" y="255"/>
                  </a:cubicBezTo>
                  <a:cubicBezTo>
                    <a:pt x="311" y="236"/>
                    <a:pt x="311" y="236"/>
                    <a:pt x="311" y="236"/>
                  </a:cubicBezTo>
                  <a:cubicBezTo>
                    <a:pt x="295" y="212"/>
                    <a:pt x="295" y="212"/>
                    <a:pt x="295" y="212"/>
                  </a:cubicBezTo>
                  <a:cubicBezTo>
                    <a:pt x="271" y="203"/>
                    <a:pt x="271" y="203"/>
                    <a:pt x="271" y="203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97" y="65"/>
                    <a:pt x="197" y="65"/>
                    <a:pt x="197" y="65"/>
                  </a:cubicBezTo>
                  <a:cubicBezTo>
                    <a:pt x="203" y="64"/>
                    <a:pt x="203" y="64"/>
                    <a:pt x="203" y="64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7" y="55"/>
                    <a:pt x="197" y="55"/>
                    <a:pt x="197" y="55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85" y="47"/>
                    <a:pt x="185" y="47"/>
                    <a:pt x="185" y="47"/>
                  </a:cubicBezTo>
                  <a:cubicBezTo>
                    <a:pt x="182" y="45"/>
                    <a:pt x="182" y="45"/>
                    <a:pt x="182" y="45"/>
                  </a:cubicBezTo>
                  <a:cubicBezTo>
                    <a:pt x="178" y="45"/>
                    <a:pt x="178" y="45"/>
                    <a:pt x="178" y="45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2" y="52"/>
                    <a:pt x="172" y="52"/>
                    <a:pt x="172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4" y="54"/>
                    <a:pt x="164" y="54"/>
                    <a:pt x="164" y="54"/>
                  </a:cubicBezTo>
                  <a:cubicBezTo>
                    <a:pt x="161" y="53"/>
                    <a:pt x="161" y="53"/>
                    <a:pt x="161" y="53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59" y="48"/>
                    <a:pt x="159" y="48"/>
                    <a:pt x="159" y="48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4" y="44"/>
                    <a:pt x="164" y="44"/>
                    <a:pt x="164" y="44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66" y="39"/>
                    <a:pt x="166" y="39"/>
                    <a:pt x="166" y="39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9" y="33"/>
                    <a:pt x="169" y="33"/>
                    <a:pt x="169" y="33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6" y="29"/>
                    <a:pt x="166" y="29"/>
                    <a:pt x="166" y="29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59" y="37"/>
                    <a:pt x="159" y="37"/>
                    <a:pt x="159" y="37"/>
                  </a:cubicBezTo>
                  <a:cubicBezTo>
                    <a:pt x="156" y="39"/>
                    <a:pt x="156" y="39"/>
                    <a:pt x="156" y="39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0" y="44"/>
                    <a:pt x="150" y="44"/>
                    <a:pt x="150" y="44"/>
                  </a:cubicBezTo>
                  <a:cubicBezTo>
                    <a:pt x="148" y="46"/>
                    <a:pt x="148" y="46"/>
                    <a:pt x="148" y="46"/>
                  </a:cubicBezTo>
                  <a:cubicBezTo>
                    <a:pt x="146" y="46"/>
                    <a:pt x="146" y="46"/>
                    <a:pt x="146" y="46"/>
                  </a:cubicBezTo>
                  <a:cubicBezTo>
                    <a:pt x="144" y="44"/>
                    <a:pt x="144" y="44"/>
                    <a:pt x="144" y="44"/>
                  </a:cubicBezTo>
                  <a:cubicBezTo>
                    <a:pt x="143" y="43"/>
                    <a:pt x="143" y="43"/>
                    <a:pt x="143" y="43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0" y="7"/>
                    <a:pt x="140" y="7"/>
                    <a:pt x="140" y="7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5" y="5"/>
                    <a:pt x="135" y="5"/>
                    <a:pt x="135" y="5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6" y="14"/>
                    <a:pt x="136" y="14"/>
                    <a:pt x="136" y="14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1" y="30"/>
                    <a:pt x="61" y="30"/>
                    <a:pt x="61" y="30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4" y="21"/>
                    <a:pt x="75" y="21"/>
                  </a:cubicBezTo>
                  <a:cubicBezTo>
                    <a:pt x="76" y="20"/>
                    <a:pt x="79" y="19"/>
                    <a:pt x="79" y="19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7" y="7"/>
                    <a:pt x="96" y="7"/>
                    <a:pt x="95" y="8"/>
                  </a:cubicBezTo>
                  <a:cubicBezTo>
                    <a:pt x="95" y="9"/>
                    <a:pt x="93" y="9"/>
                    <a:pt x="93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9"/>
                    <a:pt x="75" y="10"/>
                    <a:pt x="74" y="11"/>
                  </a:cubicBezTo>
                  <a:cubicBezTo>
                    <a:pt x="73" y="11"/>
                    <a:pt x="70" y="14"/>
                    <a:pt x="70" y="14"/>
                  </a:cubicBezTo>
                  <a:cubicBezTo>
                    <a:pt x="70" y="14"/>
                    <a:pt x="67" y="13"/>
                    <a:pt x="66" y="13"/>
                  </a:cubicBezTo>
                  <a:cubicBezTo>
                    <a:pt x="65" y="13"/>
                    <a:pt x="61" y="13"/>
                    <a:pt x="61" y="13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5" y="53"/>
                    <a:pt x="5" y="54"/>
                  </a:cubicBezTo>
                  <a:cubicBezTo>
                    <a:pt x="5" y="54"/>
                    <a:pt x="0" y="58"/>
                    <a:pt x="0" y="58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6" y="140"/>
                    <a:pt x="6" y="140"/>
                    <a:pt x="6" y="140"/>
                  </a:cubicBezTo>
                  <a:cubicBezTo>
                    <a:pt x="5" y="145"/>
                    <a:pt x="5" y="145"/>
                    <a:pt x="5" y="145"/>
                  </a:cubicBezTo>
                  <a:cubicBezTo>
                    <a:pt x="6" y="153"/>
                    <a:pt x="6" y="153"/>
                    <a:pt x="6" y="153"/>
                  </a:cubicBezTo>
                  <a:cubicBezTo>
                    <a:pt x="7" y="156"/>
                    <a:pt x="7" y="156"/>
                    <a:pt x="7" y="156"/>
                  </a:cubicBezTo>
                  <a:cubicBezTo>
                    <a:pt x="8" y="157"/>
                    <a:pt x="8" y="157"/>
                    <a:pt x="8" y="157"/>
                  </a:cubicBezTo>
                  <a:cubicBezTo>
                    <a:pt x="8" y="157"/>
                    <a:pt x="8" y="156"/>
                    <a:pt x="10" y="157"/>
                  </a:cubicBezTo>
                  <a:cubicBezTo>
                    <a:pt x="11" y="157"/>
                    <a:pt x="12" y="158"/>
                    <a:pt x="14" y="158"/>
                  </a:cubicBezTo>
                  <a:cubicBezTo>
                    <a:pt x="15" y="158"/>
                    <a:pt x="16" y="159"/>
                    <a:pt x="16" y="159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64"/>
                    <a:pt x="17" y="164"/>
                    <a:pt x="17" y="165"/>
                  </a:cubicBezTo>
                  <a:cubicBezTo>
                    <a:pt x="17" y="166"/>
                    <a:pt x="16" y="169"/>
                    <a:pt x="16" y="169"/>
                  </a:cubicBezTo>
                  <a:cubicBezTo>
                    <a:pt x="18" y="173"/>
                    <a:pt x="18" y="173"/>
                    <a:pt x="18" y="173"/>
                  </a:cubicBezTo>
                  <a:cubicBezTo>
                    <a:pt x="19" y="175"/>
                    <a:pt x="19" y="175"/>
                    <a:pt x="19" y="175"/>
                  </a:cubicBezTo>
                  <a:cubicBezTo>
                    <a:pt x="18" y="179"/>
                    <a:pt x="18" y="179"/>
                    <a:pt x="18" y="179"/>
                  </a:cubicBezTo>
                  <a:cubicBezTo>
                    <a:pt x="16" y="184"/>
                    <a:pt x="16" y="184"/>
                    <a:pt x="16" y="184"/>
                  </a:cubicBezTo>
                  <a:cubicBezTo>
                    <a:pt x="16" y="189"/>
                    <a:pt x="16" y="189"/>
                    <a:pt x="16" y="189"/>
                  </a:cubicBezTo>
                  <a:cubicBezTo>
                    <a:pt x="15" y="190"/>
                    <a:pt x="15" y="190"/>
                    <a:pt x="15" y="190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1" y="195"/>
                    <a:pt x="11" y="195"/>
                    <a:pt x="11" y="195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13" y="202"/>
                    <a:pt x="13" y="202"/>
                    <a:pt x="13" y="202"/>
                  </a:cubicBezTo>
                  <a:cubicBezTo>
                    <a:pt x="13" y="206"/>
                    <a:pt x="13" y="206"/>
                    <a:pt x="13" y="206"/>
                  </a:cubicBezTo>
                  <a:cubicBezTo>
                    <a:pt x="11" y="209"/>
                    <a:pt x="11" y="209"/>
                    <a:pt x="11" y="209"/>
                  </a:cubicBezTo>
                  <a:cubicBezTo>
                    <a:pt x="10" y="213"/>
                    <a:pt x="10" y="213"/>
                    <a:pt x="10" y="213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9" y="226"/>
                    <a:pt x="9" y="226"/>
                    <a:pt x="9" y="226"/>
                  </a:cubicBezTo>
                  <a:cubicBezTo>
                    <a:pt x="8" y="227"/>
                    <a:pt x="8" y="227"/>
                    <a:pt x="8" y="227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8" y="232"/>
                    <a:pt x="8" y="232"/>
                    <a:pt x="8" y="232"/>
                  </a:cubicBezTo>
                  <a:cubicBezTo>
                    <a:pt x="10" y="234"/>
                    <a:pt x="10" y="234"/>
                    <a:pt x="10" y="234"/>
                  </a:cubicBezTo>
                  <a:cubicBezTo>
                    <a:pt x="13" y="235"/>
                    <a:pt x="13" y="235"/>
                    <a:pt x="13" y="235"/>
                  </a:cubicBezTo>
                  <a:cubicBezTo>
                    <a:pt x="16" y="235"/>
                    <a:pt x="16" y="235"/>
                    <a:pt x="16" y="235"/>
                  </a:cubicBezTo>
                  <a:cubicBezTo>
                    <a:pt x="17" y="240"/>
                    <a:pt x="17" y="240"/>
                    <a:pt x="17" y="240"/>
                  </a:cubicBezTo>
                  <a:cubicBezTo>
                    <a:pt x="20" y="249"/>
                    <a:pt x="20" y="249"/>
                    <a:pt x="20" y="249"/>
                  </a:cubicBezTo>
                  <a:cubicBezTo>
                    <a:pt x="19" y="251"/>
                    <a:pt x="19" y="251"/>
                    <a:pt x="19" y="251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21" y="258"/>
                    <a:pt x="21" y="258"/>
                    <a:pt x="21" y="258"/>
                  </a:cubicBezTo>
                  <a:cubicBezTo>
                    <a:pt x="22" y="262"/>
                    <a:pt x="22" y="262"/>
                    <a:pt x="22" y="262"/>
                  </a:cubicBezTo>
                  <a:cubicBezTo>
                    <a:pt x="25" y="265"/>
                    <a:pt x="25" y="265"/>
                    <a:pt x="25" y="265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5"/>
                    <a:pt x="23" y="275"/>
                    <a:pt x="23" y="275"/>
                  </a:cubicBezTo>
                  <a:cubicBezTo>
                    <a:pt x="24" y="278"/>
                    <a:pt x="24" y="278"/>
                    <a:pt x="24" y="278"/>
                  </a:cubicBezTo>
                  <a:cubicBezTo>
                    <a:pt x="26" y="279"/>
                    <a:pt x="26" y="279"/>
                    <a:pt x="26" y="279"/>
                  </a:cubicBezTo>
                  <a:cubicBezTo>
                    <a:pt x="27" y="283"/>
                    <a:pt x="27" y="283"/>
                    <a:pt x="27" y="283"/>
                  </a:cubicBezTo>
                  <a:cubicBezTo>
                    <a:pt x="31" y="284"/>
                    <a:pt x="31" y="284"/>
                    <a:pt x="31" y="284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7" y="287"/>
                    <a:pt x="37" y="287"/>
                    <a:pt x="37" y="287"/>
                  </a:cubicBezTo>
                  <a:cubicBezTo>
                    <a:pt x="40" y="291"/>
                    <a:pt x="40" y="291"/>
                    <a:pt x="40" y="291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0" y="293"/>
                    <a:pt x="50" y="293"/>
                    <a:pt x="50" y="293"/>
                  </a:cubicBezTo>
                  <a:cubicBezTo>
                    <a:pt x="50" y="296"/>
                    <a:pt x="50" y="296"/>
                    <a:pt x="50" y="296"/>
                  </a:cubicBezTo>
                  <a:cubicBezTo>
                    <a:pt x="48" y="300"/>
                    <a:pt x="48" y="300"/>
                    <a:pt x="48" y="300"/>
                  </a:cubicBezTo>
                  <a:cubicBezTo>
                    <a:pt x="46" y="304"/>
                    <a:pt x="46" y="304"/>
                    <a:pt x="46" y="304"/>
                  </a:cubicBezTo>
                  <a:cubicBezTo>
                    <a:pt x="51" y="312"/>
                    <a:pt x="51" y="312"/>
                    <a:pt x="51" y="312"/>
                  </a:cubicBezTo>
                  <a:cubicBezTo>
                    <a:pt x="51" y="315"/>
                    <a:pt x="51" y="315"/>
                    <a:pt x="51" y="315"/>
                  </a:cubicBezTo>
                  <a:cubicBezTo>
                    <a:pt x="51" y="318"/>
                    <a:pt x="51" y="318"/>
                    <a:pt x="51" y="318"/>
                  </a:cubicBezTo>
                  <a:cubicBezTo>
                    <a:pt x="51" y="318"/>
                    <a:pt x="51" y="318"/>
                    <a:pt x="51" y="318"/>
                  </a:cubicBezTo>
                  <a:cubicBezTo>
                    <a:pt x="83" y="330"/>
                    <a:pt x="112" y="340"/>
                    <a:pt x="112" y="340"/>
                  </a:cubicBezTo>
                  <a:lnTo>
                    <a:pt x="108" y="353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26"/>
            <p:cNvSpPr>
              <a:spLocks/>
            </p:cNvSpPr>
            <p:nvPr/>
          </p:nvSpPr>
          <p:spPr bwMode="auto">
            <a:xfrm>
              <a:off x="4964824" y="3456415"/>
              <a:ext cx="47188" cy="28313"/>
            </a:xfrm>
            <a:custGeom>
              <a:avLst/>
              <a:gdLst>
                <a:gd name="T0" fmla="*/ 24 w 35"/>
                <a:gd name="T1" fmla="*/ 21 h 21"/>
                <a:gd name="T2" fmla="*/ 32 w 35"/>
                <a:gd name="T3" fmla="*/ 21 h 21"/>
                <a:gd name="T4" fmla="*/ 35 w 35"/>
                <a:gd name="T5" fmla="*/ 18 h 21"/>
                <a:gd name="T6" fmla="*/ 32 w 35"/>
                <a:gd name="T7" fmla="*/ 13 h 21"/>
                <a:gd name="T8" fmla="*/ 27 w 35"/>
                <a:gd name="T9" fmla="*/ 6 h 21"/>
                <a:gd name="T10" fmla="*/ 24 w 35"/>
                <a:gd name="T11" fmla="*/ 2 h 21"/>
                <a:gd name="T12" fmla="*/ 17 w 35"/>
                <a:gd name="T13" fmla="*/ 0 h 21"/>
                <a:gd name="T14" fmla="*/ 13 w 35"/>
                <a:gd name="T15" fmla="*/ 0 h 21"/>
                <a:gd name="T16" fmla="*/ 0 w 35"/>
                <a:gd name="T17" fmla="*/ 9 h 21"/>
                <a:gd name="T18" fmla="*/ 0 w 35"/>
                <a:gd name="T19" fmla="*/ 14 h 21"/>
                <a:gd name="T20" fmla="*/ 3 w 35"/>
                <a:gd name="T21" fmla="*/ 15 h 21"/>
                <a:gd name="T22" fmla="*/ 7 w 35"/>
                <a:gd name="T23" fmla="*/ 18 h 21"/>
                <a:gd name="T24" fmla="*/ 13 w 35"/>
                <a:gd name="T25" fmla="*/ 20 h 21"/>
                <a:gd name="T26" fmla="*/ 18 w 35"/>
                <a:gd name="T27" fmla="*/ 20 h 21"/>
                <a:gd name="T28" fmla="*/ 24 w 35"/>
                <a:gd name="T2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21">
                  <a:moveTo>
                    <a:pt x="24" y="21"/>
                  </a:moveTo>
                  <a:lnTo>
                    <a:pt x="32" y="21"/>
                  </a:lnTo>
                  <a:lnTo>
                    <a:pt x="35" y="18"/>
                  </a:lnTo>
                  <a:lnTo>
                    <a:pt x="32" y="13"/>
                  </a:lnTo>
                  <a:lnTo>
                    <a:pt x="27" y="6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5"/>
                  </a:lnTo>
                  <a:lnTo>
                    <a:pt x="7" y="18"/>
                  </a:lnTo>
                  <a:lnTo>
                    <a:pt x="13" y="20"/>
                  </a:lnTo>
                  <a:lnTo>
                    <a:pt x="18" y="20"/>
                  </a:lnTo>
                  <a:lnTo>
                    <a:pt x="24" y="2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27"/>
            <p:cNvSpPr>
              <a:spLocks/>
            </p:cNvSpPr>
            <p:nvPr/>
          </p:nvSpPr>
          <p:spPr bwMode="auto">
            <a:xfrm>
              <a:off x="4983699" y="3262272"/>
              <a:ext cx="24268" cy="37750"/>
            </a:xfrm>
            <a:custGeom>
              <a:avLst/>
              <a:gdLst>
                <a:gd name="T0" fmla="*/ 6 w 13"/>
                <a:gd name="T1" fmla="*/ 20 h 20"/>
                <a:gd name="T2" fmla="*/ 8 w 13"/>
                <a:gd name="T3" fmla="*/ 17 h 20"/>
                <a:gd name="T4" fmla="*/ 8 w 13"/>
                <a:gd name="T5" fmla="*/ 14 h 20"/>
                <a:gd name="T6" fmla="*/ 9 w 13"/>
                <a:gd name="T7" fmla="*/ 10 h 20"/>
                <a:gd name="T8" fmla="*/ 11 w 13"/>
                <a:gd name="T9" fmla="*/ 7 h 20"/>
                <a:gd name="T10" fmla="*/ 12 w 13"/>
                <a:gd name="T11" fmla="*/ 7 h 20"/>
                <a:gd name="T12" fmla="*/ 13 w 13"/>
                <a:gd name="T13" fmla="*/ 4 h 20"/>
                <a:gd name="T14" fmla="*/ 13 w 13"/>
                <a:gd name="T15" fmla="*/ 1 h 20"/>
                <a:gd name="T16" fmla="*/ 10 w 13"/>
                <a:gd name="T17" fmla="*/ 0 h 20"/>
                <a:gd name="T18" fmla="*/ 6 w 13"/>
                <a:gd name="T19" fmla="*/ 1 h 20"/>
                <a:gd name="T20" fmla="*/ 6 w 13"/>
                <a:gd name="T21" fmla="*/ 3 h 20"/>
                <a:gd name="T22" fmla="*/ 3 w 13"/>
                <a:gd name="T23" fmla="*/ 10 h 20"/>
                <a:gd name="T24" fmla="*/ 0 w 13"/>
                <a:gd name="T25" fmla="*/ 14 h 20"/>
                <a:gd name="T26" fmla="*/ 0 w 13"/>
                <a:gd name="T27" fmla="*/ 16 h 20"/>
                <a:gd name="T28" fmla="*/ 1 w 13"/>
                <a:gd name="T29" fmla="*/ 20 h 20"/>
                <a:gd name="T30" fmla="*/ 6 w 13"/>
                <a:gd name="T3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20">
                  <a:moveTo>
                    <a:pt x="6" y="20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1" y="8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6" y="2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899734" y="1791371"/>
              <a:ext cx="1383269" cy="1359000"/>
              <a:chOff x="3899734" y="1791371"/>
              <a:chExt cx="1383269" cy="1359000"/>
            </a:xfrm>
            <a:grpFill/>
          </p:grpSpPr>
          <p:grpSp>
            <p:nvGrpSpPr>
              <p:cNvPr id="42" name="Group 41"/>
              <p:cNvGrpSpPr/>
              <p:nvPr/>
            </p:nvGrpSpPr>
            <p:grpSpPr>
              <a:xfrm>
                <a:off x="3899734" y="2071799"/>
                <a:ext cx="331661" cy="492099"/>
                <a:chOff x="3899734" y="2071799"/>
                <a:chExt cx="331661" cy="492099"/>
              </a:xfrm>
              <a:grpFill/>
            </p:grpSpPr>
            <p:sp>
              <p:nvSpPr>
                <p:cNvPr id="84" name="Freeform 19"/>
                <p:cNvSpPr>
                  <a:spLocks/>
                </p:cNvSpPr>
                <p:nvPr/>
              </p:nvSpPr>
              <p:spPr bwMode="auto">
                <a:xfrm>
                  <a:off x="3899734" y="2260549"/>
                  <a:ext cx="199536" cy="190099"/>
                </a:xfrm>
                <a:custGeom>
                  <a:avLst/>
                  <a:gdLst>
                    <a:gd name="T0" fmla="*/ 22 w 107"/>
                    <a:gd name="T1" fmla="*/ 99 h 102"/>
                    <a:gd name="T2" fmla="*/ 27 w 107"/>
                    <a:gd name="T3" fmla="*/ 96 h 102"/>
                    <a:gd name="T4" fmla="*/ 36 w 107"/>
                    <a:gd name="T5" fmla="*/ 96 h 102"/>
                    <a:gd name="T6" fmla="*/ 42 w 107"/>
                    <a:gd name="T7" fmla="*/ 91 h 102"/>
                    <a:gd name="T8" fmla="*/ 46 w 107"/>
                    <a:gd name="T9" fmla="*/ 83 h 102"/>
                    <a:gd name="T10" fmla="*/ 52 w 107"/>
                    <a:gd name="T11" fmla="*/ 74 h 102"/>
                    <a:gd name="T12" fmla="*/ 55 w 107"/>
                    <a:gd name="T13" fmla="*/ 76 h 102"/>
                    <a:gd name="T14" fmla="*/ 60 w 107"/>
                    <a:gd name="T15" fmla="*/ 74 h 102"/>
                    <a:gd name="T16" fmla="*/ 63 w 107"/>
                    <a:gd name="T17" fmla="*/ 70 h 102"/>
                    <a:gd name="T18" fmla="*/ 70 w 107"/>
                    <a:gd name="T19" fmla="*/ 63 h 102"/>
                    <a:gd name="T20" fmla="*/ 80 w 107"/>
                    <a:gd name="T21" fmla="*/ 60 h 102"/>
                    <a:gd name="T22" fmla="*/ 93 w 107"/>
                    <a:gd name="T23" fmla="*/ 52 h 102"/>
                    <a:gd name="T24" fmla="*/ 101 w 107"/>
                    <a:gd name="T25" fmla="*/ 50 h 102"/>
                    <a:gd name="T26" fmla="*/ 107 w 107"/>
                    <a:gd name="T27" fmla="*/ 45 h 102"/>
                    <a:gd name="T28" fmla="*/ 102 w 107"/>
                    <a:gd name="T29" fmla="*/ 36 h 102"/>
                    <a:gd name="T30" fmla="*/ 97 w 107"/>
                    <a:gd name="T31" fmla="*/ 25 h 102"/>
                    <a:gd name="T32" fmla="*/ 92 w 107"/>
                    <a:gd name="T33" fmla="*/ 21 h 102"/>
                    <a:gd name="T34" fmla="*/ 81 w 107"/>
                    <a:gd name="T35" fmla="*/ 21 h 102"/>
                    <a:gd name="T36" fmla="*/ 74 w 107"/>
                    <a:gd name="T37" fmla="*/ 15 h 102"/>
                    <a:gd name="T38" fmla="*/ 72 w 107"/>
                    <a:gd name="T39" fmla="*/ 8 h 102"/>
                    <a:gd name="T40" fmla="*/ 59 w 107"/>
                    <a:gd name="T41" fmla="*/ 3 h 102"/>
                    <a:gd name="T42" fmla="*/ 50 w 107"/>
                    <a:gd name="T43" fmla="*/ 1 h 102"/>
                    <a:gd name="T44" fmla="*/ 44 w 107"/>
                    <a:gd name="T45" fmla="*/ 0 h 102"/>
                    <a:gd name="T46" fmla="*/ 38 w 107"/>
                    <a:gd name="T47" fmla="*/ 5 h 102"/>
                    <a:gd name="T48" fmla="*/ 37 w 107"/>
                    <a:gd name="T49" fmla="*/ 16 h 102"/>
                    <a:gd name="T50" fmla="*/ 33 w 107"/>
                    <a:gd name="T51" fmla="*/ 25 h 102"/>
                    <a:gd name="T52" fmla="*/ 24 w 107"/>
                    <a:gd name="T53" fmla="*/ 34 h 102"/>
                    <a:gd name="T54" fmla="*/ 18 w 107"/>
                    <a:gd name="T55" fmla="*/ 43 h 102"/>
                    <a:gd name="T56" fmla="*/ 15 w 107"/>
                    <a:gd name="T57" fmla="*/ 49 h 102"/>
                    <a:gd name="T58" fmla="*/ 8 w 107"/>
                    <a:gd name="T59" fmla="*/ 54 h 102"/>
                    <a:gd name="T60" fmla="*/ 4 w 107"/>
                    <a:gd name="T61" fmla="*/ 60 h 102"/>
                    <a:gd name="T62" fmla="*/ 0 w 107"/>
                    <a:gd name="T63" fmla="*/ 68 h 102"/>
                    <a:gd name="T64" fmla="*/ 6 w 107"/>
                    <a:gd name="T65" fmla="*/ 75 h 102"/>
                    <a:gd name="T66" fmla="*/ 12 w 107"/>
                    <a:gd name="T67" fmla="*/ 83 h 102"/>
                    <a:gd name="T68" fmla="*/ 12 w 107"/>
                    <a:gd name="T69" fmla="*/ 87 h 102"/>
                    <a:gd name="T70" fmla="*/ 13 w 107"/>
                    <a:gd name="T71" fmla="*/ 102 h 102"/>
                    <a:gd name="T72" fmla="*/ 18 w 107"/>
                    <a:gd name="T73" fmla="*/ 102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07" h="102">
                      <a:moveTo>
                        <a:pt x="18" y="102"/>
                      </a:moveTo>
                      <a:cubicBezTo>
                        <a:pt x="22" y="99"/>
                        <a:pt x="22" y="99"/>
                        <a:pt x="22" y="99"/>
                      </a:cubicBezTo>
                      <a:cubicBezTo>
                        <a:pt x="25" y="96"/>
                        <a:pt x="25" y="96"/>
                        <a:pt x="25" y="96"/>
                      </a:cubicBezTo>
                      <a:cubicBezTo>
                        <a:pt x="27" y="96"/>
                        <a:pt x="27" y="96"/>
                        <a:pt x="27" y="96"/>
                      </a:cubicBezTo>
                      <a:cubicBezTo>
                        <a:pt x="33" y="96"/>
                        <a:pt x="33" y="96"/>
                        <a:pt x="33" y="96"/>
                      </a:cubicBezTo>
                      <a:cubicBezTo>
                        <a:pt x="36" y="96"/>
                        <a:pt x="36" y="96"/>
                        <a:pt x="36" y="96"/>
                      </a:cubicBezTo>
                      <a:cubicBezTo>
                        <a:pt x="38" y="94"/>
                        <a:pt x="38" y="94"/>
                        <a:pt x="38" y="94"/>
                      </a:cubicBezTo>
                      <a:cubicBezTo>
                        <a:pt x="42" y="91"/>
                        <a:pt x="42" y="91"/>
                        <a:pt x="42" y="91"/>
                      </a:cubicBezTo>
                      <a:cubicBezTo>
                        <a:pt x="44" y="87"/>
                        <a:pt x="44" y="87"/>
                        <a:pt x="44" y="87"/>
                      </a:cubicBezTo>
                      <a:cubicBezTo>
                        <a:pt x="44" y="87"/>
                        <a:pt x="46" y="84"/>
                        <a:pt x="46" y="83"/>
                      </a:cubicBezTo>
                      <a:cubicBezTo>
                        <a:pt x="46" y="82"/>
                        <a:pt x="48" y="77"/>
                        <a:pt x="48" y="77"/>
                      </a:cubicBezTo>
                      <a:cubicBezTo>
                        <a:pt x="52" y="74"/>
                        <a:pt x="52" y="74"/>
                        <a:pt x="52" y="74"/>
                      </a:cubicBezTo>
                      <a:cubicBezTo>
                        <a:pt x="52" y="75"/>
                        <a:pt x="52" y="75"/>
                        <a:pt x="52" y="75"/>
                      </a:cubicBezTo>
                      <a:cubicBezTo>
                        <a:pt x="55" y="76"/>
                        <a:pt x="55" y="76"/>
                        <a:pt x="55" y="76"/>
                      </a:cubicBezTo>
                      <a:cubicBezTo>
                        <a:pt x="57" y="77"/>
                        <a:pt x="57" y="77"/>
                        <a:pt x="57" y="77"/>
                      </a:cubicBez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0" y="70"/>
                        <a:pt x="60" y="70"/>
                        <a:pt x="60" y="70"/>
                      </a:cubicBezTo>
                      <a:cubicBezTo>
                        <a:pt x="63" y="70"/>
                        <a:pt x="63" y="70"/>
                        <a:pt x="63" y="70"/>
                      </a:cubicBez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70" y="63"/>
                        <a:pt x="70" y="63"/>
                        <a:pt x="70" y="63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80" y="60"/>
                        <a:pt x="80" y="60"/>
                        <a:pt x="80" y="60"/>
                      </a:cubicBezTo>
                      <a:cubicBezTo>
                        <a:pt x="87" y="55"/>
                        <a:pt x="87" y="55"/>
                        <a:pt x="87" y="55"/>
                      </a:cubicBezTo>
                      <a:cubicBezTo>
                        <a:pt x="93" y="52"/>
                        <a:pt x="93" y="52"/>
                        <a:pt x="93" y="52"/>
                      </a:cubicBezTo>
                      <a:cubicBezTo>
                        <a:pt x="98" y="52"/>
                        <a:pt x="98" y="52"/>
                        <a:pt x="98" y="52"/>
                      </a:cubicBezTo>
                      <a:cubicBezTo>
                        <a:pt x="101" y="50"/>
                        <a:pt x="101" y="50"/>
                        <a:pt x="101" y="50"/>
                      </a:cubicBezTo>
                      <a:cubicBezTo>
                        <a:pt x="105" y="50"/>
                        <a:pt x="105" y="50"/>
                        <a:pt x="105" y="50"/>
                      </a:cubicBezTo>
                      <a:cubicBezTo>
                        <a:pt x="107" y="45"/>
                        <a:pt x="107" y="45"/>
                        <a:pt x="107" y="45"/>
                      </a:cubicBezTo>
                      <a:cubicBezTo>
                        <a:pt x="104" y="39"/>
                        <a:pt x="104" y="39"/>
                        <a:pt x="104" y="39"/>
                      </a:cubicBezTo>
                      <a:cubicBezTo>
                        <a:pt x="102" y="36"/>
                        <a:pt x="102" y="36"/>
                        <a:pt x="102" y="36"/>
                      </a:cubicBezTo>
                      <a:cubicBezTo>
                        <a:pt x="100" y="29"/>
                        <a:pt x="100" y="29"/>
                        <a:pt x="100" y="29"/>
                      </a:cubicBezTo>
                      <a:cubicBezTo>
                        <a:pt x="97" y="25"/>
                        <a:pt x="97" y="25"/>
                        <a:pt x="97" y="25"/>
                      </a:cubicBezTo>
                      <a:cubicBezTo>
                        <a:pt x="93" y="21"/>
                        <a:pt x="93" y="21"/>
                        <a:pt x="93" y="21"/>
                      </a:cubicBezTo>
                      <a:cubicBezTo>
                        <a:pt x="92" y="21"/>
                        <a:pt x="92" y="21"/>
                        <a:pt x="92" y="21"/>
                      </a:cubicBezTo>
                      <a:cubicBezTo>
                        <a:pt x="88" y="21"/>
                        <a:pt x="88" y="21"/>
                        <a:pt x="88" y="21"/>
                      </a:cubicBezTo>
                      <a:cubicBezTo>
                        <a:pt x="81" y="21"/>
                        <a:pt x="81" y="21"/>
                        <a:pt x="81" y="21"/>
                      </a:cubicBezTo>
                      <a:cubicBezTo>
                        <a:pt x="77" y="18"/>
                        <a:pt x="77" y="18"/>
                        <a:pt x="77" y="18"/>
                      </a:cubicBezTo>
                      <a:cubicBezTo>
                        <a:pt x="74" y="15"/>
                        <a:pt x="74" y="15"/>
                        <a:pt x="74" y="15"/>
                      </a:cubicBezTo>
                      <a:cubicBezTo>
                        <a:pt x="72" y="12"/>
                        <a:pt x="72" y="12"/>
                        <a:pt x="72" y="12"/>
                      </a:cubicBezTo>
                      <a:cubicBezTo>
                        <a:pt x="72" y="8"/>
                        <a:pt x="72" y="8"/>
                        <a:pt x="72" y="8"/>
                      </a:cubicBezTo>
                      <a:cubicBezTo>
                        <a:pt x="65" y="3"/>
                        <a:pt x="65" y="3"/>
                        <a:pt x="65" y="3"/>
                      </a:cubicBezTo>
                      <a:cubicBezTo>
                        <a:pt x="59" y="3"/>
                        <a:pt x="59" y="3"/>
                        <a:pt x="59" y="3"/>
                      </a:cubicBezTo>
                      <a:cubicBezTo>
                        <a:pt x="56" y="3"/>
                        <a:pt x="56" y="3"/>
                        <a:pt x="56" y="3"/>
                      </a:cubicBez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47" y="1"/>
                        <a:pt x="47" y="1"/>
                        <a:pt x="47" y="1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8" y="5"/>
                        <a:pt x="38" y="5"/>
                        <a:pt x="38" y="5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3" y="25"/>
                        <a:pt x="33" y="25"/>
                        <a:pt x="33" y="25"/>
                      </a:cubicBezTo>
                      <a:cubicBezTo>
                        <a:pt x="29" y="27"/>
                        <a:pt x="29" y="27"/>
                        <a:pt x="29" y="27"/>
                      </a:cubicBezTo>
                      <a:cubicBezTo>
                        <a:pt x="24" y="34"/>
                        <a:pt x="24" y="34"/>
                        <a:pt x="24" y="34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18" y="43"/>
                        <a:pt x="18" y="43"/>
                        <a:pt x="18" y="43"/>
                      </a:cubicBez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5" y="49"/>
                        <a:pt x="15" y="49"/>
                        <a:pt x="15" y="49"/>
                      </a:cubicBezTo>
                      <a:cubicBezTo>
                        <a:pt x="12" y="51"/>
                        <a:pt x="12" y="51"/>
                        <a:pt x="12" y="51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2" y="71"/>
                        <a:pt x="2" y="71"/>
                        <a:pt x="2" y="71"/>
                      </a:cubicBezTo>
                      <a:cubicBezTo>
                        <a:pt x="6" y="75"/>
                        <a:pt x="6" y="75"/>
                        <a:pt x="6" y="75"/>
                      </a:cubicBezTo>
                      <a:cubicBezTo>
                        <a:pt x="9" y="79"/>
                        <a:pt x="9" y="79"/>
                        <a:pt x="9" y="79"/>
                      </a:cubicBezTo>
                      <a:cubicBezTo>
                        <a:pt x="12" y="83"/>
                        <a:pt x="12" y="83"/>
                        <a:pt x="12" y="83"/>
                      </a:cubicBezTo>
                      <a:cubicBezTo>
                        <a:pt x="12" y="84"/>
                        <a:pt x="12" y="84"/>
                        <a:pt x="12" y="84"/>
                      </a:cubicBezTo>
                      <a:cubicBezTo>
                        <a:pt x="12" y="87"/>
                        <a:pt x="12" y="87"/>
                        <a:pt x="12" y="87"/>
                      </a:cubicBezTo>
                      <a:cubicBezTo>
                        <a:pt x="12" y="94"/>
                        <a:pt x="12" y="94"/>
                        <a:pt x="12" y="94"/>
                      </a:cubicBezTo>
                      <a:cubicBezTo>
                        <a:pt x="13" y="102"/>
                        <a:pt x="13" y="102"/>
                        <a:pt x="13" y="102"/>
                      </a:cubicBezTo>
                      <a:cubicBezTo>
                        <a:pt x="15" y="102"/>
                        <a:pt x="15" y="102"/>
                        <a:pt x="15" y="102"/>
                      </a:cubicBezTo>
                      <a:lnTo>
                        <a:pt x="18" y="10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  <p:sp>
              <p:nvSpPr>
                <p:cNvPr id="85" name="Freeform 20"/>
                <p:cNvSpPr>
                  <a:spLocks/>
                </p:cNvSpPr>
                <p:nvPr/>
              </p:nvSpPr>
              <p:spPr bwMode="auto">
                <a:xfrm>
                  <a:off x="4007591" y="2367059"/>
                  <a:ext cx="176617" cy="196839"/>
                </a:xfrm>
                <a:custGeom>
                  <a:avLst/>
                  <a:gdLst>
                    <a:gd name="T0" fmla="*/ 2 w 95"/>
                    <a:gd name="T1" fmla="*/ 104 h 106"/>
                    <a:gd name="T2" fmla="*/ 6 w 95"/>
                    <a:gd name="T3" fmla="*/ 96 h 106"/>
                    <a:gd name="T4" fmla="*/ 47 w 95"/>
                    <a:gd name="T5" fmla="*/ 104 h 106"/>
                    <a:gd name="T6" fmla="*/ 52 w 95"/>
                    <a:gd name="T7" fmla="*/ 106 h 106"/>
                    <a:gd name="T8" fmla="*/ 84 w 95"/>
                    <a:gd name="T9" fmla="*/ 106 h 106"/>
                    <a:gd name="T10" fmla="*/ 93 w 95"/>
                    <a:gd name="T11" fmla="*/ 13 h 106"/>
                    <a:gd name="T12" fmla="*/ 87 w 95"/>
                    <a:gd name="T13" fmla="*/ 13 h 106"/>
                    <a:gd name="T14" fmla="*/ 88 w 95"/>
                    <a:gd name="T15" fmla="*/ 21 h 106"/>
                    <a:gd name="T16" fmla="*/ 89 w 95"/>
                    <a:gd name="T17" fmla="*/ 25 h 106"/>
                    <a:gd name="T18" fmla="*/ 87 w 95"/>
                    <a:gd name="T19" fmla="*/ 29 h 106"/>
                    <a:gd name="T20" fmla="*/ 82 w 95"/>
                    <a:gd name="T21" fmla="*/ 26 h 106"/>
                    <a:gd name="T22" fmla="*/ 80 w 95"/>
                    <a:gd name="T23" fmla="*/ 31 h 106"/>
                    <a:gd name="T24" fmla="*/ 76 w 95"/>
                    <a:gd name="T25" fmla="*/ 33 h 106"/>
                    <a:gd name="T26" fmla="*/ 76 w 95"/>
                    <a:gd name="T27" fmla="*/ 27 h 106"/>
                    <a:gd name="T28" fmla="*/ 78 w 95"/>
                    <a:gd name="T29" fmla="*/ 21 h 106"/>
                    <a:gd name="T30" fmla="*/ 72 w 95"/>
                    <a:gd name="T31" fmla="*/ 13 h 106"/>
                    <a:gd name="T32" fmla="*/ 65 w 95"/>
                    <a:gd name="T33" fmla="*/ 11 h 106"/>
                    <a:gd name="T34" fmla="*/ 58 w 95"/>
                    <a:gd name="T35" fmla="*/ 17 h 106"/>
                    <a:gd name="T36" fmla="*/ 51 w 95"/>
                    <a:gd name="T37" fmla="*/ 19 h 106"/>
                    <a:gd name="T38" fmla="*/ 52 w 95"/>
                    <a:gd name="T39" fmla="*/ 14 h 106"/>
                    <a:gd name="T40" fmla="*/ 57 w 95"/>
                    <a:gd name="T41" fmla="*/ 3 h 106"/>
                    <a:gd name="T42" fmla="*/ 49 w 95"/>
                    <a:gd name="T43" fmla="*/ 0 h 106"/>
                    <a:gd name="T44" fmla="*/ 32 w 95"/>
                    <a:gd name="T45" fmla="*/ 4 h 106"/>
                    <a:gd name="T46" fmla="*/ 16 w 95"/>
                    <a:gd name="T47" fmla="*/ 13 h 106"/>
                    <a:gd name="T48" fmla="*/ 12 w 95"/>
                    <a:gd name="T49" fmla="*/ 24 h 106"/>
                    <a:gd name="T50" fmla="*/ 3 w 95"/>
                    <a:gd name="T51" fmla="*/ 30 h 106"/>
                    <a:gd name="T52" fmla="*/ 0 w 95"/>
                    <a:gd name="T53" fmla="*/ 39 h 106"/>
                    <a:gd name="T54" fmla="*/ 3 w 95"/>
                    <a:gd name="T55" fmla="*/ 42 h 106"/>
                    <a:gd name="T56" fmla="*/ 11 w 95"/>
                    <a:gd name="T57" fmla="*/ 42 h 106"/>
                    <a:gd name="T58" fmla="*/ 8 w 95"/>
                    <a:gd name="T59" fmla="*/ 45 h 106"/>
                    <a:gd name="T60" fmla="*/ 5 w 95"/>
                    <a:gd name="T61" fmla="*/ 50 h 106"/>
                    <a:gd name="T62" fmla="*/ 15 w 95"/>
                    <a:gd name="T63" fmla="*/ 49 h 106"/>
                    <a:gd name="T64" fmla="*/ 23 w 95"/>
                    <a:gd name="T65" fmla="*/ 49 h 106"/>
                    <a:gd name="T66" fmla="*/ 31 w 95"/>
                    <a:gd name="T67" fmla="*/ 53 h 106"/>
                    <a:gd name="T68" fmla="*/ 22 w 95"/>
                    <a:gd name="T69" fmla="*/ 53 h 106"/>
                    <a:gd name="T70" fmla="*/ 12 w 95"/>
                    <a:gd name="T71" fmla="*/ 55 h 106"/>
                    <a:gd name="T72" fmla="*/ 5 w 95"/>
                    <a:gd name="T73" fmla="*/ 56 h 106"/>
                    <a:gd name="T74" fmla="*/ 2 w 95"/>
                    <a:gd name="T75" fmla="*/ 63 h 106"/>
                    <a:gd name="T76" fmla="*/ 6 w 95"/>
                    <a:gd name="T77" fmla="*/ 74 h 106"/>
                    <a:gd name="T78" fmla="*/ 24 w 95"/>
                    <a:gd name="T79" fmla="*/ 80 h 106"/>
                    <a:gd name="T80" fmla="*/ 38 w 95"/>
                    <a:gd name="T81" fmla="*/ 78 h 106"/>
                    <a:gd name="T82" fmla="*/ 48 w 95"/>
                    <a:gd name="T83" fmla="*/ 83 h 106"/>
                    <a:gd name="T84" fmla="*/ 55 w 95"/>
                    <a:gd name="T85" fmla="*/ 87 h 106"/>
                    <a:gd name="T86" fmla="*/ 62 w 95"/>
                    <a:gd name="T87" fmla="*/ 92 h 106"/>
                    <a:gd name="T88" fmla="*/ 54 w 95"/>
                    <a:gd name="T89" fmla="*/ 93 h 106"/>
                    <a:gd name="T90" fmla="*/ 32 w 95"/>
                    <a:gd name="T91" fmla="*/ 88 h 106"/>
                    <a:gd name="T92" fmla="*/ 23 w 95"/>
                    <a:gd name="T93" fmla="*/ 88 h 106"/>
                    <a:gd name="T94" fmla="*/ 10 w 95"/>
                    <a:gd name="T95" fmla="*/ 88 h 106"/>
                    <a:gd name="T96" fmla="*/ 0 w 95"/>
                    <a:gd name="T97" fmla="*/ 92 h 106"/>
                    <a:gd name="T98" fmla="*/ 0 w 95"/>
                    <a:gd name="T99" fmla="*/ 10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106">
                      <a:moveTo>
                        <a:pt x="0" y="104"/>
                      </a:moveTo>
                      <a:cubicBezTo>
                        <a:pt x="2" y="104"/>
                        <a:pt x="2" y="104"/>
                        <a:pt x="2" y="104"/>
                      </a:cubicBezTo>
                      <a:cubicBezTo>
                        <a:pt x="6" y="104"/>
                        <a:pt x="6" y="104"/>
                        <a:pt x="6" y="104"/>
                      </a:cubicBezTo>
                      <a:cubicBezTo>
                        <a:pt x="6" y="96"/>
                        <a:pt x="6" y="96"/>
                        <a:pt x="6" y="96"/>
                      </a:cubicBezTo>
                      <a:cubicBezTo>
                        <a:pt x="47" y="100"/>
                        <a:pt x="47" y="100"/>
                        <a:pt x="47" y="100"/>
                      </a:cubicBezTo>
                      <a:cubicBezTo>
                        <a:pt x="47" y="104"/>
                        <a:pt x="47" y="104"/>
                        <a:pt x="47" y="104"/>
                      </a:cubicBezTo>
                      <a:cubicBezTo>
                        <a:pt x="49" y="106"/>
                        <a:pt x="49" y="106"/>
                        <a:pt x="49" y="106"/>
                      </a:cubicBezTo>
                      <a:cubicBezTo>
                        <a:pt x="52" y="106"/>
                        <a:pt x="52" y="106"/>
                        <a:pt x="52" y="106"/>
                      </a:cubicBezTo>
                      <a:cubicBezTo>
                        <a:pt x="55" y="101"/>
                        <a:pt x="55" y="101"/>
                        <a:pt x="55" y="101"/>
                      </a:cubicBezTo>
                      <a:cubicBezTo>
                        <a:pt x="84" y="106"/>
                        <a:pt x="84" y="106"/>
                        <a:pt x="84" y="106"/>
                      </a:cubicBezTo>
                      <a:cubicBezTo>
                        <a:pt x="95" y="17"/>
                        <a:pt x="95" y="17"/>
                        <a:pt x="95" y="17"/>
                      </a:cubicBezTo>
                      <a:cubicBezTo>
                        <a:pt x="93" y="13"/>
                        <a:pt x="93" y="13"/>
                        <a:pt x="93" y="13"/>
                      </a:cubicBezTo>
                      <a:cubicBezTo>
                        <a:pt x="89" y="11"/>
                        <a:pt x="89" y="11"/>
                        <a:pt x="89" y="11"/>
                      </a:cubicBezTo>
                      <a:cubicBezTo>
                        <a:pt x="87" y="13"/>
                        <a:pt x="87" y="13"/>
                        <a:pt x="87" y="13"/>
                      </a:cubicBezTo>
                      <a:cubicBezTo>
                        <a:pt x="88" y="18"/>
                        <a:pt x="88" y="18"/>
                        <a:pt x="88" y="18"/>
                      </a:cubicBezTo>
                      <a:cubicBezTo>
                        <a:pt x="88" y="18"/>
                        <a:pt x="88" y="20"/>
                        <a:pt x="88" y="21"/>
                      </a:cubicBezTo>
                      <a:cubicBezTo>
                        <a:pt x="88" y="22"/>
                        <a:pt x="88" y="22"/>
                        <a:pt x="88" y="22"/>
                      </a:cubicBezTo>
                      <a:cubicBezTo>
                        <a:pt x="89" y="25"/>
                        <a:pt x="89" y="25"/>
                        <a:pt x="89" y="25"/>
                      </a:cubicBezTo>
                      <a:cubicBezTo>
                        <a:pt x="89" y="28"/>
                        <a:pt x="89" y="28"/>
                        <a:pt x="89" y="28"/>
                      </a:cubicBezTo>
                      <a:cubicBezTo>
                        <a:pt x="87" y="29"/>
                        <a:pt x="87" y="29"/>
                        <a:pt x="87" y="29"/>
                      </a:cubicBezTo>
                      <a:cubicBezTo>
                        <a:pt x="84" y="26"/>
                        <a:pt x="84" y="26"/>
                        <a:pt x="84" y="26"/>
                      </a:cubicBezTo>
                      <a:cubicBezTo>
                        <a:pt x="82" y="26"/>
                        <a:pt x="82" y="26"/>
                        <a:pt x="82" y="26"/>
                      </a:cubicBezTo>
                      <a:cubicBezTo>
                        <a:pt x="81" y="29"/>
                        <a:pt x="81" y="29"/>
                        <a:pt x="81" y="29"/>
                      </a:cubicBezTo>
                      <a:cubicBezTo>
                        <a:pt x="80" y="31"/>
                        <a:pt x="80" y="31"/>
                        <a:pt x="80" y="31"/>
                      </a:cubicBezTo>
                      <a:cubicBezTo>
                        <a:pt x="79" y="33"/>
                        <a:pt x="79" y="33"/>
                        <a:pt x="79" y="33"/>
                      </a:cubicBezTo>
                      <a:cubicBezTo>
                        <a:pt x="76" y="33"/>
                        <a:pt x="76" y="33"/>
                        <a:pt x="76" y="33"/>
                      </a:cubicBezTo>
                      <a:cubicBezTo>
                        <a:pt x="74" y="31"/>
                        <a:pt x="74" y="31"/>
                        <a:pt x="74" y="31"/>
                      </a:cubicBezTo>
                      <a:cubicBezTo>
                        <a:pt x="76" y="27"/>
                        <a:pt x="76" y="27"/>
                        <a:pt x="76" y="27"/>
                      </a:cubicBezTo>
                      <a:cubicBezTo>
                        <a:pt x="78" y="25"/>
                        <a:pt x="78" y="25"/>
                        <a:pt x="78" y="25"/>
                      </a:cubicBezTo>
                      <a:cubicBezTo>
                        <a:pt x="78" y="21"/>
                        <a:pt x="78" y="21"/>
                        <a:pt x="78" y="21"/>
                      </a:cubicBezTo>
                      <a:cubicBezTo>
                        <a:pt x="76" y="18"/>
                        <a:pt x="76" y="18"/>
                        <a:pt x="76" y="18"/>
                      </a:cubicBezTo>
                      <a:cubicBezTo>
                        <a:pt x="72" y="13"/>
                        <a:pt x="72" y="13"/>
                        <a:pt x="72" y="13"/>
                      </a:cubicBezTo>
                      <a:cubicBezTo>
                        <a:pt x="69" y="11"/>
                        <a:pt x="69" y="11"/>
                        <a:pt x="69" y="11"/>
                      </a:cubicBezTo>
                      <a:cubicBezTo>
                        <a:pt x="65" y="11"/>
                        <a:pt x="65" y="11"/>
                        <a:pt x="65" y="11"/>
                      </a:cubicBezTo>
                      <a:cubicBezTo>
                        <a:pt x="62" y="13"/>
                        <a:pt x="62" y="13"/>
                        <a:pt x="62" y="13"/>
                      </a:cubicBezTo>
                      <a:cubicBezTo>
                        <a:pt x="58" y="17"/>
                        <a:pt x="58" y="17"/>
                        <a:pt x="58" y="17"/>
                      </a:cubicBezTo>
                      <a:cubicBezTo>
                        <a:pt x="55" y="17"/>
                        <a:pt x="55" y="17"/>
                        <a:pt x="55" y="17"/>
                      </a:cubicBezTo>
                      <a:cubicBezTo>
                        <a:pt x="51" y="19"/>
                        <a:pt x="51" y="19"/>
                        <a:pt x="51" y="19"/>
                      </a:cubicBezTo>
                      <a:cubicBezTo>
                        <a:pt x="49" y="18"/>
                        <a:pt x="49" y="18"/>
                        <a:pt x="49" y="18"/>
                      </a:cubicBezTo>
                      <a:cubicBezTo>
                        <a:pt x="52" y="14"/>
                        <a:pt x="52" y="14"/>
                        <a:pt x="52" y="14"/>
                      </a:cubicBezTo>
                      <a:cubicBezTo>
                        <a:pt x="55" y="9"/>
                        <a:pt x="55" y="9"/>
                        <a:pt x="55" y="9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55" y="0"/>
                        <a:pt x="55" y="0"/>
                        <a:pt x="55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16" y="13"/>
                        <a:pt x="16" y="13"/>
                        <a:pt x="16" y="13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0" y="41"/>
                        <a:pt x="2" y="42"/>
                        <a:pt x="3" y="42"/>
                      </a:cubicBezTo>
                      <a:cubicBezTo>
                        <a:pt x="5" y="42"/>
                        <a:pt x="8" y="42"/>
                        <a:pt x="8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1" y="45"/>
                        <a:pt x="11" y="45"/>
                        <a:pt x="11" y="45"/>
                      </a:cubicBezTo>
                      <a:cubicBezTo>
                        <a:pt x="8" y="45"/>
                        <a:pt x="8" y="45"/>
                        <a:pt x="8" y="45"/>
                      </a:cubicBezTo>
                      <a:cubicBezTo>
                        <a:pt x="4" y="47"/>
                        <a:pt x="4" y="47"/>
                        <a:pt x="4" y="47"/>
                      </a:cubicBez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8" y="51"/>
                        <a:pt x="8" y="51"/>
                        <a:pt x="8" y="51"/>
                      </a:cubicBezTo>
                      <a:cubicBezTo>
                        <a:pt x="15" y="49"/>
                        <a:pt x="15" y="49"/>
                        <a:pt x="15" y="49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23" y="49"/>
                        <a:pt x="23" y="49"/>
                        <a:pt x="23" y="49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8" y="53"/>
                        <a:pt x="28" y="53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19" y="55"/>
                        <a:pt x="19" y="55"/>
                        <a:pt x="19" y="55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9" y="56"/>
                        <a:pt x="9" y="56"/>
                        <a:pt x="9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2" y="59"/>
                        <a:pt x="2" y="59"/>
                        <a:pt x="2" y="59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4" y="68"/>
                        <a:pt x="4" y="68"/>
                        <a:pt x="4" y="68"/>
                      </a:cubicBezTo>
                      <a:cubicBezTo>
                        <a:pt x="6" y="74"/>
                        <a:pt x="6" y="74"/>
                        <a:pt x="6" y="74"/>
                      </a:cubicBezTo>
                      <a:cubicBezTo>
                        <a:pt x="13" y="75"/>
                        <a:pt x="13" y="75"/>
                        <a:pt x="13" y="75"/>
                      </a:cubicBezTo>
                      <a:cubicBezTo>
                        <a:pt x="24" y="80"/>
                        <a:pt x="24" y="80"/>
                        <a:pt x="24" y="80"/>
                      </a:cubicBezTo>
                      <a:cubicBezTo>
                        <a:pt x="29" y="80"/>
                        <a:pt x="29" y="80"/>
                        <a:pt x="29" y="80"/>
                      </a:cubicBezTo>
                      <a:cubicBezTo>
                        <a:pt x="38" y="78"/>
                        <a:pt x="38" y="78"/>
                        <a:pt x="38" y="78"/>
                      </a:cubicBezTo>
                      <a:cubicBezTo>
                        <a:pt x="43" y="80"/>
                        <a:pt x="43" y="80"/>
                        <a:pt x="43" y="80"/>
                      </a:cubicBezTo>
                      <a:cubicBezTo>
                        <a:pt x="48" y="83"/>
                        <a:pt x="48" y="83"/>
                        <a:pt x="48" y="83"/>
                      </a:cubicBezTo>
                      <a:cubicBezTo>
                        <a:pt x="53" y="85"/>
                        <a:pt x="53" y="85"/>
                        <a:pt x="53" y="85"/>
                      </a:cubicBezTo>
                      <a:cubicBezTo>
                        <a:pt x="55" y="87"/>
                        <a:pt x="55" y="87"/>
                        <a:pt x="55" y="87"/>
                      </a:cubicBezTo>
                      <a:cubicBezTo>
                        <a:pt x="62" y="89"/>
                        <a:pt x="62" y="89"/>
                        <a:pt x="62" y="89"/>
                      </a:cubicBezTo>
                      <a:cubicBezTo>
                        <a:pt x="62" y="92"/>
                        <a:pt x="62" y="92"/>
                        <a:pt x="62" y="92"/>
                      </a:cubicBezTo>
                      <a:cubicBezTo>
                        <a:pt x="58" y="94"/>
                        <a:pt x="58" y="94"/>
                        <a:pt x="58" y="94"/>
                      </a:cubicBezTo>
                      <a:cubicBezTo>
                        <a:pt x="54" y="93"/>
                        <a:pt x="54" y="93"/>
                        <a:pt x="54" y="93"/>
                      </a:cubicBezTo>
                      <a:cubicBezTo>
                        <a:pt x="39" y="91"/>
                        <a:pt x="39" y="91"/>
                        <a:pt x="39" y="91"/>
                      </a:cubicBezTo>
                      <a:cubicBezTo>
                        <a:pt x="32" y="88"/>
                        <a:pt x="32" y="88"/>
                        <a:pt x="32" y="88"/>
                      </a:cubicBezTo>
                      <a:cubicBezTo>
                        <a:pt x="28" y="88"/>
                        <a:pt x="28" y="88"/>
                        <a:pt x="28" y="88"/>
                      </a:cubicBezTo>
                      <a:cubicBezTo>
                        <a:pt x="23" y="88"/>
                        <a:pt x="23" y="88"/>
                        <a:pt x="23" y="88"/>
                      </a:cubicBezTo>
                      <a:cubicBezTo>
                        <a:pt x="14" y="88"/>
                        <a:pt x="14" y="88"/>
                        <a:pt x="14" y="88"/>
                      </a:cubicBezTo>
                      <a:cubicBezTo>
                        <a:pt x="10" y="88"/>
                        <a:pt x="10" y="88"/>
                        <a:pt x="10" y="88"/>
                      </a:cubicBezTo>
                      <a:cubicBezTo>
                        <a:pt x="2" y="89"/>
                        <a:pt x="2" y="89"/>
                        <a:pt x="2" y="89"/>
                      </a:cubicBezTo>
                      <a:cubicBezTo>
                        <a:pt x="0" y="92"/>
                        <a:pt x="0" y="92"/>
                        <a:pt x="0" y="92"/>
                      </a:cubicBezTo>
                      <a:cubicBezTo>
                        <a:pt x="0" y="96"/>
                        <a:pt x="0" y="96"/>
                        <a:pt x="0" y="96"/>
                      </a:cubicBez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  <p:sp>
              <p:nvSpPr>
                <p:cNvPr id="86" name="Freeform 21"/>
                <p:cNvSpPr>
                  <a:spLocks/>
                </p:cNvSpPr>
                <p:nvPr/>
              </p:nvSpPr>
              <p:spPr bwMode="auto">
                <a:xfrm>
                  <a:off x="4093877" y="2187746"/>
                  <a:ext cx="113250" cy="117295"/>
                </a:xfrm>
                <a:custGeom>
                  <a:avLst/>
                  <a:gdLst>
                    <a:gd name="T0" fmla="*/ 52 w 61"/>
                    <a:gd name="T1" fmla="*/ 52 h 63"/>
                    <a:gd name="T2" fmla="*/ 43 w 61"/>
                    <a:gd name="T3" fmla="*/ 61 h 63"/>
                    <a:gd name="T4" fmla="*/ 30 w 61"/>
                    <a:gd name="T5" fmla="*/ 63 h 63"/>
                    <a:gd name="T6" fmla="*/ 25 w 61"/>
                    <a:gd name="T7" fmla="*/ 60 h 63"/>
                    <a:gd name="T8" fmla="*/ 22 w 61"/>
                    <a:gd name="T9" fmla="*/ 53 h 63"/>
                    <a:gd name="T10" fmla="*/ 33 w 61"/>
                    <a:gd name="T11" fmla="*/ 48 h 63"/>
                    <a:gd name="T12" fmla="*/ 40 w 61"/>
                    <a:gd name="T13" fmla="*/ 47 h 63"/>
                    <a:gd name="T14" fmla="*/ 46 w 61"/>
                    <a:gd name="T15" fmla="*/ 47 h 63"/>
                    <a:gd name="T16" fmla="*/ 43 w 61"/>
                    <a:gd name="T17" fmla="*/ 42 h 63"/>
                    <a:gd name="T18" fmla="*/ 40 w 61"/>
                    <a:gd name="T19" fmla="*/ 39 h 63"/>
                    <a:gd name="T20" fmla="*/ 33 w 61"/>
                    <a:gd name="T21" fmla="*/ 40 h 63"/>
                    <a:gd name="T22" fmla="*/ 29 w 61"/>
                    <a:gd name="T23" fmla="*/ 40 h 63"/>
                    <a:gd name="T24" fmla="*/ 30 w 61"/>
                    <a:gd name="T25" fmla="*/ 35 h 63"/>
                    <a:gd name="T26" fmla="*/ 31 w 61"/>
                    <a:gd name="T27" fmla="*/ 33 h 63"/>
                    <a:gd name="T28" fmla="*/ 24 w 61"/>
                    <a:gd name="T29" fmla="*/ 36 h 63"/>
                    <a:gd name="T30" fmla="*/ 21 w 61"/>
                    <a:gd name="T31" fmla="*/ 42 h 63"/>
                    <a:gd name="T32" fmla="*/ 17 w 61"/>
                    <a:gd name="T33" fmla="*/ 39 h 63"/>
                    <a:gd name="T34" fmla="*/ 12 w 61"/>
                    <a:gd name="T35" fmla="*/ 39 h 63"/>
                    <a:gd name="T36" fmla="*/ 9 w 61"/>
                    <a:gd name="T37" fmla="*/ 39 h 63"/>
                    <a:gd name="T38" fmla="*/ 3 w 61"/>
                    <a:gd name="T39" fmla="*/ 33 h 63"/>
                    <a:gd name="T40" fmla="*/ 0 w 61"/>
                    <a:gd name="T41" fmla="*/ 28 h 63"/>
                    <a:gd name="T42" fmla="*/ 11 w 61"/>
                    <a:gd name="T43" fmla="*/ 26 h 63"/>
                    <a:gd name="T44" fmla="*/ 16 w 61"/>
                    <a:gd name="T45" fmla="*/ 26 h 63"/>
                    <a:gd name="T46" fmla="*/ 20 w 61"/>
                    <a:gd name="T47" fmla="*/ 21 h 63"/>
                    <a:gd name="T48" fmla="*/ 13 w 61"/>
                    <a:gd name="T49" fmla="*/ 21 h 63"/>
                    <a:gd name="T50" fmla="*/ 8 w 61"/>
                    <a:gd name="T51" fmla="*/ 21 h 63"/>
                    <a:gd name="T52" fmla="*/ 9 w 61"/>
                    <a:gd name="T53" fmla="*/ 18 h 63"/>
                    <a:gd name="T54" fmla="*/ 17 w 61"/>
                    <a:gd name="T55" fmla="*/ 16 h 63"/>
                    <a:gd name="T56" fmla="*/ 23 w 61"/>
                    <a:gd name="T57" fmla="*/ 13 h 63"/>
                    <a:gd name="T58" fmla="*/ 13 w 61"/>
                    <a:gd name="T59" fmla="*/ 13 h 63"/>
                    <a:gd name="T60" fmla="*/ 17 w 61"/>
                    <a:gd name="T61" fmla="*/ 9 h 63"/>
                    <a:gd name="T62" fmla="*/ 20 w 61"/>
                    <a:gd name="T63" fmla="*/ 7 h 63"/>
                    <a:gd name="T64" fmla="*/ 27 w 61"/>
                    <a:gd name="T65" fmla="*/ 0 h 63"/>
                    <a:gd name="T66" fmla="*/ 32 w 61"/>
                    <a:gd name="T67" fmla="*/ 0 h 63"/>
                    <a:gd name="T68" fmla="*/ 34 w 61"/>
                    <a:gd name="T69" fmla="*/ 5 h 63"/>
                    <a:gd name="T70" fmla="*/ 39 w 61"/>
                    <a:gd name="T71" fmla="*/ 8 h 63"/>
                    <a:gd name="T72" fmla="*/ 44 w 61"/>
                    <a:gd name="T73" fmla="*/ 13 h 63"/>
                    <a:gd name="T74" fmla="*/ 49 w 61"/>
                    <a:gd name="T75" fmla="*/ 22 h 63"/>
                    <a:gd name="T76" fmla="*/ 53 w 61"/>
                    <a:gd name="T77" fmla="*/ 31 h 63"/>
                    <a:gd name="T78" fmla="*/ 59 w 61"/>
                    <a:gd name="T79" fmla="*/ 31 h 63"/>
                    <a:gd name="T80" fmla="*/ 61 w 61"/>
                    <a:gd name="T81" fmla="*/ 3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1" h="63">
                      <a:moveTo>
                        <a:pt x="59" y="52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47" y="57"/>
                        <a:pt x="47" y="57"/>
                        <a:pt x="47" y="57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35" y="63"/>
                        <a:pt x="35" y="63"/>
                        <a:pt x="35" y="63"/>
                      </a:cubicBezTo>
                      <a:cubicBezTo>
                        <a:pt x="30" y="63"/>
                        <a:pt x="30" y="63"/>
                        <a:pt x="30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2" y="57"/>
                        <a:pt x="22" y="57"/>
                        <a:pt x="22" y="57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21" y="52"/>
                        <a:pt x="21" y="52"/>
                        <a:pt x="21" y="52"/>
                      </a:cubicBezTo>
                      <a:cubicBezTo>
                        <a:pt x="33" y="48"/>
                        <a:pt x="33" y="48"/>
                        <a:pt x="33" y="48"/>
                      </a:cubicBezTo>
                      <a:cubicBezTo>
                        <a:pt x="35" y="48"/>
                        <a:pt x="35" y="48"/>
                        <a:pt x="35" y="48"/>
                      </a:cubicBezTo>
                      <a:cubicBezTo>
                        <a:pt x="35" y="48"/>
                        <a:pt x="39" y="47"/>
                        <a:pt x="40" y="47"/>
                      </a:cubicBezTo>
                      <a:cubicBezTo>
                        <a:pt x="41" y="47"/>
                        <a:pt x="45" y="47"/>
                        <a:pt x="45" y="47"/>
                      </a:cubicBezTo>
                      <a:cubicBezTo>
                        <a:pt x="46" y="47"/>
                        <a:pt x="46" y="47"/>
                        <a:pt x="46" y="47"/>
                      </a:cubicBezTo>
                      <a:cubicBezTo>
                        <a:pt x="49" y="39"/>
                        <a:pt x="49" y="39"/>
                        <a:pt x="49" y="39"/>
                      </a:cubicBezTo>
                      <a:cubicBezTo>
                        <a:pt x="43" y="42"/>
                        <a:pt x="43" y="42"/>
                        <a:pt x="43" y="42"/>
                      </a:cubicBezTo>
                      <a:cubicBezTo>
                        <a:pt x="41" y="42"/>
                        <a:pt x="41" y="42"/>
                        <a:pt x="41" y="42"/>
                      </a:cubicBezTo>
                      <a:cubicBezTo>
                        <a:pt x="40" y="39"/>
                        <a:pt x="40" y="39"/>
                        <a:pt x="40" y="39"/>
                      </a:cubicBezTo>
                      <a:cubicBezTo>
                        <a:pt x="40" y="39"/>
                        <a:pt x="38" y="39"/>
                        <a:pt x="37" y="39"/>
                      </a:cubicBezTo>
                      <a:cubicBezTo>
                        <a:pt x="36" y="39"/>
                        <a:pt x="33" y="40"/>
                        <a:pt x="33" y="40"/>
                      </a:cubicBezTo>
                      <a:cubicBezTo>
                        <a:pt x="31" y="42"/>
                        <a:pt x="31" y="42"/>
                        <a:pt x="31" y="42"/>
                      </a:cubicBezTo>
                      <a:cubicBezTo>
                        <a:pt x="29" y="40"/>
                        <a:pt x="29" y="40"/>
                        <a:pt x="29" y="40"/>
                      </a:cubicBezTo>
                      <a:cubicBezTo>
                        <a:pt x="29" y="39"/>
                        <a:pt x="29" y="39"/>
                        <a:pt x="29" y="39"/>
                      </a:cubicBezTo>
                      <a:cubicBezTo>
                        <a:pt x="29" y="39"/>
                        <a:pt x="28" y="36"/>
                        <a:pt x="30" y="35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26" y="33"/>
                        <a:pt x="26" y="33"/>
                        <a:pt x="26" y="33"/>
                      </a:cubicBez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17" y="41"/>
                        <a:pt x="17" y="41"/>
                        <a:pt x="17" y="41"/>
                      </a:cubicBezTo>
                      <a:cubicBezTo>
                        <a:pt x="17" y="39"/>
                        <a:pt x="17" y="39"/>
                        <a:pt x="17" y="39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2" y="39"/>
                        <a:pt x="12" y="39"/>
                        <a:pt x="12" y="39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9" y="39"/>
                        <a:pt x="9" y="39"/>
                        <a:pt x="9" y="39"/>
                      </a:cubicBezTo>
                      <a:cubicBezTo>
                        <a:pt x="7" y="36"/>
                        <a:pt x="7" y="36"/>
                        <a:pt x="7" y="36"/>
                      </a:cubicBezTo>
                      <a:cubicBezTo>
                        <a:pt x="3" y="33"/>
                        <a:pt x="3" y="33"/>
                        <a:pt x="3" y="33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11" y="26"/>
                        <a:pt x="11" y="26"/>
                        <a:pt x="11" y="26"/>
                      </a:cubicBezTo>
                      <a:cubicBezTo>
                        <a:pt x="12" y="26"/>
                        <a:pt x="12" y="26"/>
                        <a:pt x="12" y="26"/>
                      </a:cubicBezTo>
                      <a:cubicBezTo>
                        <a:pt x="16" y="26"/>
                        <a:pt x="16" y="26"/>
                        <a:pt x="16" y="26"/>
                      </a:cubicBezTo>
                      <a:cubicBezTo>
                        <a:pt x="21" y="24"/>
                        <a:pt x="21" y="24"/>
                        <a:pt x="21" y="24"/>
                      </a:cubicBezTo>
                      <a:cubicBezTo>
                        <a:pt x="20" y="21"/>
                        <a:pt x="20" y="21"/>
                        <a:pt x="20" y="21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8" y="21"/>
                        <a:pt x="8" y="21"/>
                        <a:pt x="8" y="21"/>
                      </a:cubicBez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14" y="16"/>
                        <a:pt x="14" y="16"/>
                        <a:pt x="14" y="16"/>
                      </a:cubicBezTo>
                      <a:cubicBezTo>
                        <a:pt x="17" y="16"/>
                        <a:pt x="17" y="16"/>
                        <a:pt x="17" y="16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7" y="9"/>
                        <a:pt x="17" y="9"/>
                        <a:pt x="17" y="9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20" y="7"/>
                        <a:pt x="20" y="7"/>
                        <a:pt x="20" y="7"/>
                      </a:cubicBezTo>
                      <a:cubicBezTo>
                        <a:pt x="24" y="4"/>
                        <a:pt x="24" y="4"/>
                        <a:pt x="24" y="4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4" y="5"/>
                        <a:pt x="34" y="5"/>
                        <a:pt x="34" y="5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9" y="8"/>
                        <a:pt x="39" y="8"/>
                        <a:pt x="39" y="8"/>
                      </a:cubicBezTo>
                      <a:cubicBezTo>
                        <a:pt x="42" y="10"/>
                        <a:pt x="42" y="10"/>
                        <a:pt x="42" y="10"/>
                      </a:cubicBez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9" y="18"/>
                        <a:pt x="49" y="18"/>
                        <a:pt x="49" y="18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50" y="29"/>
                        <a:pt x="50" y="29"/>
                        <a:pt x="50" y="29"/>
                      </a:cubicBezTo>
                      <a:cubicBezTo>
                        <a:pt x="53" y="31"/>
                        <a:pt x="53" y="31"/>
                        <a:pt x="53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9" y="31"/>
                        <a:pt x="59" y="31"/>
                        <a:pt x="59" y="31"/>
                      </a:cubicBezTo>
                      <a:cubicBezTo>
                        <a:pt x="59" y="33"/>
                        <a:pt x="59" y="33"/>
                        <a:pt x="59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lnTo>
                        <a:pt x="59" y="5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  <p:sp>
              <p:nvSpPr>
                <p:cNvPr id="87" name="Freeform 22"/>
                <p:cNvSpPr>
                  <a:spLocks/>
                </p:cNvSpPr>
                <p:nvPr/>
              </p:nvSpPr>
              <p:spPr bwMode="auto">
                <a:xfrm>
                  <a:off x="4031859" y="2125728"/>
                  <a:ext cx="117295" cy="78196"/>
                </a:xfrm>
                <a:custGeom>
                  <a:avLst/>
                  <a:gdLst>
                    <a:gd name="T0" fmla="*/ 44 w 63"/>
                    <a:gd name="T1" fmla="*/ 33 h 42"/>
                    <a:gd name="T2" fmla="*/ 42 w 63"/>
                    <a:gd name="T3" fmla="*/ 33 h 42"/>
                    <a:gd name="T4" fmla="*/ 39 w 63"/>
                    <a:gd name="T5" fmla="*/ 29 h 42"/>
                    <a:gd name="T6" fmla="*/ 42 w 63"/>
                    <a:gd name="T7" fmla="*/ 27 h 42"/>
                    <a:gd name="T8" fmla="*/ 44 w 63"/>
                    <a:gd name="T9" fmla="*/ 24 h 42"/>
                    <a:gd name="T10" fmla="*/ 44 w 63"/>
                    <a:gd name="T11" fmla="*/ 20 h 42"/>
                    <a:gd name="T12" fmla="*/ 39 w 63"/>
                    <a:gd name="T13" fmla="*/ 20 h 42"/>
                    <a:gd name="T14" fmla="*/ 39 w 63"/>
                    <a:gd name="T15" fmla="*/ 24 h 42"/>
                    <a:gd name="T16" fmla="*/ 38 w 63"/>
                    <a:gd name="T17" fmla="*/ 26 h 42"/>
                    <a:gd name="T18" fmla="*/ 36 w 63"/>
                    <a:gd name="T19" fmla="*/ 26 h 42"/>
                    <a:gd name="T20" fmla="*/ 35 w 63"/>
                    <a:gd name="T21" fmla="*/ 28 h 42"/>
                    <a:gd name="T22" fmla="*/ 33 w 63"/>
                    <a:gd name="T23" fmla="*/ 30 h 42"/>
                    <a:gd name="T24" fmla="*/ 33 w 63"/>
                    <a:gd name="T25" fmla="*/ 33 h 42"/>
                    <a:gd name="T26" fmla="*/ 31 w 63"/>
                    <a:gd name="T27" fmla="*/ 35 h 42"/>
                    <a:gd name="T28" fmla="*/ 27 w 63"/>
                    <a:gd name="T29" fmla="*/ 27 h 42"/>
                    <a:gd name="T30" fmla="*/ 24 w 63"/>
                    <a:gd name="T31" fmla="*/ 33 h 42"/>
                    <a:gd name="T32" fmla="*/ 24 w 63"/>
                    <a:gd name="T33" fmla="*/ 37 h 42"/>
                    <a:gd name="T34" fmla="*/ 18 w 63"/>
                    <a:gd name="T35" fmla="*/ 40 h 42"/>
                    <a:gd name="T36" fmla="*/ 17 w 63"/>
                    <a:gd name="T37" fmla="*/ 42 h 42"/>
                    <a:gd name="T38" fmla="*/ 17 w 63"/>
                    <a:gd name="T39" fmla="*/ 38 h 42"/>
                    <a:gd name="T40" fmla="*/ 17 w 63"/>
                    <a:gd name="T41" fmla="*/ 33 h 42"/>
                    <a:gd name="T42" fmla="*/ 14 w 63"/>
                    <a:gd name="T43" fmla="*/ 36 h 42"/>
                    <a:gd name="T44" fmla="*/ 10 w 63"/>
                    <a:gd name="T45" fmla="*/ 38 h 42"/>
                    <a:gd name="T46" fmla="*/ 8 w 63"/>
                    <a:gd name="T47" fmla="*/ 35 h 42"/>
                    <a:gd name="T48" fmla="*/ 4 w 63"/>
                    <a:gd name="T49" fmla="*/ 36 h 42"/>
                    <a:gd name="T50" fmla="*/ 2 w 63"/>
                    <a:gd name="T51" fmla="*/ 36 h 42"/>
                    <a:gd name="T52" fmla="*/ 2 w 63"/>
                    <a:gd name="T53" fmla="*/ 31 h 42"/>
                    <a:gd name="T54" fmla="*/ 4 w 63"/>
                    <a:gd name="T55" fmla="*/ 31 h 42"/>
                    <a:gd name="T56" fmla="*/ 5 w 63"/>
                    <a:gd name="T57" fmla="*/ 27 h 42"/>
                    <a:gd name="T58" fmla="*/ 10 w 63"/>
                    <a:gd name="T59" fmla="*/ 23 h 42"/>
                    <a:gd name="T60" fmla="*/ 14 w 63"/>
                    <a:gd name="T61" fmla="*/ 21 h 42"/>
                    <a:gd name="T62" fmla="*/ 19 w 63"/>
                    <a:gd name="T63" fmla="*/ 20 h 42"/>
                    <a:gd name="T64" fmla="*/ 25 w 63"/>
                    <a:gd name="T65" fmla="*/ 15 h 42"/>
                    <a:gd name="T66" fmla="*/ 33 w 63"/>
                    <a:gd name="T67" fmla="*/ 10 h 42"/>
                    <a:gd name="T68" fmla="*/ 36 w 63"/>
                    <a:gd name="T69" fmla="*/ 7 h 42"/>
                    <a:gd name="T70" fmla="*/ 41 w 63"/>
                    <a:gd name="T71" fmla="*/ 4 h 42"/>
                    <a:gd name="T72" fmla="*/ 44 w 63"/>
                    <a:gd name="T73" fmla="*/ 2 h 42"/>
                    <a:gd name="T74" fmla="*/ 51 w 63"/>
                    <a:gd name="T75" fmla="*/ 4 h 42"/>
                    <a:gd name="T76" fmla="*/ 54 w 63"/>
                    <a:gd name="T77" fmla="*/ 6 h 42"/>
                    <a:gd name="T78" fmla="*/ 57 w 63"/>
                    <a:gd name="T79" fmla="*/ 2 h 42"/>
                    <a:gd name="T80" fmla="*/ 61 w 63"/>
                    <a:gd name="T81" fmla="*/ 0 h 42"/>
                    <a:gd name="T82" fmla="*/ 63 w 63"/>
                    <a:gd name="T83" fmla="*/ 5 h 42"/>
                    <a:gd name="T84" fmla="*/ 59 w 63"/>
                    <a:gd name="T85" fmla="*/ 11 h 42"/>
                    <a:gd name="T86" fmla="*/ 58 w 63"/>
                    <a:gd name="T87" fmla="*/ 14 h 42"/>
                    <a:gd name="T88" fmla="*/ 58 w 63"/>
                    <a:gd name="T89" fmla="*/ 23 h 42"/>
                    <a:gd name="T90" fmla="*/ 55 w 63"/>
                    <a:gd name="T91" fmla="*/ 24 h 42"/>
                    <a:gd name="T92" fmla="*/ 50 w 63"/>
                    <a:gd name="T93" fmla="*/ 25 h 42"/>
                    <a:gd name="T94" fmla="*/ 46 w 63"/>
                    <a:gd name="T95" fmla="*/ 27 h 42"/>
                    <a:gd name="T96" fmla="*/ 44 w 63"/>
                    <a:gd name="T97" fmla="*/ 3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3" h="42">
                      <a:moveTo>
                        <a:pt x="44" y="33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cubicBezTo>
                        <a:pt x="39" y="29"/>
                        <a:pt x="42" y="28"/>
                        <a:pt x="42" y="27"/>
                      </a:cubicBezTo>
                      <a:cubicBezTo>
                        <a:pt x="41" y="26"/>
                        <a:pt x="44" y="24"/>
                        <a:pt x="44" y="24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39" y="19"/>
                        <a:pt x="39" y="20"/>
                      </a:cubicBezTo>
                      <a:cubicBezTo>
                        <a:pt x="39" y="20"/>
                        <a:pt x="39" y="24"/>
                        <a:pt x="39" y="24"/>
                      </a:cubicBezTo>
                      <a:cubicBezTo>
                        <a:pt x="39" y="24"/>
                        <a:pt x="39" y="26"/>
                        <a:pt x="38" y="26"/>
                      </a:cubicBezTo>
                      <a:cubicBezTo>
                        <a:pt x="36" y="26"/>
                        <a:pt x="36" y="26"/>
                        <a:pt x="3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27" y="27"/>
                        <a:pt x="27" y="27"/>
                        <a:pt x="27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4" y="37"/>
                        <a:pt x="24" y="37"/>
                        <a:pt x="24" y="37"/>
                      </a:cubicBezTo>
                      <a:cubicBezTo>
                        <a:pt x="18" y="40"/>
                        <a:pt x="18" y="40"/>
                        <a:pt x="18" y="40"/>
                      </a:cubicBezTo>
                      <a:cubicBezTo>
                        <a:pt x="17" y="42"/>
                        <a:pt x="17" y="42"/>
                        <a:pt x="17" y="42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2" y="36"/>
                        <a:pt x="2" y="36"/>
                        <a:pt x="2" y="36"/>
                      </a:cubicBezTo>
                      <a:cubicBezTo>
                        <a:pt x="2" y="36"/>
                        <a:pt x="0" y="31"/>
                        <a:pt x="2" y="31"/>
                      </a:cubicBezTo>
                      <a:cubicBezTo>
                        <a:pt x="4" y="31"/>
                        <a:pt x="4" y="31"/>
                        <a:pt x="4" y="31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cubicBezTo>
                        <a:pt x="33" y="10"/>
                        <a:pt x="33" y="10"/>
                        <a:pt x="33" y="10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6" y="7"/>
                        <a:pt x="40" y="5"/>
                        <a:pt x="41" y="4"/>
                      </a:cubicBezTo>
                      <a:cubicBezTo>
                        <a:pt x="43" y="3"/>
                        <a:pt x="44" y="2"/>
                        <a:pt x="44" y="2"/>
                      </a:cubicBezTo>
                      <a:cubicBezTo>
                        <a:pt x="51" y="4"/>
                        <a:pt x="51" y="4"/>
                        <a:pt x="51" y="4"/>
                      </a:cubicBezTo>
                      <a:cubicBezTo>
                        <a:pt x="54" y="6"/>
                        <a:pt x="54" y="6"/>
                        <a:pt x="54" y="6"/>
                      </a:cubicBezTo>
                      <a:cubicBezTo>
                        <a:pt x="57" y="2"/>
                        <a:pt x="57" y="2"/>
                        <a:pt x="57" y="2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3" y="5"/>
                        <a:pt x="63" y="5"/>
                        <a:pt x="63" y="5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58" y="23"/>
                        <a:pt x="57" y="23"/>
                        <a:pt x="55" y="24"/>
                      </a:cubicBezTo>
                      <a:cubicBezTo>
                        <a:pt x="52" y="25"/>
                        <a:pt x="50" y="25"/>
                        <a:pt x="50" y="25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lnTo>
                        <a:pt x="44" y="33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  <p:sp>
              <p:nvSpPr>
                <p:cNvPr id="88" name="Freeform 23"/>
                <p:cNvSpPr>
                  <a:spLocks/>
                </p:cNvSpPr>
                <p:nvPr/>
              </p:nvSpPr>
              <p:spPr bwMode="auto">
                <a:xfrm>
                  <a:off x="4077699" y="2199880"/>
                  <a:ext cx="26964" cy="26964"/>
                </a:xfrm>
                <a:custGeom>
                  <a:avLst/>
                  <a:gdLst>
                    <a:gd name="T0" fmla="*/ 11 w 14"/>
                    <a:gd name="T1" fmla="*/ 7 h 14"/>
                    <a:gd name="T2" fmla="*/ 7 w 14"/>
                    <a:gd name="T3" fmla="*/ 12 h 14"/>
                    <a:gd name="T4" fmla="*/ 4 w 14"/>
                    <a:gd name="T5" fmla="*/ 14 h 14"/>
                    <a:gd name="T6" fmla="*/ 0 w 14"/>
                    <a:gd name="T7" fmla="*/ 11 h 14"/>
                    <a:gd name="T8" fmla="*/ 0 w 14"/>
                    <a:gd name="T9" fmla="*/ 6 h 14"/>
                    <a:gd name="T10" fmla="*/ 7 w 14"/>
                    <a:gd name="T11" fmla="*/ 2 h 14"/>
                    <a:gd name="T12" fmla="*/ 11 w 14"/>
                    <a:gd name="T13" fmla="*/ 0 h 14"/>
                    <a:gd name="T14" fmla="*/ 14 w 14"/>
                    <a:gd name="T15" fmla="*/ 0 h 14"/>
                    <a:gd name="T16" fmla="*/ 13 w 14"/>
                    <a:gd name="T17" fmla="*/ 2 h 14"/>
                    <a:gd name="T18" fmla="*/ 11 w 14"/>
                    <a:gd name="T19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" h="14">
                      <a:moveTo>
                        <a:pt x="11" y="7"/>
                      </a:moveTo>
                      <a:cubicBezTo>
                        <a:pt x="10" y="8"/>
                        <a:pt x="7" y="12"/>
                        <a:pt x="7" y="12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9"/>
                        <a:pt x="0" y="6"/>
                        <a:pt x="0" y="6"/>
                      </a:cubicBezTo>
                      <a:cubicBezTo>
                        <a:pt x="0" y="6"/>
                        <a:pt x="7" y="2"/>
                        <a:pt x="7" y="2"/>
                      </a:cubicBezTo>
                      <a:cubicBezTo>
                        <a:pt x="8" y="1"/>
                        <a:pt x="11" y="0"/>
                        <a:pt x="1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3" y="2"/>
                        <a:pt x="13" y="2"/>
                        <a:pt x="13" y="2"/>
                      </a:cubicBez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  <p:sp>
              <p:nvSpPr>
                <p:cNvPr id="89" name="Freeform 24"/>
                <p:cNvSpPr>
                  <a:spLocks/>
                </p:cNvSpPr>
                <p:nvPr/>
              </p:nvSpPr>
              <p:spPr bwMode="auto">
                <a:xfrm>
                  <a:off x="4184208" y="2101460"/>
                  <a:ext cx="45839" cy="40446"/>
                </a:xfrm>
                <a:custGeom>
                  <a:avLst/>
                  <a:gdLst>
                    <a:gd name="T0" fmla="*/ 19 w 24"/>
                    <a:gd name="T1" fmla="*/ 20 h 22"/>
                    <a:gd name="T2" fmla="*/ 10 w 24"/>
                    <a:gd name="T3" fmla="*/ 22 h 22"/>
                    <a:gd name="T4" fmla="*/ 6 w 24"/>
                    <a:gd name="T5" fmla="*/ 22 h 22"/>
                    <a:gd name="T6" fmla="*/ 3 w 24"/>
                    <a:gd name="T7" fmla="*/ 20 h 22"/>
                    <a:gd name="T8" fmla="*/ 0 w 24"/>
                    <a:gd name="T9" fmla="*/ 14 h 22"/>
                    <a:gd name="T10" fmla="*/ 2 w 24"/>
                    <a:gd name="T11" fmla="*/ 8 h 22"/>
                    <a:gd name="T12" fmla="*/ 6 w 24"/>
                    <a:gd name="T13" fmla="*/ 5 h 22"/>
                    <a:gd name="T14" fmla="*/ 9 w 24"/>
                    <a:gd name="T15" fmla="*/ 2 h 22"/>
                    <a:gd name="T16" fmla="*/ 12 w 24"/>
                    <a:gd name="T17" fmla="*/ 0 h 22"/>
                    <a:gd name="T18" fmla="*/ 16 w 24"/>
                    <a:gd name="T19" fmla="*/ 0 h 22"/>
                    <a:gd name="T20" fmla="*/ 24 w 24"/>
                    <a:gd name="T21" fmla="*/ 0 h 22"/>
                    <a:gd name="T22" fmla="*/ 24 w 24"/>
                    <a:gd name="T23" fmla="*/ 6 h 22"/>
                    <a:gd name="T24" fmla="*/ 21 w 24"/>
                    <a:gd name="T25" fmla="*/ 11 h 22"/>
                    <a:gd name="T26" fmla="*/ 21 w 24"/>
                    <a:gd name="T27" fmla="*/ 17 h 22"/>
                    <a:gd name="T28" fmla="*/ 19 w 24"/>
                    <a:gd name="T29" fmla="*/ 2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2">
                      <a:moveTo>
                        <a:pt x="19" y="20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6" y="22"/>
                        <a:pt x="6" y="22"/>
                        <a:pt x="6" y="22"/>
                      </a:cubicBezTo>
                      <a:cubicBezTo>
                        <a:pt x="3" y="20"/>
                        <a:pt x="3" y="20"/>
                        <a:pt x="3" y="20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9" y="2"/>
                        <a:pt x="9" y="2"/>
                        <a:pt x="9" y="2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6" y="0"/>
                      </a:cubicBezTo>
                      <a:cubicBezTo>
                        <a:pt x="18" y="0"/>
                        <a:pt x="24" y="0"/>
                        <a:pt x="24" y="0"/>
                      </a:cubicBezTo>
                      <a:cubicBezTo>
                        <a:pt x="24" y="6"/>
                        <a:pt x="24" y="6"/>
                        <a:pt x="24" y="6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21" y="11"/>
                        <a:pt x="22" y="17"/>
                        <a:pt x="21" y="17"/>
                      </a:cubicBezTo>
                      <a:cubicBezTo>
                        <a:pt x="19" y="17"/>
                        <a:pt x="19" y="20"/>
                        <a:pt x="19" y="20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  <p:sp>
              <p:nvSpPr>
                <p:cNvPr id="90" name="Freeform 25"/>
                <p:cNvSpPr>
                  <a:spLocks/>
                </p:cNvSpPr>
                <p:nvPr/>
              </p:nvSpPr>
              <p:spPr bwMode="auto">
                <a:xfrm>
                  <a:off x="4193645" y="2071799"/>
                  <a:ext cx="37750" cy="25616"/>
                </a:xfrm>
                <a:custGeom>
                  <a:avLst/>
                  <a:gdLst>
                    <a:gd name="T0" fmla="*/ 19 w 20"/>
                    <a:gd name="T1" fmla="*/ 10 h 14"/>
                    <a:gd name="T2" fmla="*/ 16 w 20"/>
                    <a:gd name="T3" fmla="*/ 10 h 14"/>
                    <a:gd name="T4" fmla="*/ 12 w 20"/>
                    <a:gd name="T5" fmla="*/ 12 h 14"/>
                    <a:gd name="T6" fmla="*/ 10 w 20"/>
                    <a:gd name="T7" fmla="*/ 14 h 14"/>
                    <a:gd name="T8" fmla="*/ 7 w 20"/>
                    <a:gd name="T9" fmla="*/ 12 h 14"/>
                    <a:gd name="T10" fmla="*/ 4 w 20"/>
                    <a:gd name="T11" fmla="*/ 10 h 14"/>
                    <a:gd name="T12" fmla="*/ 0 w 20"/>
                    <a:gd name="T13" fmla="*/ 6 h 14"/>
                    <a:gd name="T14" fmla="*/ 4 w 20"/>
                    <a:gd name="T15" fmla="*/ 4 h 14"/>
                    <a:gd name="T16" fmla="*/ 9 w 20"/>
                    <a:gd name="T17" fmla="*/ 1 h 14"/>
                    <a:gd name="T18" fmla="*/ 20 w 20"/>
                    <a:gd name="T19" fmla="*/ 1 h 14"/>
                    <a:gd name="T20" fmla="*/ 19 w 20"/>
                    <a:gd name="T21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0" h="14">
                      <a:moveTo>
                        <a:pt x="19" y="10"/>
                      </a:moveTo>
                      <a:cubicBezTo>
                        <a:pt x="16" y="10"/>
                        <a:pt x="16" y="10"/>
                        <a:pt x="16" y="10"/>
                      </a:cubicBezTo>
                      <a:cubicBezTo>
                        <a:pt x="16" y="10"/>
                        <a:pt x="15" y="10"/>
                        <a:pt x="12" y="12"/>
                      </a:cubicBezTo>
                      <a:cubicBezTo>
                        <a:pt x="10" y="14"/>
                        <a:pt x="10" y="14"/>
                        <a:pt x="10" y="14"/>
                      </a:cubicBezTo>
                      <a:cubicBezTo>
                        <a:pt x="10" y="14"/>
                        <a:pt x="9" y="13"/>
                        <a:pt x="7" y="12"/>
                      </a:cubicBezTo>
                      <a:cubicBezTo>
                        <a:pt x="5" y="12"/>
                        <a:pt x="4" y="10"/>
                        <a:pt x="4" y="1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3" y="4"/>
                        <a:pt x="4" y="4"/>
                      </a:cubicBezTo>
                      <a:cubicBezTo>
                        <a:pt x="5" y="3"/>
                        <a:pt x="4" y="2"/>
                        <a:pt x="9" y="1"/>
                      </a:cubicBezTo>
                      <a:cubicBezTo>
                        <a:pt x="14" y="0"/>
                        <a:pt x="20" y="1"/>
                        <a:pt x="20" y="1"/>
                      </a:cubicBezTo>
                      <a:lnTo>
                        <a:pt x="19" y="10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latin typeface="+mj-lt"/>
                  </a:endParaRPr>
                </a:p>
              </p:txBody>
            </p:sp>
          </p:grpSp>
          <p:sp>
            <p:nvSpPr>
              <p:cNvPr id="43" name="Freeform 28"/>
              <p:cNvSpPr>
                <a:spLocks/>
              </p:cNvSpPr>
              <p:nvPr/>
            </p:nvSpPr>
            <p:spPr bwMode="auto">
              <a:xfrm>
                <a:off x="4416101" y="1791371"/>
                <a:ext cx="229197" cy="407160"/>
              </a:xfrm>
              <a:custGeom>
                <a:avLst/>
                <a:gdLst>
                  <a:gd name="T0" fmla="*/ 105 w 123"/>
                  <a:gd name="T1" fmla="*/ 210 h 218"/>
                  <a:gd name="T2" fmla="*/ 112 w 123"/>
                  <a:gd name="T3" fmla="*/ 185 h 218"/>
                  <a:gd name="T4" fmla="*/ 96 w 123"/>
                  <a:gd name="T5" fmla="*/ 185 h 218"/>
                  <a:gd name="T6" fmla="*/ 84 w 123"/>
                  <a:gd name="T7" fmla="*/ 178 h 218"/>
                  <a:gd name="T8" fmla="*/ 100 w 123"/>
                  <a:gd name="T9" fmla="*/ 178 h 218"/>
                  <a:gd name="T10" fmla="*/ 103 w 123"/>
                  <a:gd name="T11" fmla="*/ 162 h 218"/>
                  <a:gd name="T12" fmla="*/ 109 w 123"/>
                  <a:gd name="T13" fmla="*/ 149 h 218"/>
                  <a:gd name="T14" fmla="*/ 106 w 123"/>
                  <a:gd name="T15" fmla="*/ 140 h 218"/>
                  <a:gd name="T16" fmla="*/ 103 w 123"/>
                  <a:gd name="T17" fmla="*/ 127 h 218"/>
                  <a:gd name="T18" fmla="*/ 96 w 123"/>
                  <a:gd name="T19" fmla="*/ 123 h 218"/>
                  <a:gd name="T20" fmla="*/ 99 w 123"/>
                  <a:gd name="T21" fmla="*/ 119 h 218"/>
                  <a:gd name="T22" fmla="*/ 92 w 123"/>
                  <a:gd name="T23" fmla="*/ 111 h 218"/>
                  <a:gd name="T24" fmla="*/ 106 w 123"/>
                  <a:gd name="T25" fmla="*/ 100 h 218"/>
                  <a:gd name="T26" fmla="*/ 116 w 123"/>
                  <a:gd name="T27" fmla="*/ 91 h 218"/>
                  <a:gd name="T28" fmla="*/ 119 w 123"/>
                  <a:gd name="T29" fmla="*/ 55 h 218"/>
                  <a:gd name="T30" fmla="*/ 108 w 123"/>
                  <a:gd name="T31" fmla="*/ 51 h 218"/>
                  <a:gd name="T32" fmla="*/ 104 w 123"/>
                  <a:gd name="T33" fmla="*/ 37 h 218"/>
                  <a:gd name="T34" fmla="*/ 111 w 123"/>
                  <a:gd name="T35" fmla="*/ 6 h 218"/>
                  <a:gd name="T36" fmla="*/ 86 w 123"/>
                  <a:gd name="T37" fmla="*/ 13 h 218"/>
                  <a:gd name="T38" fmla="*/ 70 w 123"/>
                  <a:gd name="T39" fmla="*/ 8 h 218"/>
                  <a:gd name="T40" fmla="*/ 66 w 123"/>
                  <a:gd name="T41" fmla="*/ 18 h 218"/>
                  <a:gd name="T42" fmla="*/ 49 w 123"/>
                  <a:gd name="T43" fmla="*/ 13 h 218"/>
                  <a:gd name="T44" fmla="*/ 53 w 123"/>
                  <a:gd name="T45" fmla="*/ 20 h 218"/>
                  <a:gd name="T46" fmla="*/ 41 w 123"/>
                  <a:gd name="T47" fmla="*/ 19 h 218"/>
                  <a:gd name="T48" fmla="*/ 36 w 123"/>
                  <a:gd name="T49" fmla="*/ 25 h 218"/>
                  <a:gd name="T50" fmla="*/ 32 w 123"/>
                  <a:gd name="T51" fmla="*/ 35 h 218"/>
                  <a:gd name="T52" fmla="*/ 25 w 123"/>
                  <a:gd name="T53" fmla="*/ 34 h 218"/>
                  <a:gd name="T54" fmla="*/ 23 w 123"/>
                  <a:gd name="T55" fmla="*/ 43 h 218"/>
                  <a:gd name="T56" fmla="*/ 5 w 123"/>
                  <a:gd name="T57" fmla="*/ 49 h 218"/>
                  <a:gd name="T58" fmla="*/ 9 w 123"/>
                  <a:gd name="T59" fmla="*/ 62 h 218"/>
                  <a:gd name="T60" fmla="*/ 17 w 123"/>
                  <a:gd name="T61" fmla="*/ 65 h 218"/>
                  <a:gd name="T62" fmla="*/ 25 w 123"/>
                  <a:gd name="T63" fmla="*/ 75 h 218"/>
                  <a:gd name="T64" fmla="*/ 30 w 123"/>
                  <a:gd name="T65" fmla="*/ 76 h 218"/>
                  <a:gd name="T66" fmla="*/ 26 w 123"/>
                  <a:gd name="T67" fmla="*/ 88 h 218"/>
                  <a:gd name="T68" fmla="*/ 45 w 123"/>
                  <a:gd name="T69" fmla="*/ 70 h 218"/>
                  <a:gd name="T70" fmla="*/ 34 w 123"/>
                  <a:gd name="T71" fmla="*/ 87 h 218"/>
                  <a:gd name="T72" fmla="*/ 47 w 123"/>
                  <a:gd name="T73" fmla="*/ 85 h 218"/>
                  <a:gd name="T74" fmla="*/ 66 w 123"/>
                  <a:gd name="T75" fmla="*/ 57 h 218"/>
                  <a:gd name="T76" fmla="*/ 77 w 123"/>
                  <a:gd name="T77" fmla="*/ 70 h 218"/>
                  <a:gd name="T78" fmla="*/ 71 w 123"/>
                  <a:gd name="T79" fmla="*/ 82 h 218"/>
                  <a:gd name="T80" fmla="*/ 55 w 123"/>
                  <a:gd name="T81" fmla="*/ 101 h 218"/>
                  <a:gd name="T82" fmla="*/ 66 w 123"/>
                  <a:gd name="T83" fmla="*/ 115 h 218"/>
                  <a:gd name="T84" fmla="*/ 43 w 123"/>
                  <a:gd name="T85" fmla="*/ 97 h 218"/>
                  <a:gd name="T86" fmla="*/ 44 w 123"/>
                  <a:gd name="T87" fmla="*/ 115 h 218"/>
                  <a:gd name="T88" fmla="*/ 52 w 123"/>
                  <a:gd name="T89" fmla="*/ 134 h 218"/>
                  <a:gd name="T90" fmla="*/ 59 w 123"/>
                  <a:gd name="T91" fmla="*/ 140 h 218"/>
                  <a:gd name="T92" fmla="*/ 42 w 123"/>
                  <a:gd name="T93" fmla="*/ 163 h 218"/>
                  <a:gd name="T94" fmla="*/ 52 w 123"/>
                  <a:gd name="T95" fmla="*/ 163 h 218"/>
                  <a:gd name="T96" fmla="*/ 56 w 123"/>
                  <a:gd name="T97" fmla="*/ 166 h 218"/>
                  <a:gd name="T98" fmla="*/ 63 w 123"/>
                  <a:gd name="T99" fmla="*/ 180 h 218"/>
                  <a:gd name="T100" fmla="*/ 75 w 123"/>
                  <a:gd name="T101" fmla="*/ 160 h 218"/>
                  <a:gd name="T102" fmla="*/ 61 w 123"/>
                  <a:gd name="T103" fmla="*/ 184 h 218"/>
                  <a:gd name="T104" fmla="*/ 42 w 123"/>
                  <a:gd name="T105" fmla="*/ 178 h 218"/>
                  <a:gd name="T106" fmla="*/ 44 w 123"/>
                  <a:gd name="T107" fmla="*/ 195 h 218"/>
                  <a:gd name="T108" fmla="*/ 37 w 123"/>
                  <a:gd name="T109" fmla="*/ 216 h 218"/>
                  <a:gd name="T110" fmla="*/ 50 w 123"/>
                  <a:gd name="T111" fmla="*/ 212 h 218"/>
                  <a:gd name="T112" fmla="*/ 73 w 123"/>
                  <a:gd name="T113" fmla="*/ 218 h 218"/>
                  <a:gd name="T114" fmla="*/ 75 w 123"/>
                  <a:gd name="T115" fmla="*/ 210 h 218"/>
                  <a:gd name="T116" fmla="*/ 83 w 123"/>
                  <a:gd name="T117" fmla="*/ 208 h 218"/>
                  <a:gd name="T118" fmla="*/ 91 w 123"/>
                  <a:gd name="T119" fmla="*/ 209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3" h="218">
                    <a:moveTo>
                      <a:pt x="87" y="200"/>
                    </a:moveTo>
                    <a:cubicBezTo>
                      <a:pt x="92" y="204"/>
                      <a:pt x="92" y="204"/>
                      <a:pt x="92" y="204"/>
                    </a:cubicBezTo>
                    <a:cubicBezTo>
                      <a:pt x="97" y="206"/>
                      <a:pt x="97" y="206"/>
                      <a:pt x="97" y="206"/>
                    </a:cubicBezTo>
                    <a:cubicBezTo>
                      <a:pt x="100" y="207"/>
                      <a:pt x="100" y="207"/>
                      <a:pt x="100" y="207"/>
                    </a:cubicBezTo>
                    <a:cubicBezTo>
                      <a:pt x="100" y="211"/>
                      <a:pt x="100" y="211"/>
                      <a:pt x="100" y="211"/>
                    </a:cubicBezTo>
                    <a:cubicBezTo>
                      <a:pt x="100" y="213"/>
                      <a:pt x="100" y="213"/>
                      <a:pt x="100" y="213"/>
                    </a:cubicBezTo>
                    <a:cubicBezTo>
                      <a:pt x="102" y="213"/>
                      <a:pt x="102" y="213"/>
                      <a:pt x="102" y="213"/>
                    </a:cubicBezTo>
                    <a:cubicBezTo>
                      <a:pt x="105" y="213"/>
                      <a:pt x="105" y="213"/>
                      <a:pt x="105" y="213"/>
                    </a:cubicBezTo>
                    <a:cubicBezTo>
                      <a:pt x="105" y="210"/>
                      <a:pt x="105" y="210"/>
                      <a:pt x="105" y="210"/>
                    </a:cubicBezTo>
                    <a:cubicBezTo>
                      <a:pt x="109" y="208"/>
                      <a:pt x="109" y="208"/>
                      <a:pt x="109" y="208"/>
                    </a:cubicBezTo>
                    <a:cubicBezTo>
                      <a:pt x="111" y="206"/>
                      <a:pt x="111" y="206"/>
                      <a:pt x="111" y="206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4" y="200"/>
                      <a:pt x="114" y="200"/>
                      <a:pt x="114" y="200"/>
                    </a:cubicBezTo>
                    <a:cubicBezTo>
                      <a:pt x="118" y="200"/>
                      <a:pt x="118" y="200"/>
                      <a:pt x="118" y="200"/>
                    </a:cubicBezTo>
                    <a:cubicBezTo>
                      <a:pt x="118" y="197"/>
                      <a:pt x="118" y="197"/>
                      <a:pt x="118" y="197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4" y="185"/>
                      <a:pt x="114" y="185"/>
                      <a:pt x="114" y="185"/>
                    </a:cubicBezTo>
                    <a:cubicBezTo>
                      <a:pt x="112" y="185"/>
                      <a:pt x="112" y="185"/>
                      <a:pt x="112" y="185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06" y="188"/>
                      <a:pt x="106" y="188"/>
                      <a:pt x="106" y="188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107" y="185"/>
                      <a:pt x="107" y="185"/>
                      <a:pt x="107" y="185"/>
                    </a:cubicBezTo>
                    <a:cubicBezTo>
                      <a:pt x="105" y="182"/>
                      <a:pt x="105" y="182"/>
                      <a:pt x="105" y="182"/>
                    </a:cubicBezTo>
                    <a:cubicBezTo>
                      <a:pt x="103" y="182"/>
                      <a:pt x="103" y="182"/>
                      <a:pt x="103" y="182"/>
                    </a:cubicBezTo>
                    <a:cubicBezTo>
                      <a:pt x="99" y="182"/>
                      <a:pt x="99" y="182"/>
                      <a:pt x="99" y="182"/>
                    </a:cubicBezTo>
                    <a:cubicBezTo>
                      <a:pt x="96" y="185"/>
                      <a:pt x="96" y="185"/>
                      <a:pt x="96" y="185"/>
                    </a:cubicBezTo>
                    <a:cubicBezTo>
                      <a:pt x="94" y="182"/>
                      <a:pt x="94" y="182"/>
                      <a:pt x="94" y="182"/>
                    </a:cubicBezTo>
                    <a:cubicBezTo>
                      <a:pt x="92" y="184"/>
                      <a:pt x="92" y="184"/>
                      <a:pt x="92" y="184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7" y="186"/>
                      <a:pt x="87" y="186"/>
                      <a:pt x="87" y="186"/>
                    </a:cubicBezTo>
                    <a:cubicBezTo>
                      <a:pt x="86" y="188"/>
                      <a:pt x="86" y="188"/>
                      <a:pt x="86" y="188"/>
                    </a:cubicBezTo>
                    <a:cubicBezTo>
                      <a:pt x="86" y="185"/>
                      <a:pt x="86" y="185"/>
                      <a:pt x="86" y="185"/>
                    </a:cubicBezTo>
                    <a:cubicBezTo>
                      <a:pt x="86" y="182"/>
                      <a:pt x="86" y="182"/>
                      <a:pt x="86" y="182"/>
                    </a:cubicBezTo>
                    <a:cubicBezTo>
                      <a:pt x="87" y="180"/>
                      <a:pt x="87" y="180"/>
                      <a:pt x="87" y="180"/>
                    </a:cubicBezTo>
                    <a:cubicBezTo>
                      <a:pt x="84" y="178"/>
                      <a:pt x="84" y="178"/>
                      <a:pt x="84" y="178"/>
                    </a:cubicBezTo>
                    <a:cubicBezTo>
                      <a:pt x="82" y="177"/>
                      <a:pt x="82" y="177"/>
                      <a:pt x="82" y="177"/>
                    </a:cubicBezTo>
                    <a:cubicBezTo>
                      <a:pt x="82" y="175"/>
                      <a:pt x="82" y="175"/>
                      <a:pt x="82" y="175"/>
                    </a:cubicBezTo>
                    <a:cubicBezTo>
                      <a:pt x="82" y="173"/>
                      <a:pt x="82" y="173"/>
                      <a:pt x="82" y="173"/>
                    </a:cubicBezTo>
                    <a:cubicBezTo>
                      <a:pt x="86" y="173"/>
                      <a:pt x="86" y="173"/>
                      <a:pt x="86" y="173"/>
                    </a:cubicBezTo>
                    <a:cubicBezTo>
                      <a:pt x="88" y="177"/>
                      <a:pt x="88" y="177"/>
                      <a:pt x="88" y="177"/>
                    </a:cubicBezTo>
                    <a:cubicBezTo>
                      <a:pt x="88" y="179"/>
                      <a:pt x="88" y="179"/>
                      <a:pt x="88" y="179"/>
                    </a:cubicBezTo>
                    <a:cubicBezTo>
                      <a:pt x="91" y="179"/>
                      <a:pt x="91" y="179"/>
                      <a:pt x="91" y="179"/>
                    </a:cubicBezTo>
                    <a:cubicBezTo>
                      <a:pt x="95" y="178"/>
                      <a:pt x="95" y="178"/>
                      <a:pt x="95" y="178"/>
                    </a:cubicBezTo>
                    <a:cubicBezTo>
                      <a:pt x="100" y="178"/>
                      <a:pt x="100" y="178"/>
                      <a:pt x="100" y="178"/>
                    </a:cubicBezTo>
                    <a:cubicBezTo>
                      <a:pt x="102" y="177"/>
                      <a:pt x="102" y="177"/>
                      <a:pt x="102" y="177"/>
                    </a:cubicBezTo>
                    <a:cubicBezTo>
                      <a:pt x="104" y="175"/>
                      <a:pt x="104" y="175"/>
                      <a:pt x="104" y="175"/>
                    </a:cubicBezTo>
                    <a:cubicBezTo>
                      <a:pt x="105" y="173"/>
                      <a:pt x="105" y="173"/>
                      <a:pt x="105" y="173"/>
                    </a:cubicBezTo>
                    <a:cubicBezTo>
                      <a:pt x="107" y="173"/>
                      <a:pt x="107" y="173"/>
                      <a:pt x="107" y="173"/>
                    </a:cubicBezTo>
                    <a:cubicBezTo>
                      <a:pt x="108" y="173"/>
                      <a:pt x="108" y="173"/>
                      <a:pt x="108" y="173"/>
                    </a:cubicBezTo>
                    <a:cubicBezTo>
                      <a:pt x="108" y="170"/>
                      <a:pt x="108" y="170"/>
                      <a:pt x="108" y="170"/>
                    </a:cubicBezTo>
                    <a:cubicBezTo>
                      <a:pt x="107" y="167"/>
                      <a:pt x="107" y="167"/>
                      <a:pt x="107" y="167"/>
                    </a:cubicBezTo>
                    <a:cubicBezTo>
                      <a:pt x="104" y="164"/>
                      <a:pt x="104" y="164"/>
                      <a:pt x="104" y="164"/>
                    </a:cubicBezTo>
                    <a:cubicBezTo>
                      <a:pt x="103" y="162"/>
                      <a:pt x="103" y="162"/>
                      <a:pt x="103" y="162"/>
                    </a:cubicBezTo>
                    <a:cubicBezTo>
                      <a:pt x="101" y="158"/>
                      <a:pt x="101" y="158"/>
                      <a:pt x="101" y="158"/>
                    </a:cubicBezTo>
                    <a:cubicBezTo>
                      <a:pt x="104" y="158"/>
                      <a:pt x="104" y="158"/>
                      <a:pt x="104" y="158"/>
                    </a:cubicBezTo>
                    <a:cubicBezTo>
                      <a:pt x="109" y="158"/>
                      <a:pt x="109" y="158"/>
                      <a:pt x="109" y="158"/>
                    </a:cubicBezTo>
                    <a:cubicBezTo>
                      <a:pt x="111" y="156"/>
                      <a:pt x="111" y="156"/>
                      <a:pt x="111" y="156"/>
                    </a:cubicBezTo>
                    <a:cubicBezTo>
                      <a:pt x="118" y="153"/>
                      <a:pt x="118" y="153"/>
                      <a:pt x="118" y="153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09" y="149"/>
                      <a:pt x="109" y="149"/>
                      <a:pt x="109" y="149"/>
                    </a:cubicBezTo>
                    <a:cubicBezTo>
                      <a:pt x="108" y="149"/>
                      <a:pt x="108" y="149"/>
                      <a:pt x="108" y="149"/>
                    </a:cubicBezTo>
                    <a:cubicBezTo>
                      <a:pt x="109" y="148"/>
                      <a:pt x="109" y="148"/>
                      <a:pt x="109" y="148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4" y="146"/>
                      <a:pt x="114" y="146"/>
                      <a:pt x="114" y="146"/>
                    </a:cubicBezTo>
                    <a:cubicBezTo>
                      <a:pt x="116" y="144"/>
                      <a:pt x="116" y="144"/>
                      <a:pt x="116" y="144"/>
                    </a:cubicBezTo>
                    <a:cubicBezTo>
                      <a:pt x="115" y="141"/>
                      <a:pt x="115" y="141"/>
                      <a:pt x="115" y="141"/>
                    </a:cubicBezTo>
                    <a:cubicBezTo>
                      <a:pt x="112" y="141"/>
                      <a:pt x="112" y="141"/>
                      <a:pt x="112" y="141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6" y="140"/>
                      <a:pt x="106" y="140"/>
                      <a:pt x="106" y="140"/>
                    </a:cubicBezTo>
                    <a:cubicBezTo>
                      <a:pt x="104" y="137"/>
                      <a:pt x="104" y="137"/>
                      <a:pt x="104" y="137"/>
                    </a:cubicBezTo>
                    <a:cubicBezTo>
                      <a:pt x="106" y="137"/>
                      <a:pt x="106" y="137"/>
                      <a:pt x="106" y="137"/>
                    </a:cubicBezTo>
                    <a:cubicBezTo>
                      <a:pt x="111" y="137"/>
                      <a:pt x="111" y="137"/>
                      <a:pt x="111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5" y="134"/>
                      <a:pt x="115" y="134"/>
                      <a:pt x="115" y="134"/>
                    </a:cubicBezTo>
                    <a:cubicBezTo>
                      <a:pt x="115" y="130"/>
                      <a:pt x="115" y="130"/>
                      <a:pt x="115" y="130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106" y="127"/>
                      <a:pt x="106" y="127"/>
                      <a:pt x="106" y="127"/>
                    </a:cubicBezTo>
                    <a:cubicBezTo>
                      <a:pt x="103" y="127"/>
                      <a:pt x="103" y="127"/>
                      <a:pt x="103" y="127"/>
                    </a:cubicBezTo>
                    <a:cubicBezTo>
                      <a:pt x="102" y="127"/>
                      <a:pt x="102" y="127"/>
                      <a:pt x="102" y="127"/>
                    </a:cubicBezTo>
                    <a:cubicBezTo>
                      <a:pt x="102" y="125"/>
                      <a:pt x="102" y="125"/>
                      <a:pt x="102" y="125"/>
                    </a:cubicBezTo>
                    <a:cubicBezTo>
                      <a:pt x="99" y="126"/>
                      <a:pt x="99" y="126"/>
                      <a:pt x="99" y="126"/>
                    </a:cubicBezTo>
                    <a:cubicBezTo>
                      <a:pt x="97" y="127"/>
                      <a:pt x="97" y="127"/>
                      <a:pt x="97" y="127"/>
                    </a:cubicBezTo>
                    <a:cubicBezTo>
                      <a:pt x="94" y="131"/>
                      <a:pt x="94" y="131"/>
                      <a:pt x="94" y="131"/>
                    </a:cubicBezTo>
                    <a:cubicBezTo>
                      <a:pt x="92" y="129"/>
                      <a:pt x="92" y="129"/>
                      <a:pt x="92" y="129"/>
                    </a:cubicBezTo>
                    <a:cubicBezTo>
                      <a:pt x="93" y="126"/>
                      <a:pt x="93" y="126"/>
                      <a:pt x="93" y="126"/>
                    </a:cubicBezTo>
                    <a:cubicBezTo>
                      <a:pt x="94" y="123"/>
                      <a:pt x="94" y="123"/>
                      <a:pt x="94" y="123"/>
                    </a:cubicBezTo>
                    <a:cubicBezTo>
                      <a:pt x="96" y="123"/>
                      <a:pt x="96" y="123"/>
                      <a:pt x="96" y="123"/>
                    </a:cubicBezTo>
                    <a:cubicBezTo>
                      <a:pt x="99" y="123"/>
                      <a:pt x="99" y="123"/>
                      <a:pt x="99" y="123"/>
                    </a:cubicBezTo>
                    <a:cubicBezTo>
                      <a:pt x="102" y="120"/>
                      <a:pt x="102" y="120"/>
                      <a:pt x="102" y="120"/>
                    </a:cubicBezTo>
                    <a:cubicBezTo>
                      <a:pt x="107" y="120"/>
                      <a:pt x="107" y="120"/>
                      <a:pt x="107" y="120"/>
                    </a:cubicBezTo>
                    <a:cubicBezTo>
                      <a:pt x="109" y="120"/>
                      <a:pt x="109" y="120"/>
                      <a:pt x="109" y="120"/>
                    </a:cubicBezTo>
                    <a:cubicBezTo>
                      <a:pt x="109" y="117"/>
                      <a:pt x="109" y="117"/>
                      <a:pt x="109" y="117"/>
                    </a:cubicBezTo>
                    <a:cubicBezTo>
                      <a:pt x="109" y="116"/>
                      <a:pt x="109" y="116"/>
                      <a:pt x="109" y="116"/>
                    </a:cubicBezTo>
                    <a:cubicBezTo>
                      <a:pt x="104" y="116"/>
                      <a:pt x="104" y="116"/>
                      <a:pt x="104" y="116"/>
                    </a:cubicBezTo>
                    <a:cubicBezTo>
                      <a:pt x="102" y="118"/>
                      <a:pt x="102" y="118"/>
                      <a:pt x="102" y="118"/>
                    </a:cubicBezTo>
                    <a:cubicBezTo>
                      <a:pt x="99" y="119"/>
                      <a:pt x="99" y="119"/>
                      <a:pt x="99" y="119"/>
                    </a:cubicBezTo>
                    <a:cubicBezTo>
                      <a:pt x="97" y="119"/>
                      <a:pt x="97" y="119"/>
                      <a:pt x="97" y="119"/>
                    </a:cubicBezTo>
                    <a:cubicBezTo>
                      <a:pt x="94" y="119"/>
                      <a:pt x="94" y="119"/>
                      <a:pt x="94" y="119"/>
                    </a:cubicBezTo>
                    <a:cubicBezTo>
                      <a:pt x="94" y="116"/>
                      <a:pt x="94" y="116"/>
                      <a:pt x="94" y="116"/>
                    </a:cubicBezTo>
                    <a:cubicBezTo>
                      <a:pt x="94" y="116"/>
                      <a:pt x="95" y="117"/>
                      <a:pt x="96" y="116"/>
                    </a:cubicBezTo>
                    <a:cubicBezTo>
                      <a:pt x="97" y="115"/>
                      <a:pt x="97" y="115"/>
                      <a:pt x="97" y="115"/>
                    </a:cubicBezTo>
                    <a:cubicBezTo>
                      <a:pt x="99" y="115"/>
                      <a:pt x="99" y="115"/>
                      <a:pt x="99" y="115"/>
                    </a:cubicBezTo>
                    <a:cubicBezTo>
                      <a:pt x="97" y="113"/>
                      <a:pt x="97" y="113"/>
                      <a:pt x="97" y="113"/>
                    </a:cubicBezTo>
                    <a:cubicBezTo>
                      <a:pt x="93" y="113"/>
                      <a:pt x="93" y="113"/>
                      <a:pt x="93" y="113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3" y="109"/>
                      <a:pt x="93" y="109"/>
                      <a:pt x="93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101" y="109"/>
                      <a:pt x="101" y="109"/>
                      <a:pt x="101" y="109"/>
                    </a:cubicBezTo>
                    <a:cubicBezTo>
                      <a:pt x="104" y="109"/>
                      <a:pt x="104" y="109"/>
                      <a:pt x="104" y="109"/>
                    </a:cubicBezTo>
                    <a:cubicBezTo>
                      <a:pt x="105" y="108"/>
                      <a:pt x="105" y="108"/>
                      <a:pt x="105" y="108"/>
                    </a:cubicBezTo>
                    <a:cubicBezTo>
                      <a:pt x="108" y="105"/>
                      <a:pt x="108" y="105"/>
                      <a:pt x="108" y="105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6" y="100"/>
                      <a:pt x="106" y="100"/>
                      <a:pt x="106" y="100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1" y="101"/>
                      <a:pt x="101" y="101"/>
                      <a:pt x="101" y="101"/>
                    </a:cubicBezTo>
                    <a:cubicBezTo>
                      <a:pt x="99" y="100"/>
                      <a:pt x="99" y="100"/>
                      <a:pt x="99" y="100"/>
                    </a:cubicBezTo>
                    <a:cubicBezTo>
                      <a:pt x="101" y="97"/>
                      <a:pt x="101" y="97"/>
                      <a:pt x="101" y="97"/>
                    </a:cubicBezTo>
                    <a:cubicBezTo>
                      <a:pt x="103" y="97"/>
                      <a:pt x="103" y="97"/>
                      <a:pt x="103" y="97"/>
                    </a:cubicBezTo>
                    <a:cubicBezTo>
                      <a:pt x="106" y="97"/>
                      <a:pt x="106" y="97"/>
                      <a:pt x="106" y="97"/>
                    </a:cubicBezTo>
                    <a:cubicBezTo>
                      <a:pt x="111" y="99"/>
                      <a:pt x="111" y="99"/>
                      <a:pt x="111" y="99"/>
                    </a:cubicBezTo>
                    <a:cubicBezTo>
                      <a:pt x="116" y="97"/>
                      <a:pt x="116" y="97"/>
                      <a:pt x="116" y="97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6"/>
                      <a:pt x="117" y="86"/>
                      <a:pt x="117" y="86"/>
                    </a:cubicBezTo>
                    <a:cubicBezTo>
                      <a:pt x="116" y="84"/>
                      <a:pt x="116" y="84"/>
                      <a:pt x="116" y="84"/>
                    </a:cubicBezTo>
                    <a:cubicBezTo>
                      <a:pt x="113" y="82"/>
                      <a:pt x="113" y="82"/>
                      <a:pt x="113" y="82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14" y="78"/>
                      <a:pt x="114" y="78"/>
                      <a:pt x="114" y="78"/>
                    </a:cubicBezTo>
                    <a:cubicBezTo>
                      <a:pt x="116" y="76"/>
                      <a:pt x="116" y="76"/>
                      <a:pt x="116" y="76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19" y="58"/>
                      <a:pt x="119" y="58"/>
                      <a:pt x="119" y="58"/>
                    </a:cubicBezTo>
                    <a:cubicBezTo>
                      <a:pt x="119" y="55"/>
                      <a:pt x="119" y="55"/>
                      <a:pt x="119" y="55"/>
                    </a:cubicBezTo>
                    <a:cubicBezTo>
                      <a:pt x="121" y="49"/>
                      <a:pt x="121" y="49"/>
                      <a:pt x="121" y="49"/>
                    </a:cubicBezTo>
                    <a:cubicBezTo>
                      <a:pt x="121" y="47"/>
                      <a:pt x="121" y="47"/>
                      <a:pt x="121" y="47"/>
                    </a:cubicBezTo>
                    <a:cubicBezTo>
                      <a:pt x="123" y="42"/>
                      <a:pt x="123" y="42"/>
                      <a:pt x="123" y="42"/>
                    </a:cubicBezTo>
                    <a:cubicBezTo>
                      <a:pt x="121" y="37"/>
                      <a:pt x="121" y="37"/>
                      <a:pt x="121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3" y="44"/>
                      <a:pt x="113" y="44"/>
                      <a:pt x="113" y="44"/>
                    </a:cubicBezTo>
                    <a:cubicBezTo>
                      <a:pt x="109" y="49"/>
                      <a:pt x="109" y="49"/>
                      <a:pt x="109" y="49"/>
                    </a:cubicBezTo>
                    <a:cubicBezTo>
                      <a:pt x="108" y="51"/>
                      <a:pt x="108" y="51"/>
                      <a:pt x="108" y="51"/>
                    </a:cubicBezTo>
                    <a:cubicBezTo>
                      <a:pt x="102" y="54"/>
                      <a:pt x="102" y="54"/>
                      <a:pt x="102" y="54"/>
                    </a:cubicBezTo>
                    <a:cubicBezTo>
                      <a:pt x="102" y="50"/>
                      <a:pt x="102" y="50"/>
                      <a:pt x="102" y="50"/>
                    </a:cubicBezTo>
                    <a:cubicBezTo>
                      <a:pt x="107" y="49"/>
                      <a:pt x="107" y="49"/>
                      <a:pt x="107" y="49"/>
                    </a:cubicBezTo>
                    <a:cubicBezTo>
                      <a:pt x="109" y="45"/>
                      <a:pt x="109" y="45"/>
                      <a:pt x="109" y="45"/>
                    </a:cubicBezTo>
                    <a:cubicBezTo>
                      <a:pt x="109" y="42"/>
                      <a:pt x="109" y="42"/>
                      <a:pt x="109" y="42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100" y="39"/>
                      <a:pt x="100" y="39"/>
                      <a:pt x="100" y="39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107" y="36"/>
                      <a:pt x="107" y="36"/>
                      <a:pt x="107" y="36"/>
                    </a:cubicBezTo>
                    <a:cubicBezTo>
                      <a:pt x="111" y="36"/>
                      <a:pt x="111" y="36"/>
                      <a:pt x="111" y="36"/>
                    </a:cubicBezTo>
                    <a:cubicBezTo>
                      <a:pt x="116" y="32"/>
                      <a:pt x="116" y="32"/>
                      <a:pt x="116" y="32"/>
                    </a:cubicBezTo>
                    <a:cubicBezTo>
                      <a:pt x="119" y="26"/>
                      <a:pt x="119" y="26"/>
                      <a:pt x="119" y="26"/>
                    </a:cubicBezTo>
                    <a:cubicBezTo>
                      <a:pt x="119" y="19"/>
                      <a:pt x="119" y="19"/>
                      <a:pt x="119" y="19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9" y="9"/>
                      <a:pt x="119" y="9"/>
                      <a:pt x="119" y="9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1" y="6"/>
                      <a:pt x="111" y="6"/>
                      <a:pt x="111" y="6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102" y="3"/>
                      <a:pt x="102" y="3"/>
                      <a:pt x="102" y="3"/>
                    </a:cubicBezTo>
                    <a:cubicBezTo>
                      <a:pt x="102" y="2"/>
                      <a:pt x="102" y="2"/>
                      <a:pt x="102" y="2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86" y="13"/>
                      <a:pt x="86" y="13"/>
                      <a:pt x="86" y="13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4" y="8"/>
                      <a:pt x="84" y="8"/>
                      <a:pt x="84" y="8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69" y="5"/>
                      <a:pt x="69" y="5"/>
                      <a:pt x="69" y="5"/>
                    </a:cubicBezTo>
                    <a:cubicBezTo>
                      <a:pt x="70" y="8"/>
                      <a:pt x="70" y="8"/>
                      <a:pt x="70" y="8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8" y="14"/>
                      <a:pt x="68" y="14"/>
                      <a:pt x="68" y="14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0" y="18"/>
                      <a:pt x="70" y="18"/>
                      <a:pt x="70" y="18"/>
                    </a:cubicBezTo>
                    <a:cubicBezTo>
                      <a:pt x="66" y="18"/>
                      <a:pt x="66" y="18"/>
                      <a:pt x="66" y="18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60" y="14"/>
                      <a:pt x="60" y="14"/>
                      <a:pt x="60" y="14"/>
                    </a:cubicBezTo>
                    <a:cubicBezTo>
                      <a:pt x="57" y="11"/>
                      <a:pt x="57" y="11"/>
                      <a:pt x="57" y="11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9" y="20"/>
                      <a:pt x="59" y="20"/>
                      <a:pt x="59" y="20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45" y="20"/>
                      <a:pt x="45" y="20"/>
                      <a:pt x="45" y="20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4"/>
                      <a:pt x="31" y="35"/>
                      <a:pt x="32" y="35"/>
                    </a:cubicBezTo>
                    <a:cubicBezTo>
                      <a:pt x="33" y="35"/>
                      <a:pt x="38" y="38"/>
                      <a:pt x="38" y="38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9" y="38"/>
                      <a:pt x="19" y="38"/>
                      <a:pt x="19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21" y="43"/>
                      <a:pt x="21" y="43"/>
                      <a:pt x="21" y="43"/>
                    </a:cubicBezTo>
                    <a:cubicBezTo>
                      <a:pt x="23" y="43"/>
                      <a:pt x="23" y="43"/>
                      <a:pt x="23" y="43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6" y="47"/>
                      <a:pt x="26" y="47"/>
                      <a:pt x="26" y="47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17" y="46"/>
                      <a:pt x="17" y="46"/>
                      <a:pt x="17" y="46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5" y="49"/>
                      <a:pt x="5" y="49"/>
                      <a:pt x="5" y="49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3" y="76"/>
                      <a:pt x="13" y="76"/>
                      <a:pt x="13" y="76"/>
                    </a:cubicBezTo>
                    <a:cubicBezTo>
                      <a:pt x="15" y="77"/>
                      <a:pt x="15" y="77"/>
                      <a:pt x="15" y="77"/>
                    </a:cubicBezTo>
                    <a:cubicBezTo>
                      <a:pt x="15" y="77"/>
                      <a:pt x="17" y="77"/>
                      <a:pt x="17" y="77"/>
                    </a:cubicBezTo>
                    <a:cubicBezTo>
                      <a:pt x="18" y="77"/>
                      <a:pt x="19" y="77"/>
                      <a:pt x="19" y="77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4" y="67"/>
                      <a:pt x="34" y="67"/>
                      <a:pt x="34" y="67"/>
                    </a:cubicBezTo>
                    <a:cubicBezTo>
                      <a:pt x="36" y="66"/>
                      <a:pt x="36" y="66"/>
                      <a:pt x="36" y="6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27" y="78"/>
                      <a:pt x="27" y="78"/>
                      <a:pt x="27" y="78"/>
                    </a:cubicBezTo>
                    <a:cubicBezTo>
                      <a:pt x="26" y="78"/>
                      <a:pt x="26" y="78"/>
                      <a:pt x="26" y="78"/>
                    </a:cubicBezTo>
                    <a:cubicBezTo>
                      <a:pt x="24" y="78"/>
                      <a:pt x="24" y="78"/>
                      <a:pt x="24" y="78"/>
                    </a:cubicBezTo>
                    <a:cubicBezTo>
                      <a:pt x="21" y="78"/>
                      <a:pt x="21" y="78"/>
                      <a:pt x="21" y="78"/>
                    </a:cubicBezTo>
                    <a:cubicBezTo>
                      <a:pt x="18" y="81"/>
                      <a:pt x="18" y="81"/>
                      <a:pt x="18" y="81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9" y="86"/>
                      <a:pt x="19" y="86"/>
                      <a:pt x="19" y="86"/>
                    </a:cubicBezTo>
                    <a:cubicBezTo>
                      <a:pt x="21" y="86"/>
                      <a:pt x="21" y="86"/>
                      <a:pt x="21" y="86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8" y="87"/>
                      <a:pt x="28" y="87"/>
                      <a:pt x="28" y="87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71"/>
                      <a:pt x="42" y="71"/>
                      <a:pt x="42" y="71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5" y="72"/>
                      <a:pt x="45" y="72"/>
                      <a:pt x="45" y="72"/>
                    </a:cubicBezTo>
                    <a:cubicBezTo>
                      <a:pt x="42" y="74"/>
                      <a:pt x="42" y="74"/>
                      <a:pt x="42" y="74"/>
                    </a:cubicBezTo>
                    <a:cubicBezTo>
                      <a:pt x="39" y="75"/>
                      <a:pt x="39" y="75"/>
                      <a:pt x="39" y="75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4" y="80"/>
                      <a:pt x="34" y="80"/>
                      <a:pt x="34" y="80"/>
                    </a:cubicBezTo>
                    <a:cubicBezTo>
                      <a:pt x="33" y="83"/>
                      <a:pt x="33" y="83"/>
                      <a:pt x="33" y="83"/>
                    </a:cubicBezTo>
                    <a:cubicBezTo>
                      <a:pt x="34" y="87"/>
                      <a:pt x="34" y="87"/>
                      <a:pt x="34" y="87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7" y="91"/>
                      <a:pt x="37" y="91"/>
                      <a:pt x="37" y="91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41" y="90"/>
                      <a:pt x="42" y="87"/>
                      <a:pt x="43" y="87"/>
                    </a:cubicBezTo>
                    <a:cubicBezTo>
                      <a:pt x="43" y="86"/>
                      <a:pt x="46" y="82"/>
                      <a:pt x="46" y="82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81"/>
                      <a:pt x="51" y="81"/>
                      <a:pt x="51" y="81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7" y="85"/>
                      <a:pt x="47" y="85"/>
                      <a:pt x="47" y="85"/>
                    </a:cubicBezTo>
                    <a:cubicBezTo>
                      <a:pt x="47" y="87"/>
                      <a:pt x="47" y="87"/>
                      <a:pt x="47" y="87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6" y="83"/>
                      <a:pt x="56" y="83"/>
                      <a:pt x="56" y="83"/>
                    </a:cubicBezTo>
                    <a:cubicBezTo>
                      <a:pt x="56" y="83"/>
                      <a:pt x="59" y="83"/>
                      <a:pt x="59" y="81"/>
                    </a:cubicBezTo>
                    <a:cubicBezTo>
                      <a:pt x="60" y="80"/>
                      <a:pt x="60" y="59"/>
                      <a:pt x="60" y="59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4" y="55"/>
                      <a:pt x="64" y="55"/>
                      <a:pt x="64" y="55"/>
                    </a:cubicBezTo>
                    <a:cubicBezTo>
                      <a:pt x="66" y="57"/>
                      <a:pt x="66" y="57"/>
                      <a:pt x="66" y="57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5" y="63"/>
                      <a:pt x="65" y="63"/>
                      <a:pt x="65" y="63"/>
                    </a:cubicBezTo>
                    <a:cubicBezTo>
                      <a:pt x="64" y="65"/>
                      <a:pt x="64" y="65"/>
                      <a:pt x="64" y="65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5" y="72"/>
                      <a:pt x="65" y="72"/>
                      <a:pt x="65" y="72"/>
                    </a:cubicBezTo>
                    <a:cubicBezTo>
                      <a:pt x="67" y="72"/>
                      <a:pt x="67" y="72"/>
                      <a:pt x="67" y="72"/>
                    </a:cubicBezTo>
                    <a:cubicBezTo>
                      <a:pt x="71" y="71"/>
                      <a:pt x="71" y="71"/>
                      <a:pt x="71" y="71"/>
                    </a:cubicBezTo>
                    <a:cubicBezTo>
                      <a:pt x="71" y="71"/>
                      <a:pt x="74" y="70"/>
                      <a:pt x="75" y="70"/>
                    </a:cubicBezTo>
                    <a:cubicBezTo>
                      <a:pt x="75" y="70"/>
                      <a:pt x="77" y="70"/>
                      <a:pt x="77" y="70"/>
                    </a:cubicBezTo>
                    <a:cubicBezTo>
                      <a:pt x="77" y="71"/>
                      <a:pt x="77" y="71"/>
                      <a:pt x="77" y="71"/>
                    </a:cubicBezTo>
                    <a:cubicBezTo>
                      <a:pt x="72" y="74"/>
                      <a:pt x="72" y="74"/>
                      <a:pt x="72" y="74"/>
                    </a:cubicBezTo>
                    <a:cubicBezTo>
                      <a:pt x="68" y="77"/>
                      <a:pt x="68" y="77"/>
                      <a:pt x="68" y="77"/>
                    </a:cubicBezTo>
                    <a:cubicBezTo>
                      <a:pt x="66" y="77"/>
                      <a:pt x="66" y="77"/>
                      <a:pt x="66" y="77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5" y="81"/>
                      <a:pt x="65" y="81"/>
                      <a:pt x="65" y="81"/>
                    </a:cubicBezTo>
                    <a:cubicBezTo>
                      <a:pt x="66" y="81"/>
                      <a:pt x="66" y="81"/>
                      <a:pt x="66" y="81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65" y="86"/>
                      <a:pt x="65" y="86"/>
                      <a:pt x="65" y="86"/>
                    </a:cubicBezTo>
                    <a:cubicBezTo>
                      <a:pt x="61" y="87"/>
                      <a:pt x="61" y="87"/>
                      <a:pt x="61" y="87"/>
                    </a:cubicBezTo>
                    <a:cubicBezTo>
                      <a:pt x="59" y="89"/>
                      <a:pt x="59" y="89"/>
                      <a:pt x="59" y="89"/>
                    </a:cubicBezTo>
                    <a:cubicBezTo>
                      <a:pt x="56" y="92"/>
                      <a:pt x="56" y="92"/>
                      <a:pt x="56" y="92"/>
                    </a:cubicBezTo>
                    <a:cubicBezTo>
                      <a:pt x="53" y="93"/>
                      <a:pt x="53" y="93"/>
                      <a:pt x="53" y="93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52" y="97"/>
                      <a:pt x="52" y="97"/>
                      <a:pt x="52" y="97"/>
                    </a:cubicBezTo>
                    <a:cubicBezTo>
                      <a:pt x="53" y="99"/>
                      <a:pt x="53" y="99"/>
                      <a:pt x="53" y="99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9" y="103"/>
                      <a:pt x="59" y="103"/>
                      <a:pt x="59" y="103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6" y="111"/>
                      <a:pt x="66" y="111"/>
                      <a:pt x="66" y="111"/>
                    </a:cubicBezTo>
                    <a:cubicBezTo>
                      <a:pt x="70" y="111"/>
                      <a:pt x="70" y="111"/>
                      <a:pt x="70" y="111"/>
                    </a:cubicBezTo>
                    <a:cubicBezTo>
                      <a:pt x="72" y="111"/>
                      <a:pt x="72" y="111"/>
                      <a:pt x="72" y="111"/>
                    </a:cubicBezTo>
                    <a:cubicBezTo>
                      <a:pt x="73" y="112"/>
                      <a:pt x="73" y="112"/>
                      <a:pt x="73" y="112"/>
                    </a:cubicBezTo>
                    <a:cubicBezTo>
                      <a:pt x="71" y="115"/>
                      <a:pt x="71" y="115"/>
                      <a:pt x="71" y="115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5" y="114"/>
                      <a:pt x="65" y="114"/>
                      <a:pt x="65" y="114"/>
                    </a:cubicBezTo>
                    <a:cubicBezTo>
                      <a:pt x="61" y="112"/>
                      <a:pt x="61" y="112"/>
                      <a:pt x="61" y="112"/>
                    </a:cubicBezTo>
                    <a:cubicBezTo>
                      <a:pt x="58" y="109"/>
                      <a:pt x="58" y="109"/>
                      <a:pt x="58" y="109"/>
                    </a:cubicBezTo>
                    <a:cubicBezTo>
                      <a:pt x="57" y="107"/>
                      <a:pt x="57" y="107"/>
                      <a:pt x="57" y="107"/>
                    </a:cubicBezTo>
                    <a:cubicBezTo>
                      <a:pt x="54" y="104"/>
                      <a:pt x="54" y="104"/>
                      <a:pt x="54" y="104"/>
                    </a:cubicBezTo>
                    <a:cubicBezTo>
                      <a:pt x="50" y="101"/>
                      <a:pt x="50" y="101"/>
                      <a:pt x="50" y="101"/>
                    </a:cubicBezTo>
                    <a:cubicBezTo>
                      <a:pt x="48" y="99"/>
                      <a:pt x="48" y="99"/>
                      <a:pt x="48" y="99"/>
                    </a:cubicBezTo>
                    <a:cubicBezTo>
                      <a:pt x="47" y="98"/>
                      <a:pt x="47" y="98"/>
                      <a:pt x="47" y="98"/>
                    </a:cubicBezTo>
                    <a:cubicBezTo>
                      <a:pt x="43" y="97"/>
                      <a:pt x="43" y="97"/>
                      <a:pt x="43" y="97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5" y="100"/>
                      <a:pt x="35" y="100"/>
                      <a:pt x="35" y="100"/>
                    </a:cubicBezTo>
                    <a:cubicBezTo>
                      <a:pt x="35" y="104"/>
                      <a:pt x="35" y="104"/>
                      <a:pt x="35" y="104"/>
                    </a:cubicBezTo>
                    <a:cubicBezTo>
                      <a:pt x="36" y="106"/>
                      <a:pt x="36" y="106"/>
                      <a:pt x="36" y="106"/>
                    </a:cubicBezTo>
                    <a:cubicBezTo>
                      <a:pt x="38" y="112"/>
                      <a:pt x="38" y="112"/>
                      <a:pt x="38" y="112"/>
                    </a:cubicBezTo>
                    <a:cubicBezTo>
                      <a:pt x="39" y="113"/>
                      <a:pt x="39" y="113"/>
                      <a:pt x="39" y="113"/>
                    </a:cubicBezTo>
                    <a:cubicBezTo>
                      <a:pt x="44" y="115"/>
                      <a:pt x="44" y="115"/>
                      <a:pt x="44" y="115"/>
                    </a:cubicBezTo>
                    <a:cubicBezTo>
                      <a:pt x="44" y="115"/>
                      <a:pt x="44" y="115"/>
                      <a:pt x="44" y="115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52" y="120"/>
                      <a:pt x="52" y="120"/>
                      <a:pt x="52" y="120"/>
                    </a:cubicBezTo>
                    <a:cubicBezTo>
                      <a:pt x="52" y="120"/>
                      <a:pt x="51" y="120"/>
                      <a:pt x="52" y="122"/>
                    </a:cubicBezTo>
                    <a:cubicBezTo>
                      <a:pt x="52" y="124"/>
                      <a:pt x="53" y="124"/>
                      <a:pt x="53" y="124"/>
                    </a:cubicBezTo>
                    <a:cubicBezTo>
                      <a:pt x="53" y="124"/>
                      <a:pt x="53" y="125"/>
                      <a:pt x="53" y="126"/>
                    </a:cubicBezTo>
                    <a:cubicBezTo>
                      <a:pt x="54" y="126"/>
                      <a:pt x="55" y="127"/>
                      <a:pt x="55" y="127"/>
                    </a:cubicBezTo>
                    <a:cubicBezTo>
                      <a:pt x="55" y="127"/>
                      <a:pt x="56" y="128"/>
                      <a:pt x="56" y="128"/>
                    </a:cubicBezTo>
                    <a:cubicBezTo>
                      <a:pt x="56" y="128"/>
                      <a:pt x="55" y="130"/>
                      <a:pt x="55" y="130"/>
                    </a:cubicBezTo>
                    <a:cubicBezTo>
                      <a:pt x="54" y="130"/>
                      <a:pt x="52" y="134"/>
                      <a:pt x="52" y="134"/>
                    </a:cubicBezTo>
                    <a:cubicBezTo>
                      <a:pt x="53" y="136"/>
                      <a:pt x="53" y="136"/>
                      <a:pt x="53" y="136"/>
                    </a:cubicBezTo>
                    <a:cubicBezTo>
                      <a:pt x="56" y="137"/>
                      <a:pt x="56" y="137"/>
                      <a:pt x="56" y="137"/>
                    </a:cubicBezTo>
                    <a:cubicBezTo>
                      <a:pt x="60" y="136"/>
                      <a:pt x="60" y="136"/>
                      <a:pt x="60" y="136"/>
                    </a:cubicBezTo>
                    <a:cubicBezTo>
                      <a:pt x="64" y="135"/>
                      <a:pt x="64" y="135"/>
                      <a:pt x="64" y="135"/>
                    </a:cubicBezTo>
                    <a:cubicBezTo>
                      <a:pt x="71" y="136"/>
                      <a:pt x="71" y="136"/>
                      <a:pt x="71" y="136"/>
                    </a:cubicBezTo>
                    <a:cubicBezTo>
                      <a:pt x="71" y="137"/>
                      <a:pt x="71" y="137"/>
                      <a:pt x="71" y="137"/>
                    </a:cubicBezTo>
                    <a:cubicBezTo>
                      <a:pt x="69" y="139"/>
                      <a:pt x="69" y="139"/>
                      <a:pt x="69" y="139"/>
                    </a:cubicBezTo>
                    <a:cubicBezTo>
                      <a:pt x="65" y="140"/>
                      <a:pt x="65" y="140"/>
                      <a:pt x="65" y="140"/>
                    </a:cubicBezTo>
                    <a:cubicBezTo>
                      <a:pt x="59" y="140"/>
                      <a:pt x="59" y="140"/>
                      <a:pt x="59" y="140"/>
                    </a:cubicBezTo>
                    <a:cubicBezTo>
                      <a:pt x="53" y="140"/>
                      <a:pt x="53" y="140"/>
                      <a:pt x="53" y="140"/>
                    </a:cubicBezTo>
                    <a:cubicBezTo>
                      <a:pt x="51" y="141"/>
                      <a:pt x="51" y="141"/>
                      <a:pt x="51" y="141"/>
                    </a:cubicBezTo>
                    <a:cubicBezTo>
                      <a:pt x="46" y="144"/>
                      <a:pt x="46" y="144"/>
                      <a:pt x="46" y="144"/>
                    </a:cubicBezTo>
                    <a:cubicBezTo>
                      <a:pt x="44" y="146"/>
                      <a:pt x="44" y="146"/>
                      <a:pt x="44" y="146"/>
                    </a:cubicBezTo>
                    <a:cubicBezTo>
                      <a:pt x="41" y="151"/>
                      <a:pt x="41" y="151"/>
                      <a:pt x="41" y="151"/>
                    </a:cubicBezTo>
                    <a:cubicBezTo>
                      <a:pt x="40" y="155"/>
                      <a:pt x="40" y="155"/>
                      <a:pt x="40" y="155"/>
                    </a:cubicBezTo>
                    <a:cubicBezTo>
                      <a:pt x="41" y="159"/>
                      <a:pt x="41" y="159"/>
                      <a:pt x="41" y="159"/>
                    </a:cubicBezTo>
                    <a:cubicBezTo>
                      <a:pt x="41" y="161"/>
                      <a:pt x="41" y="161"/>
                      <a:pt x="41" y="161"/>
                    </a:cubicBezTo>
                    <a:cubicBezTo>
                      <a:pt x="42" y="163"/>
                      <a:pt x="42" y="163"/>
                      <a:pt x="42" y="163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4"/>
                      <a:pt x="44" y="164"/>
                      <a:pt x="44" y="164"/>
                    </a:cubicBezTo>
                    <a:cubicBezTo>
                      <a:pt x="47" y="162"/>
                      <a:pt x="47" y="162"/>
                      <a:pt x="47" y="162"/>
                    </a:cubicBezTo>
                    <a:cubicBezTo>
                      <a:pt x="48" y="161"/>
                      <a:pt x="48" y="161"/>
                      <a:pt x="48" y="161"/>
                    </a:cubicBezTo>
                    <a:cubicBezTo>
                      <a:pt x="50" y="157"/>
                      <a:pt x="50" y="157"/>
                      <a:pt x="50" y="157"/>
                    </a:cubicBezTo>
                    <a:cubicBezTo>
                      <a:pt x="52" y="155"/>
                      <a:pt x="52" y="155"/>
                      <a:pt x="52" y="155"/>
                    </a:cubicBezTo>
                    <a:cubicBezTo>
                      <a:pt x="51" y="160"/>
                      <a:pt x="51" y="160"/>
                      <a:pt x="51" y="160"/>
                    </a:cubicBezTo>
                    <a:cubicBezTo>
                      <a:pt x="51" y="163"/>
                      <a:pt x="51" y="163"/>
                      <a:pt x="51" y="163"/>
                    </a:cubicBezTo>
                    <a:cubicBezTo>
                      <a:pt x="52" y="163"/>
                      <a:pt x="52" y="163"/>
                      <a:pt x="52" y="163"/>
                    </a:cubicBezTo>
                    <a:cubicBezTo>
                      <a:pt x="53" y="163"/>
                      <a:pt x="53" y="163"/>
                      <a:pt x="53" y="163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155"/>
                      <a:pt x="56" y="155"/>
                      <a:pt x="56" y="155"/>
                    </a:cubicBezTo>
                    <a:cubicBezTo>
                      <a:pt x="57" y="155"/>
                      <a:pt x="57" y="155"/>
                      <a:pt x="57" y="155"/>
                    </a:cubicBezTo>
                    <a:cubicBezTo>
                      <a:pt x="59" y="155"/>
                      <a:pt x="59" y="155"/>
                      <a:pt x="59" y="155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9" y="163"/>
                      <a:pt x="59" y="163"/>
                      <a:pt x="59" y="163"/>
                    </a:cubicBezTo>
                    <a:cubicBezTo>
                      <a:pt x="56" y="166"/>
                      <a:pt x="56" y="166"/>
                      <a:pt x="56" y="166"/>
                    </a:cubicBezTo>
                    <a:cubicBezTo>
                      <a:pt x="55" y="167"/>
                      <a:pt x="55" y="167"/>
                      <a:pt x="55" y="167"/>
                    </a:cubicBezTo>
                    <a:cubicBezTo>
                      <a:pt x="56" y="170"/>
                      <a:pt x="56" y="170"/>
                      <a:pt x="56" y="170"/>
                    </a:cubicBezTo>
                    <a:cubicBezTo>
                      <a:pt x="58" y="172"/>
                      <a:pt x="58" y="172"/>
                      <a:pt x="58" y="172"/>
                    </a:cubicBezTo>
                    <a:cubicBezTo>
                      <a:pt x="58" y="173"/>
                      <a:pt x="58" y="173"/>
                      <a:pt x="58" y="173"/>
                    </a:cubicBezTo>
                    <a:cubicBezTo>
                      <a:pt x="60" y="176"/>
                      <a:pt x="60" y="176"/>
                      <a:pt x="60" y="176"/>
                    </a:cubicBezTo>
                    <a:cubicBezTo>
                      <a:pt x="60" y="178"/>
                      <a:pt x="60" y="178"/>
                      <a:pt x="60" y="178"/>
                    </a:cubicBezTo>
                    <a:cubicBezTo>
                      <a:pt x="61" y="178"/>
                      <a:pt x="61" y="178"/>
                      <a:pt x="61" y="178"/>
                    </a:cubicBezTo>
                    <a:cubicBezTo>
                      <a:pt x="61" y="179"/>
                      <a:pt x="61" y="179"/>
                      <a:pt x="61" y="179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6" y="180"/>
                      <a:pt x="66" y="180"/>
                      <a:pt x="66" y="180"/>
                    </a:cubicBezTo>
                    <a:cubicBezTo>
                      <a:pt x="68" y="179"/>
                      <a:pt x="68" y="179"/>
                      <a:pt x="68" y="179"/>
                    </a:cubicBezTo>
                    <a:cubicBezTo>
                      <a:pt x="69" y="178"/>
                      <a:pt x="69" y="178"/>
                      <a:pt x="69" y="178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2" y="176"/>
                      <a:pt x="72" y="176"/>
                      <a:pt x="72" y="176"/>
                    </a:cubicBezTo>
                    <a:cubicBezTo>
                      <a:pt x="71" y="165"/>
                      <a:pt x="71" y="165"/>
                      <a:pt x="71" y="165"/>
                    </a:cubicBezTo>
                    <a:cubicBezTo>
                      <a:pt x="72" y="164"/>
                      <a:pt x="72" y="164"/>
                      <a:pt x="72" y="164"/>
                    </a:cubicBezTo>
                    <a:cubicBezTo>
                      <a:pt x="73" y="161"/>
                      <a:pt x="73" y="161"/>
                      <a:pt x="73" y="161"/>
                    </a:cubicBezTo>
                    <a:cubicBezTo>
                      <a:pt x="75" y="160"/>
                      <a:pt x="75" y="160"/>
                      <a:pt x="75" y="160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6" y="169"/>
                      <a:pt x="76" y="169"/>
                      <a:pt x="76" y="169"/>
                    </a:cubicBezTo>
                    <a:cubicBezTo>
                      <a:pt x="75" y="169"/>
                      <a:pt x="75" y="169"/>
                      <a:pt x="75" y="169"/>
                    </a:cubicBezTo>
                    <a:cubicBezTo>
                      <a:pt x="75" y="179"/>
                      <a:pt x="75" y="179"/>
                      <a:pt x="75" y="179"/>
                    </a:cubicBezTo>
                    <a:cubicBezTo>
                      <a:pt x="72" y="182"/>
                      <a:pt x="72" y="182"/>
                      <a:pt x="72" y="182"/>
                    </a:cubicBezTo>
                    <a:cubicBezTo>
                      <a:pt x="70" y="183"/>
                      <a:pt x="70" y="183"/>
                      <a:pt x="70" y="183"/>
                    </a:cubicBezTo>
                    <a:cubicBezTo>
                      <a:pt x="65" y="184"/>
                      <a:pt x="65" y="184"/>
                      <a:pt x="65" y="184"/>
                    </a:cubicBezTo>
                    <a:cubicBezTo>
                      <a:pt x="64" y="184"/>
                      <a:pt x="64" y="184"/>
                      <a:pt x="64" y="184"/>
                    </a:cubicBezTo>
                    <a:cubicBezTo>
                      <a:pt x="61" y="184"/>
                      <a:pt x="61" y="184"/>
                      <a:pt x="61" y="184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58" y="182"/>
                      <a:pt x="58" y="182"/>
                      <a:pt x="58" y="182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4" y="178"/>
                      <a:pt x="54" y="178"/>
                      <a:pt x="54" y="178"/>
                    </a:cubicBezTo>
                    <a:cubicBezTo>
                      <a:pt x="53" y="173"/>
                      <a:pt x="53" y="173"/>
                      <a:pt x="53" y="173"/>
                    </a:cubicBezTo>
                    <a:cubicBezTo>
                      <a:pt x="53" y="173"/>
                      <a:pt x="53" y="173"/>
                      <a:pt x="53" y="173"/>
                    </a:cubicBezTo>
                    <a:cubicBezTo>
                      <a:pt x="43" y="174"/>
                      <a:pt x="43" y="174"/>
                      <a:pt x="43" y="174"/>
                    </a:cubicBezTo>
                    <a:cubicBezTo>
                      <a:pt x="41" y="175"/>
                      <a:pt x="41" y="175"/>
                      <a:pt x="41" y="175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1" y="181"/>
                      <a:pt x="41" y="181"/>
                      <a:pt x="41" y="181"/>
                    </a:cubicBezTo>
                    <a:cubicBezTo>
                      <a:pt x="42" y="184"/>
                      <a:pt x="42" y="184"/>
                      <a:pt x="42" y="184"/>
                    </a:cubicBezTo>
                    <a:cubicBezTo>
                      <a:pt x="44" y="187"/>
                      <a:pt x="44" y="187"/>
                      <a:pt x="44" y="187"/>
                    </a:cubicBezTo>
                    <a:cubicBezTo>
                      <a:pt x="44" y="187"/>
                      <a:pt x="46" y="188"/>
                      <a:pt x="46" y="188"/>
                    </a:cubicBezTo>
                    <a:cubicBezTo>
                      <a:pt x="47" y="188"/>
                      <a:pt x="52" y="188"/>
                      <a:pt x="52" y="188"/>
                    </a:cubicBezTo>
                    <a:cubicBezTo>
                      <a:pt x="51" y="191"/>
                      <a:pt x="51" y="191"/>
                      <a:pt x="51" y="191"/>
                    </a:cubicBezTo>
                    <a:cubicBezTo>
                      <a:pt x="50" y="193"/>
                      <a:pt x="50" y="193"/>
                      <a:pt x="50" y="193"/>
                    </a:cubicBezTo>
                    <a:cubicBezTo>
                      <a:pt x="49" y="195"/>
                      <a:pt x="49" y="195"/>
                      <a:pt x="49" y="195"/>
                    </a:cubicBezTo>
                    <a:cubicBezTo>
                      <a:pt x="44" y="195"/>
                      <a:pt x="44" y="195"/>
                      <a:pt x="44" y="195"/>
                    </a:cubicBezTo>
                    <a:cubicBezTo>
                      <a:pt x="42" y="197"/>
                      <a:pt x="42" y="197"/>
                      <a:pt x="42" y="197"/>
                    </a:cubicBezTo>
                    <a:cubicBezTo>
                      <a:pt x="41" y="199"/>
                      <a:pt x="41" y="199"/>
                      <a:pt x="41" y="199"/>
                    </a:cubicBezTo>
                    <a:cubicBezTo>
                      <a:pt x="39" y="201"/>
                      <a:pt x="39" y="201"/>
                      <a:pt x="39" y="201"/>
                    </a:cubicBezTo>
                    <a:cubicBezTo>
                      <a:pt x="37" y="204"/>
                      <a:pt x="37" y="204"/>
                      <a:pt x="37" y="204"/>
                    </a:cubicBezTo>
                    <a:cubicBezTo>
                      <a:pt x="35" y="207"/>
                      <a:pt x="35" y="207"/>
                      <a:pt x="35" y="207"/>
                    </a:cubicBezTo>
                    <a:cubicBezTo>
                      <a:pt x="34" y="210"/>
                      <a:pt x="34" y="210"/>
                      <a:pt x="34" y="210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6" y="214"/>
                      <a:pt x="36" y="214"/>
                      <a:pt x="36" y="214"/>
                    </a:cubicBezTo>
                    <a:cubicBezTo>
                      <a:pt x="37" y="216"/>
                      <a:pt x="37" y="216"/>
                      <a:pt x="37" y="216"/>
                    </a:cubicBezTo>
                    <a:cubicBezTo>
                      <a:pt x="40" y="216"/>
                      <a:pt x="40" y="216"/>
                      <a:pt x="40" y="216"/>
                    </a:cubicBezTo>
                    <a:cubicBezTo>
                      <a:pt x="41" y="216"/>
                      <a:pt x="41" y="216"/>
                      <a:pt x="41" y="216"/>
                    </a:cubicBezTo>
                    <a:cubicBezTo>
                      <a:pt x="43" y="214"/>
                      <a:pt x="43" y="214"/>
                      <a:pt x="43" y="214"/>
                    </a:cubicBezTo>
                    <a:cubicBezTo>
                      <a:pt x="44" y="213"/>
                      <a:pt x="44" y="213"/>
                      <a:pt x="44" y="213"/>
                    </a:cubicBezTo>
                    <a:cubicBezTo>
                      <a:pt x="47" y="216"/>
                      <a:pt x="47" y="216"/>
                      <a:pt x="47" y="216"/>
                    </a:cubicBezTo>
                    <a:cubicBezTo>
                      <a:pt x="50" y="216"/>
                      <a:pt x="50" y="216"/>
                      <a:pt x="50" y="216"/>
                    </a:cubicBezTo>
                    <a:cubicBezTo>
                      <a:pt x="50" y="216"/>
                      <a:pt x="50" y="216"/>
                      <a:pt x="50" y="216"/>
                    </a:cubicBezTo>
                    <a:cubicBezTo>
                      <a:pt x="50" y="214"/>
                      <a:pt x="50" y="214"/>
                      <a:pt x="50" y="214"/>
                    </a:cubicBezTo>
                    <a:cubicBezTo>
                      <a:pt x="50" y="212"/>
                      <a:pt x="50" y="212"/>
                      <a:pt x="50" y="212"/>
                    </a:cubicBezTo>
                    <a:cubicBezTo>
                      <a:pt x="52" y="213"/>
                      <a:pt x="52" y="213"/>
                      <a:pt x="52" y="213"/>
                    </a:cubicBezTo>
                    <a:cubicBezTo>
                      <a:pt x="53" y="215"/>
                      <a:pt x="53" y="215"/>
                      <a:pt x="53" y="215"/>
                    </a:cubicBezTo>
                    <a:cubicBezTo>
                      <a:pt x="57" y="215"/>
                      <a:pt x="57" y="215"/>
                      <a:pt x="57" y="215"/>
                    </a:cubicBezTo>
                    <a:cubicBezTo>
                      <a:pt x="58" y="213"/>
                      <a:pt x="58" y="213"/>
                      <a:pt x="58" y="213"/>
                    </a:cubicBezTo>
                    <a:cubicBezTo>
                      <a:pt x="58" y="210"/>
                      <a:pt x="58" y="210"/>
                      <a:pt x="58" y="210"/>
                    </a:cubicBezTo>
                    <a:cubicBezTo>
                      <a:pt x="64" y="216"/>
                      <a:pt x="64" y="216"/>
                      <a:pt x="64" y="216"/>
                    </a:cubicBezTo>
                    <a:cubicBezTo>
                      <a:pt x="67" y="218"/>
                      <a:pt x="67" y="218"/>
                      <a:pt x="67" y="218"/>
                    </a:cubicBezTo>
                    <a:cubicBezTo>
                      <a:pt x="71" y="218"/>
                      <a:pt x="71" y="218"/>
                      <a:pt x="71" y="218"/>
                    </a:cubicBezTo>
                    <a:cubicBezTo>
                      <a:pt x="73" y="218"/>
                      <a:pt x="73" y="218"/>
                      <a:pt x="73" y="218"/>
                    </a:cubicBezTo>
                    <a:cubicBezTo>
                      <a:pt x="75" y="217"/>
                      <a:pt x="75" y="217"/>
                      <a:pt x="75" y="217"/>
                    </a:cubicBezTo>
                    <a:cubicBezTo>
                      <a:pt x="73" y="216"/>
                      <a:pt x="73" y="216"/>
                      <a:pt x="73" y="216"/>
                    </a:cubicBezTo>
                    <a:cubicBezTo>
                      <a:pt x="71" y="214"/>
                      <a:pt x="71" y="214"/>
                      <a:pt x="71" y="214"/>
                    </a:cubicBezTo>
                    <a:cubicBezTo>
                      <a:pt x="69" y="213"/>
                      <a:pt x="69" y="213"/>
                      <a:pt x="69" y="213"/>
                    </a:cubicBezTo>
                    <a:cubicBezTo>
                      <a:pt x="69" y="212"/>
                      <a:pt x="69" y="212"/>
                      <a:pt x="69" y="212"/>
                    </a:cubicBezTo>
                    <a:cubicBezTo>
                      <a:pt x="71" y="210"/>
                      <a:pt x="71" y="210"/>
                      <a:pt x="71" y="210"/>
                    </a:cubicBezTo>
                    <a:cubicBezTo>
                      <a:pt x="73" y="211"/>
                      <a:pt x="73" y="211"/>
                      <a:pt x="73" y="211"/>
                    </a:cubicBezTo>
                    <a:cubicBezTo>
                      <a:pt x="75" y="212"/>
                      <a:pt x="75" y="212"/>
                      <a:pt x="75" y="212"/>
                    </a:cubicBezTo>
                    <a:cubicBezTo>
                      <a:pt x="75" y="210"/>
                      <a:pt x="75" y="210"/>
                      <a:pt x="75" y="210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73" y="207"/>
                      <a:pt x="73" y="207"/>
                      <a:pt x="73" y="207"/>
                    </a:cubicBezTo>
                    <a:cubicBezTo>
                      <a:pt x="74" y="206"/>
                      <a:pt x="74" y="206"/>
                      <a:pt x="74" y="206"/>
                    </a:cubicBezTo>
                    <a:cubicBezTo>
                      <a:pt x="75" y="206"/>
                      <a:pt x="75" y="206"/>
                      <a:pt x="75" y="206"/>
                    </a:cubicBezTo>
                    <a:cubicBezTo>
                      <a:pt x="78" y="208"/>
                      <a:pt x="78" y="208"/>
                      <a:pt x="78" y="208"/>
                    </a:cubicBezTo>
                    <a:cubicBezTo>
                      <a:pt x="78" y="210"/>
                      <a:pt x="78" y="210"/>
                      <a:pt x="78" y="210"/>
                    </a:cubicBezTo>
                    <a:cubicBezTo>
                      <a:pt x="82" y="211"/>
                      <a:pt x="82" y="211"/>
                      <a:pt x="82" y="211"/>
                    </a:cubicBezTo>
                    <a:cubicBezTo>
                      <a:pt x="84" y="210"/>
                      <a:pt x="84" y="210"/>
                      <a:pt x="84" y="210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1" y="206"/>
                      <a:pt x="81" y="206"/>
                      <a:pt x="81" y="206"/>
                    </a:cubicBezTo>
                    <a:cubicBezTo>
                      <a:pt x="80" y="204"/>
                      <a:pt x="80" y="204"/>
                      <a:pt x="80" y="204"/>
                    </a:cubicBezTo>
                    <a:cubicBezTo>
                      <a:pt x="81" y="203"/>
                      <a:pt x="81" y="203"/>
                      <a:pt x="81" y="203"/>
                    </a:cubicBezTo>
                    <a:cubicBezTo>
                      <a:pt x="82" y="204"/>
                      <a:pt x="82" y="204"/>
                      <a:pt x="82" y="204"/>
                    </a:cubicBezTo>
                    <a:cubicBezTo>
                      <a:pt x="85" y="207"/>
                      <a:pt x="85" y="207"/>
                      <a:pt x="85" y="207"/>
                    </a:cubicBezTo>
                    <a:cubicBezTo>
                      <a:pt x="87" y="210"/>
                      <a:pt x="87" y="210"/>
                      <a:pt x="87" y="210"/>
                    </a:cubicBezTo>
                    <a:cubicBezTo>
                      <a:pt x="87" y="212"/>
                      <a:pt x="87" y="212"/>
                      <a:pt x="87" y="212"/>
                    </a:cubicBezTo>
                    <a:cubicBezTo>
                      <a:pt x="90" y="211"/>
                      <a:pt x="90" y="211"/>
                      <a:pt x="90" y="211"/>
                    </a:cubicBezTo>
                    <a:cubicBezTo>
                      <a:pt x="91" y="209"/>
                      <a:pt x="91" y="209"/>
                      <a:pt x="91" y="209"/>
                    </a:cubicBezTo>
                    <a:cubicBezTo>
                      <a:pt x="87" y="205"/>
                      <a:pt x="87" y="205"/>
                      <a:pt x="87" y="205"/>
                    </a:cubicBezTo>
                    <a:cubicBezTo>
                      <a:pt x="85" y="203"/>
                      <a:pt x="85" y="203"/>
                      <a:pt x="85" y="203"/>
                    </a:cubicBezTo>
                    <a:cubicBezTo>
                      <a:pt x="85" y="201"/>
                      <a:pt x="85" y="201"/>
                      <a:pt x="85" y="201"/>
                    </a:cubicBezTo>
                    <a:lnTo>
                      <a:pt x="87" y="20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4011637" y="2383237"/>
                <a:ext cx="318179" cy="260206"/>
              </a:xfrm>
              <a:custGeom>
                <a:avLst/>
                <a:gdLst>
                  <a:gd name="T0" fmla="*/ 160 w 171"/>
                  <a:gd name="T1" fmla="*/ 94 h 139"/>
                  <a:gd name="T2" fmla="*/ 155 w 171"/>
                  <a:gd name="T3" fmla="*/ 84 h 139"/>
                  <a:gd name="T4" fmla="*/ 151 w 171"/>
                  <a:gd name="T5" fmla="*/ 80 h 139"/>
                  <a:gd name="T6" fmla="*/ 144 w 171"/>
                  <a:gd name="T7" fmla="*/ 82 h 139"/>
                  <a:gd name="T8" fmla="*/ 141 w 171"/>
                  <a:gd name="T9" fmla="*/ 75 h 139"/>
                  <a:gd name="T10" fmla="*/ 136 w 171"/>
                  <a:gd name="T11" fmla="*/ 64 h 139"/>
                  <a:gd name="T12" fmla="*/ 133 w 171"/>
                  <a:gd name="T13" fmla="*/ 31 h 139"/>
                  <a:gd name="T14" fmla="*/ 131 w 171"/>
                  <a:gd name="T15" fmla="*/ 15 h 139"/>
                  <a:gd name="T16" fmla="*/ 121 w 171"/>
                  <a:gd name="T17" fmla="*/ 3 h 139"/>
                  <a:gd name="T18" fmla="*/ 116 w 171"/>
                  <a:gd name="T19" fmla="*/ 2 h 139"/>
                  <a:gd name="T20" fmla="*/ 107 w 171"/>
                  <a:gd name="T21" fmla="*/ 0 h 139"/>
                  <a:gd name="T22" fmla="*/ 106 w 171"/>
                  <a:gd name="T23" fmla="*/ 26 h 139"/>
                  <a:gd name="T24" fmla="*/ 112 w 171"/>
                  <a:gd name="T25" fmla="*/ 41 h 139"/>
                  <a:gd name="T26" fmla="*/ 103 w 171"/>
                  <a:gd name="T27" fmla="*/ 48 h 139"/>
                  <a:gd name="T28" fmla="*/ 99 w 171"/>
                  <a:gd name="T29" fmla="*/ 37 h 139"/>
                  <a:gd name="T30" fmla="*/ 99 w 171"/>
                  <a:gd name="T31" fmla="*/ 26 h 139"/>
                  <a:gd name="T32" fmla="*/ 95 w 171"/>
                  <a:gd name="T33" fmla="*/ 11 h 139"/>
                  <a:gd name="T34" fmla="*/ 53 w 171"/>
                  <a:gd name="T35" fmla="*/ 92 h 139"/>
                  <a:gd name="T36" fmla="*/ 45 w 171"/>
                  <a:gd name="T37" fmla="*/ 95 h 139"/>
                  <a:gd name="T38" fmla="*/ 4 w 171"/>
                  <a:gd name="T39" fmla="*/ 95 h 139"/>
                  <a:gd name="T40" fmla="*/ 4 w 171"/>
                  <a:gd name="T41" fmla="*/ 102 h 139"/>
                  <a:gd name="T42" fmla="*/ 15 w 171"/>
                  <a:gd name="T43" fmla="*/ 108 h 139"/>
                  <a:gd name="T44" fmla="*/ 33 w 171"/>
                  <a:gd name="T45" fmla="*/ 114 h 139"/>
                  <a:gd name="T46" fmla="*/ 29 w 171"/>
                  <a:gd name="T47" fmla="*/ 131 h 139"/>
                  <a:gd name="T48" fmla="*/ 40 w 171"/>
                  <a:gd name="T49" fmla="*/ 138 h 139"/>
                  <a:gd name="T50" fmla="*/ 60 w 171"/>
                  <a:gd name="T51" fmla="*/ 137 h 139"/>
                  <a:gd name="T52" fmla="*/ 72 w 171"/>
                  <a:gd name="T53" fmla="*/ 139 h 139"/>
                  <a:gd name="T54" fmla="*/ 83 w 171"/>
                  <a:gd name="T55" fmla="*/ 134 h 139"/>
                  <a:gd name="T56" fmla="*/ 99 w 171"/>
                  <a:gd name="T57" fmla="*/ 129 h 139"/>
                  <a:gd name="T58" fmla="*/ 107 w 171"/>
                  <a:gd name="T59" fmla="*/ 117 h 139"/>
                  <a:gd name="T60" fmla="*/ 119 w 171"/>
                  <a:gd name="T61" fmla="*/ 116 h 139"/>
                  <a:gd name="T62" fmla="*/ 135 w 171"/>
                  <a:gd name="T63" fmla="*/ 121 h 139"/>
                  <a:gd name="T64" fmla="*/ 120 w 171"/>
                  <a:gd name="T65" fmla="*/ 120 h 139"/>
                  <a:gd name="T66" fmla="*/ 112 w 171"/>
                  <a:gd name="T67" fmla="*/ 122 h 139"/>
                  <a:gd name="T68" fmla="*/ 117 w 171"/>
                  <a:gd name="T69" fmla="*/ 129 h 139"/>
                  <a:gd name="T70" fmla="*/ 125 w 171"/>
                  <a:gd name="T71" fmla="*/ 137 h 139"/>
                  <a:gd name="T72" fmla="*/ 135 w 171"/>
                  <a:gd name="T73" fmla="*/ 134 h 139"/>
                  <a:gd name="T74" fmla="*/ 151 w 171"/>
                  <a:gd name="T75" fmla="*/ 139 h 139"/>
                  <a:gd name="T76" fmla="*/ 156 w 171"/>
                  <a:gd name="T77" fmla="*/ 135 h 139"/>
                  <a:gd name="T78" fmla="*/ 159 w 171"/>
                  <a:gd name="T79" fmla="*/ 127 h 139"/>
                  <a:gd name="T80" fmla="*/ 157 w 171"/>
                  <a:gd name="T81" fmla="*/ 120 h 139"/>
                  <a:gd name="T82" fmla="*/ 149 w 171"/>
                  <a:gd name="T83" fmla="*/ 127 h 139"/>
                  <a:gd name="T84" fmla="*/ 146 w 171"/>
                  <a:gd name="T85" fmla="*/ 122 h 139"/>
                  <a:gd name="T86" fmla="*/ 143 w 171"/>
                  <a:gd name="T87" fmla="*/ 116 h 139"/>
                  <a:gd name="T88" fmla="*/ 148 w 171"/>
                  <a:gd name="T89" fmla="*/ 117 h 139"/>
                  <a:gd name="T90" fmla="*/ 153 w 171"/>
                  <a:gd name="T91" fmla="*/ 112 h 139"/>
                  <a:gd name="T92" fmla="*/ 159 w 171"/>
                  <a:gd name="T93" fmla="*/ 109 h 139"/>
                  <a:gd name="T94" fmla="*/ 169 w 171"/>
                  <a:gd name="T95" fmla="*/ 112 h 139"/>
                  <a:gd name="T96" fmla="*/ 171 w 171"/>
                  <a:gd name="T97" fmla="*/ 102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1" h="139">
                    <a:moveTo>
                      <a:pt x="167" y="97"/>
                    </a:moveTo>
                    <a:cubicBezTo>
                      <a:pt x="162" y="94"/>
                      <a:pt x="162" y="94"/>
                      <a:pt x="162" y="94"/>
                    </a:cubicBezTo>
                    <a:cubicBezTo>
                      <a:pt x="160" y="94"/>
                      <a:pt x="160" y="94"/>
                      <a:pt x="160" y="94"/>
                    </a:cubicBezTo>
                    <a:cubicBezTo>
                      <a:pt x="158" y="90"/>
                      <a:pt x="158" y="90"/>
                      <a:pt x="158" y="90"/>
                    </a:cubicBezTo>
                    <a:cubicBezTo>
                      <a:pt x="154" y="87"/>
                      <a:pt x="154" y="87"/>
                      <a:pt x="154" y="87"/>
                    </a:cubicBezTo>
                    <a:cubicBezTo>
                      <a:pt x="155" y="84"/>
                      <a:pt x="155" y="84"/>
                      <a:pt x="155" y="84"/>
                    </a:cubicBezTo>
                    <a:cubicBezTo>
                      <a:pt x="155" y="82"/>
                      <a:pt x="155" y="82"/>
                      <a:pt x="155" y="82"/>
                    </a:cubicBezTo>
                    <a:cubicBezTo>
                      <a:pt x="152" y="80"/>
                      <a:pt x="152" y="80"/>
                      <a:pt x="152" y="80"/>
                    </a:cubicBezTo>
                    <a:cubicBezTo>
                      <a:pt x="151" y="80"/>
                      <a:pt x="151" y="80"/>
                      <a:pt x="151" y="80"/>
                    </a:cubicBezTo>
                    <a:cubicBezTo>
                      <a:pt x="150" y="83"/>
                      <a:pt x="150" y="83"/>
                      <a:pt x="150" y="83"/>
                    </a:cubicBezTo>
                    <a:cubicBezTo>
                      <a:pt x="147" y="85"/>
                      <a:pt x="147" y="85"/>
                      <a:pt x="147" y="85"/>
                    </a:cubicBezTo>
                    <a:cubicBezTo>
                      <a:pt x="144" y="82"/>
                      <a:pt x="144" y="82"/>
                      <a:pt x="144" y="82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1" y="77"/>
                      <a:pt x="141" y="77"/>
                      <a:pt x="141" y="77"/>
                    </a:cubicBezTo>
                    <a:cubicBezTo>
                      <a:pt x="141" y="75"/>
                      <a:pt x="141" y="75"/>
                      <a:pt x="141" y="75"/>
                    </a:cubicBezTo>
                    <a:cubicBezTo>
                      <a:pt x="139" y="72"/>
                      <a:pt x="139" y="72"/>
                      <a:pt x="139" y="72"/>
                    </a:cubicBezTo>
                    <a:cubicBezTo>
                      <a:pt x="137" y="70"/>
                      <a:pt x="137" y="70"/>
                      <a:pt x="137" y="70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34" y="45"/>
                      <a:pt x="134" y="45"/>
                      <a:pt x="134" y="45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1" y="15"/>
                      <a:pt x="131" y="15"/>
                      <a:pt x="131" y="15"/>
                    </a:cubicBezTo>
                    <a:cubicBezTo>
                      <a:pt x="126" y="9"/>
                      <a:pt x="126" y="9"/>
                      <a:pt x="126" y="9"/>
                    </a:cubicBezTo>
                    <a:cubicBezTo>
                      <a:pt x="123" y="7"/>
                      <a:pt x="123" y="7"/>
                      <a:pt x="123" y="7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9" y="1"/>
                      <a:pt x="118" y="0"/>
                      <a:pt x="117" y="1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07" y="3"/>
                      <a:pt x="107" y="3"/>
                      <a:pt x="107" y="3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26"/>
                      <a:pt x="106" y="26"/>
                      <a:pt x="106" y="26"/>
                    </a:cubicBezTo>
                    <a:cubicBezTo>
                      <a:pt x="108" y="28"/>
                      <a:pt x="108" y="28"/>
                      <a:pt x="108" y="28"/>
                    </a:cubicBezTo>
                    <a:cubicBezTo>
                      <a:pt x="109" y="36"/>
                      <a:pt x="109" y="36"/>
                      <a:pt x="109" y="36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10" y="42"/>
                      <a:pt x="110" y="42"/>
                      <a:pt x="110" y="42"/>
                    </a:cubicBezTo>
                    <a:cubicBezTo>
                      <a:pt x="108" y="45"/>
                      <a:pt x="108" y="45"/>
                      <a:pt x="108" y="45"/>
                    </a:cubicBezTo>
                    <a:cubicBezTo>
                      <a:pt x="103" y="48"/>
                      <a:pt x="103" y="48"/>
                      <a:pt x="103" y="48"/>
                    </a:cubicBezTo>
                    <a:cubicBezTo>
                      <a:pt x="101" y="49"/>
                      <a:pt x="101" y="49"/>
                      <a:pt x="101" y="49"/>
                    </a:cubicBezTo>
                    <a:cubicBezTo>
                      <a:pt x="99" y="48"/>
                      <a:pt x="99" y="48"/>
                      <a:pt x="99" y="48"/>
                    </a:cubicBezTo>
                    <a:cubicBezTo>
                      <a:pt x="99" y="37"/>
                      <a:pt x="99" y="37"/>
                      <a:pt x="99" y="37"/>
                    </a:cubicBezTo>
                    <a:cubicBezTo>
                      <a:pt x="99" y="36"/>
                      <a:pt x="99" y="36"/>
                      <a:pt x="99" y="36"/>
                    </a:cubicBezTo>
                    <a:cubicBezTo>
                      <a:pt x="99" y="36"/>
                      <a:pt x="97" y="37"/>
                      <a:pt x="99" y="33"/>
                    </a:cubicBezTo>
                    <a:cubicBezTo>
                      <a:pt x="100" y="30"/>
                      <a:pt x="99" y="26"/>
                      <a:pt x="99" y="26"/>
                    </a:cubicBezTo>
                    <a:cubicBezTo>
                      <a:pt x="99" y="22"/>
                      <a:pt x="99" y="22"/>
                      <a:pt x="99" y="22"/>
                    </a:cubicBezTo>
                    <a:cubicBezTo>
                      <a:pt x="99" y="18"/>
                      <a:pt x="99" y="18"/>
                      <a:pt x="99" y="1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3" y="8"/>
                      <a:pt x="93" y="8"/>
                      <a:pt x="93" y="8"/>
                    </a:cubicBezTo>
                    <a:cubicBezTo>
                      <a:pt x="82" y="97"/>
                      <a:pt x="82" y="97"/>
                      <a:pt x="82" y="97"/>
                    </a:cubicBezTo>
                    <a:cubicBezTo>
                      <a:pt x="53" y="92"/>
                      <a:pt x="53" y="92"/>
                      <a:pt x="53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7" y="97"/>
                      <a:pt x="47" y="97"/>
                      <a:pt x="47" y="97"/>
                    </a:cubicBezTo>
                    <a:cubicBezTo>
                      <a:pt x="45" y="95"/>
                      <a:pt x="45" y="95"/>
                      <a:pt x="45" y="95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5" y="108"/>
                      <a:pt x="15" y="108"/>
                      <a:pt x="15" y="108"/>
                    </a:cubicBezTo>
                    <a:cubicBezTo>
                      <a:pt x="21" y="108"/>
                      <a:pt x="21" y="108"/>
                      <a:pt x="21" y="108"/>
                    </a:cubicBezTo>
                    <a:cubicBezTo>
                      <a:pt x="28" y="112"/>
                      <a:pt x="28" y="112"/>
                      <a:pt x="28" y="112"/>
                    </a:cubicBezTo>
                    <a:cubicBezTo>
                      <a:pt x="33" y="114"/>
                      <a:pt x="33" y="114"/>
                      <a:pt x="33" y="114"/>
                    </a:cubicBezTo>
                    <a:cubicBezTo>
                      <a:pt x="31" y="117"/>
                      <a:pt x="31" y="117"/>
                      <a:pt x="31" y="117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29" y="131"/>
                      <a:pt x="29" y="131"/>
                      <a:pt x="29" y="131"/>
                    </a:cubicBezTo>
                    <a:cubicBezTo>
                      <a:pt x="31" y="135"/>
                      <a:pt x="31" y="135"/>
                      <a:pt x="31" y="135"/>
                    </a:cubicBezTo>
                    <a:cubicBezTo>
                      <a:pt x="35" y="138"/>
                      <a:pt x="35" y="138"/>
                      <a:pt x="35" y="138"/>
                    </a:cubicBezTo>
                    <a:cubicBezTo>
                      <a:pt x="40" y="138"/>
                      <a:pt x="40" y="138"/>
                      <a:pt x="40" y="138"/>
                    </a:cubicBezTo>
                    <a:cubicBezTo>
                      <a:pt x="47" y="139"/>
                      <a:pt x="47" y="139"/>
                      <a:pt x="47" y="139"/>
                    </a:cubicBezTo>
                    <a:cubicBezTo>
                      <a:pt x="58" y="139"/>
                      <a:pt x="58" y="139"/>
                      <a:pt x="58" y="139"/>
                    </a:cubicBezTo>
                    <a:cubicBezTo>
                      <a:pt x="60" y="137"/>
                      <a:pt x="60" y="137"/>
                      <a:pt x="60" y="137"/>
                    </a:cubicBezTo>
                    <a:cubicBezTo>
                      <a:pt x="66" y="139"/>
                      <a:pt x="66" y="139"/>
                      <a:pt x="66" y="139"/>
                    </a:cubicBezTo>
                    <a:cubicBezTo>
                      <a:pt x="71" y="139"/>
                      <a:pt x="71" y="139"/>
                      <a:pt x="71" y="139"/>
                    </a:cubicBezTo>
                    <a:cubicBezTo>
                      <a:pt x="72" y="139"/>
                      <a:pt x="72" y="139"/>
                      <a:pt x="72" y="139"/>
                    </a:cubicBezTo>
                    <a:cubicBezTo>
                      <a:pt x="77" y="139"/>
                      <a:pt x="77" y="139"/>
                      <a:pt x="77" y="139"/>
                    </a:cubicBezTo>
                    <a:cubicBezTo>
                      <a:pt x="79" y="136"/>
                      <a:pt x="79" y="136"/>
                      <a:pt x="79" y="136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2"/>
                      <a:pt x="86" y="132"/>
                      <a:pt x="86" y="132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9" y="129"/>
                      <a:pt x="99" y="129"/>
                      <a:pt x="99" y="129"/>
                    </a:cubicBezTo>
                    <a:cubicBezTo>
                      <a:pt x="104" y="124"/>
                      <a:pt x="104" y="124"/>
                      <a:pt x="104" y="124"/>
                    </a:cubicBezTo>
                    <a:cubicBezTo>
                      <a:pt x="106" y="119"/>
                      <a:pt x="106" y="119"/>
                      <a:pt x="106" y="119"/>
                    </a:cubicBezTo>
                    <a:cubicBezTo>
                      <a:pt x="107" y="117"/>
                      <a:pt x="107" y="117"/>
                      <a:pt x="107" y="117"/>
                    </a:cubicBezTo>
                    <a:cubicBezTo>
                      <a:pt x="111" y="116"/>
                      <a:pt x="111" y="116"/>
                      <a:pt x="111" y="116"/>
                    </a:cubicBezTo>
                    <a:cubicBezTo>
                      <a:pt x="118" y="116"/>
                      <a:pt x="118" y="116"/>
                      <a:pt x="118" y="116"/>
                    </a:cubicBezTo>
                    <a:cubicBezTo>
                      <a:pt x="119" y="116"/>
                      <a:pt x="119" y="116"/>
                      <a:pt x="119" y="116"/>
                    </a:cubicBezTo>
                    <a:cubicBezTo>
                      <a:pt x="128" y="117"/>
                      <a:pt x="128" y="117"/>
                      <a:pt x="128" y="117"/>
                    </a:cubicBezTo>
                    <a:cubicBezTo>
                      <a:pt x="135" y="117"/>
                      <a:pt x="135" y="117"/>
                      <a:pt x="135" y="117"/>
                    </a:cubicBezTo>
                    <a:cubicBezTo>
                      <a:pt x="135" y="121"/>
                      <a:pt x="135" y="121"/>
                      <a:pt x="135" y="121"/>
                    </a:cubicBezTo>
                    <a:cubicBezTo>
                      <a:pt x="126" y="121"/>
                      <a:pt x="126" y="121"/>
                      <a:pt x="126" y="121"/>
                    </a:cubicBezTo>
                    <a:cubicBezTo>
                      <a:pt x="124" y="120"/>
                      <a:pt x="124" y="120"/>
                      <a:pt x="124" y="120"/>
                    </a:cubicBezTo>
                    <a:cubicBezTo>
                      <a:pt x="120" y="120"/>
                      <a:pt x="120" y="120"/>
                      <a:pt x="120" y="120"/>
                    </a:cubicBezTo>
                    <a:cubicBezTo>
                      <a:pt x="116" y="118"/>
                      <a:pt x="116" y="118"/>
                      <a:pt x="116" y="118"/>
                    </a:cubicBezTo>
                    <a:cubicBezTo>
                      <a:pt x="115" y="119"/>
                      <a:pt x="115" y="119"/>
                      <a:pt x="115" y="119"/>
                    </a:cubicBezTo>
                    <a:cubicBezTo>
                      <a:pt x="112" y="122"/>
                      <a:pt x="112" y="122"/>
                      <a:pt x="112" y="122"/>
                    </a:cubicBezTo>
                    <a:cubicBezTo>
                      <a:pt x="111" y="126"/>
                      <a:pt x="111" y="126"/>
                      <a:pt x="111" y="126"/>
                    </a:cubicBezTo>
                    <a:cubicBezTo>
                      <a:pt x="112" y="127"/>
                      <a:pt x="112" y="127"/>
                      <a:pt x="112" y="127"/>
                    </a:cubicBezTo>
                    <a:cubicBezTo>
                      <a:pt x="117" y="129"/>
                      <a:pt x="117" y="129"/>
                      <a:pt x="117" y="129"/>
                    </a:cubicBezTo>
                    <a:cubicBezTo>
                      <a:pt x="121" y="129"/>
                      <a:pt x="121" y="129"/>
                      <a:pt x="121" y="129"/>
                    </a:cubicBezTo>
                    <a:cubicBezTo>
                      <a:pt x="123" y="134"/>
                      <a:pt x="123" y="134"/>
                      <a:pt x="123" y="134"/>
                    </a:cubicBezTo>
                    <a:cubicBezTo>
                      <a:pt x="125" y="137"/>
                      <a:pt x="125" y="137"/>
                      <a:pt x="125" y="137"/>
                    </a:cubicBezTo>
                    <a:cubicBezTo>
                      <a:pt x="130" y="137"/>
                      <a:pt x="130" y="137"/>
                      <a:pt x="130" y="137"/>
                    </a:cubicBezTo>
                    <a:cubicBezTo>
                      <a:pt x="130" y="134"/>
                      <a:pt x="130" y="134"/>
                      <a:pt x="130" y="134"/>
                    </a:cubicBezTo>
                    <a:cubicBezTo>
                      <a:pt x="135" y="134"/>
                      <a:pt x="135" y="134"/>
                      <a:pt x="135" y="134"/>
                    </a:cubicBezTo>
                    <a:cubicBezTo>
                      <a:pt x="138" y="137"/>
                      <a:pt x="138" y="137"/>
                      <a:pt x="138" y="137"/>
                    </a:cubicBezTo>
                    <a:cubicBezTo>
                      <a:pt x="142" y="139"/>
                      <a:pt x="142" y="139"/>
                      <a:pt x="142" y="139"/>
                    </a:cubicBezTo>
                    <a:cubicBezTo>
                      <a:pt x="151" y="139"/>
                      <a:pt x="151" y="139"/>
                      <a:pt x="151" y="139"/>
                    </a:cubicBezTo>
                    <a:cubicBezTo>
                      <a:pt x="152" y="137"/>
                      <a:pt x="152" y="137"/>
                      <a:pt x="152" y="137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56" y="135"/>
                      <a:pt x="156" y="135"/>
                      <a:pt x="156" y="135"/>
                    </a:cubicBezTo>
                    <a:cubicBezTo>
                      <a:pt x="158" y="134"/>
                      <a:pt x="158" y="134"/>
                      <a:pt x="158" y="134"/>
                    </a:cubicBezTo>
                    <a:cubicBezTo>
                      <a:pt x="158" y="131"/>
                      <a:pt x="158" y="131"/>
                      <a:pt x="158" y="131"/>
                    </a:cubicBezTo>
                    <a:cubicBezTo>
                      <a:pt x="159" y="127"/>
                      <a:pt x="159" y="127"/>
                      <a:pt x="159" y="127"/>
                    </a:cubicBezTo>
                    <a:cubicBezTo>
                      <a:pt x="159" y="125"/>
                      <a:pt x="159" y="125"/>
                      <a:pt x="159" y="125"/>
                    </a:cubicBezTo>
                    <a:cubicBezTo>
                      <a:pt x="159" y="122"/>
                      <a:pt x="159" y="122"/>
                      <a:pt x="159" y="122"/>
                    </a:cubicBezTo>
                    <a:cubicBezTo>
                      <a:pt x="157" y="120"/>
                      <a:pt x="157" y="120"/>
                      <a:pt x="157" y="120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46" y="126"/>
                      <a:pt x="146" y="126"/>
                      <a:pt x="146" y="126"/>
                    </a:cubicBezTo>
                    <a:cubicBezTo>
                      <a:pt x="145" y="124"/>
                      <a:pt x="145" y="124"/>
                      <a:pt x="145" y="124"/>
                    </a:cubicBezTo>
                    <a:cubicBezTo>
                      <a:pt x="146" y="122"/>
                      <a:pt x="146" y="122"/>
                      <a:pt x="146" y="122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6" y="119"/>
                      <a:pt x="146" y="119"/>
                      <a:pt x="146" y="119"/>
                    </a:cubicBezTo>
                    <a:cubicBezTo>
                      <a:pt x="143" y="116"/>
                      <a:pt x="143" y="116"/>
                      <a:pt x="143" y="116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5" y="114"/>
                      <a:pt x="145" y="114"/>
                      <a:pt x="145" y="114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51" y="117"/>
                      <a:pt x="151" y="117"/>
                      <a:pt x="151" y="117"/>
                    </a:cubicBezTo>
                    <a:cubicBezTo>
                      <a:pt x="152" y="115"/>
                      <a:pt x="152" y="115"/>
                      <a:pt x="152" y="115"/>
                    </a:cubicBezTo>
                    <a:cubicBezTo>
                      <a:pt x="153" y="112"/>
                      <a:pt x="153" y="112"/>
                      <a:pt x="153" y="112"/>
                    </a:cubicBezTo>
                    <a:cubicBezTo>
                      <a:pt x="154" y="109"/>
                      <a:pt x="154" y="109"/>
                      <a:pt x="154" y="109"/>
                    </a:cubicBezTo>
                    <a:cubicBezTo>
                      <a:pt x="156" y="107"/>
                      <a:pt x="156" y="107"/>
                      <a:pt x="156" y="107"/>
                    </a:cubicBezTo>
                    <a:cubicBezTo>
                      <a:pt x="159" y="109"/>
                      <a:pt x="159" y="109"/>
                      <a:pt x="159" y="109"/>
                    </a:cubicBezTo>
                    <a:cubicBezTo>
                      <a:pt x="161" y="111"/>
                      <a:pt x="161" y="111"/>
                      <a:pt x="161" y="111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69" y="112"/>
                      <a:pt x="169" y="112"/>
                      <a:pt x="169" y="112"/>
                    </a:cubicBezTo>
                    <a:cubicBezTo>
                      <a:pt x="170" y="110"/>
                      <a:pt x="170" y="110"/>
                      <a:pt x="170" y="110"/>
                    </a:cubicBezTo>
                    <a:cubicBezTo>
                      <a:pt x="171" y="105"/>
                      <a:pt x="171" y="105"/>
                      <a:pt x="171" y="105"/>
                    </a:cubicBezTo>
                    <a:cubicBezTo>
                      <a:pt x="171" y="102"/>
                      <a:pt x="171" y="102"/>
                      <a:pt x="171" y="102"/>
                    </a:cubicBezTo>
                    <a:lnTo>
                      <a:pt x="167" y="9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5" name="Freeform 30"/>
              <p:cNvSpPr>
                <a:spLocks/>
              </p:cNvSpPr>
              <p:nvPr/>
            </p:nvSpPr>
            <p:spPr bwMode="auto">
              <a:xfrm>
                <a:off x="4362173" y="2585469"/>
                <a:ext cx="83589" cy="78196"/>
              </a:xfrm>
              <a:custGeom>
                <a:avLst/>
                <a:gdLst>
                  <a:gd name="T0" fmla="*/ 37 w 62"/>
                  <a:gd name="T1" fmla="*/ 55 h 58"/>
                  <a:gd name="T2" fmla="*/ 40 w 62"/>
                  <a:gd name="T3" fmla="*/ 55 h 58"/>
                  <a:gd name="T4" fmla="*/ 43 w 62"/>
                  <a:gd name="T5" fmla="*/ 58 h 58"/>
                  <a:gd name="T6" fmla="*/ 47 w 62"/>
                  <a:gd name="T7" fmla="*/ 56 h 58"/>
                  <a:gd name="T8" fmla="*/ 48 w 62"/>
                  <a:gd name="T9" fmla="*/ 55 h 58"/>
                  <a:gd name="T10" fmla="*/ 48 w 62"/>
                  <a:gd name="T11" fmla="*/ 52 h 58"/>
                  <a:gd name="T12" fmla="*/ 54 w 62"/>
                  <a:gd name="T13" fmla="*/ 48 h 58"/>
                  <a:gd name="T14" fmla="*/ 55 w 62"/>
                  <a:gd name="T15" fmla="*/ 45 h 58"/>
                  <a:gd name="T16" fmla="*/ 58 w 62"/>
                  <a:gd name="T17" fmla="*/ 45 h 58"/>
                  <a:gd name="T18" fmla="*/ 58 w 62"/>
                  <a:gd name="T19" fmla="*/ 52 h 58"/>
                  <a:gd name="T20" fmla="*/ 61 w 62"/>
                  <a:gd name="T21" fmla="*/ 48 h 58"/>
                  <a:gd name="T22" fmla="*/ 62 w 62"/>
                  <a:gd name="T23" fmla="*/ 45 h 58"/>
                  <a:gd name="T24" fmla="*/ 62 w 62"/>
                  <a:gd name="T25" fmla="*/ 43 h 58"/>
                  <a:gd name="T26" fmla="*/ 60 w 62"/>
                  <a:gd name="T27" fmla="*/ 38 h 58"/>
                  <a:gd name="T28" fmla="*/ 53 w 62"/>
                  <a:gd name="T29" fmla="*/ 36 h 58"/>
                  <a:gd name="T30" fmla="*/ 50 w 62"/>
                  <a:gd name="T31" fmla="*/ 27 h 58"/>
                  <a:gd name="T32" fmla="*/ 47 w 62"/>
                  <a:gd name="T33" fmla="*/ 23 h 58"/>
                  <a:gd name="T34" fmla="*/ 43 w 62"/>
                  <a:gd name="T35" fmla="*/ 19 h 58"/>
                  <a:gd name="T36" fmla="*/ 37 w 62"/>
                  <a:gd name="T37" fmla="*/ 15 h 58"/>
                  <a:gd name="T38" fmla="*/ 30 w 62"/>
                  <a:gd name="T39" fmla="*/ 9 h 58"/>
                  <a:gd name="T40" fmla="*/ 29 w 62"/>
                  <a:gd name="T41" fmla="*/ 4 h 58"/>
                  <a:gd name="T42" fmla="*/ 21 w 62"/>
                  <a:gd name="T43" fmla="*/ 0 h 58"/>
                  <a:gd name="T44" fmla="*/ 17 w 62"/>
                  <a:gd name="T45" fmla="*/ 2 h 58"/>
                  <a:gd name="T46" fmla="*/ 17 w 62"/>
                  <a:gd name="T47" fmla="*/ 8 h 58"/>
                  <a:gd name="T48" fmla="*/ 18 w 62"/>
                  <a:gd name="T49" fmla="*/ 13 h 58"/>
                  <a:gd name="T50" fmla="*/ 17 w 62"/>
                  <a:gd name="T51" fmla="*/ 12 h 58"/>
                  <a:gd name="T52" fmla="*/ 14 w 62"/>
                  <a:gd name="T53" fmla="*/ 12 h 58"/>
                  <a:gd name="T54" fmla="*/ 14 w 62"/>
                  <a:gd name="T55" fmla="*/ 13 h 58"/>
                  <a:gd name="T56" fmla="*/ 14 w 62"/>
                  <a:gd name="T57" fmla="*/ 18 h 58"/>
                  <a:gd name="T58" fmla="*/ 14 w 62"/>
                  <a:gd name="T59" fmla="*/ 23 h 58"/>
                  <a:gd name="T60" fmla="*/ 8 w 62"/>
                  <a:gd name="T61" fmla="*/ 26 h 58"/>
                  <a:gd name="T62" fmla="*/ 0 w 62"/>
                  <a:gd name="T63" fmla="*/ 33 h 58"/>
                  <a:gd name="T64" fmla="*/ 0 w 62"/>
                  <a:gd name="T65" fmla="*/ 37 h 58"/>
                  <a:gd name="T66" fmla="*/ 1 w 62"/>
                  <a:gd name="T67" fmla="*/ 40 h 58"/>
                  <a:gd name="T68" fmla="*/ 10 w 62"/>
                  <a:gd name="T69" fmla="*/ 43 h 58"/>
                  <a:gd name="T70" fmla="*/ 15 w 62"/>
                  <a:gd name="T71" fmla="*/ 45 h 58"/>
                  <a:gd name="T72" fmla="*/ 24 w 62"/>
                  <a:gd name="T73" fmla="*/ 49 h 58"/>
                  <a:gd name="T74" fmla="*/ 26 w 62"/>
                  <a:gd name="T75" fmla="*/ 51 h 58"/>
                  <a:gd name="T76" fmla="*/ 32 w 62"/>
                  <a:gd name="T77" fmla="*/ 51 h 58"/>
                  <a:gd name="T78" fmla="*/ 36 w 62"/>
                  <a:gd name="T79" fmla="*/ 52 h 58"/>
                  <a:gd name="T80" fmla="*/ 37 w 62"/>
                  <a:gd name="T8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" h="58">
                    <a:moveTo>
                      <a:pt x="37" y="55"/>
                    </a:moveTo>
                    <a:lnTo>
                      <a:pt x="40" y="55"/>
                    </a:lnTo>
                    <a:lnTo>
                      <a:pt x="43" y="58"/>
                    </a:lnTo>
                    <a:lnTo>
                      <a:pt x="47" y="56"/>
                    </a:lnTo>
                    <a:lnTo>
                      <a:pt x="48" y="55"/>
                    </a:lnTo>
                    <a:lnTo>
                      <a:pt x="48" y="52"/>
                    </a:lnTo>
                    <a:lnTo>
                      <a:pt x="54" y="48"/>
                    </a:lnTo>
                    <a:lnTo>
                      <a:pt x="55" y="45"/>
                    </a:lnTo>
                    <a:lnTo>
                      <a:pt x="58" y="45"/>
                    </a:lnTo>
                    <a:lnTo>
                      <a:pt x="58" y="52"/>
                    </a:lnTo>
                    <a:lnTo>
                      <a:pt x="61" y="48"/>
                    </a:lnTo>
                    <a:lnTo>
                      <a:pt x="62" y="45"/>
                    </a:lnTo>
                    <a:lnTo>
                      <a:pt x="62" y="43"/>
                    </a:lnTo>
                    <a:lnTo>
                      <a:pt x="60" y="38"/>
                    </a:lnTo>
                    <a:lnTo>
                      <a:pt x="53" y="36"/>
                    </a:lnTo>
                    <a:lnTo>
                      <a:pt x="50" y="27"/>
                    </a:lnTo>
                    <a:lnTo>
                      <a:pt x="47" y="23"/>
                    </a:lnTo>
                    <a:lnTo>
                      <a:pt x="43" y="19"/>
                    </a:lnTo>
                    <a:lnTo>
                      <a:pt x="37" y="15"/>
                    </a:lnTo>
                    <a:lnTo>
                      <a:pt x="30" y="9"/>
                    </a:lnTo>
                    <a:lnTo>
                      <a:pt x="29" y="4"/>
                    </a:lnTo>
                    <a:lnTo>
                      <a:pt x="21" y="0"/>
                    </a:lnTo>
                    <a:lnTo>
                      <a:pt x="17" y="2"/>
                    </a:lnTo>
                    <a:lnTo>
                      <a:pt x="17" y="8"/>
                    </a:lnTo>
                    <a:lnTo>
                      <a:pt x="18" y="13"/>
                    </a:lnTo>
                    <a:lnTo>
                      <a:pt x="17" y="12"/>
                    </a:lnTo>
                    <a:lnTo>
                      <a:pt x="14" y="12"/>
                    </a:lnTo>
                    <a:lnTo>
                      <a:pt x="14" y="13"/>
                    </a:lnTo>
                    <a:lnTo>
                      <a:pt x="14" y="18"/>
                    </a:lnTo>
                    <a:lnTo>
                      <a:pt x="14" y="23"/>
                    </a:lnTo>
                    <a:lnTo>
                      <a:pt x="8" y="26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1" y="40"/>
                    </a:lnTo>
                    <a:lnTo>
                      <a:pt x="10" y="43"/>
                    </a:lnTo>
                    <a:lnTo>
                      <a:pt x="15" y="45"/>
                    </a:lnTo>
                    <a:lnTo>
                      <a:pt x="24" y="49"/>
                    </a:lnTo>
                    <a:lnTo>
                      <a:pt x="26" y="51"/>
                    </a:lnTo>
                    <a:lnTo>
                      <a:pt x="32" y="51"/>
                    </a:lnTo>
                    <a:lnTo>
                      <a:pt x="36" y="52"/>
                    </a:lnTo>
                    <a:lnTo>
                      <a:pt x="37" y="55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6" name="Freeform 31"/>
              <p:cNvSpPr>
                <a:spLocks/>
              </p:cNvSpPr>
              <p:nvPr/>
            </p:nvSpPr>
            <p:spPr bwMode="auto">
              <a:xfrm>
                <a:off x="4418798" y="2330656"/>
                <a:ext cx="80893" cy="126732"/>
              </a:xfrm>
              <a:custGeom>
                <a:avLst/>
                <a:gdLst>
                  <a:gd name="T0" fmla="*/ 16 w 60"/>
                  <a:gd name="T1" fmla="*/ 94 h 94"/>
                  <a:gd name="T2" fmla="*/ 23 w 60"/>
                  <a:gd name="T3" fmla="*/ 92 h 94"/>
                  <a:gd name="T4" fmla="*/ 27 w 60"/>
                  <a:gd name="T5" fmla="*/ 88 h 94"/>
                  <a:gd name="T6" fmla="*/ 30 w 60"/>
                  <a:gd name="T7" fmla="*/ 81 h 94"/>
                  <a:gd name="T8" fmla="*/ 30 w 60"/>
                  <a:gd name="T9" fmla="*/ 71 h 94"/>
                  <a:gd name="T10" fmla="*/ 29 w 60"/>
                  <a:gd name="T11" fmla="*/ 67 h 94"/>
                  <a:gd name="T12" fmla="*/ 23 w 60"/>
                  <a:gd name="T13" fmla="*/ 65 h 94"/>
                  <a:gd name="T14" fmla="*/ 20 w 60"/>
                  <a:gd name="T15" fmla="*/ 61 h 94"/>
                  <a:gd name="T16" fmla="*/ 23 w 60"/>
                  <a:gd name="T17" fmla="*/ 61 h 94"/>
                  <a:gd name="T18" fmla="*/ 33 w 60"/>
                  <a:gd name="T19" fmla="*/ 61 h 94"/>
                  <a:gd name="T20" fmla="*/ 38 w 60"/>
                  <a:gd name="T21" fmla="*/ 61 h 94"/>
                  <a:gd name="T22" fmla="*/ 45 w 60"/>
                  <a:gd name="T23" fmla="*/ 57 h 94"/>
                  <a:gd name="T24" fmla="*/ 52 w 60"/>
                  <a:gd name="T25" fmla="*/ 45 h 94"/>
                  <a:gd name="T26" fmla="*/ 58 w 60"/>
                  <a:gd name="T27" fmla="*/ 35 h 94"/>
                  <a:gd name="T28" fmla="*/ 58 w 60"/>
                  <a:gd name="T29" fmla="*/ 27 h 94"/>
                  <a:gd name="T30" fmla="*/ 60 w 60"/>
                  <a:gd name="T31" fmla="*/ 16 h 94"/>
                  <a:gd name="T32" fmla="*/ 60 w 60"/>
                  <a:gd name="T33" fmla="*/ 10 h 94"/>
                  <a:gd name="T34" fmla="*/ 55 w 60"/>
                  <a:gd name="T35" fmla="*/ 6 h 94"/>
                  <a:gd name="T36" fmla="*/ 47 w 60"/>
                  <a:gd name="T37" fmla="*/ 6 h 94"/>
                  <a:gd name="T38" fmla="*/ 42 w 60"/>
                  <a:gd name="T39" fmla="*/ 6 h 94"/>
                  <a:gd name="T40" fmla="*/ 33 w 60"/>
                  <a:gd name="T41" fmla="*/ 6 h 94"/>
                  <a:gd name="T42" fmla="*/ 29 w 60"/>
                  <a:gd name="T43" fmla="*/ 0 h 94"/>
                  <a:gd name="T44" fmla="*/ 20 w 60"/>
                  <a:gd name="T45" fmla="*/ 2 h 94"/>
                  <a:gd name="T46" fmla="*/ 12 w 60"/>
                  <a:gd name="T47" fmla="*/ 4 h 94"/>
                  <a:gd name="T48" fmla="*/ 5 w 60"/>
                  <a:gd name="T49" fmla="*/ 7 h 94"/>
                  <a:gd name="T50" fmla="*/ 5 w 60"/>
                  <a:gd name="T51" fmla="*/ 9 h 94"/>
                  <a:gd name="T52" fmla="*/ 2 w 60"/>
                  <a:gd name="T53" fmla="*/ 9 h 94"/>
                  <a:gd name="T54" fmla="*/ 6 w 60"/>
                  <a:gd name="T55" fmla="*/ 16 h 94"/>
                  <a:gd name="T56" fmla="*/ 9 w 60"/>
                  <a:gd name="T57" fmla="*/ 17 h 94"/>
                  <a:gd name="T58" fmla="*/ 11 w 60"/>
                  <a:gd name="T59" fmla="*/ 18 h 94"/>
                  <a:gd name="T60" fmla="*/ 9 w 60"/>
                  <a:gd name="T61" fmla="*/ 21 h 94"/>
                  <a:gd name="T62" fmla="*/ 2 w 60"/>
                  <a:gd name="T63" fmla="*/ 21 h 94"/>
                  <a:gd name="T64" fmla="*/ 0 w 60"/>
                  <a:gd name="T65" fmla="*/ 24 h 94"/>
                  <a:gd name="T66" fmla="*/ 0 w 60"/>
                  <a:gd name="T67" fmla="*/ 29 h 94"/>
                  <a:gd name="T68" fmla="*/ 0 w 60"/>
                  <a:gd name="T69" fmla="*/ 36 h 94"/>
                  <a:gd name="T70" fmla="*/ 2 w 60"/>
                  <a:gd name="T71" fmla="*/ 43 h 94"/>
                  <a:gd name="T72" fmla="*/ 4 w 60"/>
                  <a:gd name="T73" fmla="*/ 61 h 94"/>
                  <a:gd name="T74" fmla="*/ 6 w 60"/>
                  <a:gd name="T75" fmla="*/ 67 h 94"/>
                  <a:gd name="T76" fmla="*/ 9 w 60"/>
                  <a:gd name="T77" fmla="*/ 68 h 94"/>
                  <a:gd name="T78" fmla="*/ 9 w 60"/>
                  <a:gd name="T79" fmla="*/ 72 h 94"/>
                  <a:gd name="T80" fmla="*/ 11 w 60"/>
                  <a:gd name="T81" fmla="*/ 83 h 94"/>
                  <a:gd name="T82" fmla="*/ 11 w 60"/>
                  <a:gd name="T83" fmla="*/ 89 h 94"/>
                  <a:gd name="T84" fmla="*/ 13 w 60"/>
                  <a:gd name="T85" fmla="*/ 92 h 94"/>
                  <a:gd name="T86" fmla="*/ 16 w 60"/>
                  <a:gd name="T87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0" h="94">
                    <a:moveTo>
                      <a:pt x="16" y="94"/>
                    </a:moveTo>
                    <a:lnTo>
                      <a:pt x="23" y="92"/>
                    </a:lnTo>
                    <a:lnTo>
                      <a:pt x="27" y="88"/>
                    </a:lnTo>
                    <a:lnTo>
                      <a:pt x="30" y="81"/>
                    </a:lnTo>
                    <a:lnTo>
                      <a:pt x="30" y="71"/>
                    </a:lnTo>
                    <a:lnTo>
                      <a:pt x="29" y="67"/>
                    </a:lnTo>
                    <a:lnTo>
                      <a:pt x="23" y="65"/>
                    </a:lnTo>
                    <a:lnTo>
                      <a:pt x="20" y="61"/>
                    </a:lnTo>
                    <a:lnTo>
                      <a:pt x="23" y="61"/>
                    </a:lnTo>
                    <a:lnTo>
                      <a:pt x="33" y="61"/>
                    </a:lnTo>
                    <a:lnTo>
                      <a:pt x="38" y="61"/>
                    </a:lnTo>
                    <a:lnTo>
                      <a:pt x="45" y="57"/>
                    </a:lnTo>
                    <a:lnTo>
                      <a:pt x="52" y="45"/>
                    </a:lnTo>
                    <a:lnTo>
                      <a:pt x="58" y="35"/>
                    </a:lnTo>
                    <a:lnTo>
                      <a:pt x="58" y="27"/>
                    </a:lnTo>
                    <a:lnTo>
                      <a:pt x="60" y="16"/>
                    </a:lnTo>
                    <a:lnTo>
                      <a:pt x="60" y="10"/>
                    </a:lnTo>
                    <a:lnTo>
                      <a:pt x="55" y="6"/>
                    </a:lnTo>
                    <a:lnTo>
                      <a:pt x="47" y="6"/>
                    </a:lnTo>
                    <a:lnTo>
                      <a:pt x="42" y="6"/>
                    </a:lnTo>
                    <a:lnTo>
                      <a:pt x="33" y="6"/>
                    </a:lnTo>
                    <a:lnTo>
                      <a:pt x="29" y="0"/>
                    </a:lnTo>
                    <a:lnTo>
                      <a:pt x="20" y="2"/>
                    </a:lnTo>
                    <a:lnTo>
                      <a:pt x="12" y="4"/>
                    </a:lnTo>
                    <a:lnTo>
                      <a:pt x="5" y="7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6" y="16"/>
                    </a:lnTo>
                    <a:lnTo>
                      <a:pt x="9" y="17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2" y="21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2" y="43"/>
                    </a:lnTo>
                    <a:lnTo>
                      <a:pt x="4" y="61"/>
                    </a:lnTo>
                    <a:lnTo>
                      <a:pt x="6" y="67"/>
                    </a:lnTo>
                    <a:lnTo>
                      <a:pt x="9" y="68"/>
                    </a:lnTo>
                    <a:lnTo>
                      <a:pt x="9" y="72"/>
                    </a:lnTo>
                    <a:lnTo>
                      <a:pt x="11" y="83"/>
                    </a:lnTo>
                    <a:lnTo>
                      <a:pt x="11" y="89"/>
                    </a:lnTo>
                    <a:lnTo>
                      <a:pt x="13" y="92"/>
                    </a:lnTo>
                    <a:lnTo>
                      <a:pt x="16" y="9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7" name="Freeform 32"/>
              <p:cNvSpPr>
                <a:spLocks/>
              </p:cNvSpPr>
              <p:nvPr/>
            </p:nvSpPr>
            <p:spPr bwMode="auto">
              <a:xfrm>
                <a:off x="4305547" y="2354924"/>
                <a:ext cx="106509" cy="151000"/>
              </a:xfrm>
              <a:custGeom>
                <a:avLst/>
                <a:gdLst>
                  <a:gd name="T0" fmla="*/ 75 w 79"/>
                  <a:gd name="T1" fmla="*/ 52 h 112"/>
                  <a:gd name="T2" fmla="*/ 77 w 79"/>
                  <a:gd name="T3" fmla="*/ 57 h 112"/>
                  <a:gd name="T4" fmla="*/ 77 w 79"/>
                  <a:gd name="T5" fmla="*/ 65 h 112"/>
                  <a:gd name="T6" fmla="*/ 74 w 79"/>
                  <a:gd name="T7" fmla="*/ 71 h 112"/>
                  <a:gd name="T8" fmla="*/ 79 w 79"/>
                  <a:gd name="T9" fmla="*/ 76 h 112"/>
                  <a:gd name="T10" fmla="*/ 74 w 79"/>
                  <a:gd name="T11" fmla="*/ 93 h 112"/>
                  <a:gd name="T12" fmla="*/ 64 w 79"/>
                  <a:gd name="T13" fmla="*/ 96 h 112"/>
                  <a:gd name="T14" fmla="*/ 56 w 79"/>
                  <a:gd name="T15" fmla="*/ 96 h 112"/>
                  <a:gd name="T16" fmla="*/ 60 w 79"/>
                  <a:gd name="T17" fmla="*/ 103 h 112"/>
                  <a:gd name="T18" fmla="*/ 49 w 79"/>
                  <a:gd name="T19" fmla="*/ 112 h 112"/>
                  <a:gd name="T20" fmla="*/ 43 w 79"/>
                  <a:gd name="T21" fmla="*/ 101 h 112"/>
                  <a:gd name="T22" fmla="*/ 36 w 79"/>
                  <a:gd name="T23" fmla="*/ 90 h 112"/>
                  <a:gd name="T24" fmla="*/ 34 w 79"/>
                  <a:gd name="T25" fmla="*/ 82 h 112"/>
                  <a:gd name="T26" fmla="*/ 25 w 79"/>
                  <a:gd name="T27" fmla="*/ 76 h 112"/>
                  <a:gd name="T28" fmla="*/ 13 w 79"/>
                  <a:gd name="T29" fmla="*/ 68 h 112"/>
                  <a:gd name="T30" fmla="*/ 7 w 79"/>
                  <a:gd name="T31" fmla="*/ 57 h 112"/>
                  <a:gd name="T32" fmla="*/ 0 w 79"/>
                  <a:gd name="T33" fmla="*/ 43 h 112"/>
                  <a:gd name="T34" fmla="*/ 10 w 79"/>
                  <a:gd name="T35" fmla="*/ 38 h 112"/>
                  <a:gd name="T36" fmla="*/ 18 w 79"/>
                  <a:gd name="T37" fmla="*/ 49 h 112"/>
                  <a:gd name="T38" fmla="*/ 28 w 79"/>
                  <a:gd name="T39" fmla="*/ 45 h 112"/>
                  <a:gd name="T40" fmla="*/ 31 w 79"/>
                  <a:gd name="T41" fmla="*/ 38 h 112"/>
                  <a:gd name="T42" fmla="*/ 28 w 79"/>
                  <a:gd name="T43" fmla="*/ 29 h 112"/>
                  <a:gd name="T44" fmla="*/ 18 w 79"/>
                  <a:gd name="T45" fmla="*/ 27 h 112"/>
                  <a:gd name="T46" fmla="*/ 18 w 79"/>
                  <a:gd name="T47" fmla="*/ 17 h 112"/>
                  <a:gd name="T48" fmla="*/ 30 w 79"/>
                  <a:gd name="T49" fmla="*/ 17 h 112"/>
                  <a:gd name="T50" fmla="*/ 18 w 79"/>
                  <a:gd name="T51" fmla="*/ 9 h 112"/>
                  <a:gd name="T52" fmla="*/ 28 w 79"/>
                  <a:gd name="T53" fmla="*/ 0 h 112"/>
                  <a:gd name="T54" fmla="*/ 43 w 79"/>
                  <a:gd name="T55" fmla="*/ 6 h 112"/>
                  <a:gd name="T56" fmla="*/ 59 w 79"/>
                  <a:gd name="T57" fmla="*/ 3 h 112"/>
                  <a:gd name="T58" fmla="*/ 66 w 79"/>
                  <a:gd name="T59" fmla="*/ 0 h 112"/>
                  <a:gd name="T60" fmla="*/ 66 w 79"/>
                  <a:gd name="T61" fmla="*/ 13 h 112"/>
                  <a:gd name="T62" fmla="*/ 61 w 79"/>
                  <a:gd name="T63" fmla="*/ 18 h 112"/>
                  <a:gd name="T64" fmla="*/ 68 w 79"/>
                  <a:gd name="T65" fmla="*/ 25 h 112"/>
                  <a:gd name="T66" fmla="*/ 75 w 79"/>
                  <a:gd name="T67" fmla="*/ 32 h 112"/>
                  <a:gd name="T68" fmla="*/ 74 w 79"/>
                  <a:gd name="T69" fmla="*/ 42 h 112"/>
                  <a:gd name="T70" fmla="*/ 66 w 79"/>
                  <a:gd name="T71" fmla="*/ 40 h 112"/>
                  <a:gd name="T72" fmla="*/ 67 w 79"/>
                  <a:gd name="T73" fmla="*/ 4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9" h="112">
                    <a:moveTo>
                      <a:pt x="70" y="54"/>
                    </a:moveTo>
                    <a:lnTo>
                      <a:pt x="75" y="52"/>
                    </a:lnTo>
                    <a:lnTo>
                      <a:pt x="77" y="52"/>
                    </a:lnTo>
                    <a:lnTo>
                      <a:pt x="77" y="57"/>
                    </a:lnTo>
                    <a:lnTo>
                      <a:pt x="79" y="60"/>
                    </a:lnTo>
                    <a:lnTo>
                      <a:pt x="77" y="65"/>
                    </a:lnTo>
                    <a:lnTo>
                      <a:pt x="74" y="71"/>
                    </a:lnTo>
                    <a:lnTo>
                      <a:pt x="74" y="71"/>
                    </a:lnTo>
                    <a:lnTo>
                      <a:pt x="79" y="74"/>
                    </a:lnTo>
                    <a:lnTo>
                      <a:pt x="79" y="76"/>
                    </a:lnTo>
                    <a:lnTo>
                      <a:pt x="79" y="85"/>
                    </a:lnTo>
                    <a:lnTo>
                      <a:pt x="74" y="93"/>
                    </a:lnTo>
                    <a:lnTo>
                      <a:pt x="70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9" y="100"/>
                    </a:lnTo>
                    <a:lnTo>
                      <a:pt x="60" y="103"/>
                    </a:lnTo>
                    <a:lnTo>
                      <a:pt x="56" y="110"/>
                    </a:lnTo>
                    <a:lnTo>
                      <a:pt x="49" y="112"/>
                    </a:lnTo>
                    <a:lnTo>
                      <a:pt x="43" y="106"/>
                    </a:lnTo>
                    <a:lnTo>
                      <a:pt x="43" y="101"/>
                    </a:lnTo>
                    <a:lnTo>
                      <a:pt x="39" y="94"/>
                    </a:lnTo>
                    <a:lnTo>
                      <a:pt x="36" y="90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4" y="75"/>
                    </a:lnTo>
                    <a:lnTo>
                      <a:pt x="25" y="76"/>
                    </a:lnTo>
                    <a:lnTo>
                      <a:pt x="18" y="70"/>
                    </a:lnTo>
                    <a:lnTo>
                      <a:pt x="13" y="68"/>
                    </a:lnTo>
                    <a:lnTo>
                      <a:pt x="7" y="60"/>
                    </a:lnTo>
                    <a:lnTo>
                      <a:pt x="7" y="57"/>
                    </a:lnTo>
                    <a:lnTo>
                      <a:pt x="0" y="52"/>
                    </a:lnTo>
                    <a:lnTo>
                      <a:pt x="0" y="43"/>
                    </a:lnTo>
                    <a:lnTo>
                      <a:pt x="6" y="38"/>
                    </a:lnTo>
                    <a:lnTo>
                      <a:pt x="10" y="38"/>
                    </a:lnTo>
                    <a:lnTo>
                      <a:pt x="13" y="38"/>
                    </a:lnTo>
                    <a:lnTo>
                      <a:pt x="18" y="49"/>
                    </a:lnTo>
                    <a:lnTo>
                      <a:pt x="25" y="49"/>
                    </a:lnTo>
                    <a:lnTo>
                      <a:pt x="28" y="45"/>
                    </a:lnTo>
                    <a:lnTo>
                      <a:pt x="30" y="42"/>
                    </a:lnTo>
                    <a:lnTo>
                      <a:pt x="31" y="38"/>
                    </a:lnTo>
                    <a:lnTo>
                      <a:pt x="28" y="35"/>
                    </a:lnTo>
                    <a:lnTo>
                      <a:pt x="28" y="29"/>
                    </a:lnTo>
                    <a:lnTo>
                      <a:pt x="30" y="27"/>
                    </a:lnTo>
                    <a:lnTo>
                      <a:pt x="18" y="27"/>
                    </a:lnTo>
                    <a:lnTo>
                      <a:pt x="18" y="24"/>
                    </a:lnTo>
                    <a:lnTo>
                      <a:pt x="18" y="17"/>
                    </a:lnTo>
                    <a:lnTo>
                      <a:pt x="28" y="21"/>
                    </a:lnTo>
                    <a:lnTo>
                      <a:pt x="30" y="17"/>
                    </a:lnTo>
                    <a:lnTo>
                      <a:pt x="27" y="14"/>
                    </a:lnTo>
                    <a:lnTo>
                      <a:pt x="18" y="9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36" y="0"/>
                    </a:lnTo>
                    <a:lnTo>
                      <a:pt x="43" y="6"/>
                    </a:lnTo>
                    <a:lnTo>
                      <a:pt x="53" y="6"/>
                    </a:lnTo>
                    <a:lnTo>
                      <a:pt x="59" y="3"/>
                    </a:lnTo>
                    <a:lnTo>
                      <a:pt x="63" y="0"/>
                    </a:lnTo>
                    <a:lnTo>
                      <a:pt x="66" y="0"/>
                    </a:lnTo>
                    <a:lnTo>
                      <a:pt x="68" y="0"/>
                    </a:lnTo>
                    <a:lnTo>
                      <a:pt x="66" y="13"/>
                    </a:lnTo>
                    <a:lnTo>
                      <a:pt x="60" y="16"/>
                    </a:lnTo>
                    <a:lnTo>
                      <a:pt x="61" y="18"/>
                    </a:lnTo>
                    <a:lnTo>
                      <a:pt x="67" y="21"/>
                    </a:lnTo>
                    <a:lnTo>
                      <a:pt x="68" y="25"/>
                    </a:lnTo>
                    <a:lnTo>
                      <a:pt x="71" y="29"/>
                    </a:lnTo>
                    <a:lnTo>
                      <a:pt x="75" y="32"/>
                    </a:lnTo>
                    <a:lnTo>
                      <a:pt x="77" y="39"/>
                    </a:lnTo>
                    <a:lnTo>
                      <a:pt x="74" y="42"/>
                    </a:lnTo>
                    <a:lnTo>
                      <a:pt x="68" y="38"/>
                    </a:lnTo>
                    <a:lnTo>
                      <a:pt x="66" y="40"/>
                    </a:lnTo>
                    <a:lnTo>
                      <a:pt x="67" y="43"/>
                    </a:lnTo>
                    <a:lnTo>
                      <a:pt x="67" y="46"/>
                    </a:lnTo>
                    <a:lnTo>
                      <a:pt x="70" y="5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8" name="Freeform 33"/>
              <p:cNvSpPr>
                <a:spLocks/>
              </p:cNvSpPr>
              <p:nvPr/>
            </p:nvSpPr>
            <p:spPr bwMode="auto">
              <a:xfrm>
                <a:off x="4232744" y="2353576"/>
                <a:ext cx="48536" cy="49884"/>
              </a:xfrm>
              <a:custGeom>
                <a:avLst/>
                <a:gdLst>
                  <a:gd name="T0" fmla="*/ 16 w 26"/>
                  <a:gd name="T1" fmla="*/ 27 h 27"/>
                  <a:gd name="T2" fmla="*/ 19 w 26"/>
                  <a:gd name="T3" fmla="*/ 22 h 27"/>
                  <a:gd name="T4" fmla="*/ 19 w 26"/>
                  <a:gd name="T5" fmla="*/ 18 h 27"/>
                  <a:gd name="T6" fmla="*/ 21 w 26"/>
                  <a:gd name="T7" fmla="*/ 16 h 27"/>
                  <a:gd name="T8" fmla="*/ 24 w 26"/>
                  <a:gd name="T9" fmla="*/ 14 h 27"/>
                  <a:gd name="T10" fmla="*/ 24 w 26"/>
                  <a:gd name="T11" fmla="*/ 10 h 27"/>
                  <a:gd name="T12" fmla="*/ 22 w 26"/>
                  <a:gd name="T13" fmla="*/ 7 h 27"/>
                  <a:gd name="T14" fmla="*/ 19 w 26"/>
                  <a:gd name="T15" fmla="*/ 3 h 27"/>
                  <a:gd name="T16" fmla="*/ 13 w 26"/>
                  <a:gd name="T17" fmla="*/ 0 h 27"/>
                  <a:gd name="T18" fmla="*/ 9 w 26"/>
                  <a:gd name="T19" fmla="*/ 0 h 27"/>
                  <a:gd name="T20" fmla="*/ 4 w 26"/>
                  <a:gd name="T21" fmla="*/ 3 h 27"/>
                  <a:gd name="T22" fmla="*/ 2 w 26"/>
                  <a:gd name="T23" fmla="*/ 5 h 27"/>
                  <a:gd name="T24" fmla="*/ 0 w 26"/>
                  <a:gd name="T25" fmla="*/ 7 h 27"/>
                  <a:gd name="T26" fmla="*/ 1 w 26"/>
                  <a:gd name="T27" fmla="*/ 13 h 27"/>
                  <a:gd name="T28" fmla="*/ 6 w 26"/>
                  <a:gd name="T29" fmla="*/ 16 h 27"/>
                  <a:gd name="T30" fmla="*/ 9 w 26"/>
                  <a:gd name="T31" fmla="*/ 16 h 27"/>
                  <a:gd name="T32" fmla="*/ 10 w 26"/>
                  <a:gd name="T33" fmla="*/ 19 h 27"/>
                  <a:gd name="T34" fmla="*/ 12 w 26"/>
                  <a:gd name="T35" fmla="*/ 25 h 27"/>
                  <a:gd name="T36" fmla="*/ 14 w 26"/>
                  <a:gd name="T37" fmla="*/ 27 h 27"/>
                  <a:gd name="T38" fmla="*/ 16 w 26"/>
                  <a:gd name="T3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27">
                    <a:moveTo>
                      <a:pt x="16" y="27"/>
                    </a:move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6" y="11"/>
                      <a:pt x="24" y="10"/>
                    </a:cubicBezTo>
                    <a:cubicBezTo>
                      <a:pt x="23" y="9"/>
                      <a:pt x="22" y="7"/>
                      <a:pt x="22" y="7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13"/>
                      <a:pt x="1" y="13"/>
                    </a:cubicBezTo>
                    <a:cubicBezTo>
                      <a:pt x="2" y="13"/>
                      <a:pt x="6" y="16"/>
                      <a:pt x="6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6"/>
                      <a:pt x="8" y="14"/>
                      <a:pt x="10" y="19"/>
                    </a:cubicBezTo>
                    <a:cubicBezTo>
                      <a:pt x="11" y="24"/>
                      <a:pt x="12" y="25"/>
                      <a:pt x="12" y="25"/>
                    </a:cubicBezTo>
                    <a:cubicBezTo>
                      <a:pt x="14" y="27"/>
                      <a:pt x="14" y="27"/>
                      <a:pt x="14" y="27"/>
                    </a:cubicBezTo>
                    <a:lnTo>
                      <a:pt x="16" y="2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9" name="Freeform 34"/>
              <p:cNvSpPr>
                <a:spLocks/>
              </p:cNvSpPr>
              <p:nvPr/>
            </p:nvSpPr>
            <p:spPr bwMode="auto">
              <a:xfrm>
                <a:off x="4399923" y="2248416"/>
                <a:ext cx="45839" cy="56625"/>
              </a:xfrm>
              <a:custGeom>
                <a:avLst/>
                <a:gdLst>
                  <a:gd name="T0" fmla="*/ 21 w 25"/>
                  <a:gd name="T1" fmla="*/ 30 h 30"/>
                  <a:gd name="T2" fmla="*/ 25 w 25"/>
                  <a:gd name="T3" fmla="*/ 28 h 30"/>
                  <a:gd name="T4" fmla="*/ 23 w 25"/>
                  <a:gd name="T5" fmla="*/ 21 h 30"/>
                  <a:gd name="T6" fmla="*/ 23 w 25"/>
                  <a:gd name="T7" fmla="*/ 14 h 30"/>
                  <a:gd name="T8" fmla="*/ 23 w 25"/>
                  <a:gd name="T9" fmla="*/ 11 h 30"/>
                  <a:gd name="T10" fmla="*/ 17 w 25"/>
                  <a:gd name="T11" fmla="*/ 6 h 30"/>
                  <a:gd name="T12" fmla="*/ 16 w 25"/>
                  <a:gd name="T13" fmla="*/ 0 h 30"/>
                  <a:gd name="T14" fmla="*/ 10 w 25"/>
                  <a:gd name="T15" fmla="*/ 0 h 30"/>
                  <a:gd name="T16" fmla="*/ 7 w 25"/>
                  <a:gd name="T17" fmla="*/ 6 h 30"/>
                  <a:gd name="T18" fmla="*/ 3 w 25"/>
                  <a:gd name="T19" fmla="*/ 11 h 30"/>
                  <a:gd name="T20" fmla="*/ 3 w 25"/>
                  <a:gd name="T21" fmla="*/ 13 h 30"/>
                  <a:gd name="T22" fmla="*/ 0 w 25"/>
                  <a:gd name="T23" fmla="*/ 15 h 30"/>
                  <a:gd name="T24" fmla="*/ 0 w 25"/>
                  <a:gd name="T25" fmla="*/ 19 h 30"/>
                  <a:gd name="T26" fmla="*/ 4 w 25"/>
                  <a:gd name="T27" fmla="*/ 20 h 30"/>
                  <a:gd name="T28" fmla="*/ 5 w 25"/>
                  <a:gd name="T29" fmla="*/ 22 h 30"/>
                  <a:gd name="T30" fmla="*/ 7 w 25"/>
                  <a:gd name="T31" fmla="*/ 24 h 30"/>
                  <a:gd name="T32" fmla="*/ 10 w 25"/>
                  <a:gd name="T33" fmla="*/ 29 h 30"/>
                  <a:gd name="T34" fmla="*/ 14 w 25"/>
                  <a:gd name="T35" fmla="*/ 30 h 30"/>
                  <a:gd name="T36" fmla="*/ 21 w 25"/>
                  <a:gd name="T3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30">
                    <a:moveTo>
                      <a:pt x="21" y="30"/>
                    </a:moveTo>
                    <a:cubicBezTo>
                      <a:pt x="25" y="28"/>
                      <a:pt x="25" y="28"/>
                      <a:pt x="25" y="28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23" y="14"/>
                      <a:pt x="23" y="11"/>
                      <a:pt x="23" y="11"/>
                    </a:cubicBezTo>
                    <a:cubicBezTo>
                      <a:pt x="22" y="10"/>
                      <a:pt x="17" y="6"/>
                      <a:pt x="17" y="6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0"/>
                      <a:pt x="5" y="21"/>
                      <a:pt x="5" y="22"/>
                    </a:cubicBezTo>
                    <a:cubicBezTo>
                      <a:pt x="5" y="23"/>
                      <a:pt x="3" y="20"/>
                      <a:pt x="7" y="24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4" y="30"/>
                      <a:pt x="14" y="30"/>
                      <a:pt x="14" y="30"/>
                    </a:cubicBezTo>
                    <a:lnTo>
                      <a:pt x="21" y="3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0" name="Freeform 35"/>
              <p:cNvSpPr>
                <a:spLocks/>
              </p:cNvSpPr>
              <p:nvPr/>
            </p:nvSpPr>
            <p:spPr bwMode="auto">
              <a:xfrm>
                <a:off x="4362173" y="2344139"/>
                <a:ext cx="20224" cy="10786"/>
              </a:xfrm>
              <a:custGeom>
                <a:avLst/>
                <a:gdLst>
                  <a:gd name="T0" fmla="*/ 15 w 15"/>
                  <a:gd name="T1" fmla="*/ 7 h 8"/>
                  <a:gd name="T2" fmla="*/ 7 w 15"/>
                  <a:gd name="T3" fmla="*/ 8 h 8"/>
                  <a:gd name="T4" fmla="*/ 3 w 15"/>
                  <a:gd name="T5" fmla="*/ 8 h 8"/>
                  <a:gd name="T6" fmla="*/ 0 w 15"/>
                  <a:gd name="T7" fmla="*/ 7 h 8"/>
                  <a:gd name="T8" fmla="*/ 1 w 15"/>
                  <a:gd name="T9" fmla="*/ 4 h 8"/>
                  <a:gd name="T10" fmla="*/ 10 w 15"/>
                  <a:gd name="T11" fmla="*/ 0 h 8"/>
                  <a:gd name="T12" fmla="*/ 12 w 15"/>
                  <a:gd name="T13" fmla="*/ 0 h 8"/>
                  <a:gd name="T14" fmla="*/ 15 w 15"/>
                  <a:gd name="T15" fmla="*/ 0 h 8"/>
                  <a:gd name="T16" fmla="*/ 15 w 15"/>
                  <a:gd name="T1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8">
                    <a:moveTo>
                      <a:pt x="15" y="7"/>
                    </a:moveTo>
                    <a:lnTo>
                      <a:pt x="7" y="8"/>
                    </a:lnTo>
                    <a:lnTo>
                      <a:pt x="3" y="8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5" y="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" name="Freeform 36"/>
              <p:cNvSpPr>
                <a:spLocks/>
              </p:cNvSpPr>
              <p:nvPr/>
            </p:nvSpPr>
            <p:spPr bwMode="auto">
              <a:xfrm>
                <a:off x="4387788" y="2172916"/>
                <a:ext cx="266947" cy="136170"/>
              </a:xfrm>
              <a:custGeom>
                <a:avLst/>
                <a:gdLst>
                  <a:gd name="T0" fmla="*/ 15 w 143"/>
                  <a:gd name="T1" fmla="*/ 23 h 73"/>
                  <a:gd name="T2" fmla="*/ 16 w 143"/>
                  <a:gd name="T3" fmla="*/ 20 h 73"/>
                  <a:gd name="T4" fmla="*/ 21 w 143"/>
                  <a:gd name="T5" fmla="*/ 23 h 73"/>
                  <a:gd name="T6" fmla="*/ 25 w 143"/>
                  <a:gd name="T7" fmla="*/ 20 h 73"/>
                  <a:gd name="T8" fmla="*/ 29 w 143"/>
                  <a:gd name="T9" fmla="*/ 26 h 73"/>
                  <a:gd name="T10" fmla="*/ 38 w 143"/>
                  <a:gd name="T11" fmla="*/ 34 h 73"/>
                  <a:gd name="T12" fmla="*/ 42 w 143"/>
                  <a:gd name="T13" fmla="*/ 56 h 73"/>
                  <a:gd name="T14" fmla="*/ 45 w 143"/>
                  <a:gd name="T15" fmla="*/ 68 h 73"/>
                  <a:gd name="T16" fmla="*/ 52 w 143"/>
                  <a:gd name="T17" fmla="*/ 68 h 73"/>
                  <a:gd name="T18" fmla="*/ 65 w 143"/>
                  <a:gd name="T19" fmla="*/ 71 h 73"/>
                  <a:gd name="T20" fmla="*/ 70 w 143"/>
                  <a:gd name="T21" fmla="*/ 63 h 73"/>
                  <a:gd name="T22" fmla="*/ 76 w 143"/>
                  <a:gd name="T23" fmla="*/ 73 h 73"/>
                  <a:gd name="T24" fmla="*/ 88 w 143"/>
                  <a:gd name="T25" fmla="*/ 69 h 73"/>
                  <a:gd name="T26" fmla="*/ 96 w 143"/>
                  <a:gd name="T27" fmla="*/ 66 h 73"/>
                  <a:gd name="T28" fmla="*/ 102 w 143"/>
                  <a:gd name="T29" fmla="*/ 64 h 73"/>
                  <a:gd name="T30" fmla="*/ 112 w 143"/>
                  <a:gd name="T31" fmla="*/ 64 h 73"/>
                  <a:gd name="T32" fmla="*/ 112 w 143"/>
                  <a:gd name="T33" fmla="*/ 53 h 73"/>
                  <a:gd name="T34" fmla="*/ 116 w 143"/>
                  <a:gd name="T35" fmla="*/ 62 h 73"/>
                  <a:gd name="T36" fmla="*/ 124 w 143"/>
                  <a:gd name="T37" fmla="*/ 62 h 73"/>
                  <a:gd name="T38" fmla="*/ 134 w 143"/>
                  <a:gd name="T39" fmla="*/ 59 h 73"/>
                  <a:gd name="T40" fmla="*/ 136 w 143"/>
                  <a:gd name="T41" fmla="*/ 53 h 73"/>
                  <a:gd name="T42" fmla="*/ 134 w 143"/>
                  <a:gd name="T43" fmla="*/ 46 h 73"/>
                  <a:gd name="T44" fmla="*/ 141 w 143"/>
                  <a:gd name="T45" fmla="*/ 45 h 73"/>
                  <a:gd name="T46" fmla="*/ 136 w 143"/>
                  <a:gd name="T47" fmla="*/ 39 h 73"/>
                  <a:gd name="T48" fmla="*/ 132 w 143"/>
                  <a:gd name="T49" fmla="*/ 41 h 73"/>
                  <a:gd name="T50" fmla="*/ 134 w 143"/>
                  <a:gd name="T51" fmla="*/ 32 h 73"/>
                  <a:gd name="T52" fmla="*/ 129 w 143"/>
                  <a:gd name="T53" fmla="*/ 26 h 73"/>
                  <a:gd name="T54" fmla="*/ 114 w 143"/>
                  <a:gd name="T55" fmla="*/ 22 h 73"/>
                  <a:gd name="T56" fmla="*/ 106 w 143"/>
                  <a:gd name="T57" fmla="*/ 25 h 73"/>
                  <a:gd name="T58" fmla="*/ 100 w 143"/>
                  <a:gd name="T59" fmla="*/ 24 h 73"/>
                  <a:gd name="T60" fmla="*/ 89 w 143"/>
                  <a:gd name="T61" fmla="*/ 35 h 73"/>
                  <a:gd name="T62" fmla="*/ 83 w 143"/>
                  <a:gd name="T63" fmla="*/ 41 h 73"/>
                  <a:gd name="T64" fmla="*/ 77 w 143"/>
                  <a:gd name="T65" fmla="*/ 40 h 73"/>
                  <a:gd name="T66" fmla="*/ 75 w 143"/>
                  <a:gd name="T67" fmla="*/ 36 h 73"/>
                  <a:gd name="T68" fmla="*/ 68 w 143"/>
                  <a:gd name="T69" fmla="*/ 39 h 73"/>
                  <a:gd name="T70" fmla="*/ 64 w 143"/>
                  <a:gd name="T71" fmla="*/ 36 h 73"/>
                  <a:gd name="T72" fmla="*/ 62 w 143"/>
                  <a:gd name="T73" fmla="*/ 41 h 73"/>
                  <a:gd name="T74" fmla="*/ 60 w 143"/>
                  <a:gd name="T75" fmla="*/ 35 h 73"/>
                  <a:gd name="T76" fmla="*/ 56 w 143"/>
                  <a:gd name="T77" fmla="*/ 32 h 73"/>
                  <a:gd name="T78" fmla="*/ 47 w 143"/>
                  <a:gd name="T79" fmla="*/ 32 h 73"/>
                  <a:gd name="T80" fmla="*/ 47 w 143"/>
                  <a:gd name="T81" fmla="*/ 27 h 73"/>
                  <a:gd name="T82" fmla="*/ 42 w 143"/>
                  <a:gd name="T83" fmla="*/ 24 h 73"/>
                  <a:gd name="T84" fmla="*/ 47 w 143"/>
                  <a:gd name="T85" fmla="*/ 23 h 73"/>
                  <a:gd name="T86" fmla="*/ 51 w 143"/>
                  <a:gd name="T87" fmla="*/ 24 h 73"/>
                  <a:gd name="T88" fmla="*/ 56 w 143"/>
                  <a:gd name="T89" fmla="*/ 20 h 73"/>
                  <a:gd name="T90" fmla="*/ 45 w 143"/>
                  <a:gd name="T91" fmla="*/ 16 h 73"/>
                  <a:gd name="T92" fmla="*/ 44 w 143"/>
                  <a:gd name="T93" fmla="*/ 12 h 73"/>
                  <a:gd name="T94" fmla="*/ 42 w 143"/>
                  <a:gd name="T95" fmla="*/ 7 h 73"/>
                  <a:gd name="T96" fmla="*/ 34 w 143"/>
                  <a:gd name="T97" fmla="*/ 9 h 73"/>
                  <a:gd name="T98" fmla="*/ 29 w 143"/>
                  <a:gd name="T99" fmla="*/ 14 h 73"/>
                  <a:gd name="T100" fmla="*/ 26 w 143"/>
                  <a:gd name="T101" fmla="*/ 7 h 73"/>
                  <a:gd name="T102" fmla="*/ 22 w 143"/>
                  <a:gd name="T103" fmla="*/ 0 h 73"/>
                  <a:gd name="T104" fmla="*/ 11 w 143"/>
                  <a:gd name="T105" fmla="*/ 0 h 73"/>
                  <a:gd name="T106" fmla="*/ 0 w 143"/>
                  <a:gd name="T107" fmla="*/ 0 h 73"/>
                  <a:gd name="T108" fmla="*/ 0 w 143"/>
                  <a:gd name="T109" fmla="*/ 10 h 73"/>
                  <a:gd name="T110" fmla="*/ 6 w 143"/>
                  <a:gd name="T111" fmla="*/ 12 h 73"/>
                  <a:gd name="T112" fmla="*/ 9 w 143"/>
                  <a:gd name="T113" fmla="*/ 16 h 73"/>
                  <a:gd name="T114" fmla="*/ 7 w 143"/>
                  <a:gd name="T115" fmla="*/ 18 h 73"/>
                  <a:gd name="T116" fmla="*/ 13 w 143"/>
                  <a:gd name="T117" fmla="*/ 19 h 73"/>
                  <a:gd name="T118" fmla="*/ 13 w 143"/>
                  <a:gd name="T119" fmla="*/ 1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3" h="73">
                    <a:moveTo>
                      <a:pt x="13" y="23"/>
                    </a:moveTo>
                    <a:cubicBezTo>
                      <a:pt x="15" y="23"/>
                      <a:pt x="15" y="23"/>
                      <a:pt x="15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33" y="29"/>
                      <a:pt x="33" y="29"/>
                      <a:pt x="33" y="29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5" y="68"/>
                      <a:pt x="45" y="68"/>
                      <a:pt x="45" y="68"/>
                    </a:cubicBezTo>
                    <a:cubicBezTo>
                      <a:pt x="50" y="68"/>
                      <a:pt x="50" y="68"/>
                      <a:pt x="50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65" y="71"/>
                      <a:pt x="65" y="71"/>
                      <a:pt x="65" y="71"/>
                    </a:cubicBezTo>
                    <a:cubicBezTo>
                      <a:pt x="65" y="63"/>
                      <a:pt x="65" y="63"/>
                      <a:pt x="65" y="63"/>
                    </a:cubicBezTo>
                    <a:cubicBezTo>
                      <a:pt x="70" y="63"/>
                      <a:pt x="70" y="63"/>
                      <a:pt x="70" y="63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76" y="73"/>
                      <a:pt x="76" y="73"/>
                      <a:pt x="76" y="73"/>
                    </a:cubicBezTo>
                    <a:cubicBezTo>
                      <a:pt x="82" y="71"/>
                      <a:pt x="82" y="71"/>
                      <a:pt x="82" y="71"/>
                    </a:cubicBezTo>
                    <a:cubicBezTo>
                      <a:pt x="88" y="69"/>
                      <a:pt x="88" y="69"/>
                      <a:pt x="88" y="69"/>
                    </a:cubicBezTo>
                    <a:cubicBezTo>
                      <a:pt x="94" y="66"/>
                      <a:pt x="94" y="66"/>
                      <a:pt x="94" y="6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64"/>
                      <a:pt x="102" y="64"/>
                      <a:pt x="102" y="64"/>
                    </a:cubicBezTo>
                    <a:cubicBezTo>
                      <a:pt x="108" y="65"/>
                      <a:pt x="108" y="65"/>
                      <a:pt x="108" y="65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2" y="53"/>
                      <a:pt x="112" y="53"/>
                      <a:pt x="112" y="53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16" y="62"/>
                      <a:pt x="116" y="62"/>
                      <a:pt x="116" y="62"/>
                    </a:cubicBezTo>
                    <a:cubicBezTo>
                      <a:pt x="119" y="62"/>
                      <a:pt x="119" y="62"/>
                      <a:pt x="119" y="62"/>
                    </a:cubicBezTo>
                    <a:cubicBezTo>
                      <a:pt x="124" y="62"/>
                      <a:pt x="124" y="62"/>
                      <a:pt x="124" y="62"/>
                    </a:cubicBezTo>
                    <a:cubicBezTo>
                      <a:pt x="131" y="60"/>
                      <a:pt x="131" y="60"/>
                      <a:pt x="131" y="60"/>
                    </a:cubicBezTo>
                    <a:cubicBezTo>
                      <a:pt x="134" y="59"/>
                      <a:pt x="134" y="59"/>
                      <a:pt x="134" y="59"/>
                    </a:cubicBezTo>
                    <a:cubicBezTo>
                      <a:pt x="136" y="56"/>
                      <a:pt x="136" y="56"/>
                      <a:pt x="136" y="56"/>
                    </a:cubicBezTo>
                    <a:cubicBezTo>
                      <a:pt x="136" y="56"/>
                      <a:pt x="137" y="54"/>
                      <a:pt x="136" y="53"/>
                    </a:cubicBezTo>
                    <a:cubicBezTo>
                      <a:pt x="135" y="52"/>
                      <a:pt x="134" y="50"/>
                      <a:pt x="134" y="50"/>
                    </a:cubicBezTo>
                    <a:cubicBezTo>
                      <a:pt x="134" y="46"/>
                      <a:pt x="134" y="46"/>
                      <a:pt x="134" y="46"/>
                    </a:cubicBezTo>
                    <a:cubicBezTo>
                      <a:pt x="140" y="46"/>
                      <a:pt x="140" y="46"/>
                      <a:pt x="140" y="46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5"/>
                      <a:pt x="143" y="43"/>
                      <a:pt x="141" y="42"/>
                    </a:cubicBezTo>
                    <a:cubicBezTo>
                      <a:pt x="140" y="41"/>
                      <a:pt x="136" y="39"/>
                      <a:pt x="136" y="39"/>
                    </a:cubicBezTo>
                    <a:cubicBezTo>
                      <a:pt x="133" y="43"/>
                      <a:pt x="133" y="43"/>
                      <a:pt x="133" y="43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132" y="37"/>
                      <a:pt x="132" y="37"/>
                      <a:pt x="132" y="37"/>
                    </a:cubicBezTo>
                    <a:cubicBezTo>
                      <a:pt x="134" y="32"/>
                      <a:pt x="134" y="32"/>
                      <a:pt x="134" y="32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29" y="26"/>
                      <a:pt x="129" y="26"/>
                      <a:pt x="129" y="26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14" y="22"/>
                      <a:pt x="114" y="22"/>
                      <a:pt x="114" y="22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09" y="24"/>
                      <a:pt x="107" y="25"/>
                      <a:pt x="106" y="25"/>
                    </a:cubicBezTo>
                    <a:cubicBezTo>
                      <a:pt x="105" y="26"/>
                      <a:pt x="102" y="24"/>
                      <a:pt x="102" y="24"/>
                    </a:cubicBezTo>
                    <a:cubicBezTo>
                      <a:pt x="100" y="24"/>
                      <a:pt x="100" y="24"/>
                      <a:pt x="100" y="24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89" y="35"/>
                      <a:pt x="89" y="35"/>
                      <a:pt x="89" y="35"/>
                    </a:cubicBezTo>
                    <a:cubicBezTo>
                      <a:pt x="89" y="35"/>
                      <a:pt x="87" y="35"/>
                      <a:pt x="86" y="37"/>
                    </a:cubicBezTo>
                    <a:cubicBezTo>
                      <a:pt x="85" y="39"/>
                      <a:pt x="83" y="41"/>
                      <a:pt x="83" y="41"/>
                    </a:cubicBezTo>
                    <a:cubicBezTo>
                      <a:pt x="80" y="41"/>
                      <a:pt x="80" y="41"/>
                      <a:pt x="80" y="41"/>
                    </a:cubicBezTo>
                    <a:cubicBezTo>
                      <a:pt x="77" y="40"/>
                      <a:pt x="77" y="40"/>
                      <a:pt x="77" y="40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5" y="36"/>
                      <a:pt x="75" y="36"/>
                      <a:pt x="75" y="36"/>
                    </a:cubicBezTo>
                    <a:cubicBezTo>
                      <a:pt x="69" y="41"/>
                      <a:pt x="69" y="41"/>
                      <a:pt x="69" y="41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60" y="39"/>
                      <a:pt x="60" y="39"/>
                      <a:pt x="60" y="39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58" y="34"/>
                      <a:pt x="58" y="34"/>
                      <a:pt x="58" y="34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9" y="24"/>
                      <a:pt x="49" y="24"/>
                      <a:pt x="49" y="24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6" y="12"/>
                    </a:cubicBezTo>
                    <a:cubicBezTo>
                      <a:pt x="7" y="12"/>
                      <a:pt x="8" y="14"/>
                      <a:pt x="8" y="14"/>
                    </a:cubicBezTo>
                    <a:cubicBezTo>
                      <a:pt x="8" y="14"/>
                      <a:pt x="10" y="15"/>
                      <a:pt x="9" y="16"/>
                    </a:cubicBezTo>
                    <a:cubicBezTo>
                      <a:pt x="8" y="16"/>
                      <a:pt x="6" y="15"/>
                      <a:pt x="6" y="17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2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lnTo>
                      <a:pt x="13" y="2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" name="Freeform 37"/>
              <p:cNvSpPr>
                <a:spLocks/>
              </p:cNvSpPr>
              <p:nvPr/>
            </p:nvSpPr>
            <p:spPr bwMode="auto">
              <a:xfrm>
                <a:off x="4386440" y="2245719"/>
                <a:ext cx="18875" cy="16179"/>
              </a:xfrm>
              <a:custGeom>
                <a:avLst/>
                <a:gdLst>
                  <a:gd name="T0" fmla="*/ 5 w 10"/>
                  <a:gd name="T1" fmla="*/ 9 h 9"/>
                  <a:gd name="T2" fmla="*/ 5 w 10"/>
                  <a:gd name="T3" fmla="*/ 8 h 9"/>
                  <a:gd name="T4" fmla="*/ 9 w 10"/>
                  <a:gd name="T5" fmla="*/ 8 h 9"/>
                  <a:gd name="T6" fmla="*/ 10 w 10"/>
                  <a:gd name="T7" fmla="*/ 5 h 9"/>
                  <a:gd name="T8" fmla="*/ 10 w 10"/>
                  <a:gd name="T9" fmla="*/ 2 h 9"/>
                  <a:gd name="T10" fmla="*/ 9 w 10"/>
                  <a:gd name="T11" fmla="*/ 0 h 9"/>
                  <a:gd name="T12" fmla="*/ 8 w 10"/>
                  <a:gd name="T13" fmla="*/ 2 h 9"/>
                  <a:gd name="T14" fmla="*/ 3 w 10"/>
                  <a:gd name="T15" fmla="*/ 5 h 9"/>
                  <a:gd name="T16" fmla="*/ 0 w 10"/>
                  <a:gd name="T17" fmla="*/ 8 h 9"/>
                  <a:gd name="T18" fmla="*/ 5 w 10"/>
                  <a:gd name="T1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1"/>
                      <a:pt x="8" y="2"/>
                    </a:cubicBezTo>
                    <a:cubicBezTo>
                      <a:pt x="6" y="3"/>
                      <a:pt x="4" y="4"/>
                      <a:pt x="3" y="5"/>
                    </a:cubicBezTo>
                    <a:cubicBezTo>
                      <a:pt x="1" y="6"/>
                      <a:pt x="0" y="8"/>
                      <a:pt x="0" y="8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3" name="Freeform 38"/>
              <p:cNvSpPr>
                <a:spLocks/>
              </p:cNvSpPr>
              <p:nvPr/>
            </p:nvSpPr>
            <p:spPr bwMode="auto">
              <a:xfrm>
                <a:off x="4305547" y="2194487"/>
                <a:ext cx="76849" cy="95724"/>
              </a:xfrm>
              <a:custGeom>
                <a:avLst/>
                <a:gdLst>
                  <a:gd name="T0" fmla="*/ 35 w 41"/>
                  <a:gd name="T1" fmla="*/ 48 h 51"/>
                  <a:gd name="T2" fmla="*/ 30 w 41"/>
                  <a:gd name="T3" fmla="*/ 51 h 51"/>
                  <a:gd name="T4" fmla="*/ 21 w 41"/>
                  <a:gd name="T5" fmla="*/ 49 h 51"/>
                  <a:gd name="T6" fmla="*/ 18 w 41"/>
                  <a:gd name="T7" fmla="*/ 48 h 51"/>
                  <a:gd name="T8" fmla="*/ 18 w 41"/>
                  <a:gd name="T9" fmla="*/ 42 h 51"/>
                  <a:gd name="T10" fmla="*/ 18 w 41"/>
                  <a:gd name="T11" fmla="*/ 36 h 51"/>
                  <a:gd name="T12" fmla="*/ 21 w 41"/>
                  <a:gd name="T13" fmla="*/ 32 h 51"/>
                  <a:gd name="T14" fmla="*/ 23 w 41"/>
                  <a:gd name="T15" fmla="*/ 32 h 51"/>
                  <a:gd name="T16" fmla="*/ 27 w 41"/>
                  <a:gd name="T17" fmla="*/ 29 h 51"/>
                  <a:gd name="T18" fmla="*/ 25 w 41"/>
                  <a:gd name="T19" fmla="*/ 27 h 51"/>
                  <a:gd name="T20" fmla="*/ 21 w 41"/>
                  <a:gd name="T21" fmla="*/ 29 h 51"/>
                  <a:gd name="T22" fmla="*/ 13 w 41"/>
                  <a:gd name="T23" fmla="*/ 31 h 51"/>
                  <a:gd name="T24" fmla="*/ 9 w 41"/>
                  <a:gd name="T25" fmla="*/ 32 h 51"/>
                  <a:gd name="T26" fmla="*/ 6 w 41"/>
                  <a:gd name="T27" fmla="*/ 35 h 51"/>
                  <a:gd name="T28" fmla="*/ 2 w 41"/>
                  <a:gd name="T29" fmla="*/ 32 h 51"/>
                  <a:gd name="T30" fmla="*/ 0 w 41"/>
                  <a:gd name="T31" fmla="*/ 30 h 51"/>
                  <a:gd name="T32" fmla="*/ 2 w 41"/>
                  <a:gd name="T33" fmla="*/ 27 h 51"/>
                  <a:gd name="T34" fmla="*/ 7 w 41"/>
                  <a:gd name="T35" fmla="*/ 24 h 51"/>
                  <a:gd name="T36" fmla="*/ 9 w 41"/>
                  <a:gd name="T37" fmla="*/ 24 h 51"/>
                  <a:gd name="T38" fmla="*/ 11 w 41"/>
                  <a:gd name="T39" fmla="*/ 24 h 51"/>
                  <a:gd name="T40" fmla="*/ 13 w 41"/>
                  <a:gd name="T41" fmla="*/ 21 h 51"/>
                  <a:gd name="T42" fmla="*/ 11 w 41"/>
                  <a:gd name="T43" fmla="*/ 19 h 51"/>
                  <a:gd name="T44" fmla="*/ 8 w 41"/>
                  <a:gd name="T45" fmla="*/ 17 h 51"/>
                  <a:gd name="T46" fmla="*/ 11 w 41"/>
                  <a:gd name="T47" fmla="*/ 15 h 51"/>
                  <a:gd name="T48" fmla="*/ 9 w 41"/>
                  <a:gd name="T49" fmla="*/ 13 h 51"/>
                  <a:gd name="T50" fmla="*/ 8 w 41"/>
                  <a:gd name="T51" fmla="*/ 8 h 51"/>
                  <a:gd name="T52" fmla="*/ 9 w 41"/>
                  <a:gd name="T53" fmla="*/ 8 h 51"/>
                  <a:gd name="T54" fmla="*/ 11 w 41"/>
                  <a:gd name="T55" fmla="*/ 6 h 51"/>
                  <a:gd name="T56" fmla="*/ 13 w 41"/>
                  <a:gd name="T57" fmla="*/ 10 h 51"/>
                  <a:gd name="T58" fmla="*/ 16 w 41"/>
                  <a:gd name="T59" fmla="*/ 14 h 51"/>
                  <a:gd name="T60" fmla="*/ 17 w 41"/>
                  <a:gd name="T61" fmla="*/ 17 h 51"/>
                  <a:gd name="T62" fmla="*/ 21 w 41"/>
                  <a:gd name="T63" fmla="*/ 20 h 51"/>
                  <a:gd name="T64" fmla="*/ 28 w 41"/>
                  <a:gd name="T65" fmla="*/ 18 h 51"/>
                  <a:gd name="T66" fmla="*/ 25 w 41"/>
                  <a:gd name="T67" fmla="*/ 15 h 51"/>
                  <a:gd name="T68" fmla="*/ 21 w 41"/>
                  <a:gd name="T69" fmla="*/ 13 h 51"/>
                  <a:gd name="T70" fmla="*/ 19 w 41"/>
                  <a:gd name="T71" fmla="*/ 10 h 51"/>
                  <a:gd name="T72" fmla="*/ 17 w 41"/>
                  <a:gd name="T73" fmla="*/ 8 h 51"/>
                  <a:gd name="T74" fmla="*/ 15 w 41"/>
                  <a:gd name="T75" fmla="*/ 5 h 51"/>
                  <a:gd name="T76" fmla="*/ 19 w 41"/>
                  <a:gd name="T77" fmla="*/ 2 h 51"/>
                  <a:gd name="T78" fmla="*/ 21 w 41"/>
                  <a:gd name="T79" fmla="*/ 0 h 51"/>
                  <a:gd name="T80" fmla="*/ 24 w 41"/>
                  <a:gd name="T81" fmla="*/ 0 h 51"/>
                  <a:gd name="T82" fmla="*/ 26 w 41"/>
                  <a:gd name="T83" fmla="*/ 2 h 51"/>
                  <a:gd name="T84" fmla="*/ 30 w 41"/>
                  <a:gd name="T85" fmla="*/ 5 h 51"/>
                  <a:gd name="T86" fmla="*/ 35 w 41"/>
                  <a:gd name="T87" fmla="*/ 0 h 51"/>
                  <a:gd name="T88" fmla="*/ 39 w 41"/>
                  <a:gd name="T89" fmla="*/ 2 h 51"/>
                  <a:gd name="T90" fmla="*/ 39 w 41"/>
                  <a:gd name="T91" fmla="*/ 10 h 51"/>
                  <a:gd name="T92" fmla="*/ 39 w 41"/>
                  <a:gd name="T93" fmla="*/ 17 h 51"/>
                  <a:gd name="T94" fmla="*/ 39 w 41"/>
                  <a:gd name="T95" fmla="*/ 27 h 51"/>
                  <a:gd name="T96" fmla="*/ 41 w 41"/>
                  <a:gd name="T97" fmla="*/ 32 h 51"/>
                  <a:gd name="T98" fmla="*/ 41 w 41"/>
                  <a:gd name="T99" fmla="*/ 35 h 51"/>
                  <a:gd name="T100" fmla="*/ 38 w 41"/>
                  <a:gd name="T101" fmla="*/ 35 h 51"/>
                  <a:gd name="T102" fmla="*/ 37 w 41"/>
                  <a:gd name="T103" fmla="*/ 39 h 51"/>
                  <a:gd name="T104" fmla="*/ 38 w 41"/>
                  <a:gd name="T105" fmla="*/ 44 h 51"/>
                  <a:gd name="T106" fmla="*/ 35 w 41"/>
                  <a:gd name="T107" fmla="*/ 4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1" h="51">
                    <a:moveTo>
                      <a:pt x="35" y="48"/>
                    </a:moveTo>
                    <a:cubicBezTo>
                      <a:pt x="30" y="51"/>
                      <a:pt x="30" y="51"/>
                      <a:pt x="30" y="51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49"/>
                      <a:pt x="18" y="50"/>
                      <a:pt x="18" y="48"/>
                    </a:cubicBezTo>
                    <a:cubicBezTo>
                      <a:pt x="18" y="46"/>
                      <a:pt x="18" y="43"/>
                      <a:pt x="18" y="42"/>
                    </a:cubicBezTo>
                    <a:cubicBezTo>
                      <a:pt x="18" y="40"/>
                      <a:pt x="18" y="36"/>
                      <a:pt x="18" y="36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5" y="27"/>
                      <a:pt x="25" y="27"/>
                      <a:pt x="25" y="27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9"/>
                      <a:pt x="15" y="30"/>
                      <a:pt x="13" y="31"/>
                    </a:cubicBezTo>
                    <a:cubicBezTo>
                      <a:pt x="11" y="31"/>
                      <a:pt x="11" y="31"/>
                      <a:pt x="9" y="32"/>
                    </a:cubicBezTo>
                    <a:cubicBezTo>
                      <a:pt x="8" y="33"/>
                      <a:pt x="6" y="35"/>
                      <a:pt x="6" y="35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7" y="8"/>
                    </a:cubicBezTo>
                    <a:cubicBezTo>
                      <a:pt x="16" y="7"/>
                      <a:pt x="15" y="5"/>
                      <a:pt x="15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9" y="2"/>
                      <a:pt x="39" y="2"/>
                      <a:pt x="39" y="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38" y="35"/>
                      <a:pt x="38" y="35"/>
                      <a:pt x="38" y="3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44"/>
                      <a:pt x="38" y="44"/>
                      <a:pt x="38" y="44"/>
                    </a:cubicBezTo>
                    <a:lnTo>
                      <a:pt x="35" y="4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4" name="Freeform 39"/>
              <p:cNvSpPr>
                <a:spLocks/>
              </p:cNvSpPr>
              <p:nvPr/>
            </p:nvSpPr>
            <p:spPr bwMode="auto">
              <a:xfrm>
                <a:off x="4203083" y="2175612"/>
                <a:ext cx="68759" cy="110554"/>
              </a:xfrm>
              <a:custGeom>
                <a:avLst/>
                <a:gdLst>
                  <a:gd name="T0" fmla="*/ 2 w 37"/>
                  <a:gd name="T1" fmla="*/ 55 h 59"/>
                  <a:gd name="T2" fmla="*/ 5 w 37"/>
                  <a:gd name="T3" fmla="*/ 54 h 59"/>
                  <a:gd name="T4" fmla="*/ 9 w 37"/>
                  <a:gd name="T5" fmla="*/ 56 h 59"/>
                  <a:gd name="T6" fmla="*/ 9 w 37"/>
                  <a:gd name="T7" fmla="*/ 58 h 59"/>
                  <a:gd name="T8" fmla="*/ 14 w 37"/>
                  <a:gd name="T9" fmla="*/ 59 h 59"/>
                  <a:gd name="T10" fmla="*/ 14 w 37"/>
                  <a:gd name="T11" fmla="*/ 55 h 59"/>
                  <a:gd name="T12" fmla="*/ 19 w 37"/>
                  <a:gd name="T13" fmla="*/ 59 h 59"/>
                  <a:gd name="T14" fmla="*/ 22 w 37"/>
                  <a:gd name="T15" fmla="*/ 59 h 59"/>
                  <a:gd name="T16" fmla="*/ 22 w 37"/>
                  <a:gd name="T17" fmla="*/ 57 h 59"/>
                  <a:gd name="T18" fmla="*/ 28 w 37"/>
                  <a:gd name="T19" fmla="*/ 57 h 59"/>
                  <a:gd name="T20" fmla="*/ 30 w 37"/>
                  <a:gd name="T21" fmla="*/ 57 h 59"/>
                  <a:gd name="T22" fmla="*/ 30 w 37"/>
                  <a:gd name="T23" fmla="*/ 51 h 59"/>
                  <a:gd name="T24" fmla="*/ 30 w 37"/>
                  <a:gd name="T25" fmla="*/ 48 h 59"/>
                  <a:gd name="T26" fmla="*/ 33 w 37"/>
                  <a:gd name="T27" fmla="*/ 45 h 59"/>
                  <a:gd name="T28" fmla="*/ 35 w 37"/>
                  <a:gd name="T29" fmla="*/ 42 h 59"/>
                  <a:gd name="T30" fmla="*/ 37 w 37"/>
                  <a:gd name="T31" fmla="*/ 36 h 59"/>
                  <a:gd name="T32" fmla="*/ 35 w 37"/>
                  <a:gd name="T33" fmla="*/ 30 h 59"/>
                  <a:gd name="T34" fmla="*/ 33 w 37"/>
                  <a:gd name="T35" fmla="*/ 27 h 59"/>
                  <a:gd name="T36" fmla="*/ 30 w 37"/>
                  <a:gd name="T37" fmla="*/ 27 h 59"/>
                  <a:gd name="T38" fmla="*/ 28 w 37"/>
                  <a:gd name="T39" fmla="*/ 27 h 59"/>
                  <a:gd name="T40" fmla="*/ 28 w 37"/>
                  <a:gd name="T41" fmla="*/ 29 h 59"/>
                  <a:gd name="T42" fmla="*/ 28 w 37"/>
                  <a:gd name="T43" fmla="*/ 32 h 59"/>
                  <a:gd name="T44" fmla="*/ 28 w 37"/>
                  <a:gd name="T45" fmla="*/ 34 h 59"/>
                  <a:gd name="T46" fmla="*/ 27 w 37"/>
                  <a:gd name="T47" fmla="*/ 36 h 59"/>
                  <a:gd name="T48" fmla="*/ 25 w 37"/>
                  <a:gd name="T49" fmla="*/ 32 h 59"/>
                  <a:gd name="T50" fmla="*/ 22 w 37"/>
                  <a:gd name="T51" fmla="*/ 31 h 59"/>
                  <a:gd name="T52" fmla="*/ 19 w 37"/>
                  <a:gd name="T53" fmla="*/ 31 h 59"/>
                  <a:gd name="T54" fmla="*/ 16 w 37"/>
                  <a:gd name="T55" fmla="*/ 29 h 59"/>
                  <a:gd name="T56" fmla="*/ 19 w 37"/>
                  <a:gd name="T57" fmla="*/ 28 h 59"/>
                  <a:gd name="T58" fmla="*/ 20 w 37"/>
                  <a:gd name="T59" fmla="*/ 27 h 59"/>
                  <a:gd name="T60" fmla="*/ 19 w 37"/>
                  <a:gd name="T61" fmla="*/ 25 h 59"/>
                  <a:gd name="T62" fmla="*/ 16 w 37"/>
                  <a:gd name="T63" fmla="*/ 22 h 59"/>
                  <a:gd name="T64" fmla="*/ 17 w 37"/>
                  <a:gd name="T65" fmla="*/ 20 h 59"/>
                  <a:gd name="T66" fmla="*/ 19 w 37"/>
                  <a:gd name="T67" fmla="*/ 15 h 59"/>
                  <a:gd name="T68" fmla="*/ 14 w 37"/>
                  <a:gd name="T69" fmla="*/ 12 h 59"/>
                  <a:gd name="T70" fmla="*/ 15 w 37"/>
                  <a:gd name="T71" fmla="*/ 10 h 59"/>
                  <a:gd name="T72" fmla="*/ 19 w 37"/>
                  <a:gd name="T73" fmla="*/ 6 h 59"/>
                  <a:gd name="T74" fmla="*/ 16 w 37"/>
                  <a:gd name="T75" fmla="*/ 3 h 59"/>
                  <a:gd name="T76" fmla="*/ 14 w 37"/>
                  <a:gd name="T77" fmla="*/ 0 h 59"/>
                  <a:gd name="T78" fmla="*/ 10 w 37"/>
                  <a:gd name="T79" fmla="*/ 2 h 59"/>
                  <a:gd name="T80" fmla="*/ 7 w 37"/>
                  <a:gd name="T81" fmla="*/ 6 h 59"/>
                  <a:gd name="T82" fmla="*/ 8 w 37"/>
                  <a:gd name="T83" fmla="*/ 10 h 59"/>
                  <a:gd name="T84" fmla="*/ 2 w 37"/>
                  <a:gd name="T85" fmla="*/ 10 h 59"/>
                  <a:gd name="T86" fmla="*/ 4 w 37"/>
                  <a:gd name="T87" fmla="*/ 17 h 59"/>
                  <a:gd name="T88" fmla="*/ 8 w 37"/>
                  <a:gd name="T89" fmla="*/ 20 h 59"/>
                  <a:gd name="T90" fmla="*/ 5 w 37"/>
                  <a:gd name="T91" fmla="*/ 27 h 59"/>
                  <a:gd name="T92" fmla="*/ 2 w 37"/>
                  <a:gd name="T93" fmla="*/ 27 h 59"/>
                  <a:gd name="T94" fmla="*/ 5 w 37"/>
                  <a:gd name="T95" fmla="*/ 31 h 59"/>
                  <a:gd name="T96" fmla="*/ 9 w 37"/>
                  <a:gd name="T97" fmla="*/ 34 h 59"/>
                  <a:gd name="T98" fmla="*/ 10 w 37"/>
                  <a:gd name="T99" fmla="*/ 36 h 59"/>
                  <a:gd name="T100" fmla="*/ 9 w 37"/>
                  <a:gd name="T101" fmla="*/ 37 h 59"/>
                  <a:gd name="T102" fmla="*/ 2 w 37"/>
                  <a:gd name="T103" fmla="*/ 39 h 59"/>
                  <a:gd name="T104" fmla="*/ 0 w 37"/>
                  <a:gd name="T105" fmla="*/ 58 h 59"/>
                  <a:gd name="T106" fmla="*/ 2 w 37"/>
                  <a:gd name="T107" fmla="*/ 5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7" h="59">
                    <a:moveTo>
                      <a:pt x="2" y="55"/>
                    </a:moveTo>
                    <a:cubicBezTo>
                      <a:pt x="2" y="55"/>
                      <a:pt x="4" y="55"/>
                      <a:pt x="5" y="54"/>
                    </a:cubicBezTo>
                    <a:cubicBezTo>
                      <a:pt x="7" y="53"/>
                      <a:pt x="9" y="56"/>
                      <a:pt x="9" y="56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4" y="59"/>
                      <a:pt x="14" y="59"/>
                      <a:pt x="14" y="59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9" y="59"/>
                      <a:pt x="19" y="59"/>
                      <a:pt x="19" y="59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22" y="57"/>
                      <a:pt x="22" y="57"/>
                      <a:pt x="22" y="57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1"/>
                      <a:pt x="30" y="51"/>
                      <a:pt x="30" y="51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33" y="27"/>
                      <a:pt x="33" y="27"/>
                      <a:pt x="33" y="27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5" y="32"/>
                      <a:pt x="25" y="32"/>
                      <a:pt x="25" y="32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7" y="5"/>
                      <a:pt x="7" y="6"/>
                    </a:cubicBezTo>
                    <a:cubicBezTo>
                      <a:pt x="8" y="7"/>
                      <a:pt x="8" y="10"/>
                      <a:pt x="8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58"/>
                      <a:pt x="0" y="58"/>
                      <a:pt x="0" y="58"/>
                    </a:cubicBezTo>
                    <a:lnTo>
                      <a:pt x="2" y="55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5" name="Freeform 40"/>
              <p:cNvSpPr>
                <a:spLocks/>
              </p:cNvSpPr>
              <p:nvPr/>
            </p:nvSpPr>
            <p:spPr bwMode="auto">
              <a:xfrm>
                <a:off x="4271842" y="2125728"/>
                <a:ext cx="21571" cy="43143"/>
              </a:xfrm>
              <a:custGeom>
                <a:avLst/>
                <a:gdLst>
                  <a:gd name="T0" fmla="*/ 5 w 11"/>
                  <a:gd name="T1" fmla="*/ 23 h 23"/>
                  <a:gd name="T2" fmla="*/ 11 w 11"/>
                  <a:gd name="T3" fmla="*/ 23 h 23"/>
                  <a:gd name="T4" fmla="*/ 11 w 11"/>
                  <a:gd name="T5" fmla="*/ 21 h 23"/>
                  <a:gd name="T6" fmla="*/ 11 w 11"/>
                  <a:gd name="T7" fmla="*/ 18 h 23"/>
                  <a:gd name="T8" fmla="*/ 9 w 11"/>
                  <a:gd name="T9" fmla="*/ 12 h 23"/>
                  <a:gd name="T10" fmla="*/ 5 w 11"/>
                  <a:gd name="T11" fmla="*/ 5 h 23"/>
                  <a:gd name="T12" fmla="*/ 4 w 11"/>
                  <a:gd name="T13" fmla="*/ 0 h 23"/>
                  <a:gd name="T14" fmla="*/ 0 w 11"/>
                  <a:gd name="T15" fmla="*/ 13 h 23"/>
                  <a:gd name="T16" fmla="*/ 0 w 11"/>
                  <a:gd name="T17" fmla="*/ 17 h 23"/>
                  <a:gd name="T18" fmla="*/ 5 w 11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23">
                    <a:moveTo>
                      <a:pt x="5" y="23"/>
                    </a:move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19"/>
                      <a:pt x="11" y="18"/>
                    </a:cubicBezTo>
                    <a:cubicBezTo>
                      <a:pt x="10" y="17"/>
                      <a:pt x="9" y="12"/>
                      <a:pt x="9" y="1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lnTo>
                      <a:pt x="5" y="2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6" name="Freeform 41"/>
              <p:cNvSpPr>
                <a:spLocks/>
              </p:cNvSpPr>
              <p:nvPr/>
            </p:nvSpPr>
            <p:spPr bwMode="auto">
              <a:xfrm>
                <a:off x="4293413" y="2213362"/>
                <a:ext cx="20224" cy="29661"/>
              </a:xfrm>
              <a:custGeom>
                <a:avLst/>
                <a:gdLst>
                  <a:gd name="T0" fmla="*/ 9 w 15"/>
                  <a:gd name="T1" fmla="*/ 22 h 22"/>
                  <a:gd name="T2" fmla="*/ 15 w 15"/>
                  <a:gd name="T3" fmla="*/ 18 h 22"/>
                  <a:gd name="T4" fmla="*/ 15 w 15"/>
                  <a:gd name="T5" fmla="*/ 14 h 22"/>
                  <a:gd name="T6" fmla="*/ 12 w 15"/>
                  <a:gd name="T7" fmla="*/ 13 h 22"/>
                  <a:gd name="T8" fmla="*/ 9 w 15"/>
                  <a:gd name="T9" fmla="*/ 10 h 22"/>
                  <a:gd name="T10" fmla="*/ 15 w 15"/>
                  <a:gd name="T11" fmla="*/ 6 h 22"/>
                  <a:gd name="T12" fmla="*/ 15 w 15"/>
                  <a:gd name="T13" fmla="*/ 3 h 22"/>
                  <a:gd name="T14" fmla="*/ 12 w 15"/>
                  <a:gd name="T15" fmla="*/ 0 h 22"/>
                  <a:gd name="T16" fmla="*/ 7 w 15"/>
                  <a:gd name="T17" fmla="*/ 0 h 22"/>
                  <a:gd name="T18" fmla="*/ 0 w 15"/>
                  <a:gd name="T19" fmla="*/ 0 h 22"/>
                  <a:gd name="T20" fmla="*/ 0 w 15"/>
                  <a:gd name="T21" fmla="*/ 4 h 22"/>
                  <a:gd name="T22" fmla="*/ 0 w 15"/>
                  <a:gd name="T23" fmla="*/ 6 h 22"/>
                  <a:gd name="T24" fmla="*/ 2 w 15"/>
                  <a:gd name="T25" fmla="*/ 11 h 22"/>
                  <a:gd name="T26" fmla="*/ 5 w 15"/>
                  <a:gd name="T27" fmla="*/ 11 h 22"/>
                  <a:gd name="T28" fmla="*/ 7 w 15"/>
                  <a:gd name="T29" fmla="*/ 11 h 22"/>
                  <a:gd name="T30" fmla="*/ 9 w 15"/>
                  <a:gd name="T31" fmla="*/ 13 h 22"/>
                  <a:gd name="T32" fmla="*/ 9 w 15"/>
                  <a:gd name="T3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22">
                    <a:moveTo>
                      <a:pt x="9" y="22"/>
                    </a:moveTo>
                    <a:lnTo>
                      <a:pt x="15" y="18"/>
                    </a:lnTo>
                    <a:lnTo>
                      <a:pt x="15" y="14"/>
                    </a:lnTo>
                    <a:lnTo>
                      <a:pt x="12" y="13"/>
                    </a:lnTo>
                    <a:lnTo>
                      <a:pt x="9" y="10"/>
                    </a:lnTo>
                    <a:lnTo>
                      <a:pt x="15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1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9" y="13"/>
                    </a:lnTo>
                    <a:lnTo>
                      <a:pt x="9" y="2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7" name="Freeform 42"/>
              <p:cNvSpPr>
                <a:spLocks/>
              </p:cNvSpPr>
              <p:nvPr/>
            </p:nvSpPr>
            <p:spPr bwMode="auto">
              <a:xfrm>
                <a:off x="4275887" y="2261898"/>
                <a:ext cx="17527" cy="24268"/>
              </a:xfrm>
              <a:custGeom>
                <a:avLst/>
                <a:gdLst>
                  <a:gd name="T0" fmla="*/ 7 w 13"/>
                  <a:gd name="T1" fmla="*/ 18 h 18"/>
                  <a:gd name="T2" fmla="*/ 10 w 13"/>
                  <a:gd name="T3" fmla="*/ 17 h 18"/>
                  <a:gd name="T4" fmla="*/ 13 w 13"/>
                  <a:gd name="T5" fmla="*/ 13 h 18"/>
                  <a:gd name="T6" fmla="*/ 13 w 13"/>
                  <a:gd name="T7" fmla="*/ 8 h 18"/>
                  <a:gd name="T8" fmla="*/ 13 w 13"/>
                  <a:gd name="T9" fmla="*/ 0 h 18"/>
                  <a:gd name="T10" fmla="*/ 7 w 13"/>
                  <a:gd name="T11" fmla="*/ 0 h 18"/>
                  <a:gd name="T12" fmla="*/ 3 w 13"/>
                  <a:gd name="T13" fmla="*/ 4 h 18"/>
                  <a:gd name="T14" fmla="*/ 3 w 13"/>
                  <a:gd name="T15" fmla="*/ 7 h 18"/>
                  <a:gd name="T16" fmla="*/ 3 w 13"/>
                  <a:gd name="T17" fmla="*/ 11 h 18"/>
                  <a:gd name="T18" fmla="*/ 0 w 13"/>
                  <a:gd name="T19" fmla="*/ 14 h 18"/>
                  <a:gd name="T20" fmla="*/ 6 w 13"/>
                  <a:gd name="T21" fmla="*/ 17 h 18"/>
                  <a:gd name="T22" fmla="*/ 7 w 13"/>
                  <a:gd name="T2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8">
                    <a:moveTo>
                      <a:pt x="7" y="18"/>
                    </a:moveTo>
                    <a:lnTo>
                      <a:pt x="10" y="17"/>
                    </a:lnTo>
                    <a:lnTo>
                      <a:pt x="13" y="13"/>
                    </a:lnTo>
                    <a:lnTo>
                      <a:pt x="13" y="8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3" y="11"/>
                    </a:lnTo>
                    <a:lnTo>
                      <a:pt x="0" y="14"/>
                    </a:lnTo>
                    <a:lnTo>
                      <a:pt x="6" y="17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8" name="Freeform 43"/>
              <p:cNvSpPr>
                <a:spLocks/>
              </p:cNvSpPr>
              <p:nvPr/>
            </p:nvSpPr>
            <p:spPr bwMode="auto">
              <a:xfrm>
                <a:off x="4395877" y="2127077"/>
                <a:ext cx="35054" cy="21571"/>
              </a:xfrm>
              <a:custGeom>
                <a:avLst/>
                <a:gdLst>
                  <a:gd name="T0" fmla="*/ 4 w 19"/>
                  <a:gd name="T1" fmla="*/ 11 h 11"/>
                  <a:gd name="T2" fmla="*/ 12 w 19"/>
                  <a:gd name="T3" fmla="*/ 11 h 11"/>
                  <a:gd name="T4" fmla="*/ 16 w 19"/>
                  <a:gd name="T5" fmla="*/ 11 h 11"/>
                  <a:gd name="T6" fmla="*/ 17 w 19"/>
                  <a:gd name="T7" fmla="*/ 11 h 11"/>
                  <a:gd name="T8" fmla="*/ 19 w 19"/>
                  <a:gd name="T9" fmla="*/ 5 h 11"/>
                  <a:gd name="T10" fmla="*/ 19 w 19"/>
                  <a:gd name="T11" fmla="*/ 2 h 11"/>
                  <a:gd name="T12" fmla="*/ 16 w 19"/>
                  <a:gd name="T13" fmla="*/ 0 h 11"/>
                  <a:gd name="T14" fmla="*/ 12 w 19"/>
                  <a:gd name="T15" fmla="*/ 0 h 11"/>
                  <a:gd name="T16" fmla="*/ 12 w 19"/>
                  <a:gd name="T17" fmla="*/ 1 h 11"/>
                  <a:gd name="T18" fmla="*/ 4 w 19"/>
                  <a:gd name="T19" fmla="*/ 2 h 11"/>
                  <a:gd name="T20" fmla="*/ 2 w 19"/>
                  <a:gd name="T21" fmla="*/ 2 h 11"/>
                  <a:gd name="T22" fmla="*/ 0 w 19"/>
                  <a:gd name="T23" fmla="*/ 5 h 11"/>
                  <a:gd name="T24" fmla="*/ 0 w 19"/>
                  <a:gd name="T25" fmla="*/ 8 h 11"/>
                  <a:gd name="T26" fmla="*/ 4 w 19"/>
                  <a:gd name="T2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11">
                    <a:moveTo>
                      <a:pt x="4" y="11"/>
                    </a:moveTo>
                    <a:cubicBezTo>
                      <a:pt x="12" y="11"/>
                      <a:pt x="12" y="11"/>
                      <a:pt x="12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1"/>
                      <a:pt x="12" y="1"/>
                    </a:cubicBezTo>
                    <a:cubicBezTo>
                      <a:pt x="11" y="1"/>
                      <a:pt x="4" y="2"/>
                      <a:pt x="4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9" name="Freeform 44"/>
              <p:cNvSpPr>
                <a:spLocks/>
              </p:cNvSpPr>
              <p:nvPr/>
            </p:nvSpPr>
            <p:spPr bwMode="auto">
              <a:xfrm>
                <a:off x="4459244" y="2133817"/>
                <a:ext cx="18875" cy="24268"/>
              </a:xfrm>
              <a:custGeom>
                <a:avLst/>
                <a:gdLst>
                  <a:gd name="T0" fmla="*/ 4 w 10"/>
                  <a:gd name="T1" fmla="*/ 13 h 13"/>
                  <a:gd name="T2" fmla="*/ 6 w 10"/>
                  <a:gd name="T3" fmla="*/ 12 h 13"/>
                  <a:gd name="T4" fmla="*/ 8 w 10"/>
                  <a:gd name="T5" fmla="*/ 12 h 13"/>
                  <a:gd name="T6" fmla="*/ 9 w 10"/>
                  <a:gd name="T7" fmla="*/ 11 h 13"/>
                  <a:gd name="T8" fmla="*/ 10 w 10"/>
                  <a:gd name="T9" fmla="*/ 8 h 13"/>
                  <a:gd name="T10" fmla="*/ 10 w 10"/>
                  <a:gd name="T11" fmla="*/ 5 h 13"/>
                  <a:gd name="T12" fmla="*/ 10 w 10"/>
                  <a:gd name="T13" fmla="*/ 2 h 13"/>
                  <a:gd name="T14" fmla="*/ 7 w 10"/>
                  <a:gd name="T15" fmla="*/ 0 h 13"/>
                  <a:gd name="T16" fmla="*/ 4 w 10"/>
                  <a:gd name="T17" fmla="*/ 0 h 13"/>
                  <a:gd name="T18" fmla="*/ 1 w 10"/>
                  <a:gd name="T19" fmla="*/ 0 h 13"/>
                  <a:gd name="T20" fmla="*/ 1 w 10"/>
                  <a:gd name="T21" fmla="*/ 4 h 13"/>
                  <a:gd name="T22" fmla="*/ 0 w 10"/>
                  <a:gd name="T23" fmla="*/ 5 h 13"/>
                  <a:gd name="T24" fmla="*/ 2 w 10"/>
                  <a:gd name="T25" fmla="*/ 7 h 13"/>
                  <a:gd name="T26" fmla="*/ 3 w 10"/>
                  <a:gd name="T27" fmla="*/ 9 h 13"/>
                  <a:gd name="T28" fmla="*/ 0 w 10"/>
                  <a:gd name="T29" fmla="*/ 11 h 13"/>
                  <a:gd name="T30" fmla="*/ 2 w 10"/>
                  <a:gd name="T31" fmla="*/ 13 h 13"/>
                  <a:gd name="T32" fmla="*/ 4 w 10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3">
                    <a:moveTo>
                      <a:pt x="4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7" y="13"/>
                      <a:pt x="8" y="12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" y="13"/>
                      <a:pt x="2" y="13"/>
                      <a:pt x="2" y="13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0" name="Freeform 45"/>
              <p:cNvSpPr>
                <a:spLocks/>
              </p:cNvSpPr>
              <p:nvPr/>
            </p:nvSpPr>
            <p:spPr bwMode="auto">
              <a:xfrm>
                <a:off x="4366217" y="2063710"/>
                <a:ext cx="43143" cy="63366"/>
              </a:xfrm>
              <a:custGeom>
                <a:avLst/>
                <a:gdLst>
                  <a:gd name="T0" fmla="*/ 12 w 23"/>
                  <a:gd name="T1" fmla="*/ 34 h 34"/>
                  <a:gd name="T2" fmla="*/ 14 w 23"/>
                  <a:gd name="T3" fmla="*/ 31 h 34"/>
                  <a:gd name="T4" fmla="*/ 18 w 23"/>
                  <a:gd name="T5" fmla="*/ 31 h 34"/>
                  <a:gd name="T6" fmla="*/ 21 w 23"/>
                  <a:gd name="T7" fmla="*/ 31 h 34"/>
                  <a:gd name="T8" fmla="*/ 21 w 23"/>
                  <a:gd name="T9" fmla="*/ 29 h 34"/>
                  <a:gd name="T10" fmla="*/ 21 w 23"/>
                  <a:gd name="T11" fmla="*/ 27 h 34"/>
                  <a:gd name="T12" fmla="*/ 23 w 23"/>
                  <a:gd name="T13" fmla="*/ 25 h 34"/>
                  <a:gd name="T14" fmla="*/ 23 w 23"/>
                  <a:gd name="T15" fmla="*/ 24 h 34"/>
                  <a:gd name="T16" fmla="*/ 21 w 23"/>
                  <a:gd name="T17" fmla="*/ 21 h 34"/>
                  <a:gd name="T18" fmla="*/ 20 w 23"/>
                  <a:gd name="T19" fmla="*/ 20 h 34"/>
                  <a:gd name="T20" fmla="*/ 23 w 23"/>
                  <a:gd name="T21" fmla="*/ 18 h 34"/>
                  <a:gd name="T22" fmla="*/ 23 w 23"/>
                  <a:gd name="T23" fmla="*/ 17 h 34"/>
                  <a:gd name="T24" fmla="*/ 21 w 23"/>
                  <a:gd name="T25" fmla="*/ 14 h 34"/>
                  <a:gd name="T26" fmla="*/ 18 w 23"/>
                  <a:gd name="T27" fmla="*/ 12 h 34"/>
                  <a:gd name="T28" fmla="*/ 18 w 23"/>
                  <a:gd name="T29" fmla="*/ 10 h 34"/>
                  <a:gd name="T30" fmla="*/ 14 w 23"/>
                  <a:gd name="T31" fmla="*/ 8 h 34"/>
                  <a:gd name="T32" fmla="*/ 12 w 23"/>
                  <a:gd name="T33" fmla="*/ 5 h 34"/>
                  <a:gd name="T34" fmla="*/ 9 w 23"/>
                  <a:gd name="T35" fmla="*/ 2 h 34"/>
                  <a:gd name="T36" fmla="*/ 5 w 23"/>
                  <a:gd name="T37" fmla="*/ 0 h 34"/>
                  <a:gd name="T38" fmla="*/ 0 w 23"/>
                  <a:gd name="T39" fmla="*/ 3 h 34"/>
                  <a:gd name="T40" fmla="*/ 0 w 23"/>
                  <a:gd name="T41" fmla="*/ 8 h 34"/>
                  <a:gd name="T42" fmla="*/ 3 w 23"/>
                  <a:gd name="T43" fmla="*/ 12 h 34"/>
                  <a:gd name="T44" fmla="*/ 3 w 23"/>
                  <a:gd name="T45" fmla="*/ 14 h 34"/>
                  <a:gd name="T46" fmla="*/ 3 w 23"/>
                  <a:gd name="T47" fmla="*/ 16 h 34"/>
                  <a:gd name="T48" fmla="*/ 9 w 23"/>
                  <a:gd name="T49" fmla="*/ 18 h 34"/>
                  <a:gd name="T50" fmla="*/ 11 w 23"/>
                  <a:gd name="T51" fmla="*/ 22 h 34"/>
                  <a:gd name="T52" fmla="*/ 9 w 23"/>
                  <a:gd name="T53" fmla="*/ 24 h 34"/>
                  <a:gd name="T54" fmla="*/ 5 w 23"/>
                  <a:gd name="T55" fmla="*/ 25 h 34"/>
                  <a:gd name="T56" fmla="*/ 3 w 23"/>
                  <a:gd name="T57" fmla="*/ 28 h 34"/>
                  <a:gd name="T58" fmla="*/ 9 w 23"/>
                  <a:gd name="T59" fmla="*/ 29 h 34"/>
                  <a:gd name="T60" fmla="*/ 9 w 23"/>
                  <a:gd name="T61" fmla="*/ 31 h 34"/>
                  <a:gd name="T62" fmla="*/ 10 w 23"/>
                  <a:gd name="T63" fmla="*/ 33 h 34"/>
                  <a:gd name="T64" fmla="*/ 12 w 23"/>
                  <a:gd name="T6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34">
                    <a:moveTo>
                      <a:pt x="12" y="34"/>
                    </a:moveTo>
                    <a:cubicBezTo>
                      <a:pt x="14" y="31"/>
                      <a:pt x="14" y="31"/>
                      <a:pt x="1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3" y="25"/>
                      <a:pt x="23" y="25"/>
                      <a:pt x="23" y="25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9" y="29"/>
                      <a:pt x="9" y="29"/>
                      <a:pt x="9" y="29"/>
                    </a:cubicBezTo>
                    <a:cubicBezTo>
                      <a:pt x="9" y="29"/>
                      <a:pt x="9" y="31"/>
                      <a:pt x="9" y="31"/>
                    </a:cubicBezTo>
                    <a:cubicBezTo>
                      <a:pt x="8" y="31"/>
                      <a:pt x="10" y="33"/>
                      <a:pt x="10" y="33"/>
                    </a:cubicBezTo>
                    <a:lnTo>
                      <a:pt x="12" y="3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1" name="Freeform 46"/>
              <p:cNvSpPr>
                <a:spLocks/>
              </p:cNvSpPr>
              <p:nvPr/>
            </p:nvSpPr>
            <p:spPr bwMode="auto">
              <a:xfrm>
                <a:off x="4319030" y="2120335"/>
                <a:ext cx="14831" cy="9438"/>
              </a:xfrm>
              <a:custGeom>
                <a:avLst/>
                <a:gdLst>
                  <a:gd name="T0" fmla="*/ 11 w 11"/>
                  <a:gd name="T1" fmla="*/ 7 h 7"/>
                  <a:gd name="T2" fmla="*/ 7 w 11"/>
                  <a:gd name="T3" fmla="*/ 7 h 7"/>
                  <a:gd name="T4" fmla="*/ 1 w 11"/>
                  <a:gd name="T5" fmla="*/ 7 h 7"/>
                  <a:gd name="T6" fmla="*/ 0 w 11"/>
                  <a:gd name="T7" fmla="*/ 5 h 7"/>
                  <a:gd name="T8" fmla="*/ 0 w 11"/>
                  <a:gd name="T9" fmla="*/ 0 h 7"/>
                  <a:gd name="T10" fmla="*/ 3 w 11"/>
                  <a:gd name="T11" fmla="*/ 0 h 7"/>
                  <a:gd name="T12" fmla="*/ 6 w 11"/>
                  <a:gd name="T13" fmla="*/ 0 h 7"/>
                  <a:gd name="T14" fmla="*/ 8 w 11"/>
                  <a:gd name="T15" fmla="*/ 4 h 7"/>
                  <a:gd name="T16" fmla="*/ 11 w 11"/>
                  <a:gd name="T17" fmla="*/ 4 h 7"/>
                  <a:gd name="T18" fmla="*/ 11 w 11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7">
                    <a:moveTo>
                      <a:pt x="11" y="7"/>
                    </a:moveTo>
                    <a:lnTo>
                      <a:pt x="7" y="7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11" y="4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2" name="Freeform 47"/>
              <p:cNvSpPr>
                <a:spLocks/>
              </p:cNvSpPr>
              <p:nvPr/>
            </p:nvSpPr>
            <p:spPr bwMode="auto">
              <a:xfrm>
                <a:off x="4285324" y="2039442"/>
                <a:ext cx="72804" cy="86286"/>
              </a:xfrm>
              <a:custGeom>
                <a:avLst/>
                <a:gdLst>
                  <a:gd name="T0" fmla="*/ 43 w 54"/>
                  <a:gd name="T1" fmla="*/ 64 h 64"/>
                  <a:gd name="T2" fmla="*/ 49 w 54"/>
                  <a:gd name="T3" fmla="*/ 61 h 64"/>
                  <a:gd name="T4" fmla="*/ 53 w 54"/>
                  <a:gd name="T5" fmla="*/ 61 h 64"/>
                  <a:gd name="T6" fmla="*/ 54 w 54"/>
                  <a:gd name="T7" fmla="*/ 56 h 64"/>
                  <a:gd name="T8" fmla="*/ 54 w 54"/>
                  <a:gd name="T9" fmla="*/ 49 h 64"/>
                  <a:gd name="T10" fmla="*/ 49 w 54"/>
                  <a:gd name="T11" fmla="*/ 46 h 64"/>
                  <a:gd name="T12" fmla="*/ 49 w 54"/>
                  <a:gd name="T13" fmla="*/ 38 h 64"/>
                  <a:gd name="T14" fmla="*/ 49 w 54"/>
                  <a:gd name="T15" fmla="*/ 35 h 64"/>
                  <a:gd name="T16" fmla="*/ 47 w 54"/>
                  <a:gd name="T17" fmla="*/ 29 h 64"/>
                  <a:gd name="T18" fmla="*/ 39 w 54"/>
                  <a:gd name="T19" fmla="*/ 25 h 64"/>
                  <a:gd name="T20" fmla="*/ 36 w 54"/>
                  <a:gd name="T21" fmla="*/ 20 h 64"/>
                  <a:gd name="T22" fmla="*/ 36 w 54"/>
                  <a:gd name="T23" fmla="*/ 17 h 64"/>
                  <a:gd name="T24" fmla="*/ 32 w 54"/>
                  <a:gd name="T25" fmla="*/ 13 h 64"/>
                  <a:gd name="T26" fmla="*/ 28 w 54"/>
                  <a:gd name="T27" fmla="*/ 13 h 64"/>
                  <a:gd name="T28" fmla="*/ 25 w 54"/>
                  <a:gd name="T29" fmla="*/ 16 h 64"/>
                  <a:gd name="T30" fmla="*/ 22 w 54"/>
                  <a:gd name="T31" fmla="*/ 18 h 64"/>
                  <a:gd name="T32" fmla="*/ 22 w 54"/>
                  <a:gd name="T33" fmla="*/ 13 h 64"/>
                  <a:gd name="T34" fmla="*/ 22 w 54"/>
                  <a:gd name="T35" fmla="*/ 9 h 64"/>
                  <a:gd name="T36" fmla="*/ 21 w 54"/>
                  <a:gd name="T37" fmla="*/ 3 h 64"/>
                  <a:gd name="T38" fmla="*/ 18 w 54"/>
                  <a:gd name="T39" fmla="*/ 0 h 64"/>
                  <a:gd name="T40" fmla="*/ 13 w 54"/>
                  <a:gd name="T41" fmla="*/ 0 h 64"/>
                  <a:gd name="T42" fmla="*/ 6 w 54"/>
                  <a:gd name="T43" fmla="*/ 0 h 64"/>
                  <a:gd name="T44" fmla="*/ 3 w 54"/>
                  <a:gd name="T45" fmla="*/ 0 h 64"/>
                  <a:gd name="T46" fmla="*/ 0 w 54"/>
                  <a:gd name="T47" fmla="*/ 4 h 64"/>
                  <a:gd name="T48" fmla="*/ 0 w 54"/>
                  <a:gd name="T49" fmla="*/ 13 h 64"/>
                  <a:gd name="T50" fmla="*/ 6 w 54"/>
                  <a:gd name="T51" fmla="*/ 14 h 64"/>
                  <a:gd name="T52" fmla="*/ 6 w 54"/>
                  <a:gd name="T53" fmla="*/ 18 h 64"/>
                  <a:gd name="T54" fmla="*/ 13 w 54"/>
                  <a:gd name="T55" fmla="*/ 18 h 64"/>
                  <a:gd name="T56" fmla="*/ 13 w 54"/>
                  <a:gd name="T57" fmla="*/ 21 h 64"/>
                  <a:gd name="T58" fmla="*/ 18 w 54"/>
                  <a:gd name="T59" fmla="*/ 25 h 64"/>
                  <a:gd name="T60" fmla="*/ 21 w 54"/>
                  <a:gd name="T61" fmla="*/ 35 h 64"/>
                  <a:gd name="T62" fmla="*/ 18 w 54"/>
                  <a:gd name="T63" fmla="*/ 32 h 64"/>
                  <a:gd name="T64" fmla="*/ 7 w 54"/>
                  <a:gd name="T65" fmla="*/ 32 h 64"/>
                  <a:gd name="T66" fmla="*/ 3 w 54"/>
                  <a:gd name="T67" fmla="*/ 35 h 64"/>
                  <a:gd name="T68" fmla="*/ 3 w 54"/>
                  <a:gd name="T69" fmla="*/ 39 h 64"/>
                  <a:gd name="T70" fmla="*/ 6 w 54"/>
                  <a:gd name="T71" fmla="*/ 42 h 64"/>
                  <a:gd name="T72" fmla="*/ 7 w 54"/>
                  <a:gd name="T73" fmla="*/ 43 h 64"/>
                  <a:gd name="T74" fmla="*/ 11 w 54"/>
                  <a:gd name="T75" fmla="*/ 46 h 64"/>
                  <a:gd name="T76" fmla="*/ 15 w 54"/>
                  <a:gd name="T77" fmla="*/ 43 h 64"/>
                  <a:gd name="T78" fmla="*/ 15 w 54"/>
                  <a:gd name="T79" fmla="*/ 42 h 64"/>
                  <a:gd name="T80" fmla="*/ 24 w 54"/>
                  <a:gd name="T81" fmla="*/ 42 h 64"/>
                  <a:gd name="T82" fmla="*/ 26 w 54"/>
                  <a:gd name="T83" fmla="*/ 42 h 64"/>
                  <a:gd name="T84" fmla="*/ 33 w 54"/>
                  <a:gd name="T85" fmla="*/ 43 h 64"/>
                  <a:gd name="T86" fmla="*/ 36 w 54"/>
                  <a:gd name="T87" fmla="*/ 50 h 64"/>
                  <a:gd name="T88" fmla="*/ 39 w 54"/>
                  <a:gd name="T89" fmla="*/ 53 h 64"/>
                  <a:gd name="T90" fmla="*/ 40 w 54"/>
                  <a:gd name="T91" fmla="*/ 60 h 64"/>
                  <a:gd name="T92" fmla="*/ 43 w 54"/>
                  <a:gd name="T93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4" h="64">
                    <a:moveTo>
                      <a:pt x="43" y="64"/>
                    </a:moveTo>
                    <a:lnTo>
                      <a:pt x="49" y="61"/>
                    </a:lnTo>
                    <a:lnTo>
                      <a:pt x="53" y="61"/>
                    </a:lnTo>
                    <a:lnTo>
                      <a:pt x="54" y="56"/>
                    </a:lnTo>
                    <a:lnTo>
                      <a:pt x="54" y="49"/>
                    </a:lnTo>
                    <a:lnTo>
                      <a:pt x="49" y="46"/>
                    </a:lnTo>
                    <a:lnTo>
                      <a:pt x="49" y="38"/>
                    </a:lnTo>
                    <a:lnTo>
                      <a:pt x="49" y="35"/>
                    </a:lnTo>
                    <a:lnTo>
                      <a:pt x="47" y="29"/>
                    </a:lnTo>
                    <a:lnTo>
                      <a:pt x="39" y="25"/>
                    </a:lnTo>
                    <a:lnTo>
                      <a:pt x="36" y="20"/>
                    </a:lnTo>
                    <a:lnTo>
                      <a:pt x="36" y="17"/>
                    </a:lnTo>
                    <a:lnTo>
                      <a:pt x="32" y="13"/>
                    </a:lnTo>
                    <a:lnTo>
                      <a:pt x="28" y="13"/>
                    </a:lnTo>
                    <a:lnTo>
                      <a:pt x="25" y="16"/>
                    </a:lnTo>
                    <a:lnTo>
                      <a:pt x="22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21" y="3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13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13" y="21"/>
                    </a:lnTo>
                    <a:lnTo>
                      <a:pt x="18" y="25"/>
                    </a:lnTo>
                    <a:lnTo>
                      <a:pt x="21" y="35"/>
                    </a:lnTo>
                    <a:lnTo>
                      <a:pt x="18" y="32"/>
                    </a:lnTo>
                    <a:lnTo>
                      <a:pt x="7" y="32"/>
                    </a:lnTo>
                    <a:lnTo>
                      <a:pt x="3" y="35"/>
                    </a:lnTo>
                    <a:lnTo>
                      <a:pt x="3" y="39"/>
                    </a:lnTo>
                    <a:lnTo>
                      <a:pt x="6" y="42"/>
                    </a:lnTo>
                    <a:lnTo>
                      <a:pt x="7" y="43"/>
                    </a:lnTo>
                    <a:lnTo>
                      <a:pt x="11" y="46"/>
                    </a:lnTo>
                    <a:lnTo>
                      <a:pt x="15" y="43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3" y="43"/>
                    </a:lnTo>
                    <a:lnTo>
                      <a:pt x="36" y="50"/>
                    </a:lnTo>
                    <a:lnTo>
                      <a:pt x="39" y="53"/>
                    </a:lnTo>
                    <a:lnTo>
                      <a:pt x="40" y="60"/>
                    </a:lnTo>
                    <a:lnTo>
                      <a:pt x="43" y="6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3" name="Freeform 48"/>
              <p:cNvSpPr>
                <a:spLocks/>
              </p:cNvSpPr>
              <p:nvPr/>
            </p:nvSpPr>
            <p:spPr bwMode="auto">
              <a:xfrm>
                <a:off x="4387788" y="1922148"/>
                <a:ext cx="118643" cy="179313"/>
              </a:xfrm>
              <a:custGeom>
                <a:avLst/>
                <a:gdLst>
                  <a:gd name="T0" fmla="*/ 37 w 63"/>
                  <a:gd name="T1" fmla="*/ 96 h 96"/>
                  <a:gd name="T2" fmla="*/ 35 w 63"/>
                  <a:gd name="T3" fmla="*/ 90 h 96"/>
                  <a:gd name="T4" fmla="*/ 38 w 63"/>
                  <a:gd name="T5" fmla="*/ 89 h 96"/>
                  <a:gd name="T6" fmla="*/ 39 w 63"/>
                  <a:gd name="T7" fmla="*/ 81 h 96"/>
                  <a:gd name="T8" fmla="*/ 43 w 63"/>
                  <a:gd name="T9" fmla="*/ 88 h 96"/>
                  <a:gd name="T10" fmla="*/ 46 w 63"/>
                  <a:gd name="T11" fmla="*/ 93 h 96"/>
                  <a:gd name="T12" fmla="*/ 51 w 63"/>
                  <a:gd name="T13" fmla="*/ 91 h 96"/>
                  <a:gd name="T14" fmla="*/ 51 w 63"/>
                  <a:gd name="T15" fmla="*/ 84 h 96"/>
                  <a:gd name="T16" fmla="*/ 49 w 63"/>
                  <a:gd name="T17" fmla="*/ 76 h 96"/>
                  <a:gd name="T18" fmla="*/ 48 w 63"/>
                  <a:gd name="T19" fmla="*/ 67 h 96"/>
                  <a:gd name="T20" fmla="*/ 52 w 63"/>
                  <a:gd name="T21" fmla="*/ 75 h 96"/>
                  <a:gd name="T22" fmla="*/ 54 w 63"/>
                  <a:gd name="T23" fmla="*/ 68 h 96"/>
                  <a:gd name="T24" fmla="*/ 59 w 63"/>
                  <a:gd name="T25" fmla="*/ 67 h 96"/>
                  <a:gd name="T26" fmla="*/ 63 w 63"/>
                  <a:gd name="T27" fmla="*/ 66 h 96"/>
                  <a:gd name="T28" fmla="*/ 63 w 63"/>
                  <a:gd name="T29" fmla="*/ 59 h 96"/>
                  <a:gd name="T30" fmla="*/ 59 w 63"/>
                  <a:gd name="T31" fmla="*/ 49 h 96"/>
                  <a:gd name="T32" fmla="*/ 48 w 63"/>
                  <a:gd name="T33" fmla="*/ 42 h 96"/>
                  <a:gd name="T34" fmla="*/ 43 w 63"/>
                  <a:gd name="T35" fmla="*/ 39 h 96"/>
                  <a:gd name="T36" fmla="*/ 36 w 63"/>
                  <a:gd name="T37" fmla="*/ 36 h 96"/>
                  <a:gd name="T38" fmla="*/ 35 w 63"/>
                  <a:gd name="T39" fmla="*/ 28 h 96"/>
                  <a:gd name="T40" fmla="*/ 27 w 63"/>
                  <a:gd name="T41" fmla="*/ 24 h 96"/>
                  <a:gd name="T42" fmla="*/ 22 w 63"/>
                  <a:gd name="T43" fmla="*/ 11 h 96"/>
                  <a:gd name="T44" fmla="*/ 20 w 63"/>
                  <a:gd name="T45" fmla="*/ 4 h 96"/>
                  <a:gd name="T46" fmla="*/ 8 w 63"/>
                  <a:gd name="T47" fmla="*/ 0 h 96"/>
                  <a:gd name="T48" fmla="*/ 4 w 63"/>
                  <a:gd name="T49" fmla="*/ 4 h 96"/>
                  <a:gd name="T50" fmla="*/ 6 w 63"/>
                  <a:gd name="T51" fmla="*/ 6 h 96"/>
                  <a:gd name="T52" fmla="*/ 14 w 63"/>
                  <a:gd name="T53" fmla="*/ 7 h 96"/>
                  <a:gd name="T54" fmla="*/ 4 w 63"/>
                  <a:gd name="T55" fmla="*/ 12 h 96"/>
                  <a:gd name="T56" fmla="*/ 6 w 63"/>
                  <a:gd name="T57" fmla="*/ 20 h 96"/>
                  <a:gd name="T58" fmla="*/ 0 w 63"/>
                  <a:gd name="T59" fmla="*/ 24 h 96"/>
                  <a:gd name="T60" fmla="*/ 4 w 63"/>
                  <a:gd name="T61" fmla="*/ 31 h 96"/>
                  <a:gd name="T62" fmla="*/ 0 w 63"/>
                  <a:gd name="T63" fmla="*/ 35 h 96"/>
                  <a:gd name="T64" fmla="*/ 4 w 63"/>
                  <a:gd name="T65" fmla="*/ 36 h 96"/>
                  <a:gd name="T66" fmla="*/ 11 w 63"/>
                  <a:gd name="T67" fmla="*/ 37 h 96"/>
                  <a:gd name="T68" fmla="*/ 6 w 63"/>
                  <a:gd name="T69" fmla="*/ 41 h 96"/>
                  <a:gd name="T70" fmla="*/ 0 w 63"/>
                  <a:gd name="T71" fmla="*/ 39 h 96"/>
                  <a:gd name="T72" fmla="*/ 0 w 63"/>
                  <a:gd name="T73" fmla="*/ 45 h 96"/>
                  <a:gd name="T74" fmla="*/ 4 w 63"/>
                  <a:gd name="T75" fmla="*/ 48 h 96"/>
                  <a:gd name="T76" fmla="*/ 11 w 63"/>
                  <a:gd name="T77" fmla="*/ 48 h 96"/>
                  <a:gd name="T78" fmla="*/ 11 w 63"/>
                  <a:gd name="T79" fmla="*/ 52 h 96"/>
                  <a:gd name="T80" fmla="*/ 6 w 63"/>
                  <a:gd name="T81" fmla="*/ 56 h 96"/>
                  <a:gd name="T82" fmla="*/ 9 w 63"/>
                  <a:gd name="T83" fmla="*/ 60 h 96"/>
                  <a:gd name="T84" fmla="*/ 16 w 63"/>
                  <a:gd name="T85" fmla="*/ 59 h 96"/>
                  <a:gd name="T86" fmla="*/ 22 w 63"/>
                  <a:gd name="T87" fmla="*/ 59 h 96"/>
                  <a:gd name="T88" fmla="*/ 31 w 63"/>
                  <a:gd name="T89" fmla="*/ 63 h 96"/>
                  <a:gd name="T90" fmla="*/ 18 w 63"/>
                  <a:gd name="T91" fmla="*/ 65 h 96"/>
                  <a:gd name="T92" fmla="*/ 14 w 63"/>
                  <a:gd name="T93" fmla="*/ 70 h 96"/>
                  <a:gd name="T94" fmla="*/ 15 w 63"/>
                  <a:gd name="T95" fmla="*/ 73 h 96"/>
                  <a:gd name="T96" fmla="*/ 18 w 63"/>
                  <a:gd name="T97" fmla="*/ 76 h 96"/>
                  <a:gd name="T98" fmla="*/ 21 w 63"/>
                  <a:gd name="T99" fmla="*/ 81 h 96"/>
                  <a:gd name="T100" fmla="*/ 26 w 63"/>
                  <a:gd name="T101" fmla="*/ 84 h 96"/>
                  <a:gd name="T102" fmla="*/ 23 w 63"/>
                  <a:gd name="T103" fmla="*/ 88 h 96"/>
                  <a:gd name="T104" fmla="*/ 27 w 63"/>
                  <a:gd name="T105" fmla="*/ 93 h 96"/>
                  <a:gd name="T106" fmla="*/ 34 w 63"/>
                  <a:gd name="T10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" h="96">
                    <a:moveTo>
                      <a:pt x="34" y="96"/>
                    </a:moveTo>
                    <a:cubicBezTo>
                      <a:pt x="37" y="96"/>
                      <a:pt x="37" y="96"/>
                      <a:pt x="37" y="96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8" y="90"/>
                      <a:pt x="39" y="90"/>
                      <a:pt x="38" y="89"/>
                    </a:cubicBezTo>
                    <a:cubicBezTo>
                      <a:pt x="38" y="88"/>
                      <a:pt x="39" y="86"/>
                      <a:pt x="39" y="86"/>
                    </a:cubicBezTo>
                    <a:cubicBezTo>
                      <a:pt x="39" y="81"/>
                      <a:pt x="39" y="81"/>
                      <a:pt x="39" y="81"/>
                    </a:cubicBezTo>
                    <a:cubicBezTo>
                      <a:pt x="43" y="81"/>
                      <a:pt x="43" y="81"/>
                      <a:pt x="43" y="81"/>
                    </a:cubicBezTo>
                    <a:cubicBezTo>
                      <a:pt x="43" y="88"/>
                      <a:pt x="43" y="88"/>
                      <a:pt x="43" y="88"/>
                    </a:cubicBezTo>
                    <a:cubicBezTo>
                      <a:pt x="43" y="91"/>
                      <a:pt x="43" y="91"/>
                      <a:pt x="43" y="91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8" y="92"/>
                      <a:pt x="48" y="92"/>
                      <a:pt x="48" y="92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49" y="86"/>
                      <a:pt x="49" y="86"/>
                      <a:pt x="49" y="86"/>
                    </a:cubicBezTo>
                    <a:cubicBezTo>
                      <a:pt x="51" y="84"/>
                      <a:pt x="51" y="84"/>
                      <a:pt x="51" y="84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3"/>
                      <a:pt x="48" y="73"/>
                      <a:pt x="48" y="73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51" y="67"/>
                      <a:pt x="51" y="67"/>
                      <a:pt x="51" y="67"/>
                    </a:cubicBezTo>
                    <a:cubicBezTo>
                      <a:pt x="52" y="75"/>
                      <a:pt x="52" y="75"/>
                      <a:pt x="52" y="75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68"/>
                      <a:pt x="54" y="68"/>
                      <a:pt x="54" y="68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9" y="67"/>
                      <a:pt x="59" y="67"/>
                      <a:pt x="59" y="67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3" y="66"/>
                      <a:pt x="63" y="66"/>
                      <a:pt x="63" y="66"/>
                    </a:cubicBezTo>
                    <a:cubicBezTo>
                      <a:pt x="59" y="63"/>
                      <a:pt x="59" y="63"/>
                      <a:pt x="59" y="63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3" y="55"/>
                      <a:pt x="63" y="55"/>
                      <a:pt x="63" y="55"/>
                    </a:cubicBezTo>
                    <a:cubicBezTo>
                      <a:pt x="59" y="49"/>
                      <a:pt x="59" y="49"/>
                      <a:pt x="59" y="49"/>
                    </a:cubicBezTo>
                    <a:cubicBezTo>
                      <a:pt x="51" y="48"/>
                      <a:pt x="51" y="48"/>
                      <a:pt x="51" y="48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7" y="39"/>
                      <a:pt x="47" y="39"/>
                      <a:pt x="47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36" y="36"/>
                      <a:pt x="36" y="36"/>
                      <a:pt x="36" y="36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7" y="6"/>
                      <a:pt x="9" y="6"/>
                    </a:cubicBezTo>
                    <a:cubicBezTo>
                      <a:pt x="12" y="6"/>
                      <a:pt x="14" y="7"/>
                      <a:pt x="14" y="7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4" y="36"/>
                      <a:pt x="5" y="36"/>
                      <a:pt x="6" y="36"/>
                    </a:cubicBezTo>
                    <a:cubicBezTo>
                      <a:pt x="7" y="36"/>
                      <a:pt x="11" y="37"/>
                      <a:pt x="11" y="37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9" y="60"/>
                      <a:pt x="9" y="60"/>
                      <a:pt x="9" y="60"/>
                    </a:cubicBezTo>
                    <a:cubicBezTo>
                      <a:pt x="9" y="60"/>
                      <a:pt x="10" y="60"/>
                      <a:pt x="11" y="60"/>
                    </a:cubicBezTo>
                    <a:cubicBezTo>
                      <a:pt x="12" y="60"/>
                      <a:pt x="16" y="59"/>
                      <a:pt x="16" y="59"/>
                    </a:cubicBezTo>
                    <a:cubicBezTo>
                      <a:pt x="18" y="57"/>
                      <a:pt x="18" y="57"/>
                      <a:pt x="18" y="57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26" y="62"/>
                      <a:pt x="26" y="62"/>
                      <a:pt x="26" y="62"/>
                    </a:cubicBezTo>
                    <a:cubicBezTo>
                      <a:pt x="31" y="63"/>
                      <a:pt x="31" y="63"/>
                      <a:pt x="31" y="63"/>
                    </a:cubicBezTo>
                    <a:cubicBezTo>
                      <a:pt x="23" y="65"/>
                      <a:pt x="23" y="65"/>
                      <a:pt x="23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5" y="67"/>
                      <a:pt x="15" y="67"/>
                      <a:pt x="15" y="67"/>
                    </a:cubicBezTo>
                    <a:cubicBezTo>
                      <a:pt x="14" y="70"/>
                      <a:pt x="14" y="70"/>
                      <a:pt x="14" y="70"/>
                    </a:cubicBezTo>
                    <a:cubicBezTo>
                      <a:pt x="14" y="71"/>
                      <a:pt x="14" y="71"/>
                      <a:pt x="14" y="71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7" y="76"/>
                      <a:pt x="17" y="76"/>
                      <a:pt x="17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5" y="82"/>
                      <a:pt x="25" y="82"/>
                      <a:pt x="25" y="82"/>
                    </a:cubicBezTo>
                    <a:cubicBezTo>
                      <a:pt x="25" y="82"/>
                      <a:pt x="27" y="83"/>
                      <a:pt x="26" y="84"/>
                    </a:cubicBezTo>
                    <a:cubicBezTo>
                      <a:pt x="24" y="85"/>
                      <a:pt x="23" y="86"/>
                      <a:pt x="23" y="86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3" y="91"/>
                      <a:pt x="23" y="91"/>
                      <a:pt x="23" y="91"/>
                    </a:cubicBezTo>
                    <a:cubicBezTo>
                      <a:pt x="27" y="93"/>
                      <a:pt x="27" y="93"/>
                      <a:pt x="27" y="93"/>
                    </a:cubicBezTo>
                    <a:cubicBezTo>
                      <a:pt x="29" y="93"/>
                      <a:pt x="29" y="93"/>
                      <a:pt x="29" y="93"/>
                    </a:cubicBezTo>
                    <a:lnTo>
                      <a:pt x="34" y="96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4" name="Freeform 49"/>
              <p:cNvSpPr>
                <a:spLocks/>
              </p:cNvSpPr>
              <p:nvPr/>
            </p:nvSpPr>
            <p:spPr bwMode="auto">
              <a:xfrm>
                <a:off x="3907824" y="2464130"/>
                <a:ext cx="934314" cy="686241"/>
              </a:xfrm>
              <a:custGeom>
                <a:avLst/>
                <a:gdLst>
                  <a:gd name="T0" fmla="*/ 477 w 500"/>
                  <a:gd name="T1" fmla="*/ 217 h 368"/>
                  <a:gd name="T2" fmla="*/ 439 w 500"/>
                  <a:gd name="T3" fmla="*/ 185 h 368"/>
                  <a:gd name="T4" fmla="*/ 429 w 500"/>
                  <a:gd name="T5" fmla="*/ 176 h 368"/>
                  <a:gd name="T6" fmla="*/ 432 w 500"/>
                  <a:gd name="T7" fmla="*/ 150 h 368"/>
                  <a:gd name="T8" fmla="*/ 430 w 500"/>
                  <a:gd name="T9" fmla="*/ 144 h 368"/>
                  <a:gd name="T10" fmla="*/ 450 w 500"/>
                  <a:gd name="T11" fmla="*/ 129 h 368"/>
                  <a:gd name="T12" fmla="*/ 435 w 500"/>
                  <a:gd name="T13" fmla="*/ 92 h 368"/>
                  <a:gd name="T14" fmla="*/ 443 w 500"/>
                  <a:gd name="T15" fmla="*/ 76 h 368"/>
                  <a:gd name="T16" fmla="*/ 426 w 500"/>
                  <a:gd name="T17" fmla="*/ 60 h 368"/>
                  <a:gd name="T18" fmla="*/ 404 w 500"/>
                  <a:gd name="T19" fmla="*/ 50 h 368"/>
                  <a:gd name="T20" fmla="*/ 401 w 500"/>
                  <a:gd name="T21" fmla="*/ 78 h 368"/>
                  <a:gd name="T22" fmla="*/ 391 w 500"/>
                  <a:gd name="T23" fmla="*/ 129 h 368"/>
                  <a:gd name="T24" fmla="*/ 370 w 500"/>
                  <a:gd name="T25" fmla="*/ 119 h 368"/>
                  <a:gd name="T26" fmla="*/ 368 w 500"/>
                  <a:gd name="T27" fmla="*/ 89 h 368"/>
                  <a:gd name="T28" fmla="*/ 349 w 500"/>
                  <a:gd name="T29" fmla="*/ 80 h 368"/>
                  <a:gd name="T30" fmla="*/ 336 w 500"/>
                  <a:gd name="T31" fmla="*/ 81 h 368"/>
                  <a:gd name="T32" fmla="*/ 327 w 500"/>
                  <a:gd name="T33" fmla="*/ 67 h 368"/>
                  <a:gd name="T34" fmla="*/ 316 w 500"/>
                  <a:gd name="T35" fmla="*/ 51 h 368"/>
                  <a:gd name="T36" fmla="*/ 306 w 500"/>
                  <a:gd name="T37" fmla="*/ 30 h 368"/>
                  <a:gd name="T38" fmla="*/ 281 w 500"/>
                  <a:gd name="T39" fmla="*/ 2 h 368"/>
                  <a:gd name="T40" fmla="*/ 275 w 500"/>
                  <a:gd name="T41" fmla="*/ 18 h 368"/>
                  <a:gd name="T42" fmla="*/ 272 w 500"/>
                  <a:gd name="T43" fmla="*/ 60 h 368"/>
                  <a:gd name="T44" fmla="*/ 307 w 500"/>
                  <a:gd name="T45" fmla="*/ 78 h 368"/>
                  <a:gd name="T46" fmla="*/ 302 w 500"/>
                  <a:gd name="T47" fmla="*/ 94 h 368"/>
                  <a:gd name="T48" fmla="*/ 302 w 500"/>
                  <a:gd name="T49" fmla="*/ 107 h 368"/>
                  <a:gd name="T50" fmla="*/ 288 w 500"/>
                  <a:gd name="T51" fmla="*/ 131 h 368"/>
                  <a:gd name="T52" fmla="*/ 280 w 500"/>
                  <a:gd name="T53" fmla="*/ 133 h 368"/>
                  <a:gd name="T54" fmla="*/ 272 w 500"/>
                  <a:gd name="T55" fmla="*/ 115 h 368"/>
                  <a:gd name="T56" fmla="*/ 252 w 500"/>
                  <a:gd name="T57" fmla="*/ 118 h 368"/>
                  <a:gd name="T58" fmla="*/ 257 w 500"/>
                  <a:gd name="T59" fmla="*/ 127 h 368"/>
                  <a:gd name="T60" fmla="*/ 227 w 500"/>
                  <a:gd name="T61" fmla="*/ 130 h 368"/>
                  <a:gd name="T62" fmla="*/ 189 w 500"/>
                  <a:gd name="T63" fmla="*/ 119 h 368"/>
                  <a:gd name="T64" fmla="*/ 172 w 500"/>
                  <a:gd name="T65" fmla="*/ 96 h 368"/>
                  <a:gd name="T66" fmla="*/ 137 w 500"/>
                  <a:gd name="T67" fmla="*/ 102 h 368"/>
                  <a:gd name="T68" fmla="*/ 157 w 500"/>
                  <a:gd name="T69" fmla="*/ 108 h 368"/>
                  <a:gd name="T70" fmla="*/ 162 w 500"/>
                  <a:gd name="T71" fmla="*/ 111 h 368"/>
                  <a:gd name="T72" fmla="*/ 148 w 500"/>
                  <a:gd name="T73" fmla="*/ 142 h 368"/>
                  <a:gd name="T74" fmla="*/ 142 w 500"/>
                  <a:gd name="T75" fmla="*/ 166 h 368"/>
                  <a:gd name="T76" fmla="*/ 138 w 500"/>
                  <a:gd name="T77" fmla="*/ 145 h 368"/>
                  <a:gd name="T78" fmla="*/ 124 w 500"/>
                  <a:gd name="T79" fmla="*/ 125 h 368"/>
                  <a:gd name="T80" fmla="*/ 79 w 500"/>
                  <a:gd name="T81" fmla="*/ 115 h 368"/>
                  <a:gd name="T82" fmla="*/ 74 w 500"/>
                  <a:gd name="T83" fmla="*/ 97 h 368"/>
                  <a:gd name="T84" fmla="*/ 49 w 500"/>
                  <a:gd name="T85" fmla="*/ 73 h 368"/>
                  <a:gd name="T86" fmla="*/ 0 w 500"/>
                  <a:gd name="T87" fmla="*/ 95 h 368"/>
                  <a:gd name="T88" fmla="*/ 314 w 500"/>
                  <a:gd name="T89" fmla="*/ 368 h 368"/>
                  <a:gd name="T90" fmla="*/ 326 w 500"/>
                  <a:gd name="T91" fmla="*/ 326 h 368"/>
                  <a:gd name="T92" fmla="*/ 347 w 500"/>
                  <a:gd name="T93" fmla="*/ 286 h 368"/>
                  <a:gd name="T94" fmla="*/ 362 w 500"/>
                  <a:gd name="T95" fmla="*/ 264 h 368"/>
                  <a:gd name="T96" fmla="*/ 302 w 500"/>
                  <a:gd name="T97" fmla="*/ 243 h 368"/>
                  <a:gd name="T98" fmla="*/ 307 w 500"/>
                  <a:gd name="T99" fmla="*/ 238 h 368"/>
                  <a:gd name="T100" fmla="*/ 348 w 500"/>
                  <a:gd name="T101" fmla="*/ 248 h 368"/>
                  <a:gd name="T102" fmla="*/ 396 w 500"/>
                  <a:gd name="T103" fmla="*/ 225 h 368"/>
                  <a:gd name="T104" fmla="*/ 376 w 500"/>
                  <a:gd name="T105" fmla="*/ 195 h 368"/>
                  <a:gd name="T106" fmla="*/ 352 w 500"/>
                  <a:gd name="T107" fmla="*/ 183 h 368"/>
                  <a:gd name="T108" fmla="*/ 396 w 500"/>
                  <a:gd name="T109" fmla="*/ 189 h 368"/>
                  <a:gd name="T110" fmla="*/ 398 w 500"/>
                  <a:gd name="T111" fmla="*/ 156 h 368"/>
                  <a:gd name="T112" fmla="*/ 417 w 500"/>
                  <a:gd name="T113" fmla="*/ 168 h 368"/>
                  <a:gd name="T114" fmla="*/ 417 w 500"/>
                  <a:gd name="T115" fmla="*/ 227 h 368"/>
                  <a:gd name="T116" fmla="*/ 431 w 500"/>
                  <a:gd name="T117" fmla="*/ 248 h 368"/>
                  <a:gd name="T118" fmla="*/ 453 w 500"/>
                  <a:gd name="T119" fmla="*/ 234 h 368"/>
                  <a:gd name="T120" fmla="*/ 481 w 500"/>
                  <a:gd name="T121" fmla="*/ 228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0" h="368">
                    <a:moveTo>
                      <a:pt x="496" y="214"/>
                    </a:moveTo>
                    <a:cubicBezTo>
                      <a:pt x="494" y="210"/>
                      <a:pt x="494" y="210"/>
                      <a:pt x="494" y="210"/>
                    </a:cubicBezTo>
                    <a:cubicBezTo>
                      <a:pt x="492" y="210"/>
                      <a:pt x="492" y="210"/>
                      <a:pt x="492" y="210"/>
                    </a:cubicBezTo>
                    <a:cubicBezTo>
                      <a:pt x="490" y="210"/>
                      <a:pt x="490" y="210"/>
                      <a:pt x="490" y="210"/>
                    </a:cubicBezTo>
                    <a:cubicBezTo>
                      <a:pt x="490" y="210"/>
                      <a:pt x="487" y="210"/>
                      <a:pt x="487" y="210"/>
                    </a:cubicBezTo>
                    <a:cubicBezTo>
                      <a:pt x="486" y="211"/>
                      <a:pt x="485" y="213"/>
                      <a:pt x="485" y="213"/>
                    </a:cubicBezTo>
                    <a:cubicBezTo>
                      <a:pt x="484" y="214"/>
                      <a:pt x="485" y="213"/>
                      <a:pt x="482" y="214"/>
                    </a:cubicBezTo>
                    <a:cubicBezTo>
                      <a:pt x="479" y="215"/>
                      <a:pt x="481" y="214"/>
                      <a:pt x="479" y="215"/>
                    </a:cubicBezTo>
                    <a:cubicBezTo>
                      <a:pt x="478" y="216"/>
                      <a:pt x="477" y="217"/>
                      <a:pt x="477" y="217"/>
                    </a:cubicBezTo>
                    <a:cubicBezTo>
                      <a:pt x="476" y="217"/>
                      <a:pt x="476" y="217"/>
                      <a:pt x="476" y="217"/>
                    </a:cubicBezTo>
                    <a:cubicBezTo>
                      <a:pt x="476" y="217"/>
                      <a:pt x="475" y="216"/>
                      <a:pt x="476" y="215"/>
                    </a:cubicBezTo>
                    <a:cubicBezTo>
                      <a:pt x="477" y="214"/>
                      <a:pt x="478" y="212"/>
                      <a:pt x="478" y="212"/>
                    </a:cubicBezTo>
                    <a:cubicBezTo>
                      <a:pt x="477" y="206"/>
                      <a:pt x="477" y="206"/>
                      <a:pt x="477" y="206"/>
                    </a:cubicBezTo>
                    <a:cubicBezTo>
                      <a:pt x="472" y="199"/>
                      <a:pt x="472" y="199"/>
                      <a:pt x="472" y="199"/>
                    </a:cubicBezTo>
                    <a:cubicBezTo>
                      <a:pt x="464" y="196"/>
                      <a:pt x="464" y="196"/>
                      <a:pt x="464" y="196"/>
                    </a:cubicBezTo>
                    <a:cubicBezTo>
                      <a:pt x="453" y="194"/>
                      <a:pt x="453" y="194"/>
                      <a:pt x="453" y="194"/>
                    </a:cubicBezTo>
                    <a:cubicBezTo>
                      <a:pt x="444" y="189"/>
                      <a:pt x="444" y="189"/>
                      <a:pt x="444" y="189"/>
                    </a:cubicBezTo>
                    <a:cubicBezTo>
                      <a:pt x="439" y="185"/>
                      <a:pt x="439" y="185"/>
                      <a:pt x="439" y="185"/>
                    </a:cubicBezTo>
                    <a:cubicBezTo>
                      <a:pt x="434" y="181"/>
                      <a:pt x="434" y="181"/>
                      <a:pt x="434" y="181"/>
                    </a:cubicBezTo>
                    <a:cubicBezTo>
                      <a:pt x="431" y="181"/>
                      <a:pt x="431" y="181"/>
                      <a:pt x="431" y="181"/>
                    </a:cubicBezTo>
                    <a:cubicBezTo>
                      <a:pt x="428" y="185"/>
                      <a:pt x="428" y="185"/>
                      <a:pt x="428" y="185"/>
                    </a:cubicBezTo>
                    <a:cubicBezTo>
                      <a:pt x="428" y="186"/>
                      <a:pt x="428" y="186"/>
                      <a:pt x="428" y="186"/>
                    </a:cubicBezTo>
                    <a:cubicBezTo>
                      <a:pt x="426" y="185"/>
                      <a:pt x="426" y="185"/>
                      <a:pt x="426" y="185"/>
                    </a:cubicBezTo>
                    <a:cubicBezTo>
                      <a:pt x="424" y="181"/>
                      <a:pt x="424" y="181"/>
                      <a:pt x="424" y="181"/>
                    </a:cubicBezTo>
                    <a:cubicBezTo>
                      <a:pt x="423" y="174"/>
                      <a:pt x="423" y="174"/>
                      <a:pt x="423" y="174"/>
                    </a:cubicBezTo>
                    <a:cubicBezTo>
                      <a:pt x="426" y="177"/>
                      <a:pt x="426" y="177"/>
                      <a:pt x="426" y="177"/>
                    </a:cubicBezTo>
                    <a:cubicBezTo>
                      <a:pt x="429" y="176"/>
                      <a:pt x="429" y="176"/>
                      <a:pt x="429" y="176"/>
                    </a:cubicBezTo>
                    <a:cubicBezTo>
                      <a:pt x="429" y="171"/>
                      <a:pt x="429" y="171"/>
                      <a:pt x="429" y="171"/>
                    </a:cubicBezTo>
                    <a:cubicBezTo>
                      <a:pt x="427" y="167"/>
                      <a:pt x="427" y="167"/>
                      <a:pt x="427" y="167"/>
                    </a:cubicBezTo>
                    <a:cubicBezTo>
                      <a:pt x="422" y="165"/>
                      <a:pt x="422" y="165"/>
                      <a:pt x="422" y="165"/>
                    </a:cubicBezTo>
                    <a:cubicBezTo>
                      <a:pt x="420" y="162"/>
                      <a:pt x="420" y="162"/>
                      <a:pt x="420" y="162"/>
                    </a:cubicBezTo>
                    <a:cubicBezTo>
                      <a:pt x="420" y="160"/>
                      <a:pt x="420" y="160"/>
                      <a:pt x="420" y="160"/>
                    </a:cubicBezTo>
                    <a:cubicBezTo>
                      <a:pt x="424" y="159"/>
                      <a:pt x="424" y="159"/>
                      <a:pt x="424" y="159"/>
                    </a:cubicBezTo>
                    <a:cubicBezTo>
                      <a:pt x="428" y="157"/>
                      <a:pt x="428" y="157"/>
                      <a:pt x="428" y="157"/>
                    </a:cubicBezTo>
                    <a:cubicBezTo>
                      <a:pt x="433" y="155"/>
                      <a:pt x="433" y="155"/>
                      <a:pt x="433" y="155"/>
                    </a:cubicBezTo>
                    <a:cubicBezTo>
                      <a:pt x="432" y="150"/>
                      <a:pt x="432" y="150"/>
                      <a:pt x="432" y="150"/>
                    </a:cubicBezTo>
                    <a:cubicBezTo>
                      <a:pt x="427" y="147"/>
                      <a:pt x="427" y="147"/>
                      <a:pt x="427" y="147"/>
                    </a:cubicBezTo>
                    <a:cubicBezTo>
                      <a:pt x="421" y="144"/>
                      <a:pt x="421" y="144"/>
                      <a:pt x="421" y="144"/>
                    </a:cubicBezTo>
                    <a:cubicBezTo>
                      <a:pt x="419" y="142"/>
                      <a:pt x="419" y="142"/>
                      <a:pt x="419" y="142"/>
                    </a:cubicBezTo>
                    <a:cubicBezTo>
                      <a:pt x="417" y="138"/>
                      <a:pt x="417" y="138"/>
                      <a:pt x="417" y="138"/>
                    </a:cubicBezTo>
                    <a:cubicBezTo>
                      <a:pt x="419" y="138"/>
                      <a:pt x="419" y="138"/>
                      <a:pt x="419" y="138"/>
                    </a:cubicBezTo>
                    <a:cubicBezTo>
                      <a:pt x="422" y="140"/>
                      <a:pt x="422" y="140"/>
                      <a:pt x="422" y="140"/>
                    </a:cubicBezTo>
                    <a:cubicBezTo>
                      <a:pt x="422" y="140"/>
                      <a:pt x="425" y="142"/>
                      <a:pt x="426" y="142"/>
                    </a:cubicBezTo>
                    <a:cubicBezTo>
                      <a:pt x="427" y="142"/>
                      <a:pt x="428" y="143"/>
                      <a:pt x="429" y="143"/>
                    </a:cubicBezTo>
                    <a:cubicBezTo>
                      <a:pt x="429" y="143"/>
                      <a:pt x="430" y="144"/>
                      <a:pt x="430" y="144"/>
                    </a:cubicBezTo>
                    <a:cubicBezTo>
                      <a:pt x="430" y="145"/>
                      <a:pt x="433" y="147"/>
                      <a:pt x="433" y="147"/>
                    </a:cubicBezTo>
                    <a:cubicBezTo>
                      <a:pt x="434" y="149"/>
                      <a:pt x="434" y="149"/>
                      <a:pt x="434" y="149"/>
                    </a:cubicBezTo>
                    <a:cubicBezTo>
                      <a:pt x="436" y="153"/>
                      <a:pt x="436" y="153"/>
                      <a:pt x="436" y="153"/>
                    </a:cubicBezTo>
                    <a:cubicBezTo>
                      <a:pt x="440" y="151"/>
                      <a:pt x="440" y="151"/>
                      <a:pt x="440" y="151"/>
                    </a:cubicBezTo>
                    <a:cubicBezTo>
                      <a:pt x="440" y="146"/>
                      <a:pt x="440" y="146"/>
                      <a:pt x="440" y="146"/>
                    </a:cubicBezTo>
                    <a:cubicBezTo>
                      <a:pt x="445" y="145"/>
                      <a:pt x="445" y="145"/>
                      <a:pt x="445" y="145"/>
                    </a:cubicBezTo>
                    <a:cubicBezTo>
                      <a:pt x="450" y="138"/>
                      <a:pt x="450" y="138"/>
                      <a:pt x="450" y="138"/>
                    </a:cubicBezTo>
                    <a:cubicBezTo>
                      <a:pt x="450" y="133"/>
                      <a:pt x="450" y="133"/>
                      <a:pt x="450" y="133"/>
                    </a:cubicBezTo>
                    <a:cubicBezTo>
                      <a:pt x="450" y="129"/>
                      <a:pt x="450" y="129"/>
                      <a:pt x="450" y="129"/>
                    </a:cubicBezTo>
                    <a:cubicBezTo>
                      <a:pt x="453" y="127"/>
                      <a:pt x="453" y="127"/>
                      <a:pt x="453" y="127"/>
                    </a:cubicBezTo>
                    <a:cubicBezTo>
                      <a:pt x="454" y="123"/>
                      <a:pt x="454" y="123"/>
                      <a:pt x="454" y="123"/>
                    </a:cubicBezTo>
                    <a:cubicBezTo>
                      <a:pt x="456" y="117"/>
                      <a:pt x="456" y="117"/>
                      <a:pt x="456" y="117"/>
                    </a:cubicBezTo>
                    <a:cubicBezTo>
                      <a:pt x="454" y="111"/>
                      <a:pt x="454" y="111"/>
                      <a:pt x="454" y="111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443" y="105"/>
                      <a:pt x="443" y="105"/>
                      <a:pt x="443" y="105"/>
                    </a:cubicBezTo>
                    <a:cubicBezTo>
                      <a:pt x="440" y="101"/>
                      <a:pt x="440" y="101"/>
                      <a:pt x="440" y="101"/>
                    </a:cubicBezTo>
                    <a:cubicBezTo>
                      <a:pt x="438" y="94"/>
                      <a:pt x="438" y="94"/>
                      <a:pt x="438" y="94"/>
                    </a:cubicBezTo>
                    <a:cubicBezTo>
                      <a:pt x="435" y="92"/>
                      <a:pt x="435" y="92"/>
                      <a:pt x="435" y="92"/>
                    </a:cubicBezTo>
                    <a:cubicBezTo>
                      <a:pt x="433" y="90"/>
                      <a:pt x="433" y="90"/>
                      <a:pt x="433" y="90"/>
                    </a:cubicBezTo>
                    <a:cubicBezTo>
                      <a:pt x="431" y="88"/>
                      <a:pt x="431" y="88"/>
                      <a:pt x="431" y="88"/>
                    </a:cubicBezTo>
                    <a:cubicBezTo>
                      <a:pt x="430" y="85"/>
                      <a:pt x="430" y="85"/>
                      <a:pt x="430" y="85"/>
                    </a:cubicBezTo>
                    <a:cubicBezTo>
                      <a:pt x="431" y="83"/>
                      <a:pt x="431" y="83"/>
                      <a:pt x="431" y="83"/>
                    </a:cubicBezTo>
                    <a:cubicBezTo>
                      <a:pt x="434" y="83"/>
                      <a:pt x="434" y="83"/>
                      <a:pt x="434" y="83"/>
                    </a:cubicBezTo>
                    <a:cubicBezTo>
                      <a:pt x="438" y="85"/>
                      <a:pt x="438" y="85"/>
                      <a:pt x="438" y="85"/>
                    </a:cubicBezTo>
                    <a:cubicBezTo>
                      <a:pt x="440" y="83"/>
                      <a:pt x="440" y="83"/>
                      <a:pt x="440" y="83"/>
                    </a:cubicBezTo>
                    <a:cubicBezTo>
                      <a:pt x="443" y="82"/>
                      <a:pt x="443" y="82"/>
                      <a:pt x="443" y="82"/>
                    </a:cubicBezTo>
                    <a:cubicBezTo>
                      <a:pt x="443" y="76"/>
                      <a:pt x="443" y="76"/>
                      <a:pt x="443" y="76"/>
                    </a:cubicBezTo>
                    <a:cubicBezTo>
                      <a:pt x="443" y="72"/>
                      <a:pt x="443" y="72"/>
                      <a:pt x="443" y="72"/>
                    </a:cubicBezTo>
                    <a:cubicBezTo>
                      <a:pt x="436" y="72"/>
                      <a:pt x="436" y="72"/>
                      <a:pt x="436" y="72"/>
                    </a:cubicBezTo>
                    <a:cubicBezTo>
                      <a:pt x="434" y="70"/>
                      <a:pt x="434" y="70"/>
                      <a:pt x="434" y="70"/>
                    </a:cubicBezTo>
                    <a:cubicBezTo>
                      <a:pt x="434" y="70"/>
                      <a:pt x="434" y="67"/>
                      <a:pt x="435" y="67"/>
                    </a:cubicBezTo>
                    <a:cubicBezTo>
                      <a:pt x="436" y="66"/>
                      <a:pt x="438" y="64"/>
                      <a:pt x="438" y="64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61"/>
                      <a:pt x="432" y="59"/>
                      <a:pt x="431" y="61"/>
                    </a:cubicBezTo>
                    <a:cubicBezTo>
                      <a:pt x="430" y="62"/>
                      <a:pt x="430" y="62"/>
                      <a:pt x="430" y="62"/>
                    </a:cubicBezTo>
                    <a:cubicBezTo>
                      <a:pt x="426" y="60"/>
                      <a:pt x="426" y="60"/>
                      <a:pt x="426" y="60"/>
                    </a:cubicBezTo>
                    <a:cubicBezTo>
                      <a:pt x="424" y="58"/>
                      <a:pt x="424" y="58"/>
                      <a:pt x="424" y="58"/>
                    </a:cubicBezTo>
                    <a:cubicBezTo>
                      <a:pt x="423" y="56"/>
                      <a:pt x="423" y="56"/>
                      <a:pt x="423" y="56"/>
                    </a:cubicBezTo>
                    <a:cubicBezTo>
                      <a:pt x="422" y="52"/>
                      <a:pt x="422" y="52"/>
                      <a:pt x="422" y="52"/>
                    </a:cubicBezTo>
                    <a:cubicBezTo>
                      <a:pt x="420" y="50"/>
                      <a:pt x="420" y="50"/>
                      <a:pt x="420" y="50"/>
                    </a:cubicBezTo>
                    <a:cubicBezTo>
                      <a:pt x="415" y="50"/>
                      <a:pt x="415" y="50"/>
                      <a:pt x="415" y="50"/>
                    </a:cubicBezTo>
                    <a:cubicBezTo>
                      <a:pt x="415" y="53"/>
                      <a:pt x="415" y="53"/>
                      <a:pt x="415" y="53"/>
                    </a:cubicBezTo>
                    <a:cubicBezTo>
                      <a:pt x="410" y="53"/>
                      <a:pt x="410" y="53"/>
                      <a:pt x="410" y="53"/>
                    </a:cubicBezTo>
                    <a:cubicBezTo>
                      <a:pt x="406" y="52"/>
                      <a:pt x="406" y="52"/>
                      <a:pt x="406" y="52"/>
                    </a:cubicBezTo>
                    <a:cubicBezTo>
                      <a:pt x="404" y="50"/>
                      <a:pt x="404" y="50"/>
                      <a:pt x="404" y="50"/>
                    </a:cubicBezTo>
                    <a:cubicBezTo>
                      <a:pt x="401" y="49"/>
                      <a:pt x="401" y="49"/>
                      <a:pt x="401" y="49"/>
                    </a:cubicBezTo>
                    <a:cubicBezTo>
                      <a:pt x="395" y="49"/>
                      <a:pt x="395" y="49"/>
                      <a:pt x="395" y="49"/>
                    </a:cubicBezTo>
                    <a:cubicBezTo>
                      <a:pt x="392" y="53"/>
                      <a:pt x="392" y="53"/>
                      <a:pt x="392" y="53"/>
                    </a:cubicBezTo>
                    <a:cubicBezTo>
                      <a:pt x="391" y="56"/>
                      <a:pt x="391" y="56"/>
                      <a:pt x="391" y="56"/>
                    </a:cubicBezTo>
                    <a:cubicBezTo>
                      <a:pt x="391" y="61"/>
                      <a:pt x="391" y="61"/>
                      <a:pt x="391" y="61"/>
                    </a:cubicBezTo>
                    <a:cubicBezTo>
                      <a:pt x="391" y="65"/>
                      <a:pt x="391" y="65"/>
                      <a:pt x="391" y="65"/>
                    </a:cubicBezTo>
                    <a:cubicBezTo>
                      <a:pt x="396" y="69"/>
                      <a:pt x="396" y="69"/>
                      <a:pt x="396" y="69"/>
                    </a:cubicBezTo>
                    <a:cubicBezTo>
                      <a:pt x="401" y="74"/>
                      <a:pt x="401" y="74"/>
                      <a:pt x="401" y="74"/>
                    </a:cubicBezTo>
                    <a:cubicBezTo>
                      <a:pt x="401" y="78"/>
                      <a:pt x="401" y="78"/>
                      <a:pt x="401" y="78"/>
                    </a:cubicBezTo>
                    <a:cubicBezTo>
                      <a:pt x="397" y="81"/>
                      <a:pt x="397" y="81"/>
                      <a:pt x="397" y="81"/>
                    </a:cubicBezTo>
                    <a:cubicBezTo>
                      <a:pt x="395" y="86"/>
                      <a:pt x="395" y="86"/>
                      <a:pt x="395" y="86"/>
                    </a:cubicBezTo>
                    <a:cubicBezTo>
                      <a:pt x="395" y="99"/>
                      <a:pt x="395" y="99"/>
                      <a:pt x="395" y="99"/>
                    </a:cubicBezTo>
                    <a:cubicBezTo>
                      <a:pt x="394" y="108"/>
                      <a:pt x="394" y="108"/>
                      <a:pt x="394" y="108"/>
                    </a:cubicBezTo>
                    <a:cubicBezTo>
                      <a:pt x="394" y="120"/>
                      <a:pt x="394" y="120"/>
                      <a:pt x="394" y="120"/>
                    </a:cubicBezTo>
                    <a:cubicBezTo>
                      <a:pt x="395" y="122"/>
                      <a:pt x="395" y="122"/>
                      <a:pt x="395" y="122"/>
                    </a:cubicBezTo>
                    <a:cubicBezTo>
                      <a:pt x="395" y="124"/>
                      <a:pt x="395" y="124"/>
                      <a:pt x="395" y="124"/>
                    </a:cubicBezTo>
                    <a:cubicBezTo>
                      <a:pt x="393" y="128"/>
                      <a:pt x="393" y="128"/>
                      <a:pt x="393" y="128"/>
                    </a:cubicBezTo>
                    <a:cubicBezTo>
                      <a:pt x="391" y="129"/>
                      <a:pt x="391" y="129"/>
                      <a:pt x="391" y="129"/>
                    </a:cubicBezTo>
                    <a:cubicBezTo>
                      <a:pt x="391" y="134"/>
                      <a:pt x="391" y="134"/>
                      <a:pt x="391" y="134"/>
                    </a:cubicBezTo>
                    <a:cubicBezTo>
                      <a:pt x="389" y="136"/>
                      <a:pt x="389" y="136"/>
                      <a:pt x="389" y="136"/>
                    </a:cubicBezTo>
                    <a:cubicBezTo>
                      <a:pt x="386" y="138"/>
                      <a:pt x="386" y="138"/>
                      <a:pt x="386" y="138"/>
                    </a:cubicBezTo>
                    <a:cubicBezTo>
                      <a:pt x="383" y="136"/>
                      <a:pt x="383" y="136"/>
                      <a:pt x="383" y="136"/>
                    </a:cubicBezTo>
                    <a:cubicBezTo>
                      <a:pt x="381" y="134"/>
                      <a:pt x="381" y="134"/>
                      <a:pt x="381" y="134"/>
                    </a:cubicBezTo>
                    <a:cubicBezTo>
                      <a:pt x="381" y="130"/>
                      <a:pt x="381" y="130"/>
                      <a:pt x="381" y="130"/>
                    </a:cubicBezTo>
                    <a:cubicBezTo>
                      <a:pt x="379" y="126"/>
                      <a:pt x="379" y="126"/>
                      <a:pt x="379" y="126"/>
                    </a:cubicBezTo>
                    <a:cubicBezTo>
                      <a:pt x="375" y="123"/>
                      <a:pt x="375" y="123"/>
                      <a:pt x="375" y="123"/>
                    </a:cubicBezTo>
                    <a:cubicBezTo>
                      <a:pt x="370" y="119"/>
                      <a:pt x="370" y="119"/>
                      <a:pt x="370" y="119"/>
                    </a:cubicBezTo>
                    <a:cubicBezTo>
                      <a:pt x="368" y="114"/>
                      <a:pt x="368" y="114"/>
                      <a:pt x="368" y="114"/>
                    </a:cubicBezTo>
                    <a:cubicBezTo>
                      <a:pt x="368" y="110"/>
                      <a:pt x="368" y="110"/>
                      <a:pt x="368" y="110"/>
                    </a:cubicBezTo>
                    <a:cubicBezTo>
                      <a:pt x="369" y="106"/>
                      <a:pt x="369" y="106"/>
                      <a:pt x="369" y="106"/>
                    </a:cubicBezTo>
                    <a:cubicBezTo>
                      <a:pt x="369" y="106"/>
                      <a:pt x="368" y="102"/>
                      <a:pt x="369" y="103"/>
                    </a:cubicBezTo>
                    <a:cubicBezTo>
                      <a:pt x="370" y="103"/>
                      <a:pt x="372" y="102"/>
                      <a:pt x="372" y="102"/>
                    </a:cubicBezTo>
                    <a:cubicBezTo>
                      <a:pt x="373" y="97"/>
                      <a:pt x="373" y="97"/>
                      <a:pt x="373" y="97"/>
                    </a:cubicBezTo>
                    <a:cubicBezTo>
                      <a:pt x="371" y="95"/>
                      <a:pt x="371" y="95"/>
                      <a:pt x="371" y="95"/>
                    </a:cubicBezTo>
                    <a:cubicBezTo>
                      <a:pt x="371" y="95"/>
                      <a:pt x="371" y="94"/>
                      <a:pt x="370" y="93"/>
                    </a:cubicBezTo>
                    <a:cubicBezTo>
                      <a:pt x="370" y="93"/>
                      <a:pt x="368" y="89"/>
                      <a:pt x="368" y="89"/>
                    </a:cubicBezTo>
                    <a:cubicBezTo>
                      <a:pt x="369" y="87"/>
                      <a:pt x="369" y="87"/>
                      <a:pt x="369" y="87"/>
                    </a:cubicBezTo>
                    <a:cubicBezTo>
                      <a:pt x="367" y="86"/>
                      <a:pt x="367" y="86"/>
                      <a:pt x="367" y="86"/>
                    </a:cubicBezTo>
                    <a:cubicBezTo>
                      <a:pt x="362" y="83"/>
                      <a:pt x="362" y="83"/>
                      <a:pt x="362" y="83"/>
                    </a:cubicBezTo>
                    <a:cubicBezTo>
                      <a:pt x="359" y="79"/>
                      <a:pt x="359" y="79"/>
                      <a:pt x="359" y="79"/>
                    </a:cubicBezTo>
                    <a:cubicBezTo>
                      <a:pt x="359" y="77"/>
                      <a:pt x="359" y="77"/>
                      <a:pt x="359" y="77"/>
                    </a:cubicBezTo>
                    <a:cubicBezTo>
                      <a:pt x="357" y="73"/>
                      <a:pt x="357" y="73"/>
                      <a:pt x="357" y="73"/>
                    </a:cubicBezTo>
                    <a:cubicBezTo>
                      <a:pt x="352" y="73"/>
                      <a:pt x="352" y="73"/>
                      <a:pt x="352" y="73"/>
                    </a:cubicBezTo>
                    <a:cubicBezTo>
                      <a:pt x="350" y="75"/>
                      <a:pt x="350" y="75"/>
                      <a:pt x="350" y="75"/>
                    </a:cubicBezTo>
                    <a:cubicBezTo>
                      <a:pt x="349" y="80"/>
                      <a:pt x="349" y="80"/>
                      <a:pt x="349" y="80"/>
                    </a:cubicBezTo>
                    <a:cubicBezTo>
                      <a:pt x="349" y="107"/>
                      <a:pt x="349" y="107"/>
                      <a:pt x="349" y="107"/>
                    </a:cubicBezTo>
                    <a:cubicBezTo>
                      <a:pt x="348" y="107"/>
                      <a:pt x="348" y="107"/>
                      <a:pt x="348" y="107"/>
                    </a:cubicBezTo>
                    <a:cubicBezTo>
                      <a:pt x="345" y="106"/>
                      <a:pt x="345" y="106"/>
                      <a:pt x="345" y="106"/>
                    </a:cubicBezTo>
                    <a:cubicBezTo>
                      <a:pt x="343" y="105"/>
                      <a:pt x="343" y="105"/>
                      <a:pt x="343" y="105"/>
                    </a:cubicBezTo>
                    <a:cubicBezTo>
                      <a:pt x="340" y="100"/>
                      <a:pt x="340" y="100"/>
                      <a:pt x="340" y="100"/>
                    </a:cubicBezTo>
                    <a:cubicBezTo>
                      <a:pt x="340" y="98"/>
                      <a:pt x="340" y="98"/>
                      <a:pt x="340" y="98"/>
                    </a:cubicBezTo>
                    <a:cubicBezTo>
                      <a:pt x="340" y="86"/>
                      <a:pt x="340" y="86"/>
                      <a:pt x="340" y="86"/>
                    </a:cubicBezTo>
                    <a:cubicBezTo>
                      <a:pt x="339" y="84"/>
                      <a:pt x="339" y="84"/>
                      <a:pt x="339" y="84"/>
                    </a:cubicBezTo>
                    <a:cubicBezTo>
                      <a:pt x="339" y="84"/>
                      <a:pt x="336" y="81"/>
                      <a:pt x="336" y="81"/>
                    </a:cubicBezTo>
                    <a:cubicBezTo>
                      <a:pt x="335" y="80"/>
                      <a:pt x="333" y="79"/>
                      <a:pt x="333" y="79"/>
                    </a:cubicBezTo>
                    <a:cubicBezTo>
                      <a:pt x="333" y="75"/>
                      <a:pt x="333" y="75"/>
                      <a:pt x="333" y="75"/>
                    </a:cubicBezTo>
                    <a:cubicBezTo>
                      <a:pt x="336" y="74"/>
                      <a:pt x="336" y="74"/>
                      <a:pt x="336" y="74"/>
                    </a:cubicBezTo>
                    <a:cubicBezTo>
                      <a:pt x="337" y="73"/>
                      <a:pt x="337" y="73"/>
                      <a:pt x="337" y="73"/>
                    </a:cubicBezTo>
                    <a:cubicBezTo>
                      <a:pt x="336" y="67"/>
                      <a:pt x="336" y="67"/>
                      <a:pt x="336" y="67"/>
                    </a:cubicBezTo>
                    <a:cubicBezTo>
                      <a:pt x="331" y="67"/>
                      <a:pt x="331" y="67"/>
                      <a:pt x="331" y="67"/>
                    </a:cubicBezTo>
                    <a:cubicBezTo>
                      <a:pt x="330" y="69"/>
                      <a:pt x="330" y="69"/>
                      <a:pt x="330" y="69"/>
                    </a:cubicBezTo>
                    <a:cubicBezTo>
                      <a:pt x="327" y="69"/>
                      <a:pt x="327" y="69"/>
                      <a:pt x="327" y="69"/>
                    </a:cubicBezTo>
                    <a:cubicBezTo>
                      <a:pt x="327" y="67"/>
                      <a:pt x="327" y="67"/>
                      <a:pt x="327" y="67"/>
                    </a:cubicBezTo>
                    <a:cubicBezTo>
                      <a:pt x="322" y="70"/>
                      <a:pt x="322" y="70"/>
                      <a:pt x="322" y="70"/>
                    </a:cubicBezTo>
                    <a:cubicBezTo>
                      <a:pt x="322" y="70"/>
                      <a:pt x="318" y="71"/>
                      <a:pt x="318" y="71"/>
                    </a:cubicBezTo>
                    <a:cubicBezTo>
                      <a:pt x="317" y="70"/>
                      <a:pt x="315" y="68"/>
                      <a:pt x="315" y="68"/>
                    </a:cubicBezTo>
                    <a:cubicBezTo>
                      <a:pt x="315" y="65"/>
                      <a:pt x="315" y="65"/>
                      <a:pt x="315" y="65"/>
                    </a:cubicBezTo>
                    <a:cubicBezTo>
                      <a:pt x="315" y="62"/>
                      <a:pt x="315" y="62"/>
                      <a:pt x="315" y="62"/>
                    </a:cubicBezTo>
                    <a:cubicBezTo>
                      <a:pt x="318" y="61"/>
                      <a:pt x="318" y="61"/>
                      <a:pt x="318" y="61"/>
                    </a:cubicBezTo>
                    <a:cubicBezTo>
                      <a:pt x="317" y="56"/>
                      <a:pt x="317" y="56"/>
                      <a:pt x="317" y="56"/>
                    </a:cubicBezTo>
                    <a:cubicBezTo>
                      <a:pt x="315" y="54"/>
                      <a:pt x="315" y="54"/>
                      <a:pt x="315" y="54"/>
                    </a:cubicBezTo>
                    <a:cubicBezTo>
                      <a:pt x="316" y="51"/>
                      <a:pt x="316" y="51"/>
                      <a:pt x="316" y="51"/>
                    </a:cubicBezTo>
                    <a:cubicBezTo>
                      <a:pt x="322" y="51"/>
                      <a:pt x="322" y="51"/>
                      <a:pt x="322" y="51"/>
                    </a:cubicBezTo>
                    <a:cubicBezTo>
                      <a:pt x="324" y="48"/>
                      <a:pt x="324" y="48"/>
                      <a:pt x="324" y="48"/>
                    </a:cubicBezTo>
                    <a:cubicBezTo>
                      <a:pt x="322" y="46"/>
                      <a:pt x="322" y="46"/>
                      <a:pt x="322" y="46"/>
                    </a:cubicBezTo>
                    <a:cubicBezTo>
                      <a:pt x="320" y="46"/>
                      <a:pt x="320" y="46"/>
                      <a:pt x="320" y="46"/>
                    </a:cubicBezTo>
                    <a:cubicBezTo>
                      <a:pt x="314" y="41"/>
                      <a:pt x="314" y="41"/>
                      <a:pt x="314" y="41"/>
                    </a:cubicBezTo>
                    <a:cubicBezTo>
                      <a:pt x="314" y="39"/>
                      <a:pt x="314" y="39"/>
                      <a:pt x="314" y="39"/>
                    </a:cubicBezTo>
                    <a:cubicBezTo>
                      <a:pt x="312" y="35"/>
                      <a:pt x="312" y="35"/>
                      <a:pt x="312" y="35"/>
                    </a:cubicBezTo>
                    <a:cubicBezTo>
                      <a:pt x="309" y="33"/>
                      <a:pt x="309" y="33"/>
                      <a:pt x="309" y="33"/>
                    </a:cubicBezTo>
                    <a:cubicBezTo>
                      <a:pt x="306" y="30"/>
                      <a:pt x="306" y="30"/>
                      <a:pt x="306" y="30"/>
                    </a:cubicBezTo>
                    <a:cubicBezTo>
                      <a:pt x="306" y="17"/>
                      <a:pt x="306" y="17"/>
                      <a:pt x="306" y="17"/>
                    </a:cubicBezTo>
                    <a:cubicBezTo>
                      <a:pt x="305" y="16"/>
                      <a:pt x="305" y="16"/>
                      <a:pt x="305" y="16"/>
                    </a:cubicBezTo>
                    <a:cubicBezTo>
                      <a:pt x="302" y="12"/>
                      <a:pt x="302" y="12"/>
                      <a:pt x="302" y="12"/>
                    </a:cubicBezTo>
                    <a:cubicBezTo>
                      <a:pt x="299" y="8"/>
                      <a:pt x="299" y="8"/>
                      <a:pt x="299" y="8"/>
                    </a:cubicBezTo>
                    <a:cubicBezTo>
                      <a:pt x="296" y="5"/>
                      <a:pt x="296" y="5"/>
                      <a:pt x="296" y="5"/>
                    </a:cubicBezTo>
                    <a:cubicBezTo>
                      <a:pt x="291" y="5"/>
                      <a:pt x="291" y="5"/>
                      <a:pt x="291" y="5"/>
                    </a:cubicBezTo>
                    <a:cubicBezTo>
                      <a:pt x="290" y="3"/>
                      <a:pt x="290" y="3"/>
                      <a:pt x="290" y="3"/>
                    </a:cubicBezTo>
                    <a:cubicBezTo>
                      <a:pt x="285" y="0"/>
                      <a:pt x="285" y="0"/>
                      <a:pt x="285" y="0"/>
                    </a:cubicBezTo>
                    <a:cubicBezTo>
                      <a:pt x="281" y="2"/>
                      <a:pt x="281" y="2"/>
                      <a:pt x="281" y="2"/>
                    </a:cubicBezTo>
                    <a:cubicBezTo>
                      <a:pt x="281" y="5"/>
                      <a:pt x="281" y="5"/>
                      <a:pt x="281" y="5"/>
                    </a:cubicBezTo>
                    <a:cubicBezTo>
                      <a:pt x="278" y="8"/>
                      <a:pt x="278" y="8"/>
                      <a:pt x="278" y="8"/>
                    </a:cubicBezTo>
                    <a:cubicBezTo>
                      <a:pt x="276" y="10"/>
                      <a:pt x="276" y="10"/>
                      <a:pt x="276" y="1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8" y="15"/>
                      <a:pt x="278" y="15"/>
                      <a:pt x="278" y="15"/>
                    </a:cubicBezTo>
                    <a:cubicBezTo>
                      <a:pt x="280" y="20"/>
                      <a:pt x="280" y="20"/>
                      <a:pt x="280" y="20"/>
                    </a:cubicBezTo>
                    <a:cubicBezTo>
                      <a:pt x="278" y="19"/>
                      <a:pt x="278" y="19"/>
                      <a:pt x="278" y="19"/>
                    </a:cubicBezTo>
                    <a:cubicBezTo>
                      <a:pt x="276" y="18"/>
                      <a:pt x="276" y="18"/>
                      <a:pt x="276" y="18"/>
                    </a:cubicBezTo>
                    <a:cubicBezTo>
                      <a:pt x="275" y="18"/>
                      <a:pt x="275" y="18"/>
                      <a:pt x="275" y="18"/>
                    </a:cubicBezTo>
                    <a:cubicBezTo>
                      <a:pt x="270" y="23"/>
                      <a:pt x="270" y="23"/>
                      <a:pt x="270" y="23"/>
                    </a:cubicBezTo>
                    <a:cubicBezTo>
                      <a:pt x="270" y="30"/>
                      <a:pt x="270" y="30"/>
                      <a:pt x="270" y="30"/>
                    </a:cubicBezTo>
                    <a:cubicBezTo>
                      <a:pt x="272" y="33"/>
                      <a:pt x="272" y="33"/>
                      <a:pt x="272" y="33"/>
                    </a:cubicBezTo>
                    <a:cubicBezTo>
                      <a:pt x="273" y="39"/>
                      <a:pt x="273" y="39"/>
                      <a:pt x="273" y="39"/>
                    </a:cubicBezTo>
                    <a:cubicBezTo>
                      <a:pt x="275" y="42"/>
                      <a:pt x="275" y="42"/>
                      <a:pt x="275" y="42"/>
                    </a:cubicBezTo>
                    <a:cubicBezTo>
                      <a:pt x="275" y="43"/>
                      <a:pt x="275" y="43"/>
                      <a:pt x="275" y="43"/>
                    </a:cubicBezTo>
                    <a:cubicBezTo>
                      <a:pt x="272" y="49"/>
                      <a:pt x="272" y="49"/>
                      <a:pt x="272" y="49"/>
                    </a:cubicBezTo>
                    <a:cubicBezTo>
                      <a:pt x="270" y="56"/>
                      <a:pt x="270" y="56"/>
                      <a:pt x="270" y="56"/>
                    </a:cubicBezTo>
                    <a:cubicBezTo>
                      <a:pt x="272" y="60"/>
                      <a:pt x="272" y="60"/>
                      <a:pt x="272" y="60"/>
                    </a:cubicBezTo>
                    <a:cubicBezTo>
                      <a:pt x="276" y="64"/>
                      <a:pt x="276" y="64"/>
                      <a:pt x="276" y="64"/>
                    </a:cubicBezTo>
                    <a:cubicBezTo>
                      <a:pt x="284" y="69"/>
                      <a:pt x="284" y="69"/>
                      <a:pt x="284" y="69"/>
                    </a:cubicBezTo>
                    <a:cubicBezTo>
                      <a:pt x="289" y="70"/>
                      <a:pt x="289" y="70"/>
                      <a:pt x="289" y="70"/>
                    </a:cubicBezTo>
                    <a:cubicBezTo>
                      <a:pt x="291" y="69"/>
                      <a:pt x="291" y="69"/>
                      <a:pt x="291" y="69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98" y="74"/>
                      <a:pt x="298" y="74"/>
                      <a:pt x="298" y="74"/>
                    </a:cubicBezTo>
                    <a:cubicBezTo>
                      <a:pt x="308" y="74"/>
                      <a:pt x="308" y="74"/>
                      <a:pt x="308" y="74"/>
                    </a:cubicBezTo>
                    <a:cubicBezTo>
                      <a:pt x="309" y="75"/>
                      <a:pt x="309" y="75"/>
                      <a:pt x="309" y="75"/>
                    </a:cubicBezTo>
                    <a:cubicBezTo>
                      <a:pt x="307" y="78"/>
                      <a:pt x="307" y="78"/>
                      <a:pt x="307" y="78"/>
                    </a:cubicBezTo>
                    <a:cubicBezTo>
                      <a:pt x="302" y="78"/>
                      <a:pt x="302" y="78"/>
                      <a:pt x="302" y="78"/>
                    </a:cubicBezTo>
                    <a:cubicBezTo>
                      <a:pt x="300" y="81"/>
                      <a:pt x="300" y="81"/>
                      <a:pt x="300" y="81"/>
                    </a:cubicBezTo>
                    <a:cubicBezTo>
                      <a:pt x="300" y="83"/>
                      <a:pt x="300" y="83"/>
                      <a:pt x="300" y="83"/>
                    </a:cubicBezTo>
                    <a:cubicBezTo>
                      <a:pt x="299" y="87"/>
                      <a:pt x="299" y="87"/>
                      <a:pt x="299" y="87"/>
                    </a:cubicBezTo>
                    <a:cubicBezTo>
                      <a:pt x="297" y="91"/>
                      <a:pt x="297" y="91"/>
                      <a:pt x="297" y="91"/>
                    </a:cubicBezTo>
                    <a:cubicBezTo>
                      <a:pt x="297" y="92"/>
                      <a:pt x="297" y="92"/>
                      <a:pt x="297" y="92"/>
                    </a:cubicBezTo>
                    <a:cubicBezTo>
                      <a:pt x="298" y="96"/>
                      <a:pt x="298" y="96"/>
                      <a:pt x="298" y="96"/>
                    </a:cubicBezTo>
                    <a:cubicBezTo>
                      <a:pt x="302" y="96"/>
                      <a:pt x="302" y="96"/>
                      <a:pt x="302" y="96"/>
                    </a:cubicBezTo>
                    <a:cubicBezTo>
                      <a:pt x="302" y="94"/>
                      <a:pt x="302" y="94"/>
                      <a:pt x="302" y="94"/>
                    </a:cubicBezTo>
                    <a:cubicBezTo>
                      <a:pt x="303" y="91"/>
                      <a:pt x="303" y="91"/>
                      <a:pt x="303" y="91"/>
                    </a:cubicBezTo>
                    <a:cubicBezTo>
                      <a:pt x="304" y="90"/>
                      <a:pt x="304" y="90"/>
                      <a:pt x="304" y="90"/>
                    </a:cubicBezTo>
                    <a:cubicBezTo>
                      <a:pt x="305" y="90"/>
                      <a:pt x="305" y="90"/>
                      <a:pt x="305" y="90"/>
                    </a:cubicBezTo>
                    <a:cubicBezTo>
                      <a:pt x="306" y="92"/>
                      <a:pt x="306" y="92"/>
                      <a:pt x="306" y="92"/>
                    </a:cubicBezTo>
                    <a:cubicBezTo>
                      <a:pt x="307" y="94"/>
                      <a:pt x="307" y="94"/>
                      <a:pt x="307" y="94"/>
                    </a:cubicBezTo>
                    <a:cubicBezTo>
                      <a:pt x="309" y="98"/>
                      <a:pt x="309" y="98"/>
                      <a:pt x="309" y="98"/>
                    </a:cubicBezTo>
                    <a:cubicBezTo>
                      <a:pt x="307" y="101"/>
                      <a:pt x="307" y="101"/>
                      <a:pt x="307" y="101"/>
                    </a:cubicBezTo>
                    <a:cubicBezTo>
                      <a:pt x="305" y="104"/>
                      <a:pt x="305" y="104"/>
                      <a:pt x="305" y="104"/>
                    </a:cubicBezTo>
                    <a:cubicBezTo>
                      <a:pt x="302" y="107"/>
                      <a:pt x="302" y="107"/>
                      <a:pt x="302" y="107"/>
                    </a:cubicBezTo>
                    <a:cubicBezTo>
                      <a:pt x="302" y="110"/>
                      <a:pt x="302" y="110"/>
                      <a:pt x="302" y="110"/>
                    </a:cubicBezTo>
                    <a:cubicBezTo>
                      <a:pt x="301" y="113"/>
                      <a:pt x="301" y="113"/>
                      <a:pt x="301" y="113"/>
                    </a:cubicBezTo>
                    <a:cubicBezTo>
                      <a:pt x="299" y="115"/>
                      <a:pt x="299" y="115"/>
                      <a:pt x="299" y="115"/>
                    </a:cubicBezTo>
                    <a:cubicBezTo>
                      <a:pt x="296" y="116"/>
                      <a:pt x="296" y="116"/>
                      <a:pt x="296" y="116"/>
                    </a:cubicBezTo>
                    <a:cubicBezTo>
                      <a:pt x="294" y="118"/>
                      <a:pt x="294" y="118"/>
                      <a:pt x="294" y="118"/>
                    </a:cubicBezTo>
                    <a:cubicBezTo>
                      <a:pt x="291" y="119"/>
                      <a:pt x="291" y="119"/>
                      <a:pt x="291" y="119"/>
                    </a:cubicBezTo>
                    <a:cubicBezTo>
                      <a:pt x="288" y="121"/>
                      <a:pt x="288" y="121"/>
                      <a:pt x="288" y="121"/>
                    </a:cubicBezTo>
                    <a:cubicBezTo>
                      <a:pt x="287" y="127"/>
                      <a:pt x="287" y="127"/>
                      <a:pt x="287" y="127"/>
                    </a:cubicBezTo>
                    <a:cubicBezTo>
                      <a:pt x="288" y="131"/>
                      <a:pt x="288" y="131"/>
                      <a:pt x="288" y="131"/>
                    </a:cubicBezTo>
                    <a:cubicBezTo>
                      <a:pt x="290" y="136"/>
                      <a:pt x="290" y="136"/>
                      <a:pt x="290" y="136"/>
                    </a:cubicBezTo>
                    <a:cubicBezTo>
                      <a:pt x="292" y="140"/>
                      <a:pt x="292" y="140"/>
                      <a:pt x="292" y="140"/>
                    </a:cubicBezTo>
                    <a:cubicBezTo>
                      <a:pt x="292" y="150"/>
                      <a:pt x="292" y="150"/>
                      <a:pt x="292" y="150"/>
                    </a:cubicBezTo>
                    <a:cubicBezTo>
                      <a:pt x="289" y="149"/>
                      <a:pt x="289" y="149"/>
                      <a:pt x="289" y="149"/>
                    </a:cubicBezTo>
                    <a:cubicBezTo>
                      <a:pt x="287" y="144"/>
                      <a:pt x="287" y="144"/>
                      <a:pt x="287" y="144"/>
                    </a:cubicBezTo>
                    <a:cubicBezTo>
                      <a:pt x="284" y="142"/>
                      <a:pt x="284" y="142"/>
                      <a:pt x="284" y="142"/>
                    </a:cubicBezTo>
                    <a:cubicBezTo>
                      <a:pt x="280" y="137"/>
                      <a:pt x="280" y="137"/>
                      <a:pt x="280" y="137"/>
                    </a:cubicBezTo>
                    <a:cubicBezTo>
                      <a:pt x="280" y="134"/>
                      <a:pt x="280" y="134"/>
                      <a:pt x="280" y="134"/>
                    </a:cubicBezTo>
                    <a:cubicBezTo>
                      <a:pt x="280" y="133"/>
                      <a:pt x="280" y="133"/>
                      <a:pt x="280" y="133"/>
                    </a:cubicBezTo>
                    <a:cubicBezTo>
                      <a:pt x="278" y="130"/>
                      <a:pt x="278" y="130"/>
                      <a:pt x="278" y="130"/>
                    </a:cubicBezTo>
                    <a:cubicBezTo>
                      <a:pt x="279" y="123"/>
                      <a:pt x="279" y="123"/>
                      <a:pt x="279" y="123"/>
                    </a:cubicBezTo>
                    <a:cubicBezTo>
                      <a:pt x="281" y="118"/>
                      <a:pt x="281" y="118"/>
                      <a:pt x="281" y="118"/>
                    </a:cubicBezTo>
                    <a:cubicBezTo>
                      <a:pt x="281" y="117"/>
                      <a:pt x="281" y="117"/>
                      <a:pt x="281" y="117"/>
                    </a:cubicBezTo>
                    <a:cubicBezTo>
                      <a:pt x="282" y="112"/>
                      <a:pt x="282" y="112"/>
                      <a:pt x="282" y="112"/>
                    </a:cubicBezTo>
                    <a:cubicBezTo>
                      <a:pt x="280" y="112"/>
                      <a:pt x="280" y="112"/>
                      <a:pt x="280" y="112"/>
                    </a:cubicBezTo>
                    <a:cubicBezTo>
                      <a:pt x="276" y="114"/>
                      <a:pt x="276" y="114"/>
                      <a:pt x="276" y="114"/>
                    </a:cubicBezTo>
                    <a:cubicBezTo>
                      <a:pt x="274" y="118"/>
                      <a:pt x="274" y="118"/>
                      <a:pt x="274" y="118"/>
                    </a:cubicBezTo>
                    <a:cubicBezTo>
                      <a:pt x="272" y="115"/>
                      <a:pt x="272" y="115"/>
                      <a:pt x="272" y="115"/>
                    </a:cubicBezTo>
                    <a:cubicBezTo>
                      <a:pt x="270" y="114"/>
                      <a:pt x="270" y="114"/>
                      <a:pt x="270" y="114"/>
                    </a:cubicBezTo>
                    <a:cubicBezTo>
                      <a:pt x="267" y="108"/>
                      <a:pt x="267" y="108"/>
                      <a:pt x="267" y="108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59" y="107"/>
                      <a:pt x="259" y="107"/>
                      <a:pt x="259" y="107"/>
                    </a:cubicBezTo>
                    <a:cubicBezTo>
                      <a:pt x="257" y="110"/>
                      <a:pt x="257" y="110"/>
                      <a:pt x="257" y="110"/>
                    </a:cubicBezTo>
                    <a:cubicBezTo>
                      <a:pt x="255" y="108"/>
                      <a:pt x="255" y="108"/>
                      <a:pt x="255" y="108"/>
                    </a:cubicBezTo>
                    <a:cubicBezTo>
                      <a:pt x="254" y="108"/>
                      <a:pt x="254" y="108"/>
                      <a:pt x="254" y="108"/>
                    </a:cubicBezTo>
                    <a:cubicBezTo>
                      <a:pt x="250" y="111"/>
                      <a:pt x="250" y="111"/>
                      <a:pt x="250" y="111"/>
                    </a:cubicBezTo>
                    <a:cubicBezTo>
                      <a:pt x="252" y="118"/>
                      <a:pt x="252" y="118"/>
                      <a:pt x="252" y="118"/>
                    </a:cubicBezTo>
                    <a:cubicBezTo>
                      <a:pt x="256" y="120"/>
                      <a:pt x="256" y="120"/>
                      <a:pt x="256" y="120"/>
                    </a:cubicBezTo>
                    <a:cubicBezTo>
                      <a:pt x="253" y="122"/>
                      <a:pt x="253" y="122"/>
                      <a:pt x="253" y="122"/>
                    </a:cubicBezTo>
                    <a:cubicBezTo>
                      <a:pt x="259" y="123"/>
                      <a:pt x="259" y="123"/>
                      <a:pt x="259" y="123"/>
                    </a:cubicBezTo>
                    <a:cubicBezTo>
                      <a:pt x="266" y="127"/>
                      <a:pt x="266" y="127"/>
                      <a:pt x="266" y="127"/>
                    </a:cubicBezTo>
                    <a:cubicBezTo>
                      <a:pt x="270" y="129"/>
                      <a:pt x="270" y="129"/>
                      <a:pt x="270" y="129"/>
                    </a:cubicBezTo>
                    <a:cubicBezTo>
                      <a:pt x="268" y="133"/>
                      <a:pt x="268" y="133"/>
                      <a:pt x="268" y="133"/>
                    </a:cubicBezTo>
                    <a:cubicBezTo>
                      <a:pt x="266" y="135"/>
                      <a:pt x="266" y="135"/>
                      <a:pt x="266" y="135"/>
                    </a:cubicBezTo>
                    <a:cubicBezTo>
                      <a:pt x="262" y="132"/>
                      <a:pt x="262" y="132"/>
                      <a:pt x="262" y="132"/>
                    </a:cubicBezTo>
                    <a:cubicBezTo>
                      <a:pt x="257" y="127"/>
                      <a:pt x="257" y="127"/>
                      <a:pt x="257" y="127"/>
                    </a:cubicBezTo>
                    <a:cubicBezTo>
                      <a:pt x="254" y="125"/>
                      <a:pt x="254" y="125"/>
                      <a:pt x="254" y="125"/>
                    </a:cubicBezTo>
                    <a:cubicBezTo>
                      <a:pt x="253" y="124"/>
                      <a:pt x="253" y="124"/>
                      <a:pt x="253" y="124"/>
                    </a:cubicBezTo>
                    <a:cubicBezTo>
                      <a:pt x="250" y="127"/>
                      <a:pt x="250" y="127"/>
                      <a:pt x="250" y="127"/>
                    </a:cubicBezTo>
                    <a:cubicBezTo>
                      <a:pt x="250" y="130"/>
                      <a:pt x="250" y="130"/>
                      <a:pt x="250" y="130"/>
                    </a:cubicBezTo>
                    <a:cubicBezTo>
                      <a:pt x="239" y="131"/>
                      <a:pt x="239" y="131"/>
                      <a:pt x="239" y="131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36" y="128"/>
                      <a:pt x="236" y="128"/>
                      <a:pt x="236" y="128"/>
                    </a:cubicBezTo>
                    <a:cubicBezTo>
                      <a:pt x="229" y="128"/>
                      <a:pt x="229" y="128"/>
                      <a:pt x="229" y="128"/>
                    </a:cubicBezTo>
                    <a:cubicBezTo>
                      <a:pt x="227" y="130"/>
                      <a:pt x="227" y="130"/>
                      <a:pt x="227" y="130"/>
                    </a:cubicBezTo>
                    <a:cubicBezTo>
                      <a:pt x="217" y="130"/>
                      <a:pt x="217" y="130"/>
                      <a:pt x="217" y="130"/>
                    </a:cubicBezTo>
                    <a:cubicBezTo>
                      <a:pt x="207" y="130"/>
                      <a:pt x="207" y="130"/>
                      <a:pt x="207" y="130"/>
                    </a:cubicBezTo>
                    <a:cubicBezTo>
                      <a:pt x="201" y="126"/>
                      <a:pt x="201" y="126"/>
                      <a:pt x="201" y="126"/>
                    </a:cubicBezTo>
                    <a:cubicBezTo>
                      <a:pt x="197" y="123"/>
                      <a:pt x="197" y="123"/>
                      <a:pt x="197" y="123"/>
                    </a:cubicBezTo>
                    <a:cubicBezTo>
                      <a:pt x="197" y="122"/>
                      <a:pt x="197" y="122"/>
                      <a:pt x="197" y="122"/>
                    </a:cubicBezTo>
                    <a:cubicBezTo>
                      <a:pt x="199" y="120"/>
                      <a:pt x="199" y="120"/>
                      <a:pt x="199" y="120"/>
                    </a:cubicBezTo>
                    <a:cubicBezTo>
                      <a:pt x="197" y="118"/>
                      <a:pt x="197" y="118"/>
                      <a:pt x="197" y="118"/>
                    </a:cubicBezTo>
                    <a:cubicBezTo>
                      <a:pt x="191" y="119"/>
                      <a:pt x="191" y="119"/>
                      <a:pt x="191" y="119"/>
                    </a:cubicBezTo>
                    <a:cubicBezTo>
                      <a:pt x="189" y="119"/>
                      <a:pt x="189" y="119"/>
                      <a:pt x="189" y="119"/>
                    </a:cubicBezTo>
                    <a:cubicBezTo>
                      <a:pt x="185" y="120"/>
                      <a:pt x="185" y="120"/>
                      <a:pt x="185" y="120"/>
                    </a:cubicBezTo>
                    <a:cubicBezTo>
                      <a:pt x="182" y="118"/>
                      <a:pt x="182" y="118"/>
                      <a:pt x="182" y="118"/>
                    </a:cubicBezTo>
                    <a:cubicBezTo>
                      <a:pt x="182" y="113"/>
                      <a:pt x="182" y="113"/>
                      <a:pt x="182" y="113"/>
                    </a:cubicBezTo>
                    <a:cubicBezTo>
                      <a:pt x="177" y="110"/>
                      <a:pt x="177" y="110"/>
                      <a:pt x="177" y="110"/>
                    </a:cubicBezTo>
                    <a:cubicBezTo>
                      <a:pt x="176" y="108"/>
                      <a:pt x="176" y="108"/>
                      <a:pt x="176" y="108"/>
                    </a:cubicBezTo>
                    <a:cubicBezTo>
                      <a:pt x="174" y="107"/>
                      <a:pt x="174" y="107"/>
                      <a:pt x="174" y="107"/>
                    </a:cubicBezTo>
                    <a:cubicBezTo>
                      <a:pt x="173" y="104"/>
                      <a:pt x="173" y="104"/>
                      <a:pt x="173" y="104"/>
                    </a:cubicBezTo>
                    <a:cubicBezTo>
                      <a:pt x="173" y="99"/>
                      <a:pt x="173" y="99"/>
                      <a:pt x="173" y="99"/>
                    </a:cubicBezTo>
                    <a:cubicBezTo>
                      <a:pt x="172" y="96"/>
                      <a:pt x="172" y="96"/>
                      <a:pt x="172" y="96"/>
                    </a:cubicBezTo>
                    <a:cubicBezTo>
                      <a:pt x="170" y="93"/>
                      <a:pt x="170" y="93"/>
                      <a:pt x="170" y="93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165" y="91"/>
                      <a:pt x="165" y="91"/>
                      <a:pt x="165" y="91"/>
                    </a:cubicBezTo>
                    <a:cubicBezTo>
                      <a:pt x="163" y="93"/>
                      <a:pt x="163" y="93"/>
                      <a:pt x="163" y="93"/>
                    </a:cubicBezTo>
                    <a:cubicBezTo>
                      <a:pt x="163" y="93"/>
                      <a:pt x="160" y="94"/>
                      <a:pt x="160" y="94"/>
                    </a:cubicBezTo>
                    <a:cubicBezTo>
                      <a:pt x="159" y="95"/>
                      <a:pt x="154" y="97"/>
                      <a:pt x="154" y="97"/>
                    </a:cubicBezTo>
                    <a:cubicBezTo>
                      <a:pt x="144" y="98"/>
                      <a:pt x="144" y="98"/>
                      <a:pt x="144" y="98"/>
                    </a:cubicBezTo>
                    <a:cubicBezTo>
                      <a:pt x="141" y="99"/>
                      <a:pt x="141" y="99"/>
                      <a:pt x="141" y="99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9"/>
                      <a:pt x="137" y="109"/>
                      <a:pt x="137" y="109"/>
                    </a:cubicBez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41" y="112"/>
                      <a:pt x="141" y="112"/>
                      <a:pt x="141" y="112"/>
                    </a:cubicBezTo>
                    <a:cubicBezTo>
                      <a:pt x="145" y="114"/>
                      <a:pt x="145" y="114"/>
                      <a:pt x="145" y="114"/>
                    </a:cubicBezTo>
                    <a:cubicBezTo>
                      <a:pt x="148" y="113"/>
                      <a:pt x="148" y="113"/>
                      <a:pt x="148" y="113"/>
                    </a:cubicBezTo>
                    <a:cubicBezTo>
                      <a:pt x="149" y="111"/>
                      <a:pt x="149" y="111"/>
                      <a:pt x="149" y="111"/>
                    </a:cubicBezTo>
                    <a:cubicBezTo>
                      <a:pt x="151" y="109"/>
                      <a:pt x="151" y="109"/>
                      <a:pt x="151" y="109"/>
                    </a:cubicBezTo>
                    <a:cubicBezTo>
                      <a:pt x="151" y="109"/>
                      <a:pt x="152" y="108"/>
                      <a:pt x="153" y="108"/>
                    </a:cubicBezTo>
                    <a:cubicBezTo>
                      <a:pt x="153" y="108"/>
                      <a:pt x="157" y="108"/>
                      <a:pt x="157" y="108"/>
                    </a:cubicBezTo>
                    <a:cubicBezTo>
                      <a:pt x="157" y="108"/>
                      <a:pt x="159" y="107"/>
                      <a:pt x="160" y="106"/>
                    </a:cubicBezTo>
                    <a:cubicBezTo>
                      <a:pt x="161" y="106"/>
                      <a:pt x="163" y="105"/>
                      <a:pt x="163" y="105"/>
                    </a:cubicBezTo>
                    <a:cubicBezTo>
                      <a:pt x="165" y="104"/>
                      <a:pt x="165" y="104"/>
                      <a:pt x="165" y="104"/>
                    </a:cubicBezTo>
                    <a:cubicBezTo>
                      <a:pt x="166" y="103"/>
                      <a:pt x="166" y="103"/>
                      <a:pt x="166" y="103"/>
                    </a:cubicBezTo>
                    <a:cubicBezTo>
                      <a:pt x="168" y="102"/>
                      <a:pt x="168" y="102"/>
                      <a:pt x="168" y="102"/>
                    </a:cubicBezTo>
                    <a:cubicBezTo>
                      <a:pt x="169" y="102"/>
                      <a:pt x="169" y="102"/>
                      <a:pt x="169" y="102"/>
                    </a:cubicBezTo>
                    <a:cubicBezTo>
                      <a:pt x="169" y="105"/>
                      <a:pt x="169" y="105"/>
                      <a:pt x="169" y="105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2" y="110"/>
                      <a:pt x="162" y="111"/>
                    </a:cubicBezTo>
                    <a:cubicBezTo>
                      <a:pt x="161" y="111"/>
                      <a:pt x="158" y="115"/>
                      <a:pt x="158" y="115"/>
                    </a:cubicBezTo>
                    <a:cubicBezTo>
                      <a:pt x="149" y="117"/>
                      <a:pt x="149" y="117"/>
                      <a:pt x="149" y="117"/>
                    </a:cubicBezTo>
                    <a:cubicBezTo>
                      <a:pt x="144" y="119"/>
                      <a:pt x="144" y="119"/>
                      <a:pt x="144" y="119"/>
                    </a:cubicBezTo>
                    <a:cubicBezTo>
                      <a:pt x="143" y="124"/>
                      <a:pt x="143" y="124"/>
                      <a:pt x="143" y="124"/>
                    </a:cubicBezTo>
                    <a:cubicBezTo>
                      <a:pt x="144" y="127"/>
                      <a:pt x="144" y="127"/>
                      <a:pt x="144" y="127"/>
                    </a:cubicBezTo>
                    <a:cubicBezTo>
                      <a:pt x="145" y="129"/>
                      <a:pt x="145" y="129"/>
                      <a:pt x="145" y="129"/>
                    </a:cubicBezTo>
                    <a:cubicBezTo>
                      <a:pt x="146" y="134"/>
                      <a:pt x="146" y="134"/>
                      <a:pt x="146" y="134"/>
                    </a:cubicBezTo>
                    <a:cubicBezTo>
                      <a:pt x="147" y="140"/>
                      <a:pt x="147" y="140"/>
                      <a:pt x="147" y="140"/>
                    </a:cubicBezTo>
                    <a:cubicBezTo>
                      <a:pt x="148" y="142"/>
                      <a:pt x="148" y="142"/>
                      <a:pt x="148" y="142"/>
                    </a:cubicBezTo>
                    <a:cubicBezTo>
                      <a:pt x="147" y="150"/>
                      <a:pt x="147" y="150"/>
                      <a:pt x="147" y="150"/>
                    </a:cubicBezTo>
                    <a:cubicBezTo>
                      <a:pt x="143" y="148"/>
                      <a:pt x="143" y="148"/>
                      <a:pt x="143" y="148"/>
                    </a:cubicBezTo>
                    <a:cubicBezTo>
                      <a:pt x="141" y="150"/>
                      <a:pt x="141" y="150"/>
                      <a:pt x="141" y="150"/>
                    </a:cubicBezTo>
                    <a:cubicBezTo>
                      <a:pt x="141" y="155"/>
                      <a:pt x="141" y="155"/>
                      <a:pt x="141" y="155"/>
                    </a:cubicBezTo>
                    <a:cubicBezTo>
                      <a:pt x="142" y="157"/>
                      <a:pt x="142" y="157"/>
                      <a:pt x="142" y="157"/>
                    </a:cubicBezTo>
                    <a:cubicBezTo>
                      <a:pt x="144" y="160"/>
                      <a:pt x="144" y="160"/>
                      <a:pt x="144" y="160"/>
                    </a:cubicBezTo>
                    <a:cubicBezTo>
                      <a:pt x="147" y="164"/>
                      <a:pt x="147" y="164"/>
                      <a:pt x="147" y="164"/>
                    </a:cubicBezTo>
                    <a:cubicBezTo>
                      <a:pt x="146" y="169"/>
                      <a:pt x="146" y="169"/>
                      <a:pt x="146" y="169"/>
                    </a:cubicBezTo>
                    <a:cubicBezTo>
                      <a:pt x="142" y="166"/>
                      <a:pt x="142" y="166"/>
                      <a:pt x="142" y="166"/>
                    </a:cubicBezTo>
                    <a:cubicBezTo>
                      <a:pt x="141" y="162"/>
                      <a:pt x="141" y="162"/>
                      <a:pt x="141" y="162"/>
                    </a:cubicBezTo>
                    <a:cubicBezTo>
                      <a:pt x="141" y="161"/>
                      <a:pt x="141" y="161"/>
                      <a:pt x="141" y="161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7" y="154"/>
                      <a:pt x="137" y="154"/>
                      <a:pt x="137" y="154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34" y="148"/>
                      <a:pt x="134" y="148"/>
                      <a:pt x="134" y="148"/>
                    </a:cubicBezTo>
                    <a:cubicBezTo>
                      <a:pt x="134" y="148"/>
                      <a:pt x="132" y="147"/>
                      <a:pt x="133" y="146"/>
                    </a:cubicBezTo>
                    <a:cubicBezTo>
                      <a:pt x="133" y="145"/>
                      <a:pt x="133" y="144"/>
                      <a:pt x="134" y="144"/>
                    </a:cubicBezTo>
                    <a:cubicBezTo>
                      <a:pt x="136" y="144"/>
                      <a:pt x="138" y="145"/>
                      <a:pt x="138" y="145"/>
                    </a:cubicBezTo>
                    <a:cubicBezTo>
                      <a:pt x="140" y="143"/>
                      <a:pt x="140" y="143"/>
                      <a:pt x="140" y="143"/>
                    </a:cubicBezTo>
                    <a:cubicBezTo>
                      <a:pt x="139" y="139"/>
                      <a:pt x="139" y="139"/>
                      <a:pt x="139" y="139"/>
                    </a:cubicBezTo>
                    <a:cubicBezTo>
                      <a:pt x="137" y="135"/>
                      <a:pt x="137" y="135"/>
                      <a:pt x="137" y="135"/>
                    </a:cubicBezTo>
                    <a:cubicBezTo>
                      <a:pt x="136" y="133"/>
                      <a:pt x="136" y="133"/>
                      <a:pt x="136" y="133"/>
                    </a:cubicBezTo>
                    <a:cubicBezTo>
                      <a:pt x="134" y="132"/>
                      <a:pt x="134" y="132"/>
                      <a:pt x="134" y="132"/>
                    </a:cubicBezTo>
                    <a:cubicBezTo>
                      <a:pt x="130" y="131"/>
                      <a:pt x="130" y="131"/>
                      <a:pt x="130" y="131"/>
                    </a:cubicBezTo>
                    <a:cubicBezTo>
                      <a:pt x="130" y="127"/>
                      <a:pt x="130" y="127"/>
                      <a:pt x="130" y="127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4" y="125"/>
                      <a:pt x="124" y="125"/>
                      <a:pt x="124" y="125"/>
                    </a:cubicBezTo>
                    <a:cubicBezTo>
                      <a:pt x="119" y="114"/>
                      <a:pt x="119" y="114"/>
                      <a:pt x="119" y="114"/>
                    </a:cubicBezTo>
                    <a:cubicBezTo>
                      <a:pt x="115" y="114"/>
                      <a:pt x="115" y="114"/>
                      <a:pt x="115" y="114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08" y="120"/>
                      <a:pt x="108" y="120"/>
                      <a:pt x="108" y="120"/>
                    </a:cubicBezTo>
                    <a:cubicBezTo>
                      <a:pt x="105" y="120"/>
                      <a:pt x="105" y="120"/>
                      <a:pt x="105" y="120"/>
                    </a:cubicBezTo>
                    <a:cubicBezTo>
                      <a:pt x="95" y="119"/>
                      <a:pt x="95" y="119"/>
                      <a:pt x="95" y="119"/>
                    </a:cubicBezTo>
                    <a:cubicBezTo>
                      <a:pt x="88" y="118"/>
                      <a:pt x="88" y="118"/>
                      <a:pt x="88" y="118"/>
                    </a:cubicBezTo>
                    <a:cubicBezTo>
                      <a:pt x="84" y="117"/>
                      <a:pt x="84" y="117"/>
                      <a:pt x="84" y="117"/>
                    </a:cubicBezTo>
                    <a:cubicBezTo>
                      <a:pt x="79" y="115"/>
                      <a:pt x="79" y="115"/>
                      <a:pt x="79" y="115"/>
                    </a:cubicBezTo>
                    <a:cubicBezTo>
                      <a:pt x="79" y="115"/>
                      <a:pt x="77" y="115"/>
                      <a:pt x="76" y="115"/>
                    </a:cubicBezTo>
                    <a:cubicBezTo>
                      <a:pt x="75" y="116"/>
                      <a:pt x="70" y="114"/>
                      <a:pt x="70" y="114"/>
                    </a:cubicBezTo>
                    <a:cubicBezTo>
                      <a:pt x="63" y="112"/>
                      <a:pt x="63" y="112"/>
                      <a:pt x="63" y="112"/>
                    </a:cubicBezTo>
                    <a:cubicBezTo>
                      <a:pt x="60" y="110"/>
                      <a:pt x="60" y="110"/>
                      <a:pt x="60" y="110"/>
                    </a:cubicBezTo>
                    <a:cubicBezTo>
                      <a:pt x="60" y="110"/>
                      <a:pt x="58" y="108"/>
                      <a:pt x="59" y="107"/>
                    </a:cubicBezTo>
                    <a:cubicBezTo>
                      <a:pt x="59" y="106"/>
                      <a:pt x="62" y="101"/>
                      <a:pt x="62" y="101"/>
                    </a:cubicBezTo>
                    <a:cubicBezTo>
                      <a:pt x="64" y="98"/>
                      <a:pt x="64" y="98"/>
                      <a:pt x="64" y="98"/>
                    </a:cubicBezTo>
                    <a:cubicBezTo>
                      <a:pt x="64" y="98"/>
                      <a:pt x="68" y="99"/>
                      <a:pt x="69" y="98"/>
                    </a:cubicBezTo>
                    <a:cubicBezTo>
                      <a:pt x="70" y="98"/>
                      <a:pt x="74" y="97"/>
                      <a:pt x="74" y="97"/>
                    </a:cubicBezTo>
                    <a:cubicBezTo>
                      <a:pt x="76" y="98"/>
                      <a:pt x="76" y="98"/>
                      <a:pt x="76" y="98"/>
                    </a:cubicBezTo>
                    <a:cubicBezTo>
                      <a:pt x="78" y="95"/>
                      <a:pt x="78" y="95"/>
                      <a:pt x="78" y="95"/>
                    </a:cubicBezTo>
                    <a:cubicBezTo>
                      <a:pt x="77" y="89"/>
                      <a:pt x="77" y="89"/>
                      <a:pt x="77" y="89"/>
                    </a:cubicBezTo>
                    <a:cubicBezTo>
                      <a:pt x="72" y="82"/>
                      <a:pt x="72" y="82"/>
                      <a:pt x="72" y="82"/>
                    </a:cubicBezTo>
                    <a:cubicBezTo>
                      <a:pt x="65" y="76"/>
                      <a:pt x="65" y="76"/>
                      <a:pt x="65" y="76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57" y="75"/>
                      <a:pt x="57" y="75"/>
                      <a:pt x="57" y="75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49" y="73"/>
                      <a:pt x="49" y="73"/>
                      <a:pt x="49" y="73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39" y="66"/>
                      <a:pt x="39" y="66"/>
                      <a:pt x="39" y="66"/>
                    </a:cubicBezTo>
                    <a:cubicBezTo>
                      <a:pt x="33" y="62"/>
                      <a:pt x="33" y="62"/>
                      <a:pt x="33" y="62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18" y="49"/>
                      <a:pt x="18" y="49"/>
                      <a:pt x="18" y="49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86" y="188"/>
                      <a:pt x="86" y="188"/>
                      <a:pt x="86" y="188"/>
                    </a:cubicBezTo>
                    <a:cubicBezTo>
                      <a:pt x="110" y="197"/>
                      <a:pt x="110" y="197"/>
                      <a:pt x="110" y="197"/>
                    </a:cubicBezTo>
                    <a:cubicBezTo>
                      <a:pt x="126" y="221"/>
                      <a:pt x="126" y="221"/>
                      <a:pt x="126" y="221"/>
                    </a:cubicBezTo>
                    <a:cubicBezTo>
                      <a:pt x="206" y="240"/>
                      <a:pt x="206" y="240"/>
                      <a:pt x="206" y="240"/>
                    </a:cubicBezTo>
                    <a:cubicBezTo>
                      <a:pt x="202" y="347"/>
                      <a:pt x="202" y="347"/>
                      <a:pt x="202" y="347"/>
                    </a:cubicBezTo>
                    <a:cubicBezTo>
                      <a:pt x="202" y="368"/>
                      <a:pt x="202" y="368"/>
                      <a:pt x="202" y="368"/>
                    </a:cubicBezTo>
                    <a:cubicBezTo>
                      <a:pt x="314" y="367"/>
                      <a:pt x="314" y="367"/>
                      <a:pt x="314" y="367"/>
                    </a:cubicBezTo>
                    <a:cubicBezTo>
                      <a:pt x="314" y="368"/>
                      <a:pt x="314" y="368"/>
                      <a:pt x="314" y="368"/>
                    </a:cubicBezTo>
                    <a:cubicBezTo>
                      <a:pt x="314" y="368"/>
                      <a:pt x="314" y="368"/>
                      <a:pt x="314" y="368"/>
                    </a:cubicBezTo>
                    <a:cubicBezTo>
                      <a:pt x="314" y="357"/>
                      <a:pt x="314" y="357"/>
                      <a:pt x="314" y="357"/>
                    </a:cubicBezTo>
                    <a:cubicBezTo>
                      <a:pt x="310" y="354"/>
                      <a:pt x="310" y="354"/>
                      <a:pt x="310" y="354"/>
                    </a:cubicBezTo>
                    <a:cubicBezTo>
                      <a:pt x="310" y="350"/>
                      <a:pt x="310" y="350"/>
                      <a:pt x="310" y="350"/>
                    </a:cubicBezTo>
                    <a:cubicBezTo>
                      <a:pt x="314" y="350"/>
                      <a:pt x="314" y="350"/>
                      <a:pt x="314" y="350"/>
                    </a:cubicBezTo>
                    <a:cubicBezTo>
                      <a:pt x="317" y="348"/>
                      <a:pt x="317" y="348"/>
                      <a:pt x="317" y="348"/>
                    </a:cubicBezTo>
                    <a:cubicBezTo>
                      <a:pt x="318" y="342"/>
                      <a:pt x="318" y="342"/>
                      <a:pt x="318" y="342"/>
                    </a:cubicBezTo>
                    <a:cubicBezTo>
                      <a:pt x="322" y="334"/>
                      <a:pt x="322" y="334"/>
                      <a:pt x="322" y="334"/>
                    </a:cubicBezTo>
                    <a:cubicBezTo>
                      <a:pt x="327" y="328"/>
                      <a:pt x="327" y="328"/>
                      <a:pt x="327" y="328"/>
                    </a:cubicBezTo>
                    <a:cubicBezTo>
                      <a:pt x="326" y="326"/>
                      <a:pt x="326" y="326"/>
                      <a:pt x="326" y="326"/>
                    </a:cubicBezTo>
                    <a:cubicBezTo>
                      <a:pt x="324" y="322"/>
                      <a:pt x="324" y="322"/>
                      <a:pt x="324" y="322"/>
                    </a:cubicBezTo>
                    <a:cubicBezTo>
                      <a:pt x="325" y="319"/>
                      <a:pt x="325" y="319"/>
                      <a:pt x="325" y="319"/>
                    </a:cubicBezTo>
                    <a:cubicBezTo>
                      <a:pt x="328" y="317"/>
                      <a:pt x="328" y="317"/>
                      <a:pt x="328" y="317"/>
                    </a:cubicBezTo>
                    <a:cubicBezTo>
                      <a:pt x="330" y="313"/>
                      <a:pt x="330" y="313"/>
                      <a:pt x="330" y="313"/>
                    </a:cubicBezTo>
                    <a:cubicBezTo>
                      <a:pt x="330" y="305"/>
                      <a:pt x="330" y="305"/>
                      <a:pt x="330" y="305"/>
                    </a:cubicBezTo>
                    <a:cubicBezTo>
                      <a:pt x="338" y="293"/>
                      <a:pt x="338" y="293"/>
                      <a:pt x="338" y="293"/>
                    </a:cubicBezTo>
                    <a:cubicBezTo>
                      <a:pt x="341" y="289"/>
                      <a:pt x="341" y="289"/>
                      <a:pt x="341" y="289"/>
                    </a:cubicBezTo>
                    <a:cubicBezTo>
                      <a:pt x="343" y="289"/>
                      <a:pt x="343" y="289"/>
                      <a:pt x="343" y="289"/>
                    </a:cubicBezTo>
                    <a:cubicBezTo>
                      <a:pt x="347" y="286"/>
                      <a:pt x="347" y="286"/>
                      <a:pt x="347" y="286"/>
                    </a:cubicBezTo>
                    <a:cubicBezTo>
                      <a:pt x="347" y="282"/>
                      <a:pt x="347" y="282"/>
                      <a:pt x="347" y="282"/>
                    </a:cubicBezTo>
                    <a:cubicBezTo>
                      <a:pt x="346" y="280"/>
                      <a:pt x="346" y="280"/>
                      <a:pt x="346" y="280"/>
                    </a:cubicBezTo>
                    <a:cubicBezTo>
                      <a:pt x="344" y="278"/>
                      <a:pt x="344" y="278"/>
                      <a:pt x="344" y="278"/>
                    </a:cubicBezTo>
                    <a:cubicBezTo>
                      <a:pt x="344" y="277"/>
                      <a:pt x="344" y="277"/>
                      <a:pt x="344" y="277"/>
                    </a:cubicBezTo>
                    <a:cubicBezTo>
                      <a:pt x="349" y="277"/>
                      <a:pt x="349" y="277"/>
                      <a:pt x="349" y="277"/>
                    </a:cubicBezTo>
                    <a:cubicBezTo>
                      <a:pt x="355" y="276"/>
                      <a:pt x="355" y="276"/>
                      <a:pt x="355" y="276"/>
                    </a:cubicBezTo>
                    <a:cubicBezTo>
                      <a:pt x="359" y="273"/>
                      <a:pt x="359" y="273"/>
                      <a:pt x="359" y="273"/>
                    </a:cubicBezTo>
                    <a:cubicBezTo>
                      <a:pt x="362" y="270"/>
                      <a:pt x="362" y="270"/>
                      <a:pt x="362" y="270"/>
                    </a:cubicBezTo>
                    <a:cubicBezTo>
                      <a:pt x="362" y="264"/>
                      <a:pt x="362" y="264"/>
                      <a:pt x="362" y="264"/>
                    </a:cubicBezTo>
                    <a:cubicBezTo>
                      <a:pt x="359" y="258"/>
                      <a:pt x="359" y="258"/>
                      <a:pt x="359" y="258"/>
                    </a:cubicBezTo>
                    <a:cubicBezTo>
                      <a:pt x="355" y="255"/>
                      <a:pt x="355" y="255"/>
                      <a:pt x="355" y="255"/>
                    </a:cubicBezTo>
                    <a:cubicBezTo>
                      <a:pt x="348" y="253"/>
                      <a:pt x="348" y="253"/>
                      <a:pt x="348" y="253"/>
                    </a:cubicBezTo>
                    <a:cubicBezTo>
                      <a:pt x="339" y="250"/>
                      <a:pt x="339" y="250"/>
                      <a:pt x="339" y="250"/>
                    </a:cubicBezTo>
                    <a:cubicBezTo>
                      <a:pt x="332" y="249"/>
                      <a:pt x="332" y="249"/>
                      <a:pt x="332" y="249"/>
                    </a:cubicBezTo>
                    <a:cubicBezTo>
                      <a:pt x="321" y="248"/>
                      <a:pt x="321" y="248"/>
                      <a:pt x="321" y="248"/>
                    </a:cubicBezTo>
                    <a:cubicBezTo>
                      <a:pt x="310" y="247"/>
                      <a:pt x="310" y="247"/>
                      <a:pt x="310" y="247"/>
                    </a:cubicBezTo>
                    <a:cubicBezTo>
                      <a:pt x="306" y="245"/>
                      <a:pt x="306" y="245"/>
                      <a:pt x="306" y="245"/>
                    </a:cubicBezTo>
                    <a:cubicBezTo>
                      <a:pt x="302" y="243"/>
                      <a:pt x="302" y="243"/>
                      <a:pt x="302" y="243"/>
                    </a:cubicBezTo>
                    <a:cubicBezTo>
                      <a:pt x="298" y="242"/>
                      <a:pt x="298" y="242"/>
                      <a:pt x="298" y="242"/>
                    </a:cubicBezTo>
                    <a:cubicBezTo>
                      <a:pt x="295" y="243"/>
                      <a:pt x="295" y="243"/>
                      <a:pt x="295" y="243"/>
                    </a:cubicBezTo>
                    <a:cubicBezTo>
                      <a:pt x="291" y="243"/>
                      <a:pt x="291" y="243"/>
                      <a:pt x="291" y="243"/>
                    </a:cubicBezTo>
                    <a:cubicBezTo>
                      <a:pt x="288" y="241"/>
                      <a:pt x="288" y="241"/>
                      <a:pt x="288" y="241"/>
                    </a:cubicBezTo>
                    <a:cubicBezTo>
                      <a:pt x="288" y="239"/>
                      <a:pt x="288" y="239"/>
                      <a:pt x="288" y="239"/>
                    </a:cubicBezTo>
                    <a:cubicBezTo>
                      <a:pt x="289" y="236"/>
                      <a:pt x="289" y="236"/>
                      <a:pt x="289" y="236"/>
                    </a:cubicBezTo>
                    <a:cubicBezTo>
                      <a:pt x="296" y="236"/>
                      <a:pt x="296" y="236"/>
                      <a:pt x="296" y="236"/>
                    </a:cubicBezTo>
                    <a:cubicBezTo>
                      <a:pt x="305" y="238"/>
                      <a:pt x="305" y="238"/>
                      <a:pt x="305" y="238"/>
                    </a:cubicBezTo>
                    <a:cubicBezTo>
                      <a:pt x="307" y="238"/>
                      <a:pt x="307" y="238"/>
                      <a:pt x="307" y="238"/>
                    </a:cubicBezTo>
                    <a:cubicBezTo>
                      <a:pt x="316" y="244"/>
                      <a:pt x="316" y="244"/>
                      <a:pt x="316" y="244"/>
                    </a:cubicBezTo>
                    <a:cubicBezTo>
                      <a:pt x="322" y="244"/>
                      <a:pt x="322" y="244"/>
                      <a:pt x="322" y="244"/>
                    </a:cubicBezTo>
                    <a:cubicBezTo>
                      <a:pt x="323" y="242"/>
                      <a:pt x="323" y="242"/>
                      <a:pt x="323" y="242"/>
                    </a:cubicBezTo>
                    <a:cubicBezTo>
                      <a:pt x="328" y="242"/>
                      <a:pt x="328" y="242"/>
                      <a:pt x="328" y="242"/>
                    </a:cubicBezTo>
                    <a:cubicBezTo>
                      <a:pt x="330" y="243"/>
                      <a:pt x="330" y="243"/>
                      <a:pt x="330" y="243"/>
                    </a:cubicBezTo>
                    <a:cubicBezTo>
                      <a:pt x="334" y="246"/>
                      <a:pt x="334" y="246"/>
                      <a:pt x="334" y="246"/>
                    </a:cubicBezTo>
                    <a:cubicBezTo>
                      <a:pt x="337" y="247"/>
                      <a:pt x="337" y="247"/>
                      <a:pt x="337" y="247"/>
                    </a:cubicBezTo>
                    <a:cubicBezTo>
                      <a:pt x="343" y="247"/>
                      <a:pt x="343" y="247"/>
                      <a:pt x="343" y="247"/>
                    </a:cubicBezTo>
                    <a:cubicBezTo>
                      <a:pt x="348" y="248"/>
                      <a:pt x="348" y="248"/>
                      <a:pt x="348" y="248"/>
                    </a:cubicBezTo>
                    <a:cubicBezTo>
                      <a:pt x="369" y="250"/>
                      <a:pt x="369" y="250"/>
                      <a:pt x="369" y="250"/>
                    </a:cubicBezTo>
                    <a:cubicBezTo>
                      <a:pt x="371" y="244"/>
                      <a:pt x="371" y="244"/>
                      <a:pt x="371" y="244"/>
                    </a:cubicBezTo>
                    <a:cubicBezTo>
                      <a:pt x="372" y="238"/>
                      <a:pt x="372" y="238"/>
                      <a:pt x="372" y="238"/>
                    </a:cubicBezTo>
                    <a:cubicBezTo>
                      <a:pt x="374" y="235"/>
                      <a:pt x="374" y="235"/>
                      <a:pt x="374" y="235"/>
                    </a:cubicBezTo>
                    <a:cubicBezTo>
                      <a:pt x="379" y="234"/>
                      <a:pt x="379" y="234"/>
                      <a:pt x="379" y="234"/>
                    </a:cubicBezTo>
                    <a:cubicBezTo>
                      <a:pt x="384" y="233"/>
                      <a:pt x="384" y="233"/>
                      <a:pt x="384" y="233"/>
                    </a:cubicBezTo>
                    <a:cubicBezTo>
                      <a:pt x="393" y="233"/>
                      <a:pt x="393" y="233"/>
                      <a:pt x="393" y="233"/>
                    </a:cubicBezTo>
                    <a:cubicBezTo>
                      <a:pt x="395" y="230"/>
                      <a:pt x="395" y="230"/>
                      <a:pt x="395" y="230"/>
                    </a:cubicBezTo>
                    <a:cubicBezTo>
                      <a:pt x="396" y="225"/>
                      <a:pt x="396" y="225"/>
                      <a:pt x="396" y="225"/>
                    </a:cubicBezTo>
                    <a:cubicBezTo>
                      <a:pt x="396" y="218"/>
                      <a:pt x="396" y="218"/>
                      <a:pt x="396" y="218"/>
                    </a:cubicBezTo>
                    <a:cubicBezTo>
                      <a:pt x="398" y="214"/>
                      <a:pt x="398" y="214"/>
                      <a:pt x="398" y="214"/>
                    </a:cubicBezTo>
                    <a:cubicBezTo>
                      <a:pt x="399" y="210"/>
                      <a:pt x="399" y="210"/>
                      <a:pt x="399" y="210"/>
                    </a:cubicBezTo>
                    <a:cubicBezTo>
                      <a:pt x="402" y="205"/>
                      <a:pt x="402" y="205"/>
                      <a:pt x="402" y="205"/>
                    </a:cubicBezTo>
                    <a:cubicBezTo>
                      <a:pt x="402" y="202"/>
                      <a:pt x="402" y="202"/>
                      <a:pt x="402" y="202"/>
                    </a:cubicBezTo>
                    <a:cubicBezTo>
                      <a:pt x="402" y="197"/>
                      <a:pt x="402" y="197"/>
                      <a:pt x="402" y="197"/>
                    </a:cubicBezTo>
                    <a:cubicBezTo>
                      <a:pt x="400" y="195"/>
                      <a:pt x="400" y="195"/>
                      <a:pt x="400" y="195"/>
                    </a:cubicBezTo>
                    <a:cubicBezTo>
                      <a:pt x="380" y="195"/>
                      <a:pt x="380" y="195"/>
                      <a:pt x="380" y="195"/>
                    </a:cubicBezTo>
                    <a:cubicBezTo>
                      <a:pt x="376" y="195"/>
                      <a:pt x="376" y="195"/>
                      <a:pt x="376" y="195"/>
                    </a:cubicBezTo>
                    <a:cubicBezTo>
                      <a:pt x="372" y="195"/>
                      <a:pt x="372" y="195"/>
                      <a:pt x="372" y="195"/>
                    </a:cubicBezTo>
                    <a:cubicBezTo>
                      <a:pt x="371" y="192"/>
                      <a:pt x="371" y="192"/>
                      <a:pt x="371" y="192"/>
                    </a:cubicBezTo>
                    <a:cubicBezTo>
                      <a:pt x="369" y="190"/>
                      <a:pt x="369" y="190"/>
                      <a:pt x="369" y="190"/>
                    </a:cubicBezTo>
                    <a:cubicBezTo>
                      <a:pt x="366" y="187"/>
                      <a:pt x="366" y="187"/>
                      <a:pt x="366" y="187"/>
                    </a:cubicBezTo>
                    <a:cubicBezTo>
                      <a:pt x="363" y="186"/>
                      <a:pt x="363" y="186"/>
                      <a:pt x="363" y="186"/>
                    </a:cubicBezTo>
                    <a:cubicBezTo>
                      <a:pt x="361" y="186"/>
                      <a:pt x="361" y="186"/>
                      <a:pt x="361" y="186"/>
                    </a:cubicBezTo>
                    <a:cubicBezTo>
                      <a:pt x="355" y="184"/>
                      <a:pt x="355" y="184"/>
                      <a:pt x="355" y="184"/>
                    </a:cubicBezTo>
                    <a:cubicBezTo>
                      <a:pt x="352" y="184"/>
                      <a:pt x="352" y="184"/>
                      <a:pt x="352" y="184"/>
                    </a:cubicBezTo>
                    <a:cubicBezTo>
                      <a:pt x="352" y="183"/>
                      <a:pt x="352" y="183"/>
                      <a:pt x="352" y="183"/>
                    </a:cubicBezTo>
                    <a:cubicBezTo>
                      <a:pt x="353" y="180"/>
                      <a:pt x="353" y="180"/>
                      <a:pt x="353" y="180"/>
                    </a:cubicBezTo>
                    <a:cubicBezTo>
                      <a:pt x="357" y="179"/>
                      <a:pt x="357" y="179"/>
                      <a:pt x="357" y="179"/>
                    </a:cubicBezTo>
                    <a:cubicBezTo>
                      <a:pt x="372" y="179"/>
                      <a:pt x="372" y="179"/>
                      <a:pt x="372" y="179"/>
                    </a:cubicBezTo>
                    <a:cubicBezTo>
                      <a:pt x="376" y="182"/>
                      <a:pt x="376" y="182"/>
                      <a:pt x="376" y="182"/>
                    </a:cubicBezTo>
                    <a:cubicBezTo>
                      <a:pt x="384" y="187"/>
                      <a:pt x="384" y="187"/>
                      <a:pt x="384" y="187"/>
                    </a:cubicBezTo>
                    <a:cubicBezTo>
                      <a:pt x="385" y="190"/>
                      <a:pt x="385" y="190"/>
                      <a:pt x="385" y="190"/>
                    </a:cubicBezTo>
                    <a:cubicBezTo>
                      <a:pt x="387" y="190"/>
                      <a:pt x="387" y="190"/>
                      <a:pt x="387" y="190"/>
                    </a:cubicBezTo>
                    <a:cubicBezTo>
                      <a:pt x="391" y="191"/>
                      <a:pt x="391" y="191"/>
                      <a:pt x="391" y="191"/>
                    </a:cubicBezTo>
                    <a:cubicBezTo>
                      <a:pt x="396" y="189"/>
                      <a:pt x="396" y="189"/>
                      <a:pt x="396" y="189"/>
                    </a:cubicBezTo>
                    <a:cubicBezTo>
                      <a:pt x="399" y="186"/>
                      <a:pt x="399" y="186"/>
                      <a:pt x="399" y="186"/>
                    </a:cubicBezTo>
                    <a:cubicBezTo>
                      <a:pt x="404" y="180"/>
                      <a:pt x="404" y="180"/>
                      <a:pt x="404" y="180"/>
                    </a:cubicBezTo>
                    <a:cubicBezTo>
                      <a:pt x="406" y="175"/>
                      <a:pt x="406" y="175"/>
                      <a:pt x="406" y="175"/>
                    </a:cubicBezTo>
                    <a:cubicBezTo>
                      <a:pt x="408" y="170"/>
                      <a:pt x="408" y="170"/>
                      <a:pt x="408" y="170"/>
                    </a:cubicBezTo>
                    <a:cubicBezTo>
                      <a:pt x="408" y="167"/>
                      <a:pt x="408" y="167"/>
                      <a:pt x="408" y="167"/>
                    </a:cubicBezTo>
                    <a:cubicBezTo>
                      <a:pt x="408" y="164"/>
                      <a:pt x="408" y="164"/>
                      <a:pt x="408" y="164"/>
                    </a:cubicBezTo>
                    <a:cubicBezTo>
                      <a:pt x="403" y="161"/>
                      <a:pt x="403" y="161"/>
                      <a:pt x="403" y="161"/>
                    </a:cubicBezTo>
                    <a:cubicBezTo>
                      <a:pt x="399" y="159"/>
                      <a:pt x="399" y="159"/>
                      <a:pt x="399" y="159"/>
                    </a:cubicBezTo>
                    <a:cubicBezTo>
                      <a:pt x="398" y="156"/>
                      <a:pt x="398" y="156"/>
                      <a:pt x="398" y="156"/>
                    </a:cubicBezTo>
                    <a:cubicBezTo>
                      <a:pt x="400" y="154"/>
                      <a:pt x="400" y="154"/>
                      <a:pt x="400" y="154"/>
                    </a:cubicBezTo>
                    <a:cubicBezTo>
                      <a:pt x="406" y="153"/>
                      <a:pt x="406" y="153"/>
                      <a:pt x="406" y="153"/>
                    </a:cubicBezTo>
                    <a:cubicBezTo>
                      <a:pt x="409" y="153"/>
                      <a:pt x="409" y="153"/>
                      <a:pt x="409" y="153"/>
                    </a:cubicBezTo>
                    <a:cubicBezTo>
                      <a:pt x="415" y="155"/>
                      <a:pt x="415" y="155"/>
                      <a:pt x="415" y="155"/>
                    </a:cubicBezTo>
                    <a:cubicBezTo>
                      <a:pt x="417" y="158"/>
                      <a:pt x="417" y="158"/>
                      <a:pt x="417" y="158"/>
                    </a:cubicBezTo>
                    <a:cubicBezTo>
                      <a:pt x="418" y="161"/>
                      <a:pt x="418" y="161"/>
                      <a:pt x="418" y="161"/>
                    </a:cubicBezTo>
                    <a:cubicBezTo>
                      <a:pt x="418" y="163"/>
                      <a:pt x="418" y="163"/>
                      <a:pt x="418" y="163"/>
                    </a:cubicBezTo>
                    <a:cubicBezTo>
                      <a:pt x="420" y="164"/>
                      <a:pt x="420" y="164"/>
                      <a:pt x="420" y="164"/>
                    </a:cubicBezTo>
                    <a:cubicBezTo>
                      <a:pt x="417" y="168"/>
                      <a:pt x="417" y="168"/>
                      <a:pt x="417" y="168"/>
                    </a:cubicBezTo>
                    <a:cubicBezTo>
                      <a:pt x="417" y="168"/>
                      <a:pt x="419" y="170"/>
                      <a:pt x="418" y="171"/>
                    </a:cubicBezTo>
                    <a:cubicBezTo>
                      <a:pt x="417" y="172"/>
                      <a:pt x="414" y="172"/>
                      <a:pt x="414" y="172"/>
                    </a:cubicBezTo>
                    <a:cubicBezTo>
                      <a:pt x="411" y="175"/>
                      <a:pt x="411" y="175"/>
                      <a:pt x="411" y="175"/>
                    </a:cubicBezTo>
                    <a:cubicBezTo>
                      <a:pt x="412" y="191"/>
                      <a:pt x="412" y="191"/>
                      <a:pt x="412" y="191"/>
                    </a:cubicBezTo>
                    <a:cubicBezTo>
                      <a:pt x="413" y="199"/>
                      <a:pt x="413" y="199"/>
                      <a:pt x="413" y="199"/>
                    </a:cubicBezTo>
                    <a:cubicBezTo>
                      <a:pt x="414" y="202"/>
                      <a:pt x="414" y="202"/>
                      <a:pt x="414" y="202"/>
                    </a:cubicBezTo>
                    <a:cubicBezTo>
                      <a:pt x="414" y="219"/>
                      <a:pt x="414" y="219"/>
                      <a:pt x="414" y="219"/>
                    </a:cubicBezTo>
                    <a:cubicBezTo>
                      <a:pt x="417" y="221"/>
                      <a:pt x="417" y="221"/>
                      <a:pt x="417" y="221"/>
                    </a:cubicBezTo>
                    <a:cubicBezTo>
                      <a:pt x="417" y="227"/>
                      <a:pt x="417" y="227"/>
                      <a:pt x="417" y="227"/>
                    </a:cubicBezTo>
                    <a:cubicBezTo>
                      <a:pt x="413" y="230"/>
                      <a:pt x="413" y="230"/>
                      <a:pt x="413" y="230"/>
                    </a:cubicBezTo>
                    <a:cubicBezTo>
                      <a:pt x="408" y="236"/>
                      <a:pt x="408" y="236"/>
                      <a:pt x="408" y="236"/>
                    </a:cubicBezTo>
                    <a:cubicBezTo>
                      <a:pt x="409" y="243"/>
                      <a:pt x="409" y="243"/>
                      <a:pt x="409" y="243"/>
                    </a:cubicBezTo>
                    <a:cubicBezTo>
                      <a:pt x="415" y="243"/>
                      <a:pt x="415" y="243"/>
                      <a:pt x="415" y="243"/>
                    </a:cubicBezTo>
                    <a:cubicBezTo>
                      <a:pt x="418" y="242"/>
                      <a:pt x="418" y="242"/>
                      <a:pt x="418" y="242"/>
                    </a:cubicBezTo>
                    <a:cubicBezTo>
                      <a:pt x="424" y="239"/>
                      <a:pt x="424" y="239"/>
                      <a:pt x="424" y="239"/>
                    </a:cubicBezTo>
                    <a:cubicBezTo>
                      <a:pt x="427" y="238"/>
                      <a:pt x="427" y="238"/>
                      <a:pt x="427" y="238"/>
                    </a:cubicBezTo>
                    <a:cubicBezTo>
                      <a:pt x="430" y="240"/>
                      <a:pt x="430" y="240"/>
                      <a:pt x="430" y="240"/>
                    </a:cubicBezTo>
                    <a:cubicBezTo>
                      <a:pt x="431" y="248"/>
                      <a:pt x="431" y="248"/>
                      <a:pt x="431" y="248"/>
                    </a:cubicBezTo>
                    <a:cubicBezTo>
                      <a:pt x="434" y="251"/>
                      <a:pt x="434" y="251"/>
                      <a:pt x="434" y="251"/>
                    </a:cubicBezTo>
                    <a:cubicBezTo>
                      <a:pt x="438" y="251"/>
                      <a:pt x="438" y="251"/>
                      <a:pt x="438" y="251"/>
                    </a:cubicBezTo>
                    <a:cubicBezTo>
                      <a:pt x="443" y="249"/>
                      <a:pt x="443" y="249"/>
                      <a:pt x="443" y="249"/>
                    </a:cubicBezTo>
                    <a:cubicBezTo>
                      <a:pt x="445" y="245"/>
                      <a:pt x="445" y="245"/>
                      <a:pt x="445" y="245"/>
                    </a:cubicBezTo>
                    <a:cubicBezTo>
                      <a:pt x="445" y="240"/>
                      <a:pt x="445" y="240"/>
                      <a:pt x="445" y="240"/>
                    </a:cubicBezTo>
                    <a:cubicBezTo>
                      <a:pt x="445" y="238"/>
                      <a:pt x="445" y="238"/>
                      <a:pt x="445" y="238"/>
                    </a:cubicBezTo>
                    <a:cubicBezTo>
                      <a:pt x="445" y="238"/>
                      <a:pt x="448" y="237"/>
                      <a:pt x="448" y="236"/>
                    </a:cubicBezTo>
                    <a:cubicBezTo>
                      <a:pt x="449" y="236"/>
                      <a:pt x="451" y="235"/>
                      <a:pt x="451" y="235"/>
                    </a:cubicBezTo>
                    <a:cubicBezTo>
                      <a:pt x="451" y="235"/>
                      <a:pt x="453" y="235"/>
                      <a:pt x="453" y="234"/>
                    </a:cubicBezTo>
                    <a:cubicBezTo>
                      <a:pt x="453" y="233"/>
                      <a:pt x="453" y="233"/>
                      <a:pt x="454" y="230"/>
                    </a:cubicBezTo>
                    <a:cubicBezTo>
                      <a:pt x="455" y="227"/>
                      <a:pt x="455" y="227"/>
                      <a:pt x="455" y="227"/>
                    </a:cubicBezTo>
                    <a:cubicBezTo>
                      <a:pt x="455" y="221"/>
                      <a:pt x="455" y="221"/>
                      <a:pt x="455" y="221"/>
                    </a:cubicBezTo>
                    <a:cubicBezTo>
                      <a:pt x="461" y="216"/>
                      <a:pt x="461" y="216"/>
                      <a:pt x="461" y="216"/>
                    </a:cubicBezTo>
                    <a:cubicBezTo>
                      <a:pt x="462" y="217"/>
                      <a:pt x="462" y="217"/>
                      <a:pt x="462" y="217"/>
                    </a:cubicBezTo>
                    <a:cubicBezTo>
                      <a:pt x="463" y="221"/>
                      <a:pt x="463" y="221"/>
                      <a:pt x="463" y="221"/>
                    </a:cubicBezTo>
                    <a:cubicBezTo>
                      <a:pt x="468" y="222"/>
                      <a:pt x="468" y="222"/>
                      <a:pt x="468" y="222"/>
                    </a:cubicBezTo>
                    <a:cubicBezTo>
                      <a:pt x="474" y="227"/>
                      <a:pt x="474" y="227"/>
                      <a:pt x="474" y="227"/>
                    </a:cubicBezTo>
                    <a:cubicBezTo>
                      <a:pt x="481" y="228"/>
                      <a:pt x="481" y="228"/>
                      <a:pt x="481" y="228"/>
                    </a:cubicBezTo>
                    <a:cubicBezTo>
                      <a:pt x="486" y="229"/>
                      <a:pt x="486" y="229"/>
                      <a:pt x="486" y="229"/>
                    </a:cubicBezTo>
                    <a:cubicBezTo>
                      <a:pt x="490" y="229"/>
                      <a:pt x="490" y="229"/>
                      <a:pt x="490" y="229"/>
                    </a:cubicBezTo>
                    <a:cubicBezTo>
                      <a:pt x="493" y="227"/>
                      <a:pt x="493" y="227"/>
                      <a:pt x="493" y="227"/>
                    </a:cubicBezTo>
                    <a:cubicBezTo>
                      <a:pt x="497" y="223"/>
                      <a:pt x="497" y="223"/>
                      <a:pt x="497" y="223"/>
                    </a:cubicBezTo>
                    <a:cubicBezTo>
                      <a:pt x="500" y="220"/>
                      <a:pt x="500" y="220"/>
                      <a:pt x="500" y="220"/>
                    </a:cubicBezTo>
                    <a:cubicBezTo>
                      <a:pt x="500" y="217"/>
                      <a:pt x="500" y="217"/>
                      <a:pt x="500" y="217"/>
                    </a:cubicBezTo>
                    <a:lnTo>
                      <a:pt x="496" y="21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5" name="Freeform 50"/>
              <p:cNvSpPr>
                <a:spLocks/>
              </p:cNvSpPr>
              <p:nvPr/>
            </p:nvSpPr>
            <p:spPr bwMode="auto">
              <a:xfrm>
                <a:off x="4871798" y="2941398"/>
                <a:ext cx="24268" cy="39099"/>
              </a:xfrm>
              <a:custGeom>
                <a:avLst/>
                <a:gdLst>
                  <a:gd name="T0" fmla="*/ 5 w 13"/>
                  <a:gd name="T1" fmla="*/ 21 h 21"/>
                  <a:gd name="T2" fmla="*/ 10 w 13"/>
                  <a:gd name="T3" fmla="*/ 21 h 21"/>
                  <a:gd name="T4" fmla="*/ 13 w 13"/>
                  <a:gd name="T5" fmla="*/ 12 h 21"/>
                  <a:gd name="T6" fmla="*/ 13 w 13"/>
                  <a:gd name="T7" fmla="*/ 7 h 21"/>
                  <a:gd name="T8" fmla="*/ 9 w 13"/>
                  <a:gd name="T9" fmla="*/ 0 h 21"/>
                  <a:gd name="T10" fmla="*/ 3 w 13"/>
                  <a:gd name="T11" fmla="*/ 0 h 21"/>
                  <a:gd name="T12" fmla="*/ 0 w 13"/>
                  <a:gd name="T13" fmla="*/ 3 h 21"/>
                  <a:gd name="T14" fmla="*/ 0 w 13"/>
                  <a:gd name="T15" fmla="*/ 6 h 21"/>
                  <a:gd name="T16" fmla="*/ 0 w 13"/>
                  <a:gd name="T17" fmla="*/ 13 h 21"/>
                  <a:gd name="T18" fmla="*/ 0 w 13"/>
                  <a:gd name="T19" fmla="*/ 15 h 21"/>
                  <a:gd name="T20" fmla="*/ 5 w 13"/>
                  <a:gd name="T2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0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lnTo>
                      <a:pt x="5" y="2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6" name="Freeform 51"/>
              <p:cNvSpPr>
                <a:spLocks/>
              </p:cNvSpPr>
              <p:nvPr/>
            </p:nvSpPr>
            <p:spPr bwMode="auto">
              <a:xfrm>
                <a:off x="4765288" y="2925219"/>
                <a:ext cx="56625" cy="57974"/>
              </a:xfrm>
              <a:custGeom>
                <a:avLst/>
                <a:gdLst>
                  <a:gd name="T0" fmla="*/ 8 w 30"/>
                  <a:gd name="T1" fmla="*/ 30 h 31"/>
                  <a:gd name="T2" fmla="*/ 14 w 30"/>
                  <a:gd name="T3" fmla="*/ 26 h 31"/>
                  <a:gd name="T4" fmla="*/ 17 w 30"/>
                  <a:gd name="T5" fmla="*/ 26 h 31"/>
                  <a:gd name="T6" fmla="*/ 19 w 30"/>
                  <a:gd name="T7" fmla="*/ 26 h 31"/>
                  <a:gd name="T8" fmla="*/ 19 w 30"/>
                  <a:gd name="T9" fmla="*/ 21 h 31"/>
                  <a:gd name="T10" fmla="*/ 19 w 30"/>
                  <a:gd name="T11" fmla="*/ 17 h 31"/>
                  <a:gd name="T12" fmla="*/ 26 w 30"/>
                  <a:gd name="T13" fmla="*/ 12 h 31"/>
                  <a:gd name="T14" fmla="*/ 29 w 30"/>
                  <a:gd name="T15" fmla="*/ 9 h 31"/>
                  <a:gd name="T16" fmla="*/ 27 w 30"/>
                  <a:gd name="T17" fmla="*/ 0 h 31"/>
                  <a:gd name="T18" fmla="*/ 23 w 30"/>
                  <a:gd name="T19" fmla="*/ 0 h 31"/>
                  <a:gd name="T20" fmla="*/ 14 w 30"/>
                  <a:gd name="T21" fmla="*/ 3 h 31"/>
                  <a:gd name="T22" fmla="*/ 14 w 30"/>
                  <a:gd name="T23" fmla="*/ 9 h 31"/>
                  <a:gd name="T24" fmla="*/ 10 w 30"/>
                  <a:gd name="T25" fmla="*/ 9 h 31"/>
                  <a:gd name="T26" fmla="*/ 6 w 30"/>
                  <a:gd name="T27" fmla="*/ 9 h 31"/>
                  <a:gd name="T28" fmla="*/ 6 w 30"/>
                  <a:gd name="T29" fmla="*/ 11 h 31"/>
                  <a:gd name="T30" fmla="*/ 6 w 30"/>
                  <a:gd name="T31" fmla="*/ 15 h 31"/>
                  <a:gd name="T32" fmla="*/ 0 w 30"/>
                  <a:gd name="T33" fmla="*/ 19 h 31"/>
                  <a:gd name="T34" fmla="*/ 0 w 30"/>
                  <a:gd name="T35" fmla="*/ 22 h 31"/>
                  <a:gd name="T36" fmla="*/ 3 w 30"/>
                  <a:gd name="T37" fmla="*/ 22 h 31"/>
                  <a:gd name="T38" fmla="*/ 5 w 30"/>
                  <a:gd name="T39" fmla="*/ 22 h 31"/>
                  <a:gd name="T40" fmla="*/ 8 w 30"/>
                  <a:gd name="T41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31">
                    <a:moveTo>
                      <a:pt x="8" y="30"/>
                    </a:moveTo>
                    <a:cubicBezTo>
                      <a:pt x="14" y="26"/>
                      <a:pt x="14" y="26"/>
                      <a:pt x="14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6"/>
                      <a:pt x="19" y="31"/>
                      <a:pt x="19" y="26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12"/>
                      <a:pt x="30" y="13"/>
                      <a:pt x="29" y="9"/>
                    </a:cubicBezTo>
                    <a:cubicBezTo>
                      <a:pt x="28" y="5"/>
                      <a:pt x="27" y="0"/>
                      <a:pt x="2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1" y="22"/>
                      <a:pt x="3" y="22"/>
                    </a:cubicBezTo>
                    <a:cubicBezTo>
                      <a:pt x="5" y="22"/>
                      <a:pt x="5" y="22"/>
                      <a:pt x="5" y="22"/>
                    </a:cubicBezTo>
                    <a:lnTo>
                      <a:pt x="8" y="3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7" name="Freeform 52"/>
              <p:cNvSpPr>
                <a:spLocks/>
              </p:cNvSpPr>
              <p:nvPr/>
            </p:nvSpPr>
            <p:spPr bwMode="auto">
              <a:xfrm>
                <a:off x="4896066" y="2869942"/>
                <a:ext cx="29661" cy="17527"/>
              </a:xfrm>
              <a:custGeom>
                <a:avLst/>
                <a:gdLst>
                  <a:gd name="T0" fmla="*/ 7 w 16"/>
                  <a:gd name="T1" fmla="*/ 9 h 9"/>
                  <a:gd name="T2" fmla="*/ 12 w 16"/>
                  <a:gd name="T3" fmla="*/ 9 h 9"/>
                  <a:gd name="T4" fmla="*/ 14 w 16"/>
                  <a:gd name="T5" fmla="*/ 4 h 9"/>
                  <a:gd name="T6" fmla="*/ 14 w 16"/>
                  <a:gd name="T7" fmla="*/ 1 h 9"/>
                  <a:gd name="T8" fmla="*/ 11 w 16"/>
                  <a:gd name="T9" fmla="*/ 0 h 9"/>
                  <a:gd name="T10" fmla="*/ 7 w 16"/>
                  <a:gd name="T11" fmla="*/ 0 h 9"/>
                  <a:gd name="T12" fmla="*/ 4 w 16"/>
                  <a:gd name="T13" fmla="*/ 0 h 9"/>
                  <a:gd name="T14" fmla="*/ 0 w 16"/>
                  <a:gd name="T15" fmla="*/ 0 h 9"/>
                  <a:gd name="T16" fmla="*/ 0 w 16"/>
                  <a:gd name="T17" fmla="*/ 5 h 9"/>
                  <a:gd name="T18" fmla="*/ 2 w 16"/>
                  <a:gd name="T19" fmla="*/ 5 h 9"/>
                  <a:gd name="T20" fmla="*/ 4 w 16"/>
                  <a:gd name="T21" fmla="*/ 9 h 9"/>
                  <a:gd name="T22" fmla="*/ 7 w 16"/>
                  <a:gd name="T2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9">
                    <a:moveTo>
                      <a:pt x="7" y="9"/>
                    </a:moveTo>
                    <a:cubicBezTo>
                      <a:pt x="12" y="9"/>
                      <a:pt x="12" y="9"/>
                      <a:pt x="12" y="9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4"/>
                      <a:pt x="16" y="2"/>
                      <a:pt x="14" y="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7" y="9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8" name="Freeform 53"/>
              <p:cNvSpPr>
                <a:spLocks/>
              </p:cNvSpPr>
              <p:nvPr/>
            </p:nvSpPr>
            <p:spPr bwMode="auto">
              <a:xfrm>
                <a:off x="4916289" y="2853763"/>
                <a:ext cx="22920" cy="10786"/>
              </a:xfrm>
              <a:custGeom>
                <a:avLst/>
                <a:gdLst>
                  <a:gd name="T0" fmla="*/ 10 w 17"/>
                  <a:gd name="T1" fmla="*/ 8 h 8"/>
                  <a:gd name="T2" fmla="*/ 17 w 17"/>
                  <a:gd name="T3" fmla="*/ 8 h 8"/>
                  <a:gd name="T4" fmla="*/ 17 w 17"/>
                  <a:gd name="T5" fmla="*/ 4 h 8"/>
                  <a:gd name="T6" fmla="*/ 14 w 17"/>
                  <a:gd name="T7" fmla="*/ 0 h 8"/>
                  <a:gd name="T8" fmla="*/ 10 w 17"/>
                  <a:gd name="T9" fmla="*/ 0 h 8"/>
                  <a:gd name="T10" fmla="*/ 6 w 17"/>
                  <a:gd name="T11" fmla="*/ 0 h 8"/>
                  <a:gd name="T12" fmla="*/ 4 w 17"/>
                  <a:gd name="T13" fmla="*/ 0 h 8"/>
                  <a:gd name="T14" fmla="*/ 0 w 17"/>
                  <a:gd name="T15" fmla="*/ 4 h 8"/>
                  <a:gd name="T16" fmla="*/ 10 w 17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8">
                    <a:moveTo>
                      <a:pt x="10" y="8"/>
                    </a:moveTo>
                    <a:lnTo>
                      <a:pt x="17" y="8"/>
                    </a:lnTo>
                    <a:lnTo>
                      <a:pt x="17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9" name="Freeform 54"/>
              <p:cNvSpPr>
                <a:spLocks/>
              </p:cNvSpPr>
              <p:nvPr/>
            </p:nvSpPr>
            <p:spPr bwMode="auto">
              <a:xfrm>
                <a:off x="4998530" y="2869942"/>
                <a:ext cx="22920" cy="17527"/>
              </a:xfrm>
              <a:custGeom>
                <a:avLst/>
                <a:gdLst>
                  <a:gd name="T0" fmla="*/ 10 w 17"/>
                  <a:gd name="T1" fmla="*/ 7 h 13"/>
                  <a:gd name="T2" fmla="*/ 13 w 17"/>
                  <a:gd name="T3" fmla="*/ 7 h 13"/>
                  <a:gd name="T4" fmla="*/ 17 w 17"/>
                  <a:gd name="T5" fmla="*/ 7 h 13"/>
                  <a:gd name="T6" fmla="*/ 6 w 17"/>
                  <a:gd name="T7" fmla="*/ 0 h 13"/>
                  <a:gd name="T8" fmla="*/ 0 w 17"/>
                  <a:gd name="T9" fmla="*/ 7 h 13"/>
                  <a:gd name="T10" fmla="*/ 4 w 17"/>
                  <a:gd name="T11" fmla="*/ 13 h 13"/>
                  <a:gd name="T12" fmla="*/ 10 w 17"/>
                  <a:gd name="T1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3">
                    <a:moveTo>
                      <a:pt x="10" y="7"/>
                    </a:moveTo>
                    <a:lnTo>
                      <a:pt x="13" y="7"/>
                    </a:lnTo>
                    <a:lnTo>
                      <a:pt x="17" y="7"/>
                    </a:lnTo>
                    <a:lnTo>
                      <a:pt x="6" y="0"/>
                    </a:lnTo>
                    <a:lnTo>
                      <a:pt x="0" y="7"/>
                    </a:lnTo>
                    <a:lnTo>
                      <a:pt x="4" y="13"/>
                    </a:lnTo>
                    <a:lnTo>
                      <a:pt x="10" y="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0" name="Freeform 55"/>
              <p:cNvSpPr>
                <a:spLocks/>
              </p:cNvSpPr>
              <p:nvPr/>
            </p:nvSpPr>
            <p:spPr bwMode="auto">
              <a:xfrm>
                <a:off x="5219637" y="2921174"/>
                <a:ext cx="10786" cy="20224"/>
              </a:xfrm>
              <a:custGeom>
                <a:avLst/>
                <a:gdLst>
                  <a:gd name="T0" fmla="*/ 5 w 8"/>
                  <a:gd name="T1" fmla="*/ 15 h 15"/>
                  <a:gd name="T2" fmla="*/ 8 w 8"/>
                  <a:gd name="T3" fmla="*/ 11 h 15"/>
                  <a:gd name="T4" fmla="*/ 8 w 8"/>
                  <a:gd name="T5" fmla="*/ 7 h 15"/>
                  <a:gd name="T6" fmla="*/ 5 w 8"/>
                  <a:gd name="T7" fmla="*/ 0 h 15"/>
                  <a:gd name="T8" fmla="*/ 0 w 8"/>
                  <a:gd name="T9" fmla="*/ 0 h 15"/>
                  <a:gd name="T10" fmla="*/ 0 w 8"/>
                  <a:gd name="T11" fmla="*/ 7 h 15"/>
                  <a:gd name="T12" fmla="*/ 0 w 8"/>
                  <a:gd name="T13" fmla="*/ 10 h 15"/>
                  <a:gd name="T14" fmla="*/ 5 w 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5">
                    <a:moveTo>
                      <a:pt x="5" y="15"/>
                    </a:moveTo>
                    <a:lnTo>
                      <a:pt x="8" y="11"/>
                    </a:lnTo>
                    <a:lnTo>
                      <a:pt x="8" y="7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5" y="15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1" name="Freeform 56"/>
              <p:cNvSpPr>
                <a:spLocks/>
              </p:cNvSpPr>
              <p:nvPr/>
            </p:nvSpPr>
            <p:spPr bwMode="auto">
              <a:xfrm>
                <a:off x="4712708" y="2767478"/>
                <a:ext cx="28313" cy="21571"/>
              </a:xfrm>
              <a:custGeom>
                <a:avLst/>
                <a:gdLst>
                  <a:gd name="T0" fmla="*/ 18 w 21"/>
                  <a:gd name="T1" fmla="*/ 16 h 16"/>
                  <a:gd name="T2" fmla="*/ 14 w 21"/>
                  <a:gd name="T3" fmla="*/ 16 h 16"/>
                  <a:gd name="T4" fmla="*/ 3 w 21"/>
                  <a:gd name="T5" fmla="*/ 9 h 16"/>
                  <a:gd name="T6" fmla="*/ 0 w 21"/>
                  <a:gd name="T7" fmla="*/ 4 h 16"/>
                  <a:gd name="T8" fmla="*/ 0 w 21"/>
                  <a:gd name="T9" fmla="*/ 0 h 16"/>
                  <a:gd name="T10" fmla="*/ 6 w 21"/>
                  <a:gd name="T11" fmla="*/ 0 h 16"/>
                  <a:gd name="T12" fmla="*/ 9 w 21"/>
                  <a:gd name="T13" fmla="*/ 3 h 16"/>
                  <a:gd name="T14" fmla="*/ 21 w 21"/>
                  <a:gd name="T15" fmla="*/ 7 h 16"/>
                  <a:gd name="T16" fmla="*/ 18 w 21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6">
                    <a:moveTo>
                      <a:pt x="18" y="16"/>
                    </a:moveTo>
                    <a:lnTo>
                      <a:pt x="14" y="16"/>
                    </a:lnTo>
                    <a:lnTo>
                      <a:pt x="3" y="9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21" y="7"/>
                    </a:lnTo>
                    <a:lnTo>
                      <a:pt x="18" y="16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2" name="Freeform 57"/>
              <p:cNvSpPr>
                <a:spLocks/>
              </p:cNvSpPr>
              <p:nvPr/>
            </p:nvSpPr>
            <p:spPr bwMode="auto">
              <a:xfrm>
                <a:off x="4836744" y="2594906"/>
                <a:ext cx="45839" cy="60670"/>
              </a:xfrm>
              <a:custGeom>
                <a:avLst/>
                <a:gdLst>
                  <a:gd name="T0" fmla="*/ 16 w 25"/>
                  <a:gd name="T1" fmla="*/ 30 h 33"/>
                  <a:gd name="T2" fmla="*/ 19 w 25"/>
                  <a:gd name="T3" fmla="*/ 30 h 33"/>
                  <a:gd name="T4" fmla="*/ 25 w 25"/>
                  <a:gd name="T5" fmla="*/ 25 h 33"/>
                  <a:gd name="T6" fmla="*/ 25 w 25"/>
                  <a:gd name="T7" fmla="*/ 20 h 33"/>
                  <a:gd name="T8" fmla="*/ 25 w 25"/>
                  <a:gd name="T9" fmla="*/ 16 h 33"/>
                  <a:gd name="T10" fmla="*/ 22 w 25"/>
                  <a:gd name="T11" fmla="*/ 13 h 33"/>
                  <a:gd name="T12" fmla="*/ 20 w 25"/>
                  <a:gd name="T13" fmla="*/ 8 h 33"/>
                  <a:gd name="T14" fmla="*/ 20 w 25"/>
                  <a:gd name="T15" fmla="*/ 3 h 33"/>
                  <a:gd name="T16" fmla="*/ 20 w 25"/>
                  <a:gd name="T17" fmla="*/ 0 h 33"/>
                  <a:gd name="T18" fmla="*/ 8 w 25"/>
                  <a:gd name="T19" fmla="*/ 0 h 33"/>
                  <a:gd name="T20" fmla="*/ 6 w 25"/>
                  <a:gd name="T21" fmla="*/ 3 h 33"/>
                  <a:gd name="T22" fmla="*/ 3 w 25"/>
                  <a:gd name="T23" fmla="*/ 7 h 33"/>
                  <a:gd name="T24" fmla="*/ 3 w 25"/>
                  <a:gd name="T25" fmla="*/ 9 h 33"/>
                  <a:gd name="T26" fmla="*/ 0 w 25"/>
                  <a:gd name="T27" fmla="*/ 15 h 33"/>
                  <a:gd name="T28" fmla="*/ 0 w 25"/>
                  <a:gd name="T29" fmla="*/ 22 h 33"/>
                  <a:gd name="T30" fmla="*/ 7 w 25"/>
                  <a:gd name="T31" fmla="*/ 30 h 33"/>
                  <a:gd name="T32" fmla="*/ 10 w 25"/>
                  <a:gd name="T33" fmla="*/ 33 h 33"/>
                  <a:gd name="T34" fmla="*/ 16 w 25"/>
                  <a:gd name="T35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33">
                    <a:moveTo>
                      <a:pt x="16" y="30"/>
                    </a:moveTo>
                    <a:cubicBezTo>
                      <a:pt x="19" y="30"/>
                      <a:pt x="19" y="30"/>
                      <a:pt x="19" y="30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6"/>
                      <a:pt x="23" y="15"/>
                      <a:pt x="22" y="13"/>
                    </a:cubicBezTo>
                    <a:cubicBezTo>
                      <a:pt x="21" y="12"/>
                      <a:pt x="20" y="8"/>
                      <a:pt x="20" y="8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2"/>
                      <a:pt x="8" y="0"/>
                      <a:pt x="8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10" y="33"/>
                      <a:pt x="10" y="33"/>
                      <a:pt x="10" y="33"/>
                    </a:cubicBezTo>
                    <a:lnTo>
                      <a:pt x="16" y="3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3" name="Freeform 58"/>
              <p:cNvSpPr>
                <a:spLocks/>
              </p:cNvSpPr>
              <p:nvPr/>
            </p:nvSpPr>
            <p:spPr bwMode="auto">
              <a:xfrm>
                <a:off x="4755851" y="2551763"/>
                <a:ext cx="26964" cy="31009"/>
              </a:xfrm>
              <a:custGeom>
                <a:avLst/>
                <a:gdLst>
                  <a:gd name="T0" fmla="*/ 11 w 14"/>
                  <a:gd name="T1" fmla="*/ 13 h 17"/>
                  <a:gd name="T2" fmla="*/ 11 w 14"/>
                  <a:gd name="T3" fmla="*/ 9 h 17"/>
                  <a:gd name="T4" fmla="*/ 11 w 14"/>
                  <a:gd name="T5" fmla="*/ 6 h 17"/>
                  <a:gd name="T6" fmla="*/ 14 w 14"/>
                  <a:gd name="T7" fmla="*/ 3 h 17"/>
                  <a:gd name="T8" fmla="*/ 14 w 14"/>
                  <a:gd name="T9" fmla="*/ 0 h 17"/>
                  <a:gd name="T10" fmla="*/ 11 w 14"/>
                  <a:gd name="T11" fmla="*/ 0 h 17"/>
                  <a:gd name="T12" fmla="*/ 8 w 14"/>
                  <a:gd name="T13" fmla="*/ 4 h 17"/>
                  <a:gd name="T14" fmla="*/ 8 w 14"/>
                  <a:gd name="T15" fmla="*/ 7 h 17"/>
                  <a:gd name="T16" fmla="*/ 5 w 14"/>
                  <a:gd name="T17" fmla="*/ 11 h 17"/>
                  <a:gd name="T18" fmla="*/ 5 w 14"/>
                  <a:gd name="T19" fmla="*/ 12 h 17"/>
                  <a:gd name="T20" fmla="*/ 5 w 14"/>
                  <a:gd name="T21" fmla="*/ 13 h 17"/>
                  <a:gd name="T22" fmla="*/ 5 w 14"/>
                  <a:gd name="T23" fmla="*/ 16 h 17"/>
                  <a:gd name="T24" fmla="*/ 11 w 14"/>
                  <a:gd name="T25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17">
                    <a:moveTo>
                      <a:pt x="11" y="13"/>
                    </a:moveTo>
                    <a:cubicBezTo>
                      <a:pt x="11" y="9"/>
                      <a:pt x="11" y="9"/>
                      <a:pt x="11" y="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7"/>
                      <a:pt x="6" y="9"/>
                      <a:pt x="5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0" y="15"/>
                      <a:pt x="5" y="16"/>
                    </a:cubicBezTo>
                    <a:cubicBezTo>
                      <a:pt x="10" y="17"/>
                      <a:pt x="11" y="13"/>
                      <a:pt x="11" y="13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4" name="Freeform 59"/>
              <p:cNvSpPr>
                <a:spLocks/>
              </p:cNvSpPr>
              <p:nvPr/>
            </p:nvSpPr>
            <p:spPr bwMode="auto">
              <a:xfrm>
                <a:off x="4726191" y="2532888"/>
                <a:ext cx="28313" cy="18875"/>
              </a:xfrm>
              <a:custGeom>
                <a:avLst/>
                <a:gdLst>
                  <a:gd name="T0" fmla="*/ 11 w 15"/>
                  <a:gd name="T1" fmla="*/ 10 h 10"/>
                  <a:gd name="T2" fmla="*/ 11 w 15"/>
                  <a:gd name="T3" fmla="*/ 5 h 10"/>
                  <a:gd name="T4" fmla="*/ 15 w 15"/>
                  <a:gd name="T5" fmla="*/ 5 h 10"/>
                  <a:gd name="T6" fmla="*/ 13 w 15"/>
                  <a:gd name="T7" fmla="*/ 0 h 10"/>
                  <a:gd name="T8" fmla="*/ 11 w 15"/>
                  <a:gd name="T9" fmla="*/ 0 h 10"/>
                  <a:gd name="T10" fmla="*/ 4 w 15"/>
                  <a:gd name="T11" fmla="*/ 5 h 10"/>
                  <a:gd name="T12" fmla="*/ 0 w 15"/>
                  <a:gd name="T13" fmla="*/ 5 h 10"/>
                  <a:gd name="T14" fmla="*/ 8 w 15"/>
                  <a:gd name="T15" fmla="*/ 10 h 10"/>
                  <a:gd name="T16" fmla="*/ 11 w 15"/>
                  <a:gd name="T1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0">
                    <a:moveTo>
                      <a:pt x="11" y="10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7" y="6"/>
                      <a:pt x="4" y="5"/>
                    </a:cubicBezTo>
                    <a:cubicBezTo>
                      <a:pt x="1" y="3"/>
                      <a:pt x="0" y="5"/>
                      <a:pt x="0" y="5"/>
                    </a:cubicBezTo>
                    <a:cubicBezTo>
                      <a:pt x="8" y="10"/>
                      <a:pt x="8" y="10"/>
                      <a:pt x="8" y="10"/>
                    </a:cubicBezTo>
                    <a:lnTo>
                      <a:pt x="11" y="1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5" name="Freeform 60"/>
              <p:cNvSpPr>
                <a:spLocks/>
              </p:cNvSpPr>
              <p:nvPr/>
            </p:nvSpPr>
            <p:spPr bwMode="auto">
              <a:xfrm>
                <a:off x="5264128" y="2824103"/>
                <a:ext cx="18875" cy="18875"/>
              </a:xfrm>
              <a:custGeom>
                <a:avLst/>
                <a:gdLst>
                  <a:gd name="T0" fmla="*/ 0 w 14"/>
                  <a:gd name="T1" fmla="*/ 7 h 14"/>
                  <a:gd name="T2" fmla="*/ 8 w 14"/>
                  <a:gd name="T3" fmla="*/ 14 h 14"/>
                  <a:gd name="T4" fmla="*/ 14 w 14"/>
                  <a:gd name="T5" fmla="*/ 14 h 14"/>
                  <a:gd name="T6" fmla="*/ 14 w 14"/>
                  <a:gd name="T7" fmla="*/ 11 h 14"/>
                  <a:gd name="T8" fmla="*/ 9 w 14"/>
                  <a:gd name="T9" fmla="*/ 0 h 14"/>
                  <a:gd name="T10" fmla="*/ 0 w 14"/>
                  <a:gd name="T11" fmla="*/ 4 h 14"/>
                  <a:gd name="T12" fmla="*/ 0 w 14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4">
                    <a:moveTo>
                      <a:pt x="0" y="7"/>
                    </a:moveTo>
                    <a:lnTo>
                      <a:pt x="8" y="14"/>
                    </a:lnTo>
                    <a:lnTo>
                      <a:pt x="14" y="14"/>
                    </a:lnTo>
                    <a:lnTo>
                      <a:pt x="14" y="11"/>
                    </a:lnTo>
                    <a:lnTo>
                      <a:pt x="9" y="0"/>
                    </a:lnTo>
                    <a:lnTo>
                      <a:pt x="0" y="4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6" name="Freeform 61"/>
              <p:cNvSpPr>
                <a:spLocks/>
              </p:cNvSpPr>
              <p:nvPr/>
            </p:nvSpPr>
            <p:spPr bwMode="auto">
              <a:xfrm>
                <a:off x="5090209" y="2838933"/>
                <a:ext cx="25617" cy="14831"/>
              </a:xfrm>
              <a:custGeom>
                <a:avLst/>
                <a:gdLst>
                  <a:gd name="T0" fmla="*/ 15 w 19"/>
                  <a:gd name="T1" fmla="*/ 11 h 11"/>
                  <a:gd name="T2" fmla="*/ 11 w 19"/>
                  <a:gd name="T3" fmla="*/ 11 h 11"/>
                  <a:gd name="T4" fmla="*/ 8 w 19"/>
                  <a:gd name="T5" fmla="*/ 11 h 11"/>
                  <a:gd name="T6" fmla="*/ 4 w 19"/>
                  <a:gd name="T7" fmla="*/ 7 h 11"/>
                  <a:gd name="T8" fmla="*/ 0 w 19"/>
                  <a:gd name="T9" fmla="*/ 3 h 11"/>
                  <a:gd name="T10" fmla="*/ 0 w 19"/>
                  <a:gd name="T11" fmla="*/ 0 h 11"/>
                  <a:gd name="T12" fmla="*/ 14 w 19"/>
                  <a:gd name="T13" fmla="*/ 0 h 11"/>
                  <a:gd name="T14" fmla="*/ 19 w 19"/>
                  <a:gd name="T15" fmla="*/ 0 h 11"/>
                  <a:gd name="T16" fmla="*/ 15 w 19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15" y="11"/>
                    </a:moveTo>
                    <a:lnTo>
                      <a:pt x="11" y="11"/>
                    </a:lnTo>
                    <a:lnTo>
                      <a:pt x="8" y="11"/>
                    </a:lnTo>
                    <a:lnTo>
                      <a:pt x="4" y="7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15" y="1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7" name="Freeform 62"/>
              <p:cNvSpPr>
                <a:spLocks/>
              </p:cNvSpPr>
              <p:nvPr/>
            </p:nvSpPr>
            <p:spPr bwMode="auto">
              <a:xfrm>
                <a:off x="4707316" y="2532888"/>
                <a:ext cx="14831" cy="9438"/>
              </a:xfrm>
              <a:custGeom>
                <a:avLst/>
                <a:gdLst>
                  <a:gd name="T0" fmla="*/ 4 w 11"/>
                  <a:gd name="T1" fmla="*/ 7 h 7"/>
                  <a:gd name="T2" fmla="*/ 0 w 11"/>
                  <a:gd name="T3" fmla="*/ 4 h 7"/>
                  <a:gd name="T4" fmla="*/ 2 w 11"/>
                  <a:gd name="T5" fmla="*/ 0 h 7"/>
                  <a:gd name="T6" fmla="*/ 4 w 11"/>
                  <a:gd name="T7" fmla="*/ 0 h 7"/>
                  <a:gd name="T8" fmla="*/ 11 w 11"/>
                  <a:gd name="T9" fmla="*/ 3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1" y="3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8" name="Freeform 63"/>
              <p:cNvSpPr>
                <a:spLocks/>
              </p:cNvSpPr>
              <p:nvPr/>
            </p:nvSpPr>
            <p:spPr bwMode="auto">
              <a:xfrm>
                <a:off x="4625074" y="2655576"/>
                <a:ext cx="13482" cy="29661"/>
              </a:xfrm>
              <a:custGeom>
                <a:avLst/>
                <a:gdLst>
                  <a:gd name="T0" fmla="*/ 10 w 10"/>
                  <a:gd name="T1" fmla="*/ 22 h 22"/>
                  <a:gd name="T2" fmla="*/ 10 w 10"/>
                  <a:gd name="T3" fmla="*/ 20 h 22"/>
                  <a:gd name="T4" fmla="*/ 10 w 10"/>
                  <a:gd name="T5" fmla="*/ 10 h 22"/>
                  <a:gd name="T6" fmla="*/ 10 w 10"/>
                  <a:gd name="T7" fmla="*/ 6 h 22"/>
                  <a:gd name="T8" fmla="*/ 7 w 10"/>
                  <a:gd name="T9" fmla="*/ 0 h 22"/>
                  <a:gd name="T10" fmla="*/ 0 w 10"/>
                  <a:gd name="T11" fmla="*/ 6 h 22"/>
                  <a:gd name="T12" fmla="*/ 0 w 10"/>
                  <a:gd name="T13" fmla="*/ 11 h 22"/>
                  <a:gd name="T14" fmla="*/ 6 w 10"/>
                  <a:gd name="T15" fmla="*/ 14 h 22"/>
                  <a:gd name="T16" fmla="*/ 10 w 10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2">
                    <a:moveTo>
                      <a:pt x="10" y="22"/>
                    </a:moveTo>
                    <a:lnTo>
                      <a:pt x="10" y="20"/>
                    </a:lnTo>
                    <a:lnTo>
                      <a:pt x="10" y="10"/>
                    </a:lnTo>
                    <a:lnTo>
                      <a:pt x="10" y="6"/>
                    </a:lnTo>
                    <a:lnTo>
                      <a:pt x="7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6" y="14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9" name="Freeform 64"/>
              <p:cNvSpPr>
                <a:spLocks/>
              </p:cNvSpPr>
              <p:nvPr/>
            </p:nvSpPr>
            <p:spPr bwMode="auto">
              <a:xfrm>
                <a:off x="4521262" y="2329309"/>
                <a:ext cx="738822" cy="509625"/>
              </a:xfrm>
              <a:custGeom>
                <a:avLst/>
                <a:gdLst>
                  <a:gd name="T0" fmla="*/ 48 w 396"/>
                  <a:gd name="T1" fmla="*/ 109 h 273"/>
                  <a:gd name="T2" fmla="*/ 15 w 396"/>
                  <a:gd name="T3" fmla="*/ 98 h 273"/>
                  <a:gd name="T4" fmla="*/ 10 w 396"/>
                  <a:gd name="T5" fmla="*/ 84 h 273"/>
                  <a:gd name="T6" fmla="*/ 5 w 396"/>
                  <a:gd name="T7" fmla="*/ 22 h 273"/>
                  <a:gd name="T8" fmla="*/ 35 w 396"/>
                  <a:gd name="T9" fmla="*/ 62 h 273"/>
                  <a:gd name="T10" fmla="*/ 56 w 396"/>
                  <a:gd name="T11" fmla="*/ 87 h 273"/>
                  <a:gd name="T12" fmla="*/ 41 w 396"/>
                  <a:gd name="T13" fmla="*/ 59 h 273"/>
                  <a:gd name="T14" fmla="*/ 57 w 396"/>
                  <a:gd name="T15" fmla="*/ 52 h 273"/>
                  <a:gd name="T16" fmla="*/ 42 w 396"/>
                  <a:gd name="T17" fmla="*/ 31 h 273"/>
                  <a:gd name="T18" fmla="*/ 38 w 396"/>
                  <a:gd name="T19" fmla="*/ 18 h 273"/>
                  <a:gd name="T20" fmla="*/ 67 w 396"/>
                  <a:gd name="T21" fmla="*/ 1 h 273"/>
                  <a:gd name="T22" fmla="*/ 95 w 396"/>
                  <a:gd name="T23" fmla="*/ 34 h 273"/>
                  <a:gd name="T24" fmla="*/ 108 w 396"/>
                  <a:gd name="T25" fmla="*/ 30 h 273"/>
                  <a:gd name="T26" fmla="*/ 136 w 396"/>
                  <a:gd name="T27" fmla="*/ 31 h 273"/>
                  <a:gd name="T28" fmla="*/ 153 w 396"/>
                  <a:gd name="T29" fmla="*/ 48 h 273"/>
                  <a:gd name="T30" fmla="*/ 161 w 396"/>
                  <a:gd name="T31" fmla="*/ 42 h 273"/>
                  <a:gd name="T32" fmla="*/ 181 w 396"/>
                  <a:gd name="T33" fmla="*/ 35 h 273"/>
                  <a:gd name="T34" fmla="*/ 190 w 396"/>
                  <a:gd name="T35" fmla="*/ 55 h 273"/>
                  <a:gd name="T36" fmla="*/ 195 w 396"/>
                  <a:gd name="T37" fmla="*/ 60 h 273"/>
                  <a:gd name="T38" fmla="*/ 207 w 396"/>
                  <a:gd name="T39" fmla="*/ 53 h 273"/>
                  <a:gd name="T40" fmla="*/ 218 w 396"/>
                  <a:gd name="T41" fmla="*/ 74 h 273"/>
                  <a:gd name="T42" fmla="*/ 228 w 396"/>
                  <a:gd name="T43" fmla="*/ 66 h 273"/>
                  <a:gd name="T44" fmla="*/ 234 w 396"/>
                  <a:gd name="T45" fmla="*/ 74 h 273"/>
                  <a:gd name="T46" fmla="*/ 259 w 396"/>
                  <a:gd name="T47" fmla="*/ 77 h 273"/>
                  <a:gd name="T48" fmla="*/ 239 w 396"/>
                  <a:gd name="T49" fmla="*/ 91 h 273"/>
                  <a:gd name="T50" fmla="*/ 247 w 396"/>
                  <a:gd name="T51" fmla="*/ 97 h 273"/>
                  <a:gd name="T52" fmla="*/ 271 w 396"/>
                  <a:gd name="T53" fmla="*/ 104 h 273"/>
                  <a:gd name="T54" fmla="*/ 296 w 396"/>
                  <a:gd name="T55" fmla="*/ 99 h 273"/>
                  <a:gd name="T56" fmla="*/ 317 w 396"/>
                  <a:gd name="T57" fmla="*/ 117 h 273"/>
                  <a:gd name="T58" fmla="*/ 327 w 396"/>
                  <a:gd name="T59" fmla="*/ 122 h 273"/>
                  <a:gd name="T60" fmla="*/ 342 w 396"/>
                  <a:gd name="T61" fmla="*/ 113 h 273"/>
                  <a:gd name="T62" fmla="*/ 362 w 396"/>
                  <a:gd name="T63" fmla="*/ 124 h 273"/>
                  <a:gd name="T64" fmla="*/ 356 w 396"/>
                  <a:gd name="T65" fmla="*/ 137 h 273"/>
                  <a:gd name="T66" fmla="*/ 359 w 396"/>
                  <a:gd name="T67" fmla="*/ 162 h 273"/>
                  <a:gd name="T68" fmla="*/ 343 w 396"/>
                  <a:gd name="T69" fmla="*/ 171 h 273"/>
                  <a:gd name="T70" fmla="*/ 327 w 396"/>
                  <a:gd name="T71" fmla="*/ 147 h 273"/>
                  <a:gd name="T72" fmla="*/ 298 w 396"/>
                  <a:gd name="T73" fmla="*/ 150 h 273"/>
                  <a:gd name="T74" fmla="*/ 303 w 396"/>
                  <a:gd name="T75" fmla="*/ 169 h 273"/>
                  <a:gd name="T76" fmla="*/ 294 w 396"/>
                  <a:gd name="T77" fmla="*/ 174 h 273"/>
                  <a:gd name="T78" fmla="*/ 324 w 396"/>
                  <a:gd name="T79" fmla="*/ 189 h 273"/>
                  <a:gd name="T80" fmla="*/ 349 w 396"/>
                  <a:gd name="T81" fmla="*/ 195 h 273"/>
                  <a:gd name="T82" fmla="*/ 383 w 396"/>
                  <a:gd name="T83" fmla="*/ 220 h 273"/>
                  <a:gd name="T84" fmla="*/ 377 w 396"/>
                  <a:gd name="T85" fmla="*/ 235 h 273"/>
                  <a:gd name="T86" fmla="*/ 376 w 396"/>
                  <a:gd name="T87" fmla="*/ 239 h 273"/>
                  <a:gd name="T88" fmla="*/ 328 w 396"/>
                  <a:gd name="T89" fmla="*/ 243 h 273"/>
                  <a:gd name="T90" fmla="*/ 379 w 396"/>
                  <a:gd name="T91" fmla="*/ 270 h 273"/>
                  <a:gd name="T92" fmla="*/ 290 w 396"/>
                  <a:gd name="T93" fmla="*/ 258 h 273"/>
                  <a:gd name="T94" fmla="*/ 264 w 396"/>
                  <a:gd name="T95" fmla="*/ 249 h 273"/>
                  <a:gd name="T96" fmla="*/ 241 w 396"/>
                  <a:gd name="T97" fmla="*/ 240 h 273"/>
                  <a:gd name="T98" fmla="*/ 232 w 396"/>
                  <a:gd name="T99" fmla="*/ 251 h 273"/>
                  <a:gd name="T100" fmla="*/ 193 w 396"/>
                  <a:gd name="T101" fmla="*/ 259 h 273"/>
                  <a:gd name="T102" fmla="*/ 220 w 396"/>
                  <a:gd name="T103" fmla="*/ 225 h 273"/>
                  <a:gd name="T104" fmla="*/ 224 w 396"/>
                  <a:gd name="T105" fmla="*/ 184 h 273"/>
                  <a:gd name="T106" fmla="*/ 270 w 396"/>
                  <a:gd name="T107" fmla="*/ 175 h 273"/>
                  <a:gd name="T108" fmla="*/ 246 w 396"/>
                  <a:gd name="T109" fmla="*/ 160 h 273"/>
                  <a:gd name="T110" fmla="*/ 231 w 396"/>
                  <a:gd name="T111" fmla="*/ 156 h 273"/>
                  <a:gd name="T112" fmla="*/ 194 w 396"/>
                  <a:gd name="T113" fmla="*/ 121 h 273"/>
                  <a:gd name="T114" fmla="*/ 166 w 396"/>
                  <a:gd name="T115" fmla="*/ 133 h 273"/>
                  <a:gd name="T116" fmla="*/ 158 w 396"/>
                  <a:gd name="T117" fmla="*/ 109 h 273"/>
                  <a:gd name="T118" fmla="*/ 149 w 396"/>
                  <a:gd name="T119" fmla="*/ 95 h 273"/>
                  <a:gd name="T120" fmla="*/ 125 w 396"/>
                  <a:gd name="T121" fmla="*/ 89 h 273"/>
                  <a:gd name="T122" fmla="*/ 129 w 396"/>
                  <a:gd name="T123" fmla="*/ 101 h 273"/>
                  <a:gd name="T124" fmla="*/ 85 w 396"/>
                  <a:gd name="T125" fmla="*/ 109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6" h="273">
                    <a:moveTo>
                      <a:pt x="95" y="114"/>
                    </a:moveTo>
                    <a:cubicBezTo>
                      <a:pt x="87" y="114"/>
                      <a:pt x="87" y="114"/>
                      <a:pt x="87" y="114"/>
                    </a:cubicBezTo>
                    <a:cubicBezTo>
                      <a:pt x="82" y="114"/>
                      <a:pt x="82" y="114"/>
                      <a:pt x="82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1" y="115"/>
                      <a:pt x="71" y="115"/>
                      <a:pt x="71" y="115"/>
                    </a:cubicBezTo>
                    <a:cubicBezTo>
                      <a:pt x="69" y="114"/>
                      <a:pt x="69" y="114"/>
                      <a:pt x="69" y="114"/>
                    </a:cubicBezTo>
                    <a:cubicBezTo>
                      <a:pt x="63" y="114"/>
                      <a:pt x="63" y="114"/>
                      <a:pt x="63" y="114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56" y="119"/>
                      <a:pt x="56" y="119"/>
                      <a:pt x="56" y="119"/>
                    </a:cubicBezTo>
                    <a:cubicBezTo>
                      <a:pt x="48" y="114"/>
                      <a:pt x="48" y="114"/>
                      <a:pt x="48" y="114"/>
                    </a:cubicBezTo>
                    <a:cubicBezTo>
                      <a:pt x="48" y="109"/>
                      <a:pt x="48" y="109"/>
                      <a:pt x="48" y="109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6" y="103"/>
                      <a:pt x="46" y="103"/>
                      <a:pt x="46" y="103"/>
                    </a:cubicBezTo>
                    <a:cubicBezTo>
                      <a:pt x="46" y="111"/>
                      <a:pt x="46" y="111"/>
                      <a:pt x="46" y="111"/>
                    </a:cubicBezTo>
                    <a:cubicBezTo>
                      <a:pt x="44" y="111"/>
                      <a:pt x="44" y="111"/>
                      <a:pt x="44" y="111"/>
                    </a:cubicBezTo>
                    <a:cubicBezTo>
                      <a:pt x="40" y="109"/>
                      <a:pt x="40" y="109"/>
                      <a:pt x="40" y="109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2" y="114"/>
                      <a:pt x="32" y="114"/>
                      <a:pt x="32" y="114"/>
                    </a:cubicBezTo>
                    <a:cubicBezTo>
                      <a:pt x="27" y="111"/>
                      <a:pt x="27" y="111"/>
                      <a:pt x="27" y="111"/>
                    </a:cubicBezTo>
                    <a:cubicBezTo>
                      <a:pt x="22" y="106"/>
                      <a:pt x="22" y="106"/>
                      <a:pt x="22" y="106"/>
                    </a:cubicBezTo>
                    <a:cubicBezTo>
                      <a:pt x="18" y="103"/>
                      <a:pt x="18" y="103"/>
                      <a:pt x="18" y="103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6" y="95"/>
                      <a:pt x="16" y="95"/>
                      <a:pt x="16" y="95"/>
                    </a:cubicBezTo>
                    <a:cubicBezTo>
                      <a:pt x="19" y="95"/>
                      <a:pt x="19" y="95"/>
                      <a:pt x="19" y="95"/>
                    </a:cubicBezTo>
                    <a:cubicBezTo>
                      <a:pt x="19" y="95"/>
                      <a:pt x="23" y="95"/>
                      <a:pt x="25" y="95"/>
                    </a:cubicBezTo>
                    <a:cubicBezTo>
                      <a:pt x="27" y="94"/>
                      <a:pt x="30" y="95"/>
                      <a:pt x="30" y="95"/>
                    </a:cubicBezTo>
                    <a:cubicBezTo>
                      <a:pt x="33" y="94"/>
                      <a:pt x="33" y="94"/>
                      <a:pt x="33" y="94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29" y="85"/>
                      <a:pt x="29" y="85"/>
                      <a:pt x="29" y="85"/>
                    </a:cubicBezTo>
                    <a:cubicBezTo>
                      <a:pt x="29" y="85"/>
                      <a:pt x="28" y="85"/>
                      <a:pt x="25" y="85"/>
                    </a:cubicBezTo>
                    <a:cubicBezTo>
                      <a:pt x="23" y="84"/>
                      <a:pt x="23" y="84"/>
                      <a:pt x="23" y="84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5" y="81"/>
                      <a:pt x="5" y="81"/>
                      <a:pt x="5" y="81"/>
                    </a:cubicBezTo>
                    <a:cubicBezTo>
                      <a:pt x="5" y="77"/>
                      <a:pt x="5" y="77"/>
                      <a:pt x="5" y="77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69"/>
                      <a:pt x="2" y="69"/>
                      <a:pt x="2" y="6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33" y="49"/>
                      <a:pt x="33" y="49"/>
                      <a:pt x="33" y="49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9" y="66"/>
                      <a:pt x="39" y="66"/>
                      <a:pt x="39" y="66"/>
                    </a:cubicBezTo>
                    <a:cubicBezTo>
                      <a:pt x="45" y="69"/>
                      <a:pt x="45" y="69"/>
                      <a:pt x="45" y="69"/>
                    </a:cubicBezTo>
                    <a:cubicBezTo>
                      <a:pt x="48" y="72"/>
                      <a:pt x="48" y="72"/>
                      <a:pt x="48" y="72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0" y="78"/>
                      <a:pt x="50" y="78"/>
                      <a:pt x="50" y="78"/>
                    </a:cubicBezTo>
                    <a:cubicBezTo>
                      <a:pt x="45" y="83"/>
                      <a:pt x="45" y="83"/>
                      <a:pt x="45" y="83"/>
                    </a:cubicBezTo>
                    <a:cubicBezTo>
                      <a:pt x="42" y="85"/>
                      <a:pt x="42" y="85"/>
                      <a:pt x="42" y="85"/>
                    </a:cubicBezTo>
                    <a:cubicBezTo>
                      <a:pt x="42" y="89"/>
                      <a:pt x="42" y="89"/>
                      <a:pt x="42" y="89"/>
                    </a:cubicBezTo>
                    <a:cubicBezTo>
                      <a:pt x="48" y="88"/>
                      <a:pt x="48" y="88"/>
                      <a:pt x="48" y="88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60" y="89"/>
                      <a:pt x="60" y="89"/>
                      <a:pt x="60" y="89"/>
                    </a:cubicBezTo>
                    <a:cubicBezTo>
                      <a:pt x="63" y="87"/>
                      <a:pt x="63" y="87"/>
                      <a:pt x="63" y="87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60" y="81"/>
                      <a:pt x="60" y="81"/>
                      <a:pt x="60" y="81"/>
                    </a:cubicBezTo>
                    <a:cubicBezTo>
                      <a:pt x="58" y="73"/>
                      <a:pt x="58" y="73"/>
                      <a:pt x="58" y="73"/>
                    </a:cubicBezTo>
                    <a:cubicBezTo>
                      <a:pt x="56" y="69"/>
                      <a:pt x="56" y="69"/>
                      <a:pt x="56" y="69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1" y="67"/>
                      <a:pt x="50" y="67"/>
                    </a:cubicBezTo>
                    <a:cubicBezTo>
                      <a:pt x="50" y="67"/>
                      <a:pt x="46" y="66"/>
                      <a:pt x="46" y="66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3" y="51"/>
                      <a:pt x="43" y="51"/>
                      <a:pt x="43" y="51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48"/>
                      <a:pt x="47" y="49"/>
                      <a:pt x="48" y="50"/>
                    </a:cubicBezTo>
                    <a:cubicBezTo>
                      <a:pt x="49" y="51"/>
                      <a:pt x="50" y="53"/>
                      <a:pt x="51" y="54"/>
                    </a:cubicBezTo>
                    <a:cubicBezTo>
                      <a:pt x="52" y="56"/>
                      <a:pt x="51" y="57"/>
                      <a:pt x="54" y="58"/>
                    </a:cubicBezTo>
                    <a:cubicBezTo>
                      <a:pt x="56" y="59"/>
                      <a:pt x="56" y="59"/>
                      <a:pt x="56" y="59"/>
                    </a:cubicBezTo>
                    <a:cubicBezTo>
                      <a:pt x="59" y="58"/>
                      <a:pt x="59" y="58"/>
                      <a:pt x="59" y="58"/>
                    </a:cubicBezTo>
                    <a:cubicBezTo>
                      <a:pt x="59" y="57"/>
                      <a:pt x="59" y="57"/>
                      <a:pt x="59" y="57"/>
                    </a:cubicBezTo>
                    <a:cubicBezTo>
                      <a:pt x="59" y="57"/>
                      <a:pt x="59" y="56"/>
                      <a:pt x="59" y="55"/>
                    </a:cubicBezTo>
                    <a:cubicBezTo>
                      <a:pt x="58" y="54"/>
                      <a:pt x="57" y="52"/>
                      <a:pt x="57" y="52"/>
                    </a:cubicBezTo>
                    <a:cubicBezTo>
                      <a:pt x="57" y="52"/>
                      <a:pt x="56" y="51"/>
                      <a:pt x="55" y="50"/>
                    </a:cubicBezTo>
                    <a:cubicBezTo>
                      <a:pt x="54" y="50"/>
                      <a:pt x="53" y="49"/>
                      <a:pt x="53" y="49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5" y="44"/>
                      <a:pt x="45" y="44"/>
                      <a:pt x="45" y="44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3" y="46"/>
                      <a:pt x="43" y="46"/>
                      <a:pt x="42" y="45"/>
                    </a:cubicBezTo>
                    <a:cubicBezTo>
                      <a:pt x="41" y="44"/>
                      <a:pt x="38" y="39"/>
                      <a:pt x="38" y="39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1"/>
                      <a:pt x="41" y="30"/>
                      <a:pt x="42" y="31"/>
                    </a:cubicBezTo>
                    <a:cubicBezTo>
                      <a:pt x="42" y="31"/>
                      <a:pt x="45" y="33"/>
                      <a:pt x="46" y="33"/>
                    </a:cubicBezTo>
                    <a:cubicBezTo>
                      <a:pt x="47" y="34"/>
                      <a:pt x="50" y="34"/>
                      <a:pt x="50" y="34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31"/>
                      <a:pt x="52" y="31"/>
                      <a:pt x="50" y="30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36" y="19"/>
                      <a:pt x="38" y="18"/>
                    </a:cubicBezTo>
                    <a:cubicBezTo>
                      <a:pt x="40" y="17"/>
                      <a:pt x="42" y="18"/>
                      <a:pt x="42" y="18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6"/>
                      <a:pt x="44" y="14"/>
                      <a:pt x="45" y="14"/>
                    </a:cubicBezTo>
                    <a:cubicBezTo>
                      <a:pt x="45" y="14"/>
                      <a:pt x="49" y="15"/>
                      <a:pt x="49" y="15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7" y="1"/>
                      <a:pt x="62" y="2"/>
                      <a:pt x="63" y="1"/>
                    </a:cubicBezTo>
                    <a:cubicBezTo>
                      <a:pt x="64" y="0"/>
                      <a:pt x="67" y="1"/>
                      <a:pt x="67" y="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8" y="17"/>
                      <a:pt x="78" y="17"/>
                      <a:pt x="78" y="17"/>
                    </a:cubicBezTo>
                    <a:cubicBezTo>
                      <a:pt x="83" y="23"/>
                      <a:pt x="83" y="23"/>
                      <a:pt x="83" y="23"/>
                    </a:cubicBezTo>
                    <a:cubicBezTo>
                      <a:pt x="85" y="28"/>
                      <a:pt x="85" y="28"/>
                      <a:pt x="85" y="28"/>
                    </a:cubicBezTo>
                    <a:cubicBezTo>
                      <a:pt x="81" y="35"/>
                      <a:pt x="81" y="35"/>
                      <a:pt x="81" y="35"/>
                    </a:cubicBezTo>
                    <a:cubicBezTo>
                      <a:pt x="85" y="38"/>
                      <a:pt x="85" y="38"/>
                      <a:pt x="85" y="38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87" y="47"/>
                      <a:pt x="87" y="47"/>
                      <a:pt x="87" y="47"/>
                    </a:cubicBezTo>
                    <a:cubicBezTo>
                      <a:pt x="89" y="51"/>
                      <a:pt x="89" y="51"/>
                      <a:pt x="89" y="51"/>
                    </a:cubicBezTo>
                    <a:cubicBezTo>
                      <a:pt x="90" y="44"/>
                      <a:pt x="90" y="44"/>
                      <a:pt x="90" y="44"/>
                    </a:cubicBezTo>
                    <a:cubicBezTo>
                      <a:pt x="92" y="40"/>
                      <a:pt x="92" y="40"/>
                      <a:pt x="92" y="4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8" y="35"/>
                      <a:pt x="98" y="35"/>
                      <a:pt x="98" y="35"/>
                    </a:cubicBezTo>
                    <a:cubicBezTo>
                      <a:pt x="104" y="40"/>
                      <a:pt x="104" y="40"/>
                      <a:pt x="104" y="40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10" y="41"/>
                      <a:pt x="110" y="41"/>
                      <a:pt x="110" y="41"/>
                    </a:cubicBezTo>
                    <a:cubicBezTo>
                      <a:pt x="108" y="39"/>
                      <a:pt x="108" y="39"/>
                      <a:pt x="108" y="39"/>
                    </a:cubicBezTo>
                    <a:cubicBezTo>
                      <a:pt x="108" y="39"/>
                      <a:pt x="107" y="38"/>
                      <a:pt x="107" y="38"/>
                    </a:cubicBezTo>
                    <a:cubicBezTo>
                      <a:pt x="106" y="37"/>
                      <a:pt x="105" y="36"/>
                      <a:pt x="105" y="36"/>
                    </a:cubicBezTo>
                    <a:cubicBezTo>
                      <a:pt x="107" y="35"/>
                      <a:pt x="107" y="35"/>
                      <a:pt x="107" y="35"/>
                    </a:cubicBezTo>
                    <a:cubicBezTo>
                      <a:pt x="110" y="35"/>
                      <a:pt x="110" y="35"/>
                      <a:pt x="110" y="35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2" y="31"/>
                      <a:pt x="112" y="31"/>
                      <a:pt x="112" y="31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05" y="30"/>
                      <a:pt x="105" y="30"/>
                      <a:pt x="105" y="30"/>
                    </a:cubicBezTo>
                    <a:cubicBezTo>
                      <a:pt x="105" y="28"/>
                      <a:pt x="105" y="28"/>
                      <a:pt x="105" y="28"/>
                    </a:cubicBezTo>
                    <a:cubicBezTo>
                      <a:pt x="105" y="25"/>
                      <a:pt x="105" y="25"/>
                      <a:pt x="105" y="25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23" y="22"/>
                      <a:pt x="123" y="22"/>
                      <a:pt x="123" y="22"/>
                    </a:cubicBezTo>
                    <a:cubicBezTo>
                      <a:pt x="123" y="22"/>
                      <a:pt x="126" y="21"/>
                      <a:pt x="127" y="20"/>
                    </a:cubicBezTo>
                    <a:cubicBezTo>
                      <a:pt x="128" y="20"/>
                      <a:pt x="129" y="18"/>
                      <a:pt x="129" y="18"/>
                    </a:cubicBezTo>
                    <a:cubicBezTo>
                      <a:pt x="134" y="19"/>
                      <a:pt x="134" y="19"/>
                      <a:pt x="134" y="19"/>
                    </a:cubicBezTo>
                    <a:cubicBezTo>
                      <a:pt x="137" y="21"/>
                      <a:pt x="137" y="21"/>
                      <a:pt x="137" y="21"/>
                    </a:cubicBezTo>
                    <a:cubicBezTo>
                      <a:pt x="135" y="25"/>
                      <a:pt x="135" y="25"/>
                      <a:pt x="135" y="25"/>
                    </a:cubicBezTo>
                    <a:cubicBezTo>
                      <a:pt x="136" y="31"/>
                      <a:pt x="136" y="31"/>
                      <a:pt x="136" y="31"/>
                    </a:cubicBezTo>
                    <a:cubicBezTo>
                      <a:pt x="138" y="33"/>
                      <a:pt x="138" y="33"/>
                      <a:pt x="138" y="33"/>
                    </a:cubicBezTo>
                    <a:cubicBezTo>
                      <a:pt x="140" y="32"/>
                      <a:pt x="140" y="32"/>
                      <a:pt x="140" y="32"/>
                    </a:cubicBezTo>
                    <a:cubicBezTo>
                      <a:pt x="141" y="31"/>
                      <a:pt x="141" y="31"/>
                      <a:pt x="141" y="31"/>
                    </a:cubicBezTo>
                    <a:cubicBezTo>
                      <a:pt x="141" y="31"/>
                      <a:pt x="140" y="31"/>
                      <a:pt x="143" y="30"/>
                    </a:cubicBezTo>
                    <a:cubicBezTo>
                      <a:pt x="146" y="29"/>
                      <a:pt x="147" y="29"/>
                      <a:pt x="147" y="29"/>
                    </a:cubicBezTo>
                    <a:cubicBezTo>
                      <a:pt x="150" y="32"/>
                      <a:pt x="150" y="32"/>
                      <a:pt x="150" y="32"/>
                    </a:cubicBezTo>
                    <a:cubicBezTo>
                      <a:pt x="147" y="37"/>
                      <a:pt x="147" y="37"/>
                      <a:pt x="147" y="37"/>
                    </a:cubicBezTo>
                    <a:cubicBezTo>
                      <a:pt x="146" y="43"/>
                      <a:pt x="146" y="43"/>
                      <a:pt x="146" y="43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7"/>
                      <a:pt x="148" y="47"/>
                      <a:pt x="148" y="47"/>
                    </a:cubicBezTo>
                    <a:cubicBezTo>
                      <a:pt x="150" y="49"/>
                      <a:pt x="150" y="49"/>
                      <a:pt x="150" y="49"/>
                    </a:cubicBezTo>
                    <a:cubicBezTo>
                      <a:pt x="153" y="48"/>
                      <a:pt x="153" y="48"/>
                      <a:pt x="153" y="48"/>
                    </a:cubicBezTo>
                    <a:cubicBezTo>
                      <a:pt x="154" y="46"/>
                      <a:pt x="154" y="46"/>
                      <a:pt x="154" y="46"/>
                    </a:cubicBezTo>
                    <a:cubicBezTo>
                      <a:pt x="151" y="43"/>
                      <a:pt x="151" y="43"/>
                      <a:pt x="151" y="43"/>
                    </a:cubicBezTo>
                    <a:cubicBezTo>
                      <a:pt x="153" y="39"/>
                      <a:pt x="153" y="39"/>
                      <a:pt x="153" y="39"/>
                    </a:cubicBezTo>
                    <a:cubicBezTo>
                      <a:pt x="156" y="34"/>
                      <a:pt x="156" y="34"/>
                      <a:pt x="156" y="34"/>
                    </a:cubicBezTo>
                    <a:cubicBezTo>
                      <a:pt x="157" y="34"/>
                      <a:pt x="157" y="34"/>
                      <a:pt x="157" y="34"/>
                    </a:cubicBezTo>
                    <a:cubicBezTo>
                      <a:pt x="157" y="38"/>
                      <a:pt x="157" y="38"/>
                      <a:pt x="157" y="38"/>
                    </a:cubicBezTo>
                    <a:cubicBezTo>
                      <a:pt x="157" y="42"/>
                      <a:pt x="157" y="42"/>
                      <a:pt x="157" y="42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7"/>
                      <a:pt x="157" y="47"/>
                      <a:pt x="157" y="47"/>
                    </a:cubicBezTo>
                    <a:cubicBezTo>
                      <a:pt x="159" y="48"/>
                      <a:pt x="159" y="48"/>
                      <a:pt x="159" y="48"/>
                    </a:cubicBezTo>
                    <a:cubicBezTo>
                      <a:pt x="160" y="47"/>
                      <a:pt x="160" y="47"/>
                      <a:pt x="160" y="47"/>
                    </a:cubicBezTo>
                    <a:cubicBezTo>
                      <a:pt x="161" y="42"/>
                      <a:pt x="161" y="42"/>
                      <a:pt x="161" y="42"/>
                    </a:cubicBezTo>
                    <a:cubicBezTo>
                      <a:pt x="162" y="42"/>
                      <a:pt x="162" y="42"/>
                      <a:pt x="162" y="42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71" y="49"/>
                      <a:pt x="171" y="49"/>
                      <a:pt x="171" y="49"/>
                    </a:cubicBezTo>
                    <a:cubicBezTo>
                      <a:pt x="172" y="47"/>
                      <a:pt x="172" y="47"/>
                      <a:pt x="172" y="47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68" y="39"/>
                      <a:pt x="168" y="39"/>
                      <a:pt x="168" y="39"/>
                    </a:cubicBezTo>
                    <a:cubicBezTo>
                      <a:pt x="167" y="37"/>
                      <a:pt x="167" y="37"/>
                      <a:pt x="167" y="37"/>
                    </a:cubicBezTo>
                    <a:cubicBezTo>
                      <a:pt x="164" y="35"/>
                      <a:pt x="164" y="35"/>
                      <a:pt x="164" y="35"/>
                    </a:cubicBezTo>
                    <a:cubicBezTo>
                      <a:pt x="163" y="33"/>
                      <a:pt x="163" y="33"/>
                      <a:pt x="163" y="33"/>
                    </a:cubicBezTo>
                    <a:cubicBezTo>
                      <a:pt x="166" y="32"/>
                      <a:pt x="166" y="32"/>
                      <a:pt x="166" y="32"/>
                    </a:cubicBezTo>
                    <a:cubicBezTo>
                      <a:pt x="173" y="32"/>
                      <a:pt x="173" y="32"/>
                      <a:pt x="173" y="32"/>
                    </a:cubicBezTo>
                    <a:cubicBezTo>
                      <a:pt x="181" y="35"/>
                      <a:pt x="181" y="35"/>
                      <a:pt x="181" y="35"/>
                    </a:cubicBezTo>
                    <a:cubicBezTo>
                      <a:pt x="184" y="35"/>
                      <a:pt x="184" y="35"/>
                      <a:pt x="184" y="35"/>
                    </a:cubicBezTo>
                    <a:cubicBezTo>
                      <a:pt x="186" y="36"/>
                      <a:pt x="186" y="36"/>
                      <a:pt x="186" y="36"/>
                    </a:cubicBezTo>
                    <a:cubicBezTo>
                      <a:pt x="186" y="37"/>
                      <a:pt x="186" y="37"/>
                      <a:pt x="186" y="37"/>
                    </a:cubicBezTo>
                    <a:cubicBezTo>
                      <a:pt x="187" y="41"/>
                      <a:pt x="187" y="41"/>
                      <a:pt x="187" y="41"/>
                    </a:cubicBezTo>
                    <a:cubicBezTo>
                      <a:pt x="184" y="47"/>
                      <a:pt x="184" y="47"/>
                      <a:pt x="184" y="47"/>
                    </a:cubicBezTo>
                    <a:cubicBezTo>
                      <a:pt x="180" y="49"/>
                      <a:pt x="180" y="49"/>
                      <a:pt x="180" y="49"/>
                    </a:cubicBez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5"/>
                      <a:pt x="180" y="55"/>
                      <a:pt x="180" y="55"/>
                    </a:cubicBezTo>
                    <a:cubicBezTo>
                      <a:pt x="182" y="57"/>
                      <a:pt x="182" y="57"/>
                      <a:pt x="182" y="57"/>
                    </a:cubicBezTo>
                    <a:cubicBezTo>
                      <a:pt x="184" y="58"/>
                      <a:pt x="184" y="58"/>
                      <a:pt x="184" y="58"/>
                    </a:cubicBezTo>
                    <a:cubicBezTo>
                      <a:pt x="187" y="58"/>
                      <a:pt x="187" y="58"/>
                      <a:pt x="187" y="58"/>
                    </a:cubicBezTo>
                    <a:cubicBezTo>
                      <a:pt x="190" y="55"/>
                      <a:pt x="190" y="55"/>
                      <a:pt x="190" y="55"/>
                    </a:cubicBezTo>
                    <a:cubicBezTo>
                      <a:pt x="190" y="52"/>
                      <a:pt x="190" y="52"/>
                      <a:pt x="190" y="52"/>
                    </a:cubicBezTo>
                    <a:cubicBezTo>
                      <a:pt x="191" y="50"/>
                      <a:pt x="191" y="50"/>
                      <a:pt x="191" y="50"/>
                    </a:cubicBezTo>
                    <a:cubicBezTo>
                      <a:pt x="191" y="47"/>
                      <a:pt x="191" y="47"/>
                      <a:pt x="191" y="47"/>
                    </a:cubicBezTo>
                    <a:cubicBezTo>
                      <a:pt x="191" y="45"/>
                      <a:pt x="191" y="45"/>
                      <a:pt x="191" y="45"/>
                    </a:cubicBezTo>
                    <a:cubicBezTo>
                      <a:pt x="191" y="41"/>
                      <a:pt x="191" y="41"/>
                      <a:pt x="191" y="41"/>
                    </a:cubicBezTo>
                    <a:cubicBezTo>
                      <a:pt x="193" y="41"/>
                      <a:pt x="193" y="41"/>
                      <a:pt x="193" y="41"/>
                    </a:cubicBezTo>
                    <a:cubicBezTo>
                      <a:pt x="197" y="45"/>
                      <a:pt x="197" y="45"/>
                      <a:pt x="197" y="45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6" y="52"/>
                      <a:pt x="196" y="52"/>
                      <a:pt x="196" y="52"/>
                    </a:cubicBezTo>
                    <a:cubicBezTo>
                      <a:pt x="195" y="56"/>
                      <a:pt x="195" y="56"/>
                      <a:pt x="195" y="56"/>
                    </a:cubicBezTo>
                    <a:cubicBezTo>
                      <a:pt x="195" y="59"/>
                      <a:pt x="195" y="59"/>
                      <a:pt x="195" y="59"/>
                    </a:cubicBezTo>
                    <a:cubicBezTo>
                      <a:pt x="195" y="60"/>
                      <a:pt x="195" y="60"/>
                      <a:pt x="195" y="60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198" y="60"/>
                      <a:pt x="198" y="60"/>
                      <a:pt x="198" y="60"/>
                    </a:cubicBezTo>
                    <a:cubicBezTo>
                      <a:pt x="199" y="59"/>
                      <a:pt x="199" y="59"/>
                      <a:pt x="199" y="59"/>
                    </a:cubicBezTo>
                    <a:cubicBezTo>
                      <a:pt x="199" y="54"/>
                      <a:pt x="199" y="54"/>
                      <a:pt x="199" y="54"/>
                    </a:cubicBezTo>
                    <a:cubicBezTo>
                      <a:pt x="199" y="50"/>
                      <a:pt x="199" y="50"/>
                      <a:pt x="199" y="50"/>
                    </a:cubicBezTo>
                    <a:cubicBezTo>
                      <a:pt x="200" y="48"/>
                      <a:pt x="200" y="48"/>
                      <a:pt x="200" y="48"/>
                    </a:cubicBezTo>
                    <a:cubicBezTo>
                      <a:pt x="204" y="46"/>
                      <a:pt x="204" y="46"/>
                      <a:pt x="204" y="46"/>
                    </a:cubicBezTo>
                    <a:cubicBezTo>
                      <a:pt x="205" y="47"/>
                      <a:pt x="205" y="47"/>
                      <a:pt x="205" y="47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2" y="55"/>
                      <a:pt x="202" y="55"/>
                      <a:pt x="202" y="55"/>
                    </a:cubicBezTo>
                    <a:cubicBezTo>
                      <a:pt x="204" y="54"/>
                      <a:pt x="204" y="54"/>
                      <a:pt x="204" y="54"/>
                    </a:cubicBezTo>
                    <a:cubicBezTo>
                      <a:pt x="207" y="53"/>
                      <a:pt x="207" y="53"/>
                      <a:pt x="207" y="53"/>
                    </a:cubicBezTo>
                    <a:cubicBezTo>
                      <a:pt x="207" y="53"/>
                      <a:pt x="209" y="50"/>
                      <a:pt x="210" y="50"/>
                    </a:cubicBezTo>
                    <a:cubicBezTo>
                      <a:pt x="210" y="49"/>
                      <a:pt x="212" y="47"/>
                      <a:pt x="212" y="47"/>
                    </a:cubicBezTo>
                    <a:cubicBezTo>
                      <a:pt x="216" y="47"/>
                      <a:pt x="216" y="47"/>
                      <a:pt x="216" y="47"/>
                    </a:cubicBezTo>
                    <a:cubicBezTo>
                      <a:pt x="217" y="47"/>
                      <a:pt x="217" y="47"/>
                      <a:pt x="217" y="47"/>
                    </a:cubicBezTo>
                    <a:cubicBezTo>
                      <a:pt x="219" y="47"/>
                      <a:pt x="219" y="47"/>
                      <a:pt x="219" y="47"/>
                    </a:cubicBezTo>
                    <a:cubicBezTo>
                      <a:pt x="223" y="49"/>
                      <a:pt x="223" y="49"/>
                      <a:pt x="223" y="49"/>
                    </a:cubicBezTo>
                    <a:cubicBezTo>
                      <a:pt x="223" y="51"/>
                      <a:pt x="223" y="51"/>
                      <a:pt x="223" y="51"/>
                    </a:cubicBezTo>
                    <a:cubicBezTo>
                      <a:pt x="217" y="59"/>
                      <a:pt x="217" y="59"/>
                      <a:pt x="217" y="59"/>
                    </a:cubicBezTo>
                    <a:cubicBezTo>
                      <a:pt x="215" y="64"/>
                      <a:pt x="215" y="64"/>
                      <a:pt x="215" y="64"/>
                    </a:cubicBezTo>
                    <a:cubicBezTo>
                      <a:pt x="215" y="70"/>
                      <a:pt x="215" y="70"/>
                      <a:pt x="215" y="70"/>
                    </a:cubicBezTo>
                    <a:cubicBezTo>
                      <a:pt x="216" y="73"/>
                      <a:pt x="216" y="73"/>
                      <a:pt x="216" y="73"/>
                    </a:cubicBezTo>
                    <a:cubicBezTo>
                      <a:pt x="218" y="74"/>
                      <a:pt x="218" y="74"/>
                      <a:pt x="218" y="74"/>
                    </a:cubicBezTo>
                    <a:cubicBezTo>
                      <a:pt x="219" y="72"/>
                      <a:pt x="219" y="72"/>
                      <a:pt x="219" y="72"/>
                    </a:cubicBezTo>
                    <a:cubicBezTo>
                      <a:pt x="218" y="67"/>
                      <a:pt x="218" y="67"/>
                      <a:pt x="218" y="67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61"/>
                      <a:pt x="225" y="61"/>
                      <a:pt x="225" y="61"/>
                    </a:cubicBezTo>
                    <a:cubicBezTo>
                      <a:pt x="226" y="63"/>
                      <a:pt x="226" y="63"/>
                      <a:pt x="226" y="63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2" y="72"/>
                      <a:pt x="222" y="72"/>
                      <a:pt x="222" y="72"/>
                    </a:cubicBezTo>
                    <a:cubicBezTo>
                      <a:pt x="222" y="74"/>
                      <a:pt x="222" y="74"/>
                      <a:pt x="222" y="74"/>
                    </a:cubicBezTo>
                    <a:cubicBezTo>
                      <a:pt x="225" y="75"/>
                      <a:pt x="225" y="75"/>
                      <a:pt x="225" y="75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8" y="66"/>
                      <a:pt x="228" y="66"/>
                      <a:pt x="228" y="66"/>
                    </a:cubicBezTo>
                    <a:cubicBezTo>
                      <a:pt x="229" y="62"/>
                      <a:pt x="229" y="62"/>
                      <a:pt x="229" y="62"/>
                    </a:cubicBezTo>
                    <a:cubicBezTo>
                      <a:pt x="229" y="55"/>
                      <a:pt x="229" y="55"/>
                      <a:pt x="229" y="55"/>
                    </a:cubicBezTo>
                    <a:cubicBezTo>
                      <a:pt x="230" y="53"/>
                      <a:pt x="230" y="53"/>
                      <a:pt x="230" y="53"/>
                    </a:cubicBezTo>
                    <a:cubicBezTo>
                      <a:pt x="232" y="53"/>
                      <a:pt x="232" y="53"/>
                      <a:pt x="232" y="53"/>
                    </a:cubicBezTo>
                    <a:cubicBezTo>
                      <a:pt x="236" y="54"/>
                      <a:pt x="236" y="54"/>
                      <a:pt x="236" y="54"/>
                    </a:cubicBezTo>
                    <a:cubicBezTo>
                      <a:pt x="242" y="57"/>
                      <a:pt x="242" y="57"/>
                      <a:pt x="242" y="57"/>
                    </a:cubicBezTo>
                    <a:cubicBezTo>
                      <a:pt x="245" y="60"/>
                      <a:pt x="245" y="60"/>
                      <a:pt x="245" y="60"/>
                    </a:cubicBezTo>
                    <a:cubicBezTo>
                      <a:pt x="245" y="63"/>
                      <a:pt x="245" y="63"/>
                      <a:pt x="245" y="63"/>
                    </a:cubicBezTo>
                    <a:cubicBezTo>
                      <a:pt x="241" y="65"/>
                      <a:pt x="241" y="65"/>
                      <a:pt x="241" y="65"/>
                    </a:cubicBezTo>
                    <a:cubicBezTo>
                      <a:pt x="240" y="65"/>
                      <a:pt x="240" y="65"/>
                      <a:pt x="240" y="65"/>
                    </a:cubicBezTo>
                    <a:cubicBezTo>
                      <a:pt x="237" y="70"/>
                      <a:pt x="237" y="70"/>
                      <a:pt x="237" y="70"/>
                    </a:cubicBezTo>
                    <a:cubicBezTo>
                      <a:pt x="234" y="74"/>
                      <a:pt x="234" y="74"/>
                      <a:pt x="234" y="74"/>
                    </a:cubicBezTo>
                    <a:cubicBezTo>
                      <a:pt x="231" y="76"/>
                      <a:pt x="231" y="76"/>
                      <a:pt x="231" y="76"/>
                    </a:cubicBezTo>
                    <a:cubicBezTo>
                      <a:pt x="229" y="77"/>
                      <a:pt x="229" y="77"/>
                      <a:pt x="229" y="77"/>
                    </a:cubicBezTo>
                    <a:cubicBezTo>
                      <a:pt x="230" y="79"/>
                      <a:pt x="230" y="79"/>
                      <a:pt x="230" y="79"/>
                    </a:cubicBezTo>
                    <a:cubicBezTo>
                      <a:pt x="232" y="79"/>
                      <a:pt x="232" y="79"/>
                      <a:pt x="232" y="79"/>
                    </a:cubicBezTo>
                    <a:cubicBezTo>
                      <a:pt x="234" y="79"/>
                      <a:pt x="234" y="79"/>
                      <a:pt x="234" y="79"/>
                    </a:cubicBezTo>
                    <a:cubicBezTo>
                      <a:pt x="236" y="77"/>
                      <a:pt x="236" y="77"/>
                      <a:pt x="236" y="77"/>
                    </a:cubicBezTo>
                    <a:cubicBezTo>
                      <a:pt x="238" y="75"/>
                      <a:pt x="238" y="75"/>
                      <a:pt x="238" y="75"/>
                    </a:cubicBezTo>
                    <a:cubicBezTo>
                      <a:pt x="240" y="75"/>
                      <a:pt x="240" y="75"/>
                      <a:pt x="240" y="75"/>
                    </a:cubicBezTo>
                    <a:cubicBezTo>
                      <a:pt x="247" y="73"/>
                      <a:pt x="247" y="73"/>
                      <a:pt x="247" y="73"/>
                    </a:cubicBezTo>
                    <a:cubicBezTo>
                      <a:pt x="255" y="73"/>
                      <a:pt x="255" y="73"/>
                      <a:pt x="255" y="73"/>
                    </a:cubicBezTo>
                    <a:cubicBezTo>
                      <a:pt x="259" y="73"/>
                      <a:pt x="259" y="73"/>
                      <a:pt x="259" y="73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257" y="78"/>
                      <a:pt x="257" y="78"/>
                      <a:pt x="257" y="78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5" y="80"/>
                      <a:pt x="245" y="80"/>
                      <a:pt x="245" y="80"/>
                    </a:cubicBezTo>
                    <a:cubicBezTo>
                      <a:pt x="240" y="81"/>
                      <a:pt x="240" y="81"/>
                      <a:pt x="240" y="81"/>
                    </a:cubicBezTo>
                    <a:cubicBezTo>
                      <a:pt x="236" y="83"/>
                      <a:pt x="236" y="83"/>
                      <a:pt x="236" y="83"/>
                    </a:cubicBezTo>
                    <a:cubicBezTo>
                      <a:pt x="235" y="86"/>
                      <a:pt x="235" y="86"/>
                      <a:pt x="235" y="86"/>
                    </a:cubicBezTo>
                    <a:cubicBezTo>
                      <a:pt x="236" y="88"/>
                      <a:pt x="236" y="88"/>
                      <a:pt x="236" y="88"/>
                    </a:cubicBezTo>
                    <a:cubicBezTo>
                      <a:pt x="241" y="86"/>
                      <a:pt x="241" y="86"/>
                      <a:pt x="241" y="86"/>
                    </a:cubicBezTo>
                    <a:cubicBezTo>
                      <a:pt x="244" y="85"/>
                      <a:pt x="244" y="85"/>
                      <a:pt x="244" y="85"/>
                    </a:cubicBezTo>
                    <a:cubicBezTo>
                      <a:pt x="244" y="86"/>
                      <a:pt x="244" y="86"/>
                      <a:pt x="244" y="86"/>
                    </a:cubicBezTo>
                    <a:cubicBezTo>
                      <a:pt x="241" y="90"/>
                      <a:pt x="241" y="90"/>
                      <a:pt x="241" y="90"/>
                    </a:cubicBezTo>
                    <a:cubicBezTo>
                      <a:pt x="239" y="91"/>
                      <a:pt x="239" y="91"/>
                      <a:pt x="239" y="91"/>
                    </a:cubicBezTo>
                    <a:cubicBezTo>
                      <a:pt x="239" y="92"/>
                      <a:pt x="239" y="92"/>
                      <a:pt x="239" y="92"/>
                    </a:cubicBezTo>
                    <a:cubicBezTo>
                      <a:pt x="242" y="93"/>
                      <a:pt x="242" y="93"/>
                      <a:pt x="242" y="93"/>
                    </a:cubicBezTo>
                    <a:cubicBezTo>
                      <a:pt x="243" y="92"/>
                      <a:pt x="243" y="92"/>
                      <a:pt x="243" y="92"/>
                    </a:cubicBezTo>
                    <a:cubicBezTo>
                      <a:pt x="245" y="89"/>
                      <a:pt x="245" y="89"/>
                      <a:pt x="245" y="89"/>
                    </a:cubicBezTo>
                    <a:cubicBezTo>
                      <a:pt x="249" y="85"/>
                      <a:pt x="249" y="85"/>
                      <a:pt x="249" y="85"/>
                    </a:cubicBezTo>
                    <a:cubicBezTo>
                      <a:pt x="253" y="85"/>
                      <a:pt x="253" y="85"/>
                      <a:pt x="253" y="85"/>
                    </a:cubicBezTo>
                    <a:cubicBezTo>
                      <a:pt x="252" y="88"/>
                      <a:pt x="252" y="88"/>
                      <a:pt x="252" y="88"/>
                    </a:cubicBezTo>
                    <a:cubicBezTo>
                      <a:pt x="252" y="91"/>
                      <a:pt x="252" y="91"/>
                      <a:pt x="252" y="91"/>
                    </a:cubicBezTo>
                    <a:cubicBezTo>
                      <a:pt x="250" y="93"/>
                      <a:pt x="250" y="93"/>
                      <a:pt x="250" y="93"/>
                    </a:cubicBezTo>
                    <a:cubicBezTo>
                      <a:pt x="247" y="95"/>
                      <a:pt x="247" y="95"/>
                      <a:pt x="247" y="95"/>
                    </a:cubicBezTo>
                    <a:cubicBezTo>
                      <a:pt x="247" y="96"/>
                      <a:pt x="247" y="96"/>
                      <a:pt x="247" y="96"/>
                    </a:cubicBezTo>
                    <a:cubicBezTo>
                      <a:pt x="247" y="97"/>
                      <a:pt x="247" y="97"/>
                      <a:pt x="247" y="97"/>
                    </a:cubicBezTo>
                    <a:cubicBezTo>
                      <a:pt x="253" y="97"/>
                      <a:pt x="253" y="97"/>
                      <a:pt x="253" y="97"/>
                    </a:cubicBezTo>
                    <a:cubicBezTo>
                      <a:pt x="253" y="99"/>
                      <a:pt x="253" y="99"/>
                      <a:pt x="253" y="99"/>
                    </a:cubicBezTo>
                    <a:cubicBezTo>
                      <a:pt x="249" y="100"/>
                      <a:pt x="249" y="100"/>
                      <a:pt x="249" y="100"/>
                    </a:cubicBezTo>
                    <a:cubicBezTo>
                      <a:pt x="248" y="100"/>
                      <a:pt x="248" y="100"/>
                      <a:pt x="248" y="100"/>
                    </a:cubicBezTo>
                    <a:cubicBezTo>
                      <a:pt x="249" y="103"/>
                      <a:pt x="249" y="103"/>
                      <a:pt x="249" y="103"/>
                    </a:cubicBezTo>
                    <a:cubicBezTo>
                      <a:pt x="253" y="102"/>
                      <a:pt x="253" y="102"/>
                      <a:pt x="253" y="102"/>
                    </a:cubicBezTo>
                    <a:cubicBezTo>
                      <a:pt x="259" y="102"/>
                      <a:pt x="259" y="102"/>
                      <a:pt x="259" y="102"/>
                    </a:cubicBezTo>
                    <a:cubicBezTo>
                      <a:pt x="261" y="101"/>
                      <a:pt x="261" y="101"/>
                      <a:pt x="261" y="101"/>
                    </a:cubicBezTo>
                    <a:cubicBezTo>
                      <a:pt x="263" y="101"/>
                      <a:pt x="263" y="101"/>
                      <a:pt x="263" y="101"/>
                    </a:cubicBezTo>
                    <a:cubicBezTo>
                      <a:pt x="267" y="99"/>
                      <a:pt x="267" y="99"/>
                      <a:pt x="267" y="99"/>
                    </a:cubicBezTo>
                    <a:cubicBezTo>
                      <a:pt x="271" y="99"/>
                      <a:pt x="271" y="99"/>
                      <a:pt x="271" y="99"/>
                    </a:cubicBezTo>
                    <a:cubicBezTo>
                      <a:pt x="271" y="104"/>
                      <a:pt x="271" y="104"/>
                      <a:pt x="271" y="104"/>
                    </a:cubicBezTo>
                    <a:cubicBezTo>
                      <a:pt x="273" y="105"/>
                      <a:pt x="273" y="105"/>
                      <a:pt x="273" y="105"/>
                    </a:cubicBezTo>
                    <a:cubicBezTo>
                      <a:pt x="275" y="109"/>
                      <a:pt x="275" y="109"/>
                      <a:pt x="275" y="109"/>
                    </a:cubicBezTo>
                    <a:cubicBezTo>
                      <a:pt x="277" y="111"/>
                      <a:pt x="277" y="111"/>
                      <a:pt x="277" y="111"/>
                    </a:cubicBezTo>
                    <a:cubicBezTo>
                      <a:pt x="279" y="107"/>
                      <a:pt x="279" y="107"/>
                      <a:pt x="279" y="107"/>
                    </a:cubicBezTo>
                    <a:cubicBezTo>
                      <a:pt x="281" y="106"/>
                      <a:pt x="281" y="106"/>
                      <a:pt x="281" y="106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87" y="107"/>
                      <a:pt x="287" y="107"/>
                      <a:pt x="287" y="107"/>
                    </a:cubicBezTo>
                    <a:cubicBezTo>
                      <a:pt x="290" y="106"/>
                      <a:pt x="290" y="106"/>
                      <a:pt x="290" y="106"/>
                    </a:cubicBezTo>
                    <a:cubicBezTo>
                      <a:pt x="293" y="104"/>
                      <a:pt x="293" y="104"/>
                      <a:pt x="293" y="104"/>
                    </a:cubicBezTo>
                    <a:cubicBezTo>
                      <a:pt x="293" y="100"/>
                      <a:pt x="293" y="100"/>
                      <a:pt x="293" y="100"/>
                    </a:cubicBezTo>
                    <a:cubicBezTo>
                      <a:pt x="294" y="99"/>
                      <a:pt x="294" y="99"/>
                      <a:pt x="294" y="99"/>
                    </a:cubicBezTo>
                    <a:cubicBezTo>
                      <a:pt x="296" y="99"/>
                      <a:pt x="296" y="99"/>
                      <a:pt x="296" y="99"/>
                    </a:cubicBezTo>
                    <a:cubicBezTo>
                      <a:pt x="297" y="100"/>
                      <a:pt x="297" y="100"/>
                      <a:pt x="297" y="100"/>
                    </a:cubicBezTo>
                    <a:cubicBezTo>
                      <a:pt x="297" y="103"/>
                      <a:pt x="297" y="103"/>
                      <a:pt x="297" y="103"/>
                    </a:cubicBezTo>
                    <a:cubicBezTo>
                      <a:pt x="299" y="105"/>
                      <a:pt x="299" y="105"/>
                      <a:pt x="299" y="105"/>
                    </a:cubicBezTo>
                    <a:cubicBezTo>
                      <a:pt x="308" y="106"/>
                      <a:pt x="308" y="106"/>
                      <a:pt x="308" y="106"/>
                    </a:cubicBezTo>
                    <a:cubicBezTo>
                      <a:pt x="311" y="106"/>
                      <a:pt x="311" y="106"/>
                      <a:pt x="311" y="106"/>
                    </a:cubicBezTo>
                    <a:cubicBezTo>
                      <a:pt x="312" y="108"/>
                      <a:pt x="312" y="108"/>
                      <a:pt x="312" y="108"/>
                    </a:cubicBezTo>
                    <a:cubicBezTo>
                      <a:pt x="310" y="112"/>
                      <a:pt x="310" y="112"/>
                      <a:pt x="310" y="112"/>
                    </a:cubicBezTo>
                    <a:cubicBezTo>
                      <a:pt x="310" y="114"/>
                      <a:pt x="310" y="114"/>
                      <a:pt x="310" y="114"/>
                    </a:cubicBezTo>
                    <a:cubicBezTo>
                      <a:pt x="312" y="115"/>
                      <a:pt x="312" y="115"/>
                      <a:pt x="312" y="115"/>
                    </a:cubicBezTo>
                    <a:cubicBezTo>
                      <a:pt x="314" y="115"/>
                      <a:pt x="314" y="115"/>
                      <a:pt x="314" y="115"/>
                    </a:cubicBezTo>
                    <a:cubicBezTo>
                      <a:pt x="315" y="117"/>
                      <a:pt x="315" y="117"/>
                      <a:pt x="315" y="117"/>
                    </a:cubicBezTo>
                    <a:cubicBezTo>
                      <a:pt x="317" y="117"/>
                      <a:pt x="317" y="117"/>
                      <a:pt x="317" y="117"/>
                    </a:cubicBezTo>
                    <a:cubicBezTo>
                      <a:pt x="319" y="115"/>
                      <a:pt x="319" y="115"/>
                      <a:pt x="319" y="115"/>
                    </a:cubicBezTo>
                    <a:cubicBezTo>
                      <a:pt x="319" y="113"/>
                      <a:pt x="319" y="113"/>
                      <a:pt x="319" y="113"/>
                    </a:cubicBezTo>
                    <a:cubicBezTo>
                      <a:pt x="321" y="113"/>
                      <a:pt x="321" y="113"/>
                      <a:pt x="321" y="113"/>
                    </a:cubicBezTo>
                    <a:cubicBezTo>
                      <a:pt x="322" y="112"/>
                      <a:pt x="322" y="112"/>
                      <a:pt x="322" y="112"/>
                    </a:cubicBezTo>
                    <a:cubicBezTo>
                      <a:pt x="324" y="111"/>
                      <a:pt x="324" y="111"/>
                      <a:pt x="324" y="111"/>
                    </a:cubicBezTo>
                    <a:cubicBezTo>
                      <a:pt x="327" y="107"/>
                      <a:pt x="327" y="107"/>
                      <a:pt x="327" y="107"/>
                    </a:cubicBezTo>
                    <a:cubicBezTo>
                      <a:pt x="329" y="107"/>
                      <a:pt x="329" y="107"/>
                      <a:pt x="329" y="107"/>
                    </a:cubicBezTo>
                    <a:cubicBezTo>
                      <a:pt x="329" y="110"/>
                      <a:pt x="329" y="110"/>
                      <a:pt x="329" y="110"/>
                    </a:cubicBezTo>
                    <a:cubicBezTo>
                      <a:pt x="329" y="113"/>
                      <a:pt x="329" y="113"/>
                      <a:pt x="329" y="113"/>
                    </a:cubicBezTo>
                    <a:cubicBezTo>
                      <a:pt x="329" y="118"/>
                      <a:pt x="329" y="118"/>
                      <a:pt x="329" y="118"/>
                    </a:cubicBezTo>
                    <a:cubicBezTo>
                      <a:pt x="329" y="119"/>
                      <a:pt x="329" y="119"/>
                      <a:pt x="329" y="119"/>
                    </a:cubicBezTo>
                    <a:cubicBezTo>
                      <a:pt x="327" y="122"/>
                      <a:pt x="327" y="122"/>
                      <a:pt x="327" y="122"/>
                    </a:cubicBezTo>
                    <a:cubicBezTo>
                      <a:pt x="327" y="125"/>
                      <a:pt x="327" y="125"/>
                      <a:pt x="327" y="125"/>
                    </a:cubicBezTo>
                    <a:cubicBezTo>
                      <a:pt x="329" y="127"/>
                      <a:pt x="329" y="127"/>
                      <a:pt x="329" y="127"/>
                    </a:cubicBezTo>
                    <a:cubicBezTo>
                      <a:pt x="332" y="124"/>
                      <a:pt x="332" y="124"/>
                      <a:pt x="332" y="124"/>
                    </a:cubicBezTo>
                    <a:cubicBezTo>
                      <a:pt x="332" y="121"/>
                      <a:pt x="332" y="121"/>
                      <a:pt x="332" y="121"/>
                    </a:cubicBezTo>
                    <a:cubicBezTo>
                      <a:pt x="336" y="119"/>
                      <a:pt x="336" y="119"/>
                      <a:pt x="336" y="119"/>
                    </a:cubicBezTo>
                    <a:cubicBezTo>
                      <a:pt x="337" y="117"/>
                      <a:pt x="337" y="117"/>
                      <a:pt x="337" y="117"/>
                    </a:cubicBezTo>
                    <a:cubicBezTo>
                      <a:pt x="340" y="117"/>
                      <a:pt x="340" y="117"/>
                      <a:pt x="340" y="117"/>
                    </a:cubicBezTo>
                    <a:cubicBezTo>
                      <a:pt x="342" y="117"/>
                      <a:pt x="342" y="117"/>
                      <a:pt x="342" y="117"/>
                    </a:cubicBezTo>
                    <a:cubicBezTo>
                      <a:pt x="344" y="118"/>
                      <a:pt x="344" y="118"/>
                      <a:pt x="344" y="118"/>
                    </a:cubicBezTo>
                    <a:cubicBezTo>
                      <a:pt x="346" y="117"/>
                      <a:pt x="346" y="117"/>
                      <a:pt x="346" y="117"/>
                    </a:cubicBezTo>
                    <a:cubicBezTo>
                      <a:pt x="344" y="114"/>
                      <a:pt x="344" y="114"/>
                      <a:pt x="344" y="114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1"/>
                      <a:pt x="342" y="111"/>
                      <a:pt x="342" y="111"/>
                    </a:cubicBezTo>
                    <a:cubicBezTo>
                      <a:pt x="344" y="110"/>
                      <a:pt x="344" y="110"/>
                      <a:pt x="344" y="110"/>
                    </a:cubicBezTo>
                    <a:cubicBezTo>
                      <a:pt x="347" y="110"/>
                      <a:pt x="347" y="110"/>
                      <a:pt x="347" y="110"/>
                    </a:cubicBezTo>
                    <a:cubicBezTo>
                      <a:pt x="354" y="112"/>
                      <a:pt x="354" y="112"/>
                      <a:pt x="354" y="112"/>
                    </a:cubicBezTo>
                    <a:cubicBezTo>
                      <a:pt x="358" y="111"/>
                      <a:pt x="358" y="111"/>
                      <a:pt x="358" y="111"/>
                    </a:cubicBezTo>
                    <a:cubicBezTo>
                      <a:pt x="361" y="114"/>
                      <a:pt x="361" y="114"/>
                      <a:pt x="361" y="114"/>
                    </a:cubicBezTo>
                    <a:cubicBezTo>
                      <a:pt x="357" y="116"/>
                      <a:pt x="357" y="116"/>
                      <a:pt x="357" y="116"/>
                    </a:cubicBezTo>
                    <a:cubicBezTo>
                      <a:pt x="356" y="119"/>
                      <a:pt x="356" y="119"/>
                      <a:pt x="356" y="119"/>
                    </a:cubicBezTo>
                    <a:cubicBezTo>
                      <a:pt x="358" y="120"/>
                      <a:pt x="358" y="120"/>
                      <a:pt x="358" y="120"/>
                    </a:cubicBezTo>
                    <a:cubicBezTo>
                      <a:pt x="361" y="120"/>
                      <a:pt x="361" y="120"/>
                      <a:pt x="361" y="120"/>
                    </a:cubicBezTo>
                    <a:cubicBezTo>
                      <a:pt x="361" y="120"/>
                      <a:pt x="362" y="119"/>
                      <a:pt x="362" y="120"/>
                    </a:cubicBezTo>
                    <a:cubicBezTo>
                      <a:pt x="362" y="121"/>
                      <a:pt x="362" y="124"/>
                      <a:pt x="362" y="124"/>
                    </a:cubicBezTo>
                    <a:cubicBezTo>
                      <a:pt x="358" y="127"/>
                      <a:pt x="358" y="127"/>
                      <a:pt x="358" y="127"/>
                    </a:cubicBezTo>
                    <a:cubicBezTo>
                      <a:pt x="355" y="127"/>
                      <a:pt x="355" y="127"/>
                      <a:pt x="355" y="127"/>
                    </a:cubicBezTo>
                    <a:cubicBezTo>
                      <a:pt x="352" y="127"/>
                      <a:pt x="352" y="127"/>
                      <a:pt x="352" y="127"/>
                    </a:cubicBezTo>
                    <a:cubicBezTo>
                      <a:pt x="350" y="128"/>
                      <a:pt x="350" y="128"/>
                      <a:pt x="350" y="128"/>
                    </a:cubicBezTo>
                    <a:cubicBezTo>
                      <a:pt x="349" y="129"/>
                      <a:pt x="349" y="129"/>
                      <a:pt x="349" y="129"/>
                    </a:cubicBezTo>
                    <a:cubicBezTo>
                      <a:pt x="354" y="129"/>
                      <a:pt x="354" y="129"/>
                      <a:pt x="354" y="129"/>
                    </a:cubicBezTo>
                    <a:cubicBezTo>
                      <a:pt x="357" y="131"/>
                      <a:pt x="357" y="131"/>
                      <a:pt x="357" y="131"/>
                    </a:cubicBezTo>
                    <a:cubicBezTo>
                      <a:pt x="360" y="131"/>
                      <a:pt x="360" y="131"/>
                      <a:pt x="360" y="131"/>
                    </a:cubicBezTo>
                    <a:cubicBezTo>
                      <a:pt x="362" y="132"/>
                      <a:pt x="362" y="132"/>
                      <a:pt x="362" y="132"/>
                    </a:cubicBezTo>
                    <a:cubicBezTo>
                      <a:pt x="362" y="134"/>
                      <a:pt x="362" y="134"/>
                      <a:pt x="362" y="134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56" y="137"/>
                      <a:pt x="356" y="137"/>
                      <a:pt x="356" y="137"/>
                    </a:cubicBezTo>
                    <a:cubicBezTo>
                      <a:pt x="356" y="139"/>
                      <a:pt x="356" y="139"/>
                      <a:pt x="356" y="139"/>
                    </a:cubicBezTo>
                    <a:cubicBezTo>
                      <a:pt x="360" y="141"/>
                      <a:pt x="360" y="141"/>
                      <a:pt x="360" y="141"/>
                    </a:cubicBezTo>
                    <a:cubicBezTo>
                      <a:pt x="362" y="142"/>
                      <a:pt x="362" y="142"/>
                      <a:pt x="362" y="142"/>
                    </a:cubicBezTo>
                    <a:cubicBezTo>
                      <a:pt x="361" y="145"/>
                      <a:pt x="361" y="145"/>
                      <a:pt x="361" y="145"/>
                    </a:cubicBezTo>
                    <a:cubicBezTo>
                      <a:pt x="362" y="149"/>
                      <a:pt x="362" y="149"/>
                      <a:pt x="362" y="149"/>
                    </a:cubicBezTo>
                    <a:cubicBezTo>
                      <a:pt x="358" y="149"/>
                      <a:pt x="358" y="149"/>
                      <a:pt x="358" y="149"/>
                    </a:cubicBezTo>
                    <a:cubicBezTo>
                      <a:pt x="356" y="149"/>
                      <a:pt x="356" y="149"/>
                      <a:pt x="356" y="149"/>
                    </a:cubicBezTo>
                    <a:cubicBezTo>
                      <a:pt x="355" y="149"/>
                      <a:pt x="355" y="149"/>
                      <a:pt x="355" y="149"/>
                    </a:cubicBezTo>
                    <a:cubicBezTo>
                      <a:pt x="351" y="146"/>
                      <a:pt x="351" y="146"/>
                      <a:pt x="351" y="146"/>
                    </a:cubicBezTo>
                    <a:cubicBezTo>
                      <a:pt x="349" y="147"/>
                      <a:pt x="349" y="147"/>
                      <a:pt x="349" y="147"/>
                    </a:cubicBezTo>
                    <a:cubicBezTo>
                      <a:pt x="352" y="152"/>
                      <a:pt x="352" y="152"/>
                      <a:pt x="352" y="152"/>
                    </a:cubicBezTo>
                    <a:cubicBezTo>
                      <a:pt x="359" y="162"/>
                      <a:pt x="359" y="162"/>
                      <a:pt x="359" y="162"/>
                    </a:cubicBezTo>
                    <a:cubicBezTo>
                      <a:pt x="362" y="164"/>
                      <a:pt x="362" y="164"/>
                      <a:pt x="362" y="164"/>
                    </a:cubicBezTo>
                    <a:cubicBezTo>
                      <a:pt x="362" y="166"/>
                      <a:pt x="362" y="166"/>
                      <a:pt x="362" y="166"/>
                    </a:cubicBezTo>
                    <a:cubicBezTo>
                      <a:pt x="362" y="170"/>
                      <a:pt x="362" y="170"/>
                      <a:pt x="362" y="170"/>
                    </a:cubicBezTo>
                    <a:cubicBezTo>
                      <a:pt x="361" y="170"/>
                      <a:pt x="361" y="170"/>
                      <a:pt x="361" y="170"/>
                    </a:cubicBezTo>
                    <a:cubicBezTo>
                      <a:pt x="356" y="168"/>
                      <a:pt x="356" y="168"/>
                      <a:pt x="356" y="168"/>
                    </a:cubicBezTo>
                    <a:cubicBezTo>
                      <a:pt x="354" y="170"/>
                      <a:pt x="354" y="170"/>
                      <a:pt x="354" y="170"/>
                    </a:cubicBezTo>
                    <a:cubicBezTo>
                      <a:pt x="352" y="170"/>
                      <a:pt x="352" y="170"/>
                      <a:pt x="352" y="170"/>
                    </a:cubicBezTo>
                    <a:cubicBezTo>
                      <a:pt x="350" y="168"/>
                      <a:pt x="350" y="168"/>
                      <a:pt x="350" y="168"/>
                    </a:cubicBezTo>
                    <a:cubicBezTo>
                      <a:pt x="347" y="166"/>
                      <a:pt x="347" y="166"/>
                      <a:pt x="347" y="166"/>
                    </a:cubicBezTo>
                    <a:cubicBezTo>
                      <a:pt x="347" y="169"/>
                      <a:pt x="347" y="169"/>
                      <a:pt x="347" y="169"/>
                    </a:cubicBezTo>
                    <a:cubicBezTo>
                      <a:pt x="346" y="173"/>
                      <a:pt x="346" y="173"/>
                      <a:pt x="346" y="173"/>
                    </a:cubicBezTo>
                    <a:cubicBezTo>
                      <a:pt x="343" y="171"/>
                      <a:pt x="343" y="171"/>
                      <a:pt x="343" y="171"/>
                    </a:cubicBezTo>
                    <a:cubicBezTo>
                      <a:pt x="341" y="166"/>
                      <a:pt x="341" y="166"/>
                      <a:pt x="341" y="166"/>
                    </a:cubicBezTo>
                    <a:cubicBezTo>
                      <a:pt x="336" y="168"/>
                      <a:pt x="336" y="168"/>
                      <a:pt x="336" y="168"/>
                    </a:cubicBezTo>
                    <a:cubicBezTo>
                      <a:pt x="335" y="161"/>
                      <a:pt x="335" y="161"/>
                      <a:pt x="335" y="161"/>
                    </a:cubicBezTo>
                    <a:cubicBezTo>
                      <a:pt x="332" y="162"/>
                      <a:pt x="332" y="162"/>
                      <a:pt x="332" y="162"/>
                    </a:cubicBezTo>
                    <a:cubicBezTo>
                      <a:pt x="328" y="161"/>
                      <a:pt x="328" y="161"/>
                      <a:pt x="328" y="161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27" y="156"/>
                      <a:pt x="327" y="156"/>
                      <a:pt x="327" y="156"/>
                    </a:cubicBezTo>
                    <a:cubicBezTo>
                      <a:pt x="329" y="153"/>
                      <a:pt x="329" y="153"/>
                      <a:pt x="329" y="153"/>
                    </a:cubicBezTo>
                    <a:cubicBezTo>
                      <a:pt x="332" y="152"/>
                      <a:pt x="332" y="152"/>
                      <a:pt x="332" y="152"/>
                    </a:cubicBezTo>
                    <a:cubicBezTo>
                      <a:pt x="331" y="140"/>
                      <a:pt x="331" y="140"/>
                      <a:pt x="331" y="140"/>
                    </a:cubicBezTo>
                    <a:cubicBezTo>
                      <a:pt x="328" y="139"/>
                      <a:pt x="328" y="139"/>
                      <a:pt x="328" y="139"/>
                    </a:cubicBezTo>
                    <a:cubicBezTo>
                      <a:pt x="327" y="147"/>
                      <a:pt x="327" y="147"/>
                      <a:pt x="327" y="147"/>
                    </a:cubicBezTo>
                    <a:cubicBezTo>
                      <a:pt x="322" y="156"/>
                      <a:pt x="322" y="156"/>
                      <a:pt x="322" y="156"/>
                    </a:cubicBezTo>
                    <a:cubicBezTo>
                      <a:pt x="321" y="157"/>
                      <a:pt x="321" y="157"/>
                      <a:pt x="321" y="157"/>
                    </a:cubicBezTo>
                    <a:cubicBezTo>
                      <a:pt x="319" y="150"/>
                      <a:pt x="319" y="150"/>
                      <a:pt x="319" y="150"/>
                    </a:cubicBezTo>
                    <a:cubicBezTo>
                      <a:pt x="317" y="150"/>
                      <a:pt x="317" y="150"/>
                      <a:pt x="317" y="150"/>
                    </a:cubicBezTo>
                    <a:cubicBezTo>
                      <a:pt x="314" y="155"/>
                      <a:pt x="314" y="155"/>
                      <a:pt x="314" y="155"/>
                    </a:cubicBezTo>
                    <a:cubicBezTo>
                      <a:pt x="311" y="156"/>
                      <a:pt x="311" y="156"/>
                      <a:pt x="311" y="156"/>
                    </a:cubicBezTo>
                    <a:cubicBezTo>
                      <a:pt x="309" y="154"/>
                      <a:pt x="309" y="154"/>
                      <a:pt x="309" y="154"/>
                    </a:cubicBezTo>
                    <a:cubicBezTo>
                      <a:pt x="305" y="151"/>
                      <a:pt x="305" y="151"/>
                      <a:pt x="305" y="151"/>
                    </a:cubicBezTo>
                    <a:cubicBezTo>
                      <a:pt x="303" y="148"/>
                      <a:pt x="303" y="148"/>
                      <a:pt x="303" y="148"/>
                    </a:cubicBezTo>
                    <a:cubicBezTo>
                      <a:pt x="302" y="146"/>
                      <a:pt x="302" y="146"/>
                      <a:pt x="302" y="146"/>
                    </a:cubicBezTo>
                    <a:cubicBezTo>
                      <a:pt x="298" y="148"/>
                      <a:pt x="298" y="148"/>
                      <a:pt x="298" y="148"/>
                    </a:cubicBezTo>
                    <a:cubicBezTo>
                      <a:pt x="298" y="150"/>
                      <a:pt x="298" y="150"/>
                      <a:pt x="298" y="150"/>
                    </a:cubicBezTo>
                    <a:cubicBezTo>
                      <a:pt x="300" y="153"/>
                      <a:pt x="300" y="153"/>
                      <a:pt x="300" y="153"/>
                    </a:cubicBezTo>
                    <a:cubicBezTo>
                      <a:pt x="301" y="155"/>
                      <a:pt x="301" y="155"/>
                      <a:pt x="301" y="155"/>
                    </a:cubicBezTo>
                    <a:cubicBezTo>
                      <a:pt x="299" y="157"/>
                      <a:pt x="299" y="157"/>
                      <a:pt x="299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1" y="154"/>
                      <a:pt x="291" y="154"/>
                      <a:pt x="291" y="154"/>
                    </a:cubicBezTo>
                    <a:cubicBezTo>
                      <a:pt x="290" y="156"/>
                      <a:pt x="290" y="156"/>
                      <a:pt x="290" y="156"/>
                    </a:cubicBezTo>
                    <a:cubicBezTo>
                      <a:pt x="293" y="159"/>
                      <a:pt x="293" y="159"/>
                      <a:pt x="293" y="159"/>
                    </a:cubicBezTo>
                    <a:cubicBezTo>
                      <a:pt x="297" y="161"/>
                      <a:pt x="297" y="161"/>
                      <a:pt x="297" y="161"/>
                    </a:cubicBezTo>
                    <a:cubicBezTo>
                      <a:pt x="302" y="161"/>
                      <a:pt x="302" y="161"/>
                      <a:pt x="302" y="161"/>
                    </a:cubicBezTo>
                    <a:cubicBezTo>
                      <a:pt x="305" y="162"/>
                      <a:pt x="305" y="162"/>
                      <a:pt x="305" y="162"/>
                    </a:cubicBezTo>
                    <a:cubicBezTo>
                      <a:pt x="305" y="167"/>
                      <a:pt x="305" y="167"/>
                      <a:pt x="305" y="167"/>
                    </a:cubicBezTo>
                    <a:cubicBezTo>
                      <a:pt x="303" y="169"/>
                      <a:pt x="303" y="169"/>
                      <a:pt x="303" y="169"/>
                    </a:cubicBezTo>
                    <a:cubicBezTo>
                      <a:pt x="300" y="169"/>
                      <a:pt x="300" y="169"/>
                      <a:pt x="300" y="169"/>
                    </a:cubicBezTo>
                    <a:cubicBezTo>
                      <a:pt x="299" y="167"/>
                      <a:pt x="299" y="167"/>
                      <a:pt x="299" y="167"/>
                    </a:cubicBezTo>
                    <a:cubicBezTo>
                      <a:pt x="297" y="166"/>
                      <a:pt x="297" y="166"/>
                      <a:pt x="297" y="166"/>
                    </a:cubicBezTo>
                    <a:cubicBezTo>
                      <a:pt x="292" y="165"/>
                      <a:pt x="292" y="165"/>
                      <a:pt x="292" y="165"/>
                    </a:cubicBezTo>
                    <a:cubicBezTo>
                      <a:pt x="290" y="164"/>
                      <a:pt x="290" y="164"/>
                      <a:pt x="290" y="164"/>
                    </a:cubicBezTo>
                    <a:cubicBezTo>
                      <a:pt x="289" y="165"/>
                      <a:pt x="289" y="165"/>
                      <a:pt x="289" y="165"/>
                    </a:cubicBezTo>
                    <a:cubicBezTo>
                      <a:pt x="286" y="165"/>
                      <a:pt x="286" y="165"/>
                      <a:pt x="286" y="165"/>
                    </a:cubicBezTo>
                    <a:cubicBezTo>
                      <a:pt x="283" y="168"/>
                      <a:pt x="283" y="168"/>
                      <a:pt x="283" y="168"/>
                    </a:cubicBezTo>
                    <a:cubicBezTo>
                      <a:pt x="286" y="170"/>
                      <a:pt x="286" y="170"/>
                      <a:pt x="286" y="170"/>
                    </a:cubicBezTo>
                    <a:cubicBezTo>
                      <a:pt x="292" y="169"/>
                      <a:pt x="292" y="169"/>
                      <a:pt x="292" y="169"/>
                    </a:cubicBezTo>
                    <a:cubicBezTo>
                      <a:pt x="295" y="173"/>
                      <a:pt x="295" y="173"/>
                      <a:pt x="295" y="173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294" y="174"/>
                      <a:pt x="297" y="176"/>
                      <a:pt x="297" y="176"/>
                    </a:cubicBezTo>
                    <a:cubicBezTo>
                      <a:pt x="298" y="177"/>
                      <a:pt x="300" y="178"/>
                      <a:pt x="300" y="178"/>
                    </a:cubicBezTo>
                    <a:cubicBezTo>
                      <a:pt x="302" y="178"/>
                      <a:pt x="302" y="178"/>
                      <a:pt x="302" y="178"/>
                    </a:cubicBezTo>
                    <a:cubicBezTo>
                      <a:pt x="302" y="178"/>
                      <a:pt x="303" y="181"/>
                      <a:pt x="304" y="181"/>
                    </a:cubicBezTo>
                    <a:cubicBezTo>
                      <a:pt x="305" y="181"/>
                      <a:pt x="305" y="178"/>
                      <a:pt x="305" y="178"/>
                    </a:cubicBezTo>
                    <a:cubicBezTo>
                      <a:pt x="309" y="178"/>
                      <a:pt x="309" y="178"/>
                      <a:pt x="309" y="178"/>
                    </a:cubicBezTo>
                    <a:cubicBezTo>
                      <a:pt x="312" y="180"/>
                      <a:pt x="312" y="180"/>
                      <a:pt x="312" y="180"/>
                    </a:cubicBezTo>
                    <a:cubicBezTo>
                      <a:pt x="312" y="183"/>
                      <a:pt x="312" y="183"/>
                      <a:pt x="312" y="183"/>
                    </a:cubicBezTo>
                    <a:cubicBezTo>
                      <a:pt x="312" y="184"/>
                      <a:pt x="312" y="184"/>
                      <a:pt x="312" y="184"/>
                    </a:cubicBezTo>
                    <a:cubicBezTo>
                      <a:pt x="319" y="187"/>
                      <a:pt x="319" y="187"/>
                      <a:pt x="319" y="187"/>
                    </a:cubicBezTo>
                    <a:cubicBezTo>
                      <a:pt x="322" y="187"/>
                      <a:pt x="322" y="187"/>
                      <a:pt x="322" y="187"/>
                    </a:cubicBezTo>
                    <a:cubicBezTo>
                      <a:pt x="324" y="189"/>
                      <a:pt x="324" y="189"/>
                      <a:pt x="324" y="189"/>
                    </a:cubicBezTo>
                    <a:cubicBezTo>
                      <a:pt x="328" y="189"/>
                      <a:pt x="328" y="189"/>
                      <a:pt x="328" y="189"/>
                    </a:cubicBezTo>
                    <a:cubicBezTo>
                      <a:pt x="329" y="191"/>
                      <a:pt x="329" y="191"/>
                      <a:pt x="329" y="191"/>
                    </a:cubicBezTo>
                    <a:cubicBezTo>
                      <a:pt x="332" y="191"/>
                      <a:pt x="332" y="191"/>
                      <a:pt x="332" y="191"/>
                    </a:cubicBezTo>
                    <a:cubicBezTo>
                      <a:pt x="336" y="195"/>
                      <a:pt x="336" y="195"/>
                      <a:pt x="336" y="195"/>
                    </a:cubicBezTo>
                    <a:cubicBezTo>
                      <a:pt x="338" y="193"/>
                      <a:pt x="338" y="193"/>
                      <a:pt x="338" y="193"/>
                    </a:cubicBezTo>
                    <a:cubicBezTo>
                      <a:pt x="338" y="193"/>
                      <a:pt x="339" y="192"/>
                      <a:pt x="338" y="192"/>
                    </a:cubicBezTo>
                    <a:cubicBezTo>
                      <a:pt x="337" y="191"/>
                      <a:pt x="337" y="191"/>
                      <a:pt x="337" y="191"/>
                    </a:cubicBezTo>
                    <a:cubicBezTo>
                      <a:pt x="340" y="191"/>
                      <a:pt x="340" y="191"/>
                      <a:pt x="340" y="191"/>
                    </a:cubicBezTo>
                    <a:cubicBezTo>
                      <a:pt x="342" y="193"/>
                      <a:pt x="342" y="193"/>
                      <a:pt x="342" y="193"/>
                    </a:cubicBezTo>
                    <a:cubicBezTo>
                      <a:pt x="343" y="195"/>
                      <a:pt x="343" y="195"/>
                      <a:pt x="343" y="195"/>
                    </a:cubicBezTo>
                    <a:cubicBezTo>
                      <a:pt x="346" y="195"/>
                      <a:pt x="346" y="195"/>
                      <a:pt x="346" y="195"/>
                    </a:cubicBezTo>
                    <a:cubicBezTo>
                      <a:pt x="349" y="195"/>
                      <a:pt x="349" y="195"/>
                      <a:pt x="349" y="195"/>
                    </a:cubicBezTo>
                    <a:cubicBezTo>
                      <a:pt x="351" y="195"/>
                      <a:pt x="351" y="195"/>
                      <a:pt x="351" y="195"/>
                    </a:cubicBezTo>
                    <a:cubicBezTo>
                      <a:pt x="353" y="198"/>
                      <a:pt x="353" y="198"/>
                      <a:pt x="353" y="198"/>
                    </a:cubicBezTo>
                    <a:cubicBezTo>
                      <a:pt x="352" y="202"/>
                      <a:pt x="352" y="202"/>
                      <a:pt x="352" y="202"/>
                    </a:cubicBezTo>
                    <a:cubicBezTo>
                      <a:pt x="355" y="204"/>
                      <a:pt x="355" y="204"/>
                      <a:pt x="355" y="204"/>
                    </a:cubicBezTo>
                    <a:cubicBezTo>
                      <a:pt x="362" y="204"/>
                      <a:pt x="362" y="204"/>
                      <a:pt x="362" y="204"/>
                    </a:cubicBezTo>
                    <a:cubicBezTo>
                      <a:pt x="368" y="206"/>
                      <a:pt x="368" y="206"/>
                      <a:pt x="368" y="206"/>
                    </a:cubicBezTo>
                    <a:cubicBezTo>
                      <a:pt x="371" y="209"/>
                      <a:pt x="371" y="209"/>
                      <a:pt x="371" y="209"/>
                    </a:cubicBezTo>
                    <a:cubicBezTo>
                      <a:pt x="377" y="211"/>
                      <a:pt x="377" y="211"/>
                      <a:pt x="377" y="211"/>
                    </a:cubicBezTo>
                    <a:cubicBezTo>
                      <a:pt x="381" y="211"/>
                      <a:pt x="381" y="211"/>
                      <a:pt x="381" y="211"/>
                    </a:cubicBezTo>
                    <a:cubicBezTo>
                      <a:pt x="383" y="213"/>
                      <a:pt x="383" y="213"/>
                      <a:pt x="383" y="213"/>
                    </a:cubicBezTo>
                    <a:cubicBezTo>
                      <a:pt x="377" y="213"/>
                      <a:pt x="377" y="213"/>
                      <a:pt x="377" y="213"/>
                    </a:cubicBezTo>
                    <a:cubicBezTo>
                      <a:pt x="383" y="220"/>
                      <a:pt x="383" y="220"/>
                      <a:pt x="383" y="220"/>
                    </a:cubicBezTo>
                    <a:cubicBezTo>
                      <a:pt x="380" y="220"/>
                      <a:pt x="380" y="220"/>
                      <a:pt x="380" y="220"/>
                    </a:cubicBezTo>
                    <a:cubicBezTo>
                      <a:pt x="370" y="214"/>
                      <a:pt x="370" y="214"/>
                      <a:pt x="370" y="214"/>
                    </a:cubicBezTo>
                    <a:cubicBezTo>
                      <a:pt x="367" y="212"/>
                      <a:pt x="367" y="212"/>
                      <a:pt x="367" y="212"/>
                    </a:cubicBezTo>
                    <a:cubicBezTo>
                      <a:pt x="367" y="212"/>
                      <a:pt x="367" y="216"/>
                      <a:pt x="368" y="216"/>
                    </a:cubicBezTo>
                    <a:cubicBezTo>
                      <a:pt x="368" y="217"/>
                      <a:pt x="370" y="219"/>
                      <a:pt x="370" y="219"/>
                    </a:cubicBezTo>
                    <a:cubicBezTo>
                      <a:pt x="374" y="223"/>
                      <a:pt x="374" y="223"/>
                      <a:pt x="374" y="223"/>
                    </a:cubicBezTo>
                    <a:cubicBezTo>
                      <a:pt x="377" y="227"/>
                      <a:pt x="377" y="227"/>
                      <a:pt x="377" y="227"/>
                    </a:cubicBezTo>
                    <a:cubicBezTo>
                      <a:pt x="380" y="229"/>
                      <a:pt x="380" y="229"/>
                      <a:pt x="380" y="229"/>
                    </a:cubicBezTo>
                    <a:cubicBezTo>
                      <a:pt x="383" y="231"/>
                      <a:pt x="383" y="231"/>
                      <a:pt x="383" y="231"/>
                    </a:cubicBezTo>
                    <a:cubicBezTo>
                      <a:pt x="382" y="231"/>
                      <a:pt x="382" y="231"/>
                      <a:pt x="382" y="231"/>
                    </a:cubicBezTo>
                    <a:cubicBezTo>
                      <a:pt x="377" y="234"/>
                      <a:pt x="377" y="234"/>
                      <a:pt x="377" y="234"/>
                    </a:cubicBezTo>
                    <a:cubicBezTo>
                      <a:pt x="377" y="235"/>
                      <a:pt x="377" y="235"/>
                      <a:pt x="377" y="235"/>
                    </a:cubicBezTo>
                    <a:cubicBezTo>
                      <a:pt x="379" y="235"/>
                      <a:pt x="379" y="235"/>
                      <a:pt x="379" y="235"/>
                    </a:cubicBezTo>
                    <a:cubicBezTo>
                      <a:pt x="383" y="239"/>
                      <a:pt x="383" y="239"/>
                      <a:pt x="383" y="239"/>
                    </a:cubicBezTo>
                    <a:cubicBezTo>
                      <a:pt x="391" y="241"/>
                      <a:pt x="391" y="241"/>
                      <a:pt x="391" y="241"/>
                    </a:cubicBezTo>
                    <a:cubicBezTo>
                      <a:pt x="394" y="239"/>
                      <a:pt x="394" y="239"/>
                      <a:pt x="394" y="239"/>
                    </a:cubicBezTo>
                    <a:cubicBezTo>
                      <a:pt x="396" y="241"/>
                      <a:pt x="396" y="241"/>
                      <a:pt x="396" y="241"/>
                    </a:cubicBezTo>
                    <a:cubicBezTo>
                      <a:pt x="393" y="247"/>
                      <a:pt x="393" y="247"/>
                      <a:pt x="393" y="247"/>
                    </a:cubicBezTo>
                    <a:cubicBezTo>
                      <a:pt x="391" y="247"/>
                      <a:pt x="391" y="247"/>
                      <a:pt x="391" y="247"/>
                    </a:cubicBezTo>
                    <a:cubicBezTo>
                      <a:pt x="388" y="244"/>
                      <a:pt x="388" y="244"/>
                      <a:pt x="388" y="244"/>
                    </a:cubicBezTo>
                    <a:cubicBezTo>
                      <a:pt x="386" y="242"/>
                      <a:pt x="386" y="242"/>
                      <a:pt x="386" y="242"/>
                    </a:cubicBezTo>
                    <a:cubicBezTo>
                      <a:pt x="382" y="242"/>
                      <a:pt x="382" y="242"/>
                      <a:pt x="382" y="242"/>
                    </a:cubicBezTo>
                    <a:cubicBezTo>
                      <a:pt x="379" y="240"/>
                      <a:pt x="379" y="240"/>
                      <a:pt x="379" y="240"/>
                    </a:cubicBezTo>
                    <a:cubicBezTo>
                      <a:pt x="376" y="239"/>
                      <a:pt x="376" y="239"/>
                      <a:pt x="376" y="239"/>
                    </a:cubicBezTo>
                    <a:cubicBezTo>
                      <a:pt x="370" y="241"/>
                      <a:pt x="370" y="241"/>
                      <a:pt x="370" y="241"/>
                    </a:cubicBezTo>
                    <a:cubicBezTo>
                      <a:pt x="368" y="239"/>
                      <a:pt x="368" y="239"/>
                      <a:pt x="368" y="239"/>
                    </a:cubicBezTo>
                    <a:cubicBezTo>
                      <a:pt x="364" y="237"/>
                      <a:pt x="364" y="237"/>
                      <a:pt x="364" y="237"/>
                    </a:cubicBezTo>
                    <a:cubicBezTo>
                      <a:pt x="358" y="239"/>
                      <a:pt x="358" y="239"/>
                      <a:pt x="358" y="239"/>
                    </a:cubicBezTo>
                    <a:cubicBezTo>
                      <a:pt x="350" y="238"/>
                      <a:pt x="350" y="238"/>
                      <a:pt x="350" y="238"/>
                    </a:cubicBezTo>
                    <a:cubicBezTo>
                      <a:pt x="343" y="234"/>
                      <a:pt x="343" y="234"/>
                      <a:pt x="343" y="234"/>
                    </a:cubicBezTo>
                    <a:cubicBezTo>
                      <a:pt x="338" y="231"/>
                      <a:pt x="338" y="231"/>
                      <a:pt x="338" y="231"/>
                    </a:cubicBezTo>
                    <a:cubicBezTo>
                      <a:pt x="336" y="231"/>
                      <a:pt x="336" y="231"/>
                      <a:pt x="336" y="231"/>
                    </a:cubicBezTo>
                    <a:cubicBezTo>
                      <a:pt x="338" y="236"/>
                      <a:pt x="338" y="236"/>
                      <a:pt x="338" y="236"/>
                    </a:cubicBezTo>
                    <a:cubicBezTo>
                      <a:pt x="332" y="237"/>
                      <a:pt x="332" y="237"/>
                      <a:pt x="332" y="237"/>
                    </a:cubicBezTo>
                    <a:cubicBezTo>
                      <a:pt x="329" y="239"/>
                      <a:pt x="329" y="239"/>
                      <a:pt x="329" y="239"/>
                    </a:cubicBezTo>
                    <a:cubicBezTo>
                      <a:pt x="328" y="243"/>
                      <a:pt x="328" y="243"/>
                      <a:pt x="328" y="243"/>
                    </a:cubicBezTo>
                    <a:cubicBezTo>
                      <a:pt x="332" y="245"/>
                      <a:pt x="332" y="245"/>
                      <a:pt x="332" y="245"/>
                    </a:cubicBezTo>
                    <a:cubicBezTo>
                      <a:pt x="340" y="247"/>
                      <a:pt x="340" y="247"/>
                      <a:pt x="340" y="247"/>
                    </a:cubicBezTo>
                    <a:cubicBezTo>
                      <a:pt x="347" y="249"/>
                      <a:pt x="347" y="249"/>
                      <a:pt x="347" y="249"/>
                    </a:cubicBezTo>
                    <a:cubicBezTo>
                      <a:pt x="354" y="251"/>
                      <a:pt x="354" y="251"/>
                      <a:pt x="354" y="251"/>
                    </a:cubicBezTo>
                    <a:cubicBezTo>
                      <a:pt x="363" y="252"/>
                      <a:pt x="363" y="252"/>
                      <a:pt x="363" y="252"/>
                    </a:cubicBezTo>
                    <a:cubicBezTo>
                      <a:pt x="367" y="254"/>
                      <a:pt x="367" y="254"/>
                      <a:pt x="367" y="254"/>
                    </a:cubicBezTo>
                    <a:cubicBezTo>
                      <a:pt x="375" y="258"/>
                      <a:pt x="375" y="258"/>
                      <a:pt x="375" y="258"/>
                    </a:cubicBezTo>
                    <a:cubicBezTo>
                      <a:pt x="377" y="258"/>
                      <a:pt x="377" y="258"/>
                      <a:pt x="377" y="258"/>
                    </a:cubicBezTo>
                    <a:cubicBezTo>
                      <a:pt x="377" y="258"/>
                      <a:pt x="379" y="259"/>
                      <a:pt x="380" y="261"/>
                    </a:cubicBezTo>
                    <a:cubicBezTo>
                      <a:pt x="380" y="263"/>
                      <a:pt x="379" y="265"/>
                      <a:pt x="379" y="265"/>
                    </a:cubicBezTo>
                    <a:cubicBezTo>
                      <a:pt x="380" y="268"/>
                      <a:pt x="380" y="268"/>
                      <a:pt x="380" y="268"/>
                    </a:cubicBezTo>
                    <a:cubicBezTo>
                      <a:pt x="379" y="270"/>
                      <a:pt x="379" y="270"/>
                      <a:pt x="379" y="270"/>
                    </a:cubicBezTo>
                    <a:cubicBezTo>
                      <a:pt x="372" y="273"/>
                      <a:pt x="372" y="273"/>
                      <a:pt x="372" y="273"/>
                    </a:cubicBezTo>
                    <a:cubicBezTo>
                      <a:pt x="332" y="272"/>
                      <a:pt x="332" y="272"/>
                      <a:pt x="332" y="272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4" y="265"/>
                      <a:pt x="324" y="265"/>
                      <a:pt x="324" y="265"/>
                    </a:cubicBezTo>
                    <a:cubicBezTo>
                      <a:pt x="319" y="266"/>
                      <a:pt x="319" y="266"/>
                      <a:pt x="319" y="266"/>
                    </a:cubicBezTo>
                    <a:cubicBezTo>
                      <a:pt x="317" y="270"/>
                      <a:pt x="317" y="270"/>
                      <a:pt x="317" y="270"/>
                    </a:cubicBezTo>
                    <a:cubicBezTo>
                      <a:pt x="315" y="270"/>
                      <a:pt x="315" y="270"/>
                      <a:pt x="315" y="270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4"/>
                      <a:pt x="291" y="264"/>
                      <a:pt x="291" y="264"/>
                    </a:cubicBezTo>
                    <a:cubicBezTo>
                      <a:pt x="288" y="261"/>
                      <a:pt x="288" y="261"/>
                      <a:pt x="288" y="261"/>
                    </a:cubicBezTo>
                    <a:cubicBezTo>
                      <a:pt x="289" y="260"/>
                      <a:pt x="289" y="260"/>
                      <a:pt x="289" y="260"/>
                    </a:cubicBezTo>
                    <a:cubicBezTo>
                      <a:pt x="290" y="258"/>
                      <a:pt x="290" y="258"/>
                      <a:pt x="290" y="258"/>
                    </a:cubicBezTo>
                    <a:cubicBezTo>
                      <a:pt x="293" y="255"/>
                      <a:pt x="293" y="255"/>
                      <a:pt x="293" y="255"/>
                    </a:cubicBezTo>
                    <a:cubicBezTo>
                      <a:pt x="290" y="253"/>
                      <a:pt x="290" y="253"/>
                      <a:pt x="290" y="253"/>
                    </a:cubicBezTo>
                    <a:cubicBezTo>
                      <a:pt x="282" y="252"/>
                      <a:pt x="282" y="252"/>
                      <a:pt x="282" y="252"/>
                    </a:cubicBezTo>
                    <a:cubicBezTo>
                      <a:pt x="281" y="256"/>
                      <a:pt x="281" y="256"/>
                      <a:pt x="281" y="256"/>
                    </a:cubicBezTo>
                    <a:cubicBezTo>
                      <a:pt x="280" y="256"/>
                      <a:pt x="280" y="256"/>
                      <a:pt x="280" y="256"/>
                    </a:cubicBezTo>
                    <a:cubicBezTo>
                      <a:pt x="279" y="253"/>
                      <a:pt x="279" y="253"/>
                      <a:pt x="279" y="253"/>
                    </a:cubicBezTo>
                    <a:cubicBezTo>
                      <a:pt x="276" y="250"/>
                      <a:pt x="276" y="250"/>
                      <a:pt x="276" y="250"/>
                    </a:cubicBezTo>
                    <a:cubicBezTo>
                      <a:pt x="275" y="253"/>
                      <a:pt x="275" y="253"/>
                      <a:pt x="275" y="253"/>
                    </a:cubicBezTo>
                    <a:cubicBezTo>
                      <a:pt x="276" y="255"/>
                      <a:pt x="276" y="255"/>
                      <a:pt x="276" y="255"/>
                    </a:cubicBezTo>
                    <a:cubicBezTo>
                      <a:pt x="273" y="256"/>
                      <a:pt x="273" y="256"/>
                      <a:pt x="273" y="256"/>
                    </a:cubicBezTo>
                    <a:cubicBezTo>
                      <a:pt x="269" y="253"/>
                      <a:pt x="269" y="253"/>
                      <a:pt x="269" y="253"/>
                    </a:cubicBezTo>
                    <a:cubicBezTo>
                      <a:pt x="264" y="249"/>
                      <a:pt x="264" y="249"/>
                      <a:pt x="264" y="249"/>
                    </a:cubicBezTo>
                    <a:cubicBezTo>
                      <a:pt x="263" y="244"/>
                      <a:pt x="263" y="244"/>
                      <a:pt x="263" y="244"/>
                    </a:cubicBezTo>
                    <a:cubicBezTo>
                      <a:pt x="259" y="246"/>
                      <a:pt x="259" y="246"/>
                      <a:pt x="259" y="246"/>
                    </a:cubicBezTo>
                    <a:cubicBezTo>
                      <a:pt x="256" y="247"/>
                      <a:pt x="256" y="247"/>
                      <a:pt x="256" y="247"/>
                    </a:cubicBezTo>
                    <a:cubicBezTo>
                      <a:pt x="255" y="247"/>
                      <a:pt x="255" y="247"/>
                      <a:pt x="255" y="247"/>
                    </a:cubicBezTo>
                    <a:cubicBezTo>
                      <a:pt x="255" y="245"/>
                      <a:pt x="255" y="245"/>
                      <a:pt x="255" y="245"/>
                    </a:cubicBezTo>
                    <a:cubicBezTo>
                      <a:pt x="252" y="243"/>
                      <a:pt x="252" y="243"/>
                      <a:pt x="252" y="243"/>
                    </a:cubicBezTo>
                    <a:cubicBezTo>
                      <a:pt x="250" y="240"/>
                      <a:pt x="250" y="240"/>
                      <a:pt x="250" y="240"/>
                    </a:cubicBezTo>
                    <a:cubicBezTo>
                      <a:pt x="248" y="240"/>
                      <a:pt x="248" y="240"/>
                      <a:pt x="248" y="240"/>
                    </a:cubicBezTo>
                    <a:cubicBezTo>
                      <a:pt x="247" y="240"/>
                      <a:pt x="247" y="240"/>
                      <a:pt x="247" y="240"/>
                    </a:cubicBezTo>
                    <a:cubicBezTo>
                      <a:pt x="246" y="246"/>
                      <a:pt x="246" y="246"/>
                      <a:pt x="246" y="246"/>
                    </a:cubicBezTo>
                    <a:cubicBezTo>
                      <a:pt x="244" y="244"/>
                      <a:pt x="244" y="244"/>
                      <a:pt x="244" y="244"/>
                    </a:cubicBezTo>
                    <a:cubicBezTo>
                      <a:pt x="241" y="240"/>
                      <a:pt x="241" y="240"/>
                      <a:pt x="241" y="240"/>
                    </a:cubicBezTo>
                    <a:cubicBezTo>
                      <a:pt x="241" y="239"/>
                      <a:pt x="241" y="239"/>
                      <a:pt x="241" y="239"/>
                    </a:cubicBezTo>
                    <a:cubicBezTo>
                      <a:pt x="240" y="238"/>
                      <a:pt x="240" y="238"/>
                      <a:pt x="240" y="238"/>
                    </a:cubicBezTo>
                    <a:cubicBezTo>
                      <a:pt x="235" y="237"/>
                      <a:pt x="235" y="237"/>
                      <a:pt x="235" y="237"/>
                    </a:cubicBezTo>
                    <a:cubicBezTo>
                      <a:pt x="231" y="238"/>
                      <a:pt x="231" y="238"/>
                      <a:pt x="231" y="238"/>
                    </a:cubicBezTo>
                    <a:cubicBezTo>
                      <a:pt x="227" y="238"/>
                      <a:pt x="227" y="238"/>
                      <a:pt x="227" y="238"/>
                    </a:cubicBezTo>
                    <a:cubicBezTo>
                      <a:pt x="227" y="240"/>
                      <a:pt x="227" y="240"/>
                      <a:pt x="227" y="240"/>
                    </a:cubicBezTo>
                    <a:cubicBezTo>
                      <a:pt x="233" y="240"/>
                      <a:pt x="233" y="240"/>
                      <a:pt x="233" y="240"/>
                    </a:cubicBezTo>
                    <a:cubicBezTo>
                      <a:pt x="236" y="242"/>
                      <a:pt x="236" y="242"/>
                      <a:pt x="236" y="242"/>
                    </a:cubicBezTo>
                    <a:cubicBezTo>
                      <a:pt x="238" y="244"/>
                      <a:pt x="238" y="244"/>
                      <a:pt x="238" y="244"/>
                    </a:cubicBezTo>
                    <a:cubicBezTo>
                      <a:pt x="238" y="246"/>
                      <a:pt x="238" y="246"/>
                      <a:pt x="238" y="246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2" y="251"/>
                      <a:pt x="232" y="251"/>
                      <a:pt x="232" y="251"/>
                    </a:cubicBezTo>
                    <a:cubicBezTo>
                      <a:pt x="229" y="249"/>
                      <a:pt x="229" y="249"/>
                      <a:pt x="229" y="249"/>
                    </a:cubicBezTo>
                    <a:cubicBezTo>
                      <a:pt x="225" y="246"/>
                      <a:pt x="225" y="246"/>
                      <a:pt x="225" y="246"/>
                    </a:cubicBezTo>
                    <a:cubicBezTo>
                      <a:pt x="222" y="246"/>
                      <a:pt x="222" y="246"/>
                      <a:pt x="222" y="246"/>
                    </a:cubicBezTo>
                    <a:cubicBezTo>
                      <a:pt x="222" y="248"/>
                      <a:pt x="222" y="248"/>
                      <a:pt x="222" y="248"/>
                    </a:cubicBezTo>
                    <a:cubicBezTo>
                      <a:pt x="224" y="252"/>
                      <a:pt x="224" y="252"/>
                      <a:pt x="224" y="252"/>
                    </a:cubicBezTo>
                    <a:cubicBezTo>
                      <a:pt x="225" y="253"/>
                      <a:pt x="225" y="253"/>
                      <a:pt x="225" y="253"/>
                    </a:cubicBezTo>
                    <a:cubicBezTo>
                      <a:pt x="224" y="254"/>
                      <a:pt x="224" y="254"/>
                      <a:pt x="224" y="254"/>
                    </a:cubicBezTo>
                    <a:cubicBezTo>
                      <a:pt x="222" y="255"/>
                      <a:pt x="222" y="255"/>
                      <a:pt x="222" y="255"/>
                    </a:cubicBezTo>
                    <a:cubicBezTo>
                      <a:pt x="218" y="260"/>
                      <a:pt x="218" y="260"/>
                      <a:pt x="218" y="260"/>
                    </a:cubicBezTo>
                    <a:cubicBezTo>
                      <a:pt x="210" y="262"/>
                      <a:pt x="210" y="262"/>
                      <a:pt x="210" y="262"/>
                    </a:cubicBezTo>
                    <a:cubicBezTo>
                      <a:pt x="198" y="263"/>
                      <a:pt x="198" y="263"/>
                      <a:pt x="198" y="263"/>
                    </a:cubicBezTo>
                    <a:cubicBezTo>
                      <a:pt x="193" y="259"/>
                      <a:pt x="193" y="259"/>
                      <a:pt x="193" y="259"/>
                    </a:cubicBezTo>
                    <a:cubicBezTo>
                      <a:pt x="190" y="256"/>
                      <a:pt x="190" y="256"/>
                      <a:pt x="190" y="256"/>
                    </a:cubicBezTo>
                    <a:cubicBezTo>
                      <a:pt x="191" y="253"/>
                      <a:pt x="191" y="253"/>
                      <a:pt x="191" y="253"/>
                    </a:cubicBezTo>
                    <a:cubicBezTo>
                      <a:pt x="191" y="251"/>
                      <a:pt x="191" y="251"/>
                      <a:pt x="191" y="251"/>
                    </a:cubicBezTo>
                    <a:cubicBezTo>
                      <a:pt x="187" y="247"/>
                      <a:pt x="187" y="247"/>
                      <a:pt x="187" y="247"/>
                    </a:cubicBezTo>
                    <a:cubicBezTo>
                      <a:pt x="191" y="242"/>
                      <a:pt x="191" y="242"/>
                      <a:pt x="191" y="242"/>
                    </a:cubicBezTo>
                    <a:cubicBezTo>
                      <a:pt x="192" y="238"/>
                      <a:pt x="192" y="238"/>
                      <a:pt x="192" y="238"/>
                    </a:cubicBezTo>
                    <a:cubicBezTo>
                      <a:pt x="195" y="230"/>
                      <a:pt x="195" y="230"/>
                      <a:pt x="195" y="230"/>
                    </a:cubicBezTo>
                    <a:cubicBezTo>
                      <a:pt x="201" y="228"/>
                      <a:pt x="201" y="228"/>
                      <a:pt x="201" y="228"/>
                    </a:cubicBezTo>
                    <a:cubicBezTo>
                      <a:pt x="211" y="227"/>
                      <a:pt x="211" y="227"/>
                      <a:pt x="211" y="227"/>
                    </a:cubicBezTo>
                    <a:cubicBezTo>
                      <a:pt x="215" y="224"/>
                      <a:pt x="215" y="224"/>
                      <a:pt x="215" y="224"/>
                    </a:cubicBezTo>
                    <a:cubicBezTo>
                      <a:pt x="218" y="225"/>
                      <a:pt x="218" y="225"/>
                      <a:pt x="218" y="225"/>
                    </a:cubicBezTo>
                    <a:cubicBezTo>
                      <a:pt x="220" y="225"/>
                      <a:pt x="220" y="225"/>
                      <a:pt x="220" y="225"/>
                    </a:cubicBezTo>
                    <a:cubicBezTo>
                      <a:pt x="224" y="220"/>
                      <a:pt x="224" y="220"/>
                      <a:pt x="224" y="220"/>
                    </a:cubicBezTo>
                    <a:cubicBezTo>
                      <a:pt x="230" y="219"/>
                      <a:pt x="230" y="219"/>
                      <a:pt x="230" y="219"/>
                    </a:cubicBezTo>
                    <a:cubicBezTo>
                      <a:pt x="233" y="214"/>
                      <a:pt x="233" y="214"/>
                      <a:pt x="233" y="214"/>
                    </a:cubicBezTo>
                    <a:cubicBezTo>
                      <a:pt x="235" y="213"/>
                      <a:pt x="235" y="213"/>
                      <a:pt x="235" y="213"/>
                    </a:cubicBezTo>
                    <a:cubicBezTo>
                      <a:pt x="236" y="210"/>
                      <a:pt x="236" y="210"/>
                      <a:pt x="236" y="210"/>
                    </a:cubicBezTo>
                    <a:cubicBezTo>
                      <a:pt x="235" y="208"/>
                      <a:pt x="235" y="208"/>
                      <a:pt x="235" y="208"/>
                    </a:cubicBezTo>
                    <a:cubicBezTo>
                      <a:pt x="232" y="205"/>
                      <a:pt x="232" y="205"/>
                      <a:pt x="232" y="205"/>
                    </a:cubicBezTo>
                    <a:cubicBezTo>
                      <a:pt x="228" y="204"/>
                      <a:pt x="228" y="204"/>
                      <a:pt x="228" y="204"/>
                    </a:cubicBezTo>
                    <a:cubicBezTo>
                      <a:pt x="222" y="200"/>
                      <a:pt x="222" y="200"/>
                      <a:pt x="222" y="200"/>
                    </a:cubicBezTo>
                    <a:cubicBezTo>
                      <a:pt x="218" y="194"/>
                      <a:pt x="218" y="194"/>
                      <a:pt x="218" y="194"/>
                    </a:cubicBezTo>
                    <a:cubicBezTo>
                      <a:pt x="220" y="192"/>
                      <a:pt x="220" y="192"/>
                      <a:pt x="220" y="192"/>
                    </a:cubicBezTo>
                    <a:cubicBezTo>
                      <a:pt x="224" y="184"/>
                      <a:pt x="224" y="184"/>
                      <a:pt x="224" y="184"/>
                    </a:cubicBezTo>
                    <a:cubicBezTo>
                      <a:pt x="227" y="176"/>
                      <a:pt x="227" y="176"/>
                      <a:pt x="227" y="176"/>
                    </a:cubicBezTo>
                    <a:cubicBezTo>
                      <a:pt x="238" y="175"/>
                      <a:pt x="238" y="175"/>
                      <a:pt x="238" y="175"/>
                    </a:cubicBezTo>
                    <a:cubicBezTo>
                      <a:pt x="247" y="172"/>
                      <a:pt x="247" y="172"/>
                      <a:pt x="247" y="172"/>
                    </a:cubicBezTo>
                    <a:cubicBezTo>
                      <a:pt x="251" y="173"/>
                      <a:pt x="251" y="173"/>
                      <a:pt x="251" y="173"/>
                    </a:cubicBezTo>
                    <a:cubicBezTo>
                      <a:pt x="255" y="176"/>
                      <a:pt x="255" y="176"/>
                      <a:pt x="255" y="176"/>
                    </a:cubicBezTo>
                    <a:cubicBezTo>
                      <a:pt x="258" y="181"/>
                      <a:pt x="258" y="181"/>
                      <a:pt x="258" y="181"/>
                    </a:cubicBezTo>
                    <a:cubicBezTo>
                      <a:pt x="258" y="186"/>
                      <a:pt x="258" y="186"/>
                      <a:pt x="258" y="186"/>
                    </a:cubicBezTo>
                    <a:cubicBezTo>
                      <a:pt x="260" y="186"/>
                      <a:pt x="260" y="186"/>
                      <a:pt x="260" y="186"/>
                    </a:cubicBezTo>
                    <a:cubicBezTo>
                      <a:pt x="262" y="185"/>
                      <a:pt x="262" y="185"/>
                      <a:pt x="262" y="185"/>
                    </a:cubicBezTo>
                    <a:cubicBezTo>
                      <a:pt x="262" y="181"/>
                      <a:pt x="262" y="181"/>
                      <a:pt x="262" y="181"/>
                    </a:cubicBezTo>
                    <a:cubicBezTo>
                      <a:pt x="264" y="178"/>
                      <a:pt x="264" y="178"/>
                      <a:pt x="264" y="178"/>
                    </a:cubicBezTo>
                    <a:cubicBezTo>
                      <a:pt x="270" y="175"/>
                      <a:pt x="270" y="175"/>
                      <a:pt x="270" y="175"/>
                    </a:cubicBezTo>
                    <a:cubicBezTo>
                      <a:pt x="272" y="171"/>
                      <a:pt x="272" y="171"/>
                      <a:pt x="272" y="171"/>
                    </a:cubicBezTo>
                    <a:cubicBezTo>
                      <a:pt x="273" y="169"/>
                      <a:pt x="273" y="169"/>
                      <a:pt x="273" y="169"/>
                    </a:cubicBezTo>
                    <a:cubicBezTo>
                      <a:pt x="272" y="164"/>
                      <a:pt x="272" y="164"/>
                      <a:pt x="272" y="164"/>
                    </a:cubicBezTo>
                    <a:cubicBezTo>
                      <a:pt x="269" y="162"/>
                      <a:pt x="269" y="162"/>
                      <a:pt x="269" y="162"/>
                    </a:cubicBezTo>
                    <a:cubicBezTo>
                      <a:pt x="263" y="162"/>
                      <a:pt x="263" y="162"/>
                      <a:pt x="263" y="162"/>
                    </a:cubicBezTo>
                    <a:cubicBezTo>
                      <a:pt x="258" y="162"/>
                      <a:pt x="258" y="162"/>
                      <a:pt x="258" y="162"/>
                    </a:cubicBezTo>
                    <a:cubicBezTo>
                      <a:pt x="257" y="162"/>
                      <a:pt x="257" y="162"/>
                      <a:pt x="257" y="162"/>
                    </a:cubicBezTo>
                    <a:cubicBezTo>
                      <a:pt x="255" y="162"/>
                      <a:pt x="255" y="162"/>
                      <a:pt x="255" y="162"/>
                    </a:cubicBezTo>
                    <a:cubicBezTo>
                      <a:pt x="250" y="159"/>
                      <a:pt x="250" y="159"/>
                      <a:pt x="250" y="159"/>
                    </a:cubicBezTo>
                    <a:cubicBezTo>
                      <a:pt x="249" y="157"/>
                      <a:pt x="249" y="157"/>
                      <a:pt x="249" y="157"/>
                    </a:cubicBezTo>
                    <a:cubicBezTo>
                      <a:pt x="247" y="157"/>
                      <a:pt x="247" y="157"/>
                      <a:pt x="247" y="157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6" y="162"/>
                      <a:pt x="246" y="162"/>
                      <a:pt x="246" y="162"/>
                    </a:cubicBezTo>
                    <a:cubicBezTo>
                      <a:pt x="249" y="165"/>
                      <a:pt x="249" y="165"/>
                      <a:pt x="249" y="165"/>
                    </a:cubicBezTo>
                    <a:cubicBezTo>
                      <a:pt x="249" y="167"/>
                      <a:pt x="249" y="167"/>
                      <a:pt x="249" y="167"/>
                    </a:cubicBezTo>
                    <a:cubicBezTo>
                      <a:pt x="245" y="169"/>
                      <a:pt x="245" y="169"/>
                      <a:pt x="245" y="169"/>
                    </a:cubicBezTo>
                    <a:cubicBezTo>
                      <a:pt x="242" y="169"/>
                      <a:pt x="242" y="169"/>
                      <a:pt x="242" y="169"/>
                    </a:cubicBezTo>
                    <a:cubicBezTo>
                      <a:pt x="236" y="171"/>
                      <a:pt x="236" y="171"/>
                      <a:pt x="236" y="171"/>
                    </a:cubicBezTo>
                    <a:cubicBezTo>
                      <a:pt x="233" y="171"/>
                      <a:pt x="233" y="171"/>
                      <a:pt x="233" y="171"/>
                    </a:cubicBezTo>
                    <a:cubicBezTo>
                      <a:pt x="230" y="170"/>
                      <a:pt x="230" y="170"/>
                      <a:pt x="230" y="170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29" y="164"/>
                      <a:pt x="229" y="164"/>
                      <a:pt x="229" y="164"/>
                    </a:cubicBezTo>
                    <a:cubicBezTo>
                      <a:pt x="230" y="162"/>
                      <a:pt x="230" y="162"/>
                      <a:pt x="230" y="162"/>
                    </a:cubicBezTo>
                    <a:cubicBezTo>
                      <a:pt x="231" y="156"/>
                      <a:pt x="231" y="156"/>
                      <a:pt x="231" y="156"/>
                    </a:cubicBezTo>
                    <a:cubicBezTo>
                      <a:pt x="227" y="153"/>
                      <a:pt x="227" y="153"/>
                      <a:pt x="227" y="153"/>
                    </a:cubicBezTo>
                    <a:cubicBezTo>
                      <a:pt x="220" y="146"/>
                      <a:pt x="220" y="146"/>
                      <a:pt x="220" y="146"/>
                    </a:cubicBezTo>
                    <a:cubicBezTo>
                      <a:pt x="216" y="141"/>
                      <a:pt x="216" y="141"/>
                      <a:pt x="216" y="141"/>
                    </a:cubicBezTo>
                    <a:cubicBezTo>
                      <a:pt x="213" y="137"/>
                      <a:pt x="213" y="137"/>
                      <a:pt x="213" y="137"/>
                    </a:cubicBezTo>
                    <a:cubicBezTo>
                      <a:pt x="210" y="135"/>
                      <a:pt x="210" y="135"/>
                      <a:pt x="210" y="135"/>
                    </a:cubicBezTo>
                    <a:cubicBezTo>
                      <a:pt x="208" y="134"/>
                      <a:pt x="208" y="134"/>
                      <a:pt x="208" y="134"/>
                    </a:cubicBezTo>
                    <a:cubicBezTo>
                      <a:pt x="205" y="131"/>
                      <a:pt x="205" y="131"/>
                      <a:pt x="205" y="131"/>
                    </a:cubicBezTo>
                    <a:cubicBezTo>
                      <a:pt x="202" y="130"/>
                      <a:pt x="202" y="130"/>
                      <a:pt x="202" y="130"/>
                    </a:cubicBez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8" y="127"/>
                      <a:pt x="198" y="127"/>
                      <a:pt x="198" y="127"/>
                    </a:cubicBezTo>
                    <a:cubicBezTo>
                      <a:pt x="194" y="123"/>
                      <a:pt x="194" y="123"/>
                      <a:pt x="194" y="123"/>
                    </a:cubicBezTo>
                    <a:cubicBezTo>
                      <a:pt x="194" y="121"/>
                      <a:pt x="194" y="121"/>
                      <a:pt x="194" y="121"/>
                    </a:cubicBezTo>
                    <a:cubicBezTo>
                      <a:pt x="191" y="123"/>
                      <a:pt x="191" y="123"/>
                      <a:pt x="191" y="123"/>
                    </a:cubicBezTo>
                    <a:cubicBezTo>
                      <a:pt x="194" y="126"/>
                      <a:pt x="194" y="126"/>
                      <a:pt x="194" y="126"/>
                    </a:cubicBezTo>
                    <a:cubicBezTo>
                      <a:pt x="194" y="129"/>
                      <a:pt x="194" y="129"/>
                      <a:pt x="194" y="129"/>
                    </a:cubicBezTo>
                    <a:cubicBezTo>
                      <a:pt x="193" y="129"/>
                      <a:pt x="193" y="129"/>
                      <a:pt x="193" y="129"/>
                    </a:cubicBezTo>
                    <a:cubicBezTo>
                      <a:pt x="190" y="129"/>
                      <a:pt x="190" y="129"/>
                      <a:pt x="190" y="129"/>
                    </a:cubicBezTo>
                    <a:cubicBezTo>
                      <a:pt x="187" y="127"/>
                      <a:pt x="187" y="127"/>
                      <a:pt x="187" y="127"/>
                    </a:cubicBezTo>
                    <a:cubicBezTo>
                      <a:pt x="185" y="122"/>
                      <a:pt x="185" y="122"/>
                      <a:pt x="185" y="122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6" y="122"/>
                      <a:pt x="176" y="122"/>
                      <a:pt x="176" y="122"/>
                    </a:cubicBezTo>
                    <a:cubicBezTo>
                      <a:pt x="170" y="127"/>
                      <a:pt x="170" y="127"/>
                      <a:pt x="170" y="127"/>
                    </a:cubicBezTo>
                    <a:cubicBezTo>
                      <a:pt x="171" y="131"/>
                      <a:pt x="171" y="131"/>
                      <a:pt x="171" y="131"/>
                    </a:cubicBezTo>
                    <a:cubicBezTo>
                      <a:pt x="166" y="133"/>
                      <a:pt x="166" y="133"/>
                      <a:pt x="166" y="133"/>
                    </a:cubicBezTo>
                    <a:cubicBezTo>
                      <a:pt x="164" y="131"/>
                      <a:pt x="164" y="131"/>
                      <a:pt x="164" y="131"/>
                    </a:cubicBezTo>
                    <a:cubicBezTo>
                      <a:pt x="161" y="126"/>
                      <a:pt x="161" y="126"/>
                      <a:pt x="161" y="126"/>
                    </a:cubicBezTo>
                    <a:cubicBezTo>
                      <a:pt x="162" y="123"/>
                      <a:pt x="162" y="123"/>
                      <a:pt x="162" y="123"/>
                    </a:cubicBezTo>
                    <a:cubicBezTo>
                      <a:pt x="164" y="122"/>
                      <a:pt x="164" y="122"/>
                      <a:pt x="164" y="122"/>
                    </a:cubicBezTo>
                    <a:cubicBezTo>
                      <a:pt x="167" y="121"/>
                      <a:pt x="167" y="121"/>
                      <a:pt x="167" y="121"/>
                    </a:cubicBezTo>
                    <a:cubicBezTo>
                      <a:pt x="169" y="119"/>
                      <a:pt x="169" y="119"/>
                      <a:pt x="169" y="119"/>
                    </a:cubicBezTo>
                    <a:cubicBezTo>
                      <a:pt x="169" y="116"/>
                      <a:pt x="169" y="116"/>
                      <a:pt x="169" y="116"/>
                    </a:cubicBezTo>
                    <a:cubicBezTo>
                      <a:pt x="169" y="114"/>
                      <a:pt x="169" y="114"/>
                      <a:pt x="169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1" y="112"/>
                      <a:pt x="161" y="112"/>
                      <a:pt x="161" y="112"/>
                    </a:cubicBezTo>
                    <a:cubicBezTo>
                      <a:pt x="158" y="111"/>
                      <a:pt x="158" y="111"/>
                      <a:pt x="158" y="111"/>
                    </a:cubicBezTo>
                    <a:cubicBezTo>
                      <a:pt x="158" y="109"/>
                      <a:pt x="158" y="109"/>
                      <a:pt x="158" y="109"/>
                    </a:cubicBezTo>
                    <a:cubicBezTo>
                      <a:pt x="157" y="102"/>
                      <a:pt x="157" y="102"/>
                      <a:pt x="157" y="102"/>
                    </a:cubicBezTo>
                    <a:cubicBezTo>
                      <a:pt x="155" y="106"/>
                      <a:pt x="155" y="106"/>
                      <a:pt x="155" y="106"/>
                    </a:cubicBezTo>
                    <a:cubicBezTo>
                      <a:pt x="153" y="107"/>
                      <a:pt x="153" y="107"/>
                      <a:pt x="153" y="107"/>
                    </a:cubicBezTo>
                    <a:cubicBezTo>
                      <a:pt x="151" y="109"/>
                      <a:pt x="151" y="109"/>
                      <a:pt x="151" y="109"/>
                    </a:cubicBezTo>
                    <a:cubicBezTo>
                      <a:pt x="149" y="109"/>
                      <a:pt x="149" y="109"/>
                      <a:pt x="149" y="109"/>
                    </a:cubicBezTo>
                    <a:cubicBezTo>
                      <a:pt x="148" y="106"/>
                      <a:pt x="148" y="106"/>
                      <a:pt x="148" y="106"/>
                    </a:cubicBezTo>
                    <a:cubicBezTo>
                      <a:pt x="150" y="104"/>
                      <a:pt x="150" y="104"/>
                      <a:pt x="150" y="104"/>
                    </a:cubicBezTo>
                    <a:cubicBezTo>
                      <a:pt x="152" y="103"/>
                      <a:pt x="152" y="103"/>
                      <a:pt x="152" y="103"/>
                    </a:cubicBezTo>
                    <a:cubicBezTo>
                      <a:pt x="152" y="101"/>
                      <a:pt x="152" y="101"/>
                      <a:pt x="152" y="101"/>
                    </a:cubicBezTo>
                    <a:cubicBezTo>
                      <a:pt x="150" y="101"/>
                      <a:pt x="150" y="101"/>
                      <a:pt x="150" y="101"/>
                    </a:cubicBezTo>
                    <a:cubicBezTo>
                      <a:pt x="149" y="100"/>
                      <a:pt x="149" y="100"/>
                      <a:pt x="149" y="100"/>
                    </a:cubicBezTo>
                    <a:cubicBezTo>
                      <a:pt x="149" y="95"/>
                      <a:pt x="149" y="95"/>
                      <a:pt x="149" y="95"/>
                    </a:cubicBezTo>
                    <a:cubicBezTo>
                      <a:pt x="145" y="97"/>
                      <a:pt x="145" y="97"/>
                      <a:pt x="145" y="97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2" y="104"/>
                      <a:pt x="142" y="104"/>
                      <a:pt x="142" y="104"/>
                    </a:cubicBezTo>
                    <a:cubicBezTo>
                      <a:pt x="140" y="101"/>
                      <a:pt x="140" y="101"/>
                      <a:pt x="140" y="101"/>
                    </a:cubicBezTo>
                    <a:cubicBezTo>
                      <a:pt x="140" y="98"/>
                      <a:pt x="140" y="98"/>
                      <a:pt x="140" y="98"/>
                    </a:cubicBezTo>
                    <a:cubicBezTo>
                      <a:pt x="140" y="97"/>
                      <a:pt x="140" y="97"/>
                      <a:pt x="140" y="97"/>
                    </a:cubicBezTo>
                    <a:cubicBezTo>
                      <a:pt x="137" y="93"/>
                      <a:pt x="137" y="93"/>
                      <a:pt x="137" y="93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29" y="92"/>
                      <a:pt x="129" y="92"/>
                      <a:pt x="129" y="92"/>
                    </a:cubicBezTo>
                    <a:cubicBezTo>
                      <a:pt x="127" y="90"/>
                      <a:pt x="127" y="90"/>
                      <a:pt x="127" y="90"/>
                    </a:cubicBezTo>
                    <a:cubicBezTo>
                      <a:pt x="125" y="89"/>
                      <a:pt x="125" y="89"/>
                      <a:pt x="125" y="89"/>
                    </a:cubicBezTo>
                    <a:cubicBezTo>
                      <a:pt x="125" y="87"/>
                      <a:pt x="125" y="87"/>
                      <a:pt x="125" y="87"/>
                    </a:cubicBezTo>
                    <a:cubicBezTo>
                      <a:pt x="122" y="86"/>
                      <a:pt x="122" y="86"/>
                      <a:pt x="122" y="86"/>
                    </a:cubicBezTo>
                    <a:cubicBezTo>
                      <a:pt x="122" y="84"/>
                      <a:pt x="122" y="84"/>
                      <a:pt x="122" y="84"/>
                    </a:cubicBezTo>
                    <a:cubicBezTo>
                      <a:pt x="123" y="82"/>
                      <a:pt x="123" y="82"/>
                      <a:pt x="123" y="82"/>
                    </a:cubicBezTo>
                    <a:cubicBezTo>
                      <a:pt x="122" y="81"/>
                      <a:pt x="122" y="81"/>
                      <a:pt x="122" y="81"/>
                    </a:cubicBezTo>
                    <a:cubicBezTo>
                      <a:pt x="119" y="82"/>
                      <a:pt x="119" y="82"/>
                      <a:pt x="119" y="82"/>
                    </a:cubicBezTo>
                    <a:cubicBezTo>
                      <a:pt x="116" y="87"/>
                      <a:pt x="116" y="87"/>
                      <a:pt x="116" y="87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3" y="96"/>
                      <a:pt x="123" y="96"/>
                      <a:pt x="123" y="96"/>
                    </a:cubicBezTo>
                    <a:cubicBezTo>
                      <a:pt x="128" y="98"/>
                      <a:pt x="128" y="98"/>
                      <a:pt x="128" y="98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6" y="103"/>
                      <a:pt x="126" y="103"/>
                      <a:pt x="126" y="103"/>
                    </a:cubicBezTo>
                    <a:cubicBezTo>
                      <a:pt x="123" y="104"/>
                      <a:pt x="123" y="104"/>
                      <a:pt x="123" y="104"/>
                    </a:cubicBezTo>
                    <a:cubicBezTo>
                      <a:pt x="110" y="105"/>
                      <a:pt x="110" y="105"/>
                      <a:pt x="110" y="105"/>
                    </a:cubicBezTo>
                    <a:cubicBezTo>
                      <a:pt x="104" y="105"/>
                      <a:pt x="104" y="105"/>
                      <a:pt x="104" y="105"/>
                    </a:cubicBezTo>
                    <a:cubicBezTo>
                      <a:pt x="101" y="103"/>
                      <a:pt x="101" y="103"/>
                      <a:pt x="101" y="103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2" y="104"/>
                      <a:pt x="92" y="104"/>
                      <a:pt x="92" y="104"/>
                    </a:cubicBezTo>
                    <a:cubicBezTo>
                      <a:pt x="87" y="104"/>
                      <a:pt x="87" y="104"/>
                      <a:pt x="87" y="104"/>
                    </a:cubicBezTo>
                    <a:cubicBezTo>
                      <a:pt x="84" y="103"/>
                      <a:pt x="84" y="103"/>
                      <a:pt x="84" y="103"/>
                    </a:cubicBezTo>
                    <a:cubicBezTo>
                      <a:pt x="82" y="105"/>
                      <a:pt x="82" y="105"/>
                      <a:pt x="82" y="105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9" y="109"/>
                      <a:pt x="89" y="109"/>
                      <a:pt x="89" y="109"/>
                    </a:cubicBezTo>
                    <a:cubicBezTo>
                      <a:pt x="93" y="110"/>
                      <a:pt x="93" y="110"/>
                      <a:pt x="93" y="110"/>
                    </a:cubicBezTo>
                    <a:cubicBezTo>
                      <a:pt x="96" y="111"/>
                      <a:pt x="96" y="111"/>
                      <a:pt x="96" y="111"/>
                    </a:cubicBezTo>
                    <a:cubicBezTo>
                      <a:pt x="98" y="114"/>
                      <a:pt x="98" y="114"/>
                      <a:pt x="98" y="114"/>
                    </a:cubicBezTo>
                    <a:lnTo>
                      <a:pt x="95" y="11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0" name="Freeform 65"/>
              <p:cNvSpPr>
                <a:spLocks/>
              </p:cNvSpPr>
              <p:nvPr/>
            </p:nvSpPr>
            <p:spPr bwMode="auto">
              <a:xfrm>
                <a:off x="4653387" y="2318523"/>
                <a:ext cx="95724" cy="55277"/>
              </a:xfrm>
              <a:custGeom>
                <a:avLst/>
                <a:gdLst>
                  <a:gd name="T0" fmla="*/ 21 w 51"/>
                  <a:gd name="T1" fmla="*/ 30 h 30"/>
                  <a:gd name="T2" fmla="*/ 25 w 51"/>
                  <a:gd name="T3" fmla="*/ 29 h 30"/>
                  <a:gd name="T4" fmla="*/ 25 w 51"/>
                  <a:gd name="T5" fmla="*/ 25 h 30"/>
                  <a:gd name="T6" fmla="*/ 31 w 51"/>
                  <a:gd name="T7" fmla="*/ 22 h 30"/>
                  <a:gd name="T8" fmla="*/ 35 w 51"/>
                  <a:gd name="T9" fmla="*/ 22 h 30"/>
                  <a:gd name="T10" fmla="*/ 42 w 51"/>
                  <a:gd name="T11" fmla="*/ 22 h 30"/>
                  <a:gd name="T12" fmla="*/ 50 w 51"/>
                  <a:gd name="T13" fmla="*/ 20 h 30"/>
                  <a:gd name="T14" fmla="*/ 51 w 51"/>
                  <a:gd name="T15" fmla="*/ 18 h 30"/>
                  <a:gd name="T16" fmla="*/ 47 w 51"/>
                  <a:gd name="T17" fmla="*/ 12 h 30"/>
                  <a:gd name="T18" fmla="*/ 39 w 51"/>
                  <a:gd name="T19" fmla="*/ 7 h 30"/>
                  <a:gd name="T20" fmla="*/ 36 w 51"/>
                  <a:gd name="T21" fmla="*/ 4 h 30"/>
                  <a:gd name="T22" fmla="*/ 29 w 51"/>
                  <a:gd name="T23" fmla="*/ 1 h 30"/>
                  <a:gd name="T24" fmla="*/ 21 w 51"/>
                  <a:gd name="T25" fmla="*/ 1 h 30"/>
                  <a:gd name="T26" fmla="*/ 18 w 51"/>
                  <a:gd name="T27" fmla="*/ 1 h 30"/>
                  <a:gd name="T28" fmla="*/ 13 w 51"/>
                  <a:gd name="T29" fmla="*/ 4 h 30"/>
                  <a:gd name="T30" fmla="*/ 7 w 51"/>
                  <a:gd name="T31" fmla="*/ 1 h 30"/>
                  <a:gd name="T32" fmla="*/ 0 w 51"/>
                  <a:gd name="T33" fmla="*/ 3 h 30"/>
                  <a:gd name="T34" fmla="*/ 4 w 51"/>
                  <a:gd name="T35" fmla="*/ 11 h 30"/>
                  <a:gd name="T36" fmla="*/ 5 w 51"/>
                  <a:gd name="T37" fmla="*/ 14 h 30"/>
                  <a:gd name="T38" fmla="*/ 9 w 51"/>
                  <a:gd name="T39" fmla="*/ 15 h 30"/>
                  <a:gd name="T40" fmla="*/ 11 w 51"/>
                  <a:gd name="T41" fmla="*/ 19 h 30"/>
                  <a:gd name="T42" fmla="*/ 13 w 51"/>
                  <a:gd name="T43" fmla="*/ 23 h 30"/>
                  <a:gd name="T44" fmla="*/ 16 w 51"/>
                  <a:gd name="T45" fmla="*/ 28 h 30"/>
                  <a:gd name="T46" fmla="*/ 17 w 51"/>
                  <a:gd name="T47" fmla="*/ 30 h 30"/>
                  <a:gd name="T48" fmla="*/ 21 w 51"/>
                  <a:gd name="T4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1" h="30">
                    <a:moveTo>
                      <a:pt x="21" y="30"/>
                    </a:moveTo>
                    <a:cubicBezTo>
                      <a:pt x="25" y="29"/>
                      <a:pt x="25" y="29"/>
                      <a:pt x="25" y="29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19" y="0"/>
                      <a:pt x="18" y="1"/>
                    </a:cubicBezTo>
                    <a:cubicBezTo>
                      <a:pt x="17" y="1"/>
                      <a:pt x="13" y="4"/>
                      <a:pt x="13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7" y="30"/>
                      <a:pt x="17" y="30"/>
                      <a:pt x="17" y="30"/>
                    </a:cubicBezTo>
                    <a:lnTo>
                      <a:pt x="21" y="3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1" name="Freeform 66"/>
              <p:cNvSpPr>
                <a:spLocks/>
              </p:cNvSpPr>
              <p:nvPr/>
            </p:nvSpPr>
            <p:spPr bwMode="auto">
              <a:xfrm>
                <a:off x="4882584" y="2590862"/>
                <a:ext cx="24268" cy="14831"/>
              </a:xfrm>
              <a:custGeom>
                <a:avLst/>
                <a:gdLst>
                  <a:gd name="T0" fmla="*/ 6 w 18"/>
                  <a:gd name="T1" fmla="*/ 11 h 11"/>
                  <a:gd name="T2" fmla="*/ 14 w 18"/>
                  <a:gd name="T3" fmla="*/ 11 h 11"/>
                  <a:gd name="T4" fmla="*/ 18 w 18"/>
                  <a:gd name="T5" fmla="*/ 8 h 11"/>
                  <a:gd name="T6" fmla="*/ 18 w 18"/>
                  <a:gd name="T7" fmla="*/ 7 h 11"/>
                  <a:gd name="T8" fmla="*/ 13 w 18"/>
                  <a:gd name="T9" fmla="*/ 0 h 11"/>
                  <a:gd name="T10" fmla="*/ 6 w 18"/>
                  <a:gd name="T11" fmla="*/ 0 h 11"/>
                  <a:gd name="T12" fmla="*/ 0 w 18"/>
                  <a:gd name="T13" fmla="*/ 3 h 11"/>
                  <a:gd name="T14" fmla="*/ 3 w 18"/>
                  <a:gd name="T15" fmla="*/ 5 h 11"/>
                  <a:gd name="T16" fmla="*/ 6 w 1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1">
                    <a:moveTo>
                      <a:pt x="6" y="11"/>
                    </a:moveTo>
                    <a:lnTo>
                      <a:pt x="14" y="11"/>
                    </a:lnTo>
                    <a:lnTo>
                      <a:pt x="18" y="8"/>
                    </a:lnTo>
                    <a:lnTo>
                      <a:pt x="18" y="7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2" name="Freeform 67"/>
              <p:cNvSpPr>
                <a:spLocks/>
              </p:cNvSpPr>
              <p:nvPr/>
            </p:nvSpPr>
            <p:spPr bwMode="auto">
              <a:xfrm>
                <a:off x="4856967" y="2563898"/>
                <a:ext cx="14831" cy="21571"/>
              </a:xfrm>
              <a:custGeom>
                <a:avLst/>
                <a:gdLst>
                  <a:gd name="T0" fmla="*/ 4 w 8"/>
                  <a:gd name="T1" fmla="*/ 11 h 11"/>
                  <a:gd name="T2" fmla="*/ 8 w 8"/>
                  <a:gd name="T3" fmla="*/ 9 h 11"/>
                  <a:gd name="T4" fmla="*/ 6 w 8"/>
                  <a:gd name="T5" fmla="*/ 5 h 11"/>
                  <a:gd name="T6" fmla="*/ 4 w 8"/>
                  <a:gd name="T7" fmla="*/ 0 h 11"/>
                  <a:gd name="T8" fmla="*/ 0 w 8"/>
                  <a:gd name="T9" fmla="*/ 1 h 11"/>
                  <a:gd name="T10" fmla="*/ 0 w 8"/>
                  <a:gd name="T11" fmla="*/ 5 h 11"/>
                  <a:gd name="T12" fmla="*/ 0 w 8"/>
                  <a:gd name="T13" fmla="*/ 8 h 11"/>
                  <a:gd name="T14" fmla="*/ 0 w 8"/>
                  <a:gd name="T15" fmla="*/ 9 h 11"/>
                  <a:gd name="T16" fmla="*/ 4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4" y="11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1" y="0"/>
                      <a:pt x="0" y="1"/>
                    </a:cubicBezTo>
                    <a:cubicBezTo>
                      <a:pt x="0" y="2"/>
                      <a:pt x="0" y="5"/>
                      <a:pt x="0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3" name="Freeform 68"/>
              <p:cNvSpPr>
                <a:spLocks/>
              </p:cNvSpPr>
              <p:nvPr/>
            </p:nvSpPr>
            <p:spPr bwMode="auto">
              <a:xfrm>
                <a:off x="4782816" y="2605692"/>
                <a:ext cx="14831" cy="16179"/>
              </a:xfrm>
              <a:custGeom>
                <a:avLst/>
                <a:gdLst>
                  <a:gd name="T0" fmla="*/ 8 w 11"/>
                  <a:gd name="T1" fmla="*/ 12 h 12"/>
                  <a:gd name="T2" fmla="*/ 5 w 11"/>
                  <a:gd name="T3" fmla="*/ 10 h 12"/>
                  <a:gd name="T4" fmla="*/ 0 w 11"/>
                  <a:gd name="T5" fmla="*/ 5 h 12"/>
                  <a:gd name="T6" fmla="*/ 8 w 11"/>
                  <a:gd name="T7" fmla="*/ 0 h 12"/>
                  <a:gd name="T8" fmla="*/ 11 w 11"/>
                  <a:gd name="T9" fmla="*/ 0 h 12"/>
                  <a:gd name="T10" fmla="*/ 8 w 11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2">
                    <a:moveTo>
                      <a:pt x="8" y="12"/>
                    </a:moveTo>
                    <a:lnTo>
                      <a:pt x="5" y="10"/>
                    </a:lnTo>
                    <a:lnTo>
                      <a:pt x="0" y="5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sp>
        <p:nvSpPr>
          <p:cNvPr id="98" name="TextBox 97"/>
          <p:cNvSpPr txBox="1"/>
          <p:nvPr/>
        </p:nvSpPr>
        <p:spPr>
          <a:xfrm>
            <a:off x="2902896" y="1663319"/>
            <a:ext cx="7169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cap="all" spc="20" err="1">
                <a:solidFill>
                  <a:schemeClr val="accent1"/>
                </a:solidFill>
                <a:latin typeface="+mj-lt"/>
              </a:rPr>
              <a:t>manitoba</a:t>
            </a:r>
            <a:endParaRPr lang="en-US" sz="1000" cap="all" spc="2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3522356" y="2256334"/>
            <a:ext cx="6338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cap="all" spc="20">
                <a:solidFill>
                  <a:schemeClr val="accent1"/>
                </a:solidFill>
                <a:latin typeface="+mj-lt"/>
              </a:rPr>
              <a:t>Quebec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019425" y="2333280"/>
            <a:ext cx="429678" cy="645664"/>
            <a:chOff x="3019425" y="2333280"/>
            <a:chExt cx="429678" cy="645664"/>
          </a:xfrm>
        </p:grpSpPr>
        <p:cxnSp>
          <p:nvCxnSpPr>
            <p:cNvPr id="101" name="Straight Connector 100"/>
            <p:cNvCxnSpPr/>
            <p:nvPr/>
          </p:nvCxnSpPr>
          <p:spPr>
            <a:xfrm flipV="1">
              <a:off x="3019425" y="2333280"/>
              <a:ext cx="249886" cy="645664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3265993" y="2335659"/>
              <a:ext cx="18311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/>
        </p:nvGrpSpPr>
        <p:grpSpPr>
          <a:xfrm>
            <a:off x="2105025" y="1750149"/>
            <a:ext cx="736928" cy="1409770"/>
            <a:chOff x="2105025" y="1750149"/>
            <a:chExt cx="736928" cy="1409770"/>
          </a:xfrm>
        </p:grpSpPr>
        <p:cxnSp>
          <p:nvCxnSpPr>
            <p:cNvPr id="107" name="Straight Connector 106"/>
            <p:cNvCxnSpPr/>
            <p:nvPr/>
          </p:nvCxnSpPr>
          <p:spPr>
            <a:xfrm flipV="1">
              <a:off x="2105025" y="1750221"/>
              <a:ext cx="557213" cy="1409698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2658843" y="1750149"/>
              <a:ext cx="18311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641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op States in </a:t>
            </a:r>
            <a:r>
              <a:rPr lang="en-US">
                <a:solidFill>
                  <a:schemeClr val="accent2"/>
                </a:solidFill>
              </a:rPr>
              <a:t>Users Sub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8" name="Oval 247"/>
          <p:cNvSpPr/>
          <p:nvPr/>
        </p:nvSpPr>
        <p:spPr>
          <a:xfrm>
            <a:off x="4752238" y="2570859"/>
            <a:ext cx="71006" cy="7100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250" name="Straight Connector 249"/>
          <p:cNvCxnSpPr>
            <a:stCxn id="248" idx="4"/>
          </p:cNvCxnSpPr>
          <p:nvPr/>
        </p:nvCxnSpPr>
        <p:spPr>
          <a:xfrm>
            <a:off x="4787741" y="2641865"/>
            <a:ext cx="0" cy="250163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7" name="TextBox 536"/>
          <p:cNvSpPr txBox="1"/>
          <p:nvPr/>
        </p:nvSpPr>
        <p:spPr>
          <a:xfrm>
            <a:off x="5567198" y="1554227"/>
            <a:ext cx="2541534" cy="3179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ti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538" name="TextBox 537"/>
          <p:cNvSpPr txBox="1"/>
          <p:nvPr/>
        </p:nvSpPr>
        <p:spPr>
          <a:xfrm>
            <a:off x="5567198" y="1322270"/>
            <a:ext cx="254153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cap="all" spc="20">
                <a:solidFill>
                  <a:schemeClr val="accent1"/>
                </a:solidFill>
                <a:latin typeface="+mj-lt"/>
              </a:rPr>
              <a:t>Top 5 States in 2013</a:t>
            </a:r>
          </a:p>
        </p:txBody>
      </p:sp>
      <p:sp>
        <p:nvSpPr>
          <p:cNvPr id="539" name="TextBox 538"/>
          <p:cNvSpPr txBox="1"/>
          <p:nvPr/>
        </p:nvSpPr>
        <p:spPr>
          <a:xfrm>
            <a:off x="4508182" y="2136974"/>
            <a:ext cx="5591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January</a:t>
            </a:r>
          </a:p>
          <a:p>
            <a:pPr algn="ctr">
              <a:lnSpc>
                <a:spcPts val="1200"/>
              </a:lnSpc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2013</a:t>
            </a:r>
          </a:p>
        </p:txBody>
      </p:sp>
      <p:grpSp>
        <p:nvGrpSpPr>
          <p:cNvPr id="540" name="Group 539"/>
          <p:cNvGrpSpPr/>
          <p:nvPr/>
        </p:nvGrpSpPr>
        <p:grpSpPr>
          <a:xfrm>
            <a:off x="864580" y="1514756"/>
            <a:ext cx="3246354" cy="2121772"/>
            <a:chOff x="5157992" y="1665629"/>
            <a:chExt cx="2936367" cy="1919171"/>
          </a:xfrm>
          <a:solidFill>
            <a:schemeClr val="accent6"/>
          </a:solidFill>
        </p:grpSpPr>
        <p:sp>
          <p:nvSpPr>
            <p:cNvPr id="541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2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3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4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5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6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7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8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9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0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1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2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3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4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5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6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7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8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9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0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1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2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3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4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5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6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7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8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9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0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1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2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3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4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5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6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7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8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9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0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1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2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3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4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5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6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7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8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9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0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1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2" name="Freeform 591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3" name="Freeform 592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559735" y="2170168"/>
            <a:ext cx="2548996" cy="1560195"/>
            <a:chOff x="5559735" y="2473873"/>
            <a:chExt cx="2548996" cy="1560195"/>
          </a:xfrm>
        </p:grpSpPr>
        <p:grpSp>
          <p:nvGrpSpPr>
            <p:cNvPr id="4" name="Group 3"/>
            <p:cNvGrpSpPr/>
            <p:nvPr/>
          </p:nvGrpSpPr>
          <p:grpSpPr>
            <a:xfrm>
              <a:off x="5559735" y="2473873"/>
              <a:ext cx="2548996" cy="180646"/>
              <a:chOff x="5988579" y="2690586"/>
              <a:chExt cx="2548996" cy="180646"/>
            </a:xfrm>
          </p:grpSpPr>
          <p:sp>
            <p:nvSpPr>
              <p:cNvPr id="256" name="Rectangle 255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594" name="TextBox 593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New York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6705601" y="2691035"/>
                <a:ext cx="1095374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7854919" y="2690586"/>
                <a:ext cx="405107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67%</a:t>
                </a:r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5559735" y="2818760"/>
              <a:ext cx="2548996" cy="180646"/>
              <a:chOff x="5988579" y="2690586"/>
              <a:chExt cx="2548996" cy="180646"/>
            </a:xfrm>
          </p:grpSpPr>
          <p:sp>
            <p:nvSpPr>
              <p:cNvPr id="70" name="Rectangle 69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Georgia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6705601" y="2691035"/>
                <a:ext cx="815974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7603868" y="2690586"/>
                <a:ext cx="486951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42%</a:t>
                </a:r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5559735" y="3163647"/>
              <a:ext cx="2548996" cy="180646"/>
              <a:chOff x="5988579" y="2690586"/>
              <a:chExt cx="2548996" cy="180646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Texas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6705601" y="2691035"/>
                <a:ext cx="708190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7483105" y="2690586"/>
                <a:ext cx="489535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40%</a:t>
                </a:r>
              </a:p>
            </p:txBody>
          </p:sp>
        </p:grpSp>
        <p:grpSp>
          <p:nvGrpSpPr>
            <p:cNvPr id="79" name="Group 78"/>
            <p:cNvGrpSpPr/>
            <p:nvPr/>
          </p:nvGrpSpPr>
          <p:grpSpPr>
            <a:xfrm>
              <a:off x="5559735" y="3508534"/>
              <a:ext cx="2548996" cy="180646"/>
              <a:chOff x="5988579" y="2690586"/>
              <a:chExt cx="2548996" cy="180646"/>
            </a:xfrm>
          </p:grpSpPr>
          <p:sp>
            <p:nvSpPr>
              <p:cNvPr id="80" name="Rectangle 79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California</a:t>
                </a:r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6705601" y="2691035"/>
                <a:ext cx="609599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7383409" y="2690586"/>
                <a:ext cx="417565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37%</a:t>
                </a: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559735" y="3853422"/>
              <a:ext cx="2548996" cy="180646"/>
              <a:chOff x="5988579" y="2690586"/>
              <a:chExt cx="2548996" cy="180646"/>
            </a:xfrm>
          </p:grpSpPr>
          <p:sp>
            <p:nvSpPr>
              <p:cNvPr id="85" name="Rectangle 84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Colorado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6705601" y="2691035"/>
                <a:ext cx="152399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6899161" y="2690586"/>
                <a:ext cx="622411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8.2%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7962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val 90"/>
          <p:cNvSpPr/>
          <p:nvPr/>
        </p:nvSpPr>
        <p:spPr>
          <a:xfrm>
            <a:off x="4752238" y="2295243"/>
            <a:ext cx="71006" cy="7100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92" name="Straight Connector 91"/>
          <p:cNvCxnSpPr>
            <a:stCxn id="91" idx="4"/>
          </p:cNvCxnSpPr>
          <p:nvPr/>
        </p:nvCxnSpPr>
        <p:spPr>
          <a:xfrm>
            <a:off x="4787741" y="2366249"/>
            <a:ext cx="0" cy="277725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5567198" y="1553132"/>
            <a:ext cx="2541534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ti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567198" y="1321175"/>
            <a:ext cx="254153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cap="all" spc="20">
                <a:solidFill>
                  <a:schemeClr val="accent1"/>
                </a:solidFill>
                <a:latin typeface="+mj-lt"/>
              </a:rPr>
              <a:t>Top 5 States in 2014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4508182" y="1832174"/>
            <a:ext cx="5591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August</a:t>
            </a:r>
          </a:p>
          <a:p>
            <a:pPr algn="ctr">
              <a:lnSpc>
                <a:spcPts val="1200"/>
              </a:lnSpc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2014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864580" y="1513661"/>
            <a:ext cx="3246354" cy="2121772"/>
            <a:chOff x="5157992" y="1665629"/>
            <a:chExt cx="2936367" cy="1919171"/>
          </a:xfrm>
          <a:solidFill>
            <a:schemeClr val="accent6"/>
          </a:solidFill>
        </p:grpSpPr>
        <p:sp>
          <p:nvSpPr>
            <p:cNvPr id="97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8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9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0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1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2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3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4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5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6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7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8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9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0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1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2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3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4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5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6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7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8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9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0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1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2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3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4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5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6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7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8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9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0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131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2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3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4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5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6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7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8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9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0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1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2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3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4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5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6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7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9" name="Freeform 148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59735" y="2169073"/>
            <a:ext cx="2548996" cy="1560195"/>
            <a:chOff x="5559735" y="2169073"/>
            <a:chExt cx="2548996" cy="1560195"/>
          </a:xfrm>
        </p:grpSpPr>
        <p:grpSp>
          <p:nvGrpSpPr>
            <p:cNvPr id="150" name="Group 149"/>
            <p:cNvGrpSpPr/>
            <p:nvPr/>
          </p:nvGrpSpPr>
          <p:grpSpPr>
            <a:xfrm>
              <a:off x="5559735" y="2169073"/>
              <a:ext cx="2548996" cy="180646"/>
              <a:chOff x="5988579" y="2690586"/>
              <a:chExt cx="2548996" cy="180646"/>
            </a:xfrm>
          </p:grpSpPr>
          <p:sp>
            <p:nvSpPr>
              <p:cNvPr id="151" name="Rectangle 150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2" name="TextBox 151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Montana</a:t>
                </a:r>
              </a:p>
            </p:txBody>
          </p:sp>
          <p:sp>
            <p:nvSpPr>
              <p:cNvPr id="153" name="Rectangle 152"/>
              <p:cNvSpPr/>
              <p:nvPr/>
            </p:nvSpPr>
            <p:spPr>
              <a:xfrm>
                <a:off x="6705600" y="2691035"/>
                <a:ext cx="1336893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8105821" y="2690586"/>
                <a:ext cx="382803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76%</a:t>
                </a: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>
              <a:off x="5559735" y="2513960"/>
              <a:ext cx="2548996" cy="180646"/>
              <a:chOff x="5988579" y="2690586"/>
              <a:chExt cx="2548996" cy="180646"/>
            </a:xfrm>
          </p:grpSpPr>
          <p:sp>
            <p:nvSpPr>
              <p:cNvPr id="156" name="Rectangle 155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7" name="TextBox 156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Nevada</a:t>
                </a:r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6705601" y="2691035"/>
                <a:ext cx="1143218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7908812" y="2690586"/>
                <a:ext cx="383872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64%</a:t>
                </a:r>
              </a:p>
            </p:txBody>
          </p:sp>
        </p:grpSp>
        <p:grpSp>
          <p:nvGrpSpPr>
            <p:cNvPr id="160" name="Group 159"/>
            <p:cNvGrpSpPr/>
            <p:nvPr/>
          </p:nvGrpSpPr>
          <p:grpSpPr>
            <a:xfrm>
              <a:off x="5559735" y="2858847"/>
              <a:ext cx="2548996" cy="180646"/>
              <a:chOff x="5988579" y="2690586"/>
              <a:chExt cx="2548996" cy="180646"/>
            </a:xfrm>
          </p:grpSpPr>
          <p:sp>
            <p:nvSpPr>
              <p:cNvPr id="161" name="Rectangle 160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err="1">
                    <a:solidFill>
                      <a:schemeClr val="accent1"/>
                    </a:solidFill>
                    <a:latin typeface="+mj-lt"/>
                  </a:rPr>
                  <a:t>Minesota</a:t>
                </a:r>
                <a:endParaRPr lang="en-US" sz="10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3" name="Rectangle 162"/>
              <p:cNvSpPr/>
              <p:nvPr/>
            </p:nvSpPr>
            <p:spPr>
              <a:xfrm>
                <a:off x="6705600" y="2691035"/>
                <a:ext cx="987644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4" name="TextBox 163"/>
              <p:cNvSpPr txBox="1"/>
              <p:nvPr/>
            </p:nvSpPr>
            <p:spPr>
              <a:xfrm>
                <a:off x="7728055" y="2690586"/>
                <a:ext cx="372373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53%</a:t>
                </a:r>
              </a:p>
            </p:txBody>
          </p:sp>
        </p:grpSp>
        <p:grpSp>
          <p:nvGrpSpPr>
            <p:cNvPr id="165" name="Group 164"/>
            <p:cNvGrpSpPr/>
            <p:nvPr/>
          </p:nvGrpSpPr>
          <p:grpSpPr>
            <a:xfrm>
              <a:off x="5559735" y="3203734"/>
              <a:ext cx="2548996" cy="180646"/>
              <a:chOff x="5988579" y="2690586"/>
              <a:chExt cx="2548996" cy="180646"/>
            </a:xfrm>
          </p:grpSpPr>
          <p:sp>
            <p:nvSpPr>
              <p:cNvPr id="166" name="Rectangle 165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Alaska</a:t>
                </a:r>
              </a:p>
            </p:txBody>
          </p:sp>
          <p:sp>
            <p:nvSpPr>
              <p:cNvPr id="168" name="Rectangle 167"/>
              <p:cNvSpPr/>
              <p:nvPr/>
            </p:nvSpPr>
            <p:spPr>
              <a:xfrm>
                <a:off x="6705601" y="2691035"/>
                <a:ext cx="866993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9" name="TextBox 168"/>
              <p:cNvSpPr txBox="1"/>
              <p:nvPr/>
            </p:nvSpPr>
            <p:spPr>
              <a:xfrm>
                <a:off x="7638971" y="2690586"/>
                <a:ext cx="403515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44%</a:t>
                </a: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>
              <a:off x="5559735" y="3548622"/>
              <a:ext cx="2548996" cy="180646"/>
              <a:chOff x="5988579" y="2690586"/>
              <a:chExt cx="2548996" cy="180646"/>
            </a:xfrm>
          </p:grpSpPr>
          <p:sp>
            <p:nvSpPr>
              <p:cNvPr id="171" name="Rectangle 170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72" name="TextBox 171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Missouri</a:t>
                </a:r>
              </a:p>
            </p:txBody>
          </p:sp>
          <p:sp>
            <p:nvSpPr>
              <p:cNvPr id="173" name="Rectangle 172"/>
              <p:cNvSpPr/>
              <p:nvPr/>
            </p:nvSpPr>
            <p:spPr>
              <a:xfrm>
                <a:off x="6705601" y="2691035"/>
                <a:ext cx="489168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7266808" y="2690586"/>
                <a:ext cx="426431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21%</a:t>
                </a:r>
              </a:p>
            </p:txBody>
          </p:sp>
        </p:grpSp>
      </p:grpSp>
      <p:cxnSp>
        <p:nvCxnSpPr>
          <p:cNvPr id="176" name="Straight Connector 175"/>
          <p:cNvCxnSpPr>
            <a:endCxn id="178" idx="0"/>
          </p:cNvCxnSpPr>
          <p:nvPr/>
        </p:nvCxnSpPr>
        <p:spPr>
          <a:xfrm>
            <a:off x="4787741" y="0"/>
            <a:ext cx="0" cy="16235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/>
          <p:cNvSpPr/>
          <p:nvPr/>
        </p:nvSpPr>
        <p:spPr>
          <a:xfrm>
            <a:off x="4752238" y="1623508"/>
            <a:ext cx="71006" cy="7100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72A3B5-A213-4968-9288-AFC4463B08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op States in </a:t>
            </a:r>
            <a:r>
              <a:rPr lang="en-US">
                <a:solidFill>
                  <a:schemeClr val="accent2"/>
                </a:solidFill>
              </a:rPr>
              <a:t>Users Subscrip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6A077A-4AFF-4FC3-886E-1DEADDC8B5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732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Box 92"/>
          <p:cNvSpPr txBox="1"/>
          <p:nvPr/>
        </p:nvSpPr>
        <p:spPr>
          <a:xfrm>
            <a:off x="5567198" y="1553132"/>
            <a:ext cx="2541534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ti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567198" y="1321175"/>
            <a:ext cx="254153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cap="all" spc="20">
                <a:solidFill>
                  <a:schemeClr val="accent1"/>
                </a:solidFill>
                <a:latin typeface="+mj-lt"/>
              </a:rPr>
              <a:t>Top 5 States in 2015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4444682" y="1832174"/>
            <a:ext cx="6861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September</a:t>
            </a:r>
          </a:p>
          <a:p>
            <a:pPr algn="ctr">
              <a:lnSpc>
                <a:spcPts val="1200"/>
              </a:lnSpc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2015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864580" y="1513661"/>
            <a:ext cx="3246354" cy="2121772"/>
            <a:chOff x="5157992" y="1665629"/>
            <a:chExt cx="2936367" cy="1919171"/>
          </a:xfrm>
          <a:solidFill>
            <a:schemeClr val="accent6"/>
          </a:solidFill>
        </p:grpSpPr>
        <p:sp>
          <p:nvSpPr>
            <p:cNvPr id="97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8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9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0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1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2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3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4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5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6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7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8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9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0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1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2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3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4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5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6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7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8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9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0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1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2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3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4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5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6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7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8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9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0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131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2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3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4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5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6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7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8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9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0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1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2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3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4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5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6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7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9" name="Freeform 148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59735" y="2169073"/>
            <a:ext cx="2548996" cy="1560195"/>
            <a:chOff x="5559735" y="2169073"/>
            <a:chExt cx="2548996" cy="1560195"/>
          </a:xfrm>
        </p:grpSpPr>
        <p:grpSp>
          <p:nvGrpSpPr>
            <p:cNvPr id="150" name="Group 149"/>
            <p:cNvGrpSpPr/>
            <p:nvPr/>
          </p:nvGrpSpPr>
          <p:grpSpPr>
            <a:xfrm>
              <a:off x="5559735" y="2169073"/>
              <a:ext cx="2548996" cy="180646"/>
              <a:chOff x="5988579" y="2690586"/>
              <a:chExt cx="2548996" cy="180646"/>
            </a:xfrm>
          </p:grpSpPr>
          <p:sp>
            <p:nvSpPr>
              <p:cNvPr id="151" name="Rectangle 150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2" name="TextBox 151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California</a:t>
                </a:r>
              </a:p>
            </p:txBody>
          </p:sp>
          <p:sp>
            <p:nvSpPr>
              <p:cNvPr id="153" name="Rectangle 152"/>
              <p:cNvSpPr/>
              <p:nvPr/>
            </p:nvSpPr>
            <p:spPr>
              <a:xfrm>
                <a:off x="6705601" y="2691035"/>
                <a:ext cx="1095374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7854920" y="2690586"/>
                <a:ext cx="323534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67%</a:t>
                </a: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>
              <a:off x="5559735" y="2513960"/>
              <a:ext cx="2548996" cy="180646"/>
              <a:chOff x="5988579" y="2690586"/>
              <a:chExt cx="2548996" cy="180646"/>
            </a:xfrm>
          </p:grpSpPr>
          <p:sp>
            <p:nvSpPr>
              <p:cNvPr id="156" name="Rectangle 155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7" name="TextBox 156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Texas</a:t>
                </a:r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6705601" y="2691035"/>
                <a:ext cx="777505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7530844" y="2690586"/>
                <a:ext cx="445066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41%</a:t>
                </a:r>
              </a:p>
            </p:txBody>
          </p:sp>
        </p:grpSp>
        <p:grpSp>
          <p:nvGrpSpPr>
            <p:cNvPr id="160" name="Group 159"/>
            <p:cNvGrpSpPr/>
            <p:nvPr/>
          </p:nvGrpSpPr>
          <p:grpSpPr>
            <a:xfrm>
              <a:off x="5559735" y="2858847"/>
              <a:ext cx="2548996" cy="180646"/>
              <a:chOff x="5988579" y="2690586"/>
              <a:chExt cx="2548996" cy="180646"/>
            </a:xfrm>
          </p:grpSpPr>
          <p:sp>
            <p:nvSpPr>
              <p:cNvPr id="161" name="Rectangle 160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Nebraska</a:t>
                </a:r>
              </a:p>
            </p:txBody>
          </p:sp>
          <p:sp>
            <p:nvSpPr>
              <p:cNvPr id="163" name="Rectangle 162"/>
              <p:cNvSpPr/>
              <p:nvPr/>
            </p:nvSpPr>
            <p:spPr>
              <a:xfrm>
                <a:off x="6705601" y="2691035"/>
                <a:ext cx="584418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4" name="TextBox 163"/>
              <p:cNvSpPr txBox="1"/>
              <p:nvPr/>
            </p:nvSpPr>
            <p:spPr>
              <a:xfrm>
                <a:off x="7346468" y="2690586"/>
                <a:ext cx="508452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36%</a:t>
                </a:r>
              </a:p>
            </p:txBody>
          </p:sp>
        </p:grpSp>
        <p:grpSp>
          <p:nvGrpSpPr>
            <p:cNvPr id="165" name="Group 164"/>
            <p:cNvGrpSpPr/>
            <p:nvPr/>
          </p:nvGrpSpPr>
          <p:grpSpPr>
            <a:xfrm>
              <a:off x="5559735" y="3203734"/>
              <a:ext cx="2548996" cy="180646"/>
              <a:chOff x="5988579" y="2690586"/>
              <a:chExt cx="2548996" cy="180646"/>
            </a:xfrm>
          </p:grpSpPr>
          <p:sp>
            <p:nvSpPr>
              <p:cNvPr id="166" name="Rectangle 165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Alabama</a:t>
                </a:r>
              </a:p>
            </p:txBody>
          </p:sp>
          <p:sp>
            <p:nvSpPr>
              <p:cNvPr id="168" name="Rectangle 167"/>
              <p:cNvSpPr/>
              <p:nvPr/>
            </p:nvSpPr>
            <p:spPr>
              <a:xfrm>
                <a:off x="6705601" y="2691035"/>
                <a:ext cx="320893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69" name="TextBox 168"/>
              <p:cNvSpPr txBox="1"/>
              <p:nvPr/>
            </p:nvSpPr>
            <p:spPr>
              <a:xfrm>
                <a:off x="7094352" y="2690586"/>
                <a:ext cx="388753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13%</a:t>
                </a: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>
              <a:off x="5559735" y="3548622"/>
              <a:ext cx="2548996" cy="180646"/>
              <a:chOff x="5988579" y="2690586"/>
              <a:chExt cx="2548996" cy="180646"/>
            </a:xfrm>
          </p:grpSpPr>
          <p:sp>
            <p:nvSpPr>
              <p:cNvPr id="171" name="Rectangle 170"/>
              <p:cNvSpPr/>
              <p:nvPr/>
            </p:nvSpPr>
            <p:spPr>
              <a:xfrm>
                <a:off x="6705600" y="2691035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72" name="TextBox 171"/>
              <p:cNvSpPr txBox="1"/>
              <p:nvPr/>
            </p:nvSpPr>
            <p:spPr>
              <a:xfrm>
                <a:off x="5988579" y="269058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>
                    <a:solidFill>
                      <a:schemeClr val="accent1"/>
                    </a:solidFill>
                    <a:latin typeface="+mj-lt"/>
                  </a:rPr>
                  <a:t>Missouri</a:t>
                </a:r>
              </a:p>
            </p:txBody>
          </p:sp>
          <p:sp>
            <p:nvSpPr>
              <p:cNvPr id="173" name="Rectangle 172"/>
              <p:cNvSpPr/>
              <p:nvPr/>
            </p:nvSpPr>
            <p:spPr>
              <a:xfrm>
                <a:off x="6705601" y="2691035"/>
                <a:ext cx="152399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6899161" y="2690586"/>
                <a:ext cx="423605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1000" b="1">
                    <a:solidFill>
                      <a:schemeClr val="accent1"/>
                    </a:solidFill>
                    <a:latin typeface="+mj-lt"/>
                  </a:rPr>
                  <a:t>8.2%</a:t>
                </a:r>
              </a:p>
            </p:txBody>
          </p:sp>
        </p:grpSp>
      </p:grpSp>
      <p:cxnSp>
        <p:nvCxnSpPr>
          <p:cNvPr id="176" name="Straight Connector 175"/>
          <p:cNvCxnSpPr>
            <a:endCxn id="178" idx="0"/>
          </p:cNvCxnSpPr>
          <p:nvPr/>
        </p:nvCxnSpPr>
        <p:spPr>
          <a:xfrm>
            <a:off x="4787741" y="0"/>
            <a:ext cx="0" cy="16235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/>
          <p:cNvSpPr/>
          <p:nvPr/>
        </p:nvSpPr>
        <p:spPr>
          <a:xfrm>
            <a:off x="4752238" y="1623508"/>
            <a:ext cx="71006" cy="7100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B459D-F331-4E48-871A-CFB34573B5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op States in </a:t>
            </a:r>
            <a:r>
              <a:rPr lang="en-US">
                <a:solidFill>
                  <a:schemeClr val="accent2"/>
                </a:solidFill>
              </a:rPr>
              <a:t>Users Subscrip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CC4FF-62FC-4208-8736-DD5F536CE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36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Australia </a:t>
            </a:r>
            <a:r>
              <a:rPr lang="en-US">
                <a:solidFill>
                  <a:schemeClr val="accent2"/>
                </a:solidFill>
              </a:rPr>
              <a:t>fully editable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5490105" y="1718816"/>
            <a:ext cx="2742022" cy="2335773"/>
            <a:chOff x="1163497" y="2132398"/>
            <a:chExt cx="2445256" cy="2082975"/>
          </a:xfrm>
        </p:grpSpPr>
        <p:grpSp>
          <p:nvGrpSpPr>
            <p:cNvPr id="5" name="Group 4"/>
            <p:cNvGrpSpPr/>
            <p:nvPr/>
          </p:nvGrpSpPr>
          <p:grpSpPr>
            <a:xfrm>
              <a:off x="1163497" y="2132398"/>
              <a:ext cx="2445256" cy="2082975"/>
              <a:chOff x="763588" y="1930400"/>
              <a:chExt cx="1919287" cy="1822451"/>
            </a:xfrm>
          </p:grpSpPr>
          <p:sp>
            <p:nvSpPr>
              <p:cNvPr id="19" name="Freeform 5"/>
              <p:cNvSpPr>
                <a:spLocks/>
              </p:cNvSpPr>
              <p:nvPr/>
            </p:nvSpPr>
            <p:spPr bwMode="auto">
              <a:xfrm>
                <a:off x="763588" y="2092325"/>
                <a:ext cx="784225" cy="1204913"/>
              </a:xfrm>
              <a:custGeom>
                <a:avLst/>
                <a:gdLst>
                  <a:gd name="T0" fmla="*/ 464 w 494"/>
                  <a:gd name="T1" fmla="*/ 630 h 759"/>
                  <a:gd name="T2" fmla="*/ 407 w 494"/>
                  <a:gd name="T3" fmla="*/ 639 h 759"/>
                  <a:gd name="T4" fmla="*/ 356 w 494"/>
                  <a:gd name="T5" fmla="*/ 665 h 759"/>
                  <a:gd name="T6" fmla="*/ 330 w 494"/>
                  <a:gd name="T7" fmla="*/ 705 h 759"/>
                  <a:gd name="T8" fmla="*/ 312 w 494"/>
                  <a:gd name="T9" fmla="*/ 705 h 759"/>
                  <a:gd name="T10" fmla="*/ 292 w 494"/>
                  <a:gd name="T11" fmla="*/ 701 h 759"/>
                  <a:gd name="T12" fmla="*/ 252 w 494"/>
                  <a:gd name="T13" fmla="*/ 709 h 759"/>
                  <a:gd name="T14" fmla="*/ 231 w 494"/>
                  <a:gd name="T15" fmla="*/ 714 h 759"/>
                  <a:gd name="T16" fmla="*/ 214 w 494"/>
                  <a:gd name="T17" fmla="*/ 730 h 759"/>
                  <a:gd name="T18" fmla="*/ 177 w 494"/>
                  <a:gd name="T19" fmla="*/ 759 h 759"/>
                  <a:gd name="T20" fmla="*/ 137 w 494"/>
                  <a:gd name="T21" fmla="*/ 754 h 759"/>
                  <a:gd name="T22" fmla="*/ 120 w 494"/>
                  <a:gd name="T23" fmla="*/ 745 h 759"/>
                  <a:gd name="T24" fmla="*/ 99 w 494"/>
                  <a:gd name="T25" fmla="*/ 723 h 759"/>
                  <a:gd name="T26" fmla="*/ 115 w 494"/>
                  <a:gd name="T27" fmla="*/ 711 h 759"/>
                  <a:gd name="T28" fmla="*/ 110 w 494"/>
                  <a:gd name="T29" fmla="*/ 674 h 759"/>
                  <a:gd name="T30" fmla="*/ 99 w 494"/>
                  <a:gd name="T31" fmla="*/ 632 h 759"/>
                  <a:gd name="T32" fmla="*/ 76 w 494"/>
                  <a:gd name="T33" fmla="*/ 566 h 759"/>
                  <a:gd name="T34" fmla="*/ 49 w 494"/>
                  <a:gd name="T35" fmla="*/ 525 h 759"/>
                  <a:gd name="T36" fmla="*/ 14 w 494"/>
                  <a:gd name="T37" fmla="*/ 475 h 759"/>
                  <a:gd name="T38" fmla="*/ 6 w 494"/>
                  <a:gd name="T39" fmla="*/ 456 h 759"/>
                  <a:gd name="T40" fmla="*/ 29 w 494"/>
                  <a:gd name="T41" fmla="*/ 479 h 759"/>
                  <a:gd name="T42" fmla="*/ 14 w 494"/>
                  <a:gd name="T43" fmla="*/ 456 h 759"/>
                  <a:gd name="T44" fmla="*/ 38 w 494"/>
                  <a:gd name="T45" fmla="*/ 470 h 759"/>
                  <a:gd name="T46" fmla="*/ 7 w 494"/>
                  <a:gd name="T47" fmla="*/ 411 h 759"/>
                  <a:gd name="T48" fmla="*/ 11 w 494"/>
                  <a:gd name="T49" fmla="*/ 368 h 759"/>
                  <a:gd name="T50" fmla="*/ 9 w 494"/>
                  <a:gd name="T51" fmla="*/ 336 h 759"/>
                  <a:gd name="T52" fmla="*/ 18 w 494"/>
                  <a:gd name="T53" fmla="*/ 338 h 759"/>
                  <a:gd name="T54" fmla="*/ 37 w 494"/>
                  <a:gd name="T55" fmla="*/ 313 h 759"/>
                  <a:gd name="T56" fmla="*/ 78 w 494"/>
                  <a:gd name="T57" fmla="*/ 280 h 759"/>
                  <a:gd name="T58" fmla="*/ 108 w 494"/>
                  <a:gd name="T59" fmla="*/ 268 h 759"/>
                  <a:gd name="T60" fmla="*/ 134 w 494"/>
                  <a:gd name="T61" fmla="*/ 251 h 759"/>
                  <a:gd name="T62" fmla="*/ 161 w 494"/>
                  <a:gd name="T63" fmla="*/ 235 h 759"/>
                  <a:gd name="T64" fmla="*/ 218 w 494"/>
                  <a:gd name="T65" fmla="*/ 218 h 759"/>
                  <a:gd name="T66" fmla="*/ 249 w 494"/>
                  <a:gd name="T67" fmla="*/ 171 h 759"/>
                  <a:gd name="T68" fmla="*/ 252 w 494"/>
                  <a:gd name="T69" fmla="*/ 140 h 759"/>
                  <a:gd name="T70" fmla="*/ 275 w 494"/>
                  <a:gd name="T71" fmla="*/ 102 h 759"/>
                  <a:gd name="T72" fmla="*/ 287 w 494"/>
                  <a:gd name="T73" fmla="*/ 123 h 759"/>
                  <a:gd name="T74" fmla="*/ 300 w 494"/>
                  <a:gd name="T75" fmla="*/ 124 h 759"/>
                  <a:gd name="T76" fmla="*/ 298 w 494"/>
                  <a:gd name="T77" fmla="*/ 106 h 759"/>
                  <a:gd name="T78" fmla="*/ 284 w 494"/>
                  <a:gd name="T79" fmla="*/ 92 h 759"/>
                  <a:gd name="T80" fmla="*/ 308 w 494"/>
                  <a:gd name="T81" fmla="*/ 93 h 759"/>
                  <a:gd name="T82" fmla="*/ 324 w 494"/>
                  <a:gd name="T83" fmla="*/ 88 h 759"/>
                  <a:gd name="T84" fmla="*/ 322 w 494"/>
                  <a:gd name="T85" fmla="*/ 75 h 759"/>
                  <a:gd name="T86" fmla="*/ 322 w 494"/>
                  <a:gd name="T87" fmla="*/ 56 h 759"/>
                  <a:gd name="T88" fmla="*/ 344 w 494"/>
                  <a:gd name="T89" fmla="*/ 50 h 759"/>
                  <a:gd name="T90" fmla="*/ 341 w 494"/>
                  <a:gd name="T91" fmla="*/ 37 h 759"/>
                  <a:gd name="T92" fmla="*/ 359 w 494"/>
                  <a:gd name="T93" fmla="*/ 23 h 759"/>
                  <a:gd name="T94" fmla="*/ 376 w 494"/>
                  <a:gd name="T95" fmla="*/ 11 h 759"/>
                  <a:gd name="T96" fmla="*/ 389 w 494"/>
                  <a:gd name="T97" fmla="*/ 12 h 759"/>
                  <a:gd name="T98" fmla="*/ 403 w 494"/>
                  <a:gd name="T99" fmla="*/ 0 h 759"/>
                  <a:gd name="T100" fmla="*/ 440 w 494"/>
                  <a:gd name="T101" fmla="*/ 27 h 759"/>
                  <a:gd name="T102" fmla="*/ 446 w 494"/>
                  <a:gd name="T103" fmla="*/ 42 h 759"/>
                  <a:gd name="T104" fmla="*/ 468 w 494"/>
                  <a:gd name="T105" fmla="*/ 35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94" h="759">
                    <a:moveTo>
                      <a:pt x="494" y="614"/>
                    </a:moveTo>
                    <a:lnTo>
                      <a:pt x="483" y="616"/>
                    </a:lnTo>
                    <a:lnTo>
                      <a:pt x="475" y="622"/>
                    </a:lnTo>
                    <a:lnTo>
                      <a:pt x="464" y="630"/>
                    </a:lnTo>
                    <a:lnTo>
                      <a:pt x="451" y="633"/>
                    </a:lnTo>
                    <a:lnTo>
                      <a:pt x="430" y="638"/>
                    </a:lnTo>
                    <a:lnTo>
                      <a:pt x="418" y="638"/>
                    </a:lnTo>
                    <a:lnTo>
                      <a:pt x="407" y="639"/>
                    </a:lnTo>
                    <a:lnTo>
                      <a:pt x="395" y="643"/>
                    </a:lnTo>
                    <a:lnTo>
                      <a:pt x="382" y="653"/>
                    </a:lnTo>
                    <a:lnTo>
                      <a:pt x="366" y="662"/>
                    </a:lnTo>
                    <a:lnTo>
                      <a:pt x="356" y="665"/>
                    </a:lnTo>
                    <a:lnTo>
                      <a:pt x="352" y="678"/>
                    </a:lnTo>
                    <a:lnTo>
                      <a:pt x="348" y="690"/>
                    </a:lnTo>
                    <a:lnTo>
                      <a:pt x="341" y="698"/>
                    </a:lnTo>
                    <a:lnTo>
                      <a:pt x="330" y="705"/>
                    </a:lnTo>
                    <a:lnTo>
                      <a:pt x="324" y="703"/>
                    </a:lnTo>
                    <a:lnTo>
                      <a:pt x="322" y="701"/>
                    </a:lnTo>
                    <a:lnTo>
                      <a:pt x="314" y="701"/>
                    </a:lnTo>
                    <a:lnTo>
                      <a:pt x="312" y="705"/>
                    </a:lnTo>
                    <a:lnTo>
                      <a:pt x="300" y="705"/>
                    </a:lnTo>
                    <a:lnTo>
                      <a:pt x="297" y="702"/>
                    </a:lnTo>
                    <a:lnTo>
                      <a:pt x="295" y="702"/>
                    </a:lnTo>
                    <a:lnTo>
                      <a:pt x="292" y="701"/>
                    </a:lnTo>
                    <a:lnTo>
                      <a:pt x="280" y="702"/>
                    </a:lnTo>
                    <a:lnTo>
                      <a:pt x="268" y="705"/>
                    </a:lnTo>
                    <a:lnTo>
                      <a:pt x="258" y="707"/>
                    </a:lnTo>
                    <a:lnTo>
                      <a:pt x="252" y="709"/>
                    </a:lnTo>
                    <a:lnTo>
                      <a:pt x="242" y="709"/>
                    </a:lnTo>
                    <a:lnTo>
                      <a:pt x="237" y="709"/>
                    </a:lnTo>
                    <a:lnTo>
                      <a:pt x="233" y="712"/>
                    </a:lnTo>
                    <a:lnTo>
                      <a:pt x="231" y="714"/>
                    </a:lnTo>
                    <a:lnTo>
                      <a:pt x="230" y="718"/>
                    </a:lnTo>
                    <a:lnTo>
                      <a:pt x="228" y="727"/>
                    </a:lnTo>
                    <a:lnTo>
                      <a:pt x="225" y="729"/>
                    </a:lnTo>
                    <a:lnTo>
                      <a:pt x="214" y="730"/>
                    </a:lnTo>
                    <a:lnTo>
                      <a:pt x="206" y="739"/>
                    </a:lnTo>
                    <a:lnTo>
                      <a:pt x="195" y="750"/>
                    </a:lnTo>
                    <a:lnTo>
                      <a:pt x="188" y="756"/>
                    </a:lnTo>
                    <a:lnTo>
                      <a:pt x="177" y="759"/>
                    </a:lnTo>
                    <a:lnTo>
                      <a:pt x="146" y="759"/>
                    </a:lnTo>
                    <a:lnTo>
                      <a:pt x="143" y="757"/>
                    </a:lnTo>
                    <a:lnTo>
                      <a:pt x="142" y="756"/>
                    </a:lnTo>
                    <a:lnTo>
                      <a:pt x="137" y="754"/>
                    </a:lnTo>
                    <a:lnTo>
                      <a:pt x="134" y="754"/>
                    </a:lnTo>
                    <a:lnTo>
                      <a:pt x="130" y="751"/>
                    </a:lnTo>
                    <a:lnTo>
                      <a:pt x="124" y="748"/>
                    </a:lnTo>
                    <a:lnTo>
                      <a:pt x="120" y="745"/>
                    </a:lnTo>
                    <a:lnTo>
                      <a:pt x="112" y="744"/>
                    </a:lnTo>
                    <a:lnTo>
                      <a:pt x="102" y="737"/>
                    </a:lnTo>
                    <a:lnTo>
                      <a:pt x="100" y="732"/>
                    </a:lnTo>
                    <a:lnTo>
                      <a:pt x="99" y="723"/>
                    </a:lnTo>
                    <a:lnTo>
                      <a:pt x="99" y="719"/>
                    </a:lnTo>
                    <a:lnTo>
                      <a:pt x="105" y="717"/>
                    </a:lnTo>
                    <a:lnTo>
                      <a:pt x="109" y="714"/>
                    </a:lnTo>
                    <a:lnTo>
                      <a:pt x="115" y="711"/>
                    </a:lnTo>
                    <a:lnTo>
                      <a:pt x="116" y="705"/>
                    </a:lnTo>
                    <a:lnTo>
                      <a:pt x="114" y="695"/>
                    </a:lnTo>
                    <a:lnTo>
                      <a:pt x="110" y="681"/>
                    </a:lnTo>
                    <a:lnTo>
                      <a:pt x="110" y="674"/>
                    </a:lnTo>
                    <a:lnTo>
                      <a:pt x="113" y="663"/>
                    </a:lnTo>
                    <a:lnTo>
                      <a:pt x="115" y="654"/>
                    </a:lnTo>
                    <a:lnTo>
                      <a:pt x="116" y="650"/>
                    </a:lnTo>
                    <a:lnTo>
                      <a:pt x="99" y="632"/>
                    </a:lnTo>
                    <a:lnTo>
                      <a:pt x="89" y="611"/>
                    </a:lnTo>
                    <a:lnTo>
                      <a:pt x="82" y="591"/>
                    </a:lnTo>
                    <a:lnTo>
                      <a:pt x="80" y="578"/>
                    </a:lnTo>
                    <a:lnTo>
                      <a:pt x="76" y="566"/>
                    </a:lnTo>
                    <a:lnTo>
                      <a:pt x="72" y="558"/>
                    </a:lnTo>
                    <a:lnTo>
                      <a:pt x="60" y="545"/>
                    </a:lnTo>
                    <a:lnTo>
                      <a:pt x="51" y="532"/>
                    </a:lnTo>
                    <a:lnTo>
                      <a:pt x="49" y="525"/>
                    </a:lnTo>
                    <a:lnTo>
                      <a:pt x="39" y="503"/>
                    </a:lnTo>
                    <a:lnTo>
                      <a:pt x="34" y="498"/>
                    </a:lnTo>
                    <a:lnTo>
                      <a:pt x="23" y="487"/>
                    </a:lnTo>
                    <a:lnTo>
                      <a:pt x="14" y="475"/>
                    </a:lnTo>
                    <a:lnTo>
                      <a:pt x="7" y="466"/>
                    </a:lnTo>
                    <a:lnTo>
                      <a:pt x="1" y="456"/>
                    </a:lnTo>
                    <a:lnTo>
                      <a:pt x="0" y="448"/>
                    </a:lnTo>
                    <a:lnTo>
                      <a:pt x="6" y="456"/>
                    </a:lnTo>
                    <a:lnTo>
                      <a:pt x="11" y="464"/>
                    </a:lnTo>
                    <a:lnTo>
                      <a:pt x="21" y="471"/>
                    </a:lnTo>
                    <a:lnTo>
                      <a:pt x="24" y="476"/>
                    </a:lnTo>
                    <a:lnTo>
                      <a:pt x="29" y="479"/>
                    </a:lnTo>
                    <a:lnTo>
                      <a:pt x="27" y="471"/>
                    </a:lnTo>
                    <a:lnTo>
                      <a:pt x="23" y="464"/>
                    </a:lnTo>
                    <a:lnTo>
                      <a:pt x="17" y="460"/>
                    </a:lnTo>
                    <a:lnTo>
                      <a:pt x="14" y="456"/>
                    </a:lnTo>
                    <a:lnTo>
                      <a:pt x="16" y="452"/>
                    </a:lnTo>
                    <a:lnTo>
                      <a:pt x="27" y="462"/>
                    </a:lnTo>
                    <a:lnTo>
                      <a:pt x="34" y="467"/>
                    </a:lnTo>
                    <a:lnTo>
                      <a:pt x="38" y="470"/>
                    </a:lnTo>
                    <a:lnTo>
                      <a:pt x="37" y="462"/>
                    </a:lnTo>
                    <a:lnTo>
                      <a:pt x="32" y="448"/>
                    </a:lnTo>
                    <a:lnTo>
                      <a:pt x="18" y="427"/>
                    </a:lnTo>
                    <a:lnTo>
                      <a:pt x="7" y="411"/>
                    </a:lnTo>
                    <a:lnTo>
                      <a:pt x="3" y="398"/>
                    </a:lnTo>
                    <a:lnTo>
                      <a:pt x="6" y="385"/>
                    </a:lnTo>
                    <a:lnTo>
                      <a:pt x="9" y="377"/>
                    </a:lnTo>
                    <a:lnTo>
                      <a:pt x="11" y="368"/>
                    </a:lnTo>
                    <a:lnTo>
                      <a:pt x="11" y="360"/>
                    </a:lnTo>
                    <a:lnTo>
                      <a:pt x="7" y="353"/>
                    </a:lnTo>
                    <a:lnTo>
                      <a:pt x="7" y="342"/>
                    </a:lnTo>
                    <a:lnTo>
                      <a:pt x="9" y="336"/>
                    </a:lnTo>
                    <a:lnTo>
                      <a:pt x="12" y="327"/>
                    </a:lnTo>
                    <a:lnTo>
                      <a:pt x="16" y="325"/>
                    </a:lnTo>
                    <a:lnTo>
                      <a:pt x="17" y="325"/>
                    </a:lnTo>
                    <a:lnTo>
                      <a:pt x="18" y="338"/>
                    </a:lnTo>
                    <a:lnTo>
                      <a:pt x="22" y="341"/>
                    </a:lnTo>
                    <a:lnTo>
                      <a:pt x="25" y="337"/>
                    </a:lnTo>
                    <a:lnTo>
                      <a:pt x="32" y="326"/>
                    </a:lnTo>
                    <a:lnTo>
                      <a:pt x="37" y="313"/>
                    </a:lnTo>
                    <a:lnTo>
                      <a:pt x="44" y="310"/>
                    </a:lnTo>
                    <a:lnTo>
                      <a:pt x="57" y="300"/>
                    </a:lnTo>
                    <a:lnTo>
                      <a:pt x="67" y="290"/>
                    </a:lnTo>
                    <a:lnTo>
                      <a:pt x="78" y="280"/>
                    </a:lnTo>
                    <a:lnTo>
                      <a:pt x="88" y="272"/>
                    </a:lnTo>
                    <a:lnTo>
                      <a:pt x="96" y="267"/>
                    </a:lnTo>
                    <a:lnTo>
                      <a:pt x="102" y="267"/>
                    </a:lnTo>
                    <a:lnTo>
                      <a:pt x="108" y="268"/>
                    </a:lnTo>
                    <a:lnTo>
                      <a:pt x="113" y="267"/>
                    </a:lnTo>
                    <a:lnTo>
                      <a:pt x="118" y="264"/>
                    </a:lnTo>
                    <a:lnTo>
                      <a:pt x="125" y="254"/>
                    </a:lnTo>
                    <a:lnTo>
                      <a:pt x="134" y="251"/>
                    </a:lnTo>
                    <a:lnTo>
                      <a:pt x="142" y="251"/>
                    </a:lnTo>
                    <a:lnTo>
                      <a:pt x="148" y="248"/>
                    </a:lnTo>
                    <a:lnTo>
                      <a:pt x="156" y="240"/>
                    </a:lnTo>
                    <a:lnTo>
                      <a:pt x="161" y="235"/>
                    </a:lnTo>
                    <a:lnTo>
                      <a:pt x="185" y="234"/>
                    </a:lnTo>
                    <a:lnTo>
                      <a:pt x="191" y="230"/>
                    </a:lnTo>
                    <a:lnTo>
                      <a:pt x="206" y="225"/>
                    </a:lnTo>
                    <a:lnTo>
                      <a:pt x="218" y="218"/>
                    </a:lnTo>
                    <a:lnTo>
                      <a:pt x="230" y="208"/>
                    </a:lnTo>
                    <a:lnTo>
                      <a:pt x="237" y="194"/>
                    </a:lnTo>
                    <a:lnTo>
                      <a:pt x="243" y="179"/>
                    </a:lnTo>
                    <a:lnTo>
                      <a:pt x="249" y="171"/>
                    </a:lnTo>
                    <a:lnTo>
                      <a:pt x="259" y="162"/>
                    </a:lnTo>
                    <a:lnTo>
                      <a:pt x="258" y="158"/>
                    </a:lnTo>
                    <a:lnTo>
                      <a:pt x="253" y="150"/>
                    </a:lnTo>
                    <a:lnTo>
                      <a:pt x="252" y="140"/>
                    </a:lnTo>
                    <a:lnTo>
                      <a:pt x="254" y="133"/>
                    </a:lnTo>
                    <a:lnTo>
                      <a:pt x="260" y="123"/>
                    </a:lnTo>
                    <a:lnTo>
                      <a:pt x="269" y="111"/>
                    </a:lnTo>
                    <a:lnTo>
                      <a:pt x="275" y="102"/>
                    </a:lnTo>
                    <a:lnTo>
                      <a:pt x="277" y="102"/>
                    </a:lnTo>
                    <a:lnTo>
                      <a:pt x="281" y="112"/>
                    </a:lnTo>
                    <a:lnTo>
                      <a:pt x="284" y="117"/>
                    </a:lnTo>
                    <a:lnTo>
                      <a:pt x="287" y="123"/>
                    </a:lnTo>
                    <a:lnTo>
                      <a:pt x="292" y="127"/>
                    </a:lnTo>
                    <a:lnTo>
                      <a:pt x="293" y="127"/>
                    </a:lnTo>
                    <a:lnTo>
                      <a:pt x="296" y="127"/>
                    </a:lnTo>
                    <a:lnTo>
                      <a:pt x="300" y="124"/>
                    </a:lnTo>
                    <a:lnTo>
                      <a:pt x="303" y="123"/>
                    </a:lnTo>
                    <a:lnTo>
                      <a:pt x="306" y="120"/>
                    </a:lnTo>
                    <a:lnTo>
                      <a:pt x="302" y="114"/>
                    </a:lnTo>
                    <a:lnTo>
                      <a:pt x="298" y="106"/>
                    </a:lnTo>
                    <a:lnTo>
                      <a:pt x="292" y="104"/>
                    </a:lnTo>
                    <a:lnTo>
                      <a:pt x="292" y="97"/>
                    </a:lnTo>
                    <a:lnTo>
                      <a:pt x="286" y="95"/>
                    </a:lnTo>
                    <a:lnTo>
                      <a:pt x="284" y="92"/>
                    </a:lnTo>
                    <a:lnTo>
                      <a:pt x="286" y="90"/>
                    </a:lnTo>
                    <a:lnTo>
                      <a:pt x="295" y="92"/>
                    </a:lnTo>
                    <a:lnTo>
                      <a:pt x="301" y="93"/>
                    </a:lnTo>
                    <a:lnTo>
                      <a:pt x="308" y="93"/>
                    </a:lnTo>
                    <a:lnTo>
                      <a:pt x="311" y="93"/>
                    </a:lnTo>
                    <a:lnTo>
                      <a:pt x="318" y="95"/>
                    </a:lnTo>
                    <a:lnTo>
                      <a:pt x="323" y="95"/>
                    </a:lnTo>
                    <a:lnTo>
                      <a:pt x="324" y="88"/>
                    </a:lnTo>
                    <a:lnTo>
                      <a:pt x="327" y="87"/>
                    </a:lnTo>
                    <a:lnTo>
                      <a:pt x="329" y="83"/>
                    </a:lnTo>
                    <a:lnTo>
                      <a:pt x="325" y="77"/>
                    </a:lnTo>
                    <a:lnTo>
                      <a:pt x="322" y="75"/>
                    </a:lnTo>
                    <a:lnTo>
                      <a:pt x="320" y="66"/>
                    </a:lnTo>
                    <a:lnTo>
                      <a:pt x="320" y="61"/>
                    </a:lnTo>
                    <a:lnTo>
                      <a:pt x="319" y="60"/>
                    </a:lnTo>
                    <a:lnTo>
                      <a:pt x="322" y="56"/>
                    </a:lnTo>
                    <a:lnTo>
                      <a:pt x="328" y="56"/>
                    </a:lnTo>
                    <a:lnTo>
                      <a:pt x="334" y="53"/>
                    </a:lnTo>
                    <a:lnTo>
                      <a:pt x="338" y="51"/>
                    </a:lnTo>
                    <a:lnTo>
                      <a:pt x="344" y="50"/>
                    </a:lnTo>
                    <a:lnTo>
                      <a:pt x="345" y="49"/>
                    </a:lnTo>
                    <a:lnTo>
                      <a:pt x="346" y="47"/>
                    </a:lnTo>
                    <a:lnTo>
                      <a:pt x="343" y="42"/>
                    </a:lnTo>
                    <a:lnTo>
                      <a:pt x="341" y="37"/>
                    </a:lnTo>
                    <a:lnTo>
                      <a:pt x="343" y="35"/>
                    </a:lnTo>
                    <a:lnTo>
                      <a:pt x="346" y="32"/>
                    </a:lnTo>
                    <a:lnTo>
                      <a:pt x="354" y="26"/>
                    </a:lnTo>
                    <a:lnTo>
                      <a:pt x="359" y="23"/>
                    </a:lnTo>
                    <a:lnTo>
                      <a:pt x="365" y="27"/>
                    </a:lnTo>
                    <a:lnTo>
                      <a:pt x="367" y="26"/>
                    </a:lnTo>
                    <a:lnTo>
                      <a:pt x="372" y="17"/>
                    </a:lnTo>
                    <a:lnTo>
                      <a:pt x="376" y="11"/>
                    </a:lnTo>
                    <a:lnTo>
                      <a:pt x="381" y="10"/>
                    </a:lnTo>
                    <a:lnTo>
                      <a:pt x="384" y="10"/>
                    </a:lnTo>
                    <a:lnTo>
                      <a:pt x="387" y="12"/>
                    </a:lnTo>
                    <a:lnTo>
                      <a:pt x="389" y="12"/>
                    </a:lnTo>
                    <a:lnTo>
                      <a:pt x="392" y="10"/>
                    </a:lnTo>
                    <a:lnTo>
                      <a:pt x="394" y="5"/>
                    </a:lnTo>
                    <a:lnTo>
                      <a:pt x="400" y="0"/>
                    </a:lnTo>
                    <a:lnTo>
                      <a:pt x="403" y="0"/>
                    </a:lnTo>
                    <a:lnTo>
                      <a:pt x="414" y="6"/>
                    </a:lnTo>
                    <a:lnTo>
                      <a:pt x="421" y="8"/>
                    </a:lnTo>
                    <a:lnTo>
                      <a:pt x="429" y="17"/>
                    </a:lnTo>
                    <a:lnTo>
                      <a:pt x="440" y="27"/>
                    </a:lnTo>
                    <a:lnTo>
                      <a:pt x="443" y="31"/>
                    </a:lnTo>
                    <a:lnTo>
                      <a:pt x="443" y="35"/>
                    </a:lnTo>
                    <a:lnTo>
                      <a:pt x="442" y="40"/>
                    </a:lnTo>
                    <a:lnTo>
                      <a:pt x="446" y="42"/>
                    </a:lnTo>
                    <a:lnTo>
                      <a:pt x="450" y="39"/>
                    </a:lnTo>
                    <a:lnTo>
                      <a:pt x="453" y="38"/>
                    </a:lnTo>
                    <a:lnTo>
                      <a:pt x="461" y="35"/>
                    </a:lnTo>
                    <a:lnTo>
                      <a:pt x="468" y="35"/>
                    </a:lnTo>
                    <a:lnTo>
                      <a:pt x="477" y="39"/>
                    </a:lnTo>
                    <a:lnTo>
                      <a:pt x="494" y="614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0" name="Freeform 6"/>
              <p:cNvSpPr>
                <a:spLocks/>
              </p:cNvSpPr>
              <p:nvPr/>
            </p:nvSpPr>
            <p:spPr bwMode="auto">
              <a:xfrm>
                <a:off x="1520825" y="1938338"/>
                <a:ext cx="461962" cy="814388"/>
              </a:xfrm>
              <a:custGeom>
                <a:avLst/>
                <a:gdLst>
                  <a:gd name="T0" fmla="*/ 237 w 237"/>
                  <a:gd name="T1" fmla="*/ 159 h 417"/>
                  <a:gd name="T2" fmla="*/ 232 w 237"/>
                  <a:gd name="T3" fmla="*/ 154 h 417"/>
                  <a:gd name="T4" fmla="*/ 227 w 237"/>
                  <a:gd name="T5" fmla="*/ 148 h 417"/>
                  <a:gd name="T6" fmla="*/ 214 w 237"/>
                  <a:gd name="T7" fmla="*/ 138 h 417"/>
                  <a:gd name="T8" fmla="*/ 204 w 237"/>
                  <a:gd name="T9" fmla="*/ 134 h 417"/>
                  <a:gd name="T10" fmla="*/ 198 w 237"/>
                  <a:gd name="T11" fmla="*/ 128 h 417"/>
                  <a:gd name="T12" fmla="*/ 191 w 237"/>
                  <a:gd name="T13" fmla="*/ 128 h 417"/>
                  <a:gd name="T14" fmla="*/ 186 w 237"/>
                  <a:gd name="T15" fmla="*/ 124 h 417"/>
                  <a:gd name="T16" fmla="*/ 179 w 237"/>
                  <a:gd name="T17" fmla="*/ 114 h 417"/>
                  <a:gd name="T18" fmla="*/ 174 w 237"/>
                  <a:gd name="T19" fmla="*/ 104 h 417"/>
                  <a:gd name="T20" fmla="*/ 181 w 237"/>
                  <a:gd name="T21" fmla="*/ 90 h 417"/>
                  <a:gd name="T22" fmla="*/ 183 w 237"/>
                  <a:gd name="T23" fmla="*/ 77 h 417"/>
                  <a:gd name="T24" fmla="*/ 184 w 237"/>
                  <a:gd name="T25" fmla="*/ 70 h 417"/>
                  <a:gd name="T26" fmla="*/ 184 w 237"/>
                  <a:gd name="T27" fmla="*/ 62 h 417"/>
                  <a:gd name="T28" fmla="*/ 198 w 237"/>
                  <a:gd name="T29" fmla="*/ 60 h 417"/>
                  <a:gd name="T30" fmla="*/ 202 w 237"/>
                  <a:gd name="T31" fmla="*/ 47 h 417"/>
                  <a:gd name="T32" fmla="*/ 211 w 237"/>
                  <a:gd name="T33" fmla="*/ 35 h 417"/>
                  <a:gd name="T34" fmla="*/ 208 w 237"/>
                  <a:gd name="T35" fmla="*/ 28 h 417"/>
                  <a:gd name="T36" fmla="*/ 197 w 237"/>
                  <a:gd name="T37" fmla="*/ 27 h 417"/>
                  <a:gd name="T38" fmla="*/ 193 w 237"/>
                  <a:gd name="T39" fmla="*/ 29 h 417"/>
                  <a:gd name="T40" fmla="*/ 187 w 237"/>
                  <a:gd name="T41" fmla="*/ 27 h 417"/>
                  <a:gd name="T42" fmla="*/ 182 w 237"/>
                  <a:gd name="T43" fmla="*/ 27 h 417"/>
                  <a:gd name="T44" fmla="*/ 199 w 237"/>
                  <a:gd name="T45" fmla="*/ 14 h 417"/>
                  <a:gd name="T46" fmla="*/ 208 w 237"/>
                  <a:gd name="T47" fmla="*/ 2 h 417"/>
                  <a:gd name="T48" fmla="*/ 201 w 237"/>
                  <a:gd name="T49" fmla="*/ 3 h 417"/>
                  <a:gd name="T50" fmla="*/ 191 w 237"/>
                  <a:gd name="T51" fmla="*/ 12 h 417"/>
                  <a:gd name="T52" fmla="*/ 179 w 237"/>
                  <a:gd name="T53" fmla="*/ 22 h 417"/>
                  <a:gd name="T54" fmla="*/ 169 w 237"/>
                  <a:gd name="T55" fmla="*/ 29 h 417"/>
                  <a:gd name="T56" fmla="*/ 159 w 237"/>
                  <a:gd name="T57" fmla="*/ 25 h 417"/>
                  <a:gd name="T58" fmla="*/ 149 w 237"/>
                  <a:gd name="T59" fmla="*/ 25 h 417"/>
                  <a:gd name="T60" fmla="*/ 136 w 237"/>
                  <a:gd name="T61" fmla="*/ 23 h 417"/>
                  <a:gd name="T62" fmla="*/ 124 w 237"/>
                  <a:gd name="T63" fmla="*/ 17 h 417"/>
                  <a:gd name="T64" fmla="*/ 108 w 237"/>
                  <a:gd name="T65" fmla="*/ 15 h 417"/>
                  <a:gd name="T66" fmla="*/ 100 w 237"/>
                  <a:gd name="T67" fmla="*/ 8 h 417"/>
                  <a:gd name="T68" fmla="*/ 87 w 237"/>
                  <a:gd name="T69" fmla="*/ 0 h 417"/>
                  <a:gd name="T70" fmla="*/ 73 w 237"/>
                  <a:gd name="T71" fmla="*/ 4 h 417"/>
                  <a:gd name="T72" fmla="*/ 79 w 237"/>
                  <a:gd name="T73" fmla="*/ 10 h 417"/>
                  <a:gd name="T74" fmla="*/ 87 w 237"/>
                  <a:gd name="T75" fmla="*/ 12 h 417"/>
                  <a:gd name="T76" fmla="*/ 93 w 237"/>
                  <a:gd name="T77" fmla="*/ 21 h 417"/>
                  <a:gd name="T78" fmla="*/ 86 w 237"/>
                  <a:gd name="T79" fmla="*/ 28 h 417"/>
                  <a:gd name="T80" fmla="*/ 78 w 237"/>
                  <a:gd name="T81" fmla="*/ 31 h 417"/>
                  <a:gd name="T82" fmla="*/ 65 w 237"/>
                  <a:gd name="T83" fmla="*/ 31 h 417"/>
                  <a:gd name="T84" fmla="*/ 46 w 237"/>
                  <a:gd name="T85" fmla="*/ 29 h 417"/>
                  <a:gd name="T86" fmla="*/ 38 w 237"/>
                  <a:gd name="T87" fmla="*/ 37 h 417"/>
                  <a:gd name="T88" fmla="*/ 31 w 237"/>
                  <a:gd name="T89" fmla="*/ 45 h 417"/>
                  <a:gd name="T90" fmla="*/ 23 w 237"/>
                  <a:gd name="T91" fmla="*/ 52 h 417"/>
                  <a:gd name="T92" fmla="*/ 28 w 237"/>
                  <a:gd name="T93" fmla="*/ 62 h 417"/>
                  <a:gd name="T94" fmla="*/ 24 w 237"/>
                  <a:gd name="T95" fmla="*/ 68 h 417"/>
                  <a:gd name="T96" fmla="*/ 16 w 237"/>
                  <a:gd name="T97" fmla="*/ 78 h 417"/>
                  <a:gd name="T98" fmla="*/ 10 w 237"/>
                  <a:gd name="T99" fmla="*/ 86 h 417"/>
                  <a:gd name="T100" fmla="*/ 6 w 237"/>
                  <a:gd name="T101" fmla="*/ 100 h 417"/>
                  <a:gd name="T102" fmla="*/ 9 w 237"/>
                  <a:gd name="T103" fmla="*/ 113 h 417"/>
                  <a:gd name="T104" fmla="*/ 0 w 237"/>
                  <a:gd name="T105" fmla="*/ 111 h 417"/>
                  <a:gd name="T106" fmla="*/ 237 w 237"/>
                  <a:gd name="T107" fmla="*/ 160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7" h="417">
                    <a:moveTo>
                      <a:pt x="237" y="160"/>
                    </a:moveTo>
                    <a:cubicBezTo>
                      <a:pt x="237" y="160"/>
                      <a:pt x="237" y="160"/>
                      <a:pt x="237" y="160"/>
                    </a:cubicBezTo>
                    <a:cubicBezTo>
                      <a:pt x="237" y="159"/>
                      <a:pt x="237" y="159"/>
                      <a:pt x="237" y="159"/>
                    </a:cubicBezTo>
                    <a:cubicBezTo>
                      <a:pt x="234" y="157"/>
                      <a:pt x="234" y="157"/>
                      <a:pt x="234" y="157"/>
                    </a:cubicBezTo>
                    <a:cubicBezTo>
                      <a:pt x="233" y="156"/>
                      <a:pt x="233" y="156"/>
                      <a:pt x="233" y="156"/>
                    </a:cubicBezTo>
                    <a:cubicBezTo>
                      <a:pt x="232" y="154"/>
                      <a:pt x="232" y="154"/>
                      <a:pt x="232" y="154"/>
                    </a:cubicBezTo>
                    <a:cubicBezTo>
                      <a:pt x="231" y="150"/>
                      <a:pt x="231" y="150"/>
                      <a:pt x="231" y="150"/>
                    </a:cubicBezTo>
                    <a:cubicBezTo>
                      <a:pt x="230" y="149"/>
                      <a:pt x="230" y="149"/>
                      <a:pt x="230" y="149"/>
                    </a:cubicBezTo>
                    <a:cubicBezTo>
                      <a:pt x="227" y="148"/>
                      <a:pt x="227" y="148"/>
                      <a:pt x="227" y="148"/>
                    </a:cubicBezTo>
                    <a:cubicBezTo>
                      <a:pt x="223" y="148"/>
                      <a:pt x="223" y="148"/>
                      <a:pt x="223" y="148"/>
                    </a:cubicBezTo>
                    <a:cubicBezTo>
                      <a:pt x="218" y="142"/>
                      <a:pt x="218" y="142"/>
                      <a:pt x="218" y="142"/>
                    </a:cubicBezTo>
                    <a:cubicBezTo>
                      <a:pt x="214" y="138"/>
                      <a:pt x="214" y="138"/>
                      <a:pt x="214" y="138"/>
                    </a:cubicBezTo>
                    <a:cubicBezTo>
                      <a:pt x="211" y="138"/>
                      <a:pt x="211" y="138"/>
                      <a:pt x="211" y="138"/>
                    </a:cubicBezTo>
                    <a:cubicBezTo>
                      <a:pt x="206" y="137"/>
                      <a:pt x="206" y="137"/>
                      <a:pt x="206" y="137"/>
                    </a:cubicBezTo>
                    <a:cubicBezTo>
                      <a:pt x="204" y="134"/>
                      <a:pt x="204" y="134"/>
                      <a:pt x="204" y="134"/>
                    </a:cubicBezTo>
                    <a:cubicBezTo>
                      <a:pt x="200" y="128"/>
                      <a:pt x="200" y="128"/>
                      <a:pt x="200" y="128"/>
                    </a:cubicBezTo>
                    <a:cubicBezTo>
                      <a:pt x="199" y="128"/>
                      <a:pt x="199" y="128"/>
                      <a:pt x="199" y="128"/>
                    </a:cubicBezTo>
                    <a:cubicBezTo>
                      <a:pt x="198" y="128"/>
                      <a:pt x="198" y="128"/>
                      <a:pt x="198" y="128"/>
                    </a:cubicBezTo>
                    <a:cubicBezTo>
                      <a:pt x="196" y="127"/>
                      <a:pt x="196" y="127"/>
                      <a:pt x="196" y="127"/>
                    </a:cubicBezTo>
                    <a:cubicBezTo>
                      <a:pt x="194" y="128"/>
                      <a:pt x="194" y="128"/>
                      <a:pt x="194" y="128"/>
                    </a:cubicBezTo>
                    <a:cubicBezTo>
                      <a:pt x="191" y="128"/>
                      <a:pt x="191" y="128"/>
                      <a:pt x="191" y="128"/>
                    </a:cubicBezTo>
                    <a:cubicBezTo>
                      <a:pt x="189" y="128"/>
                      <a:pt x="189" y="128"/>
                      <a:pt x="189" y="128"/>
                    </a:cubicBezTo>
                    <a:cubicBezTo>
                      <a:pt x="188" y="125"/>
                      <a:pt x="188" y="125"/>
                      <a:pt x="188" y="125"/>
                    </a:cubicBezTo>
                    <a:cubicBezTo>
                      <a:pt x="186" y="124"/>
                      <a:pt x="186" y="124"/>
                      <a:pt x="186" y="124"/>
                    </a:cubicBezTo>
                    <a:cubicBezTo>
                      <a:pt x="184" y="121"/>
                      <a:pt x="184" y="121"/>
                      <a:pt x="184" y="121"/>
                    </a:cubicBezTo>
                    <a:cubicBezTo>
                      <a:pt x="182" y="119"/>
                      <a:pt x="182" y="119"/>
                      <a:pt x="182" y="119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75" y="111"/>
                      <a:pt x="175" y="111"/>
                      <a:pt x="175" y="111"/>
                    </a:cubicBezTo>
                    <a:cubicBezTo>
                      <a:pt x="172" y="107"/>
                      <a:pt x="172" y="107"/>
                      <a:pt x="172" y="107"/>
                    </a:cubicBezTo>
                    <a:cubicBezTo>
                      <a:pt x="174" y="104"/>
                      <a:pt x="174" y="104"/>
                      <a:pt x="174" y="104"/>
                    </a:cubicBezTo>
                    <a:cubicBezTo>
                      <a:pt x="177" y="101"/>
                      <a:pt x="177" y="101"/>
                      <a:pt x="177" y="101"/>
                    </a:cubicBezTo>
                    <a:cubicBezTo>
                      <a:pt x="178" y="94"/>
                      <a:pt x="178" y="94"/>
                      <a:pt x="178" y="94"/>
                    </a:cubicBezTo>
                    <a:cubicBezTo>
                      <a:pt x="181" y="90"/>
                      <a:pt x="181" y="90"/>
                      <a:pt x="181" y="90"/>
                    </a:cubicBezTo>
                    <a:cubicBezTo>
                      <a:pt x="180" y="84"/>
                      <a:pt x="180" y="84"/>
                      <a:pt x="180" y="84"/>
                    </a:cubicBezTo>
                    <a:cubicBezTo>
                      <a:pt x="181" y="81"/>
                      <a:pt x="181" y="81"/>
                      <a:pt x="181" y="81"/>
                    </a:cubicBezTo>
                    <a:cubicBezTo>
                      <a:pt x="183" y="77"/>
                      <a:pt x="183" y="77"/>
                      <a:pt x="183" y="77"/>
                    </a:cubicBezTo>
                    <a:cubicBezTo>
                      <a:pt x="185" y="74"/>
                      <a:pt x="185" y="74"/>
                      <a:pt x="185" y="74"/>
                    </a:cubicBezTo>
                    <a:cubicBezTo>
                      <a:pt x="186" y="71"/>
                      <a:pt x="186" y="71"/>
                      <a:pt x="186" y="71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69"/>
                      <a:pt x="183" y="69"/>
                      <a:pt x="183" y="69"/>
                    </a:cubicBezTo>
                    <a:cubicBezTo>
                      <a:pt x="183" y="65"/>
                      <a:pt x="183" y="65"/>
                      <a:pt x="183" y="65"/>
                    </a:cubicBezTo>
                    <a:cubicBezTo>
                      <a:pt x="184" y="62"/>
                      <a:pt x="184" y="62"/>
                      <a:pt x="184" y="62"/>
                    </a:cubicBezTo>
                    <a:cubicBezTo>
                      <a:pt x="187" y="61"/>
                      <a:pt x="187" y="61"/>
                      <a:pt x="187" y="61"/>
                    </a:cubicBezTo>
                    <a:cubicBezTo>
                      <a:pt x="194" y="61"/>
                      <a:pt x="194" y="61"/>
                      <a:pt x="194" y="61"/>
                    </a:cubicBezTo>
                    <a:cubicBezTo>
                      <a:pt x="198" y="60"/>
                      <a:pt x="198" y="60"/>
                      <a:pt x="198" y="60"/>
                    </a:cubicBezTo>
                    <a:cubicBezTo>
                      <a:pt x="199" y="56"/>
                      <a:pt x="199" y="56"/>
                      <a:pt x="199" y="56"/>
                    </a:cubicBezTo>
                    <a:cubicBezTo>
                      <a:pt x="200" y="51"/>
                      <a:pt x="200" y="51"/>
                      <a:pt x="200" y="51"/>
                    </a:cubicBezTo>
                    <a:cubicBezTo>
                      <a:pt x="202" y="47"/>
                      <a:pt x="202" y="47"/>
                      <a:pt x="202" y="47"/>
                    </a:cubicBezTo>
                    <a:cubicBezTo>
                      <a:pt x="204" y="44"/>
                      <a:pt x="204" y="44"/>
                      <a:pt x="204" y="44"/>
                    </a:cubicBezTo>
                    <a:cubicBezTo>
                      <a:pt x="207" y="39"/>
                      <a:pt x="207" y="39"/>
                      <a:pt x="207" y="39"/>
                    </a:cubicBezTo>
                    <a:cubicBezTo>
                      <a:pt x="211" y="35"/>
                      <a:pt x="211" y="35"/>
                      <a:pt x="211" y="35"/>
                    </a:cubicBezTo>
                    <a:cubicBezTo>
                      <a:pt x="211" y="30"/>
                      <a:pt x="211" y="30"/>
                      <a:pt x="211" y="30"/>
                    </a:cubicBezTo>
                    <a:cubicBezTo>
                      <a:pt x="210" y="28"/>
                      <a:pt x="210" y="28"/>
                      <a:pt x="210" y="28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5" y="28"/>
                      <a:pt x="205" y="28"/>
                      <a:pt x="205" y="28"/>
                    </a:cubicBezTo>
                    <a:cubicBezTo>
                      <a:pt x="201" y="29"/>
                      <a:pt x="201" y="29"/>
                      <a:pt x="201" y="29"/>
                    </a:cubicBezTo>
                    <a:cubicBezTo>
                      <a:pt x="197" y="27"/>
                      <a:pt x="197" y="27"/>
                      <a:pt x="197" y="27"/>
                    </a:cubicBezTo>
                    <a:cubicBezTo>
                      <a:pt x="197" y="27"/>
                      <a:pt x="196" y="27"/>
                      <a:pt x="195" y="27"/>
                    </a:cubicBezTo>
                    <a:cubicBezTo>
                      <a:pt x="195" y="27"/>
                      <a:pt x="194" y="28"/>
                      <a:pt x="194" y="28"/>
                    </a:cubicBezTo>
                    <a:cubicBezTo>
                      <a:pt x="193" y="29"/>
                      <a:pt x="193" y="29"/>
                      <a:pt x="193" y="29"/>
                    </a:cubicBezTo>
                    <a:cubicBezTo>
                      <a:pt x="193" y="29"/>
                      <a:pt x="192" y="28"/>
                      <a:pt x="191" y="28"/>
                    </a:cubicBezTo>
                    <a:cubicBezTo>
                      <a:pt x="190" y="27"/>
                      <a:pt x="189" y="28"/>
                      <a:pt x="189" y="28"/>
                    </a:cubicBezTo>
                    <a:cubicBezTo>
                      <a:pt x="187" y="27"/>
                      <a:pt x="187" y="27"/>
                      <a:pt x="187" y="27"/>
                    </a:cubicBezTo>
                    <a:cubicBezTo>
                      <a:pt x="186" y="27"/>
                      <a:pt x="186" y="27"/>
                      <a:pt x="186" y="27"/>
                    </a:cubicBezTo>
                    <a:cubicBezTo>
                      <a:pt x="182" y="28"/>
                      <a:pt x="182" y="28"/>
                      <a:pt x="182" y="28"/>
                    </a:cubicBezTo>
                    <a:cubicBezTo>
                      <a:pt x="182" y="27"/>
                      <a:pt x="182" y="27"/>
                      <a:pt x="182" y="27"/>
                    </a:cubicBezTo>
                    <a:cubicBezTo>
                      <a:pt x="186" y="24"/>
                      <a:pt x="186" y="24"/>
                      <a:pt x="186" y="24"/>
                    </a:cubicBezTo>
                    <a:cubicBezTo>
                      <a:pt x="190" y="21"/>
                      <a:pt x="190" y="21"/>
                      <a:pt x="190" y="21"/>
                    </a:cubicBezTo>
                    <a:cubicBezTo>
                      <a:pt x="199" y="14"/>
                      <a:pt x="199" y="14"/>
                      <a:pt x="199" y="14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206" y="5"/>
                      <a:pt x="206" y="5"/>
                      <a:pt x="206" y="5"/>
                    </a:cubicBezTo>
                    <a:cubicBezTo>
                      <a:pt x="208" y="2"/>
                      <a:pt x="208" y="2"/>
                      <a:pt x="208" y="2"/>
                    </a:cubicBezTo>
                    <a:cubicBezTo>
                      <a:pt x="207" y="0"/>
                      <a:pt x="207" y="0"/>
                      <a:pt x="207" y="0"/>
                    </a:cubicBezTo>
                    <a:cubicBezTo>
                      <a:pt x="204" y="1"/>
                      <a:pt x="204" y="1"/>
                      <a:pt x="204" y="1"/>
                    </a:cubicBezTo>
                    <a:cubicBezTo>
                      <a:pt x="201" y="3"/>
                      <a:pt x="201" y="3"/>
                      <a:pt x="201" y="3"/>
                    </a:cubicBezTo>
                    <a:cubicBezTo>
                      <a:pt x="199" y="7"/>
                      <a:pt x="199" y="7"/>
                      <a:pt x="199" y="7"/>
                    </a:cubicBezTo>
                    <a:cubicBezTo>
                      <a:pt x="196" y="9"/>
                      <a:pt x="196" y="9"/>
                      <a:pt x="196" y="9"/>
                    </a:cubicBezTo>
                    <a:cubicBezTo>
                      <a:pt x="191" y="12"/>
                      <a:pt x="191" y="12"/>
                      <a:pt x="191" y="12"/>
                    </a:cubicBezTo>
                    <a:cubicBezTo>
                      <a:pt x="189" y="14"/>
                      <a:pt x="189" y="14"/>
                      <a:pt x="189" y="14"/>
                    </a:cubicBezTo>
                    <a:cubicBezTo>
                      <a:pt x="184" y="18"/>
                      <a:pt x="184" y="18"/>
                      <a:pt x="184" y="18"/>
                    </a:cubicBezTo>
                    <a:cubicBezTo>
                      <a:pt x="179" y="22"/>
                      <a:pt x="179" y="22"/>
                      <a:pt x="179" y="22"/>
                    </a:cubicBezTo>
                    <a:cubicBezTo>
                      <a:pt x="175" y="25"/>
                      <a:pt x="175" y="25"/>
                      <a:pt x="175" y="25"/>
                    </a:cubicBezTo>
                    <a:cubicBezTo>
                      <a:pt x="172" y="27"/>
                      <a:pt x="172" y="27"/>
                      <a:pt x="172" y="27"/>
                    </a:cubicBezTo>
                    <a:cubicBezTo>
                      <a:pt x="169" y="29"/>
                      <a:pt x="169" y="29"/>
                      <a:pt x="169" y="29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1" y="29"/>
                      <a:pt x="161" y="29"/>
                      <a:pt x="161" y="29"/>
                    </a:cubicBezTo>
                    <a:cubicBezTo>
                      <a:pt x="159" y="25"/>
                      <a:pt x="159" y="25"/>
                      <a:pt x="159" y="25"/>
                    </a:cubicBezTo>
                    <a:cubicBezTo>
                      <a:pt x="154" y="23"/>
                      <a:pt x="154" y="23"/>
                      <a:pt x="154" y="23"/>
                    </a:cubicBezTo>
                    <a:cubicBezTo>
                      <a:pt x="152" y="24"/>
                      <a:pt x="152" y="24"/>
                      <a:pt x="152" y="24"/>
                    </a:cubicBezTo>
                    <a:cubicBezTo>
                      <a:pt x="149" y="25"/>
                      <a:pt x="149" y="25"/>
                      <a:pt x="149" y="25"/>
                    </a:cubicBezTo>
                    <a:cubicBezTo>
                      <a:pt x="146" y="25"/>
                      <a:pt x="146" y="25"/>
                      <a:pt x="146" y="25"/>
                    </a:cubicBezTo>
                    <a:cubicBezTo>
                      <a:pt x="143" y="25"/>
                      <a:pt x="143" y="25"/>
                      <a:pt x="143" y="25"/>
                    </a:cubicBezTo>
                    <a:cubicBezTo>
                      <a:pt x="136" y="23"/>
                      <a:pt x="136" y="23"/>
                      <a:pt x="136" y="23"/>
                    </a:cubicBezTo>
                    <a:cubicBezTo>
                      <a:pt x="130" y="19"/>
                      <a:pt x="130" y="19"/>
                      <a:pt x="130" y="19"/>
                    </a:cubicBezTo>
                    <a:cubicBezTo>
                      <a:pt x="126" y="16"/>
                      <a:pt x="126" y="16"/>
                      <a:pt x="126" y="16"/>
                    </a:cubicBezTo>
                    <a:cubicBezTo>
                      <a:pt x="124" y="17"/>
                      <a:pt x="124" y="17"/>
                      <a:pt x="124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8" y="15"/>
                      <a:pt x="108" y="15"/>
                      <a:pt x="108" y="15"/>
                    </a:cubicBezTo>
                    <a:cubicBezTo>
                      <a:pt x="105" y="12"/>
                      <a:pt x="105" y="12"/>
                      <a:pt x="105" y="12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93" y="8"/>
                      <a:pt x="93" y="8"/>
                      <a:pt x="93" y="8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0" y="1"/>
                      <a:pt x="80" y="1"/>
                      <a:pt x="80" y="1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4" y="11"/>
                      <a:pt x="84" y="11"/>
                      <a:pt x="84" y="11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92" y="18"/>
                      <a:pt x="92" y="18"/>
                      <a:pt x="92" y="18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5"/>
                      <a:pt x="92" y="25"/>
                      <a:pt x="92" y="25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5" y="29"/>
                      <a:pt x="85" y="29"/>
                      <a:pt x="85" y="29"/>
                    </a:cubicBezTo>
                    <a:cubicBezTo>
                      <a:pt x="82" y="31"/>
                      <a:pt x="82" y="31"/>
                      <a:pt x="82" y="31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3" y="28"/>
                      <a:pt x="53" y="28"/>
                      <a:pt x="53" y="28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4" y="41"/>
                      <a:pt x="34" y="41"/>
                      <a:pt x="34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29" y="48"/>
                      <a:pt x="29" y="48"/>
                      <a:pt x="29" y="48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23" y="52"/>
                      <a:pt x="23" y="52"/>
                      <a:pt x="23" y="52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6" y="58"/>
                      <a:pt x="26" y="58"/>
                      <a:pt x="26" y="58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8"/>
                      <a:pt x="16" y="78"/>
                      <a:pt x="16" y="78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5" y="91"/>
                      <a:pt x="5" y="91"/>
                      <a:pt x="5" y="91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11"/>
                      <a:pt x="10" y="111"/>
                      <a:pt x="10" y="111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6" y="113"/>
                      <a:pt x="6" y="113"/>
                      <a:pt x="6" y="113"/>
                    </a:cubicBezTo>
                    <a:cubicBezTo>
                      <a:pt x="3" y="113"/>
                      <a:pt x="3" y="113"/>
                      <a:pt x="3" y="113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9" y="416"/>
                      <a:pt x="9" y="416"/>
                      <a:pt x="9" y="416"/>
                    </a:cubicBezTo>
                    <a:cubicBezTo>
                      <a:pt x="229" y="417"/>
                      <a:pt x="229" y="417"/>
                      <a:pt x="229" y="417"/>
                    </a:cubicBezTo>
                    <a:cubicBezTo>
                      <a:pt x="237" y="160"/>
                      <a:pt x="237" y="160"/>
                      <a:pt x="237" y="16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1" name="Freeform 7"/>
              <p:cNvSpPr>
                <a:spLocks/>
              </p:cNvSpPr>
              <p:nvPr/>
            </p:nvSpPr>
            <p:spPr bwMode="auto">
              <a:xfrm>
                <a:off x="1966913" y="1930400"/>
                <a:ext cx="714375" cy="1047750"/>
              </a:xfrm>
              <a:custGeom>
                <a:avLst/>
                <a:gdLst>
                  <a:gd name="T0" fmla="*/ 365 w 366"/>
                  <a:gd name="T1" fmla="*/ 488 h 537"/>
                  <a:gd name="T2" fmla="*/ 365 w 366"/>
                  <a:gd name="T3" fmla="*/ 462 h 537"/>
                  <a:gd name="T4" fmla="*/ 363 w 366"/>
                  <a:gd name="T5" fmla="*/ 444 h 537"/>
                  <a:gd name="T6" fmla="*/ 350 w 366"/>
                  <a:gd name="T7" fmla="*/ 420 h 537"/>
                  <a:gd name="T8" fmla="*/ 334 w 366"/>
                  <a:gd name="T9" fmla="*/ 400 h 537"/>
                  <a:gd name="T10" fmla="*/ 330 w 366"/>
                  <a:gd name="T11" fmla="*/ 391 h 537"/>
                  <a:gd name="T12" fmla="*/ 324 w 366"/>
                  <a:gd name="T13" fmla="*/ 383 h 537"/>
                  <a:gd name="T14" fmla="*/ 322 w 366"/>
                  <a:gd name="T15" fmla="*/ 363 h 537"/>
                  <a:gd name="T16" fmla="*/ 316 w 366"/>
                  <a:gd name="T17" fmla="*/ 353 h 537"/>
                  <a:gd name="T18" fmla="*/ 304 w 366"/>
                  <a:gd name="T19" fmla="*/ 347 h 537"/>
                  <a:gd name="T20" fmla="*/ 299 w 366"/>
                  <a:gd name="T21" fmla="*/ 347 h 537"/>
                  <a:gd name="T22" fmla="*/ 293 w 366"/>
                  <a:gd name="T23" fmla="*/ 345 h 537"/>
                  <a:gd name="T24" fmla="*/ 291 w 366"/>
                  <a:gd name="T25" fmla="*/ 322 h 537"/>
                  <a:gd name="T26" fmla="*/ 279 w 366"/>
                  <a:gd name="T27" fmla="*/ 301 h 537"/>
                  <a:gd name="T28" fmla="*/ 274 w 366"/>
                  <a:gd name="T29" fmla="*/ 282 h 537"/>
                  <a:gd name="T30" fmla="*/ 255 w 366"/>
                  <a:gd name="T31" fmla="*/ 271 h 537"/>
                  <a:gd name="T32" fmla="*/ 250 w 366"/>
                  <a:gd name="T33" fmla="*/ 263 h 537"/>
                  <a:gd name="T34" fmla="*/ 239 w 366"/>
                  <a:gd name="T35" fmla="*/ 257 h 537"/>
                  <a:gd name="T36" fmla="*/ 227 w 366"/>
                  <a:gd name="T37" fmla="*/ 249 h 537"/>
                  <a:gd name="T38" fmla="*/ 221 w 366"/>
                  <a:gd name="T39" fmla="*/ 227 h 537"/>
                  <a:gd name="T40" fmla="*/ 217 w 366"/>
                  <a:gd name="T41" fmla="*/ 211 h 537"/>
                  <a:gd name="T42" fmla="*/ 215 w 366"/>
                  <a:gd name="T43" fmla="*/ 187 h 537"/>
                  <a:gd name="T44" fmla="*/ 205 w 366"/>
                  <a:gd name="T45" fmla="*/ 172 h 537"/>
                  <a:gd name="T46" fmla="*/ 203 w 366"/>
                  <a:gd name="T47" fmla="*/ 153 h 537"/>
                  <a:gd name="T48" fmla="*/ 202 w 366"/>
                  <a:gd name="T49" fmla="*/ 132 h 537"/>
                  <a:gd name="T50" fmla="*/ 199 w 366"/>
                  <a:gd name="T51" fmla="*/ 122 h 537"/>
                  <a:gd name="T52" fmla="*/ 186 w 366"/>
                  <a:gd name="T53" fmla="*/ 107 h 537"/>
                  <a:gd name="T54" fmla="*/ 171 w 366"/>
                  <a:gd name="T55" fmla="*/ 111 h 537"/>
                  <a:gd name="T56" fmla="*/ 163 w 366"/>
                  <a:gd name="T57" fmla="*/ 104 h 537"/>
                  <a:gd name="T58" fmla="*/ 161 w 366"/>
                  <a:gd name="T59" fmla="*/ 83 h 537"/>
                  <a:gd name="T60" fmla="*/ 158 w 366"/>
                  <a:gd name="T61" fmla="*/ 62 h 537"/>
                  <a:gd name="T62" fmla="*/ 155 w 366"/>
                  <a:gd name="T63" fmla="*/ 52 h 537"/>
                  <a:gd name="T64" fmla="*/ 151 w 366"/>
                  <a:gd name="T65" fmla="*/ 45 h 537"/>
                  <a:gd name="T66" fmla="*/ 150 w 366"/>
                  <a:gd name="T67" fmla="*/ 38 h 537"/>
                  <a:gd name="T68" fmla="*/ 145 w 366"/>
                  <a:gd name="T69" fmla="*/ 22 h 537"/>
                  <a:gd name="T70" fmla="*/ 139 w 366"/>
                  <a:gd name="T71" fmla="*/ 2 h 537"/>
                  <a:gd name="T72" fmla="*/ 129 w 366"/>
                  <a:gd name="T73" fmla="*/ 8 h 537"/>
                  <a:gd name="T74" fmla="*/ 122 w 366"/>
                  <a:gd name="T75" fmla="*/ 29 h 537"/>
                  <a:gd name="T76" fmla="*/ 112 w 366"/>
                  <a:gd name="T77" fmla="*/ 49 h 537"/>
                  <a:gd name="T78" fmla="*/ 112 w 366"/>
                  <a:gd name="T79" fmla="*/ 64 h 537"/>
                  <a:gd name="T80" fmla="*/ 106 w 366"/>
                  <a:gd name="T81" fmla="*/ 89 h 537"/>
                  <a:gd name="T82" fmla="*/ 102 w 366"/>
                  <a:gd name="T83" fmla="*/ 105 h 537"/>
                  <a:gd name="T84" fmla="*/ 106 w 366"/>
                  <a:gd name="T85" fmla="*/ 112 h 537"/>
                  <a:gd name="T86" fmla="*/ 101 w 366"/>
                  <a:gd name="T87" fmla="*/ 138 h 537"/>
                  <a:gd name="T88" fmla="*/ 94 w 366"/>
                  <a:gd name="T89" fmla="*/ 155 h 537"/>
                  <a:gd name="T90" fmla="*/ 86 w 366"/>
                  <a:gd name="T91" fmla="*/ 178 h 537"/>
                  <a:gd name="T92" fmla="*/ 69 w 366"/>
                  <a:gd name="T93" fmla="*/ 194 h 537"/>
                  <a:gd name="T94" fmla="*/ 53 w 366"/>
                  <a:gd name="T95" fmla="*/ 193 h 537"/>
                  <a:gd name="T96" fmla="*/ 39 w 366"/>
                  <a:gd name="T97" fmla="*/ 184 h 537"/>
                  <a:gd name="T98" fmla="*/ 26 w 366"/>
                  <a:gd name="T99" fmla="*/ 169 h 537"/>
                  <a:gd name="T100" fmla="*/ 9 w 366"/>
                  <a:gd name="T101" fmla="*/ 164 h 537"/>
                  <a:gd name="T102" fmla="*/ 250 w 366"/>
                  <a:gd name="T103" fmla="*/ 526 h 537"/>
                  <a:gd name="T104" fmla="*/ 270 w 366"/>
                  <a:gd name="T105" fmla="*/ 524 h 537"/>
                  <a:gd name="T106" fmla="*/ 290 w 366"/>
                  <a:gd name="T107" fmla="*/ 525 h 537"/>
                  <a:gd name="T108" fmla="*/ 306 w 366"/>
                  <a:gd name="T109" fmla="*/ 535 h 537"/>
                  <a:gd name="T110" fmla="*/ 319 w 366"/>
                  <a:gd name="T111" fmla="*/ 532 h 537"/>
                  <a:gd name="T112" fmla="*/ 338 w 366"/>
                  <a:gd name="T113" fmla="*/ 519 h 537"/>
                  <a:gd name="T114" fmla="*/ 363 w 366"/>
                  <a:gd name="T115" fmla="*/ 508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66" h="537">
                    <a:moveTo>
                      <a:pt x="363" y="505"/>
                    </a:moveTo>
                    <a:cubicBezTo>
                      <a:pt x="364" y="499"/>
                      <a:pt x="364" y="499"/>
                      <a:pt x="364" y="499"/>
                    </a:cubicBezTo>
                    <a:cubicBezTo>
                      <a:pt x="363" y="494"/>
                      <a:pt x="363" y="494"/>
                      <a:pt x="363" y="494"/>
                    </a:cubicBezTo>
                    <a:cubicBezTo>
                      <a:pt x="364" y="491"/>
                      <a:pt x="364" y="491"/>
                      <a:pt x="364" y="491"/>
                    </a:cubicBezTo>
                    <a:cubicBezTo>
                      <a:pt x="365" y="488"/>
                      <a:pt x="365" y="488"/>
                      <a:pt x="365" y="488"/>
                    </a:cubicBezTo>
                    <a:cubicBezTo>
                      <a:pt x="365" y="486"/>
                      <a:pt x="365" y="486"/>
                      <a:pt x="365" y="486"/>
                    </a:cubicBezTo>
                    <a:cubicBezTo>
                      <a:pt x="364" y="482"/>
                      <a:pt x="364" y="482"/>
                      <a:pt x="364" y="482"/>
                    </a:cubicBezTo>
                    <a:cubicBezTo>
                      <a:pt x="363" y="470"/>
                      <a:pt x="363" y="470"/>
                      <a:pt x="363" y="470"/>
                    </a:cubicBezTo>
                    <a:cubicBezTo>
                      <a:pt x="364" y="467"/>
                      <a:pt x="364" y="467"/>
                      <a:pt x="364" y="467"/>
                    </a:cubicBezTo>
                    <a:cubicBezTo>
                      <a:pt x="365" y="462"/>
                      <a:pt x="365" y="462"/>
                      <a:pt x="365" y="462"/>
                    </a:cubicBezTo>
                    <a:cubicBezTo>
                      <a:pt x="366" y="459"/>
                      <a:pt x="366" y="459"/>
                      <a:pt x="366" y="459"/>
                    </a:cubicBezTo>
                    <a:cubicBezTo>
                      <a:pt x="365" y="457"/>
                      <a:pt x="365" y="457"/>
                      <a:pt x="365" y="457"/>
                    </a:cubicBezTo>
                    <a:cubicBezTo>
                      <a:pt x="364" y="455"/>
                      <a:pt x="364" y="455"/>
                      <a:pt x="364" y="455"/>
                    </a:cubicBezTo>
                    <a:cubicBezTo>
                      <a:pt x="363" y="451"/>
                      <a:pt x="363" y="451"/>
                      <a:pt x="363" y="451"/>
                    </a:cubicBezTo>
                    <a:cubicBezTo>
                      <a:pt x="363" y="444"/>
                      <a:pt x="363" y="444"/>
                      <a:pt x="363" y="444"/>
                    </a:cubicBezTo>
                    <a:cubicBezTo>
                      <a:pt x="359" y="438"/>
                      <a:pt x="359" y="438"/>
                      <a:pt x="359" y="438"/>
                    </a:cubicBezTo>
                    <a:cubicBezTo>
                      <a:pt x="357" y="433"/>
                      <a:pt x="357" y="433"/>
                      <a:pt x="357" y="433"/>
                    </a:cubicBezTo>
                    <a:cubicBezTo>
                      <a:pt x="356" y="429"/>
                      <a:pt x="356" y="429"/>
                      <a:pt x="356" y="429"/>
                    </a:cubicBezTo>
                    <a:cubicBezTo>
                      <a:pt x="352" y="424"/>
                      <a:pt x="352" y="424"/>
                      <a:pt x="352" y="424"/>
                    </a:cubicBezTo>
                    <a:cubicBezTo>
                      <a:pt x="350" y="420"/>
                      <a:pt x="350" y="420"/>
                      <a:pt x="350" y="420"/>
                    </a:cubicBezTo>
                    <a:cubicBezTo>
                      <a:pt x="345" y="415"/>
                      <a:pt x="345" y="415"/>
                      <a:pt x="345" y="415"/>
                    </a:cubicBezTo>
                    <a:cubicBezTo>
                      <a:pt x="343" y="411"/>
                      <a:pt x="343" y="411"/>
                      <a:pt x="343" y="411"/>
                    </a:cubicBezTo>
                    <a:cubicBezTo>
                      <a:pt x="339" y="406"/>
                      <a:pt x="339" y="406"/>
                      <a:pt x="339" y="406"/>
                    </a:cubicBezTo>
                    <a:cubicBezTo>
                      <a:pt x="336" y="401"/>
                      <a:pt x="336" y="401"/>
                      <a:pt x="336" y="401"/>
                    </a:cubicBezTo>
                    <a:cubicBezTo>
                      <a:pt x="334" y="400"/>
                      <a:pt x="334" y="400"/>
                      <a:pt x="334" y="400"/>
                    </a:cubicBezTo>
                    <a:cubicBezTo>
                      <a:pt x="331" y="398"/>
                      <a:pt x="331" y="398"/>
                      <a:pt x="331" y="398"/>
                    </a:cubicBezTo>
                    <a:cubicBezTo>
                      <a:pt x="330" y="397"/>
                      <a:pt x="330" y="397"/>
                      <a:pt x="330" y="397"/>
                    </a:cubicBezTo>
                    <a:cubicBezTo>
                      <a:pt x="330" y="396"/>
                      <a:pt x="330" y="396"/>
                      <a:pt x="330" y="396"/>
                    </a:cubicBezTo>
                    <a:cubicBezTo>
                      <a:pt x="330" y="393"/>
                      <a:pt x="330" y="393"/>
                      <a:pt x="330" y="393"/>
                    </a:cubicBezTo>
                    <a:cubicBezTo>
                      <a:pt x="330" y="391"/>
                      <a:pt x="330" y="391"/>
                      <a:pt x="330" y="391"/>
                    </a:cubicBezTo>
                    <a:cubicBezTo>
                      <a:pt x="329" y="389"/>
                      <a:pt x="329" y="389"/>
                      <a:pt x="329" y="389"/>
                    </a:cubicBezTo>
                    <a:cubicBezTo>
                      <a:pt x="328" y="387"/>
                      <a:pt x="328" y="387"/>
                      <a:pt x="328" y="387"/>
                    </a:cubicBezTo>
                    <a:cubicBezTo>
                      <a:pt x="327" y="386"/>
                      <a:pt x="327" y="386"/>
                      <a:pt x="327" y="386"/>
                    </a:cubicBezTo>
                    <a:cubicBezTo>
                      <a:pt x="325" y="383"/>
                      <a:pt x="325" y="383"/>
                      <a:pt x="325" y="383"/>
                    </a:cubicBezTo>
                    <a:cubicBezTo>
                      <a:pt x="324" y="383"/>
                      <a:pt x="324" y="383"/>
                      <a:pt x="324" y="383"/>
                    </a:cubicBezTo>
                    <a:cubicBezTo>
                      <a:pt x="324" y="383"/>
                      <a:pt x="319" y="383"/>
                      <a:pt x="319" y="383"/>
                    </a:cubicBezTo>
                    <a:cubicBezTo>
                      <a:pt x="319" y="382"/>
                      <a:pt x="319" y="378"/>
                      <a:pt x="319" y="378"/>
                    </a:cubicBezTo>
                    <a:cubicBezTo>
                      <a:pt x="321" y="373"/>
                      <a:pt x="321" y="373"/>
                      <a:pt x="321" y="373"/>
                    </a:cubicBezTo>
                    <a:cubicBezTo>
                      <a:pt x="322" y="367"/>
                      <a:pt x="322" y="367"/>
                      <a:pt x="322" y="367"/>
                    </a:cubicBezTo>
                    <a:cubicBezTo>
                      <a:pt x="322" y="363"/>
                      <a:pt x="322" y="363"/>
                      <a:pt x="322" y="363"/>
                    </a:cubicBezTo>
                    <a:cubicBezTo>
                      <a:pt x="321" y="360"/>
                      <a:pt x="321" y="360"/>
                      <a:pt x="321" y="360"/>
                    </a:cubicBezTo>
                    <a:cubicBezTo>
                      <a:pt x="320" y="355"/>
                      <a:pt x="320" y="355"/>
                      <a:pt x="320" y="355"/>
                    </a:cubicBezTo>
                    <a:cubicBezTo>
                      <a:pt x="317" y="350"/>
                      <a:pt x="317" y="350"/>
                      <a:pt x="317" y="350"/>
                    </a:cubicBezTo>
                    <a:cubicBezTo>
                      <a:pt x="316" y="350"/>
                      <a:pt x="316" y="350"/>
                      <a:pt x="316" y="350"/>
                    </a:cubicBezTo>
                    <a:cubicBezTo>
                      <a:pt x="316" y="353"/>
                      <a:pt x="316" y="353"/>
                      <a:pt x="316" y="353"/>
                    </a:cubicBezTo>
                    <a:cubicBezTo>
                      <a:pt x="315" y="354"/>
                      <a:pt x="315" y="354"/>
                      <a:pt x="315" y="354"/>
                    </a:cubicBezTo>
                    <a:cubicBezTo>
                      <a:pt x="314" y="355"/>
                      <a:pt x="314" y="355"/>
                      <a:pt x="314" y="355"/>
                    </a:cubicBezTo>
                    <a:cubicBezTo>
                      <a:pt x="310" y="353"/>
                      <a:pt x="310" y="353"/>
                      <a:pt x="310" y="353"/>
                    </a:cubicBezTo>
                    <a:cubicBezTo>
                      <a:pt x="305" y="350"/>
                      <a:pt x="305" y="350"/>
                      <a:pt x="305" y="350"/>
                    </a:cubicBezTo>
                    <a:cubicBezTo>
                      <a:pt x="304" y="347"/>
                      <a:pt x="304" y="347"/>
                      <a:pt x="304" y="347"/>
                    </a:cubicBezTo>
                    <a:cubicBezTo>
                      <a:pt x="302" y="345"/>
                      <a:pt x="302" y="345"/>
                      <a:pt x="302" y="345"/>
                    </a:cubicBezTo>
                    <a:cubicBezTo>
                      <a:pt x="302" y="345"/>
                      <a:pt x="302" y="345"/>
                      <a:pt x="302" y="345"/>
                    </a:cubicBezTo>
                    <a:cubicBezTo>
                      <a:pt x="301" y="344"/>
                      <a:pt x="301" y="344"/>
                      <a:pt x="301" y="344"/>
                    </a:cubicBezTo>
                    <a:cubicBezTo>
                      <a:pt x="300" y="345"/>
                      <a:pt x="300" y="345"/>
                      <a:pt x="300" y="345"/>
                    </a:cubicBezTo>
                    <a:cubicBezTo>
                      <a:pt x="299" y="347"/>
                      <a:pt x="299" y="347"/>
                      <a:pt x="299" y="347"/>
                    </a:cubicBezTo>
                    <a:cubicBezTo>
                      <a:pt x="301" y="350"/>
                      <a:pt x="301" y="350"/>
                      <a:pt x="301" y="350"/>
                    </a:cubicBezTo>
                    <a:cubicBezTo>
                      <a:pt x="300" y="353"/>
                      <a:pt x="300" y="353"/>
                      <a:pt x="300" y="353"/>
                    </a:cubicBezTo>
                    <a:cubicBezTo>
                      <a:pt x="297" y="351"/>
                      <a:pt x="297" y="351"/>
                      <a:pt x="297" y="351"/>
                    </a:cubicBezTo>
                    <a:cubicBezTo>
                      <a:pt x="295" y="349"/>
                      <a:pt x="295" y="349"/>
                      <a:pt x="295" y="349"/>
                    </a:cubicBezTo>
                    <a:cubicBezTo>
                      <a:pt x="295" y="349"/>
                      <a:pt x="293" y="345"/>
                      <a:pt x="293" y="345"/>
                    </a:cubicBezTo>
                    <a:cubicBezTo>
                      <a:pt x="293" y="345"/>
                      <a:pt x="292" y="344"/>
                      <a:pt x="292" y="344"/>
                    </a:cubicBezTo>
                    <a:cubicBezTo>
                      <a:pt x="292" y="339"/>
                      <a:pt x="292" y="339"/>
                      <a:pt x="292" y="339"/>
                    </a:cubicBezTo>
                    <a:cubicBezTo>
                      <a:pt x="292" y="329"/>
                      <a:pt x="292" y="329"/>
                      <a:pt x="292" y="329"/>
                    </a:cubicBezTo>
                    <a:cubicBezTo>
                      <a:pt x="292" y="326"/>
                      <a:pt x="292" y="326"/>
                      <a:pt x="292" y="326"/>
                    </a:cubicBezTo>
                    <a:cubicBezTo>
                      <a:pt x="291" y="322"/>
                      <a:pt x="291" y="322"/>
                      <a:pt x="291" y="322"/>
                    </a:cubicBezTo>
                    <a:cubicBezTo>
                      <a:pt x="289" y="318"/>
                      <a:pt x="289" y="318"/>
                      <a:pt x="289" y="318"/>
                    </a:cubicBezTo>
                    <a:cubicBezTo>
                      <a:pt x="286" y="312"/>
                      <a:pt x="286" y="312"/>
                      <a:pt x="286" y="312"/>
                    </a:cubicBezTo>
                    <a:cubicBezTo>
                      <a:pt x="283" y="307"/>
                      <a:pt x="283" y="307"/>
                      <a:pt x="283" y="307"/>
                    </a:cubicBezTo>
                    <a:cubicBezTo>
                      <a:pt x="280" y="302"/>
                      <a:pt x="280" y="302"/>
                      <a:pt x="280" y="302"/>
                    </a:cubicBezTo>
                    <a:cubicBezTo>
                      <a:pt x="279" y="301"/>
                      <a:pt x="279" y="301"/>
                      <a:pt x="279" y="301"/>
                    </a:cubicBezTo>
                    <a:cubicBezTo>
                      <a:pt x="278" y="294"/>
                      <a:pt x="278" y="294"/>
                      <a:pt x="278" y="294"/>
                    </a:cubicBezTo>
                    <a:cubicBezTo>
                      <a:pt x="277" y="290"/>
                      <a:pt x="277" y="290"/>
                      <a:pt x="277" y="290"/>
                    </a:cubicBezTo>
                    <a:cubicBezTo>
                      <a:pt x="277" y="287"/>
                      <a:pt x="277" y="287"/>
                      <a:pt x="277" y="287"/>
                    </a:cubicBezTo>
                    <a:cubicBezTo>
                      <a:pt x="275" y="284"/>
                      <a:pt x="275" y="284"/>
                      <a:pt x="275" y="284"/>
                    </a:cubicBezTo>
                    <a:cubicBezTo>
                      <a:pt x="274" y="282"/>
                      <a:pt x="274" y="282"/>
                      <a:pt x="274" y="282"/>
                    </a:cubicBezTo>
                    <a:cubicBezTo>
                      <a:pt x="272" y="282"/>
                      <a:pt x="272" y="282"/>
                      <a:pt x="272" y="282"/>
                    </a:cubicBezTo>
                    <a:cubicBezTo>
                      <a:pt x="269" y="280"/>
                      <a:pt x="269" y="280"/>
                      <a:pt x="269" y="280"/>
                    </a:cubicBezTo>
                    <a:cubicBezTo>
                      <a:pt x="263" y="277"/>
                      <a:pt x="263" y="277"/>
                      <a:pt x="263" y="277"/>
                    </a:cubicBezTo>
                    <a:cubicBezTo>
                      <a:pt x="258" y="272"/>
                      <a:pt x="258" y="272"/>
                      <a:pt x="258" y="272"/>
                    </a:cubicBezTo>
                    <a:cubicBezTo>
                      <a:pt x="255" y="271"/>
                      <a:pt x="255" y="271"/>
                      <a:pt x="255" y="271"/>
                    </a:cubicBezTo>
                    <a:cubicBezTo>
                      <a:pt x="255" y="271"/>
                      <a:pt x="254" y="271"/>
                      <a:pt x="254" y="270"/>
                    </a:cubicBezTo>
                    <a:cubicBezTo>
                      <a:pt x="253" y="270"/>
                      <a:pt x="253" y="269"/>
                      <a:pt x="253" y="269"/>
                    </a:cubicBezTo>
                    <a:cubicBezTo>
                      <a:pt x="253" y="269"/>
                      <a:pt x="252" y="268"/>
                      <a:pt x="251" y="267"/>
                    </a:cubicBezTo>
                    <a:cubicBezTo>
                      <a:pt x="250" y="265"/>
                      <a:pt x="251" y="266"/>
                      <a:pt x="251" y="266"/>
                    </a:cubicBezTo>
                    <a:cubicBezTo>
                      <a:pt x="250" y="263"/>
                      <a:pt x="250" y="263"/>
                      <a:pt x="250" y="263"/>
                    </a:cubicBezTo>
                    <a:cubicBezTo>
                      <a:pt x="250" y="260"/>
                      <a:pt x="250" y="260"/>
                      <a:pt x="250" y="260"/>
                    </a:cubicBezTo>
                    <a:cubicBezTo>
                      <a:pt x="249" y="260"/>
                      <a:pt x="249" y="260"/>
                      <a:pt x="249" y="260"/>
                    </a:cubicBezTo>
                    <a:cubicBezTo>
                      <a:pt x="245" y="260"/>
                      <a:pt x="245" y="260"/>
                      <a:pt x="245" y="260"/>
                    </a:cubicBezTo>
                    <a:cubicBezTo>
                      <a:pt x="242" y="259"/>
                      <a:pt x="242" y="259"/>
                      <a:pt x="242" y="259"/>
                    </a:cubicBezTo>
                    <a:cubicBezTo>
                      <a:pt x="239" y="257"/>
                      <a:pt x="239" y="257"/>
                      <a:pt x="239" y="257"/>
                    </a:cubicBezTo>
                    <a:cubicBezTo>
                      <a:pt x="236" y="253"/>
                      <a:pt x="236" y="253"/>
                      <a:pt x="236" y="253"/>
                    </a:cubicBezTo>
                    <a:cubicBezTo>
                      <a:pt x="235" y="253"/>
                      <a:pt x="235" y="253"/>
                      <a:pt x="235" y="253"/>
                    </a:cubicBezTo>
                    <a:cubicBezTo>
                      <a:pt x="232" y="252"/>
                      <a:pt x="232" y="252"/>
                      <a:pt x="232" y="252"/>
                    </a:cubicBezTo>
                    <a:cubicBezTo>
                      <a:pt x="230" y="251"/>
                      <a:pt x="230" y="251"/>
                      <a:pt x="230" y="251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4" y="244"/>
                      <a:pt x="224" y="244"/>
                      <a:pt x="224" y="244"/>
                    </a:cubicBezTo>
                    <a:cubicBezTo>
                      <a:pt x="221" y="240"/>
                      <a:pt x="221" y="240"/>
                      <a:pt x="221" y="240"/>
                    </a:cubicBezTo>
                    <a:cubicBezTo>
                      <a:pt x="221" y="237"/>
                      <a:pt x="221" y="237"/>
                      <a:pt x="221" y="237"/>
                    </a:cubicBezTo>
                    <a:cubicBezTo>
                      <a:pt x="221" y="234"/>
                      <a:pt x="221" y="234"/>
                      <a:pt x="221" y="234"/>
                    </a:cubicBezTo>
                    <a:cubicBezTo>
                      <a:pt x="221" y="227"/>
                      <a:pt x="221" y="227"/>
                      <a:pt x="221" y="227"/>
                    </a:cubicBezTo>
                    <a:cubicBezTo>
                      <a:pt x="221" y="225"/>
                      <a:pt x="221" y="225"/>
                      <a:pt x="221" y="225"/>
                    </a:cubicBezTo>
                    <a:cubicBezTo>
                      <a:pt x="218" y="223"/>
                      <a:pt x="218" y="223"/>
                      <a:pt x="218" y="223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15" y="216"/>
                      <a:pt x="215" y="216"/>
                      <a:pt x="215" y="216"/>
                    </a:cubicBezTo>
                    <a:cubicBezTo>
                      <a:pt x="217" y="211"/>
                      <a:pt x="217" y="211"/>
                      <a:pt x="217" y="211"/>
                    </a:cubicBezTo>
                    <a:cubicBezTo>
                      <a:pt x="219" y="207"/>
                      <a:pt x="219" y="207"/>
                      <a:pt x="219" y="207"/>
                    </a:cubicBezTo>
                    <a:cubicBezTo>
                      <a:pt x="217" y="203"/>
                      <a:pt x="217" y="203"/>
                      <a:pt x="217" y="203"/>
                    </a:cubicBezTo>
                    <a:cubicBezTo>
                      <a:pt x="216" y="199"/>
                      <a:pt x="216" y="199"/>
                      <a:pt x="216" y="199"/>
                    </a:cubicBezTo>
                    <a:cubicBezTo>
                      <a:pt x="215" y="193"/>
                      <a:pt x="215" y="193"/>
                      <a:pt x="215" y="193"/>
                    </a:cubicBezTo>
                    <a:cubicBezTo>
                      <a:pt x="215" y="187"/>
                      <a:pt x="215" y="187"/>
                      <a:pt x="215" y="187"/>
                    </a:cubicBezTo>
                    <a:cubicBezTo>
                      <a:pt x="215" y="184"/>
                      <a:pt x="215" y="184"/>
                      <a:pt x="215" y="184"/>
                    </a:cubicBezTo>
                    <a:cubicBezTo>
                      <a:pt x="214" y="183"/>
                      <a:pt x="214" y="183"/>
                      <a:pt x="214" y="183"/>
                    </a:cubicBezTo>
                    <a:cubicBezTo>
                      <a:pt x="211" y="181"/>
                      <a:pt x="211" y="181"/>
                      <a:pt x="211" y="181"/>
                    </a:cubicBezTo>
                    <a:cubicBezTo>
                      <a:pt x="205" y="174"/>
                      <a:pt x="205" y="174"/>
                      <a:pt x="205" y="174"/>
                    </a:cubicBezTo>
                    <a:cubicBezTo>
                      <a:pt x="205" y="172"/>
                      <a:pt x="205" y="172"/>
                      <a:pt x="205" y="172"/>
                    </a:cubicBezTo>
                    <a:cubicBezTo>
                      <a:pt x="205" y="166"/>
                      <a:pt x="205" y="166"/>
                      <a:pt x="205" y="166"/>
                    </a:cubicBezTo>
                    <a:cubicBezTo>
                      <a:pt x="205" y="164"/>
                      <a:pt x="205" y="164"/>
                      <a:pt x="205" y="164"/>
                    </a:cubicBezTo>
                    <a:cubicBezTo>
                      <a:pt x="205" y="159"/>
                      <a:pt x="205" y="159"/>
                      <a:pt x="205" y="159"/>
                    </a:cubicBezTo>
                    <a:cubicBezTo>
                      <a:pt x="204" y="156"/>
                      <a:pt x="204" y="156"/>
                      <a:pt x="204" y="156"/>
                    </a:cubicBezTo>
                    <a:cubicBezTo>
                      <a:pt x="203" y="153"/>
                      <a:pt x="203" y="153"/>
                      <a:pt x="203" y="153"/>
                    </a:cubicBezTo>
                    <a:cubicBezTo>
                      <a:pt x="203" y="151"/>
                      <a:pt x="203" y="151"/>
                      <a:pt x="203" y="151"/>
                    </a:cubicBezTo>
                    <a:cubicBezTo>
                      <a:pt x="202" y="146"/>
                      <a:pt x="202" y="146"/>
                      <a:pt x="202" y="146"/>
                    </a:cubicBezTo>
                    <a:cubicBezTo>
                      <a:pt x="201" y="140"/>
                      <a:pt x="201" y="140"/>
                      <a:pt x="201" y="140"/>
                    </a:cubicBezTo>
                    <a:cubicBezTo>
                      <a:pt x="200" y="134"/>
                      <a:pt x="200" y="134"/>
                      <a:pt x="200" y="134"/>
                    </a:cubicBezTo>
                    <a:cubicBezTo>
                      <a:pt x="202" y="132"/>
                      <a:pt x="202" y="132"/>
                      <a:pt x="202" y="132"/>
                    </a:cubicBezTo>
                    <a:cubicBezTo>
                      <a:pt x="203" y="130"/>
                      <a:pt x="203" y="130"/>
                      <a:pt x="203" y="130"/>
                    </a:cubicBezTo>
                    <a:cubicBezTo>
                      <a:pt x="204" y="128"/>
                      <a:pt x="204" y="128"/>
                      <a:pt x="204" y="128"/>
                    </a:cubicBezTo>
                    <a:cubicBezTo>
                      <a:pt x="203" y="126"/>
                      <a:pt x="203" y="126"/>
                      <a:pt x="203" y="126"/>
                    </a:cubicBezTo>
                    <a:cubicBezTo>
                      <a:pt x="201" y="124"/>
                      <a:pt x="201" y="124"/>
                      <a:pt x="201" y="124"/>
                    </a:cubicBezTo>
                    <a:cubicBezTo>
                      <a:pt x="199" y="122"/>
                      <a:pt x="199" y="122"/>
                      <a:pt x="199" y="122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0" y="113"/>
                      <a:pt x="190" y="113"/>
                      <a:pt x="190" y="113"/>
                    </a:cubicBezTo>
                    <a:cubicBezTo>
                      <a:pt x="187" y="111"/>
                      <a:pt x="187" y="111"/>
                      <a:pt x="187" y="111"/>
                    </a:cubicBezTo>
                    <a:cubicBezTo>
                      <a:pt x="186" y="110"/>
                      <a:pt x="186" y="110"/>
                      <a:pt x="186" y="110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1" y="106"/>
                      <a:pt x="181" y="106"/>
                      <a:pt x="181" y="106"/>
                    </a:cubicBezTo>
                    <a:cubicBezTo>
                      <a:pt x="178" y="106"/>
                      <a:pt x="178" y="106"/>
                      <a:pt x="178" y="106"/>
                    </a:cubicBezTo>
                    <a:cubicBezTo>
                      <a:pt x="174" y="108"/>
                      <a:pt x="174" y="108"/>
                      <a:pt x="174" y="108"/>
                    </a:cubicBezTo>
                    <a:cubicBezTo>
                      <a:pt x="173" y="109"/>
                      <a:pt x="173" y="109"/>
                      <a:pt x="173" y="109"/>
                    </a:cubicBezTo>
                    <a:cubicBezTo>
                      <a:pt x="171" y="111"/>
                      <a:pt x="171" y="111"/>
                      <a:pt x="171" y="111"/>
                    </a:cubicBezTo>
                    <a:cubicBezTo>
                      <a:pt x="169" y="112"/>
                      <a:pt x="169" y="112"/>
                      <a:pt x="169" y="112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4" y="105"/>
                      <a:pt x="164" y="105"/>
                      <a:pt x="164" y="105"/>
                    </a:cubicBezTo>
                    <a:cubicBezTo>
                      <a:pt x="163" y="104"/>
                      <a:pt x="163" y="104"/>
                      <a:pt x="163" y="104"/>
                    </a:cubicBezTo>
                    <a:cubicBezTo>
                      <a:pt x="163" y="101"/>
                      <a:pt x="163" y="101"/>
                      <a:pt x="163" y="101"/>
                    </a:cubicBezTo>
                    <a:cubicBezTo>
                      <a:pt x="163" y="95"/>
                      <a:pt x="163" y="95"/>
                      <a:pt x="163" y="95"/>
                    </a:cubicBezTo>
                    <a:cubicBezTo>
                      <a:pt x="162" y="89"/>
                      <a:pt x="162" y="89"/>
                      <a:pt x="162" y="89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61" y="83"/>
                      <a:pt x="161" y="83"/>
                      <a:pt x="161" y="83"/>
                    </a:cubicBezTo>
                    <a:cubicBezTo>
                      <a:pt x="161" y="77"/>
                      <a:pt x="161" y="77"/>
                      <a:pt x="161" y="77"/>
                    </a:cubicBezTo>
                    <a:cubicBezTo>
                      <a:pt x="161" y="69"/>
                      <a:pt x="161" y="69"/>
                      <a:pt x="161" y="69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59" y="67"/>
                      <a:pt x="159" y="67"/>
                      <a:pt x="159" y="67"/>
                    </a:cubicBezTo>
                    <a:cubicBezTo>
                      <a:pt x="158" y="62"/>
                      <a:pt x="158" y="62"/>
                      <a:pt x="158" y="62"/>
                    </a:cubicBezTo>
                    <a:cubicBezTo>
                      <a:pt x="159" y="60"/>
                      <a:pt x="159" y="60"/>
                      <a:pt x="159" y="60"/>
                    </a:cubicBezTo>
                    <a:cubicBezTo>
                      <a:pt x="159" y="58"/>
                      <a:pt x="159" y="58"/>
                      <a:pt x="159" y="58"/>
                    </a:cubicBezTo>
                    <a:cubicBezTo>
                      <a:pt x="158" y="56"/>
                      <a:pt x="158" y="56"/>
                      <a:pt x="158" y="56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54" y="51"/>
                      <a:pt x="154" y="51"/>
                      <a:pt x="154" y="51"/>
                    </a:cubicBezTo>
                    <a:cubicBezTo>
                      <a:pt x="153" y="51"/>
                      <a:pt x="153" y="51"/>
                      <a:pt x="153" y="51"/>
                    </a:cubicBezTo>
                    <a:cubicBezTo>
                      <a:pt x="151" y="50"/>
                      <a:pt x="151" y="50"/>
                      <a:pt x="151" y="50"/>
                    </a:cubicBezTo>
                    <a:cubicBezTo>
                      <a:pt x="150" y="48"/>
                      <a:pt x="150" y="48"/>
                      <a:pt x="150" y="48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53" y="44"/>
                      <a:pt x="153" y="44"/>
                      <a:pt x="153" y="44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53" y="40"/>
                      <a:pt x="153" y="40"/>
                      <a:pt x="153" y="40"/>
                    </a:cubicBezTo>
                    <a:cubicBezTo>
                      <a:pt x="150" y="38"/>
                      <a:pt x="150" y="38"/>
                      <a:pt x="150" y="38"/>
                    </a:cubicBezTo>
                    <a:cubicBezTo>
                      <a:pt x="148" y="38"/>
                      <a:pt x="148" y="38"/>
                      <a:pt x="148" y="38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46" y="29"/>
                      <a:pt x="146" y="29"/>
                      <a:pt x="146" y="29"/>
                    </a:cubicBezTo>
                    <a:cubicBezTo>
                      <a:pt x="145" y="22"/>
                      <a:pt x="145" y="22"/>
                      <a:pt x="145" y="22"/>
                    </a:cubicBezTo>
                    <a:cubicBezTo>
                      <a:pt x="146" y="17"/>
                      <a:pt x="146" y="17"/>
                      <a:pt x="146" y="17"/>
                    </a:cubicBezTo>
                    <a:cubicBezTo>
                      <a:pt x="143" y="11"/>
                      <a:pt x="143" y="11"/>
                      <a:pt x="143" y="11"/>
                    </a:cubicBezTo>
                    <a:cubicBezTo>
                      <a:pt x="142" y="8"/>
                      <a:pt x="142" y="8"/>
                      <a:pt x="142" y="8"/>
                    </a:cubicBezTo>
                    <a:cubicBezTo>
                      <a:pt x="140" y="6"/>
                      <a:pt x="140" y="6"/>
                      <a:pt x="140" y="6"/>
                    </a:cubicBezTo>
                    <a:cubicBezTo>
                      <a:pt x="139" y="2"/>
                      <a:pt x="139" y="2"/>
                      <a:pt x="139" y="2"/>
                    </a:cubicBezTo>
                    <a:cubicBezTo>
                      <a:pt x="139" y="1"/>
                      <a:pt x="139" y="1"/>
                      <a:pt x="139" y="1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0" y="6"/>
                      <a:pt x="130" y="6"/>
                      <a:pt x="130" y="6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8" y="13"/>
                      <a:pt x="128" y="13"/>
                      <a:pt x="128" y="13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22" y="29"/>
                      <a:pt x="122" y="29"/>
                      <a:pt x="122" y="29"/>
                    </a:cubicBezTo>
                    <a:cubicBezTo>
                      <a:pt x="118" y="34"/>
                      <a:pt x="118" y="34"/>
                      <a:pt x="118" y="34"/>
                    </a:cubicBezTo>
                    <a:cubicBezTo>
                      <a:pt x="116" y="37"/>
                      <a:pt x="116" y="37"/>
                      <a:pt x="116" y="37"/>
                    </a:cubicBezTo>
                    <a:cubicBezTo>
                      <a:pt x="114" y="41"/>
                      <a:pt x="114" y="41"/>
                      <a:pt x="114" y="41"/>
                    </a:cubicBezTo>
                    <a:cubicBezTo>
                      <a:pt x="113" y="44"/>
                      <a:pt x="113" y="44"/>
                      <a:pt x="113" y="44"/>
                    </a:cubicBezTo>
                    <a:cubicBezTo>
                      <a:pt x="112" y="49"/>
                      <a:pt x="112" y="49"/>
                      <a:pt x="112" y="49"/>
                    </a:cubicBezTo>
                    <a:cubicBezTo>
                      <a:pt x="112" y="53"/>
                      <a:pt x="112" y="53"/>
                      <a:pt x="112" y="53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14" y="55"/>
                      <a:pt x="114" y="55"/>
                      <a:pt x="114" y="55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11" y="66"/>
                      <a:pt x="111" y="66"/>
                      <a:pt x="111" y="66"/>
                    </a:cubicBezTo>
                    <a:cubicBezTo>
                      <a:pt x="110" y="68"/>
                      <a:pt x="110" y="68"/>
                      <a:pt x="110" y="68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6" y="84"/>
                      <a:pt x="106" y="84"/>
                      <a:pt x="106" y="84"/>
                    </a:cubicBezTo>
                    <a:cubicBezTo>
                      <a:pt x="106" y="89"/>
                      <a:pt x="106" y="89"/>
                      <a:pt x="106" y="89"/>
                    </a:cubicBezTo>
                    <a:cubicBezTo>
                      <a:pt x="106" y="97"/>
                      <a:pt x="106" y="97"/>
                      <a:pt x="106" y="97"/>
                    </a:cubicBezTo>
                    <a:cubicBezTo>
                      <a:pt x="106" y="100"/>
                      <a:pt x="106" y="100"/>
                      <a:pt x="106" y="100"/>
                    </a:cubicBezTo>
                    <a:cubicBezTo>
                      <a:pt x="103" y="100"/>
                      <a:pt x="103" y="100"/>
                      <a:pt x="103" y="100"/>
                    </a:cubicBez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2" y="105"/>
                      <a:pt x="102" y="105"/>
                      <a:pt x="102" y="105"/>
                    </a:cubicBezTo>
                    <a:cubicBezTo>
                      <a:pt x="104" y="106"/>
                      <a:pt x="104" y="106"/>
                      <a:pt x="104" y="106"/>
                    </a:cubicBezTo>
                    <a:cubicBezTo>
                      <a:pt x="104" y="108"/>
                      <a:pt x="104" y="108"/>
                      <a:pt x="104" y="108"/>
                    </a:cubicBezTo>
                    <a:cubicBezTo>
                      <a:pt x="105" y="109"/>
                      <a:pt x="105" y="109"/>
                      <a:pt x="105" y="109"/>
                    </a:cubicBezTo>
                    <a:cubicBezTo>
                      <a:pt x="106" y="110"/>
                      <a:pt x="106" y="110"/>
                      <a:pt x="106" y="110"/>
                    </a:cubicBez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6" y="116"/>
                      <a:pt x="106" y="116"/>
                      <a:pt x="106" y="116"/>
                    </a:cubicBezTo>
                    <a:cubicBezTo>
                      <a:pt x="106" y="121"/>
                      <a:pt x="106" y="121"/>
                      <a:pt x="106" y="121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2" y="134"/>
                      <a:pt x="102" y="134"/>
                      <a:pt x="102" y="134"/>
                    </a:cubicBezTo>
                    <a:cubicBezTo>
                      <a:pt x="101" y="138"/>
                      <a:pt x="101" y="138"/>
                      <a:pt x="101" y="138"/>
                    </a:cubicBezTo>
                    <a:cubicBezTo>
                      <a:pt x="101" y="141"/>
                      <a:pt x="101" y="141"/>
                      <a:pt x="101" y="141"/>
                    </a:cubicBezTo>
                    <a:cubicBezTo>
                      <a:pt x="100" y="146"/>
                      <a:pt x="100" y="146"/>
                      <a:pt x="100" y="146"/>
                    </a:cubicBezTo>
                    <a:cubicBezTo>
                      <a:pt x="99" y="150"/>
                      <a:pt x="99" y="150"/>
                      <a:pt x="99" y="150"/>
                    </a:cubicBezTo>
                    <a:cubicBezTo>
                      <a:pt x="96" y="153"/>
                      <a:pt x="96" y="153"/>
                      <a:pt x="96" y="153"/>
                    </a:cubicBezTo>
                    <a:cubicBezTo>
                      <a:pt x="94" y="155"/>
                      <a:pt x="94" y="155"/>
                      <a:pt x="94" y="155"/>
                    </a:cubicBezTo>
                    <a:cubicBezTo>
                      <a:pt x="94" y="157"/>
                      <a:pt x="94" y="157"/>
                      <a:pt x="94" y="157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2" y="167"/>
                      <a:pt x="92" y="167"/>
                      <a:pt x="92" y="167"/>
                    </a:cubicBezTo>
                    <a:cubicBezTo>
                      <a:pt x="89" y="173"/>
                      <a:pt x="89" y="173"/>
                      <a:pt x="89" y="173"/>
                    </a:cubicBezTo>
                    <a:cubicBezTo>
                      <a:pt x="86" y="178"/>
                      <a:pt x="86" y="178"/>
                      <a:pt x="86" y="178"/>
                    </a:cubicBezTo>
                    <a:cubicBezTo>
                      <a:pt x="81" y="185"/>
                      <a:pt x="81" y="185"/>
                      <a:pt x="81" y="185"/>
                    </a:cubicBezTo>
                    <a:cubicBezTo>
                      <a:pt x="77" y="190"/>
                      <a:pt x="77" y="190"/>
                      <a:pt x="77" y="190"/>
                    </a:cubicBezTo>
                    <a:cubicBezTo>
                      <a:pt x="74" y="191"/>
                      <a:pt x="74" y="191"/>
                      <a:pt x="74" y="191"/>
                    </a:cubicBezTo>
                    <a:cubicBezTo>
                      <a:pt x="71" y="193"/>
                      <a:pt x="71" y="193"/>
                      <a:pt x="71" y="193"/>
                    </a:cubicBezTo>
                    <a:cubicBezTo>
                      <a:pt x="69" y="194"/>
                      <a:pt x="69" y="194"/>
                      <a:pt x="69" y="194"/>
                    </a:cubicBezTo>
                    <a:cubicBezTo>
                      <a:pt x="66" y="195"/>
                      <a:pt x="66" y="195"/>
                      <a:pt x="66" y="195"/>
                    </a:cubicBezTo>
                    <a:cubicBezTo>
                      <a:pt x="63" y="195"/>
                      <a:pt x="63" y="195"/>
                      <a:pt x="63" y="195"/>
                    </a:cubicBezTo>
                    <a:cubicBezTo>
                      <a:pt x="60" y="195"/>
                      <a:pt x="60" y="195"/>
                      <a:pt x="60" y="195"/>
                    </a:cubicBezTo>
                    <a:cubicBezTo>
                      <a:pt x="56" y="195"/>
                      <a:pt x="56" y="195"/>
                      <a:pt x="56" y="195"/>
                    </a:cubicBezTo>
                    <a:cubicBezTo>
                      <a:pt x="53" y="193"/>
                      <a:pt x="53" y="193"/>
                      <a:pt x="53" y="193"/>
                    </a:cubicBezTo>
                    <a:cubicBezTo>
                      <a:pt x="51" y="191"/>
                      <a:pt x="51" y="191"/>
                      <a:pt x="51" y="191"/>
                    </a:cubicBezTo>
                    <a:cubicBezTo>
                      <a:pt x="46" y="189"/>
                      <a:pt x="46" y="189"/>
                      <a:pt x="46" y="189"/>
                    </a:cubicBezTo>
                    <a:cubicBezTo>
                      <a:pt x="43" y="187"/>
                      <a:pt x="43" y="187"/>
                      <a:pt x="43" y="187"/>
                    </a:cubicBezTo>
                    <a:cubicBezTo>
                      <a:pt x="40" y="187"/>
                      <a:pt x="40" y="187"/>
                      <a:pt x="40" y="187"/>
                    </a:cubicBezTo>
                    <a:cubicBezTo>
                      <a:pt x="39" y="184"/>
                      <a:pt x="39" y="184"/>
                      <a:pt x="39" y="184"/>
                    </a:cubicBezTo>
                    <a:cubicBezTo>
                      <a:pt x="38" y="178"/>
                      <a:pt x="38" y="178"/>
                      <a:pt x="38" y="178"/>
                    </a:cubicBezTo>
                    <a:cubicBezTo>
                      <a:pt x="37" y="176"/>
                      <a:pt x="37" y="176"/>
                      <a:pt x="37" y="176"/>
                    </a:cubicBezTo>
                    <a:cubicBezTo>
                      <a:pt x="33" y="172"/>
                      <a:pt x="33" y="172"/>
                      <a:pt x="33" y="172"/>
                    </a:cubicBezTo>
                    <a:cubicBezTo>
                      <a:pt x="30" y="169"/>
                      <a:pt x="30" y="169"/>
                      <a:pt x="30" y="169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2" y="168"/>
                      <a:pt x="22" y="168"/>
                      <a:pt x="22" y="168"/>
                    </a:cubicBezTo>
                    <a:cubicBezTo>
                      <a:pt x="18" y="168"/>
                      <a:pt x="18" y="168"/>
                      <a:pt x="18" y="168"/>
                    </a:cubicBezTo>
                    <a:cubicBezTo>
                      <a:pt x="16" y="167"/>
                      <a:pt x="16" y="167"/>
                      <a:pt x="16" y="167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70" y="427"/>
                      <a:pt x="70" y="427"/>
                      <a:pt x="70" y="427"/>
                    </a:cubicBezTo>
                    <a:cubicBezTo>
                      <a:pt x="66" y="509"/>
                      <a:pt x="66" y="509"/>
                      <a:pt x="66" y="509"/>
                    </a:cubicBezTo>
                    <a:cubicBezTo>
                      <a:pt x="250" y="526"/>
                      <a:pt x="250" y="526"/>
                      <a:pt x="250" y="526"/>
                    </a:cubicBezTo>
                    <a:cubicBezTo>
                      <a:pt x="251" y="526"/>
                      <a:pt x="251" y="526"/>
                      <a:pt x="251" y="526"/>
                    </a:cubicBezTo>
                    <a:cubicBezTo>
                      <a:pt x="258" y="523"/>
                      <a:pt x="258" y="523"/>
                      <a:pt x="258" y="523"/>
                    </a:cubicBezTo>
                    <a:cubicBezTo>
                      <a:pt x="260" y="523"/>
                      <a:pt x="260" y="523"/>
                      <a:pt x="260" y="523"/>
                    </a:cubicBezTo>
                    <a:cubicBezTo>
                      <a:pt x="265" y="524"/>
                      <a:pt x="265" y="524"/>
                      <a:pt x="265" y="524"/>
                    </a:cubicBezTo>
                    <a:cubicBezTo>
                      <a:pt x="270" y="524"/>
                      <a:pt x="270" y="524"/>
                      <a:pt x="270" y="524"/>
                    </a:cubicBezTo>
                    <a:cubicBezTo>
                      <a:pt x="273" y="522"/>
                      <a:pt x="273" y="522"/>
                      <a:pt x="273" y="522"/>
                    </a:cubicBezTo>
                    <a:cubicBezTo>
                      <a:pt x="277" y="521"/>
                      <a:pt x="277" y="521"/>
                      <a:pt x="277" y="521"/>
                    </a:cubicBezTo>
                    <a:cubicBezTo>
                      <a:pt x="281" y="521"/>
                      <a:pt x="281" y="521"/>
                      <a:pt x="281" y="521"/>
                    </a:cubicBezTo>
                    <a:cubicBezTo>
                      <a:pt x="285" y="523"/>
                      <a:pt x="285" y="523"/>
                      <a:pt x="285" y="523"/>
                    </a:cubicBezTo>
                    <a:cubicBezTo>
                      <a:pt x="290" y="525"/>
                      <a:pt x="290" y="525"/>
                      <a:pt x="290" y="525"/>
                    </a:cubicBezTo>
                    <a:cubicBezTo>
                      <a:pt x="295" y="525"/>
                      <a:pt x="295" y="525"/>
                      <a:pt x="295" y="525"/>
                    </a:cubicBezTo>
                    <a:cubicBezTo>
                      <a:pt x="299" y="525"/>
                      <a:pt x="299" y="525"/>
                      <a:pt x="299" y="525"/>
                    </a:cubicBezTo>
                    <a:cubicBezTo>
                      <a:pt x="301" y="529"/>
                      <a:pt x="301" y="529"/>
                      <a:pt x="301" y="529"/>
                    </a:cubicBezTo>
                    <a:cubicBezTo>
                      <a:pt x="304" y="532"/>
                      <a:pt x="304" y="532"/>
                      <a:pt x="304" y="532"/>
                    </a:cubicBezTo>
                    <a:cubicBezTo>
                      <a:pt x="306" y="535"/>
                      <a:pt x="306" y="535"/>
                      <a:pt x="306" y="535"/>
                    </a:cubicBezTo>
                    <a:cubicBezTo>
                      <a:pt x="308" y="537"/>
                      <a:pt x="308" y="537"/>
                      <a:pt x="308" y="537"/>
                    </a:cubicBezTo>
                    <a:cubicBezTo>
                      <a:pt x="313" y="537"/>
                      <a:pt x="313" y="537"/>
                      <a:pt x="313" y="537"/>
                    </a:cubicBezTo>
                    <a:cubicBezTo>
                      <a:pt x="315" y="534"/>
                      <a:pt x="315" y="534"/>
                      <a:pt x="315" y="534"/>
                    </a:cubicBezTo>
                    <a:cubicBezTo>
                      <a:pt x="317" y="534"/>
                      <a:pt x="317" y="534"/>
                      <a:pt x="317" y="534"/>
                    </a:cubicBezTo>
                    <a:cubicBezTo>
                      <a:pt x="319" y="532"/>
                      <a:pt x="319" y="532"/>
                      <a:pt x="319" y="532"/>
                    </a:cubicBezTo>
                    <a:cubicBezTo>
                      <a:pt x="324" y="532"/>
                      <a:pt x="324" y="532"/>
                      <a:pt x="324" y="532"/>
                    </a:cubicBezTo>
                    <a:cubicBezTo>
                      <a:pt x="328" y="529"/>
                      <a:pt x="328" y="529"/>
                      <a:pt x="328" y="529"/>
                    </a:cubicBezTo>
                    <a:cubicBezTo>
                      <a:pt x="330" y="524"/>
                      <a:pt x="330" y="524"/>
                      <a:pt x="330" y="524"/>
                    </a:cubicBezTo>
                    <a:cubicBezTo>
                      <a:pt x="333" y="520"/>
                      <a:pt x="333" y="520"/>
                      <a:pt x="333" y="520"/>
                    </a:cubicBezTo>
                    <a:cubicBezTo>
                      <a:pt x="338" y="519"/>
                      <a:pt x="338" y="519"/>
                      <a:pt x="338" y="519"/>
                    </a:cubicBezTo>
                    <a:cubicBezTo>
                      <a:pt x="350" y="520"/>
                      <a:pt x="350" y="520"/>
                      <a:pt x="350" y="520"/>
                    </a:cubicBezTo>
                    <a:cubicBezTo>
                      <a:pt x="353" y="513"/>
                      <a:pt x="353" y="513"/>
                      <a:pt x="353" y="513"/>
                    </a:cubicBezTo>
                    <a:cubicBezTo>
                      <a:pt x="354" y="508"/>
                      <a:pt x="354" y="508"/>
                      <a:pt x="354" y="508"/>
                    </a:cubicBezTo>
                    <a:cubicBezTo>
                      <a:pt x="357" y="505"/>
                      <a:pt x="357" y="505"/>
                      <a:pt x="357" y="505"/>
                    </a:cubicBezTo>
                    <a:cubicBezTo>
                      <a:pt x="363" y="508"/>
                      <a:pt x="363" y="508"/>
                      <a:pt x="363" y="508"/>
                    </a:cubicBezTo>
                    <a:cubicBezTo>
                      <a:pt x="363" y="507"/>
                      <a:pt x="363" y="507"/>
                      <a:pt x="363" y="507"/>
                    </a:cubicBezTo>
                    <a:cubicBezTo>
                      <a:pt x="363" y="506"/>
                      <a:pt x="363" y="506"/>
                      <a:pt x="363" y="506"/>
                    </a:cubicBezTo>
                    <a:lnTo>
                      <a:pt x="363" y="505"/>
                    </a:lnTo>
                    <a:close/>
                  </a:path>
                </a:pathLst>
              </a:custGeom>
              <a:solidFill>
                <a:schemeClr val="accent4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2" name="Freeform 8"/>
              <p:cNvSpPr>
                <a:spLocks/>
              </p:cNvSpPr>
              <p:nvPr/>
            </p:nvSpPr>
            <p:spPr bwMode="auto">
              <a:xfrm>
                <a:off x="1533525" y="2586038"/>
                <a:ext cx="569912" cy="846138"/>
              </a:xfrm>
              <a:custGeom>
                <a:avLst/>
                <a:gdLst>
                  <a:gd name="T0" fmla="*/ 0 w 292"/>
                  <a:gd name="T1" fmla="*/ 0 h 433"/>
                  <a:gd name="T2" fmla="*/ 9 w 292"/>
                  <a:gd name="T3" fmla="*/ 244 h 433"/>
                  <a:gd name="T4" fmla="*/ 24 w 292"/>
                  <a:gd name="T5" fmla="*/ 243 h 433"/>
                  <a:gd name="T6" fmla="*/ 40 w 292"/>
                  <a:gd name="T7" fmla="*/ 243 h 433"/>
                  <a:gd name="T8" fmla="*/ 46 w 292"/>
                  <a:gd name="T9" fmla="*/ 242 h 433"/>
                  <a:gd name="T10" fmla="*/ 64 w 292"/>
                  <a:gd name="T11" fmla="*/ 244 h 433"/>
                  <a:gd name="T12" fmla="*/ 80 w 292"/>
                  <a:gd name="T13" fmla="*/ 254 h 433"/>
                  <a:gd name="T14" fmla="*/ 90 w 292"/>
                  <a:gd name="T15" fmla="*/ 253 h 433"/>
                  <a:gd name="T16" fmla="*/ 102 w 292"/>
                  <a:gd name="T17" fmla="*/ 261 h 433"/>
                  <a:gd name="T18" fmla="*/ 121 w 292"/>
                  <a:gd name="T19" fmla="*/ 270 h 433"/>
                  <a:gd name="T20" fmla="*/ 122 w 292"/>
                  <a:gd name="T21" fmla="*/ 282 h 433"/>
                  <a:gd name="T22" fmla="*/ 131 w 292"/>
                  <a:gd name="T23" fmla="*/ 290 h 433"/>
                  <a:gd name="T24" fmla="*/ 139 w 292"/>
                  <a:gd name="T25" fmla="*/ 302 h 433"/>
                  <a:gd name="T26" fmla="*/ 146 w 292"/>
                  <a:gd name="T27" fmla="*/ 313 h 433"/>
                  <a:gd name="T28" fmla="*/ 149 w 292"/>
                  <a:gd name="T29" fmla="*/ 328 h 433"/>
                  <a:gd name="T30" fmla="*/ 151 w 292"/>
                  <a:gd name="T31" fmla="*/ 336 h 433"/>
                  <a:gd name="T32" fmla="*/ 159 w 292"/>
                  <a:gd name="T33" fmla="*/ 335 h 433"/>
                  <a:gd name="T34" fmla="*/ 163 w 292"/>
                  <a:gd name="T35" fmla="*/ 325 h 433"/>
                  <a:gd name="T36" fmla="*/ 170 w 292"/>
                  <a:gd name="T37" fmla="*/ 316 h 433"/>
                  <a:gd name="T38" fmla="*/ 177 w 292"/>
                  <a:gd name="T39" fmla="*/ 306 h 433"/>
                  <a:gd name="T40" fmla="*/ 191 w 292"/>
                  <a:gd name="T41" fmla="*/ 297 h 433"/>
                  <a:gd name="T42" fmla="*/ 202 w 292"/>
                  <a:gd name="T43" fmla="*/ 282 h 433"/>
                  <a:gd name="T44" fmla="*/ 208 w 292"/>
                  <a:gd name="T45" fmla="*/ 276 h 433"/>
                  <a:gd name="T46" fmla="*/ 205 w 292"/>
                  <a:gd name="T47" fmla="*/ 287 h 433"/>
                  <a:gd name="T48" fmla="*/ 205 w 292"/>
                  <a:gd name="T49" fmla="*/ 301 h 433"/>
                  <a:gd name="T50" fmla="*/ 198 w 292"/>
                  <a:gd name="T51" fmla="*/ 317 h 433"/>
                  <a:gd name="T52" fmla="*/ 195 w 292"/>
                  <a:gd name="T53" fmla="*/ 333 h 433"/>
                  <a:gd name="T54" fmla="*/ 184 w 292"/>
                  <a:gd name="T55" fmla="*/ 336 h 433"/>
                  <a:gd name="T56" fmla="*/ 181 w 292"/>
                  <a:gd name="T57" fmla="*/ 343 h 433"/>
                  <a:gd name="T58" fmla="*/ 188 w 292"/>
                  <a:gd name="T59" fmla="*/ 347 h 433"/>
                  <a:gd name="T60" fmla="*/ 198 w 292"/>
                  <a:gd name="T61" fmla="*/ 345 h 433"/>
                  <a:gd name="T62" fmla="*/ 202 w 292"/>
                  <a:gd name="T63" fmla="*/ 336 h 433"/>
                  <a:gd name="T64" fmla="*/ 206 w 292"/>
                  <a:gd name="T65" fmla="*/ 329 h 433"/>
                  <a:gd name="T66" fmla="*/ 206 w 292"/>
                  <a:gd name="T67" fmla="*/ 322 h 433"/>
                  <a:gd name="T68" fmla="*/ 210 w 292"/>
                  <a:gd name="T69" fmla="*/ 318 h 433"/>
                  <a:gd name="T70" fmla="*/ 215 w 292"/>
                  <a:gd name="T71" fmla="*/ 328 h 433"/>
                  <a:gd name="T72" fmla="*/ 222 w 292"/>
                  <a:gd name="T73" fmla="*/ 341 h 433"/>
                  <a:gd name="T74" fmla="*/ 214 w 292"/>
                  <a:gd name="T75" fmla="*/ 352 h 433"/>
                  <a:gd name="T76" fmla="*/ 218 w 292"/>
                  <a:gd name="T77" fmla="*/ 359 h 433"/>
                  <a:gd name="T78" fmla="*/ 231 w 292"/>
                  <a:gd name="T79" fmla="*/ 353 h 433"/>
                  <a:gd name="T80" fmla="*/ 234 w 292"/>
                  <a:gd name="T81" fmla="*/ 362 h 433"/>
                  <a:gd name="T82" fmla="*/ 240 w 292"/>
                  <a:gd name="T83" fmla="*/ 376 h 433"/>
                  <a:gd name="T84" fmla="*/ 245 w 292"/>
                  <a:gd name="T85" fmla="*/ 397 h 433"/>
                  <a:gd name="T86" fmla="*/ 247 w 292"/>
                  <a:gd name="T87" fmla="*/ 411 h 433"/>
                  <a:gd name="T88" fmla="*/ 262 w 292"/>
                  <a:gd name="T89" fmla="*/ 430 h 433"/>
                  <a:gd name="T90" fmla="*/ 270 w 292"/>
                  <a:gd name="T91" fmla="*/ 432 h 433"/>
                  <a:gd name="T92" fmla="*/ 292 w 292"/>
                  <a:gd name="T93" fmla="*/ 91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92" h="433">
                    <a:moveTo>
                      <a:pt x="222" y="85"/>
                    </a:moveTo>
                    <a:cubicBezTo>
                      <a:pt x="2" y="84"/>
                      <a:pt x="2" y="84"/>
                      <a:pt x="2" y="8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246"/>
                      <a:pt x="7" y="246"/>
                      <a:pt x="7" y="246"/>
                    </a:cubicBezTo>
                    <a:cubicBezTo>
                      <a:pt x="9" y="244"/>
                      <a:pt x="9" y="244"/>
                      <a:pt x="9" y="244"/>
                    </a:cubicBezTo>
                    <a:cubicBezTo>
                      <a:pt x="11" y="244"/>
                      <a:pt x="11" y="244"/>
                      <a:pt x="11" y="244"/>
                    </a:cubicBezTo>
                    <a:cubicBezTo>
                      <a:pt x="17" y="243"/>
                      <a:pt x="17" y="243"/>
                      <a:pt x="17" y="243"/>
                    </a:cubicBezTo>
                    <a:cubicBezTo>
                      <a:pt x="24" y="243"/>
                      <a:pt x="24" y="243"/>
                      <a:pt x="24" y="243"/>
                    </a:cubicBezTo>
                    <a:cubicBezTo>
                      <a:pt x="32" y="243"/>
                      <a:pt x="32" y="243"/>
                      <a:pt x="32" y="243"/>
                    </a:cubicBezTo>
                    <a:cubicBezTo>
                      <a:pt x="36" y="243"/>
                      <a:pt x="36" y="243"/>
                      <a:pt x="36" y="243"/>
                    </a:cubicBezTo>
                    <a:cubicBezTo>
                      <a:pt x="40" y="243"/>
                      <a:pt x="40" y="243"/>
                      <a:pt x="40" y="243"/>
                    </a:cubicBezTo>
                    <a:cubicBezTo>
                      <a:pt x="41" y="243"/>
                      <a:pt x="41" y="243"/>
                      <a:pt x="41" y="243"/>
                    </a:cubicBezTo>
                    <a:cubicBezTo>
                      <a:pt x="43" y="242"/>
                      <a:pt x="43" y="242"/>
                      <a:pt x="43" y="242"/>
                    </a:cubicBezTo>
                    <a:cubicBezTo>
                      <a:pt x="46" y="242"/>
                      <a:pt x="46" y="242"/>
                      <a:pt x="46" y="242"/>
                    </a:cubicBezTo>
                    <a:cubicBezTo>
                      <a:pt x="49" y="240"/>
                      <a:pt x="49" y="240"/>
                      <a:pt x="49" y="240"/>
                    </a:cubicBezTo>
                    <a:cubicBezTo>
                      <a:pt x="55" y="240"/>
                      <a:pt x="55" y="240"/>
                      <a:pt x="55" y="240"/>
                    </a:cubicBezTo>
                    <a:cubicBezTo>
                      <a:pt x="64" y="244"/>
                      <a:pt x="64" y="244"/>
                      <a:pt x="64" y="244"/>
                    </a:cubicBezTo>
                    <a:cubicBezTo>
                      <a:pt x="68" y="246"/>
                      <a:pt x="68" y="246"/>
                      <a:pt x="68" y="246"/>
                    </a:cubicBezTo>
                    <a:cubicBezTo>
                      <a:pt x="75" y="252"/>
                      <a:pt x="75" y="252"/>
                      <a:pt x="75" y="252"/>
                    </a:cubicBezTo>
                    <a:cubicBezTo>
                      <a:pt x="80" y="254"/>
                      <a:pt x="80" y="254"/>
                      <a:pt x="80" y="254"/>
                    </a:cubicBezTo>
                    <a:cubicBezTo>
                      <a:pt x="83" y="254"/>
                      <a:pt x="83" y="254"/>
                      <a:pt x="83" y="254"/>
                    </a:cubicBezTo>
                    <a:cubicBezTo>
                      <a:pt x="85" y="253"/>
                      <a:pt x="85" y="253"/>
                      <a:pt x="85" y="253"/>
                    </a:cubicBezTo>
                    <a:cubicBezTo>
                      <a:pt x="90" y="253"/>
                      <a:pt x="90" y="253"/>
                      <a:pt x="90" y="253"/>
                    </a:cubicBezTo>
                    <a:cubicBezTo>
                      <a:pt x="94" y="257"/>
                      <a:pt x="94" y="257"/>
                      <a:pt x="94" y="257"/>
                    </a:cubicBezTo>
                    <a:cubicBezTo>
                      <a:pt x="99" y="260"/>
                      <a:pt x="99" y="260"/>
                      <a:pt x="99" y="260"/>
                    </a:cubicBezTo>
                    <a:cubicBezTo>
                      <a:pt x="102" y="261"/>
                      <a:pt x="102" y="261"/>
                      <a:pt x="102" y="261"/>
                    </a:cubicBezTo>
                    <a:cubicBezTo>
                      <a:pt x="111" y="261"/>
                      <a:pt x="111" y="261"/>
                      <a:pt x="111" y="261"/>
                    </a:cubicBezTo>
                    <a:cubicBezTo>
                      <a:pt x="114" y="264"/>
                      <a:pt x="114" y="264"/>
                      <a:pt x="114" y="264"/>
                    </a:cubicBezTo>
                    <a:cubicBezTo>
                      <a:pt x="121" y="270"/>
                      <a:pt x="121" y="270"/>
                      <a:pt x="121" y="270"/>
                    </a:cubicBezTo>
                    <a:cubicBezTo>
                      <a:pt x="120" y="275"/>
                      <a:pt x="120" y="275"/>
                      <a:pt x="120" y="275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2" y="282"/>
                      <a:pt x="122" y="282"/>
                      <a:pt x="122" y="282"/>
                    </a:cubicBezTo>
                    <a:cubicBezTo>
                      <a:pt x="124" y="285"/>
                      <a:pt x="124" y="285"/>
                      <a:pt x="124" y="285"/>
                    </a:cubicBezTo>
                    <a:cubicBezTo>
                      <a:pt x="128" y="287"/>
                      <a:pt x="128" y="287"/>
                      <a:pt x="128" y="287"/>
                    </a:cubicBezTo>
                    <a:cubicBezTo>
                      <a:pt x="131" y="290"/>
                      <a:pt x="131" y="290"/>
                      <a:pt x="131" y="290"/>
                    </a:cubicBezTo>
                    <a:cubicBezTo>
                      <a:pt x="134" y="292"/>
                      <a:pt x="134" y="292"/>
                      <a:pt x="134" y="292"/>
                    </a:cubicBezTo>
                    <a:cubicBezTo>
                      <a:pt x="135" y="298"/>
                      <a:pt x="135" y="298"/>
                      <a:pt x="135" y="298"/>
                    </a:cubicBezTo>
                    <a:cubicBezTo>
                      <a:pt x="139" y="302"/>
                      <a:pt x="139" y="302"/>
                      <a:pt x="139" y="302"/>
                    </a:cubicBezTo>
                    <a:cubicBezTo>
                      <a:pt x="144" y="306"/>
                      <a:pt x="144" y="306"/>
                      <a:pt x="144" y="306"/>
                    </a:cubicBezTo>
                    <a:cubicBezTo>
                      <a:pt x="144" y="311"/>
                      <a:pt x="144" y="311"/>
                      <a:pt x="144" y="311"/>
                    </a:cubicBezTo>
                    <a:cubicBezTo>
                      <a:pt x="146" y="313"/>
                      <a:pt x="146" y="313"/>
                      <a:pt x="146" y="313"/>
                    </a:cubicBezTo>
                    <a:cubicBezTo>
                      <a:pt x="148" y="316"/>
                      <a:pt x="148" y="316"/>
                      <a:pt x="148" y="316"/>
                    </a:cubicBezTo>
                    <a:cubicBezTo>
                      <a:pt x="149" y="319"/>
                      <a:pt x="149" y="319"/>
                      <a:pt x="149" y="319"/>
                    </a:cubicBezTo>
                    <a:cubicBezTo>
                      <a:pt x="149" y="328"/>
                      <a:pt x="149" y="328"/>
                      <a:pt x="149" y="328"/>
                    </a:cubicBezTo>
                    <a:cubicBezTo>
                      <a:pt x="151" y="332"/>
                      <a:pt x="151" y="332"/>
                      <a:pt x="151" y="332"/>
                    </a:cubicBezTo>
                    <a:cubicBezTo>
                      <a:pt x="151" y="333"/>
                      <a:pt x="151" y="333"/>
                      <a:pt x="151" y="333"/>
                    </a:cubicBezTo>
                    <a:cubicBezTo>
                      <a:pt x="151" y="336"/>
                      <a:pt x="151" y="336"/>
                      <a:pt x="151" y="336"/>
                    </a:cubicBezTo>
                    <a:cubicBezTo>
                      <a:pt x="152" y="336"/>
                      <a:pt x="152" y="336"/>
                      <a:pt x="152" y="336"/>
                    </a:cubicBezTo>
                    <a:cubicBezTo>
                      <a:pt x="157" y="337"/>
                      <a:pt x="157" y="337"/>
                      <a:pt x="157" y="337"/>
                    </a:cubicBezTo>
                    <a:cubicBezTo>
                      <a:pt x="159" y="335"/>
                      <a:pt x="159" y="335"/>
                      <a:pt x="159" y="335"/>
                    </a:cubicBezTo>
                    <a:cubicBezTo>
                      <a:pt x="162" y="333"/>
                      <a:pt x="162" y="333"/>
                      <a:pt x="162" y="333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3" y="325"/>
                      <a:pt x="163" y="325"/>
                      <a:pt x="163" y="325"/>
                    </a:cubicBezTo>
                    <a:cubicBezTo>
                      <a:pt x="165" y="322"/>
                      <a:pt x="165" y="322"/>
                      <a:pt x="165" y="322"/>
                    </a:cubicBezTo>
                    <a:cubicBezTo>
                      <a:pt x="167" y="319"/>
                      <a:pt x="167" y="319"/>
                      <a:pt x="167" y="319"/>
                    </a:cubicBezTo>
                    <a:cubicBezTo>
                      <a:pt x="170" y="316"/>
                      <a:pt x="170" y="316"/>
                      <a:pt x="170" y="316"/>
                    </a:cubicBezTo>
                    <a:cubicBezTo>
                      <a:pt x="170" y="312"/>
                      <a:pt x="170" y="312"/>
                      <a:pt x="170" y="312"/>
                    </a:cubicBezTo>
                    <a:cubicBezTo>
                      <a:pt x="174" y="310"/>
                      <a:pt x="174" y="310"/>
                      <a:pt x="174" y="310"/>
                    </a:cubicBezTo>
                    <a:cubicBezTo>
                      <a:pt x="177" y="306"/>
                      <a:pt x="177" y="306"/>
                      <a:pt x="177" y="306"/>
                    </a:cubicBezTo>
                    <a:cubicBezTo>
                      <a:pt x="182" y="305"/>
                      <a:pt x="182" y="305"/>
                      <a:pt x="182" y="305"/>
                    </a:cubicBezTo>
                    <a:cubicBezTo>
                      <a:pt x="187" y="302"/>
                      <a:pt x="187" y="302"/>
                      <a:pt x="187" y="302"/>
                    </a:cubicBezTo>
                    <a:cubicBezTo>
                      <a:pt x="191" y="297"/>
                      <a:pt x="191" y="297"/>
                      <a:pt x="191" y="297"/>
                    </a:cubicBezTo>
                    <a:cubicBezTo>
                      <a:pt x="196" y="293"/>
                      <a:pt x="196" y="293"/>
                      <a:pt x="196" y="293"/>
                    </a:cubicBezTo>
                    <a:cubicBezTo>
                      <a:pt x="199" y="288"/>
                      <a:pt x="199" y="288"/>
                      <a:pt x="199" y="288"/>
                    </a:cubicBezTo>
                    <a:cubicBezTo>
                      <a:pt x="202" y="282"/>
                      <a:pt x="202" y="282"/>
                      <a:pt x="202" y="282"/>
                    </a:cubicBezTo>
                    <a:cubicBezTo>
                      <a:pt x="205" y="277"/>
                      <a:pt x="205" y="277"/>
                      <a:pt x="205" y="277"/>
                    </a:cubicBezTo>
                    <a:cubicBezTo>
                      <a:pt x="206" y="272"/>
                      <a:pt x="206" y="272"/>
                      <a:pt x="206" y="272"/>
                    </a:cubicBezTo>
                    <a:cubicBezTo>
                      <a:pt x="208" y="276"/>
                      <a:pt x="208" y="276"/>
                      <a:pt x="208" y="276"/>
                    </a:cubicBezTo>
                    <a:cubicBezTo>
                      <a:pt x="208" y="283"/>
                      <a:pt x="208" y="283"/>
                      <a:pt x="208" y="283"/>
                    </a:cubicBezTo>
                    <a:cubicBezTo>
                      <a:pt x="206" y="286"/>
                      <a:pt x="206" y="286"/>
                      <a:pt x="206" y="286"/>
                    </a:cubicBezTo>
                    <a:cubicBezTo>
                      <a:pt x="205" y="287"/>
                      <a:pt x="205" y="287"/>
                      <a:pt x="205" y="287"/>
                    </a:cubicBezTo>
                    <a:cubicBezTo>
                      <a:pt x="206" y="295"/>
                      <a:pt x="206" y="295"/>
                      <a:pt x="206" y="295"/>
                    </a:cubicBezTo>
                    <a:cubicBezTo>
                      <a:pt x="207" y="297"/>
                      <a:pt x="207" y="297"/>
                      <a:pt x="207" y="297"/>
                    </a:cubicBezTo>
                    <a:cubicBezTo>
                      <a:pt x="205" y="301"/>
                      <a:pt x="205" y="301"/>
                      <a:pt x="205" y="301"/>
                    </a:cubicBezTo>
                    <a:cubicBezTo>
                      <a:pt x="203" y="305"/>
                      <a:pt x="203" y="305"/>
                      <a:pt x="203" y="305"/>
                    </a:cubicBezTo>
                    <a:cubicBezTo>
                      <a:pt x="200" y="310"/>
                      <a:pt x="200" y="310"/>
                      <a:pt x="200" y="310"/>
                    </a:cubicBezTo>
                    <a:cubicBezTo>
                      <a:pt x="198" y="317"/>
                      <a:pt x="198" y="317"/>
                      <a:pt x="198" y="317"/>
                    </a:cubicBezTo>
                    <a:cubicBezTo>
                      <a:pt x="198" y="322"/>
                      <a:pt x="198" y="322"/>
                      <a:pt x="198" y="322"/>
                    </a:cubicBezTo>
                    <a:cubicBezTo>
                      <a:pt x="196" y="328"/>
                      <a:pt x="196" y="328"/>
                      <a:pt x="196" y="328"/>
                    </a:cubicBezTo>
                    <a:cubicBezTo>
                      <a:pt x="195" y="333"/>
                      <a:pt x="195" y="333"/>
                      <a:pt x="195" y="333"/>
                    </a:cubicBezTo>
                    <a:cubicBezTo>
                      <a:pt x="196" y="336"/>
                      <a:pt x="196" y="336"/>
                      <a:pt x="196" y="336"/>
                    </a:cubicBezTo>
                    <a:cubicBezTo>
                      <a:pt x="190" y="336"/>
                      <a:pt x="190" y="336"/>
                      <a:pt x="190" y="336"/>
                    </a:cubicBezTo>
                    <a:cubicBezTo>
                      <a:pt x="184" y="336"/>
                      <a:pt x="184" y="336"/>
                      <a:pt x="184" y="336"/>
                    </a:cubicBezTo>
                    <a:cubicBezTo>
                      <a:pt x="182" y="338"/>
                      <a:pt x="182" y="338"/>
                      <a:pt x="182" y="338"/>
                    </a:cubicBezTo>
                    <a:cubicBezTo>
                      <a:pt x="181" y="341"/>
                      <a:pt x="181" y="341"/>
                      <a:pt x="181" y="341"/>
                    </a:cubicBezTo>
                    <a:cubicBezTo>
                      <a:pt x="181" y="343"/>
                      <a:pt x="181" y="343"/>
                      <a:pt x="181" y="343"/>
                    </a:cubicBezTo>
                    <a:cubicBezTo>
                      <a:pt x="181" y="347"/>
                      <a:pt x="181" y="347"/>
                      <a:pt x="181" y="347"/>
                    </a:cubicBezTo>
                    <a:cubicBezTo>
                      <a:pt x="184" y="348"/>
                      <a:pt x="184" y="348"/>
                      <a:pt x="184" y="348"/>
                    </a:cubicBezTo>
                    <a:cubicBezTo>
                      <a:pt x="188" y="347"/>
                      <a:pt x="188" y="347"/>
                      <a:pt x="188" y="347"/>
                    </a:cubicBezTo>
                    <a:cubicBezTo>
                      <a:pt x="192" y="345"/>
                      <a:pt x="192" y="345"/>
                      <a:pt x="192" y="345"/>
                    </a:cubicBezTo>
                    <a:cubicBezTo>
                      <a:pt x="194" y="345"/>
                      <a:pt x="194" y="345"/>
                      <a:pt x="194" y="345"/>
                    </a:cubicBezTo>
                    <a:cubicBezTo>
                      <a:pt x="198" y="345"/>
                      <a:pt x="198" y="345"/>
                      <a:pt x="198" y="345"/>
                    </a:cubicBezTo>
                    <a:cubicBezTo>
                      <a:pt x="202" y="344"/>
                      <a:pt x="202" y="344"/>
                      <a:pt x="202" y="344"/>
                    </a:cubicBezTo>
                    <a:cubicBezTo>
                      <a:pt x="201" y="340"/>
                      <a:pt x="201" y="340"/>
                      <a:pt x="201" y="340"/>
                    </a:cubicBezTo>
                    <a:cubicBezTo>
                      <a:pt x="201" y="340"/>
                      <a:pt x="202" y="337"/>
                      <a:pt x="202" y="336"/>
                    </a:cubicBezTo>
                    <a:cubicBezTo>
                      <a:pt x="202" y="335"/>
                      <a:pt x="203" y="330"/>
                      <a:pt x="203" y="330"/>
                    </a:cubicBezTo>
                    <a:cubicBezTo>
                      <a:pt x="204" y="329"/>
                      <a:pt x="204" y="329"/>
                      <a:pt x="204" y="329"/>
                    </a:cubicBezTo>
                    <a:cubicBezTo>
                      <a:pt x="206" y="329"/>
                      <a:pt x="206" y="329"/>
                      <a:pt x="206" y="329"/>
                    </a:cubicBezTo>
                    <a:cubicBezTo>
                      <a:pt x="206" y="327"/>
                      <a:pt x="206" y="327"/>
                      <a:pt x="206" y="327"/>
                    </a:cubicBezTo>
                    <a:cubicBezTo>
                      <a:pt x="205" y="323"/>
                      <a:pt x="205" y="323"/>
                      <a:pt x="205" y="323"/>
                    </a:cubicBezTo>
                    <a:cubicBezTo>
                      <a:pt x="206" y="322"/>
                      <a:pt x="206" y="322"/>
                      <a:pt x="206" y="322"/>
                    </a:cubicBezTo>
                    <a:cubicBezTo>
                      <a:pt x="208" y="321"/>
                      <a:pt x="208" y="321"/>
                      <a:pt x="208" y="321"/>
                    </a:cubicBezTo>
                    <a:cubicBezTo>
                      <a:pt x="208" y="318"/>
                      <a:pt x="208" y="318"/>
                      <a:pt x="208" y="318"/>
                    </a:cubicBezTo>
                    <a:cubicBezTo>
                      <a:pt x="210" y="318"/>
                      <a:pt x="210" y="318"/>
                      <a:pt x="210" y="318"/>
                    </a:cubicBezTo>
                    <a:cubicBezTo>
                      <a:pt x="212" y="322"/>
                      <a:pt x="212" y="322"/>
                      <a:pt x="212" y="322"/>
                    </a:cubicBezTo>
                    <a:cubicBezTo>
                      <a:pt x="215" y="326"/>
                      <a:pt x="215" y="326"/>
                      <a:pt x="215" y="326"/>
                    </a:cubicBezTo>
                    <a:cubicBezTo>
                      <a:pt x="215" y="328"/>
                      <a:pt x="215" y="328"/>
                      <a:pt x="215" y="328"/>
                    </a:cubicBezTo>
                    <a:cubicBezTo>
                      <a:pt x="217" y="333"/>
                      <a:pt x="217" y="333"/>
                      <a:pt x="217" y="333"/>
                    </a:cubicBezTo>
                    <a:cubicBezTo>
                      <a:pt x="222" y="338"/>
                      <a:pt x="222" y="338"/>
                      <a:pt x="222" y="338"/>
                    </a:cubicBezTo>
                    <a:cubicBezTo>
                      <a:pt x="222" y="341"/>
                      <a:pt x="222" y="341"/>
                      <a:pt x="222" y="341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7" y="347"/>
                      <a:pt x="217" y="347"/>
                      <a:pt x="217" y="347"/>
                    </a:cubicBezTo>
                    <a:cubicBezTo>
                      <a:pt x="214" y="352"/>
                      <a:pt x="214" y="352"/>
                      <a:pt x="214" y="352"/>
                    </a:cubicBezTo>
                    <a:cubicBezTo>
                      <a:pt x="212" y="356"/>
                      <a:pt x="212" y="356"/>
                      <a:pt x="212" y="356"/>
                    </a:cubicBezTo>
                    <a:cubicBezTo>
                      <a:pt x="213" y="357"/>
                      <a:pt x="213" y="357"/>
                      <a:pt x="213" y="357"/>
                    </a:cubicBezTo>
                    <a:cubicBezTo>
                      <a:pt x="218" y="359"/>
                      <a:pt x="218" y="359"/>
                      <a:pt x="218" y="359"/>
                    </a:cubicBezTo>
                    <a:cubicBezTo>
                      <a:pt x="223" y="357"/>
                      <a:pt x="223" y="357"/>
                      <a:pt x="223" y="357"/>
                    </a:cubicBezTo>
                    <a:cubicBezTo>
                      <a:pt x="227" y="354"/>
                      <a:pt x="227" y="354"/>
                      <a:pt x="227" y="354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5" y="354"/>
                      <a:pt x="235" y="354"/>
                      <a:pt x="235" y="354"/>
                    </a:cubicBezTo>
                    <a:cubicBezTo>
                      <a:pt x="234" y="356"/>
                      <a:pt x="234" y="356"/>
                      <a:pt x="234" y="356"/>
                    </a:cubicBezTo>
                    <a:cubicBezTo>
                      <a:pt x="234" y="362"/>
                      <a:pt x="234" y="362"/>
                      <a:pt x="234" y="362"/>
                    </a:cubicBezTo>
                    <a:cubicBezTo>
                      <a:pt x="235" y="367"/>
                      <a:pt x="235" y="367"/>
                      <a:pt x="235" y="367"/>
                    </a:cubicBezTo>
                    <a:cubicBezTo>
                      <a:pt x="237" y="370"/>
                      <a:pt x="237" y="370"/>
                      <a:pt x="237" y="370"/>
                    </a:cubicBezTo>
                    <a:cubicBezTo>
                      <a:pt x="240" y="376"/>
                      <a:pt x="240" y="376"/>
                      <a:pt x="240" y="376"/>
                    </a:cubicBezTo>
                    <a:cubicBezTo>
                      <a:pt x="245" y="386"/>
                      <a:pt x="245" y="386"/>
                      <a:pt x="245" y="386"/>
                    </a:cubicBezTo>
                    <a:cubicBezTo>
                      <a:pt x="245" y="390"/>
                      <a:pt x="245" y="390"/>
                      <a:pt x="245" y="390"/>
                    </a:cubicBezTo>
                    <a:cubicBezTo>
                      <a:pt x="245" y="397"/>
                      <a:pt x="245" y="397"/>
                      <a:pt x="245" y="397"/>
                    </a:cubicBezTo>
                    <a:cubicBezTo>
                      <a:pt x="244" y="400"/>
                      <a:pt x="244" y="400"/>
                      <a:pt x="244" y="400"/>
                    </a:cubicBez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7" y="411"/>
                      <a:pt x="247" y="411"/>
                      <a:pt x="247" y="411"/>
                    </a:cubicBezTo>
                    <a:cubicBezTo>
                      <a:pt x="251" y="415"/>
                      <a:pt x="251" y="415"/>
                      <a:pt x="251" y="415"/>
                    </a:cubicBezTo>
                    <a:cubicBezTo>
                      <a:pt x="259" y="425"/>
                      <a:pt x="259" y="425"/>
                      <a:pt x="259" y="425"/>
                    </a:cubicBezTo>
                    <a:cubicBezTo>
                      <a:pt x="262" y="430"/>
                      <a:pt x="262" y="430"/>
                      <a:pt x="262" y="430"/>
                    </a:cubicBezTo>
                    <a:cubicBezTo>
                      <a:pt x="265" y="431"/>
                      <a:pt x="265" y="431"/>
                      <a:pt x="265" y="431"/>
                    </a:cubicBezTo>
                    <a:cubicBezTo>
                      <a:pt x="268" y="431"/>
                      <a:pt x="268" y="431"/>
                      <a:pt x="268" y="431"/>
                    </a:cubicBezTo>
                    <a:cubicBezTo>
                      <a:pt x="270" y="432"/>
                      <a:pt x="270" y="432"/>
                      <a:pt x="270" y="432"/>
                    </a:cubicBezTo>
                    <a:cubicBezTo>
                      <a:pt x="273" y="433"/>
                      <a:pt x="273" y="433"/>
                      <a:pt x="273" y="433"/>
                    </a:cubicBezTo>
                    <a:cubicBezTo>
                      <a:pt x="288" y="173"/>
                      <a:pt x="288" y="173"/>
                      <a:pt x="288" y="173"/>
                    </a:cubicBezTo>
                    <a:cubicBezTo>
                      <a:pt x="292" y="91"/>
                      <a:pt x="292" y="91"/>
                      <a:pt x="292" y="91"/>
                    </a:cubicBezTo>
                    <a:lnTo>
                      <a:pt x="222" y="8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3" name="Freeform 9"/>
              <p:cNvSpPr>
                <a:spLocks/>
              </p:cNvSpPr>
              <p:nvPr/>
            </p:nvSpPr>
            <p:spPr bwMode="auto">
              <a:xfrm>
                <a:off x="2066925" y="3205163"/>
                <a:ext cx="392112" cy="298450"/>
              </a:xfrm>
              <a:custGeom>
                <a:avLst/>
                <a:gdLst>
                  <a:gd name="T0" fmla="*/ 232 w 247"/>
                  <a:gd name="T1" fmla="*/ 130 h 188"/>
                  <a:gd name="T2" fmla="*/ 211 w 247"/>
                  <a:gd name="T3" fmla="*/ 122 h 188"/>
                  <a:gd name="T4" fmla="*/ 195 w 247"/>
                  <a:gd name="T5" fmla="*/ 109 h 188"/>
                  <a:gd name="T6" fmla="*/ 194 w 247"/>
                  <a:gd name="T7" fmla="*/ 92 h 188"/>
                  <a:gd name="T8" fmla="*/ 176 w 247"/>
                  <a:gd name="T9" fmla="*/ 81 h 188"/>
                  <a:gd name="T10" fmla="*/ 156 w 247"/>
                  <a:gd name="T11" fmla="*/ 79 h 188"/>
                  <a:gd name="T12" fmla="*/ 135 w 247"/>
                  <a:gd name="T13" fmla="*/ 76 h 188"/>
                  <a:gd name="T14" fmla="*/ 119 w 247"/>
                  <a:gd name="T15" fmla="*/ 69 h 188"/>
                  <a:gd name="T16" fmla="*/ 109 w 247"/>
                  <a:gd name="T17" fmla="*/ 72 h 188"/>
                  <a:gd name="T18" fmla="*/ 98 w 247"/>
                  <a:gd name="T19" fmla="*/ 72 h 188"/>
                  <a:gd name="T20" fmla="*/ 85 w 247"/>
                  <a:gd name="T21" fmla="*/ 55 h 188"/>
                  <a:gd name="T22" fmla="*/ 66 w 247"/>
                  <a:gd name="T23" fmla="*/ 45 h 188"/>
                  <a:gd name="T24" fmla="*/ 61 w 247"/>
                  <a:gd name="T25" fmla="*/ 24 h 188"/>
                  <a:gd name="T26" fmla="*/ 47 w 247"/>
                  <a:gd name="T27" fmla="*/ 27 h 188"/>
                  <a:gd name="T28" fmla="*/ 43 w 247"/>
                  <a:gd name="T29" fmla="*/ 21 h 188"/>
                  <a:gd name="T30" fmla="*/ 34 w 247"/>
                  <a:gd name="T31" fmla="*/ 5 h 188"/>
                  <a:gd name="T32" fmla="*/ 18 w 247"/>
                  <a:gd name="T33" fmla="*/ 1 h 188"/>
                  <a:gd name="T34" fmla="*/ 8 w 247"/>
                  <a:gd name="T35" fmla="*/ 0 h 188"/>
                  <a:gd name="T36" fmla="*/ 0 w 247"/>
                  <a:gd name="T37" fmla="*/ 143 h 188"/>
                  <a:gd name="T38" fmla="*/ 6 w 247"/>
                  <a:gd name="T39" fmla="*/ 150 h 188"/>
                  <a:gd name="T40" fmla="*/ 10 w 247"/>
                  <a:gd name="T41" fmla="*/ 149 h 188"/>
                  <a:gd name="T42" fmla="*/ 21 w 247"/>
                  <a:gd name="T43" fmla="*/ 149 h 188"/>
                  <a:gd name="T44" fmla="*/ 33 w 247"/>
                  <a:gd name="T45" fmla="*/ 154 h 188"/>
                  <a:gd name="T46" fmla="*/ 47 w 247"/>
                  <a:gd name="T47" fmla="*/ 159 h 188"/>
                  <a:gd name="T48" fmla="*/ 59 w 247"/>
                  <a:gd name="T49" fmla="*/ 167 h 188"/>
                  <a:gd name="T50" fmla="*/ 72 w 247"/>
                  <a:gd name="T51" fmla="*/ 165 h 188"/>
                  <a:gd name="T52" fmla="*/ 91 w 247"/>
                  <a:gd name="T53" fmla="*/ 154 h 188"/>
                  <a:gd name="T54" fmla="*/ 97 w 247"/>
                  <a:gd name="T55" fmla="*/ 143 h 188"/>
                  <a:gd name="T56" fmla="*/ 106 w 247"/>
                  <a:gd name="T57" fmla="*/ 143 h 188"/>
                  <a:gd name="T58" fmla="*/ 104 w 247"/>
                  <a:gd name="T59" fmla="*/ 152 h 188"/>
                  <a:gd name="T60" fmla="*/ 101 w 247"/>
                  <a:gd name="T61" fmla="*/ 161 h 188"/>
                  <a:gd name="T62" fmla="*/ 112 w 247"/>
                  <a:gd name="T63" fmla="*/ 163 h 188"/>
                  <a:gd name="T64" fmla="*/ 118 w 247"/>
                  <a:gd name="T65" fmla="*/ 168 h 188"/>
                  <a:gd name="T66" fmla="*/ 125 w 247"/>
                  <a:gd name="T67" fmla="*/ 176 h 188"/>
                  <a:gd name="T68" fmla="*/ 136 w 247"/>
                  <a:gd name="T69" fmla="*/ 186 h 188"/>
                  <a:gd name="T70" fmla="*/ 145 w 247"/>
                  <a:gd name="T71" fmla="*/ 183 h 188"/>
                  <a:gd name="T72" fmla="*/ 141 w 247"/>
                  <a:gd name="T73" fmla="*/ 177 h 188"/>
                  <a:gd name="T74" fmla="*/ 152 w 247"/>
                  <a:gd name="T75" fmla="*/ 173 h 188"/>
                  <a:gd name="T76" fmla="*/ 165 w 247"/>
                  <a:gd name="T77" fmla="*/ 166 h 188"/>
                  <a:gd name="T78" fmla="*/ 177 w 247"/>
                  <a:gd name="T79" fmla="*/ 155 h 188"/>
                  <a:gd name="T80" fmla="*/ 195 w 247"/>
                  <a:gd name="T81" fmla="*/ 152 h 188"/>
                  <a:gd name="T82" fmla="*/ 219 w 247"/>
                  <a:gd name="T83" fmla="*/ 152 h 188"/>
                  <a:gd name="T84" fmla="*/ 238 w 247"/>
                  <a:gd name="T85" fmla="*/ 145 h 188"/>
                  <a:gd name="T86" fmla="*/ 247 w 247"/>
                  <a:gd name="T87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7" h="188">
                    <a:moveTo>
                      <a:pt x="244" y="130"/>
                    </a:moveTo>
                    <a:lnTo>
                      <a:pt x="237" y="131"/>
                    </a:lnTo>
                    <a:lnTo>
                      <a:pt x="232" y="130"/>
                    </a:lnTo>
                    <a:lnTo>
                      <a:pt x="225" y="128"/>
                    </a:lnTo>
                    <a:lnTo>
                      <a:pt x="217" y="128"/>
                    </a:lnTo>
                    <a:lnTo>
                      <a:pt x="211" y="122"/>
                    </a:lnTo>
                    <a:lnTo>
                      <a:pt x="203" y="117"/>
                    </a:lnTo>
                    <a:lnTo>
                      <a:pt x="197" y="113"/>
                    </a:lnTo>
                    <a:lnTo>
                      <a:pt x="195" y="109"/>
                    </a:lnTo>
                    <a:lnTo>
                      <a:pt x="197" y="103"/>
                    </a:lnTo>
                    <a:lnTo>
                      <a:pt x="197" y="98"/>
                    </a:lnTo>
                    <a:lnTo>
                      <a:pt x="194" y="92"/>
                    </a:lnTo>
                    <a:lnTo>
                      <a:pt x="190" y="86"/>
                    </a:lnTo>
                    <a:lnTo>
                      <a:pt x="184" y="82"/>
                    </a:lnTo>
                    <a:lnTo>
                      <a:pt x="176" y="81"/>
                    </a:lnTo>
                    <a:lnTo>
                      <a:pt x="167" y="79"/>
                    </a:lnTo>
                    <a:lnTo>
                      <a:pt x="162" y="79"/>
                    </a:lnTo>
                    <a:lnTo>
                      <a:pt x="156" y="79"/>
                    </a:lnTo>
                    <a:lnTo>
                      <a:pt x="150" y="79"/>
                    </a:lnTo>
                    <a:lnTo>
                      <a:pt x="144" y="79"/>
                    </a:lnTo>
                    <a:lnTo>
                      <a:pt x="135" y="76"/>
                    </a:lnTo>
                    <a:lnTo>
                      <a:pt x="128" y="72"/>
                    </a:lnTo>
                    <a:lnTo>
                      <a:pt x="122" y="70"/>
                    </a:lnTo>
                    <a:lnTo>
                      <a:pt x="119" y="69"/>
                    </a:lnTo>
                    <a:lnTo>
                      <a:pt x="117" y="70"/>
                    </a:lnTo>
                    <a:lnTo>
                      <a:pt x="113" y="71"/>
                    </a:lnTo>
                    <a:lnTo>
                      <a:pt x="109" y="72"/>
                    </a:lnTo>
                    <a:lnTo>
                      <a:pt x="107" y="74"/>
                    </a:lnTo>
                    <a:lnTo>
                      <a:pt x="103" y="76"/>
                    </a:lnTo>
                    <a:lnTo>
                      <a:pt x="98" y="72"/>
                    </a:lnTo>
                    <a:lnTo>
                      <a:pt x="95" y="68"/>
                    </a:lnTo>
                    <a:lnTo>
                      <a:pt x="92" y="60"/>
                    </a:lnTo>
                    <a:lnTo>
                      <a:pt x="85" y="55"/>
                    </a:lnTo>
                    <a:lnTo>
                      <a:pt x="82" y="54"/>
                    </a:lnTo>
                    <a:lnTo>
                      <a:pt x="75" y="50"/>
                    </a:lnTo>
                    <a:lnTo>
                      <a:pt x="66" y="45"/>
                    </a:lnTo>
                    <a:lnTo>
                      <a:pt x="66" y="38"/>
                    </a:lnTo>
                    <a:lnTo>
                      <a:pt x="66" y="27"/>
                    </a:lnTo>
                    <a:lnTo>
                      <a:pt x="61" y="24"/>
                    </a:lnTo>
                    <a:lnTo>
                      <a:pt x="53" y="22"/>
                    </a:lnTo>
                    <a:lnTo>
                      <a:pt x="50" y="23"/>
                    </a:lnTo>
                    <a:lnTo>
                      <a:pt x="47" y="27"/>
                    </a:lnTo>
                    <a:lnTo>
                      <a:pt x="44" y="27"/>
                    </a:lnTo>
                    <a:lnTo>
                      <a:pt x="43" y="24"/>
                    </a:lnTo>
                    <a:lnTo>
                      <a:pt x="43" y="21"/>
                    </a:lnTo>
                    <a:lnTo>
                      <a:pt x="39" y="13"/>
                    </a:lnTo>
                    <a:lnTo>
                      <a:pt x="39" y="10"/>
                    </a:lnTo>
                    <a:lnTo>
                      <a:pt x="34" y="5"/>
                    </a:lnTo>
                    <a:lnTo>
                      <a:pt x="31" y="1"/>
                    </a:lnTo>
                    <a:lnTo>
                      <a:pt x="28" y="1"/>
                    </a:lnTo>
                    <a:lnTo>
                      <a:pt x="18" y="1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2" y="146"/>
                    </a:lnTo>
                    <a:lnTo>
                      <a:pt x="5" y="147"/>
                    </a:lnTo>
                    <a:lnTo>
                      <a:pt x="6" y="150"/>
                    </a:lnTo>
                    <a:lnTo>
                      <a:pt x="8" y="151"/>
                    </a:lnTo>
                    <a:lnTo>
                      <a:pt x="10" y="150"/>
                    </a:lnTo>
                    <a:lnTo>
                      <a:pt x="10" y="149"/>
                    </a:lnTo>
                    <a:lnTo>
                      <a:pt x="16" y="147"/>
                    </a:lnTo>
                    <a:lnTo>
                      <a:pt x="18" y="147"/>
                    </a:lnTo>
                    <a:lnTo>
                      <a:pt x="21" y="149"/>
                    </a:lnTo>
                    <a:lnTo>
                      <a:pt x="23" y="150"/>
                    </a:lnTo>
                    <a:lnTo>
                      <a:pt x="27" y="152"/>
                    </a:lnTo>
                    <a:lnTo>
                      <a:pt x="33" y="154"/>
                    </a:lnTo>
                    <a:lnTo>
                      <a:pt x="38" y="156"/>
                    </a:lnTo>
                    <a:lnTo>
                      <a:pt x="42" y="157"/>
                    </a:lnTo>
                    <a:lnTo>
                      <a:pt x="47" y="159"/>
                    </a:lnTo>
                    <a:lnTo>
                      <a:pt x="50" y="161"/>
                    </a:lnTo>
                    <a:lnTo>
                      <a:pt x="54" y="163"/>
                    </a:lnTo>
                    <a:lnTo>
                      <a:pt x="59" y="167"/>
                    </a:lnTo>
                    <a:lnTo>
                      <a:pt x="61" y="171"/>
                    </a:lnTo>
                    <a:lnTo>
                      <a:pt x="66" y="170"/>
                    </a:lnTo>
                    <a:lnTo>
                      <a:pt x="72" y="165"/>
                    </a:lnTo>
                    <a:lnTo>
                      <a:pt x="77" y="162"/>
                    </a:lnTo>
                    <a:lnTo>
                      <a:pt x="83" y="159"/>
                    </a:lnTo>
                    <a:lnTo>
                      <a:pt x="91" y="154"/>
                    </a:lnTo>
                    <a:lnTo>
                      <a:pt x="95" y="150"/>
                    </a:lnTo>
                    <a:lnTo>
                      <a:pt x="96" y="147"/>
                    </a:lnTo>
                    <a:lnTo>
                      <a:pt x="97" y="143"/>
                    </a:lnTo>
                    <a:lnTo>
                      <a:pt x="101" y="143"/>
                    </a:lnTo>
                    <a:lnTo>
                      <a:pt x="102" y="141"/>
                    </a:lnTo>
                    <a:lnTo>
                      <a:pt x="106" y="143"/>
                    </a:lnTo>
                    <a:lnTo>
                      <a:pt x="108" y="146"/>
                    </a:lnTo>
                    <a:lnTo>
                      <a:pt x="106" y="149"/>
                    </a:lnTo>
                    <a:lnTo>
                      <a:pt x="104" y="152"/>
                    </a:lnTo>
                    <a:lnTo>
                      <a:pt x="102" y="154"/>
                    </a:lnTo>
                    <a:lnTo>
                      <a:pt x="99" y="157"/>
                    </a:lnTo>
                    <a:lnTo>
                      <a:pt x="101" y="161"/>
                    </a:lnTo>
                    <a:lnTo>
                      <a:pt x="104" y="162"/>
                    </a:lnTo>
                    <a:lnTo>
                      <a:pt x="109" y="162"/>
                    </a:lnTo>
                    <a:lnTo>
                      <a:pt x="112" y="163"/>
                    </a:lnTo>
                    <a:lnTo>
                      <a:pt x="113" y="165"/>
                    </a:lnTo>
                    <a:lnTo>
                      <a:pt x="115" y="167"/>
                    </a:lnTo>
                    <a:lnTo>
                      <a:pt x="118" y="168"/>
                    </a:lnTo>
                    <a:lnTo>
                      <a:pt x="120" y="171"/>
                    </a:lnTo>
                    <a:lnTo>
                      <a:pt x="122" y="172"/>
                    </a:lnTo>
                    <a:lnTo>
                      <a:pt x="125" y="176"/>
                    </a:lnTo>
                    <a:lnTo>
                      <a:pt x="130" y="181"/>
                    </a:lnTo>
                    <a:lnTo>
                      <a:pt x="133" y="182"/>
                    </a:lnTo>
                    <a:lnTo>
                      <a:pt x="136" y="186"/>
                    </a:lnTo>
                    <a:lnTo>
                      <a:pt x="139" y="188"/>
                    </a:lnTo>
                    <a:lnTo>
                      <a:pt x="144" y="186"/>
                    </a:lnTo>
                    <a:lnTo>
                      <a:pt x="145" y="183"/>
                    </a:lnTo>
                    <a:lnTo>
                      <a:pt x="144" y="179"/>
                    </a:lnTo>
                    <a:lnTo>
                      <a:pt x="142" y="178"/>
                    </a:lnTo>
                    <a:lnTo>
                      <a:pt x="141" y="177"/>
                    </a:lnTo>
                    <a:lnTo>
                      <a:pt x="142" y="176"/>
                    </a:lnTo>
                    <a:lnTo>
                      <a:pt x="145" y="176"/>
                    </a:lnTo>
                    <a:lnTo>
                      <a:pt x="152" y="173"/>
                    </a:lnTo>
                    <a:lnTo>
                      <a:pt x="155" y="173"/>
                    </a:lnTo>
                    <a:lnTo>
                      <a:pt x="157" y="171"/>
                    </a:lnTo>
                    <a:lnTo>
                      <a:pt x="165" y="166"/>
                    </a:lnTo>
                    <a:lnTo>
                      <a:pt x="167" y="165"/>
                    </a:lnTo>
                    <a:lnTo>
                      <a:pt x="173" y="160"/>
                    </a:lnTo>
                    <a:lnTo>
                      <a:pt x="177" y="155"/>
                    </a:lnTo>
                    <a:lnTo>
                      <a:pt x="181" y="155"/>
                    </a:lnTo>
                    <a:lnTo>
                      <a:pt x="184" y="152"/>
                    </a:lnTo>
                    <a:lnTo>
                      <a:pt x="195" y="152"/>
                    </a:lnTo>
                    <a:lnTo>
                      <a:pt x="206" y="152"/>
                    </a:lnTo>
                    <a:lnTo>
                      <a:pt x="215" y="152"/>
                    </a:lnTo>
                    <a:lnTo>
                      <a:pt x="219" y="152"/>
                    </a:lnTo>
                    <a:lnTo>
                      <a:pt x="226" y="150"/>
                    </a:lnTo>
                    <a:lnTo>
                      <a:pt x="232" y="150"/>
                    </a:lnTo>
                    <a:lnTo>
                      <a:pt x="238" y="145"/>
                    </a:lnTo>
                    <a:lnTo>
                      <a:pt x="243" y="143"/>
                    </a:lnTo>
                    <a:lnTo>
                      <a:pt x="247" y="138"/>
                    </a:lnTo>
                    <a:lnTo>
                      <a:pt x="247" y="131"/>
                    </a:lnTo>
                    <a:lnTo>
                      <a:pt x="244" y="130"/>
                    </a:lnTo>
                    <a:close/>
                  </a:path>
                </a:pathLst>
              </a:custGeom>
              <a:solidFill>
                <a:schemeClr val="accent6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4" name="Freeform 10"/>
              <p:cNvSpPr>
                <a:spLocks/>
              </p:cNvSpPr>
              <p:nvPr/>
            </p:nvSpPr>
            <p:spPr bwMode="auto">
              <a:xfrm>
                <a:off x="2074863" y="2916238"/>
                <a:ext cx="608012" cy="496888"/>
              </a:xfrm>
              <a:custGeom>
                <a:avLst/>
                <a:gdLst>
                  <a:gd name="T0" fmla="*/ 378 w 383"/>
                  <a:gd name="T1" fmla="*/ 2 h 313"/>
                  <a:gd name="T2" fmla="*/ 378 w 383"/>
                  <a:gd name="T3" fmla="*/ 4 h 313"/>
                  <a:gd name="T4" fmla="*/ 366 w 383"/>
                  <a:gd name="T5" fmla="*/ 10 h 313"/>
                  <a:gd name="T6" fmla="*/ 342 w 383"/>
                  <a:gd name="T7" fmla="*/ 18 h 313"/>
                  <a:gd name="T8" fmla="*/ 330 w 383"/>
                  <a:gd name="T9" fmla="*/ 33 h 313"/>
                  <a:gd name="T10" fmla="*/ 319 w 383"/>
                  <a:gd name="T11" fmla="*/ 36 h 313"/>
                  <a:gd name="T12" fmla="*/ 308 w 383"/>
                  <a:gd name="T13" fmla="*/ 37 h 313"/>
                  <a:gd name="T14" fmla="*/ 300 w 383"/>
                  <a:gd name="T15" fmla="*/ 24 h 313"/>
                  <a:gd name="T16" fmla="*/ 283 w 383"/>
                  <a:gd name="T17" fmla="*/ 22 h 313"/>
                  <a:gd name="T18" fmla="*/ 268 w 383"/>
                  <a:gd name="T19" fmla="*/ 21 h 313"/>
                  <a:gd name="T20" fmla="*/ 252 w 383"/>
                  <a:gd name="T21" fmla="*/ 22 h 313"/>
                  <a:gd name="T22" fmla="*/ 239 w 383"/>
                  <a:gd name="T23" fmla="*/ 26 h 313"/>
                  <a:gd name="T24" fmla="*/ 0 w 383"/>
                  <a:gd name="T25" fmla="*/ 238 h 313"/>
                  <a:gd name="T26" fmla="*/ 13 w 383"/>
                  <a:gd name="T27" fmla="*/ 183 h 313"/>
                  <a:gd name="T28" fmla="*/ 29 w 383"/>
                  <a:gd name="T29" fmla="*/ 187 h 313"/>
                  <a:gd name="T30" fmla="*/ 38 w 383"/>
                  <a:gd name="T31" fmla="*/ 203 h 313"/>
                  <a:gd name="T32" fmla="*/ 42 w 383"/>
                  <a:gd name="T33" fmla="*/ 209 h 313"/>
                  <a:gd name="T34" fmla="*/ 56 w 383"/>
                  <a:gd name="T35" fmla="*/ 206 h 313"/>
                  <a:gd name="T36" fmla="*/ 61 w 383"/>
                  <a:gd name="T37" fmla="*/ 227 h 313"/>
                  <a:gd name="T38" fmla="*/ 80 w 383"/>
                  <a:gd name="T39" fmla="*/ 237 h 313"/>
                  <a:gd name="T40" fmla="*/ 93 w 383"/>
                  <a:gd name="T41" fmla="*/ 254 h 313"/>
                  <a:gd name="T42" fmla="*/ 104 w 383"/>
                  <a:gd name="T43" fmla="*/ 254 h 313"/>
                  <a:gd name="T44" fmla="*/ 114 w 383"/>
                  <a:gd name="T45" fmla="*/ 251 h 313"/>
                  <a:gd name="T46" fmla="*/ 130 w 383"/>
                  <a:gd name="T47" fmla="*/ 258 h 313"/>
                  <a:gd name="T48" fmla="*/ 151 w 383"/>
                  <a:gd name="T49" fmla="*/ 261 h 313"/>
                  <a:gd name="T50" fmla="*/ 171 w 383"/>
                  <a:gd name="T51" fmla="*/ 263 h 313"/>
                  <a:gd name="T52" fmla="*/ 189 w 383"/>
                  <a:gd name="T53" fmla="*/ 274 h 313"/>
                  <a:gd name="T54" fmla="*/ 190 w 383"/>
                  <a:gd name="T55" fmla="*/ 291 h 313"/>
                  <a:gd name="T56" fmla="*/ 206 w 383"/>
                  <a:gd name="T57" fmla="*/ 304 h 313"/>
                  <a:gd name="T58" fmla="*/ 227 w 383"/>
                  <a:gd name="T59" fmla="*/ 312 h 313"/>
                  <a:gd name="T60" fmla="*/ 241 w 383"/>
                  <a:gd name="T61" fmla="*/ 306 h 313"/>
                  <a:gd name="T62" fmla="*/ 243 w 383"/>
                  <a:gd name="T63" fmla="*/ 296 h 313"/>
                  <a:gd name="T64" fmla="*/ 252 w 383"/>
                  <a:gd name="T65" fmla="*/ 274 h 313"/>
                  <a:gd name="T66" fmla="*/ 259 w 383"/>
                  <a:gd name="T67" fmla="*/ 257 h 313"/>
                  <a:gd name="T68" fmla="*/ 269 w 383"/>
                  <a:gd name="T69" fmla="*/ 246 h 313"/>
                  <a:gd name="T70" fmla="*/ 274 w 383"/>
                  <a:gd name="T71" fmla="*/ 235 h 313"/>
                  <a:gd name="T72" fmla="*/ 280 w 383"/>
                  <a:gd name="T73" fmla="*/ 215 h 313"/>
                  <a:gd name="T74" fmla="*/ 295 w 383"/>
                  <a:gd name="T75" fmla="*/ 194 h 313"/>
                  <a:gd name="T76" fmla="*/ 314 w 383"/>
                  <a:gd name="T77" fmla="*/ 173 h 313"/>
                  <a:gd name="T78" fmla="*/ 330 w 383"/>
                  <a:gd name="T79" fmla="*/ 160 h 313"/>
                  <a:gd name="T80" fmla="*/ 339 w 383"/>
                  <a:gd name="T81" fmla="*/ 144 h 313"/>
                  <a:gd name="T82" fmla="*/ 349 w 383"/>
                  <a:gd name="T83" fmla="*/ 129 h 313"/>
                  <a:gd name="T84" fmla="*/ 355 w 383"/>
                  <a:gd name="T85" fmla="*/ 104 h 313"/>
                  <a:gd name="T86" fmla="*/ 364 w 383"/>
                  <a:gd name="T87" fmla="*/ 90 h 313"/>
                  <a:gd name="T88" fmla="*/ 370 w 383"/>
                  <a:gd name="T89" fmla="*/ 64 h 313"/>
                  <a:gd name="T90" fmla="*/ 378 w 383"/>
                  <a:gd name="T91" fmla="*/ 47 h 313"/>
                  <a:gd name="T92" fmla="*/ 382 w 383"/>
                  <a:gd name="T93" fmla="*/ 23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3" h="313">
                    <a:moveTo>
                      <a:pt x="382" y="8"/>
                    </a:moveTo>
                    <a:lnTo>
                      <a:pt x="380" y="5"/>
                    </a:lnTo>
                    <a:lnTo>
                      <a:pt x="378" y="2"/>
                    </a:lnTo>
                    <a:lnTo>
                      <a:pt x="378" y="1"/>
                    </a:lnTo>
                    <a:lnTo>
                      <a:pt x="378" y="2"/>
                    </a:lnTo>
                    <a:lnTo>
                      <a:pt x="378" y="4"/>
                    </a:lnTo>
                    <a:lnTo>
                      <a:pt x="371" y="0"/>
                    </a:lnTo>
                    <a:lnTo>
                      <a:pt x="367" y="4"/>
                    </a:lnTo>
                    <a:lnTo>
                      <a:pt x="366" y="10"/>
                    </a:lnTo>
                    <a:lnTo>
                      <a:pt x="362" y="18"/>
                    </a:lnTo>
                    <a:lnTo>
                      <a:pt x="348" y="17"/>
                    </a:lnTo>
                    <a:lnTo>
                      <a:pt x="342" y="18"/>
                    </a:lnTo>
                    <a:lnTo>
                      <a:pt x="338" y="23"/>
                    </a:lnTo>
                    <a:lnTo>
                      <a:pt x="335" y="29"/>
                    </a:lnTo>
                    <a:lnTo>
                      <a:pt x="330" y="33"/>
                    </a:lnTo>
                    <a:lnTo>
                      <a:pt x="324" y="33"/>
                    </a:lnTo>
                    <a:lnTo>
                      <a:pt x="322" y="36"/>
                    </a:lnTo>
                    <a:lnTo>
                      <a:pt x="319" y="36"/>
                    </a:lnTo>
                    <a:lnTo>
                      <a:pt x="317" y="39"/>
                    </a:lnTo>
                    <a:lnTo>
                      <a:pt x="311" y="39"/>
                    </a:lnTo>
                    <a:lnTo>
                      <a:pt x="308" y="37"/>
                    </a:lnTo>
                    <a:lnTo>
                      <a:pt x="306" y="33"/>
                    </a:lnTo>
                    <a:lnTo>
                      <a:pt x="302" y="29"/>
                    </a:lnTo>
                    <a:lnTo>
                      <a:pt x="300" y="24"/>
                    </a:lnTo>
                    <a:lnTo>
                      <a:pt x="295" y="24"/>
                    </a:lnTo>
                    <a:lnTo>
                      <a:pt x="289" y="24"/>
                    </a:lnTo>
                    <a:lnTo>
                      <a:pt x="283" y="22"/>
                    </a:lnTo>
                    <a:lnTo>
                      <a:pt x="278" y="20"/>
                    </a:lnTo>
                    <a:lnTo>
                      <a:pt x="273" y="20"/>
                    </a:lnTo>
                    <a:lnTo>
                      <a:pt x="268" y="21"/>
                    </a:lnTo>
                    <a:lnTo>
                      <a:pt x="264" y="23"/>
                    </a:lnTo>
                    <a:lnTo>
                      <a:pt x="258" y="23"/>
                    </a:lnTo>
                    <a:lnTo>
                      <a:pt x="252" y="22"/>
                    </a:lnTo>
                    <a:lnTo>
                      <a:pt x="249" y="22"/>
                    </a:lnTo>
                    <a:lnTo>
                      <a:pt x="241" y="26"/>
                    </a:lnTo>
                    <a:lnTo>
                      <a:pt x="239" y="26"/>
                    </a:lnTo>
                    <a:lnTo>
                      <a:pt x="13" y="5"/>
                    </a:lnTo>
                    <a:lnTo>
                      <a:pt x="0" y="238"/>
                    </a:lnTo>
                    <a:lnTo>
                      <a:pt x="0" y="238"/>
                    </a:lnTo>
                    <a:lnTo>
                      <a:pt x="3" y="182"/>
                    </a:lnTo>
                    <a:lnTo>
                      <a:pt x="6" y="183"/>
                    </a:lnTo>
                    <a:lnTo>
                      <a:pt x="13" y="183"/>
                    </a:lnTo>
                    <a:lnTo>
                      <a:pt x="23" y="183"/>
                    </a:lnTo>
                    <a:lnTo>
                      <a:pt x="26" y="183"/>
                    </a:lnTo>
                    <a:lnTo>
                      <a:pt x="29" y="187"/>
                    </a:lnTo>
                    <a:lnTo>
                      <a:pt x="34" y="192"/>
                    </a:lnTo>
                    <a:lnTo>
                      <a:pt x="34" y="195"/>
                    </a:lnTo>
                    <a:lnTo>
                      <a:pt x="38" y="203"/>
                    </a:lnTo>
                    <a:lnTo>
                      <a:pt x="38" y="206"/>
                    </a:lnTo>
                    <a:lnTo>
                      <a:pt x="39" y="209"/>
                    </a:lnTo>
                    <a:lnTo>
                      <a:pt x="42" y="209"/>
                    </a:lnTo>
                    <a:lnTo>
                      <a:pt x="45" y="205"/>
                    </a:lnTo>
                    <a:lnTo>
                      <a:pt x="48" y="204"/>
                    </a:lnTo>
                    <a:lnTo>
                      <a:pt x="56" y="206"/>
                    </a:lnTo>
                    <a:lnTo>
                      <a:pt x="61" y="209"/>
                    </a:lnTo>
                    <a:lnTo>
                      <a:pt x="61" y="220"/>
                    </a:lnTo>
                    <a:lnTo>
                      <a:pt x="61" y="227"/>
                    </a:lnTo>
                    <a:lnTo>
                      <a:pt x="70" y="232"/>
                    </a:lnTo>
                    <a:lnTo>
                      <a:pt x="77" y="236"/>
                    </a:lnTo>
                    <a:lnTo>
                      <a:pt x="80" y="237"/>
                    </a:lnTo>
                    <a:lnTo>
                      <a:pt x="87" y="242"/>
                    </a:lnTo>
                    <a:lnTo>
                      <a:pt x="90" y="250"/>
                    </a:lnTo>
                    <a:lnTo>
                      <a:pt x="93" y="254"/>
                    </a:lnTo>
                    <a:lnTo>
                      <a:pt x="98" y="258"/>
                    </a:lnTo>
                    <a:lnTo>
                      <a:pt x="102" y="256"/>
                    </a:lnTo>
                    <a:lnTo>
                      <a:pt x="104" y="254"/>
                    </a:lnTo>
                    <a:lnTo>
                      <a:pt x="108" y="253"/>
                    </a:lnTo>
                    <a:lnTo>
                      <a:pt x="112" y="252"/>
                    </a:lnTo>
                    <a:lnTo>
                      <a:pt x="114" y="251"/>
                    </a:lnTo>
                    <a:lnTo>
                      <a:pt x="117" y="252"/>
                    </a:lnTo>
                    <a:lnTo>
                      <a:pt x="123" y="254"/>
                    </a:lnTo>
                    <a:lnTo>
                      <a:pt x="130" y="258"/>
                    </a:lnTo>
                    <a:lnTo>
                      <a:pt x="139" y="261"/>
                    </a:lnTo>
                    <a:lnTo>
                      <a:pt x="145" y="261"/>
                    </a:lnTo>
                    <a:lnTo>
                      <a:pt x="151" y="261"/>
                    </a:lnTo>
                    <a:lnTo>
                      <a:pt x="157" y="261"/>
                    </a:lnTo>
                    <a:lnTo>
                      <a:pt x="162" y="261"/>
                    </a:lnTo>
                    <a:lnTo>
                      <a:pt x="171" y="263"/>
                    </a:lnTo>
                    <a:lnTo>
                      <a:pt x="179" y="264"/>
                    </a:lnTo>
                    <a:lnTo>
                      <a:pt x="185" y="268"/>
                    </a:lnTo>
                    <a:lnTo>
                      <a:pt x="189" y="274"/>
                    </a:lnTo>
                    <a:lnTo>
                      <a:pt x="192" y="280"/>
                    </a:lnTo>
                    <a:lnTo>
                      <a:pt x="192" y="285"/>
                    </a:lnTo>
                    <a:lnTo>
                      <a:pt x="190" y="291"/>
                    </a:lnTo>
                    <a:lnTo>
                      <a:pt x="192" y="295"/>
                    </a:lnTo>
                    <a:lnTo>
                      <a:pt x="198" y="299"/>
                    </a:lnTo>
                    <a:lnTo>
                      <a:pt x="206" y="304"/>
                    </a:lnTo>
                    <a:lnTo>
                      <a:pt x="212" y="310"/>
                    </a:lnTo>
                    <a:lnTo>
                      <a:pt x="220" y="310"/>
                    </a:lnTo>
                    <a:lnTo>
                      <a:pt x="227" y="312"/>
                    </a:lnTo>
                    <a:lnTo>
                      <a:pt x="232" y="313"/>
                    </a:lnTo>
                    <a:lnTo>
                      <a:pt x="239" y="312"/>
                    </a:lnTo>
                    <a:lnTo>
                      <a:pt x="241" y="306"/>
                    </a:lnTo>
                    <a:lnTo>
                      <a:pt x="242" y="304"/>
                    </a:lnTo>
                    <a:lnTo>
                      <a:pt x="243" y="299"/>
                    </a:lnTo>
                    <a:lnTo>
                      <a:pt x="243" y="296"/>
                    </a:lnTo>
                    <a:lnTo>
                      <a:pt x="246" y="290"/>
                    </a:lnTo>
                    <a:lnTo>
                      <a:pt x="248" y="282"/>
                    </a:lnTo>
                    <a:lnTo>
                      <a:pt x="252" y="274"/>
                    </a:lnTo>
                    <a:lnTo>
                      <a:pt x="253" y="268"/>
                    </a:lnTo>
                    <a:lnTo>
                      <a:pt x="257" y="262"/>
                    </a:lnTo>
                    <a:lnTo>
                      <a:pt x="259" y="257"/>
                    </a:lnTo>
                    <a:lnTo>
                      <a:pt x="260" y="253"/>
                    </a:lnTo>
                    <a:lnTo>
                      <a:pt x="264" y="250"/>
                    </a:lnTo>
                    <a:lnTo>
                      <a:pt x="269" y="246"/>
                    </a:lnTo>
                    <a:lnTo>
                      <a:pt x="271" y="242"/>
                    </a:lnTo>
                    <a:lnTo>
                      <a:pt x="271" y="240"/>
                    </a:lnTo>
                    <a:lnTo>
                      <a:pt x="274" y="235"/>
                    </a:lnTo>
                    <a:lnTo>
                      <a:pt x="276" y="227"/>
                    </a:lnTo>
                    <a:lnTo>
                      <a:pt x="279" y="220"/>
                    </a:lnTo>
                    <a:lnTo>
                      <a:pt x="280" y="215"/>
                    </a:lnTo>
                    <a:lnTo>
                      <a:pt x="284" y="210"/>
                    </a:lnTo>
                    <a:lnTo>
                      <a:pt x="285" y="206"/>
                    </a:lnTo>
                    <a:lnTo>
                      <a:pt x="295" y="194"/>
                    </a:lnTo>
                    <a:lnTo>
                      <a:pt x="298" y="189"/>
                    </a:lnTo>
                    <a:lnTo>
                      <a:pt x="307" y="181"/>
                    </a:lnTo>
                    <a:lnTo>
                      <a:pt x="314" y="173"/>
                    </a:lnTo>
                    <a:lnTo>
                      <a:pt x="319" y="170"/>
                    </a:lnTo>
                    <a:lnTo>
                      <a:pt x="328" y="163"/>
                    </a:lnTo>
                    <a:lnTo>
                      <a:pt x="330" y="160"/>
                    </a:lnTo>
                    <a:lnTo>
                      <a:pt x="332" y="155"/>
                    </a:lnTo>
                    <a:lnTo>
                      <a:pt x="334" y="150"/>
                    </a:lnTo>
                    <a:lnTo>
                      <a:pt x="339" y="144"/>
                    </a:lnTo>
                    <a:lnTo>
                      <a:pt x="344" y="139"/>
                    </a:lnTo>
                    <a:lnTo>
                      <a:pt x="345" y="135"/>
                    </a:lnTo>
                    <a:lnTo>
                      <a:pt x="349" y="129"/>
                    </a:lnTo>
                    <a:lnTo>
                      <a:pt x="351" y="123"/>
                    </a:lnTo>
                    <a:lnTo>
                      <a:pt x="354" y="118"/>
                    </a:lnTo>
                    <a:lnTo>
                      <a:pt x="355" y="104"/>
                    </a:lnTo>
                    <a:lnTo>
                      <a:pt x="355" y="102"/>
                    </a:lnTo>
                    <a:lnTo>
                      <a:pt x="359" y="96"/>
                    </a:lnTo>
                    <a:lnTo>
                      <a:pt x="364" y="90"/>
                    </a:lnTo>
                    <a:lnTo>
                      <a:pt x="364" y="83"/>
                    </a:lnTo>
                    <a:lnTo>
                      <a:pt x="369" y="72"/>
                    </a:lnTo>
                    <a:lnTo>
                      <a:pt x="370" y="64"/>
                    </a:lnTo>
                    <a:lnTo>
                      <a:pt x="372" y="59"/>
                    </a:lnTo>
                    <a:lnTo>
                      <a:pt x="376" y="53"/>
                    </a:lnTo>
                    <a:lnTo>
                      <a:pt x="378" y="47"/>
                    </a:lnTo>
                    <a:lnTo>
                      <a:pt x="380" y="43"/>
                    </a:lnTo>
                    <a:lnTo>
                      <a:pt x="381" y="39"/>
                    </a:lnTo>
                    <a:lnTo>
                      <a:pt x="382" y="23"/>
                    </a:lnTo>
                    <a:lnTo>
                      <a:pt x="383" y="16"/>
                    </a:lnTo>
                    <a:lnTo>
                      <a:pt x="382" y="8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25" name="Freeform 11"/>
              <p:cNvSpPr>
                <a:spLocks/>
              </p:cNvSpPr>
              <p:nvPr/>
            </p:nvSpPr>
            <p:spPr bwMode="auto">
              <a:xfrm>
                <a:off x="2205038" y="3589338"/>
                <a:ext cx="150812" cy="163513"/>
              </a:xfrm>
              <a:custGeom>
                <a:avLst/>
                <a:gdLst>
                  <a:gd name="T0" fmla="*/ 64 w 95"/>
                  <a:gd name="T1" fmla="*/ 80 h 103"/>
                  <a:gd name="T2" fmla="*/ 60 w 95"/>
                  <a:gd name="T3" fmla="*/ 89 h 103"/>
                  <a:gd name="T4" fmla="*/ 54 w 95"/>
                  <a:gd name="T5" fmla="*/ 100 h 103"/>
                  <a:gd name="T6" fmla="*/ 51 w 95"/>
                  <a:gd name="T7" fmla="*/ 103 h 103"/>
                  <a:gd name="T8" fmla="*/ 46 w 95"/>
                  <a:gd name="T9" fmla="*/ 103 h 103"/>
                  <a:gd name="T10" fmla="*/ 39 w 95"/>
                  <a:gd name="T11" fmla="*/ 101 h 103"/>
                  <a:gd name="T12" fmla="*/ 26 w 95"/>
                  <a:gd name="T13" fmla="*/ 100 h 103"/>
                  <a:gd name="T14" fmla="*/ 26 w 95"/>
                  <a:gd name="T15" fmla="*/ 94 h 103"/>
                  <a:gd name="T16" fmla="*/ 21 w 95"/>
                  <a:gd name="T17" fmla="*/ 89 h 103"/>
                  <a:gd name="T18" fmla="*/ 17 w 95"/>
                  <a:gd name="T19" fmla="*/ 84 h 103"/>
                  <a:gd name="T20" fmla="*/ 15 w 95"/>
                  <a:gd name="T21" fmla="*/ 80 h 103"/>
                  <a:gd name="T22" fmla="*/ 11 w 95"/>
                  <a:gd name="T23" fmla="*/ 70 h 103"/>
                  <a:gd name="T24" fmla="*/ 11 w 95"/>
                  <a:gd name="T25" fmla="*/ 67 h 103"/>
                  <a:gd name="T26" fmla="*/ 11 w 95"/>
                  <a:gd name="T27" fmla="*/ 58 h 103"/>
                  <a:gd name="T28" fmla="*/ 11 w 95"/>
                  <a:gd name="T29" fmla="*/ 56 h 103"/>
                  <a:gd name="T30" fmla="*/ 14 w 95"/>
                  <a:gd name="T31" fmla="*/ 53 h 103"/>
                  <a:gd name="T32" fmla="*/ 11 w 95"/>
                  <a:gd name="T33" fmla="*/ 47 h 103"/>
                  <a:gd name="T34" fmla="*/ 8 w 95"/>
                  <a:gd name="T35" fmla="*/ 37 h 103"/>
                  <a:gd name="T36" fmla="*/ 4 w 95"/>
                  <a:gd name="T37" fmla="*/ 30 h 103"/>
                  <a:gd name="T38" fmla="*/ 1 w 95"/>
                  <a:gd name="T39" fmla="*/ 21 h 103"/>
                  <a:gd name="T40" fmla="*/ 0 w 95"/>
                  <a:gd name="T41" fmla="*/ 16 h 103"/>
                  <a:gd name="T42" fmla="*/ 0 w 95"/>
                  <a:gd name="T43" fmla="*/ 9 h 103"/>
                  <a:gd name="T44" fmla="*/ 3 w 95"/>
                  <a:gd name="T45" fmla="*/ 3 h 103"/>
                  <a:gd name="T46" fmla="*/ 6 w 95"/>
                  <a:gd name="T47" fmla="*/ 0 h 103"/>
                  <a:gd name="T48" fmla="*/ 11 w 95"/>
                  <a:gd name="T49" fmla="*/ 0 h 103"/>
                  <a:gd name="T50" fmla="*/ 16 w 95"/>
                  <a:gd name="T51" fmla="*/ 4 h 103"/>
                  <a:gd name="T52" fmla="*/ 21 w 95"/>
                  <a:gd name="T53" fmla="*/ 6 h 103"/>
                  <a:gd name="T54" fmla="*/ 32 w 95"/>
                  <a:gd name="T55" fmla="*/ 10 h 103"/>
                  <a:gd name="T56" fmla="*/ 42 w 95"/>
                  <a:gd name="T57" fmla="*/ 14 h 103"/>
                  <a:gd name="T58" fmla="*/ 47 w 95"/>
                  <a:gd name="T59" fmla="*/ 16 h 103"/>
                  <a:gd name="T60" fmla="*/ 53 w 95"/>
                  <a:gd name="T61" fmla="*/ 16 h 103"/>
                  <a:gd name="T62" fmla="*/ 58 w 95"/>
                  <a:gd name="T63" fmla="*/ 15 h 103"/>
                  <a:gd name="T64" fmla="*/ 62 w 95"/>
                  <a:gd name="T65" fmla="*/ 14 h 103"/>
                  <a:gd name="T66" fmla="*/ 68 w 95"/>
                  <a:gd name="T67" fmla="*/ 14 h 103"/>
                  <a:gd name="T68" fmla="*/ 71 w 95"/>
                  <a:gd name="T69" fmla="*/ 12 h 103"/>
                  <a:gd name="T70" fmla="*/ 74 w 95"/>
                  <a:gd name="T71" fmla="*/ 12 h 103"/>
                  <a:gd name="T72" fmla="*/ 79 w 95"/>
                  <a:gd name="T73" fmla="*/ 9 h 103"/>
                  <a:gd name="T74" fmla="*/ 82 w 95"/>
                  <a:gd name="T75" fmla="*/ 6 h 103"/>
                  <a:gd name="T76" fmla="*/ 85 w 95"/>
                  <a:gd name="T77" fmla="*/ 5 h 103"/>
                  <a:gd name="T78" fmla="*/ 89 w 95"/>
                  <a:gd name="T79" fmla="*/ 6 h 103"/>
                  <a:gd name="T80" fmla="*/ 92 w 95"/>
                  <a:gd name="T81" fmla="*/ 10 h 103"/>
                  <a:gd name="T82" fmla="*/ 95 w 95"/>
                  <a:gd name="T83" fmla="*/ 15 h 103"/>
                  <a:gd name="T84" fmla="*/ 95 w 95"/>
                  <a:gd name="T85" fmla="*/ 25 h 103"/>
                  <a:gd name="T86" fmla="*/ 95 w 95"/>
                  <a:gd name="T87" fmla="*/ 32 h 103"/>
                  <a:gd name="T88" fmla="*/ 95 w 95"/>
                  <a:gd name="T89" fmla="*/ 40 h 103"/>
                  <a:gd name="T90" fmla="*/ 92 w 95"/>
                  <a:gd name="T91" fmla="*/ 46 h 103"/>
                  <a:gd name="T92" fmla="*/ 90 w 95"/>
                  <a:gd name="T93" fmla="*/ 52 h 103"/>
                  <a:gd name="T94" fmla="*/ 86 w 95"/>
                  <a:gd name="T95" fmla="*/ 58 h 103"/>
                  <a:gd name="T96" fmla="*/ 82 w 95"/>
                  <a:gd name="T97" fmla="*/ 62 h 103"/>
                  <a:gd name="T98" fmla="*/ 81 w 95"/>
                  <a:gd name="T99" fmla="*/ 65 h 103"/>
                  <a:gd name="T100" fmla="*/ 81 w 95"/>
                  <a:gd name="T101" fmla="*/ 73 h 103"/>
                  <a:gd name="T102" fmla="*/ 79 w 95"/>
                  <a:gd name="T103" fmla="*/ 79 h 103"/>
                  <a:gd name="T104" fmla="*/ 76 w 95"/>
                  <a:gd name="T105" fmla="*/ 81 h 103"/>
                  <a:gd name="T106" fmla="*/ 76 w 95"/>
                  <a:gd name="T107" fmla="*/ 90 h 103"/>
                  <a:gd name="T108" fmla="*/ 74 w 95"/>
                  <a:gd name="T109" fmla="*/ 90 h 103"/>
                  <a:gd name="T110" fmla="*/ 70 w 95"/>
                  <a:gd name="T111" fmla="*/ 86 h 103"/>
                  <a:gd name="T112" fmla="*/ 67 w 95"/>
                  <a:gd name="T113" fmla="*/ 83 h 103"/>
                  <a:gd name="T114" fmla="*/ 64 w 95"/>
                  <a:gd name="T115" fmla="*/ 8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5" h="103">
                    <a:moveTo>
                      <a:pt x="64" y="80"/>
                    </a:moveTo>
                    <a:lnTo>
                      <a:pt x="60" y="89"/>
                    </a:lnTo>
                    <a:lnTo>
                      <a:pt x="54" y="100"/>
                    </a:lnTo>
                    <a:lnTo>
                      <a:pt x="51" y="103"/>
                    </a:lnTo>
                    <a:lnTo>
                      <a:pt x="46" y="103"/>
                    </a:lnTo>
                    <a:lnTo>
                      <a:pt x="39" y="101"/>
                    </a:lnTo>
                    <a:lnTo>
                      <a:pt x="26" y="100"/>
                    </a:lnTo>
                    <a:lnTo>
                      <a:pt x="26" y="94"/>
                    </a:lnTo>
                    <a:lnTo>
                      <a:pt x="21" y="89"/>
                    </a:lnTo>
                    <a:lnTo>
                      <a:pt x="17" y="84"/>
                    </a:lnTo>
                    <a:lnTo>
                      <a:pt x="15" y="80"/>
                    </a:lnTo>
                    <a:lnTo>
                      <a:pt x="11" y="70"/>
                    </a:lnTo>
                    <a:lnTo>
                      <a:pt x="11" y="67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4" y="53"/>
                    </a:lnTo>
                    <a:lnTo>
                      <a:pt x="11" y="47"/>
                    </a:lnTo>
                    <a:lnTo>
                      <a:pt x="8" y="37"/>
                    </a:lnTo>
                    <a:lnTo>
                      <a:pt x="4" y="30"/>
                    </a:lnTo>
                    <a:lnTo>
                      <a:pt x="1" y="21"/>
                    </a:lnTo>
                    <a:lnTo>
                      <a:pt x="0" y="16"/>
                    </a:lnTo>
                    <a:lnTo>
                      <a:pt x="0" y="9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6" y="4"/>
                    </a:lnTo>
                    <a:lnTo>
                      <a:pt x="21" y="6"/>
                    </a:lnTo>
                    <a:lnTo>
                      <a:pt x="32" y="10"/>
                    </a:lnTo>
                    <a:lnTo>
                      <a:pt x="42" y="14"/>
                    </a:lnTo>
                    <a:lnTo>
                      <a:pt x="47" y="16"/>
                    </a:lnTo>
                    <a:lnTo>
                      <a:pt x="53" y="16"/>
                    </a:lnTo>
                    <a:lnTo>
                      <a:pt x="58" y="15"/>
                    </a:lnTo>
                    <a:lnTo>
                      <a:pt x="62" y="14"/>
                    </a:lnTo>
                    <a:lnTo>
                      <a:pt x="68" y="14"/>
                    </a:lnTo>
                    <a:lnTo>
                      <a:pt x="71" y="12"/>
                    </a:lnTo>
                    <a:lnTo>
                      <a:pt x="74" y="12"/>
                    </a:lnTo>
                    <a:lnTo>
                      <a:pt x="79" y="9"/>
                    </a:lnTo>
                    <a:lnTo>
                      <a:pt x="82" y="6"/>
                    </a:lnTo>
                    <a:lnTo>
                      <a:pt x="85" y="5"/>
                    </a:lnTo>
                    <a:lnTo>
                      <a:pt x="89" y="6"/>
                    </a:lnTo>
                    <a:lnTo>
                      <a:pt x="92" y="10"/>
                    </a:lnTo>
                    <a:lnTo>
                      <a:pt x="95" y="15"/>
                    </a:lnTo>
                    <a:lnTo>
                      <a:pt x="95" y="25"/>
                    </a:lnTo>
                    <a:lnTo>
                      <a:pt x="95" y="32"/>
                    </a:lnTo>
                    <a:lnTo>
                      <a:pt x="95" y="40"/>
                    </a:lnTo>
                    <a:lnTo>
                      <a:pt x="92" y="46"/>
                    </a:lnTo>
                    <a:lnTo>
                      <a:pt x="90" y="52"/>
                    </a:lnTo>
                    <a:lnTo>
                      <a:pt x="86" y="58"/>
                    </a:lnTo>
                    <a:lnTo>
                      <a:pt x="82" y="62"/>
                    </a:lnTo>
                    <a:lnTo>
                      <a:pt x="81" y="65"/>
                    </a:lnTo>
                    <a:lnTo>
                      <a:pt x="81" y="73"/>
                    </a:lnTo>
                    <a:lnTo>
                      <a:pt x="79" y="79"/>
                    </a:lnTo>
                    <a:lnTo>
                      <a:pt x="76" y="81"/>
                    </a:lnTo>
                    <a:lnTo>
                      <a:pt x="76" y="90"/>
                    </a:lnTo>
                    <a:lnTo>
                      <a:pt x="74" y="90"/>
                    </a:lnTo>
                    <a:lnTo>
                      <a:pt x="70" y="86"/>
                    </a:lnTo>
                    <a:lnTo>
                      <a:pt x="67" y="83"/>
                    </a:lnTo>
                    <a:lnTo>
                      <a:pt x="64" y="8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1441200" y="2910198"/>
              <a:ext cx="586203" cy="2287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Western Australia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133334" y="2618236"/>
              <a:ext cx="586203" cy="2287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Northern</a:t>
              </a:r>
            </a:p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Territory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89402" y="3114272"/>
              <a:ext cx="586203" cy="2287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South</a:t>
              </a:r>
            </a:p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Australia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761010" y="2857590"/>
              <a:ext cx="634093" cy="1143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Queensland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874904" y="3346781"/>
              <a:ext cx="586203" cy="2287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New South</a:t>
              </a:r>
            </a:p>
            <a:p>
              <a:pPr algn="ctr">
                <a:lnSpc>
                  <a:spcPts val="1000"/>
                </a:lnSpc>
              </a:pPr>
              <a:r>
                <a:rPr lang="en-US" sz="1000">
                  <a:solidFill>
                    <a:schemeClr val="bg1"/>
                  </a:solidFill>
                  <a:latin typeface="+mj-lt"/>
                  <a:ea typeface="Roboto light" panose="02000000000000000000" pitchFamily="2" charset="0"/>
                </a:rPr>
                <a:t>Wale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068715" y="3765013"/>
              <a:ext cx="481580" cy="1143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0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  <a:ea typeface="Roboto light" panose="02000000000000000000" pitchFamily="2" charset="0"/>
                </a:rPr>
                <a:t>Victoria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2586922" y="3816420"/>
              <a:ext cx="32563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2068715" y="4057422"/>
              <a:ext cx="626928" cy="1143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0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  <a:ea typeface="Roboto light" panose="02000000000000000000" pitchFamily="2" charset="0"/>
                </a:rPr>
                <a:t>Tasmania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2732271" y="4111739"/>
              <a:ext cx="325630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/>
          <p:cNvSpPr txBox="1"/>
          <p:nvPr/>
        </p:nvSpPr>
        <p:spPr>
          <a:xfrm>
            <a:off x="584202" y="1734056"/>
            <a:ext cx="4034977" cy="519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4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75608" y="1526456"/>
            <a:ext cx="4043571" cy="1734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5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Australia states in circle charts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575608" y="2298654"/>
            <a:ext cx="968302" cy="1185806"/>
            <a:chOff x="575608" y="2348235"/>
            <a:chExt cx="968302" cy="1185806"/>
          </a:xfrm>
        </p:grpSpPr>
        <p:graphicFrame>
          <p:nvGraphicFramePr>
            <p:cNvPr id="56" name="Chart 55"/>
            <p:cNvGraphicFramePr/>
            <p:nvPr>
              <p:extLst>
                <p:ext uri="{D42A27DB-BD31-4B8C-83A1-F6EECF244321}">
                  <p14:modId xmlns:p14="http://schemas.microsoft.com/office/powerpoint/2010/main" val="1447778257"/>
                </p:ext>
              </p:extLst>
            </p:nvPr>
          </p:nvGraphicFramePr>
          <p:xfrm>
            <a:off x="575608" y="2348235"/>
            <a:ext cx="968302" cy="891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7" name="TextBox 56"/>
            <p:cNvSpPr txBox="1"/>
            <p:nvPr/>
          </p:nvSpPr>
          <p:spPr>
            <a:xfrm>
              <a:off x="789029" y="2712054"/>
              <a:ext cx="5414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accent1"/>
                  </a:solidFill>
                  <a:latin typeface="+mj-lt"/>
                </a:rPr>
                <a:t>25%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02559" y="3226264"/>
              <a:ext cx="91440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Western</a:t>
              </a:r>
            </a:p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 Australia</a:t>
              </a: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1649080" y="2298654"/>
            <a:ext cx="968302" cy="1185806"/>
            <a:chOff x="1692469" y="2348235"/>
            <a:chExt cx="968302" cy="1185806"/>
          </a:xfrm>
        </p:grpSpPr>
        <p:graphicFrame>
          <p:nvGraphicFramePr>
            <p:cNvPr id="89" name="Chart 88"/>
            <p:cNvGraphicFramePr/>
            <p:nvPr>
              <p:extLst>
                <p:ext uri="{D42A27DB-BD31-4B8C-83A1-F6EECF244321}">
                  <p14:modId xmlns:p14="http://schemas.microsoft.com/office/powerpoint/2010/main" val="2543641736"/>
                </p:ext>
              </p:extLst>
            </p:nvPr>
          </p:nvGraphicFramePr>
          <p:xfrm>
            <a:off x="1692469" y="2348235"/>
            <a:ext cx="968302" cy="891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0" name="TextBox 89"/>
            <p:cNvSpPr txBox="1"/>
            <p:nvPr/>
          </p:nvSpPr>
          <p:spPr>
            <a:xfrm>
              <a:off x="1905890" y="2712054"/>
              <a:ext cx="5414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accent1"/>
                  </a:solidFill>
                  <a:latin typeface="+mj-lt"/>
                </a:rPr>
                <a:t>44%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1719420" y="3226264"/>
              <a:ext cx="91440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Northern </a:t>
              </a:r>
            </a:p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Territory</a:t>
              </a: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2722552" y="2298654"/>
            <a:ext cx="968302" cy="1031917"/>
            <a:chOff x="2744246" y="2348235"/>
            <a:chExt cx="968302" cy="1031917"/>
          </a:xfrm>
        </p:grpSpPr>
        <p:graphicFrame>
          <p:nvGraphicFramePr>
            <p:cNvPr id="94" name="Chart 93"/>
            <p:cNvGraphicFramePr/>
            <p:nvPr>
              <p:extLst>
                <p:ext uri="{D42A27DB-BD31-4B8C-83A1-F6EECF244321}">
                  <p14:modId xmlns:p14="http://schemas.microsoft.com/office/powerpoint/2010/main" val="3978777999"/>
                </p:ext>
              </p:extLst>
            </p:nvPr>
          </p:nvGraphicFramePr>
          <p:xfrm>
            <a:off x="2744246" y="2348235"/>
            <a:ext cx="968302" cy="891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95" name="TextBox 94"/>
            <p:cNvSpPr txBox="1"/>
            <p:nvPr/>
          </p:nvSpPr>
          <p:spPr>
            <a:xfrm>
              <a:off x="2957667" y="2712054"/>
              <a:ext cx="5414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accent1"/>
                  </a:solidFill>
                  <a:latin typeface="+mj-lt"/>
                </a:rPr>
                <a:t>33%</a:t>
              </a: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2771197" y="3226264"/>
              <a:ext cx="9144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Queensland</a:t>
              </a: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3796024" y="2298654"/>
            <a:ext cx="968302" cy="1185806"/>
            <a:chOff x="3796024" y="2348235"/>
            <a:chExt cx="968302" cy="1185806"/>
          </a:xfrm>
        </p:grpSpPr>
        <p:graphicFrame>
          <p:nvGraphicFramePr>
            <p:cNvPr id="99" name="Chart 98"/>
            <p:cNvGraphicFramePr/>
            <p:nvPr>
              <p:extLst>
                <p:ext uri="{D42A27DB-BD31-4B8C-83A1-F6EECF244321}">
                  <p14:modId xmlns:p14="http://schemas.microsoft.com/office/powerpoint/2010/main" val="3574021459"/>
                </p:ext>
              </p:extLst>
            </p:nvPr>
          </p:nvGraphicFramePr>
          <p:xfrm>
            <a:off x="3796024" y="2348235"/>
            <a:ext cx="968302" cy="8915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00" name="TextBox 99"/>
            <p:cNvSpPr txBox="1"/>
            <p:nvPr/>
          </p:nvSpPr>
          <p:spPr>
            <a:xfrm>
              <a:off x="4009445" y="2712054"/>
              <a:ext cx="5414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accent1"/>
                  </a:solidFill>
                  <a:latin typeface="+mj-lt"/>
                </a:rPr>
                <a:t>28%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3822975" y="3226264"/>
              <a:ext cx="91440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outh </a:t>
              </a:r>
            </a:p>
            <a:p>
              <a:pPr algn="ctr">
                <a:lnSpc>
                  <a:spcPts val="1200"/>
                </a:lnSpc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Australia</a:t>
              </a: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1371562" y="3881959"/>
            <a:ext cx="3247616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l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</a:t>
            </a:r>
          </a:p>
        </p:txBody>
      </p:sp>
      <p:cxnSp>
        <p:nvCxnSpPr>
          <p:cNvPr id="108" name="Straight Connector 107"/>
          <p:cNvCxnSpPr/>
          <p:nvPr/>
        </p:nvCxnSpPr>
        <p:spPr>
          <a:xfrm>
            <a:off x="3768147" y="2507993"/>
            <a:ext cx="0" cy="914400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2704522" y="2507993"/>
            <a:ext cx="0" cy="914400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1640897" y="2507993"/>
            <a:ext cx="0" cy="914400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513859" y="3886215"/>
            <a:ext cx="81663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>
                <a:solidFill>
                  <a:schemeClr val="accent2"/>
                </a:solidFill>
                <a:latin typeface="+mj-lt"/>
              </a:rPr>
              <a:t>75%</a:t>
            </a:r>
          </a:p>
        </p:txBody>
      </p:sp>
    </p:spTree>
    <p:extLst>
      <p:ext uri="{BB962C8B-B14F-4D97-AF65-F5344CB8AC3E}">
        <p14:creationId xmlns:p14="http://schemas.microsoft.com/office/powerpoint/2010/main" val="312490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err="1"/>
              <a:t>Usa</a:t>
            </a:r>
            <a:r>
              <a:rPr lang="en-US"/>
              <a:t> </a:t>
            </a:r>
            <a:r>
              <a:rPr lang="en-US">
                <a:solidFill>
                  <a:schemeClr val="accent2"/>
                </a:solidFill>
              </a:rPr>
              <a:t>Mobile Apps Use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2851104" y="1754592"/>
            <a:ext cx="3441793" cy="2249509"/>
            <a:chOff x="5157992" y="1665629"/>
            <a:chExt cx="2936367" cy="1919171"/>
          </a:xfrm>
          <a:solidFill>
            <a:schemeClr val="accent6"/>
          </a:solidFill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cxnSp>
        <p:nvCxnSpPr>
          <p:cNvPr id="60" name="Elbow Connector 59"/>
          <p:cNvCxnSpPr>
            <a:endCxn id="68" idx="0"/>
          </p:cNvCxnSpPr>
          <p:nvPr/>
        </p:nvCxnSpPr>
        <p:spPr>
          <a:xfrm>
            <a:off x="2540000" y="1749425"/>
            <a:ext cx="719329" cy="423475"/>
          </a:xfrm>
          <a:prstGeom prst="bentConnector2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588963" y="1677796"/>
            <a:ext cx="1789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>
                <a:solidFill>
                  <a:schemeClr val="accent2"/>
                </a:solidFill>
                <a:latin typeface="+mj-lt"/>
              </a:rPr>
              <a:t>OREG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88963" y="2076407"/>
            <a:ext cx="1789111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88963" y="1844450"/>
            <a:ext cx="17891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cap="all" spc="20">
                <a:solidFill>
                  <a:schemeClr val="accent1"/>
                </a:solidFill>
                <a:latin typeface="+mj-lt"/>
              </a:rPr>
              <a:t>$2,546,000</a:t>
            </a:r>
          </a:p>
        </p:txBody>
      </p:sp>
      <p:sp>
        <p:nvSpPr>
          <p:cNvPr id="68" name="Oval 67"/>
          <p:cNvSpPr/>
          <p:nvPr/>
        </p:nvSpPr>
        <p:spPr>
          <a:xfrm>
            <a:off x="3230163" y="2172900"/>
            <a:ext cx="58332" cy="5833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71" name="Elbow Connector 70"/>
          <p:cNvCxnSpPr>
            <a:endCxn id="75" idx="0"/>
          </p:cNvCxnSpPr>
          <p:nvPr/>
        </p:nvCxnSpPr>
        <p:spPr>
          <a:xfrm>
            <a:off x="2538413" y="2900363"/>
            <a:ext cx="1082307" cy="184562"/>
          </a:xfrm>
          <a:prstGeom prst="bentConnector2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588963" y="2811441"/>
            <a:ext cx="1789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ARIZONA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88963" y="3210052"/>
            <a:ext cx="1789111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88963" y="2978095"/>
            <a:ext cx="17891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>
                <a:solidFill>
                  <a:schemeClr val="accent1"/>
                </a:solidFill>
                <a:latin typeface="+mj-lt"/>
              </a:rPr>
              <a:t>$4,945,000</a:t>
            </a:r>
          </a:p>
        </p:txBody>
      </p:sp>
      <p:sp>
        <p:nvSpPr>
          <p:cNvPr id="75" name="Oval 74"/>
          <p:cNvSpPr/>
          <p:nvPr/>
        </p:nvSpPr>
        <p:spPr>
          <a:xfrm>
            <a:off x="3591554" y="3084925"/>
            <a:ext cx="58332" cy="5833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748465" y="1677796"/>
            <a:ext cx="1789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INDIANA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748465" y="2076407"/>
            <a:ext cx="1789111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748465" y="1844450"/>
            <a:ext cx="17891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>
                <a:solidFill>
                  <a:schemeClr val="accent1"/>
                </a:solidFill>
                <a:latin typeface="+mj-lt"/>
              </a:rPr>
              <a:t>$6,325,000</a:t>
            </a:r>
          </a:p>
        </p:txBody>
      </p:sp>
      <p:cxnSp>
        <p:nvCxnSpPr>
          <p:cNvPr id="82" name="Elbow Connector 81"/>
          <p:cNvCxnSpPr>
            <a:endCxn id="83" idx="0"/>
          </p:cNvCxnSpPr>
          <p:nvPr/>
        </p:nvCxnSpPr>
        <p:spPr>
          <a:xfrm rot="10800000" flipV="1">
            <a:off x="5061884" y="1762124"/>
            <a:ext cx="1561167" cy="871923"/>
          </a:xfrm>
          <a:prstGeom prst="bentConnector2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/>
          <p:cNvSpPr/>
          <p:nvPr/>
        </p:nvSpPr>
        <p:spPr>
          <a:xfrm>
            <a:off x="5032717" y="2634048"/>
            <a:ext cx="58332" cy="5833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748465" y="2955132"/>
            <a:ext cx="1789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ALABAMA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6748465" y="3353743"/>
            <a:ext cx="1789111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748465" y="3121786"/>
            <a:ext cx="17891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>
                <a:solidFill>
                  <a:schemeClr val="accent1"/>
                </a:solidFill>
                <a:latin typeface="+mj-lt"/>
              </a:rPr>
              <a:t>$8,852,000</a:t>
            </a:r>
          </a:p>
        </p:txBody>
      </p:sp>
      <p:cxnSp>
        <p:nvCxnSpPr>
          <p:cNvPr id="91" name="Elbow Connector 90"/>
          <p:cNvCxnSpPr>
            <a:endCxn id="93" idx="0"/>
          </p:cNvCxnSpPr>
          <p:nvPr/>
        </p:nvCxnSpPr>
        <p:spPr>
          <a:xfrm rot="10800000" flipV="1">
            <a:off x="5260566" y="3039459"/>
            <a:ext cx="1362487" cy="207747"/>
          </a:xfrm>
          <a:prstGeom prst="bentConnector2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Oval 92"/>
          <p:cNvSpPr/>
          <p:nvPr/>
        </p:nvSpPr>
        <p:spPr>
          <a:xfrm>
            <a:off x="5231399" y="3247207"/>
            <a:ext cx="58332" cy="5833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9923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Europe </a:t>
            </a:r>
            <a:r>
              <a:rPr lang="en-US">
                <a:solidFill>
                  <a:schemeClr val="accent2"/>
                </a:solidFill>
              </a:rPr>
              <a:t>fully editable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94" name="Group 193"/>
          <p:cNvGrpSpPr/>
          <p:nvPr/>
        </p:nvGrpSpPr>
        <p:grpSpPr>
          <a:xfrm>
            <a:off x="593725" y="3461034"/>
            <a:ext cx="3227726" cy="733355"/>
            <a:chOff x="1136910" y="3427166"/>
            <a:chExt cx="3227726" cy="733355"/>
          </a:xfrm>
        </p:grpSpPr>
        <p:grpSp>
          <p:nvGrpSpPr>
            <p:cNvPr id="70" name="Group 69"/>
            <p:cNvGrpSpPr/>
            <p:nvPr/>
          </p:nvGrpSpPr>
          <p:grpSpPr>
            <a:xfrm>
              <a:off x="1499166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71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2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73" name="Group 72"/>
            <p:cNvGrpSpPr/>
            <p:nvPr/>
          </p:nvGrpSpPr>
          <p:grpSpPr>
            <a:xfrm>
              <a:off x="1861422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74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5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2223678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77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78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79" name="Group 78"/>
            <p:cNvGrpSpPr/>
            <p:nvPr/>
          </p:nvGrpSpPr>
          <p:grpSpPr>
            <a:xfrm>
              <a:off x="2585933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80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1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2948189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97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98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>
              <a:off x="3310445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51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52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53" name="Group 152"/>
            <p:cNvGrpSpPr/>
            <p:nvPr/>
          </p:nvGrpSpPr>
          <p:grpSpPr>
            <a:xfrm>
              <a:off x="3672701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54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55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>
              <a:off x="4034958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57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59" name="Group 158"/>
            <p:cNvGrpSpPr/>
            <p:nvPr/>
          </p:nvGrpSpPr>
          <p:grpSpPr>
            <a:xfrm>
              <a:off x="1136910" y="3848047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60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61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64" name="Group 163"/>
            <p:cNvGrpSpPr/>
            <p:nvPr/>
          </p:nvGrpSpPr>
          <p:grpSpPr>
            <a:xfrm>
              <a:off x="1499166" y="3427166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89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90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65" name="Group 164"/>
            <p:cNvGrpSpPr/>
            <p:nvPr/>
          </p:nvGrpSpPr>
          <p:grpSpPr>
            <a:xfrm>
              <a:off x="1861422" y="3427166"/>
              <a:ext cx="329678" cy="312474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87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88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66" name="Group 165"/>
            <p:cNvGrpSpPr/>
            <p:nvPr/>
          </p:nvGrpSpPr>
          <p:grpSpPr>
            <a:xfrm>
              <a:off x="2223678" y="3427166"/>
              <a:ext cx="329678" cy="312474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85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86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67" name="Group 166"/>
            <p:cNvGrpSpPr/>
            <p:nvPr/>
          </p:nvGrpSpPr>
          <p:grpSpPr>
            <a:xfrm>
              <a:off x="2585933" y="3427166"/>
              <a:ext cx="329678" cy="312474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83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84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>
              <a:off x="2948189" y="3427166"/>
              <a:ext cx="329678" cy="312474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81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82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69" name="Group 168"/>
            <p:cNvGrpSpPr/>
            <p:nvPr/>
          </p:nvGrpSpPr>
          <p:grpSpPr>
            <a:xfrm>
              <a:off x="3310445" y="3427166"/>
              <a:ext cx="329678" cy="312474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79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80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>
              <a:off x="3672701" y="3427166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77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78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71" name="Group 170"/>
            <p:cNvGrpSpPr/>
            <p:nvPr/>
          </p:nvGrpSpPr>
          <p:grpSpPr>
            <a:xfrm>
              <a:off x="4034958" y="3427166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75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76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72" name="Group 171"/>
            <p:cNvGrpSpPr/>
            <p:nvPr/>
          </p:nvGrpSpPr>
          <p:grpSpPr>
            <a:xfrm>
              <a:off x="1136910" y="3427166"/>
              <a:ext cx="329678" cy="312474"/>
              <a:chOff x="3155951" y="3025775"/>
              <a:chExt cx="942975" cy="893763"/>
            </a:xfrm>
            <a:solidFill>
              <a:schemeClr val="accent5"/>
            </a:solidFill>
          </p:grpSpPr>
          <p:sp>
            <p:nvSpPr>
              <p:cNvPr id="173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74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sp>
        <p:nvSpPr>
          <p:cNvPr id="193" name="Oval Callout 192"/>
          <p:cNvSpPr/>
          <p:nvPr/>
        </p:nvSpPr>
        <p:spPr>
          <a:xfrm>
            <a:off x="1197516" y="1577881"/>
            <a:ext cx="2020144" cy="1422560"/>
          </a:xfrm>
          <a:prstGeom prst="wedgeEllipseCallout">
            <a:avLst>
              <a:gd name="adj1" fmla="val -704"/>
              <a:gd name="adj2" fmla="val 761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1457209" y="2164032"/>
            <a:ext cx="1500758" cy="651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endParaRPr lang="en-US" sz="1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1457249" y="1900726"/>
            <a:ext cx="1500678" cy="2180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600" cap="all" spc="20">
                <a:solidFill>
                  <a:schemeClr val="bg1"/>
                </a:solidFill>
                <a:latin typeface="+mj-lt"/>
              </a:rPr>
              <a:t>Only 23%</a:t>
            </a:r>
          </a:p>
        </p:txBody>
      </p:sp>
      <p:grpSp>
        <p:nvGrpSpPr>
          <p:cNvPr id="203" name="Group 202"/>
          <p:cNvGrpSpPr/>
          <p:nvPr/>
        </p:nvGrpSpPr>
        <p:grpSpPr>
          <a:xfrm>
            <a:off x="5688091" y="1168900"/>
            <a:ext cx="4297583" cy="3613931"/>
            <a:chOff x="2428875" y="571500"/>
            <a:chExt cx="4357688" cy="3502026"/>
          </a:xfrm>
          <a:solidFill>
            <a:schemeClr val="accent6"/>
          </a:solidFill>
        </p:grpSpPr>
        <p:sp>
          <p:nvSpPr>
            <p:cNvPr id="204" name="Freeform 5"/>
            <p:cNvSpPr>
              <a:spLocks/>
            </p:cNvSpPr>
            <p:nvPr/>
          </p:nvSpPr>
          <p:spPr bwMode="auto">
            <a:xfrm>
              <a:off x="4725988" y="722313"/>
              <a:ext cx="2060575" cy="2817813"/>
            </a:xfrm>
            <a:custGeom>
              <a:avLst/>
              <a:gdLst/>
              <a:ahLst/>
              <a:cxnLst>
                <a:cxn ang="0">
                  <a:pos x="1118" y="787"/>
                </a:cxn>
                <a:cxn ang="0">
                  <a:pos x="697" y="199"/>
                </a:cxn>
                <a:cxn ang="0">
                  <a:pos x="666" y="131"/>
                </a:cxn>
                <a:cxn ang="0">
                  <a:pos x="559" y="69"/>
                </a:cxn>
                <a:cxn ang="0">
                  <a:pos x="587" y="181"/>
                </a:cxn>
                <a:cxn ang="0">
                  <a:pos x="625" y="265"/>
                </a:cxn>
                <a:cxn ang="0">
                  <a:pos x="526" y="269"/>
                </a:cxn>
                <a:cxn ang="0">
                  <a:pos x="489" y="391"/>
                </a:cxn>
                <a:cxn ang="0">
                  <a:pos x="355" y="356"/>
                </a:cxn>
                <a:cxn ang="0">
                  <a:pos x="406" y="408"/>
                </a:cxn>
                <a:cxn ang="0">
                  <a:pos x="366" y="444"/>
                </a:cxn>
                <a:cxn ang="0">
                  <a:pos x="295" y="382"/>
                </a:cxn>
                <a:cxn ang="0">
                  <a:pos x="271" y="304"/>
                </a:cxn>
                <a:cxn ang="0">
                  <a:pos x="220" y="266"/>
                </a:cxn>
                <a:cxn ang="0">
                  <a:pos x="164" y="219"/>
                </a:cxn>
                <a:cxn ang="0">
                  <a:pos x="246" y="257"/>
                </a:cxn>
                <a:cxn ang="0">
                  <a:pos x="327" y="277"/>
                </a:cxn>
                <a:cxn ang="0">
                  <a:pos x="485" y="241"/>
                </a:cxn>
                <a:cxn ang="0">
                  <a:pos x="459" y="148"/>
                </a:cxn>
                <a:cxn ang="0">
                  <a:pos x="385" y="109"/>
                </a:cxn>
                <a:cxn ang="0">
                  <a:pos x="238" y="43"/>
                </a:cxn>
                <a:cxn ang="0">
                  <a:pos x="181" y="52"/>
                </a:cxn>
                <a:cxn ang="0">
                  <a:pos x="156" y="44"/>
                </a:cxn>
                <a:cxn ang="0">
                  <a:pos x="122" y="22"/>
                </a:cxn>
                <a:cxn ang="0">
                  <a:pos x="109" y="0"/>
                </a:cxn>
                <a:cxn ang="0">
                  <a:pos x="90" y="32"/>
                </a:cxn>
                <a:cxn ang="0">
                  <a:pos x="24" y="79"/>
                </a:cxn>
                <a:cxn ang="0">
                  <a:pos x="46" y="167"/>
                </a:cxn>
                <a:cxn ang="0">
                  <a:pos x="104" y="364"/>
                </a:cxn>
                <a:cxn ang="0">
                  <a:pos x="145" y="502"/>
                </a:cxn>
                <a:cxn ang="0">
                  <a:pos x="82" y="689"/>
                </a:cxn>
                <a:cxn ang="0">
                  <a:pos x="130" y="714"/>
                </a:cxn>
                <a:cxn ang="0">
                  <a:pos x="86" y="744"/>
                </a:cxn>
                <a:cxn ang="0">
                  <a:pos x="89" y="866"/>
                </a:cxn>
                <a:cxn ang="0">
                  <a:pos x="104" y="951"/>
                </a:cxn>
                <a:cxn ang="0">
                  <a:pos x="209" y="987"/>
                </a:cxn>
                <a:cxn ang="0">
                  <a:pos x="312" y="1116"/>
                </a:cxn>
                <a:cxn ang="0">
                  <a:pos x="308" y="1198"/>
                </a:cxn>
                <a:cxn ang="0">
                  <a:pos x="442" y="1248"/>
                </a:cxn>
                <a:cxn ang="0">
                  <a:pos x="570" y="1314"/>
                </a:cxn>
                <a:cxn ang="0">
                  <a:pos x="650" y="1353"/>
                </a:cxn>
                <a:cxn ang="0">
                  <a:pos x="621" y="1462"/>
                </a:cxn>
                <a:cxn ang="0">
                  <a:pos x="601" y="1510"/>
                </a:cxn>
                <a:cxn ang="0">
                  <a:pos x="590" y="1561"/>
                </a:cxn>
                <a:cxn ang="0">
                  <a:pos x="591" y="1597"/>
                </a:cxn>
                <a:cxn ang="0">
                  <a:pos x="723" y="1670"/>
                </a:cxn>
                <a:cxn ang="0">
                  <a:pos x="788" y="1751"/>
                </a:cxn>
                <a:cxn ang="0">
                  <a:pos x="880" y="1768"/>
                </a:cxn>
                <a:cxn ang="0">
                  <a:pos x="996" y="1745"/>
                </a:cxn>
                <a:cxn ang="0">
                  <a:pos x="1047" y="1676"/>
                </a:cxn>
                <a:cxn ang="0">
                  <a:pos x="1020" y="1611"/>
                </a:cxn>
                <a:cxn ang="0">
                  <a:pos x="1013" y="1527"/>
                </a:cxn>
                <a:cxn ang="0">
                  <a:pos x="1045" y="1510"/>
                </a:cxn>
                <a:cxn ang="0">
                  <a:pos x="1070" y="1495"/>
                </a:cxn>
                <a:cxn ang="0">
                  <a:pos x="1057" y="1457"/>
                </a:cxn>
                <a:cxn ang="0">
                  <a:pos x="956" y="1304"/>
                </a:cxn>
                <a:cxn ang="0">
                  <a:pos x="1053" y="1244"/>
                </a:cxn>
                <a:cxn ang="0">
                  <a:pos x="1114" y="1202"/>
                </a:cxn>
                <a:cxn ang="0">
                  <a:pos x="1180" y="1204"/>
                </a:cxn>
                <a:cxn ang="0">
                  <a:pos x="1276" y="1244"/>
                </a:cxn>
              </a:cxnLst>
              <a:rect l="0" t="0" r="r" b="b"/>
              <a:pathLst>
                <a:path w="1298" h="1775">
                  <a:moveTo>
                    <a:pt x="1275" y="1233"/>
                  </a:moveTo>
                  <a:lnTo>
                    <a:pt x="1285" y="1230"/>
                  </a:lnTo>
                  <a:lnTo>
                    <a:pt x="1291" y="1237"/>
                  </a:lnTo>
                  <a:lnTo>
                    <a:pt x="1298" y="1238"/>
                  </a:lnTo>
                  <a:lnTo>
                    <a:pt x="1298" y="1203"/>
                  </a:lnTo>
                  <a:lnTo>
                    <a:pt x="1298" y="1131"/>
                  </a:lnTo>
                  <a:lnTo>
                    <a:pt x="1286" y="1121"/>
                  </a:lnTo>
                  <a:lnTo>
                    <a:pt x="1261" y="1103"/>
                  </a:lnTo>
                  <a:lnTo>
                    <a:pt x="1241" y="1074"/>
                  </a:lnTo>
                  <a:lnTo>
                    <a:pt x="1241" y="1051"/>
                  </a:lnTo>
                  <a:lnTo>
                    <a:pt x="1250" y="1003"/>
                  </a:lnTo>
                  <a:lnTo>
                    <a:pt x="1177" y="922"/>
                  </a:lnTo>
                  <a:lnTo>
                    <a:pt x="1118" y="787"/>
                  </a:lnTo>
                  <a:lnTo>
                    <a:pt x="1086" y="692"/>
                  </a:lnTo>
                  <a:lnTo>
                    <a:pt x="1086" y="619"/>
                  </a:lnTo>
                  <a:lnTo>
                    <a:pt x="914" y="462"/>
                  </a:lnTo>
                  <a:lnTo>
                    <a:pt x="863" y="410"/>
                  </a:lnTo>
                  <a:lnTo>
                    <a:pt x="789" y="304"/>
                  </a:lnTo>
                  <a:lnTo>
                    <a:pt x="766" y="231"/>
                  </a:lnTo>
                  <a:lnTo>
                    <a:pt x="738" y="184"/>
                  </a:lnTo>
                  <a:lnTo>
                    <a:pt x="736" y="191"/>
                  </a:lnTo>
                  <a:lnTo>
                    <a:pt x="719" y="199"/>
                  </a:lnTo>
                  <a:lnTo>
                    <a:pt x="717" y="202"/>
                  </a:lnTo>
                  <a:lnTo>
                    <a:pt x="707" y="202"/>
                  </a:lnTo>
                  <a:lnTo>
                    <a:pt x="703" y="207"/>
                  </a:lnTo>
                  <a:lnTo>
                    <a:pt x="697" y="199"/>
                  </a:lnTo>
                  <a:lnTo>
                    <a:pt x="685" y="206"/>
                  </a:lnTo>
                  <a:lnTo>
                    <a:pt x="677" y="206"/>
                  </a:lnTo>
                  <a:lnTo>
                    <a:pt x="659" y="184"/>
                  </a:lnTo>
                  <a:lnTo>
                    <a:pt x="639" y="170"/>
                  </a:lnTo>
                  <a:lnTo>
                    <a:pt x="632" y="167"/>
                  </a:lnTo>
                  <a:lnTo>
                    <a:pt x="633" y="155"/>
                  </a:lnTo>
                  <a:lnTo>
                    <a:pt x="636" y="150"/>
                  </a:lnTo>
                  <a:lnTo>
                    <a:pt x="640" y="153"/>
                  </a:lnTo>
                  <a:lnTo>
                    <a:pt x="644" y="147"/>
                  </a:lnTo>
                  <a:lnTo>
                    <a:pt x="643" y="142"/>
                  </a:lnTo>
                  <a:lnTo>
                    <a:pt x="648" y="137"/>
                  </a:lnTo>
                  <a:lnTo>
                    <a:pt x="662" y="137"/>
                  </a:lnTo>
                  <a:lnTo>
                    <a:pt x="666" y="131"/>
                  </a:lnTo>
                  <a:lnTo>
                    <a:pt x="683" y="132"/>
                  </a:lnTo>
                  <a:lnTo>
                    <a:pt x="684" y="125"/>
                  </a:lnTo>
                  <a:lnTo>
                    <a:pt x="671" y="110"/>
                  </a:lnTo>
                  <a:lnTo>
                    <a:pt x="669" y="104"/>
                  </a:lnTo>
                  <a:lnTo>
                    <a:pt x="659" y="103"/>
                  </a:lnTo>
                  <a:lnTo>
                    <a:pt x="649" y="92"/>
                  </a:lnTo>
                  <a:lnTo>
                    <a:pt x="650" y="85"/>
                  </a:lnTo>
                  <a:lnTo>
                    <a:pt x="638" y="78"/>
                  </a:lnTo>
                  <a:lnTo>
                    <a:pt x="614" y="77"/>
                  </a:lnTo>
                  <a:lnTo>
                    <a:pt x="597" y="78"/>
                  </a:lnTo>
                  <a:lnTo>
                    <a:pt x="590" y="81"/>
                  </a:lnTo>
                  <a:lnTo>
                    <a:pt x="578" y="81"/>
                  </a:lnTo>
                  <a:lnTo>
                    <a:pt x="559" y="69"/>
                  </a:lnTo>
                  <a:lnTo>
                    <a:pt x="549" y="69"/>
                  </a:lnTo>
                  <a:lnTo>
                    <a:pt x="549" y="74"/>
                  </a:lnTo>
                  <a:lnTo>
                    <a:pt x="572" y="91"/>
                  </a:lnTo>
                  <a:lnTo>
                    <a:pt x="585" y="100"/>
                  </a:lnTo>
                  <a:lnTo>
                    <a:pt x="592" y="117"/>
                  </a:lnTo>
                  <a:lnTo>
                    <a:pt x="592" y="126"/>
                  </a:lnTo>
                  <a:lnTo>
                    <a:pt x="597" y="132"/>
                  </a:lnTo>
                  <a:lnTo>
                    <a:pt x="593" y="135"/>
                  </a:lnTo>
                  <a:lnTo>
                    <a:pt x="592" y="143"/>
                  </a:lnTo>
                  <a:lnTo>
                    <a:pt x="595" y="149"/>
                  </a:lnTo>
                  <a:lnTo>
                    <a:pt x="591" y="152"/>
                  </a:lnTo>
                  <a:lnTo>
                    <a:pt x="591" y="170"/>
                  </a:lnTo>
                  <a:lnTo>
                    <a:pt x="587" y="181"/>
                  </a:lnTo>
                  <a:lnTo>
                    <a:pt x="592" y="191"/>
                  </a:lnTo>
                  <a:lnTo>
                    <a:pt x="605" y="190"/>
                  </a:lnTo>
                  <a:lnTo>
                    <a:pt x="615" y="196"/>
                  </a:lnTo>
                  <a:lnTo>
                    <a:pt x="622" y="202"/>
                  </a:lnTo>
                  <a:lnTo>
                    <a:pt x="620" y="207"/>
                  </a:lnTo>
                  <a:lnTo>
                    <a:pt x="622" y="212"/>
                  </a:lnTo>
                  <a:lnTo>
                    <a:pt x="620" y="217"/>
                  </a:lnTo>
                  <a:lnTo>
                    <a:pt x="620" y="220"/>
                  </a:lnTo>
                  <a:lnTo>
                    <a:pt x="625" y="224"/>
                  </a:lnTo>
                  <a:lnTo>
                    <a:pt x="621" y="230"/>
                  </a:lnTo>
                  <a:lnTo>
                    <a:pt x="622" y="249"/>
                  </a:lnTo>
                  <a:lnTo>
                    <a:pt x="617" y="254"/>
                  </a:lnTo>
                  <a:lnTo>
                    <a:pt x="625" y="265"/>
                  </a:lnTo>
                  <a:lnTo>
                    <a:pt x="626" y="280"/>
                  </a:lnTo>
                  <a:lnTo>
                    <a:pt x="620" y="275"/>
                  </a:lnTo>
                  <a:lnTo>
                    <a:pt x="616" y="265"/>
                  </a:lnTo>
                  <a:lnTo>
                    <a:pt x="604" y="257"/>
                  </a:lnTo>
                  <a:lnTo>
                    <a:pt x="593" y="266"/>
                  </a:lnTo>
                  <a:lnTo>
                    <a:pt x="595" y="258"/>
                  </a:lnTo>
                  <a:lnTo>
                    <a:pt x="590" y="252"/>
                  </a:lnTo>
                  <a:lnTo>
                    <a:pt x="576" y="251"/>
                  </a:lnTo>
                  <a:lnTo>
                    <a:pt x="563" y="252"/>
                  </a:lnTo>
                  <a:lnTo>
                    <a:pt x="553" y="245"/>
                  </a:lnTo>
                  <a:lnTo>
                    <a:pt x="543" y="243"/>
                  </a:lnTo>
                  <a:lnTo>
                    <a:pt x="537" y="248"/>
                  </a:lnTo>
                  <a:lnTo>
                    <a:pt x="526" y="269"/>
                  </a:lnTo>
                  <a:lnTo>
                    <a:pt x="510" y="280"/>
                  </a:lnTo>
                  <a:lnTo>
                    <a:pt x="500" y="281"/>
                  </a:lnTo>
                  <a:lnTo>
                    <a:pt x="492" y="288"/>
                  </a:lnTo>
                  <a:lnTo>
                    <a:pt x="489" y="298"/>
                  </a:lnTo>
                  <a:lnTo>
                    <a:pt x="480" y="311"/>
                  </a:lnTo>
                  <a:lnTo>
                    <a:pt x="466" y="320"/>
                  </a:lnTo>
                  <a:lnTo>
                    <a:pt x="465" y="327"/>
                  </a:lnTo>
                  <a:lnTo>
                    <a:pt x="470" y="339"/>
                  </a:lnTo>
                  <a:lnTo>
                    <a:pt x="491" y="358"/>
                  </a:lnTo>
                  <a:lnTo>
                    <a:pt x="503" y="374"/>
                  </a:lnTo>
                  <a:lnTo>
                    <a:pt x="495" y="381"/>
                  </a:lnTo>
                  <a:lnTo>
                    <a:pt x="489" y="382"/>
                  </a:lnTo>
                  <a:lnTo>
                    <a:pt x="489" y="391"/>
                  </a:lnTo>
                  <a:lnTo>
                    <a:pt x="481" y="397"/>
                  </a:lnTo>
                  <a:lnTo>
                    <a:pt x="476" y="404"/>
                  </a:lnTo>
                  <a:lnTo>
                    <a:pt x="464" y="393"/>
                  </a:lnTo>
                  <a:lnTo>
                    <a:pt x="435" y="380"/>
                  </a:lnTo>
                  <a:lnTo>
                    <a:pt x="425" y="380"/>
                  </a:lnTo>
                  <a:lnTo>
                    <a:pt x="422" y="374"/>
                  </a:lnTo>
                  <a:lnTo>
                    <a:pt x="406" y="374"/>
                  </a:lnTo>
                  <a:lnTo>
                    <a:pt x="398" y="367"/>
                  </a:lnTo>
                  <a:lnTo>
                    <a:pt x="391" y="358"/>
                  </a:lnTo>
                  <a:lnTo>
                    <a:pt x="378" y="356"/>
                  </a:lnTo>
                  <a:lnTo>
                    <a:pt x="368" y="350"/>
                  </a:lnTo>
                  <a:lnTo>
                    <a:pt x="358" y="350"/>
                  </a:lnTo>
                  <a:lnTo>
                    <a:pt x="355" y="356"/>
                  </a:lnTo>
                  <a:lnTo>
                    <a:pt x="359" y="361"/>
                  </a:lnTo>
                  <a:lnTo>
                    <a:pt x="356" y="366"/>
                  </a:lnTo>
                  <a:lnTo>
                    <a:pt x="359" y="370"/>
                  </a:lnTo>
                  <a:lnTo>
                    <a:pt x="354" y="375"/>
                  </a:lnTo>
                  <a:lnTo>
                    <a:pt x="344" y="375"/>
                  </a:lnTo>
                  <a:lnTo>
                    <a:pt x="352" y="386"/>
                  </a:lnTo>
                  <a:lnTo>
                    <a:pt x="354" y="396"/>
                  </a:lnTo>
                  <a:lnTo>
                    <a:pt x="366" y="401"/>
                  </a:lnTo>
                  <a:lnTo>
                    <a:pt x="375" y="410"/>
                  </a:lnTo>
                  <a:lnTo>
                    <a:pt x="385" y="415"/>
                  </a:lnTo>
                  <a:lnTo>
                    <a:pt x="394" y="411"/>
                  </a:lnTo>
                  <a:lnTo>
                    <a:pt x="399" y="413"/>
                  </a:lnTo>
                  <a:lnTo>
                    <a:pt x="406" y="408"/>
                  </a:lnTo>
                  <a:lnTo>
                    <a:pt x="407" y="414"/>
                  </a:lnTo>
                  <a:lnTo>
                    <a:pt x="417" y="418"/>
                  </a:lnTo>
                  <a:lnTo>
                    <a:pt x="418" y="421"/>
                  </a:lnTo>
                  <a:lnTo>
                    <a:pt x="414" y="425"/>
                  </a:lnTo>
                  <a:lnTo>
                    <a:pt x="422" y="431"/>
                  </a:lnTo>
                  <a:lnTo>
                    <a:pt x="420" y="443"/>
                  </a:lnTo>
                  <a:lnTo>
                    <a:pt x="416" y="445"/>
                  </a:lnTo>
                  <a:lnTo>
                    <a:pt x="408" y="447"/>
                  </a:lnTo>
                  <a:lnTo>
                    <a:pt x="398" y="456"/>
                  </a:lnTo>
                  <a:lnTo>
                    <a:pt x="393" y="455"/>
                  </a:lnTo>
                  <a:lnTo>
                    <a:pt x="385" y="449"/>
                  </a:lnTo>
                  <a:lnTo>
                    <a:pt x="372" y="448"/>
                  </a:lnTo>
                  <a:lnTo>
                    <a:pt x="366" y="444"/>
                  </a:lnTo>
                  <a:lnTo>
                    <a:pt x="352" y="444"/>
                  </a:lnTo>
                  <a:lnTo>
                    <a:pt x="347" y="440"/>
                  </a:lnTo>
                  <a:lnTo>
                    <a:pt x="347" y="431"/>
                  </a:lnTo>
                  <a:lnTo>
                    <a:pt x="338" y="426"/>
                  </a:lnTo>
                  <a:lnTo>
                    <a:pt x="332" y="419"/>
                  </a:lnTo>
                  <a:lnTo>
                    <a:pt x="329" y="418"/>
                  </a:lnTo>
                  <a:lnTo>
                    <a:pt x="320" y="424"/>
                  </a:lnTo>
                  <a:lnTo>
                    <a:pt x="302" y="418"/>
                  </a:lnTo>
                  <a:lnTo>
                    <a:pt x="297" y="411"/>
                  </a:lnTo>
                  <a:lnTo>
                    <a:pt x="294" y="407"/>
                  </a:lnTo>
                  <a:lnTo>
                    <a:pt x="297" y="401"/>
                  </a:lnTo>
                  <a:lnTo>
                    <a:pt x="295" y="391"/>
                  </a:lnTo>
                  <a:lnTo>
                    <a:pt x="295" y="382"/>
                  </a:lnTo>
                  <a:lnTo>
                    <a:pt x="286" y="376"/>
                  </a:lnTo>
                  <a:lnTo>
                    <a:pt x="286" y="370"/>
                  </a:lnTo>
                  <a:lnTo>
                    <a:pt x="274" y="359"/>
                  </a:lnTo>
                  <a:lnTo>
                    <a:pt x="273" y="350"/>
                  </a:lnTo>
                  <a:lnTo>
                    <a:pt x="266" y="347"/>
                  </a:lnTo>
                  <a:lnTo>
                    <a:pt x="268" y="340"/>
                  </a:lnTo>
                  <a:lnTo>
                    <a:pt x="274" y="338"/>
                  </a:lnTo>
                  <a:lnTo>
                    <a:pt x="275" y="326"/>
                  </a:lnTo>
                  <a:lnTo>
                    <a:pt x="275" y="317"/>
                  </a:lnTo>
                  <a:lnTo>
                    <a:pt x="272" y="316"/>
                  </a:lnTo>
                  <a:lnTo>
                    <a:pt x="273" y="310"/>
                  </a:lnTo>
                  <a:lnTo>
                    <a:pt x="275" y="305"/>
                  </a:lnTo>
                  <a:lnTo>
                    <a:pt x="271" y="304"/>
                  </a:lnTo>
                  <a:lnTo>
                    <a:pt x="261" y="292"/>
                  </a:lnTo>
                  <a:lnTo>
                    <a:pt x="240" y="285"/>
                  </a:lnTo>
                  <a:lnTo>
                    <a:pt x="234" y="288"/>
                  </a:lnTo>
                  <a:lnTo>
                    <a:pt x="229" y="283"/>
                  </a:lnTo>
                  <a:lnTo>
                    <a:pt x="222" y="283"/>
                  </a:lnTo>
                  <a:lnTo>
                    <a:pt x="219" y="286"/>
                  </a:lnTo>
                  <a:lnTo>
                    <a:pt x="208" y="285"/>
                  </a:lnTo>
                  <a:lnTo>
                    <a:pt x="211" y="280"/>
                  </a:lnTo>
                  <a:lnTo>
                    <a:pt x="221" y="279"/>
                  </a:lnTo>
                  <a:lnTo>
                    <a:pt x="223" y="272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20" y="266"/>
                  </a:lnTo>
                  <a:lnTo>
                    <a:pt x="214" y="262"/>
                  </a:lnTo>
                  <a:lnTo>
                    <a:pt x="208" y="265"/>
                  </a:lnTo>
                  <a:lnTo>
                    <a:pt x="192" y="269"/>
                  </a:lnTo>
                  <a:lnTo>
                    <a:pt x="191" y="266"/>
                  </a:lnTo>
                  <a:lnTo>
                    <a:pt x="194" y="262"/>
                  </a:lnTo>
                  <a:lnTo>
                    <a:pt x="204" y="258"/>
                  </a:lnTo>
                  <a:lnTo>
                    <a:pt x="200" y="256"/>
                  </a:lnTo>
                  <a:lnTo>
                    <a:pt x="187" y="252"/>
                  </a:lnTo>
                  <a:lnTo>
                    <a:pt x="185" y="246"/>
                  </a:lnTo>
                  <a:lnTo>
                    <a:pt x="174" y="240"/>
                  </a:lnTo>
                  <a:lnTo>
                    <a:pt x="171" y="228"/>
                  </a:lnTo>
                  <a:lnTo>
                    <a:pt x="162" y="222"/>
                  </a:lnTo>
                  <a:lnTo>
                    <a:pt x="164" y="219"/>
                  </a:lnTo>
                  <a:lnTo>
                    <a:pt x="173" y="219"/>
                  </a:lnTo>
                  <a:lnTo>
                    <a:pt x="175" y="222"/>
                  </a:lnTo>
                  <a:lnTo>
                    <a:pt x="187" y="223"/>
                  </a:lnTo>
                  <a:lnTo>
                    <a:pt x="188" y="230"/>
                  </a:lnTo>
                  <a:lnTo>
                    <a:pt x="209" y="245"/>
                  </a:lnTo>
                  <a:lnTo>
                    <a:pt x="215" y="246"/>
                  </a:lnTo>
                  <a:lnTo>
                    <a:pt x="216" y="242"/>
                  </a:lnTo>
                  <a:lnTo>
                    <a:pt x="226" y="248"/>
                  </a:lnTo>
                  <a:lnTo>
                    <a:pt x="240" y="248"/>
                  </a:lnTo>
                  <a:lnTo>
                    <a:pt x="243" y="245"/>
                  </a:lnTo>
                  <a:lnTo>
                    <a:pt x="249" y="251"/>
                  </a:lnTo>
                  <a:lnTo>
                    <a:pt x="243" y="254"/>
                  </a:lnTo>
                  <a:lnTo>
                    <a:pt x="246" y="257"/>
                  </a:lnTo>
                  <a:lnTo>
                    <a:pt x="246" y="262"/>
                  </a:lnTo>
                  <a:lnTo>
                    <a:pt x="255" y="263"/>
                  </a:lnTo>
                  <a:lnTo>
                    <a:pt x="260" y="258"/>
                  </a:lnTo>
                  <a:lnTo>
                    <a:pt x="274" y="258"/>
                  </a:lnTo>
                  <a:lnTo>
                    <a:pt x="271" y="260"/>
                  </a:lnTo>
                  <a:lnTo>
                    <a:pt x="278" y="262"/>
                  </a:lnTo>
                  <a:lnTo>
                    <a:pt x="288" y="260"/>
                  </a:lnTo>
                  <a:lnTo>
                    <a:pt x="288" y="265"/>
                  </a:lnTo>
                  <a:lnTo>
                    <a:pt x="298" y="275"/>
                  </a:lnTo>
                  <a:lnTo>
                    <a:pt x="306" y="271"/>
                  </a:lnTo>
                  <a:lnTo>
                    <a:pt x="313" y="272"/>
                  </a:lnTo>
                  <a:lnTo>
                    <a:pt x="315" y="277"/>
                  </a:lnTo>
                  <a:lnTo>
                    <a:pt x="327" y="277"/>
                  </a:lnTo>
                  <a:lnTo>
                    <a:pt x="335" y="280"/>
                  </a:lnTo>
                  <a:lnTo>
                    <a:pt x="342" y="275"/>
                  </a:lnTo>
                  <a:lnTo>
                    <a:pt x="353" y="282"/>
                  </a:lnTo>
                  <a:lnTo>
                    <a:pt x="367" y="286"/>
                  </a:lnTo>
                  <a:lnTo>
                    <a:pt x="394" y="287"/>
                  </a:lnTo>
                  <a:lnTo>
                    <a:pt x="416" y="285"/>
                  </a:lnTo>
                  <a:lnTo>
                    <a:pt x="418" y="281"/>
                  </a:lnTo>
                  <a:lnTo>
                    <a:pt x="431" y="281"/>
                  </a:lnTo>
                  <a:lnTo>
                    <a:pt x="439" y="277"/>
                  </a:lnTo>
                  <a:lnTo>
                    <a:pt x="453" y="274"/>
                  </a:lnTo>
                  <a:lnTo>
                    <a:pt x="465" y="269"/>
                  </a:lnTo>
                  <a:lnTo>
                    <a:pt x="483" y="247"/>
                  </a:lnTo>
                  <a:lnTo>
                    <a:pt x="485" y="241"/>
                  </a:lnTo>
                  <a:lnTo>
                    <a:pt x="495" y="230"/>
                  </a:lnTo>
                  <a:lnTo>
                    <a:pt x="495" y="224"/>
                  </a:lnTo>
                  <a:lnTo>
                    <a:pt x="498" y="218"/>
                  </a:lnTo>
                  <a:lnTo>
                    <a:pt x="500" y="206"/>
                  </a:lnTo>
                  <a:lnTo>
                    <a:pt x="500" y="195"/>
                  </a:lnTo>
                  <a:lnTo>
                    <a:pt x="499" y="185"/>
                  </a:lnTo>
                  <a:lnTo>
                    <a:pt x="495" y="182"/>
                  </a:lnTo>
                  <a:lnTo>
                    <a:pt x="493" y="183"/>
                  </a:lnTo>
                  <a:lnTo>
                    <a:pt x="485" y="172"/>
                  </a:lnTo>
                  <a:lnTo>
                    <a:pt x="480" y="170"/>
                  </a:lnTo>
                  <a:lnTo>
                    <a:pt x="476" y="159"/>
                  </a:lnTo>
                  <a:lnTo>
                    <a:pt x="466" y="150"/>
                  </a:lnTo>
                  <a:lnTo>
                    <a:pt x="459" y="148"/>
                  </a:lnTo>
                  <a:lnTo>
                    <a:pt x="457" y="153"/>
                  </a:lnTo>
                  <a:lnTo>
                    <a:pt x="446" y="148"/>
                  </a:lnTo>
                  <a:lnTo>
                    <a:pt x="447" y="142"/>
                  </a:lnTo>
                  <a:lnTo>
                    <a:pt x="429" y="131"/>
                  </a:lnTo>
                  <a:lnTo>
                    <a:pt x="430" y="123"/>
                  </a:lnTo>
                  <a:lnTo>
                    <a:pt x="419" y="114"/>
                  </a:lnTo>
                  <a:lnTo>
                    <a:pt x="414" y="114"/>
                  </a:lnTo>
                  <a:lnTo>
                    <a:pt x="417" y="118"/>
                  </a:lnTo>
                  <a:lnTo>
                    <a:pt x="424" y="129"/>
                  </a:lnTo>
                  <a:lnTo>
                    <a:pt x="418" y="131"/>
                  </a:lnTo>
                  <a:lnTo>
                    <a:pt x="406" y="121"/>
                  </a:lnTo>
                  <a:lnTo>
                    <a:pt x="399" y="120"/>
                  </a:lnTo>
                  <a:lnTo>
                    <a:pt x="385" y="109"/>
                  </a:lnTo>
                  <a:lnTo>
                    <a:pt x="381" y="109"/>
                  </a:lnTo>
                  <a:lnTo>
                    <a:pt x="381" y="113"/>
                  </a:lnTo>
                  <a:lnTo>
                    <a:pt x="383" y="118"/>
                  </a:lnTo>
                  <a:lnTo>
                    <a:pt x="376" y="117"/>
                  </a:lnTo>
                  <a:lnTo>
                    <a:pt x="365" y="102"/>
                  </a:lnTo>
                  <a:lnTo>
                    <a:pt x="356" y="100"/>
                  </a:lnTo>
                  <a:lnTo>
                    <a:pt x="350" y="92"/>
                  </a:lnTo>
                  <a:lnTo>
                    <a:pt x="318" y="73"/>
                  </a:lnTo>
                  <a:lnTo>
                    <a:pt x="272" y="51"/>
                  </a:lnTo>
                  <a:lnTo>
                    <a:pt x="261" y="46"/>
                  </a:lnTo>
                  <a:lnTo>
                    <a:pt x="260" y="50"/>
                  </a:lnTo>
                  <a:lnTo>
                    <a:pt x="250" y="45"/>
                  </a:lnTo>
                  <a:lnTo>
                    <a:pt x="238" y="43"/>
                  </a:lnTo>
                  <a:lnTo>
                    <a:pt x="239" y="46"/>
                  </a:lnTo>
                  <a:lnTo>
                    <a:pt x="232" y="50"/>
                  </a:lnTo>
                  <a:lnTo>
                    <a:pt x="223" y="46"/>
                  </a:lnTo>
                  <a:lnTo>
                    <a:pt x="210" y="46"/>
                  </a:lnTo>
                  <a:lnTo>
                    <a:pt x="204" y="39"/>
                  </a:lnTo>
                  <a:lnTo>
                    <a:pt x="196" y="36"/>
                  </a:lnTo>
                  <a:lnTo>
                    <a:pt x="196" y="38"/>
                  </a:lnTo>
                  <a:lnTo>
                    <a:pt x="200" y="44"/>
                  </a:lnTo>
                  <a:lnTo>
                    <a:pt x="199" y="48"/>
                  </a:lnTo>
                  <a:lnTo>
                    <a:pt x="192" y="44"/>
                  </a:lnTo>
                  <a:lnTo>
                    <a:pt x="184" y="44"/>
                  </a:lnTo>
                  <a:lnTo>
                    <a:pt x="180" y="48"/>
                  </a:lnTo>
                  <a:lnTo>
                    <a:pt x="181" y="52"/>
                  </a:lnTo>
                  <a:lnTo>
                    <a:pt x="175" y="63"/>
                  </a:lnTo>
                  <a:lnTo>
                    <a:pt x="165" y="65"/>
                  </a:lnTo>
                  <a:lnTo>
                    <a:pt x="171" y="56"/>
                  </a:lnTo>
                  <a:lnTo>
                    <a:pt x="176" y="52"/>
                  </a:lnTo>
                  <a:lnTo>
                    <a:pt x="174" y="50"/>
                  </a:lnTo>
                  <a:lnTo>
                    <a:pt x="167" y="50"/>
                  </a:lnTo>
                  <a:lnTo>
                    <a:pt x="169" y="45"/>
                  </a:lnTo>
                  <a:lnTo>
                    <a:pt x="171" y="42"/>
                  </a:lnTo>
                  <a:lnTo>
                    <a:pt x="167" y="39"/>
                  </a:lnTo>
                  <a:lnTo>
                    <a:pt x="163" y="44"/>
                  </a:lnTo>
                  <a:lnTo>
                    <a:pt x="156" y="52"/>
                  </a:lnTo>
                  <a:lnTo>
                    <a:pt x="156" y="46"/>
                  </a:lnTo>
                  <a:lnTo>
                    <a:pt x="156" y="44"/>
                  </a:lnTo>
                  <a:lnTo>
                    <a:pt x="153" y="42"/>
                  </a:lnTo>
                  <a:lnTo>
                    <a:pt x="150" y="46"/>
                  </a:lnTo>
                  <a:lnTo>
                    <a:pt x="147" y="46"/>
                  </a:lnTo>
                  <a:lnTo>
                    <a:pt x="146" y="40"/>
                  </a:lnTo>
                  <a:lnTo>
                    <a:pt x="139" y="38"/>
                  </a:lnTo>
                  <a:lnTo>
                    <a:pt x="132" y="44"/>
                  </a:lnTo>
                  <a:lnTo>
                    <a:pt x="129" y="37"/>
                  </a:lnTo>
                  <a:lnTo>
                    <a:pt x="126" y="34"/>
                  </a:lnTo>
                  <a:lnTo>
                    <a:pt x="119" y="40"/>
                  </a:lnTo>
                  <a:lnTo>
                    <a:pt x="117" y="32"/>
                  </a:lnTo>
                  <a:lnTo>
                    <a:pt x="117" y="23"/>
                  </a:lnTo>
                  <a:lnTo>
                    <a:pt x="122" y="17"/>
                  </a:lnTo>
                  <a:lnTo>
                    <a:pt x="122" y="22"/>
                  </a:lnTo>
                  <a:lnTo>
                    <a:pt x="129" y="30"/>
                  </a:lnTo>
                  <a:lnTo>
                    <a:pt x="140" y="28"/>
                  </a:lnTo>
                  <a:lnTo>
                    <a:pt x="147" y="31"/>
                  </a:lnTo>
                  <a:lnTo>
                    <a:pt x="155" y="25"/>
                  </a:lnTo>
                  <a:lnTo>
                    <a:pt x="155" y="21"/>
                  </a:lnTo>
                  <a:lnTo>
                    <a:pt x="149" y="17"/>
                  </a:lnTo>
                  <a:lnTo>
                    <a:pt x="146" y="15"/>
                  </a:lnTo>
                  <a:lnTo>
                    <a:pt x="140" y="13"/>
                  </a:lnTo>
                  <a:lnTo>
                    <a:pt x="136" y="15"/>
                  </a:lnTo>
                  <a:lnTo>
                    <a:pt x="132" y="11"/>
                  </a:lnTo>
                  <a:lnTo>
                    <a:pt x="127" y="5"/>
                  </a:lnTo>
                  <a:lnTo>
                    <a:pt x="117" y="2"/>
                  </a:lnTo>
                  <a:lnTo>
                    <a:pt x="109" y="0"/>
                  </a:lnTo>
                  <a:lnTo>
                    <a:pt x="106" y="3"/>
                  </a:lnTo>
                  <a:lnTo>
                    <a:pt x="110" y="8"/>
                  </a:lnTo>
                  <a:lnTo>
                    <a:pt x="112" y="9"/>
                  </a:lnTo>
                  <a:lnTo>
                    <a:pt x="112" y="13"/>
                  </a:lnTo>
                  <a:lnTo>
                    <a:pt x="107" y="13"/>
                  </a:lnTo>
                  <a:lnTo>
                    <a:pt x="101" y="13"/>
                  </a:lnTo>
                  <a:lnTo>
                    <a:pt x="101" y="15"/>
                  </a:lnTo>
                  <a:lnTo>
                    <a:pt x="110" y="20"/>
                  </a:lnTo>
                  <a:lnTo>
                    <a:pt x="105" y="22"/>
                  </a:lnTo>
                  <a:lnTo>
                    <a:pt x="99" y="21"/>
                  </a:lnTo>
                  <a:lnTo>
                    <a:pt x="95" y="27"/>
                  </a:lnTo>
                  <a:lnTo>
                    <a:pt x="94" y="37"/>
                  </a:lnTo>
                  <a:lnTo>
                    <a:pt x="90" y="32"/>
                  </a:lnTo>
                  <a:lnTo>
                    <a:pt x="90" y="23"/>
                  </a:lnTo>
                  <a:lnTo>
                    <a:pt x="87" y="21"/>
                  </a:lnTo>
                  <a:lnTo>
                    <a:pt x="77" y="20"/>
                  </a:lnTo>
                  <a:lnTo>
                    <a:pt x="76" y="20"/>
                  </a:lnTo>
                  <a:lnTo>
                    <a:pt x="77" y="28"/>
                  </a:lnTo>
                  <a:lnTo>
                    <a:pt x="71" y="34"/>
                  </a:lnTo>
                  <a:lnTo>
                    <a:pt x="61" y="32"/>
                  </a:lnTo>
                  <a:lnTo>
                    <a:pt x="54" y="32"/>
                  </a:lnTo>
                  <a:lnTo>
                    <a:pt x="55" y="44"/>
                  </a:lnTo>
                  <a:lnTo>
                    <a:pt x="48" y="52"/>
                  </a:lnTo>
                  <a:lnTo>
                    <a:pt x="37" y="54"/>
                  </a:lnTo>
                  <a:lnTo>
                    <a:pt x="25" y="65"/>
                  </a:lnTo>
                  <a:lnTo>
                    <a:pt x="24" y="79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7" y="85"/>
                  </a:lnTo>
                  <a:lnTo>
                    <a:pt x="0" y="90"/>
                  </a:lnTo>
                  <a:lnTo>
                    <a:pt x="7" y="91"/>
                  </a:lnTo>
                  <a:lnTo>
                    <a:pt x="5" y="103"/>
                  </a:lnTo>
                  <a:lnTo>
                    <a:pt x="1" y="117"/>
                  </a:lnTo>
                  <a:lnTo>
                    <a:pt x="8" y="124"/>
                  </a:lnTo>
                  <a:lnTo>
                    <a:pt x="16" y="143"/>
                  </a:lnTo>
                  <a:lnTo>
                    <a:pt x="22" y="143"/>
                  </a:lnTo>
                  <a:lnTo>
                    <a:pt x="35" y="150"/>
                  </a:lnTo>
                  <a:lnTo>
                    <a:pt x="42" y="159"/>
                  </a:lnTo>
                  <a:lnTo>
                    <a:pt x="46" y="167"/>
                  </a:lnTo>
                  <a:lnTo>
                    <a:pt x="66" y="179"/>
                  </a:lnTo>
                  <a:lnTo>
                    <a:pt x="72" y="184"/>
                  </a:lnTo>
                  <a:lnTo>
                    <a:pt x="68" y="196"/>
                  </a:lnTo>
                  <a:lnTo>
                    <a:pt x="58" y="210"/>
                  </a:lnTo>
                  <a:lnTo>
                    <a:pt x="51" y="229"/>
                  </a:lnTo>
                  <a:lnTo>
                    <a:pt x="61" y="240"/>
                  </a:lnTo>
                  <a:lnTo>
                    <a:pt x="65" y="252"/>
                  </a:lnTo>
                  <a:lnTo>
                    <a:pt x="84" y="283"/>
                  </a:lnTo>
                  <a:lnTo>
                    <a:pt x="105" y="327"/>
                  </a:lnTo>
                  <a:lnTo>
                    <a:pt x="97" y="328"/>
                  </a:lnTo>
                  <a:lnTo>
                    <a:pt x="94" y="355"/>
                  </a:lnTo>
                  <a:lnTo>
                    <a:pt x="95" y="362"/>
                  </a:lnTo>
                  <a:lnTo>
                    <a:pt x="104" y="364"/>
                  </a:lnTo>
                  <a:lnTo>
                    <a:pt x="98" y="372"/>
                  </a:lnTo>
                  <a:lnTo>
                    <a:pt x="98" y="386"/>
                  </a:lnTo>
                  <a:lnTo>
                    <a:pt x="104" y="392"/>
                  </a:lnTo>
                  <a:lnTo>
                    <a:pt x="115" y="395"/>
                  </a:lnTo>
                  <a:lnTo>
                    <a:pt x="118" y="402"/>
                  </a:lnTo>
                  <a:lnTo>
                    <a:pt x="115" y="407"/>
                  </a:lnTo>
                  <a:lnTo>
                    <a:pt x="116" y="421"/>
                  </a:lnTo>
                  <a:lnTo>
                    <a:pt x="121" y="431"/>
                  </a:lnTo>
                  <a:lnTo>
                    <a:pt x="135" y="439"/>
                  </a:lnTo>
                  <a:lnTo>
                    <a:pt x="135" y="451"/>
                  </a:lnTo>
                  <a:lnTo>
                    <a:pt x="127" y="462"/>
                  </a:lnTo>
                  <a:lnTo>
                    <a:pt x="123" y="476"/>
                  </a:lnTo>
                  <a:lnTo>
                    <a:pt x="145" y="502"/>
                  </a:lnTo>
                  <a:lnTo>
                    <a:pt x="157" y="506"/>
                  </a:lnTo>
                  <a:lnTo>
                    <a:pt x="176" y="526"/>
                  </a:lnTo>
                  <a:lnTo>
                    <a:pt x="180" y="538"/>
                  </a:lnTo>
                  <a:lnTo>
                    <a:pt x="167" y="569"/>
                  </a:lnTo>
                  <a:lnTo>
                    <a:pt x="147" y="596"/>
                  </a:lnTo>
                  <a:lnTo>
                    <a:pt x="138" y="617"/>
                  </a:lnTo>
                  <a:lnTo>
                    <a:pt x="126" y="635"/>
                  </a:lnTo>
                  <a:lnTo>
                    <a:pt x="112" y="654"/>
                  </a:lnTo>
                  <a:lnTo>
                    <a:pt x="101" y="659"/>
                  </a:lnTo>
                  <a:lnTo>
                    <a:pt x="81" y="677"/>
                  </a:lnTo>
                  <a:lnTo>
                    <a:pt x="82" y="689"/>
                  </a:lnTo>
                  <a:lnTo>
                    <a:pt x="82" y="689"/>
                  </a:lnTo>
                  <a:lnTo>
                    <a:pt x="82" y="689"/>
                  </a:lnTo>
                  <a:lnTo>
                    <a:pt x="84" y="687"/>
                  </a:lnTo>
                  <a:lnTo>
                    <a:pt x="84" y="687"/>
                  </a:lnTo>
                  <a:lnTo>
                    <a:pt x="98" y="681"/>
                  </a:lnTo>
                  <a:lnTo>
                    <a:pt x="107" y="679"/>
                  </a:lnTo>
                  <a:lnTo>
                    <a:pt x="101" y="685"/>
                  </a:lnTo>
                  <a:lnTo>
                    <a:pt x="104" y="689"/>
                  </a:lnTo>
                  <a:lnTo>
                    <a:pt x="104" y="697"/>
                  </a:lnTo>
                  <a:lnTo>
                    <a:pt x="94" y="689"/>
                  </a:lnTo>
                  <a:lnTo>
                    <a:pt x="93" y="694"/>
                  </a:lnTo>
                  <a:lnTo>
                    <a:pt x="103" y="705"/>
                  </a:lnTo>
                  <a:lnTo>
                    <a:pt x="113" y="705"/>
                  </a:lnTo>
                  <a:lnTo>
                    <a:pt x="119" y="714"/>
                  </a:lnTo>
                  <a:lnTo>
                    <a:pt x="130" y="714"/>
                  </a:lnTo>
                  <a:lnTo>
                    <a:pt x="134" y="712"/>
                  </a:lnTo>
                  <a:lnTo>
                    <a:pt x="141" y="712"/>
                  </a:lnTo>
                  <a:lnTo>
                    <a:pt x="150" y="722"/>
                  </a:lnTo>
                  <a:lnTo>
                    <a:pt x="144" y="728"/>
                  </a:lnTo>
                  <a:lnTo>
                    <a:pt x="130" y="725"/>
                  </a:lnTo>
                  <a:lnTo>
                    <a:pt x="126" y="727"/>
                  </a:lnTo>
                  <a:lnTo>
                    <a:pt x="123" y="734"/>
                  </a:lnTo>
                  <a:lnTo>
                    <a:pt x="111" y="741"/>
                  </a:lnTo>
                  <a:lnTo>
                    <a:pt x="103" y="737"/>
                  </a:lnTo>
                  <a:lnTo>
                    <a:pt x="98" y="740"/>
                  </a:lnTo>
                  <a:lnTo>
                    <a:pt x="98" y="749"/>
                  </a:lnTo>
                  <a:lnTo>
                    <a:pt x="89" y="751"/>
                  </a:lnTo>
                  <a:lnTo>
                    <a:pt x="86" y="744"/>
                  </a:lnTo>
                  <a:lnTo>
                    <a:pt x="82" y="745"/>
                  </a:lnTo>
                  <a:lnTo>
                    <a:pt x="82" y="750"/>
                  </a:lnTo>
                  <a:lnTo>
                    <a:pt x="86" y="756"/>
                  </a:lnTo>
                  <a:lnTo>
                    <a:pt x="83" y="766"/>
                  </a:lnTo>
                  <a:lnTo>
                    <a:pt x="83" y="766"/>
                  </a:lnTo>
                  <a:lnTo>
                    <a:pt x="87" y="773"/>
                  </a:lnTo>
                  <a:lnTo>
                    <a:pt x="88" y="774"/>
                  </a:lnTo>
                  <a:lnTo>
                    <a:pt x="87" y="777"/>
                  </a:lnTo>
                  <a:lnTo>
                    <a:pt x="80" y="785"/>
                  </a:lnTo>
                  <a:lnTo>
                    <a:pt x="76" y="797"/>
                  </a:lnTo>
                  <a:lnTo>
                    <a:pt x="71" y="799"/>
                  </a:lnTo>
                  <a:lnTo>
                    <a:pt x="68" y="831"/>
                  </a:lnTo>
                  <a:lnTo>
                    <a:pt x="89" y="866"/>
                  </a:lnTo>
                  <a:lnTo>
                    <a:pt x="89" y="874"/>
                  </a:lnTo>
                  <a:lnTo>
                    <a:pt x="81" y="879"/>
                  </a:lnTo>
                  <a:lnTo>
                    <a:pt x="83" y="888"/>
                  </a:lnTo>
                  <a:lnTo>
                    <a:pt x="76" y="897"/>
                  </a:lnTo>
                  <a:lnTo>
                    <a:pt x="86" y="899"/>
                  </a:lnTo>
                  <a:lnTo>
                    <a:pt x="87" y="905"/>
                  </a:lnTo>
                  <a:lnTo>
                    <a:pt x="84" y="909"/>
                  </a:lnTo>
                  <a:lnTo>
                    <a:pt x="88" y="912"/>
                  </a:lnTo>
                  <a:lnTo>
                    <a:pt x="90" y="919"/>
                  </a:lnTo>
                  <a:lnTo>
                    <a:pt x="89" y="925"/>
                  </a:lnTo>
                  <a:lnTo>
                    <a:pt x="95" y="935"/>
                  </a:lnTo>
                  <a:lnTo>
                    <a:pt x="99" y="938"/>
                  </a:lnTo>
                  <a:lnTo>
                    <a:pt x="104" y="951"/>
                  </a:lnTo>
                  <a:lnTo>
                    <a:pt x="110" y="959"/>
                  </a:lnTo>
                  <a:lnTo>
                    <a:pt x="111" y="970"/>
                  </a:lnTo>
                  <a:lnTo>
                    <a:pt x="115" y="970"/>
                  </a:lnTo>
                  <a:lnTo>
                    <a:pt x="123" y="975"/>
                  </a:lnTo>
                  <a:lnTo>
                    <a:pt x="133" y="969"/>
                  </a:lnTo>
                  <a:lnTo>
                    <a:pt x="142" y="982"/>
                  </a:lnTo>
                  <a:lnTo>
                    <a:pt x="153" y="977"/>
                  </a:lnTo>
                  <a:lnTo>
                    <a:pt x="163" y="978"/>
                  </a:lnTo>
                  <a:lnTo>
                    <a:pt x="173" y="993"/>
                  </a:lnTo>
                  <a:lnTo>
                    <a:pt x="184" y="984"/>
                  </a:lnTo>
                  <a:lnTo>
                    <a:pt x="197" y="981"/>
                  </a:lnTo>
                  <a:lnTo>
                    <a:pt x="203" y="987"/>
                  </a:lnTo>
                  <a:lnTo>
                    <a:pt x="209" y="987"/>
                  </a:lnTo>
                  <a:lnTo>
                    <a:pt x="229" y="993"/>
                  </a:lnTo>
                  <a:lnTo>
                    <a:pt x="232" y="1003"/>
                  </a:lnTo>
                  <a:lnTo>
                    <a:pt x="228" y="1013"/>
                  </a:lnTo>
                  <a:lnTo>
                    <a:pt x="237" y="1022"/>
                  </a:lnTo>
                  <a:lnTo>
                    <a:pt x="237" y="1034"/>
                  </a:lnTo>
                  <a:lnTo>
                    <a:pt x="248" y="1045"/>
                  </a:lnTo>
                  <a:lnTo>
                    <a:pt x="252" y="1056"/>
                  </a:lnTo>
                  <a:lnTo>
                    <a:pt x="265" y="1070"/>
                  </a:lnTo>
                  <a:lnTo>
                    <a:pt x="274" y="1076"/>
                  </a:lnTo>
                  <a:lnTo>
                    <a:pt x="278" y="1091"/>
                  </a:lnTo>
                  <a:lnTo>
                    <a:pt x="292" y="1094"/>
                  </a:lnTo>
                  <a:lnTo>
                    <a:pt x="310" y="1108"/>
                  </a:lnTo>
                  <a:lnTo>
                    <a:pt x="312" y="1116"/>
                  </a:lnTo>
                  <a:lnTo>
                    <a:pt x="324" y="1123"/>
                  </a:lnTo>
                  <a:lnTo>
                    <a:pt x="318" y="1127"/>
                  </a:lnTo>
                  <a:lnTo>
                    <a:pt x="309" y="1142"/>
                  </a:lnTo>
                  <a:lnTo>
                    <a:pt x="285" y="1144"/>
                  </a:lnTo>
                  <a:lnTo>
                    <a:pt x="275" y="1136"/>
                  </a:lnTo>
                  <a:lnTo>
                    <a:pt x="271" y="1143"/>
                  </a:lnTo>
                  <a:lnTo>
                    <a:pt x="272" y="1152"/>
                  </a:lnTo>
                  <a:lnTo>
                    <a:pt x="281" y="1166"/>
                  </a:lnTo>
                  <a:lnTo>
                    <a:pt x="280" y="1177"/>
                  </a:lnTo>
                  <a:lnTo>
                    <a:pt x="290" y="1188"/>
                  </a:lnTo>
                  <a:lnTo>
                    <a:pt x="290" y="1198"/>
                  </a:lnTo>
                  <a:lnTo>
                    <a:pt x="297" y="1200"/>
                  </a:lnTo>
                  <a:lnTo>
                    <a:pt x="308" y="1198"/>
                  </a:lnTo>
                  <a:lnTo>
                    <a:pt x="307" y="1189"/>
                  </a:lnTo>
                  <a:lnTo>
                    <a:pt x="314" y="1184"/>
                  </a:lnTo>
                  <a:lnTo>
                    <a:pt x="337" y="1190"/>
                  </a:lnTo>
                  <a:lnTo>
                    <a:pt x="360" y="1190"/>
                  </a:lnTo>
                  <a:lnTo>
                    <a:pt x="372" y="1185"/>
                  </a:lnTo>
                  <a:lnTo>
                    <a:pt x="383" y="1185"/>
                  </a:lnTo>
                  <a:lnTo>
                    <a:pt x="390" y="1204"/>
                  </a:lnTo>
                  <a:lnTo>
                    <a:pt x="400" y="1212"/>
                  </a:lnTo>
                  <a:lnTo>
                    <a:pt x="394" y="1221"/>
                  </a:lnTo>
                  <a:lnTo>
                    <a:pt x="407" y="1236"/>
                  </a:lnTo>
                  <a:lnTo>
                    <a:pt x="433" y="1232"/>
                  </a:lnTo>
                  <a:lnTo>
                    <a:pt x="441" y="1239"/>
                  </a:lnTo>
                  <a:lnTo>
                    <a:pt x="442" y="1248"/>
                  </a:lnTo>
                  <a:lnTo>
                    <a:pt x="452" y="1249"/>
                  </a:lnTo>
                  <a:lnTo>
                    <a:pt x="452" y="1261"/>
                  </a:lnTo>
                  <a:lnTo>
                    <a:pt x="457" y="1275"/>
                  </a:lnTo>
                  <a:lnTo>
                    <a:pt x="477" y="1293"/>
                  </a:lnTo>
                  <a:lnTo>
                    <a:pt x="486" y="1284"/>
                  </a:lnTo>
                  <a:lnTo>
                    <a:pt x="498" y="1290"/>
                  </a:lnTo>
                  <a:lnTo>
                    <a:pt x="509" y="1288"/>
                  </a:lnTo>
                  <a:lnTo>
                    <a:pt x="518" y="1290"/>
                  </a:lnTo>
                  <a:lnTo>
                    <a:pt x="534" y="1279"/>
                  </a:lnTo>
                  <a:lnTo>
                    <a:pt x="541" y="1278"/>
                  </a:lnTo>
                  <a:lnTo>
                    <a:pt x="552" y="1299"/>
                  </a:lnTo>
                  <a:lnTo>
                    <a:pt x="567" y="1306"/>
                  </a:lnTo>
                  <a:lnTo>
                    <a:pt x="570" y="1314"/>
                  </a:lnTo>
                  <a:lnTo>
                    <a:pt x="576" y="1308"/>
                  </a:lnTo>
                  <a:lnTo>
                    <a:pt x="593" y="1312"/>
                  </a:lnTo>
                  <a:lnTo>
                    <a:pt x="605" y="1312"/>
                  </a:lnTo>
                  <a:lnTo>
                    <a:pt x="614" y="1317"/>
                  </a:lnTo>
                  <a:lnTo>
                    <a:pt x="625" y="1316"/>
                  </a:lnTo>
                  <a:lnTo>
                    <a:pt x="636" y="1323"/>
                  </a:lnTo>
                  <a:lnTo>
                    <a:pt x="650" y="1325"/>
                  </a:lnTo>
                  <a:lnTo>
                    <a:pt x="657" y="1318"/>
                  </a:lnTo>
                  <a:lnTo>
                    <a:pt x="661" y="1328"/>
                  </a:lnTo>
                  <a:lnTo>
                    <a:pt x="667" y="1331"/>
                  </a:lnTo>
                  <a:lnTo>
                    <a:pt x="667" y="1342"/>
                  </a:lnTo>
                  <a:lnTo>
                    <a:pt x="660" y="1352"/>
                  </a:lnTo>
                  <a:lnTo>
                    <a:pt x="650" y="1353"/>
                  </a:lnTo>
                  <a:lnTo>
                    <a:pt x="648" y="1371"/>
                  </a:lnTo>
                  <a:lnTo>
                    <a:pt x="661" y="1380"/>
                  </a:lnTo>
                  <a:lnTo>
                    <a:pt x="662" y="1392"/>
                  </a:lnTo>
                  <a:lnTo>
                    <a:pt x="657" y="1407"/>
                  </a:lnTo>
                  <a:lnTo>
                    <a:pt x="659" y="1417"/>
                  </a:lnTo>
                  <a:lnTo>
                    <a:pt x="650" y="1423"/>
                  </a:lnTo>
                  <a:lnTo>
                    <a:pt x="628" y="1424"/>
                  </a:lnTo>
                  <a:lnTo>
                    <a:pt x="619" y="1439"/>
                  </a:lnTo>
                  <a:lnTo>
                    <a:pt x="613" y="1441"/>
                  </a:lnTo>
                  <a:lnTo>
                    <a:pt x="610" y="1459"/>
                  </a:lnTo>
                  <a:lnTo>
                    <a:pt x="610" y="1461"/>
                  </a:lnTo>
                  <a:lnTo>
                    <a:pt x="611" y="1459"/>
                  </a:lnTo>
                  <a:lnTo>
                    <a:pt x="621" y="1462"/>
                  </a:lnTo>
                  <a:lnTo>
                    <a:pt x="631" y="1455"/>
                  </a:lnTo>
                  <a:lnTo>
                    <a:pt x="643" y="1453"/>
                  </a:lnTo>
                  <a:lnTo>
                    <a:pt x="647" y="1458"/>
                  </a:lnTo>
                  <a:lnTo>
                    <a:pt x="644" y="1464"/>
                  </a:lnTo>
                  <a:lnTo>
                    <a:pt x="620" y="1476"/>
                  </a:lnTo>
                  <a:lnTo>
                    <a:pt x="609" y="1482"/>
                  </a:lnTo>
                  <a:lnTo>
                    <a:pt x="614" y="1486"/>
                  </a:lnTo>
                  <a:lnTo>
                    <a:pt x="620" y="1486"/>
                  </a:lnTo>
                  <a:lnTo>
                    <a:pt x="614" y="1492"/>
                  </a:lnTo>
                  <a:lnTo>
                    <a:pt x="603" y="1490"/>
                  </a:lnTo>
                  <a:lnTo>
                    <a:pt x="587" y="1492"/>
                  </a:lnTo>
                  <a:lnTo>
                    <a:pt x="593" y="1504"/>
                  </a:lnTo>
                  <a:lnTo>
                    <a:pt x="601" y="1510"/>
                  </a:lnTo>
                  <a:lnTo>
                    <a:pt x="605" y="1507"/>
                  </a:lnTo>
                  <a:lnTo>
                    <a:pt x="608" y="1511"/>
                  </a:lnTo>
                  <a:lnTo>
                    <a:pt x="617" y="1514"/>
                  </a:lnTo>
                  <a:lnTo>
                    <a:pt x="617" y="1517"/>
                  </a:lnTo>
                  <a:lnTo>
                    <a:pt x="611" y="1519"/>
                  </a:lnTo>
                  <a:lnTo>
                    <a:pt x="607" y="1524"/>
                  </a:lnTo>
                  <a:lnTo>
                    <a:pt x="601" y="1522"/>
                  </a:lnTo>
                  <a:lnTo>
                    <a:pt x="597" y="1526"/>
                  </a:lnTo>
                  <a:lnTo>
                    <a:pt x="597" y="1528"/>
                  </a:lnTo>
                  <a:lnTo>
                    <a:pt x="587" y="1537"/>
                  </a:lnTo>
                  <a:lnTo>
                    <a:pt x="587" y="1547"/>
                  </a:lnTo>
                  <a:lnTo>
                    <a:pt x="592" y="1549"/>
                  </a:lnTo>
                  <a:lnTo>
                    <a:pt x="590" y="1561"/>
                  </a:lnTo>
                  <a:lnTo>
                    <a:pt x="581" y="1560"/>
                  </a:lnTo>
                  <a:lnTo>
                    <a:pt x="579" y="1561"/>
                  </a:lnTo>
                  <a:lnTo>
                    <a:pt x="572" y="1556"/>
                  </a:lnTo>
                  <a:lnTo>
                    <a:pt x="562" y="1554"/>
                  </a:lnTo>
                  <a:lnTo>
                    <a:pt x="561" y="1557"/>
                  </a:lnTo>
                  <a:lnTo>
                    <a:pt x="564" y="1563"/>
                  </a:lnTo>
                  <a:lnTo>
                    <a:pt x="557" y="1566"/>
                  </a:lnTo>
                  <a:lnTo>
                    <a:pt x="551" y="1571"/>
                  </a:lnTo>
                  <a:lnTo>
                    <a:pt x="562" y="1572"/>
                  </a:lnTo>
                  <a:lnTo>
                    <a:pt x="567" y="1572"/>
                  </a:lnTo>
                  <a:lnTo>
                    <a:pt x="580" y="1582"/>
                  </a:lnTo>
                  <a:lnTo>
                    <a:pt x="580" y="1588"/>
                  </a:lnTo>
                  <a:lnTo>
                    <a:pt x="591" y="1597"/>
                  </a:lnTo>
                  <a:lnTo>
                    <a:pt x="608" y="1596"/>
                  </a:lnTo>
                  <a:lnTo>
                    <a:pt x="625" y="1606"/>
                  </a:lnTo>
                  <a:lnTo>
                    <a:pt x="638" y="1608"/>
                  </a:lnTo>
                  <a:lnTo>
                    <a:pt x="667" y="1627"/>
                  </a:lnTo>
                  <a:lnTo>
                    <a:pt x="673" y="1637"/>
                  </a:lnTo>
                  <a:lnTo>
                    <a:pt x="682" y="1641"/>
                  </a:lnTo>
                  <a:lnTo>
                    <a:pt x="684" y="1646"/>
                  </a:lnTo>
                  <a:lnTo>
                    <a:pt x="691" y="1650"/>
                  </a:lnTo>
                  <a:lnTo>
                    <a:pt x="698" y="1652"/>
                  </a:lnTo>
                  <a:lnTo>
                    <a:pt x="701" y="1657"/>
                  </a:lnTo>
                  <a:lnTo>
                    <a:pt x="711" y="1660"/>
                  </a:lnTo>
                  <a:lnTo>
                    <a:pt x="715" y="1660"/>
                  </a:lnTo>
                  <a:lnTo>
                    <a:pt x="723" y="1670"/>
                  </a:lnTo>
                  <a:lnTo>
                    <a:pt x="731" y="1671"/>
                  </a:lnTo>
                  <a:lnTo>
                    <a:pt x="736" y="1673"/>
                  </a:lnTo>
                  <a:lnTo>
                    <a:pt x="741" y="1670"/>
                  </a:lnTo>
                  <a:lnTo>
                    <a:pt x="753" y="1679"/>
                  </a:lnTo>
                  <a:lnTo>
                    <a:pt x="753" y="1684"/>
                  </a:lnTo>
                  <a:lnTo>
                    <a:pt x="764" y="1687"/>
                  </a:lnTo>
                  <a:lnTo>
                    <a:pt x="775" y="1700"/>
                  </a:lnTo>
                  <a:lnTo>
                    <a:pt x="779" y="1706"/>
                  </a:lnTo>
                  <a:lnTo>
                    <a:pt x="782" y="1723"/>
                  </a:lnTo>
                  <a:lnTo>
                    <a:pt x="790" y="1736"/>
                  </a:lnTo>
                  <a:lnTo>
                    <a:pt x="787" y="1741"/>
                  </a:lnTo>
                  <a:lnTo>
                    <a:pt x="789" y="1748"/>
                  </a:lnTo>
                  <a:lnTo>
                    <a:pt x="788" y="1751"/>
                  </a:lnTo>
                  <a:lnTo>
                    <a:pt x="788" y="1751"/>
                  </a:lnTo>
                  <a:lnTo>
                    <a:pt x="794" y="1751"/>
                  </a:lnTo>
                  <a:lnTo>
                    <a:pt x="795" y="1758"/>
                  </a:lnTo>
                  <a:lnTo>
                    <a:pt x="801" y="1760"/>
                  </a:lnTo>
                  <a:lnTo>
                    <a:pt x="805" y="1754"/>
                  </a:lnTo>
                  <a:lnTo>
                    <a:pt x="817" y="1759"/>
                  </a:lnTo>
                  <a:lnTo>
                    <a:pt x="823" y="1758"/>
                  </a:lnTo>
                  <a:lnTo>
                    <a:pt x="829" y="1753"/>
                  </a:lnTo>
                  <a:lnTo>
                    <a:pt x="836" y="1754"/>
                  </a:lnTo>
                  <a:lnTo>
                    <a:pt x="856" y="1770"/>
                  </a:lnTo>
                  <a:lnTo>
                    <a:pt x="864" y="1771"/>
                  </a:lnTo>
                  <a:lnTo>
                    <a:pt x="865" y="1773"/>
                  </a:lnTo>
                  <a:lnTo>
                    <a:pt x="880" y="1768"/>
                  </a:lnTo>
                  <a:lnTo>
                    <a:pt x="900" y="1764"/>
                  </a:lnTo>
                  <a:lnTo>
                    <a:pt x="906" y="1765"/>
                  </a:lnTo>
                  <a:lnTo>
                    <a:pt x="932" y="1764"/>
                  </a:lnTo>
                  <a:lnTo>
                    <a:pt x="943" y="1774"/>
                  </a:lnTo>
                  <a:lnTo>
                    <a:pt x="934" y="1767"/>
                  </a:lnTo>
                  <a:lnTo>
                    <a:pt x="935" y="1759"/>
                  </a:lnTo>
                  <a:lnTo>
                    <a:pt x="952" y="1753"/>
                  </a:lnTo>
                  <a:lnTo>
                    <a:pt x="978" y="1767"/>
                  </a:lnTo>
                  <a:lnTo>
                    <a:pt x="996" y="1768"/>
                  </a:lnTo>
                  <a:lnTo>
                    <a:pt x="1012" y="1775"/>
                  </a:lnTo>
                  <a:lnTo>
                    <a:pt x="1015" y="1760"/>
                  </a:lnTo>
                  <a:lnTo>
                    <a:pt x="1008" y="1752"/>
                  </a:lnTo>
                  <a:lnTo>
                    <a:pt x="996" y="1745"/>
                  </a:lnTo>
                  <a:lnTo>
                    <a:pt x="1001" y="1730"/>
                  </a:lnTo>
                  <a:lnTo>
                    <a:pt x="1014" y="1731"/>
                  </a:lnTo>
                  <a:lnTo>
                    <a:pt x="1036" y="1747"/>
                  </a:lnTo>
                  <a:lnTo>
                    <a:pt x="1042" y="1757"/>
                  </a:lnTo>
                  <a:lnTo>
                    <a:pt x="1062" y="1759"/>
                  </a:lnTo>
                  <a:lnTo>
                    <a:pt x="1066" y="1752"/>
                  </a:lnTo>
                  <a:lnTo>
                    <a:pt x="1079" y="1745"/>
                  </a:lnTo>
                  <a:lnTo>
                    <a:pt x="1095" y="1728"/>
                  </a:lnTo>
                  <a:lnTo>
                    <a:pt x="1095" y="1727"/>
                  </a:lnTo>
                  <a:lnTo>
                    <a:pt x="1091" y="1724"/>
                  </a:lnTo>
                  <a:lnTo>
                    <a:pt x="1067" y="1706"/>
                  </a:lnTo>
                  <a:lnTo>
                    <a:pt x="1050" y="1688"/>
                  </a:lnTo>
                  <a:lnTo>
                    <a:pt x="1047" y="1676"/>
                  </a:lnTo>
                  <a:lnTo>
                    <a:pt x="1039" y="1669"/>
                  </a:lnTo>
                  <a:lnTo>
                    <a:pt x="1038" y="1657"/>
                  </a:lnTo>
                  <a:lnTo>
                    <a:pt x="1036" y="1650"/>
                  </a:lnTo>
                  <a:lnTo>
                    <a:pt x="1034" y="1646"/>
                  </a:lnTo>
                  <a:lnTo>
                    <a:pt x="1028" y="1646"/>
                  </a:lnTo>
                  <a:lnTo>
                    <a:pt x="1030" y="1638"/>
                  </a:lnTo>
                  <a:lnTo>
                    <a:pt x="1034" y="1641"/>
                  </a:lnTo>
                  <a:lnTo>
                    <a:pt x="1037" y="1632"/>
                  </a:lnTo>
                  <a:lnTo>
                    <a:pt x="1041" y="1626"/>
                  </a:lnTo>
                  <a:lnTo>
                    <a:pt x="1034" y="1626"/>
                  </a:lnTo>
                  <a:lnTo>
                    <a:pt x="1030" y="1630"/>
                  </a:lnTo>
                  <a:lnTo>
                    <a:pt x="1020" y="1624"/>
                  </a:lnTo>
                  <a:lnTo>
                    <a:pt x="1020" y="1611"/>
                  </a:lnTo>
                  <a:lnTo>
                    <a:pt x="1012" y="1608"/>
                  </a:lnTo>
                  <a:lnTo>
                    <a:pt x="1005" y="1601"/>
                  </a:lnTo>
                  <a:lnTo>
                    <a:pt x="999" y="1603"/>
                  </a:lnTo>
                  <a:lnTo>
                    <a:pt x="992" y="1602"/>
                  </a:lnTo>
                  <a:lnTo>
                    <a:pt x="987" y="1588"/>
                  </a:lnTo>
                  <a:lnTo>
                    <a:pt x="990" y="1580"/>
                  </a:lnTo>
                  <a:lnTo>
                    <a:pt x="996" y="1577"/>
                  </a:lnTo>
                  <a:lnTo>
                    <a:pt x="996" y="1562"/>
                  </a:lnTo>
                  <a:lnTo>
                    <a:pt x="999" y="1555"/>
                  </a:lnTo>
                  <a:lnTo>
                    <a:pt x="1002" y="1547"/>
                  </a:lnTo>
                  <a:lnTo>
                    <a:pt x="1007" y="1543"/>
                  </a:lnTo>
                  <a:lnTo>
                    <a:pt x="1009" y="1534"/>
                  </a:lnTo>
                  <a:lnTo>
                    <a:pt x="1013" y="1527"/>
                  </a:lnTo>
                  <a:lnTo>
                    <a:pt x="1014" y="1522"/>
                  </a:lnTo>
                  <a:lnTo>
                    <a:pt x="1018" y="1524"/>
                  </a:lnTo>
                  <a:lnTo>
                    <a:pt x="1022" y="1527"/>
                  </a:lnTo>
                  <a:lnTo>
                    <a:pt x="1026" y="1525"/>
                  </a:lnTo>
                  <a:lnTo>
                    <a:pt x="1028" y="1520"/>
                  </a:lnTo>
                  <a:lnTo>
                    <a:pt x="1032" y="1524"/>
                  </a:lnTo>
                  <a:lnTo>
                    <a:pt x="1037" y="1521"/>
                  </a:lnTo>
                  <a:lnTo>
                    <a:pt x="1043" y="1521"/>
                  </a:lnTo>
                  <a:lnTo>
                    <a:pt x="1049" y="1516"/>
                  </a:lnTo>
                  <a:lnTo>
                    <a:pt x="1048" y="1513"/>
                  </a:lnTo>
                  <a:lnTo>
                    <a:pt x="1041" y="1511"/>
                  </a:lnTo>
                  <a:lnTo>
                    <a:pt x="1045" y="1510"/>
                  </a:lnTo>
                  <a:lnTo>
                    <a:pt x="1045" y="1510"/>
                  </a:lnTo>
                  <a:lnTo>
                    <a:pt x="1049" y="1513"/>
                  </a:lnTo>
                  <a:lnTo>
                    <a:pt x="1049" y="1513"/>
                  </a:lnTo>
                  <a:lnTo>
                    <a:pt x="1056" y="1510"/>
                  </a:lnTo>
                  <a:lnTo>
                    <a:pt x="1061" y="1514"/>
                  </a:lnTo>
                  <a:lnTo>
                    <a:pt x="1065" y="1511"/>
                  </a:lnTo>
                  <a:lnTo>
                    <a:pt x="1062" y="1507"/>
                  </a:lnTo>
                  <a:lnTo>
                    <a:pt x="1049" y="1501"/>
                  </a:lnTo>
                  <a:lnTo>
                    <a:pt x="1055" y="1499"/>
                  </a:lnTo>
                  <a:lnTo>
                    <a:pt x="1064" y="1501"/>
                  </a:lnTo>
                  <a:lnTo>
                    <a:pt x="1067" y="1501"/>
                  </a:lnTo>
                  <a:lnTo>
                    <a:pt x="1074" y="1502"/>
                  </a:lnTo>
                  <a:lnTo>
                    <a:pt x="1074" y="1497"/>
                  </a:lnTo>
                  <a:lnTo>
                    <a:pt x="1070" y="1495"/>
                  </a:lnTo>
                  <a:lnTo>
                    <a:pt x="1074" y="1493"/>
                  </a:lnTo>
                  <a:lnTo>
                    <a:pt x="1074" y="1490"/>
                  </a:lnTo>
                  <a:lnTo>
                    <a:pt x="1071" y="1486"/>
                  </a:lnTo>
                  <a:lnTo>
                    <a:pt x="1078" y="1485"/>
                  </a:lnTo>
                  <a:lnTo>
                    <a:pt x="1078" y="1480"/>
                  </a:lnTo>
                  <a:lnTo>
                    <a:pt x="1078" y="1478"/>
                  </a:lnTo>
                  <a:lnTo>
                    <a:pt x="1079" y="1478"/>
                  </a:lnTo>
                  <a:lnTo>
                    <a:pt x="1079" y="1478"/>
                  </a:lnTo>
                  <a:lnTo>
                    <a:pt x="1067" y="1470"/>
                  </a:lnTo>
                  <a:lnTo>
                    <a:pt x="1056" y="1474"/>
                  </a:lnTo>
                  <a:lnTo>
                    <a:pt x="1039" y="1464"/>
                  </a:lnTo>
                  <a:lnTo>
                    <a:pt x="1039" y="1457"/>
                  </a:lnTo>
                  <a:lnTo>
                    <a:pt x="1057" y="1457"/>
                  </a:lnTo>
                  <a:lnTo>
                    <a:pt x="1039" y="1429"/>
                  </a:lnTo>
                  <a:lnTo>
                    <a:pt x="1018" y="1411"/>
                  </a:lnTo>
                  <a:lnTo>
                    <a:pt x="987" y="1404"/>
                  </a:lnTo>
                  <a:lnTo>
                    <a:pt x="984" y="1410"/>
                  </a:lnTo>
                  <a:lnTo>
                    <a:pt x="969" y="1398"/>
                  </a:lnTo>
                  <a:lnTo>
                    <a:pt x="973" y="1392"/>
                  </a:lnTo>
                  <a:lnTo>
                    <a:pt x="964" y="1381"/>
                  </a:lnTo>
                  <a:lnTo>
                    <a:pt x="945" y="1374"/>
                  </a:lnTo>
                  <a:lnTo>
                    <a:pt x="952" y="1359"/>
                  </a:lnTo>
                  <a:lnTo>
                    <a:pt x="956" y="1334"/>
                  </a:lnTo>
                  <a:lnTo>
                    <a:pt x="950" y="1328"/>
                  </a:lnTo>
                  <a:lnTo>
                    <a:pt x="947" y="1307"/>
                  </a:lnTo>
                  <a:lnTo>
                    <a:pt x="956" y="1304"/>
                  </a:lnTo>
                  <a:lnTo>
                    <a:pt x="968" y="1289"/>
                  </a:lnTo>
                  <a:lnTo>
                    <a:pt x="968" y="1279"/>
                  </a:lnTo>
                  <a:lnTo>
                    <a:pt x="975" y="1271"/>
                  </a:lnTo>
                  <a:lnTo>
                    <a:pt x="999" y="1291"/>
                  </a:lnTo>
                  <a:lnTo>
                    <a:pt x="1003" y="1299"/>
                  </a:lnTo>
                  <a:lnTo>
                    <a:pt x="1016" y="1306"/>
                  </a:lnTo>
                  <a:lnTo>
                    <a:pt x="1031" y="1305"/>
                  </a:lnTo>
                  <a:lnTo>
                    <a:pt x="1028" y="1293"/>
                  </a:lnTo>
                  <a:lnTo>
                    <a:pt x="1034" y="1289"/>
                  </a:lnTo>
                  <a:lnTo>
                    <a:pt x="1024" y="1255"/>
                  </a:lnTo>
                  <a:lnTo>
                    <a:pt x="1038" y="1254"/>
                  </a:lnTo>
                  <a:lnTo>
                    <a:pt x="1053" y="1254"/>
                  </a:lnTo>
                  <a:lnTo>
                    <a:pt x="1053" y="1244"/>
                  </a:lnTo>
                  <a:lnTo>
                    <a:pt x="1047" y="1236"/>
                  </a:lnTo>
                  <a:lnTo>
                    <a:pt x="1049" y="1227"/>
                  </a:lnTo>
                  <a:lnTo>
                    <a:pt x="1064" y="1219"/>
                  </a:lnTo>
                  <a:lnTo>
                    <a:pt x="1070" y="1219"/>
                  </a:lnTo>
                  <a:lnTo>
                    <a:pt x="1073" y="1208"/>
                  </a:lnTo>
                  <a:lnTo>
                    <a:pt x="1080" y="1203"/>
                  </a:lnTo>
                  <a:lnTo>
                    <a:pt x="1090" y="1206"/>
                  </a:lnTo>
                  <a:lnTo>
                    <a:pt x="1091" y="1198"/>
                  </a:lnTo>
                  <a:lnTo>
                    <a:pt x="1089" y="1190"/>
                  </a:lnTo>
                  <a:lnTo>
                    <a:pt x="1091" y="1185"/>
                  </a:lnTo>
                  <a:lnTo>
                    <a:pt x="1105" y="1192"/>
                  </a:lnTo>
                  <a:lnTo>
                    <a:pt x="1115" y="1196"/>
                  </a:lnTo>
                  <a:lnTo>
                    <a:pt x="1114" y="1202"/>
                  </a:lnTo>
                  <a:lnTo>
                    <a:pt x="1108" y="1208"/>
                  </a:lnTo>
                  <a:lnTo>
                    <a:pt x="1113" y="1213"/>
                  </a:lnTo>
                  <a:lnTo>
                    <a:pt x="1122" y="1208"/>
                  </a:lnTo>
                  <a:lnTo>
                    <a:pt x="1124" y="1202"/>
                  </a:lnTo>
                  <a:lnTo>
                    <a:pt x="1130" y="1198"/>
                  </a:lnTo>
                  <a:lnTo>
                    <a:pt x="1131" y="1206"/>
                  </a:lnTo>
                  <a:lnTo>
                    <a:pt x="1136" y="1200"/>
                  </a:lnTo>
                  <a:lnTo>
                    <a:pt x="1138" y="1195"/>
                  </a:lnTo>
                  <a:lnTo>
                    <a:pt x="1147" y="1194"/>
                  </a:lnTo>
                  <a:lnTo>
                    <a:pt x="1157" y="1188"/>
                  </a:lnTo>
                  <a:lnTo>
                    <a:pt x="1165" y="1188"/>
                  </a:lnTo>
                  <a:lnTo>
                    <a:pt x="1170" y="1198"/>
                  </a:lnTo>
                  <a:lnTo>
                    <a:pt x="1180" y="1204"/>
                  </a:lnTo>
                  <a:lnTo>
                    <a:pt x="1196" y="1201"/>
                  </a:lnTo>
                  <a:lnTo>
                    <a:pt x="1204" y="1201"/>
                  </a:lnTo>
                  <a:lnTo>
                    <a:pt x="1209" y="1207"/>
                  </a:lnTo>
                  <a:lnTo>
                    <a:pt x="1215" y="1207"/>
                  </a:lnTo>
                  <a:lnTo>
                    <a:pt x="1223" y="1218"/>
                  </a:lnTo>
                  <a:lnTo>
                    <a:pt x="1233" y="1218"/>
                  </a:lnTo>
                  <a:lnTo>
                    <a:pt x="1240" y="1226"/>
                  </a:lnTo>
                  <a:lnTo>
                    <a:pt x="1253" y="1235"/>
                  </a:lnTo>
                  <a:lnTo>
                    <a:pt x="1261" y="1236"/>
                  </a:lnTo>
                  <a:lnTo>
                    <a:pt x="1264" y="1242"/>
                  </a:lnTo>
                  <a:lnTo>
                    <a:pt x="1265" y="1252"/>
                  </a:lnTo>
                  <a:lnTo>
                    <a:pt x="1270" y="1253"/>
                  </a:lnTo>
                  <a:lnTo>
                    <a:pt x="1276" y="1244"/>
                  </a:lnTo>
                  <a:lnTo>
                    <a:pt x="1275" y="123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05" name="Freeform 6"/>
            <p:cNvSpPr>
              <a:spLocks/>
            </p:cNvSpPr>
            <p:nvPr/>
          </p:nvSpPr>
          <p:spPr bwMode="auto">
            <a:xfrm>
              <a:off x="4868863" y="1839913"/>
              <a:ext cx="20638" cy="17463"/>
            </a:xfrm>
            <a:custGeom>
              <a:avLst/>
              <a:gdLst/>
              <a:ahLst/>
              <a:cxnLst>
                <a:cxn ang="0">
                  <a:pos x="13" y="7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10" y="11"/>
                </a:cxn>
                <a:cxn ang="0">
                  <a:pos x="13" y="7"/>
                </a:cxn>
              </a:cxnLst>
              <a:rect l="0" t="0" r="r" b="b"/>
              <a:pathLst>
                <a:path w="13" h="11">
                  <a:moveTo>
                    <a:pt x="13" y="7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7"/>
                  </a:lnTo>
                  <a:lnTo>
                    <a:pt x="10" y="11"/>
                  </a:lnTo>
                  <a:lnTo>
                    <a:pt x="13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06" name="Freeform 7"/>
            <p:cNvSpPr>
              <a:spLocks/>
            </p:cNvSpPr>
            <p:nvPr/>
          </p:nvSpPr>
          <p:spPr bwMode="auto">
            <a:xfrm>
              <a:off x="5603875" y="1076325"/>
              <a:ext cx="17463" cy="17463"/>
            </a:xfrm>
            <a:custGeom>
              <a:avLst/>
              <a:gdLst/>
              <a:ahLst/>
              <a:cxnLst>
                <a:cxn ang="0">
                  <a:pos x="11" y="10"/>
                </a:cxn>
                <a:cxn ang="0">
                  <a:pos x="10" y="5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0" y="5"/>
                </a:cxn>
                <a:cxn ang="0">
                  <a:pos x="6" y="11"/>
                </a:cxn>
                <a:cxn ang="0">
                  <a:pos x="11" y="10"/>
                </a:cxn>
              </a:cxnLst>
              <a:rect l="0" t="0" r="r" b="b"/>
              <a:pathLst>
                <a:path w="11" h="11">
                  <a:moveTo>
                    <a:pt x="11" y="10"/>
                  </a:moveTo>
                  <a:lnTo>
                    <a:pt x="10" y="5"/>
                  </a:lnTo>
                  <a:lnTo>
                    <a:pt x="5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6" y="11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07" name="Freeform 8"/>
            <p:cNvSpPr>
              <a:spLocks/>
            </p:cNvSpPr>
            <p:nvPr/>
          </p:nvSpPr>
          <p:spPr bwMode="auto">
            <a:xfrm>
              <a:off x="5213350" y="1282700"/>
              <a:ext cx="22225" cy="33338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7" y="17"/>
                </a:cxn>
                <a:cxn ang="0">
                  <a:pos x="10" y="21"/>
                </a:cxn>
                <a:cxn ang="0">
                  <a:pos x="13" y="21"/>
                </a:cxn>
                <a:cxn ang="0">
                  <a:pos x="14" y="17"/>
                </a:cxn>
                <a:cxn ang="0">
                  <a:pos x="10" y="10"/>
                </a:cxn>
                <a:cxn ang="0">
                  <a:pos x="13" y="6"/>
                </a:cxn>
                <a:cxn ang="0">
                  <a:pos x="12" y="2"/>
                </a:cxn>
              </a:cxnLst>
              <a:rect l="0" t="0" r="r" b="b"/>
              <a:pathLst>
                <a:path w="14" h="21">
                  <a:moveTo>
                    <a:pt x="12" y="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1" y="11"/>
                  </a:lnTo>
                  <a:lnTo>
                    <a:pt x="7" y="17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4" y="17"/>
                  </a:lnTo>
                  <a:lnTo>
                    <a:pt x="10" y="10"/>
                  </a:lnTo>
                  <a:lnTo>
                    <a:pt x="13" y="6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08" name="Freeform 9"/>
            <p:cNvSpPr>
              <a:spLocks noEditPoints="1"/>
            </p:cNvSpPr>
            <p:nvPr/>
          </p:nvSpPr>
          <p:spPr bwMode="auto">
            <a:xfrm>
              <a:off x="3611563" y="2132013"/>
              <a:ext cx="460375" cy="323850"/>
            </a:xfrm>
            <a:custGeom>
              <a:avLst/>
              <a:gdLst/>
              <a:ahLst/>
              <a:cxnLst>
                <a:cxn ang="0">
                  <a:pos x="226" y="197"/>
                </a:cxn>
                <a:cxn ang="0">
                  <a:pos x="229" y="181"/>
                </a:cxn>
                <a:cxn ang="0">
                  <a:pos x="209" y="182"/>
                </a:cxn>
                <a:cxn ang="0">
                  <a:pos x="209" y="193"/>
                </a:cxn>
                <a:cxn ang="0">
                  <a:pos x="270" y="152"/>
                </a:cxn>
                <a:cxn ang="0">
                  <a:pos x="281" y="146"/>
                </a:cxn>
                <a:cxn ang="0">
                  <a:pos x="180" y="131"/>
                </a:cxn>
                <a:cxn ang="0">
                  <a:pos x="160" y="163"/>
                </a:cxn>
                <a:cxn ang="0">
                  <a:pos x="152" y="151"/>
                </a:cxn>
                <a:cxn ang="0">
                  <a:pos x="131" y="134"/>
                </a:cxn>
                <a:cxn ang="0">
                  <a:pos x="135" y="115"/>
                </a:cxn>
                <a:cxn ang="0">
                  <a:pos x="153" y="127"/>
                </a:cxn>
                <a:cxn ang="0">
                  <a:pos x="153" y="117"/>
                </a:cxn>
                <a:cxn ang="0">
                  <a:pos x="177" y="102"/>
                </a:cxn>
                <a:cxn ang="0">
                  <a:pos x="168" y="133"/>
                </a:cxn>
                <a:cxn ang="0">
                  <a:pos x="174" y="150"/>
                </a:cxn>
                <a:cxn ang="0">
                  <a:pos x="160" y="163"/>
                </a:cxn>
                <a:cxn ang="0">
                  <a:pos x="177" y="162"/>
                </a:cxn>
                <a:cxn ang="0">
                  <a:pos x="166" y="165"/>
                </a:cxn>
                <a:cxn ang="0">
                  <a:pos x="151" y="174"/>
                </a:cxn>
                <a:cxn ang="0">
                  <a:pos x="164" y="173"/>
                </a:cxn>
                <a:cxn ang="0">
                  <a:pos x="155" y="179"/>
                </a:cxn>
                <a:cxn ang="0">
                  <a:pos x="122" y="176"/>
                </a:cxn>
                <a:cxn ang="0">
                  <a:pos x="131" y="164"/>
                </a:cxn>
                <a:cxn ang="0">
                  <a:pos x="104" y="105"/>
                </a:cxn>
                <a:cxn ang="0">
                  <a:pos x="99" y="123"/>
                </a:cxn>
                <a:cxn ang="0">
                  <a:pos x="94" y="168"/>
                </a:cxn>
                <a:cxn ang="0">
                  <a:pos x="110" y="171"/>
                </a:cxn>
                <a:cxn ang="0">
                  <a:pos x="120" y="160"/>
                </a:cxn>
                <a:cxn ang="0">
                  <a:pos x="73" y="133"/>
                </a:cxn>
                <a:cxn ang="0">
                  <a:pos x="110" y="146"/>
                </a:cxn>
                <a:cxn ang="0">
                  <a:pos x="91" y="160"/>
                </a:cxn>
                <a:cxn ang="0">
                  <a:pos x="73" y="133"/>
                </a:cxn>
                <a:cxn ang="0">
                  <a:pos x="124" y="24"/>
                </a:cxn>
                <a:cxn ang="0">
                  <a:pos x="27" y="67"/>
                </a:cxn>
                <a:cxn ang="0">
                  <a:pos x="39" y="58"/>
                </a:cxn>
                <a:cxn ang="0">
                  <a:pos x="25" y="72"/>
                </a:cxn>
                <a:cxn ang="0">
                  <a:pos x="42" y="48"/>
                </a:cxn>
                <a:cxn ang="0">
                  <a:pos x="76" y="47"/>
                </a:cxn>
                <a:cxn ang="0">
                  <a:pos x="95" y="25"/>
                </a:cxn>
                <a:cxn ang="0">
                  <a:pos x="100" y="0"/>
                </a:cxn>
                <a:cxn ang="0">
                  <a:pos x="62" y="24"/>
                </a:cxn>
                <a:cxn ang="0">
                  <a:pos x="27" y="47"/>
                </a:cxn>
                <a:cxn ang="0">
                  <a:pos x="7" y="61"/>
                </a:cxn>
                <a:cxn ang="0">
                  <a:pos x="25" y="72"/>
                </a:cxn>
                <a:cxn ang="0">
                  <a:pos x="60" y="159"/>
                </a:cxn>
                <a:cxn ang="0">
                  <a:pos x="64" y="142"/>
                </a:cxn>
                <a:cxn ang="0">
                  <a:pos x="73" y="124"/>
                </a:cxn>
                <a:cxn ang="0">
                  <a:pos x="93" y="106"/>
                </a:cxn>
                <a:cxn ang="0">
                  <a:pos x="107" y="98"/>
                </a:cxn>
                <a:cxn ang="0">
                  <a:pos x="119" y="86"/>
                </a:cxn>
                <a:cxn ang="0">
                  <a:pos x="91" y="76"/>
                </a:cxn>
                <a:cxn ang="0">
                  <a:pos x="85" y="55"/>
                </a:cxn>
                <a:cxn ang="0">
                  <a:pos x="49" y="53"/>
                </a:cxn>
                <a:cxn ang="0">
                  <a:pos x="59" y="76"/>
                </a:cxn>
                <a:cxn ang="0">
                  <a:pos x="42" y="75"/>
                </a:cxn>
                <a:cxn ang="0">
                  <a:pos x="32" y="71"/>
                </a:cxn>
                <a:cxn ang="0">
                  <a:pos x="15" y="76"/>
                </a:cxn>
                <a:cxn ang="0">
                  <a:pos x="13" y="94"/>
                </a:cxn>
                <a:cxn ang="0">
                  <a:pos x="12" y="105"/>
                </a:cxn>
                <a:cxn ang="0">
                  <a:pos x="0" y="136"/>
                </a:cxn>
                <a:cxn ang="0">
                  <a:pos x="25" y="157"/>
                </a:cxn>
                <a:cxn ang="0">
                  <a:pos x="52" y="169"/>
                </a:cxn>
              </a:cxnLst>
              <a:rect l="0" t="0" r="r" b="b"/>
              <a:pathLst>
                <a:path w="290" h="204">
                  <a:moveTo>
                    <a:pt x="207" y="199"/>
                  </a:moveTo>
                  <a:lnTo>
                    <a:pt x="210" y="202"/>
                  </a:lnTo>
                  <a:lnTo>
                    <a:pt x="220" y="204"/>
                  </a:lnTo>
                  <a:lnTo>
                    <a:pt x="226" y="197"/>
                  </a:lnTo>
                  <a:lnTo>
                    <a:pt x="230" y="198"/>
                  </a:lnTo>
                  <a:lnTo>
                    <a:pt x="232" y="194"/>
                  </a:lnTo>
                  <a:lnTo>
                    <a:pt x="227" y="188"/>
                  </a:lnTo>
                  <a:lnTo>
                    <a:pt x="229" y="181"/>
                  </a:lnTo>
                  <a:lnTo>
                    <a:pt x="222" y="180"/>
                  </a:lnTo>
                  <a:lnTo>
                    <a:pt x="220" y="182"/>
                  </a:lnTo>
                  <a:lnTo>
                    <a:pt x="216" y="180"/>
                  </a:lnTo>
                  <a:lnTo>
                    <a:pt x="209" y="182"/>
                  </a:lnTo>
                  <a:lnTo>
                    <a:pt x="210" y="187"/>
                  </a:lnTo>
                  <a:lnTo>
                    <a:pt x="217" y="187"/>
                  </a:lnTo>
                  <a:lnTo>
                    <a:pt x="215" y="190"/>
                  </a:lnTo>
                  <a:lnTo>
                    <a:pt x="209" y="193"/>
                  </a:lnTo>
                  <a:lnTo>
                    <a:pt x="207" y="199"/>
                  </a:lnTo>
                  <a:lnTo>
                    <a:pt x="207" y="199"/>
                  </a:lnTo>
                  <a:close/>
                  <a:moveTo>
                    <a:pt x="273" y="141"/>
                  </a:moveTo>
                  <a:lnTo>
                    <a:pt x="270" y="152"/>
                  </a:lnTo>
                  <a:lnTo>
                    <a:pt x="273" y="159"/>
                  </a:lnTo>
                  <a:lnTo>
                    <a:pt x="287" y="164"/>
                  </a:lnTo>
                  <a:lnTo>
                    <a:pt x="290" y="157"/>
                  </a:lnTo>
                  <a:lnTo>
                    <a:pt x="281" y="146"/>
                  </a:lnTo>
                  <a:lnTo>
                    <a:pt x="273" y="141"/>
                  </a:lnTo>
                  <a:lnTo>
                    <a:pt x="273" y="141"/>
                  </a:lnTo>
                  <a:close/>
                  <a:moveTo>
                    <a:pt x="183" y="122"/>
                  </a:moveTo>
                  <a:lnTo>
                    <a:pt x="180" y="131"/>
                  </a:lnTo>
                  <a:lnTo>
                    <a:pt x="186" y="133"/>
                  </a:lnTo>
                  <a:lnTo>
                    <a:pt x="183" y="122"/>
                  </a:lnTo>
                  <a:lnTo>
                    <a:pt x="183" y="122"/>
                  </a:lnTo>
                  <a:close/>
                  <a:moveTo>
                    <a:pt x="160" y="163"/>
                  </a:moveTo>
                  <a:lnTo>
                    <a:pt x="153" y="163"/>
                  </a:lnTo>
                  <a:lnTo>
                    <a:pt x="151" y="159"/>
                  </a:lnTo>
                  <a:lnTo>
                    <a:pt x="154" y="154"/>
                  </a:lnTo>
                  <a:lnTo>
                    <a:pt x="152" y="151"/>
                  </a:lnTo>
                  <a:lnTo>
                    <a:pt x="142" y="148"/>
                  </a:lnTo>
                  <a:lnTo>
                    <a:pt x="136" y="148"/>
                  </a:lnTo>
                  <a:lnTo>
                    <a:pt x="130" y="142"/>
                  </a:lnTo>
                  <a:lnTo>
                    <a:pt x="131" y="134"/>
                  </a:lnTo>
                  <a:lnTo>
                    <a:pt x="128" y="129"/>
                  </a:lnTo>
                  <a:lnTo>
                    <a:pt x="126" y="123"/>
                  </a:lnTo>
                  <a:lnTo>
                    <a:pt x="131" y="122"/>
                  </a:lnTo>
                  <a:lnTo>
                    <a:pt x="135" y="115"/>
                  </a:lnTo>
                  <a:lnTo>
                    <a:pt x="140" y="112"/>
                  </a:lnTo>
                  <a:lnTo>
                    <a:pt x="145" y="117"/>
                  </a:lnTo>
                  <a:lnTo>
                    <a:pt x="145" y="122"/>
                  </a:lnTo>
                  <a:lnTo>
                    <a:pt x="153" y="127"/>
                  </a:lnTo>
                  <a:lnTo>
                    <a:pt x="154" y="124"/>
                  </a:lnTo>
                  <a:lnTo>
                    <a:pt x="159" y="125"/>
                  </a:lnTo>
                  <a:lnTo>
                    <a:pt x="160" y="121"/>
                  </a:lnTo>
                  <a:lnTo>
                    <a:pt x="153" y="117"/>
                  </a:lnTo>
                  <a:lnTo>
                    <a:pt x="149" y="113"/>
                  </a:lnTo>
                  <a:lnTo>
                    <a:pt x="154" y="106"/>
                  </a:lnTo>
                  <a:lnTo>
                    <a:pt x="166" y="102"/>
                  </a:lnTo>
                  <a:lnTo>
                    <a:pt x="177" y="102"/>
                  </a:lnTo>
                  <a:lnTo>
                    <a:pt x="180" y="110"/>
                  </a:lnTo>
                  <a:lnTo>
                    <a:pt x="181" y="118"/>
                  </a:lnTo>
                  <a:lnTo>
                    <a:pt x="177" y="128"/>
                  </a:lnTo>
                  <a:lnTo>
                    <a:pt x="168" y="133"/>
                  </a:lnTo>
                  <a:lnTo>
                    <a:pt x="168" y="135"/>
                  </a:lnTo>
                  <a:lnTo>
                    <a:pt x="176" y="140"/>
                  </a:lnTo>
                  <a:lnTo>
                    <a:pt x="178" y="146"/>
                  </a:lnTo>
                  <a:lnTo>
                    <a:pt x="174" y="150"/>
                  </a:lnTo>
                  <a:lnTo>
                    <a:pt x="164" y="153"/>
                  </a:lnTo>
                  <a:lnTo>
                    <a:pt x="164" y="159"/>
                  </a:lnTo>
                  <a:lnTo>
                    <a:pt x="160" y="163"/>
                  </a:lnTo>
                  <a:lnTo>
                    <a:pt x="160" y="163"/>
                  </a:lnTo>
                  <a:close/>
                  <a:moveTo>
                    <a:pt x="166" y="165"/>
                  </a:moveTo>
                  <a:lnTo>
                    <a:pt x="168" y="169"/>
                  </a:lnTo>
                  <a:lnTo>
                    <a:pt x="171" y="163"/>
                  </a:lnTo>
                  <a:lnTo>
                    <a:pt x="177" y="162"/>
                  </a:lnTo>
                  <a:lnTo>
                    <a:pt x="176" y="158"/>
                  </a:lnTo>
                  <a:lnTo>
                    <a:pt x="170" y="160"/>
                  </a:lnTo>
                  <a:lnTo>
                    <a:pt x="166" y="165"/>
                  </a:lnTo>
                  <a:lnTo>
                    <a:pt x="166" y="165"/>
                  </a:lnTo>
                  <a:close/>
                  <a:moveTo>
                    <a:pt x="131" y="164"/>
                  </a:moveTo>
                  <a:lnTo>
                    <a:pt x="140" y="175"/>
                  </a:lnTo>
                  <a:lnTo>
                    <a:pt x="146" y="174"/>
                  </a:lnTo>
                  <a:lnTo>
                    <a:pt x="151" y="174"/>
                  </a:lnTo>
                  <a:lnTo>
                    <a:pt x="153" y="168"/>
                  </a:lnTo>
                  <a:lnTo>
                    <a:pt x="160" y="168"/>
                  </a:lnTo>
                  <a:lnTo>
                    <a:pt x="163" y="167"/>
                  </a:lnTo>
                  <a:lnTo>
                    <a:pt x="164" y="173"/>
                  </a:lnTo>
                  <a:lnTo>
                    <a:pt x="160" y="180"/>
                  </a:lnTo>
                  <a:lnTo>
                    <a:pt x="160" y="186"/>
                  </a:lnTo>
                  <a:lnTo>
                    <a:pt x="158" y="185"/>
                  </a:lnTo>
                  <a:lnTo>
                    <a:pt x="155" y="179"/>
                  </a:lnTo>
                  <a:lnTo>
                    <a:pt x="151" y="183"/>
                  </a:lnTo>
                  <a:lnTo>
                    <a:pt x="139" y="185"/>
                  </a:lnTo>
                  <a:lnTo>
                    <a:pt x="125" y="181"/>
                  </a:lnTo>
                  <a:lnTo>
                    <a:pt x="122" y="176"/>
                  </a:lnTo>
                  <a:lnTo>
                    <a:pt x="126" y="174"/>
                  </a:lnTo>
                  <a:lnTo>
                    <a:pt x="123" y="170"/>
                  </a:lnTo>
                  <a:lnTo>
                    <a:pt x="126" y="165"/>
                  </a:lnTo>
                  <a:lnTo>
                    <a:pt x="131" y="164"/>
                  </a:lnTo>
                  <a:lnTo>
                    <a:pt x="131" y="164"/>
                  </a:lnTo>
                  <a:close/>
                  <a:moveTo>
                    <a:pt x="99" y="123"/>
                  </a:moveTo>
                  <a:lnTo>
                    <a:pt x="104" y="117"/>
                  </a:lnTo>
                  <a:lnTo>
                    <a:pt x="104" y="105"/>
                  </a:lnTo>
                  <a:lnTo>
                    <a:pt x="107" y="116"/>
                  </a:lnTo>
                  <a:lnTo>
                    <a:pt x="106" y="122"/>
                  </a:lnTo>
                  <a:lnTo>
                    <a:pt x="99" y="123"/>
                  </a:lnTo>
                  <a:lnTo>
                    <a:pt x="99" y="123"/>
                  </a:lnTo>
                  <a:close/>
                  <a:moveTo>
                    <a:pt x="94" y="168"/>
                  </a:moveTo>
                  <a:lnTo>
                    <a:pt x="101" y="174"/>
                  </a:lnTo>
                  <a:lnTo>
                    <a:pt x="105" y="170"/>
                  </a:lnTo>
                  <a:lnTo>
                    <a:pt x="94" y="168"/>
                  </a:lnTo>
                  <a:lnTo>
                    <a:pt x="94" y="168"/>
                  </a:lnTo>
                  <a:close/>
                  <a:moveTo>
                    <a:pt x="116" y="153"/>
                  </a:moveTo>
                  <a:lnTo>
                    <a:pt x="113" y="165"/>
                  </a:lnTo>
                  <a:lnTo>
                    <a:pt x="110" y="171"/>
                  </a:lnTo>
                  <a:lnTo>
                    <a:pt x="111" y="176"/>
                  </a:lnTo>
                  <a:lnTo>
                    <a:pt x="116" y="169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18" y="157"/>
                  </a:lnTo>
                  <a:lnTo>
                    <a:pt x="116" y="153"/>
                  </a:lnTo>
                  <a:lnTo>
                    <a:pt x="116" y="153"/>
                  </a:lnTo>
                  <a:close/>
                  <a:moveTo>
                    <a:pt x="73" y="133"/>
                  </a:moveTo>
                  <a:lnTo>
                    <a:pt x="87" y="130"/>
                  </a:lnTo>
                  <a:lnTo>
                    <a:pt x="96" y="135"/>
                  </a:lnTo>
                  <a:lnTo>
                    <a:pt x="104" y="134"/>
                  </a:lnTo>
                  <a:lnTo>
                    <a:pt x="110" y="146"/>
                  </a:lnTo>
                  <a:lnTo>
                    <a:pt x="112" y="152"/>
                  </a:lnTo>
                  <a:lnTo>
                    <a:pt x="106" y="163"/>
                  </a:lnTo>
                  <a:lnTo>
                    <a:pt x="96" y="164"/>
                  </a:lnTo>
                  <a:lnTo>
                    <a:pt x="91" y="160"/>
                  </a:lnTo>
                  <a:lnTo>
                    <a:pt x="84" y="160"/>
                  </a:lnTo>
                  <a:lnTo>
                    <a:pt x="76" y="152"/>
                  </a:lnTo>
                  <a:lnTo>
                    <a:pt x="71" y="142"/>
                  </a:lnTo>
                  <a:lnTo>
                    <a:pt x="73" y="133"/>
                  </a:lnTo>
                  <a:lnTo>
                    <a:pt x="73" y="133"/>
                  </a:lnTo>
                  <a:close/>
                  <a:moveTo>
                    <a:pt x="110" y="29"/>
                  </a:moveTo>
                  <a:lnTo>
                    <a:pt x="114" y="24"/>
                  </a:lnTo>
                  <a:lnTo>
                    <a:pt x="124" y="24"/>
                  </a:lnTo>
                  <a:lnTo>
                    <a:pt x="117" y="29"/>
                  </a:lnTo>
                  <a:lnTo>
                    <a:pt x="110" y="29"/>
                  </a:lnTo>
                  <a:lnTo>
                    <a:pt x="110" y="29"/>
                  </a:lnTo>
                  <a:close/>
                  <a:moveTo>
                    <a:pt x="27" y="67"/>
                  </a:moveTo>
                  <a:lnTo>
                    <a:pt x="27" y="59"/>
                  </a:lnTo>
                  <a:lnTo>
                    <a:pt x="33" y="53"/>
                  </a:lnTo>
                  <a:lnTo>
                    <a:pt x="41" y="53"/>
                  </a:lnTo>
                  <a:lnTo>
                    <a:pt x="39" y="58"/>
                  </a:lnTo>
                  <a:lnTo>
                    <a:pt x="32" y="66"/>
                  </a:lnTo>
                  <a:lnTo>
                    <a:pt x="27" y="67"/>
                  </a:lnTo>
                  <a:lnTo>
                    <a:pt x="27" y="67"/>
                  </a:lnTo>
                  <a:close/>
                  <a:moveTo>
                    <a:pt x="25" y="72"/>
                  </a:moveTo>
                  <a:lnTo>
                    <a:pt x="23" y="61"/>
                  </a:lnTo>
                  <a:lnTo>
                    <a:pt x="25" y="55"/>
                  </a:lnTo>
                  <a:lnTo>
                    <a:pt x="41" y="47"/>
                  </a:lnTo>
                  <a:lnTo>
                    <a:pt x="42" y="48"/>
                  </a:lnTo>
                  <a:lnTo>
                    <a:pt x="50" y="47"/>
                  </a:lnTo>
                  <a:lnTo>
                    <a:pt x="60" y="49"/>
                  </a:lnTo>
                  <a:lnTo>
                    <a:pt x="66" y="47"/>
                  </a:lnTo>
                  <a:lnTo>
                    <a:pt x="76" y="47"/>
                  </a:lnTo>
                  <a:lnTo>
                    <a:pt x="83" y="49"/>
                  </a:lnTo>
                  <a:lnTo>
                    <a:pt x="88" y="48"/>
                  </a:lnTo>
                  <a:lnTo>
                    <a:pt x="96" y="34"/>
                  </a:lnTo>
                  <a:lnTo>
                    <a:pt x="95" y="25"/>
                  </a:lnTo>
                  <a:lnTo>
                    <a:pt x="96" y="21"/>
                  </a:lnTo>
                  <a:lnTo>
                    <a:pt x="95" y="13"/>
                  </a:lnTo>
                  <a:lnTo>
                    <a:pt x="101" y="2"/>
                  </a:lnTo>
                  <a:lnTo>
                    <a:pt x="100" y="0"/>
                  </a:lnTo>
                  <a:lnTo>
                    <a:pt x="88" y="11"/>
                  </a:lnTo>
                  <a:lnTo>
                    <a:pt x="76" y="15"/>
                  </a:lnTo>
                  <a:lnTo>
                    <a:pt x="67" y="15"/>
                  </a:lnTo>
                  <a:lnTo>
                    <a:pt x="62" y="24"/>
                  </a:lnTo>
                  <a:lnTo>
                    <a:pt x="58" y="34"/>
                  </a:lnTo>
                  <a:lnTo>
                    <a:pt x="48" y="38"/>
                  </a:lnTo>
                  <a:lnTo>
                    <a:pt x="38" y="38"/>
                  </a:lnTo>
                  <a:lnTo>
                    <a:pt x="27" y="47"/>
                  </a:lnTo>
                  <a:lnTo>
                    <a:pt x="24" y="46"/>
                  </a:lnTo>
                  <a:lnTo>
                    <a:pt x="16" y="46"/>
                  </a:lnTo>
                  <a:lnTo>
                    <a:pt x="14" y="54"/>
                  </a:lnTo>
                  <a:lnTo>
                    <a:pt x="7" y="61"/>
                  </a:lnTo>
                  <a:lnTo>
                    <a:pt x="12" y="64"/>
                  </a:lnTo>
                  <a:lnTo>
                    <a:pt x="15" y="63"/>
                  </a:lnTo>
                  <a:lnTo>
                    <a:pt x="25" y="72"/>
                  </a:lnTo>
                  <a:lnTo>
                    <a:pt x="25" y="72"/>
                  </a:lnTo>
                  <a:close/>
                  <a:moveTo>
                    <a:pt x="65" y="170"/>
                  </a:moveTo>
                  <a:lnTo>
                    <a:pt x="64" y="170"/>
                  </a:lnTo>
                  <a:lnTo>
                    <a:pt x="66" y="164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8" y="153"/>
                  </a:lnTo>
                  <a:lnTo>
                    <a:pt x="62" y="150"/>
                  </a:lnTo>
                  <a:lnTo>
                    <a:pt x="64" y="142"/>
                  </a:lnTo>
                  <a:lnTo>
                    <a:pt x="59" y="141"/>
                  </a:lnTo>
                  <a:lnTo>
                    <a:pt x="59" y="135"/>
                  </a:lnTo>
                  <a:lnTo>
                    <a:pt x="77" y="127"/>
                  </a:lnTo>
                  <a:lnTo>
                    <a:pt x="73" y="124"/>
                  </a:lnTo>
                  <a:lnTo>
                    <a:pt x="79" y="118"/>
                  </a:lnTo>
                  <a:lnTo>
                    <a:pt x="83" y="121"/>
                  </a:lnTo>
                  <a:lnTo>
                    <a:pt x="93" y="117"/>
                  </a:lnTo>
                  <a:lnTo>
                    <a:pt x="93" y="106"/>
                  </a:lnTo>
                  <a:lnTo>
                    <a:pt x="88" y="98"/>
                  </a:lnTo>
                  <a:lnTo>
                    <a:pt x="94" y="93"/>
                  </a:lnTo>
                  <a:lnTo>
                    <a:pt x="101" y="92"/>
                  </a:lnTo>
                  <a:lnTo>
                    <a:pt x="107" y="98"/>
                  </a:lnTo>
                  <a:lnTo>
                    <a:pt x="111" y="95"/>
                  </a:lnTo>
                  <a:lnTo>
                    <a:pt x="113" y="96"/>
                  </a:lnTo>
                  <a:lnTo>
                    <a:pt x="117" y="93"/>
                  </a:lnTo>
                  <a:lnTo>
                    <a:pt x="119" y="86"/>
                  </a:lnTo>
                  <a:lnTo>
                    <a:pt x="112" y="78"/>
                  </a:lnTo>
                  <a:lnTo>
                    <a:pt x="107" y="81"/>
                  </a:lnTo>
                  <a:lnTo>
                    <a:pt x="96" y="81"/>
                  </a:lnTo>
                  <a:lnTo>
                    <a:pt x="91" y="76"/>
                  </a:lnTo>
                  <a:lnTo>
                    <a:pt x="87" y="69"/>
                  </a:lnTo>
                  <a:lnTo>
                    <a:pt x="82" y="69"/>
                  </a:lnTo>
                  <a:lnTo>
                    <a:pt x="85" y="64"/>
                  </a:lnTo>
                  <a:lnTo>
                    <a:pt x="85" y="55"/>
                  </a:lnTo>
                  <a:lnTo>
                    <a:pt x="77" y="50"/>
                  </a:lnTo>
                  <a:lnTo>
                    <a:pt x="64" y="50"/>
                  </a:lnTo>
                  <a:lnTo>
                    <a:pt x="56" y="54"/>
                  </a:lnTo>
                  <a:lnTo>
                    <a:pt x="49" y="53"/>
                  </a:lnTo>
                  <a:lnTo>
                    <a:pt x="46" y="55"/>
                  </a:lnTo>
                  <a:lnTo>
                    <a:pt x="54" y="65"/>
                  </a:lnTo>
                  <a:lnTo>
                    <a:pt x="52" y="69"/>
                  </a:lnTo>
                  <a:lnTo>
                    <a:pt x="59" y="76"/>
                  </a:lnTo>
                  <a:lnTo>
                    <a:pt x="58" y="78"/>
                  </a:lnTo>
                  <a:lnTo>
                    <a:pt x="52" y="76"/>
                  </a:lnTo>
                  <a:lnTo>
                    <a:pt x="43" y="78"/>
                  </a:lnTo>
                  <a:lnTo>
                    <a:pt x="42" y="75"/>
                  </a:lnTo>
                  <a:lnTo>
                    <a:pt x="47" y="70"/>
                  </a:lnTo>
                  <a:lnTo>
                    <a:pt x="42" y="61"/>
                  </a:lnTo>
                  <a:lnTo>
                    <a:pt x="39" y="61"/>
                  </a:lnTo>
                  <a:lnTo>
                    <a:pt x="32" y="71"/>
                  </a:lnTo>
                  <a:lnTo>
                    <a:pt x="37" y="76"/>
                  </a:lnTo>
                  <a:lnTo>
                    <a:pt x="27" y="82"/>
                  </a:lnTo>
                  <a:lnTo>
                    <a:pt x="23" y="76"/>
                  </a:lnTo>
                  <a:lnTo>
                    <a:pt x="15" y="76"/>
                  </a:lnTo>
                  <a:lnTo>
                    <a:pt x="9" y="73"/>
                  </a:lnTo>
                  <a:lnTo>
                    <a:pt x="3" y="80"/>
                  </a:lnTo>
                  <a:lnTo>
                    <a:pt x="13" y="87"/>
                  </a:lnTo>
                  <a:lnTo>
                    <a:pt x="13" y="94"/>
                  </a:lnTo>
                  <a:lnTo>
                    <a:pt x="7" y="90"/>
                  </a:lnTo>
                  <a:lnTo>
                    <a:pt x="3" y="92"/>
                  </a:lnTo>
                  <a:lnTo>
                    <a:pt x="6" y="101"/>
                  </a:lnTo>
                  <a:lnTo>
                    <a:pt x="12" y="105"/>
                  </a:lnTo>
                  <a:lnTo>
                    <a:pt x="12" y="115"/>
                  </a:lnTo>
                  <a:lnTo>
                    <a:pt x="16" y="118"/>
                  </a:lnTo>
                  <a:lnTo>
                    <a:pt x="4" y="124"/>
                  </a:lnTo>
                  <a:lnTo>
                    <a:pt x="0" y="136"/>
                  </a:lnTo>
                  <a:lnTo>
                    <a:pt x="4" y="140"/>
                  </a:lnTo>
                  <a:lnTo>
                    <a:pt x="12" y="136"/>
                  </a:lnTo>
                  <a:lnTo>
                    <a:pt x="23" y="145"/>
                  </a:lnTo>
                  <a:lnTo>
                    <a:pt x="25" y="157"/>
                  </a:lnTo>
                  <a:lnTo>
                    <a:pt x="20" y="159"/>
                  </a:lnTo>
                  <a:lnTo>
                    <a:pt x="23" y="165"/>
                  </a:lnTo>
                  <a:lnTo>
                    <a:pt x="35" y="165"/>
                  </a:lnTo>
                  <a:lnTo>
                    <a:pt x="52" y="169"/>
                  </a:lnTo>
                  <a:lnTo>
                    <a:pt x="56" y="171"/>
                  </a:lnTo>
                  <a:lnTo>
                    <a:pt x="65" y="1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09" name="Freeform 10"/>
            <p:cNvSpPr>
              <a:spLocks noEditPoints="1"/>
            </p:cNvSpPr>
            <p:nvPr/>
          </p:nvSpPr>
          <p:spPr bwMode="auto">
            <a:xfrm>
              <a:off x="3378200" y="571500"/>
              <a:ext cx="1485900" cy="1546225"/>
            </a:xfrm>
            <a:custGeom>
              <a:avLst/>
              <a:gdLst/>
              <a:ahLst/>
              <a:cxnLst>
                <a:cxn ang="0">
                  <a:pos x="898" y="122"/>
                </a:cxn>
                <a:cxn ang="0">
                  <a:pos x="929" y="68"/>
                </a:cxn>
                <a:cxn ang="0">
                  <a:pos x="859" y="44"/>
                </a:cxn>
                <a:cxn ang="0">
                  <a:pos x="819" y="45"/>
                </a:cxn>
                <a:cxn ang="0">
                  <a:pos x="791" y="0"/>
                </a:cxn>
                <a:cxn ang="0">
                  <a:pos x="761" y="62"/>
                </a:cxn>
                <a:cxn ang="0">
                  <a:pos x="701" y="88"/>
                </a:cxn>
                <a:cxn ang="0">
                  <a:pos x="672" y="33"/>
                </a:cxn>
                <a:cxn ang="0">
                  <a:pos x="648" y="103"/>
                </a:cxn>
                <a:cxn ang="0">
                  <a:pos x="593" y="112"/>
                </a:cxn>
                <a:cxn ang="0">
                  <a:pos x="533" y="166"/>
                </a:cxn>
                <a:cxn ang="0">
                  <a:pos x="510" y="181"/>
                </a:cxn>
                <a:cxn ang="0">
                  <a:pos x="458" y="181"/>
                </a:cxn>
                <a:cxn ang="0">
                  <a:pos x="414" y="238"/>
                </a:cxn>
                <a:cxn ang="0">
                  <a:pos x="408" y="266"/>
                </a:cxn>
                <a:cxn ang="0">
                  <a:pos x="362" y="296"/>
                </a:cxn>
                <a:cxn ang="0">
                  <a:pos x="369" y="331"/>
                </a:cxn>
                <a:cxn ang="0">
                  <a:pos x="322" y="377"/>
                </a:cxn>
                <a:cxn ang="0">
                  <a:pos x="315" y="412"/>
                </a:cxn>
                <a:cxn ang="0">
                  <a:pos x="296" y="469"/>
                </a:cxn>
                <a:cxn ang="0">
                  <a:pos x="246" y="525"/>
                </a:cxn>
                <a:cxn ang="0">
                  <a:pos x="186" y="591"/>
                </a:cxn>
                <a:cxn ang="0">
                  <a:pos x="255" y="585"/>
                </a:cxn>
                <a:cxn ang="0">
                  <a:pos x="170" y="608"/>
                </a:cxn>
                <a:cxn ang="0">
                  <a:pos x="145" y="647"/>
                </a:cxn>
                <a:cxn ang="0">
                  <a:pos x="107" y="658"/>
                </a:cxn>
                <a:cxn ang="0">
                  <a:pos x="87" y="691"/>
                </a:cxn>
                <a:cxn ang="0">
                  <a:pos x="15" y="700"/>
                </a:cxn>
                <a:cxn ang="0">
                  <a:pos x="27" y="742"/>
                </a:cxn>
                <a:cxn ang="0">
                  <a:pos x="72" y="757"/>
                </a:cxn>
                <a:cxn ang="0">
                  <a:pos x="89" y="775"/>
                </a:cxn>
                <a:cxn ang="0">
                  <a:pos x="24" y="797"/>
                </a:cxn>
                <a:cxn ang="0">
                  <a:pos x="85" y="810"/>
                </a:cxn>
                <a:cxn ang="0">
                  <a:pos x="39" y="867"/>
                </a:cxn>
                <a:cxn ang="0">
                  <a:pos x="67" y="911"/>
                </a:cxn>
                <a:cxn ang="0">
                  <a:pos x="110" y="974"/>
                </a:cxn>
                <a:cxn ang="0">
                  <a:pos x="194" y="901"/>
                </a:cxn>
                <a:cxn ang="0">
                  <a:pos x="230" y="876"/>
                </a:cxn>
                <a:cxn ang="0">
                  <a:pos x="288" y="904"/>
                </a:cxn>
                <a:cxn ang="0">
                  <a:pos x="293" y="684"/>
                </a:cxn>
                <a:cxn ang="0">
                  <a:pos x="356" y="411"/>
                </a:cxn>
                <a:cxn ang="0">
                  <a:pos x="472" y="254"/>
                </a:cxn>
                <a:cxn ang="0">
                  <a:pos x="554" y="187"/>
                </a:cxn>
                <a:cxn ang="0">
                  <a:pos x="715" y="207"/>
                </a:cxn>
                <a:cxn ang="0">
                  <a:pos x="821" y="99"/>
                </a:cxn>
                <a:cxn ang="0">
                  <a:pos x="21" y="850"/>
                </a:cxn>
                <a:cxn ang="0">
                  <a:pos x="10" y="804"/>
                </a:cxn>
                <a:cxn ang="0">
                  <a:pos x="6" y="723"/>
                </a:cxn>
                <a:cxn ang="0">
                  <a:pos x="131" y="620"/>
                </a:cxn>
                <a:cxn ang="0">
                  <a:pos x="154" y="600"/>
                </a:cxn>
                <a:cxn ang="0">
                  <a:pos x="247" y="515"/>
                </a:cxn>
                <a:cxn ang="0">
                  <a:pos x="338" y="340"/>
                </a:cxn>
                <a:cxn ang="0">
                  <a:pos x="309" y="264"/>
                </a:cxn>
                <a:cxn ang="0">
                  <a:pos x="363" y="196"/>
                </a:cxn>
                <a:cxn ang="0">
                  <a:pos x="396" y="173"/>
                </a:cxn>
                <a:cxn ang="0">
                  <a:pos x="382" y="226"/>
                </a:cxn>
                <a:cxn ang="0">
                  <a:pos x="458" y="175"/>
                </a:cxn>
                <a:cxn ang="0">
                  <a:pos x="458" y="140"/>
                </a:cxn>
                <a:cxn ang="0">
                  <a:pos x="491" y="103"/>
                </a:cxn>
                <a:cxn ang="0">
                  <a:pos x="515" y="102"/>
                </a:cxn>
                <a:cxn ang="0">
                  <a:pos x="612" y="71"/>
                </a:cxn>
                <a:cxn ang="0">
                  <a:pos x="637" y="34"/>
                </a:cxn>
                <a:cxn ang="0">
                  <a:pos x="683" y="11"/>
                </a:cxn>
              </a:cxnLst>
              <a:rect l="0" t="0" r="r" b="b"/>
              <a:pathLst>
                <a:path w="936" h="974">
                  <a:moveTo>
                    <a:pt x="868" y="175"/>
                  </a:moveTo>
                  <a:lnTo>
                    <a:pt x="873" y="174"/>
                  </a:lnTo>
                  <a:lnTo>
                    <a:pt x="874" y="160"/>
                  </a:lnTo>
                  <a:lnTo>
                    <a:pt x="886" y="149"/>
                  </a:lnTo>
                  <a:lnTo>
                    <a:pt x="897" y="147"/>
                  </a:lnTo>
                  <a:lnTo>
                    <a:pt x="904" y="139"/>
                  </a:lnTo>
                  <a:lnTo>
                    <a:pt x="903" y="127"/>
                  </a:lnTo>
                  <a:lnTo>
                    <a:pt x="910" y="127"/>
                  </a:lnTo>
                  <a:lnTo>
                    <a:pt x="920" y="129"/>
                  </a:lnTo>
                  <a:lnTo>
                    <a:pt x="926" y="123"/>
                  </a:lnTo>
                  <a:lnTo>
                    <a:pt x="925" y="115"/>
                  </a:lnTo>
                  <a:lnTo>
                    <a:pt x="923" y="115"/>
                  </a:lnTo>
                  <a:lnTo>
                    <a:pt x="917" y="110"/>
                  </a:lnTo>
                  <a:lnTo>
                    <a:pt x="913" y="110"/>
                  </a:lnTo>
                  <a:lnTo>
                    <a:pt x="909" y="111"/>
                  </a:lnTo>
                  <a:lnTo>
                    <a:pt x="909" y="116"/>
                  </a:lnTo>
                  <a:lnTo>
                    <a:pt x="906" y="114"/>
                  </a:lnTo>
                  <a:lnTo>
                    <a:pt x="903" y="109"/>
                  </a:lnTo>
                  <a:lnTo>
                    <a:pt x="898" y="109"/>
                  </a:lnTo>
                  <a:lnTo>
                    <a:pt x="900" y="112"/>
                  </a:lnTo>
                  <a:lnTo>
                    <a:pt x="898" y="122"/>
                  </a:lnTo>
                  <a:lnTo>
                    <a:pt x="895" y="120"/>
                  </a:lnTo>
                  <a:lnTo>
                    <a:pt x="891" y="114"/>
                  </a:lnTo>
                  <a:lnTo>
                    <a:pt x="884" y="118"/>
                  </a:lnTo>
                  <a:lnTo>
                    <a:pt x="881" y="122"/>
                  </a:lnTo>
                  <a:lnTo>
                    <a:pt x="879" y="116"/>
                  </a:lnTo>
                  <a:lnTo>
                    <a:pt x="878" y="106"/>
                  </a:lnTo>
                  <a:lnTo>
                    <a:pt x="874" y="106"/>
                  </a:lnTo>
                  <a:lnTo>
                    <a:pt x="871" y="98"/>
                  </a:lnTo>
                  <a:lnTo>
                    <a:pt x="867" y="95"/>
                  </a:lnTo>
                  <a:lnTo>
                    <a:pt x="859" y="97"/>
                  </a:lnTo>
                  <a:lnTo>
                    <a:pt x="852" y="94"/>
                  </a:lnTo>
                  <a:lnTo>
                    <a:pt x="842" y="93"/>
                  </a:lnTo>
                  <a:lnTo>
                    <a:pt x="837" y="86"/>
                  </a:lnTo>
                  <a:lnTo>
                    <a:pt x="838" y="85"/>
                  </a:lnTo>
                  <a:lnTo>
                    <a:pt x="851" y="88"/>
                  </a:lnTo>
                  <a:lnTo>
                    <a:pt x="863" y="87"/>
                  </a:lnTo>
                  <a:lnTo>
                    <a:pt x="872" y="88"/>
                  </a:lnTo>
                  <a:lnTo>
                    <a:pt x="890" y="91"/>
                  </a:lnTo>
                  <a:lnTo>
                    <a:pt x="903" y="87"/>
                  </a:lnTo>
                  <a:lnTo>
                    <a:pt x="910" y="73"/>
                  </a:lnTo>
                  <a:lnTo>
                    <a:pt x="929" y="68"/>
                  </a:lnTo>
                  <a:lnTo>
                    <a:pt x="936" y="63"/>
                  </a:lnTo>
                  <a:lnTo>
                    <a:pt x="936" y="60"/>
                  </a:lnTo>
                  <a:lnTo>
                    <a:pt x="930" y="58"/>
                  </a:lnTo>
                  <a:lnTo>
                    <a:pt x="929" y="54"/>
                  </a:lnTo>
                  <a:lnTo>
                    <a:pt x="923" y="53"/>
                  </a:lnTo>
                  <a:lnTo>
                    <a:pt x="914" y="54"/>
                  </a:lnTo>
                  <a:lnTo>
                    <a:pt x="903" y="46"/>
                  </a:lnTo>
                  <a:lnTo>
                    <a:pt x="897" y="46"/>
                  </a:lnTo>
                  <a:lnTo>
                    <a:pt x="890" y="53"/>
                  </a:lnTo>
                  <a:lnTo>
                    <a:pt x="885" y="53"/>
                  </a:lnTo>
                  <a:lnTo>
                    <a:pt x="884" y="51"/>
                  </a:lnTo>
                  <a:lnTo>
                    <a:pt x="891" y="46"/>
                  </a:lnTo>
                  <a:lnTo>
                    <a:pt x="892" y="41"/>
                  </a:lnTo>
                  <a:lnTo>
                    <a:pt x="883" y="37"/>
                  </a:lnTo>
                  <a:lnTo>
                    <a:pt x="881" y="35"/>
                  </a:lnTo>
                  <a:lnTo>
                    <a:pt x="875" y="35"/>
                  </a:lnTo>
                  <a:lnTo>
                    <a:pt x="869" y="45"/>
                  </a:lnTo>
                  <a:lnTo>
                    <a:pt x="866" y="45"/>
                  </a:lnTo>
                  <a:lnTo>
                    <a:pt x="867" y="39"/>
                  </a:lnTo>
                  <a:lnTo>
                    <a:pt x="862" y="39"/>
                  </a:lnTo>
                  <a:lnTo>
                    <a:pt x="859" y="44"/>
                  </a:lnTo>
                  <a:lnTo>
                    <a:pt x="855" y="44"/>
                  </a:lnTo>
                  <a:lnTo>
                    <a:pt x="854" y="39"/>
                  </a:lnTo>
                  <a:lnTo>
                    <a:pt x="860" y="35"/>
                  </a:lnTo>
                  <a:lnTo>
                    <a:pt x="860" y="30"/>
                  </a:lnTo>
                  <a:lnTo>
                    <a:pt x="850" y="25"/>
                  </a:lnTo>
                  <a:lnTo>
                    <a:pt x="842" y="25"/>
                  </a:lnTo>
                  <a:lnTo>
                    <a:pt x="837" y="29"/>
                  </a:lnTo>
                  <a:lnTo>
                    <a:pt x="836" y="40"/>
                  </a:lnTo>
                  <a:lnTo>
                    <a:pt x="829" y="42"/>
                  </a:lnTo>
                  <a:lnTo>
                    <a:pt x="828" y="46"/>
                  </a:lnTo>
                  <a:lnTo>
                    <a:pt x="833" y="58"/>
                  </a:lnTo>
                  <a:lnTo>
                    <a:pt x="833" y="63"/>
                  </a:lnTo>
                  <a:lnTo>
                    <a:pt x="828" y="66"/>
                  </a:lnTo>
                  <a:lnTo>
                    <a:pt x="825" y="59"/>
                  </a:lnTo>
                  <a:lnTo>
                    <a:pt x="819" y="59"/>
                  </a:lnTo>
                  <a:lnTo>
                    <a:pt x="817" y="62"/>
                  </a:lnTo>
                  <a:lnTo>
                    <a:pt x="810" y="60"/>
                  </a:lnTo>
                  <a:lnTo>
                    <a:pt x="799" y="65"/>
                  </a:lnTo>
                  <a:lnTo>
                    <a:pt x="808" y="54"/>
                  </a:lnTo>
                  <a:lnTo>
                    <a:pt x="814" y="53"/>
                  </a:lnTo>
                  <a:lnTo>
                    <a:pt x="819" y="45"/>
                  </a:lnTo>
                  <a:lnTo>
                    <a:pt x="817" y="41"/>
                  </a:lnTo>
                  <a:lnTo>
                    <a:pt x="814" y="41"/>
                  </a:lnTo>
                  <a:lnTo>
                    <a:pt x="805" y="47"/>
                  </a:lnTo>
                  <a:lnTo>
                    <a:pt x="799" y="46"/>
                  </a:lnTo>
                  <a:lnTo>
                    <a:pt x="802" y="42"/>
                  </a:lnTo>
                  <a:lnTo>
                    <a:pt x="807" y="39"/>
                  </a:lnTo>
                  <a:lnTo>
                    <a:pt x="808" y="35"/>
                  </a:lnTo>
                  <a:lnTo>
                    <a:pt x="799" y="33"/>
                  </a:lnTo>
                  <a:lnTo>
                    <a:pt x="798" y="30"/>
                  </a:lnTo>
                  <a:lnTo>
                    <a:pt x="804" y="28"/>
                  </a:lnTo>
                  <a:lnTo>
                    <a:pt x="808" y="30"/>
                  </a:lnTo>
                  <a:lnTo>
                    <a:pt x="817" y="30"/>
                  </a:lnTo>
                  <a:lnTo>
                    <a:pt x="822" y="17"/>
                  </a:lnTo>
                  <a:lnTo>
                    <a:pt x="821" y="12"/>
                  </a:lnTo>
                  <a:lnTo>
                    <a:pt x="813" y="15"/>
                  </a:lnTo>
                  <a:lnTo>
                    <a:pt x="808" y="12"/>
                  </a:lnTo>
                  <a:lnTo>
                    <a:pt x="810" y="6"/>
                  </a:lnTo>
                  <a:lnTo>
                    <a:pt x="808" y="0"/>
                  </a:lnTo>
                  <a:lnTo>
                    <a:pt x="802" y="5"/>
                  </a:lnTo>
                  <a:lnTo>
                    <a:pt x="797" y="5"/>
                  </a:lnTo>
                  <a:lnTo>
                    <a:pt x="791" y="0"/>
                  </a:lnTo>
                  <a:lnTo>
                    <a:pt x="785" y="6"/>
                  </a:lnTo>
                  <a:lnTo>
                    <a:pt x="785" y="10"/>
                  </a:lnTo>
                  <a:lnTo>
                    <a:pt x="791" y="16"/>
                  </a:lnTo>
                  <a:lnTo>
                    <a:pt x="787" y="21"/>
                  </a:lnTo>
                  <a:lnTo>
                    <a:pt x="782" y="21"/>
                  </a:lnTo>
                  <a:lnTo>
                    <a:pt x="776" y="12"/>
                  </a:lnTo>
                  <a:lnTo>
                    <a:pt x="771" y="16"/>
                  </a:lnTo>
                  <a:lnTo>
                    <a:pt x="769" y="23"/>
                  </a:lnTo>
                  <a:lnTo>
                    <a:pt x="771" y="27"/>
                  </a:lnTo>
                  <a:lnTo>
                    <a:pt x="779" y="27"/>
                  </a:lnTo>
                  <a:lnTo>
                    <a:pt x="781" y="29"/>
                  </a:lnTo>
                  <a:lnTo>
                    <a:pt x="781" y="33"/>
                  </a:lnTo>
                  <a:lnTo>
                    <a:pt x="775" y="35"/>
                  </a:lnTo>
                  <a:lnTo>
                    <a:pt x="775" y="41"/>
                  </a:lnTo>
                  <a:lnTo>
                    <a:pt x="770" y="44"/>
                  </a:lnTo>
                  <a:lnTo>
                    <a:pt x="770" y="48"/>
                  </a:lnTo>
                  <a:lnTo>
                    <a:pt x="771" y="51"/>
                  </a:lnTo>
                  <a:lnTo>
                    <a:pt x="767" y="54"/>
                  </a:lnTo>
                  <a:lnTo>
                    <a:pt x="769" y="63"/>
                  </a:lnTo>
                  <a:lnTo>
                    <a:pt x="767" y="65"/>
                  </a:lnTo>
                  <a:lnTo>
                    <a:pt x="761" y="62"/>
                  </a:lnTo>
                  <a:lnTo>
                    <a:pt x="756" y="65"/>
                  </a:lnTo>
                  <a:lnTo>
                    <a:pt x="755" y="68"/>
                  </a:lnTo>
                  <a:lnTo>
                    <a:pt x="749" y="71"/>
                  </a:lnTo>
                  <a:lnTo>
                    <a:pt x="747" y="64"/>
                  </a:lnTo>
                  <a:lnTo>
                    <a:pt x="756" y="50"/>
                  </a:lnTo>
                  <a:lnTo>
                    <a:pt x="749" y="47"/>
                  </a:lnTo>
                  <a:lnTo>
                    <a:pt x="749" y="44"/>
                  </a:lnTo>
                  <a:lnTo>
                    <a:pt x="755" y="39"/>
                  </a:lnTo>
                  <a:lnTo>
                    <a:pt x="755" y="27"/>
                  </a:lnTo>
                  <a:lnTo>
                    <a:pt x="751" y="22"/>
                  </a:lnTo>
                  <a:lnTo>
                    <a:pt x="747" y="22"/>
                  </a:lnTo>
                  <a:lnTo>
                    <a:pt x="735" y="40"/>
                  </a:lnTo>
                  <a:lnTo>
                    <a:pt x="735" y="48"/>
                  </a:lnTo>
                  <a:lnTo>
                    <a:pt x="723" y="63"/>
                  </a:lnTo>
                  <a:lnTo>
                    <a:pt x="721" y="74"/>
                  </a:lnTo>
                  <a:lnTo>
                    <a:pt x="723" y="77"/>
                  </a:lnTo>
                  <a:lnTo>
                    <a:pt x="722" y="86"/>
                  </a:lnTo>
                  <a:lnTo>
                    <a:pt x="710" y="98"/>
                  </a:lnTo>
                  <a:lnTo>
                    <a:pt x="704" y="100"/>
                  </a:lnTo>
                  <a:lnTo>
                    <a:pt x="704" y="93"/>
                  </a:lnTo>
                  <a:lnTo>
                    <a:pt x="701" y="88"/>
                  </a:lnTo>
                  <a:lnTo>
                    <a:pt x="709" y="77"/>
                  </a:lnTo>
                  <a:lnTo>
                    <a:pt x="707" y="70"/>
                  </a:lnTo>
                  <a:lnTo>
                    <a:pt x="711" y="64"/>
                  </a:lnTo>
                  <a:lnTo>
                    <a:pt x="707" y="57"/>
                  </a:lnTo>
                  <a:lnTo>
                    <a:pt x="721" y="44"/>
                  </a:lnTo>
                  <a:lnTo>
                    <a:pt x="723" y="36"/>
                  </a:lnTo>
                  <a:lnTo>
                    <a:pt x="724" y="34"/>
                  </a:lnTo>
                  <a:lnTo>
                    <a:pt x="724" y="30"/>
                  </a:lnTo>
                  <a:lnTo>
                    <a:pt x="717" y="29"/>
                  </a:lnTo>
                  <a:lnTo>
                    <a:pt x="710" y="23"/>
                  </a:lnTo>
                  <a:lnTo>
                    <a:pt x="706" y="24"/>
                  </a:lnTo>
                  <a:lnTo>
                    <a:pt x="707" y="31"/>
                  </a:lnTo>
                  <a:lnTo>
                    <a:pt x="701" y="36"/>
                  </a:lnTo>
                  <a:lnTo>
                    <a:pt x="701" y="29"/>
                  </a:lnTo>
                  <a:lnTo>
                    <a:pt x="695" y="24"/>
                  </a:lnTo>
                  <a:lnTo>
                    <a:pt x="688" y="22"/>
                  </a:lnTo>
                  <a:lnTo>
                    <a:pt x="682" y="25"/>
                  </a:lnTo>
                  <a:lnTo>
                    <a:pt x="683" y="35"/>
                  </a:lnTo>
                  <a:lnTo>
                    <a:pt x="681" y="40"/>
                  </a:lnTo>
                  <a:lnTo>
                    <a:pt x="677" y="35"/>
                  </a:lnTo>
                  <a:lnTo>
                    <a:pt x="672" y="33"/>
                  </a:lnTo>
                  <a:lnTo>
                    <a:pt x="669" y="36"/>
                  </a:lnTo>
                  <a:lnTo>
                    <a:pt x="670" y="40"/>
                  </a:lnTo>
                  <a:lnTo>
                    <a:pt x="680" y="46"/>
                  </a:lnTo>
                  <a:lnTo>
                    <a:pt x="682" y="53"/>
                  </a:lnTo>
                  <a:lnTo>
                    <a:pt x="680" y="56"/>
                  </a:lnTo>
                  <a:lnTo>
                    <a:pt x="675" y="51"/>
                  </a:lnTo>
                  <a:lnTo>
                    <a:pt x="670" y="56"/>
                  </a:lnTo>
                  <a:lnTo>
                    <a:pt x="669" y="60"/>
                  </a:lnTo>
                  <a:lnTo>
                    <a:pt x="672" y="63"/>
                  </a:lnTo>
                  <a:lnTo>
                    <a:pt x="669" y="66"/>
                  </a:lnTo>
                  <a:lnTo>
                    <a:pt x="660" y="62"/>
                  </a:lnTo>
                  <a:lnTo>
                    <a:pt x="657" y="62"/>
                  </a:lnTo>
                  <a:lnTo>
                    <a:pt x="652" y="70"/>
                  </a:lnTo>
                  <a:lnTo>
                    <a:pt x="646" y="73"/>
                  </a:lnTo>
                  <a:lnTo>
                    <a:pt x="646" y="75"/>
                  </a:lnTo>
                  <a:lnTo>
                    <a:pt x="649" y="77"/>
                  </a:lnTo>
                  <a:lnTo>
                    <a:pt x="641" y="83"/>
                  </a:lnTo>
                  <a:lnTo>
                    <a:pt x="639" y="89"/>
                  </a:lnTo>
                  <a:lnTo>
                    <a:pt x="646" y="95"/>
                  </a:lnTo>
                  <a:lnTo>
                    <a:pt x="641" y="100"/>
                  </a:lnTo>
                  <a:lnTo>
                    <a:pt x="648" y="103"/>
                  </a:lnTo>
                  <a:lnTo>
                    <a:pt x="651" y="106"/>
                  </a:lnTo>
                  <a:lnTo>
                    <a:pt x="647" y="110"/>
                  </a:lnTo>
                  <a:lnTo>
                    <a:pt x="636" y="109"/>
                  </a:lnTo>
                  <a:lnTo>
                    <a:pt x="632" y="98"/>
                  </a:lnTo>
                  <a:lnTo>
                    <a:pt x="628" y="97"/>
                  </a:lnTo>
                  <a:lnTo>
                    <a:pt x="632" y="92"/>
                  </a:lnTo>
                  <a:lnTo>
                    <a:pt x="625" y="88"/>
                  </a:lnTo>
                  <a:lnTo>
                    <a:pt x="618" y="89"/>
                  </a:lnTo>
                  <a:lnTo>
                    <a:pt x="607" y="88"/>
                  </a:lnTo>
                  <a:lnTo>
                    <a:pt x="594" y="79"/>
                  </a:lnTo>
                  <a:lnTo>
                    <a:pt x="589" y="79"/>
                  </a:lnTo>
                  <a:lnTo>
                    <a:pt x="584" y="83"/>
                  </a:lnTo>
                  <a:lnTo>
                    <a:pt x="582" y="77"/>
                  </a:lnTo>
                  <a:lnTo>
                    <a:pt x="574" y="83"/>
                  </a:lnTo>
                  <a:lnTo>
                    <a:pt x="566" y="86"/>
                  </a:lnTo>
                  <a:lnTo>
                    <a:pt x="566" y="88"/>
                  </a:lnTo>
                  <a:lnTo>
                    <a:pt x="576" y="99"/>
                  </a:lnTo>
                  <a:lnTo>
                    <a:pt x="583" y="99"/>
                  </a:lnTo>
                  <a:lnTo>
                    <a:pt x="587" y="104"/>
                  </a:lnTo>
                  <a:lnTo>
                    <a:pt x="597" y="104"/>
                  </a:lnTo>
                  <a:lnTo>
                    <a:pt x="593" y="112"/>
                  </a:lnTo>
                  <a:lnTo>
                    <a:pt x="593" y="118"/>
                  </a:lnTo>
                  <a:lnTo>
                    <a:pt x="600" y="128"/>
                  </a:lnTo>
                  <a:lnTo>
                    <a:pt x="599" y="133"/>
                  </a:lnTo>
                  <a:lnTo>
                    <a:pt x="593" y="129"/>
                  </a:lnTo>
                  <a:lnTo>
                    <a:pt x="587" y="120"/>
                  </a:lnTo>
                  <a:lnTo>
                    <a:pt x="579" y="117"/>
                  </a:lnTo>
                  <a:lnTo>
                    <a:pt x="574" y="112"/>
                  </a:lnTo>
                  <a:lnTo>
                    <a:pt x="572" y="118"/>
                  </a:lnTo>
                  <a:lnTo>
                    <a:pt x="565" y="125"/>
                  </a:lnTo>
                  <a:lnTo>
                    <a:pt x="564" y="114"/>
                  </a:lnTo>
                  <a:lnTo>
                    <a:pt x="556" y="120"/>
                  </a:lnTo>
                  <a:lnTo>
                    <a:pt x="556" y="123"/>
                  </a:lnTo>
                  <a:lnTo>
                    <a:pt x="549" y="129"/>
                  </a:lnTo>
                  <a:lnTo>
                    <a:pt x="549" y="137"/>
                  </a:lnTo>
                  <a:lnTo>
                    <a:pt x="559" y="140"/>
                  </a:lnTo>
                  <a:lnTo>
                    <a:pt x="562" y="147"/>
                  </a:lnTo>
                  <a:lnTo>
                    <a:pt x="555" y="147"/>
                  </a:lnTo>
                  <a:lnTo>
                    <a:pt x="551" y="144"/>
                  </a:lnTo>
                  <a:lnTo>
                    <a:pt x="545" y="151"/>
                  </a:lnTo>
                  <a:lnTo>
                    <a:pt x="543" y="158"/>
                  </a:lnTo>
                  <a:lnTo>
                    <a:pt x="533" y="166"/>
                  </a:lnTo>
                  <a:lnTo>
                    <a:pt x="533" y="161"/>
                  </a:lnTo>
                  <a:lnTo>
                    <a:pt x="539" y="156"/>
                  </a:lnTo>
                  <a:lnTo>
                    <a:pt x="537" y="151"/>
                  </a:lnTo>
                  <a:lnTo>
                    <a:pt x="544" y="139"/>
                  </a:lnTo>
                  <a:lnTo>
                    <a:pt x="538" y="116"/>
                  </a:lnTo>
                  <a:lnTo>
                    <a:pt x="532" y="120"/>
                  </a:lnTo>
                  <a:lnTo>
                    <a:pt x="521" y="134"/>
                  </a:lnTo>
                  <a:lnTo>
                    <a:pt x="521" y="145"/>
                  </a:lnTo>
                  <a:lnTo>
                    <a:pt x="522" y="149"/>
                  </a:lnTo>
                  <a:lnTo>
                    <a:pt x="516" y="157"/>
                  </a:lnTo>
                  <a:lnTo>
                    <a:pt x="515" y="149"/>
                  </a:lnTo>
                  <a:lnTo>
                    <a:pt x="520" y="140"/>
                  </a:lnTo>
                  <a:lnTo>
                    <a:pt x="516" y="129"/>
                  </a:lnTo>
                  <a:lnTo>
                    <a:pt x="512" y="128"/>
                  </a:lnTo>
                  <a:lnTo>
                    <a:pt x="503" y="133"/>
                  </a:lnTo>
                  <a:lnTo>
                    <a:pt x="497" y="144"/>
                  </a:lnTo>
                  <a:lnTo>
                    <a:pt x="501" y="151"/>
                  </a:lnTo>
                  <a:lnTo>
                    <a:pt x="500" y="158"/>
                  </a:lnTo>
                  <a:lnTo>
                    <a:pt x="513" y="167"/>
                  </a:lnTo>
                  <a:lnTo>
                    <a:pt x="516" y="173"/>
                  </a:lnTo>
                  <a:lnTo>
                    <a:pt x="510" y="181"/>
                  </a:lnTo>
                  <a:lnTo>
                    <a:pt x="507" y="170"/>
                  </a:lnTo>
                  <a:lnTo>
                    <a:pt x="498" y="167"/>
                  </a:lnTo>
                  <a:lnTo>
                    <a:pt x="492" y="152"/>
                  </a:lnTo>
                  <a:lnTo>
                    <a:pt x="489" y="150"/>
                  </a:lnTo>
                  <a:lnTo>
                    <a:pt x="478" y="154"/>
                  </a:lnTo>
                  <a:lnTo>
                    <a:pt x="475" y="160"/>
                  </a:lnTo>
                  <a:lnTo>
                    <a:pt x="487" y="167"/>
                  </a:lnTo>
                  <a:lnTo>
                    <a:pt x="493" y="168"/>
                  </a:lnTo>
                  <a:lnTo>
                    <a:pt x="496" y="172"/>
                  </a:lnTo>
                  <a:lnTo>
                    <a:pt x="489" y="170"/>
                  </a:lnTo>
                  <a:lnTo>
                    <a:pt x="480" y="173"/>
                  </a:lnTo>
                  <a:lnTo>
                    <a:pt x="485" y="180"/>
                  </a:lnTo>
                  <a:lnTo>
                    <a:pt x="477" y="174"/>
                  </a:lnTo>
                  <a:lnTo>
                    <a:pt x="475" y="166"/>
                  </a:lnTo>
                  <a:lnTo>
                    <a:pt x="472" y="163"/>
                  </a:lnTo>
                  <a:lnTo>
                    <a:pt x="471" y="157"/>
                  </a:lnTo>
                  <a:lnTo>
                    <a:pt x="466" y="161"/>
                  </a:lnTo>
                  <a:lnTo>
                    <a:pt x="463" y="170"/>
                  </a:lnTo>
                  <a:lnTo>
                    <a:pt x="467" y="175"/>
                  </a:lnTo>
                  <a:lnTo>
                    <a:pt x="466" y="185"/>
                  </a:lnTo>
                  <a:lnTo>
                    <a:pt x="458" y="181"/>
                  </a:lnTo>
                  <a:lnTo>
                    <a:pt x="452" y="183"/>
                  </a:lnTo>
                  <a:lnTo>
                    <a:pt x="443" y="192"/>
                  </a:lnTo>
                  <a:lnTo>
                    <a:pt x="445" y="193"/>
                  </a:lnTo>
                  <a:lnTo>
                    <a:pt x="451" y="192"/>
                  </a:lnTo>
                  <a:lnTo>
                    <a:pt x="457" y="199"/>
                  </a:lnTo>
                  <a:lnTo>
                    <a:pt x="450" y="199"/>
                  </a:lnTo>
                  <a:lnTo>
                    <a:pt x="444" y="203"/>
                  </a:lnTo>
                  <a:lnTo>
                    <a:pt x="449" y="205"/>
                  </a:lnTo>
                  <a:lnTo>
                    <a:pt x="445" y="210"/>
                  </a:lnTo>
                  <a:lnTo>
                    <a:pt x="439" y="210"/>
                  </a:lnTo>
                  <a:lnTo>
                    <a:pt x="439" y="214"/>
                  </a:lnTo>
                  <a:lnTo>
                    <a:pt x="441" y="216"/>
                  </a:lnTo>
                  <a:lnTo>
                    <a:pt x="435" y="218"/>
                  </a:lnTo>
                  <a:lnTo>
                    <a:pt x="432" y="213"/>
                  </a:lnTo>
                  <a:lnTo>
                    <a:pt x="426" y="215"/>
                  </a:lnTo>
                  <a:lnTo>
                    <a:pt x="420" y="221"/>
                  </a:lnTo>
                  <a:lnTo>
                    <a:pt x="422" y="225"/>
                  </a:lnTo>
                  <a:lnTo>
                    <a:pt x="420" y="228"/>
                  </a:lnTo>
                  <a:lnTo>
                    <a:pt x="410" y="228"/>
                  </a:lnTo>
                  <a:lnTo>
                    <a:pt x="405" y="236"/>
                  </a:lnTo>
                  <a:lnTo>
                    <a:pt x="414" y="238"/>
                  </a:lnTo>
                  <a:lnTo>
                    <a:pt x="433" y="233"/>
                  </a:lnTo>
                  <a:lnTo>
                    <a:pt x="438" y="236"/>
                  </a:lnTo>
                  <a:lnTo>
                    <a:pt x="446" y="232"/>
                  </a:lnTo>
                  <a:lnTo>
                    <a:pt x="451" y="232"/>
                  </a:lnTo>
                  <a:lnTo>
                    <a:pt x="451" y="237"/>
                  </a:lnTo>
                  <a:lnTo>
                    <a:pt x="445" y="243"/>
                  </a:lnTo>
                  <a:lnTo>
                    <a:pt x="444" y="254"/>
                  </a:lnTo>
                  <a:lnTo>
                    <a:pt x="441" y="256"/>
                  </a:lnTo>
                  <a:lnTo>
                    <a:pt x="438" y="253"/>
                  </a:lnTo>
                  <a:lnTo>
                    <a:pt x="437" y="248"/>
                  </a:lnTo>
                  <a:lnTo>
                    <a:pt x="429" y="249"/>
                  </a:lnTo>
                  <a:lnTo>
                    <a:pt x="426" y="245"/>
                  </a:lnTo>
                  <a:lnTo>
                    <a:pt x="417" y="245"/>
                  </a:lnTo>
                  <a:lnTo>
                    <a:pt x="420" y="248"/>
                  </a:lnTo>
                  <a:lnTo>
                    <a:pt x="417" y="253"/>
                  </a:lnTo>
                  <a:lnTo>
                    <a:pt x="410" y="249"/>
                  </a:lnTo>
                  <a:lnTo>
                    <a:pt x="405" y="250"/>
                  </a:lnTo>
                  <a:lnTo>
                    <a:pt x="412" y="254"/>
                  </a:lnTo>
                  <a:lnTo>
                    <a:pt x="415" y="261"/>
                  </a:lnTo>
                  <a:lnTo>
                    <a:pt x="411" y="261"/>
                  </a:lnTo>
                  <a:lnTo>
                    <a:pt x="408" y="266"/>
                  </a:lnTo>
                  <a:lnTo>
                    <a:pt x="410" y="272"/>
                  </a:lnTo>
                  <a:lnTo>
                    <a:pt x="408" y="276"/>
                  </a:lnTo>
                  <a:lnTo>
                    <a:pt x="404" y="270"/>
                  </a:lnTo>
                  <a:lnTo>
                    <a:pt x="404" y="262"/>
                  </a:lnTo>
                  <a:lnTo>
                    <a:pt x="398" y="255"/>
                  </a:lnTo>
                  <a:lnTo>
                    <a:pt x="392" y="261"/>
                  </a:lnTo>
                  <a:lnTo>
                    <a:pt x="385" y="264"/>
                  </a:lnTo>
                  <a:lnTo>
                    <a:pt x="382" y="259"/>
                  </a:lnTo>
                  <a:lnTo>
                    <a:pt x="385" y="255"/>
                  </a:lnTo>
                  <a:lnTo>
                    <a:pt x="380" y="254"/>
                  </a:lnTo>
                  <a:lnTo>
                    <a:pt x="373" y="261"/>
                  </a:lnTo>
                  <a:lnTo>
                    <a:pt x="379" y="267"/>
                  </a:lnTo>
                  <a:lnTo>
                    <a:pt x="388" y="267"/>
                  </a:lnTo>
                  <a:lnTo>
                    <a:pt x="396" y="272"/>
                  </a:lnTo>
                  <a:lnTo>
                    <a:pt x="392" y="278"/>
                  </a:lnTo>
                  <a:lnTo>
                    <a:pt x="375" y="280"/>
                  </a:lnTo>
                  <a:lnTo>
                    <a:pt x="371" y="277"/>
                  </a:lnTo>
                  <a:lnTo>
                    <a:pt x="365" y="277"/>
                  </a:lnTo>
                  <a:lnTo>
                    <a:pt x="362" y="285"/>
                  </a:lnTo>
                  <a:lnTo>
                    <a:pt x="367" y="290"/>
                  </a:lnTo>
                  <a:lnTo>
                    <a:pt x="362" y="296"/>
                  </a:lnTo>
                  <a:lnTo>
                    <a:pt x="368" y="295"/>
                  </a:lnTo>
                  <a:lnTo>
                    <a:pt x="376" y="286"/>
                  </a:lnTo>
                  <a:lnTo>
                    <a:pt x="383" y="286"/>
                  </a:lnTo>
                  <a:lnTo>
                    <a:pt x="388" y="293"/>
                  </a:lnTo>
                  <a:lnTo>
                    <a:pt x="375" y="294"/>
                  </a:lnTo>
                  <a:lnTo>
                    <a:pt x="374" y="302"/>
                  </a:lnTo>
                  <a:lnTo>
                    <a:pt x="379" y="307"/>
                  </a:lnTo>
                  <a:lnTo>
                    <a:pt x="388" y="313"/>
                  </a:lnTo>
                  <a:lnTo>
                    <a:pt x="388" y="319"/>
                  </a:lnTo>
                  <a:lnTo>
                    <a:pt x="381" y="314"/>
                  </a:lnTo>
                  <a:lnTo>
                    <a:pt x="375" y="315"/>
                  </a:lnTo>
                  <a:lnTo>
                    <a:pt x="369" y="307"/>
                  </a:lnTo>
                  <a:lnTo>
                    <a:pt x="364" y="307"/>
                  </a:lnTo>
                  <a:lnTo>
                    <a:pt x="359" y="313"/>
                  </a:lnTo>
                  <a:lnTo>
                    <a:pt x="365" y="317"/>
                  </a:lnTo>
                  <a:lnTo>
                    <a:pt x="357" y="318"/>
                  </a:lnTo>
                  <a:lnTo>
                    <a:pt x="348" y="323"/>
                  </a:lnTo>
                  <a:lnTo>
                    <a:pt x="348" y="329"/>
                  </a:lnTo>
                  <a:lnTo>
                    <a:pt x="357" y="331"/>
                  </a:lnTo>
                  <a:lnTo>
                    <a:pt x="365" y="328"/>
                  </a:lnTo>
                  <a:lnTo>
                    <a:pt x="369" y="331"/>
                  </a:lnTo>
                  <a:lnTo>
                    <a:pt x="377" y="330"/>
                  </a:lnTo>
                  <a:lnTo>
                    <a:pt x="380" y="336"/>
                  </a:lnTo>
                  <a:lnTo>
                    <a:pt x="385" y="338"/>
                  </a:lnTo>
                  <a:lnTo>
                    <a:pt x="385" y="343"/>
                  </a:lnTo>
                  <a:lnTo>
                    <a:pt x="374" y="337"/>
                  </a:lnTo>
                  <a:lnTo>
                    <a:pt x="364" y="337"/>
                  </a:lnTo>
                  <a:lnTo>
                    <a:pt x="359" y="340"/>
                  </a:lnTo>
                  <a:lnTo>
                    <a:pt x="347" y="341"/>
                  </a:lnTo>
                  <a:lnTo>
                    <a:pt x="347" y="347"/>
                  </a:lnTo>
                  <a:lnTo>
                    <a:pt x="340" y="351"/>
                  </a:lnTo>
                  <a:lnTo>
                    <a:pt x="336" y="348"/>
                  </a:lnTo>
                  <a:lnTo>
                    <a:pt x="325" y="354"/>
                  </a:lnTo>
                  <a:lnTo>
                    <a:pt x="319" y="354"/>
                  </a:lnTo>
                  <a:lnTo>
                    <a:pt x="318" y="358"/>
                  </a:lnTo>
                  <a:lnTo>
                    <a:pt x="324" y="360"/>
                  </a:lnTo>
                  <a:lnTo>
                    <a:pt x="330" y="366"/>
                  </a:lnTo>
                  <a:lnTo>
                    <a:pt x="324" y="369"/>
                  </a:lnTo>
                  <a:lnTo>
                    <a:pt x="321" y="367"/>
                  </a:lnTo>
                  <a:lnTo>
                    <a:pt x="318" y="369"/>
                  </a:lnTo>
                  <a:lnTo>
                    <a:pt x="323" y="374"/>
                  </a:lnTo>
                  <a:lnTo>
                    <a:pt x="322" y="377"/>
                  </a:lnTo>
                  <a:lnTo>
                    <a:pt x="313" y="376"/>
                  </a:lnTo>
                  <a:lnTo>
                    <a:pt x="312" y="374"/>
                  </a:lnTo>
                  <a:lnTo>
                    <a:pt x="309" y="376"/>
                  </a:lnTo>
                  <a:lnTo>
                    <a:pt x="315" y="381"/>
                  </a:lnTo>
                  <a:lnTo>
                    <a:pt x="311" y="383"/>
                  </a:lnTo>
                  <a:lnTo>
                    <a:pt x="312" y="388"/>
                  </a:lnTo>
                  <a:lnTo>
                    <a:pt x="317" y="388"/>
                  </a:lnTo>
                  <a:lnTo>
                    <a:pt x="312" y="390"/>
                  </a:lnTo>
                  <a:lnTo>
                    <a:pt x="306" y="392"/>
                  </a:lnTo>
                  <a:lnTo>
                    <a:pt x="304" y="389"/>
                  </a:lnTo>
                  <a:lnTo>
                    <a:pt x="304" y="393"/>
                  </a:lnTo>
                  <a:lnTo>
                    <a:pt x="301" y="398"/>
                  </a:lnTo>
                  <a:lnTo>
                    <a:pt x="306" y="400"/>
                  </a:lnTo>
                  <a:lnTo>
                    <a:pt x="318" y="404"/>
                  </a:lnTo>
                  <a:lnTo>
                    <a:pt x="319" y="409"/>
                  </a:lnTo>
                  <a:lnTo>
                    <a:pt x="324" y="410"/>
                  </a:lnTo>
                  <a:lnTo>
                    <a:pt x="332" y="407"/>
                  </a:lnTo>
                  <a:lnTo>
                    <a:pt x="325" y="412"/>
                  </a:lnTo>
                  <a:lnTo>
                    <a:pt x="325" y="416"/>
                  </a:lnTo>
                  <a:lnTo>
                    <a:pt x="318" y="416"/>
                  </a:lnTo>
                  <a:lnTo>
                    <a:pt x="315" y="412"/>
                  </a:lnTo>
                  <a:lnTo>
                    <a:pt x="302" y="412"/>
                  </a:lnTo>
                  <a:lnTo>
                    <a:pt x="294" y="419"/>
                  </a:lnTo>
                  <a:lnTo>
                    <a:pt x="296" y="422"/>
                  </a:lnTo>
                  <a:lnTo>
                    <a:pt x="305" y="423"/>
                  </a:lnTo>
                  <a:lnTo>
                    <a:pt x="306" y="428"/>
                  </a:lnTo>
                  <a:lnTo>
                    <a:pt x="311" y="432"/>
                  </a:lnTo>
                  <a:lnTo>
                    <a:pt x="310" y="438"/>
                  </a:lnTo>
                  <a:lnTo>
                    <a:pt x="305" y="433"/>
                  </a:lnTo>
                  <a:lnTo>
                    <a:pt x="301" y="433"/>
                  </a:lnTo>
                  <a:lnTo>
                    <a:pt x="296" y="438"/>
                  </a:lnTo>
                  <a:lnTo>
                    <a:pt x="296" y="442"/>
                  </a:lnTo>
                  <a:lnTo>
                    <a:pt x="294" y="445"/>
                  </a:lnTo>
                  <a:lnTo>
                    <a:pt x="299" y="448"/>
                  </a:lnTo>
                  <a:lnTo>
                    <a:pt x="300" y="454"/>
                  </a:lnTo>
                  <a:lnTo>
                    <a:pt x="296" y="454"/>
                  </a:lnTo>
                  <a:lnTo>
                    <a:pt x="292" y="450"/>
                  </a:lnTo>
                  <a:lnTo>
                    <a:pt x="288" y="452"/>
                  </a:lnTo>
                  <a:lnTo>
                    <a:pt x="288" y="459"/>
                  </a:lnTo>
                  <a:lnTo>
                    <a:pt x="296" y="461"/>
                  </a:lnTo>
                  <a:lnTo>
                    <a:pt x="298" y="464"/>
                  </a:lnTo>
                  <a:lnTo>
                    <a:pt x="296" y="469"/>
                  </a:lnTo>
                  <a:lnTo>
                    <a:pt x="287" y="463"/>
                  </a:lnTo>
                  <a:lnTo>
                    <a:pt x="282" y="464"/>
                  </a:lnTo>
                  <a:lnTo>
                    <a:pt x="282" y="471"/>
                  </a:lnTo>
                  <a:lnTo>
                    <a:pt x="284" y="471"/>
                  </a:lnTo>
                  <a:lnTo>
                    <a:pt x="284" y="479"/>
                  </a:lnTo>
                  <a:lnTo>
                    <a:pt x="288" y="486"/>
                  </a:lnTo>
                  <a:lnTo>
                    <a:pt x="293" y="486"/>
                  </a:lnTo>
                  <a:lnTo>
                    <a:pt x="296" y="480"/>
                  </a:lnTo>
                  <a:lnTo>
                    <a:pt x="301" y="480"/>
                  </a:lnTo>
                  <a:lnTo>
                    <a:pt x="298" y="488"/>
                  </a:lnTo>
                  <a:lnTo>
                    <a:pt x="292" y="490"/>
                  </a:lnTo>
                  <a:lnTo>
                    <a:pt x="284" y="497"/>
                  </a:lnTo>
                  <a:lnTo>
                    <a:pt x="277" y="497"/>
                  </a:lnTo>
                  <a:lnTo>
                    <a:pt x="272" y="499"/>
                  </a:lnTo>
                  <a:lnTo>
                    <a:pt x="271" y="503"/>
                  </a:lnTo>
                  <a:lnTo>
                    <a:pt x="264" y="506"/>
                  </a:lnTo>
                  <a:lnTo>
                    <a:pt x="259" y="511"/>
                  </a:lnTo>
                  <a:lnTo>
                    <a:pt x="265" y="514"/>
                  </a:lnTo>
                  <a:lnTo>
                    <a:pt x="263" y="517"/>
                  </a:lnTo>
                  <a:lnTo>
                    <a:pt x="251" y="519"/>
                  </a:lnTo>
                  <a:lnTo>
                    <a:pt x="246" y="525"/>
                  </a:lnTo>
                  <a:lnTo>
                    <a:pt x="247" y="528"/>
                  </a:lnTo>
                  <a:lnTo>
                    <a:pt x="255" y="531"/>
                  </a:lnTo>
                  <a:lnTo>
                    <a:pt x="248" y="533"/>
                  </a:lnTo>
                  <a:lnTo>
                    <a:pt x="246" y="540"/>
                  </a:lnTo>
                  <a:lnTo>
                    <a:pt x="238" y="540"/>
                  </a:lnTo>
                  <a:lnTo>
                    <a:pt x="237" y="534"/>
                  </a:lnTo>
                  <a:lnTo>
                    <a:pt x="232" y="532"/>
                  </a:lnTo>
                  <a:lnTo>
                    <a:pt x="230" y="535"/>
                  </a:lnTo>
                  <a:lnTo>
                    <a:pt x="224" y="535"/>
                  </a:lnTo>
                  <a:lnTo>
                    <a:pt x="226" y="540"/>
                  </a:lnTo>
                  <a:lnTo>
                    <a:pt x="222" y="544"/>
                  </a:lnTo>
                  <a:lnTo>
                    <a:pt x="220" y="549"/>
                  </a:lnTo>
                  <a:lnTo>
                    <a:pt x="223" y="552"/>
                  </a:lnTo>
                  <a:lnTo>
                    <a:pt x="213" y="552"/>
                  </a:lnTo>
                  <a:lnTo>
                    <a:pt x="208" y="555"/>
                  </a:lnTo>
                  <a:lnTo>
                    <a:pt x="208" y="563"/>
                  </a:lnTo>
                  <a:lnTo>
                    <a:pt x="201" y="568"/>
                  </a:lnTo>
                  <a:lnTo>
                    <a:pt x="202" y="571"/>
                  </a:lnTo>
                  <a:lnTo>
                    <a:pt x="200" y="579"/>
                  </a:lnTo>
                  <a:lnTo>
                    <a:pt x="195" y="584"/>
                  </a:lnTo>
                  <a:lnTo>
                    <a:pt x="186" y="591"/>
                  </a:lnTo>
                  <a:lnTo>
                    <a:pt x="189" y="594"/>
                  </a:lnTo>
                  <a:lnTo>
                    <a:pt x="197" y="589"/>
                  </a:lnTo>
                  <a:lnTo>
                    <a:pt x="202" y="589"/>
                  </a:lnTo>
                  <a:lnTo>
                    <a:pt x="202" y="594"/>
                  </a:lnTo>
                  <a:lnTo>
                    <a:pt x="196" y="596"/>
                  </a:lnTo>
                  <a:lnTo>
                    <a:pt x="195" y="604"/>
                  </a:lnTo>
                  <a:lnTo>
                    <a:pt x="201" y="610"/>
                  </a:lnTo>
                  <a:lnTo>
                    <a:pt x="211" y="606"/>
                  </a:lnTo>
                  <a:lnTo>
                    <a:pt x="220" y="604"/>
                  </a:lnTo>
                  <a:lnTo>
                    <a:pt x="235" y="591"/>
                  </a:lnTo>
                  <a:lnTo>
                    <a:pt x="235" y="586"/>
                  </a:lnTo>
                  <a:lnTo>
                    <a:pt x="228" y="587"/>
                  </a:lnTo>
                  <a:lnTo>
                    <a:pt x="234" y="580"/>
                  </a:lnTo>
                  <a:lnTo>
                    <a:pt x="236" y="572"/>
                  </a:lnTo>
                  <a:lnTo>
                    <a:pt x="238" y="571"/>
                  </a:lnTo>
                  <a:lnTo>
                    <a:pt x="243" y="567"/>
                  </a:lnTo>
                  <a:lnTo>
                    <a:pt x="251" y="569"/>
                  </a:lnTo>
                  <a:lnTo>
                    <a:pt x="255" y="568"/>
                  </a:lnTo>
                  <a:lnTo>
                    <a:pt x="243" y="575"/>
                  </a:lnTo>
                  <a:lnTo>
                    <a:pt x="242" y="581"/>
                  </a:lnTo>
                  <a:lnTo>
                    <a:pt x="255" y="585"/>
                  </a:lnTo>
                  <a:lnTo>
                    <a:pt x="251" y="590"/>
                  </a:lnTo>
                  <a:lnTo>
                    <a:pt x="244" y="590"/>
                  </a:lnTo>
                  <a:lnTo>
                    <a:pt x="231" y="603"/>
                  </a:lnTo>
                  <a:lnTo>
                    <a:pt x="240" y="607"/>
                  </a:lnTo>
                  <a:lnTo>
                    <a:pt x="235" y="612"/>
                  </a:lnTo>
                  <a:lnTo>
                    <a:pt x="235" y="619"/>
                  </a:lnTo>
                  <a:lnTo>
                    <a:pt x="228" y="619"/>
                  </a:lnTo>
                  <a:lnTo>
                    <a:pt x="220" y="613"/>
                  </a:lnTo>
                  <a:lnTo>
                    <a:pt x="211" y="613"/>
                  </a:lnTo>
                  <a:lnTo>
                    <a:pt x="206" y="618"/>
                  </a:lnTo>
                  <a:lnTo>
                    <a:pt x="205" y="624"/>
                  </a:lnTo>
                  <a:lnTo>
                    <a:pt x="197" y="627"/>
                  </a:lnTo>
                  <a:lnTo>
                    <a:pt x="191" y="631"/>
                  </a:lnTo>
                  <a:lnTo>
                    <a:pt x="196" y="626"/>
                  </a:lnTo>
                  <a:lnTo>
                    <a:pt x="200" y="624"/>
                  </a:lnTo>
                  <a:lnTo>
                    <a:pt x="195" y="616"/>
                  </a:lnTo>
                  <a:lnTo>
                    <a:pt x="195" y="609"/>
                  </a:lnTo>
                  <a:lnTo>
                    <a:pt x="188" y="601"/>
                  </a:lnTo>
                  <a:lnTo>
                    <a:pt x="182" y="601"/>
                  </a:lnTo>
                  <a:lnTo>
                    <a:pt x="178" y="607"/>
                  </a:lnTo>
                  <a:lnTo>
                    <a:pt x="170" y="608"/>
                  </a:lnTo>
                  <a:lnTo>
                    <a:pt x="170" y="612"/>
                  </a:lnTo>
                  <a:lnTo>
                    <a:pt x="180" y="612"/>
                  </a:lnTo>
                  <a:lnTo>
                    <a:pt x="170" y="621"/>
                  </a:lnTo>
                  <a:lnTo>
                    <a:pt x="162" y="618"/>
                  </a:lnTo>
                  <a:lnTo>
                    <a:pt x="155" y="619"/>
                  </a:lnTo>
                  <a:lnTo>
                    <a:pt x="147" y="626"/>
                  </a:lnTo>
                  <a:lnTo>
                    <a:pt x="151" y="627"/>
                  </a:lnTo>
                  <a:lnTo>
                    <a:pt x="156" y="625"/>
                  </a:lnTo>
                  <a:lnTo>
                    <a:pt x="159" y="627"/>
                  </a:lnTo>
                  <a:lnTo>
                    <a:pt x="149" y="632"/>
                  </a:lnTo>
                  <a:lnTo>
                    <a:pt x="144" y="637"/>
                  </a:lnTo>
                  <a:lnTo>
                    <a:pt x="141" y="633"/>
                  </a:lnTo>
                  <a:lnTo>
                    <a:pt x="134" y="633"/>
                  </a:lnTo>
                  <a:lnTo>
                    <a:pt x="133" y="637"/>
                  </a:lnTo>
                  <a:lnTo>
                    <a:pt x="143" y="643"/>
                  </a:lnTo>
                  <a:lnTo>
                    <a:pt x="155" y="643"/>
                  </a:lnTo>
                  <a:lnTo>
                    <a:pt x="153" y="648"/>
                  </a:lnTo>
                  <a:lnTo>
                    <a:pt x="157" y="650"/>
                  </a:lnTo>
                  <a:lnTo>
                    <a:pt x="157" y="655"/>
                  </a:lnTo>
                  <a:lnTo>
                    <a:pt x="147" y="653"/>
                  </a:lnTo>
                  <a:lnTo>
                    <a:pt x="145" y="647"/>
                  </a:lnTo>
                  <a:lnTo>
                    <a:pt x="137" y="647"/>
                  </a:lnTo>
                  <a:lnTo>
                    <a:pt x="130" y="641"/>
                  </a:lnTo>
                  <a:lnTo>
                    <a:pt x="127" y="636"/>
                  </a:lnTo>
                  <a:lnTo>
                    <a:pt x="125" y="636"/>
                  </a:lnTo>
                  <a:lnTo>
                    <a:pt x="124" y="642"/>
                  </a:lnTo>
                  <a:lnTo>
                    <a:pt x="131" y="652"/>
                  </a:lnTo>
                  <a:lnTo>
                    <a:pt x="139" y="658"/>
                  </a:lnTo>
                  <a:lnTo>
                    <a:pt x="147" y="659"/>
                  </a:lnTo>
                  <a:lnTo>
                    <a:pt x="150" y="662"/>
                  </a:lnTo>
                  <a:lnTo>
                    <a:pt x="143" y="662"/>
                  </a:lnTo>
                  <a:lnTo>
                    <a:pt x="131" y="658"/>
                  </a:lnTo>
                  <a:lnTo>
                    <a:pt x="119" y="645"/>
                  </a:lnTo>
                  <a:lnTo>
                    <a:pt x="113" y="649"/>
                  </a:lnTo>
                  <a:lnTo>
                    <a:pt x="105" y="644"/>
                  </a:lnTo>
                  <a:lnTo>
                    <a:pt x="97" y="644"/>
                  </a:lnTo>
                  <a:lnTo>
                    <a:pt x="92" y="641"/>
                  </a:lnTo>
                  <a:lnTo>
                    <a:pt x="89" y="644"/>
                  </a:lnTo>
                  <a:lnTo>
                    <a:pt x="90" y="650"/>
                  </a:lnTo>
                  <a:lnTo>
                    <a:pt x="85" y="655"/>
                  </a:lnTo>
                  <a:lnTo>
                    <a:pt x="92" y="661"/>
                  </a:lnTo>
                  <a:lnTo>
                    <a:pt x="107" y="658"/>
                  </a:lnTo>
                  <a:lnTo>
                    <a:pt x="109" y="660"/>
                  </a:lnTo>
                  <a:lnTo>
                    <a:pt x="103" y="665"/>
                  </a:lnTo>
                  <a:lnTo>
                    <a:pt x="107" y="666"/>
                  </a:lnTo>
                  <a:lnTo>
                    <a:pt x="118" y="661"/>
                  </a:lnTo>
                  <a:lnTo>
                    <a:pt x="124" y="661"/>
                  </a:lnTo>
                  <a:lnTo>
                    <a:pt x="120" y="666"/>
                  </a:lnTo>
                  <a:lnTo>
                    <a:pt x="107" y="671"/>
                  </a:lnTo>
                  <a:lnTo>
                    <a:pt x="102" y="677"/>
                  </a:lnTo>
                  <a:lnTo>
                    <a:pt x="93" y="676"/>
                  </a:lnTo>
                  <a:lnTo>
                    <a:pt x="85" y="666"/>
                  </a:lnTo>
                  <a:lnTo>
                    <a:pt x="81" y="666"/>
                  </a:lnTo>
                  <a:lnTo>
                    <a:pt x="76" y="670"/>
                  </a:lnTo>
                  <a:lnTo>
                    <a:pt x="70" y="665"/>
                  </a:lnTo>
                  <a:lnTo>
                    <a:pt x="64" y="667"/>
                  </a:lnTo>
                  <a:lnTo>
                    <a:pt x="61" y="665"/>
                  </a:lnTo>
                  <a:lnTo>
                    <a:pt x="53" y="668"/>
                  </a:lnTo>
                  <a:lnTo>
                    <a:pt x="56" y="672"/>
                  </a:lnTo>
                  <a:lnTo>
                    <a:pt x="70" y="674"/>
                  </a:lnTo>
                  <a:lnTo>
                    <a:pt x="79" y="679"/>
                  </a:lnTo>
                  <a:lnTo>
                    <a:pt x="91" y="684"/>
                  </a:lnTo>
                  <a:lnTo>
                    <a:pt x="87" y="691"/>
                  </a:lnTo>
                  <a:lnTo>
                    <a:pt x="91" y="696"/>
                  </a:lnTo>
                  <a:lnTo>
                    <a:pt x="85" y="700"/>
                  </a:lnTo>
                  <a:lnTo>
                    <a:pt x="81" y="696"/>
                  </a:lnTo>
                  <a:lnTo>
                    <a:pt x="81" y="685"/>
                  </a:lnTo>
                  <a:lnTo>
                    <a:pt x="74" y="683"/>
                  </a:lnTo>
                  <a:lnTo>
                    <a:pt x="66" y="684"/>
                  </a:lnTo>
                  <a:lnTo>
                    <a:pt x="69" y="690"/>
                  </a:lnTo>
                  <a:lnTo>
                    <a:pt x="67" y="694"/>
                  </a:lnTo>
                  <a:lnTo>
                    <a:pt x="57" y="689"/>
                  </a:lnTo>
                  <a:lnTo>
                    <a:pt x="49" y="696"/>
                  </a:lnTo>
                  <a:lnTo>
                    <a:pt x="57" y="702"/>
                  </a:lnTo>
                  <a:lnTo>
                    <a:pt x="50" y="702"/>
                  </a:lnTo>
                  <a:lnTo>
                    <a:pt x="45" y="705"/>
                  </a:lnTo>
                  <a:lnTo>
                    <a:pt x="43" y="696"/>
                  </a:lnTo>
                  <a:lnTo>
                    <a:pt x="29" y="696"/>
                  </a:lnTo>
                  <a:lnTo>
                    <a:pt x="34" y="705"/>
                  </a:lnTo>
                  <a:lnTo>
                    <a:pt x="28" y="707"/>
                  </a:lnTo>
                  <a:lnTo>
                    <a:pt x="26" y="700"/>
                  </a:lnTo>
                  <a:lnTo>
                    <a:pt x="18" y="694"/>
                  </a:lnTo>
                  <a:lnTo>
                    <a:pt x="14" y="695"/>
                  </a:lnTo>
                  <a:lnTo>
                    <a:pt x="15" y="700"/>
                  </a:lnTo>
                  <a:lnTo>
                    <a:pt x="23" y="707"/>
                  </a:lnTo>
                  <a:lnTo>
                    <a:pt x="20" y="712"/>
                  </a:lnTo>
                  <a:lnTo>
                    <a:pt x="23" y="714"/>
                  </a:lnTo>
                  <a:lnTo>
                    <a:pt x="34" y="712"/>
                  </a:lnTo>
                  <a:lnTo>
                    <a:pt x="47" y="714"/>
                  </a:lnTo>
                  <a:lnTo>
                    <a:pt x="56" y="719"/>
                  </a:lnTo>
                  <a:lnTo>
                    <a:pt x="69" y="719"/>
                  </a:lnTo>
                  <a:lnTo>
                    <a:pt x="74" y="717"/>
                  </a:lnTo>
                  <a:lnTo>
                    <a:pt x="80" y="717"/>
                  </a:lnTo>
                  <a:lnTo>
                    <a:pt x="72" y="724"/>
                  </a:lnTo>
                  <a:lnTo>
                    <a:pt x="60" y="723"/>
                  </a:lnTo>
                  <a:lnTo>
                    <a:pt x="55" y="725"/>
                  </a:lnTo>
                  <a:lnTo>
                    <a:pt x="40" y="719"/>
                  </a:lnTo>
                  <a:lnTo>
                    <a:pt x="32" y="720"/>
                  </a:lnTo>
                  <a:lnTo>
                    <a:pt x="28" y="719"/>
                  </a:lnTo>
                  <a:lnTo>
                    <a:pt x="21" y="724"/>
                  </a:lnTo>
                  <a:lnTo>
                    <a:pt x="11" y="726"/>
                  </a:lnTo>
                  <a:lnTo>
                    <a:pt x="10" y="729"/>
                  </a:lnTo>
                  <a:lnTo>
                    <a:pt x="24" y="735"/>
                  </a:lnTo>
                  <a:lnTo>
                    <a:pt x="20" y="741"/>
                  </a:lnTo>
                  <a:lnTo>
                    <a:pt x="27" y="742"/>
                  </a:lnTo>
                  <a:lnTo>
                    <a:pt x="32" y="740"/>
                  </a:lnTo>
                  <a:lnTo>
                    <a:pt x="44" y="740"/>
                  </a:lnTo>
                  <a:lnTo>
                    <a:pt x="35" y="745"/>
                  </a:lnTo>
                  <a:lnTo>
                    <a:pt x="22" y="745"/>
                  </a:lnTo>
                  <a:lnTo>
                    <a:pt x="18" y="747"/>
                  </a:lnTo>
                  <a:lnTo>
                    <a:pt x="15" y="746"/>
                  </a:lnTo>
                  <a:lnTo>
                    <a:pt x="15" y="748"/>
                  </a:lnTo>
                  <a:lnTo>
                    <a:pt x="21" y="751"/>
                  </a:lnTo>
                  <a:lnTo>
                    <a:pt x="26" y="751"/>
                  </a:lnTo>
                  <a:lnTo>
                    <a:pt x="18" y="754"/>
                  </a:lnTo>
                  <a:lnTo>
                    <a:pt x="15" y="755"/>
                  </a:lnTo>
                  <a:lnTo>
                    <a:pt x="16" y="759"/>
                  </a:lnTo>
                  <a:lnTo>
                    <a:pt x="20" y="763"/>
                  </a:lnTo>
                  <a:lnTo>
                    <a:pt x="23" y="766"/>
                  </a:lnTo>
                  <a:lnTo>
                    <a:pt x="33" y="766"/>
                  </a:lnTo>
                  <a:lnTo>
                    <a:pt x="39" y="763"/>
                  </a:lnTo>
                  <a:lnTo>
                    <a:pt x="52" y="762"/>
                  </a:lnTo>
                  <a:lnTo>
                    <a:pt x="62" y="763"/>
                  </a:lnTo>
                  <a:lnTo>
                    <a:pt x="66" y="765"/>
                  </a:lnTo>
                  <a:lnTo>
                    <a:pt x="72" y="762"/>
                  </a:lnTo>
                  <a:lnTo>
                    <a:pt x="72" y="757"/>
                  </a:lnTo>
                  <a:lnTo>
                    <a:pt x="78" y="754"/>
                  </a:lnTo>
                  <a:lnTo>
                    <a:pt x="80" y="759"/>
                  </a:lnTo>
                  <a:lnTo>
                    <a:pt x="87" y="759"/>
                  </a:lnTo>
                  <a:lnTo>
                    <a:pt x="97" y="753"/>
                  </a:lnTo>
                  <a:lnTo>
                    <a:pt x="102" y="754"/>
                  </a:lnTo>
                  <a:lnTo>
                    <a:pt x="99" y="758"/>
                  </a:lnTo>
                  <a:lnTo>
                    <a:pt x="95" y="760"/>
                  </a:lnTo>
                  <a:lnTo>
                    <a:pt x="103" y="763"/>
                  </a:lnTo>
                  <a:lnTo>
                    <a:pt x="108" y="759"/>
                  </a:lnTo>
                  <a:lnTo>
                    <a:pt x="105" y="754"/>
                  </a:lnTo>
                  <a:lnTo>
                    <a:pt x="113" y="746"/>
                  </a:lnTo>
                  <a:lnTo>
                    <a:pt x="110" y="752"/>
                  </a:lnTo>
                  <a:lnTo>
                    <a:pt x="118" y="760"/>
                  </a:lnTo>
                  <a:lnTo>
                    <a:pt x="113" y="766"/>
                  </a:lnTo>
                  <a:lnTo>
                    <a:pt x="101" y="769"/>
                  </a:lnTo>
                  <a:lnTo>
                    <a:pt x="95" y="772"/>
                  </a:lnTo>
                  <a:lnTo>
                    <a:pt x="98" y="775"/>
                  </a:lnTo>
                  <a:lnTo>
                    <a:pt x="93" y="782"/>
                  </a:lnTo>
                  <a:lnTo>
                    <a:pt x="84" y="782"/>
                  </a:lnTo>
                  <a:lnTo>
                    <a:pt x="83" y="778"/>
                  </a:lnTo>
                  <a:lnTo>
                    <a:pt x="89" y="775"/>
                  </a:lnTo>
                  <a:lnTo>
                    <a:pt x="87" y="766"/>
                  </a:lnTo>
                  <a:lnTo>
                    <a:pt x="79" y="765"/>
                  </a:lnTo>
                  <a:lnTo>
                    <a:pt x="69" y="774"/>
                  </a:lnTo>
                  <a:lnTo>
                    <a:pt x="68" y="778"/>
                  </a:lnTo>
                  <a:lnTo>
                    <a:pt x="61" y="771"/>
                  </a:lnTo>
                  <a:lnTo>
                    <a:pt x="53" y="769"/>
                  </a:lnTo>
                  <a:lnTo>
                    <a:pt x="44" y="771"/>
                  </a:lnTo>
                  <a:lnTo>
                    <a:pt x="38" y="769"/>
                  </a:lnTo>
                  <a:lnTo>
                    <a:pt x="27" y="775"/>
                  </a:lnTo>
                  <a:lnTo>
                    <a:pt x="21" y="775"/>
                  </a:lnTo>
                  <a:lnTo>
                    <a:pt x="15" y="770"/>
                  </a:lnTo>
                  <a:lnTo>
                    <a:pt x="12" y="771"/>
                  </a:lnTo>
                  <a:lnTo>
                    <a:pt x="16" y="778"/>
                  </a:lnTo>
                  <a:lnTo>
                    <a:pt x="14" y="783"/>
                  </a:lnTo>
                  <a:lnTo>
                    <a:pt x="17" y="786"/>
                  </a:lnTo>
                  <a:lnTo>
                    <a:pt x="24" y="784"/>
                  </a:lnTo>
                  <a:lnTo>
                    <a:pt x="28" y="781"/>
                  </a:lnTo>
                  <a:lnTo>
                    <a:pt x="33" y="781"/>
                  </a:lnTo>
                  <a:lnTo>
                    <a:pt x="27" y="787"/>
                  </a:lnTo>
                  <a:lnTo>
                    <a:pt x="28" y="794"/>
                  </a:lnTo>
                  <a:lnTo>
                    <a:pt x="24" y="797"/>
                  </a:lnTo>
                  <a:lnTo>
                    <a:pt x="17" y="793"/>
                  </a:lnTo>
                  <a:lnTo>
                    <a:pt x="21" y="803"/>
                  </a:lnTo>
                  <a:lnTo>
                    <a:pt x="26" y="806"/>
                  </a:lnTo>
                  <a:lnTo>
                    <a:pt x="39" y="793"/>
                  </a:lnTo>
                  <a:lnTo>
                    <a:pt x="47" y="797"/>
                  </a:lnTo>
                  <a:lnTo>
                    <a:pt x="44" y="800"/>
                  </a:lnTo>
                  <a:lnTo>
                    <a:pt x="45" y="807"/>
                  </a:lnTo>
                  <a:lnTo>
                    <a:pt x="34" y="812"/>
                  </a:lnTo>
                  <a:lnTo>
                    <a:pt x="35" y="815"/>
                  </a:lnTo>
                  <a:lnTo>
                    <a:pt x="43" y="816"/>
                  </a:lnTo>
                  <a:lnTo>
                    <a:pt x="39" y="821"/>
                  </a:lnTo>
                  <a:lnTo>
                    <a:pt x="44" y="828"/>
                  </a:lnTo>
                  <a:lnTo>
                    <a:pt x="40" y="835"/>
                  </a:lnTo>
                  <a:lnTo>
                    <a:pt x="44" y="836"/>
                  </a:lnTo>
                  <a:lnTo>
                    <a:pt x="50" y="826"/>
                  </a:lnTo>
                  <a:lnTo>
                    <a:pt x="57" y="823"/>
                  </a:lnTo>
                  <a:lnTo>
                    <a:pt x="58" y="815"/>
                  </a:lnTo>
                  <a:lnTo>
                    <a:pt x="75" y="809"/>
                  </a:lnTo>
                  <a:lnTo>
                    <a:pt x="84" y="809"/>
                  </a:lnTo>
                  <a:lnTo>
                    <a:pt x="90" y="807"/>
                  </a:lnTo>
                  <a:lnTo>
                    <a:pt x="85" y="810"/>
                  </a:lnTo>
                  <a:lnTo>
                    <a:pt x="76" y="816"/>
                  </a:lnTo>
                  <a:lnTo>
                    <a:pt x="76" y="826"/>
                  </a:lnTo>
                  <a:lnTo>
                    <a:pt x="79" y="832"/>
                  </a:lnTo>
                  <a:lnTo>
                    <a:pt x="73" y="827"/>
                  </a:lnTo>
                  <a:lnTo>
                    <a:pt x="72" y="818"/>
                  </a:lnTo>
                  <a:lnTo>
                    <a:pt x="67" y="817"/>
                  </a:lnTo>
                  <a:lnTo>
                    <a:pt x="61" y="827"/>
                  </a:lnTo>
                  <a:lnTo>
                    <a:pt x="56" y="829"/>
                  </a:lnTo>
                  <a:lnTo>
                    <a:pt x="64" y="832"/>
                  </a:lnTo>
                  <a:lnTo>
                    <a:pt x="57" y="840"/>
                  </a:lnTo>
                  <a:lnTo>
                    <a:pt x="51" y="840"/>
                  </a:lnTo>
                  <a:lnTo>
                    <a:pt x="49" y="846"/>
                  </a:lnTo>
                  <a:lnTo>
                    <a:pt x="52" y="849"/>
                  </a:lnTo>
                  <a:lnTo>
                    <a:pt x="66" y="849"/>
                  </a:lnTo>
                  <a:lnTo>
                    <a:pt x="68" y="853"/>
                  </a:lnTo>
                  <a:lnTo>
                    <a:pt x="60" y="853"/>
                  </a:lnTo>
                  <a:lnTo>
                    <a:pt x="56" y="858"/>
                  </a:lnTo>
                  <a:lnTo>
                    <a:pt x="55" y="864"/>
                  </a:lnTo>
                  <a:lnTo>
                    <a:pt x="45" y="858"/>
                  </a:lnTo>
                  <a:lnTo>
                    <a:pt x="41" y="859"/>
                  </a:lnTo>
                  <a:lnTo>
                    <a:pt x="39" y="867"/>
                  </a:lnTo>
                  <a:lnTo>
                    <a:pt x="38" y="858"/>
                  </a:lnTo>
                  <a:lnTo>
                    <a:pt x="32" y="862"/>
                  </a:lnTo>
                  <a:lnTo>
                    <a:pt x="23" y="872"/>
                  </a:lnTo>
                  <a:lnTo>
                    <a:pt x="27" y="879"/>
                  </a:lnTo>
                  <a:lnTo>
                    <a:pt x="39" y="891"/>
                  </a:lnTo>
                  <a:lnTo>
                    <a:pt x="41" y="885"/>
                  </a:lnTo>
                  <a:lnTo>
                    <a:pt x="44" y="887"/>
                  </a:lnTo>
                  <a:lnTo>
                    <a:pt x="51" y="884"/>
                  </a:lnTo>
                  <a:lnTo>
                    <a:pt x="49" y="880"/>
                  </a:lnTo>
                  <a:lnTo>
                    <a:pt x="53" y="873"/>
                  </a:lnTo>
                  <a:lnTo>
                    <a:pt x="63" y="879"/>
                  </a:lnTo>
                  <a:lnTo>
                    <a:pt x="58" y="881"/>
                  </a:lnTo>
                  <a:lnTo>
                    <a:pt x="63" y="887"/>
                  </a:lnTo>
                  <a:lnTo>
                    <a:pt x="62" y="894"/>
                  </a:lnTo>
                  <a:lnTo>
                    <a:pt x="56" y="898"/>
                  </a:lnTo>
                  <a:lnTo>
                    <a:pt x="61" y="909"/>
                  </a:lnTo>
                  <a:lnTo>
                    <a:pt x="66" y="905"/>
                  </a:lnTo>
                  <a:lnTo>
                    <a:pt x="76" y="902"/>
                  </a:lnTo>
                  <a:lnTo>
                    <a:pt x="81" y="908"/>
                  </a:lnTo>
                  <a:lnTo>
                    <a:pt x="72" y="909"/>
                  </a:lnTo>
                  <a:lnTo>
                    <a:pt x="67" y="911"/>
                  </a:lnTo>
                  <a:lnTo>
                    <a:pt x="72" y="919"/>
                  </a:lnTo>
                  <a:lnTo>
                    <a:pt x="70" y="921"/>
                  </a:lnTo>
                  <a:lnTo>
                    <a:pt x="55" y="910"/>
                  </a:lnTo>
                  <a:lnTo>
                    <a:pt x="49" y="913"/>
                  </a:lnTo>
                  <a:lnTo>
                    <a:pt x="44" y="909"/>
                  </a:lnTo>
                  <a:lnTo>
                    <a:pt x="37" y="909"/>
                  </a:lnTo>
                  <a:lnTo>
                    <a:pt x="37" y="915"/>
                  </a:lnTo>
                  <a:lnTo>
                    <a:pt x="32" y="920"/>
                  </a:lnTo>
                  <a:lnTo>
                    <a:pt x="44" y="938"/>
                  </a:lnTo>
                  <a:lnTo>
                    <a:pt x="52" y="939"/>
                  </a:lnTo>
                  <a:lnTo>
                    <a:pt x="66" y="949"/>
                  </a:lnTo>
                  <a:lnTo>
                    <a:pt x="83" y="955"/>
                  </a:lnTo>
                  <a:lnTo>
                    <a:pt x="85" y="960"/>
                  </a:lnTo>
                  <a:lnTo>
                    <a:pt x="80" y="962"/>
                  </a:lnTo>
                  <a:lnTo>
                    <a:pt x="87" y="967"/>
                  </a:lnTo>
                  <a:lnTo>
                    <a:pt x="93" y="965"/>
                  </a:lnTo>
                  <a:lnTo>
                    <a:pt x="90" y="957"/>
                  </a:lnTo>
                  <a:lnTo>
                    <a:pt x="96" y="957"/>
                  </a:lnTo>
                  <a:lnTo>
                    <a:pt x="102" y="961"/>
                  </a:lnTo>
                  <a:lnTo>
                    <a:pt x="101" y="963"/>
                  </a:lnTo>
                  <a:lnTo>
                    <a:pt x="110" y="974"/>
                  </a:lnTo>
                  <a:lnTo>
                    <a:pt x="114" y="969"/>
                  </a:lnTo>
                  <a:lnTo>
                    <a:pt x="118" y="971"/>
                  </a:lnTo>
                  <a:lnTo>
                    <a:pt x="125" y="967"/>
                  </a:lnTo>
                  <a:lnTo>
                    <a:pt x="134" y="959"/>
                  </a:lnTo>
                  <a:lnTo>
                    <a:pt x="139" y="959"/>
                  </a:lnTo>
                  <a:lnTo>
                    <a:pt x="143" y="955"/>
                  </a:lnTo>
                  <a:lnTo>
                    <a:pt x="145" y="955"/>
                  </a:lnTo>
                  <a:lnTo>
                    <a:pt x="147" y="961"/>
                  </a:lnTo>
                  <a:lnTo>
                    <a:pt x="153" y="961"/>
                  </a:lnTo>
                  <a:lnTo>
                    <a:pt x="168" y="946"/>
                  </a:lnTo>
                  <a:lnTo>
                    <a:pt x="168" y="942"/>
                  </a:lnTo>
                  <a:lnTo>
                    <a:pt x="161" y="934"/>
                  </a:lnTo>
                  <a:lnTo>
                    <a:pt x="173" y="940"/>
                  </a:lnTo>
                  <a:lnTo>
                    <a:pt x="183" y="932"/>
                  </a:lnTo>
                  <a:lnTo>
                    <a:pt x="180" y="930"/>
                  </a:lnTo>
                  <a:lnTo>
                    <a:pt x="185" y="926"/>
                  </a:lnTo>
                  <a:lnTo>
                    <a:pt x="185" y="920"/>
                  </a:lnTo>
                  <a:lnTo>
                    <a:pt x="191" y="916"/>
                  </a:lnTo>
                  <a:lnTo>
                    <a:pt x="200" y="915"/>
                  </a:lnTo>
                  <a:lnTo>
                    <a:pt x="201" y="909"/>
                  </a:lnTo>
                  <a:lnTo>
                    <a:pt x="194" y="901"/>
                  </a:lnTo>
                  <a:lnTo>
                    <a:pt x="196" y="896"/>
                  </a:lnTo>
                  <a:lnTo>
                    <a:pt x="190" y="887"/>
                  </a:lnTo>
                  <a:lnTo>
                    <a:pt x="183" y="882"/>
                  </a:lnTo>
                  <a:lnTo>
                    <a:pt x="183" y="876"/>
                  </a:lnTo>
                  <a:lnTo>
                    <a:pt x="188" y="879"/>
                  </a:lnTo>
                  <a:lnTo>
                    <a:pt x="196" y="887"/>
                  </a:lnTo>
                  <a:lnTo>
                    <a:pt x="200" y="898"/>
                  </a:lnTo>
                  <a:lnTo>
                    <a:pt x="202" y="902"/>
                  </a:lnTo>
                  <a:lnTo>
                    <a:pt x="208" y="903"/>
                  </a:lnTo>
                  <a:lnTo>
                    <a:pt x="207" y="907"/>
                  </a:lnTo>
                  <a:lnTo>
                    <a:pt x="211" y="911"/>
                  </a:lnTo>
                  <a:lnTo>
                    <a:pt x="220" y="908"/>
                  </a:lnTo>
                  <a:lnTo>
                    <a:pt x="218" y="904"/>
                  </a:lnTo>
                  <a:lnTo>
                    <a:pt x="214" y="901"/>
                  </a:lnTo>
                  <a:lnTo>
                    <a:pt x="217" y="896"/>
                  </a:lnTo>
                  <a:lnTo>
                    <a:pt x="224" y="902"/>
                  </a:lnTo>
                  <a:lnTo>
                    <a:pt x="225" y="904"/>
                  </a:lnTo>
                  <a:lnTo>
                    <a:pt x="236" y="894"/>
                  </a:lnTo>
                  <a:lnTo>
                    <a:pt x="238" y="886"/>
                  </a:lnTo>
                  <a:lnTo>
                    <a:pt x="236" y="878"/>
                  </a:lnTo>
                  <a:lnTo>
                    <a:pt x="230" y="876"/>
                  </a:lnTo>
                  <a:lnTo>
                    <a:pt x="228" y="872"/>
                  </a:lnTo>
                  <a:lnTo>
                    <a:pt x="231" y="869"/>
                  </a:lnTo>
                  <a:lnTo>
                    <a:pt x="232" y="865"/>
                  </a:lnTo>
                  <a:lnTo>
                    <a:pt x="236" y="864"/>
                  </a:lnTo>
                  <a:lnTo>
                    <a:pt x="240" y="861"/>
                  </a:lnTo>
                  <a:lnTo>
                    <a:pt x="235" y="856"/>
                  </a:lnTo>
                  <a:lnTo>
                    <a:pt x="236" y="849"/>
                  </a:lnTo>
                  <a:lnTo>
                    <a:pt x="242" y="844"/>
                  </a:lnTo>
                  <a:lnTo>
                    <a:pt x="249" y="850"/>
                  </a:lnTo>
                  <a:lnTo>
                    <a:pt x="243" y="857"/>
                  </a:lnTo>
                  <a:lnTo>
                    <a:pt x="246" y="867"/>
                  </a:lnTo>
                  <a:lnTo>
                    <a:pt x="243" y="874"/>
                  </a:lnTo>
                  <a:lnTo>
                    <a:pt x="249" y="881"/>
                  </a:lnTo>
                  <a:lnTo>
                    <a:pt x="251" y="886"/>
                  </a:lnTo>
                  <a:lnTo>
                    <a:pt x="260" y="896"/>
                  </a:lnTo>
                  <a:lnTo>
                    <a:pt x="271" y="894"/>
                  </a:lnTo>
                  <a:lnTo>
                    <a:pt x="275" y="898"/>
                  </a:lnTo>
                  <a:lnTo>
                    <a:pt x="272" y="902"/>
                  </a:lnTo>
                  <a:lnTo>
                    <a:pt x="278" y="904"/>
                  </a:lnTo>
                  <a:lnTo>
                    <a:pt x="283" y="913"/>
                  </a:lnTo>
                  <a:lnTo>
                    <a:pt x="288" y="904"/>
                  </a:lnTo>
                  <a:lnTo>
                    <a:pt x="287" y="879"/>
                  </a:lnTo>
                  <a:lnTo>
                    <a:pt x="280" y="868"/>
                  </a:lnTo>
                  <a:lnTo>
                    <a:pt x="283" y="861"/>
                  </a:lnTo>
                  <a:lnTo>
                    <a:pt x="289" y="858"/>
                  </a:lnTo>
                  <a:lnTo>
                    <a:pt x="284" y="850"/>
                  </a:lnTo>
                  <a:lnTo>
                    <a:pt x="288" y="845"/>
                  </a:lnTo>
                  <a:lnTo>
                    <a:pt x="302" y="844"/>
                  </a:lnTo>
                  <a:lnTo>
                    <a:pt x="306" y="836"/>
                  </a:lnTo>
                  <a:lnTo>
                    <a:pt x="305" y="828"/>
                  </a:lnTo>
                  <a:lnTo>
                    <a:pt x="312" y="816"/>
                  </a:lnTo>
                  <a:lnTo>
                    <a:pt x="305" y="807"/>
                  </a:lnTo>
                  <a:lnTo>
                    <a:pt x="302" y="788"/>
                  </a:lnTo>
                  <a:lnTo>
                    <a:pt x="293" y="772"/>
                  </a:lnTo>
                  <a:lnTo>
                    <a:pt x="294" y="766"/>
                  </a:lnTo>
                  <a:lnTo>
                    <a:pt x="315" y="760"/>
                  </a:lnTo>
                  <a:lnTo>
                    <a:pt x="315" y="746"/>
                  </a:lnTo>
                  <a:lnTo>
                    <a:pt x="319" y="737"/>
                  </a:lnTo>
                  <a:lnTo>
                    <a:pt x="304" y="722"/>
                  </a:lnTo>
                  <a:lnTo>
                    <a:pt x="290" y="716"/>
                  </a:lnTo>
                  <a:lnTo>
                    <a:pt x="289" y="700"/>
                  </a:lnTo>
                  <a:lnTo>
                    <a:pt x="293" y="684"/>
                  </a:lnTo>
                  <a:lnTo>
                    <a:pt x="290" y="667"/>
                  </a:lnTo>
                  <a:lnTo>
                    <a:pt x="286" y="656"/>
                  </a:lnTo>
                  <a:lnTo>
                    <a:pt x="289" y="643"/>
                  </a:lnTo>
                  <a:lnTo>
                    <a:pt x="287" y="621"/>
                  </a:lnTo>
                  <a:lnTo>
                    <a:pt x="282" y="601"/>
                  </a:lnTo>
                  <a:lnTo>
                    <a:pt x="286" y="581"/>
                  </a:lnTo>
                  <a:lnTo>
                    <a:pt x="296" y="566"/>
                  </a:lnTo>
                  <a:lnTo>
                    <a:pt x="306" y="560"/>
                  </a:lnTo>
                  <a:lnTo>
                    <a:pt x="318" y="562"/>
                  </a:lnTo>
                  <a:lnTo>
                    <a:pt x="334" y="563"/>
                  </a:lnTo>
                  <a:lnTo>
                    <a:pt x="341" y="554"/>
                  </a:lnTo>
                  <a:lnTo>
                    <a:pt x="340" y="538"/>
                  </a:lnTo>
                  <a:lnTo>
                    <a:pt x="336" y="532"/>
                  </a:lnTo>
                  <a:lnTo>
                    <a:pt x="336" y="521"/>
                  </a:lnTo>
                  <a:lnTo>
                    <a:pt x="352" y="487"/>
                  </a:lnTo>
                  <a:lnTo>
                    <a:pt x="353" y="467"/>
                  </a:lnTo>
                  <a:lnTo>
                    <a:pt x="357" y="448"/>
                  </a:lnTo>
                  <a:lnTo>
                    <a:pt x="362" y="438"/>
                  </a:lnTo>
                  <a:lnTo>
                    <a:pt x="362" y="425"/>
                  </a:lnTo>
                  <a:lnTo>
                    <a:pt x="356" y="419"/>
                  </a:lnTo>
                  <a:lnTo>
                    <a:pt x="356" y="411"/>
                  </a:lnTo>
                  <a:lnTo>
                    <a:pt x="370" y="404"/>
                  </a:lnTo>
                  <a:lnTo>
                    <a:pt x="386" y="400"/>
                  </a:lnTo>
                  <a:lnTo>
                    <a:pt x="393" y="395"/>
                  </a:lnTo>
                  <a:lnTo>
                    <a:pt x="393" y="387"/>
                  </a:lnTo>
                  <a:lnTo>
                    <a:pt x="406" y="366"/>
                  </a:lnTo>
                  <a:lnTo>
                    <a:pt x="419" y="351"/>
                  </a:lnTo>
                  <a:lnTo>
                    <a:pt x="423" y="341"/>
                  </a:lnTo>
                  <a:lnTo>
                    <a:pt x="419" y="329"/>
                  </a:lnTo>
                  <a:lnTo>
                    <a:pt x="414" y="323"/>
                  </a:lnTo>
                  <a:lnTo>
                    <a:pt x="412" y="303"/>
                  </a:lnTo>
                  <a:lnTo>
                    <a:pt x="419" y="301"/>
                  </a:lnTo>
                  <a:lnTo>
                    <a:pt x="425" y="294"/>
                  </a:lnTo>
                  <a:lnTo>
                    <a:pt x="427" y="284"/>
                  </a:lnTo>
                  <a:lnTo>
                    <a:pt x="433" y="280"/>
                  </a:lnTo>
                  <a:lnTo>
                    <a:pt x="440" y="267"/>
                  </a:lnTo>
                  <a:lnTo>
                    <a:pt x="450" y="261"/>
                  </a:lnTo>
                  <a:lnTo>
                    <a:pt x="460" y="265"/>
                  </a:lnTo>
                  <a:lnTo>
                    <a:pt x="464" y="270"/>
                  </a:lnTo>
                  <a:lnTo>
                    <a:pt x="471" y="268"/>
                  </a:lnTo>
                  <a:lnTo>
                    <a:pt x="478" y="262"/>
                  </a:lnTo>
                  <a:lnTo>
                    <a:pt x="472" y="254"/>
                  </a:lnTo>
                  <a:lnTo>
                    <a:pt x="477" y="249"/>
                  </a:lnTo>
                  <a:lnTo>
                    <a:pt x="477" y="245"/>
                  </a:lnTo>
                  <a:lnTo>
                    <a:pt x="479" y="241"/>
                  </a:lnTo>
                  <a:lnTo>
                    <a:pt x="472" y="230"/>
                  </a:lnTo>
                  <a:lnTo>
                    <a:pt x="477" y="227"/>
                  </a:lnTo>
                  <a:lnTo>
                    <a:pt x="490" y="227"/>
                  </a:lnTo>
                  <a:lnTo>
                    <a:pt x="500" y="222"/>
                  </a:lnTo>
                  <a:lnTo>
                    <a:pt x="515" y="226"/>
                  </a:lnTo>
                  <a:lnTo>
                    <a:pt x="525" y="232"/>
                  </a:lnTo>
                  <a:lnTo>
                    <a:pt x="535" y="233"/>
                  </a:lnTo>
                  <a:lnTo>
                    <a:pt x="541" y="238"/>
                  </a:lnTo>
                  <a:lnTo>
                    <a:pt x="545" y="236"/>
                  </a:lnTo>
                  <a:lnTo>
                    <a:pt x="550" y="238"/>
                  </a:lnTo>
                  <a:lnTo>
                    <a:pt x="550" y="228"/>
                  </a:lnTo>
                  <a:lnTo>
                    <a:pt x="545" y="221"/>
                  </a:lnTo>
                  <a:lnTo>
                    <a:pt x="547" y="209"/>
                  </a:lnTo>
                  <a:lnTo>
                    <a:pt x="554" y="205"/>
                  </a:lnTo>
                  <a:lnTo>
                    <a:pt x="551" y="197"/>
                  </a:lnTo>
                  <a:lnTo>
                    <a:pt x="544" y="193"/>
                  </a:lnTo>
                  <a:lnTo>
                    <a:pt x="543" y="185"/>
                  </a:lnTo>
                  <a:lnTo>
                    <a:pt x="554" y="187"/>
                  </a:lnTo>
                  <a:lnTo>
                    <a:pt x="564" y="186"/>
                  </a:lnTo>
                  <a:lnTo>
                    <a:pt x="567" y="184"/>
                  </a:lnTo>
                  <a:lnTo>
                    <a:pt x="567" y="184"/>
                  </a:lnTo>
                  <a:lnTo>
                    <a:pt x="570" y="181"/>
                  </a:lnTo>
                  <a:lnTo>
                    <a:pt x="573" y="184"/>
                  </a:lnTo>
                  <a:lnTo>
                    <a:pt x="577" y="181"/>
                  </a:lnTo>
                  <a:lnTo>
                    <a:pt x="573" y="175"/>
                  </a:lnTo>
                  <a:lnTo>
                    <a:pt x="576" y="168"/>
                  </a:lnTo>
                  <a:lnTo>
                    <a:pt x="582" y="163"/>
                  </a:lnTo>
                  <a:lnTo>
                    <a:pt x="590" y="164"/>
                  </a:lnTo>
                  <a:lnTo>
                    <a:pt x="597" y="174"/>
                  </a:lnTo>
                  <a:lnTo>
                    <a:pt x="617" y="189"/>
                  </a:lnTo>
                  <a:lnTo>
                    <a:pt x="620" y="197"/>
                  </a:lnTo>
                  <a:lnTo>
                    <a:pt x="628" y="205"/>
                  </a:lnTo>
                  <a:lnTo>
                    <a:pt x="641" y="210"/>
                  </a:lnTo>
                  <a:lnTo>
                    <a:pt x="663" y="212"/>
                  </a:lnTo>
                  <a:lnTo>
                    <a:pt x="674" y="202"/>
                  </a:lnTo>
                  <a:lnTo>
                    <a:pt x="680" y="196"/>
                  </a:lnTo>
                  <a:lnTo>
                    <a:pt x="689" y="196"/>
                  </a:lnTo>
                  <a:lnTo>
                    <a:pt x="705" y="205"/>
                  </a:lnTo>
                  <a:lnTo>
                    <a:pt x="715" y="207"/>
                  </a:lnTo>
                  <a:lnTo>
                    <a:pt x="721" y="198"/>
                  </a:lnTo>
                  <a:lnTo>
                    <a:pt x="726" y="195"/>
                  </a:lnTo>
                  <a:lnTo>
                    <a:pt x="734" y="189"/>
                  </a:lnTo>
                  <a:lnTo>
                    <a:pt x="741" y="189"/>
                  </a:lnTo>
                  <a:lnTo>
                    <a:pt x="750" y="184"/>
                  </a:lnTo>
                  <a:lnTo>
                    <a:pt x="752" y="179"/>
                  </a:lnTo>
                  <a:lnTo>
                    <a:pt x="750" y="172"/>
                  </a:lnTo>
                  <a:lnTo>
                    <a:pt x="745" y="160"/>
                  </a:lnTo>
                  <a:lnTo>
                    <a:pt x="747" y="138"/>
                  </a:lnTo>
                  <a:lnTo>
                    <a:pt x="750" y="132"/>
                  </a:lnTo>
                  <a:lnTo>
                    <a:pt x="746" y="125"/>
                  </a:lnTo>
                  <a:lnTo>
                    <a:pt x="751" y="122"/>
                  </a:lnTo>
                  <a:lnTo>
                    <a:pt x="758" y="114"/>
                  </a:lnTo>
                  <a:lnTo>
                    <a:pt x="758" y="109"/>
                  </a:lnTo>
                  <a:lnTo>
                    <a:pt x="768" y="104"/>
                  </a:lnTo>
                  <a:lnTo>
                    <a:pt x="780" y="106"/>
                  </a:lnTo>
                  <a:lnTo>
                    <a:pt x="786" y="105"/>
                  </a:lnTo>
                  <a:lnTo>
                    <a:pt x="786" y="102"/>
                  </a:lnTo>
                  <a:lnTo>
                    <a:pt x="793" y="94"/>
                  </a:lnTo>
                  <a:lnTo>
                    <a:pt x="813" y="93"/>
                  </a:lnTo>
                  <a:lnTo>
                    <a:pt x="821" y="99"/>
                  </a:lnTo>
                  <a:lnTo>
                    <a:pt x="833" y="111"/>
                  </a:lnTo>
                  <a:lnTo>
                    <a:pt x="839" y="117"/>
                  </a:lnTo>
                  <a:lnTo>
                    <a:pt x="849" y="121"/>
                  </a:lnTo>
                  <a:lnTo>
                    <a:pt x="865" y="122"/>
                  </a:lnTo>
                  <a:lnTo>
                    <a:pt x="867" y="129"/>
                  </a:lnTo>
                  <a:lnTo>
                    <a:pt x="877" y="138"/>
                  </a:lnTo>
                  <a:lnTo>
                    <a:pt x="874" y="146"/>
                  </a:lnTo>
                  <a:lnTo>
                    <a:pt x="867" y="158"/>
                  </a:lnTo>
                  <a:lnTo>
                    <a:pt x="868" y="175"/>
                  </a:lnTo>
                  <a:lnTo>
                    <a:pt x="868" y="175"/>
                  </a:lnTo>
                  <a:close/>
                  <a:moveTo>
                    <a:pt x="41" y="896"/>
                  </a:moveTo>
                  <a:lnTo>
                    <a:pt x="47" y="902"/>
                  </a:lnTo>
                  <a:lnTo>
                    <a:pt x="40" y="904"/>
                  </a:lnTo>
                  <a:lnTo>
                    <a:pt x="41" y="896"/>
                  </a:lnTo>
                  <a:lnTo>
                    <a:pt x="41" y="896"/>
                  </a:lnTo>
                  <a:close/>
                  <a:moveTo>
                    <a:pt x="21" y="850"/>
                  </a:moveTo>
                  <a:lnTo>
                    <a:pt x="21" y="850"/>
                  </a:lnTo>
                  <a:lnTo>
                    <a:pt x="26" y="849"/>
                  </a:lnTo>
                  <a:lnTo>
                    <a:pt x="31" y="853"/>
                  </a:lnTo>
                  <a:lnTo>
                    <a:pt x="28" y="858"/>
                  </a:lnTo>
                  <a:lnTo>
                    <a:pt x="21" y="850"/>
                  </a:lnTo>
                  <a:lnTo>
                    <a:pt x="21" y="850"/>
                  </a:lnTo>
                  <a:close/>
                  <a:moveTo>
                    <a:pt x="37" y="833"/>
                  </a:moveTo>
                  <a:lnTo>
                    <a:pt x="37" y="840"/>
                  </a:lnTo>
                  <a:lnTo>
                    <a:pt x="33" y="841"/>
                  </a:lnTo>
                  <a:lnTo>
                    <a:pt x="37" y="833"/>
                  </a:lnTo>
                  <a:lnTo>
                    <a:pt x="37" y="833"/>
                  </a:lnTo>
                  <a:close/>
                  <a:moveTo>
                    <a:pt x="28" y="829"/>
                  </a:moveTo>
                  <a:lnTo>
                    <a:pt x="27" y="836"/>
                  </a:lnTo>
                  <a:lnTo>
                    <a:pt x="21" y="835"/>
                  </a:lnTo>
                  <a:lnTo>
                    <a:pt x="28" y="829"/>
                  </a:lnTo>
                  <a:lnTo>
                    <a:pt x="28" y="829"/>
                  </a:lnTo>
                  <a:close/>
                  <a:moveTo>
                    <a:pt x="12" y="798"/>
                  </a:moveTo>
                  <a:lnTo>
                    <a:pt x="6" y="794"/>
                  </a:lnTo>
                  <a:lnTo>
                    <a:pt x="12" y="789"/>
                  </a:lnTo>
                  <a:lnTo>
                    <a:pt x="12" y="789"/>
                  </a:lnTo>
                  <a:lnTo>
                    <a:pt x="12" y="798"/>
                  </a:lnTo>
                  <a:lnTo>
                    <a:pt x="12" y="798"/>
                  </a:lnTo>
                  <a:close/>
                  <a:moveTo>
                    <a:pt x="10" y="804"/>
                  </a:moveTo>
                  <a:lnTo>
                    <a:pt x="16" y="805"/>
                  </a:lnTo>
                  <a:lnTo>
                    <a:pt x="12" y="809"/>
                  </a:lnTo>
                  <a:lnTo>
                    <a:pt x="10" y="804"/>
                  </a:lnTo>
                  <a:lnTo>
                    <a:pt x="10" y="804"/>
                  </a:lnTo>
                  <a:close/>
                  <a:moveTo>
                    <a:pt x="26" y="812"/>
                  </a:moveTo>
                  <a:lnTo>
                    <a:pt x="26" y="812"/>
                  </a:lnTo>
                  <a:lnTo>
                    <a:pt x="33" y="821"/>
                  </a:lnTo>
                  <a:lnTo>
                    <a:pt x="31" y="828"/>
                  </a:lnTo>
                  <a:lnTo>
                    <a:pt x="26" y="812"/>
                  </a:lnTo>
                  <a:lnTo>
                    <a:pt x="26" y="812"/>
                  </a:lnTo>
                  <a:close/>
                  <a:moveTo>
                    <a:pt x="14" y="822"/>
                  </a:moveTo>
                  <a:lnTo>
                    <a:pt x="8" y="816"/>
                  </a:lnTo>
                  <a:lnTo>
                    <a:pt x="16" y="814"/>
                  </a:lnTo>
                  <a:lnTo>
                    <a:pt x="14" y="822"/>
                  </a:lnTo>
                  <a:lnTo>
                    <a:pt x="14" y="822"/>
                  </a:lnTo>
                  <a:close/>
                  <a:moveTo>
                    <a:pt x="8" y="775"/>
                  </a:moveTo>
                  <a:lnTo>
                    <a:pt x="0" y="780"/>
                  </a:lnTo>
                  <a:lnTo>
                    <a:pt x="5" y="782"/>
                  </a:lnTo>
                  <a:lnTo>
                    <a:pt x="10" y="778"/>
                  </a:lnTo>
                  <a:lnTo>
                    <a:pt x="8" y="775"/>
                  </a:lnTo>
                  <a:lnTo>
                    <a:pt x="8" y="775"/>
                  </a:lnTo>
                  <a:close/>
                  <a:moveTo>
                    <a:pt x="4" y="717"/>
                  </a:moveTo>
                  <a:lnTo>
                    <a:pt x="15" y="720"/>
                  </a:lnTo>
                  <a:lnTo>
                    <a:pt x="6" y="723"/>
                  </a:lnTo>
                  <a:lnTo>
                    <a:pt x="4" y="717"/>
                  </a:lnTo>
                  <a:lnTo>
                    <a:pt x="4" y="717"/>
                  </a:lnTo>
                  <a:close/>
                  <a:moveTo>
                    <a:pt x="8" y="702"/>
                  </a:moveTo>
                  <a:lnTo>
                    <a:pt x="16" y="707"/>
                  </a:lnTo>
                  <a:lnTo>
                    <a:pt x="11" y="712"/>
                  </a:lnTo>
                  <a:lnTo>
                    <a:pt x="8" y="702"/>
                  </a:lnTo>
                  <a:lnTo>
                    <a:pt x="8" y="702"/>
                  </a:lnTo>
                  <a:close/>
                  <a:moveTo>
                    <a:pt x="33" y="685"/>
                  </a:moveTo>
                  <a:lnTo>
                    <a:pt x="35" y="691"/>
                  </a:lnTo>
                  <a:lnTo>
                    <a:pt x="27" y="693"/>
                  </a:lnTo>
                  <a:lnTo>
                    <a:pt x="33" y="685"/>
                  </a:lnTo>
                  <a:lnTo>
                    <a:pt x="33" y="685"/>
                  </a:lnTo>
                  <a:close/>
                  <a:moveTo>
                    <a:pt x="41" y="681"/>
                  </a:moveTo>
                  <a:lnTo>
                    <a:pt x="49" y="682"/>
                  </a:lnTo>
                  <a:lnTo>
                    <a:pt x="51" y="687"/>
                  </a:lnTo>
                  <a:lnTo>
                    <a:pt x="41" y="691"/>
                  </a:lnTo>
                  <a:lnTo>
                    <a:pt x="41" y="681"/>
                  </a:lnTo>
                  <a:lnTo>
                    <a:pt x="41" y="681"/>
                  </a:lnTo>
                  <a:close/>
                  <a:moveTo>
                    <a:pt x="124" y="629"/>
                  </a:moveTo>
                  <a:lnTo>
                    <a:pt x="124" y="629"/>
                  </a:lnTo>
                  <a:lnTo>
                    <a:pt x="131" y="620"/>
                  </a:lnTo>
                  <a:lnTo>
                    <a:pt x="133" y="630"/>
                  </a:lnTo>
                  <a:lnTo>
                    <a:pt x="128" y="633"/>
                  </a:lnTo>
                  <a:lnTo>
                    <a:pt x="124" y="629"/>
                  </a:lnTo>
                  <a:lnTo>
                    <a:pt x="124" y="629"/>
                  </a:lnTo>
                  <a:close/>
                  <a:moveTo>
                    <a:pt x="126" y="615"/>
                  </a:moveTo>
                  <a:lnTo>
                    <a:pt x="126" y="615"/>
                  </a:lnTo>
                  <a:lnTo>
                    <a:pt x="122" y="618"/>
                  </a:lnTo>
                  <a:lnTo>
                    <a:pt x="114" y="609"/>
                  </a:lnTo>
                  <a:lnTo>
                    <a:pt x="124" y="609"/>
                  </a:lnTo>
                  <a:lnTo>
                    <a:pt x="126" y="615"/>
                  </a:lnTo>
                  <a:lnTo>
                    <a:pt x="126" y="615"/>
                  </a:lnTo>
                  <a:close/>
                  <a:moveTo>
                    <a:pt x="134" y="597"/>
                  </a:moveTo>
                  <a:lnTo>
                    <a:pt x="149" y="586"/>
                  </a:lnTo>
                  <a:lnTo>
                    <a:pt x="155" y="591"/>
                  </a:lnTo>
                  <a:lnTo>
                    <a:pt x="145" y="597"/>
                  </a:lnTo>
                  <a:lnTo>
                    <a:pt x="134" y="597"/>
                  </a:lnTo>
                  <a:lnTo>
                    <a:pt x="134" y="597"/>
                  </a:lnTo>
                  <a:close/>
                  <a:moveTo>
                    <a:pt x="137" y="613"/>
                  </a:moveTo>
                  <a:lnTo>
                    <a:pt x="143" y="603"/>
                  </a:lnTo>
                  <a:lnTo>
                    <a:pt x="151" y="603"/>
                  </a:lnTo>
                  <a:lnTo>
                    <a:pt x="154" y="600"/>
                  </a:lnTo>
                  <a:lnTo>
                    <a:pt x="161" y="598"/>
                  </a:lnTo>
                  <a:lnTo>
                    <a:pt x="166" y="603"/>
                  </a:lnTo>
                  <a:lnTo>
                    <a:pt x="160" y="610"/>
                  </a:lnTo>
                  <a:lnTo>
                    <a:pt x="149" y="610"/>
                  </a:lnTo>
                  <a:lnTo>
                    <a:pt x="143" y="613"/>
                  </a:lnTo>
                  <a:lnTo>
                    <a:pt x="137" y="613"/>
                  </a:lnTo>
                  <a:lnTo>
                    <a:pt x="137" y="613"/>
                  </a:lnTo>
                  <a:close/>
                  <a:moveTo>
                    <a:pt x="257" y="496"/>
                  </a:moveTo>
                  <a:lnTo>
                    <a:pt x="259" y="490"/>
                  </a:lnTo>
                  <a:lnTo>
                    <a:pt x="271" y="487"/>
                  </a:lnTo>
                  <a:lnTo>
                    <a:pt x="261" y="498"/>
                  </a:lnTo>
                  <a:lnTo>
                    <a:pt x="257" y="496"/>
                  </a:lnTo>
                  <a:lnTo>
                    <a:pt x="257" y="496"/>
                  </a:lnTo>
                  <a:close/>
                  <a:moveTo>
                    <a:pt x="247" y="515"/>
                  </a:moveTo>
                  <a:lnTo>
                    <a:pt x="243" y="510"/>
                  </a:lnTo>
                  <a:lnTo>
                    <a:pt x="235" y="510"/>
                  </a:lnTo>
                  <a:lnTo>
                    <a:pt x="242" y="504"/>
                  </a:lnTo>
                  <a:lnTo>
                    <a:pt x="255" y="502"/>
                  </a:lnTo>
                  <a:lnTo>
                    <a:pt x="261" y="499"/>
                  </a:lnTo>
                  <a:lnTo>
                    <a:pt x="251" y="511"/>
                  </a:lnTo>
                  <a:lnTo>
                    <a:pt x="247" y="515"/>
                  </a:lnTo>
                  <a:lnTo>
                    <a:pt x="247" y="515"/>
                  </a:lnTo>
                  <a:close/>
                  <a:moveTo>
                    <a:pt x="269" y="445"/>
                  </a:moveTo>
                  <a:lnTo>
                    <a:pt x="272" y="447"/>
                  </a:lnTo>
                  <a:lnTo>
                    <a:pt x="273" y="452"/>
                  </a:lnTo>
                  <a:lnTo>
                    <a:pt x="269" y="456"/>
                  </a:lnTo>
                  <a:lnTo>
                    <a:pt x="264" y="452"/>
                  </a:lnTo>
                  <a:lnTo>
                    <a:pt x="269" y="445"/>
                  </a:lnTo>
                  <a:lnTo>
                    <a:pt x="269" y="445"/>
                  </a:lnTo>
                  <a:close/>
                  <a:moveTo>
                    <a:pt x="286" y="429"/>
                  </a:moveTo>
                  <a:lnTo>
                    <a:pt x="290" y="425"/>
                  </a:lnTo>
                  <a:lnTo>
                    <a:pt x="299" y="427"/>
                  </a:lnTo>
                  <a:lnTo>
                    <a:pt x="288" y="434"/>
                  </a:lnTo>
                  <a:lnTo>
                    <a:pt x="286" y="429"/>
                  </a:lnTo>
                  <a:lnTo>
                    <a:pt x="286" y="429"/>
                  </a:lnTo>
                  <a:close/>
                  <a:moveTo>
                    <a:pt x="281" y="415"/>
                  </a:moveTo>
                  <a:lnTo>
                    <a:pt x="289" y="406"/>
                  </a:lnTo>
                  <a:lnTo>
                    <a:pt x="290" y="415"/>
                  </a:lnTo>
                  <a:lnTo>
                    <a:pt x="283" y="425"/>
                  </a:lnTo>
                  <a:lnTo>
                    <a:pt x="281" y="415"/>
                  </a:lnTo>
                  <a:lnTo>
                    <a:pt x="281" y="415"/>
                  </a:lnTo>
                  <a:close/>
                  <a:moveTo>
                    <a:pt x="338" y="340"/>
                  </a:moveTo>
                  <a:lnTo>
                    <a:pt x="340" y="336"/>
                  </a:lnTo>
                  <a:lnTo>
                    <a:pt x="345" y="336"/>
                  </a:lnTo>
                  <a:lnTo>
                    <a:pt x="341" y="343"/>
                  </a:lnTo>
                  <a:lnTo>
                    <a:pt x="338" y="340"/>
                  </a:lnTo>
                  <a:lnTo>
                    <a:pt x="338" y="340"/>
                  </a:lnTo>
                  <a:close/>
                  <a:moveTo>
                    <a:pt x="282" y="297"/>
                  </a:moveTo>
                  <a:lnTo>
                    <a:pt x="286" y="301"/>
                  </a:lnTo>
                  <a:lnTo>
                    <a:pt x="283" y="306"/>
                  </a:lnTo>
                  <a:lnTo>
                    <a:pt x="278" y="303"/>
                  </a:lnTo>
                  <a:lnTo>
                    <a:pt x="282" y="297"/>
                  </a:lnTo>
                  <a:lnTo>
                    <a:pt x="282" y="297"/>
                  </a:lnTo>
                  <a:close/>
                  <a:moveTo>
                    <a:pt x="298" y="276"/>
                  </a:moveTo>
                  <a:lnTo>
                    <a:pt x="287" y="285"/>
                  </a:lnTo>
                  <a:lnTo>
                    <a:pt x="287" y="277"/>
                  </a:lnTo>
                  <a:lnTo>
                    <a:pt x="295" y="265"/>
                  </a:lnTo>
                  <a:lnTo>
                    <a:pt x="298" y="276"/>
                  </a:lnTo>
                  <a:lnTo>
                    <a:pt x="298" y="276"/>
                  </a:lnTo>
                  <a:close/>
                  <a:moveTo>
                    <a:pt x="304" y="270"/>
                  </a:moveTo>
                  <a:lnTo>
                    <a:pt x="300" y="265"/>
                  </a:lnTo>
                  <a:lnTo>
                    <a:pt x="304" y="261"/>
                  </a:lnTo>
                  <a:lnTo>
                    <a:pt x="309" y="264"/>
                  </a:lnTo>
                  <a:lnTo>
                    <a:pt x="304" y="270"/>
                  </a:lnTo>
                  <a:lnTo>
                    <a:pt x="304" y="270"/>
                  </a:lnTo>
                  <a:close/>
                  <a:moveTo>
                    <a:pt x="330" y="251"/>
                  </a:moveTo>
                  <a:lnTo>
                    <a:pt x="329" y="259"/>
                  </a:lnTo>
                  <a:lnTo>
                    <a:pt x="313" y="270"/>
                  </a:lnTo>
                  <a:lnTo>
                    <a:pt x="316" y="255"/>
                  </a:lnTo>
                  <a:lnTo>
                    <a:pt x="330" y="251"/>
                  </a:lnTo>
                  <a:lnTo>
                    <a:pt x="330" y="251"/>
                  </a:lnTo>
                  <a:close/>
                  <a:moveTo>
                    <a:pt x="346" y="233"/>
                  </a:moveTo>
                  <a:lnTo>
                    <a:pt x="351" y="226"/>
                  </a:lnTo>
                  <a:lnTo>
                    <a:pt x="358" y="232"/>
                  </a:lnTo>
                  <a:lnTo>
                    <a:pt x="346" y="233"/>
                  </a:lnTo>
                  <a:lnTo>
                    <a:pt x="346" y="233"/>
                  </a:lnTo>
                  <a:close/>
                  <a:moveTo>
                    <a:pt x="357" y="237"/>
                  </a:moveTo>
                  <a:lnTo>
                    <a:pt x="357" y="253"/>
                  </a:lnTo>
                  <a:lnTo>
                    <a:pt x="347" y="249"/>
                  </a:lnTo>
                  <a:lnTo>
                    <a:pt x="335" y="256"/>
                  </a:lnTo>
                  <a:lnTo>
                    <a:pt x="336" y="248"/>
                  </a:lnTo>
                  <a:lnTo>
                    <a:pt x="357" y="237"/>
                  </a:lnTo>
                  <a:lnTo>
                    <a:pt x="357" y="237"/>
                  </a:lnTo>
                  <a:close/>
                  <a:moveTo>
                    <a:pt x="363" y="196"/>
                  </a:moveTo>
                  <a:lnTo>
                    <a:pt x="367" y="207"/>
                  </a:lnTo>
                  <a:lnTo>
                    <a:pt x="367" y="221"/>
                  </a:lnTo>
                  <a:lnTo>
                    <a:pt x="354" y="224"/>
                  </a:lnTo>
                  <a:lnTo>
                    <a:pt x="350" y="220"/>
                  </a:lnTo>
                  <a:lnTo>
                    <a:pt x="361" y="213"/>
                  </a:lnTo>
                  <a:lnTo>
                    <a:pt x="354" y="213"/>
                  </a:lnTo>
                  <a:lnTo>
                    <a:pt x="342" y="221"/>
                  </a:lnTo>
                  <a:lnTo>
                    <a:pt x="339" y="215"/>
                  </a:lnTo>
                  <a:lnTo>
                    <a:pt x="342" y="208"/>
                  </a:lnTo>
                  <a:lnTo>
                    <a:pt x="351" y="209"/>
                  </a:lnTo>
                  <a:lnTo>
                    <a:pt x="359" y="201"/>
                  </a:lnTo>
                  <a:lnTo>
                    <a:pt x="357" y="197"/>
                  </a:lnTo>
                  <a:lnTo>
                    <a:pt x="363" y="196"/>
                  </a:lnTo>
                  <a:lnTo>
                    <a:pt x="363" y="196"/>
                  </a:lnTo>
                  <a:close/>
                  <a:moveTo>
                    <a:pt x="374" y="201"/>
                  </a:moveTo>
                  <a:lnTo>
                    <a:pt x="369" y="198"/>
                  </a:lnTo>
                  <a:lnTo>
                    <a:pt x="369" y="186"/>
                  </a:lnTo>
                  <a:lnTo>
                    <a:pt x="381" y="176"/>
                  </a:lnTo>
                  <a:lnTo>
                    <a:pt x="382" y="169"/>
                  </a:lnTo>
                  <a:lnTo>
                    <a:pt x="394" y="166"/>
                  </a:lnTo>
                  <a:lnTo>
                    <a:pt x="396" y="173"/>
                  </a:lnTo>
                  <a:lnTo>
                    <a:pt x="386" y="179"/>
                  </a:lnTo>
                  <a:lnTo>
                    <a:pt x="386" y="187"/>
                  </a:lnTo>
                  <a:lnTo>
                    <a:pt x="374" y="201"/>
                  </a:lnTo>
                  <a:lnTo>
                    <a:pt x="374" y="201"/>
                  </a:lnTo>
                  <a:close/>
                  <a:moveTo>
                    <a:pt x="404" y="205"/>
                  </a:moveTo>
                  <a:lnTo>
                    <a:pt x="415" y="215"/>
                  </a:lnTo>
                  <a:lnTo>
                    <a:pt x="399" y="231"/>
                  </a:lnTo>
                  <a:lnTo>
                    <a:pt x="390" y="237"/>
                  </a:lnTo>
                  <a:lnTo>
                    <a:pt x="386" y="243"/>
                  </a:lnTo>
                  <a:lnTo>
                    <a:pt x="379" y="241"/>
                  </a:lnTo>
                  <a:lnTo>
                    <a:pt x="380" y="233"/>
                  </a:lnTo>
                  <a:lnTo>
                    <a:pt x="369" y="245"/>
                  </a:lnTo>
                  <a:lnTo>
                    <a:pt x="364" y="245"/>
                  </a:lnTo>
                  <a:lnTo>
                    <a:pt x="365" y="236"/>
                  </a:lnTo>
                  <a:lnTo>
                    <a:pt x="370" y="233"/>
                  </a:lnTo>
                  <a:lnTo>
                    <a:pt x="369" y="226"/>
                  </a:lnTo>
                  <a:lnTo>
                    <a:pt x="375" y="219"/>
                  </a:lnTo>
                  <a:lnTo>
                    <a:pt x="375" y="212"/>
                  </a:lnTo>
                  <a:lnTo>
                    <a:pt x="386" y="196"/>
                  </a:lnTo>
                  <a:lnTo>
                    <a:pt x="380" y="218"/>
                  </a:lnTo>
                  <a:lnTo>
                    <a:pt x="382" y="226"/>
                  </a:lnTo>
                  <a:lnTo>
                    <a:pt x="388" y="215"/>
                  </a:lnTo>
                  <a:lnTo>
                    <a:pt x="404" y="214"/>
                  </a:lnTo>
                  <a:lnTo>
                    <a:pt x="398" y="208"/>
                  </a:lnTo>
                  <a:lnTo>
                    <a:pt x="398" y="202"/>
                  </a:lnTo>
                  <a:lnTo>
                    <a:pt x="404" y="205"/>
                  </a:lnTo>
                  <a:lnTo>
                    <a:pt x="404" y="205"/>
                  </a:lnTo>
                  <a:close/>
                  <a:moveTo>
                    <a:pt x="403" y="196"/>
                  </a:moveTo>
                  <a:lnTo>
                    <a:pt x="399" y="193"/>
                  </a:lnTo>
                  <a:lnTo>
                    <a:pt x="406" y="191"/>
                  </a:lnTo>
                  <a:lnTo>
                    <a:pt x="415" y="196"/>
                  </a:lnTo>
                  <a:lnTo>
                    <a:pt x="415" y="202"/>
                  </a:lnTo>
                  <a:lnTo>
                    <a:pt x="403" y="196"/>
                  </a:lnTo>
                  <a:lnTo>
                    <a:pt x="403" y="196"/>
                  </a:lnTo>
                  <a:close/>
                  <a:moveTo>
                    <a:pt x="427" y="209"/>
                  </a:moveTo>
                  <a:lnTo>
                    <a:pt x="431" y="198"/>
                  </a:lnTo>
                  <a:lnTo>
                    <a:pt x="435" y="205"/>
                  </a:lnTo>
                  <a:lnTo>
                    <a:pt x="427" y="209"/>
                  </a:lnTo>
                  <a:lnTo>
                    <a:pt x="427" y="209"/>
                  </a:lnTo>
                  <a:close/>
                  <a:moveTo>
                    <a:pt x="458" y="164"/>
                  </a:moveTo>
                  <a:lnTo>
                    <a:pt x="457" y="168"/>
                  </a:lnTo>
                  <a:lnTo>
                    <a:pt x="458" y="175"/>
                  </a:lnTo>
                  <a:lnTo>
                    <a:pt x="449" y="178"/>
                  </a:lnTo>
                  <a:lnTo>
                    <a:pt x="445" y="183"/>
                  </a:lnTo>
                  <a:lnTo>
                    <a:pt x="435" y="181"/>
                  </a:lnTo>
                  <a:lnTo>
                    <a:pt x="433" y="191"/>
                  </a:lnTo>
                  <a:lnTo>
                    <a:pt x="428" y="191"/>
                  </a:lnTo>
                  <a:lnTo>
                    <a:pt x="428" y="184"/>
                  </a:lnTo>
                  <a:lnTo>
                    <a:pt x="421" y="183"/>
                  </a:lnTo>
                  <a:lnTo>
                    <a:pt x="428" y="174"/>
                  </a:lnTo>
                  <a:lnTo>
                    <a:pt x="419" y="173"/>
                  </a:lnTo>
                  <a:lnTo>
                    <a:pt x="423" y="163"/>
                  </a:lnTo>
                  <a:lnTo>
                    <a:pt x="434" y="163"/>
                  </a:lnTo>
                  <a:lnTo>
                    <a:pt x="423" y="158"/>
                  </a:lnTo>
                  <a:lnTo>
                    <a:pt x="429" y="149"/>
                  </a:lnTo>
                  <a:lnTo>
                    <a:pt x="437" y="154"/>
                  </a:lnTo>
                  <a:lnTo>
                    <a:pt x="434" y="145"/>
                  </a:lnTo>
                  <a:lnTo>
                    <a:pt x="449" y="146"/>
                  </a:lnTo>
                  <a:lnTo>
                    <a:pt x="450" y="152"/>
                  </a:lnTo>
                  <a:lnTo>
                    <a:pt x="456" y="155"/>
                  </a:lnTo>
                  <a:lnTo>
                    <a:pt x="458" y="164"/>
                  </a:lnTo>
                  <a:lnTo>
                    <a:pt x="458" y="164"/>
                  </a:lnTo>
                  <a:close/>
                  <a:moveTo>
                    <a:pt x="458" y="140"/>
                  </a:moveTo>
                  <a:lnTo>
                    <a:pt x="471" y="139"/>
                  </a:lnTo>
                  <a:lnTo>
                    <a:pt x="472" y="133"/>
                  </a:lnTo>
                  <a:lnTo>
                    <a:pt x="483" y="133"/>
                  </a:lnTo>
                  <a:lnTo>
                    <a:pt x="487" y="126"/>
                  </a:lnTo>
                  <a:lnTo>
                    <a:pt x="493" y="134"/>
                  </a:lnTo>
                  <a:lnTo>
                    <a:pt x="487" y="141"/>
                  </a:lnTo>
                  <a:lnTo>
                    <a:pt x="487" y="147"/>
                  </a:lnTo>
                  <a:lnTo>
                    <a:pt x="477" y="147"/>
                  </a:lnTo>
                  <a:lnTo>
                    <a:pt x="468" y="150"/>
                  </a:lnTo>
                  <a:lnTo>
                    <a:pt x="458" y="140"/>
                  </a:lnTo>
                  <a:lnTo>
                    <a:pt x="458" y="140"/>
                  </a:lnTo>
                  <a:close/>
                  <a:moveTo>
                    <a:pt x="496" y="93"/>
                  </a:moveTo>
                  <a:lnTo>
                    <a:pt x="493" y="88"/>
                  </a:lnTo>
                  <a:lnTo>
                    <a:pt x="502" y="86"/>
                  </a:lnTo>
                  <a:lnTo>
                    <a:pt x="496" y="93"/>
                  </a:lnTo>
                  <a:lnTo>
                    <a:pt x="496" y="93"/>
                  </a:lnTo>
                  <a:close/>
                  <a:moveTo>
                    <a:pt x="479" y="110"/>
                  </a:moveTo>
                  <a:lnTo>
                    <a:pt x="480" y="100"/>
                  </a:lnTo>
                  <a:lnTo>
                    <a:pt x="492" y="97"/>
                  </a:lnTo>
                  <a:lnTo>
                    <a:pt x="491" y="103"/>
                  </a:lnTo>
                  <a:lnTo>
                    <a:pt x="491" y="103"/>
                  </a:lnTo>
                  <a:lnTo>
                    <a:pt x="479" y="110"/>
                  </a:lnTo>
                  <a:lnTo>
                    <a:pt x="479" y="110"/>
                  </a:lnTo>
                  <a:close/>
                  <a:moveTo>
                    <a:pt x="509" y="125"/>
                  </a:moveTo>
                  <a:lnTo>
                    <a:pt x="513" y="114"/>
                  </a:lnTo>
                  <a:lnTo>
                    <a:pt x="516" y="121"/>
                  </a:lnTo>
                  <a:lnTo>
                    <a:pt x="509" y="125"/>
                  </a:lnTo>
                  <a:lnTo>
                    <a:pt x="509" y="125"/>
                  </a:lnTo>
                  <a:close/>
                  <a:moveTo>
                    <a:pt x="506" y="122"/>
                  </a:moveTo>
                  <a:lnTo>
                    <a:pt x="502" y="126"/>
                  </a:lnTo>
                  <a:lnTo>
                    <a:pt x="496" y="126"/>
                  </a:lnTo>
                  <a:lnTo>
                    <a:pt x="485" y="115"/>
                  </a:lnTo>
                  <a:lnTo>
                    <a:pt x="498" y="104"/>
                  </a:lnTo>
                  <a:lnTo>
                    <a:pt x="502" y="109"/>
                  </a:lnTo>
                  <a:lnTo>
                    <a:pt x="510" y="108"/>
                  </a:lnTo>
                  <a:lnTo>
                    <a:pt x="512" y="110"/>
                  </a:lnTo>
                  <a:lnTo>
                    <a:pt x="504" y="115"/>
                  </a:lnTo>
                  <a:lnTo>
                    <a:pt x="506" y="122"/>
                  </a:lnTo>
                  <a:lnTo>
                    <a:pt x="506" y="122"/>
                  </a:lnTo>
                  <a:close/>
                  <a:moveTo>
                    <a:pt x="530" y="103"/>
                  </a:moveTo>
                  <a:lnTo>
                    <a:pt x="525" y="105"/>
                  </a:lnTo>
                  <a:lnTo>
                    <a:pt x="515" y="102"/>
                  </a:lnTo>
                  <a:lnTo>
                    <a:pt x="514" y="94"/>
                  </a:lnTo>
                  <a:lnTo>
                    <a:pt x="512" y="83"/>
                  </a:lnTo>
                  <a:lnTo>
                    <a:pt x="516" y="80"/>
                  </a:lnTo>
                  <a:lnTo>
                    <a:pt x="519" y="92"/>
                  </a:lnTo>
                  <a:lnTo>
                    <a:pt x="527" y="98"/>
                  </a:lnTo>
                  <a:lnTo>
                    <a:pt x="530" y="103"/>
                  </a:lnTo>
                  <a:lnTo>
                    <a:pt x="530" y="103"/>
                  </a:lnTo>
                  <a:close/>
                  <a:moveTo>
                    <a:pt x="555" y="115"/>
                  </a:moveTo>
                  <a:lnTo>
                    <a:pt x="549" y="109"/>
                  </a:lnTo>
                  <a:lnTo>
                    <a:pt x="543" y="106"/>
                  </a:lnTo>
                  <a:lnTo>
                    <a:pt x="542" y="92"/>
                  </a:lnTo>
                  <a:lnTo>
                    <a:pt x="548" y="87"/>
                  </a:lnTo>
                  <a:lnTo>
                    <a:pt x="558" y="93"/>
                  </a:lnTo>
                  <a:lnTo>
                    <a:pt x="554" y="102"/>
                  </a:lnTo>
                  <a:lnTo>
                    <a:pt x="559" y="108"/>
                  </a:lnTo>
                  <a:lnTo>
                    <a:pt x="555" y="115"/>
                  </a:lnTo>
                  <a:lnTo>
                    <a:pt x="555" y="115"/>
                  </a:lnTo>
                  <a:close/>
                  <a:moveTo>
                    <a:pt x="624" y="83"/>
                  </a:moveTo>
                  <a:lnTo>
                    <a:pt x="614" y="80"/>
                  </a:lnTo>
                  <a:lnTo>
                    <a:pt x="605" y="76"/>
                  </a:lnTo>
                  <a:lnTo>
                    <a:pt x="612" y="71"/>
                  </a:lnTo>
                  <a:lnTo>
                    <a:pt x="622" y="71"/>
                  </a:lnTo>
                  <a:lnTo>
                    <a:pt x="625" y="76"/>
                  </a:lnTo>
                  <a:lnTo>
                    <a:pt x="624" y="83"/>
                  </a:lnTo>
                  <a:lnTo>
                    <a:pt x="624" y="83"/>
                  </a:lnTo>
                  <a:close/>
                  <a:moveTo>
                    <a:pt x="636" y="77"/>
                  </a:moveTo>
                  <a:lnTo>
                    <a:pt x="625" y="65"/>
                  </a:lnTo>
                  <a:lnTo>
                    <a:pt x="642" y="52"/>
                  </a:lnTo>
                  <a:lnTo>
                    <a:pt x="645" y="62"/>
                  </a:lnTo>
                  <a:lnTo>
                    <a:pt x="637" y="70"/>
                  </a:lnTo>
                  <a:lnTo>
                    <a:pt x="636" y="77"/>
                  </a:lnTo>
                  <a:lnTo>
                    <a:pt x="636" y="77"/>
                  </a:lnTo>
                  <a:close/>
                  <a:moveTo>
                    <a:pt x="616" y="62"/>
                  </a:moveTo>
                  <a:lnTo>
                    <a:pt x="610" y="63"/>
                  </a:lnTo>
                  <a:lnTo>
                    <a:pt x="595" y="58"/>
                  </a:lnTo>
                  <a:lnTo>
                    <a:pt x="591" y="50"/>
                  </a:lnTo>
                  <a:lnTo>
                    <a:pt x="600" y="52"/>
                  </a:lnTo>
                  <a:lnTo>
                    <a:pt x="607" y="46"/>
                  </a:lnTo>
                  <a:lnTo>
                    <a:pt x="613" y="52"/>
                  </a:lnTo>
                  <a:lnTo>
                    <a:pt x="618" y="44"/>
                  </a:lnTo>
                  <a:lnTo>
                    <a:pt x="623" y="46"/>
                  </a:lnTo>
                  <a:lnTo>
                    <a:pt x="637" y="34"/>
                  </a:lnTo>
                  <a:lnTo>
                    <a:pt x="640" y="40"/>
                  </a:lnTo>
                  <a:lnTo>
                    <a:pt x="616" y="62"/>
                  </a:lnTo>
                  <a:lnTo>
                    <a:pt x="616" y="62"/>
                  </a:lnTo>
                  <a:close/>
                  <a:moveTo>
                    <a:pt x="645" y="45"/>
                  </a:moveTo>
                  <a:lnTo>
                    <a:pt x="645" y="45"/>
                  </a:lnTo>
                  <a:lnTo>
                    <a:pt x="657" y="40"/>
                  </a:lnTo>
                  <a:lnTo>
                    <a:pt x="668" y="47"/>
                  </a:lnTo>
                  <a:lnTo>
                    <a:pt x="665" y="54"/>
                  </a:lnTo>
                  <a:lnTo>
                    <a:pt x="652" y="58"/>
                  </a:lnTo>
                  <a:lnTo>
                    <a:pt x="652" y="51"/>
                  </a:lnTo>
                  <a:lnTo>
                    <a:pt x="645" y="45"/>
                  </a:lnTo>
                  <a:lnTo>
                    <a:pt x="645" y="45"/>
                  </a:lnTo>
                  <a:close/>
                  <a:moveTo>
                    <a:pt x="669" y="24"/>
                  </a:moveTo>
                  <a:lnTo>
                    <a:pt x="666" y="28"/>
                  </a:lnTo>
                  <a:lnTo>
                    <a:pt x="663" y="29"/>
                  </a:lnTo>
                  <a:lnTo>
                    <a:pt x="657" y="22"/>
                  </a:lnTo>
                  <a:lnTo>
                    <a:pt x="665" y="19"/>
                  </a:lnTo>
                  <a:lnTo>
                    <a:pt x="669" y="24"/>
                  </a:lnTo>
                  <a:lnTo>
                    <a:pt x="669" y="24"/>
                  </a:lnTo>
                  <a:close/>
                  <a:moveTo>
                    <a:pt x="689" y="11"/>
                  </a:moveTo>
                  <a:lnTo>
                    <a:pt x="683" y="11"/>
                  </a:lnTo>
                  <a:lnTo>
                    <a:pt x="686" y="5"/>
                  </a:lnTo>
                  <a:lnTo>
                    <a:pt x="692" y="5"/>
                  </a:lnTo>
                  <a:lnTo>
                    <a:pt x="689" y="11"/>
                  </a:lnTo>
                  <a:lnTo>
                    <a:pt x="689" y="11"/>
                  </a:lnTo>
                  <a:close/>
                  <a:moveTo>
                    <a:pt x="701" y="16"/>
                  </a:moveTo>
                  <a:lnTo>
                    <a:pt x="703" y="12"/>
                  </a:lnTo>
                  <a:lnTo>
                    <a:pt x="706" y="8"/>
                  </a:lnTo>
                  <a:lnTo>
                    <a:pt x="712" y="11"/>
                  </a:lnTo>
                  <a:lnTo>
                    <a:pt x="716" y="7"/>
                  </a:lnTo>
                  <a:lnTo>
                    <a:pt x="717" y="0"/>
                  </a:lnTo>
                  <a:lnTo>
                    <a:pt x="722" y="5"/>
                  </a:lnTo>
                  <a:lnTo>
                    <a:pt x="730" y="6"/>
                  </a:lnTo>
                  <a:lnTo>
                    <a:pt x="724" y="12"/>
                  </a:lnTo>
                  <a:lnTo>
                    <a:pt x="735" y="13"/>
                  </a:lnTo>
                  <a:lnTo>
                    <a:pt x="730" y="22"/>
                  </a:lnTo>
                  <a:lnTo>
                    <a:pt x="722" y="24"/>
                  </a:lnTo>
                  <a:lnTo>
                    <a:pt x="712" y="17"/>
                  </a:lnTo>
                  <a:lnTo>
                    <a:pt x="701" y="16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0" name="Freeform 11"/>
            <p:cNvSpPr>
              <a:spLocks noEditPoints="1"/>
            </p:cNvSpPr>
            <p:nvPr/>
          </p:nvSpPr>
          <p:spPr bwMode="auto">
            <a:xfrm>
              <a:off x="3798888" y="863600"/>
              <a:ext cx="727075" cy="1489075"/>
            </a:xfrm>
            <a:custGeom>
              <a:avLst/>
              <a:gdLst/>
              <a:ahLst/>
              <a:cxnLst>
                <a:cxn ang="0">
                  <a:pos x="18" y="677"/>
                </a:cxn>
                <a:cxn ang="0">
                  <a:pos x="47" y="632"/>
                </a:cxn>
                <a:cxn ang="0">
                  <a:pos x="54" y="553"/>
                </a:cxn>
                <a:cxn ang="0">
                  <a:pos x="24" y="459"/>
                </a:cxn>
                <a:cxn ang="0">
                  <a:pos x="69" y="379"/>
                </a:cxn>
                <a:cxn ang="0">
                  <a:pos x="92" y="264"/>
                </a:cxn>
                <a:cxn ang="0">
                  <a:pos x="128" y="211"/>
                </a:cxn>
                <a:cxn ang="0">
                  <a:pos x="147" y="119"/>
                </a:cxn>
                <a:cxn ang="0">
                  <a:pos x="195" y="81"/>
                </a:cxn>
                <a:cxn ang="0">
                  <a:pos x="214" y="57"/>
                </a:cxn>
                <a:cxn ang="0">
                  <a:pos x="270" y="49"/>
                </a:cxn>
                <a:cxn ang="0">
                  <a:pos x="289" y="21"/>
                </a:cxn>
                <a:cxn ang="0">
                  <a:pos x="311" y="8"/>
                </a:cxn>
                <a:cxn ang="0">
                  <a:pos x="390" y="55"/>
                </a:cxn>
                <a:cxn ang="0">
                  <a:pos x="416" y="87"/>
                </a:cxn>
                <a:cxn ang="0">
                  <a:pos x="428" y="144"/>
                </a:cxn>
                <a:cxn ang="0">
                  <a:pos x="436" y="212"/>
                </a:cxn>
                <a:cxn ang="0">
                  <a:pos x="444" y="248"/>
                </a:cxn>
                <a:cxn ang="0">
                  <a:pos x="398" y="250"/>
                </a:cxn>
                <a:cxn ang="0">
                  <a:pos x="366" y="254"/>
                </a:cxn>
                <a:cxn ang="0">
                  <a:pos x="364" y="285"/>
                </a:cxn>
                <a:cxn ang="0">
                  <a:pos x="364" y="295"/>
                </a:cxn>
                <a:cxn ang="0">
                  <a:pos x="365" y="335"/>
                </a:cxn>
                <a:cxn ang="0">
                  <a:pos x="352" y="374"/>
                </a:cxn>
                <a:cxn ang="0">
                  <a:pos x="313" y="411"/>
                </a:cxn>
                <a:cxn ang="0">
                  <a:pos x="285" y="436"/>
                </a:cxn>
                <a:cxn ang="0">
                  <a:pos x="257" y="449"/>
                </a:cxn>
                <a:cxn ang="0">
                  <a:pos x="237" y="484"/>
                </a:cxn>
                <a:cxn ang="0">
                  <a:pos x="225" y="532"/>
                </a:cxn>
                <a:cxn ang="0">
                  <a:pos x="225" y="567"/>
                </a:cxn>
                <a:cxn ang="0">
                  <a:pos x="236" y="603"/>
                </a:cxn>
                <a:cxn ang="0">
                  <a:pos x="278" y="630"/>
                </a:cxn>
                <a:cxn ang="0">
                  <a:pos x="277" y="689"/>
                </a:cxn>
                <a:cxn ang="0">
                  <a:pos x="237" y="680"/>
                </a:cxn>
                <a:cxn ang="0">
                  <a:pos x="197" y="683"/>
                </a:cxn>
                <a:cxn ang="0">
                  <a:pos x="227" y="691"/>
                </a:cxn>
                <a:cxn ang="0">
                  <a:pos x="279" y="701"/>
                </a:cxn>
                <a:cxn ang="0">
                  <a:pos x="254" y="713"/>
                </a:cxn>
                <a:cxn ang="0">
                  <a:pos x="231" y="738"/>
                </a:cxn>
                <a:cxn ang="0">
                  <a:pos x="214" y="756"/>
                </a:cxn>
                <a:cxn ang="0">
                  <a:pos x="218" y="790"/>
                </a:cxn>
                <a:cxn ang="0">
                  <a:pos x="221" y="841"/>
                </a:cxn>
                <a:cxn ang="0">
                  <a:pos x="183" y="893"/>
                </a:cxn>
                <a:cxn ang="0">
                  <a:pos x="134" y="922"/>
                </a:cxn>
                <a:cxn ang="0">
                  <a:pos x="82" y="926"/>
                </a:cxn>
                <a:cxn ang="0">
                  <a:pos x="81" y="876"/>
                </a:cxn>
                <a:cxn ang="0">
                  <a:pos x="39" y="825"/>
                </a:cxn>
                <a:cxn ang="0">
                  <a:pos x="21" y="783"/>
                </a:cxn>
                <a:cxn ang="0">
                  <a:pos x="17" y="764"/>
                </a:cxn>
                <a:cxn ang="0">
                  <a:pos x="1" y="739"/>
                </a:cxn>
                <a:cxn ang="0">
                  <a:pos x="288" y="706"/>
                </a:cxn>
                <a:cxn ang="0">
                  <a:pos x="12" y="776"/>
                </a:cxn>
                <a:cxn ang="0">
                  <a:pos x="322" y="756"/>
                </a:cxn>
                <a:cxn ang="0">
                  <a:pos x="329" y="788"/>
                </a:cxn>
                <a:cxn ang="0">
                  <a:pos x="300" y="849"/>
                </a:cxn>
                <a:cxn ang="0">
                  <a:pos x="318" y="814"/>
                </a:cxn>
                <a:cxn ang="0">
                  <a:pos x="300" y="794"/>
                </a:cxn>
                <a:cxn ang="0">
                  <a:pos x="296" y="836"/>
                </a:cxn>
                <a:cxn ang="0">
                  <a:pos x="222" y="891"/>
                </a:cxn>
                <a:cxn ang="0">
                  <a:pos x="236" y="829"/>
                </a:cxn>
              </a:cxnLst>
              <a:rect l="0" t="0" r="r" b="b"/>
              <a:pathLst>
                <a:path w="458" h="938">
                  <a:moveTo>
                    <a:pt x="7" y="718"/>
                  </a:moveTo>
                  <a:lnTo>
                    <a:pt x="13" y="720"/>
                  </a:lnTo>
                  <a:lnTo>
                    <a:pt x="18" y="729"/>
                  </a:lnTo>
                  <a:lnTo>
                    <a:pt x="23" y="720"/>
                  </a:lnTo>
                  <a:lnTo>
                    <a:pt x="22" y="695"/>
                  </a:lnTo>
                  <a:lnTo>
                    <a:pt x="15" y="684"/>
                  </a:lnTo>
                  <a:lnTo>
                    <a:pt x="18" y="677"/>
                  </a:lnTo>
                  <a:lnTo>
                    <a:pt x="24" y="674"/>
                  </a:lnTo>
                  <a:lnTo>
                    <a:pt x="19" y="666"/>
                  </a:lnTo>
                  <a:lnTo>
                    <a:pt x="23" y="661"/>
                  </a:lnTo>
                  <a:lnTo>
                    <a:pt x="37" y="660"/>
                  </a:lnTo>
                  <a:lnTo>
                    <a:pt x="41" y="652"/>
                  </a:lnTo>
                  <a:lnTo>
                    <a:pt x="40" y="644"/>
                  </a:lnTo>
                  <a:lnTo>
                    <a:pt x="47" y="632"/>
                  </a:lnTo>
                  <a:lnTo>
                    <a:pt x="40" y="623"/>
                  </a:lnTo>
                  <a:lnTo>
                    <a:pt x="37" y="604"/>
                  </a:lnTo>
                  <a:lnTo>
                    <a:pt x="28" y="588"/>
                  </a:lnTo>
                  <a:lnTo>
                    <a:pt x="29" y="582"/>
                  </a:lnTo>
                  <a:lnTo>
                    <a:pt x="50" y="576"/>
                  </a:lnTo>
                  <a:lnTo>
                    <a:pt x="50" y="562"/>
                  </a:lnTo>
                  <a:lnTo>
                    <a:pt x="54" y="553"/>
                  </a:lnTo>
                  <a:lnTo>
                    <a:pt x="39" y="538"/>
                  </a:lnTo>
                  <a:lnTo>
                    <a:pt x="25" y="532"/>
                  </a:lnTo>
                  <a:lnTo>
                    <a:pt x="24" y="516"/>
                  </a:lnTo>
                  <a:lnTo>
                    <a:pt x="28" y="500"/>
                  </a:lnTo>
                  <a:lnTo>
                    <a:pt x="25" y="483"/>
                  </a:lnTo>
                  <a:lnTo>
                    <a:pt x="21" y="472"/>
                  </a:lnTo>
                  <a:lnTo>
                    <a:pt x="24" y="459"/>
                  </a:lnTo>
                  <a:lnTo>
                    <a:pt x="22" y="437"/>
                  </a:lnTo>
                  <a:lnTo>
                    <a:pt x="17" y="417"/>
                  </a:lnTo>
                  <a:lnTo>
                    <a:pt x="21" y="397"/>
                  </a:lnTo>
                  <a:lnTo>
                    <a:pt x="31" y="382"/>
                  </a:lnTo>
                  <a:lnTo>
                    <a:pt x="41" y="376"/>
                  </a:lnTo>
                  <a:lnTo>
                    <a:pt x="53" y="378"/>
                  </a:lnTo>
                  <a:lnTo>
                    <a:pt x="69" y="379"/>
                  </a:lnTo>
                  <a:lnTo>
                    <a:pt x="76" y="370"/>
                  </a:lnTo>
                  <a:lnTo>
                    <a:pt x="75" y="354"/>
                  </a:lnTo>
                  <a:lnTo>
                    <a:pt x="71" y="348"/>
                  </a:lnTo>
                  <a:lnTo>
                    <a:pt x="71" y="337"/>
                  </a:lnTo>
                  <a:lnTo>
                    <a:pt x="87" y="303"/>
                  </a:lnTo>
                  <a:lnTo>
                    <a:pt x="88" y="283"/>
                  </a:lnTo>
                  <a:lnTo>
                    <a:pt x="92" y="264"/>
                  </a:lnTo>
                  <a:lnTo>
                    <a:pt x="97" y="254"/>
                  </a:lnTo>
                  <a:lnTo>
                    <a:pt x="97" y="241"/>
                  </a:lnTo>
                  <a:lnTo>
                    <a:pt x="91" y="235"/>
                  </a:lnTo>
                  <a:lnTo>
                    <a:pt x="91" y="227"/>
                  </a:lnTo>
                  <a:lnTo>
                    <a:pt x="105" y="220"/>
                  </a:lnTo>
                  <a:lnTo>
                    <a:pt x="121" y="216"/>
                  </a:lnTo>
                  <a:lnTo>
                    <a:pt x="128" y="211"/>
                  </a:lnTo>
                  <a:lnTo>
                    <a:pt x="128" y="203"/>
                  </a:lnTo>
                  <a:lnTo>
                    <a:pt x="141" y="182"/>
                  </a:lnTo>
                  <a:lnTo>
                    <a:pt x="154" y="167"/>
                  </a:lnTo>
                  <a:lnTo>
                    <a:pt x="158" y="157"/>
                  </a:lnTo>
                  <a:lnTo>
                    <a:pt x="154" y="145"/>
                  </a:lnTo>
                  <a:lnTo>
                    <a:pt x="149" y="139"/>
                  </a:lnTo>
                  <a:lnTo>
                    <a:pt x="147" y="119"/>
                  </a:lnTo>
                  <a:lnTo>
                    <a:pt x="154" y="117"/>
                  </a:lnTo>
                  <a:lnTo>
                    <a:pt x="160" y="110"/>
                  </a:lnTo>
                  <a:lnTo>
                    <a:pt x="162" y="100"/>
                  </a:lnTo>
                  <a:lnTo>
                    <a:pt x="168" y="96"/>
                  </a:lnTo>
                  <a:lnTo>
                    <a:pt x="175" y="83"/>
                  </a:lnTo>
                  <a:lnTo>
                    <a:pt x="185" y="77"/>
                  </a:lnTo>
                  <a:lnTo>
                    <a:pt x="195" y="81"/>
                  </a:lnTo>
                  <a:lnTo>
                    <a:pt x="199" y="86"/>
                  </a:lnTo>
                  <a:lnTo>
                    <a:pt x="206" y="84"/>
                  </a:lnTo>
                  <a:lnTo>
                    <a:pt x="213" y="78"/>
                  </a:lnTo>
                  <a:lnTo>
                    <a:pt x="207" y="70"/>
                  </a:lnTo>
                  <a:lnTo>
                    <a:pt x="212" y="65"/>
                  </a:lnTo>
                  <a:lnTo>
                    <a:pt x="212" y="61"/>
                  </a:lnTo>
                  <a:lnTo>
                    <a:pt x="214" y="57"/>
                  </a:lnTo>
                  <a:lnTo>
                    <a:pt x="207" y="46"/>
                  </a:lnTo>
                  <a:lnTo>
                    <a:pt x="212" y="43"/>
                  </a:lnTo>
                  <a:lnTo>
                    <a:pt x="225" y="43"/>
                  </a:lnTo>
                  <a:lnTo>
                    <a:pt x="235" y="38"/>
                  </a:lnTo>
                  <a:lnTo>
                    <a:pt x="250" y="42"/>
                  </a:lnTo>
                  <a:lnTo>
                    <a:pt x="260" y="48"/>
                  </a:lnTo>
                  <a:lnTo>
                    <a:pt x="270" y="49"/>
                  </a:lnTo>
                  <a:lnTo>
                    <a:pt x="276" y="54"/>
                  </a:lnTo>
                  <a:lnTo>
                    <a:pt x="280" y="52"/>
                  </a:lnTo>
                  <a:lnTo>
                    <a:pt x="285" y="54"/>
                  </a:lnTo>
                  <a:lnTo>
                    <a:pt x="285" y="44"/>
                  </a:lnTo>
                  <a:lnTo>
                    <a:pt x="280" y="37"/>
                  </a:lnTo>
                  <a:lnTo>
                    <a:pt x="282" y="25"/>
                  </a:lnTo>
                  <a:lnTo>
                    <a:pt x="289" y="21"/>
                  </a:lnTo>
                  <a:lnTo>
                    <a:pt x="286" y="13"/>
                  </a:lnTo>
                  <a:lnTo>
                    <a:pt x="279" y="9"/>
                  </a:lnTo>
                  <a:lnTo>
                    <a:pt x="278" y="1"/>
                  </a:lnTo>
                  <a:lnTo>
                    <a:pt x="289" y="3"/>
                  </a:lnTo>
                  <a:lnTo>
                    <a:pt x="299" y="2"/>
                  </a:lnTo>
                  <a:lnTo>
                    <a:pt x="302" y="0"/>
                  </a:lnTo>
                  <a:lnTo>
                    <a:pt x="311" y="8"/>
                  </a:lnTo>
                  <a:lnTo>
                    <a:pt x="322" y="14"/>
                  </a:lnTo>
                  <a:lnTo>
                    <a:pt x="338" y="31"/>
                  </a:lnTo>
                  <a:lnTo>
                    <a:pt x="351" y="38"/>
                  </a:lnTo>
                  <a:lnTo>
                    <a:pt x="367" y="40"/>
                  </a:lnTo>
                  <a:lnTo>
                    <a:pt x="375" y="44"/>
                  </a:lnTo>
                  <a:lnTo>
                    <a:pt x="381" y="46"/>
                  </a:lnTo>
                  <a:lnTo>
                    <a:pt x="390" y="55"/>
                  </a:lnTo>
                  <a:lnTo>
                    <a:pt x="394" y="63"/>
                  </a:lnTo>
                  <a:lnTo>
                    <a:pt x="398" y="63"/>
                  </a:lnTo>
                  <a:lnTo>
                    <a:pt x="401" y="63"/>
                  </a:lnTo>
                  <a:lnTo>
                    <a:pt x="409" y="72"/>
                  </a:lnTo>
                  <a:lnTo>
                    <a:pt x="415" y="72"/>
                  </a:lnTo>
                  <a:lnTo>
                    <a:pt x="419" y="78"/>
                  </a:lnTo>
                  <a:lnTo>
                    <a:pt x="416" y="87"/>
                  </a:lnTo>
                  <a:lnTo>
                    <a:pt x="418" y="99"/>
                  </a:lnTo>
                  <a:lnTo>
                    <a:pt x="415" y="107"/>
                  </a:lnTo>
                  <a:lnTo>
                    <a:pt x="416" y="116"/>
                  </a:lnTo>
                  <a:lnTo>
                    <a:pt x="428" y="117"/>
                  </a:lnTo>
                  <a:lnTo>
                    <a:pt x="430" y="127"/>
                  </a:lnTo>
                  <a:lnTo>
                    <a:pt x="425" y="133"/>
                  </a:lnTo>
                  <a:lnTo>
                    <a:pt x="428" y="144"/>
                  </a:lnTo>
                  <a:lnTo>
                    <a:pt x="433" y="151"/>
                  </a:lnTo>
                  <a:lnTo>
                    <a:pt x="435" y="165"/>
                  </a:lnTo>
                  <a:lnTo>
                    <a:pt x="433" y="173"/>
                  </a:lnTo>
                  <a:lnTo>
                    <a:pt x="435" y="179"/>
                  </a:lnTo>
                  <a:lnTo>
                    <a:pt x="435" y="194"/>
                  </a:lnTo>
                  <a:lnTo>
                    <a:pt x="433" y="200"/>
                  </a:lnTo>
                  <a:lnTo>
                    <a:pt x="436" y="212"/>
                  </a:lnTo>
                  <a:lnTo>
                    <a:pt x="446" y="216"/>
                  </a:lnTo>
                  <a:lnTo>
                    <a:pt x="453" y="231"/>
                  </a:lnTo>
                  <a:lnTo>
                    <a:pt x="458" y="235"/>
                  </a:lnTo>
                  <a:lnTo>
                    <a:pt x="458" y="245"/>
                  </a:lnTo>
                  <a:lnTo>
                    <a:pt x="458" y="245"/>
                  </a:lnTo>
                  <a:lnTo>
                    <a:pt x="452" y="249"/>
                  </a:lnTo>
                  <a:lnTo>
                    <a:pt x="444" y="248"/>
                  </a:lnTo>
                  <a:lnTo>
                    <a:pt x="438" y="241"/>
                  </a:lnTo>
                  <a:lnTo>
                    <a:pt x="427" y="249"/>
                  </a:lnTo>
                  <a:lnTo>
                    <a:pt x="419" y="245"/>
                  </a:lnTo>
                  <a:lnTo>
                    <a:pt x="416" y="251"/>
                  </a:lnTo>
                  <a:lnTo>
                    <a:pt x="409" y="249"/>
                  </a:lnTo>
                  <a:lnTo>
                    <a:pt x="405" y="241"/>
                  </a:lnTo>
                  <a:lnTo>
                    <a:pt x="398" y="250"/>
                  </a:lnTo>
                  <a:lnTo>
                    <a:pt x="392" y="240"/>
                  </a:lnTo>
                  <a:lnTo>
                    <a:pt x="387" y="244"/>
                  </a:lnTo>
                  <a:lnTo>
                    <a:pt x="386" y="252"/>
                  </a:lnTo>
                  <a:lnTo>
                    <a:pt x="383" y="258"/>
                  </a:lnTo>
                  <a:lnTo>
                    <a:pt x="376" y="260"/>
                  </a:lnTo>
                  <a:lnTo>
                    <a:pt x="372" y="256"/>
                  </a:lnTo>
                  <a:lnTo>
                    <a:pt x="366" y="254"/>
                  </a:lnTo>
                  <a:lnTo>
                    <a:pt x="372" y="263"/>
                  </a:lnTo>
                  <a:lnTo>
                    <a:pt x="378" y="268"/>
                  </a:lnTo>
                  <a:lnTo>
                    <a:pt x="370" y="274"/>
                  </a:lnTo>
                  <a:lnTo>
                    <a:pt x="363" y="273"/>
                  </a:lnTo>
                  <a:lnTo>
                    <a:pt x="355" y="277"/>
                  </a:lnTo>
                  <a:lnTo>
                    <a:pt x="364" y="280"/>
                  </a:lnTo>
                  <a:lnTo>
                    <a:pt x="364" y="285"/>
                  </a:lnTo>
                  <a:lnTo>
                    <a:pt x="360" y="286"/>
                  </a:lnTo>
                  <a:lnTo>
                    <a:pt x="358" y="284"/>
                  </a:lnTo>
                  <a:lnTo>
                    <a:pt x="353" y="280"/>
                  </a:lnTo>
                  <a:lnTo>
                    <a:pt x="349" y="284"/>
                  </a:lnTo>
                  <a:lnTo>
                    <a:pt x="354" y="290"/>
                  </a:lnTo>
                  <a:lnTo>
                    <a:pt x="359" y="290"/>
                  </a:lnTo>
                  <a:lnTo>
                    <a:pt x="364" y="295"/>
                  </a:lnTo>
                  <a:lnTo>
                    <a:pt x="361" y="300"/>
                  </a:lnTo>
                  <a:lnTo>
                    <a:pt x="355" y="314"/>
                  </a:lnTo>
                  <a:lnTo>
                    <a:pt x="358" y="320"/>
                  </a:lnTo>
                  <a:lnTo>
                    <a:pt x="346" y="322"/>
                  </a:lnTo>
                  <a:lnTo>
                    <a:pt x="355" y="329"/>
                  </a:lnTo>
                  <a:lnTo>
                    <a:pt x="363" y="330"/>
                  </a:lnTo>
                  <a:lnTo>
                    <a:pt x="365" y="335"/>
                  </a:lnTo>
                  <a:lnTo>
                    <a:pt x="360" y="337"/>
                  </a:lnTo>
                  <a:lnTo>
                    <a:pt x="365" y="343"/>
                  </a:lnTo>
                  <a:lnTo>
                    <a:pt x="371" y="343"/>
                  </a:lnTo>
                  <a:lnTo>
                    <a:pt x="363" y="354"/>
                  </a:lnTo>
                  <a:lnTo>
                    <a:pt x="357" y="354"/>
                  </a:lnTo>
                  <a:lnTo>
                    <a:pt x="351" y="361"/>
                  </a:lnTo>
                  <a:lnTo>
                    <a:pt x="352" y="374"/>
                  </a:lnTo>
                  <a:lnTo>
                    <a:pt x="342" y="389"/>
                  </a:lnTo>
                  <a:lnTo>
                    <a:pt x="336" y="388"/>
                  </a:lnTo>
                  <a:lnTo>
                    <a:pt x="328" y="396"/>
                  </a:lnTo>
                  <a:lnTo>
                    <a:pt x="323" y="390"/>
                  </a:lnTo>
                  <a:lnTo>
                    <a:pt x="320" y="397"/>
                  </a:lnTo>
                  <a:lnTo>
                    <a:pt x="324" y="406"/>
                  </a:lnTo>
                  <a:lnTo>
                    <a:pt x="313" y="411"/>
                  </a:lnTo>
                  <a:lnTo>
                    <a:pt x="308" y="419"/>
                  </a:lnTo>
                  <a:lnTo>
                    <a:pt x="303" y="419"/>
                  </a:lnTo>
                  <a:lnTo>
                    <a:pt x="302" y="413"/>
                  </a:lnTo>
                  <a:lnTo>
                    <a:pt x="295" y="413"/>
                  </a:lnTo>
                  <a:lnTo>
                    <a:pt x="291" y="422"/>
                  </a:lnTo>
                  <a:lnTo>
                    <a:pt x="291" y="431"/>
                  </a:lnTo>
                  <a:lnTo>
                    <a:pt x="285" y="436"/>
                  </a:lnTo>
                  <a:lnTo>
                    <a:pt x="280" y="431"/>
                  </a:lnTo>
                  <a:lnTo>
                    <a:pt x="277" y="431"/>
                  </a:lnTo>
                  <a:lnTo>
                    <a:pt x="274" y="440"/>
                  </a:lnTo>
                  <a:lnTo>
                    <a:pt x="271" y="441"/>
                  </a:lnTo>
                  <a:lnTo>
                    <a:pt x="267" y="436"/>
                  </a:lnTo>
                  <a:lnTo>
                    <a:pt x="260" y="442"/>
                  </a:lnTo>
                  <a:lnTo>
                    <a:pt x="257" y="449"/>
                  </a:lnTo>
                  <a:lnTo>
                    <a:pt x="264" y="451"/>
                  </a:lnTo>
                  <a:lnTo>
                    <a:pt x="264" y="454"/>
                  </a:lnTo>
                  <a:lnTo>
                    <a:pt x="250" y="465"/>
                  </a:lnTo>
                  <a:lnTo>
                    <a:pt x="243" y="463"/>
                  </a:lnTo>
                  <a:lnTo>
                    <a:pt x="241" y="468"/>
                  </a:lnTo>
                  <a:lnTo>
                    <a:pt x="244" y="475"/>
                  </a:lnTo>
                  <a:lnTo>
                    <a:pt x="237" y="484"/>
                  </a:lnTo>
                  <a:lnTo>
                    <a:pt x="224" y="487"/>
                  </a:lnTo>
                  <a:lnTo>
                    <a:pt x="216" y="484"/>
                  </a:lnTo>
                  <a:lnTo>
                    <a:pt x="226" y="497"/>
                  </a:lnTo>
                  <a:lnTo>
                    <a:pt x="227" y="506"/>
                  </a:lnTo>
                  <a:lnTo>
                    <a:pt x="225" y="510"/>
                  </a:lnTo>
                  <a:lnTo>
                    <a:pt x="227" y="520"/>
                  </a:lnTo>
                  <a:lnTo>
                    <a:pt x="225" y="532"/>
                  </a:lnTo>
                  <a:lnTo>
                    <a:pt x="231" y="538"/>
                  </a:lnTo>
                  <a:lnTo>
                    <a:pt x="231" y="546"/>
                  </a:lnTo>
                  <a:lnTo>
                    <a:pt x="225" y="541"/>
                  </a:lnTo>
                  <a:lnTo>
                    <a:pt x="222" y="544"/>
                  </a:lnTo>
                  <a:lnTo>
                    <a:pt x="225" y="556"/>
                  </a:lnTo>
                  <a:lnTo>
                    <a:pt x="219" y="564"/>
                  </a:lnTo>
                  <a:lnTo>
                    <a:pt x="225" y="567"/>
                  </a:lnTo>
                  <a:lnTo>
                    <a:pt x="225" y="571"/>
                  </a:lnTo>
                  <a:lnTo>
                    <a:pt x="221" y="574"/>
                  </a:lnTo>
                  <a:lnTo>
                    <a:pt x="226" y="582"/>
                  </a:lnTo>
                  <a:lnTo>
                    <a:pt x="220" y="590"/>
                  </a:lnTo>
                  <a:lnTo>
                    <a:pt x="225" y="594"/>
                  </a:lnTo>
                  <a:lnTo>
                    <a:pt x="230" y="602"/>
                  </a:lnTo>
                  <a:lnTo>
                    <a:pt x="236" y="603"/>
                  </a:lnTo>
                  <a:lnTo>
                    <a:pt x="236" y="610"/>
                  </a:lnTo>
                  <a:lnTo>
                    <a:pt x="241" y="608"/>
                  </a:lnTo>
                  <a:lnTo>
                    <a:pt x="245" y="615"/>
                  </a:lnTo>
                  <a:lnTo>
                    <a:pt x="253" y="607"/>
                  </a:lnTo>
                  <a:lnTo>
                    <a:pt x="259" y="611"/>
                  </a:lnTo>
                  <a:lnTo>
                    <a:pt x="261" y="619"/>
                  </a:lnTo>
                  <a:lnTo>
                    <a:pt x="278" y="630"/>
                  </a:lnTo>
                  <a:lnTo>
                    <a:pt x="276" y="634"/>
                  </a:lnTo>
                  <a:lnTo>
                    <a:pt x="289" y="642"/>
                  </a:lnTo>
                  <a:lnTo>
                    <a:pt x="289" y="648"/>
                  </a:lnTo>
                  <a:lnTo>
                    <a:pt x="297" y="656"/>
                  </a:lnTo>
                  <a:lnTo>
                    <a:pt x="293" y="668"/>
                  </a:lnTo>
                  <a:lnTo>
                    <a:pt x="280" y="680"/>
                  </a:lnTo>
                  <a:lnTo>
                    <a:pt x="277" y="689"/>
                  </a:lnTo>
                  <a:lnTo>
                    <a:pt x="265" y="691"/>
                  </a:lnTo>
                  <a:lnTo>
                    <a:pt x="257" y="688"/>
                  </a:lnTo>
                  <a:lnTo>
                    <a:pt x="259" y="681"/>
                  </a:lnTo>
                  <a:lnTo>
                    <a:pt x="248" y="679"/>
                  </a:lnTo>
                  <a:lnTo>
                    <a:pt x="243" y="674"/>
                  </a:lnTo>
                  <a:lnTo>
                    <a:pt x="243" y="679"/>
                  </a:lnTo>
                  <a:lnTo>
                    <a:pt x="237" y="680"/>
                  </a:lnTo>
                  <a:lnTo>
                    <a:pt x="233" y="677"/>
                  </a:lnTo>
                  <a:lnTo>
                    <a:pt x="226" y="674"/>
                  </a:lnTo>
                  <a:lnTo>
                    <a:pt x="222" y="680"/>
                  </a:lnTo>
                  <a:lnTo>
                    <a:pt x="215" y="681"/>
                  </a:lnTo>
                  <a:lnTo>
                    <a:pt x="212" y="678"/>
                  </a:lnTo>
                  <a:lnTo>
                    <a:pt x="206" y="686"/>
                  </a:lnTo>
                  <a:lnTo>
                    <a:pt x="197" y="683"/>
                  </a:lnTo>
                  <a:lnTo>
                    <a:pt x="191" y="685"/>
                  </a:lnTo>
                  <a:lnTo>
                    <a:pt x="191" y="689"/>
                  </a:lnTo>
                  <a:lnTo>
                    <a:pt x="206" y="690"/>
                  </a:lnTo>
                  <a:lnTo>
                    <a:pt x="209" y="692"/>
                  </a:lnTo>
                  <a:lnTo>
                    <a:pt x="209" y="688"/>
                  </a:lnTo>
                  <a:lnTo>
                    <a:pt x="221" y="688"/>
                  </a:lnTo>
                  <a:lnTo>
                    <a:pt x="227" y="691"/>
                  </a:lnTo>
                  <a:lnTo>
                    <a:pt x="237" y="692"/>
                  </a:lnTo>
                  <a:lnTo>
                    <a:pt x="243" y="700"/>
                  </a:lnTo>
                  <a:lnTo>
                    <a:pt x="250" y="696"/>
                  </a:lnTo>
                  <a:lnTo>
                    <a:pt x="255" y="698"/>
                  </a:lnTo>
                  <a:lnTo>
                    <a:pt x="264" y="694"/>
                  </a:lnTo>
                  <a:lnTo>
                    <a:pt x="274" y="697"/>
                  </a:lnTo>
                  <a:lnTo>
                    <a:pt x="279" y="701"/>
                  </a:lnTo>
                  <a:lnTo>
                    <a:pt x="280" y="709"/>
                  </a:lnTo>
                  <a:lnTo>
                    <a:pt x="274" y="714"/>
                  </a:lnTo>
                  <a:lnTo>
                    <a:pt x="268" y="714"/>
                  </a:lnTo>
                  <a:lnTo>
                    <a:pt x="260" y="725"/>
                  </a:lnTo>
                  <a:lnTo>
                    <a:pt x="255" y="725"/>
                  </a:lnTo>
                  <a:lnTo>
                    <a:pt x="257" y="717"/>
                  </a:lnTo>
                  <a:lnTo>
                    <a:pt x="254" y="713"/>
                  </a:lnTo>
                  <a:lnTo>
                    <a:pt x="250" y="718"/>
                  </a:lnTo>
                  <a:lnTo>
                    <a:pt x="251" y="723"/>
                  </a:lnTo>
                  <a:lnTo>
                    <a:pt x="245" y="724"/>
                  </a:lnTo>
                  <a:lnTo>
                    <a:pt x="239" y="730"/>
                  </a:lnTo>
                  <a:lnTo>
                    <a:pt x="238" y="738"/>
                  </a:lnTo>
                  <a:lnTo>
                    <a:pt x="231" y="733"/>
                  </a:lnTo>
                  <a:lnTo>
                    <a:pt x="231" y="738"/>
                  </a:lnTo>
                  <a:lnTo>
                    <a:pt x="226" y="743"/>
                  </a:lnTo>
                  <a:lnTo>
                    <a:pt x="224" y="741"/>
                  </a:lnTo>
                  <a:lnTo>
                    <a:pt x="219" y="741"/>
                  </a:lnTo>
                  <a:lnTo>
                    <a:pt x="214" y="747"/>
                  </a:lnTo>
                  <a:lnTo>
                    <a:pt x="221" y="748"/>
                  </a:lnTo>
                  <a:lnTo>
                    <a:pt x="231" y="756"/>
                  </a:lnTo>
                  <a:lnTo>
                    <a:pt x="214" y="756"/>
                  </a:lnTo>
                  <a:lnTo>
                    <a:pt x="227" y="761"/>
                  </a:lnTo>
                  <a:lnTo>
                    <a:pt x="228" y="766"/>
                  </a:lnTo>
                  <a:lnTo>
                    <a:pt x="224" y="776"/>
                  </a:lnTo>
                  <a:lnTo>
                    <a:pt x="233" y="783"/>
                  </a:lnTo>
                  <a:lnTo>
                    <a:pt x="222" y="785"/>
                  </a:lnTo>
                  <a:lnTo>
                    <a:pt x="212" y="782"/>
                  </a:lnTo>
                  <a:lnTo>
                    <a:pt x="218" y="790"/>
                  </a:lnTo>
                  <a:lnTo>
                    <a:pt x="213" y="798"/>
                  </a:lnTo>
                  <a:lnTo>
                    <a:pt x="224" y="802"/>
                  </a:lnTo>
                  <a:lnTo>
                    <a:pt x="215" y="810"/>
                  </a:lnTo>
                  <a:lnTo>
                    <a:pt x="222" y="818"/>
                  </a:lnTo>
                  <a:lnTo>
                    <a:pt x="215" y="825"/>
                  </a:lnTo>
                  <a:lnTo>
                    <a:pt x="214" y="834"/>
                  </a:lnTo>
                  <a:lnTo>
                    <a:pt x="221" y="841"/>
                  </a:lnTo>
                  <a:lnTo>
                    <a:pt x="218" y="847"/>
                  </a:lnTo>
                  <a:lnTo>
                    <a:pt x="216" y="868"/>
                  </a:lnTo>
                  <a:lnTo>
                    <a:pt x="209" y="875"/>
                  </a:lnTo>
                  <a:lnTo>
                    <a:pt x="206" y="891"/>
                  </a:lnTo>
                  <a:lnTo>
                    <a:pt x="196" y="901"/>
                  </a:lnTo>
                  <a:lnTo>
                    <a:pt x="191" y="897"/>
                  </a:lnTo>
                  <a:lnTo>
                    <a:pt x="183" y="893"/>
                  </a:lnTo>
                  <a:lnTo>
                    <a:pt x="172" y="898"/>
                  </a:lnTo>
                  <a:lnTo>
                    <a:pt x="156" y="895"/>
                  </a:lnTo>
                  <a:lnTo>
                    <a:pt x="152" y="889"/>
                  </a:lnTo>
                  <a:lnTo>
                    <a:pt x="150" y="903"/>
                  </a:lnTo>
                  <a:lnTo>
                    <a:pt x="135" y="904"/>
                  </a:lnTo>
                  <a:lnTo>
                    <a:pt x="129" y="917"/>
                  </a:lnTo>
                  <a:lnTo>
                    <a:pt x="134" y="922"/>
                  </a:lnTo>
                  <a:lnTo>
                    <a:pt x="135" y="928"/>
                  </a:lnTo>
                  <a:lnTo>
                    <a:pt x="126" y="935"/>
                  </a:lnTo>
                  <a:lnTo>
                    <a:pt x="115" y="932"/>
                  </a:lnTo>
                  <a:lnTo>
                    <a:pt x="92" y="938"/>
                  </a:lnTo>
                  <a:lnTo>
                    <a:pt x="82" y="938"/>
                  </a:lnTo>
                  <a:lnTo>
                    <a:pt x="77" y="933"/>
                  </a:lnTo>
                  <a:lnTo>
                    <a:pt x="82" y="926"/>
                  </a:lnTo>
                  <a:lnTo>
                    <a:pt x="79" y="906"/>
                  </a:lnTo>
                  <a:lnTo>
                    <a:pt x="69" y="904"/>
                  </a:lnTo>
                  <a:lnTo>
                    <a:pt x="68" y="897"/>
                  </a:lnTo>
                  <a:lnTo>
                    <a:pt x="62" y="893"/>
                  </a:lnTo>
                  <a:lnTo>
                    <a:pt x="63" y="888"/>
                  </a:lnTo>
                  <a:lnTo>
                    <a:pt x="75" y="887"/>
                  </a:lnTo>
                  <a:lnTo>
                    <a:pt x="81" y="876"/>
                  </a:lnTo>
                  <a:lnTo>
                    <a:pt x="79" y="866"/>
                  </a:lnTo>
                  <a:lnTo>
                    <a:pt x="69" y="871"/>
                  </a:lnTo>
                  <a:lnTo>
                    <a:pt x="60" y="863"/>
                  </a:lnTo>
                  <a:lnTo>
                    <a:pt x="58" y="856"/>
                  </a:lnTo>
                  <a:lnTo>
                    <a:pt x="48" y="852"/>
                  </a:lnTo>
                  <a:lnTo>
                    <a:pt x="47" y="840"/>
                  </a:lnTo>
                  <a:lnTo>
                    <a:pt x="39" y="825"/>
                  </a:lnTo>
                  <a:lnTo>
                    <a:pt x="35" y="822"/>
                  </a:lnTo>
                  <a:lnTo>
                    <a:pt x="30" y="811"/>
                  </a:lnTo>
                  <a:lnTo>
                    <a:pt x="23" y="810"/>
                  </a:lnTo>
                  <a:lnTo>
                    <a:pt x="17" y="802"/>
                  </a:lnTo>
                  <a:lnTo>
                    <a:pt x="22" y="799"/>
                  </a:lnTo>
                  <a:lnTo>
                    <a:pt x="23" y="789"/>
                  </a:lnTo>
                  <a:lnTo>
                    <a:pt x="21" y="783"/>
                  </a:lnTo>
                  <a:lnTo>
                    <a:pt x="22" y="777"/>
                  </a:lnTo>
                  <a:lnTo>
                    <a:pt x="30" y="770"/>
                  </a:lnTo>
                  <a:lnTo>
                    <a:pt x="28" y="765"/>
                  </a:lnTo>
                  <a:lnTo>
                    <a:pt x="21" y="761"/>
                  </a:lnTo>
                  <a:lnTo>
                    <a:pt x="23" y="756"/>
                  </a:lnTo>
                  <a:lnTo>
                    <a:pt x="18" y="756"/>
                  </a:lnTo>
                  <a:lnTo>
                    <a:pt x="17" y="764"/>
                  </a:lnTo>
                  <a:lnTo>
                    <a:pt x="23" y="770"/>
                  </a:lnTo>
                  <a:lnTo>
                    <a:pt x="13" y="773"/>
                  </a:lnTo>
                  <a:lnTo>
                    <a:pt x="15" y="765"/>
                  </a:lnTo>
                  <a:lnTo>
                    <a:pt x="12" y="761"/>
                  </a:lnTo>
                  <a:lnTo>
                    <a:pt x="6" y="758"/>
                  </a:lnTo>
                  <a:lnTo>
                    <a:pt x="5" y="744"/>
                  </a:lnTo>
                  <a:lnTo>
                    <a:pt x="1" y="739"/>
                  </a:lnTo>
                  <a:lnTo>
                    <a:pt x="0" y="721"/>
                  </a:lnTo>
                  <a:lnTo>
                    <a:pt x="7" y="718"/>
                  </a:lnTo>
                  <a:lnTo>
                    <a:pt x="7" y="718"/>
                  </a:lnTo>
                  <a:lnTo>
                    <a:pt x="7" y="718"/>
                  </a:lnTo>
                  <a:close/>
                  <a:moveTo>
                    <a:pt x="277" y="692"/>
                  </a:moveTo>
                  <a:lnTo>
                    <a:pt x="284" y="702"/>
                  </a:lnTo>
                  <a:lnTo>
                    <a:pt x="288" y="706"/>
                  </a:lnTo>
                  <a:lnTo>
                    <a:pt x="288" y="695"/>
                  </a:lnTo>
                  <a:lnTo>
                    <a:pt x="296" y="688"/>
                  </a:lnTo>
                  <a:lnTo>
                    <a:pt x="296" y="681"/>
                  </a:lnTo>
                  <a:lnTo>
                    <a:pt x="285" y="681"/>
                  </a:lnTo>
                  <a:lnTo>
                    <a:pt x="277" y="692"/>
                  </a:lnTo>
                  <a:lnTo>
                    <a:pt x="277" y="692"/>
                  </a:lnTo>
                  <a:close/>
                  <a:moveTo>
                    <a:pt x="12" y="776"/>
                  </a:moveTo>
                  <a:lnTo>
                    <a:pt x="12" y="782"/>
                  </a:lnTo>
                  <a:lnTo>
                    <a:pt x="16" y="782"/>
                  </a:lnTo>
                  <a:lnTo>
                    <a:pt x="18" y="775"/>
                  </a:lnTo>
                  <a:lnTo>
                    <a:pt x="12" y="776"/>
                  </a:lnTo>
                  <a:lnTo>
                    <a:pt x="12" y="776"/>
                  </a:lnTo>
                  <a:close/>
                  <a:moveTo>
                    <a:pt x="317" y="750"/>
                  </a:moveTo>
                  <a:lnTo>
                    <a:pt x="322" y="756"/>
                  </a:lnTo>
                  <a:lnTo>
                    <a:pt x="326" y="752"/>
                  </a:lnTo>
                  <a:lnTo>
                    <a:pt x="322" y="748"/>
                  </a:lnTo>
                  <a:lnTo>
                    <a:pt x="317" y="750"/>
                  </a:lnTo>
                  <a:lnTo>
                    <a:pt x="317" y="750"/>
                  </a:lnTo>
                  <a:close/>
                  <a:moveTo>
                    <a:pt x="320" y="789"/>
                  </a:moveTo>
                  <a:lnTo>
                    <a:pt x="324" y="793"/>
                  </a:lnTo>
                  <a:lnTo>
                    <a:pt x="329" y="788"/>
                  </a:lnTo>
                  <a:lnTo>
                    <a:pt x="337" y="785"/>
                  </a:lnTo>
                  <a:lnTo>
                    <a:pt x="335" y="783"/>
                  </a:lnTo>
                  <a:lnTo>
                    <a:pt x="325" y="783"/>
                  </a:lnTo>
                  <a:lnTo>
                    <a:pt x="320" y="789"/>
                  </a:lnTo>
                  <a:lnTo>
                    <a:pt x="320" y="789"/>
                  </a:lnTo>
                  <a:close/>
                  <a:moveTo>
                    <a:pt x="289" y="853"/>
                  </a:moveTo>
                  <a:lnTo>
                    <a:pt x="300" y="849"/>
                  </a:lnTo>
                  <a:lnTo>
                    <a:pt x="302" y="845"/>
                  </a:lnTo>
                  <a:lnTo>
                    <a:pt x="299" y="843"/>
                  </a:lnTo>
                  <a:lnTo>
                    <a:pt x="300" y="837"/>
                  </a:lnTo>
                  <a:lnTo>
                    <a:pt x="311" y="830"/>
                  </a:lnTo>
                  <a:lnTo>
                    <a:pt x="312" y="825"/>
                  </a:lnTo>
                  <a:lnTo>
                    <a:pt x="319" y="818"/>
                  </a:lnTo>
                  <a:lnTo>
                    <a:pt x="318" y="814"/>
                  </a:lnTo>
                  <a:lnTo>
                    <a:pt x="312" y="808"/>
                  </a:lnTo>
                  <a:lnTo>
                    <a:pt x="316" y="801"/>
                  </a:lnTo>
                  <a:lnTo>
                    <a:pt x="317" y="796"/>
                  </a:lnTo>
                  <a:lnTo>
                    <a:pt x="320" y="794"/>
                  </a:lnTo>
                  <a:lnTo>
                    <a:pt x="314" y="791"/>
                  </a:lnTo>
                  <a:lnTo>
                    <a:pt x="309" y="794"/>
                  </a:lnTo>
                  <a:lnTo>
                    <a:pt x="300" y="794"/>
                  </a:lnTo>
                  <a:lnTo>
                    <a:pt x="294" y="801"/>
                  </a:lnTo>
                  <a:lnTo>
                    <a:pt x="290" y="808"/>
                  </a:lnTo>
                  <a:lnTo>
                    <a:pt x="283" y="814"/>
                  </a:lnTo>
                  <a:lnTo>
                    <a:pt x="286" y="823"/>
                  </a:lnTo>
                  <a:lnTo>
                    <a:pt x="283" y="825"/>
                  </a:lnTo>
                  <a:lnTo>
                    <a:pt x="293" y="837"/>
                  </a:lnTo>
                  <a:lnTo>
                    <a:pt x="296" y="836"/>
                  </a:lnTo>
                  <a:lnTo>
                    <a:pt x="294" y="843"/>
                  </a:lnTo>
                  <a:lnTo>
                    <a:pt x="288" y="849"/>
                  </a:lnTo>
                  <a:lnTo>
                    <a:pt x="289" y="853"/>
                  </a:lnTo>
                  <a:lnTo>
                    <a:pt x="289" y="853"/>
                  </a:lnTo>
                  <a:close/>
                  <a:moveTo>
                    <a:pt x="220" y="877"/>
                  </a:moveTo>
                  <a:lnTo>
                    <a:pt x="222" y="886"/>
                  </a:lnTo>
                  <a:lnTo>
                    <a:pt x="222" y="891"/>
                  </a:lnTo>
                  <a:lnTo>
                    <a:pt x="225" y="894"/>
                  </a:lnTo>
                  <a:lnTo>
                    <a:pt x="228" y="887"/>
                  </a:lnTo>
                  <a:lnTo>
                    <a:pt x="233" y="874"/>
                  </a:lnTo>
                  <a:lnTo>
                    <a:pt x="235" y="859"/>
                  </a:lnTo>
                  <a:lnTo>
                    <a:pt x="239" y="846"/>
                  </a:lnTo>
                  <a:lnTo>
                    <a:pt x="241" y="833"/>
                  </a:lnTo>
                  <a:lnTo>
                    <a:pt x="236" y="829"/>
                  </a:lnTo>
                  <a:lnTo>
                    <a:pt x="231" y="836"/>
                  </a:lnTo>
                  <a:lnTo>
                    <a:pt x="232" y="840"/>
                  </a:lnTo>
                  <a:lnTo>
                    <a:pt x="228" y="852"/>
                  </a:lnTo>
                  <a:lnTo>
                    <a:pt x="224" y="856"/>
                  </a:lnTo>
                  <a:lnTo>
                    <a:pt x="220" y="877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1" name="Freeform 12"/>
            <p:cNvSpPr>
              <a:spLocks noEditPoints="1"/>
            </p:cNvSpPr>
            <p:nvPr/>
          </p:nvSpPr>
          <p:spPr bwMode="auto">
            <a:xfrm>
              <a:off x="4278313" y="719138"/>
              <a:ext cx="733425" cy="1185863"/>
            </a:xfrm>
            <a:custGeom>
              <a:avLst/>
              <a:gdLst/>
              <a:ahLst/>
              <a:cxnLst>
                <a:cxn ang="0">
                  <a:pos x="420" y="619"/>
                </a:cxn>
                <a:cxn ang="0">
                  <a:pos x="427" y="504"/>
                </a:cxn>
                <a:cxn ang="0">
                  <a:pos x="398" y="423"/>
                </a:cxn>
                <a:cxn ang="0">
                  <a:pos x="380" y="374"/>
                </a:cxn>
                <a:cxn ang="0">
                  <a:pos x="366" y="285"/>
                </a:cxn>
                <a:cxn ang="0">
                  <a:pos x="354" y="186"/>
                </a:cxn>
                <a:cxn ang="0">
                  <a:pos x="298" y="145"/>
                </a:cxn>
                <a:cxn ang="0">
                  <a:pos x="289" y="87"/>
                </a:cxn>
                <a:cxn ang="0">
                  <a:pos x="298" y="29"/>
                </a:cxn>
                <a:cxn ang="0">
                  <a:pos x="226" y="1"/>
                </a:cxn>
                <a:cxn ang="0">
                  <a:pos x="191" y="21"/>
                </a:cxn>
                <a:cxn ang="0">
                  <a:pos x="183" y="79"/>
                </a:cxn>
                <a:cxn ang="0">
                  <a:pos x="154" y="105"/>
                </a:cxn>
                <a:cxn ang="0">
                  <a:pos x="96" y="119"/>
                </a:cxn>
                <a:cxn ang="0">
                  <a:pos x="23" y="71"/>
                </a:cxn>
                <a:cxn ang="0">
                  <a:pos x="3" y="88"/>
                </a:cxn>
                <a:cxn ang="0">
                  <a:pos x="65" y="131"/>
                </a:cxn>
                <a:cxn ang="0">
                  <a:pos x="99" y="154"/>
                </a:cxn>
                <a:cxn ang="0">
                  <a:pos x="113" y="198"/>
                </a:cxn>
                <a:cxn ang="0">
                  <a:pos x="131" y="242"/>
                </a:cxn>
                <a:cxn ang="0">
                  <a:pos x="134" y="303"/>
                </a:cxn>
                <a:cxn ang="0">
                  <a:pos x="168" y="340"/>
                </a:cxn>
                <a:cxn ang="0">
                  <a:pos x="204" y="378"/>
                </a:cxn>
                <a:cxn ang="0">
                  <a:pos x="213" y="406"/>
                </a:cxn>
                <a:cxn ang="0">
                  <a:pos x="168" y="427"/>
                </a:cxn>
                <a:cxn ang="0">
                  <a:pos x="137" y="453"/>
                </a:cxn>
                <a:cxn ang="0">
                  <a:pos x="132" y="491"/>
                </a:cxn>
                <a:cxn ang="0">
                  <a:pos x="103" y="497"/>
                </a:cxn>
                <a:cxn ang="0">
                  <a:pos x="91" y="523"/>
                </a:cxn>
                <a:cxn ang="0">
                  <a:pos x="70" y="530"/>
                </a:cxn>
                <a:cxn ang="0">
                  <a:pos x="68" y="563"/>
                </a:cxn>
                <a:cxn ang="0">
                  <a:pos x="73" y="592"/>
                </a:cxn>
                <a:cxn ang="0">
                  <a:pos x="92" y="636"/>
                </a:cxn>
                <a:cxn ang="0">
                  <a:pos x="84" y="688"/>
                </a:cxn>
                <a:cxn ang="0">
                  <a:pos x="116" y="701"/>
                </a:cxn>
                <a:cxn ang="0">
                  <a:pos x="148" y="712"/>
                </a:cxn>
                <a:cxn ang="0">
                  <a:pos x="163" y="746"/>
                </a:cxn>
                <a:cxn ang="0">
                  <a:pos x="192" y="735"/>
                </a:cxn>
                <a:cxn ang="0">
                  <a:pos x="255" y="712"/>
                </a:cxn>
                <a:cxn ang="0">
                  <a:pos x="273" y="705"/>
                </a:cxn>
                <a:cxn ang="0">
                  <a:pos x="290" y="705"/>
                </a:cxn>
                <a:cxn ang="0">
                  <a:pos x="322" y="696"/>
                </a:cxn>
                <a:cxn ang="0">
                  <a:pos x="351" y="691"/>
                </a:cxn>
                <a:cxn ang="0">
                  <a:pos x="192" y="389"/>
                </a:cxn>
                <a:cxn ang="0">
                  <a:pos x="197" y="384"/>
                </a:cxn>
                <a:cxn ang="0">
                  <a:pos x="70" y="507"/>
                </a:cxn>
                <a:cxn ang="0">
                  <a:pos x="70" y="514"/>
                </a:cxn>
                <a:cxn ang="0">
                  <a:pos x="155" y="730"/>
                </a:cxn>
                <a:cxn ang="0">
                  <a:pos x="155" y="730"/>
                </a:cxn>
                <a:cxn ang="0">
                  <a:pos x="143" y="722"/>
                </a:cxn>
                <a:cxn ang="0">
                  <a:pos x="123" y="713"/>
                </a:cxn>
                <a:cxn ang="0">
                  <a:pos x="105" y="700"/>
                </a:cxn>
                <a:cxn ang="0">
                  <a:pos x="84" y="704"/>
                </a:cxn>
                <a:cxn ang="0">
                  <a:pos x="29" y="705"/>
                </a:cxn>
                <a:cxn ang="0">
                  <a:pos x="45" y="728"/>
                </a:cxn>
                <a:cxn ang="0">
                  <a:pos x="26" y="723"/>
                </a:cxn>
              </a:cxnLst>
              <a:rect l="0" t="0" r="r" b="b"/>
              <a:pathLst>
                <a:path w="462" h="747">
                  <a:moveTo>
                    <a:pt x="364" y="691"/>
                  </a:moveTo>
                  <a:lnTo>
                    <a:pt x="363" y="679"/>
                  </a:lnTo>
                  <a:lnTo>
                    <a:pt x="383" y="661"/>
                  </a:lnTo>
                  <a:lnTo>
                    <a:pt x="394" y="656"/>
                  </a:lnTo>
                  <a:lnTo>
                    <a:pt x="408" y="637"/>
                  </a:lnTo>
                  <a:lnTo>
                    <a:pt x="420" y="619"/>
                  </a:lnTo>
                  <a:lnTo>
                    <a:pt x="429" y="598"/>
                  </a:lnTo>
                  <a:lnTo>
                    <a:pt x="449" y="571"/>
                  </a:lnTo>
                  <a:lnTo>
                    <a:pt x="462" y="540"/>
                  </a:lnTo>
                  <a:lnTo>
                    <a:pt x="458" y="528"/>
                  </a:lnTo>
                  <a:lnTo>
                    <a:pt x="439" y="508"/>
                  </a:lnTo>
                  <a:lnTo>
                    <a:pt x="427" y="504"/>
                  </a:lnTo>
                  <a:lnTo>
                    <a:pt x="405" y="478"/>
                  </a:lnTo>
                  <a:lnTo>
                    <a:pt x="409" y="464"/>
                  </a:lnTo>
                  <a:lnTo>
                    <a:pt x="417" y="453"/>
                  </a:lnTo>
                  <a:lnTo>
                    <a:pt x="417" y="441"/>
                  </a:lnTo>
                  <a:lnTo>
                    <a:pt x="403" y="433"/>
                  </a:lnTo>
                  <a:lnTo>
                    <a:pt x="398" y="423"/>
                  </a:lnTo>
                  <a:lnTo>
                    <a:pt x="397" y="409"/>
                  </a:lnTo>
                  <a:lnTo>
                    <a:pt x="400" y="404"/>
                  </a:lnTo>
                  <a:lnTo>
                    <a:pt x="397" y="397"/>
                  </a:lnTo>
                  <a:lnTo>
                    <a:pt x="386" y="394"/>
                  </a:lnTo>
                  <a:lnTo>
                    <a:pt x="380" y="388"/>
                  </a:lnTo>
                  <a:lnTo>
                    <a:pt x="380" y="374"/>
                  </a:lnTo>
                  <a:lnTo>
                    <a:pt x="386" y="366"/>
                  </a:lnTo>
                  <a:lnTo>
                    <a:pt x="377" y="364"/>
                  </a:lnTo>
                  <a:lnTo>
                    <a:pt x="376" y="357"/>
                  </a:lnTo>
                  <a:lnTo>
                    <a:pt x="379" y="330"/>
                  </a:lnTo>
                  <a:lnTo>
                    <a:pt x="387" y="329"/>
                  </a:lnTo>
                  <a:lnTo>
                    <a:pt x="366" y="285"/>
                  </a:lnTo>
                  <a:lnTo>
                    <a:pt x="347" y="254"/>
                  </a:lnTo>
                  <a:lnTo>
                    <a:pt x="343" y="242"/>
                  </a:lnTo>
                  <a:lnTo>
                    <a:pt x="333" y="231"/>
                  </a:lnTo>
                  <a:lnTo>
                    <a:pt x="340" y="212"/>
                  </a:lnTo>
                  <a:lnTo>
                    <a:pt x="350" y="198"/>
                  </a:lnTo>
                  <a:lnTo>
                    <a:pt x="354" y="186"/>
                  </a:lnTo>
                  <a:lnTo>
                    <a:pt x="348" y="181"/>
                  </a:lnTo>
                  <a:lnTo>
                    <a:pt x="328" y="169"/>
                  </a:lnTo>
                  <a:lnTo>
                    <a:pt x="324" y="161"/>
                  </a:lnTo>
                  <a:lnTo>
                    <a:pt x="317" y="152"/>
                  </a:lnTo>
                  <a:lnTo>
                    <a:pt x="304" y="145"/>
                  </a:lnTo>
                  <a:lnTo>
                    <a:pt x="298" y="145"/>
                  </a:lnTo>
                  <a:lnTo>
                    <a:pt x="290" y="126"/>
                  </a:lnTo>
                  <a:lnTo>
                    <a:pt x="283" y="119"/>
                  </a:lnTo>
                  <a:lnTo>
                    <a:pt x="287" y="105"/>
                  </a:lnTo>
                  <a:lnTo>
                    <a:pt x="289" y="93"/>
                  </a:lnTo>
                  <a:lnTo>
                    <a:pt x="282" y="92"/>
                  </a:lnTo>
                  <a:lnTo>
                    <a:pt x="289" y="87"/>
                  </a:lnTo>
                  <a:lnTo>
                    <a:pt x="301" y="82"/>
                  </a:lnTo>
                  <a:lnTo>
                    <a:pt x="300" y="65"/>
                  </a:lnTo>
                  <a:lnTo>
                    <a:pt x="307" y="53"/>
                  </a:lnTo>
                  <a:lnTo>
                    <a:pt x="310" y="45"/>
                  </a:lnTo>
                  <a:lnTo>
                    <a:pt x="300" y="36"/>
                  </a:lnTo>
                  <a:lnTo>
                    <a:pt x="298" y="29"/>
                  </a:lnTo>
                  <a:lnTo>
                    <a:pt x="282" y="28"/>
                  </a:lnTo>
                  <a:lnTo>
                    <a:pt x="272" y="24"/>
                  </a:lnTo>
                  <a:lnTo>
                    <a:pt x="266" y="18"/>
                  </a:lnTo>
                  <a:lnTo>
                    <a:pt x="254" y="6"/>
                  </a:lnTo>
                  <a:lnTo>
                    <a:pt x="246" y="0"/>
                  </a:lnTo>
                  <a:lnTo>
                    <a:pt x="226" y="1"/>
                  </a:lnTo>
                  <a:lnTo>
                    <a:pt x="219" y="9"/>
                  </a:lnTo>
                  <a:lnTo>
                    <a:pt x="219" y="12"/>
                  </a:lnTo>
                  <a:lnTo>
                    <a:pt x="213" y="13"/>
                  </a:lnTo>
                  <a:lnTo>
                    <a:pt x="201" y="11"/>
                  </a:lnTo>
                  <a:lnTo>
                    <a:pt x="191" y="16"/>
                  </a:lnTo>
                  <a:lnTo>
                    <a:pt x="191" y="21"/>
                  </a:lnTo>
                  <a:lnTo>
                    <a:pt x="184" y="29"/>
                  </a:lnTo>
                  <a:lnTo>
                    <a:pt x="179" y="32"/>
                  </a:lnTo>
                  <a:lnTo>
                    <a:pt x="183" y="39"/>
                  </a:lnTo>
                  <a:lnTo>
                    <a:pt x="180" y="45"/>
                  </a:lnTo>
                  <a:lnTo>
                    <a:pt x="178" y="67"/>
                  </a:lnTo>
                  <a:lnTo>
                    <a:pt x="183" y="79"/>
                  </a:lnTo>
                  <a:lnTo>
                    <a:pt x="185" y="86"/>
                  </a:lnTo>
                  <a:lnTo>
                    <a:pt x="183" y="91"/>
                  </a:lnTo>
                  <a:lnTo>
                    <a:pt x="174" y="96"/>
                  </a:lnTo>
                  <a:lnTo>
                    <a:pt x="167" y="96"/>
                  </a:lnTo>
                  <a:lnTo>
                    <a:pt x="159" y="102"/>
                  </a:lnTo>
                  <a:lnTo>
                    <a:pt x="154" y="105"/>
                  </a:lnTo>
                  <a:lnTo>
                    <a:pt x="148" y="114"/>
                  </a:lnTo>
                  <a:lnTo>
                    <a:pt x="138" y="112"/>
                  </a:lnTo>
                  <a:lnTo>
                    <a:pt x="122" y="103"/>
                  </a:lnTo>
                  <a:lnTo>
                    <a:pt x="113" y="103"/>
                  </a:lnTo>
                  <a:lnTo>
                    <a:pt x="107" y="109"/>
                  </a:lnTo>
                  <a:lnTo>
                    <a:pt x="96" y="119"/>
                  </a:lnTo>
                  <a:lnTo>
                    <a:pt x="74" y="117"/>
                  </a:lnTo>
                  <a:lnTo>
                    <a:pt x="61" y="112"/>
                  </a:lnTo>
                  <a:lnTo>
                    <a:pt x="53" y="104"/>
                  </a:lnTo>
                  <a:lnTo>
                    <a:pt x="50" y="96"/>
                  </a:lnTo>
                  <a:lnTo>
                    <a:pt x="30" y="81"/>
                  </a:lnTo>
                  <a:lnTo>
                    <a:pt x="23" y="71"/>
                  </a:lnTo>
                  <a:lnTo>
                    <a:pt x="15" y="70"/>
                  </a:lnTo>
                  <a:lnTo>
                    <a:pt x="9" y="75"/>
                  </a:lnTo>
                  <a:lnTo>
                    <a:pt x="6" y="82"/>
                  </a:lnTo>
                  <a:lnTo>
                    <a:pt x="10" y="88"/>
                  </a:lnTo>
                  <a:lnTo>
                    <a:pt x="6" y="91"/>
                  </a:lnTo>
                  <a:lnTo>
                    <a:pt x="3" y="88"/>
                  </a:lnTo>
                  <a:lnTo>
                    <a:pt x="0" y="91"/>
                  </a:lnTo>
                  <a:lnTo>
                    <a:pt x="9" y="99"/>
                  </a:lnTo>
                  <a:lnTo>
                    <a:pt x="20" y="105"/>
                  </a:lnTo>
                  <a:lnTo>
                    <a:pt x="36" y="122"/>
                  </a:lnTo>
                  <a:lnTo>
                    <a:pt x="49" y="129"/>
                  </a:lnTo>
                  <a:lnTo>
                    <a:pt x="65" y="131"/>
                  </a:lnTo>
                  <a:lnTo>
                    <a:pt x="73" y="135"/>
                  </a:lnTo>
                  <a:lnTo>
                    <a:pt x="79" y="137"/>
                  </a:lnTo>
                  <a:lnTo>
                    <a:pt x="88" y="146"/>
                  </a:lnTo>
                  <a:lnTo>
                    <a:pt x="92" y="154"/>
                  </a:lnTo>
                  <a:lnTo>
                    <a:pt x="96" y="154"/>
                  </a:lnTo>
                  <a:lnTo>
                    <a:pt x="99" y="154"/>
                  </a:lnTo>
                  <a:lnTo>
                    <a:pt x="107" y="163"/>
                  </a:lnTo>
                  <a:lnTo>
                    <a:pt x="113" y="163"/>
                  </a:lnTo>
                  <a:lnTo>
                    <a:pt x="117" y="169"/>
                  </a:lnTo>
                  <a:lnTo>
                    <a:pt x="114" y="178"/>
                  </a:lnTo>
                  <a:lnTo>
                    <a:pt x="116" y="190"/>
                  </a:lnTo>
                  <a:lnTo>
                    <a:pt x="113" y="198"/>
                  </a:lnTo>
                  <a:lnTo>
                    <a:pt x="114" y="207"/>
                  </a:lnTo>
                  <a:lnTo>
                    <a:pt x="126" y="208"/>
                  </a:lnTo>
                  <a:lnTo>
                    <a:pt x="128" y="218"/>
                  </a:lnTo>
                  <a:lnTo>
                    <a:pt x="123" y="224"/>
                  </a:lnTo>
                  <a:lnTo>
                    <a:pt x="126" y="235"/>
                  </a:lnTo>
                  <a:lnTo>
                    <a:pt x="131" y="242"/>
                  </a:lnTo>
                  <a:lnTo>
                    <a:pt x="133" y="256"/>
                  </a:lnTo>
                  <a:lnTo>
                    <a:pt x="131" y="264"/>
                  </a:lnTo>
                  <a:lnTo>
                    <a:pt x="133" y="270"/>
                  </a:lnTo>
                  <a:lnTo>
                    <a:pt x="133" y="285"/>
                  </a:lnTo>
                  <a:lnTo>
                    <a:pt x="131" y="291"/>
                  </a:lnTo>
                  <a:lnTo>
                    <a:pt x="134" y="303"/>
                  </a:lnTo>
                  <a:lnTo>
                    <a:pt x="144" y="307"/>
                  </a:lnTo>
                  <a:lnTo>
                    <a:pt x="151" y="322"/>
                  </a:lnTo>
                  <a:lnTo>
                    <a:pt x="156" y="326"/>
                  </a:lnTo>
                  <a:lnTo>
                    <a:pt x="156" y="336"/>
                  </a:lnTo>
                  <a:lnTo>
                    <a:pt x="160" y="339"/>
                  </a:lnTo>
                  <a:lnTo>
                    <a:pt x="168" y="340"/>
                  </a:lnTo>
                  <a:lnTo>
                    <a:pt x="177" y="347"/>
                  </a:lnTo>
                  <a:lnTo>
                    <a:pt x="194" y="347"/>
                  </a:lnTo>
                  <a:lnTo>
                    <a:pt x="206" y="358"/>
                  </a:lnTo>
                  <a:lnTo>
                    <a:pt x="198" y="360"/>
                  </a:lnTo>
                  <a:lnTo>
                    <a:pt x="203" y="366"/>
                  </a:lnTo>
                  <a:lnTo>
                    <a:pt x="204" y="378"/>
                  </a:lnTo>
                  <a:lnTo>
                    <a:pt x="201" y="381"/>
                  </a:lnTo>
                  <a:lnTo>
                    <a:pt x="215" y="393"/>
                  </a:lnTo>
                  <a:lnTo>
                    <a:pt x="204" y="391"/>
                  </a:lnTo>
                  <a:lnTo>
                    <a:pt x="201" y="392"/>
                  </a:lnTo>
                  <a:lnTo>
                    <a:pt x="213" y="401"/>
                  </a:lnTo>
                  <a:lnTo>
                    <a:pt x="213" y="406"/>
                  </a:lnTo>
                  <a:lnTo>
                    <a:pt x="200" y="399"/>
                  </a:lnTo>
                  <a:lnTo>
                    <a:pt x="188" y="399"/>
                  </a:lnTo>
                  <a:lnTo>
                    <a:pt x="175" y="406"/>
                  </a:lnTo>
                  <a:lnTo>
                    <a:pt x="175" y="413"/>
                  </a:lnTo>
                  <a:lnTo>
                    <a:pt x="168" y="421"/>
                  </a:lnTo>
                  <a:lnTo>
                    <a:pt x="168" y="427"/>
                  </a:lnTo>
                  <a:lnTo>
                    <a:pt x="163" y="429"/>
                  </a:lnTo>
                  <a:lnTo>
                    <a:pt x="150" y="442"/>
                  </a:lnTo>
                  <a:lnTo>
                    <a:pt x="148" y="456"/>
                  </a:lnTo>
                  <a:lnTo>
                    <a:pt x="144" y="457"/>
                  </a:lnTo>
                  <a:lnTo>
                    <a:pt x="142" y="453"/>
                  </a:lnTo>
                  <a:lnTo>
                    <a:pt x="137" y="453"/>
                  </a:lnTo>
                  <a:lnTo>
                    <a:pt x="140" y="462"/>
                  </a:lnTo>
                  <a:lnTo>
                    <a:pt x="138" y="469"/>
                  </a:lnTo>
                  <a:lnTo>
                    <a:pt x="130" y="469"/>
                  </a:lnTo>
                  <a:lnTo>
                    <a:pt x="123" y="476"/>
                  </a:lnTo>
                  <a:lnTo>
                    <a:pt x="126" y="487"/>
                  </a:lnTo>
                  <a:lnTo>
                    <a:pt x="132" y="491"/>
                  </a:lnTo>
                  <a:lnTo>
                    <a:pt x="121" y="487"/>
                  </a:lnTo>
                  <a:lnTo>
                    <a:pt x="117" y="484"/>
                  </a:lnTo>
                  <a:lnTo>
                    <a:pt x="111" y="486"/>
                  </a:lnTo>
                  <a:lnTo>
                    <a:pt x="108" y="494"/>
                  </a:lnTo>
                  <a:lnTo>
                    <a:pt x="110" y="499"/>
                  </a:lnTo>
                  <a:lnTo>
                    <a:pt x="103" y="497"/>
                  </a:lnTo>
                  <a:lnTo>
                    <a:pt x="101" y="499"/>
                  </a:lnTo>
                  <a:lnTo>
                    <a:pt x="107" y="505"/>
                  </a:lnTo>
                  <a:lnTo>
                    <a:pt x="108" y="509"/>
                  </a:lnTo>
                  <a:lnTo>
                    <a:pt x="102" y="515"/>
                  </a:lnTo>
                  <a:lnTo>
                    <a:pt x="99" y="519"/>
                  </a:lnTo>
                  <a:lnTo>
                    <a:pt x="91" y="523"/>
                  </a:lnTo>
                  <a:lnTo>
                    <a:pt x="87" y="521"/>
                  </a:lnTo>
                  <a:lnTo>
                    <a:pt x="86" y="519"/>
                  </a:lnTo>
                  <a:lnTo>
                    <a:pt x="80" y="516"/>
                  </a:lnTo>
                  <a:lnTo>
                    <a:pt x="73" y="519"/>
                  </a:lnTo>
                  <a:lnTo>
                    <a:pt x="75" y="526"/>
                  </a:lnTo>
                  <a:lnTo>
                    <a:pt x="70" y="530"/>
                  </a:lnTo>
                  <a:lnTo>
                    <a:pt x="74" y="538"/>
                  </a:lnTo>
                  <a:lnTo>
                    <a:pt x="70" y="545"/>
                  </a:lnTo>
                  <a:lnTo>
                    <a:pt x="67" y="546"/>
                  </a:lnTo>
                  <a:lnTo>
                    <a:pt x="62" y="554"/>
                  </a:lnTo>
                  <a:lnTo>
                    <a:pt x="65" y="561"/>
                  </a:lnTo>
                  <a:lnTo>
                    <a:pt x="68" y="563"/>
                  </a:lnTo>
                  <a:lnTo>
                    <a:pt x="64" y="572"/>
                  </a:lnTo>
                  <a:lnTo>
                    <a:pt x="67" y="577"/>
                  </a:lnTo>
                  <a:lnTo>
                    <a:pt x="73" y="574"/>
                  </a:lnTo>
                  <a:lnTo>
                    <a:pt x="78" y="579"/>
                  </a:lnTo>
                  <a:lnTo>
                    <a:pt x="76" y="588"/>
                  </a:lnTo>
                  <a:lnTo>
                    <a:pt x="73" y="592"/>
                  </a:lnTo>
                  <a:lnTo>
                    <a:pt x="76" y="600"/>
                  </a:lnTo>
                  <a:lnTo>
                    <a:pt x="74" y="603"/>
                  </a:lnTo>
                  <a:lnTo>
                    <a:pt x="84" y="618"/>
                  </a:lnTo>
                  <a:lnTo>
                    <a:pt x="88" y="620"/>
                  </a:lnTo>
                  <a:lnTo>
                    <a:pt x="85" y="626"/>
                  </a:lnTo>
                  <a:lnTo>
                    <a:pt x="92" y="636"/>
                  </a:lnTo>
                  <a:lnTo>
                    <a:pt x="85" y="638"/>
                  </a:lnTo>
                  <a:lnTo>
                    <a:pt x="87" y="650"/>
                  </a:lnTo>
                  <a:lnTo>
                    <a:pt x="84" y="656"/>
                  </a:lnTo>
                  <a:lnTo>
                    <a:pt x="84" y="673"/>
                  </a:lnTo>
                  <a:lnTo>
                    <a:pt x="88" y="678"/>
                  </a:lnTo>
                  <a:lnTo>
                    <a:pt x="84" y="688"/>
                  </a:lnTo>
                  <a:lnTo>
                    <a:pt x="84" y="694"/>
                  </a:lnTo>
                  <a:lnTo>
                    <a:pt x="87" y="699"/>
                  </a:lnTo>
                  <a:lnTo>
                    <a:pt x="99" y="694"/>
                  </a:lnTo>
                  <a:lnTo>
                    <a:pt x="104" y="696"/>
                  </a:lnTo>
                  <a:lnTo>
                    <a:pt x="105" y="691"/>
                  </a:lnTo>
                  <a:lnTo>
                    <a:pt x="116" y="701"/>
                  </a:lnTo>
                  <a:lnTo>
                    <a:pt x="122" y="701"/>
                  </a:lnTo>
                  <a:lnTo>
                    <a:pt x="128" y="706"/>
                  </a:lnTo>
                  <a:lnTo>
                    <a:pt x="142" y="705"/>
                  </a:lnTo>
                  <a:lnTo>
                    <a:pt x="145" y="706"/>
                  </a:lnTo>
                  <a:lnTo>
                    <a:pt x="143" y="712"/>
                  </a:lnTo>
                  <a:lnTo>
                    <a:pt x="148" y="712"/>
                  </a:lnTo>
                  <a:lnTo>
                    <a:pt x="159" y="705"/>
                  </a:lnTo>
                  <a:lnTo>
                    <a:pt x="159" y="711"/>
                  </a:lnTo>
                  <a:lnTo>
                    <a:pt x="153" y="718"/>
                  </a:lnTo>
                  <a:lnTo>
                    <a:pt x="165" y="733"/>
                  </a:lnTo>
                  <a:lnTo>
                    <a:pt x="167" y="737"/>
                  </a:lnTo>
                  <a:lnTo>
                    <a:pt x="163" y="746"/>
                  </a:lnTo>
                  <a:lnTo>
                    <a:pt x="167" y="747"/>
                  </a:lnTo>
                  <a:lnTo>
                    <a:pt x="172" y="735"/>
                  </a:lnTo>
                  <a:lnTo>
                    <a:pt x="177" y="733"/>
                  </a:lnTo>
                  <a:lnTo>
                    <a:pt x="178" y="739"/>
                  </a:lnTo>
                  <a:lnTo>
                    <a:pt x="186" y="735"/>
                  </a:lnTo>
                  <a:lnTo>
                    <a:pt x="192" y="735"/>
                  </a:lnTo>
                  <a:lnTo>
                    <a:pt x="208" y="725"/>
                  </a:lnTo>
                  <a:lnTo>
                    <a:pt x="215" y="725"/>
                  </a:lnTo>
                  <a:lnTo>
                    <a:pt x="233" y="714"/>
                  </a:lnTo>
                  <a:lnTo>
                    <a:pt x="235" y="710"/>
                  </a:lnTo>
                  <a:lnTo>
                    <a:pt x="247" y="713"/>
                  </a:lnTo>
                  <a:lnTo>
                    <a:pt x="255" y="712"/>
                  </a:lnTo>
                  <a:lnTo>
                    <a:pt x="262" y="701"/>
                  </a:lnTo>
                  <a:lnTo>
                    <a:pt x="264" y="705"/>
                  </a:lnTo>
                  <a:lnTo>
                    <a:pt x="260" y="712"/>
                  </a:lnTo>
                  <a:lnTo>
                    <a:pt x="265" y="714"/>
                  </a:lnTo>
                  <a:lnTo>
                    <a:pt x="270" y="704"/>
                  </a:lnTo>
                  <a:lnTo>
                    <a:pt x="273" y="705"/>
                  </a:lnTo>
                  <a:lnTo>
                    <a:pt x="270" y="696"/>
                  </a:lnTo>
                  <a:lnTo>
                    <a:pt x="273" y="693"/>
                  </a:lnTo>
                  <a:lnTo>
                    <a:pt x="278" y="701"/>
                  </a:lnTo>
                  <a:lnTo>
                    <a:pt x="284" y="702"/>
                  </a:lnTo>
                  <a:lnTo>
                    <a:pt x="285" y="696"/>
                  </a:lnTo>
                  <a:lnTo>
                    <a:pt x="290" y="705"/>
                  </a:lnTo>
                  <a:lnTo>
                    <a:pt x="296" y="704"/>
                  </a:lnTo>
                  <a:lnTo>
                    <a:pt x="296" y="698"/>
                  </a:lnTo>
                  <a:lnTo>
                    <a:pt x="302" y="699"/>
                  </a:lnTo>
                  <a:lnTo>
                    <a:pt x="305" y="704"/>
                  </a:lnTo>
                  <a:lnTo>
                    <a:pt x="310" y="699"/>
                  </a:lnTo>
                  <a:lnTo>
                    <a:pt x="322" y="696"/>
                  </a:lnTo>
                  <a:lnTo>
                    <a:pt x="329" y="701"/>
                  </a:lnTo>
                  <a:lnTo>
                    <a:pt x="342" y="700"/>
                  </a:lnTo>
                  <a:lnTo>
                    <a:pt x="343" y="695"/>
                  </a:lnTo>
                  <a:lnTo>
                    <a:pt x="340" y="691"/>
                  </a:lnTo>
                  <a:lnTo>
                    <a:pt x="345" y="689"/>
                  </a:lnTo>
                  <a:lnTo>
                    <a:pt x="351" y="691"/>
                  </a:lnTo>
                  <a:lnTo>
                    <a:pt x="352" y="696"/>
                  </a:lnTo>
                  <a:lnTo>
                    <a:pt x="360" y="699"/>
                  </a:lnTo>
                  <a:lnTo>
                    <a:pt x="360" y="699"/>
                  </a:lnTo>
                  <a:lnTo>
                    <a:pt x="364" y="691"/>
                  </a:lnTo>
                  <a:lnTo>
                    <a:pt x="364" y="691"/>
                  </a:lnTo>
                  <a:close/>
                  <a:moveTo>
                    <a:pt x="192" y="389"/>
                  </a:moveTo>
                  <a:lnTo>
                    <a:pt x="189" y="393"/>
                  </a:lnTo>
                  <a:lnTo>
                    <a:pt x="182" y="393"/>
                  </a:lnTo>
                  <a:lnTo>
                    <a:pt x="175" y="384"/>
                  </a:lnTo>
                  <a:lnTo>
                    <a:pt x="184" y="378"/>
                  </a:lnTo>
                  <a:lnTo>
                    <a:pt x="197" y="381"/>
                  </a:lnTo>
                  <a:lnTo>
                    <a:pt x="197" y="384"/>
                  </a:lnTo>
                  <a:lnTo>
                    <a:pt x="189" y="384"/>
                  </a:lnTo>
                  <a:lnTo>
                    <a:pt x="192" y="389"/>
                  </a:lnTo>
                  <a:lnTo>
                    <a:pt x="192" y="389"/>
                  </a:lnTo>
                  <a:close/>
                  <a:moveTo>
                    <a:pt x="63" y="508"/>
                  </a:moveTo>
                  <a:lnTo>
                    <a:pt x="64" y="502"/>
                  </a:lnTo>
                  <a:lnTo>
                    <a:pt x="70" y="507"/>
                  </a:lnTo>
                  <a:lnTo>
                    <a:pt x="67" y="510"/>
                  </a:lnTo>
                  <a:lnTo>
                    <a:pt x="63" y="508"/>
                  </a:lnTo>
                  <a:lnTo>
                    <a:pt x="63" y="508"/>
                  </a:lnTo>
                  <a:close/>
                  <a:moveTo>
                    <a:pt x="59" y="513"/>
                  </a:moveTo>
                  <a:lnTo>
                    <a:pt x="65" y="516"/>
                  </a:lnTo>
                  <a:lnTo>
                    <a:pt x="70" y="514"/>
                  </a:lnTo>
                  <a:lnTo>
                    <a:pt x="70" y="521"/>
                  </a:lnTo>
                  <a:lnTo>
                    <a:pt x="62" y="525"/>
                  </a:lnTo>
                  <a:lnTo>
                    <a:pt x="57" y="519"/>
                  </a:lnTo>
                  <a:lnTo>
                    <a:pt x="59" y="513"/>
                  </a:lnTo>
                  <a:lnTo>
                    <a:pt x="59" y="513"/>
                  </a:lnTo>
                  <a:close/>
                  <a:moveTo>
                    <a:pt x="155" y="730"/>
                  </a:moveTo>
                  <a:lnTo>
                    <a:pt x="156" y="737"/>
                  </a:lnTo>
                  <a:lnTo>
                    <a:pt x="150" y="741"/>
                  </a:lnTo>
                  <a:lnTo>
                    <a:pt x="148" y="737"/>
                  </a:lnTo>
                  <a:lnTo>
                    <a:pt x="151" y="735"/>
                  </a:lnTo>
                  <a:lnTo>
                    <a:pt x="155" y="730"/>
                  </a:lnTo>
                  <a:lnTo>
                    <a:pt x="155" y="730"/>
                  </a:lnTo>
                  <a:close/>
                  <a:moveTo>
                    <a:pt x="143" y="722"/>
                  </a:moveTo>
                  <a:lnTo>
                    <a:pt x="143" y="722"/>
                  </a:lnTo>
                  <a:lnTo>
                    <a:pt x="145" y="728"/>
                  </a:lnTo>
                  <a:lnTo>
                    <a:pt x="142" y="728"/>
                  </a:lnTo>
                  <a:lnTo>
                    <a:pt x="143" y="722"/>
                  </a:lnTo>
                  <a:lnTo>
                    <a:pt x="143" y="722"/>
                  </a:lnTo>
                  <a:close/>
                  <a:moveTo>
                    <a:pt x="123" y="713"/>
                  </a:moveTo>
                  <a:lnTo>
                    <a:pt x="138" y="711"/>
                  </a:lnTo>
                  <a:lnTo>
                    <a:pt x="137" y="716"/>
                  </a:lnTo>
                  <a:lnTo>
                    <a:pt x="128" y="722"/>
                  </a:lnTo>
                  <a:lnTo>
                    <a:pt x="122" y="718"/>
                  </a:lnTo>
                  <a:lnTo>
                    <a:pt x="123" y="713"/>
                  </a:lnTo>
                  <a:lnTo>
                    <a:pt x="123" y="713"/>
                  </a:lnTo>
                  <a:close/>
                  <a:moveTo>
                    <a:pt x="105" y="700"/>
                  </a:moveTo>
                  <a:lnTo>
                    <a:pt x="114" y="707"/>
                  </a:lnTo>
                  <a:lnTo>
                    <a:pt x="109" y="710"/>
                  </a:lnTo>
                  <a:lnTo>
                    <a:pt x="105" y="706"/>
                  </a:lnTo>
                  <a:lnTo>
                    <a:pt x="105" y="700"/>
                  </a:lnTo>
                  <a:lnTo>
                    <a:pt x="105" y="700"/>
                  </a:lnTo>
                  <a:close/>
                  <a:moveTo>
                    <a:pt x="84" y="704"/>
                  </a:moveTo>
                  <a:lnTo>
                    <a:pt x="93" y="704"/>
                  </a:lnTo>
                  <a:lnTo>
                    <a:pt x="87" y="706"/>
                  </a:lnTo>
                  <a:lnTo>
                    <a:pt x="87" y="706"/>
                  </a:lnTo>
                  <a:lnTo>
                    <a:pt x="84" y="704"/>
                  </a:lnTo>
                  <a:lnTo>
                    <a:pt x="84" y="704"/>
                  </a:lnTo>
                  <a:close/>
                  <a:moveTo>
                    <a:pt x="23" y="714"/>
                  </a:moveTo>
                  <a:lnTo>
                    <a:pt x="34" y="718"/>
                  </a:lnTo>
                  <a:lnTo>
                    <a:pt x="36" y="714"/>
                  </a:lnTo>
                  <a:lnTo>
                    <a:pt x="29" y="711"/>
                  </a:lnTo>
                  <a:lnTo>
                    <a:pt x="29" y="705"/>
                  </a:lnTo>
                  <a:lnTo>
                    <a:pt x="34" y="704"/>
                  </a:lnTo>
                  <a:lnTo>
                    <a:pt x="47" y="712"/>
                  </a:lnTo>
                  <a:lnTo>
                    <a:pt x="50" y="718"/>
                  </a:lnTo>
                  <a:lnTo>
                    <a:pt x="43" y="718"/>
                  </a:lnTo>
                  <a:lnTo>
                    <a:pt x="40" y="721"/>
                  </a:lnTo>
                  <a:lnTo>
                    <a:pt x="45" y="728"/>
                  </a:lnTo>
                  <a:lnTo>
                    <a:pt x="51" y="728"/>
                  </a:lnTo>
                  <a:lnTo>
                    <a:pt x="53" y="734"/>
                  </a:lnTo>
                  <a:lnTo>
                    <a:pt x="47" y="737"/>
                  </a:lnTo>
                  <a:lnTo>
                    <a:pt x="40" y="731"/>
                  </a:lnTo>
                  <a:lnTo>
                    <a:pt x="30" y="729"/>
                  </a:lnTo>
                  <a:lnTo>
                    <a:pt x="26" y="723"/>
                  </a:lnTo>
                  <a:lnTo>
                    <a:pt x="20" y="719"/>
                  </a:lnTo>
                  <a:lnTo>
                    <a:pt x="23" y="7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2" name="Freeform 13"/>
            <p:cNvSpPr>
              <a:spLocks noEditPoints="1"/>
            </p:cNvSpPr>
            <p:nvPr/>
          </p:nvSpPr>
          <p:spPr bwMode="auto">
            <a:xfrm>
              <a:off x="4478338" y="1912938"/>
              <a:ext cx="388938" cy="239713"/>
            </a:xfrm>
            <a:custGeom>
              <a:avLst/>
              <a:gdLst/>
              <a:ahLst/>
              <a:cxnLst>
                <a:cxn ang="0">
                  <a:pos x="239" y="138"/>
                </a:cxn>
                <a:cxn ang="0">
                  <a:pos x="245" y="124"/>
                </a:cxn>
                <a:cxn ang="0">
                  <a:pos x="224" y="81"/>
                </a:cxn>
                <a:cxn ang="0">
                  <a:pos x="232" y="47"/>
                </a:cxn>
                <a:cxn ang="0">
                  <a:pos x="243" y="27"/>
                </a:cxn>
                <a:cxn ang="0">
                  <a:pos x="243" y="23"/>
                </a:cxn>
                <a:cxn ang="0">
                  <a:pos x="238" y="19"/>
                </a:cxn>
                <a:cxn ang="0">
                  <a:pos x="185" y="10"/>
                </a:cxn>
                <a:cxn ang="0">
                  <a:pos x="158" y="5"/>
                </a:cxn>
                <a:cxn ang="0">
                  <a:pos x="141" y="0"/>
                </a:cxn>
                <a:cxn ang="0">
                  <a:pos x="135" y="5"/>
                </a:cxn>
                <a:cxn ang="0">
                  <a:pos x="140" y="12"/>
                </a:cxn>
                <a:cxn ang="0">
                  <a:pos x="128" y="14"/>
                </a:cxn>
                <a:cxn ang="0">
                  <a:pos x="107" y="10"/>
                </a:cxn>
                <a:cxn ang="0">
                  <a:pos x="98" y="17"/>
                </a:cxn>
                <a:cxn ang="0">
                  <a:pos x="87" y="27"/>
                </a:cxn>
                <a:cxn ang="0">
                  <a:pos x="66" y="31"/>
                </a:cxn>
                <a:cxn ang="0">
                  <a:pos x="62" y="65"/>
                </a:cxn>
                <a:cxn ang="0">
                  <a:pos x="70" y="64"/>
                </a:cxn>
                <a:cxn ang="0">
                  <a:pos x="75" y="71"/>
                </a:cxn>
                <a:cxn ang="0">
                  <a:pos x="69" y="82"/>
                </a:cxn>
                <a:cxn ang="0">
                  <a:pos x="89" y="104"/>
                </a:cxn>
                <a:cxn ang="0">
                  <a:pos x="94" y="95"/>
                </a:cxn>
                <a:cxn ang="0">
                  <a:pos x="107" y="95"/>
                </a:cxn>
                <a:cxn ang="0">
                  <a:pos x="103" y="121"/>
                </a:cxn>
                <a:cxn ang="0">
                  <a:pos x="121" y="112"/>
                </a:cxn>
                <a:cxn ang="0">
                  <a:pos x="144" y="117"/>
                </a:cxn>
                <a:cxn ang="0">
                  <a:pos x="152" y="110"/>
                </a:cxn>
                <a:cxn ang="0">
                  <a:pos x="162" y="121"/>
                </a:cxn>
                <a:cxn ang="0">
                  <a:pos x="181" y="128"/>
                </a:cxn>
                <a:cxn ang="0">
                  <a:pos x="195" y="143"/>
                </a:cxn>
                <a:cxn ang="0">
                  <a:pos x="219" y="145"/>
                </a:cxn>
                <a:cxn ang="0">
                  <a:pos x="232" y="147"/>
                </a:cxn>
                <a:cxn ang="0">
                  <a:pos x="54" y="49"/>
                </a:cxn>
                <a:cxn ang="0">
                  <a:pos x="47" y="54"/>
                </a:cxn>
                <a:cxn ang="0">
                  <a:pos x="46" y="49"/>
                </a:cxn>
                <a:cxn ang="0">
                  <a:pos x="24" y="60"/>
                </a:cxn>
                <a:cxn ang="0">
                  <a:pos x="8" y="65"/>
                </a:cxn>
                <a:cxn ang="0">
                  <a:pos x="19" y="57"/>
                </a:cxn>
                <a:cxn ang="0">
                  <a:pos x="24" y="48"/>
                </a:cxn>
                <a:cxn ang="0">
                  <a:pos x="34" y="53"/>
                </a:cxn>
                <a:cxn ang="0">
                  <a:pos x="46" y="62"/>
                </a:cxn>
                <a:cxn ang="0">
                  <a:pos x="33" y="64"/>
                </a:cxn>
                <a:cxn ang="0">
                  <a:pos x="30" y="69"/>
                </a:cxn>
                <a:cxn ang="0">
                  <a:pos x="46" y="71"/>
                </a:cxn>
                <a:cxn ang="0">
                  <a:pos x="62" y="81"/>
                </a:cxn>
                <a:cxn ang="0">
                  <a:pos x="46" y="76"/>
                </a:cxn>
                <a:cxn ang="0">
                  <a:pos x="6" y="123"/>
                </a:cxn>
                <a:cxn ang="0">
                  <a:pos x="17" y="118"/>
                </a:cxn>
                <a:cxn ang="0">
                  <a:pos x="23" y="103"/>
                </a:cxn>
                <a:cxn ang="0">
                  <a:pos x="41" y="94"/>
                </a:cxn>
                <a:cxn ang="0">
                  <a:pos x="52" y="88"/>
                </a:cxn>
                <a:cxn ang="0">
                  <a:pos x="52" y="85"/>
                </a:cxn>
                <a:cxn ang="0">
                  <a:pos x="41" y="78"/>
                </a:cxn>
                <a:cxn ang="0">
                  <a:pos x="23" y="75"/>
                </a:cxn>
                <a:cxn ang="0">
                  <a:pos x="16" y="81"/>
                </a:cxn>
                <a:cxn ang="0">
                  <a:pos x="8" y="82"/>
                </a:cxn>
                <a:cxn ang="0">
                  <a:pos x="5" y="83"/>
                </a:cxn>
                <a:cxn ang="0">
                  <a:pos x="6" y="87"/>
                </a:cxn>
                <a:cxn ang="0">
                  <a:pos x="1" y="94"/>
                </a:cxn>
                <a:cxn ang="0">
                  <a:pos x="8" y="100"/>
                </a:cxn>
                <a:cxn ang="0">
                  <a:pos x="13" y="114"/>
                </a:cxn>
                <a:cxn ang="0">
                  <a:pos x="6" y="123"/>
                </a:cxn>
              </a:cxnLst>
              <a:rect l="0" t="0" r="r" b="b"/>
              <a:pathLst>
                <a:path w="245" h="151">
                  <a:moveTo>
                    <a:pt x="232" y="147"/>
                  </a:moveTo>
                  <a:lnTo>
                    <a:pt x="239" y="138"/>
                  </a:lnTo>
                  <a:lnTo>
                    <a:pt x="237" y="129"/>
                  </a:lnTo>
                  <a:lnTo>
                    <a:pt x="245" y="124"/>
                  </a:lnTo>
                  <a:lnTo>
                    <a:pt x="245" y="116"/>
                  </a:lnTo>
                  <a:lnTo>
                    <a:pt x="224" y="81"/>
                  </a:lnTo>
                  <a:lnTo>
                    <a:pt x="227" y="49"/>
                  </a:lnTo>
                  <a:lnTo>
                    <a:pt x="232" y="47"/>
                  </a:lnTo>
                  <a:lnTo>
                    <a:pt x="236" y="35"/>
                  </a:lnTo>
                  <a:lnTo>
                    <a:pt x="243" y="27"/>
                  </a:lnTo>
                  <a:lnTo>
                    <a:pt x="244" y="24"/>
                  </a:lnTo>
                  <a:lnTo>
                    <a:pt x="243" y="23"/>
                  </a:lnTo>
                  <a:lnTo>
                    <a:pt x="239" y="16"/>
                  </a:lnTo>
                  <a:lnTo>
                    <a:pt x="238" y="19"/>
                  </a:lnTo>
                  <a:lnTo>
                    <a:pt x="201" y="18"/>
                  </a:lnTo>
                  <a:lnTo>
                    <a:pt x="185" y="10"/>
                  </a:lnTo>
                  <a:lnTo>
                    <a:pt x="168" y="10"/>
                  </a:lnTo>
                  <a:lnTo>
                    <a:pt x="158" y="5"/>
                  </a:lnTo>
                  <a:lnTo>
                    <a:pt x="151" y="7"/>
                  </a:lnTo>
                  <a:lnTo>
                    <a:pt x="141" y="0"/>
                  </a:lnTo>
                  <a:lnTo>
                    <a:pt x="140" y="5"/>
                  </a:lnTo>
                  <a:lnTo>
                    <a:pt x="135" y="5"/>
                  </a:lnTo>
                  <a:lnTo>
                    <a:pt x="135" y="8"/>
                  </a:lnTo>
                  <a:lnTo>
                    <a:pt x="140" y="12"/>
                  </a:lnTo>
                  <a:lnTo>
                    <a:pt x="132" y="17"/>
                  </a:lnTo>
                  <a:lnTo>
                    <a:pt x="128" y="14"/>
                  </a:lnTo>
                  <a:lnTo>
                    <a:pt x="111" y="13"/>
                  </a:lnTo>
                  <a:lnTo>
                    <a:pt x="107" y="10"/>
                  </a:lnTo>
                  <a:lnTo>
                    <a:pt x="105" y="18"/>
                  </a:lnTo>
                  <a:lnTo>
                    <a:pt x="98" y="17"/>
                  </a:lnTo>
                  <a:lnTo>
                    <a:pt x="88" y="19"/>
                  </a:lnTo>
                  <a:lnTo>
                    <a:pt x="87" y="27"/>
                  </a:lnTo>
                  <a:lnTo>
                    <a:pt x="81" y="25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65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8" y="65"/>
                  </a:lnTo>
                  <a:lnTo>
                    <a:pt x="75" y="71"/>
                  </a:lnTo>
                  <a:lnTo>
                    <a:pt x="68" y="71"/>
                  </a:lnTo>
                  <a:lnTo>
                    <a:pt x="69" y="82"/>
                  </a:lnTo>
                  <a:lnTo>
                    <a:pt x="76" y="93"/>
                  </a:lnTo>
                  <a:lnTo>
                    <a:pt x="89" y="104"/>
                  </a:lnTo>
                  <a:lnTo>
                    <a:pt x="94" y="103"/>
                  </a:lnTo>
                  <a:lnTo>
                    <a:pt x="94" y="95"/>
                  </a:lnTo>
                  <a:lnTo>
                    <a:pt x="104" y="89"/>
                  </a:lnTo>
                  <a:lnTo>
                    <a:pt x="107" y="95"/>
                  </a:lnTo>
                  <a:lnTo>
                    <a:pt x="103" y="117"/>
                  </a:lnTo>
                  <a:lnTo>
                    <a:pt x="103" y="121"/>
                  </a:lnTo>
                  <a:lnTo>
                    <a:pt x="106" y="120"/>
                  </a:lnTo>
                  <a:lnTo>
                    <a:pt x="121" y="112"/>
                  </a:lnTo>
                  <a:lnTo>
                    <a:pt x="132" y="110"/>
                  </a:lnTo>
                  <a:lnTo>
                    <a:pt x="144" y="117"/>
                  </a:lnTo>
                  <a:lnTo>
                    <a:pt x="150" y="117"/>
                  </a:lnTo>
                  <a:lnTo>
                    <a:pt x="152" y="110"/>
                  </a:lnTo>
                  <a:lnTo>
                    <a:pt x="158" y="115"/>
                  </a:lnTo>
                  <a:lnTo>
                    <a:pt x="162" y="121"/>
                  </a:lnTo>
                  <a:lnTo>
                    <a:pt x="168" y="121"/>
                  </a:lnTo>
                  <a:lnTo>
                    <a:pt x="181" y="128"/>
                  </a:lnTo>
                  <a:lnTo>
                    <a:pt x="186" y="138"/>
                  </a:lnTo>
                  <a:lnTo>
                    <a:pt x="195" y="143"/>
                  </a:lnTo>
                  <a:lnTo>
                    <a:pt x="202" y="151"/>
                  </a:lnTo>
                  <a:lnTo>
                    <a:pt x="219" y="145"/>
                  </a:lnTo>
                  <a:lnTo>
                    <a:pt x="232" y="147"/>
                  </a:lnTo>
                  <a:lnTo>
                    <a:pt x="232" y="147"/>
                  </a:lnTo>
                  <a:close/>
                  <a:moveTo>
                    <a:pt x="46" y="49"/>
                  </a:moveTo>
                  <a:lnTo>
                    <a:pt x="54" y="49"/>
                  </a:lnTo>
                  <a:lnTo>
                    <a:pt x="56" y="53"/>
                  </a:lnTo>
                  <a:lnTo>
                    <a:pt x="47" y="54"/>
                  </a:lnTo>
                  <a:lnTo>
                    <a:pt x="46" y="49"/>
                  </a:lnTo>
                  <a:lnTo>
                    <a:pt x="46" y="49"/>
                  </a:lnTo>
                  <a:close/>
                  <a:moveTo>
                    <a:pt x="30" y="69"/>
                  </a:moveTo>
                  <a:lnTo>
                    <a:pt x="24" y="60"/>
                  </a:lnTo>
                  <a:lnTo>
                    <a:pt x="16" y="62"/>
                  </a:lnTo>
                  <a:lnTo>
                    <a:pt x="8" y="65"/>
                  </a:lnTo>
                  <a:lnTo>
                    <a:pt x="5" y="63"/>
                  </a:lnTo>
                  <a:lnTo>
                    <a:pt x="19" y="57"/>
                  </a:lnTo>
                  <a:lnTo>
                    <a:pt x="24" y="51"/>
                  </a:lnTo>
                  <a:lnTo>
                    <a:pt x="24" y="48"/>
                  </a:lnTo>
                  <a:lnTo>
                    <a:pt x="29" y="49"/>
                  </a:lnTo>
                  <a:lnTo>
                    <a:pt x="34" y="53"/>
                  </a:lnTo>
                  <a:lnTo>
                    <a:pt x="42" y="53"/>
                  </a:lnTo>
                  <a:lnTo>
                    <a:pt x="46" y="62"/>
                  </a:lnTo>
                  <a:lnTo>
                    <a:pt x="40" y="60"/>
                  </a:lnTo>
                  <a:lnTo>
                    <a:pt x="33" y="64"/>
                  </a:lnTo>
                  <a:lnTo>
                    <a:pt x="30" y="69"/>
                  </a:lnTo>
                  <a:lnTo>
                    <a:pt x="30" y="69"/>
                  </a:lnTo>
                  <a:close/>
                  <a:moveTo>
                    <a:pt x="46" y="76"/>
                  </a:moveTo>
                  <a:lnTo>
                    <a:pt x="46" y="71"/>
                  </a:lnTo>
                  <a:lnTo>
                    <a:pt x="58" y="71"/>
                  </a:lnTo>
                  <a:lnTo>
                    <a:pt x="62" y="81"/>
                  </a:lnTo>
                  <a:lnTo>
                    <a:pt x="57" y="83"/>
                  </a:lnTo>
                  <a:lnTo>
                    <a:pt x="46" y="76"/>
                  </a:lnTo>
                  <a:lnTo>
                    <a:pt x="46" y="76"/>
                  </a:lnTo>
                  <a:close/>
                  <a:moveTo>
                    <a:pt x="6" y="123"/>
                  </a:moveTo>
                  <a:lnTo>
                    <a:pt x="10" y="124"/>
                  </a:lnTo>
                  <a:lnTo>
                    <a:pt x="17" y="118"/>
                  </a:lnTo>
                  <a:lnTo>
                    <a:pt x="16" y="115"/>
                  </a:lnTo>
                  <a:lnTo>
                    <a:pt x="23" y="103"/>
                  </a:lnTo>
                  <a:lnTo>
                    <a:pt x="35" y="100"/>
                  </a:lnTo>
                  <a:lnTo>
                    <a:pt x="41" y="94"/>
                  </a:lnTo>
                  <a:lnTo>
                    <a:pt x="46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2" y="85"/>
                  </a:lnTo>
                  <a:lnTo>
                    <a:pt x="48" y="83"/>
                  </a:lnTo>
                  <a:lnTo>
                    <a:pt x="41" y="78"/>
                  </a:lnTo>
                  <a:lnTo>
                    <a:pt x="27" y="77"/>
                  </a:lnTo>
                  <a:lnTo>
                    <a:pt x="23" y="75"/>
                  </a:lnTo>
                  <a:lnTo>
                    <a:pt x="18" y="80"/>
                  </a:lnTo>
                  <a:lnTo>
                    <a:pt x="16" y="81"/>
                  </a:lnTo>
                  <a:lnTo>
                    <a:pt x="11" y="86"/>
                  </a:lnTo>
                  <a:lnTo>
                    <a:pt x="8" y="82"/>
                  </a:lnTo>
                  <a:lnTo>
                    <a:pt x="4" y="81"/>
                  </a:lnTo>
                  <a:lnTo>
                    <a:pt x="5" y="83"/>
                  </a:lnTo>
                  <a:lnTo>
                    <a:pt x="0" y="86"/>
                  </a:lnTo>
                  <a:lnTo>
                    <a:pt x="6" y="87"/>
                  </a:lnTo>
                  <a:lnTo>
                    <a:pt x="6" y="91"/>
                  </a:lnTo>
                  <a:lnTo>
                    <a:pt x="1" y="94"/>
                  </a:lnTo>
                  <a:lnTo>
                    <a:pt x="1" y="99"/>
                  </a:lnTo>
                  <a:lnTo>
                    <a:pt x="8" y="100"/>
                  </a:lnTo>
                  <a:lnTo>
                    <a:pt x="16" y="106"/>
                  </a:lnTo>
                  <a:lnTo>
                    <a:pt x="13" y="114"/>
                  </a:lnTo>
                  <a:lnTo>
                    <a:pt x="10" y="112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3" name="Freeform 14"/>
            <p:cNvSpPr>
              <a:spLocks/>
            </p:cNvSpPr>
            <p:nvPr/>
          </p:nvSpPr>
          <p:spPr bwMode="auto">
            <a:xfrm>
              <a:off x="4438650" y="2087563"/>
              <a:ext cx="463550" cy="227013"/>
            </a:xfrm>
            <a:custGeom>
              <a:avLst/>
              <a:gdLst/>
              <a:ahLst/>
              <a:cxnLst>
                <a:cxn ang="0">
                  <a:pos x="291" y="99"/>
                </a:cxn>
                <a:cxn ang="0">
                  <a:pos x="280" y="78"/>
                </a:cxn>
                <a:cxn ang="0">
                  <a:pos x="270" y="65"/>
                </a:cxn>
                <a:cxn ang="0">
                  <a:pos x="269" y="52"/>
                </a:cxn>
                <a:cxn ang="0">
                  <a:pos x="268" y="45"/>
                </a:cxn>
                <a:cxn ang="0">
                  <a:pos x="244" y="35"/>
                </a:cxn>
                <a:cxn ang="0">
                  <a:pos x="220" y="33"/>
                </a:cxn>
                <a:cxn ang="0">
                  <a:pos x="206" y="18"/>
                </a:cxn>
                <a:cxn ang="0">
                  <a:pos x="187" y="11"/>
                </a:cxn>
                <a:cxn ang="0">
                  <a:pos x="177" y="0"/>
                </a:cxn>
                <a:cxn ang="0">
                  <a:pos x="169" y="7"/>
                </a:cxn>
                <a:cxn ang="0">
                  <a:pos x="146" y="2"/>
                </a:cxn>
                <a:cxn ang="0">
                  <a:pos x="128" y="11"/>
                </a:cxn>
                <a:cxn ang="0">
                  <a:pos x="131" y="40"/>
                </a:cxn>
                <a:cxn ang="0">
                  <a:pos x="112" y="69"/>
                </a:cxn>
                <a:cxn ang="0">
                  <a:pos x="90" y="59"/>
                </a:cxn>
                <a:cxn ang="0">
                  <a:pos x="67" y="31"/>
                </a:cxn>
                <a:cxn ang="0">
                  <a:pos x="62" y="19"/>
                </a:cxn>
                <a:cxn ang="0">
                  <a:pos x="42" y="29"/>
                </a:cxn>
                <a:cxn ang="0">
                  <a:pos x="27" y="34"/>
                </a:cxn>
                <a:cxn ang="0">
                  <a:pos x="21" y="52"/>
                </a:cxn>
                <a:cxn ang="0">
                  <a:pos x="19" y="65"/>
                </a:cxn>
                <a:cxn ang="0">
                  <a:pos x="6" y="86"/>
                </a:cxn>
                <a:cxn ang="0">
                  <a:pos x="0" y="99"/>
                </a:cxn>
                <a:cxn ang="0">
                  <a:pos x="9" y="123"/>
                </a:cxn>
                <a:cxn ang="0">
                  <a:pos x="18" y="123"/>
                </a:cxn>
                <a:cxn ang="0">
                  <a:pos x="35" y="104"/>
                </a:cxn>
                <a:cxn ang="0">
                  <a:pos x="71" y="101"/>
                </a:cxn>
                <a:cxn ang="0">
                  <a:pos x="88" y="105"/>
                </a:cxn>
                <a:cxn ang="0">
                  <a:pos x="106" y="98"/>
                </a:cxn>
                <a:cxn ang="0">
                  <a:pos x="116" y="103"/>
                </a:cxn>
                <a:cxn ang="0">
                  <a:pos x="137" y="110"/>
                </a:cxn>
                <a:cxn ang="0">
                  <a:pos x="157" y="103"/>
                </a:cxn>
                <a:cxn ang="0">
                  <a:pos x="188" y="112"/>
                </a:cxn>
                <a:cxn ang="0">
                  <a:pos x="210" y="126"/>
                </a:cxn>
                <a:cxn ang="0">
                  <a:pos x="233" y="140"/>
                </a:cxn>
                <a:cxn ang="0">
                  <a:pos x="238" y="143"/>
                </a:cxn>
                <a:cxn ang="0">
                  <a:pos x="271" y="134"/>
                </a:cxn>
                <a:cxn ang="0">
                  <a:pos x="281" y="121"/>
                </a:cxn>
                <a:cxn ang="0">
                  <a:pos x="292" y="110"/>
                </a:cxn>
              </a:cxnLst>
              <a:rect l="0" t="0" r="r" b="b"/>
              <a:pathLst>
                <a:path w="292" h="143">
                  <a:moveTo>
                    <a:pt x="292" y="110"/>
                  </a:moveTo>
                  <a:lnTo>
                    <a:pt x="291" y="99"/>
                  </a:lnTo>
                  <a:lnTo>
                    <a:pt x="285" y="91"/>
                  </a:lnTo>
                  <a:lnTo>
                    <a:pt x="280" y="78"/>
                  </a:lnTo>
                  <a:lnTo>
                    <a:pt x="276" y="75"/>
                  </a:lnTo>
                  <a:lnTo>
                    <a:pt x="270" y="65"/>
                  </a:lnTo>
                  <a:lnTo>
                    <a:pt x="271" y="59"/>
                  </a:lnTo>
                  <a:lnTo>
                    <a:pt x="269" y="52"/>
                  </a:lnTo>
                  <a:lnTo>
                    <a:pt x="265" y="49"/>
                  </a:lnTo>
                  <a:lnTo>
                    <a:pt x="268" y="45"/>
                  </a:lnTo>
                  <a:lnTo>
                    <a:pt x="267" y="39"/>
                  </a:lnTo>
                  <a:lnTo>
                    <a:pt x="244" y="35"/>
                  </a:lnTo>
                  <a:lnTo>
                    <a:pt x="227" y="41"/>
                  </a:lnTo>
                  <a:lnTo>
                    <a:pt x="220" y="33"/>
                  </a:lnTo>
                  <a:lnTo>
                    <a:pt x="211" y="28"/>
                  </a:lnTo>
                  <a:lnTo>
                    <a:pt x="206" y="18"/>
                  </a:lnTo>
                  <a:lnTo>
                    <a:pt x="193" y="11"/>
                  </a:lnTo>
                  <a:lnTo>
                    <a:pt x="187" y="11"/>
                  </a:lnTo>
                  <a:lnTo>
                    <a:pt x="183" y="5"/>
                  </a:lnTo>
                  <a:lnTo>
                    <a:pt x="177" y="0"/>
                  </a:lnTo>
                  <a:lnTo>
                    <a:pt x="175" y="7"/>
                  </a:lnTo>
                  <a:lnTo>
                    <a:pt x="169" y="7"/>
                  </a:lnTo>
                  <a:lnTo>
                    <a:pt x="157" y="0"/>
                  </a:lnTo>
                  <a:lnTo>
                    <a:pt x="146" y="2"/>
                  </a:lnTo>
                  <a:lnTo>
                    <a:pt x="131" y="10"/>
                  </a:lnTo>
                  <a:lnTo>
                    <a:pt x="128" y="11"/>
                  </a:lnTo>
                  <a:lnTo>
                    <a:pt x="128" y="22"/>
                  </a:lnTo>
                  <a:lnTo>
                    <a:pt x="131" y="40"/>
                  </a:lnTo>
                  <a:lnTo>
                    <a:pt x="126" y="54"/>
                  </a:lnTo>
                  <a:lnTo>
                    <a:pt x="112" y="69"/>
                  </a:lnTo>
                  <a:lnTo>
                    <a:pt x="101" y="69"/>
                  </a:lnTo>
                  <a:lnTo>
                    <a:pt x="90" y="59"/>
                  </a:lnTo>
                  <a:lnTo>
                    <a:pt x="89" y="52"/>
                  </a:lnTo>
                  <a:lnTo>
                    <a:pt x="67" y="31"/>
                  </a:lnTo>
                  <a:lnTo>
                    <a:pt x="66" y="19"/>
                  </a:lnTo>
                  <a:lnTo>
                    <a:pt x="62" y="19"/>
                  </a:lnTo>
                  <a:lnTo>
                    <a:pt x="54" y="27"/>
                  </a:lnTo>
                  <a:lnTo>
                    <a:pt x="42" y="29"/>
                  </a:lnTo>
                  <a:lnTo>
                    <a:pt x="37" y="33"/>
                  </a:lnTo>
                  <a:lnTo>
                    <a:pt x="27" y="34"/>
                  </a:lnTo>
                  <a:lnTo>
                    <a:pt x="21" y="43"/>
                  </a:lnTo>
                  <a:lnTo>
                    <a:pt x="21" y="52"/>
                  </a:lnTo>
                  <a:lnTo>
                    <a:pt x="18" y="51"/>
                  </a:lnTo>
                  <a:lnTo>
                    <a:pt x="19" y="65"/>
                  </a:lnTo>
                  <a:lnTo>
                    <a:pt x="7" y="77"/>
                  </a:lnTo>
                  <a:lnTo>
                    <a:pt x="6" y="86"/>
                  </a:lnTo>
                  <a:lnTo>
                    <a:pt x="6" y="94"/>
                  </a:lnTo>
                  <a:lnTo>
                    <a:pt x="0" y="99"/>
                  </a:lnTo>
                  <a:lnTo>
                    <a:pt x="4" y="120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18" y="123"/>
                  </a:lnTo>
                  <a:lnTo>
                    <a:pt x="21" y="115"/>
                  </a:lnTo>
                  <a:lnTo>
                    <a:pt x="35" y="104"/>
                  </a:lnTo>
                  <a:lnTo>
                    <a:pt x="55" y="99"/>
                  </a:lnTo>
                  <a:lnTo>
                    <a:pt x="71" y="101"/>
                  </a:lnTo>
                  <a:lnTo>
                    <a:pt x="82" y="100"/>
                  </a:lnTo>
                  <a:lnTo>
                    <a:pt x="88" y="105"/>
                  </a:lnTo>
                  <a:lnTo>
                    <a:pt x="97" y="99"/>
                  </a:lnTo>
                  <a:lnTo>
                    <a:pt x="106" y="98"/>
                  </a:lnTo>
                  <a:lnTo>
                    <a:pt x="108" y="103"/>
                  </a:lnTo>
                  <a:lnTo>
                    <a:pt x="116" y="103"/>
                  </a:lnTo>
                  <a:lnTo>
                    <a:pt x="124" y="111"/>
                  </a:lnTo>
                  <a:lnTo>
                    <a:pt x="137" y="110"/>
                  </a:lnTo>
                  <a:lnTo>
                    <a:pt x="142" y="112"/>
                  </a:lnTo>
                  <a:lnTo>
                    <a:pt x="157" y="103"/>
                  </a:lnTo>
                  <a:lnTo>
                    <a:pt x="174" y="110"/>
                  </a:lnTo>
                  <a:lnTo>
                    <a:pt x="188" y="112"/>
                  </a:lnTo>
                  <a:lnTo>
                    <a:pt x="199" y="124"/>
                  </a:lnTo>
                  <a:lnTo>
                    <a:pt x="210" y="126"/>
                  </a:lnTo>
                  <a:lnTo>
                    <a:pt x="220" y="139"/>
                  </a:lnTo>
                  <a:lnTo>
                    <a:pt x="233" y="140"/>
                  </a:lnTo>
                  <a:lnTo>
                    <a:pt x="238" y="143"/>
                  </a:lnTo>
                  <a:lnTo>
                    <a:pt x="238" y="143"/>
                  </a:lnTo>
                  <a:lnTo>
                    <a:pt x="252" y="137"/>
                  </a:lnTo>
                  <a:lnTo>
                    <a:pt x="271" y="134"/>
                  </a:lnTo>
                  <a:lnTo>
                    <a:pt x="274" y="124"/>
                  </a:lnTo>
                  <a:lnTo>
                    <a:pt x="281" y="121"/>
                  </a:lnTo>
                  <a:lnTo>
                    <a:pt x="285" y="112"/>
                  </a:lnTo>
                  <a:lnTo>
                    <a:pt x="292" y="1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4" name="Freeform 15"/>
            <p:cNvSpPr>
              <a:spLocks/>
            </p:cNvSpPr>
            <p:nvPr/>
          </p:nvSpPr>
          <p:spPr bwMode="auto">
            <a:xfrm>
              <a:off x="4452938" y="2243138"/>
              <a:ext cx="363538" cy="239713"/>
            </a:xfrm>
            <a:custGeom>
              <a:avLst/>
              <a:gdLst/>
              <a:ahLst/>
              <a:cxnLst>
                <a:cxn ang="0">
                  <a:pos x="75" y="110"/>
                </a:cxn>
                <a:cxn ang="0">
                  <a:pos x="73" y="95"/>
                </a:cxn>
                <a:cxn ang="0">
                  <a:pos x="79" y="88"/>
                </a:cxn>
                <a:cxn ang="0">
                  <a:pos x="74" y="83"/>
                </a:cxn>
                <a:cxn ang="0">
                  <a:pos x="68" y="82"/>
                </a:cxn>
                <a:cxn ang="0">
                  <a:pos x="67" y="75"/>
                </a:cxn>
                <a:cxn ang="0">
                  <a:pos x="61" y="71"/>
                </a:cxn>
                <a:cxn ang="0">
                  <a:pos x="44" y="75"/>
                </a:cxn>
                <a:cxn ang="0">
                  <a:pos x="32" y="70"/>
                </a:cxn>
                <a:cxn ang="0">
                  <a:pos x="20" y="54"/>
                </a:cxn>
                <a:cxn ang="0">
                  <a:pos x="4" y="57"/>
                </a:cxn>
                <a:cxn ang="0">
                  <a:pos x="1" y="55"/>
                </a:cxn>
                <a:cxn ang="0">
                  <a:pos x="5" y="51"/>
                </a:cxn>
                <a:cxn ang="0">
                  <a:pos x="1" y="40"/>
                </a:cxn>
                <a:cxn ang="0">
                  <a:pos x="0" y="28"/>
                </a:cxn>
                <a:cxn ang="0">
                  <a:pos x="9" y="25"/>
                </a:cxn>
                <a:cxn ang="0">
                  <a:pos x="12" y="17"/>
                </a:cxn>
                <a:cxn ang="0">
                  <a:pos x="26" y="6"/>
                </a:cxn>
                <a:cxn ang="0">
                  <a:pos x="46" y="1"/>
                </a:cxn>
                <a:cxn ang="0">
                  <a:pos x="62" y="3"/>
                </a:cxn>
                <a:cxn ang="0">
                  <a:pos x="73" y="2"/>
                </a:cxn>
                <a:cxn ang="0">
                  <a:pos x="79" y="7"/>
                </a:cxn>
                <a:cxn ang="0">
                  <a:pos x="88" y="1"/>
                </a:cxn>
                <a:cxn ang="0">
                  <a:pos x="97" y="0"/>
                </a:cxn>
                <a:cxn ang="0">
                  <a:pos x="99" y="5"/>
                </a:cxn>
                <a:cxn ang="0">
                  <a:pos x="107" y="5"/>
                </a:cxn>
                <a:cxn ang="0">
                  <a:pos x="115" y="13"/>
                </a:cxn>
                <a:cxn ang="0">
                  <a:pos x="128" y="12"/>
                </a:cxn>
                <a:cxn ang="0">
                  <a:pos x="133" y="14"/>
                </a:cxn>
                <a:cxn ang="0">
                  <a:pos x="148" y="5"/>
                </a:cxn>
                <a:cxn ang="0">
                  <a:pos x="165" y="12"/>
                </a:cxn>
                <a:cxn ang="0">
                  <a:pos x="179" y="14"/>
                </a:cxn>
                <a:cxn ang="0">
                  <a:pos x="190" y="26"/>
                </a:cxn>
                <a:cxn ang="0">
                  <a:pos x="201" y="28"/>
                </a:cxn>
                <a:cxn ang="0">
                  <a:pos x="211" y="41"/>
                </a:cxn>
                <a:cxn ang="0">
                  <a:pos x="224" y="42"/>
                </a:cxn>
                <a:cxn ang="0">
                  <a:pos x="229" y="45"/>
                </a:cxn>
                <a:cxn ang="0">
                  <a:pos x="218" y="58"/>
                </a:cxn>
                <a:cxn ang="0">
                  <a:pos x="225" y="60"/>
                </a:cxn>
                <a:cxn ang="0">
                  <a:pos x="225" y="69"/>
                </a:cxn>
                <a:cxn ang="0">
                  <a:pos x="209" y="76"/>
                </a:cxn>
                <a:cxn ang="0">
                  <a:pos x="201" y="89"/>
                </a:cxn>
                <a:cxn ang="0">
                  <a:pos x="195" y="90"/>
                </a:cxn>
                <a:cxn ang="0">
                  <a:pos x="191" y="104"/>
                </a:cxn>
                <a:cxn ang="0">
                  <a:pos x="203" y="109"/>
                </a:cxn>
                <a:cxn ang="0">
                  <a:pos x="203" y="117"/>
                </a:cxn>
                <a:cxn ang="0">
                  <a:pos x="194" y="117"/>
                </a:cxn>
                <a:cxn ang="0">
                  <a:pos x="190" y="112"/>
                </a:cxn>
                <a:cxn ang="0">
                  <a:pos x="183" y="116"/>
                </a:cxn>
                <a:cxn ang="0">
                  <a:pos x="178" y="126"/>
                </a:cxn>
                <a:cxn ang="0">
                  <a:pos x="165" y="127"/>
                </a:cxn>
                <a:cxn ang="0">
                  <a:pos x="169" y="139"/>
                </a:cxn>
                <a:cxn ang="0">
                  <a:pos x="161" y="139"/>
                </a:cxn>
                <a:cxn ang="0">
                  <a:pos x="149" y="145"/>
                </a:cxn>
                <a:cxn ang="0">
                  <a:pos x="137" y="139"/>
                </a:cxn>
                <a:cxn ang="0">
                  <a:pos x="121" y="144"/>
                </a:cxn>
                <a:cxn ang="0">
                  <a:pos x="110" y="151"/>
                </a:cxn>
                <a:cxn ang="0">
                  <a:pos x="104" y="142"/>
                </a:cxn>
                <a:cxn ang="0">
                  <a:pos x="105" y="132"/>
                </a:cxn>
                <a:cxn ang="0">
                  <a:pos x="101" y="117"/>
                </a:cxn>
                <a:cxn ang="0">
                  <a:pos x="94" y="116"/>
                </a:cxn>
                <a:cxn ang="0">
                  <a:pos x="84" y="109"/>
                </a:cxn>
                <a:cxn ang="0">
                  <a:pos x="75" y="110"/>
                </a:cxn>
              </a:cxnLst>
              <a:rect l="0" t="0" r="r" b="b"/>
              <a:pathLst>
                <a:path w="229" h="151">
                  <a:moveTo>
                    <a:pt x="75" y="110"/>
                  </a:moveTo>
                  <a:lnTo>
                    <a:pt x="73" y="95"/>
                  </a:lnTo>
                  <a:lnTo>
                    <a:pt x="79" y="88"/>
                  </a:lnTo>
                  <a:lnTo>
                    <a:pt x="74" y="83"/>
                  </a:lnTo>
                  <a:lnTo>
                    <a:pt x="68" y="82"/>
                  </a:lnTo>
                  <a:lnTo>
                    <a:pt x="67" y="75"/>
                  </a:lnTo>
                  <a:lnTo>
                    <a:pt x="61" y="71"/>
                  </a:lnTo>
                  <a:lnTo>
                    <a:pt x="44" y="75"/>
                  </a:lnTo>
                  <a:lnTo>
                    <a:pt x="32" y="70"/>
                  </a:lnTo>
                  <a:lnTo>
                    <a:pt x="20" y="54"/>
                  </a:lnTo>
                  <a:lnTo>
                    <a:pt x="4" y="57"/>
                  </a:lnTo>
                  <a:lnTo>
                    <a:pt x="1" y="55"/>
                  </a:lnTo>
                  <a:lnTo>
                    <a:pt x="5" y="51"/>
                  </a:lnTo>
                  <a:lnTo>
                    <a:pt x="1" y="40"/>
                  </a:lnTo>
                  <a:lnTo>
                    <a:pt x="0" y="28"/>
                  </a:lnTo>
                  <a:lnTo>
                    <a:pt x="9" y="25"/>
                  </a:lnTo>
                  <a:lnTo>
                    <a:pt x="12" y="17"/>
                  </a:lnTo>
                  <a:lnTo>
                    <a:pt x="26" y="6"/>
                  </a:lnTo>
                  <a:lnTo>
                    <a:pt x="46" y="1"/>
                  </a:lnTo>
                  <a:lnTo>
                    <a:pt x="62" y="3"/>
                  </a:lnTo>
                  <a:lnTo>
                    <a:pt x="73" y="2"/>
                  </a:lnTo>
                  <a:lnTo>
                    <a:pt x="79" y="7"/>
                  </a:lnTo>
                  <a:lnTo>
                    <a:pt x="88" y="1"/>
                  </a:lnTo>
                  <a:lnTo>
                    <a:pt x="97" y="0"/>
                  </a:lnTo>
                  <a:lnTo>
                    <a:pt x="99" y="5"/>
                  </a:lnTo>
                  <a:lnTo>
                    <a:pt x="107" y="5"/>
                  </a:lnTo>
                  <a:lnTo>
                    <a:pt x="115" y="13"/>
                  </a:lnTo>
                  <a:lnTo>
                    <a:pt x="128" y="12"/>
                  </a:lnTo>
                  <a:lnTo>
                    <a:pt x="133" y="14"/>
                  </a:lnTo>
                  <a:lnTo>
                    <a:pt x="148" y="5"/>
                  </a:lnTo>
                  <a:lnTo>
                    <a:pt x="165" y="12"/>
                  </a:lnTo>
                  <a:lnTo>
                    <a:pt x="179" y="14"/>
                  </a:lnTo>
                  <a:lnTo>
                    <a:pt x="190" y="26"/>
                  </a:lnTo>
                  <a:lnTo>
                    <a:pt x="201" y="28"/>
                  </a:lnTo>
                  <a:lnTo>
                    <a:pt x="211" y="41"/>
                  </a:lnTo>
                  <a:lnTo>
                    <a:pt x="224" y="42"/>
                  </a:lnTo>
                  <a:lnTo>
                    <a:pt x="229" y="45"/>
                  </a:lnTo>
                  <a:lnTo>
                    <a:pt x="218" y="58"/>
                  </a:lnTo>
                  <a:lnTo>
                    <a:pt x="225" y="60"/>
                  </a:lnTo>
                  <a:lnTo>
                    <a:pt x="225" y="69"/>
                  </a:lnTo>
                  <a:lnTo>
                    <a:pt x="209" y="76"/>
                  </a:lnTo>
                  <a:lnTo>
                    <a:pt x="201" y="89"/>
                  </a:lnTo>
                  <a:lnTo>
                    <a:pt x="195" y="90"/>
                  </a:lnTo>
                  <a:lnTo>
                    <a:pt x="191" y="104"/>
                  </a:lnTo>
                  <a:lnTo>
                    <a:pt x="203" y="109"/>
                  </a:lnTo>
                  <a:lnTo>
                    <a:pt x="203" y="117"/>
                  </a:lnTo>
                  <a:lnTo>
                    <a:pt x="194" y="117"/>
                  </a:lnTo>
                  <a:lnTo>
                    <a:pt x="190" y="112"/>
                  </a:lnTo>
                  <a:lnTo>
                    <a:pt x="183" y="116"/>
                  </a:lnTo>
                  <a:lnTo>
                    <a:pt x="178" y="126"/>
                  </a:lnTo>
                  <a:lnTo>
                    <a:pt x="165" y="127"/>
                  </a:lnTo>
                  <a:lnTo>
                    <a:pt x="169" y="139"/>
                  </a:lnTo>
                  <a:lnTo>
                    <a:pt x="161" y="139"/>
                  </a:lnTo>
                  <a:lnTo>
                    <a:pt x="149" y="145"/>
                  </a:lnTo>
                  <a:lnTo>
                    <a:pt x="137" y="139"/>
                  </a:lnTo>
                  <a:lnTo>
                    <a:pt x="121" y="144"/>
                  </a:lnTo>
                  <a:lnTo>
                    <a:pt x="110" y="151"/>
                  </a:lnTo>
                  <a:lnTo>
                    <a:pt x="104" y="142"/>
                  </a:lnTo>
                  <a:lnTo>
                    <a:pt x="105" y="132"/>
                  </a:lnTo>
                  <a:lnTo>
                    <a:pt x="101" y="117"/>
                  </a:lnTo>
                  <a:lnTo>
                    <a:pt x="94" y="116"/>
                  </a:lnTo>
                  <a:lnTo>
                    <a:pt x="84" y="109"/>
                  </a:lnTo>
                  <a:lnTo>
                    <a:pt x="75" y="1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5" name="Freeform 16"/>
            <p:cNvSpPr>
              <a:spLocks/>
            </p:cNvSpPr>
            <p:nvPr/>
          </p:nvSpPr>
          <p:spPr bwMode="auto">
            <a:xfrm>
              <a:off x="4627563" y="2260600"/>
              <a:ext cx="612775" cy="425450"/>
            </a:xfrm>
            <a:custGeom>
              <a:avLst/>
              <a:gdLst/>
              <a:ahLst/>
              <a:cxnLst>
                <a:cxn ang="0">
                  <a:pos x="11" y="133"/>
                </a:cxn>
                <a:cxn ang="0">
                  <a:pos x="39" y="134"/>
                </a:cxn>
                <a:cxn ang="0">
                  <a:pos x="59" y="128"/>
                </a:cxn>
                <a:cxn ang="0">
                  <a:pos x="68" y="115"/>
                </a:cxn>
                <a:cxn ang="0">
                  <a:pos x="80" y="101"/>
                </a:cxn>
                <a:cxn ang="0">
                  <a:pos x="93" y="106"/>
                </a:cxn>
                <a:cxn ang="0">
                  <a:pos x="81" y="93"/>
                </a:cxn>
                <a:cxn ang="0">
                  <a:pos x="91" y="78"/>
                </a:cxn>
                <a:cxn ang="0">
                  <a:pos x="115" y="58"/>
                </a:cxn>
                <a:cxn ang="0">
                  <a:pos x="108" y="47"/>
                </a:cxn>
                <a:cxn ang="0">
                  <a:pos x="133" y="28"/>
                </a:cxn>
                <a:cxn ang="0">
                  <a:pos x="155" y="15"/>
                </a:cxn>
                <a:cxn ang="0">
                  <a:pos x="166" y="3"/>
                </a:cxn>
                <a:cxn ang="0">
                  <a:pos x="185" y="6"/>
                </a:cxn>
                <a:cxn ang="0">
                  <a:pos x="204" y="13"/>
                </a:cxn>
                <a:cxn ang="0">
                  <a:pos x="225" y="9"/>
                </a:cxn>
                <a:cxn ang="0">
                  <a:pos x="246" y="15"/>
                </a:cxn>
                <a:cxn ang="0">
                  <a:pos x="265" y="18"/>
                </a:cxn>
                <a:cxn ang="0">
                  <a:pos x="291" y="24"/>
                </a:cxn>
                <a:cxn ang="0">
                  <a:pos x="290" y="44"/>
                </a:cxn>
                <a:cxn ang="0">
                  <a:pos x="299" y="65"/>
                </a:cxn>
                <a:cxn ang="0">
                  <a:pos x="314" y="87"/>
                </a:cxn>
                <a:cxn ang="0">
                  <a:pos x="336" y="107"/>
                </a:cxn>
                <a:cxn ang="0">
                  <a:pos x="354" y="125"/>
                </a:cxn>
                <a:cxn ang="0">
                  <a:pos x="374" y="147"/>
                </a:cxn>
                <a:cxn ang="0">
                  <a:pos x="380" y="158"/>
                </a:cxn>
                <a:cxn ang="0">
                  <a:pos x="347" y="175"/>
                </a:cxn>
                <a:cxn ang="0">
                  <a:pos x="333" y="174"/>
                </a:cxn>
                <a:cxn ang="0">
                  <a:pos x="343" y="197"/>
                </a:cxn>
                <a:cxn ang="0">
                  <a:pos x="352" y="219"/>
                </a:cxn>
                <a:cxn ang="0">
                  <a:pos x="351" y="229"/>
                </a:cxn>
                <a:cxn ang="0">
                  <a:pos x="318" y="234"/>
                </a:cxn>
                <a:cxn ang="0">
                  <a:pos x="311" y="264"/>
                </a:cxn>
                <a:cxn ang="0">
                  <a:pos x="293" y="260"/>
                </a:cxn>
                <a:cxn ang="0">
                  <a:pos x="271" y="258"/>
                </a:cxn>
                <a:cxn ang="0">
                  <a:pos x="253" y="268"/>
                </a:cxn>
                <a:cxn ang="0">
                  <a:pos x="244" y="258"/>
                </a:cxn>
                <a:cxn ang="0">
                  <a:pos x="217" y="264"/>
                </a:cxn>
                <a:cxn ang="0">
                  <a:pos x="197" y="261"/>
                </a:cxn>
                <a:cxn ang="0">
                  <a:pos x="186" y="264"/>
                </a:cxn>
                <a:cxn ang="0">
                  <a:pos x="163" y="263"/>
                </a:cxn>
                <a:cxn ang="0">
                  <a:pos x="150" y="254"/>
                </a:cxn>
                <a:cxn ang="0">
                  <a:pos x="113" y="244"/>
                </a:cxn>
                <a:cxn ang="0">
                  <a:pos x="97" y="251"/>
                </a:cxn>
                <a:cxn ang="0">
                  <a:pos x="50" y="256"/>
                </a:cxn>
                <a:cxn ang="0">
                  <a:pos x="27" y="254"/>
                </a:cxn>
                <a:cxn ang="0">
                  <a:pos x="21" y="250"/>
                </a:cxn>
                <a:cxn ang="0">
                  <a:pos x="7" y="225"/>
                </a:cxn>
                <a:cxn ang="0">
                  <a:pos x="23" y="211"/>
                </a:cxn>
                <a:cxn ang="0">
                  <a:pos x="18" y="181"/>
                </a:cxn>
                <a:cxn ang="0">
                  <a:pos x="10" y="162"/>
                </a:cxn>
                <a:cxn ang="0">
                  <a:pos x="0" y="140"/>
                </a:cxn>
              </a:cxnLst>
              <a:rect l="0" t="0" r="r" b="b"/>
              <a:pathLst>
                <a:path w="386" h="268">
                  <a:moveTo>
                    <a:pt x="0" y="140"/>
                  </a:moveTo>
                  <a:lnTo>
                    <a:pt x="11" y="133"/>
                  </a:lnTo>
                  <a:lnTo>
                    <a:pt x="27" y="128"/>
                  </a:lnTo>
                  <a:lnTo>
                    <a:pt x="39" y="134"/>
                  </a:lnTo>
                  <a:lnTo>
                    <a:pt x="51" y="128"/>
                  </a:lnTo>
                  <a:lnTo>
                    <a:pt x="59" y="128"/>
                  </a:lnTo>
                  <a:lnTo>
                    <a:pt x="55" y="116"/>
                  </a:lnTo>
                  <a:lnTo>
                    <a:pt x="68" y="115"/>
                  </a:lnTo>
                  <a:lnTo>
                    <a:pt x="73" y="105"/>
                  </a:lnTo>
                  <a:lnTo>
                    <a:pt x="80" y="101"/>
                  </a:lnTo>
                  <a:lnTo>
                    <a:pt x="84" y="106"/>
                  </a:lnTo>
                  <a:lnTo>
                    <a:pt x="93" y="106"/>
                  </a:lnTo>
                  <a:lnTo>
                    <a:pt x="93" y="98"/>
                  </a:lnTo>
                  <a:lnTo>
                    <a:pt x="81" y="93"/>
                  </a:lnTo>
                  <a:lnTo>
                    <a:pt x="85" y="79"/>
                  </a:lnTo>
                  <a:lnTo>
                    <a:pt x="91" y="78"/>
                  </a:lnTo>
                  <a:lnTo>
                    <a:pt x="99" y="65"/>
                  </a:lnTo>
                  <a:lnTo>
                    <a:pt x="115" y="58"/>
                  </a:lnTo>
                  <a:lnTo>
                    <a:pt x="115" y="49"/>
                  </a:lnTo>
                  <a:lnTo>
                    <a:pt x="108" y="47"/>
                  </a:lnTo>
                  <a:lnTo>
                    <a:pt x="119" y="34"/>
                  </a:lnTo>
                  <a:lnTo>
                    <a:pt x="133" y="28"/>
                  </a:lnTo>
                  <a:lnTo>
                    <a:pt x="152" y="25"/>
                  </a:lnTo>
                  <a:lnTo>
                    <a:pt x="155" y="15"/>
                  </a:lnTo>
                  <a:lnTo>
                    <a:pt x="162" y="12"/>
                  </a:lnTo>
                  <a:lnTo>
                    <a:pt x="166" y="3"/>
                  </a:lnTo>
                  <a:lnTo>
                    <a:pt x="177" y="1"/>
                  </a:lnTo>
                  <a:lnTo>
                    <a:pt x="185" y="6"/>
                  </a:lnTo>
                  <a:lnTo>
                    <a:pt x="195" y="0"/>
                  </a:lnTo>
                  <a:lnTo>
                    <a:pt x="204" y="13"/>
                  </a:lnTo>
                  <a:lnTo>
                    <a:pt x="215" y="8"/>
                  </a:lnTo>
                  <a:lnTo>
                    <a:pt x="225" y="9"/>
                  </a:lnTo>
                  <a:lnTo>
                    <a:pt x="235" y="24"/>
                  </a:lnTo>
                  <a:lnTo>
                    <a:pt x="246" y="15"/>
                  </a:lnTo>
                  <a:lnTo>
                    <a:pt x="259" y="12"/>
                  </a:lnTo>
                  <a:lnTo>
                    <a:pt x="265" y="18"/>
                  </a:lnTo>
                  <a:lnTo>
                    <a:pt x="271" y="18"/>
                  </a:lnTo>
                  <a:lnTo>
                    <a:pt x="291" y="24"/>
                  </a:lnTo>
                  <a:lnTo>
                    <a:pt x="294" y="34"/>
                  </a:lnTo>
                  <a:lnTo>
                    <a:pt x="290" y="44"/>
                  </a:lnTo>
                  <a:lnTo>
                    <a:pt x="299" y="53"/>
                  </a:lnTo>
                  <a:lnTo>
                    <a:pt x="299" y="65"/>
                  </a:lnTo>
                  <a:lnTo>
                    <a:pt x="310" y="76"/>
                  </a:lnTo>
                  <a:lnTo>
                    <a:pt x="314" y="87"/>
                  </a:lnTo>
                  <a:lnTo>
                    <a:pt x="327" y="101"/>
                  </a:lnTo>
                  <a:lnTo>
                    <a:pt x="336" y="107"/>
                  </a:lnTo>
                  <a:lnTo>
                    <a:pt x="340" y="122"/>
                  </a:lnTo>
                  <a:lnTo>
                    <a:pt x="354" y="125"/>
                  </a:lnTo>
                  <a:lnTo>
                    <a:pt x="372" y="139"/>
                  </a:lnTo>
                  <a:lnTo>
                    <a:pt x="374" y="147"/>
                  </a:lnTo>
                  <a:lnTo>
                    <a:pt x="386" y="154"/>
                  </a:lnTo>
                  <a:lnTo>
                    <a:pt x="380" y="158"/>
                  </a:lnTo>
                  <a:lnTo>
                    <a:pt x="371" y="173"/>
                  </a:lnTo>
                  <a:lnTo>
                    <a:pt x="347" y="175"/>
                  </a:lnTo>
                  <a:lnTo>
                    <a:pt x="337" y="167"/>
                  </a:lnTo>
                  <a:lnTo>
                    <a:pt x="333" y="174"/>
                  </a:lnTo>
                  <a:lnTo>
                    <a:pt x="334" y="183"/>
                  </a:lnTo>
                  <a:lnTo>
                    <a:pt x="343" y="197"/>
                  </a:lnTo>
                  <a:lnTo>
                    <a:pt x="342" y="208"/>
                  </a:lnTo>
                  <a:lnTo>
                    <a:pt x="352" y="219"/>
                  </a:lnTo>
                  <a:lnTo>
                    <a:pt x="352" y="229"/>
                  </a:lnTo>
                  <a:lnTo>
                    <a:pt x="351" y="229"/>
                  </a:lnTo>
                  <a:lnTo>
                    <a:pt x="331" y="233"/>
                  </a:lnTo>
                  <a:lnTo>
                    <a:pt x="318" y="234"/>
                  </a:lnTo>
                  <a:lnTo>
                    <a:pt x="311" y="251"/>
                  </a:lnTo>
                  <a:lnTo>
                    <a:pt x="311" y="264"/>
                  </a:lnTo>
                  <a:lnTo>
                    <a:pt x="300" y="266"/>
                  </a:lnTo>
                  <a:lnTo>
                    <a:pt x="293" y="260"/>
                  </a:lnTo>
                  <a:lnTo>
                    <a:pt x="279" y="263"/>
                  </a:lnTo>
                  <a:lnTo>
                    <a:pt x="271" y="258"/>
                  </a:lnTo>
                  <a:lnTo>
                    <a:pt x="261" y="260"/>
                  </a:lnTo>
                  <a:lnTo>
                    <a:pt x="253" y="268"/>
                  </a:lnTo>
                  <a:lnTo>
                    <a:pt x="246" y="266"/>
                  </a:lnTo>
                  <a:lnTo>
                    <a:pt x="244" y="258"/>
                  </a:lnTo>
                  <a:lnTo>
                    <a:pt x="231" y="257"/>
                  </a:lnTo>
                  <a:lnTo>
                    <a:pt x="217" y="264"/>
                  </a:lnTo>
                  <a:lnTo>
                    <a:pt x="211" y="262"/>
                  </a:lnTo>
                  <a:lnTo>
                    <a:pt x="197" y="261"/>
                  </a:lnTo>
                  <a:lnTo>
                    <a:pt x="192" y="263"/>
                  </a:lnTo>
                  <a:lnTo>
                    <a:pt x="186" y="264"/>
                  </a:lnTo>
                  <a:lnTo>
                    <a:pt x="179" y="258"/>
                  </a:lnTo>
                  <a:lnTo>
                    <a:pt x="163" y="263"/>
                  </a:lnTo>
                  <a:lnTo>
                    <a:pt x="161" y="258"/>
                  </a:lnTo>
                  <a:lnTo>
                    <a:pt x="150" y="254"/>
                  </a:lnTo>
                  <a:lnTo>
                    <a:pt x="123" y="250"/>
                  </a:lnTo>
                  <a:lnTo>
                    <a:pt x="113" y="244"/>
                  </a:lnTo>
                  <a:lnTo>
                    <a:pt x="107" y="244"/>
                  </a:lnTo>
                  <a:lnTo>
                    <a:pt x="97" y="251"/>
                  </a:lnTo>
                  <a:lnTo>
                    <a:pt x="82" y="252"/>
                  </a:lnTo>
                  <a:lnTo>
                    <a:pt x="50" y="256"/>
                  </a:lnTo>
                  <a:lnTo>
                    <a:pt x="42" y="260"/>
                  </a:lnTo>
                  <a:lnTo>
                    <a:pt x="27" y="254"/>
                  </a:lnTo>
                  <a:lnTo>
                    <a:pt x="20" y="254"/>
                  </a:lnTo>
                  <a:lnTo>
                    <a:pt x="21" y="250"/>
                  </a:lnTo>
                  <a:lnTo>
                    <a:pt x="11" y="237"/>
                  </a:lnTo>
                  <a:lnTo>
                    <a:pt x="7" y="225"/>
                  </a:lnTo>
                  <a:lnTo>
                    <a:pt x="15" y="214"/>
                  </a:lnTo>
                  <a:lnTo>
                    <a:pt x="23" y="211"/>
                  </a:lnTo>
                  <a:lnTo>
                    <a:pt x="23" y="185"/>
                  </a:lnTo>
                  <a:lnTo>
                    <a:pt x="18" y="181"/>
                  </a:lnTo>
                  <a:lnTo>
                    <a:pt x="16" y="170"/>
                  </a:lnTo>
                  <a:lnTo>
                    <a:pt x="10" y="162"/>
                  </a:lnTo>
                  <a:lnTo>
                    <a:pt x="3" y="142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6" name="Freeform 17"/>
            <p:cNvSpPr>
              <a:spLocks/>
            </p:cNvSpPr>
            <p:nvPr/>
          </p:nvSpPr>
          <p:spPr bwMode="auto">
            <a:xfrm>
              <a:off x="4583113" y="2601913"/>
              <a:ext cx="1201738" cy="674688"/>
            </a:xfrm>
            <a:custGeom>
              <a:avLst/>
              <a:gdLst/>
              <a:ahLst/>
              <a:cxnLst>
                <a:cxn ang="0">
                  <a:pos x="110" y="37"/>
                </a:cxn>
                <a:cxn ang="0">
                  <a:pos x="178" y="39"/>
                </a:cxn>
                <a:cxn ang="0">
                  <a:pos x="220" y="48"/>
                </a:cxn>
                <a:cxn ang="0">
                  <a:pos x="272" y="43"/>
                </a:cxn>
                <a:cxn ang="0">
                  <a:pos x="307" y="48"/>
                </a:cxn>
                <a:cxn ang="0">
                  <a:pos x="346" y="19"/>
                </a:cxn>
                <a:cxn ang="0">
                  <a:pos x="397" y="5"/>
                </a:cxn>
                <a:cxn ang="0">
                  <a:pos x="473" y="1"/>
                </a:cxn>
                <a:cxn ang="0">
                  <a:pos x="523" y="48"/>
                </a:cxn>
                <a:cxn ang="0">
                  <a:pos x="547" y="91"/>
                </a:cxn>
                <a:cxn ang="0">
                  <a:pos x="608" y="106"/>
                </a:cxn>
                <a:cxn ang="0">
                  <a:pos x="660" y="130"/>
                </a:cxn>
                <a:cxn ang="0">
                  <a:pos x="715" y="132"/>
                </a:cxn>
                <a:cxn ang="0">
                  <a:pos x="757" y="147"/>
                </a:cxn>
                <a:cxn ang="0">
                  <a:pos x="751" y="196"/>
                </a:cxn>
                <a:cxn ang="0">
                  <a:pos x="718" y="240"/>
                </a:cxn>
                <a:cxn ang="0">
                  <a:pos x="691" y="275"/>
                </a:cxn>
                <a:cxn ang="0">
                  <a:pos x="652" y="289"/>
                </a:cxn>
                <a:cxn ang="0">
                  <a:pos x="614" y="306"/>
                </a:cxn>
                <a:cxn ang="0">
                  <a:pos x="573" y="303"/>
                </a:cxn>
                <a:cxn ang="0">
                  <a:pos x="566" y="332"/>
                </a:cxn>
                <a:cxn ang="0">
                  <a:pos x="570" y="317"/>
                </a:cxn>
                <a:cxn ang="0">
                  <a:pos x="539" y="338"/>
                </a:cxn>
                <a:cxn ang="0">
                  <a:pos x="506" y="341"/>
                </a:cxn>
                <a:cxn ang="0">
                  <a:pos x="543" y="350"/>
                </a:cxn>
                <a:cxn ang="0">
                  <a:pos x="550" y="360"/>
                </a:cxn>
                <a:cxn ang="0">
                  <a:pos x="566" y="379"/>
                </a:cxn>
                <a:cxn ang="0">
                  <a:pos x="546" y="338"/>
                </a:cxn>
                <a:cxn ang="0">
                  <a:pos x="587" y="381"/>
                </a:cxn>
                <a:cxn ang="0">
                  <a:pos x="627" y="367"/>
                </a:cxn>
                <a:cxn ang="0">
                  <a:pos x="629" y="390"/>
                </a:cxn>
                <a:cxn ang="0">
                  <a:pos x="562" y="405"/>
                </a:cxn>
                <a:cxn ang="0">
                  <a:pos x="503" y="416"/>
                </a:cxn>
                <a:cxn ang="0">
                  <a:pos x="478" y="381"/>
                </a:cxn>
                <a:cxn ang="0">
                  <a:pos x="503" y="359"/>
                </a:cxn>
                <a:cxn ang="0">
                  <a:pos x="491" y="344"/>
                </a:cxn>
                <a:cxn ang="0">
                  <a:pos x="445" y="338"/>
                </a:cxn>
                <a:cxn ang="0">
                  <a:pos x="425" y="323"/>
                </a:cxn>
                <a:cxn ang="0">
                  <a:pos x="439" y="318"/>
                </a:cxn>
                <a:cxn ang="0">
                  <a:pos x="428" y="307"/>
                </a:cxn>
                <a:cxn ang="0">
                  <a:pos x="409" y="311"/>
                </a:cxn>
                <a:cxn ang="0">
                  <a:pos x="378" y="332"/>
                </a:cxn>
                <a:cxn ang="0">
                  <a:pos x="342" y="367"/>
                </a:cxn>
                <a:cxn ang="0">
                  <a:pos x="340" y="385"/>
                </a:cxn>
                <a:cxn ang="0">
                  <a:pos x="294" y="385"/>
                </a:cxn>
                <a:cxn ang="0">
                  <a:pos x="288" y="361"/>
                </a:cxn>
                <a:cxn ang="0">
                  <a:pos x="312" y="323"/>
                </a:cxn>
                <a:cxn ang="0">
                  <a:pos x="341" y="312"/>
                </a:cxn>
                <a:cxn ang="0">
                  <a:pos x="315" y="277"/>
                </a:cxn>
                <a:cxn ang="0">
                  <a:pos x="277" y="230"/>
                </a:cxn>
                <a:cxn ang="0">
                  <a:pos x="229" y="221"/>
                </a:cxn>
                <a:cxn ang="0">
                  <a:pos x="197" y="214"/>
                </a:cxn>
                <a:cxn ang="0">
                  <a:pos x="190" y="240"/>
                </a:cxn>
                <a:cxn ang="0">
                  <a:pos x="120" y="261"/>
                </a:cxn>
                <a:cxn ang="0">
                  <a:pos x="67" y="249"/>
                </a:cxn>
                <a:cxn ang="0">
                  <a:pos x="23" y="238"/>
                </a:cxn>
                <a:cxn ang="0">
                  <a:pos x="14" y="188"/>
                </a:cxn>
                <a:cxn ang="0">
                  <a:pos x="54" y="124"/>
                </a:cxn>
                <a:cxn ang="0">
                  <a:pos x="66" y="93"/>
                </a:cxn>
                <a:cxn ang="0">
                  <a:pos x="48" y="46"/>
                </a:cxn>
              </a:cxnLst>
              <a:rect l="0" t="0" r="r" b="b"/>
              <a:pathLst>
                <a:path w="757" h="425">
                  <a:moveTo>
                    <a:pt x="48" y="39"/>
                  </a:moveTo>
                  <a:lnTo>
                    <a:pt x="55" y="39"/>
                  </a:lnTo>
                  <a:lnTo>
                    <a:pt x="70" y="45"/>
                  </a:lnTo>
                  <a:lnTo>
                    <a:pt x="78" y="41"/>
                  </a:lnTo>
                  <a:lnTo>
                    <a:pt x="110" y="37"/>
                  </a:lnTo>
                  <a:lnTo>
                    <a:pt x="125" y="36"/>
                  </a:lnTo>
                  <a:lnTo>
                    <a:pt x="135" y="29"/>
                  </a:lnTo>
                  <a:lnTo>
                    <a:pt x="141" y="29"/>
                  </a:lnTo>
                  <a:lnTo>
                    <a:pt x="151" y="35"/>
                  </a:lnTo>
                  <a:lnTo>
                    <a:pt x="178" y="39"/>
                  </a:lnTo>
                  <a:lnTo>
                    <a:pt x="189" y="43"/>
                  </a:lnTo>
                  <a:lnTo>
                    <a:pt x="191" y="48"/>
                  </a:lnTo>
                  <a:lnTo>
                    <a:pt x="207" y="43"/>
                  </a:lnTo>
                  <a:lnTo>
                    <a:pt x="214" y="49"/>
                  </a:lnTo>
                  <a:lnTo>
                    <a:pt x="220" y="48"/>
                  </a:lnTo>
                  <a:lnTo>
                    <a:pt x="225" y="46"/>
                  </a:lnTo>
                  <a:lnTo>
                    <a:pt x="239" y="47"/>
                  </a:lnTo>
                  <a:lnTo>
                    <a:pt x="245" y="49"/>
                  </a:lnTo>
                  <a:lnTo>
                    <a:pt x="259" y="42"/>
                  </a:lnTo>
                  <a:lnTo>
                    <a:pt x="272" y="43"/>
                  </a:lnTo>
                  <a:lnTo>
                    <a:pt x="274" y="51"/>
                  </a:lnTo>
                  <a:lnTo>
                    <a:pt x="281" y="53"/>
                  </a:lnTo>
                  <a:lnTo>
                    <a:pt x="289" y="45"/>
                  </a:lnTo>
                  <a:lnTo>
                    <a:pt x="299" y="43"/>
                  </a:lnTo>
                  <a:lnTo>
                    <a:pt x="307" y="48"/>
                  </a:lnTo>
                  <a:lnTo>
                    <a:pt x="321" y="45"/>
                  </a:lnTo>
                  <a:lnTo>
                    <a:pt x="328" y="51"/>
                  </a:lnTo>
                  <a:lnTo>
                    <a:pt x="339" y="49"/>
                  </a:lnTo>
                  <a:lnTo>
                    <a:pt x="339" y="36"/>
                  </a:lnTo>
                  <a:lnTo>
                    <a:pt x="346" y="19"/>
                  </a:lnTo>
                  <a:lnTo>
                    <a:pt x="359" y="18"/>
                  </a:lnTo>
                  <a:lnTo>
                    <a:pt x="379" y="14"/>
                  </a:lnTo>
                  <a:lnTo>
                    <a:pt x="387" y="16"/>
                  </a:lnTo>
                  <a:lnTo>
                    <a:pt x="398" y="14"/>
                  </a:lnTo>
                  <a:lnTo>
                    <a:pt x="397" y="5"/>
                  </a:lnTo>
                  <a:lnTo>
                    <a:pt x="404" y="0"/>
                  </a:lnTo>
                  <a:lnTo>
                    <a:pt x="427" y="6"/>
                  </a:lnTo>
                  <a:lnTo>
                    <a:pt x="450" y="6"/>
                  </a:lnTo>
                  <a:lnTo>
                    <a:pt x="462" y="1"/>
                  </a:lnTo>
                  <a:lnTo>
                    <a:pt x="473" y="1"/>
                  </a:lnTo>
                  <a:lnTo>
                    <a:pt x="480" y="20"/>
                  </a:lnTo>
                  <a:lnTo>
                    <a:pt x="490" y="28"/>
                  </a:lnTo>
                  <a:lnTo>
                    <a:pt x="484" y="37"/>
                  </a:lnTo>
                  <a:lnTo>
                    <a:pt x="497" y="52"/>
                  </a:lnTo>
                  <a:lnTo>
                    <a:pt x="523" y="48"/>
                  </a:lnTo>
                  <a:lnTo>
                    <a:pt x="531" y="55"/>
                  </a:lnTo>
                  <a:lnTo>
                    <a:pt x="532" y="64"/>
                  </a:lnTo>
                  <a:lnTo>
                    <a:pt x="542" y="65"/>
                  </a:lnTo>
                  <a:lnTo>
                    <a:pt x="542" y="77"/>
                  </a:lnTo>
                  <a:lnTo>
                    <a:pt x="547" y="91"/>
                  </a:lnTo>
                  <a:lnTo>
                    <a:pt x="567" y="109"/>
                  </a:lnTo>
                  <a:lnTo>
                    <a:pt x="576" y="100"/>
                  </a:lnTo>
                  <a:lnTo>
                    <a:pt x="588" y="106"/>
                  </a:lnTo>
                  <a:lnTo>
                    <a:pt x="599" y="104"/>
                  </a:lnTo>
                  <a:lnTo>
                    <a:pt x="608" y="106"/>
                  </a:lnTo>
                  <a:lnTo>
                    <a:pt x="624" y="95"/>
                  </a:lnTo>
                  <a:lnTo>
                    <a:pt x="631" y="94"/>
                  </a:lnTo>
                  <a:lnTo>
                    <a:pt x="642" y="115"/>
                  </a:lnTo>
                  <a:lnTo>
                    <a:pt x="657" y="122"/>
                  </a:lnTo>
                  <a:lnTo>
                    <a:pt x="660" y="130"/>
                  </a:lnTo>
                  <a:lnTo>
                    <a:pt x="666" y="124"/>
                  </a:lnTo>
                  <a:lnTo>
                    <a:pt x="683" y="128"/>
                  </a:lnTo>
                  <a:lnTo>
                    <a:pt x="695" y="128"/>
                  </a:lnTo>
                  <a:lnTo>
                    <a:pt x="704" y="133"/>
                  </a:lnTo>
                  <a:lnTo>
                    <a:pt x="715" y="132"/>
                  </a:lnTo>
                  <a:lnTo>
                    <a:pt x="726" y="139"/>
                  </a:lnTo>
                  <a:lnTo>
                    <a:pt x="740" y="141"/>
                  </a:lnTo>
                  <a:lnTo>
                    <a:pt x="747" y="134"/>
                  </a:lnTo>
                  <a:lnTo>
                    <a:pt x="751" y="144"/>
                  </a:lnTo>
                  <a:lnTo>
                    <a:pt x="757" y="147"/>
                  </a:lnTo>
                  <a:lnTo>
                    <a:pt x="757" y="158"/>
                  </a:lnTo>
                  <a:lnTo>
                    <a:pt x="750" y="168"/>
                  </a:lnTo>
                  <a:lnTo>
                    <a:pt x="740" y="169"/>
                  </a:lnTo>
                  <a:lnTo>
                    <a:pt x="738" y="187"/>
                  </a:lnTo>
                  <a:lnTo>
                    <a:pt x="751" y="196"/>
                  </a:lnTo>
                  <a:lnTo>
                    <a:pt x="752" y="208"/>
                  </a:lnTo>
                  <a:lnTo>
                    <a:pt x="747" y="223"/>
                  </a:lnTo>
                  <a:lnTo>
                    <a:pt x="749" y="233"/>
                  </a:lnTo>
                  <a:lnTo>
                    <a:pt x="740" y="239"/>
                  </a:lnTo>
                  <a:lnTo>
                    <a:pt x="718" y="240"/>
                  </a:lnTo>
                  <a:lnTo>
                    <a:pt x="709" y="255"/>
                  </a:lnTo>
                  <a:lnTo>
                    <a:pt x="703" y="257"/>
                  </a:lnTo>
                  <a:lnTo>
                    <a:pt x="699" y="277"/>
                  </a:lnTo>
                  <a:lnTo>
                    <a:pt x="691" y="279"/>
                  </a:lnTo>
                  <a:lnTo>
                    <a:pt x="691" y="275"/>
                  </a:lnTo>
                  <a:lnTo>
                    <a:pt x="685" y="274"/>
                  </a:lnTo>
                  <a:lnTo>
                    <a:pt x="674" y="279"/>
                  </a:lnTo>
                  <a:lnTo>
                    <a:pt x="663" y="278"/>
                  </a:lnTo>
                  <a:lnTo>
                    <a:pt x="657" y="282"/>
                  </a:lnTo>
                  <a:lnTo>
                    <a:pt x="652" y="289"/>
                  </a:lnTo>
                  <a:lnTo>
                    <a:pt x="642" y="290"/>
                  </a:lnTo>
                  <a:lnTo>
                    <a:pt x="637" y="296"/>
                  </a:lnTo>
                  <a:lnTo>
                    <a:pt x="628" y="306"/>
                  </a:lnTo>
                  <a:lnTo>
                    <a:pt x="624" y="304"/>
                  </a:lnTo>
                  <a:lnTo>
                    <a:pt x="614" y="306"/>
                  </a:lnTo>
                  <a:lnTo>
                    <a:pt x="607" y="311"/>
                  </a:lnTo>
                  <a:lnTo>
                    <a:pt x="595" y="308"/>
                  </a:lnTo>
                  <a:lnTo>
                    <a:pt x="585" y="314"/>
                  </a:lnTo>
                  <a:lnTo>
                    <a:pt x="579" y="313"/>
                  </a:lnTo>
                  <a:lnTo>
                    <a:pt x="573" y="303"/>
                  </a:lnTo>
                  <a:lnTo>
                    <a:pt x="570" y="304"/>
                  </a:lnTo>
                  <a:lnTo>
                    <a:pt x="572" y="309"/>
                  </a:lnTo>
                  <a:lnTo>
                    <a:pt x="578" y="315"/>
                  </a:lnTo>
                  <a:lnTo>
                    <a:pt x="576" y="320"/>
                  </a:lnTo>
                  <a:lnTo>
                    <a:pt x="566" y="332"/>
                  </a:lnTo>
                  <a:lnTo>
                    <a:pt x="560" y="336"/>
                  </a:lnTo>
                  <a:lnTo>
                    <a:pt x="559" y="332"/>
                  </a:lnTo>
                  <a:lnTo>
                    <a:pt x="561" y="330"/>
                  </a:lnTo>
                  <a:lnTo>
                    <a:pt x="571" y="320"/>
                  </a:lnTo>
                  <a:lnTo>
                    <a:pt x="570" y="317"/>
                  </a:lnTo>
                  <a:lnTo>
                    <a:pt x="565" y="314"/>
                  </a:lnTo>
                  <a:lnTo>
                    <a:pt x="562" y="319"/>
                  </a:lnTo>
                  <a:lnTo>
                    <a:pt x="549" y="332"/>
                  </a:lnTo>
                  <a:lnTo>
                    <a:pt x="541" y="333"/>
                  </a:lnTo>
                  <a:lnTo>
                    <a:pt x="539" y="338"/>
                  </a:lnTo>
                  <a:lnTo>
                    <a:pt x="530" y="338"/>
                  </a:lnTo>
                  <a:lnTo>
                    <a:pt x="523" y="333"/>
                  </a:lnTo>
                  <a:lnTo>
                    <a:pt x="518" y="338"/>
                  </a:lnTo>
                  <a:lnTo>
                    <a:pt x="507" y="337"/>
                  </a:lnTo>
                  <a:lnTo>
                    <a:pt x="506" y="341"/>
                  </a:lnTo>
                  <a:lnTo>
                    <a:pt x="512" y="344"/>
                  </a:lnTo>
                  <a:lnTo>
                    <a:pt x="526" y="343"/>
                  </a:lnTo>
                  <a:lnTo>
                    <a:pt x="532" y="349"/>
                  </a:lnTo>
                  <a:lnTo>
                    <a:pt x="537" y="353"/>
                  </a:lnTo>
                  <a:lnTo>
                    <a:pt x="543" y="350"/>
                  </a:lnTo>
                  <a:lnTo>
                    <a:pt x="546" y="354"/>
                  </a:lnTo>
                  <a:lnTo>
                    <a:pt x="541" y="359"/>
                  </a:lnTo>
                  <a:lnTo>
                    <a:pt x="542" y="363"/>
                  </a:lnTo>
                  <a:lnTo>
                    <a:pt x="546" y="360"/>
                  </a:lnTo>
                  <a:lnTo>
                    <a:pt x="550" y="360"/>
                  </a:lnTo>
                  <a:lnTo>
                    <a:pt x="548" y="367"/>
                  </a:lnTo>
                  <a:lnTo>
                    <a:pt x="554" y="363"/>
                  </a:lnTo>
                  <a:lnTo>
                    <a:pt x="559" y="365"/>
                  </a:lnTo>
                  <a:lnTo>
                    <a:pt x="561" y="375"/>
                  </a:lnTo>
                  <a:lnTo>
                    <a:pt x="566" y="379"/>
                  </a:lnTo>
                  <a:lnTo>
                    <a:pt x="577" y="383"/>
                  </a:lnTo>
                  <a:lnTo>
                    <a:pt x="581" y="381"/>
                  </a:lnTo>
                  <a:lnTo>
                    <a:pt x="566" y="367"/>
                  </a:lnTo>
                  <a:lnTo>
                    <a:pt x="550" y="349"/>
                  </a:lnTo>
                  <a:lnTo>
                    <a:pt x="546" y="338"/>
                  </a:lnTo>
                  <a:lnTo>
                    <a:pt x="549" y="337"/>
                  </a:lnTo>
                  <a:lnTo>
                    <a:pt x="556" y="346"/>
                  </a:lnTo>
                  <a:lnTo>
                    <a:pt x="560" y="356"/>
                  </a:lnTo>
                  <a:lnTo>
                    <a:pt x="582" y="378"/>
                  </a:lnTo>
                  <a:lnTo>
                    <a:pt x="587" y="381"/>
                  </a:lnTo>
                  <a:lnTo>
                    <a:pt x="595" y="373"/>
                  </a:lnTo>
                  <a:lnTo>
                    <a:pt x="600" y="373"/>
                  </a:lnTo>
                  <a:lnTo>
                    <a:pt x="608" y="378"/>
                  </a:lnTo>
                  <a:lnTo>
                    <a:pt x="612" y="370"/>
                  </a:lnTo>
                  <a:lnTo>
                    <a:pt x="627" y="367"/>
                  </a:lnTo>
                  <a:lnTo>
                    <a:pt x="639" y="369"/>
                  </a:lnTo>
                  <a:lnTo>
                    <a:pt x="635" y="373"/>
                  </a:lnTo>
                  <a:lnTo>
                    <a:pt x="631" y="377"/>
                  </a:lnTo>
                  <a:lnTo>
                    <a:pt x="635" y="384"/>
                  </a:lnTo>
                  <a:lnTo>
                    <a:pt x="629" y="390"/>
                  </a:lnTo>
                  <a:lnTo>
                    <a:pt x="614" y="392"/>
                  </a:lnTo>
                  <a:lnTo>
                    <a:pt x="596" y="389"/>
                  </a:lnTo>
                  <a:lnTo>
                    <a:pt x="585" y="394"/>
                  </a:lnTo>
                  <a:lnTo>
                    <a:pt x="577" y="405"/>
                  </a:lnTo>
                  <a:lnTo>
                    <a:pt x="562" y="405"/>
                  </a:lnTo>
                  <a:lnTo>
                    <a:pt x="541" y="418"/>
                  </a:lnTo>
                  <a:lnTo>
                    <a:pt x="525" y="425"/>
                  </a:lnTo>
                  <a:lnTo>
                    <a:pt x="508" y="424"/>
                  </a:lnTo>
                  <a:lnTo>
                    <a:pt x="501" y="419"/>
                  </a:lnTo>
                  <a:lnTo>
                    <a:pt x="503" y="416"/>
                  </a:lnTo>
                  <a:lnTo>
                    <a:pt x="508" y="401"/>
                  </a:lnTo>
                  <a:lnTo>
                    <a:pt x="508" y="395"/>
                  </a:lnTo>
                  <a:lnTo>
                    <a:pt x="494" y="384"/>
                  </a:lnTo>
                  <a:lnTo>
                    <a:pt x="488" y="385"/>
                  </a:lnTo>
                  <a:lnTo>
                    <a:pt x="478" y="381"/>
                  </a:lnTo>
                  <a:lnTo>
                    <a:pt x="472" y="385"/>
                  </a:lnTo>
                  <a:lnTo>
                    <a:pt x="463" y="382"/>
                  </a:lnTo>
                  <a:lnTo>
                    <a:pt x="473" y="370"/>
                  </a:lnTo>
                  <a:lnTo>
                    <a:pt x="490" y="360"/>
                  </a:lnTo>
                  <a:lnTo>
                    <a:pt x="503" y="359"/>
                  </a:lnTo>
                  <a:lnTo>
                    <a:pt x="507" y="356"/>
                  </a:lnTo>
                  <a:lnTo>
                    <a:pt x="502" y="350"/>
                  </a:lnTo>
                  <a:lnTo>
                    <a:pt x="500" y="340"/>
                  </a:lnTo>
                  <a:lnTo>
                    <a:pt x="495" y="338"/>
                  </a:lnTo>
                  <a:lnTo>
                    <a:pt x="491" y="344"/>
                  </a:lnTo>
                  <a:lnTo>
                    <a:pt x="484" y="341"/>
                  </a:lnTo>
                  <a:lnTo>
                    <a:pt x="474" y="336"/>
                  </a:lnTo>
                  <a:lnTo>
                    <a:pt x="463" y="338"/>
                  </a:lnTo>
                  <a:lnTo>
                    <a:pt x="454" y="343"/>
                  </a:lnTo>
                  <a:lnTo>
                    <a:pt x="445" y="338"/>
                  </a:lnTo>
                  <a:lnTo>
                    <a:pt x="438" y="338"/>
                  </a:lnTo>
                  <a:lnTo>
                    <a:pt x="432" y="332"/>
                  </a:lnTo>
                  <a:lnTo>
                    <a:pt x="437" y="330"/>
                  </a:lnTo>
                  <a:lnTo>
                    <a:pt x="439" y="326"/>
                  </a:lnTo>
                  <a:lnTo>
                    <a:pt x="425" y="323"/>
                  </a:lnTo>
                  <a:lnTo>
                    <a:pt x="409" y="323"/>
                  </a:lnTo>
                  <a:lnTo>
                    <a:pt x="404" y="318"/>
                  </a:lnTo>
                  <a:lnTo>
                    <a:pt x="415" y="318"/>
                  </a:lnTo>
                  <a:lnTo>
                    <a:pt x="431" y="315"/>
                  </a:lnTo>
                  <a:lnTo>
                    <a:pt x="439" y="318"/>
                  </a:lnTo>
                  <a:lnTo>
                    <a:pt x="445" y="315"/>
                  </a:lnTo>
                  <a:lnTo>
                    <a:pt x="455" y="309"/>
                  </a:lnTo>
                  <a:lnTo>
                    <a:pt x="440" y="313"/>
                  </a:lnTo>
                  <a:lnTo>
                    <a:pt x="434" y="311"/>
                  </a:lnTo>
                  <a:lnTo>
                    <a:pt x="428" y="307"/>
                  </a:lnTo>
                  <a:lnTo>
                    <a:pt x="425" y="302"/>
                  </a:lnTo>
                  <a:lnTo>
                    <a:pt x="421" y="308"/>
                  </a:lnTo>
                  <a:lnTo>
                    <a:pt x="417" y="313"/>
                  </a:lnTo>
                  <a:lnTo>
                    <a:pt x="409" y="313"/>
                  </a:lnTo>
                  <a:lnTo>
                    <a:pt x="409" y="311"/>
                  </a:lnTo>
                  <a:lnTo>
                    <a:pt x="404" y="306"/>
                  </a:lnTo>
                  <a:lnTo>
                    <a:pt x="396" y="317"/>
                  </a:lnTo>
                  <a:lnTo>
                    <a:pt x="385" y="317"/>
                  </a:lnTo>
                  <a:lnTo>
                    <a:pt x="378" y="321"/>
                  </a:lnTo>
                  <a:lnTo>
                    <a:pt x="378" y="332"/>
                  </a:lnTo>
                  <a:lnTo>
                    <a:pt x="368" y="343"/>
                  </a:lnTo>
                  <a:lnTo>
                    <a:pt x="363" y="343"/>
                  </a:lnTo>
                  <a:lnTo>
                    <a:pt x="367" y="348"/>
                  </a:lnTo>
                  <a:lnTo>
                    <a:pt x="349" y="367"/>
                  </a:lnTo>
                  <a:lnTo>
                    <a:pt x="342" y="367"/>
                  </a:lnTo>
                  <a:lnTo>
                    <a:pt x="339" y="361"/>
                  </a:lnTo>
                  <a:lnTo>
                    <a:pt x="339" y="367"/>
                  </a:lnTo>
                  <a:lnTo>
                    <a:pt x="338" y="373"/>
                  </a:lnTo>
                  <a:lnTo>
                    <a:pt x="342" y="378"/>
                  </a:lnTo>
                  <a:lnTo>
                    <a:pt x="340" y="385"/>
                  </a:lnTo>
                  <a:lnTo>
                    <a:pt x="340" y="385"/>
                  </a:lnTo>
                  <a:lnTo>
                    <a:pt x="333" y="379"/>
                  </a:lnTo>
                  <a:lnTo>
                    <a:pt x="318" y="381"/>
                  </a:lnTo>
                  <a:lnTo>
                    <a:pt x="311" y="385"/>
                  </a:lnTo>
                  <a:lnTo>
                    <a:pt x="294" y="385"/>
                  </a:lnTo>
                  <a:lnTo>
                    <a:pt x="282" y="383"/>
                  </a:lnTo>
                  <a:lnTo>
                    <a:pt x="274" y="371"/>
                  </a:lnTo>
                  <a:lnTo>
                    <a:pt x="281" y="367"/>
                  </a:lnTo>
                  <a:lnTo>
                    <a:pt x="288" y="369"/>
                  </a:lnTo>
                  <a:lnTo>
                    <a:pt x="288" y="361"/>
                  </a:lnTo>
                  <a:lnTo>
                    <a:pt x="298" y="347"/>
                  </a:lnTo>
                  <a:lnTo>
                    <a:pt x="301" y="348"/>
                  </a:lnTo>
                  <a:lnTo>
                    <a:pt x="301" y="337"/>
                  </a:lnTo>
                  <a:lnTo>
                    <a:pt x="303" y="323"/>
                  </a:lnTo>
                  <a:lnTo>
                    <a:pt x="312" y="323"/>
                  </a:lnTo>
                  <a:lnTo>
                    <a:pt x="324" y="319"/>
                  </a:lnTo>
                  <a:lnTo>
                    <a:pt x="332" y="324"/>
                  </a:lnTo>
                  <a:lnTo>
                    <a:pt x="345" y="324"/>
                  </a:lnTo>
                  <a:lnTo>
                    <a:pt x="346" y="319"/>
                  </a:lnTo>
                  <a:lnTo>
                    <a:pt x="341" y="312"/>
                  </a:lnTo>
                  <a:lnTo>
                    <a:pt x="342" y="306"/>
                  </a:lnTo>
                  <a:lnTo>
                    <a:pt x="341" y="297"/>
                  </a:lnTo>
                  <a:lnTo>
                    <a:pt x="328" y="290"/>
                  </a:lnTo>
                  <a:lnTo>
                    <a:pt x="316" y="282"/>
                  </a:lnTo>
                  <a:lnTo>
                    <a:pt x="315" y="277"/>
                  </a:lnTo>
                  <a:lnTo>
                    <a:pt x="305" y="272"/>
                  </a:lnTo>
                  <a:lnTo>
                    <a:pt x="305" y="262"/>
                  </a:lnTo>
                  <a:lnTo>
                    <a:pt x="303" y="248"/>
                  </a:lnTo>
                  <a:lnTo>
                    <a:pt x="290" y="242"/>
                  </a:lnTo>
                  <a:lnTo>
                    <a:pt x="277" y="230"/>
                  </a:lnTo>
                  <a:lnTo>
                    <a:pt x="272" y="230"/>
                  </a:lnTo>
                  <a:lnTo>
                    <a:pt x="270" y="234"/>
                  </a:lnTo>
                  <a:lnTo>
                    <a:pt x="255" y="232"/>
                  </a:lnTo>
                  <a:lnTo>
                    <a:pt x="241" y="221"/>
                  </a:lnTo>
                  <a:lnTo>
                    <a:pt x="229" y="221"/>
                  </a:lnTo>
                  <a:lnTo>
                    <a:pt x="223" y="211"/>
                  </a:lnTo>
                  <a:lnTo>
                    <a:pt x="219" y="214"/>
                  </a:lnTo>
                  <a:lnTo>
                    <a:pt x="208" y="214"/>
                  </a:lnTo>
                  <a:lnTo>
                    <a:pt x="206" y="219"/>
                  </a:lnTo>
                  <a:lnTo>
                    <a:pt x="197" y="214"/>
                  </a:lnTo>
                  <a:lnTo>
                    <a:pt x="195" y="216"/>
                  </a:lnTo>
                  <a:lnTo>
                    <a:pt x="188" y="214"/>
                  </a:lnTo>
                  <a:lnTo>
                    <a:pt x="190" y="225"/>
                  </a:lnTo>
                  <a:lnTo>
                    <a:pt x="188" y="230"/>
                  </a:lnTo>
                  <a:lnTo>
                    <a:pt x="190" y="240"/>
                  </a:lnTo>
                  <a:lnTo>
                    <a:pt x="179" y="242"/>
                  </a:lnTo>
                  <a:lnTo>
                    <a:pt x="168" y="248"/>
                  </a:lnTo>
                  <a:lnTo>
                    <a:pt x="138" y="253"/>
                  </a:lnTo>
                  <a:lnTo>
                    <a:pt x="130" y="261"/>
                  </a:lnTo>
                  <a:lnTo>
                    <a:pt x="120" y="261"/>
                  </a:lnTo>
                  <a:lnTo>
                    <a:pt x="106" y="266"/>
                  </a:lnTo>
                  <a:lnTo>
                    <a:pt x="96" y="261"/>
                  </a:lnTo>
                  <a:lnTo>
                    <a:pt x="92" y="255"/>
                  </a:lnTo>
                  <a:lnTo>
                    <a:pt x="80" y="249"/>
                  </a:lnTo>
                  <a:lnTo>
                    <a:pt x="67" y="249"/>
                  </a:lnTo>
                  <a:lnTo>
                    <a:pt x="50" y="240"/>
                  </a:lnTo>
                  <a:lnTo>
                    <a:pt x="41" y="240"/>
                  </a:lnTo>
                  <a:lnTo>
                    <a:pt x="35" y="245"/>
                  </a:lnTo>
                  <a:lnTo>
                    <a:pt x="26" y="246"/>
                  </a:lnTo>
                  <a:lnTo>
                    <a:pt x="23" y="238"/>
                  </a:lnTo>
                  <a:lnTo>
                    <a:pt x="11" y="232"/>
                  </a:lnTo>
                  <a:lnTo>
                    <a:pt x="0" y="222"/>
                  </a:lnTo>
                  <a:lnTo>
                    <a:pt x="3" y="221"/>
                  </a:lnTo>
                  <a:lnTo>
                    <a:pt x="4" y="207"/>
                  </a:lnTo>
                  <a:lnTo>
                    <a:pt x="14" y="188"/>
                  </a:lnTo>
                  <a:lnTo>
                    <a:pt x="22" y="190"/>
                  </a:lnTo>
                  <a:lnTo>
                    <a:pt x="23" y="176"/>
                  </a:lnTo>
                  <a:lnTo>
                    <a:pt x="21" y="165"/>
                  </a:lnTo>
                  <a:lnTo>
                    <a:pt x="50" y="136"/>
                  </a:lnTo>
                  <a:lnTo>
                    <a:pt x="54" y="124"/>
                  </a:lnTo>
                  <a:lnTo>
                    <a:pt x="61" y="117"/>
                  </a:lnTo>
                  <a:lnTo>
                    <a:pt x="68" y="117"/>
                  </a:lnTo>
                  <a:lnTo>
                    <a:pt x="70" y="105"/>
                  </a:lnTo>
                  <a:lnTo>
                    <a:pt x="67" y="100"/>
                  </a:lnTo>
                  <a:lnTo>
                    <a:pt x="66" y="93"/>
                  </a:lnTo>
                  <a:lnTo>
                    <a:pt x="70" y="89"/>
                  </a:lnTo>
                  <a:lnTo>
                    <a:pt x="58" y="82"/>
                  </a:lnTo>
                  <a:lnTo>
                    <a:pt x="54" y="70"/>
                  </a:lnTo>
                  <a:lnTo>
                    <a:pt x="48" y="65"/>
                  </a:lnTo>
                  <a:lnTo>
                    <a:pt x="48" y="46"/>
                  </a:lnTo>
                  <a:lnTo>
                    <a:pt x="48" y="3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7" name="Freeform 18"/>
            <p:cNvSpPr>
              <a:spLocks/>
            </p:cNvSpPr>
            <p:nvPr/>
          </p:nvSpPr>
          <p:spPr bwMode="auto">
            <a:xfrm>
              <a:off x="4881563" y="2936875"/>
              <a:ext cx="250825" cy="254000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0" y="19"/>
                </a:cxn>
                <a:cxn ang="0">
                  <a:pos x="2" y="14"/>
                </a:cxn>
                <a:cxn ang="0">
                  <a:pos x="0" y="3"/>
                </a:cxn>
                <a:cxn ang="0">
                  <a:pos x="7" y="5"/>
                </a:cxn>
                <a:cxn ang="0">
                  <a:pos x="9" y="3"/>
                </a:cxn>
                <a:cxn ang="0">
                  <a:pos x="18" y="8"/>
                </a:cxn>
                <a:cxn ang="0">
                  <a:pos x="20" y="3"/>
                </a:cxn>
                <a:cxn ang="0">
                  <a:pos x="31" y="3"/>
                </a:cxn>
                <a:cxn ang="0">
                  <a:pos x="35" y="0"/>
                </a:cxn>
                <a:cxn ang="0">
                  <a:pos x="41" y="10"/>
                </a:cxn>
                <a:cxn ang="0">
                  <a:pos x="53" y="10"/>
                </a:cxn>
                <a:cxn ang="0">
                  <a:pos x="67" y="21"/>
                </a:cxn>
                <a:cxn ang="0">
                  <a:pos x="82" y="23"/>
                </a:cxn>
                <a:cxn ang="0">
                  <a:pos x="84" y="19"/>
                </a:cxn>
                <a:cxn ang="0">
                  <a:pos x="89" y="19"/>
                </a:cxn>
                <a:cxn ang="0">
                  <a:pos x="102" y="31"/>
                </a:cxn>
                <a:cxn ang="0">
                  <a:pos x="115" y="37"/>
                </a:cxn>
                <a:cxn ang="0">
                  <a:pos x="117" y="51"/>
                </a:cxn>
                <a:cxn ang="0">
                  <a:pos x="117" y="61"/>
                </a:cxn>
                <a:cxn ang="0">
                  <a:pos x="127" y="66"/>
                </a:cxn>
                <a:cxn ang="0">
                  <a:pos x="128" y="71"/>
                </a:cxn>
                <a:cxn ang="0">
                  <a:pos x="140" y="79"/>
                </a:cxn>
                <a:cxn ang="0">
                  <a:pos x="153" y="86"/>
                </a:cxn>
                <a:cxn ang="0">
                  <a:pos x="154" y="95"/>
                </a:cxn>
                <a:cxn ang="0">
                  <a:pos x="153" y="101"/>
                </a:cxn>
                <a:cxn ang="0">
                  <a:pos x="158" y="108"/>
                </a:cxn>
                <a:cxn ang="0">
                  <a:pos x="157" y="113"/>
                </a:cxn>
                <a:cxn ang="0">
                  <a:pos x="144" y="113"/>
                </a:cxn>
                <a:cxn ang="0">
                  <a:pos x="136" y="108"/>
                </a:cxn>
                <a:cxn ang="0">
                  <a:pos x="124" y="112"/>
                </a:cxn>
                <a:cxn ang="0">
                  <a:pos x="115" y="112"/>
                </a:cxn>
                <a:cxn ang="0">
                  <a:pos x="113" y="126"/>
                </a:cxn>
                <a:cxn ang="0">
                  <a:pos x="113" y="137"/>
                </a:cxn>
                <a:cxn ang="0">
                  <a:pos x="110" y="136"/>
                </a:cxn>
                <a:cxn ang="0">
                  <a:pos x="100" y="150"/>
                </a:cxn>
                <a:cxn ang="0">
                  <a:pos x="100" y="158"/>
                </a:cxn>
                <a:cxn ang="0">
                  <a:pos x="93" y="156"/>
                </a:cxn>
                <a:cxn ang="0">
                  <a:pos x="86" y="160"/>
                </a:cxn>
                <a:cxn ang="0">
                  <a:pos x="86" y="159"/>
                </a:cxn>
                <a:cxn ang="0">
                  <a:pos x="80" y="148"/>
                </a:cxn>
                <a:cxn ang="0">
                  <a:pos x="82" y="109"/>
                </a:cxn>
                <a:cxn ang="0">
                  <a:pos x="73" y="97"/>
                </a:cxn>
                <a:cxn ang="0">
                  <a:pos x="70" y="85"/>
                </a:cxn>
                <a:cxn ang="0">
                  <a:pos x="46" y="68"/>
                </a:cxn>
                <a:cxn ang="0">
                  <a:pos x="43" y="60"/>
                </a:cxn>
                <a:cxn ang="0">
                  <a:pos x="25" y="45"/>
                </a:cxn>
                <a:cxn ang="0">
                  <a:pos x="20" y="26"/>
                </a:cxn>
                <a:cxn ang="0">
                  <a:pos x="2" y="29"/>
                </a:cxn>
              </a:cxnLst>
              <a:rect l="0" t="0" r="r" b="b"/>
              <a:pathLst>
                <a:path w="158" h="160">
                  <a:moveTo>
                    <a:pt x="2" y="29"/>
                  </a:moveTo>
                  <a:lnTo>
                    <a:pt x="0" y="19"/>
                  </a:lnTo>
                  <a:lnTo>
                    <a:pt x="2" y="14"/>
                  </a:lnTo>
                  <a:lnTo>
                    <a:pt x="0" y="3"/>
                  </a:lnTo>
                  <a:lnTo>
                    <a:pt x="7" y="5"/>
                  </a:lnTo>
                  <a:lnTo>
                    <a:pt x="9" y="3"/>
                  </a:lnTo>
                  <a:lnTo>
                    <a:pt x="18" y="8"/>
                  </a:lnTo>
                  <a:lnTo>
                    <a:pt x="20" y="3"/>
                  </a:lnTo>
                  <a:lnTo>
                    <a:pt x="31" y="3"/>
                  </a:lnTo>
                  <a:lnTo>
                    <a:pt x="35" y="0"/>
                  </a:lnTo>
                  <a:lnTo>
                    <a:pt x="41" y="10"/>
                  </a:lnTo>
                  <a:lnTo>
                    <a:pt x="53" y="10"/>
                  </a:lnTo>
                  <a:lnTo>
                    <a:pt x="67" y="21"/>
                  </a:lnTo>
                  <a:lnTo>
                    <a:pt x="82" y="23"/>
                  </a:lnTo>
                  <a:lnTo>
                    <a:pt x="84" y="19"/>
                  </a:lnTo>
                  <a:lnTo>
                    <a:pt x="89" y="19"/>
                  </a:lnTo>
                  <a:lnTo>
                    <a:pt x="102" y="31"/>
                  </a:lnTo>
                  <a:lnTo>
                    <a:pt x="115" y="37"/>
                  </a:lnTo>
                  <a:lnTo>
                    <a:pt x="117" y="51"/>
                  </a:lnTo>
                  <a:lnTo>
                    <a:pt x="117" y="61"/>
                  </a:lnTo>
                  <a:lnTo>
                    <a:pt x="127" y="66"/>
                  </a:lnTo>
                  <a:lnTo>
                    <a:pt x="128" y="71"/>
                  </a:lnTo>
                  <a:lnTo>
                    <a:pt x="140" y="79"/>
                  </a:lnTo>
                  <a:lnTo>
                    <a:pt x="153" y="86"/>
                  </a:lnTo>
                  <a:lnTo>
                    <a:pt x="154" y="95"/>
                  </a:lnTo>
                  <a:lnTo>
                    <a:pt x="153" y="101"/>
                  </a:lnTo>
                  <a:lnTo>
                    <a:pt x="158" y="108"/>
                  </a:lnTo>
                  <a:lnTo>
                    <a:pt x="157" y="113"/>
                  </a:lnTo>
                  <a:lnTo>
                    <a:pt x="144" y="113"/>
                  </a:lnTo>
                  <a:lnTo>
                    <a:pt x="136" y="108"/>
                  </a:lnTo>
                  <a:lnTo>
                    <a:pt x="124" y="112"/>
                  </a:lnTo>
                  <a:lnTo>
                    <a:pt x="115" y="112"/>
                  </a:lnTo>
                  <a:lnTo>
                    <a:pt x="113" y="126"/>
                  </a:lnTo>
                  <a:lnTo>
                    <a:pt x="113" y="137"/>
                  </a:lnTo>
                  <a:lnTo>
                    <a:pt x="110" y="136"/>
                  </a:lnTo>
                  <a:lnTo>
                    <a:pt x="100" y="150"/>
                  </a:lnTo>
                  <a:lnTo>
                    <a:pt x="100" y="158"/>
                  </a:lnTo>
                  <a:lnTo>
                    <a:pt x="93" y="156"/>
                  </a:lnTo>
                  <a:lnTo>
                    <a:pt x="86" y="160"/>
                  </a:lnTo>
                  <a:lnTo>
                    <a:pt x="86" y="159"/>
                  </a:lnTo>
                  <a:lnTo>
                    <a:pt x="80" y="148"/>
                  </a:lnTo>
                  <a:lnTo>
                    <a:pt x="82" y="109"/>
                  </a:lnTo>
                  <a:lnTo>
                    <a:pt x="73" y="97"/>
                  </a:lnTo>
                  <a:lnTo>
                    <a:pt x="70" y="85"/>
                  </a:lnTo>
                  <a:lnTo>
                    <a:pt x="46" y="68"/>
                  </a:lnTo>
                  <a:lnTo>
                    <a:pt x="43" y="60"/>
                  </a:lnTo>
                  <a:lnTo>
                    <a:pt x="25" y="45"/>
                  </a:lnTo>
                  <a:lnTo>
                    <a:pt x="20" y="26"/>
                  </a:lnTo>
                  <a:lnTo>
                    <a:pt x="2" y="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8" name="Freeform 19"/>
            <p:cNvSpPr>
              <a:spLocks/>
            </p:cNvSpPr>
            <p:nvPr/>
          </p:nvSpPr>
          <p:spPr bwMode="auto">
            <a:xfrm>
              <a:off x="4479925" y="2978150"/>
              <a:ext cx="642938" cy="374650"/>
            </a:xfrm>
            <a:custGeom>
              <a:avLst/>
              <a:gdLst/>
              <a:ahLst/>
              <a:cxnLst>
                <a:cxn ang="0">
                  <a:pos x="100" y="8"/>
                </a:cxn>
                <a:cxn ang="0">
                  <a:pos x="115" y="3"/>
                </a:cxn>
                <a:cxn ang="0">
                  <a:pos x="145" y="12"/>
                </a:cxn>
                <a:cxn ang="0">
                  <a:pos x="161" y="24"/>
                </a:cxn>
                <a:cxn ang="0">
                  <a:pos x="185" y="24"/>
                </a:cxn>
                <a:cxn ang="0">
                  <a:pos x="203" y="16"/>
                </a:cxn>
                <a:cxn ang="0">
                  <a:pos x="244" y="5"/>
                </a:cxn>
                <a:cxn ang="0">
                  <a:pos x="278" y="19"/>
                </a:cxn>
                <a:cxn ang="0">
                  <a:pos x="299" y="42"/>
                </a:cxn>
                <a:cxn ang="0">
                  <a:pos x="326" y="71"/>
                </a:cxn>
                <a:cxn ang="0">
                  <a:pos x="333" y="122"/>
                </a:cxn>
                <a:cxn ang="0">
                  <a:pos x="347" y="146"/>
                </a:cxn>
                <a:cxn ang="0">
                  <a:pos x="376" y="148"/>
                </a:cxn>
                <a:cxn ang="0">
                  <a:pos x="398" y="142"/>
                </a:cxn>
                <a:cxn ang="0">
                  <a:pos x="400" y="152"/>
                </a:cxn>
                <a:cxn ang="0">
                  <a:pos x="405" y="162"/>
                </a:cxn>
                <a:cxn ang="0">
                  <a:pos x="389" y="175"/>
                </a:cxn>
                <a:cxn ang="0">
                  <a:pos x="371" y="185"/>
                </a:cxn>
                <a:cxn ang="0">
                  <a:pos x="369" y="196"/>
                </a:cxn>
                <a:cxn ang="0">
                  <a:pos x="363" y="216"/>
                </a:cxn>
                <a:cxn ang="0">
                  <a:pos x="355" y="226"/>
                </a:cxn>
                <a:cxn ang="0">
                  <a:pos x="342" y="216"/>
                </a:cxn>
                <a:cxn ang="0">
                  <a:pos x="328" y="215"/>
                </a:cxn>
                <a:cxn ang="0">
                  <a:pos x="299" y="208"/>
                </a:cxn>
                <a:cxn ang="0">
                  <a:pos x="260" y="221"/>
                </a:cxn>
                <a:cxn ang="0">
                  <a:pos x="244" y="231"/>
                </a:cxn>
                <a:cxn ang="0">
                  <a:pos x="221" y="232"/>
                </a:cxn>
                <a:cxn ang="0">
                  <a:pos x="204" y="229"/>
                </a:cxn>
                <a:cxn ang="0">
                  <a:pos x="187" y="229"/>
                </a:cxn>
                <a:cxn ang="0">
                  <a:pos x="158" y="229"/>
                </a:cxn>
                <a:cxn ang="0">
                  <a:pos x="149" y="226"/>
                </a:cxn>
                <a:cxn ang="0">
                  <a:pos x="125" y="232"/>
                </a:cxn>
                <a:cxn ang="0">
                  <a:pos x="123" y="220"/>
                </a:cxn>
                <a:cxn ang="0">
                  <a:pos x="119" y="209"/>
                </a:cxn>
                <a:cxn ang="0">
                  <a:pos x="103" y="199"/>
                </a:cxn>
                <a:cxn ang="0">
                  <a:pos x="109" y="186"/>
                </a:cxn>
                <a:cxn ang="0">
                  <a:pos x="86" y="192"/>
                </a:cxn>
                <a:cxn ang="0">
                  <a:pos x="69" y="190"/>
                </a:cxn>
                <a:cxn ang="0">
                  <a:pos x="50" y="177"/>
                </a:cxn>
                <a:cxn ang="0">
                  <a:pos x="53" y="163"/>
                </a:cxn>
                <a:cxn ang="0">
                  <a:pos x="29" y="150"/>
                </a:cxn>
                <a:cxn ang="0">
                  <a:pos x="11" y="127"/>
                </a:cxn>
                <a:cxn ang="0">
                  <a:pos x="0" y="118"/>
                </a:cxn>
                <a:cxn ang="0">
                  <a:pos x="17" y="107"/>
                </a:cxn>
                <a:cxn ang="0">
                  <a:pos x="34" y="101"/>
                </a:cxn>
                <a:cxn ang="0">
                  <a:pos x="41" y="86"/>
                </a:cxn>
                <a:cxn ang="0">
                  <a:pos x="67" y="38"/>
                </a:cxn>
                <a:cxn ang="0">
                  <a:pos x="87" y="20"/>
                </a:cxn>
                <a:cxn ang="0">
                  <a:pos x="91" y="9"/>
                </a:cxn>
              </a:cxnLst>
              <a:rect l="0" t="0" r="r" b="b"/>
              <a:pathLst>
                <a:path w="405" h="236">
                  <a:moveTo>
                    <a:pt x="91" y="9"/>
                  </a:moveTo>
                  <a:lnTo>
                    <a:pt x="100" y="8"/>
                  </a:lnTo>
                  <a:lnTo>
                    <a:pt x="106" y="3"/>
                  </a:lnTo>
                  <a:lnTo>
                    <a:pt x="115" y="3"/>
                  </a:lnTo>
                  <a:lnTo>
                    <a:pt x="132" y="12"/>
                  </a:lnTo>
                  <a:lnTo>
                    <a:pt x="145" y="12"/>
                  </a:lnTo>
                  <a:lnTo>
                    <a:pt x="157" y="18"/>
                  </a:lnTo>
                  <a:lnTo>
                    <a:pt x="161" y="24"/>
                  </a:lnTo>
                  <a:lnTo>
                    <a:pt x="171" y="29"/>
                  </a:lnTo>
                  <a:lnTo>
                    <a:pt x="185" y="24"/>
                  </a:lnTo>
                  <a:lnTo>
                    <a:pt x="195" y="24"/>
                  </a:lnTo>
                  <a:lnTo>
                    <a:pt x="203" y="16"/>
                  </a:lnTo>
                  <a:lnTo>
                    <a:pt x="233" y="11"/>
                  </a:lnTo>
                  <a:lnTo>
                    <a:pt x="244" y="5"/>
                  </a:lnTo>
                  <a:lnTo>
                    <a:pt x="273" y="0"/>
                  </a:lnTo>
                  <a:lnTo>
                    <a:pt x="278" y="19"/>
                  </a:lnTo>
                  <a:lnTo>
                    <a:pt x="296" y="34"/>
                  </a:lnTo>
                  <a:lnTo>
                    <a:pt x="299" y="42"/>
                  </a:lnTo>
                  <a:lnTo>
                    <a:pt x="323" y="59"/>
                  </a:lnTo>
                  <a:lnTo>
                    <a:pt x="326" y="71"/>
                  </a:lnTo>
                  <a:lnTo>
                    <a:pt x="335" y="83"/>
                  </a:lnTo>
                  <a:lnTo>
                    <a:pt x="333" y="122"/>
                  </a:lnTo>
                  <a:lnTo>
                    <a:pt x="339" y="133"/>
                  </a:lnTo>
                  <a:lnTo>
                    <a:pt x="347" y="146"/>
                  </a:lnTo>
                  <a:lnTo>
                    <a:pt x="359" y="148"/>
                  </a:lnTo>
                  <a:lnTo>
                    <a:pt x="376" y="148"/>
                  </a:lnTo>
                  <a:lnTo>
                    <a:pt x="383" y="144"/>
                  </a:lnTo>
                  <a:lnTo>
                    <a:pt x="398" y="142"/>
                  </a:lnTo>
                  <a:lnTo>
                    <a:pt x="405" y="148"/>
                  </a:lnTo>
                  <a:lnTo>
                    <a:pt x="400" y="152"/>
                  </a:lnTo>
                  <a:lnTo>
                    <a:pt x="405" y="156"/>
                  </a:lnTo>
                  <a:lnTo>
                    <a:pt x="405" y="162"/>
                  </a:lnTo>
                  <a:lnTo>
                    <a:pt x="399" y="173"/>
                  </a:lnTo>
                  <a:lnTo>
                    <a:pt x="389" y="175"/>
                  </a:lnTo>
                  <a:lnTo>
                    <a:pt x="374" y="176"/>
                  </a:lnTo>
                  <a:lnTo>
                    <a:pt x="371" y="185"/>
                  </a:lnTo>
                  <a:lnTo>
                    <a:pt x="365" y="190"/>
                  </a:lnTo>
                  <a:lnTo>
                    <a:pt x="369" y="196"/>
                  </a:lnTo>
                  <a:lnTo>
                    <a:pt x="368" y="209"/>
                  </a:lnTo>
                  <a:lnTo>
                    <a:pt x="363" y="216"/>
                  </a:lnTo>
                  <a:lnTo>
                    <a:pt x="366" y="226"/>
                  </a:lnTo>
                  <a:lnTo>
                    <a:pt x="355" y="226"/>
                  </a:lnTo>
                  <a:lnTo>
                    <a:pt x="353" y="221"/>
                  </a:lnTo>
                  <a:lnTo>
                    <a:pt x="342" y="216"/>
                  </a:lnTo>
                  <a:lnTo>
                    <a:pt x="333" y="219"/>
                  </a:lnTo>
                  <a:lnTo>
                    <a:pt x="328" y="215"/>
                  </a:lnTo>
                  <a:lnTo>
                    <a:pt x="313" y="209"/>
                  </a:lnTo>
                  <a:lnTo>
                    <a:pt x="299" y="208"/>
                  </a:lnTo>
                  <a:lnTo>
                    <a:pt x="287" y="209"/>
                  </a:lnTo>
                  <a:lnTo>
                    <a:pt x="260" y="221"/>
                  </a:lnTo>
                  <a:lnTo>
                    <a:pt x="255" y="227"/>
                  </a:lnTo>
                  <a:lnTo>
                    <a:pt x="244" y="231"/>
                  </a:lnTo>
                  <a:lnTo>
                    <a:pt x="238" y="234"/>
                  </a:lnTo>
                  <a:lnTo>
                    <a:pt x="221" y="232"/>
                  </a:lnTo>
                  <a:lnTo>
                    <a:pt x="213" y="232"/>
                  </a:lnTo>
                  <a:lnTo>
                    <a:pt x="204" y="229"/>
                  </a:lnTo>
                  <a:lnTo>
                    <a:pt x="196" y="232"/>
                  </a:lnTo>
                  <a:lnTo>
                    <a:pt x="187" y="229"/>
                  </a:lnTo>
                  <a:lnTo>
                    <a:pt x="174" y="236"/>
                  </a:lnTo>
                  <a:lnTo>
                    <a:pt x="158" y="229"/>
                  </a:lnTo>
                  <a:lnTo>
                    <a:pt x="154" y="231"/>
                  </a:lnTo>
                  <a:lnTo>
                    <a:pt x="149" y="226"/>
                  </a:lnTo>
                  <a:lnTo>
                    <a:pt x="137" y="226"/>
                  </a:lnTo>
                  <a:lnTo>
                    <a:pt x="125" y="232"/>
                  </a:lnTo>
                  <a:lnTo>
                    <a:pt x="120" y="225"/>
                  </a:lnTo>
                  <a:lnTo>
                    <a:pt x="123" y="220"/>
                  </a:lnTo>
                  <a:lnTo>
                    <a:pt x="125" y="214"/>
                  </a:lnTo>
                  <a:lnTo>
                    <a:pt x="119" y="209"/>
                  </a:lnTo>
                  <a:lnTo>
                    <a:pt x="105" y="209"/>
                  </a:lnTo>
                  <a:lnTo>
                    <a:pt x="103" y="199"/>
                  </a:lnTo>
                  <a:lnTo>
                    <a:pt x="102" y="193"/>
                  </a:lnTo>
                  <a:lnTo>
                    <a:pt x="109" y="186"/>
                  </a:lnTo>
                  <a:lnTo>
                    <a:pt x="93" y="182"/>
                  </a:lnTo>
                  <a:lnTo>
                    <a:pt x="86" y="192"/>
                  </a:lnTo>
                  <a:lnTo>
                    <a:pt x="79" y="186"/>
                  </a:lnTo>
                  <a:lnTo>
                    <a:pt x="69" y="190"/>
                  </a:lnTo>
                  <a:lnTo>
                    <a:pt x="64" y="182"/>
                  </a:lnTo>
                  <a:lnTo>
                    <a:pt x="50" y="177"/>
                  </a:lnTo>
                  <a:lnTo>
                    <a:pt x="47" y="174"/>
                  </a:lnTo>
                  <a:lnTo>
                    <a:pt x="53" y="163"/>
                  </a:lnTo>
                  <a:lnTo>
                    <a:pt x="41" y="155"/>
                  </a:lnTo>
                  <a:lnTo>
                    <a:pt x="29" y="150"/>
                  </a:lnTo>
                  <a:lnTo>
                    <a:pt x="26" y="142"/>
                  </a:lnTo>
                  <a:lnTo>
                    <a:pt x="11" y="127"/>
                  </a:lnTo>
                  <a:lnTo>
                    <a:pt x="9" y="121"/>
                  </a:lnTo>
                  <a:lnTo>
                    <a:pt x="0" y="118"/>
                  </a:lnTo>
                  <a:lnTo>
                    <a:pt x="9" y="110"/>
                  </a:lnTo>
                  <a:lnTo>
                    <a:pt x="17" y="107"/>
                  </a:lnTo>
                  <a:lnTo>
                    <a:pt x="21" y="100"/>
                  </a:lnTo>
                  <a:lnTo>
                    <a:pt x="34" y="101"/>
                  </a:lnTo>
                  <a:lnTo>
                    <a:pt x="41" y="94"/>
                  </a:lnTo>
                  <a:lnTo>
                    <a:pt x="41" y="86"/>
                  </a:lnTo>
                  <a:lnTo>
                    <a:pt x="58" y="64"/>
                  </a:lnTo>
                  <a:lnTo>
                    <a:pt x="67" y="38"/>
                  </a:lnTo>
                  <a:lnTo>
                    <a:pt x="76" y="23"/>
                  </a:lnTo>
                  <a:lnTo>
                    <a:pt x="87" y="20"/>
                  </a:lnTo>
                  <a:lnTo>
                    <a:pt x="92" y="12"/>
                  </a:lnTo>
                  <a:lnTo>
                    <a:pt x="91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19" name="Freeform 20"/>
            <p:cNvSpPr>
              <a:spLocks/>
            </p:cNvSpPr>
            <p:nvPr/>
          </p:nvSpPr>
          <p:spPr bwMode="auto">
            <a:xfrm>
              <a:off x="4206875" y="2954338"/>
              <a:ext cx="419100" cy="246063"/>
            </a:xfrm>
            <a:custGeom>
              <a:avLst/>
              <a:gdLst/>
              <a:ahLst/>
              <a:cxnLst>
                <a:cxn ang="0">
                  <a:pos x="172" y="133"/>
                </a:cxn>
                <a:cxn ang="0">
                  <a:pos x="181" y="125"/>
                </a:cxn>
                <a:cxn ang="0">
                  <a:pos x="189" y="122"/>
                </a:cxn>
                <a:cxn ang="0">
                  <a:pos x="193" y="115"/>
                </a:cxn>
                <a:cxn ang="0">
                  <a:pos x="206" y="116"/>
                </a:cxn>
                <a:cxn ang="0">
                  <a:pos x="213" y="109"/>
                </a:cxn>
                <a:cxn ang="0">
                  <a:pos x="213" y="101"/>
                </a:cxn>
                <a:cxn ang="0">
                  <a:pos x="230" y="79"/>
                </a:cxn>
                <a:cxn ang="0">
                  <a:pos x="239" y="53"/>
                </a:cxn>
                <a:cxn ang="0">
                  <a:pos x="248" y="38"/>
                </a:cxn>
                <a:cxn ang="0">
                  <a:pos x="259" y="35"/>
                </a:cxn>
                <a:cxn ang="0">
                  <a:pos x="264" y="27"/>
                </a:cxn>
                <a:cxn ang="0">
                  <a:pos x="260" y="16"/>
                </a:cxn>
                <a:cxn ang="0">
                  <a:pos x="248" y="10"/>
                </a:cxn>
                <a:cxn ang="0">
                  <a:pos x="237" y="0"/>
                </a:cxn>
                <a:cxn ang="0">
                  <a:pos x="228" y="6"/>
                </a:cxn>
                <a:cxn ang="0">
                  <a:pos x="213" y="3"/>
                </a:cxn>
                <a:cxn ang="0">
                  <a:pos x="194" y="4"/>
                </a:cxn>
                <a:cxn ang="0">
                  <a:pos x="184" y="1"/>
                </a:cxn>
                <a:cxn ang="0">
                  <a:pos x="168" y="3"/>
                </a:cxn>
                <a:cxn ang="0">
                  <a:pos x="161" y="14"/>
                </a:cxn>
                <a:cxn ang="0">
                  <a:pos x="153" y="20"/>
                </a:cxn>
                <a:cxn ang="0">
                  <a:pos x="152" y="28"/>
                </a:cxn>
                <a:cxn ang="0">
                  <a:pos x="138" y="16"/>
                </a:cxn>
                <a:cxn ang="0">
                  <a:pos x="124" y="27"/>
                </a:cxn>
                <a:cxn ang="0">
                  <a:pos x="110" y="31"/>
                </a:cxn>
                <a:cxn ang="0">
                  <a:pos x="109" y="39"/>
                </a:cxn>
                <a:cxn ang="0">
                  <a:pos x="85" y="40"/>
                </a:cxn>
                <a:cxn ang="0">
                  <a:pos x="69" y="45"/>
                </a:cxn>
                <a:cxn ang="0">
                  <a:pos x="54" y="43"/>
                </a:cxn>
                <a:cxn ang="0">
                  <a:pos x="22" y="27"/>
                </a:cxn>
                <a:cxn ang="0">
                  <a:pos x="23" y="32"/>
                </a:cxn>
                <a:cxn ang="0">
                  <a:pos x="25" y="40"/>
                </a:cxn>
                <a:cxn ang="0">
                  <a:pos x="23" y="49"/>
                </a:cxn>
                <a:cxn ang="0">
                  <a:pos x="3" y="49"/>
                </a:cxn>
                <a:cxn ang="0">
                  <a:pos x="0" y="52"/>
                </a:cxn>
                <a:cxn ang="0">
                  <a:pos x="9" y="61"/>
                </a:cxn>
                <a:cxn ang="0">
                  <a:pos x="5" y="70"/>
                </a:cxn>
                <a:cxn ang="0">
                  <a:pos x="4" y="79"/>
                </a:cxn>
                <a:cxn ang="0">
                  <a:pos x="9" y="86"/>
                </a:cxn>
                <a:cxn ang="0">
                  <a:pos x="2" y="95"/>
                </a:cxn>
                <a:cxn ang="0">
                  <a:pos x="0" y="95"/>
                </a:cxn>
                <a:cxn ang="0">
                  <a:pos x="11" y="107"/>
                </a:cxn>
                <a:cxn ang="0">
                  <a:pos x="14" y="120"/>
                </a:cxn>
                <a:cxn ang="0">
                  <a:pos x="21" y="122"/>
                </a:cxn>
                <a:cxn ang="0">
                  <a:pos x="40" y="138"/>
                </a:cxn>
                <a:cxn ang="0">
                  <a:pos x="50" y="142"/>
                </a:cxn>
                <a:cxn ang="0">
                  <a:pos x="57" y="147"/>
                </a:cxn>
                <a:cxn ang="0">
                  <a:pos x="81" y="150"/>
                </a:cxn>
                <a:cxn ang="0">
                  <a:pos x="98" y="155"/>
                </a:cxn>
                <a:cxn ang="0">
                  <a:pos x="106" y="148"/>
                </a:cxn>
                <a:cxn ang="0">
                  <a:pos x="110" y="150"/>
                </a:cxn>
                <a:cxn ang="0">
                  <a:pos x="117" y="143"/>
                </a:cxn>
                <a:cxn ang="0">
                  <a:pos x="127" y="138"/>
                </a:cxn>
                <a:cxn ang="0">
                  <a:pos x="135" y="139"/>
                </a:cxn>
                <a:cxn ang="0">
                  <a:pos x="138" y="136"/>
                </a:cxn>
                <a:cxn ang="0">
                  <a:pos x="149" y="127"/>
                </a:cxn>
                <a:cxn ang="0">
                  <a:pos x="155" y="130"/>
                </a:cxn>
                <a:cxn ang="0">
                  <a:pos x="165" y="131"/>
                </a:cxn>
                <a:cxn ang="0">
                  <a:pos x="172" y="133"/>
                </a:cxn>
              </a:cxnLst>
              <a:rect l="0" t="0" r="r" b="b"/>
              <a:pathLst>
                <a:path w="264" h="155">
                  <a:moveTo>
                    <a:pt x="172" y="133"/>
                  </a:moveTo>
                  <a:lnTo>
                    <a:pt x="181" y="125"/>
                  </a:lnTo>
                  <a:lnTo>
                    <a:pt x="189" y="122"/>
                  </a:lnTo>
                  <a:lnTo>
                    <a:pt x="193" y="115"/>
                  </a:lnTo>
                  <a:lnTo>
                    <a:pt x="206" y="116"/>
                  </a:lnTo>
                  <a:lnTo>
                    <a:pt x="213" y="109"/>
                  </a:lnTo>
                  <a:lnTo>
                    <a:pt x="213" y="101"/>
                  </a:lnTo>
                  <a:lnTo>
                    <a:pt x="230" y="79"/>
                  </a:lnTo>
                  <a:lnTo>
                    <a:pt x="239" y="53"/>
                  </a:lnTo>
                  <a:lnTo>
                    <a:pt x="248" y="38"/>
                  </a:lnTo>
                  <a:lnTo>
                    <a:pt x="259" y="35"/>
                  </a:lnTo>
                  <a:lnTo>
                    <a:pt x="264" y="27"/>
                  </a:lnTo>
                  <a:lnTo>
                    <a:pt x="260" y="16"/>
                  </a:lnTo>
                  <a:lnTo>
                    <a:pt x="248" y="10"/>
                  </a:lnTo>
                  <a:lnTo>
                    <a:pt x="237" y="0"/>
                  </a:lnTo>
                  <a:lnTo>
                    <a:pt x="228" y="6"/>
                  </a:lnTo>
                  <a:lnTo>
                    <a:pt x="213" y="3"/>
                  </a:lnTo>
                  <a:lnTo>
                    <a:pt x="194" y="4"/>
                  </a:lnTo>
                  <a:lnTo>
                    <a:pt x="184" y="1"/>
                  </a:lnTo>
                  <a:lnTo>
                    <a:pt x="168" y="3"/>
                  </a:lnTo>
                  <a:lnTo>
                    <a:pt x="161" y="14"/>
                  </a:lnTo>
                  <a:lnTo>
                    <a:pt x="153" y="20"/>
                  </a:lnTo>
                  <a:lnTo>
                    <a:pt x="152" y="28"/>
                  </a:lnTo>
                  <a:lnTo>
                    <a:pt x="138" y="16"/>
                  </a:lnTo>
                  <a:lnTo>
                    <a:pt x="124" y="27"/>
                  </a:lnTo>
                  <a:lnTo>
                    <a:pt x="110" y="31"/>
                  </a:lnTo>
                  <a:lnTo>
                    <a:pt x="109" y="39"/>
                  </a:lnTo>
                  <a:lnTo>
                    <a:pt x="85" y="40"/>
                  </a:lnTo>
                  <a:lnTo>
                    <a:pt x="69" y="45"/>
                  </a:lnTo>
                  <a:lnTo>
                    <a:pt x="54" y="43"/>
                  </a:lnTo>
                  <a:lnTo>
                    <a:pt x="22" y="27"/>
                  </a:lnTo>
                  <a:lnTo>
                    <a:pt x="23" y="32"/>
                  </a:lnTo>
                  <a:lnTo>
                    <a:pt x="25" y="40"/>
                  </a:lnTo>
                  <a:lnTo>
                    <a:pt x="23" y="49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9" y="61"/>
                  </a:lnTo>
                  <a:lnTo>
                    <a:pt x="5" y="70"/>
                  </a:lnTo>
                  <a:lnTo>
                    <a:pt x="4" y="79"/>
                  </a:lnTo>
                  <a:lnTo>
                    <a:pt x="9" y="86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11" y="107"/>
                  </a:lnTo>
                  <a:lnTo>
                    <a:pt x="14" y="120"/>
                  </a:lnTo>
                  <a:lnTo>
                    <a:pt x="21" y="122"/>
                  </a:lnTo>
                  <a:lnTo>
                    <a:pt x="40" y="138"/>
                  </a:lnTo>
                  <a:lnTo>
                    <a:pt x="50" y="142"/>
                  </a:lnTo>
                  <a:lnTo>
                    <a:pt x="57" y="147"/>
                  </a:lnTo>
                  <a:lnTo>
                    <a:pt x="81" y="150"/>
                  </a:lnTo>
                  <a:lnTo>
                    <a:pt x="98" y="155"/>
                  </a:lnTo>
                  <a:lnTo>
                    <a:pt x="106" y="148"/>
                  </a:lnTo>
                  <a:lnTo>
                    <a:pt x="110" y="150"/>
                  </a:lnTo>
                  <a:lnTo>
                    <a:pt x="117" y="143"/>
                  </a:lnTo>
                  <a:lnTo>
                    <a:pt x="127" y="138"/>
                  </a:lnTo>
                  <a:lnTo>
                    <a:pt x="135" y="139"/>
                  </a:lnTo>
                  <a:lnTo>
                    <a:pt x="138" y="136"/>
                  </a:lnTo>
                  <a:lnTo>
                    <a:pt x="149" y="127"/>
                  </a:lnTo>
                  <a:lnTo>
                    <a:pt x="155" y="130"/>
                  </a:lnTo>
                  <a:lnTo>
                    <a:pt x="165" y="131"/>
                  </a:lnTo>
                  <a:lnTo>
                    <a:pt x="172" y="13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0" name="Freeform 21"/>
            <p:cNvSpPr>
              <a:spLocks/>
            </p:cNvSpPr>
            <p:nvPr/>
          </p:nvSpPr>
          <p:spPr bwMode="auto">
            <a:xfrm>
              <a:off x="4238625" y="2884488"/>
              <a:ext cx="366713" cy="141288"/>
            </a:xfrm>
            <a:custGeom>
              <a:avLst/>
              <a:gdLst/>
              <a:ahLst/>
              <a:cxnLst>
                <a:cxn ang="0">
                  <a:pos x="2" y="71"/>
                </a:cxn>
                <a:cxn ang="0">
                  <a:pos x="34" y="87"/>
                </a:cxn>
                <a:cxn ang="0">
                  <a:pos x="49" y="89"/>
                </a:cxn>
                <a:cxn ang="0">
                  <a:pos x="65" y="84"/>
                </a:cxn>
                <a:cxn ang="0">
                  <a:pos x="89" y="83"/>
                </a:cxn>
                <a:cxn ang="0">
                  <a:pos x="90" y="75"/>
                </a:cxn>
                <a:cxn ang="0">
                  <a:pos x="104" y="71"/>
                </a:cxn>
                <a:cxn ang="0">
                  <a:pos x="118" y="60"/>
                </a:cxn>
                <a:cxn ang="0">
                  <a:pos x="132" y="72"/>
                </a:cxn>
                <a:cxn ang="0">
                  <a:pos x="133" y="64"/>
                </a:cxn>
                <a:cxn ang="0">
                  <a:pos x="141" y="58"/>
                </a:cxn>
                <a:cxn ang="0">
                  <a:pos x="148" y="47"/>
                </a:cxn>
                <a:cxn ang="0">
                  <a:pos x="164" y="45"/>
                </a:cxn>
                <a:cxn ang="0">
                  <a:pos x="174" y="48"/>
                </a:cxn>
                <a:cxn ang="0">
                  <a:pos x="193" y="47"/>
                </a:cxn>
                <a:cxn ang="0">
                  <a:pos x="208" y="50"/>
                </a:cxn>
                <a:cxn ang="0">
                  <a:pos x="220" y="43"/>
                </a:cxn>
                <a:cxn ang="0">
                  <a:pos x="221" y="29"/>
                </a:cxn>
                <a:cxn ang="0">
                  <a:pos x="231" y="10"/>
                </a:cxn>
                <a:cxn ang="0">
                  <a:pos x="229" y="10"/>
                </a:cxn>
                <a:cxn ang="0">
                  <a:pos x="210" y="1"/>
                </a:cxn>
                <a:cxn ang="0">
                  <a:pos x="193" y="0"/>
                </a:cxn>
                <a:cxn ang="0">
                  <a:pos x="187" y="2"/>
                </a:cxn>
                <a:cxn ang="0">
                  <a:pos x="180" y="0"/>
                </a:cxn>
                <a:cxn ang="0">
                  <a:pos x="173" y="1"/>
                </a:cxn>
                <a:cxn ang="0">
                  <a:pos x="167" y="6"/>
                </a:cxn>
                <a:cxn ang="0">
                  <a:pos x="161" y="2"/>
                </a:cxn>
                <a:cxn ang="0">
                  <a:pos x="150" y="2"/>
                </a:cxn>
                <a:cxn ang="0">
                  <a:pos x="142" y="1"/>
                </a:cxn>
                <a:cxn ang="0">
                  <a:pos x="135" y="3"/>
                </a:cxn>
                <a:cxn ang="0">
                  <a:pos x="130" y="10"/>
                </a:cxn>
                <a:cxn ang="0">
                  <a:pos x="121" y="10"/>
                </a:cxn>
                <a:cxn ang="0">
                  <a:pos x="118" y="9"/>
                </a:cxn>
                <a:cxn ang="0">
                  <a:pos x="118" y="10"/>
                </a:cxn>
                <a:cxn ang="0">
                  <a:pos x="98" y="8"/>
                </a:cxn>
                <a:cxn ang="0">
                  <a:pos x="88" y="16"/>
                </a:cxn>
                <a:cxn ang="0">
                  <a:pos x="76" y="18"/>
                </a:cxn>
                <a:cxn ang="0">
                  <a:pos x="63" y="29"/>
                </a:cxn>
                <a:cxn ang="0">
                  <a:pos x="46" y="31"/>
                </a:cxn>
                <a:cxn ang="0">
                  <a:pos x="29" y="37"/>
                </a:cxn>
                <a:cxn ang="0">
                  <a:pos x="24" y="33"/>
                </a:cxn>
                <a:cxn ang="0">
                  <a:pos x="14" y="33"/>
                </a:cxn>
                <a:cxn ang="0">
                  <a:pos x="3" y="41"/>
                </a:cxn>
                <a:cxn ang="0">
                  <a:pos x="1" y="39"/>
                </a:cxn>
                <a:cxn ang="0">
                  <a:pos x="0" y="53"/>
                </a:cxn>
                <a:cxn ang="0">
                  <a:pos x="2" y="71"/>
                </a:cxn>
              </a:cxnLst>
              <a:rect l="0" t="0" r="r" b="b"/>
              <a:pathLst>
                <a:path w="231" h="89">
                  <a:moveTo>
                    <a:pt x="2" y="71"/>
                  </a:moveTo>
                  <a:lnTo>
                    <a:pt x="34" y="87"/>
                  </a:lnTo>
                  <a:lnTo>
                    <a:pt x="49" y="89"/>
                  </a:lnTo>
                  <a:lnTo>
                    <a:pt x="65" y="84"/>
                  </a:lnTo>
                  <a:lnTo>
                    <a:pt x="89" y="83"/>
                  </a:lnTo>
                  <a:lnTo>
                    <a:pt x="90" y="75"/>
                  </a:lnTo>
                  <a:lnTo>
                    <a:pt x="104" y="71"/>
                  </a:lnTo>
                  <a:lnTo>
                    <a:pt x="118" y="60"/>
                  </a:lnTo>
                  <a:lnTo>
                    <a:pt x="132" y="72"/>
                  </a:lnTo>
                  <a:lnTo>
                    <a:pt x="133" y="64"/>
                  </a:lnTo>
                  <a:lnTo>
                    <a:pt x="141" y="58"/>
                  </a:lnTo>
                  <a:lnTo>
                    <a:pt x="148" y="47"/>
                  </a:lnTo>
                  <a:lnTo>
                    <a:pt x="164" y="45"/>
                  </a:lnTo>
                  <a:lnTo>
                    <a:pt x="174" y="48"/>
                  </a:lnTo>
                  <a:lnTo>
                    <a:pt x="193" y="47"/>
                  </a:lnTo>
                  <a:lnTo>
                    <a:pt x="208" y="50"/>
                  </a:lnTo>
                  <a:lnTo>
                    <a:pt x="220" y="43"/>
                  </a:lnTo>
                  <a:lnTo>
                    <a:pt x="221" y="29"/>
                  </a:lnTo>
                  <a:lnTo>
                    <a:pt x="231" y="10"/>
                  </a:lnTo>
                  <a:lnTo>
                    <a:pt x="229" y="10"/>
                  </a:lnTo>
                  <a:lnTo>
                    <a:pt x="210" y="1"/>
                  </a:lnTo>
                  <a:lnTo>
                    <a:pt x="193" y="0"/>
                  </a:lnTo>
                  <a:lnTo>
                    <a:pt x="187" y="2"/>
                  </a:lnTo>
                  <a:lnTo>
                    <a:pt x="180" y="0"/>
                  </a:lnTo>
                  <a:lnTo>
                    <a:pt x="173" y="1"/>
                  </a:lnTo>
                  <a:lnTo>
                    <a:pt x="167" y="6"/>
                  </a:lnTo>
                  <a:lnTo>
                    <a:pt x="161" y="2"/>
                  </a:lnTo>
                  <a:lnTo>
                    <a:pt x="150" y="2"/>
                  </a:lnTo>
                  <a:lnTo>
                    <a:pt x="142" y="1"/>
                  </a:lnTo>
                  <a:lnTo>
                    <a:pt x="135" y="3"/>
                  </a:lnTo>
                  <a:lnTo>
                    <a:pt x="130" y="10"/>
                  </a:lnTo>
                  <a:lnTo>
                    <a:pt x="121" y="10"/>
                  </a:lnTo>
                  <a:lnTo>
                    <a:pt x="118" y="9"/>
                  </a:lnTo>
                  <a:lnTo>
                    <a:pt x="118" y="10"/>
                  </a:lnTo>
                  <a:lnTo>
                    <a:pt x="98" y="8"/>
                  </a:lnTo>
                  <a:lnTo>
                    <a:pt x="88" y="16"/>
                  </a:lnTo>
                  <a:lnTo>
                    <a:pt x="76" y="18"/>
                  </a:lnTo>
                  <a:lnTo>
                    <a:pt x="63" y="29"/>
                  </a:lnTo>
                  <a:lnTo>
                    <a:pt x="46" y="31"/>
                  </a:lnTo>
                  <a:lnTo>
                    <a:pt x="29" y="37"/>
                  </a:lnTo>
                  <a:lnTo>
                    <a:pt x="24" y="33"/>
                  </a:lnTo>
                  <a:lnTo>
                    <a:pt x="14" y="33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53"/>
                  </a:lnTo>
                  <a:lnTo>
                    <a:pt x="2" y="7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1" name="Freeform 22"/>
            <p:cNvSpPr>
              <a:spLocks/>
            </p:cNvSpPr>
            <p:nvPr/>
          </p:nvSpPr>
          <p:spPr bwMode="auto">
            <a:xfrm>
              <a:off x="4638675" y="3308350"/>
              <a:ext cx="422275" cy="241300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23" y="12"/>
                </a:cxn>
                <a:cxn ang="0">
                  <a:pos x="25" y="24"/>
                </a:cxn>
                <a:cxn ang="0">
                  <a:pos x="49" y="18"/>
                </a:cxn>
                <a:cxn ang="0">
                  <a:pos x="58" y="21"/>
                </a:cxn>
                <a:cxn ang="0">
                  <a:pos x="87" y="21"/>
                </a:cxn>
                <a:cxn ang="0">
                  <a:pos x="104" y="21"/>
                </a:cxn>
                <a:cxn ang="0">
                  <a:pos x="121" y="24"/>
                </a:cxn>
                <a:cxn ang="0">
                  <a:pos x="144" y="23"/>
                </a:cxn>
                <a:cxn ang="0">
                  <a:pos x="160" y="13"/>
                </a:cxn>
                <a:cxn ang="0">
                  <a:pos x="199" y="0"/>
                </a:cxn>
                <a:cxn ang="0">
                  <a:pos x="228" y="7"/>
                </a:cxn>
                <a:cxn ang="0">
                  <a:pos x="242" y="8"/>
                </a:cxn>
                <a:cxn ang="0">
                  <a:pos x="255" y="18"/>
                </a:cxn>
                <a:cxn ang="0">
                  <a:pos x="266" y="20"/>
                </a:cxn>
                <a:cxn ang="0">
                  <a:pos x="259" y="41"/>
                </a:cxn>
                <a:cxn ang="0">
                  <a:pos x="239" y="49"/>
                </a:cxn>
                <a:cxn ang="0">
                  <a:pos x="237" y="76"/>
                </a:cxn>
                <a:cxn ang="0">
                  <a:pos x="226" y="89"/>
                </a:cxn>
                <a:cxn ang="0">
                  <a:pos x="243" y="102"/>
                </a:cxn>
                <a:cxn ang="0">
                  <a:pos x="251" y="113"/>
                </a:cxn>
                <a:cxn ang="0">
                  <a:pos x="234" y="116"/>
                </a:cxn>
                <a:cxn ang="0">
                  <a:pos x="207" y="106"/>
                </a:cxn>
                <a:cxn ang="0">
                  <a:pos x="195" y="112"/>
                </a:cxn>
                <a:cxn ang="0">
                  <a:pos x="188" y="121"/>
                </a:cxn>
                <a:cxn ang="0">
                  <a:pos x="171" y="128"/>
                </a:cxn>
                <a:cxn ang="0">
                  <a:pos x="173" y="145"/>
                </a:cxn>
                <a:cxn ang="0">
                  <a:pos x="148" y="147"/>
                </a:cxn>
                <a:cxn ang="0">
                  <a:pos x="131" y="147"/>
                </a:cxn>
                <a:cxn ang="0">
                  <a:pos x="116" y="152"/>
                </a:cxn>
                <a:cxn ang="0">
                  <a:pos x="107" y="145"/>
                </a:cxn>
                <a:cxn ang="0">
                  <a:pos x="83" y="142"/>
                </a:cxn>
                <a:cxn ang="0">
                  <a:pos x="63" y="152"/>
                </a:cxn>
                <a:cxn ang="0">
                  <a:pos x="44" y="150"/>
                </a:cxn>
                <a:cxn ang="0">
                  <a:pos x="42" y="142"/>
                </a:cxn>
                <a:cxn ang="0">
                  <a:pos x="28" y="112"/>
                </a:cxn>
                <a:cxn ang="0">
                  <a:pos x="10" y="99"/>
                </a:cxn>
                <a:cxn ang="0">
                  <a:pos x="6" y="83"/>
                </a:cxn>
                <a:cxn ang="0">
                  <a:pos x="22" y="63"/>
                </a:cxn>
                <a:cxn ang="0">
                  <a:pos x="19" y="44"/>
                </a:cxn>
                <a:cxn ang="0">
                  <a:pos x="0" y="15"/>
                </a:cxn>
                <a:cxn ang="0">
                  <a:pos x="5" y="1"/>
                </a:cxn>
              </a:cxnLst>
              <a:rect l="0" t="0" r="r" b="b"/>
              <a:pathLst>
                <a:path w="266" h="152">
                  <a:moveTo>
                    <a:pt x="5" y="1"/>
                  </a:moveTo>
                  <a:lnTo>
                    <a:pt x="19" y="1"/>
                  </a:lnTo>
                  <a:lnTo>
                    <a:pt x="25" y="6"/>
                  </a:lnTo>
                  <a:lnTo>
                    <a:pt x="23" y="12"/>
                  </a:lnTo>
                  <a:lnTo>
                    <a:pt x="20" y="17"/>
                  </a:lnTo>
                  <a:lnTo>
                    <a:pt x="25" y="24"/>
                  </a:lnTo>
                  <a:lnTo>
                    <a:pt x="37" y="18"/>
                  </a:lnTo>
                  <a:lnTo>
                    <a:pt x="49" y="18"/>
                  </a:lnTo>
                  <a:lnTo>
                    <a:pt x="54" y="23"/>
                  </a:lnTo>
                  <a:lnTo>
                    <a:pt x="58" y="21"/>
                  </a:lnTo>
                  <a:lnTo>
                    <a:pt x="74" y="28"/>
                  </a:lnTo>
                  <a:lnTo>
                    <a:pt x="87" y="21"/>
                  </a:lnTo>
                  <a:lnTo>
                    <a:pt x="96" y="24"/>
                  </a:lnTo>
                  <a:lnTo>
                    <a:pt x="104" y="21"/>
                  </a:lnTo>
                  <a:lnTo>
                    <a:pt x="113" y="24"/>
                  </a:lnTo>
                  <a:lnTo>
                    <a:pt x="121" y="24"/>
                  </a:lnTo>
                  <a:lnTo>
                    <a:pt x="138" y="26"/>
                  </a:lnTo>
                  <a:lnTo>
                    <a:pt x="144" y="23"/>
                  </a:lnTo>
                  <a:lnTo>
                    <a:pt x="155" y="19"/>
                  </a:lnTo>
                  <a:lnTo>
                    <a:pt x="160" y="13"/>
                  </a:lnTo>
                  <a:lnTo>
                    <a:pt x="187" y="1"/>
                  </a:lnTo>
                  <a:lnTo>
                    <a:pt x="199" y="0"/>
                  </a:lnTo>
                  <a:lnTo>
                    <a:pt x="213" y="1"/>
                  </a:lnTo>
                  <a:lnTo>
                    <a:pt x="228" y="7"/>
                  </a:lnTo>
                  <a:lnTo>
                    <a:pt x="233" y="11"/>
                  </a:lnTo>
                  <a:lnTo>
                    <a:pt x="242" y="8"/>
                  </a:lnTo>
                  <a:lnTo>
                    <a:pt x="253" y="13"/>
                  </a:lnTo>
                  <a:lnTo>
                    <a:pt x="255" y="18"/>
                  </a:lnTo>
                  <a:lnTo>
                    <a:pt x="266" y="18"/>
                  </a:lnTo>
                  <a:lnTo>
                    <a:pt x="266" y="20"/>
                  </a:lnTo>
                  <a:lnTo>
                    <a:pt x="265" y="36"/>
                  </a:lnTo>
                  <a:lnTo>
                    <a:pt x="259" y="41"/>
                  </a:lnTo>
                  <a:lnTo>
                    <a:pt x="251" y="40"/>
                  </a:lnTo>
                  <a:lnTo>
                    <a:pt x="239" y="49"/>
                  </a:lnTo>
                  <a:lnTo>
                    <a:pt x="241" y="67"/>
                  </a:lnTo>
                  <a:lnTo>
                    <a:pt x="237" y="76"/>
                  </a:lnTo>
                  <a:lnTo>
                    <a:pt x="224" y="84"/>
                  </a:lnTo>
                  <a:lnTo>
                    <a:pt x="226" y="89"/>
                  </a:lnTo>
                  <a:lnTo>
                    <a:pt x="234" y="90"/>
                  </a:lnTo>
                  <a:lnTo>
                    <a:pt x="243" y="102"/>
                  </a:lnTo>
                  <a:lnTo>
                    <a:pt x="251" y="112"/>
                  </a:lnTo>
                  <a:lnTo>
                    <a:pt x="251" y="113"/>
                  </a:lnTo>
                  <a:lnTo>
                    <a:pt x="240" y="111"/>
                  </a:lnTo>
                  <a:lnTo>
                    <a:pt x="234" y="116"/>
                  </a:lnTo>
                  <a:lnTo>
                    <a:pt x="220" y="106"/>
                  </a:lnTo>
                  <a:lnTo>
                    <a:pt x="207" y="106"/>
                  </a:lnTo>
                  <a:lnTo>
                    <a:pt x="202" y="112"/>
                  </a:lnTo>
                  <a:lnTo>
                    <a:pt x="195" y="112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82" y="121"/>
                  </a:lnTo>
                  <a:lnTo>
                    <a:pt x="171" y="128"/>
                  </a:lnTo>
                  <a:lnTo>
                    <a:pt x="170" y="138"/>
                  </a:lnTo>
                  <a:lnTo>
                    <a:pt x="173" y="145"/>
                  </a:lnTo>
                  <a:lnTo>
                    <a:pt x="167" y="148"/>
                  </a:lnTo>
                  <a:lnTo>
                    <a:pt x="148" y="147"/>
                  </a:lnTo>
                  <a:lnTo>
                    <a:pt x="139" y="152"/>
                  </a:lnTo>
                  <a:lnTo>
                    <a:pt x="131" y="147"/>
                  </a:lnTo>
                  <a:lnTo>
                    <a:pt x="123" y="147"/>
                  </a:lnTo>
                  <a:lnTo>
                    <a:pt x="116" y="152"/>
                  </a:lnTo>
                  <a:lnTo>
                    <a:pt x="108" y="151"/>
                  </a:lnTo>
                  <a:lnTo>
                    <a:pt x="107" y="145"/>
                  </a:lnTo>
                  <a:lnTo>
                    <a:pt x="95" y="145"/>
                  </a:lnTo>
                  <a:lnTo>
                    <a:pt x="83" y="142"/>
                  </a:lnTo>
                  <a:lnTo>
                    <a:pt x="75" y="150"/>
                  </a:lnTo>
                  <a:lnTo>
                    <a:pt x="63" y="152"/>
                  </a:lnTo>
                  <a:lnTo>
                    <a:pt x="49" y="152"/>
                  </a:lnTo>
                  <a:lnTo>
                    <a:pt x="44" y="150"/>
                  </a:lnTo>
                  <a:lnTo>
                    <a:pt x="43" y="151"/>
                  </a:lnTo>
                  <a:lnTo>
                    <a:pt x="42" y="142"/>
                  </a:lnTo>
                  <a:lnTo>
                    <a:pt x="40" y="131"/>
                  </a:lnTo>
                  <a:lnTo>
                    <a:pt x="28" y="112"/>
                  </a:lnTo>
                  <a:lnTo>
                    <a:pt x="9" y="99"/>
                  </a:lnTo>
                  <a:lnTo>
                    <a:pt x="10" y="99"/>
                  </a:lnTo>
                  <a:lnTo>
                    <a:pt x="13" y="92"/>
                  </a:lnTo>
                  <a:lnTo>
                    <a:pt x="6" y="83"/>
                  </a:lnTo>
                  <a:lnTo>
                    <a:pt x="5" y="77"/>
                  </a:lnTo>
                  <a:lnTo>
                    <a:pt x="22" y="63"/>
                  </a:lnTo>
                  <a:lnTo>
                    <a:pt x="25" y="55"/>
                  </a:lnTo>
                  <a:lnTo>
                    <a:pt x="19" y="44"/>
                  </a:lnTo>
                  <a:lnTo>
                    <a:pt x="5" y="31"/>
                  </a:lnTo>
                  <a:lnTo>
                    <a:pt x="0" y="15"/>
                  </a:lnTo>
                  <a:lnTo>
                    <a:pt x="8" y="8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2" name="Freeform 23"/>
            <p:cNvSpPr>
              <a:spLocks/>
            </p:cNvSpPr>
            <p:nvPr/>
          </p:nvSpPr>
          <p:spPr bwMode="auto">
            <a:xfrm>
              <a:off x="4525963" y="3465513"/>
              <a:ext cx="180975" cy="133350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99" y="13"/>
                </a:cxn>
                <a:cxn ang="0">
                  <a:pos x="111" y="32"/>
                </a:cxn>
                <a:cxn ang="0">
                  <a:pos x="113" y="43"/>
                </a:cxn>
                <a:cxn ang="0">
                  <a:pos x="114" y="52"/>
                </a:cxn>
                <a:cxn ang="0">
                  <a:pos x="109" y="55"/>
                </a:cxn>
                <a:cxn ang="0">
                  <a:pos x="100" y="55"/>
                </a:cxn>
                <a:cxn ang="0">
                  <a:pos x="90" y="61"/>
                </a:cxn>
                <a:cxn ang="0">
                  <a:pos x="67" y="61"/>
                </a:cxn>
                <a:cxn ang="0">
                  <a:pos x="57" y="66"/>
                </a:cxn>
                <a:cxn ang="0">
                  <a:pos x="57" y="70"/>
                </a:cxn>
                <a:cxn ang="0">
                  <a:pos x="44" y="74"/>
                </a:cxn>
                <a:cxn ang="0">
                  <a:pos x="26" y="84"/>
                </a:cxn>
                <a:cxn ang="0">
                  <a:pos x="26" y="84"/>
                </a:cxn>
                <a:cxn ang="0">
                  <a:pos x="16" y="78"/>
                </a:cxn>
                <a:cxn ang="0">
                  <a:pos x="11" y="69"/>
                </a:cxn>
                <a:cxn ang="0">
                  <a:pos x="4" y="57"/>
                </a:cxn>
                <a:cxn ang="0">
                  <a:pos x="0" y="42"/>
                </a:cxn>
                <a:cxn ang="0">
                  <a:pos x="3" y="28"/>
                </a:cxn>
                <a:cxn ang="0">
                  <a:pos x="3" y="29"/>
                </a:cxn>
                <a:cxn ang="0">
                  <a:pos x="7" y="25"/>
                </a:cxn>
                <a:cxn ang="0">
                  <a:pos x="6" y="19"/>
                </a:cxn>
                <a:cxn ang="0">
                  <a:pos x="17" y="13"/>
                </a:cxn>
                <a:cxn ang="0">
                  <a:pos x="27" y="11"/>
                </a:cxn>
                <a:cxn ang="0">
                  <a:pos x="34" y="6"/>
                </a:cxn>
                <a:cxn ang="0">
                  <a:pos x="52" y="2"/>
                </a:cxn>
                <a:cxn ang="0">
                  <a:pos x="61" y="3"/>
                </a:cxn>
                <a:cxn ang="0">
                  <a:pos x="74" y="0"/>
                </a:cxn>
                <a:cxn ang="0">
                  <a:pos x="80" y="0"/>
                </a:cxn>
              </a:cxnLst>
              <a:rect l="0" t="0" r="r" b="b"/>
              <a:pathLst>
                <a:path w="114" h="84">
                  <a:moveTo>
                    <a:pt x="80" y="0"/>
                  </a:moveTo>
                  <a:lnTo>
                    <a:pt x="99" y="13"/>
                  </a:lnTo>
                  <a:lnTo>
                    <a:pt x="111" y="32"/>
                  </a:lnTo>
                  <a:lnTo>
                    <a:pt x="113" y="43"/>
                  </a:lnTo>
                  <a:lnTo>
                    <a:pt x="114" y="52"/>
                  </a:lnTo>
                  <a:lnTo>
                    <a:pt x="109" y="55"/>
                  </a:lnTo>
                  <a:lnTo>
                    <a:pt x="100" y="55"/>
                  </a:lnTo>
                  <a:lnTo>
                    <a:pt x="90" y="61"/>
                  </a:lnTo>
                  <a:lnTo>
                    <a:pt x="67" y="61"/>
                  </a:lnTo>
                  <a:lnTo>
                    <a:pt x="57" y="66"/>
                  </a:lnTo>
                  <a:lnTo>
                    <a:pt x="57" y="70"/>
                  </a:lnTo>
                  <a:lnTo>
                    <a:pt x="44" y="7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16" y="78"/>
                  </a:lnTo>
                  <a:lnTo>
                    <a:pt x="11" y="69"/>
                  </a:lnTo>
                  <a:lnTo>
                    <a:pt x="4" y="57"/>
                  </a:lnTo>
                  <a:lnTo>
                    <a:pt x="0" y="42"/>
                  </a:lnTo>
                  <a:lnTo>
                    <a:pt x="3" y="28"/>
                  </a:lnTo>
                  <a:lnTo>
                    <a:pt x="3" y="29"/>
                  </a:lnTo>
                  <a:lnTo>
                    <a:pt x="7" y="25"/>
                  </a:lnTo>
                  <a:lnTo>
                    <a:pt x="6" y="19"/>
                  </a:lnTo>
                  <a:lnTo>
                    <a:pt x="17" y="13"/>
                  </a:lnTo>
                  <a:lnTo>
                    <a:pt x="27" y="11"/>
                  </a:lnTo>
                  <a:lnTo>
                    <a:pt x="34" y="6"/>
                  </a:lnTo>
                  <a:lnTo>
                    <a:pt x="52" y="2"/>
                  </a:lnTo>
                  <a:lnTo>
                    <a:pt x="61" y="3"/>
                  </a:lnTo>
                  <a:lnTo>
                    <a:pt x="74" y="0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3" name="Freeform 24"/>
            <p:cNvSpPr>
              <a:spLocks/>
            </p:cNvSpPr>
            <p:nvPr/>
          </p:nvSpPr>
          <p:spPr bwMode="auto">
            <a:xfrm>
              <a:off x="4432300" y="3444875"/>
              <a:ext cx="134938" cy="239713"/>
            </a:xfrm>
            <a:custGeom>
              <a:avLst/>
              <a:gdLst/>
              <a:ahLst/>
              <a:cxnLst>
                <a:cxn ang="0">
                  <a:pos x="62" y="41"/>
                </a:cxn>
                <a:cxn ang="0">
                  <a:pos x="59" y="55"/>
                </a:cxn>
                <a:cxn ang="0">
                  <a:pos x="63" y="70"/>
                </a:cxn>
                <a:cxn ang="0">
                  <a:pos x="70" y="82"/>
                </a:cxn>
                <a:cxn ang="0">
                  <a:pos x="75" y="91"/>
                </a:cxn>
                <a:cxn ang="0">
                  <a:pos x="85" y="97"/>
                </a:cxn>
                <a:cxn ang="0">
                  <a:pos x="82" y="108"/>
                </a:cxn>
                <a:cxn ang="0">
                  <a:pos x="75" y="120"/>
                </a:cxn>
                <a:cxn ang="0">
                  <a:pos x="57" y="126"/>
                </a:cxn>
                <a:cxn ang="0">
                  <a:pos x="57" y="136"/>
                </a:cxn>
                <a:cxn ang="0">
                  <a:pos x="51" y="148"/>
                </a:cxn>
                <a:cxn ang="0">
                  <a:pos x="45" y="151"/>
                </a:cxn>
                <a:cxn ang="0">
                  <a:pos x="36" y="146"/>
                </a:cxn>
                <a:cxn ang="0">
                  <a:pos x="28" y="126"/>
                </a:cxn>
                <a:cxn ang="0">
                  <a:pos x="11" y="125"/>
                </a:cxn>
                <a:cxn ang="0">
                  <a:pos x="6" y="120"/>
                </a:cxn>
                <a:cxn ang="0">
                  <a:pos x="10" y="111"/>
                </a:cxn>
                <a:cxn ang="0">
                  <a:pos x="5" y="103"/>
                </a:cxn>
                <a:cxn ang="0">
                  <a:pos x="5" y="94"/>
                </a:cxn>
                <a:cxn ang="0">
                  <a:pos x="8" y="84"/>
                </a:cxn>
                <a:cxn ang="0">
                  <a:pos x="4" y="71"/>
                </a:cxn>
                <a:cxn ang="0">
                  <a:pos x="7" y="53"/>
                </a:cxn>
                <a:cxn ang="0">
                  <a:pos x="12" y="52"/>
                </a:cxn>
                <a:cxn ang="0">
                  <a:pos x="13" y="44"/>
                </a:cxn>
                <a:cxn ang="0">
                  <a:pos x="0" y="38"/>
                </a:cxn>
                <a:cxn ang="0">
                  <a:pos x="0" y="24"/>
                </a:cxn>
                <a:cxn ang="0">
                  <a:pos x="7" y="12"/>
                </a:cxn>
                <a:cxn ang="0">
                  <a:pos x="17" y="1"/>
                </a:cxn>
                <a:cxn ang="0">
                  <a:pos x="19" y="2"/>
                </a:cxn>
                <a:cxn ang="0">
                  <a:pos x="25" y="9"/>
                </a:cxn>
                <a:cxn ang="0">
                  <a:pos x="34" y="1"/>
                </a:cxn>
                <a:cxn ang="0">
                  <a:pos x="34" y="0"/>
                </a:cxn>
                <a:cxn ang="0">
                  <a:pos x="37" y="2"/>
                </a:cxn>
                <a:cxn ang="0">
                  <a:pos x="43" y="12"/>
                </a:cxn>
                <a:cxn ang="0">
                  <a:pos x="47" y="12"/>
                </a:cxn>
                <a:cxn ang="0">
                  <a:pos x="57" y="18"/>
                </a:cxn>
                <a:cxn ang="0">
                  <a:pos x="59" y="24"/>
                </a:cxn>
                <a:cxn ang="0">
                  <a:pos x="59" y="37"/>
                </a:cxn>
                <a:cxn ang="0">
                  <a:pos x="62" y="41"/>
                </a:cxn>
              </a:cxnLst>
              <a:rect l="0" t="0" r="r" b="b"/>
              <a:pathLst>
                <a:path w="85" h="151">
                  <a:moveTo>
                    <a:pt x="62" y="41"/>
                  </a:moveTo>
                  <a:lnTo>
                    <a:pt x="59" y="55"/>
                  </a:lnTo>
                  <a:lnTo>
                    <a:pt x="63" y="70"/>
                  </a:lnTo>
                  <a:lnTo>
                    <a:pt x="70" y="82"/>
                  </a:lnTo>
                  <a:lnTo>
                    <a:pt x="75" y="91"/>
                  </a:lnTo>
                  <a:lnTo>
                    <a:pt x="85" y="97"/>
                  </a:lnTo>
                  <a:lnTo>
                    <a:pt x="82" y="108"/>
                  </a:lnTo>
                  <a:lnTo>
                    <a:pt x="75" y="120"/>
                  </a:lnTo>
                  <a:lnTo>
                    <a:pt x="57" y="126"/>
                  </a:lnTo>
                  <a:lnTo>
                    <a:pt x="57" y="136"/>
                  </a:lnTo>
                  <a:lnTo>
                    <a:pt x="51" y="148"/>
                  </a:lnTo>
                  <a:lnTo>
                    <a:pt x="45" y="151"/>
                  </a:lnTo>
                  <a:lnTo>
                    <a:pt x="36" y="146"/>
                  </a:lnTo>
                  <a:lnTo>
                    <a:pt x="28" y="126"/>
                  </a:lnTo>
                  <a:lnTo>
                    <a:pt x="11" y="125"/>
                  </a:lnTo>
                  <a:lnTo>
                    <a:pt x="6" y="120"/>
                  </a:lnTo>
                  <a:lnTo>
                    <a:pt x="10" y="111"/>
                  </a:lnTo>
                  <a:lnTo>
                    <a:pt x="5" y="103"/>
                  </a:lnTo>
                  <a:lnTo>
                    <a:pt x="5" y="94"/>
                  </a:lnTo>
                  <a:lnTo>
                    <a:pt x="8" y="84"/>
                  </a:lnTo>
                  <a:lnTo>
                    <a:pt x="4" y="71"/>
                  </a:lnTo>
                  <a:lnTo>
                    <a:pt x="7" y="53"/>
                  </a:lnTo>
                  <a:lnTo>
                    <a:pt x="12" y="52"/>
                  </a:lnTo>
                  <a:lnTo>
                    <a:pt x="13" y="44"/>
                  </a:lnTo>
                  <a:lnTo>
                    <a:pt x="0" y="38"/>
                  </a:lnTo>
                  <a:lnTo>
                    <a:pt x="0" y="24"/>
                  </a:lnTo>
                  <a:lnTo>
                    <a:pt x="7" y="12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5" y="9"/>
                  </a:lnTo>
                  <a:lnTo>
                    <a:pt x="34" y="1"/>
                  </a:lnTo>
                  <a:lnTo>
                    <a:pt x="34" y="0"/>
                  </a:lnTo>
                  <a:lnTo>
                    <a:pt x="37" y="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57" y="18"/>
                  </a:lnTo>
                  <a:lnTo>
                    <a:pt x="59" y="24"/>
                  </a:lnTo>
                  <a:lnTo>
                    <a:pt x="59" y="37"/>
                  </a:lnTo>
                  <a:lnTo>
                    <a:pt x="62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4" name="Freeform 25"/>
            <p:cNvSpPr>
              <a:spLocks/>
            </p:cNvSpPr>
            <p:nvPr/>
          </p:nvSpPr>
          <p:spPr bwMode="auto">
            <a:xfrm>
              <a:off x="4381500" y="3155950"/>
              <a:ext cx="296863" cy="355600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5" y="12"/>
                </a:cxn>
                <a:cxn ang="0">
                  <a:pos x="39" y="0"/>
                </a:cxn>
                <a:cxn ang="0">
                  <a:pos x="55" y="4"/>
                </a:cxn>
                <a:cxn ang="0">
                  <a:pos x="73" y="15"/>
                </a:cxn>
                <a:cxn ang="0">
                  <a:pos x="91" y="38"/>
                </a:cxn>
                <a:cxn ang="0">
                  <a:pos x="115" y="51"/>
                </a:cxn>
                <a:cxn ang="0">
                  <a:pos x="112" y="65"/>
                </a:cxn>
                <a:cxn ang="0">
                  <a:pos x="131" y="78"/>
                </a:cxn>
                <a:cxn ang="0">
                  <a:pos x="148" y="80"/>
                </a:cxn>
                <a:cxn ang="0">
                  <a:pos x="171" y="74"/>
                </a:cxn>
                <a:cxn ang="0">
                  <a:pos x="165" y="87"/>
                </a:cxn>
                <a:cxn ang="0">
                  <a:pos x="162" y="111"/>
                </a:cxn>
                <a:cxn ang="0">
                  <a:pos x="181" y="140"/>
                </a:cxn>
                <a:cxn ang="0">
                  <a:pos x="184" y="159"/>
                </a:cxn>
                <a:cxn ang="0">
                  <a:pos x="168" y="179"/>
                </a:cxn>
                <a:cxn ang="0">
                  <a:pos x="172" y="195"/>
                </a:cxn>
                <a:cxn ang="0">
                  <a:pos x="152" y="198"/>
                </a:cxn>
                <a:cxn ang="0">
                  <a:pos x="125" y="201"/>
                </a:cxn>
                <a:cxn ang="0">
                  <a:pos x="108" y="208"/>
                </a:cxn>
                <a:cxn ang="0">
                  <a:pos x="98" y="220"/>
                </a:cxn>
                <a:cxn ang="0">
                  <a:pos x="91" y="219"/>
                </a:cxn>
                <a:cxn ang="0">
                  <a:pos x="89" y="200"/>
                </a:cxn>
                <a:cxn ang="0">
                  <a:pos x="75" y="194"/>
                </a:cxn>
                <a:cxn ang="0">
                  <a:pos x="66" y="182"/>
                </a:cxn>
                <a:cxn ang="0">
                  <a:pos x="73" y="172"/>
                </a:cxn>
                <a:cxn ang="0">
                  <a:pos x="61" y="161"/>
                </a:cxn>
                <a:cxn ang="0">
                  <a:pos x="44" y="155"/>
                </a:cxn>
                <a:cxn ang="0">
                  <a:pos x="39" y="144"/>
                </a:cxn>
                <a:cxn ang="0">
                  <a:pos x="33" y="132"/>
                </a:cxn>
                <a:cxn ang="0">
                  <a:pos x="22" y="113"/>
                </a:cxn>
                <a:cxn ang="0">
                  <a:pos x="34" y="114"/>
                </a:cxn>
                <a:cxn ang="0">
                  <a:pos x="33" y="104"/>
                </a:cxn>
                <a:cxn ang="0">
                  <a:pos x="13" y="94"/>
                </a:cxn>
                <a:cxn ang="0">
                  <a:pos x="21" y="76"/>
                </a:cxn>
                <a:cxn ang="0">
                  <a:pos x="17" y="64"/>
                </a:cxn>
                <a:cxn ang="0">
                  <a:pos x="11" y="64"/>
                </a:cxn>
                <a:cxn ang="0">
                  <a:pos x="19" y="55"/>
                </a:cxn>
                <a:cxn ang="0">
                  <a:pos x="23" y="52"/>
                </a:cxn>
                <a:cxn ang="0">
                  <a:pos x="10" y="46"/>
                </a:cxn>
                <a:cxn ang="0">
                  <a:pos x="2" y="23"/>
                </a:cxn>
              </a:cxnLst>
              <a:rect l="0" t="0" r="r" b="b"/>
              <a:pathLst>
                <a:path w="187" h="224">
                  <a:moveTo>
                    <a:pt x="0" y="23"/>
                  </a:moveTo>
                  <a:lnTo>
                    <a:pt x="7" y="16"/>
                  </a:lnTo>
                  <a:lnTo>
                    <a:pt x="17" y="11"/>
                  </a:lnTo>
                  <a:lnTo>
                    <a:pt x="25" y="12"/>
                  </a:lnTo>
                  <a:lnTo>
                    <a:pt x="28" y="9"/>
                  </a:lnTo>
                  <a:lnTo>
                    <a:pt x="39" y="0"/>
                  </a:lnTo>
                  <a:lnTo>
                    <a:pt x="45" y="3"/>
                  </a:lnTo>
                  <a:lnTo>
                    <a:pt x="55" y="4"/>
                  </a:lnTo>
                  <a:lnTo>
                    <a:pt x="71" y="9"/>
                  </a:lnTo>
                  <a:lnTo>
                    <a:pt x="73" y="15"/>
                  </a:lnTo>
                  <a:lnTo>
                    <a:pt x="88" y="30"/>
                  </a:lnTo>
                  <a:lnTo>
                    <a:pt x="91" y="38"/>
                  </a:lnTo>
                  <a:lnTo>
                    <a:pt x="103" y="43"/>
                  </a:lnTo>
                  <a:lnTo>
                    <a:pt x="115" y="51"/>
                  </a:lnTo>
                  <a:lnTo>
                    <a:pt x="109" y="62"/>
                  </a:lnTo>
                  <a:lnTo>
                    <a:pt x="112" y="65"/>
                  </a:lnTo>
                  <a:lnTo>
                    <a:pt x="126" y="70"/>
                  </a:lnTo>
                  <a:lnTo>
                    <a:pt x="131" y="78"/>
                  </a:lnTo>
                  <a:lnTo>
                    <a:pt x="141" y="74"/>
                  </a:lnTo>
                  <a:lnTo>
                    <a:pt x="148" y="80"/>
                  </a:lnTo>
                  <a:lnTo>
                    <a:pt x="155" y="70"/>
                  </a:lnTo>
                  <a:lnTo>
                    <a:pt x="171" y="74"/>
                  </a:lnTo>
                  <a:lnTo>
                    <a:pt x="164" y="81"/>
                  </a:lnTo>
                  <a:lnTo>
                    <a:pt x="165" y="87"/>
                  </a:lnTo>
                  <a:lnTo>
                    <a:pt x="170" y="104"/>
                  </a:lnTo>
                  <a:lnTo>
                    <a:pt x="162" y="111"/>
                  </a:lnTo>
                  <a:lnTo>
                    <a:pt x="167" y="127"/>
                  </a:lnTo>
                  <a:lnTo>
                    <a:pt x="181" y="140"/>
                  </a:lnTo>
                  <a:lnTo>
                    <a:pt x="187" y="151"/>
                  </a:lnTo>
                  <a:lnTo>
                    <a:pt x="184" y="159"/>
                  </a:lnTo>
                  <a:lnTo>
                    <a:pt x="167" y="173"/>
                  </a:lnTo>
                  <a:lnTo>
                    <a:pt x="168" y="179"/>
                  </a:lnTo>
                  <a:lnTo>
                    <a:pt x="175" y="188"/>
                  </a:lnTo>
                  <a:lnTo>
                    <a:pt x="172" y="195"/>
                  </a:lnTo>
                  <a:lnTo>
                    <a:pt x="165" y="195"/>
                  </a:lnTo>
                  <a:lnTo>
                    <a:pt x="152" y="198"/>
                  </a:lnTo>
                  <a:lnTo>
                    <a:pt x="143" y="197"/>
                  </a:lnTo>
                  <a:lnTo>
                    <a:pt x="125" y="201"/>
                  </a:lnTo>
                  <a:lnTo>
                    <a:pt x="118" y="206"/>
                  </a:lnTo>
                  <a:lnTo>
                    <a:pt x="108" y="208"/>
                  </a:lnTo>
                  <a:lnTo>
                    <a:pt x="97" y="214"/>
                  </a:lnTo>
                  <a:lnTo>
                    <a:pt x="98" y="220"/>
                  </a:lnTo>
                  <a:lnTo>
                    <a:pt x="94" y="224"/>
                  </a:lnTo>
                  <a:lnTo>
                    <a:pt x="91" y="219"/>
                  </a:lnTo>
                  <a:lnTo>
                    <a:pt x="91" y="206"/>
                  </a:lnTo>
                  <a:lnTo>
                    <a:pt x="89" y="200"/>
                  </a:lnTo>
                  <a:lnTo>
                    <a:pt x="79" y="194"/>
                  </a:lnTo>
                  <a:lnTo>
                    <a:pt x="75" y="194"/>
                  </a:lnTo>
                  <a:lnTo>
                    <a:pt x="69" y="184"/>
                  </a:lnTo>
                  <a:lnTo>
                    <a:pt x="66" y="182"/>
                  </a:lnTo>
                  <a:lnTo>
                    <a:pt x="67" y="178"/>
                  </a:lnTo>
                  <a:lnTo>
                    <a:pt x="73" y="172"/>
                  </a:lnTo>
                  <a:lnTo>
                    <a:pt x="73" y="163"/>
                  </a:lnTo>
                  <a:lnTo>
                    <a:pt x="61" y="161"/>
                  </a:lnTo>
                  <a:lnTo>
                    <a:pt x="54" y="155"/>
                  </a:lnTo>
                  <a:lnTo>
                    <a:pt x="44" y="155"/>
                  </a:lnTo>
                  <a:lnTo>
                    <a:pt x="39" y="150"/>
                  </a:lnTo>
                  <a:lnTo>
                    <a:pt x="39" y="144"/>
                  </a:lnTo>
                  <a:lnTo>
                    <a:pt x="29" y="136"/>
                  </a:lnTo>
                  <a:lnTo>
                    <a:pt x="33" y="132"/>
                  </a:lnTo>
                  <a:lnTo>
                    <a:pt x="22" y="122"/>
                  </a:lnTo>
                  <a:lnTo>
                    <a:pt x="22" y="113"/>
                  </a:lnTo>
                  <a:lnTo>
                    <a:pt x="27" y="110"/>
                  </a:lnTo>
                  <a:lnTo>
                    <a:pt x="34" y="114"/>
                  </a:lnTo>
                  <a:lnTo>
                    <a:pt x="38" y="109"/>
                  </a:lnTo>
                  <a:lnTo>
                    <a:pt x="33" y="104"/>
                  </a:lnTo>
                  <a:lnTo>
                    <a:pt x="26" y="104"/>
                  </a:lnTo>
                  <a:lnTo>
                    <a:pt x="13" y="94"/>
                  </a:lnTo>
                  <a:lnTo>
                    <a:pt x="13" y="88"/>
                  </a:lnTo>
                  <a:lnTo>
                    <a:pt x="21" y="76"/>
                  </a:lnTo>
                  <a:lnTo>
                    <a:pt x="23" y="65"/>
                  </a:lnTo>
                  <a:lnTo>
                    <a:pt x="17" y="64"/>
                  </a:lnTo>
                  <a:lnTo>
                    <a:pt x="14" y="68"/>
                  </a:lnTo>
                  <a:lnTo>
                    <a:pt x="11" y="64"/>
                  </a:lnTo>
                  <a:lnTo>
                    <a:pt x="10" y="58"/>
                  </a:lnTo>
                  <a:lnTo>
                    <a:pt x="19" y="55"/>
                  </a:lnTo>
                  <a:lnTo>
                    <a:pt x="23" y="55"/>
                  </a:lnTo>
                  <a:lnTo>
                    <a:pt x="23" y="52"/>
                  </a:lnTo>
                  <a:lnTo>
                    <a:pt x="14" y="50"/>
                  </a:lnTo>
                  <a:lnTo>
                    <a:pt x="10" y="46"/>
                  </a:lnTo>
                  <a:lnTo>
                    <a:pt x="7" y="35"/>
                  </a:lnTo>
                  <a:lnTo>
                    <a:pt x="2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5" name="Freeform 26"/>
            <p:cNvSpPr>
              <a:spLocks/>
            </p:cNvSpPr>
            <p:nvPr/>
          </p:nvSpPr>
          <p:spPr bwMode="auto">
            <a:xfrm>
              <a:off x="4367213" y="3359150"/>
              <a:ext cx="130175" cy="146050"/>
            </a:xfrm>
            <a:custGeom>
              <a:avLst/>
              <a:gdLst/>
              <a:ahLst/>
              <a:cxnLst>
                <a:cxn ang="0">
                  <a:pos x="41" y="92"/>
                </a:cxn>
                <a:cxn ang="0">
                  <a:pos x="41" y="78"/>
                </a:cxn>
                <a:cxn ang="0">
                  <a:pos x="48" y="66"/>
                </a:cxn>
                <a:cxn ang="0">
                  <a:pos x="58" y="55"/>
                </a:cxn>
                <a:cxn ang="0">
                  <a:pos x="60" y="56"/>
                </a:cxn>
                <a:cxn ang="0">
                  <a:pos x="66" y="63"/>
                </a:cxn>
                <a:cxn ang="0">
                  <a:pos x="75" y="55"/>
                </a:cxn>
                <a:cxn ang="0">
                  <a:pos x="76" y="50"/>
                </a:cxn>
                <a:cxn ang="0">
                  <a:pos x="82" y="44"/>
                </a:cxn>
                <a:cxn ang="0">
                  <a:pos x="82" y="35"/>
                </a:cxn>
                <a:cxn ang="0">
                  <a:pos x="70" y="33"/>
                </a:cxn>
                <a:cxn ang="0">
                  <a:pos x="63" y="27"/>
                </a:cxn>
                <a:cxn ang="0">
                  <a:pos x="53" y="27"/>
                </a:cxn>
                <a:cxn ang="0">
                  <a:pos x="48" y="22"/>
                </a:cxn>
                <a:cxn ang="0">
                  <a:pos x="48" y="16"/>
                </a:cxn>
                <a:cxn ang="0">
                  <a:pos x="38" y="8"/>
                </a:cxn>
                <a:cxn ang="0">
                  <a:pos x="37" y="8"/>
                </a:cxn>
                <a:cxn ang="0">
                  <a:pos x="30" y="6"/>
                </a:cxn>
                <a:cxn ang="0">
                  <a:pos x="20" y="0"/>
                </a:cxn>
                <a:cxn ang="0">
                  <a:pos x="16" y="4"/>
                </a:cxn>
                <a:cxn ang="0">
                  <a:pos x="16" y="10"/>
                </a:cxn>
                <a:cxn ang="0">
                  <a:pos x="24" y="15"/>
                </a:cxn>
                <a:cxn ang="0">
                  <a:pos x="26" y="21"/>
                </a:cxn>
                <a:cxn ang="0">
                  <a:pos x="20" y="25"/>
                </a:cxn>
                <a:cxn ang="0">
                  <a:pos x="13" y="25"/>
                </a:cxn>
                <a:cxn ang="0">
                  <a:pos x="9" y="33"/>
                </a:cxn>
                <a:cxn ang="0">
                  <a:pos x="9" y="44"/>
                </a:cxn>
                <a:cxn ang="0">
                  <a:pos x="5" y="54"/>
                </a:cxn>
                <a:cxn ang="0">
                  <a:pos x="0" y="55"/>
                </a:cxn>
                <a:cxn ang="0">
                  <a:pos x="3" y="58"/>
                </a:cxn>
                <a:cxn ang="0">
                  <a:pos x="12" y="62"/>
                </a:cxn>
                <a:cxn ang="0">
                  <a:pos x="29" y="81"/>
                </a:cxn>
                <a:cxn ang="0">
                  <a:pos x="30" y="89"/>
                </a:cxn>
                <a:cxn ang="0">
                  <a:pos x="41" y="92"/>
                </a:cxn>
              </a:cxnLst>
              <a:rect l="0" t="0" r="r" b="b"/>
              <a:pathLst>
                <a:path w="82" h="92">
                  <a:moveTo>
                    <a:pt x="41" y="92"/>
                  </a:moveTo>
                  <a:lnTo>
                    <a:pt x="41" y="78"/>
                  </a:lnTo>
                  <a:lnTo>
                    <a:pt x="48" y="66"/>
                  </a:lnTo>
                  <a:lnTo>
                    <a:pt x="58" y="55"/>
                  </a:lnTo>
                  <a:lnTo>
                    <a:pt x="60" y="56"/>
                  </a:lnTo>
                  <a:lnTo>
                    <a:pt x="66" y="63"/>
                  </a:lnTo>
                  <a:lnTo>
                    <a:pt x="75" y="55"/>
                  </a:lnTo>
                  <a:lnTo>
                    <a:pt x="76" y="50"/>
                  </a:lnTo>
                  <a:lnTo>
                    <a:pt x="82" y="44"/>
                  </a:lnTo>
                  <a:lnTo>
                    <a:pt x="82" y="35"/>
                  </a:lnTo>
                  <a:lnTo>
                    <a:pt x="70" y="33"/>
                  </a:lnTo>
                  <a:lnTo>
                    <a:pt x="63" y="27"/>
                  </a:lnTo>
                  <a:lnTo>
                    <a:pt x="53" y="27"/>
                  </a:lnTo>
                  <a:lnTo>
                    <a:pt x="48" y="22"/>
                  </a:lnTo>
                  <a:lnTo>
                    <a:pt x="48" y="16"/>
                  </a:lnTo>
                  <a:lnTo>
                    <a:pt x="38" y="8"/>
                  </a:lnTo>
                  <a:lnTo>
                    <a:pt x="37" y="8"/>
                  </a:lnTo>
                  <a:lnTo>
                    <a:pt x="30" y="6"/>
                  </a:lnTo>
                  <a:lnTo>
                    <a:pt x="20" y="0"/>
                  </a:lnTo>
                  <a:lnTo>
                    <a:pt x="16" y="4"/>
                  </a:lnTo>
                  <a:lnTo>
                    <a:pt x="16" y="10"/>
                  </a:lnTo>
                  <a:lnTo>
                    <a:pt x="24" y="15"/>
                  </a:lnTo>
                  <a:lnTo>
                    <a:pt x="26" y="21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9" y="33"/>
                  </a:lnTo>
                  <a:lnTo>
                    <a:pt x="9" y="44"/>
                  </a:lnTo>
                  <a:lnTo>
                    <a:pt x="5" y="54"/>
                  </a:lnTo>
                  <a:lnTo>
                    <a:pt x="0" y="55"/>
                  </a:lnTo>
                  <a:lnTo>
                    <a:pt x="3" y="58"/>
                  </a:lnTo>
                  <a:lnTo>
                    <a:pt x="12" y="62"/>
                  </a:lnTo>
                  <a:lnTo>
                    <a:pt x="29" y="81"/>
                  </a:lnTo>
                  <a:lnTo>
                    <a:pt x="30" y="89"/>
                  </a:lnTo>
                  <a:lnTo>
                    <a:pt x="41" y="9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6" name="Freeform 27"/>
            <p:cNvSpPr>
              <a:spLocks noEditPoints="1"/>
            </p:cNvSpPr>
            <p:nvPr/>
          </p:nvSpPr>
          <p:spPr bwMode="auto">
            <a:xfrm>
              <a:off x="4021138" y="3144838"/>
              <a:ext cx="396875" cy="279400"/>
            </a:xfrm>
            <a:custGeom>
              <a:avLst/>
              <a:gdLst/>
              <a:ahLst/>
              <a:cxnLst>
                <a:cxn ang="0">
                  <a:pos x="246" y="62"/>
                </a:cxn>
                <a:cxn ang="0">
                  <a:pos x="241" y="57"/>
                </a:cxn>
                <a:cxn ang="0">
                  <a:pos x="229" y="30"/>
                </a:cxn>
                <a:cxn ang="0">
                  <a:pos x="198" y="30"/>
                </a:cxn>
                <a:cxn ang="0">
                  <a:pos x="157" y="18"/>
                </a:cxn>
                <a:cxn ang="0">
                  <a:pos x="131" y="2"/>
                </a:cxn>
                <a:cxn ang="0">
                  <a:pos x="81" y="27"/>
                </a:cxn>
                <a:cxn ang="0">
                  <a:pos x="55" y="48"/>
                </a:cxn>
                <a:cxn ang="0">
                  <a:pos x="16" y="51"/>
                </a:cxn>
                <a:cxn ang="0">
                  <a:pos x="3" y="69"/>
                </a:cxn>
                <a:cxn ang="0">
                  <a:pos x="16" y="85"/>
                </a:cxn>
                <a:cxn ang="0">
                  <a:pos x="35" y="52"/>
                </a:cxn>
                <a:cxn ang="0">
                  <a:pos x="58" y="66"/>
                </a:cxn>
                <a:cxn ang="0">
                  <a:pos x="81" y="101"/>
                </a:cxn>
                <a:cxn ang="0">
                  <a:pos x="86" y="108"/>
                </a:cxn>
                <a:cxn ang="0">
                  <a:pos x="79" y="123"/>
                </a:cxn>
                <a:cxn ang="0">
                  <a:pos x="109" y="135"/>
                </a:cxn>
                <a:cxn ang="0">
                  <a:pos x="128" y="145"/>
                </a:cxn>
                <a:cxn ang="0">
                  <a:pos x="182" y="173"/>
                </a:cxn>
                <a:cxn ang="0">
                  <a:pos x="171" y="175"/>
                </a:cxn>
                <a:cxn ang="0">
                  <a:pos x="183" y="169"/>
                </a:cxn>
                <a:cxn ang="0">
                  <a:pos x="113" y="103"/>
                </a:cxn>
                <a:cxn ang="0">
                  <a:pos x="108" y="86"/>
                </a:cxn>
                <a:cxn ang="0">
                  <a:pos x="92" y="70"/>
                </a:cxn>
                <a:cxn ang="0">
                  <a:pos x="99" y="53"/>
                </a:cxn>
                <a:cxn ang="0">
                  <a:pos x="120" y="64"/>
                </a:cxn>
                <a:cxn ang="0">
                  <a:pos x="134" y="58"/>
                </a:cxn>
                <a:cxn ang="0">
                  <a:pos x="150" y="54"/>
                </a:cxn>
                <a:cxn ang="0">
                  <a:pos x="168" y="59"/>
                </a:cxn>
                <a:cxn ang="0">
                  <a:pos x="188" y="62"/>
                </a:cxn>
                <a:cxn ang="0">
                  <a:pos x="214" y="63"/>
                </a:cxn>
                <a:cxn ang="0">
                  <a:pos x="238" y="71"/>
                </a:cxn>
                <a:cxn ang="0">
                  <a:pos x="142" y="170"/>
                </a:cxn>
                <a:cxn ang="0">
                  <a:pos x="150" y="174"/>
                </a:cxn>
                <a:cxn ang="0">
                  <a:pos x="132" y="161"/>
                </a:cxn>
                <a:cxn ang="0">
                  <a:pos x="132" y="161"/>
                </a:cxn>
                <a:cxn ang="0">
                  <a:pos x="150" y="151"/>
                </a:cxn>
                <a:cxn ang="0">
                  <a:pos x="136" y="157"/>
                </a:cxn>
                <a:cxn ang="0">
                  <a:pos x="67" y="99"/>
                </a:cxn>
                <a:cxn ang="0">
                  <a:pos x="74" y="109"/>
                </a:cxn>
                <a:cxn ang="0">
                  <a:pos x="59" y="87"/>
                </a:cxn>
                <a:cxn ang="0">
                  <a:pos x="59" y="87"/>
                </a:cxn>
                <a:cxn ang="0">
                  <a:pos x="70" y="120"/>
                </a:cxn>
                <a:cxn ang="0">
                  <a:pos x="61" y="112"/>
                </a:cxn>
                <a:cxn ang="0">
                  <a:pos x="57" y="108"/>
                </a:cxn>
                <a:cxn ang="0">
                  <a:pos x="33" y="76"/>
                </a:cxn>
                <a:cxn ang="0">
                  <a:pos x="45" y="95"/>
                </a:cxn>
                <a:cxn ang="0">
                  <a:pos x="33" y="76"/>
                </a:cxn>
                <a:cxn ang="0">
                  <a:pos x="55" y="77"/>
                </a:cxn>
                <a:cxn ang="0">
                  <a:pos x="38" y="75"/>
                </a:cxn>
                <a:cxn ang="0">
                  <a:pos x="41" y="59"/>
                </a:cxn>
              </a:cxnLst>
              <a:rect l="0" t="0" r="r" b="b"/>
              <a:pathLst>
                <a:path w="250" h="176">
                  <a:moveTo>
                    <a:pt x="238" y="71"/>
                  </a:moveTo>
                  <a:lnTo>
                    <a:pt x="237" y="65"/>
                  </a:lnTo>
                  <a:lnTo>
                    <a:pt x="246" y="62"/>
                  </a:lnTo>
                  <a:lnTo>
                    <a:pt x="250" y="62"/>
                  </a:lnTo>
                  <a:lnTo>
                    <a:pt x="250" y="59"/>
                  </a:lnTo>
                  <a:lnTo>
                    <a:pt x="241" y="57"/>
                  </a:lnTo>
                  <a:lnTo>
                    <a:pt x="237" y="53"/>
                  </a:lnTo>
                  <a:lnTo>
                    <a:pt x="234" y="42"/>
                  </a:lnTo>
                  <a:lnTo>
                    <a:pt x="229" y="30"/>
                  </a:lnTo>
                  <a:lnTo>
                    <a:pt x="223" y="28"/>
                  </a:lnTo>
                  <a:lnTo>
                    <a:pt x="215" y="35"/>
                  </a:lnTo>
                  <a:lnTo>
                    <a:pt x="198" y="30"/>
                  </a:lnTo>
                  <a:lnTo>
                    <a:pt x="174" y="27"/>
                  </a:lnTo>
                  <a:lnTo>
                    <a:pt x="167" y="22"/>
                  </a:lnTo>
                  <a:lnTo>
                    <a:pt x="157" y="18"/>
                  </a:lnTo>
                  <a:lnTo>
                    <a:pt x="138" y="2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10" y="2"/>
                  </a:lnTo>
                  <a:lnTo>
                    <a:pt x="82" y="16"/>
                  </a:lnTo>
                  <a:lnTo>
                    <a:pt x="81" y="27"/>
                  </a:lnTo>
                  <a:lnTo>
                    <a:pt x="67" y="33"/>
                  </a:lnTo>
                  <a:lnTo>
                    <a:pt x="63" y="47"/>
                  </a:lnTo>
                  <a:lnTo>
                    <a:pt x="55" y="48"/>
                  </a:lnTo>
                  <a:lnTo>
                    <a:pt x="38" y="41"/>
                  </a:lnTo>
                  <a:lnTo>
                    <a:pt x="28" y="43"/>
                  </a:lnTo>
                  <a:lnTo>
                    <a:pt x="16" y="51"/>
                  </a:lnTo>
                  <a:lnTo>
                    <a:pt x="0" y="52"/>
                  </a:lnTo>
                  <a:lnTo>
                    <a:pt x="0" y="53"/>
                  </a:lnTo>
                  <a:lnTo>
                    <a:pt x="3" y="69"/>
                  </a:lnTo>
                  <a:lnTo>
                    <a:pt x="12" y="77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27" y="68"/>
                  </a:lnTo>
                  <a:lnTo>
                    <a:pt x="29" y="59"/>
                  </a:lnTo>
                  <a:lnTo>
                    <a:pt x="35" y="52"/>
                  </a:lnTo>
                  <a:lnTo>
                    <a:pt x="47" y="52"/>
                  </a:lnTo>
                  <a:lnTo>
                    <a:pt x="50" y="59"/>
                  </a:lnTo>
                  <a:lnTo>
                    <a:pt x="58" y="66"/>
                  </a:lnTo>
                  <a:lnTo>
                    <a:pt x="61" y="79"/>
                  </a:lnTo>
                  <a:lnTo>
                    <a:pt x="68" y="91"/>
                  </a:lnTo>
                  <a:lnTo>
                    <a:pt x="81" y="101"/>
                  </a:lnTo>
                  <a:lnTo>
                    <a:pt x="85" y="103"/>
                  </a:lnTo>
                  <a:lnTo>
                    <a:pt x="93" y="110"/>
                  </a:lnTo>
                  <a:lnTo>
                    <a:pt x="86" y="108"/>
                  </a:lnTo>
                  <a:lnTo>
                    <a:pt x="79" y="109"/>
                  </a:lnTo>
                  <a:lnTo>
                    <a:pt x="75" y="116"/>
                  </a:lnTo>
                  <a:lnTo>
                    <a:pt x="79" y="123"/>
                  </a:lnTo>
                  <a:lnTo>
                    <a:pt x="90" y="123"/>
                  </a:lnTo>
                  <a:lnTo>
                    <a:pt x="99" y="132"/>
                  </a:lnTo>
                  <a:lnTo>
                    <a:pt x="109" y="135"/>
                  </a:lnTo>
                  <a:lnTo>
                    <a:pt x="113" y="143"/>
                  </a:lnTo>
                  <a:lnTo>
                    <a:pt x="117" y="147"/>
                  </a:lnTo>
                  <a:lnTo>
                    <a:pt x="128" y="145"/>
                  </a:lnTo>
                  <a:lnTo>
                    <a:pt x="148" y="147"/>
                  </a:lnTo>
                  <a:lnTo>
                    <a:pt x="160" y="152"/>
                  </a:lnTo>
                  <a:lnTo>
                    <a:pt x="182" y="173"/>
                  </a:lnTo>
                  <a:lnTo>
                    <a:pt x="176" y="173"/>
                  </a:lnTo>
                  <a:lnTo>
                    <a:pt x="165" y="168"/>
                  </a:lnTo>
                  <a:lnTo>
                    <a:pt x="171" y="175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3" y="169"/>
                  </a:lnTo>
                  <a:lnTo>
                    <a:pt x="151" y="137"/>
                  </a:lnTo>
                  <a:lnTo>
                    <a:pt x="114" y="108"/>
                  </a:lnTo>
                  <a:lnTo>
                    <a:pt x="113" y="103"/>
                  </a:lnTo>
                  <a:lnTo>
                    <a:pt x="116" y="99"/>
                  </a:lnTo>
                  <a:lnTo>
                    <a:pt x="110" y="93"/>
                  </a:lnTo>
                  <a:lnTo>
                    <a:pt x="108" y="86"/>
                  </a:lnTo>
                  <a:lnTo>
                    <a:pt x="99" y="76"/>
                  </a:lnTo>
                  <a:lnTo>
                    <a:pt x="93" y="76"/>
                  </a:lnTo>
                  <a:lnTo>
                    <a:pt x="92" y="70"/>
                  </a:lnTo>
                  <a:lnTo>
                    <a:pt x="96" y="68"/>
                  </a:lnTo>
                  <a:lnTo>
                    <a:pt x="96" y="57"/>
                  </a:lnTo>
                  <a:lnTo>
                    <a:pt x="99" y="53"/>
                  </a:lnTo>
                  <a:lnTo>
                    <a:pt x="110" y="60"/>
                  </a:lnTo>
                  <a:lnTo>
                    <a:pt x="114" y="65"/>
                  </a:lnTo>
                  <a:lnTo>
                    <a:pt x="120" y="64"/>
                  </a:lnTo>
                  <a:lnTo>
                    <a:pt x="121" y="59"/>
                  </a:lnTo>
                  <a:lnTo>
                    <a:pt x="130" y="58"/>
                  </a:lnTo>
                  <a:lnTo>
                    <a:pt x="134" y="58"/>
                  </a:lnTo>
                  <a:lnTo>
                    <a:pt x="139" y="53"/>
                  </a:lnTo>
                  <a:lnTo>
                    <a:pt x="146" y="58"/>
                  </a:lnTo>
                  <a:lnTo>
                    <a:pt x="150" y="54"/>
                  </a:lnTo>
                  <a:lnTo>
                    <a:pt x="157" y="56"/>
                  </a:lnTo>
                  <a:lnTo>
                    <a:pt x="162" y="63"/>
                  </a:lnTo>
                  <a:lnTo>
                    <a:pt x="168" y="59"/>
                  </a:lnTo>
                  <a:lnTo>
                    <a:pt x="178" y="62"/>
                  </a:lnTo>
                  <a:lnTo>
                    <a:pt x="185" y="59"/>
                  </a:lnTo>
                  <a:lnTo>
                    <a:pt x="188" y="62"/>
                  </a:lnTo>
                  <a:lnTo>
                    <a:pt x="198" y="60"/>
                  </a:lnTo>
                  <a:lnTo>
                    <a:pt x="208" y="64"/>
                  </a:lnTo>
                  <a:lnTo>
                    <a:pt x="214" y="63"/>
                  </a:lnTo>
                  <a:lnTo>
                    <a:pt x="224" y="70"/>
                  </a:lnTo>
                  <a:lnTo>
                    <a:pt x="237" y="70"/>
                  </a:lnTo>
                  <a:lnTo>
                    <a:pt x="238" y="71"/>
                  </a:lnTo>
                  <a:lnTo>
                    <a:pt x="238" y="71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57" y="170"/>
                  </a:lnTo>
                  <a:lnTo>
                    <a:pt x="165" y="175"/>
                  </a:lnTo>
                  <a:lnTo>
                    <a:pt x="150" y="174"/>
                  </a:lnTo>
                  <a:lnTo>
                    <a:pt x="142" y="170"/>
                  </a:lnTo>
                  <a:lnTo>
                    <a:pt x="142" y="170"/>
                  </a:lnTo>
                  <a:close/>
                  <a:moveTo>
                    <a:pt x="132" y="161"/>
                  </a:moveTo>
                  <a:lnTo>
                    <a:pt x="155" y="162"/>
                  </a:lnTo>
                  <a:lnTo>
                    <a:pt x="145" y="166"/>
                  </a:lnTo>
                  <a:lnTo>
                    <a:pt x="132" y="161"/>
                  </a:lnTo>
                  <a:lnTo>
                    <a:pt x="132" y="161"/>
                  </a:lnTo>
                  <a:close/>
                  <a:moveTo>
                    <a:pt x="132" y="151"/>
                  </a:moveTo>
                  <a:lnTo>
                    <a:pt x="150" y="151"/>
                  </a:lnTo>
                  <a:lnTo>
                    <a:pt x="154" y="153"/>
                  </a:lnTo>
                  <a:lnTo>
                    <a:pt x="145" y="158"/>
                  </a:lnTo>
                  <a:lnTo>
                    <a:pt x="136" y="157"/>
                  </a:lnTo>
                  <a:lnTo>
                    <a:pt x="132" y="151"/>
                  </a:lnTo>
                  <a:lnTo>
                    <a:pt x="132" y="151"/>
                  </a:lnTo>
                  <a:close/>
                  <a:moveTo>
                    <a:pt x="67" y="99"/>
                  </a:moveTo>
                  <a:lnTo>
                    <a:pt x="72" y="100"/>
                  </a:lnTo>
                  <a:lnTo>
                    <a:pt x="78" y="108"/>
                  </a:lnTo>
                  <a:lnTo>
                    <a:pt x="74" y="109"/>
                  </a:lnTo>
                  <a:lnTo>
                    <a:pt x="67" y="99"/>
                  </a:lnTo>
                  <a:lnTo>
                    <a:pt x="67" y="99"/>
                  </a:lnTo>
                  <a:close/>
                  <a:moveTo>
                    <a:pt x="59" y="87"/>
                  </a:moveTo>
                  <a:lnTo>
                    <a:pt x="68" y="95"/>
                  </a:lnTo>
                  <a:lnTo>
                    <a:pt x="58" y="93"/>
                  </a:lnTo>
                  <a:lnTo>
                    <a:pt x="59" y="87"/>
                  </a:lnTo>
                  <a:lnTo>
                    <a:pt x="59" y="87"/>
                  </a:lnTo>
                  <a:close/>
                  <a:moveTo>
                    <a:pt x="61" y="112"/>
                  </a:moveTo>
                  <a:lnTo>
                    <a:pt x="70" y="120"/>
                  </a:lnTo>
                  <a:lnTo>
                    <a:pt x="73" y="127"/>
                  </a:lnTo>
                  <a:lnTo>
                    <a:pt x="61" y="112"/>
                  </a:lnTo>
                  <a:lnTo>
                    <a:pt x="61" y="112"/>
                  </a:lnTo>
                  <a:close/>
                  <a:moveTo>
                    <a:pt x="50" y="99"/>
                  </a:moveTo>
                  <a:lnTo>
                    <a:pt x="56" y="101"/>
                  </a:lnTo>
                  <a:lnTo>
                    <a:pt x="57" y="108"/>
                  </a:lnTo>
                  <a:lnTo>
                    <a:pt x="50" y="99"/>
                  </a:lnTo>
                  <a:lnTo>
                    <a:pt x="50" y="99"/>
                  </a:lnTo>
                  <a:close/>
                  <a:moveTo>
                    <a:pt x="33" y="76"/>
                  </a:moveTo>
                  <a:lnTo>
                    <a:pt x="45" y="83"/>
                  </a:lnTo>
                  <a:lnTo>
                    <a:pt x="49" y="94"/>
                  </a:lnTo>
                  <a:lnTo>
                    <a:pt x="45" y="95"/>
                  </a:lnTo>
                  <a:lnTo>
                    <a:pt x="38" y="87"/>
                  </a:lnTo>
                  <a:lnTo>
                    <a:pt x="39" y="85"/>
                  </a:lnTo>
                  <a:lnTo>
                    <a:pt x="33" y="76"/>
                  </a:lnTo>
                  <a:lnTo>
                    <a:pt x="33" y="76"/>
                  </a:lnTo>
                  <a:close/>
                  <a:moveTo>
                    <a:pt x="41" y="59"/>
                  </a:moveTo>
                  <a:lnTo>
                    <a:pt x="55" y="77"/>
                  </a:lnTo>
                  <a:lnTo>
                    <a:pt x="47" y="80"/>
                  </a:lnTo>
                  <a:lnTo>
                    <a:pt x="44" y="76"/>
                  </a:lnTo>
                  <a:lnTo>
                    <a:pt x="38" y="75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41" y="59"/>
                  </a:lnTo>
                  <a:lnTo>
                    <a:pt x="41" y="5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7" name="Freeform 28"/>
            <p:cNvSpPr>
              <a:spLocks/>
            </p:cNvSpPr>
            <p:nvPr/>
          </p:nvSpPr>
          <p:spPr bwMode="auto">
            <a:xfrm>
              <a:off x="4167188" y="3228975"/>
              <a:ext cx="274638" cy="217488"/>
            </a:xfrm>
            <a:custGeom>
              <a:avLst/>
              <a:gdLst/>
              <a:ahLst/>
              <a:cxnLst>
                <a:cxn ang="0">
                  <a:pos x="91" y="116"/>
                </a:cxn>
                <a:cxn ang="0">
                  <a:pos x="22" y="55"/>
                </a:cxn>
                <a:cxn ang="0">
                  <a:pos x="24" y="46"/>
                </a:cxn>
                <a:cxn ang="0">
                  <a:pos x="16" y="33"/>
                </a:cxn>
                <a:cxn ang="0">
                  <a:pos x="1" y="23"/>
                </a:cxn>
                <a:cxn ang="0">
                  <a:pos x="4" y="15"/>
                </a:cxn>
                <a:cxn ang="0">
                  <a:pos x="7" y="0"/>
                </a:cxn>
                <a:cxn ang="0">
                  <a:pos x="22" y="12"/>
                </a:cxn>
                <a:cxn ang="0">
                  <a:pos x="29" y="6"/>
                </a:cxn>
                <a:cxn ang="0">
                  <a:pos x="42" y="5"/>
                </a:cxn>
                <a:cxn ang="0">
                  <a:pos x="54" y="5"/>
                </a:cxn>
                <a:cxn ang="0">
                  <a:pos x="65" y="3"/>
                </a:cxn>
                <a:cxn ang="0">
                  <a:pos x="76" y="6"/>
                </a:cxn>
                <a:cxn ang="0">
                  <a:pos x="93" y="6"/>
                </a:cxn>
                <a:cxn ang="0">
                  <a:pos x="106" y="7"/>
                </a:cxn>
                <a:cxn ang="0">
                  <a:pos x="122" y="10"/>
                </a:cxn>
                <a:cxn ang="0">
                  <a:pos x="145" y="17"/>
                </a:cxn>
                <a:cxn ang="0">
                  <a:pos x="152" y="18"/>
                </a:cxn>
                <a:cxn ang="0">
                  <a:pos x="156" y="30"/>
                </a:cxn>
                <a:cxn ang="0">
                  <a:pos x="148" y="48"/>
                </a:cxn>
                <a:cxn ang="0">
                  <a:pos x="168" y="58"/>
                </a:cxn>
                <a:cxn ang="0">
                  <a:pos x="169" y="68"/>
                </a:cxn>
                <a:cxn ang="0">
                  <a:pos x="157" y="67"/>
                </a:cxn>
                <a:cxn ang="0">
                  <a:pos x="168" y="86"/>
                </a:cxn>
                <a:cxn ang="0">
                  <a:pos x="156" y="88"/>
                </a:cxn>
                <a:cxn ang="0">
                  <a:pos x="142" y="86"/>
                </a:cxn>
                <a:cxn ang="0">
                  <a:pos x="150" y="97"/>
                </a:cxn>
                <a:cxn ang="0">
                  <a:pos x="146" y="107"/>
                </a:cxn>
                <a:cxn ang="0">
                  <a:pos x="135" y="115"/>
                </a:cxn>
                <a:cxn ang="0">
                  <a:pos x="131" y="136"/>
                </a:cxn>
                <a:cxn ang="0">
                  <a:pos x="116" y="125"/>
                </a:cxn>
                <a:cxn ang="0">
                  <a:pos x="94" y="125"/>
                </a:cxn>
                <a:cxn ang="0">
                  <a:pos x="88" y="123"/>
                </a:cxn>
              </a:cxnLst>
              <a:rect l="0" t="0" r="r" b="b"/>
              <a:pathLst>
                <a:path w="173" h="137">
                  <a:moveTo>
                    <a:pt x="88" y="123"/>
                  </a:moveTo>
                  <a:lnTo>
                    <a:pt x="91" y="116"/>
                  </a:lnTo>
                  <a:lnTo>
                    <a:pt x="59" y="84"/>
                  </a:lnTo>
                  <a:lnTo>
                    <a:pt x="22" y="55"/>
                  </a:lnTo>
                  <a:lnTo>
                    <a:pt x="21" y="50"/>
                  </a:lnTo>
                  <a:lnTo>
                    <a:pt x="24" y="46"/>
                  </a:lnTo>
                  <a:lnTo>
                    <a:pt x="18" y="40"/>
                  </a:lnTo>
                  <a:lnTo>
                    <a:pt x="16" y="33"/>
                  </a:lnTo>
                  <a:lnTo>
                    <a:pt x="7" y="23"/>
                  </a:lnTo>
                  <a:lnTo>
                    <a:pt x="1" y="23"/>
                  </a:lnTo>
                  <a:lnTo>
                    <a:pt x="0" y="17"/>
                  </a:lnTo>
                  <a:lnTo>
                    <a:pt x="4" y="15"/>
                  </a:lnTo>
                  <a:lnTo>
                    <a:pt x="4" y="4"/>
                  </a:lnTo>
                  <a:lnTo>
                    <a:pt x="7" y="0"/>
                  </a:lnTo>
                  <a:lnTo>
                    <a:pt x="18" y="7"/>
                  </a:lnTo>
                  <a:lnTo>
                    <a:pt x="22" y="12"/>
                  </a:lnTo>
                  <a:lnTo>
                    <a:pt x="28" y="11"/>
                  </a:lnTo>
                  <a:lnTo>
                    <a:pt x="29" y="6"/>
                  </a:lnTo>
                  <a:lnTo>
                    <a:pt x="38" y="5"/>
                  </a:lnTo>
                  <a:lnTo>
                    <a:pt x="42" y="5"/>
                  </a:lnTo>
                  <a:lnTo>
                    <a:pt x="47" y="0"/>
                  </a:lnTo>
                  <a:lnTo>
                    <a:pt x="54" y="5"/>
                  </a:lnTo>
                  <a:lnTo>
                    <a:pt x="58" y="1"/>
                  </a:lnTo>
                  <a:lnTo>
                    <a:pt x="65" y="3"/>
                  </a:lnTo>
                  <a:lnTo>
                    <a:pt x="70" y="10"/>
                  </a:lnTo>
                  <a:lnTo>
                    <a:pt x="76" y="6"/>
                  </a:lnTo>
                  <a:lnTo>
                    <a:pt x="86" y="9"/>
                  </a:lnTo>
                  <a:lnTo>
                    <a:pt x="93" y="6"/>
                  </a:lnTo>
                  <a:lnTo>
                    <a:pt x="96" y="9"/>
                  </a:lnTo>
                  <a:lnTo>
                    <a:pt x="106" y="7"/>
                  </a:lnTo>
                  <a:lnTo>
                    <a:pt x="116" y="11"/>
                  </a:lnTo>
                  <a:lnTo>
                    <a:pt x="122" y="10"/>
                  </a:lnTo>
                  <a:lnTo>
                    <a:pt x="132" y="17"/>
                  </a:lnTo>
                  <a:lnTo>
                    <a:pt x="145" y="17"/>
                  </a:lnTo>
                  <a:lnTo>
                    <a:pt x="149" y="22"/>
                  </a:lnTo>
                  <a:lnTo>
                    <a:pt x="152" y="18"/>
                  </a:lnTo>
                  <a:lnTo>
                    <a:pt x="158" y="19"/>
                  </a:lnTo>
                  <a:lnTo>
                    <a:pt x="156" y="30"/>
                  </a:lnTo>
                  <a:lnTo>
                    <a:pt x="148" y="42"/>
                  </a:lnTo>
                  <a:lnTo>
                    <a:pt x="148" y="48"/>
                  </a:lnTo>
                  <a:lnTo>
                    <a:pt x="161" y="58"/>
                  </a:lnTo>
                  <a:lnTo>
                    <a:pt x="168" y="58"/>
                  </a:lnTo>
                  <a:lnTo>
                    <a:pt x="173" y="63"/>
                  </a:lnTo>
                  <a:lnTo>
                    <a:pt x="169" y="68"/>
                  </a:lnTo>
                  <a:lnTo>
                    <a:pt x="162" y="64"/>
                  </a:lnTo>
                  <a:lnTo>
                    <a:pt x="157" y="67"/>
                  </a:lnTo>
                  <a:lnTo>
                    <a:pt x="157" y="76"/>
                  </a:lnTo>
                  <a:lnTo>
                    <a:pt x="168" y="86"/>
                  </a:lnTo>
                  <a:lnTo>
                    <a:pt x="163" y="90"/>
                  </a:lnTo>
                  <a:lnTo>
                    <a:pt x="156" y="88"/>
                  </a:lnTo>
                  <a:lnTo>
                    <a:pt x="146" y="82"/>
                  </a:lnTo>
                  <a:lnTo>
                    <a:pt x="142" y="86"/>
                  </a:lnTo>
                  <a:lnTo>
                    <a:pt x="142" y="92"/>
                  </a:lnTo>
                  <a:lnTo>
                    <a:pt x="150" y="97"/>
                  </a:lnTo>
                  <a:lnTo>
                    <a:pt x="152" y="103"/>
                  </a:lnTo>
                  <a:lnTo>
                    <a:pt x="146" y="107"/>
                  </a:lnTo>
                  <a:lnTo>
                    <a:pt x="139" y="107"/>
                  </a:lnTo>
                  <a:lnTo>
                    <a:pt x="135" y="115"/>
                  </a:lnTo>
                  <a:lnTo>
                    <a:pt x="135" y="126"/>
                  </a:lnTo>
                  <a:lnTo>
                    <a:pt x="131" y="136"/>
                  </a:lnTo>
                  <a:lnTo>
                    <a:pt x="126" y="137"/>
                  </a:lnTo>
                  <a:lnTo>
                    <a:pt x="116" y="125"/>
                  </a:lnTo>
                  <a:lnTo>
                    <a:pt x="111" y="127"/>
                  </a:lnTo>
                  <a:lnTo>
                    <a:pt x="94" y="125"/>
                  </a:lnTo>
                  <a:lnTo>
                    <a:pt x="88" y="123"/>
                  </a:lnTo>
                  <a:lnTo>
                    <a:pt x="88" y="12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8" name="Freeform 29"/>
            <p:cNvSpPr>
              <a:spLocks/>
            </p:cNvSpPr>
            <p:nvPr/>
          </p:nvSpPr>
          <p:spPr bwMode="auto">
            <a:xfrm>
              <a:off x="4013200" y="3105150"/>
              <a:ext cx="215900" cy="122238"/>
            </a:xfrm>
            <a:custGeom>
              <a:avLst/>
              <a:gdLst/>
              <a:ahLst/>
              <a:cxnLst>
                <a:cxn ang="0">
                  <a:pos x="5" y="77"/>
                </a:cxn>
                <a:cxn ang="0">
                  <a:pos x="21" y="76"/>
                </a:cxn>
                <a:cxn ang="0">
                  <a:pos x="33" y="68"/>
                </a:cxn>
                <a:cxn ang="0">
                  <a:pos x="43" y="66"/>
                </a:cxn>
                <a:cxn ang="0">
                  <a:pos x="60" y="73"/>
                </a:cxn>
                <a:cxn ang="0">
                  <a:pos x="68" y="72"/>
                </a:cxn>
                <a:cxn ang="0">
                  <a:pos x="72" y="58"/>
                </a:cxn>
                <a:cxn ang="0">
                  <a:pos x="86" y="52"/>
                </a:cxn>
                <a:cxn ang="0">
                  <a:pos x="87" y="41"/>
                </a:cxn>
                <a:cxn ang="0">
                  <a:pos x="115" y="27"/>
                </a:cxn>
                <a:cxn ang="0">
                  <a:pos x="136" y="27"/>
                </a:cxn>
                <a:cxn ang="0">
                  <a:pos x="133" y="12"/>
                </a:cxn>
                <a:cxn ang="0">
                  <a:pos x="122" y="0"/>
                </a:cxn>
                <a:cxn ang="0">
                  <a:pos x="110" y="3"/>
                </a:cxn>
                <a:cxn ang="0">
                  <a:pos x="91" y="13"/>
                </a:cxn>
                <a:cxn ang="0">
                  <a:pos x="86" y="13"/>
                </a:cxn>
                <a:cxn ang="0">
                  <a:pos x="79" y="14"/>
                </a:cxn>
                <a:cxn ang="0">
                  <a:pos x="69" y="18"/>
                </a:cxn>
                <a:cxn ang="0">
                  <a:pos x="58" y="18"/>
                </a:cxn>
                <a:cxn ang="0">
                  <a:pos x="48" y="21"/>
                </a:cxn>
                <a:cxn ang="0">
                  <a:pos x="41" y="15"/>
                </a:cxn>
                <a:cxn ang="0">
                  <a:pos x="21" y="15"/>
                </a:cxn>
                <a:cxn ang="0">
                  <a:pos x="14" y="15"/>
                </a:cxn>
                <a:cxn ang="0">
                  <a:pos x="4" y="29"/>
                </a:cxn>
                <a:cxn ang="0">
                  <a:pos x="6" y="36"/>
                </a:cxn>
                <a:cxn ang="0">
                  <a:pos x="0" y="43"/>
                </a:cxn>
                <a:cxn ang="0">
                  <a:pos x="3" y="58"/>
                </a:cxn>
                <a:cxn ang="0">
                  <a:pos x="4" y="58"/>
                </a:cxn>
                <a:cxn ang="0">
                  <a:pos x="12" y="61"/>
                </a:cxn>
                <a:cxn ang="0">
                  <a:pos x="12" y="67"/>
                </a:cxn>
                <a:cxn ang="0">
                  <a:pos x="5" y="70"/>
                </a:cxn>
                <a:cxn ang="0">
                  <a:pos x="5" y="77"/>
                </a:cxn>
              </a:cxnLst>
              <a:rect l="0" t="0" r="r" b="b"/>
              <a:pathLst>
                <a:path w="136" h="77">
                  <a:moveTo>
                    <a:pt x="5" y="77"/>
                  </a:moveTo>
                  <a:lnTo>
                    <a:pt x="21" y="76"/>
                  </a:lnTo>
                  <a:lnTo>
                    <a:pt x="33" y="68"/>
                  </a:lnTo>
                  <a:lnTo>
                    <a:pt x="43" y="66"/>
                  </a:lnTo>
                  <a:lnTo>
                    <a:pt x="60" y="73"/>
                  </a:lnTo>
                  <a:lnTo>
                    <a:pt x="68" y="72"/>
                  </a:lnTo>
                  <a:lnTo>
                    <a:pt x="72" y="58"/>
                  </a:lnTo>
                  <a:lnTo>
                    <a:pt x="86" y="52"/>
                  </a:lnTo>
                  <a:lnTo>
                    <a:pt x="87" y="41"/>
                  </a:lnTo>
                  <a:lnTo>
                    <a:pt x="115" y="27"/>
                  </a:lnTo>
                  <a:lnTo>
                    <a:pt x="136" y="27"/>
                  </a:lnTo>
                  <a:lnTo>
                    <a:pt x="133" y="12"/>
                  </a:lnTo>
                  <a:lnTo>
                    <a:pt x="122" y="0"/>
                  </a:lnTo>
                  <a:lnTo>
                    <a:pt x="110" y="3"/>
                  </a:lnTo>
                  <a:lnTo>
                    <a:pt x="91" y="13"/>
                  </a:lnTo>
                  <a:lnTo>
                    <a:pt x="86" y="13"/>
                  </a:lnTo>
                  <a:lnTo>
                    <a:pt x="79" y="14"/>
                  </a:lnTo>
                  <a:lnTo>
                    <a:pt x="69" y="18"/>
                  </a:lnTo>
                  <a:lnTo>
                    <a:pt x="58" y="18"/>
                  </a:lnTo>
                  <a:lnTo>
                    <a:pt x="48" y="21"/>
                  </a:lnTo>
                  <a:lnTo>
                    <a:pt x="41" y="15"/>
                  </a:lnTo>
                  <a:lnTo>
                    <a:pt x="21" y="15"/>
                  </a:lnTo>
                  <a:lnTo>
                    <a:pt x="14" y="15"/>
                  </a:lnTo>
                  <a:lnTo>
                    <a:pt x="4" y="29"/>
                  </a:lnTo>
                  <a:lnTo>
                    <a:pt x="6" y="36"/>
                  </a:lnTo>
                  <a:lnTo>
                    <a:pt x="0" y="43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12" y="61"/>
                  </a:lnTo>
                  <a:lnTo>
                    <a:pt x="12" y="67"/>
                  </a:lnTo>
                  <a:lnTo>
                    <a:pt x="5" y="70"/>
                  </a:lnTo>
                  <a:lnTo>
                    <a:pt x="5" y="7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29" name="Freeform 30"/>
            <p:cNvSpPr>
              <a:spLocks/>
            </p:cNvSpPr>
            <p:nvPr/>
          </p:nvSpPr>
          <p:spPr bwMode="auto">
            <a:xfrm>
              <a:off x="3736975" y="2917825"/>
              <a:ext cx="509588" cy="220663"/>
            </a:xfrm>
            <a:custGeom>
              <a:avLst/>
              <a:gdLst/>
              <a:ahLst/>
              <a:cxnLst>
                <a:cxn ang="0">
                  <a:pos x="195" y="133"/>
                </a:cxn>
                <a:cxn ang="0">
                  <a:pos x="222" y="139"/>
                </a:cxn>
                <a:cxn ang="0">
                  <a:pos x="243" y="136"/>
                </a:cxn>
                <a:cxn ang="0">
                  <a:pos x="260" y="131"/>
                </a:cxn>
                <a:cxn ang="0">
                  <a:pos x="284" y="121"/>
                </a:cxn>
                <a:cxn ang="0">
                  <a:pos x="305" y="109"/>
                </a:cxn>
                <a:cxn ang="0">
                  <a:pos x="301" y="93"/>
                </a:cxn>
                <a:cxn ang="0">
                  <a:pos x="296" y="75"/>
                </a:cxn>
                <a:cxn ang="0">
                  <a:pos x="319" y="72"/>
                </a:cxn>
                <a:cxn ang="0">
                  <a:pos x="319" y="55"/>
                </a:cxn>
                <a:cxn ang="0">
                  <a:pos x="317" y="18"/>
                </a:cxn>
                <a:cxn ang="0">
                  <a:pos x="290" y="10"/>
                </a:cxn>
                <a:cxn ang="0">
                  <a:pos x="265" y="11"/>
                </a:cxn>
                <a:cxn ang="0">
                  <a:pos x="237" y="4"/>
                </a:cxn>
                <a:cxn ang="0">
                  <a:pos x="225" y="9"/>
                </a:cxn>
                <a:cxn ang="0">
                  <a:pos x="219" y="18"/>
                </a:cxn>
                <a:cxn ang="0">
                  <a:pos x="202" y="23"/>
                </a:cxn>
                <a:cxn ang="0">
                  <a:pos x="173" y="11"/>
                </a:cxn>
                <a:cxn ang="0">
                  <a:pos x="172" y="27"/>
                </a:cxn>
                <a:cxn ang="0">
                  <a:pos x="159" y="35"/>
                </a:cxn>
                <a:cxn ang="0">
                  <a:pos x="136" y="54"/>
                </a:cxn>
                <a:cxn ang="0">
                  <a:pos x="148" y="64"/>
                </a:cxn>
                <a:cxn ang="0">
                  <a:pos x="144" y="75"/>
                </a:cxn>
                <a:cxn ang="0">
                  <a:pos x="124" y="73"/>
                </a:cxn>
                <a:cxn ang="0">
                  <a:pos x="106" y="70"/>
                </a:cxn>
                <a:cxn ang="0">
                  <a:pos x="83" y="80"/>
                </a:cxn>
                <a:cxn ang="0">
                  <a:pos x="68" y="80"/>
                </a:cxn>
                <a:cxn ang="0">
                  <a:pos x="49" y="75"/>
                </a:cxn>
                <a:cxn ang="0">
                  <a:pos x="38" y="81"/>
                </a:cxn>
                <a:cxn ang="0">
                  <a:pos x="23" y="83"/>
                </a:cxn>
                <a:cxn ang="0">
                  <a:pos x="9" y="79"/>
                </a:cxn>
                <a:cxn ang="0">
                  <a:pos x="0" y="81"/>
                </a:cxn>
                <a:cxn ang="0">
                  <a:pos x="6" y="91"/>
                </a:cxn>
                <a:cxn ang="0">
                  <a:pos x="11" y="102"/>
                </a:cxn>
                <a:cxn ang="0">
                  <a:pos x="23" y="101"/>
                </a:cxn>
                <a:cxn ang="0">
                  <a:pos x="41" y="102"/>
                </a:cxn>
                <a:cxn ang="0">
                  <a:pos x="52" y="109"/>
                </a:cxn>
                <a:cxn ang="0">
                  <a:pos x="68" y="115"/>
                </a:cxn>
                <a:cxn ang="0">
                  <a:pos x="102" y="104"/>
                </a:cxn>
                <a:cxn ang="0">
                  <a:pos x="116" y="112"/>
                </a:cxn>
                <a:cxn ang="0">
                  <a:pos x="166" y="128"/>
                </a:cxn>
                <a:cxn ang="0">
                  <a:pos x="188" y="133"/>
                </a:cxn>
              </a:cxnLst>
              <a:rect l="0" t="0" r="r" b="b"/>
              <a:pathLst>
                <a:path w="321" h="139">
                  <a:moveTo>
                    <a:pt x="188" y="133"/>
                  </a:moveTo>
                  <a:lnTo>
                    <a:pt x="195" y="133"/>
                  </a:lnTo>
                  <a:lnTo>
                    <a:pt x="215" y="133"/>
                  </a:lnTo>
                  <a:lnTo>
                    <a:pt x="222" y="139"/>
                  </a:lnTo>
                  <a:lnTo>
                    <a:pt x="232" y="136"/>
                  </a:lnTo>
                  <a:lnTo>
                    <a:pt x="243" y="136"/>
                  </a:lnTo>
                  <a:lnTo>
                    <a:pt x="253" y="132"/>
                  </a:lnTo>
                  <a:lnTo>
                    <a:pt x="260" y="131"/>
                  </a:lnTo>
                  <a:lnTo>
                    <a:pt x="265" y="131"/>
                  </a:lnTo>
                  <a:lnTo>
                    <a:pt x="284" y="121"/>
                  </a:lnTo>
                  <a:lnTo>
                    <a:pt x="298" y="118"/>
                  </a:lnTo>
                  <a:lnTo>
                    <a:pt x="305" y="109"/>
                  </a:lnTo>
                  <a:lnTo>
                    <a:pt x="300" y="102"/>
                  </a:lnTo>
                  <a:lnTo>
                    <a:pt x="301" y="93"/>
                  </a:lnTo>
                  <a:lnTo>
                    <a:pt x="305" y="84"/>
                  </a:lnTo>
                  <a:lnTo>
                    <a:pt x="296" y="75"/>
                  </a:lnTo>
                  <a:lnTo>
                    <a:pt x="299" y="72"/>
                  </a:lnTo>
                  <a:lnTo>
                    <a:pt x="319" y="72"/>
                  </a:lnTo>
                  <a:lnTo>
                    <a:pt x="321" y="63"/>
                  </a:lnTo>
                  <a:lnTo>
                    <a:pt x="319" y="55"/>
                  </a:lnTo>
                  <a:lnTo>
                    <a:pt x="316" y="32"/>
                  </a:lnTo>
                  <a:lnTo>
                    <a:pt x="317" y="18"/>
                  </a:lnTo>
                  <a:lnTo>
                    <a:pt x="299" y="15"/>
                  </a:lnTo>
                  <a:lnTo>
                    <a:pt x="290" y="10"/>
                  </a:lnTo>
                  <a:lnTo>
                    <a:pt x="278" y="12"/>
                  </a:lnTo>
                  <a:lnTo>
                    <a:pt x="265" y="11"/>
                  </a:lnTo>
                  <a:lnTo>
                    <a:pt x="254" y="4"/>
                  </a:lnTo>
                  <a:lnTo>
                    <a:pt x="237" y="4"/>
                  </a:lnTo>
                  <a:lnTo>
                    <a:pt x="228" y="0"/>
                  </a:lnTo>
                  <a:lnTo>
                    <a:pt x="225" y="9"/>
                  </a:lnTo>
                  <a:lnTo>
                    <a:pt x="220" y="12"/>
                  </a:lnTo>
                  <a:lnTo>
                    <a:pt x="219" y="18"/>
                  </a:lnTo>
                  <a:lnTo>
                    <a:pt x="207" y="18"/>
                  </a:lnTo>
                  <a:lnTo>
                    <a:pt x="202" y="23"/>
                  </a:lnTo>
                  <a:lnTo>
                    <a:pt x="179" y="11"/>
                  </a:lnTo>
                  <a:lnTo>
                    <a:pt x="173" y="11"/>
                  </a:lnTo>
                  <a:lnTo>
                    <a:pt x="171" y="18"/>
                  </a:lnTo>
                  <a:lnTo>
                    <a:pt x="172" y="27"/>
                  </a:lnTo>
                  <a:lnTo>
                    <a:pt x="165" y="27"/>
                  </a:lnTo>
                  <a:lnTo>
                    <a:pt x="159" y="35"/>
                  </a:lnTo>
                  <a:lnTo>
                    <a:pt x="148" y="40"/>
                  </a:lnTo>
                  <a:lnTo>
                    <a:pt x="136" y="54"/>
                  </a:lnTo>
                  <a:lnTo>
                    <a:pt x="136" y="60"/>
                  </a:lnTo>
                  <a:lnTo>
                    <a:pt x="148" y="64"/>
                  </a:lnTo>
                  <a:lnTo>
                    <a:pt x="149" y="72"/>
                  </a:lnTo>
                  <a:lnTo>
                    <a:pt x="144" y="75"/>
                  </a:lnTo>
                  <a:lnTo>
                    <a:pt x="133" y="69"/>
                  </a:lnTo>
                  <a:lnTo>
                    <a:pt x="124" y="73"/>
                  </a:lnTo>
                  <a:lnTo>
                    <a:pt x="113" y="69"/>
                  </a:lnTo>
                  <a:lnTo>
                    <a:pt x="106" y="70"/>
                  </a:lnTo>
                  <a:lnTo>
                    <a:pt x="91" y="79"/>
                  </a:lnTo>
                  <a:lnTo>
                    <a:pt x="83" y="80"/>
                  </a:lnTo>
                  <a:lnTo>
                    <a:pt x="76" y="79"/>
                  </a:lnTo>
                  <a:lnTo>
                    <a:pt x="68" y="80"/>
                  </a:lnTo>
                  <a:lnTo>
                    <a:pt x="61" y="76"/>
                  </a:lnTo>
                  <a:lnTo>
                    <a:pt x="49" y="75"/>
                  </a:lnTo>
                  <a:lnTo>
                    <a:pt x="37" y="76"/>
                  </a:lnTo>
                  <a:lnTo>
                    <a:pt x="38" y="81"/>
                  </a:lnTo>
                  <a:lnTo>
                    <a:pt x="34" y="85"/>
                  </a:lnTo>
                  <a:lnTo>
                    <a:pt x="23" y="83"/>
                  </a:lnTo>
                  <a:lnTo>
                    <a:pt x="16" y="76"/>
                  </a:lnTo>
                  <a:lnTo>
                    <a:pt x="9" y="79"/>
                  </a:lnTo>
                  <a:lnTo>
                    <a:pt x="3" y="81"/>
                  </a:lnTo>
                  <a:lnTo>
                    <a:pt x="0" y="81"/>
                  </a:lnTo>
                  <a:lnTo>
                    <a:pt x="6" y="85"/>
                  </a:lnTo>
                  <a:lnTo>
                    <a:pt x="6" y="91"/>
                  </a:lnTo>
                  <a:lnTo>
                    <a:pt x="11" y="95"/>
                  </a:lnTo>
                  <a:lnTo>
                    <a:pt x="11" y="102"/>
                  </a:lnTo>
                  <a:lnTo>
                    <a:pt x="17" y="103"/>
                  </a:lnTo>
                  <a:lnTo>
                    <a:pt x="23" y="101"/>
                  </a:lnTo>
                  <a:lnTo>
                    <a:pt x="33" y="109"/>
                  </a:lnTo>
                  <a:lnTo>
                    <a:pt x="41" y="102"/>
                  </a:lnTo>
                  <a:lnTo>
                    <a:pt x="49" y="102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68" y="115"/>
                  </a:lnTo>
                  <a:lnTo>
                    <a:pt x="91" y="102"/>
                  </a:lnTo>
                  <a:lnTo>
                    <a:pt x="102" y="104"/>
                  </a:lnTo>
                  <a:lnTo>
                    <a:pt x="118" y="103"/>
                  </a:lnTo>
                  <a:lnTo>
                    <a:pt x="116" y="112"/>
                  </a:lnTo>
                  <a:lnTo>
                    <a:pt x="138" y="124"/>
                  </a:lnTo>
                  <a:lnTo>
                    <a:pt x="166" y="128"/>
                  </a:lnTo>
                  <a:lnTo>
                    <a:pt x="182" y="127"/>
                  </a:lnTo>
                  <a:lnTo>
                    <a:pt x="188" y="133"/>
                  </a:lnTo>
                  <a:lnTo>
                    <a:pt x="188" y="13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0" name="Freeform 31"/>
            <p:cNvSpPr>
              <a:spLocks/>
            </p:cNvSpPr>
            <p:nvPr/>
          </p:nvSpPr>
          <p:spPr bwMode="auto">
            <a:xfrm>
              <a:off x="4025900" y="2390775"/>
              <a:ext cx="668338" cy="512763"/>
            </a:xfrm>
            <a:custGeom>
              <a:avLst/>
              <a:gdLst/>
              <a:ahLst/>
              <a:cxnLst>
                <a:cxn ang="0">
                  <a:pos x="255" y="321"/>
                </a:cxn>
                <a:cxn ang="0">
                  <a:pos x="269" y="314"/>
                </a:cxn>
                <a:cxn ang="0">
                  <a:pos x="284" y="313"/>
                </a:cxn>
                <a:cxn ang="0">
                  <a:pos x="301" y="317"/>
                </a:cxn>
                <a:cxn ang="0">
                  <a:pos x="314" y="311"/>
                </a:cxn>
                <a:cxn ang="0">
                  <a:pos x="327" y="311"/>
                </a:cxn>
                <a:cxn ang="0">
                  <a:pos x="363" y="321"/>
                </a:cxn>
                <a:cxn ang="0">
                  <a:pos x="374" y="309"/>
                </a:cxn>
                <a:cxn ang="0">
                  <a:pos x="401" y="269"/>
                </a:cxn>
                <a:cxn ang="0">
                  <a:pos x="412" y="250"/>
                </a:cxn>
                <a:cxn ang="0">
                  <a:pos x="421" y="238"/>
                </a:cxn>
                <a:cxn ang="0">
                  <a:pos x="417" y="226"/>
                </a:cxn>
                <a:cxn ang="0">
                  <a:pos x="409" y="215"/>
                </a:cxn>
                <a:cxn ang="0">
                  <a:pos x="399" y="198"/>
                </a:cxn>
                <a:cxn ang="0">
                  <a:pos x="400" y="168"/>
                </a:cxn>
                <a:cxn ang="0">
                  <a:pos x="386" y="143"/>
                </a:cxn>
                <a:cxn ang="0">
                  <a:pos x="402" y="129"/>
                </a:cxn>
                <a:cxn ang="0">
                  <a:pos x="397" y="99"/>
                </a:cxn>
                <a:cxn ang="0">
                  <a:pos x="389" y="80"/>
                </a:cxn>
                <a:cxn ang="0">
                  <a:pos x="373" y="49"/>
                </a:cxn>
                <a:cxn ang="0">
                  <a:pos x="370" y="24"/>
                </a:cxn>
                <a:cxn ang="0">
                  <a:pos x="353" y="16"/>
                </a:cxn>
                <a:cxn ang="0">
                  <a:pos x="234" y="18"/>
                </a:cxn>
                <a:cxn ang="0">
                  <a:pos x="212" y="33"/>
                </a:cxn>
                <a:cxn ang="0">
                  <a:pos x="197" y="33"/>
                </a:cxn>
                <a:cxn ang="0">
                  <a:pos x="222" y="14"/>
                </a:cxn>
                <a:cxn ang="0">
                  <a:pos x="208" y="24"/>
                </a:cxn>
                <a:cxn ang="0">
                  <a:pos x="171" y="25"/>
                </a:cxn>
                <a:cxn ang="0">
                  <a:pos x="170" y="10"/>
                </a:cxn>
                <a:cxn ang="0">
                  <a:pos x="185" y="13"/>
                </a:cxn>
                <a:cxn ang="0">
                  <a:pos x="173" y="5"/>
                </a:cxn>
                <a:cxn ang="0">
                  <a:pos x="131" y="8"/>
                </a:cxn>
                <a:cxn ang="0">
                  <a:pos x="105" y="12"/>
                </a:cxn>
                <a:cxn ang="0">
                  <a:pos x="83" y="23"/>
                </a:cxn>
                <a:cxn ang="0">
                  <a:pos x="75" y="37"/>
                </a:cxn>
                <a:cxn ang="0">
                  <a:pos x="38" y="48"/>
                </a:cxn>
                <a:cxn ang="0">
                  <a:pos x="19" y="59"/>
                </a:cxn>
                <a:cxn ang="0">
                  <a:pos x="13" y="71"/>
                </a:cxn>
                <a:cxn ang="0">
                  <a:pos x="8" y="75"/>
                </a:cxn>
                <a:cxn ang="0">
                  <a:pos x="12" y="107"/>
                </a:cxn>
                <a:cxn ang="0">
                  <a:pos x="0" y="120"/>
                </a:cxn>
                <a:cxn ang="0">
                  <a:pos x="12" y="141"/>
                </a:cxn>
                <a:cxn ang="0">
                  <a:pos x="18" y="156"/>
                </a:cxn>
                <a:cxn ang="0">
                  <a:pos x="19" y="172"/>
                </a:cxn>
                <a:cxn ang="0">
                  <a:pos x="33" y="192"/>
                </a:cxn>
                <a:cxn ang="0">
                  <a:pos x="40" y="220"/>
                </a:cxn>
                <a:cxn ang="0">
                  <a:pos x="40" y="231"/>
                </a:cxn>
                <a:cxn ang="0">
                  <a:pos x="52" y="227"/>
                </a:cxn>
                <a:cxn ang="0">
                  <a:pos x="75" y="228"/>
                </a:cxn>
                <a:cxn ang="0">
                  <a:pos x="83" y="240"/>
                </a:cxn>
                <a:cxn ang="0">
                  <a:pos x="96" y="244"/>
                </a:cxn>
                <a:cxn ang="0">
                  <a:pos x="96" y="259"/>
                </a:cxn>
                <a:cxn ang="0">
                  <a:pos x="99" y="268"/>
                </a:cxn>
                <a:cxn ang="0">
                  <a:pos x="110" y="267"/>
                </a:cxn>
                <a:cxn ang="0">
                  <a:pos x="105" y="254"/>
                </a:cxn>
                <a:cxn ang="0">
                  <a:pos x="130" y="262"/>
                </a:cxn>
                <a:cxn ang="0">
                  <a:pos x="142" y="268"/>
                </a:cxn>
                <a:cxn ang="0">
                  <a:pos x="169" y="272"/>
                </a:cxn>
                <a:cxn ang="0">
                  <a:pos x="210" y="294"/>
                </a:cxn>
                <a:cxn ang="0">
                  <a:pos x="227" y="307"/>
                </a:cxn>
                <a:cxn ang="0">
                  <a:pos x="244" y="303"/>
                </a:cxn>
                <a:cxn ang="0">
                  <a:pos x="252" y="320"/>
                </a:cxn>
              </a:cxnLst>
              <a:rect l="0" t="0" r="r" b="b"/>
              <a:pathLst>
                <a:path w="421" h="323">
                  <a:moveTo>
                    <a:pt x="252" y="320"/>
                  </a:moveTo>
                  <a:lnTo>
                    <a:pt x="255" y="321"/>
                  </a:lnTo>
                  <a:lnTo>
                    <a:pt x="264" y="321"/>
                  </a:lnTo>
                  <a:lnTo>
                    <a:pt x="269" y="314"/>
                  </a:lnTo>
                  <a:lnTo>
                    <a:pt x="276" y="312"/>
                  </a:lnTo>
                  <a:lnTo>
                    <a:pt x="284" y="313"/>
                  </a:lnTo>
                  <a:lnTo>
                    <a:pt x="295" y="313"/>
                  </a:lnTo>
                  <a:lnTo>
                    <a:pt x="301" y="317"/>
                  </a:lnTo>
                  <a:lnTo>
                    <a:pt x="307" y="312"/>
                  </a:lnTo>
                  <a:lnTo>
                    <a:pt x="314" y="311"/>
                  </a:lnTo>
                  <a:lnTo>
                    <a:pt x="321" y="313"/>
                  </a:lnTo>
                  <a:lnTo>
                    <a:pt x="327" y="311"/>
                  </a:lnTo>
                  <a:lnTo>
                    <a:pt x="344" y="312"/>
                  </a:lnTo>
                  <a:lnTo>
                    <a:pt x="363" y="321"/>
                  </a:lnTo>
                  <a:lnTo>
                    <a:pt x="373" y="323"/>
                  </a:lnTo>
                  <a:lnTo>
                    <a:pt x="374" y="309"/>
                  </a:lnTo>
                  <a:lnTo>
                    <a:pt x="372" y="298"/>
                  </a:lnTo>
                  <a:lnTo>
                    <a:pt x="401" y="269"/>
                  </a:lnTo>
                  <a:lnTo>
                    <a:pt x="405" y="257"/>
                  </a:lnTo>
                  <a:lnTo>
                    <a:pt x="412" y="250"/>
                  </a:lnTo>
                  <a:lnTo>
                    <a:pt x="419" y="250"/>
                  </a:lnTo>
                  <a:lnTo>
                    <a:pt x="421" y="238"/>
                  </a:lnTo>
                  <a:lnTo>
                    <a:pt x="418" y="233"/>
                  </a:lnTo>
                  <a:lnTo>
                    <a:pt x="417" y="226"/>
                  </a:lnTo>
                  <a:lnTo>
                    <a:pt x="421" y="222"/>
                  </a:lnTo>
                  <a:lnTo>
                    <a:pt x="409" y="215"/>
                  </a:lnTo>
                  <a:lnTo>
                    <a:pt x="405" y="203"/>
                  </a:lnTo>
                  <a:lnTo>
                    <a:pt x="399" y="198"/>
                  </a:lnTo>
                  <a:lnTo>
                    <a:pt x="399" y="179"/>
                  </a:lnTo>
                  <a:lnTo>
                    <a:pt x="400" y="168"/>
                  </a:lnTo>
                  <a:lnTo>
                    <a:pt x="390" y="155"/>
                  </a:lnTo>
                  <a:lnTo>
                    <a:pt x="386" y="143"/>
                  </a:lnTo>
                  <a:lnTo>
                    <a:pt x="394" y="132"/>
                  </a:lnTo>
                  <a:lnTo>
                    <a:pt x="402" y="129"/>
                  </a:lnTo>
                  <a:lnTo>
                    <a:pt x="402" y="103"/>
                  </a:lnTo>
                  <a:lnTo>
                    <a:pt x="397" y="99"/>
                  </a:lnTo>
                  <a:lnTo>
                    <a:pt x="395" y="88"/>
                  </a:lnTo>
                  <a:lnTo>
                    <a:pt x="389" y="80"/>
                  </a:lnTo>
                  <a:lnTo>
                    <a:pt x="382" y="60"/>
                  </a:lnTo>
                  <a:lnTo>
                    <a:pt x="373" y="49"/>
                  </a:lnTo>
                  <a:lnTo>
                    <a:pt x="374" y="39"/>
                  </a:lnTo>
                  <a:lnTo>
                    <a:pt x="370" y="24"/>
                  </a:lnTo>
                  <a:lnTo>
                    <a:pt x="363" y="23"/>
                  </a:lnTo>
                  <a:lnTo>
                    <a:pt x="353" y="16"/>
                  </a:lnTo>
                  <a:lnTo>
                    <a:pt x="292" y="20"/>
                  </a:lnTo>
                  <a:lnTo>
                    <a:pt x="234" y="18"/>
                  </a:lnTo>
                  <a:lnTo>
                    <a:pt x="228" y="20"/>
                  </a:lnTo>
                  <a:lnTo>
                    <a:pt x="212" y="33"/>
                  </a:lnTo>
                  <a:lnTo>
                    <a:pt x="199" y="35"/>
                  </a:lnTo>
                  <a:lnTo>
                    <a:pt x="197" y="33"/>
                  </a:lnTo>
                  <a:lnTo>
                    <a:pt x="210" y="25"/>
                  </a:lnTo>
                  <a:lnTo>
                    <a:pt x="222" y="14"/>
                  </a:lnTo>
                  <a:lnTo>
                    <a:pt x="217" y="14"/>
                  </a:lnTo>
                  <a:lnTo>
                    <a:pt x="208" y="24"/>
                  </a:lnTo>
                  <a:lnTo>
                    <a:pt x="191" y="31"/>
                  </a:lnTo>
                  <a:lnTo>
                    <a:pt x="171" y="25"/>
                  </a:lnTo>
                  <a:lnTo>
                    <a:pt x="166" y="16"/>
                  </a:lnTo>
                  <a:lnTo>
                    <a:pt x="170" y="10"/>
                  </a:lnTo>
                  <a:lnTo>
                    <a:pt x="180" y="11"/>
                  </a:lnTo>
                  <a:lnTo>
                    <a:pt x="185" y="13"/>
                  </a:lnTo>
                  <a:lnTo>
                    <a:pt x="186" y="11"/>
                  </a:lnTo>
                  <a:lnTo>
                    <a:pt x="173" y="5"/>
                  </a:lnTo>
                  <a:lnTo>
                    <a:pt x="150" y="0"/>
                  </a:lnTo>
                  <a:lnTo>
                    <a:pt x="131" y="8"/>
                  </a:lnTo>
                  <a:lnTo>
                    <a:pt x="118" y="7"/>
                  </a:lnTo>
                  <a:lnTo>
                    <a:pt x="105" y="12"/>
                  </a:lnTo>
                  <a:lnTo>
                    <a:pt x="96" y="22"/>
                  </a:lnTo>
                  <a:lnTo>
                    <a:pt x="83" y="23"/>
                  </a:lnTo>
                  <a:lnTo>
                    <a:pt x="75" y="31"/>
                  </a:lnTo>
                  <a:lnTo>
                    <a:pt x="75" y="37"/>
                  </a:lnTo>
                  <a:lnTo>
                    <a:pt x="60" y="37"/>
                  </a:lnTo>
                  <a:lnTo>
                    <a:pt x="38" y="48"/>
                  </a:lnTo>
                  <a:lnTo>
                    <a:pt x="24" y="49"/>
                  </a:lnTo>
                  <a:lnTo>
                    <a:pt x="19" y="59"/>
                  </a:lnTo>
                  <a:lnTo>
                    <a:pt x="15" y="70"/>
                  </a:lnTo>
                  <a:lnTo>
                    <a:pt x="13" y="71"/>
                  </a:lnTo>
                  <a:lnTo>
                    <a:pt x="13" y="75"/>
                  </a:lnTo>
                  <a:lnTo>
                    <a:pt x="8" y="75"/>
                  </a:lnTo>
                  <a:lnTo>
                    <a:pt x="13" y="94"/>
                  </a:lnTo>
                  <a:lnTo>
                    <a:pt x="12" y="107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13" y="133"/>
                  </a:lnTo>
                  <a:lnTo>
                    <a:pt x="12" y="141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3" y="164"/>
                  </a:lnTo>
                  <a:lnTo>
                    <a:pt x="19" y="172"/>
                  </a:lnTo>
                  <a:lnTo>
                    <a:pt x="27" y="188"/>
                  </a:lnTo>
                  <a:lnTo>
                    <a:pt x="33" y="192"/>
                  </a:lnTo>
                  <a:lnTo>
                    <a:pt x="38" y="198"/>
                  </a:lnTo>
                  <a:lnTo>
                    <a:pt x="40" y="220"/>
                  </a:lnTo>
                  <a:lnTo>
                    <a:pt x="37" y="224"/>
                  </a:lnTo>
                  <a:lnTo>
                    <a:pt x="40" y="231"/>
                  </a:lnTo>
                  <a:lnTo>
                    <a:pt x="44" y="226"/>
                  </a:lnTo>
                  <a:lnTo>
                    <a:pt x="52" y="227"/>
                  </a:lnTo>
                  <a:lnTo>
                    <a:pt x="56" y="226"/>
                  </a:lnTo>
                  <a:lnTo>
                    <a:pt x="75" y="228"/>
                  </a:lnTo>
                  <a:lnTo>
                    <a:pt x="75" y="233"/>
                  </a:lnTo>
                  <a:lnTo>
                    <a:pt x="83" y="240"/>
                  </a:lnTo>
                  <a:lnTo>
                    <a:pt x="90" y="239"/>
                  </a:lnTo>
                  <a:lnTo>
                    <a:pt x="96" y="244"/>
                  </a:lnTo>
                  <a:lnTo>
                    <a:pt x="93" y="254"/>
                  </a:lnTo>
                  <a:lnTo>
                    <a:pt x="96" y="259"/>
                  </a:lnTo>
                  <a:lnTo>
                    <a:pt x="99" y="260"/>
                  </a:lnTo>
                  <a:lnTo>
                    <a:pt x="99" y="268"/>
                  </a:lnTo>
                  <a:lnTo>
                    <a:pt x="105" y="271"/>
                  </a:lnTo>
                  <a:lnTo>
                    <a:pt x="110" y="267"/>
                  </a:lnTo>
                  <a:lnTo>
                    <a:pt x="116" y="267"/>
                  </a:lnTo>
                  <a:lnTo>
                    <a:pt x="105" y="254"/>
                  </a:lnTo>
                  <a:lnTo>
                    <a:pt x="110" y="251"/>
                  </a:lnTo>
                  <a:lnTo>
                    <a:pt x="130" y="262"/>
                  </a:lnTo>
                  <a:lnTo>
                    <a:pt x="145" y="261"/>
                  </a:lnTo>
                  <a:lnTo>
                    <a:pt x="142" y="268"/>
                  </a:lnTo>
                  <a:lnTo>
                    <a:pt x="152" y="276"/>
                  </a:lnTo>
                  <a:lnTo>
                    <a:pt x="169" y="272"/>
                  </a:lnTo>
                  <a:lnTo>
                    <a:pt x="182" y="276"/>
                  </a:lnTo>
                  <a:lnTo>
                    <a:pt x="210" y="294"/>
                  </a:lnTo>
                  <a:lnTo>
                    <a:pt x="220" y="307"/>
                  </a:lnTo>
                  <a:lnTo>
                    <a:pt x="227" y="307"/>
                  </a:lnTo>
                  <a:lnTo>
                    <a:pt x="231" y="303"/>
                  </a:lnTo>
                  <a:lnTo>
                    <a:pt x="244" y="303"/>
                  </a:lnTo>
                  <a:lnTo>
                    <a:pt x="250" y="309"/>
                  </a:lnTo>
                  <a:lnTo>
                    <a:pt x="252" y="3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1" name="Freeform 32"/>
            <p:cNvSpPr>
              <a:spLocks/>
            </p:cNvSpPr>
            <p:nvPr/>
          </p:nvSpPr>
          <p:spPr bwMode="auto">
            <a:xfrm>
              <a:off x="3890963" y="2746375"/>
              <a:ext cx="534988" cy="207963"/>
            </a:xfrm>
            <a:custGeom>
              <a:avLst/>
              <a:gdLst/>
              <a:ahLst/>
              <a:cxnLst>
                <a:cxn ang="0">
                  <a:pos x="125" y="7"/>
                </a:cxn>
                <a:cxn ang="0">
                  <a:pos x="137" y="3"/>
                </a:cxn>
                <a:cxn ang="0">
                  <a:pos x="160" y="4"/>
                </a:cxn>
                <a:cxn ang="0">
                  <a:pos x="168" y="16"/>
                </a:cxn>
                <a:cxn ang="0">
                  <a:pos x="181" y="20"/>
                </a:cxn>
                <a:cxn ang="0">
                  <a:pos x="181" y="35"/>
                </a:cxn>
                <a:cxn ang="0">
                  <a:pos x="184" y="44"/>
                </a:cxn>
                <a:cxn ang="0">
                  <a:pos x="195" y="43"/>
                </a:cxn>
                <a:cxn ang="0">
                  <a:pos x="190" y="30"/>
                </a:cxn>
                <a:cxn ang="0">
                  <a:pos x="215" y="38"/>
                </a:cxn>
                <a:cxn ang="0">
                  <a:pos x="227" y="44"/>
                </a:cxn>
                <a:cxn ang="0">
                  <a:pos x="254" y="48"/>
                </a:cxn>
                <a:cxn ang="0">
                  <a:pos x="295" y="70"/>
                </a:cxn>
                <a:cxn ang="0">
                  <a:pos x="312" y="83"/>
                </a:cxn>
                <a:cxn ang="0">
                  <a:pos x="329" y="79"/>
                </a:cxn>
                <a:cxn ang="0">
                  <a:pos x="337" y="97"/>
                </a:cxn>
                <a:cxn ang="0">
                  <a:pos x="307" y="103"/>
                </a:cxn>
                <a:cxn ang="0">
                  <a:pos x="282" y="116"/>
                </a:cxn>
                <a:cxn ang="0">
                  <a:pos x="248" y="124"/>
                </a:cxn>
                <a:cxn ang="0">
                  <a:pos x="233" y="120"/>
                </a:cxn>
                <a:cxn ang="0">
                  <a:pos x="202" y="123"/>
                </a:cxn>
                <a:cxn ang="0">
                  <a:pos x="181" y="120"/>
                </a:cxn>
                <a:cxn ang="0">
                  <a:pos x="157" y="112"/>
                </a:cxn>
                <a:cxn ang="0">
                  <a:pos x="131" y="108"/>
                </a:cxn>
                <a:cxn ang="0">
                  <a:pos x="123" y="120"/>
                </a:cxn>
                <a:cxn ang="0">
                  <a:pos x="110" y="126"/>
                </a:cxn>
                <a:cxn ang="0">
                  <a:pos x="82" y="119"/>
                </a:cxn>
                <a:cxn ang="0">
                  <a:pos x="76" y="118"/>
                </a:cxn>
                <a:cxn ang="0">
                  <a:pos x="48" y="94"/>
                </a:cxn>
                <a:cxn ang="0">
                  <a:pos x="24" y="79"/>
                </a:cxn>
                <a:cxn ang="0">
                  <a:pos x="22" y="64"/>
                </a:cxn>
                <a:cxn ang="0">
                  <a:pos x="0" y="43"/>
                </a:cxn>
                <a:cxn ang="0">
                  <a:pos x="4" y="35"/>
                </a:cxn>
                <a:cxn ang="0">
                  <a:pos x="16" y="41"/>
                </a:cxn>
                <a:cxn ang="0">
                  <a:pos x="40" y="27"/>
                </a:cxn>
                <a:cxn ang="0">
                  <a:pos x="58" y="18"/>
                </a:cxn>
                <a:cxn ang="0">
                  <a:pos x="79" y="10"/>
                </a:cxn>
                <a:cxn ang="0">
                  <a:pos x="93" y="8"/>
                </a:cxn>
                <a:cxn ang="0">
                  <a:pos x="108" y="3"/>
                </a:cxn>
                <a:cxn ang="0">
                  <a:pos x="120" y="2"/>
                </a:cxn>
              </a:cxnLst>
              <a:rect l="0" t="0" r="r" b="b"/>
              <a:pathLst>
                <a:path w="337" h="131">
                  <a:moveTo>
                    <a:pt x="122" y="0"/>
                  </a:moveTo>
                  <a:lnTo>
                    <a:pt x="125" y="7"/>
                  </a:lnTo>
                  <a:lnTo>
                    <a:pt x="129" y="2"/>
                  </a:lnTo>
                  <a:lnTo>
                    <a:pt x="137" y="3"/>
                  </a:lnTo>
                  <a:lnTo>
                    <a:pt x="141" y="2"/>
                  </a:lnTo>
                  <a:lnTo>
                    <a:pt x="160" y="4"/>
                  </a:lnTo>
                  <a:lnTo>
                    <a:pt x="160" y="9"/>
                  </a:lnTo>
                  <a:lnTo>
                    <a:pt x="168" y="16"/>
                  </a:lnTo>
                  <a:lnTo>
                    <a:pt x="175" y="15"/>
                  </a:lnTo>
                  <a:lnTo>
                    <a:pt x="181" y="20"/>
                  </a:lnTo>
                  <a:lnTo>
                    <a:pt x="178" y="30"/>
                  </a:lnTo>
                  <a:lnTo>
                    <a:pt x="181" y="35"/>
                  </a:lnTo>
                  <a:lnTo>
                    <a:pt x="184" y="36"/>
                  </a:lnTo>
                  <a:lnTo>
                    <a:pt x="184" y="44"/>
                  </a:lnTo>
                  <a:lnTo>
                    <a:pt x="190" y="47"/>
                  </a:lnTo>
                  <a:lnTo>
                    <a:pt x="195" y="43"/>
                  </a:lnTo>
                  <a:lnTo>
                    <a:pt x="201" y="43"/>
                  </a:lnTo>
                  <a:lnTo>
                    <a:pt x="190" y="30"/>
                  </a:lnTo>
                  <a:lnTo>
                    <a:pt x="195" y="27"/>
                  </a:lnTo>
                  <a:lnTo>
                    <a:pt x="215" y="38"/>
                  </a:lnTo>
                  <a:lnTo>
                    <a:pt x="230" y="37"/>
                  </a:lnTo>
                  <a:lnTo>
                    <a:pt x="227" y="44"/>
                  </a:lnTo>
                  <a:lnTo>
                    <a:pt x="237" y="52"/>
                  </a:lnTo>
                  <a:lnTo>
                    <a:pt x="254" y="48"/>
                  </a:lnTo>
                  <a:lnTo>
                    <a:pt x="267" y="52"/>
                  </a:lnTo>
                  <a:lnTo>
                    <a:pt x="295" y="70"/>
                  </a:lnTo>
                  <a:lnTo>
                    <a:pt x="305" y="83"/>
                  </a:lnTo>
                  <a:lnTo>
                    <a:pt x="312" y="83"/>
                  </a:lnTo>
                  <a:lnTo>
                    <a:pt x="316" y="79"/>
                  </a:lnTo>
                  <a:lnTo>
                    <a:pt x="329" y="79"/>
                  </a:lnTo>
                  <a:lnTo>
                    <a:pt x="335" y="85"/>
                  </a:lnTo>
                  <a:lnTo>
                    <a:pt x="337" y="97"/>
                  </a:lnTo>
                  <a:lnTo>
                    <a:pt x="317" y="95"/>
                  </a:lnTo>
                  <a:lnTo>
                    <a:pt x="307" y="103"/>
                  </a:lnTo>
                  <a:lnTo>
                    <a:pt x="295" y="105"/>
                  </a:lnTo>
                  <a:lnTo>
                    <a:pt x="282" y="116"/>
                  </a:lnTo>
                  <a:lnTo>
                    <a:pt x="265" y="118"/>
                  </a:lnTo>
                  <a:lnTo>
                    <a:pt x="248" y="124"/>
                  </a:lnTo>
                  <a:lnTo>
                    <a:pt x="243" y="120"/>
                  </a:lnTo>
                  <a:lnTo>
                    <a:pt x="233" y="120"/>
                  </a:lnTo>
                  <a:lnTo>
                    <a:pt x="222" y="128"/>
                  </a:lnTo>
                  <a:lnTo>
                    <a:pt x="202" y="123"/>
                  </a:lnTo>
                  <a:lnTo>
                    <a:pt x="193" y="118"/>
                  </a:lnTo>
                  <a:lnTo>
                    <a:pt x="181" y="120"/>
                  </a:lnTo>
                  <a:lnTo>
                    <a:pt x="168" y="119"/>
                  </a:lnTo>
                  <a:lnTo>
                    <a:pt x="157" y="112"/>
                  </a:lnTo>
                  <a:lnTo>
                    <a:pt x="140" y="112"/>
                  </a:lnTo>
                  <a:lnTo>
                    <a:pt x="131" y="108"/>
                  </a:lnTo>
                  <a:lnTo>
                    <a:pt x="128" y="117"/>
                  </a:lnTo>
                  <a:lnTo>
                    <a:pt x="123" y="120"/>
                  </a:lnTo>
                  <a:lnTo>
                    <a:pt x="122" y="126"/>
                  </a:lnTo>
                  <a:lnTo>
                    <a:pt x="110" y="126"/>
                  </a:lnTo>
                  <a:lnTo>
                    <a:pt x="105" y="131"/>
                  </a:lnTo>
                  <a:lnTo>
                    <a:pt x="82" y="119"/>
                  </a:lnTo>
                  <a:lnTo>
                    <a:pt x="76" y="119"/>
                  </a:lnTo>
                  <a:lnTo>
                    <a:pt x="76" y="118"/>
                  </a:lnTo>
                  <a:lnTo>
                    <a:pt x="57" y="100"/>
                  </a:lnTo>
                  <a:lnTo>
                    <a:pt x="48" y="94"/>
                  </a:lnTo>
                  <a:lnTo>
                    <a:pt x="33" y="84"/>
                  </a:lnTo>
                  <a:lnTo>
                    <a:pt x="24" y="79"/>
                  </a:lnTo>
                  <a:lnTo>
                    <a:pt x="22" y="73"/>
                  </a:lnTo>
                  <a:lnTo>
                    <a:pt x="22" y="64"/>
                  </a:lnTo>
                  <a:lnTo>
                    <a:pt x="12" y="50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4" y="35"/>
                  </a:lnTo>
                  <a:lnTo>
                    <a:pt x="9" y="38"/>
                  </a:lnTo>
                  <a:lnTo>
                    <a:pt x="16" y="41"/>
                  </a:lnTo>
                  <a:lnTo>
                    <a:pt x="31" y="27"/>
                  </a:lnTo>
                  <a:lnTo>
                    <a:pt x="40" y="27"/>
                  </a:lnTo>
                  <a:lnTo>
                    <a:pt x="48" y="18"/>
                  </a:lnTo>
                  <a:lnTo>
                    <a:pt x="58" y="18"/>
                  </a:lnTo>
                  <a:lnTo>
                    <a:pt x="64" y="10"/>
                  </a:lnTo>
                  <a:lnTo>
                    <a:pt x="79" y="10"/>
                  </a:lnTo>
                  <a:lnTo>
                    <a:pt x="86" y="12"/>
                  </a:lnTo>
                  <a:lnTo>
                    <a:pt x="93" y="8"/>
                  </a:lnTo>
                  <a:lnTo>
                    <a:pt x="93" y="0"/>
                  </a:lnTo>
                  <a:lnTo>
                    <a:pt x="108" y="3"/>
                  </a:lnTo>
                  <a:lnTo>
                    <a:pt x="114" y="0"/>
                  </a:lnTo>
                  <a:lnTo>
                    <a:pt x="120" y="2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2" name="Freeform 33"/>
            <p:cNvSpPr>
              <a:spLocks/>
            </p:cNvSpPr>
            <p:nvPr/>
          </p:nvSpPr>
          <p:spPr bwMode="auto">
            <a:xfrm>
              <a:off x="3476625" y="2393950"/>
              <a:ext cx="612775" cy="658813"/>
            </a:xfrm>
            <a:custGeom>
              <a:avLst/>
              <a:gdLst/>
              <a:ahLst/>
              <a:cxnLst>
                <a:cxn ang="0">
                  <a:pos x="141" y="6"/>
                </a:cxn>
                <a:cxn ang="0">
                  <a:pos x="163" y="25"/>
                </a:cxn>
                <a:cxn ang="0">
                  <a:pos x="170" y="41"/>
                </a:cxn>
                <a:cxn ang="0">
                  <a:pos x="189" y="34"/>
                </a:cxn>
                <a:cxn ang="0">
                  <a:pos x="213" y="37"/>
                </a:cxn>
                <a:cxn ang="0">
                  <a:pos x="193" y="54"/>
                </a:cxn>
                <a:cxn ang="0">
                  <a:pos x="220" y="61"/>
                </a:cxn>
                <a:cxn ang="0">
                  <a:pos x="255" y="44"/>
                </a:cxn>
                <a:cxn ang="0">
                  <a:pos x="270" y="29"/>
                </a:cxn>
                <a:cxn ang="0">
                  <a:pos x="267" y="37"/>
                </a:cxn>
                <a:cxn ang="0">
                  <a:pos x="285" y="37"/>
                </a:cxn>
                <a:cxn ang="0">
                  <a:pos x="312" y="51"/>
                </a:cxn>
                <a:cxn ang="0">
                  <a:pos x="334" y="70"/>
                </a:cxn>
                <a:cxn ang="0">
                  <a:pos x="359" y="92"/>
                </a:cxn>
                <a:cxn ang="0">
                  <a:pos x="359" y="131"/>
                </a:cxn>
                <a:cxn ang="0">
                  <a:pos x="369" y="162"/>
                </a:cxn>
                <a:cxn ang="0">
                  <a:pos x="384" y="196"/>
                </a:cxn>
                <a:cxn ang="0">
                  <a:pos x="369" y="225"/>
                </a:cxn>
                <a:cxn ang="0">
                  <a:pos x="340" y="232"/>
                </a:cxn>
                <a:cxn ang="0">
                  <a:pos x="301" y="249"/>
                </a:cxn>
                <a:cxn ang="0">
                  <a:pos x="265" y="257"/>
                </a:cxn>
                <a:cxn ang="0">
                  <a:pos x="283" y="286"/>
                </a:cxn>
                <a:cxn ang="0">
                  <a:pos x="309" y="316"/>
                </a:cxn>
                <a:cxn ang="0">
                  <a:pos x="336" y="357"/>
                </a:cxn>
                <a:cxn ang="0">
                  <a:pos x="300" y="384"/>
                </a:cxn>
                <a:cxn ang="0">
                  <a:pos x="308" y="405"/>
                </a:cxn>
                <a:cxn ang="0">
                  <a:pos x="270" y="400"/>
                </a:cxn>
                <a:cxn ang="0">
                  <a:pos x="232" y="410"/>
                </a:cxn>
                <a:cxn ang="0">
                  <a:pos x="202" y="411"/>
                </a:cxn>
                <a:cxn ang="0">
                  <a:pos x="173" y="409"/>
                </a:cxn>
                <a:cxn ang="0">
                  <a:pos x="147" y="400"/>
                </a:cxn>
                <a:cxn ang="0">
                  <a:pos x="128" y="394"/>
                </a:cxn>
                <a:cxn ang="0">
                  <a:pos x="105" y="404"/>
                </a:cxn>
                <a:cxn ang="0">
                  <a:pos x="85" y="398"/>
                </a:cxn>
                <a:cxn ang="0">
                  <a:pos x="87" y="362"/>
                </a:cxn>
                <a:cxn ang="0">
                  <a:pos x="93" y="328"/>
                </a:cxn>
                <a:cxn ang="0">
                  <a:pos x="59" y="323"/>
                </a:cxn>
                <a:cxn ang="0">
                  <a:pos x="36" y="315"/>
                </a:cxn>
                <a:cxn ang="0">
                  <a:pos x="23" y="292"/>
                </a:cxn>
                <a:cxn ang="0">
                  <a:pos x="13" y="259"/>
                </a:cxn>
                <a:cxn ang="0">
                  <a:pos x="4" y="228"/>
                </a:cxn>
                <a:cxn ang="0">
                  <a:pos x="6" y="193"/>
                </a:cxn>
                <a:cxn ang="0">
                  <a:pos x="42" y="177"/>
                </a:cxn>
                <a:cxn ang="0">
                  <a:pos x="51" y="153"/>
                </a:cxn>
                <a:cxn ang="0">
                  <a:pos x="36" y="139"/>
                </a:cxn>
                <a:cxn ang="0">
                  <a:pos x="56" y="122"/>
                </a:cxn>
                <a:cxn ang="0">
                  <a:pos x="63" y="105"/>
                </a:cxn>
                <a:cxn ang="0">
                  <a:pos x="47" y="89"/>
                </a:cxn>
                <a:cxn ang="0">
                  <a:pos x="86" y="80"/>
                </a:cxn>
                <a:cxn ang="0">
                  <a:pos x="94" y="86"/>
                </a:cxn>
                <a:cxn ang="0">
                  <a:pos x="104" y="93"/>
                </a:cxn>
                <a:cxn ang="0">
                  <a:pos x="108" y="76"/>
                </a:cxn>
                <a:cxn ang="0">
                  <a:pos x="138" y="67"/>
                </a:cxn>
                <a:cxn ang="0">
                  <a:pos x="139" y="64"/>
                </a:cxn>
                <a:cxn ang="0">
                  <a:pos x="128" y="50"/>
                </a:cxn>
                <a:cxn ang="0">
                  <a:pos x="112" y="31"/>
                </a:cxn>
                <a:cxn ang="0">
                  <a:pos x="118" y="14"/>
                </a:cxn>
                <a:cxn ang="0">
                  <a:pos x="108" y="0"/>
                </a:cxn>
              </a:cxnLst>
              <a:rect l="0" t="0" r="r" b="b"/>
              <a:pathLst>
                <a:path w="386" h="415">
                  <a:moveTo>
                    <a:pt x="108" y="0"/>
                  </a:moveTo>
                  <a:lnTo>
                    <a:pt x="120" y="0"/>
                  </a:lnTo>
                  <a:lnTo>
                    <a:pt x="137" y="4"/>
                  </a:lnTo>
                  <a:lnTo>
                    <a:pt x="141" y="6"/>
                  </a:lnTo>
                  <a:lnTo>
                    <a:pt x="150" y="5"/>
                  </a:lnTo>
                  <a:lnTo>
                    <a:pt x="158" y="14"/>
                  </a:lnTo>
                  <a:lnTo>
                    <a:pt x="168" y="15"/>
                  </a:lnTo>
                  <a:lnTo>
                    <a:pt x="163" y="25"/>
                  </a:lnTo>
                  <a:lnTo>
                    <a:pt x="158" y="28"/>
                  </a:lnTo>
                  <a:lnTo>
                    <a:pt x="161" y="33"/>
                  </a:lnTo>
                  <a:lnTo>
                    <a:pt x="168" y="35"/>
                  </a:lnTo>
                  <a:lnTo>
                    <a:pt x="170" y="41"/>
                  </a:lnTo>
                  <a:lnTo>
                    <a:pt x="178" y="37"/>
                  </a:lnTo>
                  <a:lnTo>
                    <a:pt x="180" y="33"/>
                  </a:lnTo>
                  <a:lnTo>
                    <a:pt x="185" y="31"/>
                  </a:lnTo>
                  <a:lnTo>
                    <a:pt x="189" y="34"/>
                  </a:lnTo>
                  <a:lnTo>
                    <a:pt x="199" y="43"/>
                  </a:lnTo>
                  <a:lnTo>
                    <a:pt x="202" y="39"/>
                  </a:lnTo>
                  <a:lnTo>
                    <a:pt x="209" y="34"/>
                  </a:lnTo>
                  <a:lnTo>
                    <a:pt x="213" y="37"/>
                  </a:lnTo>
                  <a:lnTo>
                    <a:pt x="213" y="43"/>
                  </a:lnTo>
                  <a:lnTo>
                    <a:pt x="207" y="50"/>
                  </a:lnTo>
                  <a:lnTo>
                    <a:pt x="202" y="49"/>
                  </a:lnTo>
                  <a:lnTo>
                    <a:pt x="193" y="54"/>
                  </a:lnTo>
                  <a:lnTo>
                    <a:pt x="205" y="57"/>
                  </a:lnTo>
                  <a:lnTo>
                    <a:pt x="209" y="55"/>
                  </a:lnTo>
                  <a:lnTo>
                    <a:pt x="218" y="56"/>
                  </a:lnTo>
                  <a:lnTo>
                    <a:pt x="220" y="61"/>
                  </a:lnTo>
                  <a:lnTo>
                    <a:pt x="230" y="60"/>
                  </a:lnTo>
                  <a:lnTo>
                    <a:pt x="232" y="54"/>
                  </a:lnTo>
                  <a:lnTo>
                    <a:pt x="238" y="46"/>
                  </a:lnTo>
                  <a:lnTo>
                    <a:pt x="255" y="44"/>
                  </a:lnTo>
                  <a:lnTo>
                    <a:pt x="255" y="40"/>
                  </a:lnTo>
                  <a:lnTo>
                    <a:pt x="265" y="35"/>
                  </a:lnTo>
                  <a:lnTo>
                    <a:pt x="266" y="32"/>
                  </a:lnTo>
                  <a:lnTo>
                    <a:pt x="270" y="29"/>
                  </a:lnTo>
                  <a:lnTo>
                    <a:pt x="282" y="31"/>
                  </a:lnTo>
                  <a:lnTo>
                    <a:pt x="272" y="34"/>
                  </a:lnTo>
                  <a:lnTo>
                    <a:pt x="268" y="38"/>
                  </a:lnTo>
                  <a:lnTo>
                    <a:pt x="267" y="37"/>
                  </a:lnTo>
                  <a:lnTo>
                    <a:pt x="262" y="40"/>
                  </a:lnTo>
                  <a:lnTo>
                    <a:pt x="266" y="44"/>
                  </a:lnTo>
                  <a:lnTo>
                    <a:pt x="276" y="38"/>
                  </a:lnTo>
                  <a:lnTo>
                    <a:pt x="285" y="37"/>
                  </a:lnTo>
                  <a:lnTo>
                    <a:pt x="289" y="35"/>
                  </a:lnTo>
                  <a:lnTo>
                    <a:pt x="292" y="39"/>
                  </a:lnTo>
                  <a:lnTo>
                    <a:pt x="300" y="40"/>
                  </a:lnTo>
                  <a:lnTo>
                    <a:pt x="312" y="51"/>
                  </a:lnTo>
                  <a:lnTo>
                    <a:pt x="321" y="50"/>
                  </a:lnTo>
                  <a:lnTo>
                    <a:pt x="326" y="56"/>
                  </a:lnTo>
                  <a:lnTo>
                    <a:pt x="325" y="64"/>
                  </a:lnTo>
                  <a:lnTo>
                    <a:pt x="334" y="70"/>
                  </a:lnTo>
                  <a:lnTo>
                    <a:pt x="341" y="69"/>
                  </a:lnTo>
                  <a:lnTo>
                    <a:pt x="346" y="74"/>
                  </a:lnTo>
                  <a:lnTo>
                    <a:pt x="354" y="73"/>
                  </a:lnTo>
                  <a:lnTo>
                    <a:pt x="359" y="92"/>
                  </a:lnTo>
                  <a:lnTo>
                    <a:pt x="358" y="105"/>
                  </a:lnTo>
                  <a:lnTo>
                    <a:pt x="346" y="112"/>
                  </a:lnTo>
                  <a:lnTo>
                    <a:pt x="346" y="118"/>
                  </a:lnTo>
                  <a:lnTo>
                    <a:pt x="359" y="131"/>
                  </a:lnTo>
                  <a:lnTo>
                    <a:pt x="358" y="139"/>
                  </a:lnTo>
                  <a:lnTo>
                    <a:pt x="364" y="148"/>
                  </a:lnTo>
                  <a:lnTo>
                    <a:pt x="364" y="154"/>
                  </a:lnTo>
                  <a:lnTo>
                    <a:pt x="369" y="162"/>
                  </a:lnTo>
                  <a:lnTo>
                    <a:pt x="365" y="170"/>
                  </a:lnTo>
                  <a:lnTo>
                    <a:pt x="373" y="186"/>
                  </a:lnTo>
                  <a:lnTo>
                    <a:pt x="379" y="190"/>
                  </a:lnTo>
                  <a:lnTo>
                    <a:pt x="384" y="196"/>
                  </a:lnTo>
                  <a:lnTo>
                    <a:pt x="386" y="218"/>
                  </a:lnTo>
                  <a:lnTo>
                    <a:pt x="381" y="224"/>
                  </a:lnTo>
                  <a:lnTo>
                    <a:pt x="375" y="222"/>
                  </a:lnTo>
                  <a:lnTo>
                    <a:pt x="369" y="225"/>
                  </a:lnTo>
                  <a:lnTo>
                    <a:pt x="354" y="222"/>
                  </a:lnTo>
                  <a:lnTo>
                    <a:pt x="354" y="230"/>
                  </a:lnTo>
                  <a:lnTo>
                    <a:pt x="347" y="234"/>
                  </a:lnTo>
                  <a:lnTo>
                    <a:pt x="340" y="232"/>
                  </a:lnTo>
                  <a:lnTo>
                    <a:pt x="325" y="232"/>
                  </a:lnTo>
                  <a:lnTo>
                    <a:pt x="319" y="240"/>
                  </a:lnTo>
                  <a:lnTo>
                    <a:pt x="309" y="240"/>
                  </a:lnTo>
                  <a:lnTo>
                    <a:pt x="301" y="249"/>
                  </a:lnTo>
                  <a:lnTo>
                    <a:pt x="292" y="249"/>
                  </a:lnTo>
                  <a:lnTo>
                    <a:pt x="277" y="263"/>
                  </a:lnTo>
                  <a:lnTo>
                    <a:pt x="270" y="260"/>
                  </a:lnTo>
                  <a:lnTo>
                    <a:pt x="265" y="257"/>
                  </a:lnTo>
                  <a:lnTo>
                    <a:pt x="261" y="259"/>
                  </a:lnTo>
                  <a:lnTo>
                    <a:pt x="261" y="265"/>
                  </a:lnTo>
                  <a:lnTo>
                    <a:pt x="273" y="272"/>
                  </a:lnTo>
                  <a:lnTo>
                    <a:pt x="283" y="286"/>
                  </a:lnTo>
                  <a:lnTo>
                    <a:pt x="283" y="295"/>
                  </a:lnTo>
                  <a:lnTo>
                    <a:pt x="285" y="301"/>
                  </a:lnTo>
                  <a:lnTo>
                    <a:pt x="294" y="306"/>
                  </a:lnTo>
                  <a:lnTo>
                    <a:pt x="309" y="316"/>
                  </a:lnTo>
                  <a:lnTo>
                    <a:pt x="318" y="322"/>
                  </a:lnTo>
                  <a:lnTo>
                    <a:pt x="337" y="340"/>
                  </a:lnTo>
                  <a:lnTo>
                    <a:pt x="335" y="348"/>
                  </a:lnTo>
                  <a:lnTo>
                    <a:pt x="336" y="357"/>
                  </a:lnTo>
                  <a:lnTo>
                    <a:pt x="329" y="357"/>
                  </a:lnTo>
                  <a:lnTo>
                    <a:pt x="323" y="365"/>
                  </a:lnTo>
                  <a:lnTo>
                    <a:pt x="312" y="370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12" y="394"/>
                  </a:lnTo>
                  <a:lnTo>
                    <a:pt x="313" y="402"/>
                  </a:lnTo>
                  <a:lnTo>
                    <a:pt x="308" y="405"/>
                  </a:lnTo>
                  <a:lnTo>
                    <a:pt x="297" y="399"/>
                  </a:lnTo>
                  <a:lnTo>
                    <a:pt x="288" y="403"/>
                  </a:lnTo>
                  <a:lnTo>
                    <a:pt x="277" y="399"/>
                  </a:lnTo>
                  <a:lnTo>
                    <a:pt x="270" y="400"/>
                  </a:lnTo>
                  <a:lnTo>
                    <a:pt x="255" y="409"/>
                  </a:lnTo>
                  <a:lnTo>
                    <a:pt x="247" y="410"/>
                  </a:lnTo>
                  <a:lnTo>
                    <a:pt x="240" y="409"/>
                  </a:lnTo>
                  <a:lnTo>
                    <a:pt x="232" y="410"/>
                  </a:lnTo>
                  <a:lnTo>
                    <a:pt x="225" y="406"/>
                  </a:lnTo>
                  <a:lnTo>
                    <a:pt x="213" y="405"/>
                  </a:lnTo>
                  <a:lnTo>
                    <a:pt x="201" y="406"/>
                  </a:lnTo>
                  <a:lnTo>
                    <a:pt x="202" y="411"/>
                  </a:lnTo>
                  <a:lnTo>
                    <a:pt x="198" y="415"/>
                  </a:lnTo>
                  <a:lnTo>
                    <a:pt x="187" y="413"/>
                  </a:lnTo>
                  <a:lnTo>
                    <a:pt x="180" y="406"/>
                  </a:lnTo>
                  <a:lnTo>
                    <a:pt x="173" y="409"/>
                  </a:lnTo>
                  <a:lnTo>
                    <a:pt x="167" y="411"/>
                  </a:lnTo>
                  <a:lnTo>
                    <a:pt x="164" y="411"/>
                  </a:lnTo>
                  <a:lnTo>
                    <a:pt x="160" y="409"/>
                  </a:lnTo>
                  <a:lnTo>
                    <a:pt x="147" y="400"/>
                  </a:lnTo>
                  <a:lnTo>
                    <a:pt x="141" y="400"/>
                  </a:lnTo>
                  <a:lnTo>
                    <a:pt x="137" y="404"/>
                  </a:lnTo>
                  <a:lnTo>
                    <a:pt x="131" y="403"/>
                  </a:lnTo>
                  <a:lnTo>
                    <a:pt x="128" y="394"/>
                  </a:lnTo>
                  <a:lnTo>
                    <a:pt x="118" y="397"/>
                  </a:lnTo>
                  <a:lnTo>
                    <a:pt x="120" y="403"/>
                  </a:lnTo>
                  <a:lnTo>
                    <a:pt x="116" y="408"/>
                  </a:lnTo>
                  <a:lnTo>
                    <a:pt x="105" y="404"/>
                  </a:lnTo>
                  <a:lnTo>
                    <a:pt x="97" y="408"/>
                  </a:lnTo>
                  <a:lnTo>
                    <a:pt x="89" y="406"/>
                  </a:lnTo>
                  <a:lnTo>
                    <a:pt x="89" y="406"/>
                  </a:lnTo>
                  <a:lnTo>
                    <a:pt x="85" y="398"/>
                  </a:lnTo>
                  <a:lnTo>
                    <a:pt x="77" y="393"/>
                  </a:lnTo>
                  <a:lnTo>
                    <a:pt x="76" y="381"/>
                  </a:lnTo>
                  <a:lnTo>
                    <a:pt x="81" y="367"/>
                  </a:lnTo>
                  <a:lnTo>
                    <a:pt x="87" y="362"/>
                  </a:lnTo>
                  <a:lnTo>
                    <a:pt x="87" y="356"/>
                  </a:lnTo>
                  <a:lnTo>
                    <a:pt x="92" y="342"/>
                  </a:lnTo>
                  <a:lnTo>
                    <a:pt x="103" y="333"/>
                  </a:lnTo>
                  <a:lnTo>
                    <a:pt x="93" y="328"/>
                  </a:lnTo>
                  <a:lnTo>
                    <a:pt x="85" y="328"/>
                  </a:lnTo>
                  <a:lnTo>
                    <a:pt x="74" y="323"/>
                  </a:lnTo>
                  <a:lnTo>
                    <a:pt x="65" y="325"/>
                  </a:lnTo>
                  <a:lnTo>
                    <a:pt x="59" y="323"/>
                  </a:lnTo>
                  <a:lnTo>
                    <a:pt x="52" y="323"/>
                  </a:lnTo>
                  <a:lnTo>
                    <a:pt x="45" y="325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28" y="309"/>
                  </a:lnTo>
                  <a:lnTo>
                    <a:pt x="28" y="309"/>
                  </a:lnTo>
                  <a:lnTo>
                    <a:pt x="28" y="295"/>
                  </a:lnTo>
                  <a:lnTo>
                    <a:pt x="23" y="292"/>
                  </a:lnTo>
                  <a:lnTo>
                    <a:pt x="22" y="283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13" y="259"/>
                  </a:lnTo>
                  <a:lnTo>
                    <a:pt x="7" y="252"/>
                  </a:lnTo>
                  <a:lnTo>
                    <a:pt x="7" y="246"/>
                  </a:lnTo>
                  <a:lnTo>
                    <a:pt x="0" y="234"/>
                  </a:lnTo>
                  <a:lnTo>
                    <a:pt x="4" y="228"/>
                  </a:lnTo>
                  <a:lnTo>
                    <a:pt x="2" y="228"/>
                  </a:lnTo>
                  <a:lnTo>
                    <a:pt x="6" y="218"/>
                  </a:lnTo>
                  <a:lnTo>
                    <a:pt x="10" y="205"/>
                  </a:lnTo>
                  <a:lnTo>
                    <a:pt x="6" y="193"/>
                  </a:lnTo>
                  <a:lnTo>
                    <a:pt x="12" y="185"/>
                  </a:lnTo>
                  <a:lnTo>
                    <a:pt x="18" y="177"/>
                  </a:lnTo>
                  <a:lnTo>
                    <a:pt x="30" y="174"/>
                  </a:lnTo>
                  <a:lnTo>
                    <a:pt x="42" y="177"/>
                  </a:lnTo>
                  <a:lnTo>
                    <a:pt x="48" y="173"/>
                  </a:lnTo>
                  <a:lnTo>
                    <a:pt x="43" y="166"/>
                  </a:lnTo>
                  <a:lnTo>
                    <a:pt x="50" y="162"/>
                  </a:lnTo>
                  <a:lnTo>
                    <a:pt x="51" y="153"/>
                  </a:lnTo>
                  <a:lnTo>
                    <a:pt x="53" y="148"/>
                  </a:lnTo>
                  <a:lnTo>
                    <a:pt x="48" y="144"/>
                  </a:lnTo>
                  <a:lnTo>
                    <a:pt x="37" y="144"/>
                  </a:lnTo>
                  <a:lnTo>
                    <a:pt x="36" y="139"/>
                  </a:lnTo>
                  <a:lnTo>
                    <a:pt x="40" y="131"/>
                  </a:lnTo>
                  <a:lnTo>
                    <a:pt x="50" y="135"/>
                  </a:lnTo>
                  <a:lnTo>
                    <a:pt x="56" y="130"/>
                  </a:lnTo>
                  <a:lnTo>
                    <a:pt x="56" y="122"/>
                  </a:lnTo>
                  <a:lnTo>
                    <a:pt x="59" y="115"/>
                  </a:lnTo>
                  <a:lnTo>
                    <a:pt x="60" y="110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4" y="105"/>
                  </a:lnTo>
                  <a:lnTo>
                    <a:pt x="62" y="98"/>
                  </a:lnTo>
                  <a:lnTo>
                    <a:pt x="52" y="96"/>
                  </a:lnTo>
                  <a:lnTo>
                    <a:pt x="47" y="89"/>
                  </a:lnTo>
                  <a:lnTo>
                    <a:pt x="50" y="81"/>
                  </a:lnTo>
                  <a:lnTo>
                    <a:pt x="70" y="75"/>
                  </a:lnTo>
                  <a:lnTo>
                    <a:pt x="76" y="73"/>
                  </a:lnTo>
                  <a:lnTo>
                    <a:pt x="86" y="80"/>
                  </a:lnTo>
                  <a:lnTo>
                    <a:pt x="86" y="90"/>
                  </a:lnTo>
                  <a:lnTo>
                    <a:pt x="93" y="97"/>
                  </a:lnTo>
                  <a:lnTo>
                    <a:pt x="98" y="93"/>
                  </a:lnTo>
                  <a:lnTo>
                    <a:pt x="94" y="86"/>
                  </a:lnTo>
                  <a:lnTo>
                    <a:pt x="94" y="80"/>
                  </a:lnTo>
                  <a:lnTo>
                    <a:pt x="98" y="78"/>
                  </a:lnTo>
                  <a:lnTo>
                    <a:pt x="105" y="84"/>
                  </a:lnTo>
                  <a:lnTo>
                    <a:pt x="104" y="93"/>
                  </a:lnTo>
                  <a:lnTo>
                    <a:pt x="114" y="103"/>
                  </a:lnTo>
                  <a:lnTo>
                    <a:pt x="110" y="96"/>
                  </a:lnTo>
                  <a:lnTo>
                    <a:pt x="110" y="84"/>
                  </a:lnTo>
                  <a:lnTo>
                    <a:pt x="108" y="76"/>
                  </a:lnTo>
                  <a:lnTo>
                    <a:pt x="114" y="68"/>
                  </a:lnTo>
                  <a:lnTo>
                    <a:pt x="121" y="67"/>
                  </a:lnTo>
                  <a:lnTo>
                    <a:pt x="128" y="70"/>
                  </a:lnTo>
                  <a:lnTo>
                    <a:pt x="138" y="67"/>
                  </a:lnTo>
                  <a:lnTo>
                    <a:pt x="152" y="81"/>
                  </a:lnTo>
                  <a:lnTo>
                    <a:pt x="172" y="85"/>
                  </a:lnTo>
                  <a:lnTo>
                    <a:pt x="153" y="78"/>
                  </a:lnTo>
                  <a:lnTo>
                    <a:pt x="139" y="64"/>
                  </a:lnTo>
                  <a:lnTo>
                    <a:pt x="128" y="63"/>
                  </a:lnTo>
                  <a:lnTo>
                    <a:pt x="121" y="61"/>
                  </a:lnTo>
                  <a:lnTo>
                    <a:pt x="121" y="55"/>
                  </a:lnTo>
                  <a:lnTo>
                    <a:pt x="128" y="50"/>
                  </a:lnTo>
                  <a:lnTo>
                    <a:pt x="121" y="45"/>
                  </a:lnTo>
                  <a:lnTo>
                    <a:pt x="121" y="35"/>
                  </a:lnTo>
                  <a:lnTo>
                    <a:pt x="112" y="38"/>
                  </a:lnTo>
                  <a:lnTo>
                    <a:pt x="112" y="31"/>
                  </a:lnTo>
                  <a:lnTo>
                    <a:pt x="120" y="31"/>
                  </a:lnTo>
                  <a:lnTo>
                    <a:pt x="128" y="28"/>
                  </a:lnTo>
                  <a:lnTo>
                    <a:pt x="117" y="20"/>
                  </a:lnTo>
                  <a:lnTo>
                    <a:pt x="118" y="14"/>
                  </a:lnTo>
                  <a:lnTo>
                    <a:pt x="114" y="14"/>
                  </a:lnTo>
                  <a:lnTo>
                    <a:pt x="108" y="10"/>
                  </a:lnTo>
                  <a:lnTo>
                    <a:pt x="108" y="3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3" name="Freeform 34"/>
            <p:cNvSpPr>
              <a:spLocks/>
            </p:cNvSpPr>
            <p:nvPr/>
          </p:nvSpPr>
          <p:spPr bwMode="auto">
            <a:xfrm>
              <a:off x="3741738" y="3062288"/>
              <a:ext cx="12700" cy="1746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8" y="4"/>
                </a:cxn>
                <a:cxn ang="0">
                  <a:pos x="8" y="11"/>
                </a:cxn>
                <a:cxn ang="0">
                  <a:pos x="3" y="11"/>
                </a:cxn>
                <a:cxn ang="0">
                  <a:pos x="0" y="6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8" h="11">
                  <a:moveTo>
                    <a:pt x="3" y="0"/>
                  </a:moveTo>
                  <a:lnTo>
                    <a:pt x="8" y="4"/>
                  </a:lnTo>
                  <a:lnTo>
                    <a:pt x="8" y="11"/>
                  </a:lnTo>
                  <a:lnTo>
                    <a:pt x="3" y="11"/>
                  </a:lnTo>
                  <a:lnTo>
                    <a:pt x="0" y="6"/>
                  </a:lnTo>
                  <a:lnTo>
                    <a:pt x="2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4" name="Freeform 35"/>
            <p:cNvSpPr>
              <a:spLocks/>
            </p:cNvSpPr>
            <p:nvPr/>
          </p:nvSpPr>
          <p:spPr bwMode="auto">
            <a:xfrm>
              <a:off x="3492500" y="3019425"/>
              <a:ext cx="327025" cy="168275"/>
            </a:xfrm>
            <a:custGeom>
              <a:avLst/>
              <a:gdLst/>
              <a:ahLst/>
              <a:cxnLst>
                <a:cxn ang="0">
                  <a:pos x="87" y="14"/>
                </a:cxn>
                <a:cxn ang="0">
                  <a:pos x="106" y="14"/>
                </a:cxn>
                <a:cxn ang="0">
                  <a:pos x="108" y="3"/>
                </a:cxn>
                <a:cxn ang="0">
                  <a:pos x="121" y="9"/>
                </a:cxn>
                <a:cxn ang="0">
                  <a:pos x="131" y="6"/>
                </a:cxn>
                <a:cxn ang="0">
                  <a:pos x="150" y="15"/>
                </a:cxn>
                <a:cxn ang="0">
                  <a:pos x="159" y="28"/>
                </a:cxn>
                <a:cxn ang="0">
                  <a:pos x="160" y="38"/>
                </a:cxn>
                <a:cxn ang="0">
                  <a:pos x="177" y="37"/>
                </a:cxn>
                <a:cxn ang="0">
                  <a:pos x="195" y="38"/>
                </a:cxn>
                <a:cxn ang="0">
                  <a:pos x="206" y="45"/>
                </a:cxn>
                <a:cxn ang="0">
                  <a:pos x="201" y="68"/>
                </a:cxn>
                <a:cxn ang="0">
                  <a:pos x="182" y="87"/>
                </a:cxn>
                <a:cxn ang="0">
                  <a:pos x="166" y="83"/>
                </a:cxn>
                <a:cxn ang="0">
                  <a:pos x="146" y="89"/>
                </a:cxn>
                <a:cxn ang="0">
                  <a:pos x="131" y="95"/>
                </a:cxn>
                <a:cxn ang="0">
                  <a:pos x="119" y="79"/>
                </a:cxn>
                <a:cxn ang="0">
                  <a:pos x="91" y="98"/>
                </a:cxn>
                <a:cxn ang="0">
                  <a:pos x="61" y="106"/>
                </a:cxn>
                <a:cxn ang="0">
                  <a:pos x="50" y="96"/>
                </a:cxn>
                <a:cxn ang="0">
                  <a:pos x="42" y="81"/>
                </a:cxn>
                <a:cxn ang="0">
                  <a:pos x="24" y="73"/>
                </a:cxn>
                <a:cxn ang="0">
                  <a:pos x="21" y="89"/>
                </a:cxn>
                <a:cxn ang="0">
                  <a:pos x="1" y="92"/>
                </a:cxn>
                <a:cxn ang="0">
                  <a:pos x="4" y="83"/>
                </a:cxn>
                <a:cxn ang="0">
                  <a:pos x="11" y="75"/>
                </a:cxn>
                <a:cxn ang="0">
                  <a:pos x="24" y="45"/>
                </a:cxn>
                <a:cxn ang="0">
                  <a:pos x="40" y="33"/>
                </a:cxn>
                <a:cxn ang="0">
                  <a:pos x="47" y="21"/>
                </a:cxn>
                <a:cxn ang="0">
                  <a:pos x="43" y="10"/>
                </a:cxn>
                <a:cxn ang="0">
                  <a:pos x="56" y="15"/>
                </a:cxn>
                <a:cxn ang="0">
                  <a:pos x="79" y="12"/>
                </a:cxn>
              </a:cxnLst>
              <a:rect l="0" t="0" r="r" b="b"/>
              <a:pathLst>
                <a:path w="206" h="106">
                  <a:moveTo>
                    <a:pt x="79" y="12"/>
                  </a:moveTo>
                  <a:lnTo>
                    <a:pt x="87" y="14"/>
                  </a:lnTo>
                  <a:lnTo>
                    <a:pt x="95" y="10"/>
                  </a:lnTo>
                  <a:lnTo>
                    <a:pt x="106" y="14"/>
                  </a:lnTo>
                  <a:lnTo>
                    <a:pt x="110" y="9"/>
                  </a:lnTo>
                  <a:lnTo>
                    <a:pt x="108" y="3"/>
                  </a:lnTo>
                  <a:lnTo>
                    <a:pt x="118" y="0"/>
                  </a:lnTo>
                  <a:lnTo>
                    <a:pt x="121" y="9"/>
                  </a:lnTo>
                  <a:lnTo>
                    <a:pt x="127" y="10"/>
                  </a:lnTo>
                  <a:lnTo>
                    <a:pt x="131" y="6"/>
                  </a:lnTo>
                  <a:lnTo>
                    <a:pt x="137" y="6"/>
                  </a:lnTo>
                  <a:lnTo>
                    <a:pt x="150" y="15"/>
                  </a:lnTo>
                  <a:lnTo>
                    <a:pt x="160" y="21"/>
                  </a:lnTo>
                  <a:lnTo>
                    <a:pt x="159" y="28"/>
                  </a:lnTo>
                  <a:lnTo>
                    <a:pt x="157" y="33"/>
                  </a:lnTo>
                  <a:lnTo>
                    <a:pt x="160" y="38"/>
                  </a:lnTo>
                  <a:lnTo>
                    <a:pt x="171" y="39"/>
                  </a:lnTo>
                  <a:lnTo>
                    <a:pt x="177" y="37"/>
                  </a:lnTo>
                  <a:lnTo>
                    <a:pt x="187" y="45"/>
                  </a:lnTo>
                  <a:lnTo>
                    <a:pt x="195" y="38"/>
                  </a:lnTo>
                  <a:lnTo>
                    <a:pt x="203" y="38"/>
                  </a:lnTo>
                  <a:lnTo>
                    <a:pt x="206" y="45"/>
                  </a:lnTo>
                  <a:lnTo>
                    <a:pt x="197" y="55"/>
                  </a:lnTo>
                  <a:lnTo>
                    <a:pt x="201" y="68"/>
                  </a:lnTo>
                  <a:lnTo>
                    <a:pt x="183" y="72"/>
                  </a:lnTo>
                  <a:lnTo>
                    <a:pt x="182" y="87"/>
                  </a:lnTo>
                  <a:lnTo>
                    <a:pt x="174" y="81"/>
                  </a:lnTo>
                  <a:lnTo>
                    <a:pt x="166" y="83"/>
                  </a:lnTo>
                  <a:lnTo>
                    <a:pt x="146" y="78"/>
                  </a:lnTo>
                  <a:lnTo>
                    <a:pt x="146" y="89"/>
                  </a:lnTo>
                  <a:lnTo>
                    <a:pt x="136" y="103"/>
                  </a:lnTo>
                  <a:lnTo>
                    <a:pt x="131" y="95"/>
                  </a:lnTo>
                  <a:lnTo>
                    <a:pt x="117" y="89"/>
                  </a:lnTo>
                  <a:lnTo>
                    <a:pt x="119" y="79"/>
                  </a:lnTo>
                  <a:lnTo>
                    <a:pt x="108" y="73"/>
                  </a:lnTo>
                  <a:lnTo>
                    <a:pt x="91" y="98"/>
                  </a:lnTo>
                  <a:lnTo>
                    <a:pt x="79" y="93"/>
                  </a:lnTo>
                  <a:lnTo>
                    <a:pt x="61" y="106"/>
                  </a:lnTo>
                  <a:lnTo>
                    <a:pt x="52" y="103"/>
                  </a:lnTo>
                  <a:lnTo>
                    <a:pt x="50" y="96"/>
                  </a:lnTo>
                  <a:lnTo>
                    <a:pt x="46" y="92"/>
                  </a:lnTo>
                  <a:lnTo>
                    <a:pt x="42" y="81"/>
                  </a:lnTo>
                  <a:lnTo>
                    <a:pt x="37" y="74"/>
                  </a:lnTo>
                  <a:lnTo>
                    <a:pt x="24" y="73"/>
                  </a:lnTo>
                  <a:lnTo>
                    <a:pt x="18" y="78"/>
                  </a:lnTo>
                  <a:lnTo>
                    <a:pt x="21" y="89"/>
                  </a:lnTo>
                  <a:lnTo>
                    <a:pt x="11" y="92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4" y="83"/>
                  </a:lnTo>
                  <a:lnTo>
                    <a:pt x="11" y="83"/>
                  </a:lnTo>
                  <a:lnTo>
                    <a:pt x="11" y="75"/>
                  </a:lnTo>
                  <a:lnTo>
                    <a:pt x="12" y="62"/>
                  </a:lnTo>
                  <a:lnTo>
                    <a:pt x="24" y="45"/>
                  </a:lnTo>
                  <a:lnTo>
                    <a:pt x="31" y="43"/>
                  </a:lnTo>
                  <a:lnTo>
                    <a:pt x="40" y="33"/>
                  </a:lnTo>
                  <a:lnTo>
                    <a:pt x="48" y="29"/>
                  </a:lnTo>
                  <a:lnTo>
                    <a:pt x="47" y="21"/>
                  </a:lnTo>
                  <a:lnTo>
                    <a:pt x="37" y="17"/>
                  </a:lnTo>
                  <a:lnTo>
                    <a:pt x="43" y="10"/>
                  </a:lnTo>
                  <a:lnTo>
                    <a:pt x="53" y="10"/>
                  </a:lnTo>
                  <a:lnTo>
                    <a:pt x="56" y="15"/>
                  </a:lnTo>
                  <a:lnTo>
                    <a:pt x="64" y="16"/>
                  </a:lnTo>
                  <a:lnTo>
                    <a:pt x="79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5" name="Freeform 36"/>
            <p:cNvSpPr>
              <a:spLocks noEditPoints="1"/>
            </p:cNvSpPr>
            <p:nvPr/>
          </p:nvSpPr>
          <p:spPr bwMode="auto">
            <a:xfrm>
              <a:off x="3317875" y="2538413"/>
              <a:ext cx="258763" cy="217488"/>
            </a:xfrm>
            <a:custGeom>
              <a:avLst/>
              <a:gdLst/>
              <a:ahLst/>
              <a:cxnLst>
                <a:cxn ang="0">
                  <a:pos x="106" y="127"/>
                </a:cxn>
                <a:cxn ang="0">
                  <a:pos x="106" y="102"/>
                </a:cxn>
                <a:cxn ang="0">
                  <a:pos x="118" y="86"/>
                </a:cxn>
                <a:cxn ang="0">
                  <a:pos x="142" y="86"/>
                </a:cxn>
                <a:cxn ang="0">
                  <a:pos x="143" y="75"/>
                </a:cxn>
                <a:cxn ang="0">
                  <a:pos x="151" y="62"/>
                </a:cxn>
                <a:cxn ang="0">
                  <a:pos x="148" y="53"/>
                </a:cxn>
                <a:cxn ang="0">
                  <a:pos x="136" y="48"/>
                </a:cxn>
                <a:cxn ang="0">
                  <a:pos x="150" y="44"/>
                </a:cxn>
                <a:cxn ang="0">
                  <a:pos x="156" y="31"/>
                </a:cxn>
                <a:cxn ang="0">
                  <a:pos x="160" y="19"/>
                </a:cxn>
                <a:cxn ang="0">
                  <a:pos x="163" y="14"/>
                </a:cxn>
                <a:cxn ang="0">
                  <a:pos x="147" y="6"/>
                </a:cxn>
                <a:cxn ang="0">
                  <a:pos x="121" y="2"/>
                </a:cxn>
                <a:cxn ang="0">
                  <a:pos x="105" y="6"/>
                </a:cxn>
                <a:cxn ang="0">
                  <a:pos x="89" y="8"/>
                </a:cxn>
                <a:cxn ang="0">
                  <a:pos x="62" y="27"/>
                </a:cxn>
                <a:cxn ang="0">
                  <a:pos x="49" y="29"/>
                </a:cxn>
                <a:cxn ang="0">
                  <a:pos x="40" y="45"/>
                </a:cxn>
                <a:cxn ang="0">
                  <a:pos x="41" y="63"/>
                </a:cxn>
                <a:cxn ang="0">
                  <a:pos x="33" y="75"/>
                </a:cxn>
                <a:cxn ang="0">
                  <a:pos x="26" y="87"/>
                </a:cxn>
                <a:cxn ang="0">
                  <a:pos x="47" y="98"/>
                </a:cxn>
                <a:cxn ang="0">
                  <a:pos x="31" y="102"/>
                </a:cxn>
                <a:cxn ang="0">
                  <a:pos x="32" y="109"/>
                </a:cxn>
                <a:cxn ang="0">
                  <a:pos x="38" y="114"/>
                </a:cxn>
                <a:cxn ang="0">
                  <a:pos x="21" y="106"/>
                </a:cxn>
                <a:cxn ang="0">
                  <a:pos x="6" y="105"/>
                </a:cxn>
                <a:cxn ang="0">
                  <a:pos x="17" y="110"/>
                </a:cxn>
                <a:cxn ang="0">
                  <a:pos x="25" y="115"/>
                </a:cxn>
                <a:cxn ang="0">
                  <a:pos x="25" y="117"/>
                </a:cxn>
                <a:cxn ang="0">
                  <a:pos x="8" y="114"/>
                </a:cxn>
                <a:cxn ang="0">
                  <a:pos x="0" y="114"/>
                </a:cxn>
                <a:cxn ang="0">
                  <a:pos x="9" y="122"/>
                </a:cxn>
                <a:cxn ang="0">
                  <a:pos x="20" y="127"/>
                </a:cxn>
                <a:cxn ang="0">
                  <a:pos x="35" y="121"/>
                </a:cxn>
                <a:cxn ang="0">
                  <a:pos x="43" y="117"/>
                </a:cxn>
                <a:cxn ang="0">
                  <a:pos x="61" y="112"/>
                </a:cxn>
                <a:cxn ang="0">
                  <a:pos x="75" y="117"/>
                </a:cxn>
                <a:cxn ang="0">
                  <a:pos x="90" y="122"/>
                </a:cxn>
                <a:cxn ang="0">
                  <a:pos x="94" y="134"/>
                </a:cxn>
                <a:cxn ang="0">
                  <a:pos x="102" y="137"/>
                </a:cxn>
                <a:cxn ang="0">
                  <a:pos x="23" y="97"/>
                </a:cxn>
                <a:cxn ang="0">
                  <a:pos x="21" y="103"/>
                </a:cxn>
                <a:cxn ang="0">
                  <a:pos x="14" y="100"/>
                </a:cxn>
                <a:cxn ang="0">
                  <a:pos x="19" y="92"/>
                </a:cxn>
                <a:cxn ang="0">
                  <a:pos x="33" y="95"/>
                </a:cxn>
                <a:cxn ang="0">
                  <a:pos x="27" y="97"/>
                </a:cxn>
                <a:cxn ang="0">
                  <a:pos x="20" y="95"/>
                </a:cxn>
              </a:cxnLst>
              <a:rect l="0" t="0" r="r" b="b"/>
              <a:pathLst>
                <a:path w="163" h="137">
                  <a:moveTo>
                    <a:pt x="102" y="137"/>
                  </a:moveTo>
                  <a:lnTo>
                    <a:pt x="106" y="127"/>
                  </a:lnTo>
                  <a:lnTo>
                    <a:pt x="110" y="114"/>
                  </a:lnTo>
                  <a:lnTo>
                    <a:pt x="106" y="102"/>
                  </a:lnTo>
                  <a:lnTo>
                    <a:pt x="112" y="94"/>
                  </a:lnTo>
                  <a:lnTo>
                    <a:pt x="118" y="86"/>
                  </a:lnTo>
                  <a:lnTo>
                    <a:pt x="130" y="83"/>
                  </a:lnTo>
                  <a:lnTo>
                    <a:pt x="142" y="86"/>
                  </a:lnTo>
                  <a:lnTo>
                    <a:pt x="148" y="82"/>
                  </a:lnTo>
                  <a:lnTo>
                    <a:pt x="143" y="75"/>
                  </a:lnTo>
                  <a:lnTo>
                    <a:pt x="150" y="71"/>
                  </a:lnTo>
                  <a:lnTo>
                    <a:pt x="151" y="62"/>
                  </a:lnTo>
                  <a:lnTo>
                    <a:pt x="153" y="57"/>
                  </a:lnTo>
                  <a:lnTo>
                    <a:pt x="148" y="53"/>
                  </a:lnTo>
                  <a:lnTo>
                    <a:pt x="137" y="53"/>
                  </a:lnTo>
                  <a:lnTo>
                    <a:pt x="136" y="48"/>
                  </a:lnTo>
                  <a:lnTo>
                    <a:pt x="140" y="40"/>
                  </a:lnTo>
                  <a:lnTo>
                    <a:pt x="150" y="44"/>
                  </a:lnTo>
                  <a:lnTo>
                    <a:pt x="156" y="39"/>
                  </a:lnTo>
                  <a:lnTo>
                    <a:pt x="156" y="31"/>
                  </a:lnTo>
                  <a:lnTo>
                    <a:pt x="159" y="24"/>
                  </a:lnTo>
                  <a:lnTo>
                    <a:pt x="160" y="19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54" y="12"/>
                  </a:lnTo>
                  <a:lnTo>
                    <a:pt x="147" y="6"/>
                  </a:lnTo>
                  <a:lnTo>
                    <a:pt x="134" y="0"/>
                  </a:lnTo>
                  <a:lnTo>
                    <a:pt x="121" y="2"/>
                  </a:lnTo>
                  <a:lnTo>
                    <a:pt x="113" y="8"/>
                  </a:lnTo>
                  <a:lnTo>
                    <a:pt x="105" y="6"/>
                  </a:lnTo>
                  <a:lnTo>
                    <a:pt x="100" y="8"/>
                  </a:lnTo>
                  <a:lnTo>
                    <a:pt x="89" y="8"/>
                  </a:lnTo>
                  <a:lnTo>
                    <a:pt x="78" y="19"/>
                  </a:lnTo>
                  <a:lnTo>
                    <a:pt x="62" y="27"/>
                  </a:lnTo>
                  <a:lnTo>
                    <a:pt x="59" y="25"/>
                  </a:lnTo>
                  <a:lnTo>
                    <a:pt x="49" y="29"/>
                  </a:lnTo>
                  <a:lnTo>
                    <a:pt x="48" y="39"/>
                  </a:lnTo>
                  <a:lnTo>
                    <a:pt x="40" y="45"/>
                  </a:lnTo>
                  <a:lnTo>
                    <a:pt x="42" y="54"/>
                  </a:lnTo>
                  <a:lnTo>
                    <a:pt x="41" y="63"/>
                  </a:lnTo>
                  <a:lnTo>
                    <a:pt x="36" y="70"/>
                  </a:lnTo>
                  <a:lnTo>
                    <a:pt x="33" y="75"/>
                  </a:lnTo>
                  <a:lnTo>
                    <a:pt x="26" y="80"/>
                  </a:lnTo>
                  <a:lnTo>
                    <a:pt x="26" y="87"/>
                  </a:lnTo>
                  <a:lnTo>
                    <a:pt x="37" y="95"/>
                  </a:lnTo>
                  <a:lnTo>
                    <a:pt x="47" y="98"/>
                  </a:lnTo>
                  <a:lnTo>
                    <a:pt x="36" y="98"/>
                  </a:lnTo>
                  <a:lnTo>
                    <a:pt x="31" y="102"/>
                  </a:lnTo>
                  <a:lnTo>
                    <a:pt x="27" y="104"/>
                  </a:lnTo>
                  <a:lnTo>
                    <a:pt x="32" y="109"/>
                  </a:lnTo>
                  <a:lnTo>
                    <a:pt x="37" y="109"/>
                  </a:lnTo>
                  <a:lnTo>
                    <a:pt x="38" y="114"/>
                  </a:lnTo>
                  <a:lnTo>
                    <a:pt x="30" y="114"/>
                  </a:lnTo>
                  <a:lnTo>
                    <a:pt x="21" y="106"/>
                  </a:lnTo>
                  <a:lnTo>
                    <a:pt x="14" y="103"/>
                  </a:lnTo>
                  <a:lnTo>
                    <a:pt x="6" y="105"/>
                  </a:lnTo>
                  <a:lnTo>
                    <a:pt x="9" y="110"/>
                  </a:lnTo>
                  <a:lnTo>
                    <a:pt x="17" y="110"/>
                  </a:lnTo>
                  <a:lnTo>
                    <a:pt x="23" y="116"/>
                  </a:lnTo>
                  <a:lnTo>
                    <a:pt x="25" y="115"/>
                  </a:lnTo>
                  <a:lnTo>
                    <a:pt x="33" y="120"/>
                  </a:lnTo>
                  <a:lnTo>
                    <a:pt x="25" y="117"/>
                  </a:lnTo>
                  <a:lnTo>
                    <a:pt x="20" y="117"/>
                  </a:lnTo>
                  <a:lnTo>
                    <a:pt x="8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4" y="116"/>
                  </a:lnTo>
                  <a:lnTo>
                    <a:pt x="9" y="122"/>
                  </a:lnTo>
                  <a:lnTo>
                    <a:pt x="17" y="122"/>
                  </a:lnTo>
                  <a:lnTo>
                    <a:pt x="20" y="127"/>
                  </a:lnTo>
                  <a:lnTo>
                    <a:pt x="25" y="122"/>
                  </a:lnTo>
                  <a:lnTo>
                    <a:pt x="35" y="121"/>
                  </a:lnTo>
                  <a:lnTo>
                    <a:pt x="36" y="118"/>
                  </a:lnTo>
                  <a:lnTo>
                    <a:pt x="43" y="117"/>
                  </a:lnTo>
                  <a:lnTo>
                    <a:pt x="46" y="111"/>
                  </a:lnTo>
                  <a:lnTo>
                    <a:pt x="61" y="112"/>
                  </a:lnTo>
                  <a:lnTo>
                    <a:pt x="66" y="117"/>
                  </a:lnTo>
                  <a:lnTo>
                    <a:pt x="75" y="117"/>
                  </a:lnTo>
                  <a:lnTo>
                    <a:pt x="78" y="122"/>
                  </a:lnTo>
                  <a:lnTo>
                    <a:pt x="90" y="122"/>
                  </a:lnTo>
                  <a:lnTo>
                    <a:pt x="95" y="128"/>
                  </a:lnTo>
                  <a:lnTo>
                    <a:pt x="94" y="134"/>
                  </a:lnTo>
                  <a:lnTo>
                    <a:pt x="102" y="137"/>
                  </a:lnTo>
                  <a:lnTo>
                    <a:pt x="102" y="137"/>
                  </a:lnTo>
                  <a:close/>
                  <a:moveTo>
                    <a:pt x="14" y="100"/>
                  </a:moveTo>
                  <a:lnTo>
                    <a:pt x="23" y="97"/>
                  </a:lnTo>
                  <a:lnTo>
                    <a:pt x="26" y="102"/>
                  </a:lnTo>
                  <a:lnTo>
                    <a:pt x="21" y="103"/>
                  </a:lnTo>
                  <a:lnTo>
                    <a:pt x="20" y="100"/>
                  </a:lnTo>
                  <a:lnTo>
                    <a:pt x="14" y="100"/>
                  </a:lnTo>
                  <a:lnTo>
                    <a:pt x="14" y="100"/>
                  </a:lnTo>
                  <a:close/>
                  <a:moveTo>
                    <a:pt x="19" y="92"/>
                  </a:moveTo>
                  <a:lnTo>
                    <a:pt x="25" y="92"/>
                  </a:lnTo>
                  <a:lnTo>
                    <a:pt x="33" y="95"/>
                  </a:lnTo>
                  <a:lnTo>
                    <a:pt x="31" y="97"/>
                  </a:lnTo>
                  <a:lnTo>
                    <a:pt x="27" y="97"/>
                  </a:lnTo>
                  <a:lnTo>
                    <a:pt x="25" y="94"/>
                  </a:lnTo>
                  <a:lnTo>
                    <a:pt x="20" y="95"/>
                  </a:lnTo>
                  <a:lnTo>
                    <a:pt x="19" y="9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6" name="Freeform 37"/>
            <p:cNvSpPr>
              <a:spLocks/>
            </p:cNvSpPr>
            <p:nvPr/>
          </p:nvSpPr>
          <p:spPr bwMode="auto">
            <a:xfrm>
              <a:off x="3292475" y="2714625"/>
              <a:ext cx="204788" cy="160338"/>
            </a:xfrm>
            <a:custGeom>
              <a:avLst/>
              <a:gdLst/>
              <a:ahLst/>
              <a:cxnLst>
                <a:cxn ang="0">
                  <a:pos x="123" y="69"/>
                </a:cxn>
                <a:cxn ang="0">
                  <a:pos x="129" y="57"/>
                </a:cxn>
                <a:cxn ang="0">
                  <a:pos x="123" y="50"/>
                </a:cxn>
                <a:cxn ang="0">
                  <a:pos x="123" y="44"/>
                </a:cxn>
                <a:cxn ang="0">
                  <a:pos x="116" y="32"/>
                </a:cxn>
                <a:cxn ang="0">
                  <a:pos x="120" y="26"/>
                </a:cxn>
                <a:cxn ang="0">
                  <a:pos x="110" y="23"/>
                </a:cxn>
                <a:cxn ang="0">
                  <a:pos x="111" y="17"/>
                </a:cxn>
                <a:cxn ang="0">
                  <a:pos x="106" y="11"/>
                </a:cxn>
                <a:cxn ang="0">
                  <a:pos x="94" y="11"/>
                </a:cxn>
                <a:cxn ang="0">
                  <a:pos x="91" y="6"/>
                </a:cxn>
                <a:cxn ang="0">
                  <a:pos x="82" y="6"/>
                </a:cxn>
                <a:cxn ang="0">
                  <a:pos x="77" y="1"/>
                </a:cxn>
                <a:cxn ang="0">
                  <a:pos x="62" y="0"/>
                </a:cxn>
                <a:cxn ang="0">
                  <a:pos x="59" y="6"/>
                </a:cxn>
                <a:cxn ang="0">
                  <a:pos x="52" y="7"/>
                </a:cxn>
                <a:cxn ang="0">
                  <a:pos x="51" y="10"/>
                </a:cxn>
                <a:cxn ang="0">
                  <a:pos x="41" y="11"/>
                </a:cxn>
                <a:cxn ang="0">
                  <a:pos x="36" y="16"/>
                </a:cxn>
                <a:cxn ang="0">
                  <a:pos x="33" y="11"/>
                </a:cxn>
                <a:cxn ang="0">
                  <a:pos x="25" y="11"/>
                </a:cxn>
                <a:cxn ang="0">
                  <a:pos x="20" y="5"/>
                </a:cxn>
                <a:cxn ang="0">
                  <a:pos x="16" y="3"/>
                </a:cxn>
                <a:cxn ang="0">
                  <a:pos x="6" y="10"/>
                </a:cxn>
                <a:cxn ang="0">
                  <a:pos x="0" y="20"/>
                </a:cxn>
                <a:cxn ang="0">
                  <a:pos x="5" y="23"/>
                </a:cxn>
                <a:cxn ang="0">
                  <a:pos x="7" y="38"/>
                </a:cxn>
                <a:cxn ang="0">
                  <a:pos x="18" y="41"/>
                </a:cxn>
                <a:cxn ang="0">
                  <a:pos x="19" y="49"/>
                </a:cxn>
                <a:cxn ang="0">
                  <a:pos x="33" y="58"/>
                </a:cxn>
                <a:cxn ang="0">
                  <a:pos x="37" y="58"/>
                </a:cxn>
                <a:cxn ang="0">
                  <a:pos x="43" y="62"/>
                </a:cxn>
                <a:cxn ang="0">
                  <a:pos x="49" y="64"/>
                </a:cxn>
                <a:cxn ang="0">
                  <a:pos x="51" y="76"/>
                </a:cxn>
                <a:cxn ang="0">
                  <a:pos x="60" y="80"/>
                </a:cxn>
                <a:cxn ang="0">
                  <a:pos x="65" y="78"/>
                </a:cxn>
                <a:cxn ang="0">
                  <a:pos x="71" y="78"/>
                </a:cxn>
                <a:cxn ang="0">
                  <a:pos x="75" y="81"/>
                </a:cxn>
                <a:cxn ang="0">
                  <a:pos x="81" y="82"/>
                </a:cxn>
                <a:cxn ang="0">
                  <a:pos x="92" y="94"/>
                </a:cxn>
                <a:cxn ang="0">
                  <a:pos x="100" y="96"/>
                </a:cxn>
                <a:cxn ang="0">
                  <a:pos x="109" y="101"/>
                </a:cxn>
                <a:cxn ang="0">
                  <a:pos x="112" y="98"/>
                </a:cxn>
                <a:cxn ang="0">
                  <a:pos x="120" y="98"/>
                </a:cxn>
                <a:cxn ang="0">
                  <a:pos x="120" y="94"/>
                </a:cxn>
                <a:cxn ang="0">
                  <a:pos x="116" y="91"/>
                </a:cxn>
                <a:cxn ang="0">
                  <a:pos x="116" y="85"/>
                </a:cxn>
                <a:cxn ang="0">
                  <a:pos x="112" y="81"/>
                </a:cxn>
                <a:cxn ang="0">
                  <a:pos x="117" y="76"/>
                </a:cxn>
                <a:cxn ang="0">
                  <a:pos x="121" y="69"/>
                </a:cxn>
                <a:cxn ang="0">
                  <a:pos x="123" y="69"/>
                </a:cxn>
              </a:cxnLst>
              <a:rect l="0" t="0" r="r" b="b"/>
              <a:pathLst>
                <a:path w="129" h="101">
                  <a:moveTo>
                    <a:pt x="123" y="69"/>
                  </a:moveTo>
                  <a:lnTo>
                    <a:pt x="129" y="57"/>
                  </a:lnTo>
                  <a:lnTo>
                    <a:pt x="123" y="50"/>
                  </a:lnTo>
                  <a:lnTo>
                    <a:pt x="123" y="44"/>
                  </a:lnTo>
                  <a:lnTo>
                    <a:pt x="116" y="32"/>
                  </a:lnTo>
                  <a:lnTo>
                    <a:pt x="120" y="26"/>
                  </a:lnTo>
                  <a:lnTo>
                    <a:pt x="110" y="23"/>
                  </a:lnTo>
                  <a:lnTo>
                    <a:pt x="111" y="17"/>
                  </a:lnTo>
                  <a:lnTo>
                    <a:pt x="106" y="11"/>
                  </a:lnTo>
                  <a:lnTo>
                    <a:pt x="94" y="11"/>
                  </a:lnTo>
                  <a:lnTo>
                    <a:pt x="91" y="6"/>
                  </a:lnTo>
                  <a:lnTo>
                    <a:pt x="82" y="6"/>
                  </a:lnTo>
                  <a:lnTo>
                    <a:pt x="77" y="1"/>
                  </a:lnTo>
                  <a:lnTo>
                    <a:pt x="62" y="0"/>
                  </a:lnTo>
                  <a:lnTo>
                    <a:pt x="59" y="6"/>
                  </a:lnTo>
                  <a:lnTo>
                    <a:pt x="52" y="7"/>
                  </a:lnTo>
                  <a:lnTo>
                    <a:pt x="51" y="10"/>
                  </a:lnTo>
                  <a:lnTo>
                    <a:pt x="41" y="11"/>
                  </a:lnTo>
                  <a:lnTo>
                    <a:pt x="36" y="16"/>
                  </a:lnTo>
                  <a:lnTo>
                    <a:pt x="33" y="11"/>
                  </a:lnTo>
                  <a:lnTo>
                    <a:pt x="25" y="11"/>
                  </a:lnTo>
                  <a:lnTo>
                    <a:pt x="20" y="5"/>
                  </a:lnTo>
                  <a:lnTo>
                    <a:pt x="16" y="3"/>
                  </a:lnTo>
                  <a:lnTo>
                    <a:pt x="6" y="10"/>
                  </a:lnTo>
                  <a:lnTo>
                    <a:pt x="0" y="20"/>
                  </a:lnTo>
                  <a:lnTo>
                    <a:pt x="5" y="23"/>
                  </a:lnTo>
                  <a:lnTo>
                    <a:pt x="7" y="38"/>
                  </a:lnTo>
                  <a:lnTo>
                    <a:pt x="18" y="41"/>
                  </a:lnTo>
                  <a:lnTo>
                    <a:pt x="19" y="49"/>
                  </a:lnTo>
                  <a:lnTo>
                    <a:pt x="33" y="58"/>
                  </a:lnTo>
                  <a:lnTo>
                    <a:pt x="37" y="58"/>
                  </a:lnTo>
                  <a:lnTo>
                    <a:pt x="43" y="62"/>
                  </a:lnTo>
                  <a:lnTo>
                    <a:pt x="49" y="64"/>
                  </a:lnTo>
                  <a:lnTo>
                    <a:pt x="51" y="76"/>
                  </a:lnTo>
                  <a:lnTo>
                    <a:pt x="60" y="80"/>
                  </a:lnTo>
                  <a:lnTo>
                    <a:pt x="65" y="78"/>
                  </a:lnTo>
                  <a:lnTo>
                    <a:pt x="71" y="78"/>
                  </a:lnTo>
                  <a:lnTo>
                    <a:pt x="75" y="81"/>
                  </a:lnTo>
                  <a:lnTo>
                    <a:pt x="81" y="82"/>
                  </a:lnTo>
                  <a:lnTo>
                    <a:pt x="92" y="94"/>
                  </a:lnTo>
                  <a:lnTo>
                    <a:pt x="100" y="96"/>
                  </a:lnTo>
                  <a:lnTo>
                    <a:pt x="109" y="101"/>
                  </a:lnTo>
                  <a:lnTo>
                    <a:pt x="112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16" y="91"/>
                  </a:lnTo>
                  <a:lnTo>
                    <a:pt x="116" y="85"/>
                  </a:lnTo>
                  <a:lnTo>
                    <a:pt x="112" y="81"/>
                  </a:lnTo>
                  <a:lnTo>
                    <a:pt x="117" y="76"/>
                  </a:lnTo>
                  <a:lnTo>
                    <a:pt x="121" y="69"/>
                  </a:lnTo>
                  <a:lnTo>
                    <a:pt x="123" y="6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7" name="Freeform 38"/>
            <p:cNvSpPr>
              <a:spLocks/>
            </p:cNvSpPr>
            <p:nvPr/>
          </p:nvSpPr>
          <p:spPr bwMode="auto">
            <a:xfrm>
              <a:off x="3470275" y="2824163"/>
              <a:ext cx="50800" cy="61913"/>
            </a:xfrm>
            <a:custGeom>
              <a:avLst/>
              <a:gdLst/>
              <a:ahLst/>
              <a:cxnLst>
                <a:cxn ang="0">
                  <a:pos x="8" y="29"/>
                </a:cxn>
                <a:cxn ang="0">
                  <a:pos x="8" y="25"/>
                </a:cxn>
                <a:cxn ang="0">
                  <a:pos x="4" y="22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5" y="7"/>
                </a:cxn>
                <a:cxn ang="0">
                  <a:pos x="9" y="0"/>
                </a:cxn>
                <a:cxn ang="0">
                  <a:pos x="15" y="0"/>
                </a:cxn>
                <a:cxn ang="0">
                  <a:pos x="26" y="12"/>
                </a:cxn>
                <a:cxn ang="0">
                  <a:pos x="27" y="21"/>
                </a:cxn>
                <a:cxn ang="0">
                  <a:pos x="32" y="24"/>
                </a:cxn>
                <a:cxn ang="0">
                  <a:pos x="32" y="38"/>
                </a:cxn>
                <a:cxn ang="0">
                  <a:pos x="25" y="39"/>
                </a:cxn>
                <a:cxn ang="0">
                  <a:pos x="14" y="38"/>
                </a:cxn>
                <a:cxn ang="0">
                  <a:pos x="8" y="29"/>
                </a:cxn>
                <a:cxn ang="0">
                  <a:pos x="8" y="29"/>
                </a:cxn>
              </a:cxnLst>
              <a:rect l="0" t="0" r="r" b="b"/>
              <a:pathLst>
                <a:path w="32" h="39">
                  <a:moveTo>
                    <a:pt x="8" y="29"/>
                  </a:moveTo>
                  <a:lnTo>
                    <a:pt x="8" y="25"/>
                  </a:lnTo>
                  <a:lnTo>
                    <a:pt x="4" y="22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5" y="7"/>
                  </a:lnTo>
                  <a:lnTo>
                    <a:pt x="9" y="0"/>
                  </a:lnTo>
                  <a:lnTo>
                    <a:pt x="15" y="0"/>
                  </a:lnTo>
                  <a:lnTo>
                    <a:pt x="26" y="12"/>
                  </a:lnTo>
                  <a:lnTo>
                    <a:pt x="27" y="21"/>
                  </a:lnTo>
                  <a:lnTo>
                    <a:pt x="32" y="24"/>
                  </a:lnTo>
                  <a:lnTo>
                    <a:pt x="32" y="38"/>
                  </a:lnTo>
                  <a:lnTo>
                    <a:pt x="25" y="39"/>
                  </a:lnTo>
                  <a:lnTo>
                    <a:pt x="14" y="38"/>
                  </a:lnTo>
                  <a:lnTo>
                    <a:pt x="8" y="29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8" name="Freeform 39"/>
            <p:cNvSpPr>
              <a:spLocks/>
            </p:cNvSpPr>
            <p:nvPr/>
          </p:nvSpPr>
          <p:spPr bwMode="auto">
            <a:xfrm>
              <a:off x="2428875" y="2351088"/>
              <a:ext cx="295275" cy="350838"/>
            </a:xfrm>
            <a:custGeom>
              <a:avLst/>
              <a:gdLst/>
              <a:ahLst/>
              <a:cxnLst>
                <a:cxn ang="0">
                  <a:pos x="77" y="216"/>
                </a:cxn>
                <a:cxn ang="0">
                  <a:pos x="94" y="201"/>
                </a:cxn>
                <a:cxn ang="0">
                  <a:pos x="109" y="198"/>
                </a:cxn>
                <a:cxn ang="0">
                  <a:pos x="143" y="188"/>
                </a:cxn>
                <a:cxn ang="0">
                  <a:pos x="155" y="183"/>
                </a:cxn>
                <a:cxn ang="0">
                  <a:pos x="163" y="175"/>
                </a:cxn>
                <a:cxn ang="0">
                  <a:pos x="176" y="158"/>
                </a:cxn>
                <a:cxn ang="0">
                  <a:pos x="183" y="124"/>
                </a:cxn>
                <a:cxn ang="0">
                  <a:pos x="184" y="108"/>
                </a:cxn>
                <a:cxn ang="0">
                  <a:pos x="172" y="88"/>
                </a:cxn>
                <a:cxn ang="0">
                  <a:pos x="172" y="77"/>
                </a:cxn>
                <a:cxn ang="0">
                  <a:pos x="143" y="54"/>
                </a:cxn>
                <a:cxn ang="0">
                  <a:pos x="128" y="71"/>
                </a:cxn>
                <a:cxn ang="0">
                  <a:pos x="128" y="35"/>
                </a:cxn>
                <a:cxn ang="0">
                  <a:pos x="141" y="20"/>
                </a:cxn>
                <a:cxn ang="0">
                  <a:pos x="155" y="10"/>
                </a:cxn>
                <a:cxn ang="0">
                  <a:pos x="141" y="6"/>
                </a:cxn>
                <a:cxn ang="0">
                  <a:pos x="127" y="24"/>
                </a:cxn>
                <a:cxn ang="0">
                  <a:pos x="127" y="7"/>
                </a:cxn>
                <a:cxn ang="0">
                  <a:pos x="117" y="13"/>
                </a:cxn>
                <a:cxn ang="0">
                  <a:pos x="100" y="18"/>
                </a:cxn>
                <a:cxn ang="0">
                  <a:pos x="100" y="27"/>
                </a:cxn>
                <a:cxn ang="0">
                  <a:pos x="92" y="33"/>
                </a:cxn>
                <a:cxn ang="0">
                  <a:pos x="95" y="42"/>
                </a:cxn>
                <a:cxn ang="0">
                  <a:pos x="108" y="43"/>
                </a:cxn>
                <a:cxn ang="0">
                  <a:pos x="88" y="61"/>
                </a:cxn>
                <a:cxn ang="0">
                  <a:pos x="63" y="66"/>
                </a:cxn>
                <a:cxn ang="0">
                  <a:pos x="40" y="59"/>
                </a:cxn>
                <a:cxn ang="0">
                  <a:pos x="31" y="62"/>
                </a:cxn>
                <a:cxn ang="0">
                  <a:pos x="37" y="78"/>
                </a:cxn>
                <a:cxn ang="0">
                  <a:pos x="21" y="74"/>
                </a:cxn>
                <a:cxn ang="0">
                  <a:pos x="46" y="87"/>
                </a:cxn>
                <a:cxn ang="0">
                  <a:pos x="36" y="97"/>
                </a:cxn>
                <a:cxn ang="0">
                  <a:pos x="22" y="107"/>
                </a:cxn>
                <a:cxn ang="0">
                  <a:pos x="30" y="113"/>
                </a:cxn>
                <a:cxn ang="0">
                  <a:pos x="69" y="120"/>
                </a:cxn>
                <a:cxn ang="0">
                  <a:pos x="46" y="139"/>
                </a:cxn>
                <a:cxn ang="0">
                  <a:pos x="25" y="158"/>
                </a:cxn>
                <a:cxn ang="0">
                  <a:pos x="46" y="155"/>
                </a:cxn>
                <a:cxn ang="0">
                  <a:pos x="65" y="152"/>
                </a:cxn>
                <a:cxn ang="0">
                  <a:pos x="39" y="159"/>
                </a:cxn>
                <a:cxn ang="0">
                  <a:pos x="29" y="171"/>
                </a:cxn>
                <a:cxn ang="0">
                  <a:pos x="23" y="177"/>
                </a:cxn>
                <a:cxn ang="0">
                  <a:pos x="13" y="174"/>
                </a:cxn>
                <a:cxn ang="0">
                  <a:pos x="30" y="181"/>
                </a:cxn>
                <a:cxn ang="0">
                  <a:pos x="5" y="199"/>
                </a:cxn>
                <a:cxn ang="0">
                  <a:pos x="35" y="198"/>
                </a:cxn>
                <a:cxn ang="0">
                  <a:pos x="24" y="212"/>
                </a:cxn>
                <a:cxn ang="0">
                  <a:pos x="25" y="216"/>
                </a:cxn>
                <a:cxn ang="0">
                  <a:pos x="41" y="217"/>
                </a:cxn>
              </a:cxnLst>
              <a:rect l="0" t="0" r="r" b="b"/>
              <a:pathLst>
                <a:path w="186" h="221">
                  <a:moveTo>
                    <a:pt x="47" y="221"/>
                  </a:moveTo>
                  <a:lnTo>
                    <a:pt x="63" y="220"/>
                  </a:lnTo>
                  <a:lnTo>
                    <a:pt x="77" y="216"/>
                  </a:lnTo>
                  <a:lnTo>
                    <a:pt x="88" y="209"/>
                  </a:lnTo>
                  <a:lnTo>
                    <a:pt x="85" y="200"/>
                  </a:lnTo>
                  <a:lnTo>
                    <a:pt x="94" y="201"/>
                  </a:lnTo>
                  <a:lnTo>
                    <a:pt x="91" y="206"/>
                  </a:lnTo>
                  <a:lnTo>
                    <a:pt x="100" y="206"/>
                  </a:lnTo>
                  <a:lnTo>
                    <a:pt x="109" y="198"/>
                  </a:lnTo>
                  <a:lnTo>
                    <a:pt x="115" y="198"/>
                  </a:lnTo>
                  <a:lnTo>
                    <a:pt x="117" y="191"/>
                  </a:lnTo>
                  <a:lnTo>
                    <a:pt x="143" y="188"/>
                  </a:lnTo>
                  <a:lnTo>
                    <a:pt x="145" y="182"/>
                  </a:lnTo>
                  <a:lnTo>
                    <a:pt x="149" y="188"/>
                  </a:lnTo>
                  <a:lnTo>
                    <a:pt x="155" y="183"/>
                  </a:lnTo>
                  <a:lnTo>
                    <a:pt x="160" y="186"/>
                  </a:lnTo>
                  <a:lnTo>
                    <a:pt x="173" y="186"/>
                  </a:lnTo>
                  <a:lnTo>
                    <a:pt x="163" y="175"/>
                  </a:lnTo>
                  <a:lnTo>
                    <a:pt x="170" y="172"/>
                  </a:lnTo>
                  <a:lnTo>
                    <a:pt x="178" y="165"/>
                  </a:lnTo>
                  <a:lnTo>
                    <a:pt x="176" y="158"/>
                  </a:lnTo>
                  <a:lnTo>
                    <a:pt x="184" y="151"/>
                  </a:lnTo>
                  <a:lnTo>
                    <a:pt x="186" y="142"/>
                  </a:lnTo>
                  <a:lnTo>
                    <a:pt x="183" y="124"/>
                  </a:lnTo>
                  <a:lnTo>
                    <a:pt x="176" y="120"/>
                  </a:lnTo>
                  <a:lnTo>
                    <a:pt x="184" y="117"/>
                  </a:lnTo>
                  <a:lnTo>
                    <a:pt x="184" y="108"/>
                  </a:lnTo>
                  <a:lnTo>
                    <a:pt x="178" y="100"/>
                  </a:lnTo>
                  <a:lnTo>
                    <a:pt x="179" y="91"/>
                  </a:lnTo>
                  <a:lnTo>
                    <a:pt x="172" y="88"/>
                  </a:lnTo>
                  <a:lnTo>
                    <a:pt x="175" y="83"/>
                  </a:lnTo>
                  <a:lnTo>
                    <a:pt x="181" y="83"/>
                  </a:lnTo>
                  <a:lnTo>
                    <a:pt x="172" y="77"/>
                  </a:lnTo>
                  <a:lnTo>
                    <a:pt x="164" y="76"/>
                  </a:lnTo>
                  <a:lnTo>
                    <a:pt x="156" y="60"/>
                  </a:lnTo>
                  <a:lnTo>
                    <a:pt x="143" y="54"/>
                  </a:lnTo>
                  <a:lnTo>
                    <a:pt x="138" y="58"/>
                  </a:lnTo>
                  <a:lnTo>
                    <a:pt x="134" y="70"/>
                  </a:lnTo>
                  <a:lnTo>
                    <a:pt x="128" y="71"/>
                  </a:lnTo>
                  <a:lnTo>
                    <a:pt x="109" y="54"/>
                  </a:lnTo>
                  <a:lnTo>
                    <a:pt x="118" y="36"/>
                  </a:lnTo>
                  <a:lnTo>
                    <a:pt x="128" y="35"/>
                  </a:lnTo>
                  <a:lnTo>
                    <a:pt x="131" y="27"/>
                  </a:lnTo>
                  <a:lnTo>
                    <a:pt x="137" y="25"/>
                  </a:lnTo>
                  <a:lnTo>
                    <a:pt x="141" y="20"/>
                  </a:lnTo>
                  <a:lnTo>
                    <a:pt x="137" y="21"/>
                  </a:lnTo>
                  <a:lnTo>
                    <a:pt x="146" y="14"/>
                  </a:lnTo>
                  <a:lnTo>
                    <a:pt x="155" y="10"/>
                  </a:lnTo>
                  <a:lnTo>
                    <a:pt x="145" y="6"/>
                  </a:lnTo>
                  <a:lnTo>
                    <a:pt x="138" y="0"/>
                  </a:lnTo>
                  <a:lnTo>
                    <a:pt x="141" y="6"/>
                  </a:lnTo>
                  <a:lnTo>
                    <a:pt x="132" y="6"/>
                  </a:lnTo>
                  <a:lnTo>
                    <a:pt x="133" y="15"/>
                  </a:lnTo>
                  <a:lnTo>
                    <a:pt x="127" y="24"/>
                  </a:lnTo>
                  <a:lnTo>
                    <a:pt x="128" y="18"/>
                  </a:lnTo>
                  <a:lnTo>
                    <a:pt x="131" y="14"/>
                  </a:lnTo>
                  <a:lnTo>
                    <a:pt x="127" y="7"/>
                  </a:lnTo>
                  <a:lnTo>
                    <a:pt x="121" y="8"/>
                  </a:lnTo>
                  <a:lnTo>
                    <a:pt x="124" y="13"/>
                  </a:lnTo>
                  <a:lnTo>
                    <a:pt x="117" y="13"/>
                  </a:lnTo>
                  <a:lnTo>
                    <a:pt x="114" y="9"/>
                  </a:lnTo>
                  <a:lnTo>
                    <a:pt x="100" y="13"/>
                  </a:lnTo>
                  <a:lnTo>
                    <a:pt x="100" y="18"/>
                  </a:lnTo>
                  <a:lnTo>
                    <a:pt x="97" y="18"/>
                  </a:lnTo>
                  <a:lnTo>
                    <a:pt x="93" y="25"/>
                  </a:lnTo>
                  <a:lnTo>
                    <a:pt x="100" y="27"/>
                  </a:lnTo>
                  <a:lnTo>
                    <a:pt x="98" y="31"/>
                  </a:lnTo>
                  <a:lnTo>
                    <a:pt x="92" y="31"/>
                  </a:lnTo>
                  <a:lnTo>
                    <a:pt x="92" y="33"/>
                  </a:lnTo>
                  <a:lnTo>
                    <a:pt x="83" y="36"/>
                  </a:lnTo>
                  <a:lnTo>
                    <a:pt x="86" y="42"/>
                  </a:lnTo>
                  <a:lnTo>
                    <a:pt x="95" y="42"/>
                  </a:lnTo>
                  <a:lnTo>
                    <a:pt x="94" y="44"/>
                  </a:lnTo>
                  <a:lnTo>
                    <a:pt x="102" y="42"/>
                  </a:lnTo>
                  <a:lnTo>
                    <a:pt x="108" y="43"/>
                  </a:lnTo>
                  <a:lnTo>
                    <a:pt x="97" y="53"/>
                  </a:lnTo>
                  <a:lnTo>
                    <a:pt x="83" y="58"/>
                  </a:lnTo>
                  <a:lnTo>
                    <a:pt x="88" y="61"/>
                  </a:lnTo>
                  <a:lnTo>
                    <a:pt x="76" y="62"/>
                  </a:lnTo>
                  <a:lnTo>
                    <a:pt x="69" y="60"/>
                  </a:lnTo>
                  <a:lnTo>
                    <a:pt x="63" y="66"/>
                  </a:lnTo>
                  <a:lnTo>
                    <a:pt x="60" y="59"/>
                  </a:lnTo>
                  <a:lnTo>
                    <a:pt x="40" y="55"/>
                  </a:lnTo>
                  <a:lnTo>
                    <a:pt x="40" y="59"/>
                  </a:lnTo>
                  <a:lnTo>
                    <a:pt x="28" y="56"/>
                  </a:lnTo>
                  <a:lnTo>
                    <a:pt x="25" y="67"/>
                  </a:lnTo>
                  <a:lnTo>
                    <a:pt x="31" y="62"/>
                  </a:lnTo>
                  <a:lnTo>
                    <a:pt x="33" y="70"/>
                  </a:lnTo>
                  <a:lnTo>
                    <a:pt x="35" y="71"/>
                  </a:lnTo>
                  <a:lnTo>
                    <a:pt x="37" y="78"/>
                  </a:lnTo>
                  <a:lnTo>
                    <a:pt x="33" y="78"/>
                  </a:lnTo>
                  <a:lnTo>
                    <a:pt x="31" y="73"/>
                  </a:lnTo>
                  <a:lnTo>
                    <a:pt x="21" y="74"/>
                  </a:lnTo>
                  <a:lnTo>
                    <a:pt x="34" y="83"/>
                  </a:lnTo>
                  <a:lnTo>
                    <a:pt x="42" y="81"/>
                  </a:lnTo>
                  <a:lnTo>
                    <a:pt x="46" y="87"/>
                  </a:lnTo>
                  <a:lnTo>
                    <a:pt x="34" y="89"/>
                  </a:lnTo>
                  <a:lnTo>
                    <a:pt x="33" y="94"/>
                  </a:lnTo>
                  <a:lnTo>
                    <a:pt x="36" y="97"/>
                  </a:lnTo>
                  <a:lnTo>
                    <a:pt x="23" y="97"/>
                  </a:lnTo>
                  <a:lnTo>
                    <a:pt x="25" y="105"/>
                  </a:lnTo>
                  <a:lnTo>
                    <a:pt x="22" y="107"/>
                  </a:lnTo>
                  <a:lnTo>
                    <a:pt x="28" y="111"/>
                  </a:lnTo>
                  <a:lnTo>
                    <a:pt x="34" y="108"/>
                  </a:lnTo>
                  <a:lnTo>
                    <a:pt x="30" y="113"/>
                  </a:lnTo>
                  <a:lnTo>
                    <a:pt x="41" y="111"/>
                  </a:lnTo>
                  <a:lnTo>
                    <a:pt x="44" y="120"/>
                  </a:lnTo>
                  <a:lnTo>
                    <a:pt x="69" y="120"/>
                  </a:lnTo>
                  <a:lnTo>
                    <a:pt x="60" y="128"/>
                  </a:lnTo>
                  <a:lnTo>
                    <a:pt x="54" y="125"/>
                  </a:lnTo>
                  <a:lnTo>
                    <a:pt x="46" y="139"/>
                  </a:lnTo>
                  <a:lnTo>
                    <a:pt x="50" y="139"/>
                  </a:lnTo>
                  <a:lnTo>
                    <a:pt x="42" y="148"/>
                  </a:lnTo>
                  <a:lnTo>
                    <a:pt x="25" y="158"/>
                  </a:lnTo>
                  <a:lnTo>
                    <a:pt x="33" y="158"/>
                  </a:lnTo>
                  <a:lnTo>
                    <a:pt x="41" y="153"/>
                  </a:lnTo>
                  <a:lnTo>
                    <a:pt x="46" y="155"/>
                  </a:lnTo>
                  <a:lnTo>
                    <a:pt x="57" y="155"/>
                  </a:lnTo>
                  <a:lnTo>
                    <a:pt x="64" y="149"/>
                  </a:lnTo>
                  <a:lnTo>
                    <a:pt x="65" y="152"/>
                  </a:lnTo>
                  <a:lnTo>
                    <a:pt x="74" y="153"/>
                  </a:lnTo>
                  <a:lnTo>
                    <a:pt x="54" y="158"/>
                  </a:lnTo>
                  <a:lnTo>
                    <a:pt x="39" y="159"/>
                  </a:lnTo>
                  <a:lnTo>
                    <a:pt x="35" y="164"/>
                  </a:lnTo>
                  <a:lnTo>
                    <a:pt x="25" y="166"/>
                  </a:lnTo>
                  <a:lnTo>
                    <a:pt x="29" y="171"/>
                  </a:lnTo>
                  <a:lnTo>
                    <a:pt x="27" y="175"/>
                  </a:lnTo>
                  <a:lnTo>
                    <a:pt x="30" y="176"/>
                  </a:lnTo>
                  <a:lnTo>
                    <a:pt x="23" y="177"/>
                  </a:lnTo>
                  <a:lnTo>
                    <a:pt x="17" y="172"/>
                  </a:lnTo>
                  <a:lnTo>
                    <a:pt x="15" y="176"/>
                  </a:lnTo>
                  <a:lnTo>
                    <a:pt x="13" y="174"/>
                  </a:lnTo>
                  <a:lnTo>
                    <a:pt x="0" y="180"/>
                  </a:lnTo>
                  <a:lnTo>
                    <a:pt x="2" y="182"/>
                  </a:lnTo>
                  <a:lnTo>
                    <a:pt x="30" y="181"/>
                  </a:lnTo>
                  <a:lnTo>
                    <a:pt x="21" y="188"/>
                  </a:lnTo>
                  <a:lnTo>
                    <a:pt x="8" y="191"/>
                  </a:lnTo>
                  <a:lnTo>
                    <a:pt x="5" y="199"/>
                  </a:lnTo>
                  <a:lnTo>
                    <a:pt x="12" y="199"/>
                  </a:lnTo>
                  <a:lnTo>
                    <a:pt x="13" y="204"/>
                  </a:lnTo>
                  <a:lnTo>
                    <a:pt x="35" y="198"/>
                  </a:lnTo>
                  <a:lnTo>
                    <a:pt x="19" y="207"/>
                  </a:lnTo>
                  <a:lnTo>
                    <a:pt x="12" y="212"/>
                  </a:lnTo>
                  <a:lnTo>
                    <a:pt x="24" y="212"/>
                  </a:lnTo>
                  <a:lnTo>
                    <a:pt x="39" y="205"/>
                  </a:lnTo>
                  <a:lnTo>
                    <a:pt x="37" y="211"/>
                  </a:lnTo>
                  <a:lnTo>
                    <a:pt x="25" y="216"/>
                  </a:lnTo>
                  <a:lnTo>
                    <a:pt x="33" y="216"/>
                  </a:lnTo>
                  <a:lnTo>
                    <a:pt x="30" y="220"/>
                  </a:lnTo>
                  <a:lnTo>
                    <a:pt x="41" y="217"/>
                  </a:lnTo>
                  <a:lnTo>
                    <a:pt x="47" y="22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39" name="Freeform 40"/>
            <p:cNvSpPr>
              <a:spLocks noEditPoints="1"/>
            </p:cNvSpPr>
            <p:nvPr/>
          </p:nvSpPr>
          <p:spPr bwMode="auto">
            <a:xfrm>
              <a:off x="2601913" y="1811338"/>
              <a:ext cx="628650" cy="1042988"/>
            </a:xfrm>
            <a:custGeom>
              <a:avLst/>
              <a:gdLst/>
              <a:ahLst/>
              <a:cxnLst>
                <a:cxn ang="0">
                  <a:pos x="19" y="375"/>
                </a:cxn>
                <a:cxn ang="0">
                  <a:pos x="93" y="379"/>
                </a:cxn>
                <a:cxn ang="0">
                  <a:pos x="84" y="413"/>
                </a:cxn>
                <a:cxn ang="0">
                  <a:pos x="283" y="10"/>
                </a:cxn>
                <a:cxn ang="0">
                  <a:pos x="263" y="28"/>
                </a:cxn>
                <a:cxn ang="0">
                  <a:pos x="285" y="613"/>
                </a:cxn>
                <a:cxn ang="0">
                  <a:pos x="115" y="313"/>
                </a:cxn>
                <a:cxn ang="0">
                  <a:pos x="46" y="282"/>
                </a:cxn>
                <a:cxn ang="0">
                  <a:pos x="67" y="245"/>
                </a:cxn>
                <a:cxn ang="0">
                  <a:pos x="177" y="126"/>
                </a:cxn>
                <a:cxn ang="0">
                  <a:pos x="177" y="126"/>
                </a:cxn>
                <a:cxn ang="0">
                  <a:pos x="49" y="175"/>
                </a:cxn>
                <a:cxn ang="0">
                  <a:pos x="46" y="188"/>
                </a:cxn>
                <a:cxn ang="0">
                  <a:pos x="35" y="216"/>
                </a:cxn>
                <a:cxn ang="0">
                  <a:pos x="38" y="223"/>
                </a:cxn>
                <a:cxn ang="0">
                  <a:pos x="34" y="225"/>
                </a:cxn>
                <a:cxn ang="0">
                  <a:pos x="64" y="223"/>
                </a:cxn>
                <a:cxn ang="0">
                  <a:pos x="87" y="233"/>
                </a:cxn>
                <a:cxn ang="0">
                  <a:pos x="92" y="277"/>
                </a:cxn>
                <a:cxn ang="0">
                  <a:pos x="94" y="298"/>
                </a:cxn>
                <a:cxn ang="0">
                  <a:pos x="70" y="330"/>
                </a:cxn>
                <a:cxn ang="0">
                  <a:pos x="150" y="464"/>
                </a:cxn>
                <a:cxn ang="0">
                  <a:pos x="134" y="419"/>
                </a:cxn>
                <a:cxn ang="0">
                  <a:pos x="139" y="638"/>
                </a:cxn>
                <a:cxn ang="0">
                  <a:pos x="181" y="625"/>
                </a:cxn>
                <a:cxn ang="0">
                  <a:pos x="260" y="610"/>
                </a:cxn>
                <a:cxn ang="0">
                  <a:pos x="337" y="607"/>
                </a:cxn>
                <a:cxn ang="0">
                  <a:pos x="387" y="574"/>
                </a:cxn>
                <a:cxn ang="0">
                  <a:pos x="345" y="566"/>
                </a:cxn>
                <a:cxn ang="0">
                  <a:pos x="377" y="540"/>
                </a:cxn>
                <a:cxn ang="0">
                  <a:pos x="391" y="489"/>
                </a:cxn>
                <a:cxn ang="0">
                  <a:pos x="320" y="448"/>
                </a:cxn>
                <a:cxn ang="0">
                  <a:pos x="315" y="441"/>
                </a:cxn>
                <a:cxn ang="0">
                  <a:pos x="284" y="389"/>
                </a:cxn>
                <a:cxn ang="0">
                  <a:pos x="215" y="307"/>
                </a:cxn>
                <a:cxn ang="0">
                  <a:pos x="193" y="296"/>
                </a:cxn>
                <a:cxn ang="0">
                  <a:pos x="211" y="269"/>
                </a:cxn>
                <a:cxn ang="0">
                  <a:pos x="226" y="209"/>
                </a:cxn>
                <a:cxn ang="0">
                  <a:pos x="152" y="219"/>
                </a:cxn>
                <a:cxn ang="0">
                  <a:pos x="190" y="164"/>
                </a:cxn>
                <a:cxn ang="0">
                  <a:pos x="140" y="163"/>
                </a:cxn>
                <a:cxn ang="0">
                  <a:pos x="109" y="176"/>
                </a:cxn>
                <a:cxn ang="0">
                  <a:pos x="98" y="204"/>
                </a:cxn>
                <a:cxn ang="0">
                  <a:pos x="103" y="226"/>
                </a:cxn>
                <a:cxn ang="0">
                  <a:pos x="95" y="242"/>
                </a:cxn>
                <a:cxn ang="0">
                  <a:pos x="77" y="266"/>
                </a:cxn>
                <a:cxn ang="0">
                  <a:pos x="109" y="269"/>
                </a:cxn>
                <a:cxn ang="0">
                  <a:pos x="93" y="338"/>
                </a:cxn>
                <a:cxn ang="0">
                  <a:pos x="109" y="304"/>
                </a:cxn>
                <a:cxn ang="0">
                  <a:pos x="128" y="309"/>
                </a:cxn>
                <a:cxn ang="0">
                  <a:pos x="121" y="375"/>
                </a:cxn>
                <a:cxn ang="0">
                  <a:pos x="197" y="366"/>
                </a:cxn>
                <a:cxn ang="0">
                  <a:pos x="199" y="441"/>
                </a:cxn>
                <a:cxn ang="0">
                  <a:pos x="193" y="466"/>
                </a:cxn>
                <a:cxn ang="0">
                  <a:pos x="155" y="486"/>
                </a:cxn>
                <a:cxn ang="0">
                  <a:pos x="116" y="539"/>
                </a:cxn>
                <a:cxn ang="0">
                  <a:pos x="146" y="557"/>
                </a:cxn>
                <a:cxn ang="0">
                  <a:pos x="204" y="567"/>
                </a:cxn>
                <a:cxn ang="0">
                  <a:pos x="151" y="587"/>
                </a:cxn>
                <a:cxn ang="0">
                  <a:pos x="99" y="644"/>
                </a:cxn>
              </a:cxnLst>
              <a:rect l="0" t="0" r="r" b="b"/>
              <a:pathLst>
                <a:path w="396" h="657">
                  <a:moveTo>
                    <a:pt x="72" y="423"/>
                  </a:moveTo>
                  <a:lnTo>
                    <a:pt x="63" y="417"/>
                  </a:lnTo>
                  <a:lnTo>
                    <a:pt x="55" y="416"/>
                  </a:lnTo>
                  <a:lnTo>
                    <a:pt x="47" y="400"/>
                  </a:lnTo>
                  <a:lnTo>
                    <a:pt x="34" y="394"/>
                  </a:lnTo>
                  <a:lnTo>
                    <a:pt x="29" y="398"/>
                  </a:lnTo>
                  <a:lnTo>
                    <a:pt x="25" y="410"/>
                  </a:lnTo>
                  <a:lnTo>
                    <a:pt x="19" y="411"/>
                  </a:lnTo>
                  <a:lnTo>
                    <a:pt x="0" y="394"/>
                  </a:lnTo>
                  <a:lnTo>
                    <a:pt x="9" y="376"/>
                  </a:lnTo>
                  <a:lnTo>
                    <a:pt x="19" y="375"/>
                  </a:lnTo>
                  <a:lnTo>
                    <a:pt x="22" y="367"/>
                  </a:lnTo>
                  <a:lnTo>
                    <a:pt x="28" y="365"/>
                  </a:lnTo>
                  <a:lnTo>
                    <a:pt x="32" y="360"/>
                  </a:lnTo>
                  <a:lnTo>
                    <a:pt x="41" y="359"/>
                  </a:lnTo>
                  <a:lnTo>
                    <a:pt x="43" y="355"/>
                  </a:lnTo>
                  <a:lnTo>
                    <a:pt x="49" y="355"/>
                  </a:lnTo>
                  <a:lnTo>
                    <a:pt x="58" y="350"/>
                  </a:lnTo>
                  <a:lnTo>
                    <a:pt x="71" y="352"/>
                  </a:lnTo>
                  <a:lnTo>
                    <a:pt x="78" y="355"/>
                  </a:lnTo>
                  <a:lnTo>
                    <a:pt x="80" y="362"/>
                  </a:lnTo>
                  <a:lnTo>
                    <a:pt x="93" y="379"/>
                  </a:lnTo>
                  <a:lnTo>
                    <a:pt x="86" y="384"/>
                  </a:lnTo>
                  <a:lnTo>
                    <a:pt x="98" y="384"/>
                  </a:lnTo>
                  <a:lnTo>
                    <a:pt x="101" y="402"/>
                  </a:lnTo>
                  <a:lnTo>
                    <a:pt x="95" y="389"/>
                  </a:lnTo>
                  <a:lnTo>
                    <a:pt x="90" y="389"/>
                  </a:lnTo>
                  <a:lnTo>
                    <a:pt x="93" y="394"/>
                  </a:lnTo>
                  <a:lnTo>
                    <a:pt x="90" y="400"/>
                  </a:lnTo>
                  <a:lnTo>
                    <a:pt x="98" y="401"/>
                  </a:lnTo>
                  <a:lnTo>
                    <a:pt x="96" y="408"/>
                  </a:lnTo>
                  <a:lnTo>
                    <a:pt x="86" y="407"/>
                  </a:lnTo>
                  <a:lnTo>
                    <a:pt x="84" y="413"/>
                  </a:lnTo>
                  <a:lnTo>
                    <a:pt x="77" y="418"/>
                  </a:lnTo>
                  <a:lnTo>
                    <a:pt x="74" y="417"/>
                  </a:lnTo>
                  <a:lnTo>
                    <a:pt x="74" y="423"/>
                  </a:lnTo>
                  <a:lnTo>
                    <a:pt x="72" y="423"/>
                  </a:lnTo>
                  <a:lnTo>
                    <a:pt x="72" y="423"/>
                  </a:lnTo>
                  <a:close/>
                  <a:moveTo>
                    <a:pt x="264" y="58"/>
                  </a:moveTo>
                  <a:lnTo>
                    <a:pt x="269" y="52"/>
                  </a:lnTo>
                  <a:lnTo>
                    <a:pt x="272" y="54"/>
                  </a:lnTo>
                  <a:lnTo>
                    <a:pt x="264" y="58"/>
                  </a:lnTo>
                  <a:lnTo>
                    <a:pt x="264" y="58"/>
                  </a:lnTo>
                  <a:close/>
                  <a:moveTo>
                    <a:pt x="283" y="10"/>
                  </a:moveTo>
                  <a:lnTo>
                    <a:pt x="279" y="5"/>
                  </a:lnTo>
                  <a:lnTo>
                    <a:pt x="285" y="0"/>
                  </a:lnTo>
                  <a:lnTo>
                    <a:pt x="283" y="10"/>
                  </a:lnTo>
                  <a:lnTo>
                    <a:pt x="283" y="10"/>
                  </a:lnTo>
                  <a:close/>
                  <a:moveTo>
                    <a:pt x="263" y="28"/>
                  </a:moveTo>
                  <a:lnTo>
                    <a:pt x="264" y="18"/>
                  </a:lnTo>
                  <a:lnTo>
                    <a:pt x="258" y="19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63" y="28"/>
                  </a:lnTo>
                  <a:lnTo>
                    <a:pt x="263" y="28"/>
                  </a:lnTo>
                  <a:close/>
                  <a:moveTo>
                    <a:pt x="358" y="569"/>
                  </a:moveTo>
                  <a:lnTo>
                    <a:pt x="364" y="572"/>
                  </a:lnTo>
                  <a:lnTo>
                    <a:pt x="368" y="570"/>
                  </a:lnTo>
                  <a:lnTo>
                    <a:pt x="365" y="567"/>
                  </a:lnTo>
                  <a:lnTo>
                    <a:pt x="361" y="567"/>
                  </a:lnTo>
                  <a:lnTo>
                    <a:pt x="358" y="569"/>
                  </a:lnTo>
                  <a:lnTo>
                    <a:pt x="358" y="569"/>
                  </a:lnTo>
                  <a:close/>
                  <a:moveTo>
                    <a:pt x="263" y="616"/>
                  </a:moveTo>
                  <a:lnTo>
                    <a:pt x="275" y="610"/>
                  </a:lnTo>
                  <a:lnTo>
                    <a:pt x="280" y="613"/>
                  </a:lnTo>
                  <a:lnTo>
                    <a:pt x="285" y="613"/>
                  </a:lnTo>
                  <a:lnTo>
                    <a:pt x="281" y="618"/>
                  </a:lnTo>
                  <a:lnTo>
                    <a:pt x="281" y="620"/>
                  </a:lnTo>
                  <a:lnTo>
                    <a:pt x="275" y="621"/>
                  </a:lnTo>
                  <a:lnTo>
                    <a:pt x="269" y="618"/>
                  </a:lnTo>
                  <a:lnTo>
                    <a:pt x="263" y="616"/>
                  </a:lnTo>
                  <a:lnTo>
                    <a:pt x="263" y="616"/>
                  </a:lnTo>
                  <a:close/>
                  <a:moveTo>
                    <a:pt x="115" y="313"/>
                  </a:moveTo>
                  <a:lnTo>
                    <a:pt x="115" y="319"/>
                  </a:lnTo>
                  <a:lnTo>
                    <a:pt x="119" y="323"/>
                  </a:lnTo>
                  <a:lnTo>
                    <a:pt x="118" y="317"/>
                  </a:lnTo>
                  <a:lnTo>
                    <a:pt x="115" y="313"/>
                  </a:lnTo>
                  <a:lnTo>
                    <a:pt x="115" y="313"/>
                  </a:lnTo>
                  <a:close/>
                  <a:moveTo>
                    <a:pt x="72" y="307"/>
                  </a:moveTo>
                  <a:lnTo>
                    <a:pt x="75" y="298"/>
                  </a:lnTo>
                  <a:lnTo>
                    <a:pt x="76" y="303"/>
                  </a:lnTo>
                  <a:lnTo>
                    <a:pt x="72" y="307"/>
                  </a:lnTo>
                  <a:lnTo>
                    <a:pt x="72" y="307"/>
                  </a:lnTo>
                  <a:close/>
                  <a:moveTo>
                    <a:pt x="46" y="282"/>
                  </a:moveTo>
                  <a:lnTo>
                    <a:pt x="47" y="275"/>
                  </a:lnTo>
                  <a:lnTo>
                    <a:pt x="54" y="275"/>
                  </a:lnTo>
                  <a:lnTo>
                    <a:pt x="46" y="282"/>
                  </a:lnTo>
                  <a:lnTo>
                    <a:pt x="46" y="282"/>
                  </a:lnTo>
                  <a:close/>
                  <a:moveTo>
                    <a:pt x="58" y="273"/>
                  </a:moveTo>
                  <a:lnTo>
                    <a:pt x="65" y="263"/>
                  </a:lnTo>
                  <a:lnTo>
                    <a:pt x="64" y="271"/>
                  </a:lnTo>
                  <a:lnTo>
                    <a:pt x="58" y="273"/>
                  </a:lnTo>
                  <a:lnTo>
                    <a:pt x="58" y="273"/>
                  </a:lnTo>
                  <a:close/>
                  <a:moveTo>
                    <a:pt x="76" y="256"/>
                  </a:moveTo>
                  <a:lnTo>
                    <a:pt x="81" y="252"/>
                  </a:lnTo>
                  <a:lnTo>
                    <a:pt x="76" y="252"/>
                  </a:lnTo>
                  <a:lnTo>
                    <a:pt x="76" y="256"/>
                  </a:lnTo>
                  <a:lnTo>
                    <a:pt x="76" y="256"/>
                  </a:lnTo>
                  <a:close/>
                  <a:moveTo>
                    <a:pt x="67" y="245"/>
                  </a:moveTo>
                  <a:lnTo>
                    <a:pt x="71" y="252"/>
                  </a:lnTo>
                  <a:lnTo>
                    <a:pt x="75" y="249"/>
                  </a:lnTo>
                  <a:lnTo>
                    <a:pt x="72" y="245"/>
                  </a:lnTo>
                  <a:lnTo>
                    <a:pt x="67" y="245"/>
                  </a:lnTo>
                  <a:lnTo>
                    <a:pt x="67" y="245"/>
                  </a:lnTo>
                  <a:close/>
                  <a:moveTo>
                    <a:pt x="187" y="122"/>
                  </a:moveTo>
                  <a:lnTo>
                    <a:pt x="191" y="126"/>
                  </a:lnTo>
                  <a:lnTo>
                    <a:pt x="191" y="122"/>
                  </a:lnTo>
                  <a:lnTo>
                    <a:pt x="187" y="122"/>
                  </a:lnTo>
                  <a:lnTo>
                    <a:pt x="187" y="122"/>
                  </a:lnTo>
                  <a:close/>
                  <a:moveTo>
                    <a:pt x="177" y="126"/>
                  </a:moveTo>
                  <a:lnTo>
                    <a:pt x="185" y="124"/>
                  </a:lnTo>
                  <a:lnTo>
                    <a:pt x="190" y="129"/>
                  </a:lnTo>
                  <a:lnTo>
                    <a:pt x="186" y="133"/>
                  </a:lnTo>
                  <a:lnTo>
                    <a:pt x="197" y="133"/>
                  </a:lnTo>
                  <a:lnTo>
                    <a:pt x="196" y="139"/>
                  </a:lnTo>
                  <a:lnTo>
                    <a:pt x="192" y="135"/>
                  </a:lnTo>
                  <a:lnTo>
                    <a:pt x="184" y="136"/>
                  </a:lnTo>
                  <a:lnTo>
                    <a:pt x="182" y="130"/>
                  </a:lnTo>
                  <a:lnTo>
                    <a:pt x="181" y="135"/>
                  </a:lnTo>
                  <a:lnTo>
                    <a:pt x="177" y="133"/>
                  </a:lnTo>
                  <a:lnTo>
                    <a:pt x="177" y="126"/>
                  </a:lnTo>
                  <a:lnTo>
                    <a:pt x="177" y="126"/>
                  </a:lnTo>
                  <a:close/>
                  <a:moveTo>
                    <a:pt x="176" y="139"/>
                  </a:moveTo>
                  <a:lnTo>
                    <a:pt x="182" y="146"/>
                  </a:lnTo>
                  <a:lnTo>
                    <a:pt x="184" y="142"/>
                  </a:lnTo>
                  <a:lnTo>
                    <a:pt x="181" y="138"/>
                  </a:lnTo>
                  <a:lnTo>
                    <a:pt x="176" y="139"/>
                  </a:lnTo>
                  <a:lnTo>
                    <a:pt x="176" y="139"/>
                  </a:lnTo>
                  <a:close/>
                  <a:moveTo>
                    <a:pt x="46" y="188"/>
                  </a:moveTo>
                  <a:lnTo>
                    <a:pt x="49" y="186"/>
                  </a:lnTo>
                  <a:lnTo>
                    <a:pt x="45" y="181"/>
                  </a:lnTo>
                  <a:lnTo>
                    <a:pt x="49" y="175"/>
                  </a:lnTo>
                  <a:lnTo>
                    <a:pt x="59" y="180"/>
                  </a:lnTo>
                  <a:lnTo>
                    <a:pt x="57" y="174"/>
                  </a:lnTo>
                  <a:lnTo>
                    <a:pt x="77" y="161"/>
                  </a:lnTo>
                  <a:lnTo>
                    <a:pt x="80" y="172"/>
                  </a:lnTo>
                  <a:lnTo>
                    <a:pt x="71" y="178"/>
                  </a:lnTo>
                  <a:lnTo>
                    <a:pt x="69" y="184"/>
                  </a:lnTo>
                  <a:lnTo>
                    <a:pt x="71" y="186"/>
                  </a:lnTo>
                  <a:lnTo>
                    <a:pt x="65" y="193"/>
                  </a:lnTo>
                  <a:lnTo>
                    <a:pt x="58" y="191"/>
                  </a:lnTo>
                  <a:lnTo>
                    <a:pt x="49" y="192"/>
                  </a:lnTo>
                  <a:lnTo>
                    <a:pt x="46" y="188"/>
                  </a:lnTo>
                  <a:lnTo>
                    <a:pt x="46" y="188"/>
                  </a:lnTo>
                  <a:close/>
                  <a:moveTo>
                    <a:pt x="46" y="201"/>
                  </a:moveTo>
                  <a:lnTo>
                    <a:pt x="51" y="205"/>
                  </a:lnTo>
                  <a:lnTo>
                    <a:pt x="61" y="197"/>
                  </a:lnTo>
                  <a:lnTo>
                    <a:pt x="54" y="194"/>
                  </a:lnTo>
                  <a:lnTo>
                    <a:pt x="51" y="196"/>
                  </a:lnTo>
                  <a:lnTo>
                    <a:pt x="48" y="199"/>
                  </a:lnTo>
                  <a:lnTo>
                    <a:pt x="46" y="201"/>
                  </a:lnTo>
                  <a:lnTo>
                    <a:pt x="46" y="201"/>
                  </a:lnTo>
                  <a:close/>
                  <a:moveTo>
                    <a:pt x="43" y="214"/>
                  </a:moveTo>
                  <a:lnTo>
                    <a:pt x="35" y="216"/>
                  </a:lnTo>
                  <a:lnTo>
                    <a:pt x="29" y="210"/>
                  </a:lnTo>
                  <a:lnTo>
                    <a:pt x="32" y="208"/>
                  </a:lnTo>
                  <a:lnTo>
                    <a:pt x="43" y="209"/>
                  </a:lnTo>
                  <a:lnTo>
                    <a:pt x="43" y="214"/>
                  </a:lnTo>
                  <a:lnTo>
                    <a:pt x="43" y="214"/>
                  </a:lnTo>
                  <a:close/>
                  <a:moveTo>
                    <a:pt x="38" y="223"/>
                  </a:moveTo>
                  <a:lnTo>
                    <a:pt x="32" y="221"/>
                  </a:lnTo>
                  <a:lnTo>
                    <a:pt x="32" y="219"/>
                  </a:lnTo>
                  <a:lnTo>
                    <a:pt x="41" y="217"/>
                  </a:lnTo>
                  <a:lnTo>
                    <a:pt x="38" y="223"/>
                  </a:lnTo>
                  <a:lnTo>
                    <a:pt x="38" y="223"/>
                  </a:lnTo>
                  <a:close/>
                  <a:moveTo>
                    <a:pt x="30" y="244"/>
                  </a:moveTo>
                  <a:lnTo>
                    <a:pt x="32" y="249"/>
                  </a:lnTo>
                  <a:lnTo>
                    <a:pt x="26" y="252"/>
                  </a:lnTo>
                  <a:lnTo>
                    <a:pt x="26" y="248"/>
                  </a:lnTo>
                  <a:lnTo>
                    <a:pt x="30" y="244"/>
                  </a:lnTo>
                  <a:lnTo>
                    <a:pt x="30" y="244"/>
                  </a:lnTo>
                  <a:close/>
                  <a:moveTo>
                    <a:pt x="38" y="240"/>
                  </a:moveTo>
                  <a:lnTo>
                    <a:pt x="36" y="234"/>
                  </a:lnTo>
                  <a:lnTo>
                    <a:pt x="38" y="230"/>
                  </a:lnTo>
                  <a:lnTo>
                    <a:pt x="37" y="225"/>
                  </a:lnTo>
                  <a:lnTo>
                    <a:pt x="34" y="225"/>
                  </a:lnTo>
                  <a:lnTo>
                    <a:pt x="34" y="230"/>
                  </a:lnTo>
                  <a:lnTo>
                    <a:pt x="31" y="234"/>
                  </a:lnTo>
                  <a:lnTo>
                    <a:pt x="32" y="239"/>
                  </a:lnTo>
                  <a:lnTo>
                    <a:pt x="38" y="240"/>
                  </a:lnTo>
                  <a:lnTo>
                    <a:pt x="38" y="240"/>
                  </a:lnTo>
                  <a:close/>
                  <a:moveTo>
                    <a:pt x="83" y="245"/>
                  </a:moveTo>
                  <a:lnTo>
                    <a:pt x="83" y="238"/>
                  </a:lnTo>
                  <a:lnTo>
                    <a:pt x="72" y="239"/>
                  </a:lnTo>
                  <a:lnTo>
                    <a:pt x="66" y="228"/>
                  </a:lnTo>
                  <a:lnTo>
                    <a:pt x="67" y="226"/>
                  </a:lnTo>
                  <a:lnTo>
                    <a:pt x="64" y="223"/>
                  </a:lnTo>
                  <a:lnTo>
                    <a:pt x="64" y="227"/>
                  </a:lnTo>
                  <a:lnTo>
                    <a:pt x="55" y="221"/>
                  </a:lnTo>
                  <a:lnTo>
                    <a:pt x="59" y="219"/>
                  </a:lnTo>
                  <a:lnTo>
                    <a:pt x="61" y="220"/>
                  </a:lnTo>
                  <a:lnTo>
                    <a:pt x="61" y="213"/>
                  </a:lnTo>
                  <a:lnTo>
                    <a:pt x="71" y="219"/>
                  </a:lnTo>
                  <a:lnTo>
                    <a:pt x="70" y="210"/>
                  </a:lnTo>
                  <a:lnTo>
                    <a:pt x="75" y="208"/>
                  </a:lnTo>
                  <a:lnTo>
                    <a:pt x="80" y="215"/>
                  </a:lnTo>
                  <a:lnTo>
                    <a:pt x="78" y="230"/>
                  </a:lnTo>
                  <a:lnTo>
                    <a:pt x="87" y="233"/>
                  </a:lnTo>
                  <a:lnTo>
                    <a:pt x="93" y="233"/>
                  </a:lnTo>
                  <a:lnTo>
                    <a:pt x="95" y="234"/>
                  </a:lnTo>
                  <a:lnTo>
                    <a:pt x="89" y="238"/>
                  </a:lnTo>
                  <a:lnTo>
                    <a:pt x="87" y="245"/>
                  </a:lnTo>
                  <a:lnTo>
                    <a:pt x="83" y="245"/>
                  </a:lnTo>
                  <a:lnTo>
                    <a:pt x="83" y="245"/>
                  </a:lnTo>
                  <a:close/>
                  <a:moveTo>
                    <a:pt x="69" y="290"/>
                  </a:moveTo>
                  <a:lnTo>
                    <a:pt x="86" y="286"/>
                  </a:lnTo>
                  <a:lnTo>
                    <a:pt x="87" y="289"/>
                  </a:lnTo>
                  <a:lnTo>
                    <a:pt x="94" y="284"/>
                  </a:lnTo>
                  <a:lnTo>
                    <a:pt x="92" y="277"/>
                  </a:lnTo>
                  <a:lnTo>
                    <a:pt x="86" y="277"/>
                  </a:lnTo>
                  <a:lnTo>
                    <a:pt x="78" y="269"/>
                  </a:lnTo>
                  <a:lnTo>
                    <a:pt x="70" y="274"/>
                  </a:lnTo>
                  <a:lnTo>
                    <a:pt x="82" y="279"/>
                  </a:lnTo>
                  <a:lnTo>
                    <a:pt x="75" y="283"/>
                  </a:lnTo>
                  <a:lnTo>
                    <a:pt x="77" y="285"/>
                  </a:lnTo>
                  <a:lnTo>
                    <a:pt x="69" y="290"/>
                  </a:lnTo>
                  <a:lnTo>
                    <a:pt x="69" y="290"/>
                  </a:lnTo>
                  <a:close/>
                  <a:moveTo>
                    <a:pt x="82" y="319"/>
                  </a:moveTo>
                  <a:lnTo>
                    <a:pt x="78" y="312"/>
                  </a:lnTo>
                  <a:lnTo>
                    <a:pt x="94" y="298"/>
                  </a:lnTo>
                  <a:lnTo>
                    <a:pt x="88" y="313"/>
                  </a:lnTo>
                  <a:lnTo>
                    <a:pt x="82" y="319"/>
                  </a:lnTo>
                  <a:lnTo>
                    <a:pt x="82" y="319"/>
                  </a:lnTo>
                  <a:close/>
                  <a:moveTo>
                    <a:pt x="70" y="330"/>
                  </a:moveTo>
                  <a:lnTo>
                    <a:pt x="80" y="324"/>
                  </a:lnTo>
                  <a:lnTo>
                    <a:pt x="76" y="311"/>
                  </a:lnTo>
                  <a:lnTo>
                    <a:pt x="63" y="315"/>
                  </a:lnTo>
                  <a:lnTo>
                    <a:pt x="63" y="326"/>
                  </a:lnTo>
                  <a:lnTo>
                    <a:pt x="71" y="321"/>
                  </a:lnTo>
                  <a:lnTo>
                    <a:pt x="70" y="330"/>
                  </a:lnTo>
                  <a:lnTo>
                    <a:pt x="70" y="330"/>
                  </a:lnTo>
                  <a:close/>
                  <a:moveTo>
                    <a:pt x="104" y="327"/>
                  </a:moveTo>
                  <a:lnTo>
                    <a:pt x="106" y="340"/>
                  </a:lnTo>
                  <a:lnTo>
                    <a:pt x="115" y="343"/>
                  </a:lnTo>
                  <a:lnTo>
                    <a:pt x="117" y="335"/>
                  </a:lnTo>
                  <a:lnTo>
                    <a:pt x="111" y="324"/>
                  </a:lnTo>
                  <a:lnTo>
                    <a:pt x="104" y="327"/>
                  </a:lnTo>
                  <a:lnTo>
                    <a:pt x="104" y="327"/>
                  </a:lnTo>
                  <a:close/>
                  <a:moveTo>
                    <a:pt x="134" y="465"/>
                  </a:moveTo>
                  <a:lnTo>
                    <a:pt x="147" y="470"/>
                  </a:lnTo>
                  <a:lnTo>
                    <a:pt x="158" y="463"/>
                  </a:lnTo>
                  <a:lnTo>
                    <a:pt x="150" y="464"/>
                  </a:lnTo>
                  <a:lnTo>
                    <a:pt x="146" y="457"/>
                  </a:lnTo>
                  <a:lnTo>
                    <a:pt x="136" y="458"/>
                  </a:lnTo>
                  <a:lnTo>
                    <a:pt x="136" y="458"/>
                  </a:lnTo>
                  <a:lnTo>
                    <a:pt x="134" y="465"/>
                  </a:lnTo>
                  <a:lnTo>
                    <a:pt x="134" y="465"/>
                  </a:lnTo>
                  <a:close/>
                  <a:moveTo>
                    <a:pt x="125" y="421"/>
                  </a:moveTo>
                  <a:lnTo>
                    <a:pt x="129" y="410"/>
                  </a:lnTo>
                  <a:lnTo>
                    <a:pt x="145" y="399"/>
                  </a:lnTo>
                  <a:lnTo>
                    <a:pt x="142" y="405"/>
                  </a:lnTo>
                  <a:lnTo>
                    <a:pt x="145" y="410"/>
                  </a:lnTo>
                  <a:lnTo>
                    <a:pt x="134" y="419"/>
                  </a:lnTo>
                  <a:lnTo>
                    <a:pt x="125" y="421"/>
                  </a:lnTo>
                  <a:lnTo>
                    <a:pt x="125" y="421"/>
                  </a:lnTo>
                  <a:close/>
                  <a:moveTo>
                    <a:pt x="109" y="657"/>
                  </a:moveTo>
                  <a:lnTo>
                    <a:pt x="113" y="653"/>
                  </a:lnTo>
                  <a:lnTo>
                    <a:pt x="111" y="650"/>
                  </a:lnTo>
                  <a:lnTo>
                    <a:pt x="116" y="644"/>
                  </a:lnTo>
                  <a:lnTo>
                    <a:pt x="118" y="647"/>
                  </a:lnTo>
                  <a:lnTo>
                    <a:pt x="123" y="642"/>
                  </a:lnTo>
                  <a:lnTo>
                    <a:pt x="127" y="642"/>
                  </a:lnTo>
                  <a:lnTo>
                    <a:pt x="130" y="636"/>
                  </a:lnTo>
                  <a:lnTo>
                    <a:pt x="139" y="638"/>
                  </a:lnTo>
                  <a:lnTo>
                    <a:pt x="145" y="636"/>
                  </a:lnTo>
                  <a:lnTo>
                    <a:pt x="151" y="636"/>
                  </a:lnTo>
                  <a:lnTo>
                    <a:pt x="155" y="634"/>
                  </a:lnTo>
                  <a:lnTo>
                    <a:pt x="158" y="638"/>
                  </a:lnTo>
                  <a:lnTo>
                    <a:pt x="163" y="638"/>
                  </a:lnTo>
                  <a:lnTo>
                    <a:pt x="169" y="643"/>
                  </a:lnTo>
                  <a:lnTo>
                    <a:pt x="176" y="643"/>
                  </a:lnTo>
                  <a:lnTo>
                    <a:pt x="175" y="638"/>
                  </a:lnTo>
                  <a:lnTo>
                    <a:pt x="181" y="636"/>
                  </a:lnTo>
                  <a:lnTo>
                    <a:pt x="182" y="632"/>
                  </a:lnTo>
                  <a:lnTo>
                    <a:pt x="181" y="625"/>
                  </a:lnTo>
                  <a:lnTo>
                    <a:pt x="186" y="620"/>
                  </a:lnTo>
                  <a:lnTo>
                    <a:pt x="190" y="620"/>
                  </a:lnTo>
                  <a:lnTo>
                    <a:pt x="192" y="618"/>
                  </a:lnTo>
                  <a:lnTo>
                    <a:pt x="208" y="614"/>
                  </a:lnTo>
                  <a:lnTo>
                    <a:pt x="216" y="614"/>
                  </a:lnTo>
                  <a:lnTo>
                    <a:pt x="226" y="620"/>
                  </a:lnTo>
                  <a:lnTo>
                    <a:pt x="229" y="619"/>
                  </a:lnTo>
                  <a:lnTo>
                    <a:pt x="240" y="620"/>
                  </a:lnTo>
                  <a:lnTo>
                    <a:pt x="246" y="621"/>
                  </a:lnTo>
                  <a:lnTo>
                    <a:pt x="249" y="615"/>
                  </a:lnTo>
                  <a:lnTo>
                    <a:pt x="260" y="610"/>
                  </a:lnTo>
                  <a:lnTo>
                    <a:pt x="266" y="613"/>
                  </a:lnTo>
                  <a:lnTo>
                    <a:pt x="275" y="607"/>
                  </a:lnTo>
                  <a:lnTo>
                    <a:pt x="283" y="608"/>
                  </a:lnTo>
                  <a:lnTo>
                    <a:pt x="286" y="608"/>
                  </a:lnTo>
                  <a:lnTo>
                    <a:pt x="290" y="604"/>
                  </a:lnTo>
                  <a:lnTo>
                    <a:pt x="292" y="608"/>
                  </a:lnTo>
                  <a:lnTo>
                    <a:pt x="297" y="610"/>
                  </a:lnTo>
                  <a:lnTo>
                    <a:pt x="304" y="607"/>
                  </a:lnTo>
                  <a:lnTo>
                    <a:pt x="319" y="607"/>
                  </a:lnTo>
                  <a:lnTo>
                    <a:pt x="329" y="604"/>
                  </a:lnTo>
                  <a:lnTo>
                    <a:pt x="337" y="607"/>
                  </a:lnTo>
                  <a:lnTo>
                    <a:pt x="342" y="608"/>
                  </a:lnTo>
                  <a:lnTo>
                    <a:pt x="349" y="603"/>
                  </a:lnTo>
                  <a:lnTo>
                    <a:pt x="356" y="602"/>
                  </a:lnTo>
                  <a:lnTo>
                    <a:pt x="362" y="596"/>
                  </a:lnTo>
                  <a:lnTo>
                    <a:pt x="367" y="596"/>
                  </a:lnTo>
                  <a:lnTo>
                    <a:pt x="372" y="597"/>
                  </a:lnTo>
                  <a:lnTo>
                    <a:pt x="371" y="592"/>
                  </a:lnTo>
                  <a:lnTo>
                    <a:pt x="382" y="585"/>
                  </a:lnTo>
                  <a:lnTo>
                    <a:pt x="388" y="584"/>
                  </a:lnTo>
                  <a:lnTo>
                    <a:pt x="389" y="578"/>
                  </a:lnTo>
                  <a:lnTo>
                    <a:pt x="387" y="574"/>
                  </a:lnTo>
                  <a:lnTo>
                    <a:pt x="389" y="569"/>
                  </a:lnTo>
                  <a:lnTo>
                    <a:pt x="377" y="569"/>
                  </a:lnTo>
                  <a:lnTo>
                    <a:pt x="368" y="572"/>
                  </a:lnTo>
                  <a:lnTo>
                    <a:pt x="364" y="573"/>
                  </a:lnTo>
                  <a:lnTo>
                    <a:pt x="355" y="570"/>
                  </a:lnTo>
                  <a:lnTo>
                    <a:pt x="353" y="569"/>
                  </a:lnTo>
                  <a:lnTo>
                    <a:pt x="355" y="567"/>
                  </a:lnTo>
                  <a:lnTo>
                    <a:pt x="358" y="567"/>
                  </a:lnTo>
                  <a:lnTo>
                    <a:pt x="359" y="566"/>
                  </a:lnTo>
                  <a:lnTo>
                    <a:pt x="352" y="564"/>
                  </a:lnTo>
                  <a:lnTo>
                    <a:pt x="345" y="566"/>
                  </a:lnTo>
                  <a:lnTo>
                    <a:pt x="354" y="561"/>
                  </a:lnTo>
                  <a:lnTo>
                    <a:pt x="360" y="561"/>
                  </a:lnTo>
                  <a:lnTo>
                    <a:pt x="367" y="558"/>
                  </a:lnTo>
                  <a:lnTo>
                    <a:pt x="365" y="552"/>
                  </a:lnTo>
                  <a:lnTo>
                    <a:pt x="358" y="552"/>
                  </a:lnTo>
                  <a:lnTo>
                    <a:pt x="362" y="549"/>
                  </a:lnTo>
                  <a:lnTo>
                    <a:pt x="367" y="545"/>
                  </a:lnTo>
                  <a:lnTo>
                    <a:pt x="371" y="549"/>
                  </a:lnTo>
                  <a:lnTo>
                    <a:pt x="377" y="544"/>
                  </a:lnTo>
                  <a:lnTo>
                    <a:pt x="381" y="540"/>
                  </a:lnTo>
                  <a:lnTo>
                    <a:pt x="377" y="540"/>
                  </a:lnTo>
                  <a:lnTo>
                    <a:pt x="379" y="537"/>
                  </a:lnTo>
                  <a:lnTo>
                    <a:pt x="371" y="537"/>
                  </a:lnTo>
                  <a:lnTo>
                    <a:pt x="374" y="532"/>
                  </a:lnTo>
                  <a:lnTo>
                    <a:pt x="379" y="533"/>
                  </a:lnTo>
                  <a:lnTo>
                    <a:pt x="381" y="535"/>
                  </a:lnTo>
                  <a:lnTo>
                    <a:pt x="385" y="529"/>
                  </a:lnTo>
                  <a:lnTo>
                    <a:pt x="391" y="527"/>
                  </a:lnTo>
                  <a:lnTo>
                    <a:pt x="391" y="516"/>
                  </a:lnTo>
                  <a:lnTo>
                    <a:pt x="396" y="504"/>
                  </a:lnTo>
                  <a:lnTo>
                    <a:pt x="393" y="500"/>
                  </a:lnTo>
                  <a:lnTo>
                    <a:pt x="391" y="489"/>
                  </a:lnTo>
                  <a:lnTo>
                    <a:pt x="376" y="479"/>
                  </a:lnTo>
                  <a:lnTo>
                    <a:pt x="354" y="477"/>
                  </a:lnTo>
                  <a:lnTo>
                    <a:pt x="341" y="479"/>
                  </a:lnTo>
                  <a:lnTo>
                    <a:pt x="339" y="487"/>
                  </a:lnTo>
                  <a:lnTo>
                    <a:pt x="337" y="492"/>
                  </a:lnTo>
                  <a:lnTo>
                    <a:pt x="330" y="486"/>
                  </a:lnTo>
                  <a:lnTo>
                    <a:pt x="321" y="483"/>
                  </a:lnTo>
                  <a:lnTo>
                    <a:pt x="335" y="471"/>
                  </a:lnTo>
                  <a:lnTo>
                    <a:pt x="335" y="464"/>
                  </a:lnTo>
                  <a:lnTo>
                    <a:pt x="324" y="448"/>
                  </a:lnTo>
                  <a:lnTo>
                    <a:pt x="320" y="448"/>
                  </a:lnTo>
                  <a:lnTo>
                    <a:pt x="310" y="443"/>
                  </a:lnTo>
                  <a:lnTo>
                    <a:pt x="307" y="437"/>
                  </a:lnTo>
                  <a:lnTo>
                    <a:pt x="302" y="439"/>
                  </a:lnTo>
                  <a:lnTo>
                    <a:pt x="298" y="439"/>
                  </a:lnTo>
                  <a:lnTo>
                    <a:pt x="294" y="437"/>
                  </a:lnTo>
                  <a:lnTo>
                    <a:pt x="290" y="437"/>
                  </a:lnTo>
                  <a:lnTo>
                    <a:pt x="296" y="436"/>
                  </a:lnTo>
                  <a:lnTo>
                    <a:pt x="300" y="437"/>
                  </a:lnTo>
                  <a:lnTo>
                    <a:pt x="307" y="436"/>
                  </a:lnTo>
                  <a:lnTo>
                    <a:pt x="312" y="437"/>
                  </a:lnTo>
                  <a:lnTo>
                    <a:pt x="315" y="441"/>
                  </a:lnTo>
                  <a:lnTo>
                    <a:pt x="319" y="440"/>
                  </a:lnTo>
                  <a:lnTo>
                    <a:pt x="324" y="441"/>
                  </a:lnTo>
                  <a:lnTo>
                    <a:pt x="312" y="427"/>
                  </a:lnTo>
                  <a:lnTo>
                    <a:pt x="306" y="421"/>
                  </a:lnTo>
                  <a:lnTo>
                    <a:pt x="309" y="414"/>
                  </a:lnTo>
                  <a:lnTo>
                    <a:pt x="313" y="414"/>
                  </a:lnTo>
                  <a:lnTo>
                    <a:pt x="307" y="411"/>
                  </a:lnTo>
                  <a:lnTo>
                    <a:pt x="304" y="407"/>
                  </a:lnTo>
                  <a:lnTo>
                    <a:pt x="302" y="406"/>
                  </a:lnTo>
                  <a:lnTo>
                    <a:pt x="295" y="394"/>
                  </a:lnTo>
                  <a:lnTo>
                    <a:pt x="284" y="389"/>
                  </a:lnTo>
                  <a:lnTo>
                    <a:pt x="268" y="387"/>
                  </a:lnTo>
                  <a:lnTo>
                    <a:pt x="267" y="381"/>
                  </a:lnTo>
                  <a:lnTo>
                    <a:pt x="264" y="379"/>
                  </a:lnTo>
                  <a:lnTo>
                    <a:pt x="260" y="364"/>
                  </a:lnTo>
                  <a:lnTo>
                    <a:pt x="254" y="355"/>
                  </a:lnTo>
                  <a:lnTo>
                    <a:pt x="250" y="336"/>
                  </a:lnTo>
                  <a:lnTo>
                    <a:pt x="245" y="330"/>
                  </a:lnTo>
                  <a:lnTo>
                    <a:pt x="242" y="330"/>
                  </a:lnTo>
                  <a:lnTo>
                    <a:pt x="228" y="313"/>
                  </a:lnTo>
                  <a:lnTo>
                    <a:pt x="220" y="312"/>
                  </a:lnTo>
                  <a:lnTo>
                    <a:pt x="215" y="307"/>
                  </a:lnTo>
                  <a:lnTo>
                    <a:pt x="205" y="303"/>
                  </a:lnTo>
                  <a:lnTo>
                    <a:pt x="200" y="307"/>
                  </a:lnTo>
                  <a:lnTo>
                    <a:pt x="193" y="311"/>
                  </a:lnTo>
                  <a:lnTo>
                    <a:pt x="182" y="308"/>
                  </a:lnTo>
                  <a:lnTo>
                    <a:pt x="177" y="308"/>
                  </a:lnTo>
                  <a:lnTo>
                    <a:pt x="169" y="306"/>
                  </a:lnTo>
                  <a:lnTo>
                    <a:pt x="167" y="302"/>
                  </a:lnTo>
                  <a:lnTo>
                    <a:pt x="171" y="304"/>
                  </a:lnTo>
                  <a:lnTo>
                    <a:pt x="181" y="304"/>
                  </a:lnTo>
                  <a:lnTo>
                    <a:pt x="191" y="302"/>
                  </a:lnTo>
                  <a:lnTo>
                    <a:pt x="193" y="296"/>
                  </a:lnTo>
                  <a:lnTo>
                    <a:pt x="202" y="296"/>
                  </a:lnTo>
                  <a:lnTo>
                    <a:pt x="210" y="291"/>
                  </a:lnTo>
                  <a:lnTo>
                    <a:pt x="202" y="288"/>
                  </a:lnTo>
                  <a:lnTo>
                    <a:pt x="202" y="283"/>
                  </a:lnTo>
                  <a:lnTo>
                    <a:pt x="198" y="280"/>
                  </a:lnTo>
                  <a:lnTo>
                    <a:pt x="186" y="286"/>
                  </a:lnTo>
                  <a:lnTo>
                    <a:pt x="185" y="284"/>
                  </a:lnTo>
                  <a:lnTo>
                    <a:pt x="193" y="278"/>
                  </a:lnTo>
                  <a:lnTo>
                    <a:pt x="204" y="279"/>
                  </a:lnTo>
                  <a:lnTo>
                    <a:pt x="210" y="274"/>
                  </a:lnTo>
                  <a:lnTo>
                    <a:pt x="211" y="269"/>
                  </a:lnTo>
                  <a:lnTo>
                    <a:pt x="215" y="267"/>
                  </a:lnTo>
                  <a:lnTo>
                    <a:pt x="221" y="256"/>
                  </a:lnTo>
                  <a:lnTo>
                    <a:pt x="225" y="251"/>
                  </a:lnTo>
                  <a:lnTo>
                    <a:pt x="225" y="248"/>
                  </a:lnTo>
                  <a:lnTo>
                    <a:pt x="228" y="240"/>
                  </a:lnTo>
                  <a:lnTo>
                    <a:pt x="227" y="238"/>
                  </a:lnTo>
                  <a:lnTo>
                    <a:pt x="231" y="228"/>
                  </a:lnTo>
                  <a:lnTo>
                    <a:pt x="238" y="222"/>
                  </a:lnTo>
                  <a:lnTo>
                    <a:pt x="238" y="216"/>
                  </a:lnTo>
                  <a:lnTo>
                    <a:pt x="227" y="208"/>
                  </a:lnTo>
                  <a:lnTo>
                    <a:pt x="226" y="209"/>
                  </a:lnTo>
                  <a:lnTo>
                    <a:pt x="206" y="210"/>
                  </a:lnTo>
                  <a:lnTo>
                    <a:pt x="196" y="208"/>
                  </a:lnTo>
                  <a:lnTo>
                    <a:pt x="192" y="210"/>
                  </a:lnTo>
                  <a:lnTo>
                    <a:pt x="187" y="210"/>
                  </a:lnTo>
                  <a:lnTo>
                    <a:pt x="180" y="208"/>
                  </a:lnTo>
                  <a:lnTo>
                    <a:pt x="175" y="208"/>
                  </a:lnTo>
                  <a:lnTo>
                    <a:pt x="174" y="210"/>
                  </a:lnTo>
                  <a:lnTo>
                    <a:pt x="167" y="213"/>
                  </a:lnTo>
                  <a:lnTo>
                    <a:pt x="159" y="216"/>
                  </a:lnTo>
                  <a:lnTo>
                    <a:pt x="157" y="215"/>
                  </a:lnTo>
                  <a:lnTo>
                    <a:pt x="152" y="219"/>
                  </a:lnTo>
                  <a:lnTo>
                    <a:pt x="150" y="217"/>
                  </a:lnTo>
                  <a:lnTo>
                    <a:pt x="157" y="210"/>
                  </a:lnTo>
                  <a:lnTo>
                    <a:pt x="164" y="201"/>
                  </a:lnTo>
                  <a:lnTo>
                    <a:pt x="159" y="203"/>
                  </a:lnTo>
                  <a:lnTo>
                    <a:pt x="152" y="201"/>
                  </a:lnTo>
                  <a:lnTo>
                    <a:pt x="156" y="198"/>
                  </a:lnTo>
                  <a:lnTo>
                    <a:pt x="157" y="193"/>
                  </a:lnTo>
                  <a:lnTo>
                    <a:pt x="175" y="181"/>
                  </a:lnTo>
                  <a:lnTo>
                    <a:pt x="181" y="174"/>
                  </a:lnTo>
                  <a:lnTo>
                    <a:pt x="187" y="172"/>
                  </a:lnTo>
                  <a:lnTo>
                    <a:pt x="190" y="164"/>
                  </a:lnTo>
                  <a:lnTo>
                    <a:pt x="187" y="161"/>
                  </a:lnTo>
                  <a:lnTo>
                    <a:pt x="190" y="156"/>
                  </a:lnTo>
                  <a:lnTo>
                    <a:pt x="190" y="153"/>
                  </a:lnTo>
                  <a:lnTo>
                    <a:pt x="181" y="153"/>
                  </a:lnTo>
                  <a:lnTo>
                    <a:pt x="177" y="156"/>
                  </a:lnTo>
                  <a:lnTo>
                    <a:pt x="171" y="155"/>
                  </a:lnTo>
                  <a:lnTo>
                    <a:pt x="163" y="158"/>
                  </a:lnTo>
                  <a:lnTo>
                    <a:pt x="155" y="157"/>
                  </a:lnTo>
                  <a:lnTo>
                    <a:pt x="148" y="161"/>
                  </a:lnTo>
                  <a:lnTo>
                    <a:pt x="144" y="161"/>
                  </a:lnTo>
                  <a:lnTo>
                    <a:pt x="140" y="163"/>
                  </a:lnTo>
                  <a:lnTo>
                    <a:pt x="141" y="159"/>
                  </a:lnTo>
                  <a:lnTo>
                    <a:pt x="138" y="158"/>
                  </a:lnTo>
                  <a:lnTo>
                    <a:pt x="130" y="164"/>
                  </a:lnTo>
                  <a:lnTo>
                    <a:pt x="132" y="159"/>
                  </a:lnTo>
                  <a:lnTo>
                    <a:pt x="122" y="155"/>
                  </a:lnTo>
                  <a:lnTo>
                    <a:pt x="119" y="161"/>
                  </a:lnTo>
                  <a:lnTo>
                    <a:pt x="117" y="163"/>
                  </a:lnTo>
                  <a:lnTo>
                    <a:pt x="117" y="168"/>
                  </a:lnTo>
                  <a:lnTo>
                    <a:pt x="116" y="168"/>
                  </a:lnTo>
                  <a:lnTo>
                    <a:pt x="116" y="175"/>
                  </a:lnTo>
                  <a:lnTo>
                    <a:pt x="109" y="176"/>
                  </a:lnTo>
                  <a:lnTo>
                    <a:pt x="112" y="182"/>
                  </a:lnTo>
                  <a:lnTo>
                    <a:pt x="109" y="187"/>
                  </a:lnTo>
                  <a:lnTo>
                    <a:pt x="105" y="187"/>
                  </a:lnTo>
                  <a:lnTo>
                    <a:pt x="115" y="194"/>
                  </a:lnTo>
                  <a:lnTo>
                    <a:pt x="117" y="201"/>
                  </a:lnTo>
                  <a:lnTo>
                    <a:pt x="109" y="196"/>
                  </a:lnTo>
                  <a:lnTo>
                    <a:pt x="105" y="198"/>
                  </a:lnTo>
                  <a:lnTo>
                    <a:pt x="99" y="194"/>
                  </a:lnTo>
                  <a:lnTo>
                    <a:pt x="98" y="197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4" y="198"/>
                  </a:lnTo>
                  <a:lnTo>
                    <a:pt x="90" y="204"/>
                  </a:lnTo>
                  <a:lnTo>
                    <a:pt x="94" y="208"/>
                  </a:lnTo>
                  <a:lnTo>
                    <a:pt x="92" y="211"/>
                  </a:lnTo>
                  <a:lnTo>
                    <a:pt x="98" y="217"/>
                  </a:lnTo>
                  <a:lnTo>
                    <a:pt x="103" y="217"/>
                  </a:lnTo>
                  <a:lnTo>
                    <a:pt x="96" y="219"/>
                  </a:lnTo>
                  <a:lnTo>
                    <a:pt x="90" y="216"/>
                  </a:lnTo>
                  <a:lnTo>
                    <a:pt x="92" y="225"/>
                  </a:lnTo>
                  <a:lnTo>
                    <a:pt x="92" y="228"/>
                  </a:lnTo>
                  <a:lnTo>
                    <a:pt x="103" y="226"/>
                  </a:lnTo>
                  <a:lnTo>
                    <a:pt x="95" y="230"/>
                  </a:lnTo>
                  <a:lnTo>
                    <a:pt x="94" y="232"/>
                  </a:lnTo>
                  <a:lnTo>
                    <a:pt x="96" y="233"/>
                  </a:lnTo>
                  <a:lnTo>
                    <a:pt x="104" y="231"/>
                  </a:lnTo>
                  <a:lnTo>
                    <a:pt x="103" y="232"/>
                  </a:lnTo>
                  <a:lnTo>
                    <a:pt x="105" y="236"/>
                  </a:lnTo>
                  <a:lnTo>
                    <a:pt x="100" y="233"/>
                  </a:lnTo>
                  <a:lnTo>
                    <a:pt x="98" y="236"/>
                  </a:lnTo>
                  <a:lnTo>
                    <a:pt x="96" y="239"/>
                  </a:lnTo>
                  <a:lnTo>
                    <a:pt x="99" y="242"/>
                  </a:lnTo>
                  <a:lnTo>
                    <a:pt x="95" y="242"/>
                  </a:lnTo>
                  <a:lnTo>
                    <a:pt x="92" y="245"/>
                  </a:lnTo>
                  <a:lnTo>
                    <a:pt x="96" y="248"/>
                  </a:lnTo>
                  <a:lnTo>
                    <a:pt x="98" y="251"/>
                  </a:lnTo>
                  <a:lnTo>
                    <a:pt x="90" y="248"/>
                  </a:lnTo>
                  <a:lnTo>
                    <a:pt x="88" y="252"/>
                  </a:lnTo>
                  <a:lnTo>
                    <a:pt x="92" y="255"/>
                  </a:lnTo>
                  <a:lnTo>
                    <a:pt x="89" y="259"/>
                  </a:lnTo>
                  <a:lnTo>
                    <a:pt x="86" y="261"/>
                  </a:lnTo>
                  <a:lnTo>
                    <a:pt x="78" y="261"/>
                  </a:lnTo>
                  <a:lnTo>
                    <a:pt x="75" y="265"/>
                  </a:lnTo>
                  <a:lnTo>
                    <a:pt x="77" y="266"/>
                  </a:lnTo>
                  <a:lnTo>
                    <a:pt x="84" y="266"/>
                  </a:lnTo>
                  <a:lnTo>
                    <a:pt x="89" y="267"/>
                  </a:lnTo>
                  <a:lnTo>
                    <a:pt x="88" y="268"/>
                  </a:lnTo>
                  <a:lnTo>
                    <a:pt x="82" y="268"/>
                  </a:lnTo>
                  <a:lnTo>
                    <a:pt x="89" y="274"/>
                  </a:lnTo>
                  <a:lnTo>
                    <a:pt x="92" y="274"/>
                  </a:lnTo>
                  <a:lnTo>
                    <a:pt x="95" y="278"/>
                  </a:lnTo>
                  <a:lnTo>
                    <a:pt x="115" y="261"/>
                  </a:lnTo>
                  <a:lnTo>
                    <a:pt x="111" y="266"/>
                  </a:lnTo>
                  <a:lnTo>
                    <a:pt x="113" y="267"/>
                  </a:lnTo>
                  <a:lnTo>
                    <a:pt x="109" y="269"/>
                  </a:lnTo>
                  <a:lnTo>
                    <a:pt x="104" y="279"/>
                  </a:lnTo>
                  <a:lnTo>
                    <a:pt x="104" y="282"/>
                  </a:lnTo>
                  <a:lnTo>
                    <a:pt x="99" y="291"/>
                  </a:lnTo>
                  <a:lnTo>
                    <a:pt x="101" y="292"/>
                  </a:lnTo>
                  <a:lnTo>
                    <a:pt x="96" y="304"/>
                  </a:lnTo>
                  <a:lnTo>
                    <a:pt x="98" y="312"/>
                  </a:lnTo>
                  <a:lnTo>
                    <a:pt x="94" y="317"/>
                  </a:lnTo>
                  <a:lnTo>
                    <a:pt x="96" y="320"/>
                  </a:lnTo>
                  <a:lnTo>
                    <a:pt x="100" y="319"/>
                  </a:lnTo>
                  <a:lnTo>
                    <a:pt x="94" y="327"/>
                  </a:lnTo>
                  <a:lnTo>
                    <a:pt x="93" y="338"/>
                  </a:lnTo>
                  <a:lnTo>
                    <a:pt x="88" y="343"/>
                  </a:lnTo>
                  <a:lnTo>
                    <a:pt x="89" y="346"/>
                  </a:lnTo>
                  <a:lnTo>
                    <a:pt x="99" y="346"/>
                  </a:lnTo>
                  <a:lnTo>
                    <a:pt x="98" y="340"/>
                  </a:lnTo>
                  <a:lnTo>
                    <a:pt x="101" y="331"/>
                  </a:lnTo>
                  <a:lnTo>
                    <a:pt x="101" y="325"/>
                  </a:lnTo>
                  <a:lnTo>
                    <a:pt x="106" y="320"/>
                  </a:lnTo>
                  <a:lnTo>
                    <a:pt x="103" y="304"/>
                  </a:lnTo>
                  <a:lnTo>
                    <a:pt x="106" y="304"/>
                  </a:lnTo>
                  <a:lnTo>
                    <a:pt x="117" y="292"/>
                  </a:lnTo>
                  <a:lnTo>
                    <a:pt x="109" y="304"/>
                  </a:lnTo>
                  <a:lnTo>
                    <a:pt x="107" y="313"/>
                  </a:lnTo>
                  <a:lnTo>
                    <a:pt x="111" y="315"/>
                  </a:lnTo>
                  <a:lnTo>
                    <a:pt x="112" y="311"/>
                  </a:lnTo>
                  <a:lnTo>
                    <a:pt x="117" y="306"/>
                  </a:lnTo>
                  <a:lnTo>
                    <a:pt x="119" y="314"/>
                  </a:lnTo>
                  <a:lnTo>
                    <a:pt x="124" y="304"/>
                  </a:lnTo>
                  <a:lnTo>
                    <a:pt x="124" y="297"/>
                  </a:lnTo>
                  <a:lnTo>
                    <a:pt x="128" y="296"/>
                  </a:lnTo>
                  <a:lnTo>
                    <a:pt x="125" y="304"/>
                  </a:lnTo>
                  <a:lnTo>
                    <a:pt x="135" y="311"/>
                  </a:lnTo>
                  <a:lnTo>
                    <a:pt x="128" y="309"/>
                  </a:lnTo>
                  <a:lnTo>
                    <a:pt x="124" y="320"/>
                  </a:lnTo>
                  <a:lnTo>
                    <a:pt x="127" y="327"/>
                  </a:lnTo>
                  <a:lnTo>
                    <a:pt x="132" y="329"/>
                  </a:lnTo>
                  <a:lnTo>
                    <a:pt x="134" y="336"/>
                  </a:lnTo>
                  <a:lnTo>
                    <a:pt x="127" y="343"/>
                  </a:lnTo>
                  <a:lnTo>
                    <a:pt x="119" y="361"/>
                  </a:lnTo>
                  <a:lnTo>
                    <a:pt x="121" y="370"/>
                  </a:lnTo>
                  <a:lnTo>
                    <a:pt x="115" y="365"/>
                  </a:lnTo>
                  <a:lnTo>
                    <a:pt x="115" y="373"/>
                  </a:lnTo>
                  <a:lnTo>
                    <a:pt x="124" y="385"/>
                  </a:lnTo>
                  <a:lnTo>
                    <a:pt x="121" y="375"/>
                  </a:lnTo>
                  <a:lnTo>
                    <a:pt x="127" y="373"/>
                  </a:lnTo>
                  <a:lnTo>
                    <a:pt x="144" y="384"/>
                  </a:lnTo>
                  <a:lnTo>
                    <a:pt x="144" y="376"/>
                  </a:lnTo>
                  <a:lnTo>
                    <a:pt x="138" y="371"/>
                  </a:lnTo>
                  <a:lnTo>
                    <a:pt x="141" y="370"/>
                  </a:lnTo>
                  <a:lnTo>
                    <a:pt x="155" y="377"/>
                  </a:lnTo>
                  <a:lnTo>
                    <a:pt x="163" y="376"/>
                  </a:lnTo>
                  <a:lnTo>
                    <a:pt x="163" y="372"/>
                  </a:lnTo>
                  <a:lnTo>
                    <a:pt x="171" y="372"/>
                  </a:lnTo>
                  <a:lnTo>
                    <a:pt x="174" y="365"/>
                  </a:lnTo>
                  <a:lnTo>
                    <a:pt x="197" y="366"/>
                  </a:lnTo>
                  <a:lnTo>
                    <a:pt x="182" y="370"/>
                  </a:lnTo>
                  <a:lnTo>
                    <a:pt x="173" y="393"/>
                  </a:lnTo>
                  <a:lnTo>
                    <a:pt x="184" y="412"/>
                  </a:lnTo>
                  <a:lnTo>
                    <a:pt x="190" y="408"/>
                  </a:lnTo>
                  <a:lnTo>
                    <a:pt x="190" y="418"/>
                  </a:lnTo>
                  <a:lnTo>
                    <a:pt x="197" y="410"/>
                  </a:lnTo>
                  <a:lnTo>
                    <a:pt x="205" y="411"/>
                  </a:lnTo>
                  <a:lnTo>
                    <a:pt x="203" y="422"/>
                  </a:lnTo>
                  <a:lnTo>
                    <a:pt x="205" y="423"/>
                  </a:lnTo>
                  <a:lnTo>
                    <a:pt x="197" y="429"/>
                  </a:lnTo>
                  <a:lnTo>
                    <a:pt x="199" y="441"/>
                  </a:lnTo>
                  <a:lnTo>
                    <a:pt x="194" y="450"/>
                  </a:lnTo>
                  <a:lnTo>
                    <a:pt x="200" y="456"/>
                  </a:lnTo>
                  <a:lnTo>
                    <a:pt x="206" y="460"/>
                  </a:lnTo>
                  <a:lnTo>
                    <a:pt x="211" y="462"/>
                  </a:lnTo>
                  <a:lnTo>
                    <a:pt x="208" y="464"/>
                  </a:lnTo>
                  <a:lnTo>
                    <a:pt x="202" y="464"/>
                  </a:lnTo>
                  <a:lnTo>
                    <a:pt x="197" y="457"/>
                  </a:lnTo>
                  <a:lnTo>
                    <a:pt x="192" y="459"/>
                  </a:lnTo>
                  <a:lnTo>
                    <a:pt x="196" y="465"/>
                  </a:lnTo>
                  <a:lnTo>
                    <a:pt x="200" y="468"/>
                  </a:lnTo>
                  <a:lnTo>
                    <a:pt x="193" y="466"/>
                  </a:lnTo>
                  <a:lnTo>
                    <a:pt x="187" y="462"/>
                  </a:lnTo>
                  <a:lnTo>
                    <a:pt x="173" y="465"/>
                  </a:lnTo>
                  <a:lnTo>
                    <a:pt x="167" y="465"/>
                  </a:lnTo>
                  <a:lnTo>
                    <a:pt x="151" y="471"/>
                  </a:lnTo>
                  <a:lnTo>
                    <a:pt x="144" y="481"/>
                  </a:lnTo>
                  <a:lnTo>
                    <a:pt x="133" y="488"/>
                  </a:lnTo>
                  <a:lnTo>
                    <a:pt x="128" y="494"/>
                  </a:lnTo>
                  <a:lnTo>
                    <a:pt x="135" y="493"/>
                  </a:lnTo>
                  <a:lnTo>
                    <a:pt x="139" y="494"/>
                  </a:lnTo>
                  <a:lnTo>
                    <a:pt x="139" y="491"/>
                  </a:lnTo>
                  <a:lnTo>
                    <a:pt x="155" y="486"/>
                  </a:lnTo>
                  <a:lnTo>
                    <a:pt x="153" y="494"/>
                  </a:lnTo>
                  <a:lnTo>
                    <a:pt x="159" y="499"/>
                  </a:lnTo>
                  <a:lnTo>
                    <a:pt x="153" y="503"/>
                  </a:lnTo>
                  <a:lnTo>
                    <a:pt x="157" y="509"/>
                  </a:lnTo>
                  <a:lnTo>
                    <a:pt x="161" y="509"/>
                  </a:lnTo>
                  <a:lnTo>
                    <a:pt x="150" y="527"/>
                  </a:lnTo>
                  <a:lnTo>
                    <a:pt x="142" y="528"/>
                  </a:lnTo>
                  <a:lnTo>
                    <a:pt x="135" y="534"/>
                  </a:lnTo>
                  <a:lnTo>
                    <a:pt x="132" y="534"/>
                  </a:lnTo>
                  <a:lnTo>
                    <a:pt x="122" y="539"/>
                  </a:lnTo>
                  <a:lnTo>
                    <a:pt x="116" y="539"/>
                  </a:lnTo>
                  <a:lnTo>
                    <a:pt x="105" y="545"/>
                  </a:lnTo>
                  <a:lnTo>
                    <a:pt x="113" y="546"/>
                  </a:lnTo>
                  <a:lnTo>
                    <a:pt x="113" y="552"/>
                  </a:lnTo>
                  <a:lnTo>
                    <a:pt x="107" y="555"/>
                  </a:lnTo>
                  <a:lnTo>
                    <a:pt x="118" y="557"/>
                  </a:lnTo>
                  <a:lnTo>
                    <a:pt x="116" y="560"/>
                  </a:lnTo>
                  <a:lnTo>
                    <a:pt x="121" y="562"/>
                  </a:lnTo>
                  <a:lnTo>
                    <a:pt x="127" y="560"/>
                  </a:lnTo>
                  <a:lnTo>
                    <a:pt x="134" y="556"/>
                  </a:lnTo>
                  <a:lnTo>
                    <a:pt x="146" y="552"/>
                  </a:lnTo>
                  <a:lnTo>
                    <a:pt x="146" y="557"/>
                  </a:lnTo>
                  <a:lnTo>
                    <a:pt x="156" y="560"/>
                  </a:lnTo>
                  <a:lnTo>
                    <a:pt x="148" y="561"/>
                  </a:lnTo>
                  <a:lnTo>
                    <a:pt x="147" y="566"/>
                  </a:lnTo>
                  <a:lnTo>
                    <a:pt x="161" y="566"/>
                  </a:lnTo>
                  <a:lnTo>
                    <a:pt x="161" y="563"/>
                  </a:lnTo>
                  <a:lnTo>
                    <a:pt x="167" y="562"/>
                  </a:lnTo>
                  <a:lnTo>
                    <a:pt x="174" y="568"/>
                  </a:lnTo>
                  <a:lnTo>
                    <a:pt x="180" y="575"/>
                  </a:lnTo>
                  <a:lnTo>
                    <a:pt x="194" y="575"/>
                  </a:lnTo>
                  <a:lnTo>
                    <a:pt x="198" y="569"/>
                  </a:lnTo>
                  <a:lnTo>
                    <a:pt x="204" y="567"/>
                  </a:lnTo>
                  <a:lnTo>
                    <a:pt x="214" y="563"/>
                  </a:lnTo>
                  <a:lnTo>
                    <a:pt x="217" y="558"/>
                  </a:lnTo>
                  <a:lnTo>
                    <a:pt x="226" y="555"/>
                  </a:lnTo>
                  <a:lnTo>
                    <a:pt x="215" y="567"/>
                  </a:lnTo>
                  <a:lnTo>
                    <a:pt x="204" y="576"/>
                  </a:lnTo>
                  <a:lnTo>
                    <a:pt x="203" y="587"/>
                  </a:lnTo>
                  <a:lnTo>
                    <a:pt x="196" y="587"/>
                  </a:lnTo>
                  <a:lnTo>
                    <a:pt x="190" y="589"/>
                  </a:lnTo>
                  <a:lnTo>
                    <a:pt x="184" y="586"/>
                  </a:lnTo>
                  <a:lnTo>
                    <a:pt x="164" y="584"/>
                  </a:lnTo>
                  <a:lnTo>
                    <a:pt x="151" y="587"/>
                  </a:lnTo>
                  <a:lnTo>
                    <a:pt x="151" y="593"/>
                  </a:lnTo>
                  <a:lnTo>
                    <a:pt x="145" y="598"/>
                  </a:lnTo>
                  <a:lnTo>
                    <a:pt x="138" y="598"/>
                  </a:lnTo>
                  <a:lnTo>
                    <a:pt x="136" y="613"/>
                  </a:lnTo>
                  <a:lnTo>
                    <a:pt x="128" y="619"/>
                  </a:lnTo>
                  <a:lnTo>
                    <a:pt x="125" y="622"/>
                  </a:lnTo>
                  <a:lnTo>
                    <a:pt x="117" y="625"/>
                  </a:lnTo>
                  <a:lnTo>
                    <a:pt x="115" y="632"/>
                  </a:lnTo>
                  <a:lnTo>
                    <a:pt x="111" y="632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93" y="642"/>
                  </a:lnTo>
                  <a:lnTo>
                    <a:pt x="86" y="647"/>
                  </a:lnTo>
                  <a:lnTo>
                    <a:pt x="86" y="654"/>
                  </a:lnTo>
                  <a:lnTo>
                    <a:pt x="94" y="654"/>
                  </a:lnTo>
                  <a:lnTo>
                    <a:pt x="94" y="648"/>
                  </a:lnTo>
                  <a:lnTo>
                    <a:pt x="104" y="650"/>
                  </a:lnTo>
                  <a:lnTo>
                    <a:pt x="109" y="657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0" name="Freeform 41"/>
            <p:cNvSpPr>
              <a:spLocks noEditPoints="1"/>
            </p:cNvSpPr>
            <p:nvPr/>
          </p:nvSpPr>
          <p:spPr bwMode="auto">
            <a:xfrm>
              <a:off x="2806700" y="2746375"/>
              <a:ext cx="949325" cy="800100"/>
            </a:xfrm>
            <a:custGeom>
              <a:avLst/>
              <a:gdLst/>
              <a:ahLst/>
              <a:cxnLst>
                <a:cxn ang="0">
                  <a:pos x="469" y="246"/>
                </a:cxn>
                <a:cxn ang="0">
                  <a:pos x="433" y="264"/>
                </a:cxn>
                <a:cxn ang="0">
                  <a:pos x="444" y="234"/>
                </a:cxn>
                <a:cxn ang="0">
                  <a:pos x="479" y="193"/>
                </a:cxn>
                <a:cxn ang="0">
                  <a:pos x="496" y="188"/>
                </a:cxn>
                <a:cxn ang="0">
                  <a:pos x="503" y="145"/>
                </a:cxn>
                <a:cxn ang="0">
                  <a:pos x="515" y="106"/>
                </a:cxn>
                <a:cxn ang="0">
                  <a:pos x="474" y="101"/>
                </a:cxn>
                <a:cxn ang="0">
                  <a:pos x="443" y="88"/>
                </a:cxn>
                <a:cxn ang="0">
                  <a:pos x="406" y="76"/>
                </a:cxn>
                <a:cxn ang="0">
                  <a:pos x="371" y="58"/>
                </a:cxn>
                <a:cxn ang="0">
                  <a:pos x="343" y="38"/>
                </a:cxn>
                <a:cxn ang="0">
                  <a:pos x="311" y="3"/>
                </a:cxn>
                <a:cxn ang="0">
                  <a:pos x="271" y="12"/>
                </a:cxn>
                <a:cxn ang="0">
                  <a:pos x="254" y="61"/>
                </a:cxn>
                <a:cxn ang="0">
                  <a:pos x="202" y="79"/>
                </a:cxn>
                <a:cxn ang="0">
                  <a:pos x="171" y="94"/>
                </a:cxn>
                <a:cxn ang="0">
                  <a:pos x="150" y="77"/>
                </a:cxn>
                <a:cxn ang="0">
                  <a:pos x="123" y="83"/>
                </a:cxn>
                <a:cxn ang="0">
                  <a:pos x="134" y="117"/>
                </a:cxn>
                <a:cxn ang="0">
                  <a:pos x="110" y="129"/>
                </a:cxn>
                <a:cxn ang="0">
                  <a:pos x="69" y="118"/>
                </a:cxn>
                <a:cxn ang="0">
                  <a:pos x="35" y="126"/>
                </a:cxn>
                <a:cxn ang="0">
                  <a:pos x="4" y="146"/>
                </a:cxn>
                <a:cxn ang="0">
                  <a:pos x="7" y="147"/>
                </a:cxn>
                <a:cxn ang="0">
                  <a:pos x="16" y="158"/>
                </a:cxn>
                <a:cxn ang="0">
                  <a:pos x="18" y="177"/>
                </a:cxn>
                <a:cxn ang="0">
                  <a:pos x="57" y="182"/>
                </a:cxn>
                <a:cxn ang="0">
                  <a:pos x="84" y="188"/>
                </a:cxn>
                <a:cxn ang="0">
                  <a:pos x="98" y="205"/>
                </a:cxn>
                <a:cxn ang="0">
                  <a:pos x="121" y="205"/>
                </a:cxn>
                <a:cxn ang="0">
                  <a:pos x="109" y="228"/>
                </a:cxn>
                <a:cxn ang="0">
                  <a:pos x="152" y="255"/>
                </a:cxn>
                <a:cxn ang="0">
                  <a:pos x="149" y="285"/>
                </a:cxn>
                <a:cxn ang="0">
                  <a:pos x="166" y="299"/>
                </a:cxn>
                <a:cxn ang="0">
                  <a:pos x="155" y="337"/>
                </a:cxn>
                <a:cxn ang="0">
                  <a:pos x="135" y="404"/>
                </a:cxn>
                <a:cxn ang="0">
                  <a:pos x="156" y="420"/>
                </a:cxn>
                <a:cxn ang="0">
                  <a:pos x="215" y="441"/>
                </a:cxn>
                <a:cxn ang="0">
                  <a:pos x="271" y="438"/>
                </a:cxn>
                <a:cxn ang="0">
                  <a:pos x="326" y="449"/>
                </a:cxn>
                <a:cxn ang="0">
                  <a:pos x="353" y="392"/>
                </a:cxn>
                <a:cxn ang="0">
                  <a:pos x="393" y="403"/>
                </a:cxn>
                <a:cxn ang="0">
                  <a:pos x="463" y="420"/>
                </a:cxn>
                <a:cxn ang="0">
                  <a:pos x="508" y="380"/>
                </a:cxn>
                <a:cxn ang="0">
                  <a:pos x="480" y="328"/>
                </a:cxn>
                <a:cxn ang="0">
                  <a:pos x="480" y="288"/>
                </a:cxn>
                <a:cxn ang="0">
                  <a:pos x="580" y="504"/>
                </a:cxn>
                <a:cxn ang="0">
                  <a:pos x="567" y="487"/>
                </a:cxn>
                <a:cxn ang="0">
                  <a:pos x="560" y="472"/>
                </a:cxn>
                <a:cxn ang="0">
                  <a:pos x="557" y="455"/>
                </a:cxn>
                <a:cxn ang="0">
                  <a:pos x="584" y="437"/>
                </a:cxn>
                <a:cxn ang="0">
                  <a:pos x="592" y="417"/>
                </a:cxn>
                <a:cxn ang="0">
                  <a:pos x="594" y="485"/>
                </a:cxn>
              </a:cxnLst>
              <a:rect l="0" t="0" r="r" b="b"/>
              <a:pathLst>
                <a:path w="598" h="504">
                  <a:moveTo>
                    <a:pt x="484" y="275"/>
                  </a:moveTo>
                  <a:lnTo>
                    <a:pt x="482" y="268"/>
                  </a:lnTo>
                  <a:lnTo>
                    <a:pt x="478" y="264"/>
                  </a:lnTo>
                  <a:lnTo>
                    <a:pt x="474" y="253"/>
                  </a:lnTo>
                  <a:lnTo>
                    <a:pt x="469" y="246"/>
                  </a:lnTo>
                  <a:lnTo>
                    <a:pt x="456" y="245"/>
                  </a:lnTo>
                  <a:lnTo>
                    <a:pt x="450" y="250"/>
                  </a:lnTo>
                  <a:lnTo>
                    <a:pt x="453" y="261"/>
                  </a:lnTo>
                  <a:lnTo>
                    <a:pt x="443" y="264"/>
                  </a:lnTo>
                  <a:lnTo>
                    <a:pt x="433" y="264"/>
                  </a:lnTo>
                  <a:lnTo>
                    <a:pt x="432" y="257"/>
                  </a:lnTo>
                  <a:lnTo>
                    <a:pt x="436" y="255"/>
                  </a:lnTo>
                  <a:lnTo>
                    <a:pt x="443" y="255"/>
                  </a:lnTo>
                  <a:lnTo>
                    <a:pt x="443" y="247"/>
                  </a:lnTo>
                  <a:lnTo>
                    <a:pt x="444" y="234"/>
                  </a:lnTo>
                  <a:lnTo>
                    <a:pt x="456" y="217"/>
                  </a:lnTo>
                  <a:lnTo>
                    <a:pt x="463" y="215"/>
                  </a:lnTo>
                  <a:lnTo>
                    <a:pt x="472" y="205"/>
                  </a:lnTo>
                  <a:lnTo>
                    <a:pt x="480" y="201"/>
                  </a:lnTo>
                  <a:lnTo>
                    <a:pt x="479" y="193"/>
                  </a:lnTo>
                  <a:lnTo>
                    <a:pt x="469" y="189"/>
                  </a:lnTo>
                  <a:lnTo>
                    <a:pt x="475" y="182"/>
                  </a:lnTo>
                  <a:lnTo>
                    <a:pt x="485" y="182"/>
                  </a:lnTo>
                  <a:lnTo>
                    <a:pt x="488" y="187"/>
                  </a:lnTo>
                  <a:lnTo>
                    <a:pt x="496" y="188"/>
                  </a:lnTo>
                  <a:lnTo>
                    <a:pt x="511" y="184"/>
                  </a:lnTo>
                  <a:lnTo>
                    <a:pt x="507" y="176"/>
                  </a:lnTo>
                  <a:lnTo>
                    <a:pt x="499" y="171"/>
                  </a:lnTo>
                  <a:lnTo>
                    <a:pt x="498" y="159"/>
                  </a:lnTo>
                  <a:lnTo>
                    <a:pt x="503" y="145"/>
                  </a:lnTo>
                  <a:lnTo>
                    <a:pt x="509" y="140"/>
                  </a:lnTo>
                  <a:lnTo>
                    <a:pt x="509" y="134"/>
                  </a:lnTo>
                  <a:lnTo>
                    <a:pt x="514" y="120"/>
                  </a:lnTo>
                  <a:lnTo>
                    <a:pt x="525" y="111"/>
                  </a:lnTo>
                  <a:lnTo>
                    <a:pt x="515" y="106"/>
                  </a:lnTo>
                  <a:lnTo>
                    <a:pt x="507" y="106"/>
                  </a:lnTo>
                  <a:lnTo>
                    <a:pt x="496" y="101"/>
                  </a:lnTo>
                  <a:lnTo>
                    <a:pt x="487" y="103"/>
                  </a:lnTo>
                  <a:lnTo>
                    <a:pt x="481" y="101"/>
                  </a:lnTo>
                  <a:lnTo>
                    <a:pt x="474" y="101"/>
                  </a:lnTo>
                  <a:lnTo>
                    <a:pt x="467" y="103"/>
                  </a:lnTo>
                  <a:lnTo>
                    <a:pt x="458" y="97"/>
                  </a:lnTo>
                  <a:lnTo>
                    <a:pt x="458" y="93"/>
                  </a:lnTo>
                  <a:lnTo>
                    <a:pt x="450" y="87"/>
                  </a:lnTo>
                  <a:lnTo>
                    <a:pt x="443" y="88"/>
                  </a:lnTo>
                  <a:lnTo>
                    <a:pt x="432" y="87"/>
                  </a:lnTo>
                  <a:lnTo>
                    <a:pt x="426" y="78"/>
                  </a:lnTo>
                  <a:lnTo>
                    <a:pt x="418" y="78"/>
                  </a:lnTo>
                  <a:lnTo>
                    <a:pt x="415" y="81"/>
                  </a:lnTo>
                  <a:lnTo>
                    <a:pt x="406" y="76"/>
                  </a:lnTo>
                  <a:lnTo>
                    <a:pt x="398" y="74"/>
                  </a:lnTo>
                  <a:lnTo>
                    <a:pt x="387" y="62"/>
                  </a:lnTo>
                  <a:lnTo>
                    <a:pt x="381" y="61"/>
                  </a:lnTo>
                  <a:lnTo>
                    <a:pt x="377" y="58"/>
                  </a:lnTo>
                  <a:lnTo>
                    <a:pt x="371" y="58"/>
                  </a:lnTo>
                  <a:lnTo>
                    <a:pt x="366" y="60"/>
                  </a:lnTo>
                  <a:lnTo>
                    <a:pt x="357" y="56"/>
                  </a:lnTo>
                  <a:lnTo>
                    <a:pt x="355" y="44"/>
                  </a:lnTo>
                  <a:lnTo>
                    <a:pt x="349" y="42"/>
                  </a:lnTo>
                  <a:lnTo>
                    <a:pt x="343" y="38"/>
                  </a:lnTo>
                  <a:lnTo>
                    <a:pt x="339" y="38"/>
                  </a:lnTo>
                  <a:lnTo>
                    <a:pt x="325" y="29"/>
                  </a:lnTo>
                  <a:lnTo>
                    <a:pt x="324" y="21"/>
                  </a:lnTo>
                  <a:lnTo>
                    <a:pt x="313" y="18"/>
                  </a:lnTo>
                  <a:lnTo>
                    <a:pt x="311" y="3"/>
                  </a:lnTo>
                  <a:lnTo>
                    <a:pt x="306" y="0"/>
                  </a:lnTo>
                  <a:lnTo>
                    <a:pt x="305" y="2"/>
                  </a:lnTo>
                  <a:lnTo>
                    <a:pt x="288" y="8"/>
                  </a:lnTo>
                  <a:lnTo>
                    <a:pt x="284" y="4"/>
                  </a:lnTo>
                  <a:lnTo>
                    <a:pt x="271" y="12"/>
                  </a:lnTo>
                  <a:lnTo>
                    <a:pt x="268" y="20"/>
                  </a:lnTo>
                  <a:lnTo>
                    <a:pt x="270" y="30"/>
                  </a:lnTo>
                  <a:lnTo>
                    <a:pt x="267" y="44"/>
                  </a:lnTo>
                  <a:lnTo>
                    <a:pt x="254" y="56"/>
                  </a:lnTo>
                  <a:lnTo>
                    <a:pt x="254" y="61"/>
                  </a:lnTo>
                  <a:lnTo>
                    <a:pt x="239" y="65"/>
                  </a:lnTo>
                  <a:lnTo>
                    <a:pt x="232" y="66"/>
                  </a:lnTo>
                  <a:lnTo>
                    <a:pt x="224" y="64"/>
                  </a:lnTo>
                  <a:lnTo>
                    <a:pt x="206" y="72"/>
                  </a:lnTo>
                  <a:lnTo>
                    <a:pt x="202" y="79"/>
                  </a:lnTo>
                  <a:lnTo>
                    <a:pt x="206" y="84"/>
                  </a:lnTo>
                  <a:lnTo>
                    <a:pt x="213" y="87"/>
                  </a:lnTo>
                  <a:lnTo>
                    <a:pt x="202" y="93"/>
                  </a:lnTo>
                  <a:lnTo>
                    <a:pt x="189" y="96"/>
                  </a:lnTo>
                  <a:lnTo>
                    <a:pt x="171" y="94"/>
                  </a:lnTo>
                  <a:lnTo>
                    <a:pt x="163" y="90"/>
                  </a:lnTo>
                  <a:lnTo>
                    <a:pt x="156" y="93"/>
                  </a:lnTo>
                  <a:lnTo>
                    <a:pt x="154" y="88"/>
                  </a:lnTo>
                  <a:lnTo>
                    <a:pt x="148" y="83"/>
                  </a:lnTo>
                  <a:lnTo>
                    <a:pt x="150" y="77"/>
                  </a:lnTo>
                  <a:lnTo>
                    <a:pt x="143" y="73"/>
                  </a:lnTo>
                  <a:lnTo>
                    <a:pt x="135" y="76"/>
                  </a:lnTo>
                  <a:lnTo>
                    <a:pt x="125" y="76"/>
                  </a:lnTo>
                  <a:lnTo>
                    <a:pt x="120" y="74"/>
                  </a:lnTo>
                  <a:lnTo>
                    <a:pt x="123" y="83"/>
                  </a:lnTo>
                  <a:lnTo>
                    <a:pt x="121" y="88"/>
                  </a:lnTo>
                  <a:lnTo>
                    <a:pt x="137" y="101"/>
                  </a:lnTo>
                  <a:lnTo>
                    <a:pt x="134" y="105"/>
                  </a:lnTo>
                  <a:lnTo>
                    <a:pt x="135" y="111"/>
                  </a:lnTo>
                  <a:lnTo>
                    <a:pt x="134" y="117"/>
                  </a:lnTo>
                  <a:lnTo>
                    <a:pt x="139" y="123"/>
                  </a:lnTo>
                  <a:lnTo>
                    <a:pt x="140" y="130"/>
                  </a:lnTo>
                  <a:lnTo>
                    <a:pt x="125" y="128"/>
                  </a:lnTo>
                  <a:lnTo>
                    <a:pt x="117" y="130"/>
                  </a:lnTo>
                  <a:lnTo>
                    <a:pt x="110" y="129"/>
                  </a:lnTo>
                  <a:lnTo>
                    <a:pt x="103" y="130"/>
                  </a:lnTo>
                  <a:lnTo>
                    <a:pt x="99" y="128"/>
                  </a:lnTo>
                  <a:lnTo>
                    <a:pt x="90" y="135"/>
                  </a:lnTo>
                  <a:lnTo>
                    <a:pt x="76" y="120"/>
                  </a:lnTo>
                  <a:lnTo>
                    <a:pt x="69" y="118"/>
                  </a:lnTo>
                  <a:lnTo>
                    <a:pt x="58" y="120"/>
                  </a:lnTo>
                  <a:lnTo>
                    <a:pt x="50" y="128"/>
                  </a:lnTo>
                  <a:lnTo>
                    <a:pt x="45" y="125"/>
                  </a:lnTo>
                  <a:lnTo>
                    <a:pt x="40" y="129"/>
                  </a:lnTo>
                  <a:lnTo>
                    <a:pt x="35" y="126"/>
                  </a:lnTo>
                  <a:lnTo>
                    <a:pt x="26" y="128"/>
                  </a:lnTo>
                  <a:lnTo>
                    <a:pt x="21" y="132"/>
                  </a:lnTo>
                  <a:lnTo>
                    <a:pt x="6" y="134"/>
                  </a:lnTo>
                  <a:lnTo>
                    <a:pt x="0" y="140"/>
                  </a:lnTo>
                  <a:lnTo>
                    <a:pt x="4" y="146"/>
                  </a:lnTo>
                  <a:lnTo>
                    <a:pt x="11" y="143"/>
                  </a:lnTo>
                  <a:lnTo>
                    <a:pt x="19" y="146"/>
                  </a:lnTo>
                  <a:lnTo>
                    <a:pt x="22" y="148"/>
                  </a:lnTo>
                  <a:lnTo>
                    <a:pt x="13" y="147"/>
                  </a:lnTo>
                  <a:lnTo>
                    <a:pt x="7" y="147"/>
                  </a:lnTo>
                  <a:lnTo>
                    <a:pt x="11" y="155"/>
                  </a:lnTo>
                  <a:lnTo>
                    <a:pt x="13" y="149"/>
                  </a:lnTo>
                  <a:lnTo>
                    <a:pt x="19" y="151"/>
                  </a:lnTo>
                  <a:lnTo>
                    <a:pt x="21" y="157"/>
                  </a:lnTo>
                  <a:lnTo>
                    <a:pt x="16" y="158"/>
                  </a:lnTo>
                  <a:lnTo>
                    <a:pt x="7" y="162"/>
                  </a:lnTo>
                  <a:lnTo>
                    <a:pt x="7" y="163"/>
                  </a:lnTo>
                  <a:lnTo>
                    <a:pt x="16" y="163"/>
                  </a:lnTo>
                  <a:lnTo>
                    <a:pt x="18" y="172"/>
                  </a:lnTo>
                  <a:lnTo>
                    <a:pt x="18" y="177"/>
                  </a:lnTo>
                  <a:lnTo>
                    <a:pt x="27" y="171"/>
                  </a:lnTo>
                  <a:lnTo>
                    <a:pt x="34" y="174"/>
                  </a:lnTo>
                  <a:lnTo>
                    <a:pt x="39" y="172"/>
                  </a:lnTo>
                  <a:lnTo>
                    <a:pt x="53" y="177"/>
                  </a:lnTo>
                  <a:lnTo>
                    <a:pt x="57" y="182"/>
                  </a:lnTo>
                  <a:lnTo>
                    <a:pt x="63" y="182"/>
                  </a:lnTo>
                  <a:lnTo>
                    <a:pt x="73" y="188"/>
                  </a:lnTo>
                  <a:lnTo>
                    <a:pt x="80" y="182"/>
                  </a:lnTo>
                  <a:lnTo>
                    <a:pt x="85" y="183"/>
                  </a:lnTo>
                  <a:lnTo>
                    <a:pt x="84" y="188"/>
                  </a:lnTo>
                  <a:lnTo>
                    <a:pt x="86" y="191"/>
                  </a:lnTo>
                  <a:lnTo>
                    <a:pt x="93" y="187"/>
                  </a:lnTo>
                  <a:lnTo>
                    <a:pt x="98" y="191"/>
                  </a:lnTo>
                  <a:lnTo>
                    <a:pt x="94" y="199"/>
                  </a:lnTo>
                  <a:lnTo>
                    <a:pt x="98" y="205"/>
                  </a:lnTo>
                  <a:lnTo>
                    <a:pt x="104" y="205"/>
                  </a:lnTo>
                  <a:lnTo>
                    <a:pt x="113" y="200"/>
                  </a:lnTo>
                  <a:lnTo>
                    <a:pt x="122" y="201"/>
                  </a:lnTo>
                  <a:lnTo>
                    <a:pt x="128" y="209"/>
                  </a:lnTo>
                  <a:lnTo>
                    <a:pt x="121" y="205"/>
                  </a:lnTo>
                  <a:lnTo>
                    <a:pt x="113" y="205"/>
                  </a:lnTo>
                  <a:lnTo>
                    <a:pt x="106" y="211"/>
                  </a:lnTo>
                  <a:lnTo>
                    <a:pt x="111" y="213"/>
                  </a:lnTo>
                  <a:lnTo>
                    <a:pt x="114" y="222"/>
                  </a:lnTo>
                  <a:lnTo>
                    <a:pt x="109" y="228"/>
                  </a:lnTo>
                  <a:lnTo>
                    <a:pt x="111" y="234"/>
                  </a:lnTo>
                  <a:lnTo>
                    <a:pt x="119" y="235"/>
                  </a:lnTo>
                  <a:lnTo>
                    <a:pt x="131" y="247"/>
                  </a:lnTo>
                  <a:lnTo>
                    <a:pt x="142" y="249"/>
                  </a:lnTo>
                  <a:lnTo>
                    <a:pt x="152" y="255"/>
                  </a:lnTo>
                  <a:lnTo>
                    <a:pt x="152" y="262"/>
                  </a:lnTo>
                  <a:lnTo>
                    <a:pt x="156" y="268"/>
                  </a:lnTo>
                  <a:lnTo>
                    <a:pt x="152" y="276"/>
                  </a:lnTo>
                  <a:lnTo>
                    <a:pt x="150" y="278"/>
                  </a:lnTo>
                  <a:lnTo>
                    <a:pt x="149" y="285"/>
                  </a:lnTo>
                  <a:lnTo>
                    <a:pt x="156" y="286"/>
                  </a:lnTo>
                  <a:lnTo>
                    <a:pt x="169" y="296"/>
                  </a:lnTo>
                  <a:lnTo>
                    <a:pt x="180" y="319"/>
                  </a:lnTo>
                  <a:lnTo>
                    <a:pt x="169" y="309"/>
                  </a:lnTo>
                  <a:lnTo>
                    <a:pt x="166" y="299"/>
                  </a:lnTo>
                  <a:lnTo>
                    <a:pt x="156" y="294"/>
                  </a:lnTo>
                  <a:lnTo>
                    <a:pt x="152" y="297"/>
                  </a:lnTo>
                  <a:lnTo>
                    <a:pt x="148" y="317"/>
                  </a:lnTo>
                  <a:lnTo>
                    <a:pt x="148" y="333"/>
                  </a:lnTo>
                  <a:lnTo>
                    <a:pt x="155" y="337"/>
                  </a:lnTo>
                  <a:lnTo>
                    <a:pt x="149" y="342"/>
                  </a:lnTo>
                  <a:lnTo>
                    <a:pt x="146" y="369"/>
                  </a:lnTo>
                  <a:lnTo>
                    <a:pt x="138" y="395"/>
                  </a:lnTo>
                  <a:lnTo>
                    <a:pt x="128" y="400"/>
                  </a:lnTo>
                  <a:lnTo>
                    <a:pt x="135" y="404"/>
                  </a:lnTo>
                  <a:lnTo>
                    <a:pt x="137" y="406"/>
                  </a:lnTo>
                  <a:lnTo>
                    <a:pt x="143" y="407"/>
                  </a:lnTo>
                  <a:lnTo>
                    <a:pt x="144" y="415"/>
                  </a:lnTo>
                  <a:lnTo>
                    <a:pt x="143" y="423"/>
                  </a:lnTo>
                  <a:lnTo>
                    <a:pt x="156" y="420"/>
                  </a:lnTo>
                  <a:lnTo>
                    <a:pt x="174" y="427"/>
                  </a:lnTo>
                  <a:lnTo>
                    <a:pt x="183" y="436"/>
                  </a:lnTo>
                  <a:lnTo>
                    <a:pt x="192" y="432"/>
                  </a:lnTo>
                  <a:lnTo>
                    <a:pt x="202" y="442"/>
                  </a:lnTo>
                  <a:lnTo>
                    <a:pt x="215" y="441"/>
                  </a:lnTo>
                  <a:lnTo>
                    <a:pt x="221" y="444"/>
                  </a:lnTo>
                  <a:lnTo>
                    <a:pt x="230" y="437"/>
                  </a:lnTo>
                  <a:lnTo>
                    <a:pt x="250" y="436"/>
                  </a:lnTo>
                  <a:lnTo>
                    <a:pt x="259" y="440"/>
                  </a:lnTo>
                  <a:lnTo>
                    <a:pt x="271" y="438"/>
                  </a:lnTo>
                  <a:lnTo>
                    <a:pt x="284" y="446"/>
                  </a:lnTo>
                  <a:lnTo>
                    <a:pt x="306" y="443"/>
                  </a:lnTo>
                  <a:lnTo>
                    <a:pt x="320" y="452"/>
                  </a:lnTo>
                  <a:lnTo>
                    <a:pt x="326" y="454"/>
                  </a:lnTo>
                  <a:lnTo>
                    <a:pt x="326" y="449"/>
                  </a:lnTo>
                  <a:lnTo>
                    <a:pt x="323" y="437"/>
                  </a:lnTo>
                  <a:lnTo>
                    <a:pt x="326" y="424"/>
                  </a:lnTo>
                  <a:lnTo>
                    <a:pt x="328" y="417"/>
                  </a:lnTo>
                  <a:lnTo>
                    <a:pt x="337" y="408"/>
                  </a:lnTo>
                  <a:lnTo>
                    <a:pt x="353" y="392"/>
                  </a:lnTo>
                  <a:lnTo>
                    <a:pt x="359" y="392"/>
                  </a:lnTo>
                  <a:lnTo>
                    <a:pt x="364" y="396"/>
                  </a:lnTo>
                  <a:lnTo>
                    <a:pt x="375" y="397"/>
                  </a:lnTo>
                  <a:lnTo>
                    <a:pt x="386" y="403"/>
                  </a:lnTo>
                  <a:lnTo>
                    <a:pt x="393" y="403"/>
                  </a:lnTo>
                  <a:lnTo>
                    <a:pt x="400" y="398"/>
                  </a:lnTo>
                  <a:lnTo>
                    <a:pt x="406" y="397"/>
                  </a:lnTo>
                  <a:lnTo>
                    <a:pt x="434" y="413"/>
                  </a:lnTo>
                  <a:lnTo>
                    <a:pt x="443" y="419"/>
                  </a:lnTo>
                  <a:lnTo>
                    <a:pt x="463" y="420"/>
                  </a:lnTo>
                  <a:lnTo>
                    <a:pt x="472" y="413"/>
                  </a:lnTo>
                  <a:lnTo>
                    <a:pt x="469" y="409"/>
                  </a:lnTo>
                  <a:lnTo>
                    <a:pt x="478" y="401"/>
                  </a:lnTo>
                  <a:lnTo>
                    <a:pt x="507" y="380"/>
                  </a:lnTo>
                  <a:lnTo>
                    <a:pt x="508" y="380"/>
                  </a:lnTo>
                  <a:lnTo>
                    <a:pt x="505" y="372"/>
                  </a:lnTo>
                  <a:lnTo>
                    <a:pt x="511" y="359"/>
                  </a:lnTo>
                  <a:lnTo>
                    <a:pt x="497" y="359"/>
                  </a:lnTo>
                  <a:lnTo>
                    <a:pt x="482" y="350"/>
                  </a:lnTo>
                  <a:lnTo>
                    <a:pt x="480" y="328"/>
                  </a:lnTo>
                  <a:lnTo>
                    <a:pt x="469" y="317"/>
                  </a:lnTo>
                  <a:lnTo>
                    <a:pt x="476" y="311"/>
                  </a:lnTo>
                  <a:lnTo>
                    <a:pt x="486" y="310"/>
                  </a:lnTo>
                  <a:lnTo>
                    <a:pt x="488" y="296"/>
                  </a:lnTo>
                  <a:lnTo>
                    <a:pt x="480" y="288"/>
                  </a:lnTo>
                  <a:lnTo>
                    <a:pt x="479" y="279"/>
                  </a:lnTo>
                  <a:lnTo>
                    <a:pt x="484" y="274"/>
                  </a:lnTo>
                  <a:lnTo>
                    <a:pt x="484" y="275"/>
                  </a:lnTo>
                  <a:lnTo>
                    <a:pt x="484" y="275"/>
                  </a:lnTo>
                  <a:close/>
                  <a:moveTo>
                    <a:pt x="580" y="504"/>
                  </a:moveTo>
                  <a:lnTo>
                    <a:pt x="566" y="498"/>
                  </a:lnTo>
                  <a:lnTo>
                    <a:pt x="563" y="494"/>
                  </a:lnTo>
                  <a:lnTo>
                    <a:pt x="567" y="489"/>
                  </a:lnTo>
                  <a:lnTo>
                    <a:pt x="571" y="490"/>
                  </a:lnTo>
                  <a:lnTo>
                    <a:pt x="567" y="487"/>
                  </a:lnTo>
                  <a:lnTo>
                    <a:pt x="565" y="487"/>
                  </a:lnTo>
                  <a:lnTo>
                    <a:pt x="565" y="481"/>
                  </a:lnTo>
                  <a:lnTo>
                    <a:pt x="559" y="477"/>
                  </a:lnTo>
                  <a:lnTo>
                    <a:pt x="556" y="473"/>
                  </a:lnTo>
                  <a:lnTo>
                    <a:pt x="560" y="472"/>
                  </a:lnTo>
                  <a:lnTo>
                    <a:pt x="560" y="469"/>
                  </a:lnTo>
                  <a:lnTo>
                    <a:pt x="553" y="465"/>
                  </a:lnTo>
                  <a:lnTo>
                    <a:pt x="551" y="459"/>
                  </a:lnTo>
                  <a:lnTo>
                    <a:pt x="556" y="459"/>
                  </a:lnTo>
                  <a:lnTo>
                    <a:pt x="557" y="455"/>
                  </a:lnTo>
                  <a:lnTo>
                    <a:pt x="553" y="452"/>
                  </a:lnTo>
                  <a:lnTo>
                    <a:pt x="559" y="441"/>
                  </a:lnTo>
                  <a:lnTo>
                    <a:pt x="573" y="437"/>
                  </a:lnTo>
                  <a:lnTo>
                    <a:pt x="578" y="432"/>
                  </a:lnTo>
                  <a:lnTo>
                    <a:pt x="584" y="437"/>
                  </a:lnTo>
                  <a:lnTo>
                    <a:pt x="588" y="437"/>
                  </a:lnTo>
                  <a:lnTo>
                    <a:pt x="589" y="430"/>
                  </a:lnTo>
                  <a:lnTo>
                    <a:pt x="586" y="424"/>
                  </a:lnTo>
                  <a:lnTo>
                    <a:pt x="588" y="417"/>
                  </a:lnTo>
                  <a:lnTo>
                    <a:pt x="592" y="417"/>
                  </a:lnTo>
                  <a:lnTo>
                    <a:pt x="595" y="429"/>
                  </a:lnTo>
                  <a:lnTo>
                    <a:pt x="594" y="440"/>
                  </a:lnTo>
                  <a:lnTo>
                    <a:pt x="598" y="456"/>
                  </a:lnTo>
                  <a:lnTo>
                    <a:pt x="592" y="476"/>
                  </a:lnTo>
                  <a:lnTo>
                    <a:pt x="594" y="485"/>
                  </a:lnTo>
                  <a:lnTo>
                    <a:pt x="589" y="499"/>
                  </a:lnTo>
                  <a:lnTo>
                    <a:pt x="580" y="50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1" name="Freeform 42"/>
            <p:cNvSpPr>
              <a:spLocks noEditPoints="1"/>
            </p:cNvSpPr>
            <p:nvPr/>
          </p:nvSpPr>
          <p:spPr bwMode="auto">
            <a:xfrm>
              <a:off x="3551238" y="3079750"/>
              <a:ext cx="830263" cy="846138"/>
            </a:xfrm>
            <a:custGeom>
              <a:avLst/>
              <a:gdLst/>
              <a:ahLst/>
              <a:cxnLst>
                <a:cxn ang="0">
                  <a:pos x="13" y="140"/>
                </a:cxn>
                <a:cxn ang="0">
                  <a:pos x="19" y="86"/>
                </a:cxn>
                <a:cxn ang="0">
                  <a:pos x="42" y="55"/>
                </a:cxn>
                <a:cxn ang="0">
                  <a:pos x="94" y="57"/>
                </a:cxn>
                <a:cxn ang="0">
                  <a:pos x="137" y="43"/>
                </a:cxn>
                <a:cxn ang="0">
                  <a:pos x="169" y="7"/>
                </a:cxn>
                <a:cxn ang="0">
                  <a:pos x="233" y="10"/>
                </a:cxn>
                <a:cxn ang="0">
                  <a:pos x="295" y="45"/>
                </a:cxn>
                <a:cxn ang="0">
                  <a:pos x="278" y="75"/>
                </a:cxn>
                <a:cxn ang="0">
                  <a:pos x="238" y="95"/>
                </a:cxn>
                <a:cxn ang="0">
                  <a:pos x="243" y="134"/>
                </a:cxn>
                <a:cxn ang="0">
                  <a:pos x="287" y="175"/>
                </a:cxn>
                <a:cxn ang="0">
                  <a:pos x="328" y="227"/>
                </a:cxn>
                <a:cxn ang="0">
                  <a:pos x="371" y="262"/>
                </a:cxn>
                <a:cxn ang="0">
                  <a:pos x="421" y="269"/>
                </a:cxn>
                <a:cxn ang="0">
                  <a:pos x="421" y="292"/>
                </a:cxn>
                <a:cxn ang="0">
                  <a:pos x="513" y="335"/>
                </a:cxn>
                <a:cxn ang="0">
                  <a:pos x="520" y="369"/>
                </a:cxn>
                <a:cxn ang="0">
                  <a:pos x="498" y="354"/>
                </a:cxn>
                <a:cxn ang="0">
                  <a:pos x="468" y="337"/>
                </a:cxn>
                <a:cxn ang="0">
                  <a:pos x="450" y="361"/>
                </a:cxn>
                <a:cxn ang="0">
                  <a:pos x="452" y="383"/>
                </a:cxn>
                <a:cxn ang="0">
                  <a:pos x="465" y="419"/>
                </a:cxn>
                <a:cxn ang="0">
                  <a:pos x="434" y="465"/>
                </a:cxn>
                <a:cxn ang="0">
                  <a:pos x="406" y="456"/>
                </a:cxn>
                <a:cxn ang="0">
                  <a:pos x="420" y="430"/>
                </a:cxn>
                <a:cxn ang="0">
                  <a:pos x="420" y="395"/>
                </a:cxn>
                <a:cxn ang="0">
                  <a:pos x="397" y="362"/>
                </a:cxn>
                <a:cxn ang="0">
                  <a:pos x="370" y="344"/>
                </a:cxn>
                <a:cxn ang="0">
                  <a:pos x="349" y="324"/>
                </a:cxn>
                <a:cxn ang="0">
                  <a:pos x="312" y="303"/>
                </a:cxn>
                <a:cxn ang="0">
                  <a:pos x="278" y="292"/>
                </a:cxn>
                <a:cxn ang="0">
                  <a:pos x="225" y="249"/>
                </a:cxn>
                <a:cxn ang="0">
                  <a:pos x="183" y="213"/>
                </a:cxn>
                <a:cxn ang="0">
                  <a:pos x="156" y="173"/>
                </a:cxn>
                <a:cxn ang="0">
                  <a:pos x="123" y="146"/>
                </a:cxn>
                <a:cxn ang="0">
                  <a:pos x="39" y="170"/>
                </a:cxn>
                <a:cxn ang="0">
                  <a:pos x="80" y="302"/>
                </a:cxn>
                <a:cxn ang="0">
                  <a:pos x="73" y="311"/>
                </a:cxn>
                <a:cxn ang="0">
                  <a:pos x="190" y="243"/>
                </a:cxn>
                <a:cxn ang="0">
                  <a:pos x="171" y="222"/>
                </a:cxn>
                <a:cxn ang="0">
                  <a:pos x="154" y="220"/>
                </a:cxn>
                <a:cxn ang="0">
                  <a:pos x="111" y="411"/>
                </a:cxn>
                <a:cxn ang="0">
                  <a:pos x="138" y="405"/>
                </a:cxn>
                <a:cxn ang="0">
                  <a:pos x="129" y="343"/>
                </a:cxn>
                <a:cxn ang="0">
                  <a:pos x="126" y="304"/>
                </a:cxn>
                <a:cxn ang="0">
                  <a:pos x="84" y="321"/>
                </a:cxn>
                <a:cxn ang="0">
                  <a:pos x="80" y="343"/>
                </a:cxn>
                <a:cxn ang="0">
                  <a:pos x="91" y="370"/>
                </a:cxn>
                <a:cxn ang="0">
                  <a:pos x="90" y="416"/>
                </a:cxn>
                <a:cxn ang="0">
                  <a:pos x="392" y="516"/>
                </a:cxn>
                <a:cxn ang="0">
                  <a:pos x="400" y="459"/>
                </a:cxn>
                <a:cxn ang="0">
                  <a:pos x="357" y="465"/>
                </a:cxn>
                <a:cxn ang="0">
                  <a:pos x="289" y="462"/>
                </a:cxn>
                <a:cxn ang="0">
                  <a:pos x="277" y="489"/>
                </a:cxn>
                <a:cxn ang="0">
                  <a:pos x="342" y="516"/>
                </a:cxn>
                <a:cxn ang="0">
                  <a:pos x="387" y="532"/>
                </a:cxn>
              </a:cxnLst>
              <a:rect l="0" t="0" r="r" b="b"/>
              <a:pathLst>
                <a:path w="523" h="533">
                  <a:moveTo>
                    <a:pt x="39" y="170"/>
                  </a:moveTo>
                  <a:lnTo>
                    <a:pt x="36" y="162"/>
                  </a:lnTo>
                  <a:lnTo>
                    <a:pt x="42" y="149"/>
                  </a:lnTo>
                  <a:lnTo>
                    <a:pt x="28" y="149"/>
                  </a:lnTo>
                  <a:lnTo>
                    <a:pt x="13" y="140"/>
                  </a:lnTo>
                  <a:lnTo>
                    <a:pt x="11" y="118"/>
                  </a:lnTo>
                  <a:lnTo>
                    <a:pt x="0" y="107"/>
                  </a:lnTo>
                  <a:lnTo>
                    <a:pt x="7" y="101"/>
                  </a:lnTo>
                  <a:lnTo>
                    <a:pt x="17" y="100"/>
                  </a:lnTo>
                  <a:lnTo>
                    <a:pt x="19" y="86"/>
                  </a:lnTo>
                  <a:lnTo>
                    <a:pt x="11" y="78"/>
                  </a:lnTo>
                  <a:lnTo>
                    <a:pt x="10" y="69"/>
                  </a:lnTo>
                  <a:lnTo>
                    <a:pt x="15" y="64"/>
                  </a:lnTo>
                  <a:lnTo>
                    <a:pt x="24" y="68"/>
                  </a:lnTo>
                  <a:lnTo>
                    <a:pt x="42" y="55"/>
                  </a:lnTo>
                  <a:lnTo>
                    <a:pt x="54" y="60"/>
                  </a:lnTo>
                  <a:lnTo>
                    <a:pt x="71" y="35"/>
                  </a:lnTo>
                  <a:lnTo>
                    <a:pt x="82" y="41"/>
                  </a:lnTo>
                  <a:lnTo>
                    <a:pt x="80" y="51"/>
                  </a:lnTo>
                  <a:lnTo>
                    <a:pt x="94" y="57"/>
                  </a:lnTo>
                  <a:lnTo>
                    <a:pt x="99" y="65"/>
                  </a:lnTo>
                  <a:lnTo>
                    <a:pt x="109" y="51"/>
                  </a:lnTo>
                  <a:lnTo>
                    <a:pt x="109" y="40"/>
                  </a:lnTo>
                  <a:lnTo>
                    <a:pt x="129" y="45"/>
                  </a:lnTo>
                  <a:lnTo>
                    <a:pt x="137" y="43"/>
                  </a:lnTo>
                  <a:lnTo>
                    <a:pt x="145" y="49"/>
                  </a:lnTo>
                  <a:lnTo>
                    <a:pt x="146" y="34"/>
                  </a:lnTo>
                  <a:lnTo>
                    <a:pt x="164" y="30"/>
                  </a:lnTo>
                  <a:lnTo>
                    <a:pt x="160" y="17"/>
                  </a:lnTo>
                  <a:lnTo>
                    <a:pt x="169" y="7"/>
                  </a:lnTo>
                  <a:lnTo>
                    <a:pt x="185" y="13"/>
                  </a:lnTo>
                  <a:lnTo>
                    <a:pt x="208" y="0"/>
                  </a:lnTo>
                  <a:lnTo>
                    <a:pt x="219" y="2"/>
                  </a:lnTo>
                  <a:lnTo>
                    <a:pt x="235" y="1"/>
                  </a:lnTo>
                  <a:lnTo>
                    <a:pt x="233" y="10"/>
                  </a:lnTo>
                  <a:lnTo>
                    <a:pt x="255" y="22"/>
                  </a:lnTo>
                  <a:lnTo>
                    <a:pt x="283" y="26"/>
                  </a:lnTo>
                  <a:lnTo>
                    <a:pt x="299" y="25"/>
                  </a:lnTo>
                  <a:lnTo>
                    <a:pt x="305" y="31"/>
                  </a:lnTo>
                  <a:lnTo>
                    <a:pt x="295" y="45"/>
                  </a:lnTo>
                  <a:lnTo>
                    <a:pt x="297" y="52"/>
                  </a:lnTo>
                  <a:lnTo>
                    <a:pt x="291" y="59"/>
                  </a:lnTo>
                  <a:lnTo>
                    <a:pt x="294" y="74"/>
                  </a:lnTo>
                  <a:lnTo>
                    <a:pt x="284" y="71"/>
                  </a:lnTo>
                  <a:lnTo>
                    <a:pt x="278" y="75"/>
                  </a:lnTo>
                  <a:lnTo>
                    <a:pt x="271" y="80"/>
                  </a:lnTo>
                  <a:lnTo>
                    <a:pt x="261" y="80"/>
                  </a:lnTo>
                  <a:lnTo>
                    <a:pt x="252" y="88"/>
                  </a:lnTo>
                  <a:lnTo>
                    <a:pt x="242" y="89"/>
                  </a:lnTo>
                  <a:lnTo>
                    <a:pt x="238" y="95"/>
                  </a:lnTo>
                  <a:lnTo>
                    <a:pt x="243" y="104"/>
                  </a:lnTo>
                  <a:lnTo>
                    <a:pt x="249" y="111"/>
                  </a:lnTo>
                  <a:lnTo>
                    <a:pt x="242" y="121"/>
                  </a:lnTo>
                  <a:lnTo>
                    <a:pt x="238" y="124"/>
                  </a:lnTo>
                  <a:lnTo>
                    <a:pt x="243" y="134"/>
                  </a:lnTo>
                  <a:lnTo>
                    <a:pt x="244" y="146"/>
                  </a:lnTo>
                  <a:lnTo>
                    <a:pt x="249" y="152"/>
                  </a:lnTo>
                  <a:lnTo>
                    <a:pt x="270" y="162"/>
                  </a:lnTo>
                  <a:lnTo>
                    <a:pt x="281" y="168"/>
                  </a:lnTo>
                  <a:lnTo>
                    <a:pt x="287" y="175"/>
                  </a:lnTo>
                  <a:lnTo>
                    <a:pt x="317" y="202"/>
                  </a:lnTo>
                  <a:lnTo>
                    <a:pt x="317" y="209"/>
                  </a:lnTo>
                  <a:lnTo>
                    <a:pt x="320" y="211"/>
                  </a:lnTo>
                  <a:lnTo>
                    <a:pt x="322" y="220"/>
                  </a:lnTo>
                  <a:lnTo>
                    <a:pt x="328" y="227"/>
                  </a:lnTo>
                  <a:lnTo>
                    <a:pt x="336" y="236"/>
                  </a:lnTo>
                  <a:lnTo>
                    <a:pt x="342" y="245"/>
                  </a:lnTo>
                  <a:lnTo>
                    <a:pt x="355" y="254"/>
                  </a:lnTo>
                  <a:lnTo>
                    <a:pt x="363" y="260"/>
                  </a:lnTo>
                  <a:lnTo>
                    <a:pt x="371" y="262"/>
                  </a:lnTo>
                  <a:lnTo>
                    <a:pt x="377" y="265"/>
                  </a:lnTo>
                  <a:lnTo>
                    <a:pt x="394" y="265"/>
                  </a:lnTo>
                  <a:lnTo>
                    <a:pt x="401" y="267"/>
                  </a:lnTo>
                  <a:lnTo>
                    <a:pt x="412" y="265"/>
                  </a:lnTo>
                  <a:lnTo>
                    <a:pt x="421" y="269"/>
                  </a:lnTo>
                  <a:lnTo>
                    <a:pt x="418" y="274"/>
                  </a:lnTo>
                  <a:lnTo>
                    <a:pt x="407" y="282"/>
                  </a:lnTo>
                  <a:lnTo>
                    <a:pt x="407" y="285"/>
                  </a:lnTo>
                  <a:lnTo>
                    <a:pt x="411" y="292"/>
                  </a:lnTo>
                  <a:lnTo>
                    <a:pt x="421" y="292"/>
                  </a:lnTo>
                  <a:lnTo>
                    <a:pt x="439" y="296"/>
                  </a:lnTo>
                  <a:lnTo>
                    <a:pt x="474" y="313"/>
                  </a:lnTo>
                  <a:lnTo>
                    <a:pt x="488" y="323"/>
                  </a:lnTo>
                  <a:lnTo>
                    <a:pt x="498" y="332"/>
                  </a:lnTo>
                  <a:lnTo>
                    <a:pt x="513" y="335"/>
                  </a:lnTo>
                  <a:lnTo>
                    <a:pt x="520" y="340"/>
                  </a:lnTo>
                  <a:lnTo>
                    <a:pt x="523" y="346"/>
                  </a:lnTo>
                  <a:lnTo>
                    <a:pt x="522" y="356"/>
                  </a:lnTo>
                  <a:lnTo>
                    <a:pt x="519" y="361"/>
                  </a:lnTo>
                  <a:lnTo>
                    <a:pt x="520" y="369"/>
                  </a:lnTo>
                  <a:lnTo>
                    <a:pt x="517" y="370"/>
                  </a:lnTo>
                  <a:lnTo>
                    <a:pt x="516" y="372"/>
                  </a:lnTo>
                  <a:lnTo>
                    <a:pt x="509" y="370"/>
                  </a:lnTo>
                  <a:lnTo>
                    <a:pt x="502" y="362"/>
                  </a:lnTo>
                  <a:lnTo>
                    <a:pt x="498" y="354"/>
                  </a:lnTo>
                  <a:lnTo>
                    <a:pt x="499" y="348"/>
                  </a:lnTo>
                  <a:lnTo>
                    <a:pt x="494" y="346"/>
                  </a:lnTo>
                  <a:lnTo>
                    <a:pt x="480" y="346"/>
                  </a:lnTo>
                  <a:lnTo>
                    <a:pt x="478" y="342"/>
                  </a:lnTo>
                  <a:lnTo>
                    <a:pt x="468" y="337"/>
                  </a:lnTo>
                  <a:lnTo>
                    <a:pt x="462" y="338"/>
                  </a:lnTo>
                  <a:lnTo>
                    <a:pt x="458" y="341"/>
                  </a:lnTo>
                  <a:lnTo>
                    <a:pt x="455" y="350"/>
                  </a:lnTo>
                  <a:lnTo>
                    <a:pt x="450" y="355"/>
                  </a:lnTo>
                  <a:lnTo>
                    <a:pt x="450" y="361"/>
                  </a:lnTo>
                  <a:lnTo>
                    <a:pt x="449" y="367"/>
                  </a:lnTo>
                  <a:lnTo>
                    <a:pt x="441" y="371"/>
                  </a:lnTo>
                  <a:lnTo>
                    <a:pt x="441" y="377"/>
                  </a:lnTo>
                  <a:lnTo>
                    <a:pt x="445" y="382"/>
                  </a:lnTo>
                  <a:lnTo>
                    <a:pt x="452" y="383"/>
                  </a:lnTo>
                  <a:lnTo>
                    <a:pt x="465" y="394"/>
                  </a:lnTo>
                  <a:lnTo>
                    <a:pt x="468" y="399"/>
                  </a:lnTo>
                  <a:lnTo>
                    <a:pt x="465" y="408"/>
                  </a:lnTo>
                  <a:lnTo>
                    <a:pt x="469" y="413"/>
                  </a:lnTo>
                  <a:lnTo>
                    <a:pt x="465" y="419"/>
                  </a:lnTo>
                  <a:lnTo>
                    <a:pt x="457" y="421"/>
                  </a:lnTo>
                  <a:lnTo>
                    <a:pt x="450" y="428"/>
                  </a:lnTo>
                  <a:lnTo>
                    <a:pt x="449" y="447"/>
                  </a:lnTo>
                  <a:lnTo>
                    <a:pt x="436" y="456"/>
                  </a:lnTo>
                  <a:lnTo>
                    <a:pt x="434" y="465"/>
                  </a:lnTo>
                  <a:lnTo>
                    <a:pt x="428" y="474"/>
                  </a:lnTo>
                  <a:lnTo>
                    <a:pt x="415" y="474"/>
                  </a:lnTo>
                  <a:lnTo>
                    <a:pt x="405" y="465"/>
                  </a:lnTo>
                  <a:lnTo>
                    <a:pt x="404" y="459"/>
                  </a:lnTo>
                  <a:lnTo>
                    <a:pt x="406" y="456"/>
                  </a:lnTo>
                  <a:lnTo>
                    <a:pt x="412" y="453"/>
                  </a:lnTo>
                  <a:lnTo>
                    <a:pt x="417" y="447"/>
                  </a:lnTo>
                  <a:lnTo>
                    <a:pt x="418" y="439"/>
                  </a:lnTo>
                  <a:lnTo>
                    <a:pt x="417" y="431"/>
                  </a:lnTo>
                  <a:lnTo>
                    <a:pt x="420" y="430"/>
                  </a:lnTo>
                  <a:lnTo>
                    <a:pt x="423" y="429"/>
                  </a:lnTo>
                  <a:lnTo>
                    <a:pt x="428" y="424"/>
                  </a:lnTo>
                  <a:lnTo>
                    <a:pt x="429" y="417"/>
                  </a:lnTo>
                  <a:lnTo>
                    <a:pt x="423" y="410"/>
                  </a:lnTo>
                  <a:lnTo>
                    <a:pt x="420" y="395"/>
                  </a:lnTo>
                  <a:lnTo>
                    <a:pt x="415" y="389"/>
                  </a:lnTo>
                  <a:lnTo>
                    <a:pt x="413" y="377"/>
                  </a:lnTo>
                  <a:lnTo>
                    <a:pt x="409" y="364"/>
                  </a:lnTo>
                  <a:lnTo>
                    <a:pt x="403" y="360"/>
                  </a:lnTo>
                  <a:lnTo>
                    <a:pt x="397" y="362"/>
                  </a:lnTo>
                  <a:lnTo>
                    <a:pt x="386" y="360"/>
                  </a:lnTo>
                  <a:lnTo>
                    <a:pt x="381" y="353"/>
                  </a:lnTo>
                  <a:lnTo>
                    <a:pt x="372" y="353"/>
                  </a:lnTo>
                  <a:lnTo>
                    <a:pt x="368" y="348"/>
                  </a:lnTo>
                  <a:lnTo>
                    <a:pt x="370" y="344"/>
                  </a:lnTo>
                  <a:lnTo>
                    <a:pt x="370" y="337"/>
                  </a:lnTo>
                  <a:lnTo>
                    <a:pt x="365" y="330"/>
                  </a:lnTo>
                  <a:lnTo>
                    <a:pt x="357" y="329"/>
                  </a:lnTo>
                  <a:lnTo>
                    <a:pt x="348" y="330"/>
                  </a:lnTo>
                  <a:lnTo>
                    <a:pt x="349" y="324"/>
                  </a:lnTo>
                  <a:lnTo>
                    <a:pt x="341" y="321"/>
                  </a:lnTo>
                  <a:lnTo>
                    <a:pt x="336" y="323"/>
                  </a:lnTo>
                  <a:lnTo>
                    <a:pt x="330" y="320"/>
                  </a:lnTo>
                  <a:lnTo>
                    <a:pt x="320" y="303"/>
                  </a:lnTo>
                  <a:lnTo>
                    <a:pt x="312" y="303"/>
                  </a:lnTo>
                  <a:lnTo>
                    <a:pt x="302" y="300"/>
                  </a:lnTo>
                  <a:lnTo>
                    <a:pt x="296" y="304"/>
                  </a:lnTo>
                  <a:lnTo>
                    <a:pt x="288" y="304"/>
                  </a:lnTo>
                  <a:lnTo>
                    <a:pt x="287" y="297"/>
                  </a:lnTo>
                  <a:lnTo>
                    <a:pt x="278" y="292"/>
                  </a:lnTo>
                  <a:lnTo>
                    <a:pt x="270" y="291"/>
                  </a:lnTo>
                  <a:lnTo>
                    <a:pt x="252" y="279"/>
                  </a:lnTo>
                  <a:lnTo>
                    <a:pt x="232" y="257"/>
                  </a:lnTo>
                  <a:lnTo>
                    <a:pt x="227" y="256"/>
                  </a:lnTo>
                  <a:lnTo>
                    <a:pt x="225" y="249"/>
                  </a:lnTo>
                  <a:lnTo>
                    <a:pt x="216" y="239"/>
                  </a:lnTo>
                  <a:lnTo>
                    <a:pt x="203" y="239"/>
                  </a:lnTo>
                  <a:lnTo>
                    <a:pt x="202" y="231"/>
                  </a:lnTo>
                  <a:lnTo>
                    <a:pt x="190" y="220"/>
                  </a:lnTo>
                  <a:lnTo>
                    <a:pt x="183" y="213"/>
                  </a:lnTo>
                  <a:lnTo>
                    <a:pt x="172" y="208"/>
                  </a:lnTo>
                  <a:lnTo>
                    <a:pt x="172" y="196"/>
                  </a:lnTo>
                  <a:lnTo>
                    <a:pt x="164" y="192"/>
                  </a:lnTo>
                  <a:lnTo>
                    <a:pt x="164" y="185"/>
                  </a:lnTo>
                  <a:lnTo>
                    <a:pt x="156" y="173"/>
                  </a:lnTo>
                  <a:lnTo>
                    <a:pt x="152" y="167"/>
                  </a:lnTo>
                  <a:lnTo>
                    <a:pt x="150" y="162"/>
                  </a:lnTo>
                  <a:lnTo>
                    <a:pt x="146" y="156"/>
                  </a:lnTo>
                  <a:lnTo>
                    <a:pt x="133" y="151"/>
                  </a:lnTo>
                  <a:lnTo>
                    <a:pt x="123" y="146"/>
                  </a:lnTo>
                  <a:lnTo>
                    <a:pt x="93" y="139"/>
                  </a:lnTo>
                  <a:lnTo>
                    <a:pt x="69" y="151"/>
                  </a:lnTo>
                  <a:lnTo>
                    <a:pt x="69" y="158"/>
                  </a:lnTo>
                  <a:lnTo>
                    <a:pt x="61" y="167"/>
                  </a:lnTo>
                  <a:lnTo>
                    <a:pt x="39" y="170"/>
                  </a:lnTo>
                  <a:lnTo>
                    <a:pt x="39" y="170"/>
                  </a:lnTo>
                  <a:close/>
                  <a:moveTo>
                    <a:pt x="73" y="311"/>
                  </a:moveTo>
                  <a:lnTo>
                    <a:pt x="76" y="311"/>
                  </a:lnTo>
                  <a:lnTo>
                    <a:pt x="76" y="307"/>
                  </a:lnTo>
                  <a:lnTo>
                    <a:pt x="80" y="302"/>
                  </a:lnTo>
                  <a:lnTo>
                    <a:pt x="76" y="300"/>
                  </a:lnTo>
                  <a:lnTo>
                    <a:pt x="75" y="303"/>
                  </a:lnTo>
                  <a:lnTo>
                    <a:pt x="73" y="306"/>
                  </a:lnTo>
                  <a:lnTo>
                    <a:pt x="73" y="311"/>
                  </a:lnTo>
                  <a:lnTo>
                    <a:pt x="73" y="311"/>
                  </a:lnTo>
                  <a:close/>
                  <a:moveTo>
                    <a:pt x="190" y="243"/>
                  </a:moveTo>
                  <a:lnTo>
                    <a:pt x="195" y="245"/>
                  </a:lnTo>
                  <a:lnTo>
                    <a:pt x="193" y="242"/>
                  </a:lnTo>
                  <a:lnTo>
                    <a:pt x="190" y="243"/>
                  </a:lnTo>
                  <a:lnTo>
                    <a:pt x="190" y="243"/>
                  </a:lnTo>
                  <a:close/>
                  <a:moveTo>
                    <a:pt x="154" y="220"/>
                  </a:moveTo>
                  <a:lnTo>
                    <a:pt x="149" y="223"/>
                  </a:lnTo>
                  <a:lnTo>
                    <a:pt x="155" y="225"/>
                  </a:lnTo>
                  <a:lnTo>
                    <a:pt x="163" y="222"/>
                  </a:lnTo>
                  <a:lnTo>
                    <a:pt x="171" y="222"/>
                  </a:lnTo>
                  <a:lnTo>
                    <a:pt x="169" y="217"/>
                  </a:lnTo>
                  <a:lnTo>
                    <a:pt x="166" y="213"/>
                  </a:lnTo>
                  <a:lnTo>
                    <a:pt x="163" y="216"/>
                  </a:lnTo>
                  <a:lnTo>
                    <a:pt x="154" y="220"/>
                  </a:lnTo>
                  <a:lnTo>
                    <a:pt x="154" y="220"/>
                  </a:lnTo>
                  <a:close/>
                  <a:moveTo>
                    <a:pt x="97" y="423"/>
                  </a:moveTo>
                  <a:lnTo>
                    <a:pt x="100" y="421"/>
                  </a:lnTo>
                  <a:lnTo>
                    <a:pt x="104" y="423"/>
                  </a:lnTo>
                  <a:lnTo>
                    <a:pt x="111" y="421"/>
                  </a:lnTo>
                  <a:lnTo>
                    <a:pt x="111" y="411"/>
                  </a:lnTo>
                  <a:lnTo>
                    <a:pt x="115" y="405"/>
                  </a:lnTo>
                  <a:lnTo>
                    <a:pt x="123" y="406"/>
                  </a:lnTo>
                  <a:lnTo>
                    <a:pt x="129" y="411"/>
                  </a:lnTo>
                  <a:lnTo>
                    <a:pt x="134" y="411"/>
                  </a:lnTo>
                  <a:lnTo>
                    <a:pt x="138" y="405"/>
                  </a:lnTo>
                  <a:lnTo>
                    <a:pt x="138" y="389"/>
                  </a:lnTo>
                  <a:lnTo>
                    <a:pt x="139" y="384"/>
                  </a:lnTo>
                  <a:lnTo>
                    <a:pt x="137" y="369"/>
                  </a:lnTo>
                  <a:lnTo>
                    <a:pt x="140" y="353"/>
                  </a:lnTo>
                  <a:lnTo>
                    <a:pt x="129" y="343"/>
                  </a:lnTo>
                  <a:lnTo>
                    <a:pt x="139" y="337"/>
                  </a:lnTo>
                  <a:lnTo>
                    <a:pt x="140" y="331"/>
                  </a:lnTo>
                  <a:lnTo>
                    <a:pt x="138" y="321"/>
                  </a:lnTo>
                  <a:lnTo>
                    <a:pt x="132" y="315"/>
                  </a:lnTo>
                  <a:lnTo>
                    <a:pt x="126" y="304"/>
                  </a:lnTo>
                  <a:lnTo>
                    <a:pt x="122" y="308"/>
                  </a:lnTo>
                  <a:lnTo>
                    <a:pt x="114" y="302"/>
                  </a:lnTo>
                  <a:lnTo>
                    <a:pt x="106" y="303"/>
                  </a:lnTo>
                  <a:lnTo>
                    <a:pt x="91" y="320"/>
                  </a:lnTo>
                  <a:lnTo>
                    <a:pt x="84" y="321"/>
                  </a:lnTo>
                  <a:lnTo>
                    <a:pt x="73" y="315"/>
                  </a:lnTo>
                  <a:lnTo>
                    <a:pt x="73" y="325"/>
                  </a:lnTo>
                  <a:lnTo>
                    <a:pt x="70" y="330"/>
                  </a:lnTo>
                  <a:lnTo>
                    <a:pt x="79" y="337"/>
                  </a:lnTo>
                  <a:lnTo>
                    <a:pt x="80" y="343"/>
                  </a:lnTo>
                  <a:lnTo>
                    <a:pt x="86" y="348"/>
                  </a:lnTo>
                  <a:lnTo>
                    <a:pt x="86" y="358"/>
                  </a:lnTo>
                  <a:lnTo>
                    <a:pt x="79" y="364"/>
                  </a:lnTo>
                  <a:lnTo>
                    <a:pt x="82" y="369"/>
                  </a:lnTo>
                  <a:lnTo>
                    <a:pt x="91" y="370"/>
                  </a:lnTo>
                  <a:lnTo>
                    <a:pt x="91" y="373"/>
                  </a:lnTo>
                  <a:lnTo>
                    <a:pt x="86" y="379"/>
                  </a:lnTo>
                  <a:lnTo>
                    <a:pt x="81" y="394"/>
                  </a:lnTo>
                  <a:lnTo>
                    <a:pt x="85" y="399"/>
                  </a:lnTo>
                  <a:lnTo>
                    <a:pt x="90" y="416"/>
                  </a:lnTo>
                  <a:lnTo>
                    <a:pt x="97" y="423"/>
                  </a:lnTo>
                  <a:lnTo>
                    <a:pt x="97" y="423"/>
                  </a:lnTo>
                  <a:close/>
                  <a:moveTo>
                    <a:pt x="387" y="532"/>
                  </a:moveTo>
                  <a:lnTo>
                    <a:pt x="387" y="522"/>
                  </a:lnTo>
                  <a:lnTo>
                    <a:pt x="392" y="516"/>
                  </a:lnTo>
                  <a:lnTo>
                    <a:pt x="391" y="508"/>
                  </a:lnTo>
                  <a:lnTo>
                    <a:pt x="382" y="497"/>
                  </a:lnTo>
                  <a:lnTo>
                    <a:pt x="391" y="477"/>
                  </a:lnTo>
                  <a:lnTo>
                    <a:pt x="399" y="470"/>
                  </a:lnTo>
                  <a:lnTo>
                    <a:pt x="400" y="459"/>
                  </a:lnTo>
                  <a:lnTo>
                    <a:pt x="393" y="452"/>
                  </a:lnTo>
                  <a:lnTo>
                    <a:pt x="382" y="462"/>
                  </a:lnTo>
                  <a:lnTo>
                    <a:pt x="377" y="460"/>
                  </a:lnTo>
                  <a:lnTo>
                    <a:pt x="368" y="456"/>
                  </a:lnTo>
                  <a:lnTo>
                    <a:pt x="357" y="465"/>
                  </a:lnTo>
                  <a:lnTo>
                    <a:pt x="336" y="464"/>
                  </a:lnTo>
                  <a:lnTo>
                    <a:pt x="319" y="469"/>
                  </a:lnTo>
                  <a:lnTo>
                    <a:pt x="307" y="466"/>
                  </a:lnTo>
                  <a:lnTo>
                    <a:pt x="299" y="462"/>
                  </a:lnTo>
                  <a:lnTo>
                    <a:pt x="289" y="462"/>
                  </a:lnTo>
                  <a:lnTo>
                    <a:pt x="283" y="466"/>
                  </a:lnTo>
                  <a:lnTo>
                    <a:pt x="279" y="463"/>
                  </a:lnTo>
                  <a:lnTo>
                    <a:pt x="268" y="468"/>
                  </a:lnTo>
                  <a:lnTo>
                    <a:pt x="267" y="481"/>
                  </a:lnTo>
                  <a:lnTo>
                    <a:pt x="277" y="489"/>
                  </a:lnTo>
                  <a:lnTo>
                    <a:pt x="287" y="487"/>
                  </a:lnTo>
                  <a:lnTo>
                    <a:pt x="303" y="498"/>
                  </a:lnTo>
                  <a:lnTo>
                    <a:pt x="313" y="500"/>
                  </a:lnTo>
                  <a:lnTo>
                    <a:pt x="322" y="509"/>
                  </a:lnTo>
                  <a:lnTo>
                    <a:pt x="342" y="516"/>
                  </a:lnTo>
                  <a:lnTo>
                    <a:pt x="347" y="514"/>
                  </a:lnTo>
                  <a:lnTo>
                    <a:pt x="355" y="518"/>
                  </a:lnTo>
                  <a:lnTo>
                    <a:pt x="358" y="526"/>
                  </a:lnTo>
                  <a:lnTo>
                    <a:pt x="378" y="533"/>
                  </a:lnTo>
                  <a:lnTo>
                    <a:pt x="387" y="53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2" name="Freeform 43"/>
            <p:cNvSpPr>
              <a:spLocks/>
            </p:cNvSpPr>
            <p:nvPr/>
          </p:nvSpPr>
          <p:spPr bwMode="auto">
            <a:xfrm>
              <a:off x="2498725" y="3349625"/>
              <a:ext cx="828675" cy="615950"/>
            </a:xfrm>
            <a:custGeom>
              <a:avLst/>
              <a:gdLst/>
              <a:ahLst/>
              <a:cxnLst>
                <a:cxn ang="0">
                  <a:pos x="331" y="26"/>
                </a:cxn>
                <a:cxn ang="0">
                  <a:pos x="337" y="43"/>
                </a:cxn>
                <a:cxn ang="0">
                  <a:pos x="377" y="56"/>
                </a:cxn>
                <a:cxn ang="0">
                  <a:pos x="409" y="61"/>
                </a:cxn>
                <a:cxn ang="0">
                  <a:pos x="444" y="56"/>
                </a:cxn>
                <a:cxn ang="0">
                  <a:pos x="478" y="66"/>
                </a:cxn>
                <a:cxn ang="0">
                  <a:pos x="520" y="74"/>
                </a:cxn>
                <a:cxn ang="0">
                  <a:pos x="517" y="96"/>
                </a:cxn>
                <a:cxn ang="0">
                  <a:pos x="493" y="124"/>
                </a:cxn>
                <a:cxn ang="0">
                  <a:pos x="485" y="132"/>
                </a:cxn>
                <a:cxn ang="0">
                  <a:pos x="442" y="144"/>
                </a:cxn>
                <a:cxn ang="0">
                  <a:pos x="433" y="162"/>
                </a:cxn>
                <a:cxn ang="0">
                  <a:pos x="427" y="163"/>
                </a:cxn>
                <a:cxn ang="0">
                  <a:pos x="401" y="186"/>
                </a:cxn>
                <a:cxn ang="0">
                  <a:pos x="385" y="231"/>
                </a:cxn>
                <a:cxn ang="0">
                  <a:pos x="406" y="258"/>
                </a:cxn>
                <a:cxn ang="0">
                  <a:pos x="380" y="280"/>
                </a:cxn>
                <a:cxn ang="0">
                  <a:pos x="368" y="313"/>
                </a:cxn>
                <a:cxn ang="0">
                  <a:pos x="321" y="331"/>
                </a:cxn>
                <a:cxn ang="0">
                  <a:pos x="300" y="352"/>
                </a:cxn>
                <a:cxn ang="0">
                  <a:pos x="280" y="358"/>
                </a:cxn>
                <a:cxn ang="0">
                  <a:pos x="261" y="356"/>
                </a:cxn>
                <a:cxn ang="0">
                  <a:pos x="222" y="353"/>
                </a:cxn>
                <a:cxn ang="0">
                  <a:pos x="175" y="370"/>
                </a:cxn>
                <a:cxn ang="0">
                  <a:pos x="154" y="388"/>
                </a:cxn>
                <a:cxn ang="0">
                  <a:pos x="116" y="353"/>
                </a:cxn>
                <a:cxn ang="0">
                  <a:pos x="84" y="333"/>
                </a:cxn>
                <a:cxn ang="0">
                  <a:pos x="70" y="312"/>
                </a:cxn>
                <a:cxn ang="0">
                  <a:pos x="94" y="277"/>
                </a:cxn>
                <a:cxn ang="0">
                  <a:pos x="91" y="252"/>
                </a:cxn>
                <a:cxn ang="0">
                  <a:pos x="68" y="208"/>
                </a:cxn>
                <a:cxn ang="0">
                  <a:pos x="100" y="192"/>
                </a:cxn>
                <a:cxn ang="0">
                  <a:pos x="102" y="150"/>
                </a:cxn>
                <a:cxn ang="0">
                  <a:pos x="124" y="124"/>
                </a:cxn>
                <a:cxn ang="0">
                  <a:pos x="117" y="93"/>
                </a:cxn>
                <a:cxn ang="0">
                  <a:pos x="61" y="95"/>
                </a:cxn>
                <a:cxn ang="0">
                  <a:pos x="43" y="86"/>
                </a:cxn>
                <a:cxn ang="0">
                  <a:pos x="14" y="85"/>
                </a:cxn>
                <a:cxn ang="0">
                  <a:pos x="22" y="70"/>
                </a:cxn>
                <a:cxn ang="0">
                  <a:pos x="14" y="64"/>
                </a:cxn>
                <a:cxn ang="0">
                  <a:pos x="9" y="50"/>
                </a:cxn>
                <a:cxn ang="0">
                  <a:pos x="0" y="39"/>
                </a:cxn>
                <a:cxn ang="0">
                  <a:pos x="27" y="26"/>
                </a:cxn>
                <a:cxn ang="0">
                  <a:pos x="44" y="16"/>
                </a:cxn>
                <a:cxn ang="0">
                  <a:pos x="62" y="5"/>
                </a:cxn>
                <a:cxn ang="0">
                  <a:pos x="90" y="14"/>
                </a:cxn>
                <a:cxn ang="0">
                  <a:pos x="118" y="11"/>
                </a:cxn>
                <a:cxn ang="0">
                  <a:pos x="148" y="8"/>
                </a:cxn>
                <a:cxn ang="0">
                  <a:pos x="207" y="21"/>
                </a:cxn>
                <a:cxn ang="0">
                  <a:pos x="250" y="21"/>
                </a:cxn>
                <a:cxn ang="0">
                  <a:pos x="282" y="16"/>
                </a:cxn>
                <a:cxn ang="0">
                  <a:pos x="317" y="22"/>
                </a:cxn>
              </a:cxnLst>
              <a:rect l="0" t="0" r="r" b="b"/>
              <a:pathLst>
                <a:path w="522" h="388">
                  <a:moveTo>
                    <a:pt x="322" y="20"/>
                  </a:moveTo>
                  <a:lnTo>
                    <a:pt x="329" y="24"/>
                  </a:lnTo>
                  <a:lnTo>
                    <a:pt x="331" y="26"/>
                  </a:lnTo>
                  <a:lnTo>
                    <a:pt x="337" y="27"/>
                  </a:lnTo>
                  <a:lnTo>
                    <a:pt x="338" y="35"/>
                  </a:lnTo>
                  <a:lnTo>
                    <a:pt x="337" y="43"/>
                  </a:lnTo>
                  <a:lnTo>
                    <a:pt x="350" y="40"/>
                  </a:lnTo>
                  <a:lnTo>
                    <a:pt x="368" y="47"/>
                  </a:lnTo>
                  <a:lnTo>
                    <a:pt x="377" y="56"/>
                  </a:lnTo>
                  <a:lnTo>
                    <a:pt x="386" y="52"/>
                  </a:lnTo>
                  <a:lnTo>
                    <a:pt x="396" y="62"/>
                  </a:lnTo>
                  <a:lnTo>
                    <a:pt x="409" y="61"/>
                  </a:lnTo>
                  <a:lnTo>
                    <a:pt x="415" y="64"/>
                  </a:lnTo>
                  <a:lnTo>
                    <a:pt x="424" y="57"/>
                  </a:lnTo>
                  <a:lnTo>
                    <a:pt x="444" y="56"/>
                  </a:lnTo>
                  <a:lnTo>
                    <a:pt x="453" y="60"/>
                  </a:lnTo>
                  <a:lnTo>
                    <a:pt x="465" y="58"/>
                  </a:lnTo>
                  <a:lnTo>
                    <a:pt x="478" y="66"/>
                  </a:lnTo>
                  <a:lnTo>
                    <a:pt x="500" y="63"/>
                  </a:lnTo>
                  <a:lnTo>
                    <a:pt x="514" y="72"/>
                  </a:lnTo>
                  <a:lnTo>
                    <a:pt x="520" y="74"/>
                  </a:lnTo>
                  <a:lnTo>
                    <a:pt x="522" y="78"/>
                  </a:lnTo>
                  <a:lnTo>
                    <a:pt x="514" y="82"/>
                  </a:lnTo>
                  <a:lnTo>
                    <a:pt x="517" y="96"/>
                  </a:lnTo>
                  <a:lnTo>
                    <a:pt x="516" y="105"/>
                  </a:lnTo>
                  <a:lnTo>
                    <a:pt x="511" y="114"/>
                  </a:lnTo>
                  <a:lnTo>
                    <a:pt x="493" y="124"/>
                  </a:lnTo>
                  <a:lnTo>
                    <a:pt x="493" y="124"/>
                  </a:lnTo>
                  <a:lnTo>
                    <a:pt x="485" y="132"/>
                  </a:lnTo>
                  <a:lnTo>
                    <a:pt x="485" y="132"/>
                  </a:lnTo>
                  <a:lnTo>
                    <a:pt x="471" y="137"/>
                  </a:lnTo>
                  <a:lnTo>
                    <a:pt x="453" y="137"/>
                  </a:lnTo>
                  <a:lnTo>
                    <a:pt x="442" y="144"/>
                  </a:lnTo>
                  <a:lnTo>
                    <a:pt x="431" y="149"/>
                  </a:lnTo>
                  <a:lnTo>
                    <a:pt x="436" y="153"/>
                  </a:lnTo>
                  <a:lnTo>
                    <a:pt x="433" y="162"/>
                  </a:lnTo>
                  <a:lnTo>
                    <a:pt x="427" y="166"/>
                  </a:lnTo>
                  <a:lnTo>
                    <a:pt x="426" y="165"/>
                  </a:lnTo>
                  <a:lnTo>
                    <a:pt x="427" y="163"/>
                  </a:lnTo>
                  <a:lnTo>
                    <a:pt x="423" y="162"/>
                  </a:lnTo>
                  <a:lnTo>
                    <a:pt x="409" y="183"/>
                  </a:lnTo>
                  <a:lnTo>
                    <a:pt x="401" y="186"/>
                  </a:lnTo>
                  <a:lnTo>
                    <a:pt x="383" y="213"/>
                  </a:lnTo>
                  <a:lnTo>
                    <a:pt x="378" y="219"/>
                  </a:lnTo>
                  <a:lnTo>
                    <a:pt x="385" y="231"/>
                  </a:lnTo>
                  <a:lnTo>
                    <a:pt x="388" y="240"/>
                  </a:lnTo>
                  <a:lnTo>
                    <a:pt x="395" y="243"/>
                  </a:lnTo>
                  <a:lnTo>
                    <a:pt x="406" y="258"/>
                  </a:lnTo>
                  <a:lnTo>
                    <a:pt x="396" y="266"/>
                  </a:lnTo>
                  <a:lnTo>
                    <a:pt x="380" y="270"/>
                  </a:lnTo>
                  <a:lnTo>
                    <a:pt x="380" y="280"/>
                  </a:lnTo>
                  <a:lnTo>
                    <a:pt x="366" y="298"/>
                  </a:lnTo>
                  <a:lnTo>
                    <a:pt x="365" y="310"/>
                  </a:lnTo>
                  <a:lnTo>
                    <a:pt x="368" y="313"/>
                  </a:lnTo>
                  <a:lnTo>
                    <a:pt x="365" y="319"/>
                  </a:lnTo>
                  <a:lnTo>
                    <a:pt x="349" y="319"/>
                  </a:lnTo>
                  <a:lnTo>
                    <a:pt x="321" y="331"/>
                  </a:lnTo>
                  <a:lnTo>
                    <a:pt x="321" y="340"/>
                  </a:lnTo>
                  <a:lnTo>
                    <a:pt x="310" y="356"/>
                  </a:lnTo>
                  <a:lnTo>
                    <a:pt x="300" y="352"/>
                  </a:lnTo>
                  <a:lnTo>
                    <a:pt x="292" y="345"/>
                  </a:lnTo>
                  <a:lnTo>
                    <a:pt x="287" y="352"/>
                  </a:lnTo>
                  <a:lnTo>
                    <a:pt x="280" y="358"/>
                  </a:lnTo>
                  <a:lnTo>
                    <a:pt x="273" y="352"/>
                  </a:lnTo>
                  <a:lnTo>
                    <a:pt x="264" y="352"/>
                  </a:lnTo>
                  <a:lnTo>
                    <a:pt x="261" y="356"/>
                  </a:lnTo>
                  <a:lnTo>
                    <a:pt x="249" y="354"/>
                  </a:lnTo>
                  <a:lnTo>
                    <a:pt x="229" y="350"/>
                  </a:lnTo>
                  <a:lnTo>
                    <a:pt x="222" y="353"/>
                  </a:lnTo>
                  <a:lnTo>
                    <a:pt x="206" y="354"/>
                  </a:lnTo>
                  <a:lnTo>
                    <a:pt x="192" y="368"/>
                  </a:lnTo>
                  <a:lnTo>
                    <a:pt x="175" y="370"/>
                  </a:lnTo>
                  <a:lnTo>
                    <a:pt x="168" y="375"/>
                  </a:lnTo>
                  <a:lnTo>
                    <a:pt x="168" y="382"/>
                  </a:lnTo>
                  <a:lnTo>
                    <a:pt x="154" y="388"/>
                  </a:lnTo>
                  <a:lnTo>
                    <a:pt x="140" y="386"/>
                  </a:lnTo>
                  <a:lnTo>
                    <a:pt x="124" y="373"/>
                  </a:lnTo>
                  <a:lnTo>
                    <a:pt x="116" y="353"/>
                  </a:lnTo>
                  <a:lnTo>
                    <a:pt x="117" y="351"/>
                  </a:lnTo>
                  <a:lnTo>
                    <a:pt x="99" y="334"/>
                  </a:lnTo>
                  <a:lnTo>
                    <a:pt x="84" y="333"/>
                  </a:lnTo>
                  <a:lnTo>
                    <a:pt x="77" y="331"/>
                  </a:lnTo>
                  <a:lnTo>
                    <a:pt x="77" y="322"/>
                  </a:lnTo>
                  <a:lnTo>
                    <a:pt x="70" y="312"/>
                  </a:lnTo>
                  <a:lnTo>
                    <a:pt x="80" y="294"/>
                  </a:lnTo>
                  <a:lnTo>
                    <a:pt x="93" y="286"/>
                  </a:lnTo>
                  <a:lnTo>
                    <a:pt x="94" y="277"/>
                  </a:lnTo>
                  <a:lnTo>
                    <a:pt x="83" y="277"/>
                  </a:lnTo>
                  <a:lnTo>
                    <a:pt x="77" y="265"/>
                  </a:lnTo>
                  <a:lnTo>
                    <a:pt x="91" y="252"/>
                  </a:lnTo>
                  <a:lnTo>
                    <a:pt x="90" y="235"/>
                  </a:lnTo>
                  <a:lnTo>
                    <a:pt x="80" y="229"/>
                  </a:lnTo>
                  <a:lnTo>
                    <a:pt x="68" y="208"/>
                  </a:lnTo>
                  <a:lnTo>
                    <a:pt x="79" y="206"/>
                  </a:lnTo>
                  <a:lnTo>
                    <a:pt x="88" y="207"/>
                  </a:lnTo>
                  <a:lnTo>
                    <a:pt x="100" y="192"/>
                  </a:lnTo>
                  <a:lnTo>
                    <a:pt x="91" y="185"/>
                  </a:lnTo>
                  <a:lnTo>
                    <a:pt x="101" y="177"/>
                  </a:lnTo>
                  <a:lnTo>
                    <a:pt x="102" y="150"/>
                  </a:lnTo>
                  <a:lnTo>
                    <a:pt x="101" y="139"/>
                  </a:lnTo>
                  <a:lnTo>
                    <a:pt x="118" y="124"/>
                  </a:lnTo>
                  <a:lnTo>
                    <a:pt x="124" y="124"/>
                  </a:lnTo>
                  <a:lnTo>
                    <a:pt x="128" y="115"/>
                  </a:lnTo>
                  <a:lnTo>
                    <a:pt x="118" y="104"/>
                  </a:lnTo>
                  <a:lnTo>
                    <a:pt x="117" y="93"/>
                  </a:lnTo>
                  <a:lnTo>
                    <a:pt x="95" y="91"/>
                  </a:lnTo>
                  <a:lnTo>
                    <a:pt x="87" y="99"/>
                  </a:lnTo>
                  <a:lnTo>
                    <a:pt x="61" y="95"/>
                  </a:lnTo>
                  <a:lnTo>
                    <a:pt x="45" y="102"/>
                  </a:lnTo>
                  <a:lnTo>
                    <a:pt x="42" y="96"/>
                  </a:lnTo>
                  <a:lnTo>
                    <a:pt x="43" y="86"/>
                  </a:lnTo>
                  <a:lnTo>
                    <a:pt x="36" y="85"/>
                  </a:lnTo>
                  <a:lnTo>
                    <a:pt x="15" y="87"/>
                  </a:lnTo>
                  <a:lnTo>
                    <a:pt x="14" y="85"/>
                  </a:lnTo>
                  <a:lnTo>
                    <a:pt x="25" y="76"/>
                  </a:lnTo>
                  <a:lnTo>
                    <a:pt x="18" y="75"/>
                  </a:lnTo>
                  <a:lnTo>
                    <a:pt x="22" y="70"/>
                  </a:lnTo>
                  <a:lnTo>
                    <a:pt x="19" y="67"/>
                  </a:lnTo>
                  <a:lnTo>
                    <a:pt x="21" y="58"/>
                  </a:lnTo>
                  <a:lnTo>
                    <a:pt x="14" y="64"/>
                  </a:lnTo>
                  <a:lnTo>
                    <a:pt x="10" y="63"/>
                  </a:lnTo>
                  <a:lnTo>
                    <a:pt x="13" y="52"/>
                  </a:lnTo>
                  <a:lnTo>
                    <a:pt x="9" y="50"/>
                  </a:lnTo>
                  <a:lnTo>
                    <a:pt x="9" y="45"/>
                  </a:lnTo>
                  <a:lnTo>
                    <a:pt x="4" y="47"/>
                  </a:lnTo>
                  <a:lnTo>
                    <a:pt x="0" y="39"/>
                  </a:lnTo>
                  <a:lnTo>
                    <a:pt x="4" y="29"/>
                  </a:lnTo>
                  <a:lnTo>
                    <a:pt x="22" y="23"/>
                  </a:lnTo>
                  <a:lnTo>
                    <a:pt x="27" y="26"/>
                  </a:lnTo>
                  <a:lnTo>
                    <a:pt x="42" y="24"/>
                  </a:lnTo>
                  <a:lnTo>
                    <a:pt x="49" y="20"/>
                  </a:lnTo>
                  <a:lnTo>
                    <a:pt x="44" y="16"/>
                  </a:lnTo>
                  <a:lnTo>
                    <a:pt x="43" y="11"/>
                  </a:lnTo>
                  <a:lnTo>
                    <a:pt x="60" y="3"/>
                  </a:lnTo>
                  <a:lnTo>
                    <a:pt x="62" y="5"/>
                  </a:lnTo>
                  <a:lnTo>
                    <a:pt x="68" y="0"/>
                  </a:lnTo>
                  <a:lnTo>
                    <a:pt x="80" y="3"/>
                  </a:lnTo>
                  <a:lnTo>
                    <a:pt x="90" y="14"/>
                  </a:lnTo>
                  <a:lnTo>
                    <a:pt x="99" y="8"/>
                  </a:lnTo>
                  <a:lnTo>
                    <a:pt x="108" y="8"/>
                  </a:lnTo>
                  <a:lnTo>
                    <a:pt x="118" y="11"/>
                  </a:lnTo>
                  <a:lnTo>
                    <a:pt x="130" y="8"/>
                  </a:lnTo>
                  <a:lnTo>
                    <a:pt x="145" y="4"/>
                  </a:lnTo>
                  <a:lnTo>
                    <a:pt x="148" y="8"/>
                  </a:lnTo>
                  <a:lnTo>
                    <a:pt x="160" y="14"/>
                  </a:lnTo>
                  <a:lnTo>
                    <a:pt x="193" y="18"/>
                  </a:lnTo>
                  <a:lnTo>
                    <a:pt x="207" y="21"/>
                  </a:lnTo>
                  <a:lnTo>
                    <a:pt x="230" y="12"/>
                  </a:lnTo>
                  <a:lnTo>
                    <a:pt x="246" y="14"/>
                  </a:lnTo>
                  <a:lnTo>
                    <a:pt x="250" y="21"/>
                  </a:lnTo>
                  <a:lnTo>
                    <a:pt x="265" y="23"/>
                  </a:lnTo>
                  <a:lnTo>
                    <a:pt x="274" y="16"/>
                  </a:lnTo>
                  <a:lnTo>
                    <a:pt x="282" y="16"/>
                  </a:lnTo>
                  <a:lnTo>
                    <a:pt x="307" y="29"/>
                  </a:lnTo>
                  <a:lnTo>
                    <a:pt x="311" y="23"/>
                  </a:lnTo>
                  <a:lnTo>
                    <a:pt x="317" y="22"/>
                  </a:lnTo>
                  <a:lnTo>
                    <a:pt x="322" y="20"/>
                  </a:lnTo>
                  <a:lnTo>
                    <a:pt x="322" y="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3" name="Freeform 44"/>
            <p:cNvSpPr>
              <a:spLocks/>
            </p:cNvSpPr>
            <p:nvPr/>
          </p:nvSpPr>
          <p:spPr bwMode="auto">
            <a:xfrm>
              <a:off x="2473325" y="3484563"/>
              <a:ext cx="228600" cy="407988"/>
            </a:xfrm>
            <a:custGeom>
              <a:avLst/>
              <a:gdLst/>
              <a:ahLst/>
              <a:cxnLst>
                <a:cxn ang="0">
                  <a:pos x="93" y="237"/>
                </a:cxn>
                <a:cxn ang="0">
                  <a:pos x="96" y="209"/>
                </a:cxn>
                <a:cxn ang="0">
                  <a:pos x="110" y="192"/>
                </a:cxn>
                <a:cxn ang="0">
                  <a:pos x="93" y="180"/>
                </a:cxn>
                <a:cxn ang="0">
                  <a:pos x="106" y="150"/>
                </a:cxn>
                <a:cxn ang="0">
                  <a:pos x="84" y="123"/>
                </a:cxn>
                <a:cxn ang="0">
                  <a:pos x="104" y="122"/>
                </a:cxn>
                <a:cxn ang="0">
                  <a:pos x="107" y="100"/>
                </a:cxn>
                <a:cxn ang="0">
                  <a:pos x="118" y="65"/>
                </a:cxn>
                <a:cxn ang="0">
                  <a:pos x="134" y="39"/>
                </a:cxn>
                <a:cxn ang="0">
                  <a:pos x="144" y="30"/>
                </a:cxn>
                <a:cxn ang="0">
                  <a:pos x="133" y="8"/>
                </a:cxn>
                <a:cxn ang="0">
                  <a:pos x="103" y="14"/>
                </a:cxn>
                <a:cxn ang="0">
                  <a:pos x="61" y="17"/>
                </a:cxn>
                <a:cxn ang="0">
                  <a:pos x="59" y="1"/>
                </a:cxn>
                <a:cxn ang="0">
                  <a:pos x="31" y="2"/>
                </a:cxn>
                <a:cxn ang="0">
                  <a:pos x="38" y="25"/>
                </a:cxn>
                <a:cxn ang="0">
                  <a:pos x="37" y="56"/>
                </a:cxn>
                <a:cxn ang="0">
                  <a:pos x="41" y="74"/>
                </a:cxn>
                <a:cxn ang="0">
                  <a:pos x="30" y="91"/>
                </a:cxn>
                <a:cxn ang="0">
                  <a:pos x="19" y="117"/>
                </a:cxn>
                <a:cxn ang="0">
                  <a:pos x="7" y="141"/>
                </a:cxn>
                <a:cxn ang="0">
                  <a:pos x="1" y="172"/>
                </a:cxn>
                <a:cxn ang="0">
                  <a:pos x="14" y="166"/>
                </a:cxn>
                <a:cxn ang="0">
                  <a:pos x="23" y="166"/>
                </a:cxn>
                <a:cxn ang="0">
                  <a:pos x="12" y="175"/>
                </a:cxn>
                <a:cxn ang="0">
                  <a:pos x="16" y="188"/>
                </a:cxn>
                <a:cxn ang="0">
                  <a:pos x="34" y="182"/>
                </a:cxn>
                <a:cxn ang="0">
                  <a:pos x="32" y="199"/>
                </a:cxn>
                <a:cxn ang="0">
                  <a:pos x="28" y="231"/>
                </a:cxn>
                <a:cxn ang="0">
                  <a:pos x="20" y="251"/>
                </a:cxn>
                <a:cxn ang="0">
                  <a:pos x="37" y="245"/>
                </a:cxn>
                <a:cxn ang="0">
                  <a:pos x="65" y="257"/>
                </a:cxn>
                <a:cxn ang="0">
                  <a:pos x="90" y="250"/>
                </a:cxn>
                <a:cxn ang="0">
                  <a:pos x="93" y="246"/>
                </a:cxn>
              </a:cxnLst>
              <a:rect l="0" t="0" r="r" b="b"/>
              <a:pathLst>
                <a:path w="144" h="257">
                  <a:moveTo>
                    <a:pt x="93" y="246"/>
                  </a:moveTo>
                  <a:lnTo>
                    <a:pt x="93" y="237"/>
                  </a:lnTo>
                  <a:lnTo>
                    <a:pt x="86" y="227"/>
                  </a:lnTo>
                  <a:lnTo>
                    <a:pt x="96" y="209"/>
                  </a:lnTo>
                  <a:lnTo>
                    <a:pt x="109" y="201"/>
                  </a:lnTo>
                  <a:lnTo>
                    <a:pt x="110" y="192"/>
                  </a:lnTo>
                  <a:lnTo>
                    <a:pt x="99" y="192"/>
                  </a:lnTo>
                  <a:lnTo>
                    <a:pt x="93" y="180"/>
                  </a:lnTo>
                  <a:lnTo>
                    <a:pt x="107" y="167"/>
                  </a:lnTo>
                  <a:lnTo>
                    <a:pt x="106" y="150"/>
                  </a:lnTo>
                  <a:lnTo>
                    <a:pt x="96" y="144"/>
                  </a:lnTo>
                  <a:lnTo>
                    <a:pt x="84" y="123"/>
                  </a:lnTo>
                  <a:lnTo>
                    <a:pt x="95" y="121"/>
                  </a:lnTo>
                  <a:lnTo>
                    <a:pt x="104" y="122"/>
                  </a:lnTo>
                  <a:lnTo>
                    <a:pt x="116" y="107"/>
                  </a:lnTo>
                  <a:lnTo>
                    <a:pt x="107" y="100"/>
                  </a:lnTo>
                  <a:lnTo>
                    <a:pt x="117" y="92"/>
                  </a:lnTo>
                  <a:lnTo>
                    <a:pt x="118" y="65"/>
                  </a:lnTo>
                  <a:lnTo>
                    <a:pt x="117" y="54"/>
                  </a:lnTo>
                  <a:lnTo>
                    <a:pt x="134" y="39"/>
                  </a:lnTo>
                  <a:lnTo>
                    <a:pt x="140" y="39"/>
                  </a:lnTo>
                  <a:lnTo>
                    <a:pt x="144" y="30"/>
                  </a:lnTo>
                  <a:lnTo>
                    <a:pt x="134" y="19"/>
                  </a:lnTo>
                  <a:lnTo>
                    <a:pt x="133" y="8"/>
                  </a:lnTo>
                  <a:lnTo>
                    <a:pt x="111" y="6"/>
                  </a:lnTo>
                  <a:lnTo>
                    <a:pt x="103" y="14"/>
                  </a:lnTo>
                  <a:lnTo>
                    <a:pt x="77" y="10"/>
                  </a:lnTo>
                  <a:lnTo>
                    <a:pt x="61" y="17"/>
                  </a:lnTo>
                  <a:lnTo>
                    <a:pt x="58" y="11"/>
                  </a:lnTo>
                  <a:lnTo>
                    <a:pt x="59" y="1"/>
                  </a:lnTo>
                  <a:lnTo>
                    <a:pt x="52" y="0"/>
                  </a:lnTo>
                  <a:lnTo>
                    <a:pt x="31" y="2"/>
                  </a:lnTo>
                  <a:lnTo>
                    <a:pt x="31" y="11"/>
                  </a:lnTo>
                  <a:lnTo>
                    <a:pt x="38" y="25"/>
                  </a:lnTo>
                  <a:lnTo>
                    <a:pt x="35" y="51"/>
                  </a:lnTo>
                  <a:lnTo>
                    <a:pt x="37" y="56"/>
                  </a:lnTo>
                  <a:lnTo>
                    <a:pt x="34" y="66"/>
                  </a:lnTo>
                  <a:lnTo>
                    <a:pt x="41" y="74"/>
                  </a:lnTo>
                  <a:lnTo>
                    <a:pt x="35" y="80"/>
                  </a:lnTo>
                  <a:lnTo>
                    <a:pt x="30" y="91"/>
                  </a:lnTo>
                  <a:lnTo>
                    <a:pt x="29" y="104"/>
                  </a:lnTo>
                  <a:lnTo>
                    <a:pt x="19" y="117"/>
                  </a:lnTo>
                  <a:lnTo>
                    <a:pt x="19" y="126"/>
                  </a:lnTo>
                  <a:lnTo>
                    <a:pt x="7" y="141"/>
                  </a:lnTo>
                  <a:lnTo>
                    <a:pt x="0" y="166"/>
                  </a:lnTo>
                  <a:lnTo>
                    <a:pt x="1" y="172"/>
                  </a:lnTo>
                  <a:lnTo>
                    <a:pt x="11" y="172"/>
                  </a:lnTo>
                  <a:lnTo>
                    <a:pt x="14" y="166"/>
                  </a:lnTo>
                  <a:lnTo>
                    <a:pt x="24" y="159"/>
                  </a:lnTo>
                  <a:lnTo>
                    <a:pt x="23" y="166"/>
                  </a:lnTo>
                  <a:lnTo>
                    <a:pt x="25" y="169"/>
                  </a:lnTo>
                  <a:lnTo>
                    <a:pt x="12" y="175"/>
                  </a:lnTo>
                  <a:lnTo>
                    <a:pt x="11" y="185"/>
                  </a:lnTo>
                  <a:lnTo>
                    <a:pt x="16" y="188"/>
                  </a:lnTo>
                  <a:lnTo>
                    <a:pt x="22" y="182"/>
                  </a:lnTo>
                  <a:lnTo>
                    <a:pt x="34" y="182"/>
                  </a:lnTo>
                  <a:lnTo>
                    <a:pt x="29" y="188"/>
                  </a:lnTo>
                  <a:lnTo>
                    <a:pt x="32" y="199"/>
                  </a:lnTo>
                  <a:lnTo>
                    <a:pt x="28" y="209"/>
                  </a:lnTo>
                  <a:lnTo>
                    <a:pt x="28" y="231"/>
                  </a:lnTo>
                  <a:lnTo>
                    <a:pt x="24" y="246"/>
                  </a:lnTo>
                  <a:lnTo>
                    <a:pt x="20" y="251"/>
                  </a:lnTo>
                  <a:lnTo>
                    <a:pt x="24" y="254"/>
                  </a:lnTo>
                  <a:lnTo>
                    <a:pt x="37" y="245"/>
                  </a:lnTo>
                  <a:lnTo>
                    <a:pt x="57" y="253"/>
                  </a:lnTo>
                  <a:lnTo>
                    <a:pt x="65" y="257"/>
                  </a:lnTo>
                  <a:lnTo>
                    <a:pt x="78" y="250"/>
                  </a:lnTo>
                  <a:lnTo>
                    <a:pt x="90" y="250"/>
                  </a:lnTo>
                  <a:lnTo>
                    <a:pt x="93" y="246"/>
                  </a:lnTo>
                  <a:lnTo>
                    <a:pt x="93" y="24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4" name="Freeform 45"/>
            <p:cNvSpPr>
              <a:spLocks noEditPoints="1"/>
            </p:cNvSpPr>
            <p:nvPr/>
          </p:nvSpPr>
          <p:spPr bwMode="auto">
            <a:xfrm>
              <a:off x="4462463" y="3500438"/>
              <a:ext cx="631825" cy="517525"/>
            </a:xfrm>
            <a:custGeom>
              <a:avLst/>
              <a:gdLst/>
              <a:ahLst/>
              <a:cxnLst>
                <a:cxn ang="0">
                  <a:pos x="250" y="31"/>
                </a:cxn>
                <a:cxn ang="0">
                  <a:pos x="186" y="29"/>
                </a:cxn>
                <a:cxn ang="0">
                  <a:pos x="97" y="44"/>
                </a:cxn>
                <a:cxn ang="0">
                  <a:pos x="32" y="113"/>
                </a:cxn>
                <a:cxn ang="0">
                  <a:pos x="69" y="172"/>
                </a:cxn>
                <a:cxn ang="0">
                  <a:pos x="128" y="188"/>
                </a:cxn>
                <a:cxn ang="0">
                  <a:pos x="138" y="200"/>
                </a:cxn>
                <a:cxn ang="0">
                  <a:pos x="73" y="206"/>
                </a:cxn>
                <a:cxn ang="0">
                  <a:pos x="115" y="263"/>
                </a:cxn>
                <a:cxn ang="0">
                  <a:pos x="140" y="278"/>
                </a:cxn>
                <a:cxn ang="0">
                  <a:pos x="160" y="251"/>
                </a:cxn>
                <a:cxn ang="0">
                  <a:pos x="169" y="232"/>
                </a:cxn>
                <a:cxn ang="0">
                  <a:pos x="155" y="210"/>
                </a:cxn>
                <a:cxn ang="0">
                  <a:pos x="195" y="200"/>
                </a:cxn>
                <a:cxn ang="0">
                  <a:pos x="144" y="163"/>
                </a:cxn>
                <a:cxn ang="0">
                  <a:pos x="153" y="134"/>
                </a:cxn>
                <a:cxn ang="0">
                  <a:pos x="138" y="110"/>
                </a:cxn>
                <a:cxn ang="0">
                  <a:pos x="142" y="72"/>
                </a:cxn>
                <a:cxn ang="0">
                  <a:pos x="168" y="83"/>
                </a:cxn>
                <a:cxn ang="0">
                  <a:pos x="198" y="81"/>
                </a:cxn>
                <a:cxn ang="0">
                  <a:pos x="201" y="59"/>
                </a:cxn>
                <a:cxn ang="0">
                  <a:pos x="247" y="48"/>
                </a:cxn>
                <a:cxn ang="0">
                  <a:pos x="296" y="10"/>
                </a:cxn>
                <a:cxn ang="0">
                  <a:pos x="21" y="131"/>
                </a:cxn>
                <a:cxn ang="0">
                  <a:pos x="12" y="112"/>
                </a:cxn>
                <a:cxn ang="0">
                  <a:pos x="47" y="171"/>
                </a:cxn>
                <a:cxn ang="0">
                  <a:pos x="61" y="195"/>
                </a:cxn>
                <a:cxn ang="0">
                  <a:pos x="43" y="198"/>
                </a:cxn>
                <a:cxn ang="0">
                  <a:pos x="63" y="217"/>
                </a:cxn>
                <a:cxn ang="0">
                  <a:pos x="66" y="214"/>
                </a:cxn>
                <a:cxn ang="0">
                  <a:pos x="347" y="317"/>
                </a:cxn>
                <a:cxn ang="0">
                  <a:pos x="373" y="302"/>
                </a:cxn>
                <a:cxn ang="0">
                  <a:pos x="397" y="279"/>
                </a:cxn>
                <a:cxn ang="0">
                  <a:pos x="373" y="302"/>
                </a:cxn>
                <a:cxn ang="0">
                  <a:pos x="317" y="272"/>
                </a:cxn>
                <a:cxn ang="0">
                  <a:pos x="333" y="212"/>
                </a:cxn>
                <a:cxn ang="0">
                  <a:pos x="310" y="215"/>
                </a:cxn>
                <a:cxn ang="0">
                  <a:pos x="288" y="182"/>
                </a:cxn>
                <a:cxn ang="0">
                  <a:pos x="282" y="147"/>
                </a:cxn>
                <a:cxn ang="0">
                  <a:pos x="306" y="135"/>
                </a:cxn>
                <a:cxn ang="0">
                  <a:pos x="293" y="136"/>
                </a:cxn>
                <a:cxn ang="0">
                  <a:pos x="267" y="67"/>
                </a:cxn>
                <a:cxn ang="0">
                  <a:pos x="250" y="95"/>
                </a:cxn>
                <a:cxn ang="0">
                  <a:pos x="237" y="96"/>
                </a:cxn>
                <a:cxn ang="0">
                  <a:pos x="220" y="65"/>
                </a:cxn>
                <a:cxn ang="0">
                  <a:pos x="183" y="149"/>
                </a:cxn>
                <a:cxn ang="0">
                  <a:pos x="167" y="141"/>
                </a:cxn>
                <a:cxn ang="0">
                  <a:pos x="224" y="158"/>
                </a:cxn>
                <a:cxn ang="0">
                  <a:pos x="294" y="229"/>
                </a:cxn>
                <a:cxn ang="0">
                  <a:pos x="219" y="272"/>
                </a:cxn>
                <a:cxn ang="0">
                  <a:pos x="225" y="232"/>
                </a:cxn>
                <a:cxn ang="0">
                  <a:pos x="220" y="227"/>
                </a:cxn>
                <a:cxn ang="0">
                  <a:pos x="258" y="253"/>
                </a:cxn>
                <a:cxn ang="0">
                  <a:pos x="269" y="251"/>
                </a:cxn>
                <a:cxn ang="0">
                  <a:pos x="258" y="221"/>
                </a:cxn>
                <a:cxn ang="0">
                  <a:pos x="241" y="211"/>
                </a:cxn>
                <a:cxn ang="0">
                  <a:pos x="146" y="156"/>
                </a:cxn>
                <a:cxn ang="0">
                  <a:pos x="196" y="163"/>
                </a:cxn>
                <a:cxn ang="0">
                  <a:pos x="227" y="198"/>
                </a:cxn>
                <a:cxn ang="0">
                  <a:pos x="198" y="182"/>
                </a:cxn>
                <a:cxn ang="0">
                  <a:pos x="163" y="159"/>
                </a:cxn>
                <a:cxn ang="0">
                  <a:pos x="167" y="288"/>
                </a:cxn>
                <a:cxn ang="0">
                  <a:pos x="162" y="275"/>
                </a:cxn>
              </a:cxnLst>
              <a:rect l="0" t="0" r="r" b="b"/>
              <a:pathLst>
                <a:path w="398" h="326">
                  <a:moveTo>
                    <a:pt x="299" y="0"/>
                  </a:moveTo>
                  <a:lnTo>
                    <a:pt x="293" y="0"/>
                  </a:lnTo>
                  <a:lnTo>
                    <a:pt x="282" y="7"/>
                  </a:lnTo>
                  <a:lnTo>
                    <a:pt x="281" y="17"/>
                  </a:lnTo>
                  <a:lnTo>
                    <a:pt x="284" y="24"/>
                  </a:lnTo>
                  <a:lnTo>
                    <a:pt x="278" y="27"/>
                  </a:lnTo>
                  <a:lnTo>
                    <a:pt x="259" y="26"/>
                  </a:lnTo>
                  <a:lnTo>
                    <a:pt x="250" y="31"/>
                  </a:lnTo>
                  <a:lnTo>
                    <a:pt x="242" y="26"/>
                  </a:lnTo>
                  <a:lnTo>
                    <a:pt x="234" y="26"/>
                  </a:lnTo>
                  <a:lnTo>
                    <a:pt x="227" y="31"/>
                  </a:lnTo>
                  <a:lnTo>
                    <a:pt x="219" y="30"/>
                  </a:lnTo>
                  <a:lnTo>
                    <a:pt x="218" y="24"/>
                  </a:lnTo>
                  <a:lnTo>
                    <a:pt x="206" y="24"/>
                  </a:lnTo>
                  <a:lnTo>
                    <a:pt x="194" y="21"/>
                  </a:lnTo>
                  <a:lnTo>
                    <a:pt x="186" y="29"/>
                  </a:lnTo>
                  <a:lnTo>
                    <a:pt x="174" y="31"/>
                  </a:lnTo>
                  <a:lnTo>
                    <a:pt x="160" y="31"/>
                  </a:lnTo>
                  <a:lnTo>
                    <a:pt x="155" y="29"/>
                  </a:lnTo>
                  <a:lnTo>
                    <a:pt x="149" y="33"/>
                  </a:lnTo>
                  <a:lnTo>
                    <a:pt x="140" y="33"/>
                  </a:lnTo>
                  <a:lnTo>
                    <a:pt x="130" y="39"/>
                  </a:lnTo>
                  <a:lnTo>
                    <a:pt x="107" y="39"/>
                  </a:lnTo>
                  <a:lnTo>
                    <a:pt x="97" y="44"/>
                  </a:lnTo>
                  <a:lnTo>
                    <a:pt x="97" y="48"/>
                  </a:lnTo>
                  <a:lnTo>
                    <a:pt x="84" y="52"/>
                  </a:lnTo>
                  <a:lnTo>
                    <a:pt x="66" y="62"/>
                  </a:lnTo>
                  <a:lnTo>
                    <a:pt x="63" y="73"/>
                  </a:lnTo>
                  <a:lnTo>
                    <a:pt x="56" y="85"/>
                  </a:lnTo>
                  <a:lnTo>
                    <a:pt x="38" y="91"/>
                  </a:lnTo>
                  <a:lnTo>
                    <a:pt x="38" y="101"/>
                  </a:lnTo>
                  <a:lnTo>
                    <a:pt x="32" y="113"/>
                  </a:lnTo>
                  <a:lnTo>
                    <a:pt x="26" y="116"/>
                  </a:lnTo>
                  <a:lnTo>
                    <a:pt x="26" y="117"/>
                  </a:lnTo>
                  <a:lnTo>
                    <a:pt x="27" y="128"/>
                  </a:lnTo>
                  <a:lnTo>
                    <a:pt x="44" y="140"/>
                  </a:lnTo>
                  <a:lnTo>
                    <a:pt x="53" y="152"/>
                  </a:lnTo>
                  <a:lnTo>
                    <a:pt x="57" y="153"/>
                  </a:lnTo>
                  <a:lnTo>
                    <a:pt x="57" y="157"/>
                  </a:lnTo>
                  <a:lnTo>
                    <a:pt x="69" y="172"/>
                  </a:lnTo>
                  <a:lnTo>
                    <a:pt x="73" y="185"/>
                  </a:lnTo>
                  <a:lnTo>
                    <a:pt x="79" y="187"/>
                  </a:lnTo>
                  <a:lnTo>
                    <a:pt x="86" y="178"/>
                  </a:lnTo>
                  <a:lnTo>
                    <a:pt x="93" y="186"/>
                  </a:lnTo>
                  <a:lnTo>
                    <a:pt x="104" y="187"/>
                  </a:lnTo>
                  <a:lnTo>
                    <a:pt x="108" y="181"/>
                  </a:lnTo>
                  <a:lnTo>
                    <a:pt x="116" y="181"/>
                  </a:lnTo>
                  <a:lnTo>
                    <a:pt x="128" y="188"/>
                  </a:lnTo>
                  <a:lnTo>
                    <a:pt x="136" y="185"/>
                  </a:lnTo>
                  <a:lnTo>
                    <a:pt x="137" y="191"/>
                  </a:lnTo>
                  <a:lnTo>
                    <a:pt x="143" y="191"/>
                  </a:lnTo>
                  <a:lnTo>
                    <a:pt x="148" y="194"/>
                  </a:lnTo>
                  <a:lnTo>
                    <a:pt x="157" y="195"/>
                  </a:lnTo>
                  <a:lnTo>
                    <a:pt x="150" y="199"/>
                  </a:lnTo>
                  <a:lnTo>
                    <a:pt x="144" y="205"/>
                  </a:lnTo>
                  <a:lnTo>
                    <a:pt x="138" y="200"/>
                  </a:lnTo>
                  <a:lnTo>
                    <a:pt x="130" y="198"/>
                  </a:lnTo>
                  <a:lnTo>
                    <a:pt x="111" y="187"/>
                  </a:lnTo>
                  <a:lnTo>
                    <a:pt x="103" y="189"/>
                  </a:lnTo>
                  <a:lnTo>
                    <a:pt x="96" y="194"/>
                  </a:lnTo>
                  <a:lnTo>
                    <a:pt x="87" y="191"/>
                  </a:lnTo>
                  <a:lnTo>
                    <a:pt x="81" y="198"/>
                  </a:lnTo>
                  <a:lnTo>
                    <a:pt x="76" y="199"/>
                  </a:lnTo>
                  <a:lnTo>
                    <a:pt x="73" y="206"/>
                  </a:lnTo>
                  <a:lnTo>
                    <a:pt x="82" y="217"/>
                  </a:lnTo>
                  <a:lnTo>
                    <a:pt x="93" y="221"/>
                  </a:lnTo>
                  <a:lnTo>
                    <a:pt x="103" y="229"/>
                  </a:lnTo>
                  <a:lnTo>
                    <a:pt x="104" y="235"/>
                  </a:lnTo>
                  <a:lnTo>
                    <a:pt x="99" y="239"/>
                  </a:lnTo>
                  <a:lnTo>
                    <a:pt x="101" y="247"/>
                  </a:lnTo>
                  <a:lnTo>
                    <a:pt x="109" y="257"/>
                  </a:lnTo>
                  <a:lnTo>
                    <a:pt x="115" y="263"/>
                  </a:lnTo>
                  <a:lnTo>
                    <a:pt x="117" y="257"/>
                  </a:lnTo>
                  <a:lnTo>
                    <a:pt x="115" y="253"/>
                  </a:lnTo>
                  <a:lnTo>
                    <a:pt x="119" y="246"/>
                  </a:lnTo>
                  <a:lnTo>
                    <a:pt x="121" y="255"/>
                  </a:lnTo>
                  <a:lnTo>
                    <a:pt x="133" y="259"/>
                  </a:lnTo>
                  <a:lnTo>
                    <a:pt x="137" y="266"/>
                  </a:lnTo>
                  <a:lnTo>
                    <a:pt x="134" y="273"/>
                  </a:lnTo>
                  <a:lnTo>
                    <a:pt x="140" y="278"/>
                  </a:lnTo>
                  <a:lnTo>
                    <a:pt x="140" y="267"/>
                  </a:lnTo>
                  <a:lnTo>
                    <a:pt x="144" y="257"/>
                  </a:lnTo>
                  <a:lnTo>
                    <a:pt x="153" y="257"/>
                  </a:lnTo>
                  <a:lnTo>
                    <a:pt x="155" y="264"/>
                  </a:lnTo>
                  <a:lnTo>
                    <a:pt x="169" y="273"/>
                  </a:lnTo>
                  <a:lnTo>
                    <a:pt x="163" y="264"/>
                  </a:lnTo>
                  <a:lnTo>
                    <a:pt x="165" y="258"/>
                  </a:lnTo>
                  <a:lnTo>
                    <a:pt x="160" y="251"/>
                  </a:lnTo>
                  <a:lnTo>
                    <a:pt x="154" y="236"/>
                  </a:lnTo>
                  <a:lnTo>
                    <a:pt x="148" y="229"/>
                  </a:lnTo>
                  <a:lnTo>
                    <a:pt x="149" y="226"/>
                  </a:lnTo>
                  <a:lnTo>
                    <a:pt x="154" y="226"/>
                  </a:lnTo>
                  <a:lnTo>
                    <a:pt x="165" y="230"/>
                  </a:lnTo>
                  <a:lnTo>
                    <a:pt x="161" y="234"/>
                  </a:lnTo>
                  <a:lnTo>
                    <a:pt x="165" y="236"/>
                  </a:lnTo>
                  <a:lnTo>
                    <a:pt x="169" y="232"/>
                  </a:lnTo>
                  <a:lnTo>
                    <a:pt x="180" y="235"/>
                  </a:lnTo>
                  <a:lnTo>
                    <a:pt x="180" y="232"/>
                  </a:lnTo>
                  <a:lnTo>
                    <a:pt x="176" y="229"/>
                  </a:lnTo>
                  <a:lnTo>
                    <a:pt x="176" y="226"/>
                  </a:lnTo>
                  <a:lnTo>
                    <a:pt x="172" y="224"/>
                  </a:lnTo>
                  <a:lnTo>
                    <a:pt x="163" y="220"/>
                  </a:lnTo>
                  <a:lnTo>
                    <a:pt x="165" y="216"/>
                  </a:lnTo>
                  <a:lnTo>
                    <a:pt x="155" y="210"/>
                  </a:lnTo>
                  <a:lnTo>
                    <a:pt x="165" y="206"/>
                  </a:lnTo>
                  <a:lnTo>
                    <a:pt x="172" y="206"/>
                  </a:lnTo>
                  <a:lnTo>
                    <a:pt x="177" y="203"/>
                  </a:lnTo>
                  <a:lnTo>
                    <a:pt x="190" y="211"/>
                  </a:lnTo>
                  <a:lnTo>
                    <a:pt x="191" y="214"/>
                  </a:lnTo>
                  <a:lnTo>
                    <a:pt x="200" y="215"/>
                  </a:lnTo>
                  <a:lnTo>
                    <a:pt x="202" y="210"/>
                  </a:lnTo>
                  <a:lnTo>
                    <a:pt x="195" y="200"/>
                  </a:lnTo>
                  <a:lnTo>
                    <a:pt x="196" y="191"/>
                  </a:lnTo>
                  <a:lnTo>
                    <a:pt x="194" y="186"/>
                  </a:lnTo>
                  <a:lnTo>
                    <a:pt x="172" y="174"/>
                  </a:lnTo>
                  <a:lnTo>
                    <a:pt x="166" y="172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3" y="163"/>
                  </a:lnTo>
                  <a:lnTo>
                    <a:pt x="144" y="163"/>
                  </a:lnTo>
                  <a:lnTo>
                    <a:pt x="134" y="156"/>
                  </a:lnTo>
                  <a:lnTo>
                    <a:pt x="144" y="154"/>
                  </a:lnTo>
                  <a:lnTo>
                    <a:pt x="150" y="148"/>
                  </a:lnTo>
                  <a:lnTo>
                    <a:pt x="150" y="143"/>
                  </a:lnTo>
                  <a:lnTo>
                    <a:pt x="140" y="141"/>
                  </a:lnTo>
                  <a:lnTo>
                    <a:pt x="145" y="135"/>
                  </a:lnTo>
                  <a:lnTo>
                    <a:pt x="145" y="131"/>
                  </a:lnTo>
                  <a:lnTo>
                    <a:pt x="153" y="134"/>
                  </a:lnTo>
                  <a:lnTo>
                    <a:pt x="157" y="137"/>
                  </a:lnTo>
                  <a:lnTo>
                    <a:pt x="156" y="142"/>
                  </a:lnTo>
                  <a:lnTo>
                    <a:pt x="156" y="146"/>
                  </a:lnTo>
                  <a:lnTo>
                    <a:pt x="161" y="146"/>
                  </a:lnTo>
                  <a:lnTo>
                    <a:pt x="165" y="135"/>
                  </a:lnTo>
                  <a:lnTo>
                    <a:pt x="159" y="129"/>
                  </a:lnTo>
                  <a:lnTo>
                    <a:pt x="144" y="113"/>
                  </a:lnTo>
                  <a:lnTo>
                    <a:pt x="138" y="110"/>
                  </a:lnTo>
                  <a:lnTo>
                    <a:pt x="137" y="104"/>
                  </a:lnTo>
                  <a:lnTo>
                    <a:pt x="126" y="95"/>
                  </a:lnTo>
                  <a:lnTo>
                    <a:pt x="131" y="91"/>
                  </a:lnTo>
                  <a:lnTo>
                    <a:pt x="128" y="75"/>
                  </a:lnTo>
                  <a:lnTo>
                    <a:pt x="134" y="66"/>
                  </a:lnTo>
                  <a:lnTo>
                    <a:pt x="145" y="64"/>
                  </a:lnTo>
                  <a:lnTo>
                    <a:pt x="146" y="72"/>
                  </a:lnTo>
                  <a:lnTo>
                    <a:pt x="142" y="72"/>
                  </a:lnTo>
                  <a:lnTo>
                    <a:pt x="143" y="77"/>
                  </a:lnTo>
                  <a:lnTo>
                    <a:pt x="157" y="83"/>
                  </a:lnTo>
                  <a:lnTo>
                    <a:pt x="159" y="93"/>
                  </a:lnTo>
                  <a:lnTo>
                    <a:pt x="167" y="100"/>
                  </a:lnTo>
                  <a:lnTo>
                    <a:pt x="178" y="99"/>
                  </a:lnTo>
                  <a:lnTo>
                    <a:pt x="171" y="95"/>
                  </a:lnTo>
                  <a:lnTo>
                    <a:pt x="166" y="88"/>
                  </a:lnTo>
                  <a:lnTo>
                    <a:pt x="168" y="83"/>
                  </a:lnTo>
                  <a:lnTo>
                    <a:pt x="177" y="85"/>
                  </a:lnTo>
                  <a:lnTo>
                    <a:pt x="184" y="95"/>
                  </a:lnTo>
                  <a:lnTo>
                    <a:pt x="191" y="96"/>
                  </a:lnTo>
                  <a:lnTo>
                    <a:pt x="194" y="91"/>
                  </a:lnTo>
                  <a:lnTo>
                    <a:pt x="188" y="87"/>
                  </a:lnTo>
                  <a:lnTo>
                    <a:pt x="180" y="84"/>
                  </a:lnTo>
                  <a:lnTo>
                    <a:pt x="182" y="79"/>
                  </a:lnTo>
                  <a:lnTo>
                    <a:pt x="198" y="81"/>
                  </a:lnTo>
                  <a:lnTo>
                    <a:pt x="205" y="87"/>
                  </a:lnTo>
                  <a:lnTo>
                    <a:pt x="207" y="83"/>
                  </a:lnTo>
                  <a:lnTo>
                    <a:pt x="197" y="76"/>
                  </a:lnTo>
                  <a:lnTo>
                    <a:pt x="188" y="73"/>
                  </a:lnTo>
                  <a:lnTo>
                    <a:pt x="179" y="65"/>
                  </a:lnTo>
                  <a:lnTo>
                    <a:pt x="184" y="60"/>
                  </a:lnTo>
                  <a:lnTo>
                    <a:pt x="194" y="62"/>
                  </a:lnTo>
                  <a:lnTo>
                    <a:pt x="201" y="59"/>
                  </a:lnTo>
                  <a:lnTo>
                    <a:pt x="203" y="48"/>
                  </a:lnTo>
                  <a:lnTo>
                    <a:pt x="211" y="46"/>
                  </a:lnTo>
                  <a:lnTo>
                    <a:pt x="220" y="53"/>
                  </a:lnTo>
                  <a:lnTo>
                    <a:pt x="229" y="53"/>
                  </a:lnTo>
                  <a:lnTo>
                    <a:pt x="237" y="46"/>
                  </a:lnTo>
                  <a:lnTo>
                    <a:pt x="237" y="41"/>
                  </a:lnTo>
                  <a:lnTo>
                    <a:pt x="241" y="41"/>
                  </a:lnTo>
                  <a:lnTo>
                    <a:pt x="247" y="48"/>
                  </a:lnTo>
                  <a:lnTo>
                    <a:pt x="266" y="48"/>
                  </a:lnTo>
                  <a:lnTo>
                    <a:pt x="279" y="52"/>
                  </a:lnTo>
                  <a:lnTo>
                    <a:pt x="290" y="49"/>
                  </a:lnTo>
                  <a:lnTo>
                    <a:pt x="295" y="39"/>
                  </a:lnTo>
                  <a:lnTo>
                    <a:pt x="293" y="30"/>
                  </a:lnTo>
                  <a:lnTo>
                    <a:pt x="305" y="24"/>
                  </a:lnTo>
                  <a:lnTo>
                    <a:pt x="306" y="14"/>
                  </a:lnTo>
                  <a:lnTo>
                    <a:pt x="296" y="10"/>
                  </a:lnTo>
                  <a:lnTo>
                    <a:pt x="299" y="0"/>
                  </a:lnTo>
                  <a:lnTo>
                    <a:pt x="299" y="0"/>
                  </a:lnTo>
                  <a:close/>
                  <a:moveTo>
                    <a:pt x="12" y="112"/>
                  </a:moveTo>
                  <a:lnTo>
                    <a:pt x="11" y="119"/>
                  </a:lnTo>
                  <a:lnTo>
                    <a:pt x="17" y="125"/>
                  </a:lnTo>
                  <a:lnTo>
                    <a:pt x="22" y="126"/>
                  </a:lnTo>
                  <a:lnTo>
                    <a:pt x="23" y="130"/>
                  </a:lnTo>
                  <a:lnTo>
                    <a:pt x="21" y="131"/>
                  </a:lnTo>
                  <a:lnTo>
                    <a:pt x="14" y="128"/>
                  </a:lnTo>
                  <a:lnTo>
                    <a:pt x="6" y="120"/>
                  </a:lnTo>
                  <a:lnTo>
                    <a:pt x="5" y="118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7" y="110"/>
                  </a:lnTo>
                  <a:lnTo>
                    <a:pt x="12" y="112"/>
                  </a:lnTo>
                  <a:lnTo>
                    <a:pt x="12" y="112"/>
                  </a:lnTo>
                  <a:close/>
                  <a:moveTo>
                    <a:pt x="47" y="171"/>
                  </a:moveTo>
                  <a:lnTo>
                    <a:pt x="47" y="168"/>
                  </a:lnTo>
                  <a:lnTo>
                    <a:pt x="51" y="162"/>
                  </a:lnTo>
                  <a:lnTo>
                    <a:pt x="55" y="160"/>
                  </a:lnTo>
                  <a:lnTo>
                    <a:pt x="56" y="168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47" y="171"/>
                  </a:lnTo>
                  <a:lnTo>
                    <a:pt x="47" y="171"/>
                  </a:lnTo>
                  <a:close/>
                  <a:moveTo>
                    <a:pt x="49" y="185"/>
                  </a:moveTo>
                  <a:lnTo>
                    <a:pt x="49" y="174"/>
                  </a:lnTo>
                  <a:lnTo>
                    <a:pt x="53" y="178"/>
                  </a:lnTo>
                  <a:lnTo>
                    <a:pt x="56" y="185"/>
                  </a:lnTo>
                  <a:lnTo>
                    <a:pt x="55" y="187"/>
                  </a:lnTo>
                  <a:lnTo>
                    <a:pt x="59" y="192"/>
                  </a:lnTo>
                  <a:lnTo>
                    <a:pt x="61" y="195"/>
                  </a:lnTo>
                  <a:lnTo>
                    <a:pt x="62" y="198"/>
                  </a:lnTo>
                  <a:lnTo>
                    <a:pt x="59" y="201"/>
                  </a:lnTo>
                  <a:lnTo>
                    <a:pt x="53" y="199"/>
                  </a:lnTo>
                  <a:lnTo>
                    <a:pt x="47" y="198"/>
                  </a:lnTo>
                  <a:lnTo>
                    <a:pt x="47" y="193"/>
                  </a:lnTo>
                  <a:lnTo>
                    <a:pt x="45" y="192"/>
                  </a:lnTo>
                  <a:lnTo>
                    <a:pt x="45" y="195"/>
                  </a:lnTo>
                  <a:lnTo>
                    <a:pt x="43" y="198"/>
                  </a:lnTo>
                  <a:lnTo>
                    <a:pt x="39" y="194"/>
                  </a:lnTo>
                  <a:lnTo>
                    <a:pt x="39" y="185"/>
                  </a:lnTo>
                  <a:lnTo>
                    <a:pt x="44" y="183"/>
                  </a:lnTo>
                  <a:lnTo>
                    <a:pt x="49" y="185"/>
                  </a:lnTo>
                  <a:lnTo>
                    <a:pt x="49" y="185"/>
                  </a:lnTo>
                  <a:close/>
                  <a:moveTo>
                    <a:pt x="66" y="214"/>
                  </a:moveTo>
                  <a:lnTo>
                    <a:pt x="68" y="217"/>
                  </a:lnTo>
                  <a:lnTo>
                    <a:pt x="63" y="217"/>
                  </a:lnTo>
                  <a:lnTo>
                    <a:pt x="62" y="220"/>
                  </a:lnTo>
                  <a:lnTo>
                    <a:pt x="57" y="218"/>
                  </a:lnTo>
                  <a:lnTo>
                    <a:pt x="50" y="212"/>
                  </a:lnTo>
                  <a:lnTo>
                    <a:pt x="52" y="207"/>
                  </a:lnTo>
                  <a:lnTo>
                    <a:pt x="56" y="206"/>
                  </a:lnTo>
                  <a:lnTo>
                    <a:pt x="61" y="209"/>
                  </a:lnTo>
                  <a:lnTo>
                    <a:pt x="66" y="214"/>
                  </a:lnTo>
                  <a:lnTo>
                    <a:pt x="66" y="214"/>
                  </a:lnTo>
                  <a:close/>
                  <a:moveTo>
                    <a:pt x="351" y="305"/>
                  </a:moveTo>
                  <a:lnTo>
                    <a:pt x="350" y="303"/>
                  </a:lnTo>
                  <a:lnTo>
                    <a:pt x="352" y="299"/>
                  </a:lnTo>
                  <a:lnTo>
                    <a:pt x="352" y="303"/>
                  </a:lnTo>
                  <a:lnTo>
                    <a:pt x="351" y="305"/>
                  </a:lnTo>
                  <a:lnTo>
                    <a:pt x="351" y="305"/>
                  </a:lnTo>
                  <a:close/>
                  <a:moveTo>
                    <a:pt x="348" y="326"/>
                  </a:moveTo>
                  <a:lnTo>
                    <a:pt x="347" y="317"/>
                  </a:lnTo>
                  <a:lnTo>
                    <a:pt x="345" y="313"/>
                  </a:lnTo>
                  <a:lnTo>
                    <a:pt x="350" y="307"/>
                  </a:lnTo>
                  <a:lnTo>
                    <a:pt x="351" y="311"/>
                  </a:lnTo>
                  <a:lnTo>
                    <a:pt x="354" y="317"/>
                  </a:lnTo>
                  <a:lnTo>
                    <a:pt x="352" y="325"/>
                  </a:lnTo>
                  <a:lnTo>
                    <a:pt x="348" y="326"/>
                  </a:lnTo>
                  <a:lnTo>
                    <a:pt x="348" y="326"/>
                  </a:lnTo>
                  <a:close/>
                  <a:moveTo>
                    <a:pt x="373" y="302"/>
                  </a:moveTo>
                  <a:lnTo>
                    <a:pt x="370" y="298"/>
                  </a:lnTo>
                  <a:lnTo>
                    <a:pt x="373" y="295"/>
                  </a:lnTo>
                  <a:lnTo>
                    <a:pt x="371" y="292"/>
                  </a:lnTo>
                  <a:lnTo>
                    <a:pt x="371" y="288"/>
                  </a:lnTo>
                  <a:lnTo>
                    <a:pt x="381" y="280"/>
                  </a:lnTo>
                  <a:lnTo>
                    <a:pt x="392" y="276"/>
                  </a:lnTo>
                  <a:lnTo>
                    <a:pt x="398" y="274"/>
                  </a:lnTo>
                  <a:lnTo>
                    <a:pt x="397" y="279"/>
                  </a:lnTo>
                  <a:lnTo>
                    <a:pt x="394" y="281"/>
                  </a:lnTo>
                  <a:lnTo>
                    <a:pt x="392" y="285"/>
                  </a:lnTo>
                  <a:lnTo>
                    <a:pt x="389" y="288"/>
                  </a:lnTo>
                  <a:lnTo>
                    <a:pt x="389" y="292"/>
                  </a:lnTo>
                  <a:lnTo>
                    <a:pt x="386" y="292"/>
                  </a:lnTo>
                  <a:lnTo>
                    <a:pt x="381" y="296"/>
                  </a:lnTo>
                  <a:lnTo>
                    <a:pt x="376" y="301"/>
                  </a:lnTo>
                  <a:lnTo>
                    <a:pt x="373" y="302"/>
                  </a:lnTo>
                  <a:lnTo>
                    <a:pt x="373" y="302"/>
                  </a:lnTo>
                  <a:close/>
                  <a:moveTo>
                    <a:pt x="311" y="274"/>
                  </a:moveTo>
                  <a:lnTo>
                    <a:pt x="307" y="272"/>
                  </a:lnTo>
                  <a:lnTo>
                    <a:pt x="310" y="268"/>
                  </a:lnTo>
                  <a:lnTo>
                    <a:pt x="316" y="266"/>
                  </a:lnTo>
                  <a:lnTo>
                    <a:pt x="319" y="268"/>
                  </a:lnTo>
                  <a:lnTo>
                    <a:pt x="317" y="272"/>
                  </a:lnTo>
                  <a:lnTo>
                    <a:pt x="317" y="272"/>
                  </a:lnTo>
                  <a:lnTo>
                    <a:pt x="311" y="274"/>
                  </a:lnTo>
                  <a:lnTo>
                    <a:pt x="311" y="274"/>
                  </a:lnTo>
                  <a:close/>
                  <a:moveTo>
                    <a:pt x="310" y="215"/>
                  </a:moveTo>
                  <a:lnTo>
                    <a:pt x="318" y="210"/>
                  </a:lnTo>
                  <a:lnTo>
                    <a:pt x="323" y="210"/>
                  </a:lnTo>
                  <a:lnTo>
                    <a:pt x="329" y="214"/>
                  </a:lnTo>
                  <a:lnTo>
                    <a:pt x="330" y="212"/>
                  </a:lnTo>
                  <a:lnTo>
                    <a:pt x="333" y="212"/>
                  </a:lnTo>
                  <a:lnTo>
                    <a:pt x="334" y="216"/>
                  </a:lnTo>
                  <a:lnTo>
                    <a:pt x="329" y="218"/>
                  </a:lnTo>
                  <a:lnTo>
                    <a:pt x="327" y="221"/>
                  </a:lnTo>
                  <a:lnTo>
                    <a:pt x="322" y="221"/>
                  </a:lnTo>
                  <a:lnTo>
                    <a:pt x="318" y="217"/>
                  </a:lnTo>
                  <a:lnTo>
                    <a:pt x="313" y="217"/>
                  </a:lnTo>
                  <a:lnTo>
                    <a:pt x="308" y="218"/>
                  </a:lnTo>
                  <a:lnTo>
                    <a:pt x="310" y="215"/>
                  </a:lnTo>
                  <a:lnTo>
                    <a:pt x="310" y="215"/>
                  </a:lnTo>
                  <a:close/>
                  <a:moveTo>
                    <a:pt x="295" y="171"/>
                  </a:moveTo>
                  <a:lnTo>
                    <a:pt x="296" y="181"/>
                  </a:lnTo>
                  <a:lnTo>
                    <a:pt x="295" y="188"/>
                  </a:lnTo>
                  <a:lnTo>
                    <a:pt x="289" y="191"/>
                  </a:lnTo>
                  <a:lnTo>
                    <a:pt x="284" y="187"/>
                  </a:lnTo>
                  <a:lnTo>
                    <a:pt x="283" y="185"/>
                  </a:lnTo>
                  <a:lnTo>
                    <a:pt x="288" y="182"/>
                  </a:lnTo>
                  <a:lnTo>
                    <a:pt x="288" y="176"/>
                  </a:lnTo>
                  <a:lnTo>
                    <a:pt x="282" y="172"/>
                  </a:lnTo>
                  <a:lnTo>
                    <a:pt x="282" y="170"/>
                  </a:lnTo>
                  <a:lnTo>
                    <a:pt x="287" y="168"/>
                  </a:lnTo>
                  <a:lnTo>
                    <a:pt x="293" y="169"/>
                  </a:lnTo>
                  <a:lnTo>
                    <a:pt x="295" y="171"/>
                  </a:lnTo>
                  <a:lnTo>
                    <a:pt x="295" y="171"/>
                  </a:lnTo>
                  <a:close/>
                  <a:moveTo>
                    <a:pt x="282" y="147"/>
                  </a:moveTo>
                  <a:lnTo>
                    <a:pt x="276" y="142"/>
                  </a:lnTo>
                  <a:lnTo>
                    <a:pt x="279" y="136"/>
                  </a:lnTo>
                  <a:lnTo>
                    <a:pt x="290" y="133"/>
                  </a:lnTo>
                  <a:lnTo>
                    <a:pt x="295" y="130"/>
                  </a:lnTo>
                  <a:lnTo>
                    <a:pt x="305" y="128"/>
                  </a:lnTo>
                  <a:lnTo>
                    <a:pt x="306" y="130"/>
                  </a:lnTo>
                  <a:lnTo>
                    <a:pt x="305" y="135"/>
                  </a:lnTo>
                  <a:lnTo>
                    <a:pt x="306" y="135"/>
                  </a:lnTo>
                  <a:lnTo>
                    <a:pt x="307" y="141"/>
                  </a:lnTo>
                  <a:lnTo>
                    <a:pt x="307" y="149"/>
                  </a:lnTo>
                  <a:lnTo>
                    <a:pt x="299" y="151"/>
                  </a:lnTo>
                  <a:lnTo>
                    <a:pt x="293" y="148"/>
                  </a:lnTo>
                  <a:lnTo>
                    <a:pt x="295" y="145"/>
                  </a:lnTo>
                  <a:lnTo>
                    <a:pt x="299" y="142"/>
                  </a:lnTo>
                  <a:lnTo>
                    <a:pt x="299" y="136"/>
                  </a:lnTo>
                  <a:lnTo>
                    <a:pt x="293" y="136"/>
                  </a:lnTo>
                  <a:lnTo>
                    <a:pt x="290" y="141"/>
                  </a:lnTo>
                  <a:lnTo>
                    <a:pt x="289" y="147"/>
                  </a:lnTo>
                  <a:lnTo>
                    <a:pt x="285" y="147"/>
                  </a:lnTo>
                  <a:lnTo>
                    <a:pt x="282" y="147"/>
                  </a:lnTo>
                  <a:lnTo>
                    <a:pt x="282" y="147"/>
                  </a:lnTo>
                  <a:close/>
                  <a:moveTo>
                    <a:pt x="259" y="71"/>
                  </a:moveTo>
                  <a:lnTo>
                    <a:pt x="261" y="68"/>
                  </a:lnTo>
                  <a:lnTo>
                    <a:pt x="267" y="67"/>
                  </a:lnTo>
                  <a:lnTo>
                    <a:pt x="272" y="68"/>
                  </a:lnTo>
                  <a:lnTo>
                    <a:pt x="273" y="73"/>
                  </a:lnTo>
                  <a:lnTo>
                    <a:pt x="267" y="75"/>
                  </a:lnTo>
                  <a:lnTo>
                    <a:pt x="259" y="71"/>
                  </a:lnTo>
                  <a:lnTo>
                    <a:pt x="259" y="71"/>
                  </a:lnTo>
                  <a:close/>
                  <a:moveTo>
                    <a:pt x="240" y="93"/>
                  </a:moveTo>
                  <a:lnTo>
                    <a:pt x="247" y="93"/>
                  </a:lnTo>
                  <a:lnTo>
                    <a:pt x="250" y="95"/>
                  </a:lnTo>
                  <a:lnTo>
                    <a:pt x="254" y="91"/>
                  </a:lnTo>
                  <a:lnTo>
                    <a:pt x="259" y="94"/>
                  </a:lnTo>
                  <a:lnTo>
                    <a:pt x="254" y="99"/>
                  </a:lnTo>
                  <a:lnTo>
                    <a:pt x="253" y="107"/>
                  </a:lnTo>
                  <a:lnTo>
                    <a:pt x="247" y="105"/>
                  </a:lnTo>
                  <a:lnTo>
                    <a:pt x="243" y="106"/>
                  </a:lnTo>
                  <a:lnTo>
                    <a:pt x="240" y="102"/>
                  </a:lnTo>
                  <a:lnTo>
                    <a:pt x="237" y="96"/>
                  </a:lnTo>
                  <a:lnTo>
                    <a:pt x="240" y="93"/>
                  </a:lnTo>
                  <a:lnTo>
                    <a:pt x="240" y="93"/>
                  </a:lnTo>
                  <a:close/>
                  <a:moveTo>
                    <a:pt x="217" y="58"/>
                  </a:moveTo>
                  <a:lnTo>
                    <a:pt x="221" y="56"/>
                  </a:lnTo>
                  <a:lnTo>
                    <a:pt x="227" y="59"/>
                  </a:lnTo>
                  <a:lnTo>
                    <a:pt x="227" y="64"/>
                  </a:lnTo>
                  <a:lnTo>
                    <a:pt x="223" y="66"/>
                  </a:lnTo>
                  <a:lnTo>
                    <a:pt x="220" y="65"/>
                  </a:lnTo>
                  <a:lnTo>
                    <a:pt x="214" y="65"/>
                  </a:lnTo>
                  <a:lnTo>
                    <a:pt x="217" y="58"/>
                  </a:lnTo>
                  <a:lnTo>
                    <a:pt x="217" y="58"/>
                  </a:lnTo>
                  <a:close/>
                  <a:moveTo>
                    <a:pt x="176" y="141"/>
                  </a:moveTo>
                  <a:lnTo>
                    <a:pt x="178" y="140"/>
                  </a:lnTo>
                  <a:lnTo>
                    <a:pt x="183" y="142"/>
                  </a:lnTo>
                  <a:lnTo>
                    <a:pt x="185" y="147"/>
                  </a:lnTo>
                  <a:lnTo>
                    <a:pt x="183" y="149"/>
                  </a:lnTo>
                  <a:lnTo>
                    <a:pt x="176" y="141"/>
                  </a:lnTo>
                  <a:lnTo>
                    <a:pt x="176" y="141"/>
                  </a:lnTo>
                  <a:close/>
                  <a:moveTo>
                    <a:pt x="167" y="141"/>
                  </a:moveTo>
                  <a:lnTo>
                    <a:pt x="171" y="139"/>
                  </a:lnTo>
                  <a:lnTo>
                    <a:pt x="173" y="141"/>
                  </a:lnTo>
                  <a:lnTo>
                    <a:pt x="171" y="145"/>
                  </a:lnTo>
                  <a:lnTo>
                    <a:pt x="167" y="141"/>
                  </a:lnTo>
                  <a:lnTo>
                    <a:pt x="167" y="141"/>
                  </a:lnTo>
                  <a:close/>
                  <a:moveTo>
                    <a:pt x="219" y="151"/>
                  </a:moveTo>
                  <a:lnTo>
                    <a:pt x="223" y="149"/>
                  </a:lnTo>
                  <a:lnTo>
                    <a:pt x="226" y="153"/>
                  </a:lnTo>
                  <a:lnTo>
                    <a:pt x="231" y="154"/>
                  </a:lnTo>
                  <a:lnTo>
                    <a:pt x="232" y="162"/>
                  </a:lnTo>
                  <a:lnTo>
                    <a:pt x="229" y="163"/>
                  </a:lnTo>
                  <a:lnTo>
                    <a:pt x="226" y="158"/>
                  </a:lnTo>
                  <a:lnTo>
                    <a:pt x="224" y="158"/>
                  </a:lnTo>
                  <a:lnTo>
                    <a:pt x="219" y="151"/>
                  </a:lnTo>
                  <a:lnTo>
                    <a:pt x="219" y="151"/>
                  </a:lnTo>
                  <a:close/>
                  <a:moveTo>
                    <a:pt x="294" y="229"/>
                  </a:moveTo>
                  <a:lnTo>
                    <a:pt x="292" y="226"/>
                  </a:lnTo>
                  <a:lnTo>
                    <a:pt x="293" y="222"/>
                  </a:lnTo>
                  <a:lnTo>
                    <a:pt x="302" y="220"/>
                  </a:lnTo>
                  <a:lnTo>
                    <a:pt x="301" y="224"/>
                  </a:lnTo>
                  <a:lnTo>
                    <a:pt x="294" y="229"/>
                  </a:lnTo>
                  <a:lnTo>
                    <a:pt x="294" y="229"/>
                  </a:lnTo>
                  <a:close/>
                  <a:moveTo>
                    <a:pt x="219" y="272"/>
                  </a:moveTo>
                  <a:lnTo>
                    <a:pt x="223" y="266"/>
                  </a:lnTo>
                  <a:lnTo>
                    <a:pt x="229" y="266"/>
                  </a:lnTo>
                  <a:lnTo>
                    <a:pt x="227" y="270"/>
                  </a:lnTo>
                  <a:lnTo>
                    <a:pt x="223" y="272"/>
                  </a:lnTo>
                  <a:lnTo>
                    <a:pt x="219" y="272"/>
                  </a:lnTo>
                  <a:lnTo>
                    <a:pt x="219" y="272"/>
                  </a:lnTo>
                  <a:close/>
                  <a:moveTo>
                    <a:pt x="223" y="246"/>
                  </a:moveTo>
                  <a:lnTo>
                    <a:pt x="226" y="243"/>
                  </a:lnTo>
                  <a:lnTo>
                    <a:pt x="226" y="249"/>
                  </a:lnTo>
                  <a:lnTo>
                    <a:pt x="223" y="246"/>
                  </a:lnTo>
                  <a:lnTo>
                    <a:pt x="223" y="246"/>
                  </a:lnTo>
                  <a:close/>
                  <a:moveTo>
                    <a:pt x="220" y="238"/>
                  </a:moveTo>
                  <a:lnTo>
                    <a:pt x="220" y="232"/>
                  </a:lnTo>
                  <a:lnTo>
                    <a:pt x="225" y="232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0" y="238"/>
                  </a:lnTo>
                  <a:lnTo>
                    <a:pt x="220" y="238"/>
                  </a:lnTo>
                  <a:close/>
                  <a:moveTo>
                    <a:pt x="217" y="228"/>
                  </a:moveTo>
                  <a:lnTo>
                    <a:pt x="214" y="226"/>
                  </a:lnTo>
                  <a:lnTo>
                    <a:pt x="218" y="222"/>
                  </a:lnTo>
                  <a:lnTo>
                    <a:pt x="220" y="227"/>
                  </a:lnTo>
                  <a:lnTo>
                    <a:pt x="217" y="228"/>
                  </a:lnTo>
                  <a:lnTo>
                    <a:pt x="217" y="228"/>
                  </a:lnTo>
                  <a:close/>
                  <a:moveTo>
                    <a:pt x="258" y="253"/>
                  </a:moveTo>
                  <a:lnTo>
                    <a:pt x="254" y="250"/>
                  </a:lnTo>
                  <a:lnTo>
                    <a:pt x="255" y="244"/>
                  </a:lnTo>
                  <a:lnTo>
                    <a:pt x="260" y="244"/>
                  </a:lnTo>
                  <a:lnTo>
                    <a:pt x="261" y="247"/>
                  </a:lnTo>
                  <a:lnTo>
                    <a:pt x="258" y="253"/>
                  </a:lnTo>
                  <a:lnTo>
                    <a:pt x="258" y="253"/>
                  </a:lnTo>
                  <a:close/>
                  <a:moveTo>
                    <a:pt x="269" y="251"/>
                  </a:moveTo>
                  <a:lnTo>
                    <a:pt x="265" y="246"/>
                  </a:lnTo>
                  <a:lnTo>
                    <a:pt x="272" y="241"/>
                  </a:lnTo>
                  <a:lnTo>
                    <a:pt x="276" y="243"/>
                  </a:lnTo>
                  <a:lnTo>
                    <a:pt x="277" y="246"/>
                  </a:lnTo>
                  <a:lnTo>
                    <a:pt x="273" y="251"/>
                  </a:lnTo>
                  <a:lnTo>
                    <a:pt x="269" y="251"/>
                  </a:lnTo>
                  <a:lnTo>
                    <a:pt x="269" y="251"/>
                  </a:lnTo>
                  <a:close/>
                  <a:moveTo>
                    <a:pt x="266" y="233"/>
                  </a:moveTo>
                  <a:lnTo>
                    <a:pt x="266" y="229"/>
                  </a:lnTo>
                  <a:lnTo>
                    <a:pt x="270" y="230"/>
                  </a:lnTo>
                  <a:lnTo>
                    <a:pt x="266" y="233"/>
                  </a:lnTo>
                  <a:lnTo>
                    <a:pt x="266" y="233"/>
                  </a:lnTo>
                  <a:close/>
                  <a:moveTo>
                    <a:pt x="253" y="223"/>
                  </a:moveTo>
                  <a:lnTo>
                    <a:pt x="258" y="221"/>
                  </a:lnTo>
                  <a:lnTo>
                    <a:pt x="261" y="224"/>
                  </a:lnTo>
                  <a:lnTo>
                    <a:pt x="261" y="229"/>
                  </a:lnTo>
                  <a:lnTo>
                    <a:pt x="256" y="227"/>
                  </a:lnTo>
                  <a:lnTo>
                    <a:pt x="253" y="223"/>
                  </a:lnTo>
                  <a:lnTo>
                    <a:pt x="253" y="223"/>
                  </a:lnTo>
                  <a:close/>
                  <a:moveTo>
                    <a:pt x="232" y="206"/>
                  </a:moveTo>
                  <a:lnTo>
                    <a:pt x="237" y="206"/>
                  </a:lnTo>
                  <a:lnTo>
                    <a:pt x="241" y="211"/>
                  </a:lnTo>
                  <a:lnTo>
                    <a:pt x="248" y="217"/>
                  </a:lnTo>
                  <a:lnTo>
                    <a:pt x="248" y="222"/>
                  </a:lnTo>
                  <a:lnTo>
                    <a:pt x="244" y="222"/>
                  </a:lnTo>
                  <a:lnTo>
                    <a:pt x="235" y="214"/>
                  </a:lnTo>
                  <a:lnTo>
                    <a:pt x="230" y="210"/>
                  </a:lnTo>
                  <a:lnTo>
                    <a:pt x="232" y="206"/>
                  </a:lnTo>
                  <a:lnTo>
                    <a:pt x="232" y="206"/>
                  </a:lnTo>
                  <a:close/>
                  <a:moveTo>
                    <a:pt x="146" y="156"/>
                  </a:moveTo>
                  <a:lnTo>
                    <a:pt x="154" y="151"/>
                  </a:lnTo>
                  <a:lnTo>
                    <a:pt x="165" y="149"/>
                  </a:lnTo>
                  <a:lnTo>
                    <a:pt x="172" y="156"/>
                  </a:lnTo>
                  <a:lnTo>
                    <a:pt x="180" y="159"/>
                  </a:lnTo>
                  <a:lnTo>
                    <a:pt x="188" y="163"/>
                  </a:lnTo>
                  <a:lnTo>
                    <a:pt x="189" y="164"/>
                  </a:lnTo>
                  <a:lnTo>
                    <a:pt x="195" y="164"/>
                  </a:lnTo>
                  <a:lnTo>
                    <a:pt x="196" y="163"/>
                  </a:lnTo>
                  <a:lnTo>
                    <a:pt x="207" y="172"/>
                  </a:lnTo>
                  <a:lnTo>
                    <a:pt x="211" y="180"/>
                  </a:lnTo>
                  <a:lnTo>
                    <a:pt x="211" y="183"/>
                  </a:lnTo>
                  <a:lnTo>
                    <a:pt x="212" y="187"/>
                  </a:lnTo>
                  <a:lnTo>
                    <a:pt x="211" y="193"/>
                  </a:lnTo>
                  <a:lnTo>
                    <a:pt x="217" y="199"/>
                  </a:lnTo>
                  <a:lnTo>
                    <a:pt x="220" y="197"/>
                  </a:lnTo>
                  <a:lnTo>
                    <a:pt x="227" y="198"/>
                  </a:lnTo>
                  <a:lnTo>
                    <a:pt x="225" y="206"/>
                  </a:lnTo>
                  <a:lnTo>
                    <a:pt x="220" y="204"/>
                  </a:lnTo>
                  <a:lnTo>
                    <a:pt x="217" y="206"/>
                  </a:lnTo>
                  <a:lnTo>
                    <a:pt x="209" y="201"/>
                  </a:lnTo>
                  <a:lnTo>
                    <a:pt x="207" y="198"/>
                  </a:lnTo>
                  <a:lnTo>
                    <a:pt x="208" y="193"/>
                  </a:lnTo>
                  <a:lnTo>
                    <a:pt x="205" y="189"/>
                  </a:lnTo>
                  <a:lnTo>
                    <a:pt x="198" y="182"/>
                  </a:lnTo>
                  <a:lnTo>
                    <a:pt x="196" y="178"/>
                  </a:lnTo>
                  <a:lnTo>
                    <a:pt x="190" y="178"/>
                  </a:lnTo>
                  <a:lnTo>
                    <a:pt x="182" y="175"/>
                  </a:lnTo>
                  <a:lnTo>
                    <a:pt x="178" y="170"/>
                  </a:lnTo>
                  <a:lnTo>
                    <a:pt x="173" y="169"/>
                  </a:lnTo>
                  <a:lnTo>
                    <a:pt x="169" y="164"/>
                  </a:lnTo>
                  <a:lnTo>
                    <a:pt x="165" y="163"/>
                  </a:lnTo>
                  <a:lnTo>
                    <a:pt x="163" y="159"/>
                  </a:lnTo>
                  <a:lnTo>
                    <a:pt x="159" y="157"/>
                  </a:lnTo>
                  <a:lnTo>
                    <a:pt x="151" y="157"/>
                  </a:lnTo>
                  <a:lnTo>
                    <a:pt x="146" y="156"/>
                  </a:lnTo>
                  <a:lnTo>
                    <a:pt x="146" y="156"/>
                  </a:lnTo>
                  <a:close/>
                  <a:moveTo>
                    <a:pt x="160" y="279"/>
                  </a:moveTo>
                  <a:lnTo>
                    <a:pt x="161" y="278"/>
                  </a:lnTo>
                  <a:lnTo>
                    <a:pt x="163" y="282"/>
                  </a:lnTo>
                  <a:lnTo>
                    <a:pt x="167" y="288"/>
                  </a:lnTo>
                  <a:lnTo>
                    <a:pt x="165" y="295"/>
                  </a:lnTo>
                  <a:lnTo>
                    <a:pt x="160" y="292"/>
                  </a:lnTo>
                  <a:lnTo>
                    <a:pt x="160" y="287"/>
                  </a:lnTo>
                  <a:lnTo>
                    <a:pt x="157" y="284"/>
                  </a:lnTo>
                  <a:lnTo>
                    <a:pt x="160" y="279"/>
                  </a:lnTo>
                  <a:lnTo>
                    <a:pt x="160" y="279"/>
                  </a:lnTo>
                  <a:close/>
                  <a:moveTo>
                    <a:pt x="160" y="272"/>
                  </a:moveTo>
                  <a:lnTo>
                    <a:pt x="162" y="275"/>
                  </a:lnTo>
                  <a:lnTo>
                    <a:pt x="159" y="275"/>
                  </a:lnTo>
                  <a:lnTo>
                    <a:pt x="160" y="2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5" name="Freeform 46"/>
            <p:cNvSpPr>
              <a:spLocks noEditPoints="1"/>
            </p:cNvSpPr>
            <p:nvPr/>
          </p:nvSpPr>
          <p:spPr bwMode="auto">
            <a:xfrm>
              <a:off x="4884738" y="3473450"/>
              <a:ext cx="1355725" cy="492125"/>
            </a:xfrm>
            <a:custGeom>
              <a:avLst/>
              <a:gdLst/>
              <a:ahLst/>
              <a:cxnLst>
                <a:cxn ang="0">
                  <a:pos x="40" y="31"/>
                </a:cxn>
                <a:cxn ang="0">
                  <a:pos x="65" y="2"/>
                </a:cxn>
                <a:cxn ang="0">
                  <a:pos x="120" y="36"/>
                </a:cxn>
                <a:cxn ang="0">
                  <a:pos x="115" y="59"/>
                </a:cxn>
                <a:cxn ang="0">
                  <a:pos x="46" y="88"/>
                </a:cxn>
                <a:cxn ang="0">
                  <a:pos x="36" y="79"/>
                </a:cxn>
                <a:cxn ang="0">
                  <a:pos x="13" y="69"/>
                </a:cxn>
                <a:cxn ang="0">
                  <a:pos x="650" y="50"/>
                </a:cxn>
                <a:cxn ang="0">
                  <a:pos x="597" y="47"/>
                </a:cxn>
                <a:cxn ang="0">
                  <a:pos x="520" y="52"/>
                </a:cxn>
                <a:cxn ang="0">
                  <a:pos x="461" y="37"/>
                </a:cxn>
                <a:cxn ang="0">
                  <a:pos x="423" y="20"/>
                </a:cxn>
                <a:cxn ang="0">
                  <a:pos x="372" y="6"/>
                </a:cxn>
                <a:cxn ang="0">
                  <a:pos x="291" y="15"/>
                </a:cxn>
                <a:cxn ang="0">
                  <a:pos x="246" y="46"/>
                </a:cxn>
                <a:cxn ang="0">
                  <a:pos x="189" y="49"/>
                </a:cxn>
                <a:cxn ang="0">
                  <a:pos x="152" y="70"/>
                </a:cxn>
                <a:cxn ang="0">
                  <a:pos x="133" y="88"/>
                </a:cxn>
                <a:cxn ang="0">
                  <a:pos x="111" y="92"/>
                </a:cxn>
                <a:cxn ang="0">
                  <a:pos x="62" y="89"/>
                </a:cxn>
                <a:cxn ang="0">
                  <a:pos x="27" y="133"/>
                </a:cxn>
                <a:cxn ang="0">
                  <a:pos x="63" y="137"/>
                </a:cxn>
                <a:cxn ang="0">
                  <a:pos x="59" y="170"/>
                </a:cxn>
                <a:cxn ang="0">
                  <a:pos x="63" y="183"/>
                </a:cxn>
                <a:cxn ang="0">
                  <a:pos x="38" y="189"/>
                </a:cxn>
                <a:cxn ang="0">
                  <a:pos x="56" y="215"/>
                </a:cxn>
                <a:cxn ang="0">
                  <a:pos x="75" y="245"/>
                </a:cxn>
                <a:cxn ang="0">
                  <a:pos x="85" y="268"/>
                </a:cxn>
                <a:cxn ang="0">
                  <a:pos x="88" y="275"/>
                </a:cxn>
                <a:cxn ang="0">
                  <a:pos x="113" y="283"/>
                </a:cxn>
                <a:cxn ang="0">
                  <a:pos x="144" y="276"/>
                </a:cxn>
                <a:cxn ang="0">
                  <a:pos x="163" y="289"/>
                </a:cxn>
                <a:cxn ang="0">
                  <a:pos x="204" y="298"/>
                </a:cxn>
                <a:cxn ang="0">
                  <a:pos x="233" y="281"/>
                </a:cxn>
                <a:cxn ang="0">
                  <a:pos x="312" y="299"/>
                </a:cxn>
                <a:cxn ang="0">
                  <a:pos x="391" y="295"/>
                </a:cxn>
                <a:cxn ang="0">
                  <a:pos x="462" y="275"/>
                </a:cxn>
                <a:cxn ang="0">
                  <a:pos x="467" y="290"/>
                </a:cxn>
                <a:cxn ang="0">
                  <a:pos x="501" y="305"/>
                </a:cxn>
                <a:cxn ang="0">
                  <a:pos x="530" y="275"/>
                </a:cxn>
                <a:cxn ang="0">
                  <a:pos x="601" y="267"/>
                </a:cxn>
                <a:cxn ang="0">
                  <a:pos x="673" y="252"/>
                </a:cxn>
                <a:cxn ang="0">
                  <a:pos x="752" y="249"/>
                </a:cxn>
                <a:cxn ang="0">
                  <a:pos x="827" y="237"/>
                </a:cxn>
                <a:cxn ang="0">
                  <a:pos x="849" y="232"/>
                </a:cxn>
                <a:cxn ang="0">
                  <a:pos x="831" y="177"/>
                </a:cxn>
                <a:cxn ang="0">
                  <a:pos x="811" y="129"/>
                </a:cxn>
                <a:cxn ang="0">
                  <a:pos x="811" y="99"/>
                </a:cxn>
                <a:cxn ang="0">
                  <a:pos x="773" y="52"/>
                </a:cxn>
                <a:cxn ang="0">
                  <a:pos x="723" y="25"/>
                </a:cxn>
                <a:cxn ang="0">
                  <a:pos x="688" y="18"/>
                </a:cxn>
                <a:cxn ang="0">
                  <a:pos x="105" y="287"/>
                </a:cxn>
                <a:cxn ang="0">
                  <a:pos x="18" y="96"/>
                </a:cxn>
              </a:cxnLst>
              <a:rect l="0" t="0" r="r" b="b"/>
              <a:pathLst>
                <a:path w="854" h="310">
                  <a:moveTo>
                    <a:pt x="13" y="69"/>
                  </a:moveTo>
                  <a:lnTo>
                    <a:pt x="24" y="66"/>
                  </a:lnTo>
                  <a:lnTo>
                    <a:pt x="29" y="56"/>
                  </a:lnTo>
                  <a:lnTo>
                    <a:pt x="27" y="47"/>
                  </a:lnTo>
                  <a:lnTo>
                    <a:pt x="39" y="41"/>
                  </a:lnTo>
                  <a:lnTo>
                    <a:pt x="40" y="31"/>
                  </a:lnTo>
                  <a:lnTo>
                    <a:pt x="30" y="27"/>
                  </a:lnTo>
                  <a:lnTo>
                    <a:pt x="33" y="15"/>
                  </a:lnTo>
                  <a:lnTo>
                    <a:pt x="40" y="8"/>
                  </a:lnTo>
                  <a:lnTo>
                    <a:pt x="47" y="8"/>
                  </a:lnTo>
                  <a:lnTo>
                    <a:pt x="52" y="2"/>
                  </a:lnTo>
                  <a:lnTo>
                    <a:pt x="65" y="2"/>
                  </a:lnTo>
                  <a:lnTo>
                    <a:pt x="79" y="12"/>
                  </a:lnTo>
                  <a:lnTo>
                    <a:pt x="85" y="7"/>
                  </a:lnTo>
                  <a:lnTo>
                    <a:pt x="96" y="9"/>
                  </a:lnTo>
                  <a:lnTo>
                    <a:pt x="97" y="24"/>
                  </a:lnTo>
                  <a:lnTo>
                    <a:pt x="110" y="35"/>
                  </a:lnTo>
                  <a:lnTo>
                    <a:pt x="120" y="36"/>
                  </a:lnTo>
                  <a:lnTo>
                    <a:pt x="131" y="46"/>
                  </a:lnTo>
                  <a:lnTo>
                    <a:pt x="140" y="50"/>
                  </a:lnTo>
                  <a:lnTo>
                    <a:pt x="140" y="55"/>
                  </a:lnTo>
                  <a:lnTo>
                    <a:pt x="132" y="63"/>
                  </a:lnTo>
                  <a:lnTo>
                    <a:pt x="121" y="63"/>
                  </a:lnTo>
                  <a:lnTo>
                    <a:pt x="115" y="59"/>
                  </a:lnTo>
                  <a:lnTo>
                    <a:pt x="104" y="59"/>
                  </a:lnTo>
                  <a:lnTo>
                    <a:pt x="99" y="63"/>
                  </a:lnTo>
                  <a:lnTo>
                    <a:pt x="85" y="63"/>
                  </a:lnTo>
                  <a:lnTo>
                    <a:pt x="75" y="65"/>
                  </a:lnTo>
                  <a:lnTo>
                    <a:pt x="70" y="77"/>
                  </a:lnTo>
                  <a:lnTo>
                    <a:pt x="46" y="88"/>
                  </a:lnTo>
                  <a:lnTo>
                    <a:pt x="27" y="102"/>
                  </a:lnTo>
                  <a:lnTo>
                    <a:pt x="27" y="96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5" y="79"/>
                  </a:lnTo>
                  <a:lnTo>
                    <a:pt x="36" y="79"/>
                  </a:lnTo>
                  <a:lnTo>
                    <a:pt x="30" y="78"/>
                  </a:lnTo>
                  <a:lnTo>
                    <a:pt x="26" y="79"/>
                  </a:lnTo>
                  <a:lnTo>
                    <a:pt x="18" y="76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9"/>
                  </a:lnTo>
                  <a:close/>
                  <a:moveTo>
                    <a:pt x="688" y="18"/>
                  </a:moveTo>
                  <a:lnTo>
                    <a:pt x="686" y="20"/>
                  </a:lnTo>
                  <a:lnTo>
                    <a:pt x="679" y="31"/>
                  </a:lnTo>
                  <a:lnTo>
                    <a:pt x="669" y="37"/>
                  </a:lnTo>
                  <a:lnTo>
                    <a:pt x="653" y="44"/>
                  </a:lnTo>
                  <a:lnTo>
                    <a:pt x="650" y="50"/>
                  </a:lnTo>
                  <a:lnTo>
                    <a:pt x="636" y="52"/>
                  </a:lnTo>
                  <a:lnTo>
                    <a:pt x="631" y="55"/>
                  </a:lnTo>
                  <a:lnTo>
                    <a:pt x="612" y="52"/>
                  </a:lnTo>
                  <a:lnTo>
                    <a:pt x="607" y="48"/>
                  </a:lnTo>
                  <a:lnTo>
                    <a:pt x="600" y="48"/>
                  </a:lnTo>
                  <a:lnTo>
                    <a:pt x="597" y="47"/>
                  </a:lnTo>
                  <a:lnTo>
                    <a:pt x="588" y="49"/>
                  </a:lnTo>
                  <a:lnTo>
                    <a:pt x="571" y="50"/>
                  </a:lnTo>
                  <a:lnTo>
                    <a:pt x="551" y="58"/>
                  </a:lnTo>
                  <a:lnTo>
                    <a:pt x="536" y="55"/>
                  </a:lnTo>
                  <a:lnTo>
                    <a:pt x="526" y="48"/>
                  </a:lnTo>
                  <a:lnTo>
                    <a:pt x="520" y="52"/>
                  </a:lnTo>
                  <a:lnTo>
                    <a:pt x="502" y="44"/>
                  </a:lnTo>
                  <a:lnTo>
                    <a:pt x="493" y="42"/>
                  </a:lnTo>
                  <a:lnTo>
                    <a:pt x="478" y="32"/>
                  </a:lnTo>
                  <a:lnTo>
                    <a:pt x="473" y="32"/>
                  </a:lnTo>
                  <a:lnTo>
                    <a:pt x="468" y="38"/>
                  </a:lnTo>
                  <a:lnTo>
                    <a:pt x="461" y="37"/>
                  </a:lnTo>
                  <a:lnTo>
                    <a:pt x="452" y="26"/>
                  </a:lnTo>
                  <a:lnTo>
                    <a:pt x="451" y="17"/>
                  </a:lnTo>
                  <a:lnTo>
                    <a:pt x="444" y="11"/>
                  </a:lnTo>
                  <a:lnTo>
                    <a:pt x="438" y="12"/>
                  </a:lnTo>
                  <a:lnTo>
                    <a:pt x="427" y="23"/>
                  </a:lnTo>
                  <a:lnTo>
                    <a:pt x="423" y="20"/>
                  </a:lnTo>
                  <a:lnTo>
                    <a:pt x="420" y="23"/>
                  </a:lnTo>
                  <a:lnTo>
                    <a:pt x="403" y="9"/>
                  </a:lnTo>
                  <a:lnTo>
                    <a:pt x="401" y="1"/>
                  </a:lnTo>
                  <a:lnTo>
                    <a:pt x="398" y="0"/>
                  </a:lnTo>
                  <a:lnTo>
                    <a:pt x="387" y="6"/>
                  </a:lnTo>
                  <a:lnTo>
                    <a:pt x="372" y="6"/>
                  </a:lnTo>
                  <a:lnTo>
                    <a:pt x="365" y="3"/>
                  </a:lnTo>
                  <a:lnTo>
                    <a:pt x="357" y="6"/>
                  </a:lnTo>
                  <a:lnTo>
                    <a:pt x="334" y="4"/>
                  </a:lnTo>
                  <a:lnTo>
                    <a:pt x="323" y="7"/>
                  </a:lnTo>
                  <a:lnTo>
                    <a:pt x="301" y="15"/>
                  </a:lnTo>
                  <a:lnTo>
                    <a:pt x="291" y="15"/>
                  </a:lnTo>
                  <a:lnTo>
                    <a:pt x="275" y="19"/>
                  </a:lnTo>
                  <a:lnTo>
                    <a:pt x="270" y="25"/>
                  </a:lnTo>
                  <a:lnTo>
                    <a:pt x="262" y="26"/>
                  </a:lnTo>
                  <a:lnTo>
                    <a:pt x="254" y="34"/>
                  </a:lnTo>
                  <a:lnTo>
                    <a:pt x="250" y="36"/>
                  </a:lnTo>
                  <a:lnTo>
                    <a:pt x="246" y="46"/>
                  </a:lnTo>
                  <a:lnTo>
                    <a:pt x="242" y="48"/>
                  </a:lnTo>
                  <a:lnTo>
                    <a:pt x="242" y="53"/>
                  </a:lnTo>
                  <a:lnTo>
                    <a:pt x="226" y="54"/>
                  </a:lnTo>
                  <a:lnTo>
                    <a:pt x="201" y="46"/>
                  </a:lnTo>
                  <a:lnTo>
                    <a:pt x="194" y="46"/>
                  </a:lnTo>
                  <a:lnTo>
                    <a:pt x="189" y="49"/>
                  </a:lnTo>
                  <a:lnTo>
                    <a:pt x="178" y="48"/>
                  </a:lnTo>
                  <a:lnTo>
                    <a:pt x="165" y="50"/>
                  </a:lnTo>
                  <a:lnTo>
                    <a:pt x="157" y="48"/>
                  </a:lnTo>
                  <a:lnTo>
                    <a:pt x="145" y="52"/>
                  </a:lnTo>
                  <a:lnTo>
                    <a:pt x="144" y="56"/>
                  </a:lnTo>
                  <a:lnTo>
                    <a:pt x="152" y="70"/>
                  </a:lnTo>
                  <a:lnTo>
                    <a:pt x="165" y="70"/>
                  </a:lnTo>
                  <a:lnTo>
                    <a:pt x="175" y="71"/>
                  </a:lnTo>
                  <a:lnTo>
                    <a:pt x="174" y="76"/>
                  </a:lnTo>
                  <a:lnTo>
                    <a:pt x="155" y="76"/>
                  </a:lnTo>
                  <a:lnTo>
                    <a:pt x="139" y="81"/>
                  </a:lnTo>
                  <a:lnTo>
                    <a:pt x="133" y="88"/>
                  </a:lnTo>
                  <a:lnTo>
                    <a:pt x="136" y="92"/>
                  </a:lnTo>
                  <a:lnTo>
                    <a:pt x="145" y="89"/>
                  </a:lnTo>
                  <a:lnTo>
                    <a:pt x="148" y="94"/>
                  </a:lnTo>
                  <a:lnTo>
                    <a:pt x="142" y="96"/>
                  </a:lnTo>
                  <a:lnTo>
                    <a:pt x="120" y="96"/>
                  </a:lnTo>
                  <a:lnTo>
                    <a:pt x="111" y="92"/>
                  </a:lnTo>
                  <a:lnTo>
                    <a:pt x="100" y="96"/>
                  </a:lnTo>
                  <a:lnTo>
                    <a:pt x="96" y="89"/>
                  </a:lnTo>
                  <a:lnTo>
                    <a:pt x="90" y="89"/>
                  </a:lnTo>
                  <a:lnTo>
                    <a:pt x="81" y="98"/>
                  </a:lnTo>
                  <a:lnTo>
                    <a:pt x="74" y="98"/>
                  </a:lnTo>
                  <a:lnTo>
                    <a:pt x="62" y="89"/>
                  </a:lnTo>
                  <a:lnTo>
                    <a:pt x="51" y="89"/>
                  </a:lnTo>
                  <a:lnTo>
                    <a:pt x="30" y="104"/>
                  </a:lnTo>
                  <a:lnTo>
                    <a:pt x="28" y="112"/>
                  </a:lnTo>
                  <a:lnTo>
                    <a:pt x="24" y="119"/>
                  </a:lnTo>
                  <a:lnTo>
                    <a:pt x="28" y="124"/>
                  </a:lnTo>
                  <a:lnTo>
                    <a:pt x="27" y="133"/>
                  </a:lnTo>
                  <a:lnTo>
                    <a:pt x="24" y="136"/>
                  </a:lnTo>
                  <a:lnTo>
                    <a:pt x="27" y="141"/>
                  </a:lnTo>
                  <a:lnTo>
                    <a:pt x="39" y="137"/>
                  </a:lnTo>
                  <a:lnTo>
                    <a:pt x="42" y="139"/>
                  </a:lnTo>
                  <a:lnTo>
                    <a:pt x="52" y="136"/>
                  </a:lnTo>
                  <a:lnTo>
                    <a:pt x="63" y="137"/>
                  </a:lnTo>
                  <a:lnTo>
                    <a:pt x="52" y="146"/>
                  </a:lnTo>
                  <a:lnTo>
                    <a:pt x="53" y="152"/>
                  </a:lnTo>
                  <a:lnTo>
                    <a:pt x="58" y="159"/>
                  </a:lnTo>
                  <a:lnTo>
                    <a:pt x="58" y="164"/>
                  </a:lnTo>
                  <a:lnTo>
                    <a:pt x="57" y="168"/>
                  </a:lnTo>
                  <a:lnTo>
                    <a:pt x="59" y="170"/>
                  </a:lnTo>
                  <a:lnTo>
                    <a:pt x="68" y="165"/>
                  </a:lnTo>
                  <a:lnTo>
                    <a:pt x="69" y="169"/>
                  </a:lnTo>
                  <a:lnTo>
                    <a:pt x="63" y="174"/>
                  </a:lnTo>
                  <a:lnTo>
                    <a:pt x="52" y="181"/>
                  </a:lnTo>
                  <a:lnTo>
                    <a:pt x="56" y="183"/>
                  </a:lnTo>
                  <a:lnTo>
                    <a:pt x="63" y="183"/>
                  </a:lnTo>
                  <a:lnTo>
                    <a:pt x="56" y="187"/>
                  </a:lnTo>
                  <a:lnTo>
                    <a:pt x="52" y="194"/>
                  </a:lnTo>
                  <a:lnTo>
                    <a:pt x="47" y="194"/>
                  </a:lnTo>
                  <a:lnTo>
                    <a:pt x="42" y="183"/>
                  </a:lnTo>
                  <a:lnTo>
                    <a:pt x="39" y="182"/>
                  </a:lnTo>
                  <a:lnTo>
                    <a:pt x="38" y="189"/>
                  </a:lnTo>
                  <a:lnTo>
                    <a:pt x="40" y="197"/>
                  </a:lnTo>
                  <a:lnTo>
                    <a:pt x="36" y="202"/>
                  </a:lnTo>
                  <a:lnTo>
                    <a:pt x="38" y="206"/>
                  </a:lnTo>
                  <a:lnTo>
                    <a:pt x="45" y="211"/>
                  </a:lnTo>
                  <a:lnTo>
                    <a:pt x="47" y="208"/>
                  </a:lnTo>
                  <a:lnTo>
                    <a:pt x="56" y="215"/>
                  </a:lnTo>
                  <a:lnTo>
                    <a:pt x="63" y="214"/>
                  </a:lnTo>
                  <a:lnTo>
                    <a:pt x="74" y="220"/>
                  </a:lnTo>
                  <a:lnTo>
                    <a:pt x="76" y="229"/>
                  </a:lnTo>
                  <a:lnTo>
                    <a:pt x="69" y="235"/>
                  </a:lnTo>
                  <a:lnTo>
                    <a:pt x="75" y="240"/>
                  </a:lnTo>
                  <a:lnTo>
                    <a:pt x="75" y="245"/>
                  </a:lnTo>
                  <a:lnTo>
                    <a:pt x="81" y="246"/>
                  </a:lnTo>
                  <a:lnTo>
                    <a:pt x="92" y="256"/>
                  </a:lnTo>
                  <a:lnTo>
                    <a:pt x="88" y="262"/>
                  </a:lnTo>
                  <a:lnTo>
                    <a:pt x="81" y="261"/>
                  </a:lnTo>
                  <a:lnTo>
                    <a:pt x="80" y="266"/>
                  </a:lnTo>
                  <a:lnTo>
                    <a:pt x="85" y="268"/>
                  </a:lnTo>
                  <a:lnTo>
                    <a:pt x="99" y="264"/>
                  </a:lnTo>
                  <a:lnTo>
                    <a:pt x="119" y="264"/>
                  </a:lnTo>
                  <a:lnTo>
                    <a:pt x="117" y="268"/>
                  </a:lnTo>
                  <a:lnTo>
                    <a:pt x="113" y="272"/>
                  </a:lnTo>
                  <a:lnTo>
                    <a:pt x="103" y="276"/>
                  </a:lnTo>
                  <a:lnTo>
                    <a:pt x="88" y="275"/>
                  </a:lnTo>
                  <a:lnTo>
                    <a:pt x="85" y="280"/>
                  </a:lnTo>
                  <a:lnTo>
                    <a:pt x="90" y="281"/>
                  </a:lnTo>
                  <a:lnTo>
                    <a:pt x="98" y="279"/>
                  </a:lnTo>
                  <a:lnTo>
                    <a:pt x="108" y="279"/>
                  </a:lnTo>
                  <a:lnTo>
                    <a:pt x="113" y="276"/>
                  </a:lnTo>
                  <a:lnTo>
                    <a:pt x="113" y="283"/>
                  </a:lnTo>
                  <a:lnTo>
                    <a:pt x="115" y="285"/>
                  </a:lnTo>
                  <a:lnTo>
                    <a:pt x="121" y="279"/>
                  </a:lnTo>
                  <a:lnTo>
                    <a:pt x="127" y="273"/>
                  </a:lnTo>
                  <a:lnTo>
                    <a:pt x="133" y="272"/>
                  </a:lnTo>
                  <a:lnTo>
                    <a:pt x="138" y="276"/>
                  </a:lnTo>
                  <a:lnTo>
                    <a:pt x="144" y="276"/>
                  </a:lnTo>
                  <a:lnTo>
                    <a:pt x="152" y="281"/>
                  </a:lnTo>
                  <a:lnTo>
                    <a:pt x="157" y="276"/>
                  </a:lnTo>
                  <a:lnTo>
                    <a:pt x="163" y="278"/>
                  </a:lnTo>
                  <a:lnTo>
                    <a:pt x="163" y="281"/>
                  </a:lnTo>
                  <a:lnTo>
                    <a:pt x="160" y="284"/>
                  </a:lnTo>
                  <a:lnTo>
                    <a:pt x="163" y="289"/>
                  </a:lnTo>
                  <a:lnTo>
                    <a:pt x="165" y="295"/>
                  </a:lnTo>
                  <a:lnTo>
                    <a:pt x="174" y="302"/>
                  </a:lnTo>
                  <a:lnTo>
                    <a:pt x="178" y="301"/>
                  </a:lnTo>
                  <a:lnTo>
                    <a:pt x="189" y="304"/>
                  </a:lnTo>
                  <a:lnTo>
                    <a:pt x="200" y="302"/>
                  </a:lnTo>
                  <a:lnTo>
                    <a:pt x="204" y="298"/>
                  </a:lnTo>
                  <a:lnTo>
                    <a:pt x="213" y="298"/>
                  </a:lnTo>
                  <a:lnTo>
                    <a:pt x="219" y="295"/>
                  </a:lnTo>
                  <a:lnTo>
                    <a:pt x="226" y="298"/>
                  </a:lnTo>
                  <a:lnTo>
                    <a:pt x="232" y="296"/>
                  </a:lnTo>
                  <a:lnTo>
                    <a:pt x="231" y="286"/>
                  </a:lnTo>
                  <a:lnTo>
                    <a:pt x="233" y="281"/>
                  </a:lnTo>
                  <a:lnTo>
                    <a:pt x="231" y="272"/>
                  </a:lnTo>
                  <a:lnTo>
                    <a:pt x="250" y="270"/>
                  </a:lnTo>
                  <a:lnTo>
                    <a:pt x="267" y="272"/>
                  </a:lnTo>
                  <a:lnTo>
                    <a:pt x="290" y="281"/>
                  </a:lnTo>
                  <a:lnTo>
                    <a:pt x="298" y="281"/>
                  </a:lnTo>
                  <a:lnTo>
                    <a:pt x="312" y="299"/>
                  </a:lnTo>
                  <a:lnTo>
                    <a:pt x="325" y="307"/>
                  </a:lnTo>
                  <a:lnTo>
                    <a:pt x="366" y="302"/>
                  </a:lnTo>
                  <a:lnTo>
                    <a:pt x="378" y="297"/>
                  </a:lnTo>
                  <a:lnTo>
                    <a:pt x="383" y="297"/>
                  </a:lnTo>
                  <a:lnTo>
                    <a:pt x="386" y="299"/>
                  </a:lnTo>
                  <a:lnTo>
                    <a:pt x="391" y="295"/>
                  </a:lnTo>
                  <a:lnTo>
                    <a:pt x="393" y="289"/>
                  </a:lnTo>
                  <a:lnTo>
                    <a:pt x="414" y="268"/>
                  </a:lnTo>
                  <a:lnTo>
                    <a:pt x="418" y="267"/>
                  </a:lnTo>
                  <a:lnTo>
                    <a:pt x="437" y="273"/>
                  </a:lnTo>
                  <a:lnTo>
                    <a:pt x="449" y="278"/>
                  </a:lnTo>
                  <a:lnTo>
                    <a:pt x="462" y="275"/>
                  </a:lnTo>
                  <a:lnTo>
                    <a:pt x="463" y="272"/>
                  </a:lnTo>
                  <a:lnTo>
                    <a:pt x="474" y="264"/>
                  </a:lnTo>
                  <a:lnTo>
                    <a:pt x="481" y="267"/>
                  </a:lnTo>
                  <a:lnTo>
                    <a:pt x="482" y="273"/>
                  </a:lnTo>
                  <a:lnTo>
                    <a:pt x="475" y="283"/>
                  </a:lnTo>
                  <a:lnTo>
                    <a:pt x="467" y="290"/>
                  </a:lnTo>
                  <a:lnTo>
                    <a:pt x="467" y="293"/>
                  </a:lnTo>
                  <a:lnTo>
                    <a:pt x="475" y="302"/>
                  </a:lnTo>
                  <a:lnTo>
                    <a:pt x="473" y="308"/>
                  </a:lnTo>
                  <a:lnTo>
                    <a:pt x="482" y="310"/>
                  </a:lnTo>
                  <a:lnTo>
                    <a:pt x="492" y="308"/>
                  </a:lnTo>
                  <a:lnTo>
                    <a:pt x="501" y="305"/>
                  </a:lnTo>
                  <a:lnTo>
                    <a:pt x="499" y="296"/>
                  </a:lnTo>
                  <a:lnTo>
                    <a:pt x="505" y="292"/>
                  </a:lnTo>
                  <a:lnTo>
                    <a:pt x="507" y="278"/>
                  </a:lnTo>
                  <a:lnTo>
                    <a:pt x="509" y="270"/>
                  </a:lnTo>
                  <a:lnTo>
                    <a:pt x="522" y="274"/>
                  </a:lnTo>
                  <a:lnTo>
                    <a:pt x="530" y="275"/>
                  </a:lnTo>
                  <a:lnTo>
                    <a:pt x="553" y="268"/>
                  </a:lnTo>
                  <a:lnTo>
                    <a:pt x="557" y="267"/>
                  </a:lnTo>
                  <a:lnTo>
                    <a:pt x="563" y="263"/>
                  </a:lnTo>
                  <a:lnTo>
                    <a:pt x="588" y="261"/>
                  </a:lnTo>
                  <a:lnTo>
                    <a:pt x="596" y="263"/>
                  </a:lnTo>
                  <a:lnTo>
                    <a:pt x="601" y="267"/>
                  </a:lnTo>
                  <a:lnTo>
                    <a:pt x="615" y="270"/>
                  </a:lnTo>
                  <a:lnTo>
                    <a:pt x="637" y="270"/>
                  </a:lnTo>
                  <a:lnTo>
                    <a:pt x="638" y="267"/>
                  </a:lnTo>
                  <a:lnTo>
                    <a:pt x="650" y="263"/>
                  </a:lnTo>
                  <a:lnTo>
                    <a:pt x="658" y="257"/>
                  </a:lnTo>
                  <a:lnTo>
                    <a:pt x="673" y="252"/>
                  </a:lnTo>
                  <a:lnTo>
                    <a:pt x="686" y="252"/>
                  </a:lnTo>
                  <a:lnTo>
                    <a:pt x="694" y="251"/>
                  </a:lnTo>
                  <a:lnTo>
                    <a:pt x="718" y="252"/>
                  </a:lnTo>
                  <a:lnTo>
                    <a:pt x="736" y="246"/>
                  </a:lnTo>
                  <a:lnTo>
                    <a:pt x="748" y="246"/>
                  </a:lnTo>
                  <a:lnTo>
                    <a:pt x="752" y="249"/>
                  </a:lnTo>
                  <a:lnTo>
                    <a:pt x="765" y="239"/>
                  </a:lnTo>
                  <a:lnTo>
                    <a:pt x="776" y="239"/>
                  </a:lnTo>
                  <a:lnTo>
                    <a:pt x="781" y="237"/>
                  </a:lnTo>
                  <a:lnTo>
                    <a:pt x="799" y="237"/>
                  </a:lnTo>
                  <a:lnTo>
                    <a:pt x="815" y="240"/>
                  </a:lnTo>
                  <a:lnTo>
                    <a:pt x="827" y="237"/>
                  </a:lnTo>
                  <a:lnTo>
                    <a:pt x="833" y="240"/>
                  </a:lnTo>
                  <a:lnTo>
                    <a:pt x="833" y="249"/>
                  </a:lnTo>
                  <a:lnTo>
                    <a:pt x="841" y="252"/>
                  </a:lnTo>
                  <a:lnTo>
                    <a:pt x="851" y="249"/>
                  </a:lnTo>
                  <a:lnTo>
                    <a:pt x="854" y="241"/>
                  </a:lnTo>
                  <a:lnTo>
                    <a:pt x="849" y="232"/>
                  </a:lnTo>
                  <a:lnTo>
                    <a:pt x="839" y="216"/>
                  </a:lnTo>
                  <a:lnTo>
                    <a:pt x="827" y="212"/>
                  </a:lnTo>
                  <a:lnTo>
                    <a:pt x="828" y="208"/>
                  </a:lnTo>
                  <a:lnTo>
                    <a:pt x="827" y="195"/>
                  </a:lnTo>
                  <a:lnTo>
                    <a:pt x="833" y="182"/>
                  </a:lnTo>
                  <a:lnTo>
                    <a:pt x="831" y="177"/>
                  </a:lnTo>
                  <a:lnTo>
                    <a:pt x="820" y="176"/>
                  </a:lnTo>
                  <a:lnTo>
                    <a:pt x="820" y="165"/>
                  </a:lnTo>
                  <a:lnTo>
                    <a:pt x="821" y="157"/>
                  </a:lnTo>
                  <a:lnTo>
                    <a:pt x="816" y="141"/>
                  </a:lnTo>
                  <a:lnTo>
                    <a:pt x="811" y="134"/>
                  </a:lnTo>
                  <a:lnTo>
                    <a:pt x="811" y="129"/>
                  </a:lnTo>
                  <a:lnTo>
                    <a:pt x="825" y="128"/>
                  </a:lnTo>
                  <a:lnTo>
                    <a:pt x="828" y="117"/>
                  </a:lnTo>
                  <a:lnTo>
                    <a:pt x="833" y="113"/>
                  </a:lnTo>
                  <a:lnTo>
                    <a:pt x="828" y="106"/>
                  </a:lnTo>
                  <a:lnTo>
                    <a:pt x="821" y="99"/>
                  </a:lnTo>
                  <a:lnTo>
                    <a:pt x="811" y="99"/>
                  </a:lnTo>
                  <a:lnTo>
                    <a:pt x="797" y="99"/>
                  </a:lnTo>
                  <a:lnTo>
                    <a:pt x="783" y="92"/>
                  </a:lnTo>
                  <a:lnTo>
                    <a:pt x="783" y="75"/>
                  </a:lnTo>
                  <a:lnTo>
                    <a:pt x="786" y="61"/>
                  </a:lnTo>
                  <a:lnTo>
                    <a:pt x="781" y="53"/>
                  </a:lnTo>
                  <a:lnTo>
                    <a:pt x="773" y="52"/>
                  </a:lnTo>
                  <a:lnTo>
                    <a:pt x="773" y="47"/>
                  </a:lnTo>
                  <a:lnTo>
                    <a:pt x="764" y="38"/>
                  </a:lnTo>
                  <a:lnTo>
                    <a:pt x="756" y="37"/>
                  </a:lnTo>
                  <a:lnTo>
                    <a:pt x="736" y="21"/>
                  </a:lnTo>
                  <a:lnTo>
                    <a:pt x="729" y="20"/>
                  </a:lnTo>
                  <a:lnTo>
                    <a:pt x="723" y="25"/>
                  </a:lnTo>
                  <a:lnTo>
                    <a:pt x="717" y="26"/>
                  </a:lnTo>
                  <a:lnTo>
                    <a:pt x="705" y="21"/>
                  </a:lnTo>
                  <a:lnTo>
                    <a:pt x="701" y="27"/>
                  </a:lnTo>
                  <a:lnTo>
                    <a:pt x="695" y="25"/>
                  </a:lnTo>
                  <a:lnTo>
                    <a:pt x="694" y="18"/>
                  </a:lnTo>
                  <a:lnTo>
                    <a:pt x="688" y="18"/>
                  </a:lnTo>
                  <a:lnTo>
                    <a:pt x="688" y="18"/>
                  </a:lnTo>
                  <a:close/>
                  <a:moveTo>
                    <a:pt x="102" y="286"/>
                  </a:moveTo>
                  <a:lnTo>
                    <a:pt x="105" y="284"/>
                  </a:lnTo>
                  <a:lnTo>
                    <a:pt x="109" y="284"/>
                  </a:lnTo>
                  <a:lnTo>
                    <a:pt x="110" y="286"/>
                  </a:lnTo>
                  <a:lnTo>
                    <a:pt x="105" y="287"/>
                  </a:lnTo>
                  <a:lnTo>
                    <a:pt x="102" y="286"/>
                  </a:lnTo>
                  <a:lnTo>
                    <a:pt x="102" y="286"/>
                  </a:lnTo>
                  <a:close/>
                  <a:moveTo>
                    <a:pt x="0" y="101"/>
                  </a:moveTo>
                  <a:lnTo>
                    <a:pt x="7" y="104"/>
                  </a:lnTo>
                  <a:lnTo>
                    <a:pt x="17" y="101"/>
                  </a:lnTo>
                  <a:lnTo>
                    <a:pt x="18" y="96"/>
                  </a:lnTo>
                  <a:lnTo>
                    <a:pt x="13" y="94"/>
                  </a:lnTo>
                  <a:lnTo>
                    <a:pt x="9" y="98"/>
                  </a:lnTo>
                  <a:lnTo>
                    <a:pt x="3" y="98"/>
                  </a:lnTo>
                  <a:lnTo>
                    <a:pt x="0" y="10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  <p:sp>
          <p:nvSpPr>
            <p:cNvPr id="246" name="Freeform 47"/>
            <p:cNvSpPr>
              <a:spLocks/>
            </p:cNvSpPr>
            <p:nvPr/>
          </p:nvSpPr>
          <p:spPr bwMode="auto">
            <a:xfrm>
              <a:off x="5386388" y="3989388"/>
              <a:ext cx="160338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6" y="45"/>
                </a:cxn>
                <a:cxn ang="0">
                  <a:pos x="0" y="37"/>
                </a:cxn>
                <a:cxn ang="0">
                  <a:pos x="0" y="28"/>
                </a:cxn>
                <a:cxn ang="0">
                  <a:pos x="4" y="26"/>
                </a:cxn>
                <a:cxn ang="0">
                  <a:pos x="11" y="20"/>
                </a:cxn>
                <a:cxn ang="0">
                  <a:pos x="19" y="24"/>
                </a:cxn>
                <a:cxn ang="0">
                  <a:pos x="26" y="23"/>
                </a:cxn>
                <a:cxn ang="0">
                  <a:pos x="29" y="17"/>
                </a:cxn>
                <a:cxn ang="0">
                  <a:pos x="29" y="12"/>
                </a:cxn>
                <a:cxn ang="0">
                  <a:pos x="37" y="12"/>
                </a:cxn>
                <a:cxn ang="0">
                  <a:pos x="47" y="16"/>
                </a:cxn>
                <a:cxn ang="0">
                  <a:pos x="59" y="16"/>
                </a:cxn>
                <a:cxn ang="0">
                  <a:pos x="79" y="8"/>
                </a:cxn>
                <a:cxn ang="0">
                  <a:pos x="94" y="0"/>
                </a:cxn>
                <a:cxn ang="0">
                  <a:pos x="99" y="0"/>
                </a:cxn>
                <a:cxn ang="0">
                  <a:pos x="101" y="2"/>
                </a:cxn>
                <a:cxn ang="0">
                  <a:pos x="96" y="6"/>
                </a:cxn>
                <a:cxn ang="0">
                  <a:pos x="85" y="12"/>
                </a:cxn>
                <a:cxn ang="0">
                  <a:pos x="76" y="22"/>
                </a:cxn>
                <a:cxn ang="0">
                  <a:pos x="79" y="30"/>
                </a:cxn>
                <a:cxn ang="0">
                  <a:pos x="78" y="37"/>
                </a:cxn>
                <a:cxn ang="0">
                  <a:pos x="66" y="36"/>
                </a:cxn>
                <a:cxn ang="0">
                  <a:pos x="59" y="40"/>
                </a:cxn>
                <a:cxn ang="0">
                  <a:pos x="50" y="47"/>
                </a:cxn>
                <a:cxn ang="0">
                  <a:pos x="40" y="49"/>
                </a:cxn>
                <a:cxn ang="0">
                  <a:pos x="33" y="53"/>
                </a:cxn>
                <a:cxn ang="0">
                  <a:pos x="29" y="51"/>
                </a:cxn>
                <a:cxn ang="0">
                  <a:pos x="17" y="51"/>
                </a:cxn>
              </a:cxnLst>
              <a:rect l="0" t="0" r="r" b="b"/>
              <a:pathLst>
                <a:path w="101" h="53">
                  <a:moveTo>
                    <a:pt x="17" y="51"/>
                  </a:moveTo>
                  <a:lnTo>
                    <a:pt x="6" y="45"/>
                  </a:lnTo>
                  <a:lnTo>
                    <a:pt x="0" y="37"/>
                  </a:lnTo>
                  <a:lnTo>
                    <a:pt x="0" y="28"/>
                  </a:lnTo>
                  <a:lnTo>
                    <a:pt x="4" y="26"/>
                  </a:lnTo>
                  <a:lnTo>
                    <a:pt x="11" y="20"/>
                  </a:lnTo>
                  <a:lnTo>
                    <a:pt x="19" y="24"/>
                  </a:lnTo>
                  <a:lnTo>
                    <a:pt x="26" y="23"/>
                  </a:lnTo>
                  <a:lnTo>
                    <a:pt x="29" y="17"/>
                  </a:lnTo>
                  <a:lnTo>
                    <a:pt x="29" y="12"/>
                  </a:lnTo>
                  <a:lnTo>
                    <a:pt x="37" y="12"/>
                  </a:lnTo>
                  <a:lnTo>
                    <a:pt x="47" y="16"/>
                  </a:lnTo>
                  <a:lnTo>
                    <a:pt x="59" y="16"/>
                  </a:lnTo>
                  <a:lnTo>
                    <a:pt x="79" y="8"/>
                  </a:lnTo>
                  <a:lnTo>
                    <a:pt x="94" y="0"/>
                  </a:lnTo>
                  <a:lnTo>
                    <a:pt x="99" y="0"/>
                  </a:lnTo>
                  <a:lnTo>
                    <a:pt x="101" y="2"/>
                  </a:lnTo>
                  <a:lnTo>
                    <a:pt x="96" y="6"/>
                  </a:lnTo>
                  <a:lnTo>
                    <a:pt x="85" y="12"/>
                  </a:lnTo>
                  <a:lnTo>
                    <a:pt x="76" y="22"/>
                  </a:lnTo>
                  <a:lnTo>
                    <a:pt x="79" y="30"/>
                  </a:lnTo>
                  <a:lnTo>
                    <a:pt x="78" y="37"/>
                  </a:lnTo>
                  <a:lnTo>
                    <a:pt x="66" y="36"/>
                  </a:lnTo>
                  <a:lnTo>
                    <a:pt x="59" y="40"/>
                  </a:lnTo>
                  <a:lnTo>
                    <a:pt x="50" y="47"/>
                  </a:lnTo>
                  <a:lnTo>
                    <a:pt x="40" y="49"/>
                  </a:lnTo>
                  <a:lnTo>
                    <a:pt x="33" y="53"/>
                  </a:lnTo>
                  <a:lnTo>
                    <a:pt x="29" y="51"/>
                  </a:lnTo>
                  <a:lnTo>
                    <a:pt x="17" y="5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>
                <a:latin typeface="+mj-lt"/>
              </a:endParaRPr>
            </a:p>
          </p:txBody>
        </p:sp>
      </p:grpSp>
      <p:sp>
        <p:nvSpPr>
          <p:cNvPr id="247" name="TextBox 246"/>
          <p:cNvSpPr txBox="1"/>
          <p:nvPr/>
        </p:nvSpPr>
        <p:spPr>
          <a:xfrm>
            <a:off x="4073530" y="1601077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Sweden</a:t>
            </a:r>
          </a:p>
        </p:txBody>
      </p:sp>
      <p:sp>
        <p:nvSpPr>
          <p:cNvPr id="249" name="TextBox 248"/>
          <p:cNvSpPr txBox="1"/>
          <p:nvPr/>
        </p:nvSpPr>
        <p:spPr>
          <a:xfrm>
            <a:off x="4073530" y="1735981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>
                <a:solidFill>
                  <a:schemeClr val="accent1"/>
                </a:solidFill>
                <a:latin typeface="+mj-lt"/>
              </a:rPr>
              <a:t>$6,325,000</a:t>
            </a:r>
          </a:p>
        </p:txBody>
      </p:sp>
      <p:cxnSp>
        <p:nvCxnSpPr>
          <p:cNvPr id="251" name="Straight Connector 250"/>
          <p:cNvCxnSpPr/>
          <p:nvPr/>
        </p:nvCxnSpPr>
        <p:spPr>
          <a:xfrm>
            <a:off x="5631134" y="1659324"/>
            <a:ext cx="161943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/>
          <p:cNvSpPr txBox="1"/>
          <p:nvPr/>
        </p:nvSpPr>
        <p:spPr>
          <a:xfrm>
            <a:off x="4073530" y="2123702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2"/>
                </a:solidFill>
                <a:latin typeface="+mj-lt"/>
              </a:rPr>
              <a:t>norway</a:t>
            </a:r>
            <a:endParaRPr lang="en-US" sz="1000" b="1" cap="all" spc="2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4073530" y="2258606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>
                <a:solidFill>
                  <a:schemeClr val="accent1"/>
                </a:solidFill>
                <a:latin typeface="+mj-lt"/>
              </a:rPr>
              <a:t>$9,125,000</a:t>
            </a:r>
          </a:p>
        </p:txBody>
      </p:sp>
      <p:cxnSp>
        <p:nvCxnSpPr>
          <p:cNvPr id="255" name="Straight Connector 254"/>
          <p:cNvCxnSpPr/>
          <p:nvPr/>
        </p:nvCxnSpPr>
        <p:spPr>
          <a:xfrm>
            <a:off x="5631134" y="2181949"/>
            <a:ext cx="113409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TextBox 256"/>
          <p:cNvSpPr txBox="1"/>
          <p:nvPr/>
        </p:nvSpPr>
        <p:spPr>
          <a:xfrm>
            <a:off x="4073530" y="2853727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United kingdom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4073530" y="2988631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>
                <a:solidFill>
                  <a:schemeClr val="accent1"/>
                </a:solidFill>
                <a:latin typeface="+mj-lt"/>
              </a:rPr>
              <a:t>12,456,000</a:t>
            </a:r>
          </a:p>
        </p:txBody>
      </p:sp>
      <p:cxnSp>
        <p:nvCxnSpPr>
          <p:cNvPr id="259" name="Straight Connector 258"/>
          <p:cNvCxnSpPr/>
          <p:nvPr/>
        </p:nvCxnSpPr>
        <p:spPr>
          <a:xfrm>
            <a:off x="5631134" y="2911974"/>
            <a:ext cx="27691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Box 260"/>
          <p:cNvSpPr txBox="1"/>
          <p:nvPr/>
        </p:nvSpPr>
        <p:spPr>
          <a:xfrm>
            <a:off x="4073530" y="3487721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Germany</a:t>
            </a:r>
          </a:p>
        </p:txBody>
      </p:sp>
      <p:sp>
        <p:nvSpPr>
          <p:cNvPr id="262" name="TextBox 261"/>
          <p:cNvSpPr txBox="1"/>
          <p:nvPr/>
        </p:nvSpPr>
        <p:spPr>
          <a:xfrm>
            <a:off x="4073530" y="3622625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>
                <a:solidFill>
                  <a:schemeClr val="accent1"/>
                </a:solidFill>
                <a:latin typeface="+mj-lt"/>
              </a:rPr>
              <a:t>$9,856,000</a:t>
            </a:r>
          </a:p>
        </p:txBody>
      </p:sp>
      <p:cxnSp>
        <p:nvCxnSpPr>
          <p:cNvPr id="263" name="Straight Connector 262"/>
          <p:cNvCxnSpPr/>
          <p:nvPr/>
        </p:nvCxnSpPr>
        <p:spPr>
          <a:xfrm>
            <a:off x="5631134" y="3545968"/>
            <a:ext cx="116383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TextBox 264"/>
          <p:cNvSpPr txBox="1"/>
          <p:nvPr/>
        </p:nvSpPr>
        <p:spPr>
          <a:xfrm>
            <a:off x="4073530" y="3934957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2"/>
                </a:solidFill>
                <a:latin typeface="+mj-lt"/>
              </a:rPr>
              <a:t>italy</a:t>
            </a:r>
            <a:endParaRPr lang="en-US" sz="1000" b="1" cap="all" spc="2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4073530" y="4069861"/>
            <a:ext cx="14485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>
                <a:solidFill>
                  <a:schemeClr val="accent1"/>
                </a:solidFill>
                <a:latin typeface="+mj-lt"/>
              </a:rPr>
              <a:t>$5,547,000</a:t>
            </a:r>
          </a:p>
        </p:txBody>
      </p:sp>
      <p:cxnSp>
        <p:nvCxnSpPr>
          <p:cNvPr id="267" name="Straight Connector 266"/>
          <p:cNvCxnSpPr/>
          <p:nvPr/>
        </p:nvCxnSpPr>
        <p:spPr>
          <a:xfrm>
            <a:off x="5631134" y="3993204"/>
            <a:ext cx="116383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373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Schedule </a:t>
            </a:r>
            <a:r>
              <a:rPr lang="en-US">
                <a:solidFill>
                  <a:schemeClr val="accent2"/>
                </a:solidFill>
              </a:rPr>
              <a:t>for 6 month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7991240"/>
              </p:ext>
            </p:extLst>
          </p:nvPr>
        </p:nvGraphicFramePr>
        <p:xfrm>
          <a:off x="593727" y="1543050"/>
          <a:ext cx="7943848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5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2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29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29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29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29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29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000" b="0"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Lato" panose="020F0502020204030203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Lato" panose="020F0502020204030203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Lato" panose="020F0502020204030203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Lato" panose="020F0502020204030203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Lato" panose="020F0502020204030203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latin typeface="Lato" panose="020F0502020204030203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Development Meeting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Concep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Sketching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Design &amp; Developmen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Review &amp;</a:t>
                      </a:r>
                      <a:r>
                        <a:rPr lang="en-US" sz="1000" b="0" baseline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Refinemen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File and Launch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2576514" y="1985963"/>
            <a:ext cx="988218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564731" y="2354263"/>
            <a:ext cx="1496219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70413" y="2722563"/>
            <a:ext cx="992188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060950" y="3090863"/>
            <a:ext cx="2025650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62600" y="3471861"/>
            <a:ext cx="2539999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526866" y="3852859"/>
            <a:ext cx="1020233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0924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7EDA7-071C-D0A3-58A8-A0A6C68D4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06707F-51AC-2931-2DD5-04B27EDE1C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at is an </a:t>
            </a:r>
            <a:r>
              <a:rPr lang="en-US" dirty="0">
                <a:solidFill>
                  <a:schemeClr val="accent2"/>
                </a:solidFill>
              </a:rPr>
              <a:t>Autoencoder-GA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715F32-EEB4-768E-6857-F804692F1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EGAN</a:t>
            </a:r>
          </a:p>
        </p:txBody>
      </p: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2FF40FEE-1A13-4079-5A89-D8E2E8695A0F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509309" y="1840463"/>
            <a:ext cx="324000" cy="84136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A4C9218-3295-7216-EE1C-56D6D972EE40}"/>
              </a:ext>
            </a:extLst>
          </p:cNvPr>
          <p:cNvSpPr/>
          <p:nvPr/>
        </p:nvSpPr>
        <p:spPr>
          <a:xfrm>
            <a:off x="2407920" y="1965054"/>
            <a:ext cx="766433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andom Nois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785ACFC3-9934-D5A8-F5FC-ED12596DFCA7}"/>
              </a:ext>
            </a:extLst>
          </p:cNvPr>
          <p:cNvSpPr/>
          <p:nvPr/>
        </p:nvSpPr>
        <p:spPr>
          <a:xfrm>
            <a:off x="325126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3E79F4F5-881C-F33C-C55D-C36F391DE86C}"/>
              </a:ext>
            </a:extLst>
          </p:cNvPr>
          <p:cNvSpPr/>
          <p:nvPr/>
        </p:nvSpPr>
        <p:spPr>
          <a:xfrm>
            <a:off x="388492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967232C-6001-A354-0264-666AD1525F49}"/>
              </a:ext>
            </a:extLst>
          </p:cNvPr>
          <p:cNvGrpSpPr/>
          <p:nvPr/>
        </p:nvGrpSpPr>
        <p:grpSpPr>
          <a:xfrm>
            <a:off x="528863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467F83A-80F6-27A4-47F5-A0D98868A414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331EC53-A943-3A1B-131B-0FC1DB0EDFE2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F4E940B-142A-DD33-FEE3-8818598E43F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96079703-A032-9FB1-A7C8-12A4889268EA}"/>
              </a:ext>
            </a:extLst>
          </p:cNvPr>
          <p:cNvSpPr/>
          <p:nvPr/>
        </p:nvSpPr>
        <p:spPr>
          <a:xfrm>
            <a:off x="582174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9772B8EB-9A40-2012-4237-4625E1A100CF}"/>
              </a:ext>
            </a:extLst>
          </p:cNvPr>
          <p:cNvSpPr/>
          <p:nvPr/>
        </p:nvSpPr>
        <p:spPr>
          <a:xfrm rot="3456229">
            <a:off x="449123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BBA44F74-FDB0-9BC1-93BA-4B9DD827C4F4}"/>
              </a:ext>
            </a:extLst>
          </p:cNvPr>
          <p:cNvSpPr/>
          <p:nvPr/>
        </p:nvSpPr>
        <p:spPr>
          <a:xfrm rot="20303528">
            <a:off x="456671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AB7499B-8A56-78C5-D307-973E3826EB8E}"/>
              </a:ext>
            </a:extLst>
          </p:cNvPr>
          <p:cNvSpPr txBox="1"/>
          <p:nvPr/>
        </p:nvSpPr>
        <p:spPr>
          <a:xfrm>
            <a:off x="322296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9CB679B-D9FD-9D3A-8B7B-DC9FD7E67AEC}"/>
              </a:ext>
            </a:extLst>
          </p:cNvPr>
          <p:cNvSpPr txBox="1"/>
          <p:nvPr/>
        </p:nvSpPr>
        <p:spPr>
          <a:xfrm>
            <a:off x="509908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D6260A5-A61E-E73F-A7D3-311147A50919}"/>
              </a:ext>
            </a:extLst>
          </p:cNvPr>
          <p:cNvSpPr txBox="1"/>
          <p:nvPr/>
        </p:nvSpPr>
        <p:spPr>
          <a:xfrm>
            <a:off x="605472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pic>
        <p:nvPicPr>
          <p:cNvPr id="4134" name="Picture 413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B20305D1-3B89-5A11-ED38-A687F56152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152" y="3492692"/>
            <a:ext cx="864000" cy="864000"/>
          </a:xfrm>
          <a:prstGeom prst="rect">
            <a:avLst/>
          </a:prstGeom>
        </p:spPr>
      </p:pic>
      <p:pic>
        <p:nvPicPr>
          <p:cNvPr id="4135" name="Picture 4134">
            <a:extLst>
              <a:ext uri="{FF2B5EF4-FFF2-40B4-BE49-F238E27FC236}">
                <a16:creationId xmlns:a16="http://schemas.microsoft.com/office/drawing/2014/main" id="{E1E2F640-60E6-F0C3-E2A8-B3D6787E9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842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6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Schedule </a:t>
            </a:r>
            <a:r>
              <a:rPr lang="en-US">
                <a:solidFill>
                  <a:schemeClr val="accent2"/>
                </a:solidFill>
              </a:rPr>
              <a:t>for</a:t>
            </a:r>
            <a:r>
              <a:rPr lang="en-US"/>
              <a:t> </a:t>
            </a:r>
            <a:r>
              <a:rPr lang="en-US">
                <a:solidFill>
                  <a:schemeClr val="accent2"/>
                </a:solidFill>
              </a:rPr>
              <a:t>one yea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66023"/>
              </p:ext>
            </p:extLst>
          </p:nvPr>
        </p:nvGraphicFramePr>
        <p:xfrm>
          <a:off x="593727" y="1543050"/>
          <a:ext cx="7943854" cy="23098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5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9649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29973">
                <a:tc>
                  <a:txBody>
                    <a:bodyPr/>
                    <a:lstStyle/>
                    <a:p>
                      <a:endParaRPr lang="en-US" sz="1000" b="0"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973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Development Meeting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973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Concep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973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Sketching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9973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Design &amp; Developmen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973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Review &amp;</a:t>
                      </a:r>
                      <a:r>
                        <a:rPr lang="en-US" sz="1000" b="0" baseline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Refinemen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973">
                <a:tc>
                  <a:txBody>
                    <a:bodyPr/>
                    <a:lstStyle/>
                    <a:p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File and Launch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2576514" y="1919288"/>
            <a:ext cx="988218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576514" y="1919288"/>
            <a:ext cx="433386" cy="219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070623" y="2257426"/>
            <a:ext cx="2006202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70623" y="2257426"/>
            <a:ext cx="586977" cy="219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073724" y="2595564"/>
            <a:ext cx="1330126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073724" y="2595564"/>
            <a:ext cx="472875" cy="219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057775" y="2910842"/>
            <a:ext cx="2488406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57775" y="2910842"/>
            <a:ext cx="542925" cy="219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548437" y="3247234"/>
            <a:ext cx="997744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548437" y="3247234"/>
            <a:ext cx="161926" cy="219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539832" y="3583626"/>
            <a:ext cx="997744" cy="219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3388520" y="4155269"/>
            <a:ext cx="3453151" cy="320922"/>
            <a:chOff x="2576514" y="4155269"/>
            <a:chExt cx="2366961" cy="320922"/>
          </a:xfrm>
        </p:grpSpPr>
        <p:sp>
          <p:nvSpPr>
            <p:cNvPr id="27" name="Rectangle 26"/>
            <p:cNvSpPr/>
            <p:nvPr/>
          </p:nvSpPr>
          <p:spPr>
            <a:xfrm>
              <a:off x="2576514" y="4191000"/>
              <a:ext cx="95250" cy="952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737843" y="4155269"/>
              <a:ext cx="574477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Completed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564732" y="4191000"/>
              <a:ext cx="95250" cy="952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726061" y="4155269"/>
              <a:ext cx="1217414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In Progress or Incomple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078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reative </a:t>
            </a:r>
            <a:r>
              <a:rPr lang="en-US">
                <a:solidFill>
                  <a:schemeClr val="accent2"/>
                </a:solidFill>
              </a:rPr>
              <a:t>demographic analys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3113244" y="1699342"/>
            <a:ext cx="1977272" cy="337665"/>
            <a:chOff x="3113244" y="1699342"/>
            <a:chExt cx="1977272" cy="337665"/>
          </a:xfrm>
        </p:grpSpPr>
        <p:sp>
          <p:nvSpPr>
            <p:cNvPr id="81" name="TextBox 80"/>
            <p:cNvSpPr txBox="1"/>
            <p:nvPr/>
          </p:nvSpPr>
          <p:spPr>
            <a:xfrm>
              <a:off x="3117445" y="1873180"/>
              <a:ext cx="1973070" cy="163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4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113244" y="1699342"/>
              <a:ext cx="1977272" cy="173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5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2"/>
                  </a:solidFill>
                  <a:latin typeface="+mj-lt"/>
                </a:rPr>
                <a:t>Large business users</a:t>
              </a:r>
            </a:p>
          </p:txBody>
        </p:sp>
      </p:grpSp>
      <p:grpSp>
        <p:nvGrpSpPr>
          <p:cNvPr id="233" name="Group 232"/>
          <p:cNvGrpSpPr/>
          <p:nvPr/>
        </p:nvGrpSpPr>
        <p:grpSpPr>
          <a:xfrm>
            <a:off x="5444166" y="1684805"/>
            <a:ext cx="2418462" cy="373980"/>
            <a:chOff x="5444166" y="1659051"/>
            <a:chExt cx="2418462" cy="373980"/>
          </a:xfrm>
        </p:grpSpPr>
        <p:sp>
          <p:nvSpPr>
            <p:cNvPr id="71" name="Freeform 70"/>
            <p:cNvSpPr>
              <a:spLocks noChangeArrowheads="1"/>
            </p:cNvSpPr>
            <p:nvPr/>
          </p:nvSpPr>
          <p:spPr bwMode="auto">
            <a:xfrm>
              <a:off x="544416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2" name="Freeform 71"/>
            <p:cNvSpPr>
              <a:spLocks noChangeArrowheads="1"/>
            </p:cNvSpPr>
            <p:nvPr/>
          </p:nvSpPr>
          <p:spPr bwMode="auto">
            <a:xfrm>
              <a:off x="563349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3" name="Freeform 72"/>
            <p:cNvSpPr>
              <a:spLocks noChangeArrowheads="1"/>
            </p:cNvSpPr>
            <p:nvPr/>
          </p:nvSpPr>
          <p:spPr bwMode="auto">
            <a:xfrm>
              <a:off x="5822820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4" name="Freeform 73"/>
            <p:cNvSpPr>
              <a:spLocks noChangeArrowheads="1"/>
            </p:cNvSpPr>
            <p:nvPr/>
          </p:nvSpPr>
          <p:spPr bwMode="auto">
            <a:xfrm>
              <a:off x="6012147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5" name="Freeform 74"/>
            <p:cNvSpPr>
              <a:spLocks noChangeArrowheads="1"/>
            </p:cNvSpPr>
            <p:nvPr/>
          </p:nvSpPr>
          <p:spPr bwMode="auto">
            <a:xfrm>
              <a:off x="6201474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6" name="Freeform 75"/>
            <p:cNvSpPr>
              <a:spLocks noChangeArrowheads="1"/>
            </p:cNvSpPr>
            <p:nvPr/>
          </p:nvSpPr>
          <p:spPr bwMode="auto">
            <a:xfrm>
              <a:off x="6390801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7" name="Freeform 76"/>
            <p:cNvSpPr>
              <a:spLocks noChangeArrowheads="1"/>
            </p:cNvSpPr>
            <p:nvPr/>
          </p:nvSpPr>
          <p:spPr bwMode="auto">
            <a:xfrm>
              <a:off x="6580128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8" name="Freeform 77"/>
            <p:cNvSpPr>
              <a:spLocks noChangeArrowheads="1"/>
            </p:cNvSpPr>
            <p:nvPr/>
          </p:nvSpPr>
          <p:spPr bwMode="auto">
            <a:xfrm>
              <a:off x="6769455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9" name="Freeform 78"/>
            <p:cNvSpPr>
              <a:spLocks noChangeArrowheads="1"/>
            </p:cNvSpPr>
            <p:nvPr/>
          </p:nvSpPr>
          <p:spPr bwMode="auto">
            <a:xfrm>
              <a:off x="6958782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80" name="Freeform 79"/>
            <p:cNvSpPr>
              <a:spLocks noChangeArrowheads="1"/>
            </p:cNvSpPr>
            <p:nvPr/>
          </p:nvSpPr>
          <p:spPr bwMode="auto">
            <a:xfrm>
              <a:off x="7148109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7" name="Freeform 116"/>
            <p:cNvSpPr>
              <a:spLocks noChangeArrowheads="1"/>
            </p:cNvSpPr>
            <p:nvPr/>
          </p:nvSpPr>
          <p:spPr bwMode="auto">
            <a:xfrm>
              <a:off x="733743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8" name="Freeform 117"/>
            <p:cNvSpPr>
              <a:spLocks noChangeArrowheads="1"/>
            </p:cNvSpPr>
            <p:nvPr/>
          </p:nvSpPr>
          <p:spPr bwMode="auto">
            <a:xfrm>
              <a:off x="752676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9" name="Freeform 118"/>
            <p:cNvSpPr>
              <a:spLocks noChangeArrowheads="1"/>
            </p:cNvSpPr>
            <p:nvPr/>
          </p:nvSpPr>
          <p:spPr bwMode="auto">
            <a:xfrm>
              <a:off x="771608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23" name="TextBox 222"/>
          <p:cNvSpPr txBox="1"/>
          <p:nvPr/>
        </p:nvSpPr>
        <p:spPr>
          <a:xfrm>
            <a:off x="8082208" y="1748685"/>
            <a:ext cx="4553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cap="all" spc="20">
                <a:solidFill>
                  <a:schemeClr val="accent2"/>
                </a:solidFill>
                <a:latin typeface="+mj-lt"/>
              </a:rPr>
              <a:t>65%</a:t>
            </a:r>
          </a:p>
        </p:txBody>
      </p:sp>
      <p:cxnSp>
        <p:nvCxnSpPr>
          <p:cNvPr id="226" name="Straight Connector 225"/>
          <p:cNvCxnSpPr/>
          <p:nvPr/>
        </p:nvCxnSpPr>
        <p:spPr>
          <a:xfrm>
            <a:off x="2920211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9" name="Chart 228"/>
          <p:cNvGraphicFramePr/>
          <p:nvPr>
            <p:extLst>
              <p:ext uri="{D42A27DB-BD31-4B8C-83A1-F6EECF244321}">
                <p14:modId xmlns:p14="http://schemas.microsoft.com/office/powerpoint/2010/main" val="2443703953"/>
              </p:ext>
            </p:extLst>
          </p:nvPr>
        </p:nvGraphicFramePr>
        <p:xfrm>
          <a:off x="396056" y="1555750"/>
          <a:ext cx="2526629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3113244" y="2388196"/>
            <a:ext cx="1977272" cy="337665"/>
            <a:chOff x="3113244" y="2388196"/>
            <a:chExt cx="1977272" cy="337665"/>
          </a:xfrm>
        </p:grpSpPr>
        <p:sp>
          <p:nvSpPr>
            <p:cNvPr id="217" name="TextBox 216"/>
            <p:cNvSpPr txBox="1"/>
            <p:nvPr/>
          </p:nvSpPr>
          <p:spPr>
            <a:xfrm>
              <a:off x="3117445" y="2562034"/>
              <a:ext cx="1973070" cy="163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4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3113244" y="2388196"/>
              <a:ext cx="1977272" cy="173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5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2"/>
                  </a:solidFill>
                  <a:latin typeface="+mj-lt"/>
                </a:rPr>
                <a:t>medium business users</a:t>
              </a: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8082208" y="2437539"/>
            <a:ext cx="4553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cap="all" spc="20">
                <a:solidFill>
                  <a:schemeClr val="accent2"/>
                </a:solidFill>
                <a:latin typeface="+mj-lt"/>
              </a:rPr>
              <a:t>47%</a:t>
            </a:r>
          </a:p>
        </p:txBody>
      </p:sp>
      <p:grpSp>
        <p:nvGrpSpPr>
          <p:cNvPr id="234" name="Group 233"/>
          <p:cNvGrpSpPr/>
          <p:nvPr/>
        </p:nvGrpSpPr>
        <p:grpSpPr>
          <a:xfrm>
            <a:off x="5444166" y="2373659"/>
            <a:ext cx="2418462" cy="373980"/>
            <a:chOff x="5444166" y="1659051"/>
            <a:chExt cx="2418462" cy="373980"/>
          </a:xfrm>
        </p:grpSpPr>
        <p:sp>
          <p:nvSpPr>
            <p:cNvPr id="235" name="Freeform 234"/>
            <p:cNvSpPr>
              <a:spLocks noChangeArrowheads="1"/>
            </p:cNvSpPr>
            <p:nvPr/>
          </p:nvSpPr>
          <p:spPr bwMode="auto">
            <a:xfrm>
              <a:off x="544416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6" name="Freeform 235"/>
            <p:cNvSpPr>
              <a:spLocks noChangeArrowheads="1"/>
            </p:cNvSpPr>
            <p:nvPr/>
          </p:nvSpPr>
          <p:spPr bwMode="auto">
            <a:xfrm>
              <a:off x="563349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7" name="Freeform 236"/>
            <p:cNvSpPr>
              <a:spLocks noChangeArrowheads="1"/>
            </p:cNvSpPr>
            <p:nvPr/>
          </p:nvSpPr>
          <p:spPr bwMode="auto">
            <a:xfrm>
              <a:off x="5822820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8" name="Freeform 237"/>
            <p:cNvSpPr>
              <a:spLocks noChangeArrowheads="1"/>
            </p:cNvSpPr>
            <p:nvPr/>
          </p:nvSpPr>
          <p:spPr bwMode="auto">
            <a:xfrm>
              <a:off x="6012147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9" name="Freeform 238"/>
            <p:cNvSpPr>
              <a:spLocks noChangeArrowheads="1"/>
            </p:cNvSpPr>
            <p:nvPr/>
          </p:nvSpPr>
          <p:spPr bwMode="auto">
            <a:xfrm>
              <a:off x="6201474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0" name="Freeform 239"/>
            <p:cNvSpPr>
              <a:spLocks noChangeArrowheads="1"/>
            </p:cNvSpPr>
            <p:nvPr/>
          </p:nvSpPr>
          <p:spPr bwMode="auto">
            <a:xfrm>
              <a:off x="6390801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1" name="Freeform 240"/>
            <p:cNvSpPr>
              <a:spLocks noChangeArrowheads="1"/>
            </p:cNvSpPr>
            <p:nvPr/>
          </p:nvSpPr>
          <p:spPr bwMode="auto">
            <a:xfrm>
              <a:off x="6580128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2" name="Freeform 241"/>
            <p:cNvSpPr>
              <a:spLocks noChangeArrowheads="1"/>
            </p:cNvSpPr>
            <p:nvPr/>
          </p:nvSpPr>
          <p:spPr bwMode="auto">
            <a:xfrm>
              <a:off x="6769455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3" name="Freeform 242"/>
            <p:cNvSpPr>
              <a:spLocks noChangeArrowheads="1"/>
            </p:cNvSpPr>
            <p:nvPr/>
          </p:nvSpPr>
          <p:spPr bwMode="auto">
            <a:xfrm>
              <a:off x="6958782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4" name="Freeform 243"/>
            <p:cNvSpPr>
              <a:spLocks noChangeArrowheads="1"/>
            </p:cNvSpPr>
            <p:nvPr/>
          </p:nvSpPr>
          <p:spPr bwMode="auto">
            <a:xfrm>
              <a:off x="7148109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5" name="Freeform 244"/>
            <p:cNvSpPr>
              <a:spLocks noChangeArrowheads="1"/>
            </p:cNvSpPr>
            <p:nvPr/>
          </p:nvSpPr>
          <p:spPr bwMode="auto">
            <a:xfrm>
              <a:off x="733743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6" name="Freeform 245"/>
            <p:cNvSpPr>
              <a:spLocks noChangeArrowheads="1"/>
            </p:cNvSpPr>
            <p:nvPr/>
          </p:nvSpPr>
          <p:spPr bwMode="auto">
            <a:xfrm>
              <a:off x="752676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7" name="Freeform 246"/>
            <p:cNvSpPr>
              <a:spLocks noChangeArrowheads="1"/>
            </p:cNvSpPr>
            <p:nvPr/>
          </p:nvSpPr>
          <p:spPr bwMode="auto">
            <a:xfrm>
              <a:off x="771608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113244" y="3077050"/>
            <a:ext cx="1977272" cy="337665"/>
            <a:chOff x="3113244" y="3077050"/>
            <a:chExt cx="1977272" cy="337665"/>
          </a:xfrm>
        </p:grpSpPr>
        <p:sp>
          <p:nvSpPr>
            <p:cNvPr id="219" name="TextBox 218"/>
            <p:cNvSpPr txBox="1"/>
            <p:nvPr/>
          </p:nvSpPr>
          <p:spPr>
            <a:xfrm>
              <a:off x="3117445" y="3250888"/>
              <a:ext cx="1973070" cy="163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4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113244" y="3077050"/>
              <a:ext cx="1977272" cy="173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5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2"/>
                  </a:solidFill>
                  <a:latin typeface="+mj-lt"/>
                </a:rPr>
                <a:t>small business users</a:t>
              </a:r>
            </a:p>
          </p:txBody>
        </p:sp>
      </p:grpSp>
      <p:sp>
        <p:nvSpPr>
          <p:cNvPr id="231" name="TextBox 230"/>
          <p:cNvSpPr txBox="1"/>
          <p:nvPr/>
        </p:nvSpPr>
        <p:spPr>
          <a:xfrm>
            <a:off x="8082208" y="3126393"/>
            <a:ext cx="4553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cap="all" spc="20">
                <a:solidFill>
                  <a:schemeClr val="accent2"/>
                </a:solidFill>
                <a:latin typeface="+mj-lt"/>
              </a:rPr>
              <a:t>37%</a:t>
            </a:r>
          </a:p>
        </p:txBody>
      </p:sp>
      <p:grpSp>
        <p:nvGrpSpPr>
          <p:cNvPr id="248" name="Group 247"/>
          <p:cNvGrpSpPr/>
          <p:nvPr/>
        </p:nvGrpSpPr>
        <p:grpSpPr>
          <a:xfrm>
            <a:off x="5444166" y="3062513"/>
            <a:ext cx="2418462" cy="373980"/>
            <a:chOff x="5444166" y="1659051"/>
            <a:chExt cx="2418462" cy="373980"/>
          </a:xfrm>
        </p:grpSpPr>
        <p:sp>
          <p:nvSpPr>
            <p:cNvPr id="249" name="Freeform 248"/>
            <p:cNvSpPr>
              <a:spLocks noChangeArrowheads="1"/>
            </p:cNvSpPr>
            <p:nvPr/>
          </p:nvSpPr>
          <p:spPr bwMode="auto">
            <a:xfrm>
              <a:off x="544416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0" name="Freeform 249"/>
            <p:cNvSpPr>
              <a:spLocks noChangeArrowheads="1"/>
            </p:cNvSpPr>
            <p:nvPr/>
          </p:nvSpPr>
          <p:spPr bwMode="auto">
            <a:xfrm>
              <a:off x="563349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1" name="Freeform 250"/>
            <p:cNvSpPr>
              <a:spLocks noChangeArrowheads="1"/>
            </p:cNvSpPr>
            <p:nvPr/>
          </p:nvSpPr>
          <p:spPr bwMode="auto">
            <a:xfrm>
              <a:off x="5822820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2" name="Freeform 251"/>
            <p:cNvSpPr>
              <a:spLocks noChangeArrowheads="1"/>
            </p:cNvSpPr>
            <p:nvPr/>
          </p:nvSpPr>
          <p:spPr bwMode="auto">
            <a:xfrm>
              <a:off x="6012147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3" name="Freeform 252"/>
            <p:cNvSpPr>
              <a:spLocks noChangeArrowheads="1"/>
            </p:cNvSpPr>
            <p:nvPr/>
          </p:nvSpPr>
          <p:spPr bwMode="auto">
            <a:xfrm>
              <a:off x="6201474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4" name="Freeform 253"/>
            <p:cNvSpPr>
              <a:spLocks noChangeArrowheads="1"/>
            </p:cNvSpPr>
            <p:nvPr/>
          </p:nvSpPr>
          <p:spPr bwMode="auto">
            <a:xfrm>
              <a:off x="6390801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5" name="Freeform 254"/>
            <p:cNvSpPr>
              <a:spLocks noChangeArrowheads="1"/>
            </p:cNvSpPr>
            <p:nvPr/>
          </p:nvSpPr>
          <p:spPr bwMode="auto">
            <a:xfrm>
              <a:off x="6580128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6" name="Freeform 255"/>
            <p:cNvSpPr>
              <a:spLocks noChangeArrowheads="1"/>
            </p:cNvSpPr>
            <p:nvPr/>
          </p:nvSpPr>
          <p:spPr bwMode="auto">
            <a:xfrm>
              <a:off x="6769455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7" name="Freeform 256"/>
            <p:cNvSpPr>
              <a:spLocks noChangeArrowheads="1"/>
            </p:cNvSpPr>
            <p:nvPr/>
          </p:nvSpPr>
          <p:spPr bwMode="auto">
            <a:xfrm>
              <a:off x="6958782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8" name="Freeform 257"/>
            <p:cNvSpPr>
              <a:spLocks noChangeArrowheads="1"/>
            </p:cNvSpPr>
            <p:nvPr/>
          </p:nvSpPr>
          <p:spPr bwMode="auto">
            <a:xfrm>
              <a:off x="7148109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9" name="Freeform 258"/>
            <p:cNvSpPr>
              <a:spLocks noChangeArrowheads="1"/>
            </p:cNvSpPr>
            <p:nvPr/>
          </p:nvSpPr>
          <p:spPr bwMode="auto">
            <a:xfrm>
              <a:off x="733743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0" name="Freeform 259"/>
            <p:cNvSpPr>
              <a:spLocks noChangeArrowheads="1"/>
            </p:cNvSpPr>
            <p:nvPr/>
          </p:nvSpPr>
          <p:spPr bwMode="auto">
            <a:xfrm>
              <a:off x="752676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1" name="Freeform 260"/>
            <p:cNvSpPr>
              <a:spLocks noChangeArrowheads="1"/>
            </p:cNvSpPr>
            <p:nvPr/>
          </p:nvSpPr>
          <p:spPr bwMode="auto">
            <a:xfrm>
              <a:off x="771608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113244" y="3765903"/>
            <a:ext cx="1977272" cy="337665"/>
            <a:chOff x="3113244" y="3765903"/>
            <a:chExt cx="1977272" cy="337665"/>
          </a:xfrm>
        </p:grpSpPr>
        <p:sp>
          <p:nvSpPr>
            <p:cNvPr id="221" name="TextBox 220"/>
            <p:cNvSpPr txBox="1"/>
            <p:nvPr/>
          </p:nvSpPr>
          <p:spPr>
            <a:xfrm>
              <a:off x="3117445" y="3939741"/>
              <a:ext cx="1973070" cy="163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4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3113244" y="3765903"/>
              <a:ext cx="1977272" cy="173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5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2"/>
                  </a:solidFill>
                  <a:latin typeface="+mj-lt"/>
                </a:rPr>
                <a:t>home business users</a:t>
              </a:r>
            </a:p>
          </p:txBody>
        </p:sp>
      </p:grpSp>
      <p:sp>
        <p:nvSpPr>
          <p:cNvPr id="232" name="TextBox 231"/>
          <p:cNvSpPr txBox="1"/>
          <p:nvPr/>
        </p:nvSpPr>
        <p:spPr>
          <a:xfrm>
            <a:off x="8082208" y="3815246"/>
            <a:ext cx="4553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cap="all" spc="20">
                <a:solidFill>
                  <a:schemeClr val="accent2"/>
                </a:solidFill>
                <a:latin typeface="+mj-lt"/>
              </a:rPr>
              <a:t>18%</a:t>
            </a:r>
          </a:p>
        </p:txBody>
      </p:sp>
      <p:grpSp>
        <p:nvGrpSpPr>
          <p:cNvPr id="262" name="Group 261"/>
          <p:cNvGrpSpPr/>
          <p:nvPr/>
        </p:nvGrpSpPr>
        <p:grpSpPr>
          <a:xfrm>
            <a:off x="5444166" y="3751366"/>
            <a:ext cx="2418462" cy="373980"/>
            <a:chOff x="5444166" y="1659051"/>
            <a:chExt cx="2418462" cy="373980"/>
          </a:xfrm>
        </p:grpSpPr>
        <p:sp>
          <p:nvSpPr>
            <p:cNvPr id="263" name="Freeform 262"/>
            <p:cNvSpPr>
              <a:spLocks noChangeArrowheads="1"/>
            </p:cNvSpPr>
            <p:nvPr/>
          </p:nvSpPr>
          <p:spPr bwMode="auto">
            <a:xfrm>
              <a:off x="544416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4" name="Freeform 263"/>
            <p:cNvSpPr>
              <a:spLocks noChangeArrowheads="1"/>
            </p:cNvSpPr>
            <p:nvPr/>
          </p:nvSpPr>
          <p:spPr bwMode="auto">
            <a:xfrm>
              <a:off x="563349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5" name="Freeform 264"/>
            <p:cNvSpPr>
              <a:spLocks noChangeArrowheads="1"/>
            </p:cNvSpPr>
            <p:nvPr/>
          </p:nvSpPr>
          <p:spPr bwMode="auto">
            <a:xfrm>
              <a:off x="5822820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6" name="Freeform 265"/>
            <p:cNvSpPr>
              <a:spLocks noChangeArrowheads="1"/>
            </p:cNvSpPr>
            <p:nvPr/>
          </p:nvSpPr>
          <p:spPr bwMode="auto">
            <a:xfrm>
              <a:off x="6012147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7" name="Freeform 266"/>
            <p:cNvSpPr>
              <a:spLocks noChangeArrowheads="1"/>
            </p:cNvSpPr>
            <p:nvPr/>
          </p:nvSpPr>
          <p:spPr bwMode="auto">
            <a:xfrm>
              <a:off x="6201474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8" name="Freeform 267"/>
            <p:cNvSpPr>
              <a:spLocks noChangeArrowheads="1"/>
            </p:cNvSpPr>
            <p:nvPr/>
          </p:nvSpPr>
          <p:spPr bwMode="auto">
            <a:xfrm>
              <a:off x="6390801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9" name="Freeform 268"/>
            <p:cNvSpPr>
              <a:spLocks noChangeArrowheads="1"/>
            </p:cNvSpPr>
            <p:nvPr/>
          </p:nvSpPr>
          <p:spPr bwMode="auto">
            <a:xfrm>
              <a:off x="6580128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0" name="Freeform 269"/>
            <p:cNvSpPr>
              <a:spLocks noChangeArrowheads="1"/>
            </p:cNvSpPr>
            <p:nvPr/>
          </p:nvSpPr>
          <p:spPr bwMode="auto">
            <a:xfrm>
              <a:off x="6769455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1" name="Freeform 270"/>
            <p:cNvSpPr>
              <a:spLocks noChangeArrowheads="1"/>
            </p:cNvSpPr>
            <p:nvPr/>
          </p:nvSpPr>
          <p:spPr bwMode="auto">
            <a:xfrm>
              <a:off x="6958782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2" name="Freeform 271"/>
            <p:cNvSpPr>
              <a:spLocks noChangeArrowheads="1"/>
            </p:cNvSpPr>
            <p:nvPr/>
          </p:nvSpPr>
          <p:spPr bwMode="auto">
            <a:xfrm>
              <a:off x="7148109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3" name="Freeform 272"/>
            <p:cNvSpPr>
              <a:spLocks noChangeArrowheads="1"/>
            </p:cNvSpPr>
            <p:nvPr/>
          </p:nvSpPr>
          <p:spPr bwMode="auto">
            <a:xfrm>
              <a:off x="733743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4" name="Freeform 273"/>
            <p:cNvSpPr>
              <a:spLocks noChangeArrowheads="1"/>
            </p:cNvSpPr>
            <p:nvPr/>
          </p:nvSpPr>
          <p:spPr bwMode="auto">
            <a:xfrm>
              <a:off x="7526763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5" name="Freeform 274"/>
            <p:cNvSpPr>
              <a:spLocks noChangeArrowheads="1"/>
            </p:cNvSpPr>
            <p:nvPr/>
          </p:nvSpPr>
          <p:spPr bwMode="auto">
            <a:xfrm>
              <a:off x="7716086" y="1659051"/>
              <a:ext cx="146542" cy="373980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88" name="TextBox 287"/>
          <p:cNvSpPr txBox="1"/>
          <p:nvPr/>
        </p:nvSpPr>
        <p:spPr>
          <a:xfrm>
            <a:off x="1237499" y="2404881"/>
            <a:ext cx="822282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620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err="1"/>
              <a:t>Infographic</a:t>
            </a:r>
            <a:r>
              <a:rPr lang="en-US"/>
              <a:t> </a:t>
            </a:r>
            <a:r>
              <a:rPr lang="en-US">
                <a:solidFill>
                  <a:schemeClr val="accent2"/>
                </a:solidFill>
              </a:rPr>
              <a:t>puzzl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3968008" y="1727200"/>
            <a:ext cx="1203072" cy="1203071"/>
          </a:xfrm>
          <a:custGeom>
            <a:avLst/>
            <a:gdLst/>
            <a:ahLst/>
            <a:cxnLst>
              <a:cxn ang="0">
                <a:pos x="5906" y="1511"/>
              </a:cxn>
              <a:cxn ang="0">
                <a:pos x="5926" y="1342"/>
              </a:cxn>
              <a:cxn ang="0">
                <a:pos x="5971" y="1176"/>
              </a:cxn>
              <a:cxn ang="0">
                <a:pos x="6043" y="1020"/>
              </a:cxn>
              <a:cxn ang="0">
                <a:pos x="6142" y="873"/>
              </a:cxn>
              <a:cxn ang="0">
                <a:pos x="6304" y="708"/>
              </a:cxn>
              <a:cxn ang="0">
                <a:pos x="6581" y="541"/>
              </a:cxn>
              <a:cxn ang="0">
                <a:pos x="6888" y="465"/>
              </a:cxn>
              <a:cxn ang="0">
                <a:pos x="7202" y="479"/>
              </a:cxn>
              <a:cxn ang="0">
                <a:pos x="7503" y="583"/>
              </a:cxn>
              <a:cxn ang="0">
                <a:pos x="7768" y="776"/>
              </a:cxn>
              <a:cxn ang="0">
                <a:pos x="7964" y="1040"/>
              </a:cxn>
              <a:cxn ang="0">
                <a:pos x="8070" y="1339"/>
              </a:cxn>
              <a:cxn ang="0">
                <a:pos x="8086" y="1654"/>
              </a:cxn>
              <a:cxn ang="0">
                <a:pos x="8012" y="1961"/>
              </a:cxn>
              <a:cxn ang="0">
                <a:pos x="7849" y="2239"/>
              </a:cxn>
              <a:cxn ang="0">
                <a:pos x="7685" y="2404"/>
              </a:cxn>
              <a:cxn ang="0">
                <a:pos x="7539" y="2503"/>
              </a:cxn>
              <a:cxn ang="0">
                <a:pos x="7383" y="2576"/>
              </a:cxn>
              <a:cxn ang="0">
                <a:pos x="7219" y="2624"/>
              </a:cxn>
              <a:cxn ang="0">
                <a:pos x="7049" y="2645"/>
              </a:cxn>
              <a:cxn ang="0">
                <a:pos x="7036" y="5819"/>
              </a:cxn>
              <a:cxn ang="0">
                <a:pos x="6974" y="5552"/>
              </a:cxn>
              <a:cxn ang="0">
                <a:pos x="6843" y="5305"/>
              </a:cxn>
              <a:cxn ang="0">
                <a:pos x="6636" y="5083"/>
              </a:cxn>
              <a:cxn ang="0">
                <a:pos x="6357" y="4920"/>
              </a:cxn>
              <a:cxn ang="0">
                <a:pos x="6049" y="4846"/>
              </a:cxn>
              <a:cxn ang="0">
                <a:pos x="5736" y="4862"/>
              </a:cxn>
              <a:cxn ang="0">
                <a:pos x="5437" y="4969"/>
              </a:cxn>
              <a:cxn ang="0">
                <a:pos x="5173" y="5165"/>
              </a:cxn>
              <a:cxn ang="0">
                <a:pos x="4979" y="5430"/>
              </a:cxn>
              <a:cxn ang="0">
                <a:pos x="4876" y="5730"/>
              </a:cxn>
              <a:cxn ang="0">
                <a:pos x="4862" y="6045"/>
              </a:cxn>
              <a:cxn ang="0">
                <a:pos x="4938" y="6350"/>
              </a:cxn>
              <a:cxn ang="0">
                <a:pos x="5104" y="6628"/>
              </a:cxn>
              <a:cxn ang="0">
                <a:pos x="5251" y="6776"/>
              </a:cxn>
              <a:cxn ang="0">
                <a:pos x="5489" y="6927"/>
              </a:cxn>
              <a:cxn ang="0">
                <a:pos x="5752" y="7010"/>
              </a:cxn>
              <a:cxn ang="0">
                <a:pos x="2724" y="6950"/>
              </a:cxn>
              <a:cxn ang="0">
                <a:pos x="2893" y="6938"/>
              </a:cxn>
              <a:cxn ang="0">
                <a:pos x="3060" y="6900"/>
              </a:cxn>
              <a:cxn ang="0">
                <a:pos x="3219" y="6835"/>
              </a:cxn>
              <a:cxn ang="0">
                <a:pos x="3368" y="6744"/>
              </a:cxn>
              <a:cxn ang="0">
                <a:pos x="3506" y="6628"/>
              </a:cxn>
              <a:cxn ang="0">
                <a:pos x="3699" y="6362"/>
              </a:cxn>
              <a:cxn ang="0">
                <a:pos x="3803" y="6062"/>
              </a:cxn>
              <a:cxn ang="0">
                <a:pos x="3816" y="5748"/>
              </a:cxn>
              <a:cxn ang="0">
                <a:pos x="3740" y="5442"/>
              </a:cxn>
              <a:cxn ang="0">
                <a:pos x="3574" y="5164"/>
              </a:cxn>
              <a:cxn ang="0">
                <a:pos x="3328" y="4942"/>
              </a:cxn>
              <a:cxn ang="0">
                <a:pos x="3036" y="4809"/>
              </a:cxn>
              <a:cxn ang="0">
                <a:pos x="2725" y="4765"/>
              </a:cxn>
              <a:cxn ang="0">
                <a:pos x="2413" y="4811"/>
              </a:cxn>
              <a:cxn ang="0">
                <a:pos x="2123" y="4947"/>
              </a:cxn>
              <a:cxn ang="0">
                <a:pos x="1911" y="5132"/>
              </a:cxn>
              <a:cxn ang="0">
                <a:pos x="1804" y="5273"/>
              </a:cxn>
              <a:cxn ang="0">
                <a:pos x="1723" y="5428"/>
              </a:cxn>
              <a:cxn ang="0">
                <a:pos x="1669" y="5591"/>
              </a:cxn>
              <a:cxn ang="0">
                <a:pos x="1640" y="5759"/>
              </a:cxn>
              <a:cxn ang="0">
                <a:pos x="1638" y="5929"/>
              </a:cxn>
            </a:cxnLst>
            <a:rect l="0" t="0" r="r" b="b"/>
            <a:pathLst>
              <a:path w="8573" h="8573">
                <a:moveTo>
                  <a:pt x="4270" y="0"/>
                </a:moveTo>
                <a:lnTo>
                  <a:pt x="5908" y="1624"/>
                </a:lnTo>
                <a:lnTo>
                  <a:pt x="5906" y="1596"/>
                </a:lnTo>
                <a:lnTo>
                  <a:pt x="5906" y="1567"/>
                </a:lnTo>
                <a:lnTo>
                  <a:pt x="5906" y="1539"/>
                </a:lnTo>
                <a:lnTo>
                  <a:pt x="5906" y="1511"/>
                </a:lnTo>
                <a:lnTo>
                  <a:pt x="5908" y="1482"/>
                </a:lnTo>
                <a:lnTo>
                  <a:pt x="5910" y="1454"/>
                </a:lnTo>
                <a:lnTo>
                  <a:pt x="5912" y="1426"/>
                </a:lnTo>
                <a:lnTo>
                  <a:pt x="5916" y="1397"/>
                </a:lnTo>
                <a:lnTo>
                  <a:pt x="5921" y="1369"/>
                </a:lnTo>
                <a:lnTo>
                  <a:pt x="5926" y="1342"/>
                </a:lnTo>
                <a:lnTo>
                  <a:pt x="5931" y="1314"/>
                </a:lnTo>
                <a:lnTo>
                  <a:pt x="5938" y="1286"/>
                </a:lnTo>
                <a:lnTo>
                  <a:pt x="5945" y="1259"/>
                </a:lnTo>
                <a:lnTo>
                  <a:pt x="5953" y="1231"/>
                </a:lnTo>
                <a:lnTo>
                  <a:pt x="5961" y="1204"/>
                </a:lnTo>
                <a:lnTo>
                  <a:pt x="5971" y="1176"/>
                </a:lnTo>
                <a:lnTo>
                  <a:pt x="5982" y="1150"/>
                </a:lnTo>
                <a:lnTo>
                  <a:pt x="5992" y="1124"/>
                </a:lnTo>
                <a:lnTo>
                  <a:pt x="6004" y="1097"/>
                </a:lnTo>
                <a:lnTo>
                  <a:pt x="6016" y="1071"/>
                </a:lnTo>
                <a:lnTo>
                  <a:pt x="6029" y="1046"/>
                </a:lnTo>
                <a:lnTo>
                  <a:pt x="6043" y="1020"/>
                </a:lnTo>
                <a:lnTo>
                  <a:pt x="6058" y="994"/>
                </a:lnTo>
                <a:lnTo>
                  <a:pt x="6073" y="969"/>
                </a:lnTo>
                <a:lnTo>
                  <a:pt x="6089" y="945"/>
                </a:lnTo>
                <a:lnTo>
                  <a:pt x="6106" y="920"/>
                </a:lnTo>
                <a:lnTo>
                  <a:pt x="6123" y="896"/>
                </a:lnTo>
                <a:lnTo>
                  <a:pt x="6142" y="873"/>
                </a:lnTo>
                <a:lnTo>
                  <a:pt x="6160" y="850"/>
                </a:lnTo>
                <a:lnTo>
                  <a:pt x="6180" y="827"/>
                </a:lnTo>
                <a:lnTo>
                  <a:pt x="6201" y="805"/>
                </a:lnTo>
                <a:lnTo>
                  <a:pt x="6221" y="783"/>
                </a:lnTo>
                <a:lnTo>
                  <a:pt x="6262" y="744"/>
                </a:lnTo>
                <a:lnTo>
                  <a:pt x="6304" y="708"/>
                </a:lnTo>
                <a:lnTo>
                  <a:pt x="6348" y="673"/>
                </a:lnTo>
                <a:lnTo>
                  <a:pt x="6393" y="642"/>
                </a:lnTo>
                <a:lnTo>
                  <a:pt x="6438" y="613"/>
                </a:lnTo>
                <a:lnTo>
                  <a:pt x="6485" y="587"/>
                </a:lnTo>
                <a:lnTo>
                  <a:pt x="6533" y="563"/>
                </a:lnTo>
                <a:lnTo>
                  <a:pt x="6581" y="541"/>
                </a:lnTo>
                <a:lnTo>
                  <a:pt x="6632" y="523"/>
                </a:lnTo>
                <a:lnTo>
                  <a:pt x="6682" y="506"/>
                </a:lnTo>
                <a:lnTo>
                  <a:pt x="6733" y="492"/>
                </a:lnTo>
                <a:lnTo>
                  <a:pt x="6784" y="481"/>
                </a:lnTo>
                <a:lnTo>
                  <a:pt x="6837" y="472"/>
                </a:lnTo>
                <a:lnTo>
                  <a:pt x="6888" y="465"/>
                </a:lnTo>
                <a:lnTo>
                  <a:pt x="6941" y="462"/>
                </a:lnTo>
                <a:lnTo>
                  <a:pt x="6993" y="460"/>
                </a:lnTo>
                <a:lnTo>
                  <a:pt x="7046" y="461"/>
                </a:lnTo>
                <a:lnTo>
                  <a:pt x="7098" y="465"/>
                </a:lnTo>
                <a:lnTo>
                  <a:pt x="7151" y="471"/>
                </a:lnTo>
                <a:lnTo>
                  <a:pt x="7202" y="479"/>
                </a:lnTo>
                <a:lnTo>
                  <a:pt x="7254" y="490"/>
                </a:lnTo>
                <a:lnTo>
                  <a:pt x="7305" y="504"/>
                </a:lnTo>
                <a:lnTo>
                  <a:pt x="7356" y="520"/>
                </a:lnTo>
                <a:lnTo>
                  <a:pt x="7405" y="538"/>
                </a:lnTo>
                <a:lnTo>
                  <a:pt x="7455" y="560"/>
                </a:lnTo>
                <a:lnTo>
                  <a:pt x="7503" y="583"/>
                </a:lnTo>
                <a:lnTo>
                  <a:pt x="7550" y="609"/>
                </a:lnTo>
                <a:lnTo>
                  <a:pt x="7596" y="638"/>
                </a:lnTo>
                <a:lnTo>
                  <a:pt x="7641" y="668"/>
                </a:lnTo>
                <a:lnTo>
                  <a:pt x="7685" y="702"/>
                </a:lnTo>
                <a:lnTo>
                  <a:pt x="7727" y="738"/>
                </a:lnTo>
                <a:lnTo>
                  <a:pt x="7768" y="776"/>
                </a:lnTo>
                <a:lnTo>
                  <a:pt x="7806" y="817"/>
                </a:lnTo>
                <a:lnTo>
                  <a:pt x="7843" y="859"/>
                </a:lnTo>
                <a:lnTo>
                  <a:pt x="7877" y="903"/>
                </a:lnTo>
                <a:lnTo>
                  <a:pt x="7908" y="947"/>
                </a:lnTo>
                <a:lnTo>
                  <a:pt x="7937" y="993"/>
                </a:lnTo>
                <a:lnTo>
                  <a:pt x="7964" y="1040"/>
                </a:lnTo>
                <a:lnTo>
                  <a:pt x="7988" y="1088"/>
                </a:lnTo>
                <a:lnTo>
                  <a:pt x="8009" y="1137"/>
                </a:lnTo>
                <a:lnTo>
                  <a:pt x="8029" y="1187"/>
                </a:lnTo>
                <a:lnTo>
                  <a:pt x="8045" y="1238"/>
                </a:lnTo>
                <a:lnTo>
                  <a:pt x="8059" y="1288"/>
                </a:lnTo>
                <a:lnTo>
                  <a:pt x="8070" y="1339"/>
                </a:lnTo>
                <a:lnTo>
                  <a:pt x="8079" y="1391"/>
                </a:lnTo>
                <a:lnTo>
                  <a:pt x="8085" y="1444"/>
                </a:lnTo>
                <a:lnTo>
                  <a:pt x="8090" y="1496"/>
                </a:lnTo>
                <a:lnTo>
                  <a:pt x="8091" y="1549"/>
                </a:lnTo>
                <a:lnTo>
                  <a:pt x="8090" y="1601"/>
                </a:lnTo>
                <a:lnTo>
                  <a:pt x="8086" y="1654"/>
                </a:lnTo>
                <a:lnTo>
                  <a:pt x="8080" y="1705"/>
                </a:lnTo>
                <a:lnTo>
                  <a:pt x="8071" y="1758"/>
                </a:lnTo>
                <a:lnTo>
                  <a:pt x="8061" y="1809"/>
                </a:lnTo>
                <a:lnTo>
                  <a:pt x="8047" y="1861"/>
                </a:lnTo>
                <a:lnTo>
                  <a:pt x="8031" y="1911"/>
                </a:lnTo>
                <a:lnTo>
                  <a:pt x="8012" y="1961"/>
                </a:lnTo>
                <a:lnTo>
                  <a:pt x="7992" y="2010"/>
                </a:lnTo>
                <a:lnTo>
                  <a:pt x="7968" y="2058"/>
                </a:lnTo>
                <a:lnTo>
                  <a:pt x="7942" y="2105"/>
                </a:lnTo>
                <a:lnTo>
                  <a:pt x="7914" y="2152"/>
                </a:lnTo>
                <a:lnTo>
                  <a:pt x="7883" y="2197"/>
                </a:lnTo>
                <a:lnTo>
                  <a:pt x="7849" y="2239"/>
                </a:lnTo>
                <a:lnTo>
                  <a:pt x="7813" y="2282"/>
                </a:lnTo>
                <a:lnTo>
                  <a:pt x="7774" y="2323"/>
                </a:lnTo>
                <a:lnTo>
                  <a:pt x="7753" y="2345"/>
                </a:lnTo>
                <a:lnTo>
                  <a:pt x="7730" y="2365"/>
                </a:lnTo>
                <a:lnTo>
                  <a:pt x="7708" y="2384"/>
                </a:lnTo>
                <a:lnTo>
                  <a:pt x="7685" y="2404"/>
                </a:lnTo>
                <a:lnTo>
                  <a:pt x="7662" y="2422"/>
                </a:lnTo>
                <a:lnTo>
                  <a:pt x="7638" y="2440"/>
                </a:lnTo>
                <a:lnTo>
                  <a:pt x="7613" y="2457"/>
                </a:lnTo>
                <a:lnTo>
                  <a:pt x="7590" y="2473"/>
                </a:lnTo>
                <a:lnTo>
                  <a:pt x="7564" y="2488"/>
                </a:lnTo>
                <a:lnTo>
                  <a:pt x="7539" y="2503"/>
                </a:lnTo>
                <a:lnTo>
                  <a:pt x="7514" y="2517"/>
                </a:lnTo>
                <a:lnTo>
                  <a:pt x="7488" y="2530"/>
                </a:lnTo>
                <a:lnTo>
                  <a:pt x="7462" y="2543"/>
                </a:lnTo>
                <a:lnTo>
                  <a:pt x="7436" y="2555"/>
                </a:lnTo>
                <a:lnTo>
                  <a:pt x="7410" y="2566"/>
                </a:lnTo>
                <a:lnTo>
                  <a:pt x="7383" y="2576"/>
                </a:lnTo>
                <a:lnTo>
                  <a:pt x="7356" y="2586"/>
                </a:lnTo>
                <a:lnTo>
                  <a:pt x="7328" y="2595"/>
                </a:lnTo>
                <a:lnTo>
                  <a:pt x="7301" y="2603"/>
                </a:lnTo>
                <a:lnTo>
                  <a:pt x="7273" y="2611"/>
                </a:lnTo>
                <a:lnTo>
                  <a:pt x="7245" y="2617"/>
                </a:lnTo>
                <a:lnTo>
                  <a:pt x="7219" y="2624"/>
                </a:lnTo>
                <a:lnTo>
                  <a:pt x="7191" y="2629"/>
                </a:lnTo>
                <a:lnTo>
                  <a:pt x="7162" y="2633"/>
                </a:lnTo>
                <a:lnTo>
                  <a:pt x="7134" y="2637"/>
                </a:lnTo>
                <a:lnTo>
                  <a:pt x="7106" y="2641"/>
                </a:lnTo>
                <a:lnTo>
                  <a:pt x="7078" y="2643"/>
                </a:lnTo>
                <a:lnTo>
                  <a:pt x="7049" y="2645"/>
                </a:lnTo>
                <a:lnTo>
                  <a:pt x="7021" y="2645"/>
                </a:lnTo>
                <a:lnTo>
                  <a:pt x="6992" y="2646"/>
                </a:lnTo>
                <a:lnTo>
                  <a:pt x="6964" y="2645"/>
                </a:lnTo>
                <a:lnTo>
                  <a:pt x="6936" y="2644"/>
                </a:lnTo>
                <a:lnTo>
                  <a:pt x="8573" y="4268"/>
                </a:lnTo>
                <a:lnTo>
                  <a:pt x="7036" y="5819"/>
                </a:lnTo>
                <a:lnTo>
                  <a:pt x="7030" y="5774"/>
                </a:lnTo>
                <a:lnTo>
                  <a:pt x="7022" y="5729"/>
                </a:lnTo>
                <a:lnTo>
                  <a:pt x="7014" y="5684"/>
                </a:lnTo>
                <a:lnTo>
                  <a:pt x="7002" y="5640"/>
                </a:lnTo>
                <a:lnTo>
                  <a:pt x="6989" y="5596"/>
                </a:lnTo>
                <a:lnTo>
                  <a:pt x="6974" y="5552"/>
                </a:lnTo>
                <a:lnTo>
                  <a:pt x="6957" y="5509"/>
                </a:lnTo>
                <a:lnTo>
                  <a:pt x="6938" y="5467"/>
                </a:lnTo>
                <a:lnTo>
                  <a:pt x="6917" y="5426"/>
                </a:lnTo>
                <a:lnTo>
                  <a:pt x="6895" y="5385"/>
                </a:lnTo>
                <a:lnTo>
                  <a:pt x="6870" y="5344"/>
                </a:lnTo>
                <a:lnTo>
                  <a:pt x="6843" y="5305"/>
                </a:lnTo>
                <a:lnTo>
                  <a:pt x="6815" y="5267"/>
                </a:lnTo>
                <a:lnTo>
                  <a:pt x="6785" y="5229"/>
                </a:lnTo>
                <a:lnTo>
                  <a:pt x="6753" y="5193"/>
                </a:lnTo>
                <a:lnTo>
                  <a:pt x="6720" y="5158"/>
                </a:lnTo>
                <a:lnTo>
                  <a:pt x="6679" y="5120"/>
                </a:lnTo>
                <a:lnTo>
                  <a:pt x="6636" y="5083"/>
                </a:lnTo>
                <a:lnTo>
                  <a:pt x="6592" y="5050"/>
                </a:lnTo>
                <a:lnTo>
                  <a:pt x="6547" y="5019"/>
                </a:lnTo>
                <a:lnTo>
                  <a:pt x="6501" y="4990"/>
                </a:lnTo>
                <a:lnTo>
                  <a:pt x="6454" y="4964"/>
                </a:lnTo>
                <a:lnTo>
                  <a:pt x="6405" y="4941"/>
                </a:lnTo>
                <a:lnTo>
                  <a:pt x="6357" y="4920"/>
                </a:lnTo>
                <a:lnTo>
                  <a:pt x="6307" y="4901"/>
                </a:lnTo>
                <a:lnTo>
                  <a:pt x="6256" y="4886"/>
                </a:lnTo>
                <a:lnTo>
                  <a:pt x="6206" y="4872"/>
                </a:lnTo>
                <a:lnTo>
                  <a:pt x="6153" y="4861"/>
                </a:lnTo>
                <a:lnTo>
                  <a:pt x="6102" y="4853"/>
                </a:lnTo>
                <a:lnTo>
                  <a:pt x="6049" y="4846"/>
                </a:lnTo>
                <a:lnTo>
                  <a:pt x="5997" y="4843"/>
                </a:lnTo>
                <a:lnTo>
                  <a:pt x="5945" y="4842"/>
                </a:lnTo>
                <a:lnTo>
                  <a:pt x="5893" y="4843"/>
                </a:lnTo>
                <a:lnTo>
                  <a:pt x="5840" y="4847"/>
                </a:lnTo>
                <a:lnTo>
                  <a:pt x="5788" y="4854"/>
                </a:lnTo>
                <a:lnTo>
                  <a:pt x="5736" y="4862"/>
                </a:lnTo>
                <a:lnTo>
                  <a:pt x="5685" y="4874"/>
                </a:lnTo>
                <a:lnTo>
                  <a:pt x="5633" y="4888"/>
                </a:lnTo>
                <a:lnTo>
                  <a:pt x="5583" y="4904"/>
                </a:lnTo>
                <a:lnTo>
                  <a:pt x="5533" y="4924"/>
                </a:lnTo>
                <a:lnTo>
                  <a:pt x="5484" y="4945"/>
                </a:lnTo>
                <a:lnTo>
                  <a:pt x="5437" y="4969"/>
                </a:lnTo>
                <a:lnTo>
                  <a:pt x="5390" y="4995"/>
                </a:lnTo>
                <a:lnTo>
                  <a:pt x="5343" y="5024"/>
                </a:lnTo>
                <a:lnTo>
                  <a:pt x="5298" y="5055"/>
                </a:lnTo>
                <a:lnTo>
                  <a:pt x="5255" y="5090"/>
                </a:lnTo>
                <a:lnTo>
                  <a:pt x="5214" y="5125"/>
                </a:lnTo>
                <a:lnTo>
                  <a:pt x="5173" y="5165"/>
                </a:lnTo>
                <a:lnTo>
                  <a:pt x="5134" y="5206"/>
                </a:lnTo>
                <a:lnTo>
                  <a:pt x="5098" y="5247"/>
                </a:lnTo>
                <a:lnTo>
                  <a:pt x="5065" y="5291"/>
                </a:lnTo>
                <a:lnTo>
                  <a:pt x="5033" y="5337"/>
                </a:lnTo>
                <a:lnTo>
                  <a:pt x="5006" y="5383"/>
                </a:lnTo>
                <a:lnTo>
                  <a:pt x="4979" y="5430"/>
                </a:lnTo>
                <a:lnTo>
                  <a:pt x="4955" y="5478"/>
                </a:lnTo>
                <a:lnTo>
                  <a:pt x="4935" y="5526"/>
                </a:lnTo>
                <a:lnTo>
                  <a:pt x="4916" y="5577"/>
                </a:lnTo>
                <a:lnTo>
                  <a:pt x="4900" y="5627"/>
                </a:lnTo>
                <a:lnTo>
                  <a:pt x="4886" y="5679"/>
                </a:lnTo>
                <a:lnTo>
                  <a:pt x="4876" y="5730"/>
                </a:lnTo>
                <a:lnTo>
                  <a:pt x="4867" y="5782"/>
                </a:lnTo>
                <a:lnTo>
                  <a:pt x="4861" y="5834"/>
                </a:lnTo>
                <a:lnTo>
                  <a:pt x="4857" y="5887"/>
                </a:lnTo>
                <a:lnTo>
                  <a:pt x="4856" y="5939"/>
                </a:lnTo>
                <a:lnTo>
                  <a:pt x="4857" y="5992"/>
                </a:lnTo>
                <a:lnTo>
                  <a:pt x="4862" y="6045"/>
                </a:lnTo>
                <a:lnTo>
                  <a:pt x="4868" y="6096"/>
                </a:lnTo>
                <a:lnTo>
                  <a:pt x="4877" y="6149"/>
                </a:lnTo>
                <a:lnTo>
                  <a:pt x="4889" y="6200"/>
                </a:lnTo>
                <a:lnTo>
                  <a:pt x="4903" y="6250"/>
                </a:lnTo>
                <a:lnTo>
                  <a:pt x="4919" y="6301"/>
                </a:lnTo>
                <a:lnTo>
                  <a:pt x="4938" y="6350"/>
                </a:lnTo>
                <a:lnTo>
                  <a:pt x="4959" y="6400"/>
                </a:lnTo>
                <a:lnTo>
                  <a:pt x="4983" y="6448"/>
                </a:lnTo>
                <a:lnTo>
                  <a:pt x="5010" y="6495"/>
                </a:lnTo>
                <a:lnTo>
                  <a:pt x="5039" y="6540"/>
                </a:lnTo>
                <a:lnTo>
                  <a:pt x="5070" y="6585"/>
                </a:lnTo>
                <a:lnTo>
                  <a:pt x="5104" y="6628"/>
                </a:lnTo>
                <a:lnTo>
                  <a:pt x="5141" y="6671"/>
                </a:lnTo>
                <a:lnTo>
                  <a:pt x="5179" y="6711"/>
                </a:lnTo>
                <a:lnTo>
                  <a:pt x="5196" y="6728"/>
                </a:lnTo>
                <a:lnTo>
                  <a:pt x="5215" y="6745"/>
                </a:lnTo>
                <a:lnTo>
                  <a:pt x="5233" y="6761"/>
                </a:lnTo>
                <a:lnTo>
                  <a:pt x="5251" y="6776"/>
                </a:lnTo>
                <a:lnTo>
                  <a:pt x="5289" y="6806"/>
                </a:lnTo>
                <a:lnTo>
                  <a:pt x="5327" y="6834"/>
                </a:lnTo>
                <a:lnTo>
                  <a:pt x="5367" y="6860"/>
                </a:lnTo>
                <a:lnTo>
                  <a:pt x="5407" y="6884"/>
                </a:lnTo>
                <a:lnTo>
                  <a:pt x="5447" y="6907"/>
                </a:lnTo>
                <a:lnTo>
                  <a:pt x="5489" y="6927"/>
                </a:lnTo>
                <a:lnTo>
                  <a:pt x="5532" y="6946"/>
                </a:lnTo>
                <a:lnTo>
                  <a:pt x="5575" y="6962"/>
                </a:lnTo>
                <a:lnTo>
                  <a:pt x="5619" y="6977"/>
                </a:lnTo>
                <a:lnTo>
                  <a:pt x="5663" y="6990"/>
                </a:lnTo>
                <a:lnTo>
                  <a:pt x="5708" y="7000"/>
                </a:lnTo>
                <a:lnTo>
                  <a:pt x="5752" y="7010"/>
                </a:lnTo>
                <a:lnTo>
                  <a:pt x="5797" y="7016"/>
                </a:lnTo>
                <a:lnTo>
                  <a:pt x="5843" y="7022"/>
                </a:lnTo>
                <a:lnTo>
                  <a:pt x="4305" y="8573"/>
                </a:lnTo>
                <a:lnTo>
                  <a:pt x="2667" y="6949"/>
                </a:lnTo>
                <a:lnTo>
                  <a:pt x="2695" y="6950"/>
                </a:lnTo>
                <a:lnTo>
                  <a:pt x="2724" y="6950"/>
                </a:lnTo>
                <a:lnTo>
                  <a:pt x="2752" y="6950"/>
                </a:lnTo>
                <a:lnTo>
                  <a:pt x="2781" y="6949"/>
                </a:lnTo>
                <a:lnTo>
                  <a:pt x="2809" y="6948"/>
                </a:lnTo>
                <a:lnTo>
                  <a:pt x="2836" y="6945"/>
                </a:lnTo>
                <a:lnTo>
                  <a:pt x="2865" y="6941"/>
                </a:lnTo>
                <a:lnTo>
                  <a:pt x="2893" y="6938"/>
                </a:lnTo>
                <a:lnTo>
                  <a:pt x="2921" y="6934"/>
                </a:lnTo>
                <a:lnTo>
                  <a:pt x="2949" y="6928"/>
                </a:lnTo>
                <a:lnTo>
                  <a:pt x="2977" y="6922"/>
                </a:lnTo>
                <a:lnTo>
                  <a:pt x="3005" y="6916"/>
                </a:lnTo>
                <a:lnTo>
                  <a:pt x="3032" y="6908"/>
                </a:lnTo>
                <a:lnTo>
                  <a:pt x="3060" y="6900"/>
                </a:lnTo>
                <a:lnTo>
                  <a:pt x="3086" y="6891"/>
                </a:lnTo>
                <a:lnTo>
                  <a:pt x="3113" y="6881"/>
                </a:lnTo>
                <a:lnTo>
                  <a:pt x="3140" y="6871"/>
                </a:lnTo>
                <a:lnTo>
                  <a:pt x="3167" y="6860"/>
                </a:lnTo>
                <a:lnTo>
                  <a:pt x="3194" y="6848"/>
                </a:lnTo>
                <a:lnTo>
                  <a:pt x="3219" y="6835"/>
                </a:lnTo>
                <a:lnTo>
                  <a:pt x="3245" y="6822"/>
                </a:lnTo>
                <a:lnTo>
                  <a:pt x="3271" y="6807"/>
                </a:lnTo>
                <a:lnTo>
                  <a:pt x="3296" y="6793"/>
                </a:lnTo>
                <a:lnTo>
                  <a:pt x="3320" y="6777"/>
                </a:lnTo>
                <a:lnTo>
                  <a:pt x="3345" y="6761"/>
                </a:lnTo>
                <a:lnTo>
                  <a:pt x="3368" y="6744"/>
                </a:lnTo>
                <a:lnTo>
                  <a:pt x="3393" y="6727"/>
                </a:lnTo>
                <a:lnTo>
                  <a:pt x="3416" y="6709"/>
                </a:lnTo>
                <a:lnTo>
                  <a:pt x="3439" y="6689"/>
                </a:lnTo>
                <a:lnTo>
                  <a:pt x="3462" y="6670"/>
                </a:lnTo>
                <a:lnTo>
                  <a:pt x="3484" y="6648"/>
                </a:lnTo>
                <a:lnTo>
                  <a:pt x="3506" y="6628"/>
                </a:lnTo>
                <a:lnTo>
                  <a:pt x="3544" y="6586"/>
                </a:lnTo>
                <a:lnTo>
                  <a:pt x="3580" y="6544"/>
                </a:lnTo>
                <a:lnTo>
                  <a:pt x="3613" y="6500"/>
                </a:lnTo>
                <a:lnTo>
                  <a:pt x="3644" y="6455"/>
                </a:lnTo>
                <a:lnTo>
                  <a:pt x="3673" y="6409"/>
                </a:lnTo>
                <a:lnTo>
                  <a:pt x="3699" y="6362"/>
                </a:lnTo>
                <a:lnTo>
                  <a:pt x="3722" y="6314"/>
                </a:lnTo>
                <a:lnTo>
                  <a:pt x="3744" y="6266"/>
                </a:lnTo>
                <a:lnTo>
                  <a:pt x="3762" y="6215"/>
                </a:lnTo>
                <a:lnTo>
                  <a:pt x="3778" y="6165"/>
                </a:lnTo>
                <a:lnTo>
                  <a:pt x="3791" y="6114"/>
                </a:lnTo>
                <a:lnTo>
                  <a:pt x="3803" y="6062"/>
                </a:lnTo>
                <a:lnTo>
                  <a:pt x="3812" y="6010"/>
                </a:lnTo>
                <a:lnTo>
                  <a:pt x="3817" y="5958"/>
                </a:lnTo>
                <a:lnTo>
                  <a:pt x="3821" y="5905"/>
                </a:lnTo>
                <a:lnTo>
                  <a:pt x="3822" y="5853"/>
                </a:lnTo>
                <a:lnTo>
                  <a:pt x="3820" y="5801"/>
                </a:lnTo>
                <a:lnTo>
                  <a:pt x="3816" y="5748"/>
                </a:lnTo>
                <a:lnTo>
                  <a:pt x="3809" y="5696"/>
                </a:lnTo>
                <a:lnTo>
                  <a:pt x="3801" y="5644"/>
                </a:lnTo>
                <a:lnTo>
                  <a:pt x="3789" y="5593"/>
                </a:lnTo>
                <a:lnTo>
                  <a:pt x="3775" y="5541"/>
                </a:lnTo>
                <a:lnTo>
                  <a:pt x="3759" y="5491"/>
                </a:lnTo>
                <a:lnTo>
                  <a:pt x="3740" y="5442"/>
                </a:lnTo>
                <a:lnTo>
                  <a:pt x="3719" y="5392"/>
                </a:lnTo>
                <a:lnTo>
                  <a:pt x="3695" y="5345"/>
                </a:lnTo>
                <a:lnTo>
                  <a:pt x="3669" y="5298"/>
                </a:lnTo>
                <a:lnTo>
                  <a:pt x="3640" y="5252"/>
                </a:lnTo>
                <a:lnTo>
                  <a:pt x="3608" y="5207"/>
                </a:lnTo>
                <a:lnTo>
                  <a:pt x="3574" y="5164"/>
                </a:lnTo>
                <a:lnTo>
                  <a:pt x="3538" y="5122"/>
                </a:lnTo>
                <a:lnTo>
                  <a:pt x="3499" y="5081"/>
                </a:lnTo>
                <a:lnTo>
                  <a:pt x="3459" y="5043"/>
                </a:lnTo>
                <a:lnTo>
                  <a:pt x="3416" y="5006"/>
                </a:lnTo>
                <a:lnTo>
                  <a:pt x="3372" y="4973"/>
                </a:lnTo>
                <a:lnTo>
                  <a:pt x="3328" y="4942"/>
                </a:lnTo>
                <a:lnTo>
                  <a:pt x="3282" y="4914"/>
                </a:lnTo>
                <a:lnTo>
                  <a:pt x="3234" y="4887"/>
                </a:lnTo>
                <a:lnTo>
                  <a:pt x="3186" y="4863"/>
                </a:lnTo>
                <a:lnTo>
                  <a:pt x="3137" y="4843"/>
                </a:lnTo>
                <a:lnTo>
                  <a:pt x="3086" y="4825"/>
                </a:lnTo>
                <a:lnTo>
                  <a:pt x="3036" y="4809"/>
                </a:lnTo>
                <a:lnTo>
                  <a:pt x="2986" y="4795"/>
                </a:lnTo>
                <a:lnTo>
                  <a:pt x="2934" y="4784"/>
                </a:lnTo>
                <a:lnTo>
                  <a:pt x="2881" y="4775"/>
                </a:lnTo>
                <a:lnTo>
                  <a:pt x="2829" y="4769"/>
                </a:lnTo>
                <a:lnTo>
                  <a:pt x="2777" y="4766"/>
                </a:lnTo>
                <a:lnTo>
                  <a:pt x="2725" y="4765"/>
                </a:lnTo>
                <a:lnTo>
                  <a:pt x="2672" y="4766"/>
                </a:lnTo>
                <a:lnTo>
                  <a:pt x="2620" y="4770"/>
                </a:lnTo>
                <a:lnTo>
                  <a:pt x="2567" y="4777"/>
                </a:lnTo>
                <a:lnTo>
                  <a:pt x="2516" y="4785"/>
                </a:lnTo>
                <a:lnTo>
                  <a:pt x="2464" y="4797"/>
                </a:lnTo>
                <a:lnTo>
                  <a:pt x="2413" y="4811"/>
                </a:lnTo>
                <a:lnTo>
                  <a:pt x="2362" y="4827"/>
                </a:lnTo>
                <a:lnTo>
                  <a:pt x="2313" y="4846"/>
                </a:lnTo>
                <a:lnTo>
                  <a:pt x="2264" y="4868"/>
                </a:lnTo>
                <a:lnTo>
                  <a:pt x="2216" y="4891"/>
                </a:lnTo>
                <a:lnTo>
                  <a:pt x="2169" y="4918"/>
                </a:lnTo>
                <a:lnTo>
                  <a:pt x="2123" y="4947"/>
                </a:lnTo>
                <a:lnTo>
                  <a:pt x="2078" y="4978"/>
                </a:lnTo>
                <a:lnTo>
                  <a:pt x="2035" y="5013"/>
                </a:lnTo>
                <a:lnTo>
                  <a:pt x="1993" y="5049"/>
                </a:lnTo>
                <a:lnTo>
                  <a:pt x="1952" y="5088"/>
                </a:lnTo>
                <a:lnTo>
                  <a:pt x="1931" y="5109"/>
                </a:lnTo>
                <a:lnTo>
                  <a:pt x="1911" y="5132"/>
                </a:lnTo>
                <a:lnTo>
                  <a:pt x="1891" y="5154"/>
                </a:lnTo>
                <a:lnTo>
                  <a:pt x="1872" y="5178"/>
                </a:lnTo>
                <a:lnTo>
                  <a:pt x="1854" y="5201"/>
                </a:lnTo>
                <a:lnTo>
                  <a:pt x="1837" y="5225"/>
                </a:lnTo>
                <a:lnTo>
                  <a:pt x="1821" y="5250"/>
                </a:lnTo>
                <a:lnTo>
                  <a:pt x="1804" y="5273"/>
                </a:lnTo>
                <a:lnTo>
                  <a:pt x="1788" y="5299"/>
                </a:lnTo>
                <a:lnTo>
                  <a:pt x="1774" y="5324"/>
                </a:lnTo>
                <a:lnTo>
                  <a:pt x="1760" y="5349"/>
                </a:lnTo>
                <a:lnTo>
                  <a:pt x="1748" y="5375"/>
                </a:lnTo>
                <a:lnTo>
                  <a:pt x="1735" y="5402"/>
                </a:lnTo>
                <a:lnTo>
                  <a:pt x="1723" y="5428"/>
                </a:lnTo>
                <a:lnTo>
                  <a:pt x="1712" y="5455"/>
                </a:lnTo>
                <a:lnTo>
                  <a:pt x="1703" y="5481"/>
                </a:lnTo>
                <a:lnTo>
                  <a:pt x="1693" y="5508"/>
                </a:lnTo>
                <a:lnTo>
                  <a:pt x="1684" y="5536"/>
                </a:lnTo>
                <a:lnTo>
                  <a:pt x="1676" y="5563"/>
                </a:lnTo>
                <a:lnTo>
                  <a:pt x="1669" y="5591"/>
                </a:lnTo>
                <a:lnTo>
                  <a:pt x="1663" y="5619"/>
                </a:lnTo>
                <a:lnTo>
                  <a:pt x="1656" y="5647"/>
                </a:lnTo>
                <a:lnTo>
                  <a:pt x="1651" y="5674"/>
                </a:lnTo>
                <a:lnTo>
                  <a:pt x="1647" y="5702"/>
                </a:lnTo>
                <a:lnTo>
                  <a:pt x="1644" y="5730"/>
                </a:lnTo>
                <a:lnTo>
                  <a:pt x="1640" y="5759"/>
                </a:lnTo>
                <a:lnTo>
                  <a:pt x="1638" y="5787"/>
                </a:lnTo>
                <a:lnTo>
                  <a:pt x="1637" y="5815"/>
                </a:lnTo>
                <a:lnTo>
                  <a:pt x="1636" y="5844"/>
                </a:lnTo>
                <a:lnTo>
                  <a:pt x="1636" y="5872"/>
                </a:lnTo>
                <a:lnTo>
                  <a:pt x="1637" y="5901"/>
                </a:lnTo>
                <a:lnTo>
                  <a:pt x="1638" y="5929"/>
                </a:lnTo>
                <a:lnTo>
                  <a:pt x="0" y="4305"/>
                </a:lnTo>
                <a:lnTo>
                  <a:pt x="4270" y="0"/>
                </a:lnTo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3368928" y="2331191"/>
            <a:ext cx="1203072" cy="1203071"/>
          </a:xfrm>
          <a:custGeom>
            <a:avLst/>
            <a:gdLst/>
            <a:ahLst/>
            <a:cxnLst>
              <a:cxn ang="0">
                <a:pos x="5904" y="1567"/>
              </a:cxn>
              <a:cxn ang="0">
                <a:pos x="5908" y="1453"/>
              </a:cxn>
              <a:cxn ang="0">
                <a:pos x="5924" y="1342"/>
              </a:cxn>
              <a:cxn ang="0">
                <a:pos x="5952" y="1231"/>
              </a:cxn>
              <a:cxn ang="0">
                <a:pos x="5991" y="1123"/>
              </a:cxn>
              <a:cxn ang="0">
                <a:pos x="6042" y="1019"/>
              </a:cxn>
              <a:cxn ang="0">
                <a:pos x="6105" y="920"/>
              </a:cxn>
              <a:cxn ang="0">
                <a:pos x="6179" y="827"/>
              </a:cxn>
              <a:cxn ang="0">
                <a:pos x="6303" y="708"/>
              </a:cxn>
              <a:cxn ang="0">
                <a:pos x="6484" y="586"/>
              </a:cxn>
              <a:cxn ang="0">
                <a:pos x="6681" y="506"/>
              </a:cxn>
              <a:cxn ang="0">
                <a:pos x="6888" y="465"/>
              </a:cxn>
              <a:cxn ang="0">
                <a:pos x="7097" y="464"/>
              </a:cxn>
              <a:cxn ang="0">
                <a:pos x="7304" y="504"/>
              </a:cxn>
              <a:cxn ang="0">
                <a:pos x="7502" y="582"/>
              </a:cxn>
              <a:cxn ang="0">
                <a:pos x="7684" y="701"/>
              </a:cxn>
              <a:cxn ang="0">
                <a:pos x="7842" y="859"/>
              </a:cxn>
              <a:cxn ang="0">
                <a:pos x="7963" y="1040"/>
              </a:cxn>
              <a:cxn ang="0">
                <a:pos x="8043" y="1236"/>
              </a:cxn>
              <a:cxn ang="0">
                <a:pos x="8084" y="1443"/>
              </a:cxn>
              <a:cxn ang="0">
                <a:pos x="8085" y="1653"/>
              </a:cxn>
              <a:cxn ang="0">
                <a:pos x="8046" y="1860"/>
              </a:cxn>
              <a:cxn ang="0">
                <a:pos x="7967" y="2057"/>
              </a:cxn>
              <a:cxn ang="0">
                <a:pos x="7848" y="2239"/>
              </a:cxn>
              <a:cxn ang="0">
                <a:pos x="7730" y="2365"/>
              </a:cxn>
              <a:cxn ang="0">
                <a:pos x="7636" y="2439"/>
              </a:cxn>
              <a:cxn ang="0">
                <a:pos x="7539" y="2502"/>
              </a:cxn>
              <a:cxn ang="0">
                <a:pos x="7435" y="2555"/>
              </a:cxn>
              <a:cxn ang="0">
                <a:pos x="7328" y="2595"/>
              </a:cxn>
              <a:cxn ang="0">
                <a:pos x="7217" y="2623"/>
              </a:cxn>
              <a:cxn ang="0">
                <a:pos x="7104" y="2640"/>
              </a:cxn>
              <a:cxn ang="0">
                <a:pos x="6992" y="2645"/>
              </a:cxn>
              <a:cxn ang="0">
                <a:pos x="7035" y="5819"/>
              </a:cxn>
              <a:cxn ang="0">
                <a:pos x="7001" y="5639"/>
              </a:cxn>
              <a:cxn ang="0">
                <a:pos x="6937" y="5466"/>
              </a:cxn>
              <a:cxn ang="0">
                <a:pos x="6843" y="5304"/>
              </a:cxn>
              <a:cxn ang="0">
                <a:pos x="6718" y="5157"/>
              </a:cxn>
              <a:cxn ang="0">
                <a:pos x="6547" y="5019"/>
              </a:cxn>
              <a:cxn ang="0">
                <a:pos x="6356" y="4919"/>
              </a:cxn>
              <a:cxn ang="0">
                <a:pos x="6153" y="4860"/>
              </a:cxn>
              <a:cxn ang="0">
                <a:pos x="5944" y="4841"/>
              </a:cxn>
              <a:cxn ang="0">
                <a:pos x="5735" y="4862"/>
              </a:cxn>
              <a:cxn ang="0">
                <a:pos x="5532" y="4922"/>
              </a:cxn>
              <a:cxn ang="0">
                <a:pos x="5343" y="5023"/>
              </a:cxn>
              <a:cxn ang="0">
                <a:pos x="5171" y="5164"/>
              </a:cxn>
              <a:cxn ang="0">
                <a:pos x="5033" y="5335"/>
              </a:cxn>
              <a:cxn ang="0">
                <a:pos x="4933" y="5526"/>
              </a:cxn>
              <a:cxn ang="0">
                <a:pos x="4874" y="5729"/>
              </a:cxn>
              <a:cxn ang="0">
                <a:pos x="4856" y="5938"/>
              </a:cxn>
              <a:cxn ang="0">
                <a:pos x="4876" y="6147"/>
              </a:cxn>
              <a:cxn ang="0">
                <a:pos x="4937" y="6350"/>
              </a:cxn>
              <a:cxn ang="0">
                <a:pos x="5037" y="6540"/>
              </a:cxn>
              <a:cxn ang="0">
                <a:pos x="5178" y="6711"/>
              </a:cxn>
              <a:cxn ang="0">
                <a:pos x="5250" y="6776"/>
              </a:cxn>
              <a:cxn ang="0">
                <a:pos x="5406" y="6883"/>
              </a:cxn>
              <a:cxn ang="0">
                <a:pos x="5575" y="6962"/>
              </a:cxn>
              <a:cxn ang="0">
                <a:pos x="5752" y="7009"/>
              </a:cxn>
              <a:cxn ang="0">
                <a:pos x="0" y="4303"/>
              </a:cxn>
            </a:cxnLst>
            <a:rect l="0" t="0" r="r" b="b"/>
            <a:pathLst>
              <a:path w="8573" h="8573">
                <a:moveTo>
                  <a:pt x="4268" y="0"/>
                </a:moveTo>
                <a:lnTo>
                  <a:pt x="5906" y="1624"/>
                </a:lnTo>
                <a:lnTo>
                  <a:pt x="5905" y="1596"/>
                </a:lnTo>
                <a:lnTo>
                  <a:pt x="5904" y="1567"/>
                </a:lnTo>
                <a:lnTo>
                  <a:pt x="5904" y="1539"/>
                </a:lnTo>
                <a:lnTo>
                  <a:pt x="5905" y="1510"/>
                </a:lnTo>
                <a:lnTo>
                  <a:pt x="5906" y="1482"/>
                </a:lnTo>
                <a:lnTo>
                  <a:pt x="5908" y="1453"/>
                </a:lnTo>
                <a:lnTo>
                  <a:pt x="5912" y="1425"/>
                </a:lnTo>
                <a:lnTo>
                  <a:pt x="5915" y="1397"/>
                </a:lnTo>
                <a:lnTo>
                  <a:pt x="5919" y="1369"/>
                </a:lnTo>
                <a:lnTo>
                  <a:pt x="5924" y="1342"/>
                </a:lnTo>
                <a:lnTo>
                  <a:pt x="5931" y="1314"/>
                </a:lnTo>
                <a:lnTo>
                  <a:pt x="5937" y="1286"/>
                </a:lnTo>
                <a:lnTo>
                  <a:pt x="5944" y="1258"/>
                </a:lnTo>
                <a:lnTo>
                  <a:pt x="5952" y="1231"/>
                </a:lnTo>
                <a:lnTo>
                  <a:pt x="5961" y="1203"/>
                </a:lnTo>
                <a:lnTo>
                  <a:pt x="5971" y="1176"/>
                </a:lnTo>
                <a:lnTo>
                  <a:pt x="5980" y="1150"/>
                </a:lnTo>
                <a:lnTo>
                  <a:pt x="5991" y="1123"/>
                </a:lnTo>
                <a:lnTo>
                  <a:pt x="6003" y="1097"/>
                </a:lnTo>
                <a:lnTo>
                  <a:pt x="6016" y="1070"/>
                </a:lnTo>
                <a:lnTo>
                  <a:pt x="6028" y="1044"/>
                </a:lnTo>
                <a:lnTo>
                  <a:pt x="6042" y="1019"/>
                </a:lnTo>
                <a:lnTo>
                  <a:pt x="6056" y="994"/>
                </a:lnTo>
                <a:lnTo>
                  <a:pt x="6072" y="968"/>
                </a:lnTo>
                <a:lnTo>
                  <a:pt x="6089" y="945"/>
                </a:lnTo>
                <a:lnTo>
                  <a:pt x="6105" y="920"/>
                </a:lnTo>
                <a:lnTo>
                  <a:pt x="6122" y="896"/>
                </a:lnTo>
                <a:lnTo>
                  <a:pt x="6140" y="873"/>
                </a:lnTo>
                <a:lnTo>
                  <a:pt x="6159" y="849"/>
                </a:lnTo>
                <a:lnTo>
                  <a:pt x="6179" y="827"/>
                </a:lnTo>
                <a:lnTo>
                  <a:pt x="6199" y="804"/>
                </a:lnTo>
                <a:lnTo>
                  <a:pt x="6220" y="783"/>
                </a:lnTo>
                <a:lnTo>
                  <a:pt x="6261" y="744"/>
                </a:lnTo>
                <a:lnTo>
                  <a:pt x="6303" y="708"/>
                </a:lnTo>
                <a:lnTo>
                  <a:pt x="6346" y="673"/>
                </a:lnTo>
                <a:lnTo>
                  <a:pt x="6391" y="642"/>
                </a:lnTo>
                <a:lnTo>
                  <a:pt x="6437" y="613"/>
                </a:lnTo>
                <a:lnTo>
                  <a:pt x="6484" y="586"/>
                </a:lnTo>
                <a:lnTo>
                  <a:pt x="6532" y="563"/>
                </a:lnTo>
                <a:lnTo>
                  <a:pt x="6581" y="541"/>
                </a:lnTo>
                <a:lnTo>
                  <a:pt x="6630" y="522"/>
                </a:lnTo>
                <a:lnTo>
                  <a:pt x="6681" y="506"/>
                </a:lnTo>
                <a:lnTo>
                  <a:pt x="6732" y="492"/>
                </a:lnTo>
                <a:lnTo>
                  <a:pt x="6784" y="480"/>
                </a:lnTo>
                <a:lnTo>
                  <a:pt x="6835" y="472"/>
                </a:lnTo>
                <a:lnTo>
                  <a:pt x="6888" y="465"/>
                </a:lnTo>
                <a:lnTo>
                  <a:pt x="6940" y="461"/>
                </a:lnTo>
                <a:lnTo>
                  <a:pt x="6993" y="460"/>
                </a:lnTo>
                <a:lnTo>
                  <a:pt x="7045" y="461"/>
                </a:lnTo>
                <a:lnTo>
                  <a:pt x="7097" y="464"/>
                </a:lnTo>
                <a:lnTo>
                  <a:pt x="7149" y="470"/>
                </a:lnTo>
                <a:lnTo>
                  <a:pt x="7202" y="479"/>
                </a:lnTo>
                <a:lnTo>
                  <a:pt x="7254" y="490"/>
                </a:lnTo>
                <a:lnTo>
                  <a:pt x="7304" y="504"/>
                </a:lnTo>
                <a:lnTo>
                  <a:pt x="7354" y="520"/>
                </a:lnTo>
                <a:lnTo>
                  <a:pt x="7405" y="538"/>
                </a:lnTo>
                <a:lnTo>
                  <a:pt x="7454" y="558"/>
                </a:lnTo>
                <a:lnTo>
                  <a:pt x="7502" y="582"/>
                </a:lnTo>
                <a:lnTo>
                  <a:pt x="7550" y="609"/>
                </a:lnTo>
                <a:lnTo>
                  <a:pt x="7596" y="637"/>
                </a:lnTo>
                <a:lnTo>
                  <a:pt x="7640" y="668"/>
                </a:lnTo>
                <a:lnTo>
                  <a:pt x="7684" y="701"/>
                </a:lnTo>
                <a:lnTo>
                  <a:pt x="7727" y="738"/>
                </a:lnTo>
                <a:lnTo>
                  <a:pt x="7767" y="776"/>
                </a:lnTo>
                <a:lnTo>
                  <a:pt x="7806" y="817"/>
                </a:lnTo>
                <a:lnTo>
                  <a:pt x="7842" y="859"/>
                </a:lnTo>
                <a:lnTo>
                  <a:pt x="7876" y="902"/>
                </a:lnTo>
                <a:lnTo>
                  <a:pt x="7908" y="947"/>
                </a:lnTo>
                <a:lnTo>
                  <a:pt x="7937" y="993"/>
                </a:lnTo>
                <a:lnTo>
                  <a:pt x="7963" y="1040"/>
                </a:lnTo>
                <a:lnTo>
                  <a:pt x="7987" y="1087"/>
                </a:lnTo>
                <a:lnTo>
                  <a:pt x="8008" y="1137"/>
                </a:lnTo>
                <a:lnTo>
                  <a:pt x="8027" y="1186"/>
                </a:lnTo>
                <a:lnTo>
                  <a:pt x="8043" y="1236"/>
                </a:lnTo>
                <a:lnTo>
                  <a:pt x="8057" y="1288"/>
                </a:lnTo>
                <a:lnTo>
                  <a:pt x="8069" y="1339"/>
                </a:lnTo>
                <a:lnTo>
                  <a:pt x="8077" y="1391"/>
                </a:lnTo>
                <a:lnTo>
                  <a:pt x="8084" y="1443"/>
                </a:lnTo>
                <a:lnTo>
                  <a:pt x="8088" y="1496"/>
                </a:lnTo>
                <a:lnTo>
                  <a:pt x="8090" y="1548"/>
                </a:lnTo>
                <a:lnTo>
                  <a:pt x="8089" y="1600"/>
                </a:lnTo>
                <a:lnTo>
                  <a:pt x="8085" y="1653"/>
                </a:lnTo>
                <a:lnTo>
                  <a:pt x="8080" y="1705"/>
                </a:lnTo>
                <a:lnTo>
                  <a:pt x="8071" y="1757"/>
                </a:lnTo>
                <a:lnTo>
                  <a:pt x="8059" y="1809"/>
                </a:lnTo>
                <a:lnTo>
                  <a:pt x="8046" y="1860"/>
                </a:lnTo>
                <a:lnTo>
                  <a:pt x="8030" y="1910"/>
                </a:lnTo>
                <a:lnTo>
                  <a:pt x="8012" y="1961"/>
                </a:lnTo>
                <a:lnTo>
                  <a:pt x="7990" y="2009"/>
                </a:lnTo>
                <a:lnTo>
                  <a:pt x="7967" y="2057"/>
                </a:lnTo>
                <a:lnTo>
                  <a:pt x="7941" y="2104"/>
                </a:lnTo>
                <a:lnTo>
                  <a:pt x="7912" y="2150"/>
                </a:lnTo>
                <a:lnTo>
                  <a:pt x="7881" y="2195"/>
                </a:lnTo>
                <a:lnTo>
                  <a:pt x="7848" y="2239"/>
                </a:lnTo>
                <a:lnTo>
                  <a:pt x="7812" y="2281"/>
                </a:lnTo>
                <a:lnTo>
                  <a:pt x="7774" y="2323"/>
                </a:lnTo>
                <a:lnTo>
                  <a:pt x="7752" y="2343"/>
                </a:lnTo>
                <a:lnTo>
                  <a:pt x="7730" y="2365"/>
                </a:lnTo>
                <a:lnTo>
                  <a:pt x="7707" y="2384"/>
                </a:lnTo>
                <a:lnTo>
                  <a:pt x="7684" y="2404"/>
                </a:lnTo>
                <a:lnTo>
                  <a:pt x="7661" y="2422"/>
                </a:lnTo>
                <a:lnTo>
                  <a:pt x="7636" y="2439"/>
                </a:lnTo>
                <a:lnTo>
                  <a:pt x="7613" y="2456"/>
                </a:lnTo>
                <a:lnTo>
                  <a:pt x="7588" y="2472"/>
                </a:lnTo>
                <a:lnTo>
                  <a:pt x="7564" y="2488"/>
                </a:lnTo>
                <a:lnTo>
                  <a:pt x="7539" y="2502"/>
                </a:lnTo>
                <a:lnTo>
                  <a:pt x="7513" y="2517"/>
                </a:lnTo>
                <a:lnTo>
                  <a:pt x="7487" y="2530"/>
                </a:lnTo>
                <a:lnTo>
                  <a:pt x="7462" y="2543"/>
                </a:lnTo>
                <a:lnTo>
                  <a:pt x="7435" y="2555"/>
                </a:lnTo>
                <a:lnTo>
                  <a:pt x="7408" y="2566"/>
                </a:lnTo>
                <a:lnTo>
                  <a:pt x="7381" y="2576"/>
                </a:lnTo>
                <a:lnTo>
                  <a:pt x="7354" y="2586"/>
                </a:lnTo>
                <a:lnTo>
                  <a:pt x="7328" y="2595"/>
                </a:lnTo>
                <a:lnTo>
                  <a:pt x="7300" y="2603"/>
                </a:lnTo>
                <a:lnTo>
                  <a:pt x="7273" y="2611"/>
                </a:lnTo>
                <a:lnTo>
                  <a:pt x="7245" y="2617"/>
                </a:lnTo>
                <a:lnTo>
                  <a:pt x="7217" y="2623"/>
                </a:lnTo>
                <a:lnTo>
                  <a:pt x="7189" y="2629"/>
                </a:lnTo>
                <a:lnTo>
                  <a:pt x="7161" y="2633"/>
                </a:lnTo>
                <a:lnTo>
                  <a:pt x="7133" y="2636"/>
                </a:lnTo>
                <a:lnTo>
                  <a:pt x="7104" y="2640"/>
                </a:lnTo>
                <a:lnTo>
                  <a:pt x="7077" y="2643"/>
                </a:lnTo>
                <a:lnTo>
                  <a:pt x="7049" y="2644"/>
                </a:lnTo>
                <a:lnTo>
                  <a:pt x="7020" y="2645"/>
                </a:lnTo>
                <a:lnTo>
                  <a:pt x="6992" y="2645"/>
                </a:lnTo>
                <a:lnTo>
                  <a:pt x="6963" y="2645"/>
                </a:lnTo>
                <a:lnTo>
                  <a:pt x="6935" y="2644"/>
                </a:lnTo>
                <a:lnTo>
                  <a:pt x="8573" y="4268"/>
                </a:lnTo>
                <a:lnTo>
                  <a:pt x="7035" y="5819"/>
                </a:lnTo>
                <a:lnTo>
                  <a:pt x="7029" y="5773"/>
                </a:lnTo>
                <a:lnTo>
                  <a:pt x="7022" y="5728"/>
                </a:lnTo>
                <a:lnTo>
                  <a:pt x="7012" y="5684"/>
                </a:lnTo>
                <a:lnTo>
                  <a:pt x="7001" y="5639"/>
                </a:lnTo>
                <a:lnTo>
                  <a:pt x="6987" y="5595"/>
                </a:lnTo>
                <a:lnTo>
                  <a:pt x="6972" y="5552"/>
                </a:lnTo>
                <a:lnTo>
                  <a:pt x="6955" y="5509"/>
                </a:lnTo>
                <a:lnTo>
                  <a:pt x="6937" y="5466"/>
                </a:lnTo>
                <a:lnTo>
                  <a:pt x="6916" y="5424"/>
                </a:lnTo>
                <a:lnTo>
                  <a:pt x="6893" y="5384"/>
                </a:lnTo>
                <a:lnTo>
                  <a:pt x="6869" y="5344"/>
                </a:lnTo>
                <a:lnTo>
                  <a:pt x="6843" y="5304"/>
                </a:lnTo>
                <a:lnTo>
                  <a:pt x="6815" y="5267"/>
                </a:lnTo>
                <a:lnTo>
                  <a:pt x="6785" y="5229"/>
                </a:lnTo>
                <a:lnTo>
                  <a:pt x="6753" y="5193"/>
                </a:lnTo>
                <a:lnTo>
                  <a:pt x="6718" y="5157"/>
                </a:lnTo>
                <a:lnTo>
                  <a:pt x="6677" y="5119"/>
                </a:lnTo>
                <a:lnTo>
                  <a:pt x="6636" y="5083"/>
                </a:lnTo>
                <a:lnTo>
                  <a:pt x="6592" y="5050"/>
                </a:lnTo>
                <a:lnTo>
                  <a:pt x="6547" y="5019"/>
                </a:lnTo>
                <a:lnTo>
                  <a:pt x="6500" y="4990"/>
                </a:lnTo>
                <a:lnTo>
                  <a:pt x="6453" y="4964"/>
                </a:lnTo>
                <a:lnTo>
                  <a:pt x="6405" y="4941"/>
                </a:lnTo>
                <a:lnTo>
                  <a:pt x="6356" y="4919"/>
                </a:lnTo>
                <a:lnTo>
                  <a:pt x="6306" y="4901"/>
                </a:lnTo>
                <a:lnTo>
                  <a:pt x="6256" y="4885"/>
                </a:lnTo>
                <a:lnTo>
                  <a:pt x="6204" y="4872"/>
                </a:lnTo>
                <a:lnTo>
                  <a:pt x="6153" y="4860"/>
                </a:lnTo>
                <a:lnTo>
                  <a:pt x="6101" y="4852"/>
                </a:lnTo>
                <a:lnTo>
                  <a:pt x="6049" y="4846"/>
                </a:lnTo>
                <a:lnTo>
                  <a:pt x="5996" y="4842"/>
                </a:lnTo>
                <a:lnTo>
                  <a:pt x="5944" y="4841"/>
                </a:lnTo>
                <a:lnTo>
                  <a:pt x="5891" y="4843"/>
                </a:lnTo>
                <a:lnTo>
                  <a:pt x="5839" y="4846"/>
                </a:lnTo>
                <a:lnTo>
                  <a:pt x="5787" y="4854"/>
                </a:lnTo>
                <a:lnTo>
                  <a:pt x="5735" y="4862"/>
                </a:lnTo>
                <a:lnTo>
                  <a:pt x="5683" y="4874"/>
                </a:lnTo>
                <a:lnTo>
                  <a:pt x="5633" y="4888"/>
                </a:lnTo>
                <a:lnTo>
                  <a:pt x="5582" y="4904"/>
                </a:lnTo>
                <a:lnTo>
                  <a:pt x="5532" y="4922"/>
                </a:lnTo>
                <a:lnTo>
                  <a:pt x="5483" y="4944"/>
                </a:lnTo>
                <a:lnTo>
                  <a:pt x="5435" y="4969"/>
                </a:lnTo>
                <a:lnTo>
                  <a:pt x="5388" y="4994"/>
                </a:lnTo>
                <a:lnTo>
                  <a:pt x="5343" y="5023"/>
                </a:lnTo>
                <a:lnTo>
                  <a:pt x="5298" y="5055"/>
                </a:lnTo>
                <a:lnTo>
                  <a:pt x="5254" y="5089"/>
                </a:lnTo>
                <a:lnTo>
                  <a:pt x="5212" y="5125"/>
                </a:lnTo>
                <a:lnTo>
                  <a:pt x="5171" y="5164"/>
                </a:lnTo>
                <a:lnTo>
                  <a:pt x="5134" y="5205"/>
                </a:lnTo>
                <a:lnTo>
                  <a:pt x="5097" y="5247"/>
                </a:lnTo>
                <a:lnTo>
                  <a:pt x="5064" y="5291"/>
                </a:lnTo>
                <a:lnTo>
                  <a:pt x="5033" y="5335"/>
                </a:lnTo>
                <a:lnTo>
                  <a:pt x="5004" y="5382"/>
                </a:lnTo>
                <a:lnTo>
                  <a:pt x="4978" y="5429"/>
                </a:lnTo>
                <a:lnTo>
                  <a:pt x="4955" y="5477"/>
                </a:lnTo>
                <a:lnTo>
                  <a:pt x="4933" y="5526"/>
                </a:lnTo>
                <a:lnTo>
                  <a:pt x="4915" y="5577"/>
                </a:lnTo>
                <a:lnTo>
                  <a:pt x="4899" y="5627"/>
                </a:lnTo>
                <a:lnTo>
                  <a:pt x="4886" y="5678"/>
                </a:lnTo>
                <a:lnTo>
                  <a:pt x="4874" y="5729"/>
                </a:lnTo>
                <a:lnTo>
                  <a:pt x="4866" y="5782"/>
                </a:lnTo>
                <a:lnTo>
                  <a:pt x="4860" y="5834"/>
                </a:lnTo>
                <a:lnTo>
                  <a:pt x="4857" y="5886"/>
                </a:lnTo>
                <a:lnTo>
                  <a:pt x="4856" y="5938"/>
                </a:lnTo>
                <a:lnTo>
                  <a:pt x="4857" y="5991"/>
                </a:lnTo>
                <a:lnTo>
                  <a:pt x="4861" y="6043"/>
                </a:lnTo>
                <a:lnTo>
                  <a:pt x="4868" y="6096"/>
                </a:lnTo>
                <a:lnTo>
                  <a:pt x="4876" y="6147"/>
                </a:lnTo>
                <a:lnTo>
                  <a:pt x="4888" y="6199"/>
                </a:lnTo>
                <a:lnTo>
                  <a:pt x="4902" y="6250"/>
                </a:lnTo>
                <a:lnTo>
                  <a:pt x="4918" y="6301"/>
                </a:lnTo>
                <a:lnTo>
                  <a:pt x="4937" y="6350"/>
                </a:lnTo>
                <a:lnTo>
                  <a:pt x="4959" y="6400"/>
                </a:lnTo>
                <a:lnTo>
                  <a:pt x="4983" y="6447"/>
                </a:lnTo>
                <a:lnTo>
                  <a:pt x="5008" y="6494"/>
                </a:lnTo>
                <a:lnTo>
                  <a:pt x="5037" y="6540"/>
                </a:lnTo>
                <a:lnTo>
                  <a:pt x="5069" y="6585"/>
                </a:lnTo>
                <a:lnTo>
                  <a:pt x="5103" y="6628"/>
                </a:lnTo>
                <a:lnTo>
                  <a:pt x="5139" y="6670"/>
                </a:lnTo>
                <a:lnTo>
                  <a:pt x="5178" y="6711"/>
                </a:lnTo>
                <a:lnTo>
                  <a:pt x="5196" y="6728"/>
                </a:lnTo>
                <a:lnTo>
                  <a:pt x="5213" y="6744"/>
                </a:lnTo>
                <a:lnTo>
                  <a:pt x="5231" y="6760"/>
                </a:lnTo>
                <a:lnTo>
                  <a:pt x="5250" y="6776"/>
                </a:lnTo>
                <a:lnTo>
                  <a:pt x="5287" y="6806"/>
                </a:lnTo>
                <a:lnTo>
                  <a:pt x="5326" y="6834"/>
                </a:lnTo>
                <a:lnTo>
                  <a:pt x="5365" y="6860"/>
                </a:lnTo>
                <a:lnTo>
                  <a:pt x="5406" y="6883"/>
                </a:lnTo>
                <a:lnTo>
                  <a:pt x="5447" y="6906"/>
                </a:lnTo>
                <a:lnTo>
                  <a:pt x="5489" y="6926"/>
                </a:lnTo>
                <a:lnTo>
                  <a:pt x="5532" y="6945"/>
                </a:lnTo>
                <a:lnTo>
                  <a:pt x="5575" y="6962"/>
                </a:lnTo>
                <a:lnTo>
                  <a:pt x="5618" y="6977"/>
                </a:lnTo>
                <a:lnTo>
                  <a:pt x="5663" y="6990"/>
                </a:lnTo>
                <a:lnTo>
                  <a:pt x="5707" y="7000"/>
                </a:lnTo>
                <a:lnTo>
                  <a:pt x="5752" y="7009"/>
                </a:lnTo>
                <a:lnTo>
                  <a:pt x="5797" y="7016"/>
                </a:lnTo>
                <a:lnTo>
                  <a:pt x="5842" y="7022"/>
                </a:lnTo>
                <a:lnTo>
                  <a:pt x="4305" y="8573"/>
                </a:lnTo>
                <a:lnTo>
                  <a:pt x="0" y="4303"/>
                </a:lnTo>
                <a:lnTo>
                  <a:pt x="4268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3972919" y="2930271"/>
            <a:ext cx="1203072" cy="1203071"/>
          </a:xfrm>
          <a:custGeom>
            <a:avLst/>
            <a:gdLst/>
            <a:ahLst/>
            <a:cxnLst>
              <a:cxn ang="0">
                <a:pos x="7047" y="2645"/>
              </a:cxn>
              <a:cxn ang="0">
                <a:pos x="7217" y="2624"/>
              </a:cxn>
              <a:cxn ang="0">
                <a:pos x="7381" y="2577"/>
              </a:cxn>
              <a:cxn ang="0">
                <a:pos x="7538" y="2504"/>
              </a:cxn>
              <a:cxn ang="0">
                <a:pos x="7684" y="2404"/>
              </a:cxn>
              <a:cxn ang="0">
                <a:pos x="7848" y="2240"/>
              </a:cxn>
              <a:cxn ang="0">
                <a:pos x="8011" y="1961"/>
              </a:cxn>
              <a:cxn ang="0">
                <a:pos x="8085" y="1654"/>
              </a:cxn>
              <a:cxn ang="0">
                <a:pos x="8069" y="1340"/>
              </a:cxn>
              <a:cxn ang="0">
                <a:pos x="7963" y="1041"/>
              </a:cxn>
              <a:cxn ang="0">
                <a:pos x="7766" y="777"/>
              </a:cxn>
              <a:cxn ang="0">
                <a:pos x="7501" y="584"/>
              </a:cxn>
              <a:cxn ang="0">
                <a:pos x="7201" y="480"/>
              </a:cxn>
              <a:cxn ang="0">
                <a:pos x="6887" y="467"/>
              </a:cxn>
              <a:cxn ang="0">
                <a:pos x="6581" y="542"/>
              </a:cxn>
              <a:cxn ang="0">
                <a:pos x="6303" y="708"/>
              </a:cxn>
              <a:cxn ang="0">
                <a:pos x="6140" y="873"/>
              </a:cxn>
              <a:cxn ang="0">
                <a:pos x="6041" y="1020"/>
              </a:cxn>
              <a:cxn ang="0">
                <a:pos x="5969" y="1177"/>
              </a:cxn>
              <a:cxn ang="0">
                <a:pos x="5924" y="1342"/>
              </a:cxn>
              <a:cxn ang="0">
                <a:pos x="5905" y="1512"/>
              </a:cxn>
              <a:cxn ang="0">
                <a:pos x="2730" y="1551"/>
              </a:cxn>
              <a:cxn ang="0">
                <a:pos x="2667" y="1284"/>
              </a:cxn>
              <a:cxn ang="0">
                <a:pos x="2538" y="1036"/>
              </a:cxn>
              <a:cxn ang="0">
                <a:pos x="2331" y="815"/>
              </a:cxn>
              <a:cxn ang="0">
                <a:pos x="2051" y="651"/>
              </a:cxn>
              <a:cxn ang="0">
                <a:pos x="1744" y="578"/>
              </a:cxn>
              <a:cxn ang="0">
                <a:pos x="1430" y="594"/>
              </a:cxn>
              <a:cxn ang="0">
                <a:pos x="1130" y="701"/>
              </a:cxn>
              <a:cxn ang="0">
                <a:pos x="866" y="896"/>
              </a:cxn>
              <a:cxn ang="0">
                <a:pos x="673" y="1161"/>
              </a:cxn>
              <a:cxn ang="0">
                <a:pos x="569" y="1461"/>
              </a:cxn>
              <a:cxn ang="0">
                <a:pos x="556" y="1775"/>
              </a:cxn>
              <a:cxn ang="0">
                <a:pos x="632" y="2082"/>
              </a:cxn>
              <a:cxn ang="0">
                <a:pos x="798" y="2360"/>
              </a:cxn>
              <a:cxn ang="0">
                <a:pos x="945" y="2508"/>
              </a:cxn>
              <a:cxn ang="0">
                <a:pos x="1184" y="2658"/>
              </a:cxn>
              <a:cxn ang="0">
                <a:pos x="1447" y="2741"/>
              </a:cxn>
              <a:cxn ang="0">
                <a:pos x="5743" y="7078"/>
              </a:cxn>
              <a:cxn ang="0">
                <a:pos x="5540" y="6999"/>
              </a:cxn>
              <a:cxn ang="0">
                <a:pos x="5354" y="6877"/>
              </a:cxn>
              <a:cxn ang="0">
                <a:pos x="5159" y="6676"/>
              </a:cxn>
              <a:cxn ang="0">
                <a:pos x="5008" y="6391"/>
              </a:cxn>
              <a:cxn ang="0">
                <a:pos x="4947" y="6082"/>
              </a:cxn>
              <a:cxn ang="0">
                <a:pos x="4976" y="5769"/>
              </a:cxn>
              <a:cxn ang="0">
                <a:pos x="5094" y="5473"/>
              </a:cxn>
              <a:cxn ang="0">
                <a:pos x="5302" y="5216"/>
              </a:cxn>
              <a:cxn ang="0">
                <a:pos x="5574" y="5035"/>
              </a:cxn>
              <a:cxn ang="0">
                <a:pos x="5877" y="4944"/>
              </a:cxn>
              <a:cxn ang="0">
                <a:pos x="6191" y="4943"/>
              </a:cxn>
              <a:cxn ang="0">
                <a:pos x="6495" y="5031"/>
              </a:cxn>
              <a:cxn ang="0">
                <a:pos x="6768" y="5210"/>
              </a:cxn>
              <a:cxn ang="0">
                <a:pos x="6931" y="5393"/>
              </a:cxn>
              <a:cxn ang="0">
                <a:pos x="7040" y="5585"/>
              </a:cxn>
              <a:cxn ang="0">
                <a:pos x="8573" y="4268"/>
              </a:cxn>
            </a:cxnLst>
            <a:rect l="0" t="0" r="r" b="b"/>
            <a:pathLst>
              <a:path w="8573" h="8573">
                <a:moveTo>
                  <a:pt x="8573" y="4268"/>
                </a:moveTo>
                <a:lnTo>
                  <a:pt x="6935" y="2644"/>
                </a:lnTo>
                <a:lnTo>
                  <a:pt x="6963" y="2645"/>
                </a:lnTo>
                <a:lnTo>
                  <a:pt x="6991" y="2646"/>
                </a:lnTo>
                <a:lnTo>
                  <a:pt x="7020" y="2646"/>
                </a:lnTo>
                <a:lnTo>
                  <a:pt x="7047" y="2645"/>
                </a:lnTo>
                <a:lnTo>
                  <a:pt x="7076" y="2643"/>
                </a:lnTo>
                <a:lnTo>
                  <a:pt x="7104" y="2641"/>
                </a:lnTo>
                <a:lnTo>
                  <a:pt x="7132" y="2638"/>
                </a:lnTo>
                <a:lnTo>
                  <a:pt x="7161" y="2634"/>
                </a:lnTo>
                <a:lnTo>
                  <a:pt x="7189" y="2629"/>
                </a:lnTo>
                <a:lnTo>
                  <a:pt x="7217" y="2624"/>
                </a:lnTo>
                <a:lnTo>
                  <a:pt x="7245" y="2618"/>
                </a:lnTo>
                <a:lnTo>
                  <a:pt x="7272" y="2611"/>
                </a:lnTo>
                <a:lnTo>
                  <a:pt x="7300" y="2604"/>
                </a:lnTo>
                <a:lnTo>
                  <a:pt x="7327" y="2596"/>
                </a:lnTo>
                <a:lnTo>
                  <a:pt x="7354" y="2586"/>
                </a:lnTo>
                <a:lnTo>
                  <a:pt x="7381" y="2577"/>
                </a:lnTo>
                <a:lnTo>
                  <a:pt x="7408" y="2567"/>
                </a:lnTo>
                <a:lnTo>
                  <a:pt x="7435" y="2555"/>
                </a:lnTo>
                <a:lnTo>
                  <a:pt x="7461" y="2543"/>
                </a:lnTo>
                <a:lnTo>
                  <a:pt x="7486" y="2531"/>
                </a:lnTo>
                <a:lnTo>
                  <a:pt x="7512" y="2518"/>
                </a:lnTo>
                <a:lnTo>
                  <a:pt x="7538" y="2504"/>
                </a:lnTo>
                <a:lnTo>
                  <a:pt x="7563" y="2489"/>
                </a:lnTo>
                <a:lnTo>
                  <a:pt x="7588" y="2474"/>
                </a:lnTo>
                <a:lnTo>
                  <a:pt x="7613" y="2458"/>
                </a:lnTo>
                <a:lnTo>
                  <a:pt x="7636" y="2441"/>
                </a:lnTo>
                <a:lnTo>
                  <a:pt x="7660" y="2422"/>
                </a:lnTo>
                <a:lnTo>
                  <a:pt x="7684" y="2404"/>
                </a:lnTo>
                <a:lnTo>
                  <a:pt x="7706" y="2386"/>
                </a:lnTo>
                <a:lnTo>
                  <a:pt x="7729" y="2365"/>
                </a:lnTo>
                <a:lnTo>
                  <a:pt x="7751" y="2345"/>
                </a:lnTo>
                <a:lnTo>
                  <a:pt x="7773" y="2324"/>
                </a:lnTo>
                <a:lnTo>
                  <a:pt x="7811" y="2283"/>
                </a:lnTo>
                <a:lnTo>
                  <a:pt x="7848" y="2240"/>
                </a:lnTo>
                <a:lnTo>
                  <a:pt x="7881" y="2197"/>
                </a:lnTo>
                <a:lnTo>
                  <a:pt x="7912" y="2152"/>
                </a:lnTo>
                <a:lnTo>
                  <a:pt x="7940" y="2106"/>
                </a:lnTo>
                <a:lnTo>
                  <a:pt x="7967" y="2059"/>
                </a:lnTo>
                <a:lnTo>
                  <a:pt x="7990" y="2010"/>
                </a:lnTo>
                <a:lnTo>
                  <a:pt x="8011" y="1961"/>
                </a:lnTo>
                <a:lnTo>
                  <a:pt x="8030" y="1912"/>
                </a:lnTo>
                <a:lnTo>
                  <a:pt x="8045" y="1861"/>
                </a:lnTo>
                <a:lnTo>
                  <a:pt x="8059" y="1810"/>
                </a:lnTo>
                <a:lnTo>
                  <a:pt x="8070" y="1758"/>
                </a:lnTo>
                <a:lnTo>
                  <a:pt x="8078" y="1706"/>
                </a:lnTo>
                <a:lnTo>
                  <a:pt x="8085" y="1654"/>
                </a:lnTo>
                <a:lnTo>
                  <a:pt x="8088" y="1602"/>
                </a:lnTo>
                <a:lnTo>
                  <a:pt x="8089" y="1549"/>
                </a:lnTo>
                <a:lnTo>
                  <a:pt x="8088" y="1496"/>
                </a:lnTo>
                <a:lnTo>
                  <a:pt x="8084" y="1444"/>
                </a:lnTo>
                <a:lnTo>
                  <a:pt x="8077" y="1391"/>
                </a:lnTo>
                <a:lnTo>
                  <a:pt x="8069" y="1340"/>
                </a:lnTo>
                <a:lnTo>
                  <a:pt x="8057" y="1288"/>
                </a:lnTo>
                <a:lnTo>
                  <a:pt x="8043" y="1238"/>
                </a:lnTo>
                <a:lnTo>
                  <a:pt x="8027" y="1188"/>
                </a:lnTo>
                <a:lnTo>
                  <a:pt x="8008" y="1137"/>
                </a:lnTo>
                <a:lnTo>
                  <a:pt x="7986" y="1089"/>
                </a:lnTo>
                <a:lnTo>
                  <a:pt x="7963" y="1041"/>
                </a:lnTo>
                <a:lnTo>
                  <a:pt x="7936" y="993"/>
                </a:lnTo>
                <a:lnTo>
                  <a:pt x="7907" y="947"/>
                </a:lnTo>
                <a:lnTo>
                  <a:pt x="7876" y="903"/>
                </a:lnTo>
                <a:lnTo>
                  <a:pt x="7841" y="859"/>
                </a:lnTo>
                <a:lnTo>
                  <a:pt x="7806" y="817"/>
                </a:lnTo>
                <a:lnTo>
                  <a:pt x="7766" y="777"/>
                </a:lnTo>
                <a:lnTo>
                  <a:pt x="7725" y="738"/>
                </a:lnTo>
                <a:lnTo>
                  <a:pt x="7684" y="703"/>
                </a:lnTo>
                <a:lnTo>
                  <a:pt x="7640" y="669"/>
                </a:lnTo>
                <a:lnTo>
                  <a:pt x="7595" y="638"/>
                </a:lnTo>
                <a:lnTo>
                  <a:pt x="7548" y="609"/>
                </a:lnTo>
                <a:lnTo>
                  <a:pt x="7501" y="584"/>
                </a:lnTo>
                <a:lnTo>
                  <a:pt x="7453" y="560"/>
                </a:lnTo>
                <a:lnTo>
                  <a:pt x="7404" y="539"/>
                </a:lnTo>
                <a:lnTo>
                  <a:pt x="7354" y="520"/>
                </a:lnTo>
                <a:lnTo>
                  <a:pt x="7304" y="504"/>
                </a:lnTo>
                <a:lnTo>
                  <a:pt x="7252" y="491"/>
                </a:lnTo>
                <a:lnTo>
                  <a:pt x="7201" y="480"/>
                </a:lnTo>
                <a:lnTo>
                  <a:pt x="7149" y="471"/>
                </a:lnTo>
                <a:lnTo>
                  <a:pt x="7097" y="466"/>
                </a:lnTo>
                <a:lnTo>
                  <a:pt x="7044" y="461"/>
                </a:lnTo>
                <a:lnTo>
                  <a:pt x="6992" y="460"/>
                </a:lnTo>
                <a:lnTo>
                  <a:pt x="6939" y="462"/>
                </a:lnTo>
                <a:lnTo>
                  <a:pt x="6887" y="467"/>
                </a:lnTo>
                <a:lnTo>
                  <a:pt x="6835" y="473"/>
                </a:lnTo>
                <a:lnTo>
                  <a:pt x="6783" y="482"/>
                </a:lnTo>
                <a:lnTo>
                  <a:pt x="6731" y="493"/>
                </a:lnTo>
                <a:lnTo>
                  <a:pt x="6681" y="507"/>
                </a:lnTo>
                <a:lnTo>
                  <a:pt x="6630" y="524"/>
                </a:lnTo>
                <a:lnTo>
                  <a:pt x="6581" y="542"/>
                </a:lnTo>
                <a:lnTo>
                  <a:pt x="6532" y="563"/>
                </a:lnTo>
                <a:lnTo>
                  <a:pt x="6483" y="588"/>
                </a:lnTo>
                <a:lnTo>
                  <a:pt x="6436" y="614"/>
                </a:lnTo>
                <a:lnTo>
                  <a:pt x="6391" y="643"/>
                </a:lnTo>
                <a:lnTo>
                  <a:pt x="6346" y="675"/>
                </a:lnTo>
                <a:lnTo>
                  <a:pt x="6303" y="708"/>
                </a:lnTo>
                <a:lnTo>
                  <a:pt x="6260" y="744"/>
                </a:lnTo>
                <a:lnTo>
                  <a:pt x="6220" y="783"/>
                </a:lnTo>
                <a:lnTo>
                  <a:pt x="6199" y="806"/>
                </a:lnTo>
                <a:lnTo>
                  <a:pt x="6179" y="827"/>
                </a:lnTo>
                <a:lnTo>
                  <a:pt x="6159" y="851"/>
                </a:lnTo>
                <a:lnTo>
                  <a:pt x="6140" y="873"/>
                </a:lnTo>
                <a:lnTo>
                  <a:pt x="6122" y="897"/>
                </a:lnTo>
                <a:lnTo>
                  <a:pt x="6105" y="920"/>
                </a:lnTo>
                <a:lnTo>
                  <a:pt x="6087" y="945"/>
                </a:lnTo>
                <a:lnTo>
                  <a:pt x="6071" y="970"/>
                </a:lnTo>
                <a:lnTo>
                  <a:pt x="6056" y="994"/>
                </a:lnTo>
                <a:lnTo>
                  <a:pt x="6041" y="1020"/>
                </a:lnTo>
                <a:lnTo>
                  <a:pt x="6028" y="1046"/>
                </a:lnTo>
                <a:lnTo>
                  <a:pt x="6014" y="1072"/>
                </a:lnTo>
                <a:lnTo>
                  <a:pt x="6003" y="1097"/>
                </a:lnTo>
                <a:lnTo>
                  <a:pt x="5991" y="1124"/>
                </a:lnTo>
                <a:lnTo>
                  <a:pt x="5980" y="1150"/>
                </a:lnTo>
                <a:lnTo>
                  <a:pt x="5969" y="1177"/>
                </a:lnTo>
                <a:lnTo>
                  <a:pt x="5961" y="1205"/>
                </a:lnTo>
                <a:lnTo>
                  <a:pt x="5952" y="1232"/>
                </a:lnTo>
                <a:lnTo>
                  <a:pt x="5944" y="1259"/>
                </a:lnTo>
                <a:lnTo>
                  <a:pt x="5936" y="1286"/>
                </a:lnTo>
                <a:lnTo>
                  <a:pt x="5930" y="1314"/>
                </a:lnTo>
                <a:lnTo>
                  <a:pt x="5924" y="1342"/>
                </a:lnTo>
                <a:lnTo>
                  <a:pt x="5919" y="1370"/>
                </a:lnTo>
                <a:lnTo>
                  <a:pt x="5915" y="1398"/>
                </a:lnTo>
                <a:lnTo>
                  <a:pt x="5911" y="1427"/>
                </a:lnTo>
                <a:lnTo>
                  <a:pt x="5908" y="1455"/>
                </a:lnTo>
                <a:lnTo>
                  <a:pt x="5906" y="1483"/>
                </a:lnTo>
                <a:lnTo>
                  <a:pt x="5905" y="1512"/>
                </a:lnTo>
                <a:lnTo>
                  <a:pt x="5904" y="1539"/>
                </a:lnTo>
                <a:lnTo>
                  <a:pt x="5904" y="1568"/>
                </a:lnTo>
                <a:lnTo>
                  <a:pt x="5905" y="1596"/>
                </a:lnTo>
                <a:lnTo>
                  <a:pt x="5906" y="1624"/>
                </a:lnTo>
                <a:lnTo>
                  <a:pt x="4268" y="0"/>
                </a:lnTo>
                <a:lnTo>
                  <a:pt x="2730" y="1551"/>
                </a:lnTo>
                <a:lnTo>
                  <a:pt x="2724" y="1505"/>
                </a:lnTo>
                <a:lnTo>
                  <a:pt x="2717" y="1460"/>
                </a:lnTo>
                <a:lnTo>
                  <a:pt x="2707" y="1416"/>
                </a:lnTo>
                <a:lnTo>
                  <a:pt x="2696" y="1371"/>
                </a:lnTo>
                <a:lnTo>
                  <a:pt x="2682" y="1327"/>
                </a:lnTo>
                <a:lnTo>
                  <a:pt x="2667" y="1284"/>
                </a:lnTo>
                <a:lnTo>
                  <a:pt x="2650" y="1241"/>
                </a:lnTo>
                <a:lnTo>
                  <a:pt x="2632" y="1198"/>
                </a:lnTo>
                <a:lnTo>
                  <a:pt x="2611" y="1156"/>
                </a:lnTo>
                <a:lnTo>
                  <a:pt x="2588" y="1116"/>
                </a:lnTo>
                <a:lnTo>
                  <a:pt x="2564" y="1076"/>
                </a:lnTo>
                <a:lnTo>
                  <a:pt x="2538" y="1036"/>
                </a:lnTo>
                <a:lnTo>
                  <a:pt x="2510" y="999"/>
                </a:lnTo>
                <a:lnTo>
                  <a:pt x="2480" y="961"/>
                </a:lnTo>
                <a:lnTo>
                  <a:pt x="2448" y="925"/>
                </a:lnTo>
                <a:lnTo>
                  <a:pt x="2413" y="889"/>
                </a:lnTo>
                <a:lnTo>
                  <a:pt x="2372" y="851"/>
                </a:lnTo>
                <a:lnTo>
                  <a:pt x="2331" y="815"/>
                </a:lnTo>
                <a:lnTo>
                  <a:pt x="2287" y="782"/>
                </a:lnTo>
                <a:lnTo>
                  <a:pt x="2242" y="751"/>
                </a:lnTo>
                <a:lnTo>
                  <a:pt x="2195" y="722"/>
                </a:lnTo>
                <a:lnTo>
                  <a:pt x="2148" y="696"/>
                </a:lnTo>
                <a:lnTo>
                  <a:pt x="2100" y="673"/>
                </a:lnTo>
                <a:lnTo>
                  <a:pt x="2051" y="651"/>
                </a:lnTo>
                <a:lnTo>
                  <a:pt x="2001" y="633"/>
                </a:lnTo>
                <a:lnTo>
                  <a:pt x="1951" y="617"/>
                </a:lnTo>
                <a:lnTo>
                  <a:pt x="1899" y="604"/>
                </a:lnTo>
                <a:lnTo>
                  <a:pt x="1848" y="592"/>
                </a:lnTo>
                <a:lnTo>
                  <a:pt x="1796" y="584"/>
                </a:lnTo>
                <a:lnTo>
                  <a:pt x="1744" y="578"/>
                </a:lnTo>
                <a:lnTo>
                  <a:pt x="1691" y="574"/>
                </a:lnTo>
                <a:lnTo>
                  <a:pt x="1639" y="573"/>
                </a:lnTo>
                <a:lnTo>
                  <a:pt x="1586" y="575"/>
                </a:lnTo>
                <a:lnTo>
                  <a:pt x="1534" y="578"/>
                </a:lnTo>
                <a:lnTo>
                  <a:pt x="1482" y="586"/>
                </a:lnTo>
                <a:lnTo>
                  <a:pt x="1430" y="594"/>
                </a:lnTo>
                <a:lnTo>
                  <a:pt x="1378" y="606"/>
                </a:lnTo>
                <a:lnTo>
                  <a:pt x="1328" y="620"/>
                </a:lnTo>
                <a:lnTo>
                  <a:pt x="1277" y="636"/>
                </a:lnTo>
                <a:lnTo>
                  <a:pt x="1227" y="654"/>
                </a:lnTo>
                <a:lnTo>
                  <a:pt x="1178" y="676"/>
                </a:lnTo>
                <a:lnTo>
                  <a:pt x="1130" y="701"/>
                </a:lnTo>
                <a:lnTo>
                  <a:pt x="1083" y="726"/>
                </a:lnTo>
                <a:lnTo>
                  <a:pt x="1038" y="755"/>
                </a:lnTo>
                <a:lnTo>
                  <a:pt x="993" y="787"/>
                </a:lnTo>
                <a:lnTo>
                  <a:pt x="949" y="821"/>
                </a:lnTo>
                <a:lnTo>
                  <a:pt x="907" y="857"/>
                </a:lnTo>
                <a:lnTo>
                  <a:pt x="866" y="896"/>
                </a:lnTo>
                <a:lnTo>
                  <a:pt x="829" y="937"/>
                </a:lnTo>
                <a:lnTo>
                  <a:pt x="792" y="979"/>
                </a:lnTo>
                <a:lnTo>
                  <a:pt x="759" y="1023"/>
                </a:lnTo>
                <a:lnTo>
                  <a:pt x="728" y="1067"/>
                </a:lnTo>
                <a:lnTo>
                  <a:pt x="699" y="1114"/>
                </a:lnTo>
                <a:lnTo>
                  <a:pt x="673" y="1161"/>
                </a:lnTo>
                <a:lnTo>
                  <a:pt x="650" y="1209"/>
                </a:lnTo>
                <a:lnTo>
                  <a:pt x="628" y="1258"/>
                </a:lnTo>
                <a:lnTo>
                  <a:pt x="610" y="1309"/>
                </a:lnTo>
                <a:lnTo>
                  <a:pt x="594" y="1359"/>
                </a:lnTo>
                <a:lnTo>
                  <a:pt x="581" y="1410"/>
                </a:lnTo>
                <a:lnTo>
                  <a:pt x="569" y="1461"/>
                </a:lnTo>
                <a:lnTo>
                  <a:pt x="561" y="1514"/>
                </a:lnTo>
                <a:lnTo>
                  <a:pt x="555" y="1566"/>
                </a:lnTo>
                <a:lnTo>
                  <a:pt x="552" y="1618"/>
                </a:lnTo>
                <a:lnTo>
                  <a:pt x="551" y="1670"/>
                </a:lnTo>
                <a:lnTo>
                  <a:pt x="552" y="1723"/>
                </a:lnTo>
                <a:lnTo>
                  <a:pt x="556" y="1775"/>
                </a:lnTo>
                <a:lnTo>
                  <a:pt x="563" y="1828"/>
                </a:lnTo>
                <a:lnTo>
                  <a:pt x="571" y="1879"/>
                </a:lnTo>
                <a:lnTo>
                  <a:pt x="583" y="1931"/>
                </a:lnTo>
                <a:lnTo>
                  <a:pt x="597" y="1982"/>
                </a:lnTo>
                <a:lnTo>
                  <a:pt x="613" y="2033"/>
                </a:lnTo>
                <a:lnTo>
                  <a:pt x="632" y="2082"/>
                </a:lnTo>
                <a:lnTo>
                  <a:pt x="654" y="2132"/>
                </a:lnTo>
                <a:lnTo>
                  <a:pt x="678" y="2179"/>
                </a:lnTo>
                <a:lnTo>
                  <a:pt x="703" y="2226"/>
                </a:lnTo>
                <a:lnTo>
                  <a:pt x="732" y="2272"/>
                </a:lnTo>
                <a:lnTo>
                  <a:pt x="764" y="2317"/>
                </a:lnTo>
                <a:lnTo>
                  <a:pt x="798" y="2360"/>
                </a:lnTo>
                <a:lnTo>
                  <a:pt x="834" y="2402"/>
                </a:lnTo>
                <a:lnTo>
                  <a:pt x="873" y="2443"/>
                </a:lnTo>
                <a:lnTo>
                  <a:pt x="891" y="2460"/>
                </a:lnTo>
                <a:lnTo>
                  <a:pt x="908" y="2476"/>
                </a:lnTo>
                <a:lnTo>
                  <a:pt x="926" y="2492"/>
                </a:lnTo>
                <a:lnTo>
                  <a:pt x="945" y="2508"/>
                </a:lnTo>
                <a:lnTo>
                  <a:pt x="982" y="2538"/>
                </a:lnTo>
                <a:lnTo>
                  <a:pt x="1021" y="2566"/>
                </a:lnTo>
                <a:lnTo>
                  <a:pt x="1060" y="2592"/>
                </a:lnTo>
                <a:lnTo>
                  <a:pt x="1101" y="2615"/>
                </a:lnTo>
                <a:lnTo>
                  <a:pt x="1142" y="2638"/>
                </a:lnTo>
                <a:lnTo>
                  <a:pt x="1184" y="2658"/>
                </a:lnTo>
                <a:lnTo>
                  <a:pt x="1227" y="2677"/>
                </a:lnTo>
                <a:lnTo>
                  <a:pt x="1270" y="2694"/>
                </a:lnTo>
                <a:lnTo>
                  <a:pt x="1313" y="2709"/>
                </a:lnTo>
                <a:lnTo>
                  <a:pt x="1358" y="2722"/>
                </a:lnTo>
                <a:lnTo>
                  <a:pt x="1402" y="2732"/>
                </a:lnTo>
                <a:lnTo>
                  <a:pt x="1447" y="2741"/>
                </a:lnTo>
                <a:lnTo>
                  <a:pt x="1492" y="2748"/>
                </a:lnTo>
                <a:lnTo>
                  <a:pt x="1537" y="2754"/>
                </a:lnTo>
                <a:lnTo>
                  <a:pt x="0" y="4305"/>
                </a:lnTo>
                <a:lnTo>
                  <a:pt x="4303" y="8573"/>
                </a:lnTo>
                <a:lnTo>
                  <a:pt x="5778" y="7087"/>
                </a:lnTo>
                <a:lnTo>
                  <a:pt x="5743" y="7078"/>
                </a:lnTo>
                <a:lnTo>
                  <a:pt x="5709" y="7067"/>
                </a:lnTo>
                <a:lnTo>
                  <a:pt x="5674" y="7055"/>
                </a:lnTo>
                <a:lnTo>
                  <a:pt x="5640" y="7044"/>
                </a:lnTo>
                <a:lnTo>
                  <a:pt x="5607" y="7030"/>
                </a:lnTo>
                <a:lnTo>
                  <a:pt x="5574" y="7015"/>
                </a:lnTo>
                <a:lnTo>
                  <a:pt x="5540" y="6999"/>
                </a:lnTo>
                <a:lnTo>
                  <a:pt x="5508" y="6981"/>
                </a:lnTo>
                <a:lnTo>
                  <a:pt x="5476" y="6963"/>
                </a:lnTo>
                <a:lnTo>
                  <a:pt x="5445" y="6944"/>
                </a:lnTo>
                <a:lnTo>
                  <a:pt x="5414" y="6922"/>
                </a:lnTo>
                <a:lnTo>
                  <a:pt x="5384" y="6901"/>
                </a:lnTo>
                <a:lnTo>
                  <a:pt x="5354" y="6877"/>
                </a:lnTo>
                <a:lnTo>
                  <a:pt x="5325" y="6854"/>
                </a:lnTo>
                <a:lnTo>
                  <a:pt x="5296" y="6828"/>
                </a:lnTo>
                <a:lnTo>
                  <a:pt x="5269" y="6801"/>
                </a:lnTo>
                <a:lnTo>
                  <a:pt x="5229" y="6762"/>
                </a:lnTo>
                <a:lnTo>
                  <a:pt x="5194" y="6719"/>
                </a:lnTo>
                <a:lnTo>
                  <a:pt x="5159" y="6676"/>
                </a:lnTo>
                <a:lnTo>
                  <a:pt x="5128" y="6631"/>
                </a:lnTo>
                <a:lnTo>
                  <a:pt x="5099" y="6586"/>
                </a:lnTo>
                <a:lnTo>
                  <a:pt x="5073" y="6538"/>
                </a:lnTo>
                <a:lnTo>
                  <a:pt x="5049" y="6490"/>
                </a:lnTo>
                <a:lnTo>
                  <a:pt x="5028" y="6441"/>
                </a:lnTo>
                <a:lnTo>
                  <a:pt x="5008" y="6391"/>
                </a:lnTo>
                <a:lnTo>
                  <a:pt x="4992" y="6341"/>
                </a:lnTo>
                <a:lnTo>
                  <a:pt x="4978" y="6291"/>
                </a:lnTo>
                <a:lnTo>
                  <a:pt x="4966" y="6239"/>
                </a:lnTo>
                <a:lnTo>
                  <a:pt x="4958" y="6187"/>
                </a:lnTo>
                <a:lnTo>
                  <a:pt x="4951" y="6135"/>
                </a:lnTo>
                <a:lnTo>
                  <a:pt x="4947" y="6082"/>
                </a:lnTo>
                <a:lnTo>
                  <a:pt x="4946" y="6030"/>
                </a:lnTo>
                <a:lnTo>
                  <a:pt x="4947" y="5977"/>
                </a:lnTo>
                <a:lnTo>
                  <a:pt x="4950" y="5925"/>
                </a:lnTo>
                <a:lnTo>
                  <a:pt x="4957" y="5872"/>
                </a:lnTo>
                <a:lnTo>
                  <a:pt x="4965" y="5821"/>
                </a:lnTo>
                <a:lnTo>
                  <a:pt x="4976" y="5769"/>
                </a:lnTo>
                <a:lnTo>
                  <a:pt x="4989" y="5718"/>
                </a:lnTo>
                <a:lnTo>
                  <a:pt x="5005" y="5667"/>
                </a:lnTo>
                <a:lnTo>
                  <a:pt x="5024" y="5618"/>
                </a:lnTo>
                <a:lnTo>
                  <a:pt x="5045" y="5569"/>
                </a:lnTo>
                <a:lnTo>
                  <a:pt x="5068" y="5520"/>
                </a:lnTo>
                <a:lnTo>
                  <a:pt x="5094" y="5473"/>
                </a:lnTo>
                <a:lnTo>
                  <a:pt x="5123" y="5427"/>
                </a:lnTo>
                <a:lnTo>
                  <a:pt x="5154" y="5382"/>
                </a:lnTo>
                <a:lnTo>
                  <a:pt x="5187" y="5338"/>
                </a:lnTo>
                <a:lnTo>
                  <a:pt x="5224" y="5296"/>
                </a:lnTo>
                <a:lnTo>
                  <a:pt x="5262" y="5255"/>
                </a:lnTo>
                <a:lnTo>
                  <a:pt x="5302" y="5216"/>
                </a:lnTo>
                <a:lnTo>
                  <a:pt x="5345" y="5180"/>
                </a:lnTo>
                <a:lnTo>
                  <a:pt x="5388" y="5146"/>
                </a:lnTo>
                <a:lnTo>
                  <a:pt x="5433" y="5115"/>
                </a:lnTo>
                <a:lnTo>
                  <a:pt x="5479" y="5086"/>
                </a:lnTo>
                <a:lnTo>
                  <a:pt x="5525" y="5059"/>
                </a:lnTo>
                <a:lnTo>
                  <a:pt x="5574" y="5035"/>
                </a:lnTo>
                <a:lnTo>
                  <a:pt x="5623" y="5014"/>
                </a:lnTo>
                <a:lnTo>
                  <a:pt x="5672" y="4995"/>
                </a:lnTo>
                <a:lnTo>
                  <a:pt x="5723" y="4979"/>
                </a:lnTo>
                <a:lnTo>
                  <a:pt x="5773" y="4965"/>
                </a:lnTo>
                <a:lnTo>
                  <a:pt x="5825" y="4953"/>
                </a:lnTo>
                <a:lnTo>
                  <a:pt x="5877" y="4944"/>
                </a:lnTo>
                <a:lnTo>
                  <a:pt x="5929" y="4938"/>
                </a:lnTo>
                <a:lnTo>
                  <a:pt x="5981" y="4934"/>
                </a:lnTo>
                <a:lnTo>
                  <a:pt x="6034" y="4933"/>
                </a:lnTo>
                <a:lnTo>
                  <a:pt x="6086" y="4934"/>
                </a:lnTo>
                <a:lnTo>
                  <a:pt x="6139" y="4937"/>
                </a:lnTo>
                <a:lnTo>
                  <a:pt x="6191" y="4943"/>
                </a:lnTo>
                <a:lnTo>
                  <a:pt x="6243" y="4952"/>
                </a:lnTo>
                <a:lnTo>
                  <a:pt x="6294" y="4963"/>
                </a:lnTo>
                <a:lnTo>
                  <a:pt x="6346" y="4976"/>
                </a:lnTo>
                <a:lnTo>
                  <a:pt x="6396" y="4992"/>
                </a:lnTo>
                <a:lnTo>
                  <a:pt x="6447" y="5011"/>
                </a:lnTo>
                <a:lnTo>
                  <a:pt x="6495" y="5031"/>
                </a:lnTo>
                <a:lnTo>
                  <a:pt x="6543" y="5055"/>
                </a:lnTo>
                <a:lnTo>
                  <a:pt x="6591" y="5081"/>
                </a:lnTo>
                <a:lnTo>
                  <a:pt x="6637" y="5110"/>
                </a:lnTo>
                <a:lnTo>
                  <a:pt x="6682" y="5141"/>
                </a:lnTo>
                <a:lnTo>
                  <a:pt x="6726" y="5174"/>
                </a:lnTo>
                <a:lnTo>
                  <a:pt x="6768" y="5210"/>
                </a:lnTo>
                <a:lnTo>
                  <a:pt x="6808" y="5249"/>
                </a:lnTo>
                <a:lnTo>
                  <a:pt x="6835" y="5276"/>
                </a:lnTo>
                <a:lnTo>
                  <a:pt x="6861" y="5305"/>
                </a:lnTo>
                <a:lnTo>
                  <a:pt x="6886" y="5334"/>
                </a:lnTo>
                <a:lnTo>
                  <a:pt x="6909" y="5363"/>
                </a:lnTo>
                <a:lnTo>
                  <a:pt x="6931" y="5393"/>
                </a:lnTo>
                <a:lnTo>
                  <a:pt x="6952" y="5424"/>
                </a:lnTo>
                <a:lnTo>
                  <a:pt x="6971" y="5455"/>
                </a:lnTo>
                <a:lnTo>
                  <a:pt x="6991" y="5486"/>
                </a:lnTo>
                <a:lnTo>
                  <a:pt x="7008" y="5519"/>
                </a:lnTo>
                <a:lnTo>
                  <a:pt x="7024" y="5551"/>
                </a:lnTo>
                <a:lnTo>
                  <a:pt x="7040" y="5585"/>
                </a:lnTo>
                <a:lnTo>
                  <a:pt x="7054" y="5618"/>
                </a:lnTo>
                <a:lnTo>
                  <a:pt x="7067" y="5652"/>
                </a:lnTo>
                <a:lnTo>
                  <a:pt x="7079" y="5687"/>
                </a:lnTo>
                <a:lnTo>
                  <a:pt x="7088" y="5721"/>
                </a:lnTo>
                <a:lnTo>
                  <a:pt x="7098" y="5755"/>
                </a:lnTo>
                <a:lnTo>
                  <a:pt x="8573" y="4268"/>
                </a:lnTo>
              </a:path>
            </a:pathLst>
          </a:custGeom>
          <a:solidFill>
            <a:schemeClr val="accent4"/>
          </a:solidFill>
          <a:ln w="127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4572000" y="2326280"/>
            <a:ext cx="1203072" cy="1203071"/>
          </a:xfrm>
          <a:custGeom>
            <a:avLst/>
            <a:gdLst/>
            <a:ahLst/>
            <a:cxnLst>
              <a:cxn ang="0">
                <a:pos x="7105" y="2641"/>
              </a:cxn>
              <a:cxn ang="0">
                <a:pos x="7328" y="2596"/>
              </a:cxn>
              <a:cxn ang="0">
                <a:pos x="7539" y="2504"/>
              </a:cxn>
              <a:cxn ang="0">
                <a:pos x="7730" y="2365"/>
              </a:cxn>
              <a:cxn ang="0">
                <a:pos x="7967" y="2059"/>
              </a:cxn>
              <a:cxn ang="0">
                <a:pos x="8085" y="1654"/>
              </a:cxn>
              <a:cxn ang="0">
                <a:pos x="8045" y="1238"/>
              </a:cxn>
              <a:cxn ang="0">
                <a:pos x="7843" y="860"/>
              </a:cxn>
              <a:cxn ang="0">
                <a:pos x="7503" y="584"/>
              </a:cxn>
              <a:cxn ang="0">
                <a:pos x="7098" y="466"/>
              </a:cxn>
              <a:cxn ang="0">
                <a:pos x="6681" y="507"/>
              </a:cxn>
              <a:cxn ang="0">
                <a:pos x="6303" y="709"/>
              </a:cxn>
              <a:cxn ang="0">
                <a:pos x="6105" y="922"/>
              </a:cxn>
              <a:cxn ang="0">
                <a:pos x="5992" y="1124"/>
              </a:cxn>
              <a:cxn ang="0">
                <a:pos x="5925" y="1343"/>
              </a:cxn>
              <a:cxn ang="0">
                <a:pos x="5904" y="1568"/>
              </a:cxn>
              <a:cxn ang="0">
                <a:pos x="2697" y="1372"/>
              </a:cxn>
              <a:cxn ang="0">
                <a:pos x="2538" y="1037"/>
              </a:cxn>
              <a:cxn ang="0">
                <a:pos x="2242" y="751"/>
              </a:cxn>
              <a:cxn ang="0">
                <a:pos x="1848" y="593"/>
              </a:cxn>
              <a:cxn ang="0">
                <a:pos x="1431" y="594"/>
              </a:cxn>
              <a:cxn ang="0">
                <a:pos x="1038" y="756"/>
              </a:cxn>
              <a:cxn ang="0">
                <a:pos x="728" y="1069"/>
              </a:cxn>
              <a:cxn ang="0">
                <a:pos x="571" y="1462"/>
              </a:cxn>
              <a:cxn ang="0">
                <a:pos x="572" y="1881"/>
              </a:cxn>
              <a:cxn ang="0">
                <a:pos x="734" y="2272"/>
              </a:cxn>
              <a:cxn ang="0">
                <a:pos x="946" y="2508"/>
              </a:cxn>
              <a:cxn ang="0">
                <a:pos x="1270" y="2694"/>
              </a:cxn>
              <a:cxn ang="0">
                <a:pos x="1638" y="5929"/>
              </a:cxn>
              <a:cxn ang="0">
                <a:pos x="1647" y="5703"/>
              </a:cxn>
              <a:cxn ang="0">
                <a:pos x="1701" y="5482"/>
              </a:cxn>
              <a:cxn ang="0">
                <a:pos x="1803" y="5275"/>
              </a:cxn>
              <a:cxn ang="0">
                <a:pos x="1952" y="5088"/>
              </a:cxn>
              <a:cxn ang="0">
                <a:pos x="2313" y="4847"/>
              </a:cxn>
              <a:cxn ang="0">
                <a:pos x="2724" y="4765"/>
              </a:cxn>
              <a:cxn ang="0">
                <a:pos x="3136" y="4844"/>
              </a:cxn>
              <a:cxn ang="0">
                <a:pos x="3498" y="5082"/>
              </a:cxn>
              <a:cxn ang="0">
                <a:pos x="3740" y="5442"/>
              </a:cxn>
              <a:cxn ang="0">
                <a:pos x="3821" y="5854"/>
              </a:cxn>
              <a:cxn ang="0">
                <a:pos x="3743" y="6266"/>
              </a:cxn>
              <a:cxn ang="0">
                <a:pos x="3505" y="6629"/>
              </a:cxn>
              <a:cxn ang="0">
                <a:pos x="3320" y="6779"/>
              </a:cxn>
              <a:cxn ang="0">
                <a:pos x="3113" y="6882"/>
              </a:cxn>
              <a:cxn ang="0">
                <a:pos x="2893" y="6939"/>
              </a:cxn>
              <a:cxn ang="0">
                <a:pos x="2667" y="6949"/>
              </a:cxn>
              <a:cxn ang="0">
                <a:pos x="5574" y="7015"/>
              </a:cxn>
              <a:cxn ang="0">
                <a:pos x="5325" y="6854"/>
              </a:cxn>
              <a:cxn ang="0">
                <a:pos x="5074" y="6538"/>
              </a:cxn>
              <a:cxn ang="0">
                <a:pos x="4952" y="6135"/>
              </a:cxn>
              <a:cxn ang="0">
                <a:pos x="4990" y="5718"/>
              </a:cxn>
              <a:cxn ang="0">
                <a:pos x="5189" y="5339"/>
              </a:cxn>
              <a:cxn ang="0">
                <a:pos x="5527" y="5060"/>
              </a:cxn>
              <a:cxn ang="0">
                <a:pos x="5930" y="4938"/>
              </a:cxn>
              <a:cxn ang="0">
                <a:pos x="6346" y="4977"/>
              </a:cxn>
              <a:cxn ang="0">
                <a:pos x="6726" y="5175"/>
              </a:cxn>
              <a:cxn ang="0">
                <a:pos x="6952" y="5424"/>
              </a:cxn>
              <a:cxn ang="0">
                <a:pos x="7079" y="5687"/>
              </a:cxn>
            </a:cxnLst>
            <a:rect l="0" t="0" r="r" b="b"/>
            <a:pathLst>
              <a:path w="8573" h="8573">
                <a:moveTo>
                  <a:pt x="8573" y="4270"/>
                </a:moveTo>
                <a:lnTo>
                  <a:pt x="6935" y="2645"/>
                </a:lnTo>
                <a:lnTo>
                  <a:pt x="6963" y="2647"/>
                </a:lnTo>
                <a:lnTo>
                  <a:pt x="6992" y="2647"/>
                </a:lnTo>
                <a:lnTo>
                  <a:pt x="7020" y="2647"/>
                </a:lnTo>
                <a:lnTo>
                  <a:pt x="7049" y="2645"/>
                </a:lnTo>
                <a:lnTo>
                  <a:pt x="7077" y="2644"/>
                </a:lnTo>
                <a:lnTo>
                  <a:pt x="7105" y="2641"/>
                </a:lnTo>
                <a:lnTo>
                  <a:pt x="7134" y="2638"/>
                </a:lnTo>
                <a:lnTo>
                  <a:pt x="7162" y="2635"/>
                </a:lnTo>
                <a:lnTo>
                  <a:pt x="7190" y="2629"/>
                </a:lnTo>
                <a:lnTo>
                  <a:pt x="7217" y="2625"/>
                </a:lnTo>
                <a:lnTo>
                  <a:pt x="7245" y="2619"/>
                </a:lnTo>
                <a:lnTo>
                  <a:pt x="7273" y="2612"/>
                </a:lnTo>
                <a:lnTo>
                  <a:pt x="7301" y="2605"/>
                </a:lnTo>
                <a:lnTo>
                  <a:pt x="7328" y="2596"/>
                </a:lnTo>
                <a:lnTo>
                  <a:pt x="7355" y="2588"/>
                </a:lnTo>
                <a:lnTo>
                  <a:pt x="7383" y="2578"/>
                </a:lnTo>
                <a:lnTo>
                  <a:pt x="7408" y="2567"/>
                </a:lnTo>
                <a:lnTo>
                  <a:pt x="7435" y="2556"/>
                </a:lnTo>
                <a:lnTo>
                  <a:pt x="7462" y="2545"/>
                </a:lnTo>
                <a:lnTo>
                  <a:pt x="7488" y="2532"/>
                </a:lnTo>
                <a:lnTo>
                  <a:pt x="7514" y="2518"/>
                </a:lnTo>
                <a:lnTo>
                  <a:pt x="7539" y="2504"/>
                </a:lnTo>
                <a:lnTo>
                  <a:pt x="7564" y="2490"/>
                </a:lnTo>
                <a:lnTo>
                  <a:pt x="7589" y="2474"/>
                </a:lnTo>
                <a:lnTo>
                  <a:pt x="7613" y="2458"/>
                </a:lnTo>
                <a:lnTo>
                  <a:pt x="7638" y="2441"/>
                </a:lnTo>
                <a:lnTo>
                  <a:pt x="7662" y="2423"/>
                </a:lnTo>
                <a:lnTo>
                  <a:pt x="7684" y="2405"/>
                </a:lnTo>
                <a:lnTo>
                  <a:pt x="7708" y="2386"/>
                </a:lnTo>
                <a:lnTo>
                  <a:pt x="7730" y="2365"/>
                </a:lnTo>
                <a:lnTo>
                  <a:pt x="7753" y="2345"/>
                </a:lnTo>
                <a:lnTo>
                  <a:pt x="7774" y="2324"/>
                </a:lnTo>
                <a:lnTo>
                  <a:pt x="7813" y="2283"/>
                </a:lnTo>
                <a:lnTo>
                  <a:pt x="7848" y="2241"/>
                </a:lnTo>
                <a:lnTo>
                  <a:pt x="7881" y="2197"/>
                </a:lnTo>
                <a:lnTo>
                  <a:pt x="7913" y="2152"/>
                </a:lnTo>
                <a:lnTo>
                  <a:pt x="7942" y="2106"/>
                </a:lnTo>
                <a:lnTo>
                  <a:pt x="7967" y="2059"/>
                </a:lnTo>
                <a:lnTo>
                  <a:pt x="7991" y="2010"/>
                </a:lnTo>
                <a:lnTo>
                  <a:pt x="8012" y="1962"/>
                </a:lnTo>
                <a:lnTo>
                  <a:pt x="8031" y="1912"/>
                </a:lnTo>
                <a:lnTo>
                  <a:pt x="8047" y="1861"/>
                </a:lnTo>
                <a:lnTo>
                  <a:pt x="8060" y="1810"/>
                </a:lnTo>
                <a:lnTo>
                  <a:pt x="8071" y="1758"/>
                </a:lnTo>
                <a:lnTo>
                  <a:pt x="8080" y="1707"/>
                </a:lnTo>
                <a:lnTo>
                  <a:pt x="8085" y="1654"/>
                </a:lnTo>
                <a:lnTo>
                  <a:pt x="8090" y="1602"/>
                </a:lnTo>
                <a:lnTo>
                  <a:pt x="8091" y="1549"/>
                </a:lnTo>
                <a:lnTo>
                  <a:pt x="8089" y="1497"/>
                </a:lnTo>
                <a:lnTo>
                  <a:pt x="8085" y="1445"/>
                </a:lnTo>
                <a:lnTo>
                  <a:pt x="8078" y="1392"/>
                </a:lnTo>
                <a:lnTo>
                  <a:pt x="8069" y="1340"/>
                </a:lnTo>
                <a:lnTo>
                  <a:pt x="8057" y="1289"/>
                </a:lnTo>
                <a:lnTo>
                  <a:pt x="8045" y="1238"/>
                </a:lnTo>
                <a:lnTo>
                  <a:pt x="8027" y="1188"/>
                </a:lnTo>
                <a:lnTo>
                  <a:pt x="8009" y="1138"/>
                </a:lnTo>
                <a:lnTo>
                  <a:pt x="7988" y="1089"/>
                </a:lnTo>
                <a:lnTo>
                  <a:pt x="7963" y="1041"/>
                </a:lnTo>
                <a:lnTo>
                  <a:pt x="7937" y="994"/>
                </a:lnTo>
                <a:lnTo>
                  <a:pt x="7908" y="948"/>
                </a:lnTo>
                <a:lnTo>
                  <a:pt x="7876" y="903"/>
                </a:lnTo>
                <a:lnTo>
                  <a:pt x="7843" y="860"/>
                </a:lnTo>
                <a:lnTo>
                  <a:pt x="7806" y="817"/>
                </a:lnTo>
                <a:lnTo>
                  <a:pt x="7768" y="778"/>
                </a:lnTo>
                <a:lnTo>
                  <a:pt x="7727" y="739"/>
                </a:lnTo>
                <a:lnTo>
                  <a:pt x="7684" y="703"/>
                </a:lnTo>
                <a:lnTo>
                  <a:pt x="7641" y="669"/>
                </a:lnTo>
                <a:lnTo>
                  <a:pt x="7596" y="638"/>
                </a:lnTo>
                <a:lnTo>
                  <a:pt x="7550" y="609"/>
                </a:lnTo>
                <a:lnTo>
                  <a:pt x="7503" y="584"/>
                </a:lnTo>
                <a:lnTo>
                  <a:pt x="7455" y="560"/>
                </a:lnTo>
                <a:lnTo>
                  <a:pt x="7405" y="540"/>
                </a:lnTo>
                <a:lnTo>
                  <a:pt x="7355" y="520"/>
                </a:lnTo>
                <a:lnTo>
                  <a:pt x="7304" y="505"/>
                </a:lnTo>
                <a:lnTo>
                  <a:pt x="7254" y="491"/>
                </a:lnTo>
                <a:lnTo>
                  <a:pt x="7202" y="481"/>
                </a:lnTo>
                <a:lnTo>
                  <a:pt x="7150" y="472"/>
                </a:lnTo>
                <a:lnTo>
                  <a:pt x="7098" y="466"/>
                </a:lnTo>
                <a:lnTo>
                  <a:pt x="7046" y="462"/>
                </a:lnTo>
                <a:lnTo>
                  <a:pt x="6993" y="461"/>
                </a:lnTo>
                <a:lnTo>
                  <a:pt x="6941" y="462"/>
                </a:lnTo>
                <a:lnTo>
                  <a:pt x="6888" y="467"/>
                </a:lnTo>
                <a:lnTo>
                  <a:pt x="6836" y="473"/>
                </a:lnTo>
                <a:lnTo>
                  <a:pt x="6784" y="482"/>
                </a:lnTo>
                <a:lnTo>
                  <a:pt x="6733" y="494"/>
                </a:lnTo>
                <a:lnTo>
                  <a:pt x="6681" y="507"/>
                </a:lnTo>
                <a:lnTo>
                  <a:pt x="6631" y="524"/>
                </a:lnTo>
                <a:lnTo>
                  <a:pt x="6581" y="543"/>
                </a:lnTo>
                <a:lnTo>
                  <a:pt x="6532" y="564"/>
                </a:lnTo>
                <a:lnTo>
                  <a:pt x="6485" y="588"/>
                </a:lnTo>
                <a:lnTo>
                  <a:pt x="6438" y="615"/>
                </a:lnTo>
                <a:lnTo>
                  <a:pt x="6391" y="644"/>
                </a:lnTo>
                <a:lnTo>
                  <a:pt x="6346" y="675"/>
                </a:lnTo>
                <a:lnTo>
                  <a:pt x="6303" y="709"/>
                </a:lnTo>
                <a:lnTo>
                  <a:pt x="6262" y="745"/>
                </a:lnTo>
                <a:lnTo>
                  <a:pt x="6221" y="784"/>
                </a:lnTo>
                <a:lnTo>
                  <a:pt x="6199" y="806"/>
                </a:lnTo>
                <a:lnTo>
                  <a:pt x="6179" y="828"/>
                </a:lnTo>
                <a:lnTo>
                  <a:pt x="6160" y="851"/>
                </a:lnTo>
                <a:lnTo>
                  <a:pt x="6140" y="874"/>
                </a:lnTo>
                <a:lnTo>
                  <a:pt x="6122" y="898"/>
                </a:lnTo>
                <a:lnTo>
                  <a:pt x="6105" y="922"/>
                </a:lnTo>
                <a:lnTo>
                  <a:pt x="6089" y="945"/>
                </a:lnTo>
                <a:lnTo>
                  <a:pt x="6073" y="970"/>
                </a:lnTo>
                <a:lnTo>
                  <a:pt x="6057" y="996"/>
                </a:lnTo>
                <a:lnTo>
                  <a:pt x="6043" y="1020"/>
                </a:lnTo>
                <a:lnTo>
                  <a:pt x="6029" y="1046"/>
                </a:lnTo>
                <a:lnTo>
                  <a:pt x="6016" y="1072"/>
                </a:lnTo>
                <a:lnTo>
                  <a:pt x="6003" y="1097"/>
                </a:lnTo>
                <a:lnTo>
                  <a:pt x="5992" y="1124"/>
                </a:lnTo>
                <a:lnTo>
                  <a:pt x="5981" y="1151"/>
                </a:lnTo>
                <a:lnTo>
                  <a:pt x="5971" y="1178"/>
                </a:lnTo>
                <a:lnTo>
                  <a:pt x="5961" y="1205"/>
                </a:lnTo>
                <a:lnTo>
                  <a:pt x="5953" y="1232"/>
                </a:lnTo>
                <a:lnTo>
                  <a:pt x="5945" y="1259"/>
                </a:lnTo>
                <a:lnTo>
                  <a:pt x="5938" y="1287"/>
                </a:lnTo>
                <a:lnTo>
                  <a:pt x="5931" y="1315"/>
                </a:lnTo>
                <a:lnTo>
                  <a:pt x="5925" y="1343"/>
                </a:lnTo>
                <a:lnTo>
                  <a:pt x="5921" y="1371"/>
                </a:lnTo>
                <a:lnTo>
                  <a:pt x="5915" y="1399"/>
                </a:lnTo>
                <a:lnTo>
                  <a:pt x="5912" y="1427"/>
                </a:lnTo>
                <a:lnTo>
                  <a:pt x="5909" y="1455"/>
                </a:lnTo>
                <a:lnTo>
                  <a:pt x="5907" y="1484"/>
                </a:lnTo>
                <a:lnTo>
                  <a:pt x="5905" y="1512"/>
                </a:lnTo>
                <a:lnTo>
                  <a:pt x="5904" y="1541"/>
                </a:lnTo>
                <a:lnTo>
                  <a:pt x="5904" y="1568"/>
                </a:lnTo>
                <a:lnTo>
                  <a:pt x="5905" y="1596"/>
                </a:lnTo>
                <a:lnTo>
                  <a:pt x="5907" y="1625"/>
                </a:lnTo>
                <a:lnTo>
                  <a:pt x="4268" y="0"/>
                </a:lnTo>
                <a:lnTo>
                  <a:pt x="2731" y="1551"/>
                </a:lnTo>
                <a:lnTo>
                  <a:pt x="2725" y="1506"/>
                </a:lnTo>
                <a:lnTo>
                  <a:pt x="2717" y="1461"/>
                </a:lnTo>
                <a:lnTo>
                  <a:pt x="2709" y="1416"/>
                </a:lnTo>
                <a:lnTo>
                  <a:pt x="2697" y="1372"/>
                </a:lnTo>
                <a:lnTo>
                  <a:pt x="2684" y="1328"/>
                </a:lnTo>
                <a:lnTo>
                  <a:pt x="2669" y="1284"/>
                </a:lnTo>
                <a:lnTo>
                  <a:pt x="2652" y="1241"/>
                </a:lnTo>
                <a:lnTo>
                  <a:pt x="2633" y="1199"/>
                </a:lnTo>
                <a:lnTo>
                  <a:pt x="2612" y="1158"/>
                </a:lnTo>
                <a:lnTo>
                  <a:pt x="2590" y="1117"/>
                </a:lnTo>
                <a:lnTo>
                  <a:pt x="2565" y="1076"/>
                </a:lnTo>
                <a:lnTo>
                  <a:pt x="2538" y="1037"/>
                </a:lnTo>
                <a:lnTo>
                  <a:pt x="2510" y="999"/>
                </a:lnTo>
                <a:lnTo>
                  <a:pt x="2480" y="961"/>
                </a:lnTo>
                <a:lnTo>
                  <a:pt x="2448" y="925"/>
                </a:lnTo>
                <a:lnTo>
                  <a:pt x="2415" y="890"/>
                </a:lnTo>
                <a:lnTo>
                  <a:pt x="2374" y="852"/>
                </a:lnTo>
                <a:lnTo>
                  <a:pt x="2331" y="815"/>
                </a:lnTo>
                <a:lnTo>
                  <a:pt x="2287" y="782"/>
                </a:lnTo>
                <a:lnTo>
                  <a:pt x="2242" y="751"/>
                </a:lnTo>
                <a:lnTo>
                  <a:pt x="2196" y="722"/>
                </a:lnTo>
                <a:lnTo>
                  <a:pt x="2149" y="696"/>
                </a:lnTo>
                <a:lnTo>
                  <a:pt x="2100" y="673"/>
                </a:lnTo>
                <a:lnTo>
                  <a:pt x="2052" y="652"/>
                </a:lnTo>
                <a:lnTo>
                  <a:pt x="2002" y="633"/>
                </a:lnTo>
                <a:lnTo>
                  <a:pt x="1951" y="618"/>
                </a:lnTo>
                <a:lnTo>
                  <a:pt x="1901" y="604"/>
                </a:lnTo>
                <a:lnTo>
                  <a:pt x="1848" y="593"/>
                </a:lnTo>
                <a:lnTo>
                  <a:pt x="1797" y="585"/>
                </a:lnTo>
                <a:lnTo>
                  <a:pt x="1744" y="578"/>
                </a:lnTo>
                <a:lnTo>
                  <a:pt x="1692" y="575"/>
                </a:lnTo>
                <a:lnTo>
                  <a:pt x="1640" y="574"/>
                </a:lnTo>
                <a:lnTo>
                  <a:pt x="1588" y="575"/>
                </a:lnTo>
                <a:lnTo>
                  <a:pt x="1535" y="579"/>
                </a:lnTo>
                <a:lnTo>
                  <a:pt x="1483" y="586"/>
                </a:lnTo>
                <a:lnTo>
                  <a:pt x="1431" y="594"/>
                </a:lnTo>
                <a:lnTo>
                  <a:pt x="1380" y="606"/>
                </a:lnTo>
                <a:lnTo>
                  <a:pt x="1328" y="620"/>
                </a:lnTo>
                <a:lnTo>
                  <a:pt x="1278" y="636"/>
                </a:lnTo>
                <a:lnTo>
                  <a:pt x="1228" y="656"/>
                </a:lnTo>
                <a:lnTo>
                  <a:pt x="1179" y="677"/>
                </a:lnTo>
                <a:lnTo>
                  <a:pt x="1132" y="701"/>
                </a:lnTo>
                <a:lnTo>
                  <a:pt x="1085" y="727"/>
                </a:lnTo>
                <a:lnTo>
                  <a:pt x="1038" y="756"/>
                </a:lnTo>
                <a:lnTo>
                  <a:pt x="993" y="787"/>
                </a:lnTo>
                <a:lnTo>
                  <a:pt x="950" y="822"/>
                </a:lnTo>
                <a:lnTo>
                  <a:pt x="909" y="857"/>
                </a:lnTo>
                <a:lnTo>
                  <a:pt x="868" y="897"/>
                </a:lnTo>
                <a:lnTo>
                  <a:pt x="829" y="938"/>
                </a:lnTo>
                <a:lnTo>
                  <a:pt x="793" y="979"/>
                </a:lnTo>
                <a:lnTo>
                  <a:pt x="760" y="1023"/>
                </a:lnTo>
                <a:lnTo>
                  <a:pt x="728" y="1069"/>
                </a:lnTo>
                <a:lnTo>
                  <a:pt x="701" y="1115"/>
                </a:lnTo>
                <a:lnTo>
                  <a:pt x="674" y="1162"/>
                </a:lnTo>
                <a:lnTo>
                  <a:pt x="650" y="1210"/>
                </a:lnTo>
                <a:lnTo>
                  <a:pt x="630" y="1258"/>
                </a:lnTo>
                <a:lnTo>
                  <a:pt x="611" y="1309"/>
                </a:lnTo>
                <a:lnTo>
                  <a:pt x="595" y="1359"/>
                </a:lnTo>
                <a:lnTo>
                  <a:pt x="581" y="1411"/>
                </a:lnTo>
                <a:lnTo>
                  <a:pt x="571" y="1462"/>
                </a:lnTo>
                <a:lnTo>
                  <a:pt x="562" y="1514"/>
                </a:lnTo>
                <a:lnTo>
                  <a:pt x="556" y="1566"/>
                </a:lnTo>
                <a:lnTo>
                  <a:pt x="552" y="1619"/>
                </a:lnTo>
                <a:lnTo>
                  <a:pt x="551" y="1671"/>
                </a:lnTo>
                <a:lnTo>
                  <a:pt x="552" y="1724"/>
                </a:lnTo>
                <a:lnTo>
                  <a:pt x="557" y="1777"/>
                </a:lnTo>
                <a:lnTo>
                  <a:pt x="563" y="1828"/>
                </a:lnTo>
                <a:lnTo>
                  <a:pt x="572" y="1881"/>
                </a:lnTo>
                <a:lnTo>
                  <a:pt x="584" y="1932"/>
                </a:lnTo>
                <a:lnTo>
                  <a:pt x="598" y="1982"/>
                </a:lnTo>
                <a:lnTo>
                  <a:pt x="614" y="2033"/>
                </a:lnTo>
                <a:lnTo>
                  <a:pt x="633" y="2082"/>
                </a:lnTo>
                <a:lnTo>
                  <a:pt x="654" y="2132"/>
                </a:lnTo>
                <a:lnTo>
                  <a:pt x="678" y="2180"/>
                </a:lnTo>
                <a:lnTo>
                  <a:pt x="705" y="2227"/>
                </a:lnTo>
                <a:lnTo>
                  <a:pt x="734" y="2272"/>
                </a:lnTo>
                <a:lnTo>
                  <a:pt x="765" y="2317"/>
                </a:lnTo>
                <a:lnTo>
                  <a:pt x="799" y="2360"/>
                </a:lnTo>
                <a:lnTo>
                  <a:pt x="836" y="2403"/>
                </a:lnTo>
                <a:lnTo>
                  <a:pt x="874" y="2443"/>
                </a:lnTo>
                <a:lnTo>
                  <a:pt x="891" y="2460"/>
                </a:lnTo>
                <a:lnTo>
                  <a:pt x="910" y="2477"/>
                </a:lnTo>
                <a:lnTo>
                  <a:pt x="928" y="2493"/>
                </a:lnTo>
                <a:lnTo>
                  <a:pt x="946" y="2508"/>
                </a:lnTo>
                <a:lnTo>
                  <a:pt x="984" y="2538"/>
                </a:lnTo>
                <a:lnTo>
                  <a:pt x="1022" y="2566"/>
                </a:lnTo>
                <a:lnTo>
                  <a:pt x="1062" y="2592"/>
                </a:lnTo>
                <a:lnTo>
                  <a:pt x="1102" y="2616"/>
                </a:lnTo>
                <a:lnTo>
                  <a:pt x="1142" y="2639"/>
                </a:lnTo>
                <a:lnTo>
                  <a:pt x="1184" y="2659"/>
                </a:lnTo>
                <a:lnTo>
                  <a:pt x="1227" y="2678"/>
                </a:lnTo>
                <a:lnTo>
                  <a:pt x="1270" y="2694"/>
                </a:lnTo>
                <a:lnTo>
                  <a:pt x="1314" y="2709"/>
                </a:lnTo>
                <a:lnTo>
                  <a:pt x="1358" y="2722"/>
                </a:lnTo>
                <a:lnTo>
                  <a:pt x="1403" y="2732"/>
                </a:lnTo>
                <a:lnTo>
                  <a:pt x="1447" y="2742"/>
                </a:lnTo>
                <a:lnTo>
                  <a:pt x="1492" y="2748"/>
                </a:lnTo>
                <a:lnTo>
                  <a:pt x="1538" y="2754"/>
                </a:lnTo>
                <a:lnTo>
                  <a:pt x="0" y="4305"/>
                </a:lnTo>
                <a:lnTo>
                  <a:pt x="1638" y="5929"/>
                </a:lnTo>
                <a:lnTo>
                  <a:pt x="1637" y="5901"/>
                </a:lnTo>
                <a:lnTo>
                  <a:pt x="1636" y="5873"/>
                </a:lnTo>
                <a:lnTo>
                  <a:pt x="1636" y="5844"/>
                </a:lnTo>
                <a:lnTo>
                  <a:pt x="1637" y="5817"/>
                </a:lnTo>
                <a:lnTo>
                  <a:pt x="1638" y="5788"/>
                </a:lnTo>
                <a:lnTo>
                  <a:pt x="1640" y="5760"/>
                </a:lnTo>
                <a:lnTo>
                  <a:pt x="1643" y="5732"/>
                </a:lnTo>
                <a:lnTo>
                  <a:pt x="1647" y="5703"/>
                </a:lnTo>
                <a:lnTo>
                  <a:pt x="1651" y="5675"/>
                </a:lnTo>
                <a:lnTo>
                  <a:pt x="1656" y="5647"/>
                </a:lnTo>
                <a:lnTo>
                  <a:pt x="1662" y="5619"/>
                </a:lnTo>
                <a:lnTo>
                  <a:pt x="1668" y="5591"/>
                </a:lnTo>
                <a:lnTo>
                  <a:pt x="1676" y="5564"/>
                </a:lnTo>
                <a:lnTo>
                  <a:pt x="1684" y="5537"/>
                </a:lnTo>
                <a:lnTo>
                  <a:pt x="1693" y="5510"/>
                </a:lnTo>
                <a:lnTo>
                  <a:pt x="1701" y="5482"/>
                </a:lnTo>
                <a:lnTo>
                  <a:pt x="1712" y="5455"/>
                </a:lnTo>
                <a:lnTo>
                  <a:pt x="1723" y="5429"/>
                </a:lnTo>
                <a:lnTo>
                  <a:pt x="1735" y="5402"/>
                </a:lnTo>
                <a:lnTo>
                  <a:pt x="1746" y="5377"/>
                </a:lnTo>
                <a:lnTo>
                  <a:pt x="1760" y="5351"/>
                </a:lnTo>
                <a:lnTo>
                  <a:pt x="1773" y="5325"/>
                </a:lnTo>
                <a:lnTo>
                  <a:pt x="1788" y="5299"/>
                </a:lnTo>
                <a:lnTo>
                  <a:pt x="1803" y="5275"/>
                </a:lnTo>
                <a:lnTo>
                  <a:pt x="1819" y="5250"/>
                </a:lnTo>
                <a:lnTo>
                  <a:pt x="1837" y="5225"/>
                </a:lnTo>
                <a:lnTo>
                  <a:pt x="1854" y="5202"/>
                </a:lnTo>
                <a:lnTo>
                  <a:pt x="1872" y="5178"/>
                </a:lnTo>
                <a:lnTo>
                  <a:pt x="1891" y="5156"/>
                </a:lnTo>
                <a:lnTo>
                  <a:pt x="1911" y="5132"/>
                </a:lnTo>
                <a:lnTo>
                  <a:pt x="1931" y="5111"/>
                </a:lnTo>
                <a:lnTo>
                  <a:pt x="1952" y="5088"/>
                </a:lnTo>
                <a:lnTo>
                  <a:pt x="1992" y="5049"/>
                </a:lnTo>
                <a:lnTo>
                  <a:pt x="2035" y="5013"/>
                </a:lnTo>
                <a:lnTo>
                  <a:pt x="2078" y="4980"/>
                </a:lnTo>
                <a:lnTo>
                  <a:pt x="2123" y="4948"/>
                </a:lnTo>
                <a:lnTo>
                  <a:pt x="2168" y="4919"/>
                </a:lnTo>
                <a:lnTo>
                  <a:pt x="2215" y="4893"/>
                </a:lnTo>
                <a:lnTo>
                  <a:pt x="2264" y="4868"/>
                </a:lnTo>
                <a:lnTo>
                  <a:pt x="2313" y="4847"/>
                </a:lnTo>
                <a:lnTo>
                  <a:pt x="2362" y="4829"/>
                </a:lnTo>
                <a:lnTo>
                  <a:pt x="2413" y="4812"/>
                </a:lnTo>
                <a:lnTo>
                  <a:pt x="2463" y="4798"/>
                </a:lnTo>
                <a:lnTo>
                  <a:pt x="2515" y="4787"/>
                </a:lnTo>
                <a:lnTo>
                  <a:pt x="2567" y="4778"/>
                </a:lnTo>
                <a:lnTo>
                  <a:pt x="2619" y="4772"/>
                </a:lnTo>
                <a:lnTo>
                  <a:pt x="2671" y="4767"/>
                </a:lnTo>
                <a:lnTo>
                  <a:pt x="2724" y="4765"/>
                </a:lnTo>
                <a:lnTo>
                  <a:pt x="2776" y="4766"/>
                </a:lnTo>
                <a:lnTo>
                  <a:pt x="2829" y="4771"/>
                </a:lnTo>
                <a:lnTo>
                  <a:pt x="2881" y="4776"/>
                </a:lnTo>
                <a:lnTo>
                  <a:pt x="2933" y="4785"/>
                </a:lnTo>
                <a:lnTo>
                  <a:pt x="2984" y="4796"/>
                </a:lnTo>
                <a:lnTo>
                  <a:pt x="3036" y="4809"/>
                </a:lnTo>
                <a:lnTo>
                  <a:pt x="3086" y="4825"/>
                </a:lnTo>
                <a:lnTo>
                  <a:pt x="3136" y="4844"/>
                </a:lnTo>
                <a:lnTo>
                  <a:pt x="3185" y="4865"/>
                </a:lnTo>
                <a:lnTo>
                  <a:pt x="3233" y="4889"/>
                </a:lnTo>
                <a:lnTo>
                  <a:pt x="3280" y="4914"/>
                </a:lnTo>
                <a:lnTo>
                  <a:pt x="3327" y="4943"/>
                </a:lnTo>
                <a:lnTo>
                  <a:pt x="3372" y="4974"/>
                </a:lnTo>
                <a:lnTo>
                  <a:pt x="3416" y="5008"/>
                </a:lnTo>
                <a:lnTo>
                  <a:pt x="3457" y="5043"/>
                </a:lnTo>
                <a:lnTo>
                  <a:pt x="3498" y="5082"/>
                </a:lnTo>
                <a:lnTo>
                  <a:pt x="3538" y="5122"/>
                </a:lnTo>
                <a:lnTo>
                  <a:pt x="3573" y="5164"/>
                </a:lnTo>
                <a:lnTo>
                  <a:pt x="3608" y="5208"/>
                </a:lnTo>
                <a:lnTo>
                  <a:pt x="3639" y="5252"/>
                </a:lnTo>
                <a:lnTo>
                  <a:pt x="3668" y="5298"/>
                </a:lnTo>
                <a:lnTo>
                  <a:pt x="3695" y="5346"/>
                </a:lnTo>
                <a:lnTo>
                  <a:pt x="3718" y="5394"/>
                </a:lnTo>
                <a:lnTo>
                  <a:pt x="3740" y="5442"/>
                </a:lnTo>
                <a:lnTo>
                  <a:pt x="3759" y="5493"/>
                </a:lnTo>
                <a:lnTo>
                  <a:pt x="3775" y="5543"/>
                </a:lnTo>
                <a:lnTo>
                  <a:pt x="3789" y="5593"/>
                </a:lnTo>
                <a:lnTo>
                  <a:pt x="3801" y="5645"/>
                </a:lnTo>
                <a:lnTo>
                  <a:pt x="3809" y="5696"/>
                </a:lnTo>
                <a:lnTo>
                  <a:pt x="3816" y="5749"/>
                </a:lnTo>
                <a:lnTo>
                  <a:pt x="3820" y="5801"/>
                </a:lnTo>
                <a:lnTo>
                  <a:pt x="3821" y="5854"/>
                </a:lnTo>
                <a:lnTo>
                  <a:pt x="3820" y="5907"/>
                </a:lnTo>
                <a:lnTo>
                  <a:pt x="3817" y="5959"/>
                </a:lnTo>
                <a:lnTo>
                  <a:pt x="3810" y="6011"/>
                </a:lnTo>
                <a:lnTo>
                  <a:pt x="3802" y="6063"/>
                </a:lnTo>
                <a:lnTo>
                  <a:pt x="3791" y="6115"/>
                </a:lnTo>
                <a:lnTo>
                  <a:pt x="3777" y="6166"/>
                </a:lnTo>
                <a:lnTo>
                  <a:pt x="3762" y="6217"/>
                </a:lnTo>
                <a:lnTo>
                  <a:pt x="3743" y="6266"/>
                </a:lnTo>
                <a:lnTo>
                  <a:pt x="3722" y="6315"/>
                </a:lnTo>
                <a:lnTo>
                  <a:pt x="3699" y="6364"/>
                </a:lnTo>
                <a:lnTo>
                  <a:pt x="3672" y="6411"/>
                </a:lnTo>
                <a:lnTo>
                  <a:pt x="3644" y="6457"/>
                </a:lnTo>
                <a:lnTo>
                  <a:pt x="3613" y="6502"/>
                </a:lnTo>
                <a:lnTo>
                  <a:pt x="3580" y="6545"/>
                </a:lnTo>
                <a:lnTo>
                  <a:pt x="3543" y="6588"/>
                </a:lnTo>
                <a:lnTo>
                  <a:pt x="3505" y="6629"/>
                </a:lnTo>
                <a:lnTo>
                  <a:pt x="3483" y="6650"/>
                </a:lnTo>
                <a:lnTo>
                  <a:pt x="3461" y="6670"/>
                </a:lnTo>
                <a:lnTo>
                  <a:pt x="3438" y="6691"/>
                </a:lnTo>
                <a:lnTo>
                  <a:pt x="3416" y="6709"/>
                </a:lnTo>
                <a:lnTo>
                  <a:pt x="3392" y="6727"/>
                </a:lnTo>
                <a:lnTo>
                  <a:pt x="3368" y="6746"/>
                </a:lnTo>
                <a:lnTo>
                  <a:pt x="3345" y="6763"/>
                </a:lnTo>
                <a:lnTo>
                  <a:pt x="3320" y="6779"/>
                </a:lnTo>
                <a:lnTo>
                  <a:pt x="3295" y="6794"/>
                </a:lnTo>
                <a:lnTo>
                  <a:pt x="3270" y="6809"/>
                </a:lnTo>
                <a:lnTo>
                  <a:pt x="3244" y="6823"/>
                </a:lnTo>
                <a:lnTo>
                  <a:pt x="3218" y="6836"/>
                </a:lnTo>
                <a:lnTo>
                  <a:pt x="3193" y="6848"/>
                </a:lnTo>
                <a:lnTo>
                  <a:pt x="3167" y="6860"/>
                </a:lnTo>
                <a:lnTo>
                  <a:pt x="3140" y="6872"/>
                </a:lnTo>
                <a:lnTo>
                  <a:pt x="3113" y="6882"/>
                </a:lnTo>
                <a:lnTo>
                  <a:pt x="3086" y="6891"/>
                </a:lnTo>
                <a:lnTo>
                  <a:pt x="3059" y="6901"/>
                </a:lnTo>
                <a:lnTo>
                  <a:pt x="3032" y="6909"/>
                </a:lnTo>
                <a:lnTo>
                  <a:pt x="3004" y="6916"/>
                </a:lnTo>
                <a:lnTo>
                  <a:pt x="2977" y="6923"/>
                </a:lnTo>
                <a:lnTo>
                  <a:pt x="2949" y="6929"/>
                </a:lnTo>
                <a:lnTo>
                  <a:pt x="2921" y="6934"/>
                </a:lnTo>
                <a:lnTo>
                  <a:pt x="2893" y="6939"/>
                </a:lnTo>
                <a:lnTo>
                  <a:pt x="2864" y="6943"/>
                </a:lnTo>
                <a:lnTo>
                  <a:pt x="2836" y="6946"/>
                </a:lnTo>
                <a:lnTo>
                  <a:pt x="2808" y="6948"/>
                </a:lnTo>
                <a:lnTo>
                  <a:pt x="2779" y="6950"/>
                </a:lnTo>
                <a:lnTo>
                  <a:pt x="2752" y="6951"/>
                </a:lnTo>
                <a:lnTo>
                  <a:pt x="2723" y="6951"/>
                </a:lnTo>
                <a:lnTo>
                  <a:pt x="2695" y="6950"/>
                </a:lnTo>
                <a:lnTo>
                  <a:pt x="2667" y="6949"/>
                </a:lnTo>
                <a:lnTo>
                  <a:pt x="4305" y="8573"/>
                </a:lnTo>
                <a:lnTo>
                  <a:pt x="5779" y="7088"/>
                </a:lnTo>
                <a:lnTo>
                  <a:pt x="5745" y="7078"/>
                </a:lnTo>
                <a:lnTo>
                  <a:pt x="5709" y="7068"/>
                </a:lnTo>
                <a:lnTo>
                  <a:pt x="5675" y="7057"/>
                </a:lnTo>
                <a:lnTo>
                  <a:pt x="5642" y="7044"/>
                </a:lnTo>
                <a:lnTo>
                  <a:pt x="5607" y="7030"/>
                </a:lnTo>
                <a:lnTo>
                  <a:pt x="5574" y="7015"/>
                </a:lnTo>
                <a:lnTo>
                  <a:pt x="5542" y="6999"/>
                </a:lnTo>
                <a:lnTo>
                  <a:pt x="5509" y="6982"/>
                </a:lnTo>
                <a:lnTo>
                  <a:pt x="5477" y="6963"/>
                </a:lnTo>
                <a:lnTo>
                  <a:pt x="5445" y="6944"/>
                </a:lnTo>
                <a:lnTo>
                  <a:pt x="5414" y="6924"/>
                </a:lnTo>
                <a:lnTo>
                  <a:pt x="5384" y="6901"/>
                </a:lnTo>
                <a:lnTo>
                  <a:pt x="5354" y="6879"/>
                </a:lnTo>
                <a:lnTo>
                  <a:pt x="5325" y="6854"/>
                </a:lnTo>
                <a:lnTo>
                  <a:pt x="5297" y="6829"/>
                </a:lnTo>
                <a:lnTo>
                  <a:pt x="5269" y="6802"/>
                </a:lnTo>
                <a:lnTo>
                  <a:pt x="5231" y="6762"/>
                </a:lnTo>
                <a:lnTo>
                  <a:pt x="5194" y="6720"/>
                </a:lnTo>
                <a:lnTo>
                  <a:pt x="5160" y="6676"/>
                </a:lnTo>
                <a:lnTo>
                  <a:pt x="5129" y="6632"/>
                </a:lnTo>
                <a:lnTo>
                  <a:pt x="5100" y="6586"/>
                </a:lnTo>
                <a:lnTo>
                  <a:pt x="5074" y="6538"/>
                </a:lnTo>
                <a:lnTo>
                  <a:pt x="5049" y="6490"/>
                </a:lnTo>
                <a:lnTo>
                  <a:pt x="5028" y="6442"/>
                </a:lnTo>
                <a:lnTo>
                  <a:pt x="5010" y="6393"/>
                </a:lnTo>
                <a:lnTo>
                  <a:pt x="4993" y="6342"/>
                </a:lnTo>
                <a:lnTo>
                  <a:pt x="4979" y="6291"/>
                </a:lnTo>
                <a:lnTo>
                  <a:pt x="4968" y="6239"/>
                </a:lnTo>
                <a:lnTo>
                  <a:pt x="4958" y="6188"/>
                </a:lnTo>
                <a:lnTo>
                  <a:pt x="4952" y="6135"/>
                </a:lnTo>
                <a:lnTo>
                  <a:pt x="4949" y="6083"/>
                </a:lnTo>
                <a:lnTo>
                  <a:pt x="4946" y="6030"/>
                </a:lnTo>
                <a:lnTo>
                  <a:pt x="4948" y="5977"/>
                </a:lnTo>
                <a:lnTo>
                  <a:pt x="4952" y="5925"/>
                </a:lnTo>
                <a:lnTo>
                  <a:pt x="4957" y="5873"/>
                </a:lnTo>
                <a:lnTo>
                  <a:pt x="4966" y="5821"/>
                </a:lnTo>
                <a:lnTo>
                  <a:pt x="4976" y="5769"/>
                </a:lnTo>
                <a:lnTo>
                  <a:pt x="4990" y="5718"/>
                </a:lnTo>
                <a:lnTo>
                  <a:pt x="5007" y="5667"/>
                </a:lnTo>
                <a:lnTo>
                  <a:pt x="5025" y="5618"/>
                </a:lnTo>
                <a:lnTo>
                  <a:pt x="5046" y="5569"/>
                </a:lnTo>
                <a:lnTo>
                  <a:pt x="5070" y="5520"/>
                </a:lnTo>
                <a:lnTo>
                  <a:pt x="5096" y="5473"/>
                </a:lnTo>
                <a:lnTo>
                  <a:pt x="5123" y="5427"/>
                </a:lnTo>
                <a:lnTo>
                  <a:pt x="5155" y="5382"/>
                </a:lnTo>
                <a:lnTo>
                  <a:pt x="5189" y="5339"/>
                </a:lnTo>
                <a:lnTo>
                  <a:pt x="5224" y="5296"/>
                </a:lnTo>
                <a:lnTo>
                  <a:pt x="5263" y="5255"/>
                </a:lnTo>
                <a:lnTo>
                  <a:pt x="5304" y="5217"/>
                </a:lnTo>
                <a:lnTo>
                  <a:pt x="5346" y="5180"/>
                </a:lnTo>
                <a:lnTo>
                  <a:pt x="5389" y="5146"/>
                </a:lnTo>
                <a:lnTo>
                  <a:pt x="5433" y="5115"/>
                </a:lnTo>
                <a:lnTo>
                  <a:pt x="5480" y="5086"/>
                </a:lnTo>
                <a:lnTo>
                  <a:pt x="5527" y="5060"/>
                </a:lnTo>
                <a:lnTo>
                  <a:pt x="5575" y="5036"/>
                </a:lnTo>
                <a:lnTo>
                  <a:pt x="5623" y="5014"/>
                </a:lnTo>
                <a:lnTo>
                  <a:pt x="5673" y="4996"/>
                </a:lnTo>
                <a:lnTo>
                  <a:pt x="5723" y="4979"/>
                </a:lnTo>
                <a:lnTo>
                  <a:pt x="5775" y="4965"/>
                </a:lnTo>
                <a:lnTo>
                  <a:pt x="5826" y="4954"/>
                </a:lnTo>
                <a:lnTo>
                  <a:pt x="5878" y="4944"/>
                </a:lnTo>
                <a:lnTo>
                  <a:pt x="5930" y="4938"/>
                </a:lnTo>
                <a:lnTo>
                  <a:pt x="5983" y="4935"/>
                </a:lnTo>
                <a:lnTo>
                  <a:pt x="6035" y="4933"/>
                </a:lnTo>
                <a:lnTo>
                  <a:pt x="6088" y="4934"/>
                </a:lnTo>
                <a:lnTo>
                  <a:pt x="6140" y="4938"/>
                </a:lnTo>
                <a:lnTo>
                  <a:pt x="6192" y="4943"/>
                </a:lnTo>
                <a:lnTo>
                  <a:pt x="6244" y="4952"/>
                </a:lnTo>
                <a:lnTo>
                  <a:pt x="6296" y="4963"/>
                </a:lnTo>
                <a:lnTo>
                  <a:pt x="6346" y="4977"/>
                </a:lnTo>
                <a:lnTo>
                  <a:pt x="6398" y="4993"/>
                </a:lnTo>
                <a:lnTo>
                  <a:pt x="6447" y="5011"/>
                </a:lnTo>
                <a:lnTo>
                  <a:pt x="6497" y="5032"/>
                </a:lnTo>
                <a:lnTo>
                  <a:pt x="6545" y="5056"/>
                </a:lnTo>
                <a:lnTo>
                  <a:pt x="6592" y="5082"/>
                </a:lnTo>
                <a:lnTo>
                  <a:pt x="6638" y="5110"/>
                </a:lnTo>
                <a:lnTo>
                  <a:pt x="6683" y="5141"/>
                </a:lnTo>
                <a:lnTo>
                  <a:pt x="6726" y="5175"/>
                </a:lnTo>
                <a:lnTo>
                  <a:pt x="6769" y="5210"/>
                </a:lnTo>
                <a:lnTo>
                  <a:pt x="6810" y="5249"/>
                </a:lnTo>
                <a:lnTo>
                  <a:pt x="6837" y="5277"/>
                </a:lnTo>
                <a:lnTo>
                  <a:pt x="6862" y="5305"/>
                </a:lnTo>
                <a:lnTo>
                  <a:pt x="6887" y="5334"/>
                </a:lnTo>
                <a:lnTo>
                  <a:pt x="6910" y="5363"/>
                </a:lnTo>
                <a:lnTo>
                  <a:pt x="6932" y="5394"/>
                </a:lnTo>
                <a:lnTo>
                  <a:pt x="6952" y="5424"/>
                </a:lnTo>
                <a:lnTo>
                  <a:pt x="6973" y="5455"/>
                </a:lnTo>
                <a:lnTo>
                  <a:pt x="6991" y="5487"/>
                </a:lnTo>
                <a:lnTo>
                  <a:pt x="7009" y="5519"/>
                </a:lnTo>
                <a:lnTo>
                  <a:pt x="7025" y="5553"/>
                </a:lnTo>
                <a:lnTo>
                  <a:pt x="7040" y="5585"/>
                </a:lnTo>
                <a:lnTo>
                  <a:pt x="7054" y="5619"/>
                </a:lnTo>
                <a:lnTo>
                  <a:pt x="7067" y="5652"/>
                </a:lnTo>
                <a:lnTo>
                  <a:pt x="7079" y="5687"/>
                </a:lnTo>
                <a:lnTo>
                  <a:pt x="7090" y="5721"/>
                </a:lnTo>
                <a:lnTo>
                  <a:pt x="7099" y="5756"/>
                </a:lnTo>
                <a:lnTo>
                  <a:pt x="8573" y="4270"/>
                </a:lnTo>
              </a:path>
            </a:pathLst>
          </a:custGeom>
          <a:solidFill>
            <a:schemeClr val="accent3"/>
          </a:solidFill>
          <a:ln w="127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3725" y="2041747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3779" y="1859839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Marketing 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2892859" y="1959175"/>
            <a:ext cx="138069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93725" y="3295215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93779" y="3113307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earch &amp; results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2892859" y="3212643"/>
            <a:ext cx="66314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438994" y="2541884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39048" y="2359976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Key achievement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438994" y="3795352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39048" y="3613444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Fire and launch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743575" y="2448125"/>
            <a:ext cx="49768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5051909" y="3708244"/>
            <a:ext cx="118934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287050" y="2455338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879979" y="1856722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493153" y="2455414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881821" y="3063819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7" name="Freeform 385">
            <a:extLst>
              <a:ext uri="{FF2B5EF4-FFF2-40B4-BE49-F238E27FC236}">
                <a16:creationId xmlns:a16="http://schemas.microsoft.com/office/drawing/2014/main" id="{20B51553-C58C-417C-B28A-3C4852CFC3A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23250" y="2098613"/>
            <a:ext cx="309786" cy="268298"/>
          </a:xfrm>
          <a:custGeom>
            <a:avLst/>
            <a:gdLst>
              <a:gd name="T0" fmla="*/ 158 w 170"/>
              <a:gd name="T1" fmla="*/ 49 h 146"/>
              <a:gd name="T2" fmla="*/ 166 w 170"/>
              <a:gd name="T3" fmla="*/ 52 h 146"/>
              <a:gd name="T4" fmla="*/ 170 w 170"/>
              <a:gd name="T5" fmla="*/ 61 h 146"/>
              <a:gd name="T6" fmla="*/ 166 w 170"/>
              <a:gd name="T7" fmla="*/ 69 h 146"/>
              <a:gd name="T8" fmla="*/ 158 w 170"/>
              <a:gd name="T9" fmla="*/ 73 h 146"/>
              <a:gd name="T10" fmla="*/ 158 w 170"/>
              <a:gd name="T11" fmla="*/ 109 h 146"/>
              <a:gd name="T12" fmla="*/ 154 w 170"/>
              <a:gd name="T13" fmla="*/ 118 h 146"/>
              <a:gd name="T14" fmla="*/ 146 w 170"/>
              <a:gd name="T15" fmla="*/ 121 h 146"/>
              <a:gd name="T16" fmla="*/ 69 w 170"/>
              <a:gd name="T17" fmla="*/ 85 h 146"/>
              <a:gd name="T18" fmla="*/ 60 w 170"/>
              <a:gd name="T19" fmla="*/ 92 h 146"/>
              <a:gd name="T20" fmla="*/ 57 w 170"/>
              <a:gd name="T21" fmla="*/ 101 h 146"/>
              <a:gd name="T22" fmla="*/ 61 w 170"/>
              <a:gd name="T23" fmla="*/ 110 h 146"/>
              <a:gd name="T24" fmla="*/ 59 w 170"/>
              <a:gd name="T25" fmla="*/ 116 h 146"/>
              <a:gd name="T26" fmla="*/ 59 w 170"/>
              <a:gd name="T27" fmla="*/ 122 h 146"/>
              <a:gd name="T28" fmla="*/ 63 w 170"/>
              <a:gd name="T29" fmla="*/ 127 h 146"/>
              <a:gd name="T30" fmla="*/ 67 w 170"/>
              <a:gd name="T31" fmla="*/ 131 h 146"/>
              <a:gd name="T32" fmla="*/ 73 w 170"/>
              <a:gd name="T33" fmla="*/ 136 h 146"/>
              <a:gd name="T34" fmla="*/ 62 w 170"/>
              <a:gd name="T35" fmla="*/ 144 h 146"/>
              <a:gd name="T36" fmla="*/ 47 w 170"/>
              <a:gd name="T37" fmla="*/ 145 h 146"/>
              <a:gd name="T38" fmla="*/ 34 w 170"/>
              <a:gd name="T39" fmla="*/ 140 h 146"/>
              <a:gd name="T40" fmla="*/ 31 w 170"/>
              <a:gd name="T41" fmla="*/ 132 h 146"/>
              <a:gd name="T42" fmla="*/ 28 w 170"/>
              <a:gd name="T43" fmla="*/ 123 h 146"/>
              <a:gd name="T44" fmla="*/ 26 w 170"/>
              <a:gd name="T45" fmla="*/ 114 h 146"/>
              <a:gd name="T46" fmla="*/ 25 w 170"/>
              <a:gd name="T47" fmla="*/ 105 h 146"/>
              <a:gd name="T48" fmla="*/ 25 w 170"/>
              <a:gd name="T49" fmla="*/ 95 h 146"/>
              <a:gd name="T50" fmla="*/ 27 w 170"/>
              <a:gd name="T51" fmla="*/ 85 h 146"/>
              <a:gd name="T52" fmla="*/ 15 w 170"/>
              <a:gd name="T53" fmla="*/ 85 h 146"/>
              <a:gd name="T54" fmla="*/ 5 w 170"/>
              <a:gd name="T55" fmla="*/ 81 h 146"/>
              <a:gd name="T56" fmla="*/ 0 w 170"/>
              <a:gd name="T57" fmla="*/ 70 h 146"/>
              <a:gd name="T58" fmla="*/ 0 w 170"/>
              <a:gd name="T59" fmla="*/ 52 h 146"/>
              <a:gd name="T60" fmla="*/ 5 w 170"/>
              <a:gd name="T61" fmla="*/ 41 h 146"/>
              <a:gd name="T62" fmla="*/ 15 w 170"/>
              <a:gd name="T63" fmla="*/ 37 h 146"/>
              <a:gd name="T64" fmla="*/ 61 w 170"/>
              <a:gd name="T65" fmla="*/ 37 h 146"/>
              <a:gd name="T66" fmla="*/ 146 w 170"/>
              <a:gd name="T67" fmla="*/ 0 h 146"/>
              <a:gd name="T68" fmla="*/ 154 w 170"/>
              <a:gd name="T69" fmla="*/ 4 h 146"/>
              <a:gd name="T70" fmla="*/ 158 w 170"/>
              <a:gd name="T71" fmla="*/ 12 h 146"/>
              <a:gd name="T72" fmla="*/ 158 w 170"/>
              <a:gd name="T73" fmla="*/ 49 h 146"/>
              <a:gd name="T74" fmla="*/ 146 w 170"/>
              <a:gd name="T75" fmla="*/ 106 h 146"/>
              <a:gd name="T76" fmla="*/ 146 w 170"/>
              <a:gd name="T77" fmla="*/ 16 h 146"/>
              <a:gd name="T78" fmla="*/ 73 w 170"/>
              <a:gd name="T79" fmla="*/ 48 h 146"/>
              <a:gd name="T80" fmla="*/ 73 w 170"/>
              <a:gd name="T81" fmla="*/ 74 h 146"/>
              <a:gd name="T82" fmla="*/ 146 w 170"/>
              <a:gd name="T83" fmla="*/ 10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0" h="146">
                <a:moveTo>
                  <a:pt x="158" y="49"/>
                </a:moveTo>
                <a:cubicBezTo>
                  <a:pt x="161" y="49"/>
                  <a:pt x="164" y="50"/>
                  <a:pt x="166" y="52"/>
                </a:cubicBezTo>
                <a:cubicBezTo>
                  <a:pt x="169" y="55"/>
                  <a:pt x="170" y="57"/>
                  <a:pt x="170" y="61"/>
                </a:cubicBezTo>
                <a:cubicBezTo>
                  <a:pt x="170" y="64"/>
                  <a:pt x="169" y="67"/>
                  <a:pt x="166" y="69"/>
                </a:cubicBezTo>
                <a:cubicBezTo>
                  <a:pt x="164" y="72"/>
                  <a:pt x="161" y="73"/>
                  <a:pt x="158" y="73"/>
                </a:cubicBezTo>
                <a:cubicBezTo>
                  <a:pt x="158" y="109"/>
                  <a:pt x="158" y="109"/>
                  <a:pt x="158" y="109"/>
                </a:cubicBezTo>
                <a:cubicBezTo>
                  <a:pt x="158" y="112"/>
                  <a:pt x="156" y="115"/>
                  <a:pt x="154" y="118"/>
                </a:cubicBezTo>
                <a:cubicBezTo>
                  <a:pt x="152" y="120"/>
                  <a:pt x="149" y="121"/>
                  <a:pt x="146" y="121"/>
                </a:cubicBezTo>
                <a:cubicBezTo>
                  <a:pt x="119" y="99"/>
                  <a:pt x="94" y="87"/>
                  <a:pt x="69" y="85"/>
                </a:cubicBezTo>
                <a:cubicBezTo>
                  <a:pt x="65" y="87"/>
                  <a:pt x="62" y="89"/>
                  <a:pt x="60" y="92"/>
                </a:cubicBezTo>
                <a:cubicBezTo>
                  <a:pt x="58" y="95"/>
                  <a:pt x="57" y="98"/>
                  <a:pt x="57" y="101"/>
                </a:cubicBezTo>
                <a:cubicBezTo>
                  <a:pt x="57" y="105"/>
                  <a:pt x="59" y="107"/>
                  <a:pt x="61" y="110"/>
                </a:cubicBezTo>
                <a:cubicBezTo>
                  <a:pt x="60" y="112"/>
                  <a:pt x="59" y="114"/>
                  <a:pt x="59" y="116"/>
                </a:cubicBezTo>
                <a:cubicBezTo>
                  <a:pt x="59" y="118"/>
                  <a:pt x="59" y="120"/>
                  <a:pt x="59" y="122"/>
                </a:cubicBezTo>
                <a:cubicBezTo>
                  <a:pt x="60" y="123"/>
                  <a:pt x="61" y="125"/>
                  <a:pt x="63" y="127"/>
                </a:cubicBezTo>
                <a:cubicBezTo>
                  <a:pt x="64" y="129"/>
                  <a:pt x="66" y="130"/>
                  <a:pt x="67" y="131"/>
                </a:cubicBezTo>
                <a:cubicBezTo>
                  <a:pt x="69" y="133"/>
                  <a:pt x="71" y="134"/>
                  <a:pt x="73" y="136"/>
                </a:cubicBezTo>
                <a:cubicBezTo>
                  <a:pt x="71" y="140"/>
                  <a:pt x="68" y="143"/>
                  <a:pt x="62" y="144"/>
                </a:cubicBezTo>
                <a:cubicBezTo>
                  <a:pt x="57" y="146"/>
                  <a:pt x="52" y="146"/>
                  <a:pt x="47" y="145"/>
                </a:cubicBezTo>
                <a:cubicBezTo>
                  <a:pt x="41" y="144"/>
                  <a:pt x="37" y="143"/>
                  <a:pt x="34" y="140"/>
                </a:cubicBezTo>
                <a:cubicBezTo>
                  <a:pt x="34" y="138"/>
                  <a:pt x="33" y="136"/>
                  <a:pt x="31" y="132"/>
                </a:cubicBezTo>
                <a:cubicBezTo>
                  <a:pt x="30" y="128"/>
                  <a:pt x="29" y="125"/>
                  <a:pt x="28" y="123"/>
                </a:cubicBezTo>
                <a:cubicBezTo>
                  <a:pt x="28" y="121"/>
                  <a:pt x="27" y="118"/>
                  <a:pt x="26" y="114"/>
                </a:cubicBezTo>
                <a:cubicBezTo>
                  <a:pt x="25" y="111"/>
                  <a:pt x="25" y="107"/>
                  <a:pt x="25" y="105"/>
                </a:cubicBezTo>
                <a:cubicBezTo>
                  <a:pt x="25" y="102"/>
                  <a:pt x="25" y="99"/>
                  <a:pt x="25" y="95"/>
                </a:cubicBezTo>
                <a:cubicBezTo>
                  <a:pt x="25" y="92"/>
                  <a:pt x="26" y="88"/>
                  <a:pt x="27" y="85"/>
                </a:cubicBezTo>
                <a:cubicBezTo>
                  <a:pt x="15" y="85"/>
                  <a:pt x="15" y="85"/>
                  <a:pt x="15" y="85"/>
                </a:cubicBezTo>
                <a:cubicBezTo>
                  <a:pt x="11" y="85"/>
                  <a:pt x="8" y="84"/>
                  <a:pt x="5" y="81"/>
                </a:cubicBezTo>
                <a:cubicBezTo>
                  <a:pt x="2" y="78"/>
                  <a:pt x="0" y="74"/>
                  <a:pt x="0" y="70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48"/>
                  <a:pt x="2" y="44"/>
                  <a:pt x="5" y="41"/>
                </a:cubicBezTo>
                <a:cubicBezTo>
                  <a:pt x="8" y="38"/>
                  <a:pt x="11" y="37"/>
                  <a:pt x="15" y="37"/>
                </a:cubicBezTo>
                <a:cubicBezTo>
                  <a:pt x="61" y="37"/>
                  <a:pt x="61" y="37"/>
                  <a:pt x="61" y="37"/>
                </a:cubicBezTo>
                <a:cubicBezTo>
                  <a:pt x="88" y="37"/>
                  <a:pt x="117" y="25"/>
                  <a:pt x="146" y="0"/>
                </a:cubicBezTo>
                <a:cubicBezTo>
                  <a:pt x="149" y="0"/>
                  <a:pt x="152" y="1"/>
                  <a:pt x="154" y="4"/>
                </a:cubicBezTo>
                <a:cubicBezTo>
                  <a:pt x="156" y="6"/>
                  <a:pt x="158" y="9"/>
                  <a:pt x="158" y="12"/>
                </a:cubicBezTo>
                <a:lnTo>
                  <a:pt x="158" y="49"/>
                </a:lnTo>
                <a:close/>
                <a:moveTo>
                  <a:pt x="146" y="106"/>
                </a:moveTo>
                <a:cubicBezTo>
                  <a:pt x="146" y="16"/>
                  <a:pt x="146" y="16"/>
                  <a:pt x="146" y="16"/>
                </a:cubicBezTo>
                <a:cubicBezTo>
                  <a:pt x="121" y="35"/>
                  <a:pt x="97" y="45"/>
                  <a:pt x="73" y="48"/>
                </a:cubicBezTo>
                <a:cubicBezTo>
                  <a:pt x="73" y="74"/>
                  <a:pt x="73" y="74"/>
                  <a:pt x="73" y="74"/>
                </a:cubicBezTo>
                <a:cubicBezTo>
                  <a:pt x="97" y="76"/>
                  <a:pt x="121" y="87"/>
                  <a:pt x="146" y="10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7">
            <a:extLst>
              <a:ext uri="{FF2B5EF4-FFF2-40B4-BE49-F238E27FC236}">
                <a16:creationId xmlns:a16="http://schemas.microsoft.com/office/drawing/2014/main" id="{CB2FDF2F-FF7F-4A4A-9B3A-7E2C4167550D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>
            <a:off x="3777258" y="2738000"/>
            <a:ext cx="287660" cy="290424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0" name="Freeform 129">
            <a:extLst>
              <a:ext uri="{FF2B5EF4-FFF2-40B4-BE49-F238E27FC236}">
                <a16:creationId xmlns:a16="http://schemas.microsoft.com/office/drawing/2014/main" id="{0AA83DD9-14E4-4746-8A86-5355BB113F6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62091" y="2707505"/>
            <a:ext cx="266538" cy="253965"/>
          </a:xfrm>
          <a:custGeom>
            <a:avLst/>
            <a:gdLst>
              <a:gd name="T0" fmla="*/ 159 w 159"/>
              <a:gd name="T1" fmla="*/ 103 h 151"/>
              <a:gd name="T2" fmla="*/ 154 w 159"/>
              <a:gd name="T3" fmla="*/ 109 h 151"/>
              <a:gd name="T4" fmla="*/ 148 w 159"/>
              <a:gd name="T5" fmla="*/ 114 h 151"/>
              <a:gd name="T6" fmla="*/ 145 w 159"/>
              <a:gd name="T7" fmla="*/ 113 h 151"/>
              <a:gd name="T8" fmla="*/ 142 w 159"/>
              <a:gd name="T9" fmla="*/ 109 h 151"/>
              <a:gd name="T10" fmla="*/ 138 w 159"/>
              <a:gd name="T11" fmla="*/ 106 h 151"/>
              <a:gd name="T12" fmla="*/ 136 w 159"/>
              <a:gd name="T13" fmla="*/ 103 h 151"/>
              <a:gd name="T14" fmla="*/ 127 w 159"/>
              <a:gd name="T15" fmla="*/ 112 h 151"/>
              <a:gd name="T16" fmla="*/ 147 w 159"/>
              <a:gd name="T17" fmla="*/ 133 h 151"/>
              <a:gd name="T18" fmla="*/ 150 w 159"/>
              <a:gd name="T19" fmla="*/ 140 h 151"/>
              <a:gd name="T20" fmla="*/ 146 w 159"/>
              <a:gd name="T21" fmla="*/ 147 h 151"/>
              <a:gd name="T22" fmla="*/ 139 w 159"/>
              <a:gd name="T23" fmla="*/ 151 h 151"/>
              <a:gd name="T24" fmla="*/ 132 w 159"/>
              <a:gd name="T25" fmla="*/ 148 h 151"/>
              <a:gd name="T26" fmla="*/ 69 w 159"/>
              <a:gd name="T27" fmla="*/ 85 h 151"/>
              <a:gd name="T28" fmla="*/ 34 w 159"/>
              <a:gd name="T29" fmla="*/ 97 h 151"/>
              <a:gd name="T30" fmla="*/ 9 w 159"/>
              <a:gd name="T31" fmla="*/ 87 h 151"/>
              <a:gd name="T32" fmla="*/ 0 w 159"/>
              <a:gd name="T33" fmla="*/ 62 h 151"/>
              <a:gd name="T34" fmla="*/ 9 w 159"/>
              <a:gd name="T35" fmla="*/ 33 h 151"/>
              <a:gd name="T36" fmla="*/ 32 w 159"/>
              <a:gd name="T37" fmla="*/ 9 h 151"/>
              <a:gd name="T38" fmla="*/ 62 w 159"/>
              <a:gd name="T39" fmla="*/ 0 h 151"/>
              <a:gd name="T40" fmla="*/ 87 w 159"/>
              <a:gd name="T41" fmla="*/ 10 h 151"/>
              <a:gd name="T42" fmla="*/ 96 w 159"/>
              <a:gd name="T43" fmla="*/ 35 h 151"/>
              <a:gd name="T44" fmla="*/ 84 w 159"/>
              <a:gd name="T45" fmla="*/ 70 h 151"/>
              <a:gd name="T46" fmla="*/ 118 w 159"/>
              <a:gd name="T47" fmla="*/ 103 h 151"/>
              <a:gd name="T48" fmla="*/ 127 w 159"/>
              <a:gd name="T49" fmla="*/ 94 h 151"/>
              <a:gd name="T50" fmla="*/ 124 w 159"/>
              <a:gd name="T51" fmla="*/ 92 h 151"/>
              <a:gd name="T52" fmla="*/ 120 w 159"/>
              <a:gd name="T53" fmla="*/ 88 h 151"/>
              <a:gd name="T54" fmla="*/ 117 w 159"/>
              <a:gd name="T55" fmla="*/ 85 h 151"/>
              <a:gd name="T56" fmla="*/ 116 w 159"/>
              <a:gd name="T57" fmla="*/ 82 h 151"/>
              <a:gd name="T58" fmla="*/ 120 w 159"/>
              <a:gd name="T59" fmla="*/ 76 h 151"/>
              <a:gd name="T60" fmla="*/ 127 w 159"/>
              <a:gd name="T61" fmla="*/ 71 h 151"/>
              <a:gd name="T62" fmla="*/ 129 w 159"/>
              <a:gd name="T63" fmla="*/ 72 h 151"/>
              <a:gd name="T64" fmla="*/ 133 w 159"/>
              <a:gd name="T65" fmla="*/ 76 h 151"/>
              <a:gd name="T66" fmla="*/ 141 w 159"/>
              <a:gd name="T67" fmla="*/ 84 h 151"/>
              <a:gd name="T68" fmla="*/ 149 w 159"/>
              <a:gd name="T69" fmla="*/ 92 h 151"/>
              <a:gd name="T70" fmla="*/ 156 w 159"/>
              <a:gd name="T71" fmla="*/ 99 h 151"/>
              <a:gd name="T72" fmla="*/ 159 w 159"/>
              <a:gd name="T73" fmla="*/ 103 h 151"/>
              <a:gd name="T74" fmla="*/ 73 w 159"/>
              <a:gd name="T75" fmla="*/ 49 h 151"/>
              <a:gd name="T76" fmla="*/ 78 w 159"/>
              <a:gd name="T77" fmla="*/ 37 h 151"/>
              <a:gd name="T78" fmla="*/ 73 w 159"/>
              <a:gd name="T79" fmla="*/ 24 h 151"/>
              <a:gd name="T80" fmla="*/ 60 w 159"/>
              <a:gd name="T81" fmla="*/ 18 h 151"/>
              <a:gd name="T82" fmla="*/ 47 w 159"/>
              <a:gd name="T83" fmla="*/ 24 h 151"/>
              <a:gd name="T84" fmla="*/ 42 w 159"/>
              <a:gd name="T85" fmla="*/ 37 h 151"/>
              <a:gd name="T86" fmla="*/ 44 w 159"/>
              <a:gd name="T87" fmla="*/ 44 h 151"/>
              <a:gd name="T88" fmla="*/ 36 w 159"/>
              <a:gd name="T89" fmla="*/ 43 h 151"/>
              <a:gd name="T90" fmla="*/ 23 w 159"/>
              <a:gd name="T91" fmla="*/ 48 h 151"/>
              <a:gd name="T92" fmla="*/ 18 w 159"/>
              <a:gd name="T93" fmla="*/ 61 h 151"/>
              <a:gd name="T94" fmla="*/ 23 w 159"/>
              <a:gd name="T95" fmla="*/ 74 h 151"/>
              <a:gd name="T96" fmla="*/ 36 w 159"/>
              <a:gd name="T97" fmla="*/ 79 h 151"/>
              <a:gd name="T98" fmla="*/ 49 w 159"/>
              <a:gd name="T99" fmla="*/ 74 h 151"/>
              <a:gd name="T100" fmla="*/ 54 w 159"/>
              <a:gd name="T101" fmla="*/ 61 h 151"/>
              <a:gd name="T102" fmla="*/ 52 w 159"/>
              <a:gd name="T103" fmla="*/ 53 h 151"/>
              <a:gd name="T104" fmla="*/ 60 w 159"/>
              <a:gd name="T105" fmla="*/ 55 h 151"/>
              <a:gd name="T106" fmla="*/ 73 w 159"/>
              <a:gd name="T107" fmla="*/ 4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9" h="151">
                <a:moveTo>
                  <a:pt x="159" y="103"/>
                </a:moveTo>
                <a:cubicBezTo>
                  <a:pt x="159" y="104"/>
                  <a:pt x="157" y="106"/>
                  <a:pt x="154" y="109"/>
                </a:cubicBezTo>
                <a:cubicBezTo>
                  <a:pt x="151" y="113"/>
                  <a:pt x="149" y="114"/>
                  <a:pt x="148" y="114"/>
                </a:cubicBezTo>
                <a:cubicBezTo>
                  <a:pt x="147" y="114"/>
                  <a:pt x="146" y="114"/>
                  <a:pt x="145" y="113"/>
                </a:cubicBezTo>
                <a:cubicBezTo>
                  <a:pt x="144" y="112"/>
                  <a:pt x="143" y="111"/>
                  <a:pt x="142" y="109"/>
                </a:cubicBezTo>
                <a:cubicBezTo>
                  <a:pt x="141" y="108"/>
                  <a:pt x="139" y="107"/>
                  <a:pt x="138" y="106"/>
                </a:cubicBezTo>
                <a:cubicBezTo>
                  <a:pt x="137" y="104"/>
                  <a:pt x="136" y="103"/>
                  <a:pt x="136" y="103"/>
                </a:cubicBezTo>
                <a:cubicBezTo>
                  <a:pt x="127" y="112"/>
                  <a:pt x="127" y="112"/>
                  <a:pt x="127" y="112"/>
                </a:cubicBezTo>
                <a:cubicBezTo>
                  <a:pt x="147" y="133"/>
                  <a:pt x="147" y="133"/>
                  <a:pt x="147" y="133"/>
                </a:cubicBezTo>
                <a:cubicBezTo>
                  <a:pt x="149" y="135"/>
                  <a:pt x="150" y="137"/>
                  <a:pt x="150" y="140"/>
                </a:cubicBezTo>
                <a:cubicBezTo>
                  <a:pt x="150" y="142"/>
                  <a:pt x="149" y="145"/>
                  <a:pt x="146" y="147"/>
                </a:cubicBezTo>
                <a:cubicBezTo>
                  <a:pt x="144" y="150"/>
                  <a:pt x="141" y="151"/>
                  <a:pt x="139" y="151"/>
                </a:cubicBezTo>
                <a:cubicBezTo>
                  <a:pt x="136" y="151"/>
                  <a:pt x="134" y="150"/>
                  <a:pt x="132" y="148"/>
                </a:cubicBezTo>
                <a:cubicBezTo>
                  <a:pt x="69" y="85"/>
                  <a:pt x="69" y="85"/>
                  <a:pt x="69" y="85"/>
                </a:cubicBezTo>
                <a:cubicBezTo>
                  <a:pt x="58" y="93"/>
                  <a:pt x="46" y="97"/>
                  <a:pt x="34" y="97"/>
                </a:cubicBezTo>
                <a:cubicBezTo>
                  <a:pt x="24" y="97"/>
                  <a:pt x="16" y="94"/>
                  <a:pt x="9" y="87"/>
                </a:cubicBezTo>
                <a:cubicBezTo>
                  <a:pt x="3" y="81"/>
                  <a:pt x="0" y="73"/>
                  <a:pt x="0" y="62"/>
                </a:cubicBezTo>
                <a:cubicBezTo>
                  <a:pt x="0" y="52"/>
                  <a:pt x="3" y="42"/>
                  <a:pt x="9" y="33"/>
                </a:cubicBezTo>
                <a:cubicBezTo>
                  <a:pt x="15" y="23"/>
                  <a:pt x="22" y="15"/>
                  <a:pt x="32" y="9"/>
                </a:cubicBezTo>
                <a:cubicBezTo>
                  <a:pt x="42" y="3"/>
                  <a:pt x="52" y="0"/>
                  <a:pt x="62" y="0"/>
                </a:cubicBezTo>
                <a:cubicBezTo>
                  <a:pt x="72" y="0"/>
                  <a:pt x="80" y="4"/>
                  <a:pt x="87" y="10"/>
                </a:cubicBezTo>
                <a:cubicBezTo>
                  <a:pt x="93" y="16"/>
                  <a:pt x="96" y="25"/>
                  <a:pt x="96" y="35"/>
                </a:cubicBezTo>
                <a:cubicBezTo>
                  <a:pt x="96" y="47"/>
                  <a:pt x="92" y="59"/>
                  <a:pt x="84" y="70"/>
                </a:cubicBezTo>
                <a:cubicBezTo>
                  <a:pt x="118" y="103"/>
                  <a:pt x="118" y="103"/>
                  <a:pt x="118" y="103"/>
                </a:cubicBezTo>
                <a:cubicBezTo>
                  <a:pt x="127" y="94"/>
                  <a:pt x="127" y="94"/>
                  <a:pt x="127" y="94"/>
                </a:cubicBezTo>
                <a:cubicBezTo>
                  <a:pt x="126" y="94"/>
                  <a:pt x="126" y="93"/>
                  <a:pt x="124" y="92"/>
                </a:cubicBezTo>
                <a:cubicBezTo>
                  <a:pt x="123" y="90"/>
                  <a:pt x="122" y="89"/>
                  <a:pt x="120" y="88"/>
                </a:cubicBezTo>
                <a:cubicBezTo>
                  <a:pt x="119" y="87"/>
                  <a:pt x="118" y="86"/>
                  <a:pt x="117" y="85"/>
                </a:cubicBezTo>
                <a:cubicBezTo>
                  <a:pt x="116" y="83"/>
                  <a:pt x="116" y="83"/>
                  <a:pt x="116" y="82"/>
                </a:cubicBezTo>
                <a:cubicBezTo>
                  <a:pt x="116" y="81"/>
                  <a:pt x="117" y="79"/>
                  <a:pt x="120" y="76"/>
                </a:cubicBezTo>
                <a:cubicBezTo>
                  <a:pt x="124" y="73"/>
                  <a:pt x="126" y="71"/>
                  <a:pt x="127" y="71"/>
                </a:cubicBezTo>
                <a:cubicBezTo>
                  <a:pt x="127" y="71"/>
                  <a:pt x="128" y="71"/>
                  <a:pt x="129" y="72"/>
                </a:cubicBezTo>
                <a:cubicBezTo>
                  <a:pt x="129" y="72"/>
                  <a:pt x="131" y="74"/>
                  <a:pt x="133" y="76"/>
                </a:cubicBezTo>
                <a:cubicBezTo>
                  <a:pt x="136" y="79"/>
                  <a:pt x="138" y="81"/>
                  <a:pt x="141" y="84"/>
                </a:cubicBezTo>
                <a:cubicBezTo>
                  <a:pt x="144" y="86"/>
                  <a:pt x="146" y="89"/>
                  <a:pt x="149" y="92"/>
                </a:cubicBezTo>
                <a:cubicBezTo>
                  <a:pt x="152" y="95"/>
                  <a:pt x="154" y="97"/>
                  <a:pt x="156" y="99"/>
                </a:cubicBezTo>
                <a:cubicBezTo>
                  <a:pt x="158" y="101"/>
                  <a:pt x="159" y="103"/>
                  <a:pt x="159" y="103"/>
                </a:cubicBezTo>
                <a:close/>
                <a:moveTo>
                  <a:pt x="73" y="49"/>
                </a:moveTo>
                <a:cubicBezTo>
                  <a:pt x="77" y="46"/>
                  <a:pt x="78" y="42"/>
                  <a:pt x="78" y="37"/>
                </a:cubicBezTo>
                <a:cubicBezTo>
                  <a:pt x="78" y="32"/>
                  <a:pt x="77" y="27"/>
                  <a:pt x="73" y="24"/>
                </a:cubicBezTo>
                <a:cubicBezTo>
                  <a:pt x="69" y="20"/>
                  <a:pt x="65" y="18"/>
                  <a:pt x="60" y="18"/>
                </a:cubicBezTo>
                <a:cubicBezTo>
                  <a:pt x="55" y="18"/>
                  <a:pt x="51" y="20"/>
                  <a:pt x="47" y="24"/>
                </a:cubicBezTo>
                <a:cubicBezTo>
                  <a:pt x="44" y="27"/>
                  <a:pt x="42" y="32"/>
                  <a:pt x="42" y="37"/>
                </a:cubicBezTo>
                <a:cubicBezTo>
                  <a:pt x="42" y="39"/>
                  <a:pt x="43" y="42"/>
                  <a:pt x="44" y="44"/>
                </a:cubicBezTo>
                <a:cubicBezTo>
                  <a:pt x="41" y="43"/>
                  <a:pt x="39" y="43"/>
                  <a:pt x="36" y="43"/>
                </a:cubicBezTo>
                <a:cubicBezTo>
                  <a:pt x="31" y="43"/>
                  <a:pt x="27" y="44"/>
                  <a:pt x="23" y="48"/>
                </a:cubicBezTo>
                <a:cubicBezTo>
                  <a:pt x="20" y="52"/>
                  <a:pt x="18" y="56"/>
                  <a:pt x="18" y="61"/>
                </a:cubicBezTo>
                <a:cubicBezTo>
                  <a:pt x="18" y="66"/>
                  <a:pt x="20" y="70"/>
                  <a:pt x="23" y="74"/>
                </a:cubicBezTo>
                <a:cubicBezTo>
                  <a:pt x="27" y="77"/>
                  <a:pt x="31" y="79"/>
                  <a:pt x="36" y="79"/>
                </a:cubicBezTo>
                <a:cubicBezTo>
                  <a:pt x="41" y="79"/>
                  <a:pt x="45" y="77"/>
                  <a:pt x="49" y="74"/>
                </a:cubicBezTo>
                <a:cubicBezTo>
                  <a:pt x="52" y="70"/>
                  <a:pt x="54" y="66"/>
                  <a:pt x="54" y="61"/>
                </a:cubicBezTo>
                <a:cubicBezTo>
                  <a:pt x="54" y="58"/>
                  <a:pt x="53" y="56"/>
                  <a:pt x="52" y="53"/>
                </a:cubicBezTo>
                <a:cubicBezTo>
                  <a:pt x="55" y="54"/>
                  <a:pt x="57" y="55"/>
                  <a:pt x="60" y="55"/>
                </a:cubicBezTo>
                <a:cubicBezTo>
                  <a:pt x="65" y="55"/>
                  <a:pt x="69" y="53"/>
                  <a:pt x="73" y="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1" name="Freeform 281">
            <a:extLst>
              <a:ext uri="{FF2B5EF4-FFF2-40B4-BE49-F238E27FC236}">
                <a16:creationId xmlns:a16="http://schemas.microsoft.com/office/drawing/2014/main" id="{E8A7C750-EC06-4100-B08C-0D4F766C54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89701" y="3354967"/>
            <a:ext cx="284896" cy="284896"/>
          </a:xfrm>
          <a:custGeom>
            <a:avLst/>
            <a:gdLst>
              <a:gd name="T0" fmla="*/ 155 w 155"/>
              <a:gd name="T1" fmla="*/ 3 h 155"/>
              <a:gd name="T2" fmla="*/ 148 w 155"/>
              <a:gd name="T3" fmla="*/ 44 h 155"/>
              <a:gd name="T4" fmla="*/ 124 w 155"/>
              <a:gd name="T5" fmla="*/ 78 h 155"/>
              <a:gd name="T6" fmla="*/ 105 w 155"/>
              <a:gd name="T7" fmla="*/ 95 h 155"/>
              <a:gd name="T8" fmla="*/ 103 w 155"/>
              <a:gd name="T9" fmla="*/ 131 h 155"/>
              <a:gd name="T10" fmla="*/ 102 w 155"/>
              <a:gd name="T11" fmla="*/ 133 h 155"/>
              <a:gd name="T12" fmla="*/ 66 w 155"/>
              <a:gd name="T13" fmla="*/ 154 h 155"/>
              <a:gd name="T14" fmla="*/ 64 w 155"/>
              <a:gd name="T15" fmla="*/ 155 h 155"/>
              <a:gd name="T16" fmla="*/ 62 w 155"/>
              <a:gd name="T17" fmla="*/ 154 h 155"/>
              <a:gd name="T18" fmla="*/ 56 w 155"/>
              <a:gd name="T19" fmla="*/ 148 h 155"/>
              <a:gd name="T20" fmla="*/ 55 w 155"/>
              <a:gd name="T21" fmla="*/ 145 h 155"/>
              <a:gd name="T22" fmla="*/ 63 w 155"/>
              <a:gd name="T23" fmla="*/ 119 h 155"/>
              <a:gd name="T24" fmla="*/ 37 w 155"/>
              <a:gd name="T25" fmla="*/ 92 h 155"/>
              <a:gd name="T26" fmla="*/ 10 w 155"/>
              <a:gd name="T27" fmla="*/ 100 h 155"/>
              <a:gd name="T28" fmla="*/ 10 w 155"/>
              <a:gd name="T29" fmla="*/ 100 h 155"/>
              <a:gd name="T30" fmla="*/ 7 w 155"/>
              <a:gd name="T31" fmla="*/ 99 h 155"/>
              <a:gd name="T32" fmla="*/ 1 w 155"/>
              <a:gd name="T33" fmla="*/ 93 h 155"/>
              <a:gd name="T34" fmla="*/ 1 w 155"/>
              <a:gd name="T35" fmla="*/ 90 h 155"/>
              <a:gd name="T36" fmla="*/ 22 w 155"/>
              <a:gd name="T37" fmla="*/ 53 h 155"/>
              <a:gd name="T38" fmla="*/ 25 w 155"/>
              <a:gd name="T39" fmla="*/ 52 h 155"/>
              <a:gd name="T40" fmla="*/ 60 w 155"/>
              <a:gd name="T41" fmla="*/ 50 h 155"/>
              <a:gd name="T42" fmla="*/ 77 w 155"/>
              <a:gd name="T43" fmla="*/ 31 h 155"/>
              <a:gd name="T44" fmla="*/ 111 w 155"/>
              <a:gd name="T45" fmla="*/ 7 h 155"/>
              <a:gd name="T46" fmla="*/ 152 w 155"/>
              <a:gd name="T47" fmla="*/ 0 h 155"/>
              <a:gd name="T48" fmla="*/ 154 w 155"/>
              <a:gd name="T49" fmla="*/ 1 h 155"/>
              <a:gd name="T50" fmla="*/ 155 w 155"/>
              <a:gd name="T51" fmla="*/ 3 h 155"/>
              <a:gd name="T52" fmla="*/ 131 w 155"/>
              <a:gd name="T53" fmla="*/ 37 h 155"/>
              <a:gd name="T54" fmla="*/ 134 w 155"/>
              <a:gd name="T55" fmla="*/ 31 h 155"/>
              <a:gd name="T56" fmla="*/ 131 w 155"/>
              <a:gd name="T57" fmla="*/ 24 h 155"/>
              <a:gd name="T58" fmla="*/ 125 w 155"/>
              <a:gd name="T59" fmla="*/ 21 h 155"/>
              <a:gd name="T60" fmla="*/ 118 w 155"/>
              <a:gd name="T61" fmla="*/ 24 h 155"/>
              <a:gd name="T62" fmla="*/ 115 w 155"/>
              <a:gd name="T63" fmla="*/ 31 h 155"/>
              <a:gd name="T64" fmla="*/ 118 w 155"/>
              <a:gd name="T65" fmla="*/ 37 h 155"/>
              <a:gd name="T66" fmla="*/ 125 w 155"/>
              <a:gd name="T67" fmla="*/ 40 h 155"/>
              <a:gd name="T68" fmla="*/ 131 w 155"/>
              <a:gd name="T69" fmla="*/ 3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3"/>
                </a:moveTo>
                <a:cubicBezTo>
                  <a:pt x="155" y="19"/>
                  <a:pt x="152" y="33"/>
                  <a:pt x="148" y="44"/>
                </a:cubicBezTo>
                <a:cubicBezTo>
                  <a:pt x="143" y="55"/>
                  <a:pt x="135" y="67"/>
                  <a:pt x="124" y="78"/>
                </a:cubicBezTo>
                <a:cubicBezTo>
                  <a:pt x="119" y="83"/>
                  <a:pt x="112" y="89"/>
                  <a:pt x="105" y="95"/>
                </a:cubicBezTo>
                <a:cubicBezTo>
                  <a:pt x="103" y="131"/>
                  <a:pt x="103" y="131"/>
                  <a:pt x="103" y="131"/>
                </a:cubicBezTo>
                <a:cubicBezTo>
                  <a:pt x="103" y="132"/>
                  <a:pt x="103" y="132"/>
                  <a:pt x="102" y="133"/>
                </a:cubicBezTo>
                <a:cubicBezTo>
                  <a:pt x="66" y="154"/>
                  <a:pt x="66" y="154"/>
                  <a:pt x="66" y="154"/>
                </a:cubicBezTo>
                <a:cubicBezTo>
                  <a:pt x="65" y="154"/>
                  <a:pt x="65" y="155"/>
                  <a:pt x="64" y="155"/>
                </a:cubicBezTo>
                <a:cubicBezTo>
                  <a:pt x="63" y="155"/>
                  <a:pt x="63" y="154"/>
                  <a:pt x="62" y="154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5" y="147"/>
                  <a:pt x="55" y="146"/>
                  <a:pt x="55" y="145"/>
                </a:cubicBezTo>
                <a:cubicBezTo>
                  <a:pt x="63" y="119"/>
                  <a:pt x="63" y="119"/>
                  <a:pt x="63" y="119"/>
                </a:cubicBezTo>
                <a:cubicBezTo>
                  <a:pt x="37" y="92"/>
                  <a:pt x="37" y="92"/>
                  <a:pt x="37" y="9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9" y="100"/>
                  <a:pt x="8" y="100"/>
                  <a:pt x="7" y="99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2"/>
                  <a:pt x="0" y="91"/>
                  <a:pt x="1" y="90"/>
                </a:cubicBezTo>
                <a:cubicBezTo>
                  <a:pt x="22" y="53"/>
                  <a:pt x="22" y="53"/>
                  <a:pt x="22" y="53"/>
                </a:cubicBezTo>
                <a:cubicBezTo>
                  <a:pt x="23" y="52"/>
                  <a:pt x="24" y="52"/>
                  <a:pt x="25" y="52"/>
                </a:cubicBezTo>
                <a:cubicBezTo>
                  <a:pt x="60" y="50"/>
                  <a:pt x="60" y="50"/>
                  <a:pt x="60" y="50"/>
                </a:cubicBezTo>
                <a:cubicBezTo>
                  <a:pt x="66" y="43"/>
                  <a:pt x="72" y="37"/>
                  <a:pt x="77" y="31"/>
                </a:cubicBezTo>
                <a:cubicBezTo>
                  <a:pt x="89" y="20"/>
                  <a:pt x="100" y="11"/>
                  <a:pt x="111" y="7"/>
                </a:cubicBezTo>
                <a:cubicBezTo>
                  <a:pt x="122" y="3"/>
                  <a:pt x="135" y="0"/>
                  <a:pt x="152" y="0"/>
                </a:cubicBezTo>
                <a:cubicBezTo>
                  <a:pt x="152" y="0"/>
                  <a:pt x="153" y="1"/>
                  <a:pt x="154" y="1"/>
                </a:cubicBezTo>
                <a:cubicBezTo>
                  <a:pt x="154" y="2"/>
                  <a:pt x="155" y="3"/>
                  <a:pt x="155" y="3"/>
                </a:cubicBezTo>
                <a:close/>
                <a:moveTo>
                  <a:pt x="131" y="37"/>
                </a:moveTo>
                <a:cubicBezTo>
                  <a:pt x="133" y="35"/>
                  <a:pt x="134" y="33"/>
                  <a:pt x="134" y="31"/>
                </a:cubicBezTo>
                <a:cubicBezTo>
                  <a:pt x="134" y="28"/>
                  <a:pt x="133" y="26"/>
                  <a:pt x="131" y="24"/>
                </a:cubicBezTo>
                <a:cubicBezTo>
                  <a:pt x="129" y="22"/>
                  <a:pt x="127" y="21"/>
                  <a:pt x="125" y="21"/>
                </a:cubicBezTo>
                <a:cubicBezTo>
                  <a:pt x="122" y="21"/>
                  <a:pt x="120" y="22"/>
                  <a:pt x="118" y="24"/>
                </a:cubicBezTo>
                <a:cubicBezTo>
                  <a:pt x="116" y="26"/>
                  <a:pt x="115" y="28"/>
                  <a:pt x="115" y="31"/>
                </a:cubicBezTo>
                <a:cubicBezTo>
                  <a:pt x="115" y="33"/>
                  <a:pt x="116" y="35"/>
                  <a:pt x="118" y="37"/>
                </a:cubicBezTo>
                <a:cubicBezTo>
                  <a:pt x="120" y="39"/>
                  <a:pt x="122" y="40"/>
                  <a:pt x="125" y="40"/>
                </a:cubicBezTo>
                <a:cubicBezTo>
                  <a:pt x="127" y="40"/>
                  <a:pt x="129" y="39"/>
                  <a:pt x="131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1930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err="1"/>
              <a:t>Infographic</a:t>
            </a:r>
            <a:r>
              <a:rPr lang="en-US"/>
              <a:t> </a:t>
            </a:r>
            <a:r>
              <a:rPr lang="en-US">
                <a:solidFill>
                  <a:schemeClr val="accent2"/>
                </a:solidFill>
              </a:rPr>
              <a:t>puzzle 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Freeform 20"/>
          <p:cNvSpPr>
            <a:spLocks/>
          </p:cNvSpPr>
          <p:nvPr/>
        </p:nvSpPr>
        <p:spPr bwMode="auto">
          <a:xfrm>
            <a:off x="2609056" y="2211388"/>
            <a:ext cx="1033463" cy="1035050"/>
          </a:xfrm>
          <a:custGeom>
            <a:avLst/>
            <a:gdLst>
              <a:gd name="T0" fmla="*/ 1014 w 1175"/>
              <a:gd name="T1" fmla="*/ 568 h 1175"/>
              <a:gd name="T2" fmla="*/ 892 w 1175"/>
              <a:gd name="T3" fmla="*/ 624 h 1175"/>
              <a:gd name="T4" fmla="*/ 892 w 1175"/>
              <a:gd name="T5" fmla="*/ 283 h 1175"/>
              <a:gd name="T6" fmla="*/ 552 w 1175"/>
              <a:gd name="T7" fmla="*/ 283 h 1175"/>
              <a:gd name="T8" fmla="*/ 607 w 1175"/>
              <a:gd name="T9" fmla="*/ 161 h 1175"/>
              <a:gd name="T10" fmla="*/ 446 w 1175"/>
              <a:gd name="T11" fmla="*/ 0 h 1175"/>
              <a:gd name="T12" fmla="*/ 285 w 1175"/>
              <a:gd name="T13" fmla="*/ 161 h 1175"/>
              <a:gd name="T14" fmla="*/ 341 w 1175"/>
              <a:gd name="T15" fmla="*/ 283 h 1175"/>
              <a:gd name="T16" fmla="*/ 0 w 1175"/>
              <a:gd name="T17" fmla="*/ 283 h 1175"/>
              <a:gd name="T18" fmla="*/ 0 w 1175"/>
              <a:gd name="T19" fmla="*/ 1175 h 1175"/>
              <a:gd name="T20" fmla="*/ 341 w 1175"/>
              <a:gd name="T21" fmla="*/ 1175 h 1175"/>
              <a:gd name="T22" fmla="*/ 285 w 1175"/>
              <a:gd name="T23" fmla="*/ 1054 h 1175"/>
              <a:gd name="T24" fmla="*/ 446 w 1175"/>
              <a:gd name="T25" fmla="*/ 893 h 1175"/>
              <a:gd name="T26" fmla="*/ 607 w 1175"/>
              <a:gd name="T27" fmla="*/ 1054 h 1175"/>
              <a:gd name="T28" fmla="*/ 552 w 1175"/>
              <a:gd name="T29" fmla="*/ 1175 h 1175"/>
              <a:gd name="T30" fmla="*/ 892 w 1175"/>
              <a:gd name="T31" fmla="*/ 1175 h 1175"/>
              <a:gd name="T32" fmla="*/ 892 w 1175"/>
              <a:gd name="T33" fmla="*/ 835 h 1175"/>
              <a:gd name="T34" fmla="*/ 1014 w 1175"/>
              <a:gd name="T35" fmla="*/ 890 h 1175"/>
              <a:gd name="T36" fmla="*/ 1175 w 1175"/>
              <a:gd name="T37" fmla="*/ 729 h 1175"/>
              <a:gd name="T38" fmla="*/ 1014 w 1175"/>
              <a:gd name="T39" fmla="*/ 568 h 1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75" h="1175">
                <a:moveTo>
                  <a:pt x="1014" y="568"/>
                </a:moveTo>
                <a:cubicBezTo>
                  <a:pt x="965" y="568"/>
                  <a:pt x="922" y="590"/>
                  <a:pt x="892" y="624"/>
                </a:cubicBezTo>
                <a:cubicBezTo>
                  <a:pt x="892" y="283"/>
                  <a:pt x="892" y="283"/>
                  <a:pt x="892" y="283"/>
                </a:cubicBezTo>
                <a:cubicBezTo>
                  <a:pt x="552" y="283"/>
                  <a:pt x="552" y="283"/>
                  <a:pt x="552" y="283"/>
                </a:cubicBezTo>
                <a:cubicBezTo>
                  <a:pt x="586" y="253"/>
                  <a:pt x="607" y="210"/>
                  <a:pt x="607" y="161"/>
                </a:cubicBezTo>
                <a:cubicBezTo>
                  <a:pt x="607" y="72"/>
                  <a:pt x="535" y="0"/>
                  <a:pt x="446" y="0"/>
                </a:cubicBezTo>
                <a:cubicBezTo>
                  <a:pt x="357" y="0"/>
                  <a:pt x="285" y="72"/>
                  <a:pt x="285" y="161"/>
                </a:cubicBezTo>
                <a:cubicBezTo>
                  <a:pt x="285" y="210"/>
                  <a:pt x="307" y="253"/>
                  <a:pt x="341" y="283"/>
                </a:cubicBezTo>
                <a:cubicBezTo>
                  <a:pt x="0" y="283"/>
                  <a:pt x="0" y="283"/>
                  <a:pt x="0" y="283"/>
                </a:cubicBezTo>
                <a:cubicBezTo>
                  <a:pt x="0" y="1175"/>
                  <a:pt x="0" y="1175"/>
                  <a:pt x="0" y="1175"/>
                </a:cubicBezTo>
                <a:cubicBezTo>
                  <a:pt x="341" y="1175"/>
                  <a:pt x="341" y="1175"/>
                  <a:pt x="341" y="1175"/>
                </a:cubicBezTo>
                <a:cubicBezTo>
                  <a:pt x="307" y="1146"/>
                  <a:pt x="285" y="1102"/>
                  <a:pt x="285" y="1054"/>
                </a:cubicBezTo>
                <a:cubicBezTo>
                  <a:pt x="285" y="965"/>
                  <a:pt x="357" y="893"/>
                  <a:pt x="446" y="893"/>
                </a:cubicBezTo>
                <a:cubicBezTo>
                  <a:pt x="535" y="893"/>
                  <a:pt x="607" y="965"/>
                  <a:pt x="607" y="1054"/>
                </a:cubicBezTo>
                <a:cubicBezTo>
                  <a:pt x="607" y="1102"/>
                  <a:pt x="586" y="1146"/>
                  <a:pt x="552" y="1175"/>
                </a:cubicBezTo>
                <a:cubicBezTo>
                  <a:pt x="892" y="1175"/>
                  <a:pt x="892" y="1175"/>
                  <a:pt x="892" y="1175"/>
                </a:cubicBezTo>
                <a:cubicBezTo>
                  <a:pt x="892" y="835"/>
                  <a:pt x="892" y="835"/>
                  <a:pt x="892" y="835"/>
                </a:cubicBezTo>
                <a:cubicBezTo>
                  <a:pt x="922" y="869"/>
                  <a:pt x="965" y="890"/>
                  <a:pt x="1014" y="890"/>
                </a:cubicBezTo>
                <a:cubicBezTo>
                  <a:pt x="1103" y="890"/>
                  <a:pt x="1175" y="818"/>
                  <a:pt x="1175" y="729"/>
                </a:cubicBezTo>
                <a:cubicBezTo>
                  <a:pt x="1175" y="640"/>
                  <a:pt x="1103" y="568"/>
                  <a:pt x="1014" y="568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" name="Freeform 21"/>
          <p:cNvSpPr>
            <a:spLocks/>
          </p:cNvSpPr>
          <p:nvPr/>
        </p:nvSpPr>
        <p:spPr bwMode="auto">
          <a:xfrm>
            <a:off x="3393281" y="2460625"/>
            <a:ext cx="1035050" cy="1035050"/>
          </a:xfrm>
          <a:custGeom>
            <a:avLst/>
            <a:gdLst>
              <a:gd name="T0" fmla="*/ 1014 w 1175"/>
              <a:gd name="T1" fmla="*/ 285 h 1175"/>
              <a:gd name="T2" fmla="*/ 893 w 1175"/>
              <a:gd name="T3" fmla="*/ 341 h 1175"/>
              <a:gd name="T4" fmla="*/ 893 w 1175"/>
              <a:gd name="T5" fmla="*/ 0 h 1175"/>
              <a:gd name="T6" fmla="*/ 552 w 1175"/>
              <a:gd name="T7" fmla="*/ 0 h 1175"/>
              <a:gd name="T8" fmla="*/ 608 w 1175"/>
              <a:gd name="T9" fmla="*/ 122 h 1175"/>
              <a:gd name="T10" fmla="*/ 446 w 1175"/>
              <a:gd name="T11" fmla="*/ 283 h 1175"/>
              <a:gd name="T12" fmla="*/ 285 w 1175"/>
              <a:gd name="T13" fmla="*/ 122 h 1175"/>
              <a:gd name="T14" fmla="*/ 341 w 1175"/>
              <a:gd name="T15" fmla="*/ 0 h 1175"/>
              <a:gd name="T16" fmla="*/ 0 w 1175"/>
              <a:gd name="T17" fmla="*/ 0 h 1175"/>
              <a:gd name="T18" fmla="*/ 0 w 1175"/>
              <a:gd name="T19" fmla="*/ 341 h 1175"/>
              <a:gd name="T20" fmla="*/ 122 w 1175"/>
              <a:gd name="T21" fmla="*/ 285 h 1175"/>
              <a:gd name="T22" fmla="*/ 283 w 1175"/>
              <a:gd name="T23" fmla="*/ 446 h 1175"/>
              <a:gd name="T24" fmla="*/ 122 w 1175"/>
              <a:gd name="T25" fmla="*/ 607 h 1175"/>
              <a:gd name="T26" fmla="*/ 0 w 1175"/>
              <a:gd name="T27" fmla="*/ 552 h 1175"/>
              <a:gd name="T28" fmla="*/ 0 w 1175"/>
              <a:gd name="T29" fmla="*/ 892 h 1175"/>
              <a:gd name="T30" fmla="*/ 341 w 1175"/>
              <a:gd name="T31" fmla="*/ 892 h 1175"/>
              <a:gd name="T32" fmla="*/ 285 w 1175"/>
              <a:gd name="T33" fmla="*/ 1014 h 1175"/>
              <a:gd name="T34" fmla="*/ 446 w 1175"/>
              <a:gd name="T35" fmla="*/ 1175 h 1175"/>
              <a:gd name="T36" fmla="*/ 608 w 1175"/>
              <a:gd name="T37" fmla="*/ 1014 h 1175"/>
              <a:gd name="T38" fmla="*/ 552 w 1175"/>
              <a:gd name="T39" fmla="*/ 892 h 1175"/>
              <a:gd name="T40" fmla="*/ 893 w 1175"/>
              <a:gd name="T41" fmla="*/ 892 h 1175"/>
              <a:gd name="T42" fmla="*/ 893 w 1175"/>
              <a:gd name="T43" fmla="*/ 552 h 1175"/>
              <a:gd name="T44" fmla="*/ 1014 w 1175"/>
              <a:gd name="T45" fmla="*/ 607 h 1175"/>
              <a:gd name="T46" fmla="*/ 1175 w 1175"/>
              <a:gd name="T47" fmla="*/ 446 h 1175"/>
              <a:gd name="T48" fmla="*/ 1014 w 1175"/>
              <a:gd name="T49" fmla="*/ 285 h 1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75" h="1175">
                <a:moveTo>
                  <a:pt x="1014" y="285"/>
                </a:moveTo>
                <a:cubicBezTo>
                  <a:pt x="966" y="285"/>
                  <a:pt x="922" y="307"/>
                  <a:pt x="893" y="341"/>
                </a:cubicBezTo>
                <a:cubicBezTo>
                  <a:pt x="893" y="0"/>
                  <a:pt x="893" y="0"/>
                  <a:pt x="893" y="0"/>
                </a:cubicBezTo>
                <a:cubicBezTo>
                  <a:pt x="552" y="0"/>
                  <a:pt x="552" y="0"/>
                  <a:pt x="552" y="0"/>
                </a:cubicBezTo>
                <a:cubicBezTo>
                  <a:pt x="586" y="30"/>
                  <a:pt x="608" y="73"/>
                  <a:pt x="608" y="122"/>
                </a:cubicBezTo>
                <a:cubicBezTo>
                  <a:pt x="608" y="211"/>
                  <a:pt x="535" y="283"/>
                  <a:pt x="446" y="283"/>
                </a:cubicBezTo>
                <a:cubicBezTo>
                  <a:pt x="358" y="283"/>
                  <a:pt x="285" y="211"/>
                  <a:pt x="285" y="122"/>
                </a:cubicBezTo>
                <a:cubicBezTo>
                  <a:pt x="285" y="73"/>
                  <a:pt x="307" y="30"/>
                  <a:pt x="34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1"/>
                  <a:pt x="0" y="341"/>
                  <a:pt x="0" y="341"/>
                </a:cubicBezTo>
                <a:cubicBezTo>
                  <a:pt x="30" y="307"/>
                  <a:pt x="73" y="285"/>
                  <a:pt x="122" y="285"/>
                </a:cubicBezTo>
                <a:cubicBezTo>
                  <a:pt x="211" y="285"/>
                  <a:pt x="283" y="357"/>
                  <a:pt x="283" y="446"/>
                </a:cubicBezTo>
                <a:cubicBezTo>
                  <a:pt x="283" y="535"/>
                  <a:pt x="211" y="607"/>
                  <a:pt x="122" y="607"/>
                </a:cubicBezTo>
                <a:cubicBezTo>
                  <a:pt x="73" y="607"/>
                  <a:pt x="30" y="586"/>
                  <a:pt x="0" y="552"/>
                </a:cubicBezTo>
                <a:cubicBezTo>
                  <a:pt x="0" y="892"/>
                  <a:pt x="0" y="892"/>
                  <a:pt x="0" y="892"/>
                </a:cubicBezTo>
                <a:cubicBezTo>
                  <a:pt x="341" y="892"/>
                  <a:pt x="341" y="892"/>
                  <a:pt x="341" y="892"/>
                </a:cubicBezTo>
                <a:cubicBezTo>
                  <a:pt x="307" y="922"/>
                  <a:pt x="285" y="965"/>
                  <a:pt x="285" y="1014"/>
                </a:cubicBezTo>
                <a:cubicBezTo>
                  <a:pt x="285" y="1103"/>
                  <a:pt x="358" y="1175"/>
                  <a:pt x="446" y="1175"/>
                </a:cubicBezTo>
                <a:cubicBezTo>
                  <a:pt x="535" y="1175"/>
                  <a:pt x="608" y="1103"/>
                  <a:pt x="608" y="1014"/>
                </a:cubicBezTo>
                <a:cubicBezTo>
                  <a:pt x="608" y="965"/>
                  <a:pt x="586" y="922"/>
                  <a:pt x="552" y="892"/>
                </a:cubicBezTo>
                <a:cubicBezTo>
                  <a:pt x="893" y="892"/>
                  <a:pt x="893" y="892"/>
                  <a:pt x="893" y="892"/>
                </a:cubicBezTo>
                <a:cubicBezTo>
                  <a:pt x="893" y="552"/>
                  <a:pt x="893" y="552"/>
                  <a:pt x="893" y="552"/>
                </a:cubicBezTo>
                <a:cubicBezTo>
                  <a:pt x="922" y="586"/>
                  <a:pt x="966" y="607"/>
                  <a:pt x="1014" y="607"/>
                </a:cubicBezTo>
                <a:cubicBezTo>
                  <a:pt x="1103" y="607"/>
                  <a:pt x="1175" y="535"/>
                  <a:pt x="1175" y="446"/>
                </a:cubicBezTo>
                <a:cubicBezTo>
                  <a:pt x="1175" y="357"/>
                  <a:pt x="1103" y="285"/>
                  <a:pt x="1014" y="285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" name="Freeform 22"/>
          <p:cNvSpPr>
            <a:spLocks/>
          </p:cNvSpPr>
          <p:nvPr/>
        </p:nvSpPr>
        <p:spPr bwMode="auto">
          <a:xfrm>
            <a:off x="4179093" y="2211388"/>
            <a:ext cx="1035050" cy="1035050"/>
          </a:xfrm>
          <a:custGeom>
            <a:avLst/>
            <a:gdLst>
              <a:gd name="T0" fmla="*/ 1014 w 1175"/>
              <a:gd name="T1" fmla="*/ 568 h 1175"/>
              <a:gd name="T2" fmla="*/ 892 w 1175"/>
              <a:gd name="T3" fmla="*/ 624 h 1175"/>
              <a:gd name="T4" fmla="*/ 892 w 1175"/>
              <a:gd name="T5" fmla="*/ 283 h 1175"/>
              <a:gd name="T6" fmla="*/ 551 w 1175"/>
              <a:gd name="T7" fmla="*/ 283 h 1175"/>
              <a:gd name="T8" fmla="*/ 607 w 1175"/>
              <a:gd name="T9" fmla="*/ 161 h 1175"/>
              <a:gd name="T10" fmla="*/ 446 w 1175"/>
              <a:gd name="T11" fmla="*/ 0 h 1175"/>
              <a:gd name="T12" fmla="*/ 285 w 1175"/>
              <a:gd name="T13" fmla="*/ 161 h 1175"/>
              <a:gd name="T14" fmla="*/ 340 w 1175"/>
              <a:gd name="T15" fmla="*/ 283 h 1175"/>
              <a:gd name="T16" fmla="*/ 0 w 1175"/>
              <a:gd name="T17" fmla="*/ 283 h 1175"/>
              <a:gd name="T18" fmla="*/ 0 w 1175"/>
              <a:gd name="T19" fmla="*/ 624 h 1175"/>
              <a:gd name="T20" fmla="*/ 121 w 1175"/>
              <a:gd name="T21" fmla="*/ 568 h 1175"/>
              <a:gd name="T22" fmla="*/ 282 w 1175"/>
              <a:gd name="T23" fmla="*/ 729 h 1175"/>
              <a:gd name="T24" fmla="*/ 121 w 1175"/>
              <a:gd name="T25" fmla="*/ 890 h 1175"/>
              <a:gd name="T26" fmla="*/ 0 w 1175"/>
              <a:gd name="T27" fmla="*/ 835 h 1175"/>
              <a:gd name="T28" fmla="*/ 0 w 1175"/>
              <a:gd name="T29" fmla="*/ 1175 h 1175"/>
              <a:gd name="T30" fmla="*/ 340 w 1175"/>
              <a:gd name="T31" fmla="*/ 1175 h 1175"/>
              <a:gd name="T32" fmla="*/ 285 w 1175"/>
              <a:gd name="T33" fmla="*/ 1054 h 1175"/>
              <a:gd name="T34" fmla="*/ 446 w 1175"/>
              <a:gd name="T35" fmla="*/ 893 h 1175"/>
              <a:gd name="T36" fmla="*/ 607 w 1175"/>
              <a:gd name="T37" fmla="*/ 1054 h 1175"/>
              <a:gd name="T38" fmla="*/ 551 w 1175"/>
              <a:gd name="T39" fmla="*/ 1175 h 1175"/>
              <a:gd name="T40" fmla="*/ 892 w 1175"/>
              <a:gd name="T41" fmla="*/ 1175 h 1175"/>
              <a:gd name="T42" fmla="*/ 892 w 1175"/>
              <a:gd name="T43" fmla="*/ 835 h 1175"/>
              <a:gd name="T44" fmla="*/ 1014 w 1175"/>
              <a:gd name="T45" fmla="*/ 890 h 1175"/>
              <a:gd name="T46" fmla="*/ 1175 w 1175"/>
              <a:gd name="T47" fmla="*/ 729 h 1175"/>
              <a:gd name="T48" fmla="*/ 1014 w 1175"/>
              <a:gd name="T49" fmla="*/ 568 h 1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75" h="1175">
                <a:moveTo>
                  <a:pt x="1014" y="568"/>
                </a:moveTo>
                <a:cubicBezTo>
                  <a:pt x="965" y="568"/>
                  <a:pt x="922" y="590"/>
                  <a:pt x="892" y="624"/>
                </a:cubicBezTo>
                <a:cubicBezTo>
                  <a:pt x="892" y="283"/>
                  <a:pt x="892" y="283"/>
                  <a:pt x="892" y="283"/>
                </a:cubicBezTo>
                <a:cubicBezTo>
                  <a:pt x="551" y="283"/>
                  <a:pt x="551" y="283"/>
                  <a:pt x="551" y="283"/>
                </a:cubicBezTo>
                <a:cubicBezTo>
                  <a:pt x="585" y="253"/>
                  <a:pt x="607" y="210"/>
                  <a:pt x="607" y="161"/>
                </a:cubicBezTo>
                <a:cubicBezTo>
                  <a:pt x="607" y="72"/>
                  <a:pt x="535" y="0"/>
                  <a:pt x="446" y="0"/>
                </a:cubicBezTo>
                <a:cubicBezTo>
                  <a:pt x="357" y="0"/>
                  <a:pt x="285" y="72"/>
                  <a:pt x="285" y="161"/>
                </a:cubicBezTo>
                <a:cubicBezTo>
                  <a:pt x="285" y="210"/>
                  <a:pt x="306" y="253"/>
                  <a:pt x="340" y="283"/>
                </a:cubicBezTo>
                <a:cubicBezTo>
                  <a:pt x="0" y="283"/>
                  <a:pt x="0" y="283"/>
                  <a:pt x="0" y="283"/>
                </a:cubicBezTo>
                <a:cubicBezTo>
                  <a:pt x="0" y="624"/>
                  <a:pt x="0" y="624"/>
                  <a:pt x="0" y="624"/>
                </a:cubicBezTo>
                <a:cubicBezTo>
                  <a:pt x="29" y="590"/>
                  <a:pt x="73" y="568"/>
                  <a:pt x="121" y="568"/>
                </a:cubicBezTo>
                <a:cubicBezTo>
                  <a:pt x="210" y="568"/>
                  <a:pt x="282" y="640"/>
                  <a:pt x="282" y="729"/>
                </a:cubicBezTo>
                <a:cubicBezTo>
                  <a:pt x="282" y="818"/>
                  <a:pt x="210" y="890"/>
                  <a:pt x="121" y="890"/>
                </a:cubicBezTo>
                <a:cubicBezTo>
                  <a:pt x="73" y="890"/>
                  <a:pt x="29" y="869"/>
                  <a:pt x="0" y="835"/>
                </a:cubicBezTo>
                <a:cubicBezTo>
                  <a:pt x="0" y="1175"/>
                  <a:pt x="0" y="1175"/>
                  <a:pt x="0" y="1175"/>
                </a:cubicBezTo>
                <a:cubicBezTo>
                  <a:pt x="340" y="1175"/>
                  <a:pt x="340" y="1175"/>
                  <a:pt x="340" y="1175"/>
                </a:cubicBezTo>
                <a:cubicBezTo>
                  <a:pt x="306" y="1146"/>
                  <a:pt x="285" y="1102"/>
                  <a:pt x="285" y="1054"/>
                </a:cubicBezTo>
                <a:cubicBezTo>
                  <a:pt x="285" y="965"/>
                  <a:pt x="357" y="893"/>
                  <a:pt x="446" y="893"/>
                </a:cubicBezTo>
                <a:cubicBezTo>
                  <a:pt x="535" y="893"/>
                  <a:pt x="607" y="965"/>
                  <a:pt x="607" y="1054"/>
                </a:cubicBezTo>
                <a:cubicBezTo>
                  <a:pt x="607" y="1102"/>
                  <a:pt x="585" y="1146"/>
                  <a:pt x="551" y="1175"/>
                </a:cubicBezTo>
                <a:cubicBezTo>
                  <a:pt x="892" y="1175"/>
                  <a:pt x="892" y="1175"/>
                  <a:pt x="892" y="1175"/>
                </a:cubicBezTo>
                <a:cubicBezTo>
                  <a:pt x="892" y="835"/>
                  <a:pt x="892" y="835"/>
                  <a:pt x="892" y="835"/>
                </a:cubicBezTo>
                <a:cubicBezTo>
                  <a:pt x="922" y="869"/>
                  <a:pt x="965" y="890"/>
                  <a:pt x="1014" y="890"/>
                </a:cubicBezTo>
                <a:cubicBezTo>
                  <a:pt x="1103" y="890"/>
                  <a:pt x="1175" y="818"/>
                  <a:pt x="1175" y="729"/>
                </a:cubicBezTo>
                <a:cubicBezTo>
                  <a:pt x="1175" y="640"/>
                  <a:pt x="1103" y="568"/>
                  <a:pt x="1014" y="568"/>
                </a:cubicBezTo>
                <a:close/>
              </a:path>
            </a:pathLst>
          </a:custGeom>
          <a:solidFill>
            <a:schemeClr val="accent3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" name="Freeform 23"/>
          <p:cNvSpPr>
            <a:spLocks/>
          </p:cNvSpPr>
          <p:nvPr/>
        </p:nvSpPr>
        <p:spPr bwMode="auto">
          <a:xfrm>
            <a:off x="4964906" y="2460625"/>
            <a:ext cx="1033463" cy="1035050"/>
          </a:xfrm>
          <a:custGeom>
            <a:avLst/>
            <a:gdLst>
              <a:gd name="T0" fmla="*/ 1014 w 1175"/>
              <a:gd name="T1" fmla="*/ 285 h 1175"/>
              <a:gd name="T2" fmla="*/ 892 w 1175"/>
              <a:gd name="T3" fmla="*/ 341 h 1175"/>
              <a:gd name="T4" fmla="*/ 892 w 1175"/>
              <a:gd name="T5" fmla="*/ 0 h 1175"/>
              <a:gd name="T6" fmla="*/ 552 w 1175"/>
              <a:gd name="T7" fmla="*/ 0 h 1175"/>
              <a:gd name="T8" fmla="*/ 607 w 1175"/>
              <a:gd name="T9" fmla="*/ 122 h 1175"/>
              <a:gd name="T10" fmla="*/ 446 w 1175"/>
              <a:gd name="T11" fmla="*/ 283 h 1175"/>
              <a:gd name="T12" fmla="*/ 285 w 1175"/>
              <a:gd name="T13" fmla="*/ 122 h 1175"/>
              <a:gd name="T14" fmla="*/ 341 w 1175"/>
              <a:gd name="T15" fmla="*/ 0 h 1175"/>
              <a:gd name="T16" fmla="*/ 0 w 1175"/>
              <a:gd name="T17" fmla="*/ 0 h 1175"/>
              <a:gd name="T18" fmla="*/ 0 w 1175"/>
              <a:gd name="T19" fmla="*/ 341 h 1175"/>
              <a:gd name="T20" fmla="*/ 122 w 1175"/>
              <a:gd name="T21" fmla="*/ 285 h 1175"/>
              <a:gd name="T22" fmla="*/ 283 w 1175"/>
              <a:gd name="T23" fmla="*/ 446 h 1175"/>
              <a:gd name="T24" fmla="*/ 122 w 1175"/>
              <a:gd name="T25" fmla="*/ 607 h 1175"/>
              <a:gd name="T26" fmla="*/ 0 w 1175"/>
              <a:gd name="T27" fmla="*/ 552 h 1175"/>
              <a:gd name="T28" fmla="*/ 0 w 1175"/>
              <a:gd name="T29" fmla="*/ 892 h 1175"/>
              <a:gd name="T30" fmla="*/ 341 w 1175"/>
              <a:gd name="T31" fmla="*/ 892 h 1175"/>
              <a:gd name="T32" fmla="*/ 285 w 1175"/>
              <a:gd name="T33" fmla="*/ 1014 h 1175"/>
              <a:gd name="T34" fmla="*/ 446 w 1175"/>
              <a:gd name="T35" fmla="*/ 1175 h 1175"/>
              <a:gd name="T36" fmla="*/ 607 w 1175"/>
              <a:gd name="T37" fmla="*/ 1014 h 1175"/>
              <a:gd name="T38" fmla="*/ 552 w 1175"/>
              <a:gd name="T39" fmla="*/ 892 h 1175"/>
              <a:gd name="T40" fmla="*/ 892 w 1175"/>
              <a:gd name="T41" fmla="*/ 892 h 1175"/>
              <a:gd name="T42" fmla="*/ 892 w 1175"/>
              <a:gd name="T43" fmla="*/ 552 h 1175"/>
              <a:gd name="T44" fmla="*/ 1014 w 1175"/>
              <a:gd name="T45" fmla="*/ 607 h 1175"/>
              <a:gd name="T46" fmla="*/ 1175 w 1175"/>
              <a:gd name="T47" fmla="*/ 446 h 1175"/>
              <a:gd name="T48" fmla="*/ 1014 w 1175"/>
              <a:gd name="T49" fmla="*/ 285 h 1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75" h="1175">
                <a:moveTo>
                  <a:pt x="1014" y="285"/>
                </a:moveTo>
                <a:cubicBezTo>
                  <a:pt x="965" y="285"/>
                  <a:pt x="922" y="307"/>
                  <a:pt x="892" y="341"/>
                </a:cubicBezTo>
                <a:cubicBezTo>
                  <a:pt x="892" y="0"/>
                  <a:pt x="892" y="0"/>
                  <a:pt x="892" y="0"/>
                </a:cubicBezTo>
                <a:cubicBezTo>
                  <a:pt x="552" y="0"/>
                  <a:pt x="552" y="0"/>
                  <a:pt x="552" y="0"/>
                </a:cubicBezTo>
                <a:cubicBezTo>
                  <a:pt x="586" y="30"/>
                  <a:pt x="607" y="73"/>
                  <a:pt x="607" y="122"/>
                </a:cubicBezTo>
                <a:cubicBezTo>
                  <a:pt x="607" y="211"/>
                  <a:pt x="535" y="283"/>
                  <a:pt x="446" y="283"/>
                </a:cubicBezTo>
                <a:cubicBezTo>
                  <a:pt x="357" y="283"/>
                  <a:pt x="285" y="211"/>
                  <a:pt x="285" y="122"/>
                </a:cubicBezTo>
                <a:cubicBezTo>
                  <a:pt x="285" y="73"/>
                  <a:pt x="307" y="30"/>
                  <a:pt x="34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1"/>
                  <a:pt x="0" y="341"/>
                  <a:pt x="0" y="341"/>
                </a:cubicBezTo>
                <a:cubicBezTo>
                  <a:pt x="30" y="307"/>
                  <a:pt x="73" y="285"/>
                  <a:pt x="122" y="285"/>
                </a:cubicBezTo>
                <a:cubicBezTo>
                  <a:pt x="211" y="285"/>
                  <a:pt x="283" y="357"/>
                  <a:pt x="283" y="446"/>
                </a:cubicBezTo>
                <a:cubicBezTo>
                  <a:pt x="283" y="535"/>
                  <a:pt x="211" y="607"/>
                  <a:pt x="122" y="607"/>
                </a:cubicBezTo>
                <a:cubicBezTo>
                  <a:pt x="73" y="607"/>
                  <a:pt x="30" y="586"/>
                  <a:pt x="0" y="552"/>
                </a:cubicBezTo>
                <a:cubicBezTo>
                  <a:pt x="0" y="892"/>
                  <a:pt x="0" y="892"/>
                  <a:pt x="0" y="892"/>
                </a:cubicBezTo>
                <a:cubicBezTo>
                  <a:pt x="341" y="892"/>
                  <a:pt x="341" y="892"/>
                  <a:pt x="341" y="892"/>
                </a:cubicBezTo>
                <a:cubicBezTo>
                  <a:pt x="307" y="922"/>
                  <a:pt x="285" y="965"/>
                  <a:pt x="285" y="1014"/>
                </a:cubicBezTo>
                <a:cubicBezTo>
                  <a:pt x="285" y="1103"/>
                  <a:pt x="357" y="1175"/>
                  <a:pt x="446" y="1175"/>
                </a:cubicBezTo>
                <a:cubicBezTo>
                  <a:pt x="535" y="1175"/>
                  <a:pt x="607" y="1103"/>
                  <a:pt x="607" y="1014"/>
                </a:cubicBezTo>
                <a:cubicBezTo>
                  <a:pt x="607" y="965"/>
                  <a:pt x="586" y="922"/>
                  <a:pt x="552" y="892"/>
                </a:cubicBezTo>
                <a:cubicBezTo>
                  <a:pt x="892" y="892"/>
                  <a:pt x="892" y="892"/>
                  <a:pt x="892" y="892"/>
                </a:cubicBezTo>
                <a:cubicBezTo>
                  <a:pt x="892" y="552"/>
                  <a:pt x="892" y="552"/>
                  <a:pt x="892" y="552"/>
                </a:cubicBezTo>
                <a:cubicBezTo>
                  <a:pt x="922" y="586"/>
                  <a:pt x="965" y="607"/>
                  <a:pt x="1014" y="607"/>
                </a:cubicBezTo>
                <a:cubicBezTo>
                  <a:pt x="1103" y="607"/>
                  <a:pt x="1175" y="535"/>
                  <a:pt x="1175" y="446"/>
                </a:cubicBezTo>
                <a:cubicBezTo>
                  <a:pt x="1175" y="357"/>
                  <a:pt x="1103" y="285"/>
                  <a:pt x="1014" y="285"/>
                </a:cubicBezTo>
                <a:close/>
              </a:path>
            </a:pathLst>
          </a:custGeom>
          <a:solidFill>
            <a:schemeClr val="accent4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" name="Freeform 24"/>
          <p:cNvSpPr>
            <a:spLocks/>
          </p:cNvSpPr>
          <p:nvPr/>
        </p:nvSpPr>
        <p:spPr bwMode="auto">
          <a:xfrm>
            <a:off x="5749131" y="2211388"/>
            <a:ext cx="785813" cy="1035050"/>
          </a:xfrm>
          <a:custGeom>
            <a:avLst/>
            <a:gdLst>
              <a:gd name="T0" fmla="*/ 552 w 893"/>
              <a:gd name="T1" fmla="*/ 283 h 1175"/>
              <a:gd name="T2" fmla="*/ 608 w 893"/>
              <a:gd name="T3" fmla="*/ 161 h 1175"/>
              <a:gd name="T4" fmla="*/ 447 w 893"/>
              <a:gd name="T5" fmla="*/ 0 h 1175"/>
              <a:gd name="T6" fmla="*/ 285 w 893"/>
              <a:gd name="T7" fmla="*/ 161 h 1175"/>
              <a:gd name="T8" fmla="*/ 341 w 893"/>
              <a:gd name="T9" fmla="*/ 283 h 1175"/>
              <a:gd name="T10" fmla="*/ 0 w 893"/>
              <a:gd name="T11" fmla="*/ 283 h 1175"/>
              <a:gd name="T12" fmla="*/ 0 w 893"/>
              <a:gd name="T13" fmla="*/ 624 h 1175"/>
              <a:gd name="T14" fmla="*/ 122 w 893"/>
              <a:gd name="T15" fmla="*/ 568 h 1175"/>
              <a:gd name="T16" fmla="*/ 283 w 893"/>
              <a:gd name="T17" fmla="*/ 729 h 1175"/>
              <a:gd name="T18" fmla="*/ 122 w 893"/>
              <a:gd name="T19" fmla="*/ 890 h 1175"/>
              <a:gd name="T20" fmla="*/ 0 w 893"/>
              <a:gd name="T21" fmla="*/ 835 h 1175"/>
              <a:gd name="T22" fmla="*/ 0 w 893"/>
              <a:gd name="T23" fmla="*/ 1175 h 1175"/>
              <a:gd name="T24" fmla="*/ 341 w 893"/>
              <a:gd name="T25" fmla="*/ 1175 h 1175"/>
              <a:gd name="T26" fmla="*/ 285 w 893"/>
              <a:gd name="T27" fmla="*/ 1054 h 1175"/>
              <a:gd name="T28" fmla="*/ 447 w 893"/>
              <a:gd name="T29" fmla="*/ 893 h 1175"/>
              <a:gd name="T30" fmla="*/ 608 w 893"/>
              <a:gd name="T31" fmla="*/ 1054 h 1175"/>
              <a:gd name="T32" fmla="*/ 552 w 893"/>
              <a:gd name="T33" fmla="*/ 1175 h 1175"/>
              <a:gd name="T34" fmla="*/ 893 w 893"/>
              <a:gd name="T35" fmla="*/ 1175 h 1175"/>
              <a:gd name="T36" fmla="*/ 893 w 893"/>
              <a:gd name="T37" fmla="*/ 283 h 1175"/>
              <a:gd name="T38" fmla="*/ 552 w 893"/>
              <a:gd name="T39" fmla="*/ 283 h 1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93" h="1175">
                <a:moveTo>
                  <a:pt x="552" y="283"/>
                </a:moveTo>
                <a:cubicBezTo>
                  <a:pt x="586" y="253"/>
                  <a:pt x="608" y="210"/>
                  <a:pt x="608" y="161"/>
                </a:cubicBezTo>
                <a:cubicBezTo>
                  <a:pt x="608" y="72"/>
                  <a:pt x="536" y="0"/>
                  <a:pt x="447" y="0"/>
                </a:cubicBezTo>
                <a:cubicBezTo>
                  <a:pt x="358" y="0"/>
                  <a:pt x="285" y="72"/>
                  <a:pt x="285" y="161"/>
                </a:cubicBezTo>
                <a:cubicBezTo>
                  <a:pt x="285" y="210"/>
                  <a:pt x="307" y="253"/>
                  <a:pt x="341" y="283"/>
                </a:cubicBezTo>
                <a:cubicBezTo>
                  <a:pt x="0" y="283"/>
                  <a:pt x="0" y="283"/>
                  <a:pt x="0" y="283"/>
                </a:cubicBezTo>
                <a:cubicBezTo>
                  <a:pt x="0" y="624"/>
                  <a:pt x="0" y="624"/>
                  <a:pt x="0" y="624"/>
                </a:cubicBezTo>
                <a:cubicBezTo>
                  <a:pt x="30" y="590"/>
                  <a:pt x="73" y="568"/>
                  <a:pt x="122" y="568"/>
                </a:cubicBezTo>
                <a:cubicBezTo>
                  <a:pt x="211" y="568"/>
                  <a:pt x="283" y="640"/>
                  <a:pt x="283" y="729"/>
                </a:cubicBezTo>
                <a:cubicBezTo>
                  <a:pt x="283" y="818"/>
                  <a:pt x="211" y="890"/>
                  <a:pt x="122" y="890"/>
                </a:cubicBezTo>
                <a:cubicBezTo>
                  <a:pt x="73" y="890"/>
                  <a:pt x="30" y="869"/>
                  <a:pt x="0" y="835"/>
                </a:cubicBezTo>
                <a:cubicBezTo>
                  <a:pt x="0" y="1175"/>
                  <a:pt x="0" y="1175"/>
                  <a:pt x="0" y="1175"/>
                </a:cubicBezTo>
                <a:cubicBezTo>
                  <a:pt x="341" y="1175"/>
                  <a:pt x="341" y="1175"/>
                  <a:pt x="341" y="1175"/>
                </a:cubicBezTo>
                <a:cubicBezTo>
                  <a:pt x="307" y="1146"/>
                  <a:pt x="285" y="1102"/>
                  <a:pt x="285" y="1054"/>
                </a:cubicBezTo>
                <a:cubicBezTo>
                  <a:pt x="285" y="965"/>
                  <a:pt x="358" y="893"/>
                  <a:pt x="447" y="893"/>
                </a:cubicBezTo>
                <a:cubicBezTo>
                  <a:pt x="536" y="893"/>
                  <a:pt x="608" y="965"/>
                  <a:pt x="608" y="1054"/>
                </a:cubicBezTo>
                <a:cubicBezTo>
                  <a:pt x="608" y="1102"/>
                  <a:pt x="586" y="1146"/>
                  <a:pt x="552" y="1175"/>
                </a:cubicBezTo>
                <a:cubicBezTo>
                  <a:pt x="893" y="1175"/>
                  <a:pt x="893" y="1175"/>
                  <a:pt x="893" y="1175"/>
                </a:cubicBezTo>
                <a:cubicBezTo>
                  <a:pt x="893" y="283"/>
                  <a:pt x="893" y="283"/>
                  <a:pt x="893" y="283"/>
                </a:cubicBezTo>
                <a:lnTo>
                  <a:pt x="552" y="283"/>
                </a:ln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506192" y="2263916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937742" y="2263916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077817" y="2263916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296047" y="3270250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724422" y="3270250"/>
            <a:ext cx="12843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622693" y="1745207"/>
            <a:ext cx="1764792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622693" y="1563299"/>
            <a:ext cx="1764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testing</a:t>
            </a:r>
          </a:p>
        </p:txBody>
      </p:sp>
      <p:cxnSp>
        <p:nvCxnSpPr>
          <p:cNvPr id="65" name="Elbow Connector 64"/>
          <p:cNvCxnSpPr>
            <a:stCxn id="32" idx="5"/>
          </p:cNvCxnSpPr>
          <p:nvPr/>
        </p:nvCxnSpPr>
        <p:spPr>
          <a:xfrm flipH="1" flipV="1">
            <a:off x="2506933" y="1640243"/>
            <a:ext cx="494399" cy="571145"/>
          </a:xfrm>
          <a:prstGeom prst="bentConnector3">
            <a:avLst>
              <a:gd name="adj1" fmla="val 161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33" idx="17"/>
          </p:cNvCxnSpPr>
          <p:nvPr/>
        </p:nvCxnSpPr>
        <p:spPr>
          <a:xfrm flipH="1">
            <a:off x="2506933" y="3495675"/>
            <a:ext cx="1279227" cy="194348"/>
          </a:xfrm>
          <a:prstGeom prst="bentConnector3">
            <a:avLst>
              <a:gd name="adj1" fmla="val -312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36" idx="2"/>
          </p:cNvCxnSpPr>
          <p:nvPr/>
        </p:nvCxnSpPr>
        <p:spPr>
          <a:xfrm flipV="1">
            <a:off x="6142477" y="1640243"/>
            <a:ext cx="509285" cy="571145"/>
          </a:xfrm>
          <a:prstGeom prst="bentConnector3">
            <a:avLst>
              <a:gd name="adj1" fmla="val -3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74"/>
          <p:cNvCxnSpPr>
            <a:stCxn id="35" idx="17"/>
          </p:cNvCxnSpPr>
          <p:nvPr/>
        </p:nvCxnSpPr>
        <p:spPr>
          <a:xfrm>
            <a:off x="5357182" y="3495675"/>
            <a:ext cx="1294580" cy="194348"/>
          </a:xfrm>
          <a:prstGeom prst="bentConnector3">
            <a:avLst>
              <a:gd name="adj1" fmla="val 131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593725" y="1745207"/>
            <a:ext cx="1760855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593778" y="1563299"/>
            <a:ext cx="1760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assessment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593725" y="3794987"/>
            <a:ext cx="1760855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593778" y="3613079"/>
            <a:ext cx="1760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earch &amp; results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6804054" y="1745207"/>
            <a:ext cx="1760855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804107" y="1563299"/>
            <a:ext cx="1760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marketing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6804054" y="3794987"/>
            <a:ext cx="1760855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804107" y="3613079"/>
            <a:ext cx="1760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delivery</a:t>
            </a:r>
          </a:p>
        </p:txBody>
      </p:sp>
      <p:sp>
        <p:nvSpPr>
          <p:cNvPr id="47" name="Freeform 213">
            <a:extLst>
              <a:ext uri="{FF2B5EF4-FFF2-40B4-BE49-F238E27FC236}">
                <a16:creationId xmlns:a16="http://schemas.microsoft.com/office/drawing/2014/main" id="{10B023D8-0350-4194-84B0-73A47A776BE4}"/>
              </a:ext>
            </a:extLst>
          </p:cNvPr>
          <p:cNvSpPr>
            <a:spLocks noEditPoints="1"/>
          </p:cNvSpPr>
          <p:nvPr/>
        </p:nvSpPr>
        <p:spPr bwMode="auto">
          <a:xfrm>
            <a:off x="2903650" y="2647875"/>
            <a:ext cx="182880" cy="307112"/>
          </a:xfrm>
          <a:custGeom>
            <a:avLst/>
            <a:gdLst>
              <a:gd name="T0" fmla="*/ 87 w 97"/>
              <a:gd name="T1" fmla="*/ 68 h 146"/>
              <a:gd name="T2" fmla="*/ 75 w 97"/>
              <a:gd name="T3" fmla="*/ 85 h 146"/>
              <a:gd name="T4" fmla="*/ 76 w 97"/>
              <a:gd name="T5" fmla="*/ 103 h 146"/>
              <a:gd name="T6" fmla="*/ 76 w 97"/>
              <a:gd name="T7" fmla="*/ 115 h 146"/>
              <a:gd name="T8" fmla="*/ 73 w 97"/>
              <a:gd name="T9" fmla="*/ 127 h 146"/>
              <a:gd name="T10" fmla="*/ 63 w 97"/>
              <a:gd name="T11" fmla="*/ 136 h 146"/>
              <a:gd name="T12" fmla="*/ 49 w 97"/>
              <a:gd name="T13" fmla="*/ 146 h 146"/>
              <a:gd name="T14" fmla="*/ 35 w 97"/>
              <a:gd name="T15" fmla="*/ 136 h 146"/>
              <a:gd name="T16" fmla="*/ 25 w 97"/>
              <a:gd name="T17" fmla="*/ 127 h 146"/>
              <a:gd name="T18" fmla="*/ 22 w 97"/>
              <a:gd name="T19" fmla="*/ 115 h 146"/>
              <a:gd name="T20" fmla="*/ 22 w 97"/>
              <a:gd name="T21" fmla="*/ 103 h 146"/>
              <a:gd name="T22" fmla="*/ 23 w 97"/>
              <a:gd name="T23" fmla="*/ 85 h 146"/>
              <a:gd name="T24" fmla="*/ 10 w 97"/>
              <a:gd name="T25" fmla="*/ 68 h 146"/>
              <a:gd name="T26" fmla="*/ 5 w 97"/>
              <a:gd name="T27" fmla="*/ 25 h 146"/>
              <a:gd name="T28" fmla="*/ 31 w 97"/>
              <a:gd name="T29" fmla="*/ 3 h 146"/>
              <a:gd name="T30" fmla="*/ 66 w 97"/>
              <a:gd name="T31" fmla="*/ 3 h 146"/>
              <a:gd name="T32" fmla="*/ 93 w 97"/>
              <a:gd name="T33" fmla="*/ 25 h 146"/>
              <a:gd name="T34" fmla="*/ 85 w 97"/>
              <a:gd name="T35" fmla="*/ 43 h 146"/>
              <a:gd name="T36" fmla="*/ 73 w 97"/>
              <a:gd name="T37" fmla="*/ 20 h 146"/>
              <a:gd name="T38" fmla="*/ 49 w 97"/>
              <a:gd name="T39" fmla="*/ 12 h 146"/>
              <a:gd name="T40" fmla="*/ 24 w 97"/>
              <a:gd name="T41" fmla="*/ 20 h 146"/>
              <a:gd name="T42" fmla="*/ 13 w 97"/>
              <a:gd name="T43" fmla="*/ 43 h 146"/>
              <a:gd name="T44" fmla="*/ 22 w 97"/>
              <a:gd name="T45" fmla="*/ 63 h 146"/>
              <a:gd name="T46" fmla="*/ 38 w 97"/>
              <a:gd name="T47" fmla="*/ 94 h 146"/>
              <a:gd name="T48" fmla="*/ 73 w 97"/>
              <a:gd name="T49" fmla="*/ 66 h 146"/>
              <a:gd name="T50" fmla="*/ 79 w 97"/>
              <a:gd name="T51" fmla="*/ 60 h 146"/>
              <a:gd name="T52" fmla="*/ 70 w 97"/>
              <a:gd name="T53" fmla="*/ 43 h 146"/>
              <a:gd name="T54" fmla="*/ 67 w 97"/>
              <a:gd name="T55" fmla="*/ 46 h 146"/>
              <a:gd name="T56" fmla="*/ 64 w 97"/>
              <a:gd name="T57" fmla="*/ 43 h 146"/>
              <a:gd name="T58" fmla="*/ 49 w 97"/>
              <a:gd name="T59" fmla="*/ 34 h 146"/>
              <a:gd name="T60" fmla="*/ 46 w 97"/>
              <a:gd name="T61" fmla="*/ 31 h 146"/>
              <a:gd name="T62" fmla="*/ 49 w 97"/>
              <a:gd name="T63" fmla="*/ 28 h 146"/>
              <a:gd name="T64" fmla="*/ 66 w 97"/>
              <a:gd name="T6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43"/>
                </a:moveTo>
                <a:cubicBezTo>
                  <a:pt x="97" y="52"/>
                  <a:pt x="94" y="61"/>
                  <a:pt x="87" y="68"/>
                </a:cubicBezTo>
                <a:cubicBezTo>
                  <a:pt x="85" y="71"/>
                  <a:pt x="82" y="74"/>
                  <a:pt x="80" y="76"/>
                </a:cubicBezTo>
                <a:cubicBezTo>
                  <a:pt x="79" y="79"/>
                  <a:pt x="77" y="82"/>
                  <a:pt x="75" y="85"/>
                </a:cubicBezTo>
                <a:cubicBezTo>
                  <a:pt x="73" y="89"/>
                  <a:pt x="72" y="92"/>
                  <a:pt x="72" y="95"/>
                </a:cubicBezTo>
                <a:cubicBezTo>
                  <a:pt x="75" y="97"/>
                  <a:pt x="76" y="100"/>
                  <a:pt x="76" y="103"/>
                </a:cubicBezTo>
                <a:cubicBezTo>
                  <a:pt x="76" y="106"/>
                  <a:pt x="75" y="108"/>
                  <a:pt x="74" y="109"/>
                </a:cubicBezTo>
                <a:cubicBezTo>
                  <a:pt x="75" y="111"/>
                  <a:pt x="76" y="113"/>
                  <a:pt x="76" y="115"/>
                </a:cubicBezTo>
                <a:cubicBezTo>
                  <a:pt x="76" y="119"/>
                  <a:pt x="75" y="121"/>
                  <a:pt x="72" y="123"/>
                </a:cubicBezTo>
                <a:cubicBezTo>
                  <a:pt x="73" y="124"/>
                  <a:pt x="73" y="126"/>
                  <a:pt x="73" y="127"/>
                </a:cubicBezTo>
                <a:cubicBezTo>
                  <a:pt x="73" y="130"/>
                  <a:pt x="72" y="133"/>
                  <a:pt x="70" y="134"/>
                </a:cubicBezTo>
                <a:cubicBezTo>
                  <a:pt x="68" y="136"/>
                  <a:pt x="66" y="136"/>
                  <a:pt x="63" y="136"/>
                </a:cubicBezTo>
                <a:cubicBezTo>
                  <a:pt x="61" y="139"/>
                  <a:pt x="60" y="141"/>
                  <a:pt x="57" y="143"/>
                </a:cubicBezTo>
                <a:cubicBezTo>
                  <a:pt x="55" y="145"/>
                  <a:pt x="52" y="146"/>
                  <a:pt x="49" y="146"/>
                </a:cubicBezTo>
                <a:cubicBezTo>
                  <a:pt x="46" y="146"/>
                  <a:pt x="43" y="145"/>
                  <a:pt x="41" y="143"/>
                </a:cubicBezTo>
                <a:cubicBezTo>
                  <a:pt x="38" y="141"/>
                  <a:pt x="36" y="139"/>
                  <a:pt x="35" y="136"/>
                </a:cubicBezTo>
                <a:cubicBezTo>
                  <a:pt x="32" y="136"/>
                  <a:pt x="30" y="136"/>
                  <a:pt x="28" y="134"/>
                </a:cubicBezTo>
                <a:cubicBezTo>
                  <a:pt x="26" y="133"/>
                  <a:pt x="25" y="130"/>
                  <a:pt x="25" y="127"/>
                </a:cubicBezTo>
                <a:cubicBezTo>
                  <a:pt x="25" y="126"/>
                  <a:pt x="25" y="124"/>
                  <a:pt x="26" y="123"/>
                </a:cubicBezTo>
                <a:cubicBezTo>
                  <a:pt x="23" y="121"/>
                  <a:pt x="22" y="119"/>
                  <a:pt x="22" y="115"/>
                </a:cubicBezTo>
                <a:cubicBezTo>
                  <a:pt x="22" y="113"/>
                  <a:pt x="22" y="111"/>
                  <a:pt x="24" y="109"/>
                </a:cubicBezTo>
                <a:cubicBezTo>
                  <a:pt x="22" y="108"/>
                  <a:pt x="22" y="106"/>
                  <a:pt x="22" y="103"/>
                </a:cubicBezTo>
                <a:cubicBezTo>
                  <a:pt x="22" y="100"/>
                  <a:pt x="23" y="97"/>
                  <a:pt x="26" y="95"/>
                </a:cubicBezTo>
                <a:cubicBezTo>
                  <a:pt x="26" y="92"/>
                  <a:pt x="25" y="89"/>
                  <a:pt x="23" y="85"/>
                </a:cubicBezTo>
                <a:cubicBezTo>
                  <a:pt x="21" y="82"/>
                  <a:pt x="19" y="79"/>
                  <a:pt x="17" y="76"/>
                </a:cubicBezTo>
                <a:cubicBezTo>
                  <a:pt x="15" y="74"/>
                  <a:pt x="13" y="71"/>
                  <a:pt x="10" y="68"/>
                </a:cubicBezTo>
                <a:cubicBezTo>
                  <a:pt x="4" y="61"/>
                  <a:pt x="0" y="52"/>
                  <a:pt x="0" y="43"/>
                </a:cubicBezTo>
                <a:cubicBezTo>
                  <a:pt x="0" y="36"/>
                  <a:pt x="2" y="31"/>
                  <a:pt x="5" y="25"/>
                </a:cubicBezTo>
                <a:cubicBezTo>
                  <a:pt x="7" y="20"/>
                  <a:pt x="11" y="15"/>
                  <a:pt x="16" y="12"/>
                </a:cubicBezTo>
                <a:cubicBezTo>
                  <a:pt x="20" y="8"/>
                  <a:pt x="25" y="5"/>
                  <a:pt x="31" y="3"/>
                </a:cubicBezTo>
                <a:cubicBezTo>
                  <a:pt x="37" y="1"/>
                  <a:pt x="43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2" y="5"/>
                  <a:pt x="77" y="8"/>
                  <a:pt x="82" y="12"/>
                </a:cubicBezTo>
                <a:cubicBezTo>
                  <a:pt x="87" y="15"/>
                  <a:pt x="90" y="20"/>
                  <a:pt x="93" y="25"/>
                </a:cubicBezTo>
                <a:cubicBezTo>
                  <a:pt x="96" y="31"/>
                  <a:pt x="97" y="36"/>
                  <a:pt x="97" y="43"/>
                </a:cubicBezTo>
                <a:close/>
                <a:moveTo>
                  <a:pt x="85" y="43"/>
                </a:moveTo>
                <a:cubicBezTo>
                  <a:pt x="85" y="38"/>
                  <a:pt x="84" y="34"/>
                  <a:pt x="82" y="30"/>
                </a:cubicBezTo>
                <a:cubicBezTo>
                  <a:pt x="80" y="26"/>
                  <a:pt x="77" y="23"/>
                  <a:pt x="73" y="20"/>
                </a:cubicBezTo>
                <a:cubicBezTo>
                  <a:pt x="70" y="18"/>
                  <a:pt x="66" y="16"/>
                  <a:pt x="62" y="15"/>
                </a:cubicBezTo>
                <a:cubicBezTo>
                  <a:pt x="57" y="13"/>
                  <a:pt x="53" y="12"/>
                  <a:pt x="49" y="12"/>
                </a:cubicBezTo>
                <a:cubicBezTo>
                  <a:pt x="44" y="12"/>
                  <a:pt x="40" y="13"/>
                  <a:pt x="36" y="15"/>
                </a:cubicBezTo>
                <a:cubicBezTo>
                  <a:pt x="32" y="16"/>
                  <a:pt x="28" y="18"/>
                  <a:pt x="24" y="20"/>
                </a:cubicBezTo>
                <a:cubicBezTo>
                  <a:pt x="21" y="23"/>
                  <a:pt x="18" y="26"/>
                  <a:pt x="16" y="30"/>
                </a:cubicBezTo>
                <a:cubicBezTo>
                  <a:pt x="14" y="34"/>
                  <a:pt x="13" y="38"/>
                  <a:pt x="13" y="43"/>
                </a:cubicBezTo>
                <a:cubicBezTo>
                  <a:pt x="13" y="49"/>
                  <a:pt x="15" y="55"/>
                  <a:pt x="19" y="60"/>
                </a:cubicBezTo>
                <a:cubicBezTo>
                  <a:pt x="20" y="60"/>
                  <a:pt x="21" y="61"/>
                  <a:pt x="22" y="63"/>
                </a:cubicBezTo>
                <a:cubicBezTo>
                  <a:pt x="23" y="64"/>
                  <a:pt x="24" y="65"/>
                  <a:pt x="25" y="66"/>
                </a:cubicBezTo>
                <a:cubicBezTo>
                  <a:pt x="33" y="76"/>
                  <a:pt x="37" y="85"/>
                  <a:pt x="38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60" y="85"/>
                  <a:pt x="65" y="76"/>
                  <a:pt x="73" y="66"/>
                </a:cubicBezTo>
                <a:cubicBezTo>
                  <a:pt x="74" y="65"/>
                  <a:pt x="75" y="64"/>
                  <a:pt x="76" y="63"/>
                </a:cubicBezTo>
                <a:cubicBezTo>
                  <a:pt x="77" y="61"/>
                  <a:pt x="78" y="60"/>
                  <a:pt x="79" y="60"/>
                </a:cubicBezTo>
                <a:cubicBezTo>
                  <a:pt x="83" y="55"/>
                  <a:pt x="85" y="49"/>
                  <a:pt x="85" y="43"/>
                </a:cubicBezTo>
                <a:close/>
                <a:moveTo>
                  <a:pt x="70" y="43"/>
                </a:moveTo>
                <a:cubicBezTo>
                  <a:pt x="70" y="43"/>
                  <a:pt x="70" y="44"/>
                  <a:pt x="69" y="45"/>
                </a:cubicBezTo>
                <a:cubicBezTo>
                  <a:pt x="68" y="45"/>
                  <a:pt x="68" y="46"/>
                  <a:pt x="67" y="46"/>
                </a:cubicBezTo>
                <a:cubicBezTo>
                  <a:pt x="66" y="46"/>
                  <a:pt x="65" y="45"/>
                  <a:pt x="65" y="45"/>
                </a:cubicBezTo>
                <a:cubicBezTo>
                  <a:pt x="64" y="44"/>
                  <a:pt x="64" y="43"/>
                  <a:pt x="64" y="43"/>
                </a:cubicBezTo>
                <a:cubicBezTo>
                  <a:pt x="64" y="40"/>
                  <a:pt x="62" y="38"/>
                  <a:pt x="59" y="36"/>
                </a:cubicBezTo>
                <a:cubicBezTo>
                  <a:pt x="55" y="34"/>
                  <a:pt x="52" y="34"/>
                  <a:pt x="49" y="34"/>
                </a:cubicBezTo>
                <a:cubicBezTo>
                  <a:pt x="48" y="34"/>
                  <a:pt x="47" y="33"/>
                  <a:pt x="47" y="33"/>
                </a:cubicBezTo>
                <a:cubicBezTo>
                  <a:pt x="46" y="32"/>
                  <a:pt x="46" y="31"/>
                  <a:pt x="46" y="31"/>
                </a:cubicBezTo>
                <a:cubicBezTo>
                  <a:pt x="46" y="30"/>
                  <a:pt x="46" y="29"/>
                  <a:pt x="47" y="28"/>
                </a:cubicBezTo>
                <a:cubicBezTo>
                  <a:pt x="47" y="28"/>
                  <a:pt x="48" y="28"/>
                  <a:pt x="49" y="28"/>
                </a:cubicBezTo>
                <a:cubicBezTo>
                  <a:pt x="52" y="28"/>
                  <a:pt x="55" y="28"/>
                  <a:pt x="58" y="29"/>
                </a:cubicBezTo>
                <a:cubicBezTo>
                  <a:pt x="61" y="30"/>
                  <a:pt x="64" y="32"/>
                  <a:pt x="66" y="34"/>
                </a:cubicBezTo>
                <a:cubicBezTo>
                  <a:pt x="69" y="37"/>
                  <a:pt x="70" y="39"/>
                  <a:pt x="70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8" name="Freeform 176">
            <a:extLst>
              <a:ext uri="{FF2B5EF4-FFF2-40B4-BE49-F238E27FC236}">
                <a16:creationId xmlns:a16="http://schemas.microsoft.com/office/drawing/2014/main" id="{C4B538CE-BCD0-4DDC-AEE9-6B1C5376F2B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04898" y="2763763"/>
            <a:ext cx="210302" cy="221734"/>
          </a:xfrm>
          <a:custGeom>
            <a:avLst/>
            <a:gdLst>
              <a:gd name="T0" fmla="*/ 135 w 139"/>
              <a:gd name="T1" fmla="*/ 125 h 146"/>
              <a:gd name="T2" fmla="*/ 137 w 139"/>
              <a:gd name="T3" fmla="*/ 140 h 146"/>
              <a:gd name="T4" fmla="*/ 124 w 139"/>
              <a:gd name="T5" fmla="*/ 146 h 146"/>
              <a:gd name="T6" fmla="*/ 15 w 139"/>
              <a:gd name="T7" fmla="*/ 146 h 146"/>
              <a:gd name="T8" fmla="*/ 2 w 139"/>
              <a:gd name="T9" fmla="*/ 140 h 146"/>
              <a:gd name="T10" fmla="*/ 4 w 139"/>
              <a:gd name="T11" fmla="*/ 125 h 146"/>
              <a:gd name="T12" fmla="*/ 51 w 139"/>
              <a:gd name="T13" fmla="*/ 50 h 146"/>
              <a:gd name="T14" fmla="*/ 51 w 139"/>
              <a:gd name="T15" fmla="*/ 12 h 146"/>
              <a:gd name="T16" fmla="*/ 45 w 139"/>
              <a:gd name="T17" fmla="*/ 12 h 146"/>
              <a:gd name="T18" fmla="*/ 41 w 139"/>
              <a:gd name="T19" fmla="*/ 11 h 146"/>
              <a:gd name="T20" fmla="*/ 39 w 139"/>
              <a:gd name="T21" fmla="*/ 6 h 146"/>
              <a:gd name="T22" fmla="*/ 41 w 139"/>
              <a:gd name="T23" fmla="*/ 2 h 146"/>
              <a:gd name="T24" fmla="*/ 45 w 139"/>
              <a:gd name="T25" fmla="*/ 0 h 146"/>
              <a:gd name="T26" fmla="*/ 94 w 139"/>
              <a:gd name="T27" fmla="*/ 0 h 146"/>
              <a:gd name="T28" fmla="*/ 98 w 139"/>
              <a:gd name="T29" fmla="*/ 2 h 146"/>
              <a:gd name="T30" fmla="*/ 100 w 139"/>
              <a:gd name="T31" fmla="*/ 6 h 146"/>
              <a:gd name="T32" fmla="*/ 98 w 139"/>
              <a:gd name="T33" fmla="*/ 11 h 146"/>
              <a:gd name="T34" fmla="*/ 94 w 139"/>
              <a:gd name="T35" fmla="*/ 12 h 146"/>
              <a:gd name="T36" fmla="*/ 88 w 139"/>
              <a:gd name="T37" fmla="*/ 12 h 146"/>
              <a:gd name="T38" fmla="*/ 88 w 139"/>
              <a:gd name="T39" fmla="*/ 50 h 146"/>
              <a:gd name="T40" fmla="*/ 135 w 139"/>
              <a:gd name="T41" fmla="*/ 125 h 146"/>
              <a:gd name="T42" fmla="*/ 61 w 139"/>
              <a:gd name="T43" fmla="*/ 57 h 146"/>
              <a:gd name="T44" fmla="*/ 36 w 139"/>
              <a:gd name="T45" fmla="*/ 97 h 146"/>
              <a:gd name="T46" fmla="*/ 103 w 139"/>
              <a:gd name="T47" fmla="*/ 97 h 146"/>
              <a:gd name="T48" fmla="*/ 77 w 139"/>
              <a:gd name="T49" fmla="*/ 57 h 146"/>
              <a:gd name="T50" fmla="*/ 75 w 139"/>
              <a:gd name="T51" fmla="*/ 54 h 146"/>
              <a:gd name="T52" fmla="*/ 75 w 139"/>
              <a:gd name="T53" fmla="*/ 50 h 146"/>
              <a:gd name="T54" fmla="*/ 75 w 139"/>
              <a:gd name="T55" fmla="*/ 12 h 146"/>
              <a:gd name="T56" fmla="*/ 63 w 139"/>
              <a:gd name="T57" fmla="*/ 12 h 146"/>
              <a:gd name="T58" fmla="*/ 63 w 139"/>
              <a:gd name="T59" fmla="*/ 50 h 146"/>
              <a:gd name="T60" fmla="*/ 63 w 139"/>
              <a:gd name="T61" fmla="*/ 54 h 146"/>
              <a:gd name="T62" fmla="*/ 61 w 139"/>
              <a:gd name="T63" fmla="*/ 5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9" h="146">
                <a:moveTo>
                  <a:pt x="135" y="125"/>
                </a:moveTo>
                <a:cubicBezTo>
                  <a:pt x="139" y="131"/>
                  <a:pt x="139" y="136"/>
                  <a:pt x="137" y="140"/>
                </a:cubicBezTo>
                <a:cubicBezTo>
                  <a:pt x="135" y="144"/>
                  <a:pt x="131" y="146"/>
                  <a:pt x="124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8" y="146"/>
                  <a:pt x="4" y="144"/>
                  <a:pt x="2" y="140"/>
                </a:cubicBezTo>
                <a:cubicBezTo>
                  <a:pt x="0" y="136"/>
                  <a:pt x="0" y="131"/>
                  <a:pt x="4" y="125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12"/>
                  <a:pt x="51" y="12"/>
                  <a:pt x="51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4" y="12"/>
                  <a:pt x="42" y="12"/>
                  <a:pt x="41" y="11"/>
                </a:cubicBezTo>
                <a:cubicBezTo>
                  <a:pt x="40" y="9"/>
                  <a:pt x="39" y="8"/>
                  <a:pt x="39" y="6"/>
                </a:cubicBezTo>
                <a:cubicBezTo>
                  <a:pt x="39" y="5"/>
                  <a:pt x="40" y="3"/>
                  <a:pt x="41" y="2"/>
                </a:cubicBezTo>
                <a:cubicBezTo>
                  <a:pt x="42" y="1"/>
                  <a:pt x="44" y="0"/>
                  <a:pt x="45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5" y="0"/>
                  <a:pt x="97" y="1"/>
                  <a:pt x="98" y="2"/>
                </a:cubicBezTo>
                <a:cubicBezTo>
                  <a:pt x="99" y="3"/>
                  <a:pt x="100" y="5"/>
                  <a:pt x="100" y="6"/>
                </a:cubicBezTo>
                <a:cubicBezTo>
                  <a:pt x="100" y="8"/>
                  <a:pt x="99" y="9"/>
                  <a:pt x="98" y="11"/>
                </a:cubicBezTo>
                <a:cubicBezTo>
                  <a:pt x="97" y="12"/>
                  <a:pt x="95" y="12"/>
                  <a:pt x="94" y="12"/>
                </a:cubicBezTo>
                <a:cubicBezTo>
                  <a:pt x="88" y="12"/>
                  <a:pt x="88" y="12"/>
                  <a:pt x="88" y="12"/>
                </a:cubicBezTo>
                <a:cubicBezTo>
                  <a:pt x="88" y="50"/>
                  <a:pt x="88" y="50"/>
                  <a:pt x="88" y="50"/>
                </a:cubicBezTo>
                <a:lnTo>
                  <a:pt x="135" y="125"/>
                </a:lnTo>
                <a:close/>
                <a:moveTo>
                  <a:pt x="61" y="57"/>
                </a:moveTo>
                <a:cubicBezTo>
                  <a:pt x="36" y="97"/>
                  <a:pt x="36" y="97"/>
                  <a:pt x="36" y="97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77" y="57"/>
                  <a:pt x="77" y="57"/>
                  <a:pt x="77" y="57"/>
                </a:cubicBezTo>
                <a:cubicBezTo>
                  <a:pt x="75" y="54"/>
                  <a:pt x="75" y="54"/>
                  <a:pt x="75" y="54"/>
                </a:cubicBezTo>
                <a:cubicBezTo>
                  <a:pt x="75" y="50"/>
                  <a:pt x="75" y="50"/>
                  <a:pt x="75" y="50"/>
                </a:cubicBezTo>
                <a:cubicBezTo>
                  <a:pt x="75" y="12"/>
                  <a:pt x="75" y="12"/>
                  <a:pt x="75" y="12"/>
                </a:cubicBezTo>
                <a:cubicBezTo>
                  <a:pt x="63" y="12"/>
                  <a:pt x="63" y="12"/>
                  <a:pt x="63" y="12"/>
                </a:cubicBezTo>
                <a:cubicBezTo>
                  <a:pt x="63" y="50"/>
                  <a:pt x="63" y="50"/>
                  <a:pt x="63" y="50"/>
                </a:cubicBezTo>
                <a:cubicBezTo>
                  <a:pt x="63" y="54"/>
                  <a:pt x="63" y="54"/>
                  <a:pt x="63" y="54"/>
                </a:cubicBezTo>
                <a:lnTo>
                  <a:pt x="61" y="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9" name="Freeform 23">
            <a:extLst>
              <a:ext uri="{FF2B5EF4-FFF2-40B4-BE49-F238E27FC236}">
                <a16:creationId xmlns:a16="http://schemas.microsoft.com/office/drawing/2014/main" id="{F0712F0F-16B4-450A-8D85-4135D9AAE5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97720" y="2695000"/>
            <a:ext cx="241392" cy="243907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0" name="Freeform 188">
            <a:extLst>
              <a:ext uri="{FF2B5EF4-FFF2-40B4-BE49-F238E27FC236}">
                <a16:creationId xmlns:a16="http://schemas.microsoft.com/office/drawing/2014/main" id="{90808A76-DFA5-42DC-A5DD-DD6DC6DEB77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63200" y="2782712"/>
            <a:ext cx="271565" cy="223791"/>
          </a:xfrm>
          <a:custGeom>
            <a:avLst/>
            <a:gdLst>
              <a:gd name="T0" fmla="*/ 163 w 163"/>
              <a:gd name="T1" fmla="*/ 103 h 134"/>
              <a:gd name="T2" fmla="*/ 162 w 163"/>
              <a:gd name="T3" fmla="*/ 108 h 134"/>
              <a:gd name="T4" fmla="*/ 158 w 163"/>
              <a:gd name="T5" fmla="*/ 109 h 134"/>
              <a:gd name="T6" fmla="*/ 153 w 163"/>
              <a:gd name="T7" fmla="*/ 109 h 134"/>
              <a:gd name="T8" fmla="*/ 144 w 163"/>
              <a:gd name="T9" fmla="*/ 126 h 134"/>
              <a:gd name="T10" fmla="*/ 110 w 163"/>
              <a:gd name="T11" fmla="*/ 126 h 134"/>
              <a:gd name="T12" fmla="*/ 67 w 163"/>
              <a:gd name="T13" fmla="*/ 109 h 134"/>
              <a:gd name="T14" fmla="*/ 42 w 163"/>
              <a:gd name="T15" fmla="*/ 134 h 134"/>
              <a:gd name="T16" fmla="*/ 18 w 163"/>
              <a:gd name="T17" fmla="*/ 109 h 134"/>
              <a:gd name="T18" fmla="*/ 10 w 163"/>
              <a:gd name="T19" fmla="*/ 109 h 134"/>
              <a:gd name="T20" fmla="*/ 5 w 163"/>
              <a:gd name="T21" fmla="*/ 109 h 134"/>
              <a:gd name="T22" fmla="*/ 2 w 163"/>
              <a:gd name="T23" fmla="*/ 108 h 134"/>
              <a:gd name="T24" fmla="*/ 0 w 163"/>
              <a:gd name="T25" fmla="*/ 103 h 134"/>
              <a:gd name="T26" fmla="*/ 6 w 163"/>
              <a:gd name="T27" fmla="*/ 97 h 134"/>
              <a:gd name="T28" fmla="*/ 6 w 163"/>
              <a:gd name="T29" fmla="*/ 64 h 134"/>
              <a:gd name="T30" fmla="*/ 6 w 163"/>
              <a:gd name="T31" fmla="*/ 57 h 134"/>
              <a:gd name="T32" fmla="*/ 8 w 163"/>
              <a:gd name="T33" fmla="*/ 50 h 134"/>
              <a:gd name="T34" fmla="*/ 29 w 163"/>
              <a:gd name="T35" fmla="*/ 29 h 134"/>
              <a:gd name="T36" fmla="*/ 39 w 163"/>
              <a:gd name="T37" fmla="*/ 25 h 134"/>
              <a:gd name="T38" fmla="*/ 54 w 163"/>
              <a:gd name="T39" fmla="*/ 6 h 134"/>
              <a:gd name="T40" fmla="*/ 61 w 163"/>
              <a:gd name="T41" fmla="*/ 0 h 134"/>
              <a:gd name="T42" fmla="*/ 162 w 163"/>
              <a:gd name="T43" fmla="*/ 2 h 134"/>
              <a:gd name="T44" fmla="*/ 18 w 163"/>
              <a:gd name="T45" fmla="*/ 61 h 134"/>
              <a:gd name="T46" fmla="*/ 54 w 163"/>
              <a:gd name="T47" fmla="*/ 37 h 134"/>
              <a:gd name="T48" fmla="*/ 37 w 163"/>
              <a:gd name="T49" fmla="*/ 38 h 134"/>
              <a:gd name="T50" fmla="*/ 18 w 163"/>
              <a:gd name="T51" fmla="*/ 58 h 134"/>
              <a:gd name="T52" fmla="*/ 51 w 163"/>
              <a:gd name="T53" fmla="*/ 118 h 134"/>
              <a:gd name="T54" fmla="*/ 51 w 163"/>
              <a:gd name="T55" fmla="*/ 101 h 134"/>
              <a:gd name="T56" fmla="*/ 34 w 163"/>
              <a:gd name="T57" fmla="*/ 101 h 134"/>
              <a:gd name="T58" fmla="*/ 34 w 163"/>
              <a:gd name="T59" fmla="*/ 118 h 134"/>
              <a:gd name="T60" fmla="*/ 51 w 163"/>
              <a:gd name="T61" fmla="*/ 118 h 134"/>
              <a:gd name="T62" fmla="*/ 139 w 163"/>
              <a:gd name="T63" fmla="*/ 109 h 134"/>
              <a:gd name="T64" fmla="*/ 127 w 163"/>
              <a:gd name="T65" fmla="*/ 97 h 134"/>
              <a:gd name="T66" fmla="*/ 115 w 163"/>
              <a:gd name="T67" fmla="*/ 109 h 134"/>
              <a:gd name="T68" fmla="*/ 127 w 163"/>
              <a:gd name="T69" fmla="*/ 12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3" h="134">
                <a:moveTo>
                  <a:pt x="163" y="6"/>
                </a:moveTo>
                <a:cubicBezTo>
                  <a:pt x="163" y="103"/>
                  <a:pt x="163" y="103"/>
                  <a:pt x="163" y="103"/>
                </a:cubicBezTo>
                <a:cubicBezTo>
                  <a:pt x="163" y="104"/>
                  <a:pt x="163" y="105"/>
                  <a:pt x="163" y="106"/>
                </a:cubicBezTo>
                <a:cubicBezTo>
                  <a:pt x="163" y="107"/>
                  <a:pt x="162" y="107"/>
                  <a:pt x="162" y="108"/>
                </a:cubicBezTo>
                <a:cubicBezTo>
                  <a:pt x="161" y="108"/>
                  <a:pt x="161" y="108"/>
                  <a:pt x="160" y="109"/>
                </a:cubicBezTo>
                <a:cubicBezTo>
                  <a:pt x="160" y="109"/>
                  <a:pt x="159" y="109"/>
                  <a:pt x="158" y="109"/>
                </a:cubicBezTo>
                <a:cubicBezTo>
                  <a:pt x="157" y="109"/>
                  <a:pt x="156" y="109"/>
                  <a:pt x="156" y="109"/>
                </a:cubicBezTo>
                <a:cubicBezTo>
                  <a:pt x="155" y="109"/>
                  <a:pt x="155" y="109"/>
                  <a:pt x="153" y="109"/>
                </a:cubicBezTo>
                <a:cubicBezTo>
                  <a:pt x="152" y="109"/>
                  <a:pt x="152" y="109"/>
                  <a:pt x="151" y="109"/>
                </a:cubicBezTo>
                <a:cubicBezTo>
                  <a:pt x="151" y="116"/>
                  <a:pt x="149" y="122"/>
                  <a:pt x="144" y="126"/>
                </a:cubicBezTo>
                <a:cubicBezTo>
                  <a:pt x="139" y="131"/>
                  <a:pt x="134" y="134"/>
                  <a:pt x="127" y="134"/>
                </a:cubicBezTo>
                <a:cubicBezTo>
                  <a:pt x="120" y="134"/>
                  <a:pt x="115" y="131"/>
                  <a:pt x="110" y="126"/>
                </a:cubicBezTo>
                <a:cubicBezTo>
                  <a:pt x="105" y="122"/>
                  <a:pt x="103" y="116"/>
                  <a:pt x="103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16"/>
                  <a:pt x="64" y="122"/>
                  <a:pt x="60" y="126"/>
                </a:cubicBezTo>
                <a:cubicBezTo>
                  <a:pt x="55" y="131"/>
                  <a:pt x="49" y="134"/>
                  <a:pt x="42" y="134"/>
                </a:cubicBezTo>
                <a:cubicBezTo>
                  <a:pt x="36" y="134"/>
                  <a:pt x="30" y="131"/>
                  <a:pt x="25" y="126"/>
                </a:cubicBezTo>
                <a:cubicBezTo>
                  <a:pt x="21" y="122"/>
                  <a:pt x="18" y="116"/>
                  <a:pt x="18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1" y="109"/>
                  <a:pt x="10" y="109"/>
                </a:cubicBezTo>
                <a:cubicBezTo>
                  <a:pt x="9" y="109"/>
                  <a:pt x="8" y="109"/>
                  <a:pt x="8" y="109"/>
                </a:cubicBezTo>
                <a:cubicBezTo>
                  <a:pt x="7" y="109"/>
                  <a:pt x="7" y="109"/>
                  <a:pt x="5" y="109"/>
                </a:cubicBezTo>
                <a:cubicBezTo>
                  <a:pt x="4" y="109"/>
                  <a:pt x="4" y="109"/>
                  <a:pt x="3" y="109"/>
                </a:cubicBezTo>
                <a:cubicBezTo>
                  <a:pt x="3" y="108"/>
                  <a:pt x="2" y="108"/>
                  <a:pt x="2" y="108"/>
                </a:cubicBezTo>
                <a:cubicBezTo>
                  <a:pt x="1" y="107"/>
                  <a:pt x="1" y="107"/>
                  <a:pt x="0" y="106"/>
                </a:cubicBezTo>
                <a:cubicBezTo>
                  <a:pt x="0" y="105"/>
                  <a:pt x="0" y="104"/>
                  <a:pt x="0" y="103"/>
                </a:cubicBezTo>
                <a:cubicBezTo>
                  <a:pt x="0" y="102"/>
                  <a:pt x="1" y="100"/>
                  <a:pt x="2" y="99"/>
                </a:cubicBezTo>
                <a:cubicBezTo>
                  <a:pt x="3" y="98"/>
                  <a:pt x="4" y="97"/>
                  <a:pt x="6" y="9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6"/>
                  <a:pt x="6" y="65"/>
                  <a:pt x="6" y="64"/>
                </a:cubicBezTo>
                <a:cubicBezTo>
                  <a:pt x="6" y="62"/>
                  <a:pt x="6" y="61"/>
                  <a:pt x="6" y="60"/>
                </a:cubicBezTo>
                <a:cubicBezTo>
                  <a:pt x="6" y="59"/>
                  <a:pt x="6" y="58"/>
                  <a:pt x="6" y="57"/>
                </a:cubicBezTo>
                <a:cubicBezTo>
                  <a:pt x="6" y="55"/>
                  <a:pt x="7" y="54"/>
                  <a:pt x="7" y="53"/>
                </a:cubicBezTo>
                <a:cubicBezTo>
                  <a:pt x="7" y="52"/>
                  <a:pt x="8" y="52"/>
                  <a:pt x="8" y="50"/>
                </a:cubicBezTo>
                <a:cubicBezTo>
                  <a:pt x="9" y="49"/>
                  <a:pt x="10" y="48"/>
                  <a:pt x="10" y="48"/>
                </a:cubicBezTo>
                <a:cubicBezTo>
                  <a:pt x="29" y="29"/>
                  <a:pt x="29" y="29"/>
                  <a:pt x="29" y="29"/>
                </a:cubicBezTo>
                <a:cubicBezTo>
                  <a:pt x="30" y="28"/>
                  <a:pt x="32" y="27"/>
                  <a:pt x="34" y="26"/>
                </a:cubicBezTo>
                <a:cubicBezTo>
                  <a:pt x="36" y="25"/>
                  <a:pt x="38" y="25"/>
                  <a:pt x="39" y="25"/>
                </a:cubicBezTo>
                <a:cubicBezTo>
                  <a:pt x="54" y="25"/>
                  <a:pt x="54" y="25"/>
                  <a:pt x="54" y="25"/>
                </a:cubicBezTo>
                <a:cubicBezTo>
                  <a:pt x="54" y="6"/>
                  <a:pt x="54" y="6"/>
                  <a:pt x="54" y="6"/>
                </a:cubicBezTo>
                <a:cubicBezTo>
                  <a:pt x="54" y="5"/>
                  <a:pt x="55" y="3"/>
                  <a:pt x="56" y="2"/>
                </a:cubicBezTo>
                <a:cubicBezTo>
                  <a:pt x="57" y="1"/>
                  <a:pt x="59" y="0"/>
                  <a:pt x="61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9" y="0"/>
                  <a:pt x="160" y="1"/>
                  <a:pt x="162" y="2"/>
                </a:cubicBezTo>
                <a:cubicBezTo>
                  <a:pt x="163" y="3"/>
                  <a:pt x="163" y="5"/>
                  <a:pt x="163" y="6"/>
                </a:cubicBezTo>
                <a:close/>
                <a:moveTo>
                  <a:pt x="18" y="61"/>
                </a:moveTo>
                <a:cubicBezTo>
                  <a:pt x="54" y="61"/>
                  <a:pt x="54" y="61"/>
                  <a:pt x="54" y="61"/>
                </a:cubicBezTo>
                <a:cubicBezTo>
                  <a:pt x="54" y="37"/>
                  <a:pt x="54" y="37"/>
                  <a:pt x="54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39" y="37"/>
                  <a:pt x="38" y="37"/>
                  <a:pt x="37" y="38"/>
                </a:cubicBezTo>
                <a:cubicBezTo>
                  <a:pt x="19" y="56"/>
                  <a:pt x="19" y="56"/>
                  <a:pt x="19" y="56"/>
                </a:cubicBezTo>
                <a:cubicBezTo>
                  <a:pt x="18" y="57"/>
                  <a:pt x="18" y="57"/>
                  <a:pt x="18" y="58"/>
                </a:cubicBezTo>
                <a:lnTo>
                  <a:pt x="18" y="61"/>
                </a:lnTo>
                <a:close/>
                <a:moveTo>
                  <a:pt x="51" y="118"/>
                </a:moveTo>
                <a:cubicBezTo>
                  <a:pt x="53" y="115"/>
                  <a:pt x="54" y="113"/>
                  <a:pt x="54" y="109"/>
                </a:cubicBezTo>
                <a:cubicBezTo>
                  <a:pt x="54" y="106"/>
                  <a:pt x="53" y="103"/>
                  <a:pt x="51" y="101"/>
                </a:cubicBezTo>
                <a:cubicBezTo>
                  <a:pt x="49" y="98"/>
                  <a:pt x="46" y="97"/>
                  <a:pt x="42" y="97"/>
                </a:cubicBezTo>
                <a:cubicBezTo>
                  <a:pt x="39" y="97"/>
                  <a:pt x="36" y="98"/>
                  <a:pt x="34" y="101"/>
                </a:cubicBezTo>
                <a:cubicBezTo>
                  <a:pt x="31" y="103"/>
                  <a:pt x="30" y="106"/>
                  <a:pt x="30" y="109"/>
                </a:cubicBezTo>
                <a:cubicBezTo>
                  <a:pt x="30" y="113"/>
                  <a:pt x="31" y="115"/>
                  <a:pt x="34" y="118"/>
                </a:cubicBezTo>
                <a:cubicBezTo>
                  <a:pt x="36" y="120"/>
                  <a:pt x="39" y="121"/>
                  <a:pt x="42" y="121"/>
                </a:cubicBezTo>
                <a:cubicBezTo>
                  <a:pt x="46" y="121"/>
                  <a:pt x="49" y="120"/>
                  <a:pt x="51" y="118"/>
                </a:cubicBezTo>
                <a:close/>
                <a:moveTo>
                  <a:pt x="136" y="118"/>
                </a:moveTo>
                <a:cubicBezTo>
                  <a:pt x="138" y="115"/>
                  <a:pt x="139" y="113"/>
                  <a:pt x="139" y="109"/>
                </a:cubicBezTo>
                <a:cubicBezTo>
                  <a:pt x="139" y="106"/>
                  <a:pt x="138" y="103"/>
                  <a:pt x="136" y="101"/>
                </a:cubicBezTo>
                <a:cubicBezTo>
                  <a:pt x="133" y="98"/>
                  <a:pt x="130" y="97"/>
                  <a:pt x="127" y="97"/>
                </a:cubicBezTo>
                <a:cubicBezTo>
                  <a:pt x="124" y="97"/>
                  <a:pt x="121" y="98"/>
                  <a:pt x="119" y="101"/>
                </a:cubicBezTo>
                <a:cubicBezTo>
                  <a:pt x="116" y="103"/>
                  <a:pt x="115" y="106"/>
                  <a:pt x="115" y="109"/>
                </a:cubicBezTo>
                <a:cubicBezTo>
                  <a:pt x="115" y="113"/>
                  <a:pt x="116" y="115"/>
                  <a:pt x="119" y="118"/>
                </a:cubicBezTo>
                <a:cubicBezTo>
                  <a:pt x="121" y="120"/>
                  <a:pt x="124" y="121"/>
                  <a:pt x="127" y="121"/>
                </a:cubicBezTo>
                <a:cubicBezTo>
                  <a:pt x="130" y="121"/>
                  <a:pt x="133" y="120"/>
                  <a:pt x="136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1" name="Freeform 385">
            <a:extLst>
              <a:ext uri="{FF2B5EF4-FFF2-40B4-BE49-F238E27FC236}">
                <a16:creationId xmlns:a16="http://schemas.microsoft.com/office/drawing/2014/main" id="{916126E8-7D8D-490A-9A90-FC3530A6DDD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39172" y="2685192"/>
            <a:ext cx="281624" cy="243907"/>
          </a:xfrm>
          <a:custGeom>
            <a:avLst/>
            <a:gdLst>
              <a:gd name="T0" fmla="*/ 158 w 170"/>
              <a:gd name="T1" fmla="*/ 49 h 146"/>
              <a:gd name="T2" fmla="*/ 166 w 170"/>
              <a:gd name="T3" fmla="*/ 52 h 146"/>
              <a:gd name="T4" fmla="*/ 170 w 170"/>
              <a:gd name="T5" fmla="*/ 61 h 146"/>
              <a:gd name="T6" fmla="*/ 166 w 170"/>
              <a:gd name="T7" fmla="*/ 69 h 146"/>
              <a:gd name="T8" fmla="*/ 158 w 170"/>
              <a:gd name="T9" fmla="*/ 73 h 146"/>
              <a:gd name="T10" fmla="*/ 158 w 170"/>
              <a:gd name="T11" fmla="*/ 109 h 146"/>
              <a:gd name="T12" fmla="*/ 154 w 170"/>
              <a:gd name="T13" fmla="*/ 118 h 146"/>
              <a:gd name="T14" fmla="*/ 146 w 170"/>
              <a:gd name="T15" fmla="*/ 121 h 146"/>
              <a:gd name="T16" fmla="*/ 69 w 170"/>
              <a:gd name="T17" fmla="*/ 85 h 146"/>
              <a:gd name="T18" fmla="*/ 60 w 170"/>
              <a:gd name="T19" fmla="*/ 92 h 146"/>
              <a:gd name="T20" fmla="*/ 57 w 170"/>
              <a:gd name="T21" fmla="*/ 101 h 146"/>
              <a:gd name="T22" fmla="*/ 61 w 170"/>
              <a:gd name="T23" fmla="*/ 110 h 146"/>
              <a:gd name="T24" fmla="*/ 59 w 170"/>
              <a:gd name="T25" fmla="*/ 116 h 146"/>
              <a:gd name="T26" fmla="*/ 59 w 170"/>
              <a:gd name="T27" fmla="*/ 122 h 146"/>
              <a:gd name="T28" fmla="*/ 63 w 170"/>
              <a:gd name="T29" fmla="*/ 127 h 146"/>
              <a:gd name="T30" fmla="*/ 67 w 170"/>
              <a:gd name="T31" fmla="*/ 131 h 146"/>
              <a:gd name="T32" fmla="*/ 73 w 170"/>
              <a:gd name="T33" fmla="*/ 136 h 146"/>
              <a:gd name="T34" fmla="*/ 62 w 170"/>
              <a:gd name="T35" fmla="*/ 144 h 146"/>
              <a:gd name="T36" fmla="*/ 47 w 170"/>
              <a:gd name="T37" fmla="*/ 145 h 146"/>
              <a:gd name="T38" fmla="*/ 34 w 170"/>
              <a:gd name="T39" fmla="*/ 140 h 146"/>
              <a:gd name="T40" fmla="*/ 31 w 170"/>
              <a:gd name="T41" fmla="*/ 132 h 146"/>
              <a:gd name="T42" fmla="*/ 28 w 170"/>
              <a:gd name="T43" fmla="*/ 123 h 146"/>
              <a:gd name="T44" fmla="*/ 26 w 170"/>
              <a:gd name="T45" fmla="*/ 114 h 146"/>
              <a:gd name="T46" fmla="*/ 25 w 170"/>
              <a:gd name="T47" fmla="*/ 105 h 146"/>
              <a:gd name="T48" fmla="*/ 25 w 170"/>
              <a:gd name="T49" fmla="*/ 95 h 146"/>
              <a:gd name="T50" fmla="*/ 27 w 170"/>
              <a:gd name="T51" fmla="*/ 85 h 146"/>
              <a:gd name="T52" fmla="*/ 15 w 170"/>
              <a:gd name="T53" fmla="*/ 85 h 146"/>
              <a:gd name="T54" fmla="*/ 5 w 170"/>
              <a:gd name="T55" fmla="*/ 81 h 146"/>
              <a:gd name="T56" fmla="*/ 0 w 170"/>
              <a:gd name="T57" fmla="*/ 70 h 146"/>
              <a:gd name="T58" fmla="*/ 0 w 170"/>
              <a:gd name="T59" fmla="*/ 52 h 146"/>
              <a:gd name="T60" fmla="*/ 5 w 170"/>
              <a:gd name="T61" fmla="*/ 41 h 146"/>
              <a:gd name="T62" fmla="*/ 15 w 170"/>
              <a:gd name="T63" fmla="*/ 37 h 146"/>
              <a:gd name="T64" fmla="*/ 61 w 170"/>
              <a:gd name="T65" fmla="*/ 37 h 146"/>
              <a:gd name="T66" fmla="*/ 146 w 170"/>
              <a:gd name="T67" fmla="*/ 0 h 146"/>
              <a:gd name="T68" fmla="*/ 154 w 170"/>
              <a:gd name="T69" fmla="*/ 4 h 146"/>
              <a:gd name="T70" fmla="*/ 158 w 170"/>
              <a:gd name="T71" fmla="*/ 12 h 146"/>
              <a:gd name="T72" fmla="*/ 158 w 170"/>
              <a:gd name="T73" fmla="*/ 49 h 146"/>
              <a:gd name="T74" fmla="*/ 146 w 170"/>
              <a:gd name="T75" fmla="*/ 106 h 146"/>
              <a:gd name="T76" fmla="*/ 146 w 170"/>
              <a:gd name="T77" fmla="*/ 16 h 146"/>
              <a:gd name="T78" fmla="*/ 73 w 170"/>
              <a:gd name="T79" fmla="*/ 48 h 146"/>
              <a:gd name="T80" fmla="*/ 73 w 170"/>
              <a:gd name="T81" fmla="*/ 74 h 146"/>
              <a:gd name="T82" fmla="*/ 146 w 170"/>
              <a:gd name="T83" fmla="*/ 10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0" h="146">
                <a:moveTo>
                  <a:pt x="158" y="49"/>
                </a:moveTo>
                <a:cubicBezTo>
                  <a:pt x="161" y="49"/>
                  <a:pt x="164" y="50"/>
                  <a:pt x="166" y="52"/>
                </a:cubicBezTo>
                <a:cubicBezTo>
                  <a:pt x="169" y="55"/>
                  <a:pt x="170" y="57"/>
                  <a:pt x="170" y="61"/>
                </a:cubicBezTo>
                <a:cubicBezTo>
                  <a:pt x="170" y="64"/>
                  <a:pt x="169" y="67"/>
                  <a:pt x="166" y="69"/>
                </a:cubicBezTo>
                <a:cubicBezTo>
                  <a:pt x="164" y="72"/>
                  <a:pt x="161" y="73"/>
                  <a:pt x="158" y="73"/>
                </a:cubicBezTo>
                <a:cubicBezTo>
                  <a:pt x="158" y="109"/>
                  <a:pt x="158" y="109"/>
                  <a:pt x="158" y="109"/>
                </a:cubicBezTo>
                <a:cubicBezTo>
                  <a:pt x="158" y="112"/>
                  <a:pt x="156" y="115"/>
                  <a:pt x="154" y="118"/>
                </a:cubicBezTo>
                <a:cubicBezTo>
                  <a:pt x="152" y="120"/>
                  <a:pt x="149" y="121"/>
                  <a:pt x="146" y="121"/>
                </a:cubicBezTo>
                <a:cubicBezTo>
                  <a:pt x="119" y="99"/>
                  <a:pt x="94" y="87"/>
                  <a:pt x="69" y="85"/>
                </a:cubicBezTo>
                <a:cubicBezTo>
                  <a:pt x="65" y="87"/>
                  <a:pt x="62" y="89"/>
                  <a:pt x="60" y="92"/>
                </a:cubicBezTo>
                <a:cubicBezTo>
                  <a:pt x="58" y="95"/>
                  <a:pt x="57" y="98"/>
                  <a:pt x="57" y="101"/>
                </a:cubicBezTo>
                <a:cubicBezTo>
                  <a:pt x="57" y="105"/>
                  <a:pt x="59" y="107"/>
                  <a:pt x="61" y="110"/>
                </a:cubicBezTo>
                <a:cubicBezTo>
                  <a:pt x="60" y="112"/>
                  <a:pt x="59" y="114"/>
                  <a:pt x="59" y="116"/>
                </a:cubicBezTo>
                <a:cubicBezTo>
                  <a:pt x="59" y="118"/>
                  <a:pt x="59" y="120"/>
                  <a:pt x="59" y="122"/>
                </a:cubicBezTo>
                <a:cubicBezTo>
                  <a:pt x="60" y="123"/>
                  <a:pt x="61" y="125"/>
                  <a:pt x="63" y="127"/>
                </a:cubicBezTo>
                <a:cubicBezTo>
                  <a:pt x="64" y="129"/>
                  <a:pt x="66" y="130"/>
                  <a:pt x="67" y="131"/>
                </a:cubicBezTo>
                <a:cubicBezTo>
                  <a:pt x="69" y="133"/>
                  <a:pt x="71" y="134"/>
                  <a:pt x="73" y="136"/>
                </a:cubicBezTo>
                <a:cubicBezTo>
                  <a:pt x="71" y="140"/>
                  <a:pt x="68" y="143"/>
                  <a:pt x="62" y="144"/>
                </a:cubicBezTo>
                <a:cubicBezTo>
                  <a:pt x="57" y="146"/>
                  <a:pt x="52" y="146"/>
                  <a:pt x="47" y="145"/>
                </a:cubicBezTo>
                <a:cubicBezTo>
                  <a:pt x="41" y="144"/>
                  <a:pt x="37" y="143"/>
                  <a:pt x="34" y="140"/>
                </a:cubicBezTo>
                <a:cubicBezTo>
                  <a:pt x="34" y="138"/>
                  <a:pt x="33" y="136"/>
                  <a:pt x="31" y="132"/>
                </a:cubicBezTo>
                <a:cubicBezTo>
                  <a:pt x="30" y="128"/>
                  <a:pt x="29" y="125"/>
                  <a:pt x="28" y="123"/>
                </a:cubicBezTo>
                <a:cubicBezTo>
                  <a:pt x="28" y="121"/>
                  <a:pt x="27" y="118"/>
                  <a:pt x="26" y="114"/>
                </a:cubicBezTo>
                <a:cubicBezTo>
                  <a:pt x="25" y="111"/>
                  <a:pt x="25" y="107"/>
                  <a:pt x="25" y="105"/>
                </a:cubicBezTo>
                <a:cubicBezTo>
                  <a:pt x="25" y="102"/>
                  <a:pt x="25" y="99"/>
                  <a:pt x="25" y="95"/>
                </a:cubicBezTo>
                <a:cubicBezTo>
                  <a:pt x="25" y="92"/>
                  <a:pt x="26" y="88"/>
                  <a:pt x="27" y="85"/>
                </a:cubicBezTo>
                <a:cubicBezTo>
                  <a:pt x="15" y="85"/>
                  <a:pt x="15" y="85"/>
                  <a:pt x="15" y="85"/>
                </a:cubicBezTo>
                <a:cubicBezTo>
                  <a:pt x="11" y="85"/>
                  <a:pt x="8" y="84"/>
                  <a:pt x="5" y="81"/>
                </a:cubicBezTo>
                <a:cubicBezTo>
                  <a:pt x="2" y="78"/>
                  <a:pt x="0" y="74"/>
                  <a:pt x="0" y="70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48"/>
                  <a:pt x="2" y="44"/>
                  <a:pt x="5" y="41"/>
                </a:cubicBezTo>
                <a:cubicBezTo>
                  <a:pt x="8" y="38"/>
                  <a:pt x="11" y="37"/>
                  <a:pt x="15" y="37"/>
                </a:cubicBezTo>
                <a:cubicBezTo>
                  <a:pt x="61" y="37"/>
                  <a:pt x="61" y="37"/>
                  <a:pt x="61" y="37"/>
                </a:cubicBezTo>
                <a:cubicBezTo>
                  <a:pt x="88" y="37"/>
                  <a:pt x="117" y="25"/>
                  <a:pt x="146" y="0"/>
                </a:cubicBezTo>
                <a:cubicBezTo>
                  <a:pt x="149" y="0"/>
                  <a:pt x="152" y="1"/>
                  <a:pt x="154" y="4"/>
                </a:cubicBezTo>
                <a:cubicBezTo>
                  <a:pt x="156" y="6"/>
                  <a:pt x="158" y="9"/>
                  <a:pt x="158" y="12"/>
                </a:cubicBezTo>
                <a:lnTo>
                  <a:pt x="158" y="49"/>
                </a:lnTo>
                <a:close/>
                <a:moveTo>
                  <a:pt x="146" y="106"/>
                </a:moveTo>
                <a:cubicBezTo>
                  <a:pt x="146" y="16"/>
                  <a:pt x="146" y="16"/>
                  <a:pt x="146" y="16"/>
                </a:cubicBezTo>
                <a:cubicBezTo>
                  <a:pt x="121" y="35"/>
                  <a:pt x="97" y="45"/>
                  <a:pt x="73" y="48"/>
                </a:cubicBezTo>
                <a:cubicBezTo>
                  <a:pt x="73" y="74"/>
                  <a:pt x="73" y="74"/>
                  <a:pt x="73" y="74"/>
                </a:cubicBezTo>
                <a:cubicBezTo>
                  <a:pt x="97" y="76"/>
                  <a:pt x="121" y="87"/>
                  <a:pt x="146" y="10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8690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</a:t>
            </a:r>
            <a:r>
              <a:rPr lang="en-US">
                <a:solidFill>
                  <a:schemeClr val="accent2"/>
                </a:solidFill>
              </a:rPr>
              <a:t>online sales 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4580890" y="2259013"/>
            <a:ext cx="1022350" cy="706438"/>
          </a:xfrm>
          <a:custGeom>
            <a:avLst/>
            <a:gdLst>
              <a:gd name="T0" fmla="*/ 1026 w 1026"/>
              <a:gd name="T1" fmla="*/ 0 h 708"/>
              <a:gd name="T2" fmla="*/ 14 w 1026"/>
              <a:gd name="T3" fmla="*/ 0 h 708"/>
              <a:gd name="T4" fmla="*/ 0 w 1026"/>
              <a:gd name="T5" fmla="*/ 0 h 708"/>
              <a:gd name="T6" fmla="*/ 0 w 1026"/>
              <a:gd name="T7" fmla="*/ 177 h 708"/>
              <a:gd name="T8" fmla="*/ 90 w 1026"/>
              <a:gd name="T9" fmla="*/ 135 h 708"/>
              <a:gd name="T10" fmla="*/ 207 w 1026"/>
              <a:gd name="T11" fmla="*/ 251 h 708"/>
              <a:gd name="T12" fmla="*/ 90 w 1026"/>
              <a:gd name="T13" fmla="*/ 368 h 708"/>
              <a:gd name="T14" fmla="*/ 0 w 1026"/>
              <a:gd name="T15" fmla="*/ 325 h 708"/>
              <a:gd name="T16" fmla="*/ 0 w 1026"/>
              <a:gd name="T17" fmla="*/ 500 h 708"/>
              <a:gd name="T18" fmla="*/ 310 w 1026"/>
              <a:gd name="T19" fmla="*/ 500 h 708"/>
              <a:gd name="T20" fmla="*/ 266 w 1026"/>
              <a:gd name="T21" fmla="*/ 592 h 708"/>
              <a:gd name="T22" fmla="*/ 382 w 1026"/>
              <a:gd name="T23" fmla="*/ 708 h 708"/>
              <a:gd name="T24" fmla="*/ 498 w 1026"/>
              <a:gd name="T25" fmla="*/ 592 h 708"/>
              <a:gd name="T26" fmla="*/ 454 w 1026"/>
              <a:gd name="T27" fmla="*/ 500 h 708"/>
              <a:gd name="T28" fmla="*/ 822 w 1026"/>
              <a:gd name="T29" fmla="*/ 500 h 708"/>
              <a:gd name="T30" fmla="*/ 1026 w 1026"/>
              <a:gd name="T31" fmla="*/ 0 h 7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26" h="708">
                <a:moveTo>
                  <a:pt x="1026" y="0"/>
                </a:moveTo>
                <a:cubicBezTo>
                  <a:pt x="14" y="0"/>
                  <a:pt x="14" y="0"/>
                  <a:pt x="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77"/>
                  <a:pt x="0" y="177"/>
                  <a:pt x="0" y="177"/>
                </a:cubicBezTo>
                <a:cubicBezTo>
                  <a:pt x="22" y="151"/>
                  <a:pt x="54" y="135"/>
                  <a:pt x="90" y="135"/>
                </a:cubicBezTo>
                <a:cubicBezTo>
                  <a:pt x="154" y="135"/>
                  <a:pt x="207" y="187"/>
                  <a:pt x="207" y="251"/>
                </a:cubicBezTo>
                <a:cubicBezTo>
                  <a:pt x="207" y="316"/>
                  <a:pt x="154" y="368"/>
                  <a:pt x="90" y="368"/>
                </a:cubicBezTo>
                <a:cubicBezTo>
                  <a:pt x="54" y="368"/>
                  <a:pt x="22" y="351"/>
                  <a:pt x="0" y="325"/>
                </a:cubicBezTo>
                <a:cubicBezTo>
                  <a:pt x="0" y="500"/>
                  <a:pt x="0" y="500"/>
                  <a:pt x="0" y="500"/>
                </a:cubicBezTo>
                <a:cubicBezTo>
                  <a:pt x="310" y="500"/>
                  <a:pt x="310" y="500"/>
                  <a:pt x="310" y="500"/>
                </a:cubicBezTo>
                <a:cubicBezTo>
                  <a:pt x="283" y="522"/>
                  <a:pt x="266" y="555"/>
                  <a:pt x="266" y="592"/>
                </a:cubicBezTo>
                <a:cubicBezTo>
                  <a:pt x="266" y="656"/>
                  <a:pt x="318" y="708"/>
                  <a:pt x="382" y="708"/>
                </a:cubicBezTo>
                <a:cubicBezTo>
                  <a:pt x="446" y="708"/>
                  <a:pt x="498" y="656"/>
                  <a:pt x="498" y="592"/>
                </a:cubicBezTo>
                <a:cubicBezTo>
                  <a:pt x="498" y="555"/>
                  <a:pt x="481" y="522"/>
                  <a:pt x="454" y="500"/>
                </a:cubicBezTo>
                <a:cubicBezTo>
                  <a:pt x="822" y="500"/>
                  <a:pt x="822" y="500"/>
                  <a:pt x="822" y="500"/>
                </a:cubicBezTo>
                <a:lnTo>
                  <a:pt x="1026" y="0"/>
                </a:ln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" name="Freeform 6"/>
          <p:cNvSpPr>
            <a:spLocks noEditPoints="1"/>
          </p:cNvSpPr>
          <p:nvPr/>
        </p:nvSpPr>
        <p:spPr bwMode="auto">
          <a:xfrm>
            <a:off x="4374515" y="2757488"/>
            <a:ext cx="1125537" cy="1054100"/>
          </a:xfrm>
          <a:custGeom>
            <a:avLst/>
            <a:gdLst>
              <a:gd name="T0" fmla="*/ 1055 w 1128"/>
              <a:gd name="T1" fmla="*/ 463 h 1055"/>
              <a:gd name="T2" fmla="*/ 839 w 1128"/>
              <a:gd name="T3" fmla="*/ 463 h 1055"/>
              <a:gd name="T4" fmla="*/ 1028 w 1128"/>
              <a:gd name="T5" fmla="*/ 0 h 1055"/>
              <a:gd name="T6" fmla="*/ 660 w 1128"/>
              <a:gd name="T7" fmla="*/ 0 h 1055"/>
              <a:gd name="T8" fmla="*/ 704 w 1128"/>
              <a:gd name="T9" fmla="*/ 92 h 1055"/>
              <a:gd name="T10" fmla="*/ 588 w 1128"/>
              <a:gd name="T11" fmla="*/ 208 h 1055"/>
              <a:gd name="T12" fmla="*/ 472 w 1128"/>
              <a:gd name="T13" fmla="*/ 92 h 1055"/>
              <a:gd name="T14" fmla="*/ 516 w 1128"/>
              <a:gd name="T15" fmla="*/ 0 h 1055"/>
              <a:gd name="T16" fmla="*/ 206 w 1128"/>
              <a:gd name="T17" fmla="*/ 0 h 1055"/>
              <a:gd name="T18" fmla="*/ 206 w 1128"/>
              <a:gd name="T19" fmla="*/ 220 h 1055"/>
              <a:gd name="T20" fmla="*/ 116 w 1128"/>
              <a:gd name="T21" fmla="*/ 177 h 1055"/>
              <a:gd name="T22" fmla="*/ 0 w 1128"/>
              <a:gd name="T23" fmla="*/ 294 h 1055"/>
              <a:gd name="T24" fmla="*/ 116 w 1128"/>
              <a:gd name="T25" fmla="*/ 410 h 1055"/>
              <a:gd name="T26" fmla="*/ 206 w 1128"/>
              <a:gd name="T27" fmla="*/ 367 h 1055"/>
              <a:gd name="T28" fmla="*/ 206 w 1128"/>
              <a:gd name="T29" fmla="*/ 608 h 1055"/>
              <a:gd name="T30" fmla="*/ 769 w 1128"/>
              <a:gd name="T31" fmla="*/ 608 h 1055"/>
              <a:gd name="T32" fmla="*/ 769 w 1128"/>
              <a:gd name="T33" fmla="*/ 674 h 1055"/>
              <a:gd name="T34" fmla="*/ 619 w 1128"/>
              <a:gd name="T35" fmla="*/ 862 h 1055"/>
              <a:gd name="T36" fmla="*/ 812 w 1128"/>
              <a:gd name="T37" fmla="*/ 1055 h 1055"/>
              <a:gd name="T38" fmla="*/ 1005 w 1128"/>
              <a:gd name="T39" fmla="*/ 862 h 1055"/>
              <a:gd name="T40" fmla="*/ 855 w 1128"/>
              <a:gd name="T41" fmla="*/ 674 h 1055"/>
              <a:gd name="T42" fmla="*/ 855 w 1128"/>
              <a:gd name="T43" fmla="*/ 608 h 1055"/>
              <a:gd name="T44" fmla="*/ 1055 w 1128"/>
              <a:gd name="T45" fmla="*/ 608 h 1055"/>
              <a:gd name="T46" fmla="*/ 1128 w 1128"/>
              <a:gd name="T47" fmla="*/ 535 h 1055"/>
              <a:gd name="T48" fmla="*/ 1055 w 1128"/>
              <a:gd name="T49" fmla="*/ 463 h 1055"/>
              <a:gd name="T50" fmla="*/ 893 w 1128"/>
              <a:gd name="T51" fmla="*/ 862 h 1055"/>
              <a:gd name="T52" fmla="*/ 812 w 1128"/>
              <a:gd name="T53" fmla="*/ 943 h 1055"/>
              <a:gd name="T54" fmla="*/ 731 w 1128"/>
              <a:gd name="T55" fmla="*/ 862 h 1055"/>
              <a:gd name="T56" fmla="*/ 812 w 1128"/>
              <a:gd name="T57" fmla="*/ 781 h 1055"/>
              <a:gd name="T58" fmla="*/ 893 w 1128"/>
              <a:gd name="T59" fmla="*/ 862 h 10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28" h="1055">
                <a:moveTo>
                  <a:pt x="1055" y="463"/>
                </a:moveTo>
                <a:cubicBezTo>
                  <a:pt x="839" y="463"/>
                  <a:pt x="839" y="463"/>
                  <a:pt x="839" y="463"/>
                </a:cubicBezTo>
                <a:cubicBezTo>
                  <a:pt x="1028" y="0"/>
                  <a:pt x="1028" y="0"/>
                  <a:pt x="1028" y="0"/>
                </a:cubicBezTo>
                <a:cubicBezTo>
                  <a:pt x="660" y="0"/>
                  <a:pt x="660" y="0"/>
                  <a:pt x="660" y="0"/>
                </a:cubicBezTo>
                <a:cubicBezTo>
                  <a:pt x="687" y="22"/>
                  <a:pt x="704" y="55"/>
                  <a:pt x="704" y="92"/>
                </a:cubicBezTo>
                <a:cubicBezTo>
                  <a:pt x="704" y="156"/>
                  <a:pt x="652" y="208"/>
                  <a:pt x="588" y="208"/>
                </a:cubicBezTo>
                <a:cubicBezTo>
                  <a:pt x="524" y="208"/>
                  <a:pt x="472" y="156"/>
                  <a:pt x="472" y="92"/>
                </a:cubicBezTo>
                <a:cubicBezTo>
                  <a:pt x="472" y="55"/>
                  <a:pt x="489" y="22"/>
                  <a:pt x="516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206" y="220"/>
                  <a:pt x="206" y="220"/>
                  <a:pt x="206" y="220"/>
                </a:cubicBezTo>
                <a:cubicBezTo>
                  <a:pt x="185" y="194"/>
                  <a:pt x="152" y="177"/>
                  <a:pt x="116" y="177"/>
                </a:cubicBezTo>
                <a:cubicBezTo>
                  <a:pt x="52" y="177"/>
                  <a:pt x="0" y="229"/>
                  <a:pt x="0" y="294"/>
                </a:cubicBezTo>
                <a:cubicBezTo>
                  <a:pt x="0" y="358"/>
                  <a:pt x="52" y="410"/>
                  <a:pt x="116" y="410"/>
                </a:cubicBezTo>
                <a:cubicBezTo>
                  <a:pt x="152" y="410"/>
                  <a:pt x="185" y="393"/>
                  <a:pt x="206" y="367"/>
                </a:cubicBezTo>
                <a:cubicBezTo>
                  <a:pt x="206" y="608"/>
                  <a:pt x="206" y="608"/>
                  <a:pt x="206" y="608"/>
                </a:cubicBezTo>
                <a:cubicBezTo>
                  <a:pt x="769" y="608"/>
                  <a:pt x="769" y="608"/>
                  <a:pt x="769" y="608"/>
                </a:cubicBezTo>
                <a:cubicBezTo>
                  <a:pt x="769" y="674"/>
                  <a:pt x="769" y="674"/>
                  <a:pt x="769" y="674"/>
                </a:cubicBezTo>
                <a:cubicBezTo>
                  <a:pt x="684" y="694"/>
                  <a:pt x="619" y="770"/>
                  <a:pt x="619" y="862"/>
                </a:cubicBezTo>
                <a:cubicBezTo>
                  <a:pt x="619" y="969"/>
                  <a:pt x="706" y="1055"/>
                  <a:pt x="812" y="1055"/>
                </a:cubicBezTo>
                <a:cubicBezTo>
                  <a:pt x="919" y="1055"/>
                  <a:pt x="1005" y="969"/>
                  <a:pt x="1005" y="862"/>
                </a:cubicBezTo>
                <a:cubicBezTo>
                  <a:pt x="1005" y="770"/>
                  <a:pt x="941" y="694"/>
                  <a:pt x="855" y="674"/>
                </a:cubicBezTo>
                <a:cubicBezTo>
                  <a:pt x="855" y="608"/>
                  <a:pt x="855" y="608"/>
                  <a:pt x="855" y="608"/>
                </a:cubicBezTo>
                <a:cubicBezTo>
                  <a:pt x="1055" y="608"/>
                  <a:pt x="1055" y="608"/>
                  <a:pt x="1055" y="608"/>
                </a:cubicBezTo>
                <a:cubicBezTo>
                  <a:pt x="1096" y="608"/>
                  <a:pt x="1128" y="575"/>
                  <a:pt x="1128" y="535"/>
                </a:cubicBezTo>
                <a:cubicBezTo>
                  <a:pt x="1128" y="495"/>
                  <a:pt x="1096" y="463"/>
                  <a:pt x="1055" y="463"/>
                </a:cubicBezTo>
                <a:close/>
                <a:moveTo>
                  <a:pt x="893" y="862"/>
                </a:moveTo>
                <a:cubicBezTo>
                  <a:pt x="893" y="907"/>
                  <a:pt x="857" y="943"/>
                  <a:pt x="812" y="943"/>
                </a:cubicBezTo>
                <a:cubicBezTo>
                  <a:pt x="768" y="943"/>
                  <a:pt x="731" y="907"/>
                  <a:pt x="731" y="862"/>
                </a:cubicBezTo>
                <a:cubicBezTo>
                  <a:pt x="731" y="817"/>
                  <a:pt x="768" y="781"/>
                  <a:pt x="812" y="781"/>
                </a:cubicBezTo>
                <a:cubicBezTo>
                  <a:pt x="857" y="781"/>
                  <a:pt x="893" y="817"/>
                  <a:pt x="893" y="862"/>
                </a:cubicBezTo>
                <a:close/>
              </a:path>
            </a:pathLst>
          </a:custGeom>
          <a:solidFill>
            <a:schemeClr val="accent3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" name="Freeform 7"/>
          <p:cNvSpPr>
            <a:spLocks noEditPoints="1"/>
          </p:cNvSpPr>
          <p:nvPr/>
        </p:nvSpPr>
        <p:spPr bwMode="auto">
          <a:xfrm>
            <a:off x="3629978" y="2554288"/>
            <a:ext cx="950912" cy="1257300"/>
          </a:xfrm>
          <a:custGeom>
            <a:avLst/>
            <a:gdLst>
              <a:gd name="T0" fmla="*/ 952 w 952"/>
              <a:gd name="T1" fmla="*/ 812 h 1259"/>
              <a:gd name="T2" fmla="*/ 952 w 952"/>
              <a:gd name="T3" fmla="*/ 571 h 1259"/>
              <a:gd name="T4" fmla="*/ 862 w 952"/>
              <a:gd name="T5" fmla="*/ 614 h 1259"/>
              <a:gd name="T6" fmla="*/ 746 w 952"/>
              <a:gd name="T7" fmla="*/ 498 h 1259"/>
              <a:gd name="T8" fmla="*/ 862 w 952"/>
              <a:gd name="T9" fmla="*/ 381 h 1259"/>
              <a:gd name="T10" fmla="*/ 952 w 952"/>
              <a:gd name="T11" fmla="*/ 424 h 1259"/>
              <a:gd name="T12" fmla="*/ 952 w 952"/>
              <a:gd name="T13" fmla="*/ 204 h 1259"/>
              <a:gd name="T14" fmla="*/ 583 w 952"/>
              <a:gd name="T15" fmla="*/ 204 h 1259"/>
              <a:gd name="T16" fmla="*/ 623 w 952"/>
              <a:gd name="T17" fmla="*/ 116 h 1259"/>
              <a:gd name="T18" fmla="*/ 507 w 952"/>
              <a:gd name="T19" fmla="*/ 0 h 1259"/>
              <a:gd name="T20" fmla="*/ 390 w 952"/>
              <a:gd name="T21" fmla="*/ 116 h 1259"/>
              <a:gd name="T22" fmla="*/ 431 w 952"/>
              <a:gd name="T23" fmla="*/ 204 h 1259"/>
              <a:gd name="T24" fmla="*/ 0 w 952"/>
              <a:gd name="T25" fmla="*/ 204 h 1259"/>
              <a:gd name="T26" fmla="*/ 121 w 952"/>
              <a:gd name="T27" fmla="*/ 739 h 1259"/>
              <a:gd name="T28" fmla="*/ 194 w 952"/>
              <a:gd name="T29" fmla="*/ 812 h 1259"/>
              <a:gd name="T30" fmla="*/ 411 w 952"/>
              <a:gd name="T31" fmla="*/ 812 h 1259"/>
              <a:gd name="T32" fmla="*/ 411 w 952"/>
              <a:gd name="T33" fmla="*/ 878 h 1259"/>
              <a:gd name="T34" fmla="*/ 261 w 952"/>
              <a:gd name="T35" fmla="*/ 1066 h 1259"/>
              <a:gd name="T36" fmla="*/ 454 w 952"/>
              <a:gd name="T37" fmla="*/ 1259 h 1259"/>
              <a:gd name="T38" fmla="*/ 646 w 952"/>
              <a:gd name="T39" fmla="*/ 1066 h 1259"/>
              <a:gd name="T40" fmla="*/ 497 w 952"/>
              <a:gd name="T41" fmla="*/ 878 h 1259"/>
              <a:gd name="T42" fmla="*/ 497 w 952"/>
              <a:gd name="T43" fmla="*/ 812 h 1259"/>
              <a:gd name="T44" fmla="*/ 952 w 952"/>
              <a:gd name="T45" fmla="*/ 812 h 1259"/>
              <a:gd name="T46" fmla="*/ 535 w 952"/>
              <a:gd name="T47" fmla="*/ 1066 h 1259"/>
              <a:gd name="T48" fmla="*/ 454 w 952"/>
              <a:gd name="T49" fmla="*/ 1147 h 1259"/>
              <a:gd name="T50" fmla="*/ 373 w 952"/>
              <a:gd name="T51" fmla="*/ 1066 h 1259"/>
              <a:gd name="T52" fmla="*/ 454 w 952"/>
              <a:gd name="T53" fmla="*/ 985 h 1259"/>
              <a:gd name="T54" fmla="*/ 535 w 952"/>
              <a:gd name="T55" fmla="*/ 1066 h 1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952" h="1259">
                <a:moveTo>
                  <a:pt x="952" y="812"/>
                </a:moveTo>
                <a:cubicBezTo>
                  <a:pt x="952" y="571"/>
                  <a:pt x="952" y="571"/>
                  <a:pt x="952" y="571"/>
                </a:cubicBezTo>
                <a:cubicBezTo>
                  <a:pt x="931" y="597"/>
                  <a:pt x="898" y="614"/>
                  <a:pt x="862" y="614"/>
                </a:cubicBezTo>
                <a:cubicBezTo>
                  <a:pt x="798" y="614"/>
                  <a:pt x="746" y="562"/>
                  <a:pt x="746" y="498"/>
                </a:cubicBezTo>
                <a:cubicBezTo>
                  <a:pt x="746" y="433"/>
                  <a:pt x="798" y="381"/>
                  <a:pt x="862" y="381"/>
                </a:cubicBezTo>
                <a:cubicBezTo>
                  <a:pt x="898" y="381"/>
                  <a:pt x="931" y="398"/>
                  <a:pt x="952" y="424"/>
                </a:cubicBezTo>
                <a:cubicBezTo>
                  <a:pt x="952" y="204"/>
                  <a:pt x="952" y="204"/>
                  <a:pt x="952" y="204"/>
                </a:cubicBezTo>
                <a:cubicBezTo>
                  <a:pt x="583" y="204"/>
                  <a:pt x="583" y="204"/>
                  <a:pt x="583" y="204"/>
                </a:cubicBezTo>
                <a:cubicBezTo>
                  <a:pt x="608" y="183"/>
                  <a:pt x="623" y="152"/>
                  <a:pt x="623" y="116"/>
                </a:cubicBezTo>
                <a:cubicBezTo>
                  <a:pt x="623" y="52"/>
                  <a:pt x="571" y="0"/>
                  <a:pt x="507" y="0"/>
                </a:cubicBezTo>
                <a:cubicBezTo>
                  <a:pt x="442" y="0"/>
                  <a:pt x="390" y="52"/>
                  <a:pt x="390" y="116"/>
                </a:cubicBezTo>
                <a:cubicBezTo>
                  <a:pt x="390" y="152"/>
                  <a:pt x="406" y="183"/>
                  <a:pt x="431" y="204"/>
                </a:cubicBezTo>
                <a:cubicBezTo>
                  <a:pt x="0" y="204"/>
                  <a:pt x="0" y="204"/>
                  <a:pt x="0" y="204"/>
                </a:cubicBezTo>
                <a:cubicBezTo>
                  <a:pt x="121" y="739"/>
                  <a:pt x="121" y="739"/>
                  <a:pt x="121" y="739"/>
                </a:cubicBezTo>
                <a:cubicBezTo>
                  <a:pt x="125" y="778"/>
                  <a:pt x="153" y="812"/>
                  <a:pt x="194" y="812"/>
                </a:cubicBezTo>
                <a:cubicBezTo>
                  <a:pt x="411" y="812"/>
                  <a:pt x="411" y="812"/>
                  <a:pt x="411" y="812"/>
                </a:cubicBezTo>
                <a:cubicBezTo>
                  <a:pt x="411" y="878"/>
                  <a:pt x="411" y="878"/>
                  <a:pt x="411" y="878"/>
                </a:cubicBezTo>
                <a:cubicBezTo>
                  <a:pt x="325" y="898"/>
                  <a:pt x="261" y="974"/>
                  <a:pt x="261" y="1066"/>
                </a:cubicBezTo>
                <a:cubicBezTo>
                  <a:pt x="261" y="1173"/>
                  <a:pt x="347" y="1259"/>
                  <a:pt x="454" y="1259"/>
                </a:cubicBezTo>
                <a:cubicBezTo>
                  <a:pt x="560" y="1259"/>
                  <a:pt x="646" y="1173"/>
                  <a:pt x="646" y="1066"/>
                </a:cubicBezTo>
                <a:cubicBezTo>
                  <a:pt x="646" y="974"/>
                  <a:pt x="582" y="898"/>
                  <a:pt x="497" y="878"/>
                </a:cubicBezTo>
                <a:cubicBezTo>
                  <a:pt x="497" y="812"/>
                  <a:pt x="497" y="812"/>
                  <a:pt x="497" y="812"/>
                </a:cubicBezTo>
                <a:lnTo>
                  <a:pt x="952" y="812"/>
                </a:lnTo>
                <a:close/>
                <a:moveTo>
                  <a:pt x="535" y="1066"/>
                </a:moveTo>
                <a:cubicBezTo>
                  <a:pt x="535" y="1111"/>
                  <a:pt x="498" y="1147"/>
                  <a:pt x="454" y="1147"/>
                </a:cubicBezTo>
                <a:cubicBezTo>
                  <a:pt x="409" y="1147"/>
                  <a:pt x="373" y="1111"/>
                  <a:pt x="373" y="1066"/>
                </a:cubicBezTo>
                <a:cubicBezTo>
                  <a:pt x="373" y="1021"/>
                  <a:pt x="409" y="985"/>
                  <a:pt x="454" y="985"/>
                </a:cubicBezTo>
                <a:cubicBezTo>
                  <a:pt x="498" y="985"/>
                  <a:pt x="535" y="1021"/>
                  <a:pt x="535" y="1066"/>
                </a:cubicBezTo>
                <a:close/>
              </a:path>
            </a:pathLst>
          </a:custGeom>
          <a:solidFill>
            <a:schemeClr val="accent4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3039428" y="1868488"/>
            <a:ext cx="1747837" cy="889000"/>
          </a:xfrm>
          <a:custGeom>
            <a:avLst/>
            <a:gdLst>
              <a:gd name="T0" fmla="*/ 1635 w 1752"/>
              <a:gd name="T1" fmla="*/ 526 h 891"/>
              <a:gd name="T2" fmla="*/ 1545 w 1752"/>
              <a:gd name="T3" fmla="*/ 568 h 891"/>
              <a:gd name="T4" fmla="*/ 1545 w 1752"/>
              <a:gd name="T5" fmla="*/ 391 h 891"/>
              <a:gd name="T6" fmla="*/ 625 w 1752"/>
              <a:gd name="T7" fmla="*/ 391 h 891"/>
              <a:gd name="T8" fmla="*/ 553 w 1752"/>
              <a:gd name="T9" fmla="*/ 73 h 891"/>
              <a:gd name="T10" fmla="*/ 553 w 1752"/>
              <a:gd name="T11" fmla="*/ 65 h 891"/>
              <a:gd name="T12" fmla="*/ 481 w 1752"/>
              <a:gd name="T13" fmla="*/ 0 h 891"/>
              <a:gd name="T14" fmla="*/ 73 w 1752"/>
              <a:gd name="T15" fmla="*/ 0 h 891"/>
              <a:gd name="T16" fmla="*/ 0 w 1752"/>
              <a:gd name="T17" fmla="*/ 73 h 891"/>
              <a:gd name="T18" fmla="*/ 73 w 1752"/>
              <a:gd name="T19" fmla="*/ 145 h 891"/>
              <a:gd name="T20" fmla="*/ 424 w 1752"/>
              <a:gd name="T21" fmla="*/ 145 h 891"/>
              <a:gd name="T22" fmla="*/ 593 w 1752"/>
              <a:gd name="T23" fmla="*/ 891 h 891"/>
              <a:gd name="T24" fmla="*/ 1024 w 1752"/>
              <a:gd name="T25" fmla="*/ 891 h 891"/>
              <a:gd name="T26" fmla="*/ 983 w 1752"/>
              <a:gd name="T27" fmla="*/ 803 h 891"/>
              <a:gd name="T28" fmla="*/ 1100 w 1752"/>
              <a:gd name="T29" fmla="*/ 687 h 891"/>
              <a:gd name="T30" fmla="*/ 1216 w 1752"/>
              <a:gd name="T31" fmla="*/ 803 h 891"/>
              <a:gd name="T32" fmla="*/ 1176 w 1752"/>
              <a:gd name="T33" fmla="*/ 891 h 891"/>
              <a:gd name="T34" fmla="*/ 1545 w 1752"/>
              <a:gd name="T35" fmla="*/ 891 h 891"/>
              <a:gd name="T36" fmla="*/ 1545 w 1752"/>
              <a:gd name="T37" fmla="*/ 716 h 891"/>
              <a:gd name="T38" fmla="*/ 1635 w 1752"/>
              <a:gd name="T39" fmla="*/ 759 h 891"/>
              <a:gd name="T40" fmla="*/ 1752 w 1752"/>
              <a:gd name="T41" fmla="*/ 642 h 891"/>
              <a:gd name="T42" fmla="*/ 1635 w 1752"/>
              <a:gd name="T43" fmla="*/ 526 h 8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52" h="891">
                <a:moveTo>
                  <a:pt x="1635" y="526"/>
                </a:moveTo>
                <a:cubicBezTo>
                  <a:pt x="1599" y="526"/>
                  <a:pt x="1567" y="542"/>
                  <a:pt x="1545" y="568"/>
                </a:cubicBezTo>
                <a:cubicBezTo>
                  <a:pt x="1545" y="391"/>
                  <a:pt x="1545" y="391"/>
                  <a:pt x="1545" y="391"/>
                </a:cubicBezTo>
                <a:cubicBezTo>
                  <a:pt x="625" y="391"/>
                  <a:pt x="625" y="391"/>
                  <a:pt x="625" y="391"/>
                </a:cubicBezTo>
                <a:cubicBezTo>
                  <a:pt x="553" y="73"/>
                  <a:pt x="553" y="73"/>
                  <a:pt x="553" y="73"/>
                </a:cubicBezTo>
                <a:cubicBezTo>
                  <a:pt x="553" y="70"/>
                  <a:pt x="553" y="68"/>
                  <a:pt x="553" y="65"/>
                </a:cubicBezTo>
                <a:cubicBezTo>
                  <a:pt x="549" y="29"/>
                  <a:pt x="518" y="0"/>
                  <a:pt x="481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33" y="0"/>
                  <a:pt x="0" y="33"/>
                  <a:pt x="0" y="73"/>
                </a:cubicBezTo>
                <a:cubicBezTo>
                  <a:pt x="0" y="113"/>
                  <a:pt x="33" y="145"/>
                  <a:pt x="73" y="145"/>
                </a:cubicBezTo>
                <a:cubicBezTo>
                  <a:pt x="424" y="145"/>
                  <a:pt x="424" y="145"/>
                  <a:pt x="424" y="145"/>
                </a:cubicBezTo>
                <a:cubicBezTo>
                  <a:pt x="593" y="891"/>
                  <a:pt x="593" y="891"/>
                  <a:pt x="593" y="891"/>
                </a:cubicBezTo>
                <a:cubicBezTo>
                  <a:pt x="1024" y="891"/>
                  <a:pt x="1024" y="891"/>
                  <a:pt x="1024" y="891"/>
                </a:cubicBezTo>
                <a:cubicBezTo>
                  <a:pt x="999" y="870"/>
                  <a:pt x="983" y="839"/>
                  <a:pt x="983" y="803"/>
                </a:cubicBezTo>
                <a:cubicBezTo>
                  <a:pt x="983" y="739"/>
                  <a:pt x="1035" y="687"/>
                  <a:pt x="1100" y="687"/>
                </a:cubicBezTo>
                <a:cubicBezTo>
                  <a:pt x="1164" y="687"/>
                  <a:pt x="1216" y="739"/>
                  <a:pt x="1216" y="803"/>
                </a:cubicBezTo>
                <a:cubicBezTo>
                  <a:pt x="1216" y="839"/>
                  <a:pt x="1201" y="870"/>
                  <a:pt x="1176" y="891"/>
                </a:cubicBezTo>
                <a:cubicBezTo>
                  <a:pt x="1545" y="891"/>
                  <a:pt x="1545" y="891"/>
                  <a:pt x="1545" y="891"/>
                </a:cubicBezTo>
                <a:cubicBezTo>
                  <a:pt x="1545" y="716"/>
                  <a:pt x="1545" y="716"/>
                  <a:pt x="1545" y="716"/>
                </a:cubicBezTo>
                <a:cubicBezTo>
                  <a:pt x="1567" y="742"/>
                  <a:pt x="1599" y="759"/>
                  <a:pt x="1635" y="759"/>
                </a:cubicBezTo>
                <a:cubicBezTo>
                  <a:pt x="1699" y="759"/>
                  <a:pt x="1752" y="707"/>
                  <a:pt x="1752" y="642"/>
                </a:cubicBezTo>
                <a:cubicBezTo>
                  <a:pt x="1752" y="578"/>
                  <a:pt x="1699" y="526"/>
                  <a:pt x="1635" y="526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3725" y="2041747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93779" y="1859839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892859" y="1959175"/>
            <a:ext cx="932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93725" y="3167100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3779" y="2985192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2892859" y="3084528"/>
            <a:ext cx="72187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438994" y="2541884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39048" y="2359976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38994" y="3681052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439048" y="3499144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5588000" y="2448125"/>
            <a:ext cx="65325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413375" y="3593944"/>
            <a:ext cx="82788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eform 240">
            <a:extLst>
              <a:ext uri="{FF2B5EF4-FFF2-40B4-BE49-F238E27FC236}">
                <a16:creationId xmlns:a16="http://schemas.microsoft.com/office/drawing/2014/main" id="{EB35F0D0-46C5-48AE-9403-5C43DC65060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78732" y="2318717"/>
            <a:ext cx="226702" cy="198365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" name="Freeform 241">
            <a:extLst>
              <a:ext uri="{FF2B5EF4-FFF2-40B4-BE49-F238E27FC236}">
                <a16:creationId xmlns:a16="http://schemas.microsoft.com/office/drawing/2014/main" id="{EDA68C19-F9EB-4173-84AB-ADF614D2BA0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28665" y="2394047"/>
            <a:ext cx="304256" cy="201158"/>
          </a:xfrm>
          <a:custGeom>
            <a:avLst/>
            <a:gdLst>
              <a:gd name="T0" fmla="*/ 167 w 182"/>
              <a:gd name="T1" fmla="*/ 103 h 121"/>
              <a:gd name="T2" fmla="*/ 182 w 182"/>
              <a:gd name="T3" fmla="*/ 103 h 121"/>
              <a:gd name="T4" fmla="*/ 182 w 182"/>
              <a:gd name="T5" fmla="*/ 112 h 121"/>
              <a:gd name="T6" fmla="*/ 178 w 182"/>
              <a:gd name="T7" fmla="*/ 119 h 121"/>
              <a:gd name="T8" fmla="*/ 167 w 182"/>
              <a:gd name="T9" fmla="*/ 121 h 121"/>
              <a:gd name="T10" fmla="*/ 16 w 182"/>
              <a:gd name="T11" fmla="*/ 121 h 121"/>
              <a:gd name="T12" fmla="*/ 5 w 182"/>
              <a:gd name="T13" fmla="*/ 119 h 121"/>
              <a:gd name="T14" fmla="*/ 0 w 182"/>
              <a:gd name="T15" fmla="*/ 112 h 121"/>
              <a:gd name="T16" fmla="*/ 0 w 182"/>
              <a:gd name="T17" fmla="*/ 103 h 121"/>
              <a:gd name="T18" fmla="*/ 16 w 182"/>
              <a:gd name="T19" fmla="*/ 103 h 121"/>
              <a:gd name="T20" fmla="*/ 167 w 182"/>
              <a:gd name="T21" fmla="*/ 103 h 121"/>
              <a:gd name="T22" fmla="*/ 40 w 182"/>
              <a:gd name="T23" fmla="*/ 97 h 121"/>
              <a:gd name="T24" fmla="*/ 29 w 182"/>
              <a:gd name="T25" fmla="*/ 93 h 121"/>
              <a:gd name="T26" fmla="*/ 25 w 182"/>
              <a:gd name="T27" fmla="*/ 82 h 121"/>
              <a:gd name="T28" fmla="*/ 25 w 182"/>
              <a:gd name="T29" fmla="*/ 16 h 121"/>
              <a:gd name="T30" fmla="*/ 29 w 182"/>
              <a:gd name="T31" fmla="*/ 5 h 121"/>
              <a:gd name="T32" fmla="*/ 40 w 182"/>
              <a:gd name="T33" fmla="*/ 0 h 121"/>
              <a:gd name="T34" fmla="*/ 143 w 182"/>
              <a:gd name="T35" fmla="*/ 0 h 121"/>
              <a:gd name="T36" fmla="*/ 153 w 182"/>
              <a:gd name="T37" fmla="*/ 5 h 121"/>
              <a:gd name="T38" fmla="*/ 158 w 182"/>
              <a:gd name="T39" fmla="*/ 16 h 121"/>
              <a:gd name="T40" fmla="*/ 158 w 182"/>
              <a:gd name="T41" fmla="*/ 82 h 121"/>
              <a:gd name="T42" fmla="*/ 153 w 182"/>
              <a:gd name="T43" fmla="*/ 93 h 121"/>
              <a:gd name="T44" fmla="*/ 143 w 182"/>
              <a:gd name="T45" fmla="*/ 97 h 121"/>
              <a:gd name="T46" fmla="*/ 40 w 182"/>
              <a:gd name="T47" fmla="*/ 97 h 121"/>
              <a:gd name="T48" fmla="*/ 37 w 182"/>
              <a:gd name="T49" fmla="*/ 16 h 121"/>
              <a:gd name="T50" fmla="*/ 37 w 182"/>
              <a:gd name="T51" fmla="*/ 82 h 121"/>
              <a:gd name="T52" fmla="*/ 38 w 182"/>
              <a:gd name="T53" fmla="*/ 84 h 121"/>
              <a:gd name="T54" fmla="*/ 40 w 182"/>
              <a:gd name="T55" fmla="*/ 85 h 121"/>
              <a:gd name="T56" fmla="*/ 143 w 182"/>
              <a:gd name="T57" fmla="*/ 85 h 121"/>
              <a:gd name="T58" fmla="*/ 145 w 182"/>
              <a:gd name="T59" fmla="*/ 84 h 121"/>
              <a:gd name="T60" fmla="*/ 146 w 182"/>
              <a:gd name="T61" fmla="*/ 82 h 121"/>
              <a:gd name="T62" fmla="*/ 146 w 182"/>
              <a:gd name="T63" fmla="*/ 16 h 121"/>
              <a:gd name="T64" fmla="*/ 145 w 182"/>
              <a:gd name="T65" fmla="*/ 13 h 121"/>
              <a:gd name="T66" fmla="*/ 143 w 182"/>
              <a:gd name="T67" fmla="*/ 13 h 121"/>
              <a:gd name="T68" fmla="*/ 40 w 182"/>
              <a:gd name="T69" fmla="*/ 13 h 121"/>
              <a:gd name="T70" fmla="*/ 38 w 182"/>
              <a:gd name="T71" fmla="*/ 13 h 121"/>
              <a:gd name="T72" fmla="*/ 37 w 182"/>
              <a:gd name="T73" fmla="*/ 16 h 121"/>
              <a:gd name="T74" fmla="*/ 99 w 182"/>
              <a:gd name="T75" fmla="*/ 112 h 121"/>
              <a:gd name="T76" fmla="*/ 100 w 182"/>
              <a:gd name="T77" fmla="*/ 111 h 121"/>
              <a:gd name="T78" fmla="*/ 99 w 182"/>
              <a:gd name="T79" fmla="*/ 109 h 121"/>
              <a:gd name="T80" fmla="*/ 84 w 182"/>
              <a:gd name="T81" fmla="*/ 109 h 121"/>
              <a:gd name="T82" fmla="*/ 82 w 182"/>
              <a:gd name="T83" fmla="*/ 111 h 121"/>
              <a:gd name="T84" fmla="*/ 84 w 182"/>
              <a:gd name="T85" fmla="*/ 112 h 121"/>
              <a:gd name="T86" fmla="*/ 99 w 182"/>
              <a:gd name="T87" fmla="*/ 112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2" h="121">
                <a:moveTo>
                  <a:pt x="167" y="103"/>
                </a:moveTo>
                <a:cubicBezTo>
                  <a:pt x="182" y="103"/>
                  <a:pt x="182" y="103"/>
                  <a:pt x="182" y="103"/>
                </a:cubicBezTo>
                <a:cubicBezTo>
                  <a:pt x="182" y="112"/>
                  <a:pt x="182" y="112"/>
                  <a:pt x="182" y="112"/>
                </a:cubicBezTo>
                <a:cubicBezTo>
                  <a:pt x="182" y="115"/>
                  <a:pt x="180" y="117"/>
                  <a:pt x="178" y="119"/>
                </a:cubicBezTo>
                <a:cubicBezTo>
                  <a:pt x="175" y="121"/>
                  <a:pt x="171" y="121"/>
                  <a:pt x="167" y="121"/>
                </a:cubicBezTo>
                <a:cubicBezTo>
                  <a:pt x="16" y="121"/>
                  <a:pt x="16" y="121"/>
                  <a:pt x="16" y="121"/>
                </a:cubicBezTo>
                <a:cubicBezTo>
                  <a:pt x="11" y="121"/>
                  <a:pt x="8" y="121"/>
                  <a:pt x="5" y="119"/>
                </a:cubicBezTo>
                <a:cubicBezTo>
                  <a:pt x="2" y="117"/>
                  <a:pt x="0" y="115"/>
                  <a:pt x="0" y="112"/>
                </a:cubicBezTo>
                <a:cubicBezTo>
                  <a:pt x="0" y="103"/>
                  <a:pt x="0" y="103"/>
                  <a:pt x="0" y="103"/>
                </a:cubicBezTo>
                <a:cubicBezTo>
                  <a:pt x="16" y="103"/>
                  <a:pt x="16" y="103"/>
                  <a:pt x="16" y="103"/>
                </a:cubicBezTo>
                <a:lnTo>
                  <a:pt x="167" y="103"/>
                </a:lnTo>
                <a:close/>
                <a:moveTo>
                  <a:pt x="40" y="97"/>
                </a:moveTo>
                <a:cubicBezTo>
                  <a:pt x="36" y="97"/>
                  <a:pt x="32" y="96"/>
                  <a:pt x="29" y="93"/>
                </a:cubicBezTo>
                <a:cubicBezTo>
                  <a:pt x="26" y="90"/>
                  <a:pt x="25" y="86"/>
                  <a:pt x="25" y="82"/>
                </a:cubicBezTo>
                <a:cubicBezTo>
                  <a:pt x="25" y="16"/>
                  <a:pt x="25" y="16"/>
                  <a:pt x="25" y="16"/>
                </a:cubicBezTo>
                <a:cubicBezTo>
                  <a:pt x="25" y="11"/>
                  <a:pt x="26" y="8"/>
                  <a:pt x="29" y="5"/>
                </a:cubicBezTo>
                <a:cubicBezTo>
                  <a:pt x="32" y="2"/>
                  <a:pt x="36" y="0"/>
                  <a:pt x="40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7" y="0"/>
                  <a:pt x="150" y="2"/>
                  <a:pt x="153" y="5"/>
                </a:cubicBezTo>
                <a:cubicBezTo>
                  <a:pt x="156" y="8"/>
                  <a:pt x="158" y="11"/>
                  <a:pt x="158" y="16"/>
                </a:cubicBezTo>
                <a:cubicBezTo>
                  <a:pt x="158" y="82"/>
                  <a:pt x="158" y="82"/>
                  <a:pt x="158" y="82"/>
                </a:cubicBezTo>
                <a:cubicBezTo>
                  <a:pt x="158" y="86"/>
                  <a:pt x="156" y="90"/>
                  <a:pt x="153" y="93"/>
                </a:cubicBezTo>
                <a:cubicBezTo>
                  <a:pt x="150" y="96"/>
                  <a:pt x="147" y="97"/>
                  <a:pt x="143" y="97"/>
                </a:cubicBezTo>
                <a:lnTo>
                  <a:pt x="40" y="97"/>
                </a:lnTo>
                <a:close/>
                <a:moveTo>
                  <a:pt x="37" y="16"/>
                </a:moveTo>
                <a:cubicBezTo>
                  <a:pt x="37" y="82"/>
                  <a:pt x="37" y="82"/>
                  <a:pt x="37" y="82"/>
                </a:cubicBezTo>
                <a:cubicBezTo>
                  <a:pt x="37" y="83"/>
                  <a:pt x="37" y="84"/>
                  <a:pt x="38" y="84"/>
                </a:cubicBezTo>
                <a:cubicBezTo>
                  <a:pt x="38" y="85"/>
                  <a:pt x="39" y="85"/>
                  <a:pt x="40" y="85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3" y="85"/>
                  <a:pt x="144" y="85"/>
                  <a:pt x="145" y="84"/>
                </a:cubicBezTo>
                <a:cubicBezTo>
                  <a:pt x="145" y="84"/>
                  <a:pt x="146" y="83"/>
                  <a:pt x="146" y="82"/>
                </a:cubicBezTo>
                <a:cubicBezTo>
                  <a:pt x="146" y="16"/>
                  <a:pt x="146" y="16"/>
                  <a:pt x="146" y="16"/>
                </a:cubicBezTo>
                <a:cubicBezTo>
                  <a:pt x="146" y="15"/>
                  <a:pt x="145" y="14"/>
                  <a:pt x="145" y="13"/>
                </a:cubicBezTo>
                <a:cubicBezTo>
                  <a:pt x="144" y="13"/>
                  <a:pt x="143" y="13"/>
                  <a:pt x="143" y="13"/>
                </a:cubicBezTo>
                <a:cubicBezTo>
                  <a:pt x="40" y="13"/>
                  <a:pt x="40" y="13"/>
                  <a:pt x="40" y="13"/>
                </a:cubicBezTo>
                <a:cubicBezTo>
                  <a:pt x="39" y="13"/>
                  <a:pt x="38" y="13"/>
                  <a:pt x="38" y="13"/>
                </a:cubicBezTo>
                <a:cubicBezTo>
                  <a:pt x="37" y="14"/>
                  <a:pt x="37" y="15"/>
                  <a:pt x="37" y="16"/>
                </a:cubicBezTo>
                <a:close/>
                <a:moveTo>
                  <a:pt x="99" y="112"/>
                </a:moveTo>
                <a:cubicBezTo>
                  <a:pt x="100" y="112"/>
                  <a:pt x="100" y="112"/>
                  <a:pt x="100" y="111"/>
                </a:cubicBezTo>
                <a:cubicBezTo>
                  <a:pt x="100" y="110"/>
                  <a:pt x="100" y="109"/>
                  <a:pt x="99" y="109"/>
                </a:cubicBezTo>
                <a:cubicBezTo>
                  <a:pt x="84" y="109"/>
                  <a:pt x="84" y="109"/>
                  <a:pt x="84" y="109"/>
                </a:cubicBezTo>
                <a:cubicBezTo>
                  <a:pt x="83" y="109"/>
                  <a:pt x="82" y="110"/>
                  <a:pt x="82" y="111"/>
                </a:cubicBezTo>
                <a:cubicBezTo>
                  <a:pt x="82" y="112"/>
                  <a:pt x="83" y="112"/>
                  <a:pt x="84" y="112"/>
                </a:cubicBezTo>
                <a:lnTo>
                  <a:pt x="99" y="1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" name="Freeform 242">
            <a:extLst>
              <a:ext uri="{FF2B5EF4-FFF2-40B4-BE49-F238E27FC236}">
                <a16:creationId xmlns:a16="http://schemas.microsoft.com/office/drawing/2014/main" id="{867A7178-2CD3-4AF4-AA27-913645757A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6665" y="2942734"/>
            <a:ext cx="201915" cy="243405"/>
          </a:xfrm>
          <a:custGeom>
            <a:avLst/>
            <a:gdLst>
              <a:gd name="T0" fmla="*/ 109 w 109"/>
              <a:gd name="T1" fmla="*/ 15 h 133"/>
              <a:gd name="T2" fmla="*/ 109 w 109"/>
              <a:gd name="T3" fmla="*/ 118 h 133"/>
              <a:gd name="T4" fmla="*/ 104 w 109"/>
              <a:gd name="T5" fmla="*/ 129 h 133"/>
              <a:gd name="T6" fmla="*/ 94 w 109"/>
              <a:gd name="T7" fmla="*/ 133 h 133"/>
              <a:gd name="T8" fmla="*/ 15 w 109"/>
              <a:gd name="T9" fmla="*/ 133 h 133"/>
              <a:gd name="T10" fmla="*/ 4 w 109"/>
              <a:gd name="T11" fmla="*/ 129 h 133"/>
              <a:gd name="T12" fmla="*/ 0 w 109"/>
              <a:gd name="T13" fmla="*/ 118 h 133"/>
              <a:gd name="T14" fmla="*/ 0 w 109"/>
              <a:gd name="T15" fmla="*/ 15 h 133"/>
              <a:gd name="T16" fmla="*/ 4 w 109"/>
              <a:gd name="T17" fmla="*/ 5 h 133"/>
              <a:gd name="T18" fmla="*/ 15 w 109"/>
              <a:gd name="T19" fmla="*/ 0 h 133"/>
              <a:gd name="T20" fmla="*/ 94 w 109"/>
              <a:gd name="T21" fmla="*/ 0 h 133"/>
              <a:gd name="T22" fmla="*/ 104 w 109"/>
              <a:gd name="T23" fmla="*/ 5 h 133"/>
              <a:gd name="T24" fmla="*/ 109 w 109"/>
              <a:gd name="T25" fmla="*/ 15 h 133"/>
              <a:gd name="T26" fmla="*/ 97 w 109"/>
              <a:gd name="T27" fmla="*/ 106 h 133"/>
              <a:gd name="T28" fmla="*/ 97 w 109"/>
              <a:gd name="T29" fmla="*/ 15 h 133"/>
              <a:gd name="T30" fmla="*/ 96 w 109"/>
              <a:gd name="T31" fmla="*/ 13 h 133"/>
              <a:gd name="T32" fmla="*/ 94 w 109"/>
              <a:gd name="T33" fmla="*/ 12 h 133"/>
              <a:gd name="T34" fmla="*/ 15 w 109"/>
              <a:gd name="T35" fmla="*/ 12 h 133"/>
              <a:gd name="T36" fmla="*/ 13 w 109"/>
              <a:gd name="T37" fmla="*/ 13 h 133"/>
              <a:gd name="T38" fmla="*/ 12 w 109"/>
              <a:gd name="T39" fmla="*/ 15 h 133"/>
              <a:gd name="T40" fmla="*/ 12 w 109"/>
              <a:gd name="T41" fmla="*/ 106 h 133"/>
              <a:gd name="T42" fmla="*/ 13 w 109"/>
              <a:gd name="T43" fmla="*/ 108 h 133"/>
              <a:gd name="T44" fmla="*/ 15 w 109"/>
              <a:gd name="T45" fmla="*/ 109 h 133"/>
              <a:gd name="T46" fmla="*/ 94 w 109"/>
              <a:gd name="T47" fmla="*/ 109 h 133"/>
              <a:gd name="T48" fmla="*/ 96 w 109"/>
              <a:gd name="T49" fmla="*/ 108 h 133"/>
              <a:gd name="T50" fmla="*/ 97 w 109"/>
              <a:gd name="T51" fmla="*/ 106 h 133"/>
              <a:gd name="T52" fmla="*/ 59 w 109"/>
              <a:gd name="T53" fmla="*/ 126 h 133"/>
              <a:gd name="T54" fmla="*/ 60 w 109"/>
              <a:gd name="T55" fmla="*/ 121 h 133"/>
              <a:gd name="T56" fmla="*/ 59 w 109"/>
              <a:gd name="T57" fmla="*/ 117 h 133"/>
              <a:gd name="T58" fmla="*/ 54 w 109"/>
              <a:gd name="T59" fmla="*/ 115 h 133"/>
              <a:gd name="T60" fmla="*/ 50 w 109"/>
              <a:gd name="T61" fmla="*/ 117 h 133"/>
              <a:gd name="T62" fmla="*/ 48 w 109"/>
              <a:gd name="T63" fmla="*/ 121 h 133"/>
              <a:gd name="T64" fmla="*/ 50 w 109"/>
              <a:gd name="T65" fmla="*/ 126 h 133"/>
              <a:gd name="T66" fmla="*/ 54 w 109"/>
              <a:gd name="T67" fmla="*/ 127 h 133"/>
              <a:gd name="T68" fmla="*/ 59 w 109"/>
              <a:gd name="T69" fmla="*/ 12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9" h="133">
                <a:moveTo>
                  <a:pt x="109" y="15"/>
                </a:moveTo>
                <a:cubicBezTo>
                  <a:pt x="109" y="118"/>
                  <a:pt x="109" y="118"/>
                  <a:pt x="109" y="118"/>
                </a:cubicBezTo>
                <a:cubicBezTo>
                  <a:pt x="109" y="122"/>
                  <a:pt x="107" y="126"/>
                  <a:pt x="104" y="129"/>
                </a:cubicBezTo>
                <a:cubicBezTo>
                  <a:pt x="101" y="132"/>
                  <a:pt x="98" y="133"/>
                  <a:pt x="94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8" y="0"/>
                  <a:pt x="101" y="2"/>
                  <a:pt x="104" y="5"/>
                </a:cubicBezTo>
                <a:cubicBezTo>
                  <a:pt x="107" y="8"/>
                  <a:pt x="109" y="11"/>
                  <a:pt x="109" y="15"/>
                </a:cubicBezTo>
                <a:close/>
                <a:moveTo>
                  <a:pt x="97" y="106"/>
                </a:moveTo>
                <a:cubicBezTo>
                  <a:pt x="97" y="15"/>
                  <a:pt x="97" y="15"/>
                  <a:pt x="97" y="15"/>
                </a:cubicBezTo>
                <a:cubicBezTo>
                  <a:pt x="97" y="15"/>
                  <a:pt x="96" y="14"/>
                  <a:pt x="96" y="13"/>
                </a:cubicBezTo>
                <a:cubicBezTo>
                  <a:pt x="95" y="13"/>
                  <a:pt x="95" y="12"/>
                  <a:pt x="94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07"/>
                  <a:pt x="12" y="108"/>
                  <a:pt x="13" y="108"/>
                </a:cubicBezTo>
                <a:cubicBezTo>
                  <a:pt x="14" y="109"/>
                  <a:pt x="14" y="109"/>
                  <a:pt x="15" y="109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5" y="109"/>
                  <a:pt x="95" y="109"/>
                  <a:pt x="96" y="108"/>
                </a:cubicBezTo>
                <a:cubicBezTo>
                  <a:pt x="96" y="108"/>
                  <a:pt x="97" y="107"/>
                  <a:pt x="97" y="106"/>
                </a:cubicBezTo>
                <a:close/>
                <a:moveTo>
                  <a:pt x="59" y="126"/>
                </a:moveTo>
                <a:cubicBezTo>
                  <a:pt x="60" y="124"/>
                  <a:pt x="60" y="123"/>
                  <a:pt x="60" y="121"/>
                </a:cubicBezTo>
                <a:cubicBezTo>
                  <a:pt x="60" y="120"/>
                  <a:pt x="60" y="118"/>
                  <a:pt x="59" y="117"/>
                </a:cubicBezTo>
                <a:cubicBezTo>
                  <a:pt x="57" y="116"/>
                  <a:pt x="56" y="115"/>
                  <a:pt x="54" y="115"/>
                </a:cubicBezTo>
                <a:cubicBezTo>
                  <a:pt x="53" y="115"/>
                  <a:pt x="51" y="116"/>
                  <a:pt x="50" y="117"/>
                </a:cubicBezTo>
                <a:cubicBezTo>
                  <a:pt x="49" y="118"/>
                  <a:pt x="48" y="120"/>
                  <a:pt x="48" y="121"/>
                </a:cubicBezTo>
                <a:cubicBezTo>
                  <a:pt x="48" y="123"/>
                  <a:pt x="49" y="124"/>
                  <a:pt x="50" y="126"/>
                </a:cubicBezTo>
                <a:cubicBezTo>
                  <a:pt x="51" y="127"/>
                  <a:pt x="53" y="127"/>
                  <a:pt x="54" y="127"/>
                </a:cubicBezTo>
                <a:cubicBezTo>
                  <a:pt x="56" y="127"/>
                  <a:pt x="57" y="127"/>
                  <a:pt x="59" y="1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" name="Freeform 243">
            <a:extLst>
              <a:ext uri="{FF2B5EF4-FFF2-40B4-BE49-F238E27FC236}">
                <a16:creationId xmlns:a16="http://schemas.microsoft.com/office/drawing/2014/main" id="{A5640908-10E9-449C-98FF-D9CA379D2F8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870358" y="3026662"/>
            <a:ext cx="130000" cy="221274"/>
          </a:xfrm>
          <a:custGeom>
            <a:avLst/>
            <a:gdLst>
              <a:gd name="T0" fmla="*/ 72 w 72"/>
              <a:gd name="T1" fmla="*/ 13 h 121"/>
              <a:gd name="T2" fmla="*/ 72 w 72"/>
              <a:gd name="T3" fmla="*/ 109 h 121"/>
              <a:gd name="T4" fmla="*/ 69 w 72"/>
              <a:gd name="T5" fmla="*/ 118 h 121"/>
              <a:gd name="T6" fmla="*/ 60 w 72"/>
              <a:gd name="T7" fmla="*/ 121 h 121"/>
              <a:gd name="T8" fmla="*/ 12 w 72"/>
              <a:gd name="T9" fmla="*/ 121 h 121"/>
              <a:gd name="T10" fmla="*/ 3 w 72"/>
              <a:gd name="T11" fmla="*/ 118 h 121"/>
              <a:gd name="T12" fmla="*/ 0 w 72"/>
              <a:gd name="T13" fmla="*/ 109 h 121"/>
              <a:gd name="T14" fmla="*/ 0 w 72"/>
              <a:gd name="T15" fmla="*/ 13 h 121"/>
              <a:gd name="T16" fmla="*/ 3 w 72"/>
              <a:gd name="T17" fmla="*/ 4 h 121"/>
              <a:gd name="T18" fmla="*/ 12 w 72"/>
              <a:gd name="T19" fmla="*/ 0 h 121"/>
              <a:gd name="T20" fmla="*/ 60 w 72"/>
              <a:gd name="T21" fmla="*/ 0 h 121"/>
              <a:gd name="T22" fmla="*/ 69 w 72"/>
              <a:gd name="T23" fmla="*/ 4 h 121"/>
              <a:gd name="T24" fmla="*/ 72 w 72"/>
              <a:gd name="T25" fmla="*/ 13 h 121"/>
              <a:gd name="T26" fmla="*/ 63 w 72"/>
              <a:gd name="T27" fmla="*/ 94 h 121"/>
              <a:gd name="T28" fmla="*/ 63 w 72"/>
              <a:gd name="T29" fmla="*/ 28 h 121"/>
              <a:gd name="T30" fmla="*/ 62 w 72"/>
              <a:gd name="T31" fmla="*/ 26 h 121"/>
              <a:gd name="T32" fmla="*/ 60 w 72"/>
              <a:gd name="T33" fmla="*/ 25 h 121"/>
              <a:gd name="T34" fmla="*/ 12 w 72"/>
              <a:gd name="T35" fmla="*/ 25 h 121"/>
              <a:gd name="T36" fmla="*/ 10 w 72"/>
              <a:gd name="T37" fmla="*/ 26 h 121"/>
              <a:gd name="T38" fmla="*/ 9 w 72"/>
              <a:gd name="T39" fmla="*/ 28 h 121"/>
              <a:gd name="T40" fmla="*/ 9 w 72"/>
              <a:gd name="T41" fmla="*/ 94 h 121"/>
              <a:gd name="T42" fmla="*/ 10 w 72"/>
              <a:gd name="T43" fmla="*/ 96 h 121"/>
              <a:gd name="T44" fmla="*/ 12 w 72"/>
              <a:gd name="T45" fmla="*/ 97 h 121"/>
              <a:gd name="T46" fmla="*/ 60 w 72"/>
              <a:gd name="T47" fmla="*/ 97 h 121"/>
              <a:gd name="T48" fmla="*/ 62 w 72"/>
              <a:gd name="T49" fmla="*/ 96 h 121"/>
              <a:gd name="T50" fmla="*/ 63 w 72"/>
              <a:gd name="T51" fmla="*/ 94 h 121"/>
              <a:gd name="T52" fmla="*/ 45 w 72"/>
              <a:gd name="T53" fmla="*/ 14 h 121"/>
              <a:gd name="T54" fmla="*/ 44 w 72"/>
              <a:gd name="T55" fmla="*/ 13 h 121"/>
              <a:gd name="T56" fmla="*/ 29 w 72"/>
              <a:gd name="T57" fmla="*/ 13 h 121"/>
              <a:gd name="T58" fmla="*/ 27 w 72"/>
              <a:gd name="T59" fmla="*/ 14 h 121"/>
              <a:gd name="T60" fmla="*/ 29 w 72"/>
              <a:gd name="T61" fmla="*/ 16 h 121"/>
              <a:gd name="T62" fmla="*/ 44 w 72"/>
              <a:gd name="T63" fmla="*/ 16 h 121"/>
              <a:gd name="T64" fmla="*/ 45 w 72"/>
              <a:gd name="T65" fmla="*/ 14 h 121"/>
              <a:gd name="T66" fmla="*/ 41 w 72"/>
              <a:gd name="T67" fmla="*/ 115 h 121"/>
              <a:gd name="T68" fmla="*/ 44 w 72"/>
              <a:gd name="T69" fmla="*/ 109 h 121"/>
              <a:gd name="T70" fmla="*/ 41 w 72"/>
              <a:gd name="T71" fmla="*/ 104 h 121"/>
              <a:gd name="T72" fmla="*/ 36 w 72"/>
              <a:gd name="T73" fmla="*/ 102 h 121"/>
              <a:gd name="T74" fmla="*/ 31 w 72"/>
              <a:gd name="T75" fmla="*/ 104 h 121"/>
              <a:gd name="T76" fmla="*/ 29 w 72"/>
              <a:gd name="T77" fmla="*/ 109 h 121"/>
              <a:gd name="T78" fmla="*/ 31 w 72"/>
              <a:gd name="T79" fmla="*/ 115 h 121"/>
              <a:gd name="T80" fmla="*/ 36 w 72"/>
              <a:gd name="T81" fmla="*/ 117 h 121"/>
              <a:gd name="T82" fmla="*/ 41 w 72"/>
              <a:gd name="T83" fmla="*/ 11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2" h="121">
                <a:moveTo>
                  <a:pt x="72" y="13"/>
                </a:moveTo>
                <a:cubicBezTo>
                  <a:pt x="72" y="109"/>
                  <a:pt x="72" y="109"/>
                  <a:pt x="72" y="109"/>
                </a:cubicBezTo>
                <a:cubicBezTo>
                  <a:pt x="72" y="113"/>
                  <a:pt x="71" y="115"/>
                  <a:pt x="69" y="118"/>
                </a:cubicBezTo>
                <a:cubicBezTo>
                  <a:pt x="66" y="120"/>
                  <a:pt x="64" y="121"/>
                  <a:pt x="60" y="12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9" y="121"/>
                  <a:pt x="6" y="120"/>
                  <a:pt x="3" y="118"/>
                </a:cubicBezTo>
                <a:cubicBezTo>
                  <a:pt x="1" y="115"/>
                  <a:pt x="0" y="113"/>
                  <a:pt x="0" y="10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2"/>
                  <a:pt x="69" y="4"/>
                </a:cubicBezTo>
                <a:cubicBezTo>
                  <a:pt x="71" y="6"/>
                  <a:pt x="72" y="9"/>
                  <a:pt x="72" y="13"/>
                </a:cubicBezTo>
                <a:close/>
                <a:moveTo>
                  <a:pt x="63" y="94"/>
                </a:moveTo>
                <a:cubicBezTo>
                  <a:pt x="63" y="28"/>
                  <a:pt x="63" y="28"/>
                  <a:pt x="63" y="28"/>
                </a:cubicBezTo>
                <a:cubicBezTo>
                  <a:pt x="63" y="27"/>
                  <a:pt x="63" y="26"/>
                  <a:pt x="62" y="26"/>
                </a:cubicBezTo>
                <a:cubicBezTo>
                  <a:pt x="62" y="25"/>
                  <a:pt x="61" y="25"/>
                  <a:pt x="60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11" y="25"/>
                  <a:pt x="10" y="25"/>
                  <a:pt x="10" y="26"/>
                </a:cubicBezTo>
                <a:cubicBezTo>
                  <a:pt x="9" y="26"/>
                  <a:pt x="9" y="27"/>
                  <a:pt x="9" y="28"/>
                </a:cubicBezTo>
                <a:cubicBezTo>
                  <a:pt x="9" y="94"/>
                  <a:pt x="9" y="94"/>
                  <a:pt x="9" y="94"/>
                </a:cubicBezTo>
                <a:cubicBezTo>
                  <a:pt x="9" y="95"/>
                  <a:pt x="9" y="96"/>
                  <a:pt x="10" y="96"/>
                </a:cubicBezTo>
                <a:cubicBezTo>
                  <a:pt x="10" y="97"/>
                  <a:pt x="11" y="97"/>
                  <a:pt x="12" y="97"/>
                </a:cubicBezTo>
                <a:cubicBezTo>
                  <a:pt x="60" y="97"/>
                  <a:pt x="60" y="97"/>
                  <a:pt x="60" y="97"/>
                </a:cubicBezTo>
                <a:cubicBezTo>
                  <a:pt x="61" y="97"/>
                  <a:pt x="62" y="97"/>
                  <a:pt x="62" y="96"/>
                </a:cubicBezTo>
                <a:cubicBezTo>
                  <a:pt x="63" y="96"/>
                  <a:pt x="63" y="95"/>
                  <a:pt x="63" y="94"/>
                </a:cubicBezTo>
                <a:close/>
                <a:moveTo>
                  <a:pt x="45" y="14"/>
                </a:moveTo>
                <a:cubicBezTo>
                  <a:pt x="45" y="13"/>
                  <a:pt x="45" y="13"/>
                  <a:pt x="44" y="13"/>
                </a:cubicBezTo>
                <a:cubicBezTo>
                  <a:pt x="29" y="13"/>
                  <a:pt x="29" y="13"/>
                  <a:pt x="29" y="13"/>
                </a:cubicBezTo>
                <a:cubicBezTo>
                  <a:pt x="28" y="13"/>
                  <a:pt x="27" y="13"/>
                  <a:pt x="27" y="14"/>
                </a:cubicBezTo>
                <a:cubicBezTo>
                  <a:pt x="27" y="15"/>
                  <a:pt x="28" y="16"/>
                  <a:pt x="29" y="16"/>
                </a:cubicBezTo>
                <a:cubicBezTo>
                  <a:pt x="44" y="16"/>
                  <a:pt x="44" y="16"/>
                  <a:pt x="44" y="16"/>
                </a:cubicBezTo>
                <a:cubicBezTo>
                  <a:pt x="45" y="16"/>
                  <a:pt x="45" y="15"/>
                  <a:pt x="45" y="14"/>
                </a:cubicBezTo>
                <a:close/>
                <a:moveTo>
                  <a:pt x="41" y="115"/>
                </a:moveTo>
                <a:cubicBezTo>
                  <a:pt x="43" y="113"/>
                  <a:pt x="44" y="111"/>
                  <a:pt x="44" y="109"/>
                </a:cubicBezTo>
                <a:cubicBezTo>
                  <a:pt x="44" y="107"/>
                  <a:pt x="43" y="105"/>
                  <a:pt x="41" y="104"/>
                </a:cubicBezTo>
                <a:cubicBezTo>
                  <a:pt x="40" y="103"/>
                  <a:pt x="38" y="102"/>
                  <a:pt x="36" y="102"/>
                </a:cubicBezTo>
                <a:cubicBezTo>
                  <a:pt x="34" y="102"/>
                  <a:pt x="32" y="103"/>
                  <a:pt x="31" y="104"/>
                </a:cubicBezTo>
                <a:cubicBezTo>
                  <a:pt x="29" y="105"/>
                  <a:pt x="29" y="107"/>
                  <a:pt x="29" y="109"/>
                </a:cubicBezTo>
                <a:cubicBezTo>
                  <a:pt x="29" y="111"/>
                  <a:pt x="29" y="113"/>
                  <a:pt x="31" y="115"/>
                </a:cubicBezTo>
                <a:cubicBezTo>
                  <a:pt x="32" y="116"/>
                  <a:pt x="34" y="117"/>
                  <a:pt x="36" y="117"/>
                </a:cubicBezTo>
                <a:cubicBezTo>
                  <a:pt x="38" y="117"/>
                  <a:pt x="40" y="116"/>
                  <a:pt x="41" y="1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6204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Puzzle ways </a:t>
            </a:r>
            <a:r>
              <a:rPr lang="en-US">
                <a:solidFill>
                  <a:schemeClr val="accent2"/>
                </a:solidFill>
              </a:rPr>
              <a:t>to be successfu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1" name="Group 20"/>
          <p:cNvGrpSpPr/>
          <p:nvPr/>
        </p:nvGrpSpPr>
        <p:grpSpPr>
          <a:xfrm>
            <a:off x="3271838" y="1543050"/>
            <a:ext cx="2600325" cy="2601913"/>
            <a:chOff x="3271838" y="1543050"/>
            <a:chExt cx="2600325" cy="2601913"/>
          </a:xfrm>
        </p:grpSpPr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4572000" y="1543050"/>
              <a:ext cx="1300163" cy="1447800"/>
            </a:xfrm>
            <a:custGeom>
              <a:avLst/>
              <a:gdLst>
                <a:gd name="T0" fmla="*/ 2213 w 2213"/>
                <a:gd name="T1" fmla="*/ 2213 h 2464"/>
                <a:gd name="T2" fmla="*/ 0 w 2213"/>
                <a:gd name="T3" fmla="*/ 0 h 2464"/>
                <a:gd name="T4" fmla="*/ 0 w 2213"/>
                <a:gd name="T5" fmla="*/ 245 h 2464"/>
                <a:gd name="T6" fmla="*/ 105 w 2213"/>
                <a:gd name="T7" fmla="*/ 200 h 2464"/>
                <a:gd name="T8" fmla="*/ 252 w 2213"/>
                <a:gd name="T9" fmla="*/ 346 h 2464"/>
                <a:gd name="T10" fmla="*/ 105 w 2213"/>
                <a:gd name="T11" fmla="*/ 493 h 2464"/>
                <a:gd name="T12" fmla="*/ 0 w 2213"/>
                <a:gd name="T13" fmla="*/ 448 h 2464"/>
                <a:gd name="T14" fmla="*/ 0 w 2213"/>
                <a:gd name="T15" fmla="*/ 692 h 2464"/>
                <a:gd name="T16" fmla="*/ 1521 w 2213"/>
                <a:gd name="T17" fmla="*/ 2213 h 2464"/>
                <a:gd name="T18" fmla="*/ 1764 w 2213"/>
                <a:gd name="T19" fmla="*/ 2213 h 2464"/>
                <a:gd name="T20" fmla="*/ 1720 w 2213"/>
                <a:gd name="T21" fmla="*/ 2318 h 2464"/>
                <a:gd name="T22" fmla="*/ 1867 w 2213"/>
                <a:gd name="T23" fmla="*/ 2464 h 2464"/>
                <a:gd name="T24" fmla="*/ 2013 w 2213"/>
                <a:gd name="T25" fmla="*/ 2318 h 2464"/>
                <a:gd name="T26" fmla="*/ 1969 w 2213"/>
                <a:gd name="T27" fmla="*/ 2213 h 2464"/>
                <a:gd name="T28" fmla="*/ 2213 w 2213"/>
                <a:gd name="T29" fmla="*/ 2213 h 2464"/>
                <a:gd name="T30" fmla="*/ 2213 w 2213"/>
                <a:gd name="T31" fmla="*/ 2213 h 2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13" h="2464">
                  <a:moveTo>
                    <a:pt x="2213" y="2213"/>
                  </a:moveTo>
                  <a:cubicBezTo>
                    <a:pt x="2213" y="991"/>
                    <a:pt x="1222" y="0"/>
                    <a:pt x="0" y="0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26" y="217"/>
                    <a:pt x="64" y="200"/>
                    <a:pt x="105" y="200"/>
                  </a:cubicBezTo>
                  <a:cubicBezTo>
                    <a:pt x="186" y="200"/>
                    <a:pt x="252" y="266"/>
                    <a:pt x="252" y="346"/>
                  </a:cubicBezTo>
                  <a:cubicBezTo>
                    <a:pt x="252" y="427"/>
                    <a:pt x="186" y="493"/>
                    <a:pt x="105" y="493"/>
                  </a:cubicBezTo>
                  <a:cubicBezTo>
                    <a:pt x="64" y="493"/>
                    <a:pt x="26" y="475"/>
                    <a:pt x="0" y="448"/>
                  </a:cubicBezTo>
                  <a:cubicBezTo>
                    <a:pt x="0" y="692"/>
                    <a:pt x="0" y="692"/>
                    <a:pt x="0" y="692"/>
                  </a:cubicBezTo>
                  <a:cubicBezTo>
                    <a:pt x="840" y="692"/>
                    <a:pt x="1521" y="1373"/>
                    <a:pt x="1521" y="2213"/>
                  </a:cubicBezTo>
                  <a:cubicBezTo>
                    <a:pt x="1764" y="2213"/>
                    <a:pt x="1764" y="2213"/>
                    <a:pt x="1764" y="2213"/>
                  </a:cubicBezTo>
                  <a:cubicBezTo>
                    <a:pt x="1737" y="2240"/>
                    <a:pt x="1720" y="2277"/>
                    <a:pt x="1720" y="2318"/>
                  </a:cubicBezTo>
                  <a:cubicBezTo>
                    <a:pt x="1720" y="2399"/>
                    <a:pt x="1786" y="2464"/>
                    <a:pt x="1867" y="2464"/>
                  </a:cubicBezTo>
                  <a:cubicBezTo>
                    <a:pt x="1947" y="2464"/>
                    <a:pt x="2013" y="2399"/>
                    <a:pt x="2013" y="2318"/>
                  </a:cubicBezTo>
                  <a:cubicBezTo>
                    <a:pt x="2013" y="2277"/>
                    <a:pt x="1996" y="2240"/>
                    <a:pt x="1969" y="2213"/>
                  </a:cubicBezTo>
                  <a:cubicBezTo>
                    <a:pt x="2213" y="2213"/>
                    <a:pt x="2213" y="2213"/>
                    <a:pt x="2213" y="2213"/>
                  </a:cubicBezTo>
                  <a:cubicBezTo>
                    <a:pt x="2213" y="2213"/>
                    <a:pt x="2213" y="2213"/>
                    <a:pt x="2213" y="2213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latin typeface="+mj-lt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4422775" y="2843213"/>
              <a:ext cx="1449388" cy="1301750"/>
            </a:xfrm>
            <a:custGeom>
              <a:avLst/>
              <a:gdLst>
                <a:gd name="T0" fmla="*/ 2223 w 2467"/>
                <a:gd name="T1" fmla="*/ 0 h 2213"/>
                <a:gd name="T2" fmla="*/ 2267 w 2467"/>
                <a:gd name="T3" fmla="*/ 105 h 2213"/>
                <a:gd name="T4" fmla="*/ 2121 w 2467"/>
                <a:gd name="T5" fmla="*/ 251 h 2213"/>
                <a:gd name="T6" fmla="*/ 1974 w 2467"/>
                <a:gd name="T7" fmla="*/ 105 h 2213"/>
                <a:gd name="T8" fmla="*/ 2018 w 2467"/>
                <a:gd name="T9" fmla="*/ 0 h 2213"/>
                <a:gd name="T10" fmla="*/ 1775 w 2467"/>
                <a:gd name="T11" fmla="*/ 0 h 2213"/>
                <a:gd name="T12" fmla="*/ 254 w 2467"/>
                <a:gd name="T13" fmla="*/ 1522 h 2213"/>
                <a:gd name="T14" fmla="*/ 254 w 2467"/>
                <a:gd name="T15" fmla="*/ 1768 h 2213"/>
                <a:gd name="T16" fmla="*/ 147 w 2467"/>
                <a:gd name="T17" fmla="*/ 1721 h 2213"/>
                <a:gd name="T18" fmla="*/ 0 w 2467"/>
                <a:gd name="T19" fmla="*/ 1867 h 2213"/>
                <a:gd name="T20" fmla="*/ 147 w 2467"/>
                <a:gd name="T21" fmla="*/ 2014 h 2213"/>
                <a:gd name="T22" fmla="*/ 254 w 2467"/>
                <a:gd name="T23" fmla="*/ 1967 h 2213"/>
                <a:gd name="T24" fmla="*/ 254 w 2467"/>
                <a:gd name="T25" fmla="*/ 2213 h 2213"/>
                <a:gd name="T26" fmla="*/ 2467 w 2467"/>
                <a:gd name="T27" fmla="*/ 0 h 2213"/>
                <a:gd name="T28" fmla="*/ 2467 w 2467"/>
                <a:gd name="T29" fmla="*/ 0 h 2213"/>
                <a:gd name="T30" fmla="*/ 2223 w 2467"/>
                <a:gd name="T31" fmla="*/ 0 h 2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67" h="2213">
                  <a:moveTo>
                    <a:pt x="2223" y="0"/>
                  </a:moveTo>
                  <a:cubicBezTo>
                    <a:pt x="2250" y="27"/>
                    <a:pt x="2267" y="64"/>
                    <a:pt x="2267" y="105"/>
                  </a:cubicBezTo>
                  <a:cubicBezTo>
                    <a:pt x="2267" y="186"/>
                    <a:pt x="2201" y="251"/>
                    <a:pt x="2121" y="251"/>
                  </a:cubicBezTo>
                  <a:cubicBezTo>
                    <a:pt x="2040" y="251"/>
                    <a:pt x="1974" y="186"/>
                    <a:pt x="1974" y="105"/>
                  </a:cubicBezTo>
                  <a:cubicBezTo>
                    <a:pt x="1974" y="64"/>
                    <a:pt x="1991" y="27"/>
                    <a:pt x="2018" y="0"/>
                  </a:cubicBezTo>
                  <a:cubicBezTo>
                    <a:pt x="1775" y="0"/>
                    <a:pt x="1775" y="0"/>
                    <a:pt x="1775" y="0"/>
                  </a:cubicBezTo>
                  <a:cubicBezTo>
                    <a:pt x="1775" y="841"/>
                    <a:pt x="1094" y="1522"/>
                    <a:pt x="254" y="1522"/>
                  </a:cubicBezTo>
                  <a:cubicBezTo>
                    <a:pt x="254" y="1768"/>
                    <a:pt x="254" y="1768"/>
                    <a:pt x="254" y="1768"/>
                  </a:cubicBezTo>
                  <a:cubicBezTo>
                    <a:pt x="227" y="1739"/>
                    <a:pt x="189" y="1721"/>
                    <a:pt x="147" y="1721"/>
                  </a:cubicBezTo>
                  <a:cubicBezTo>
                    <a:pt x="66" y="1721"/>
                    <a:pt x="0" y="1786"/>
                    <a:pt x="0" y="1867"/>
                  </a:cubicBezTo>
                  <a:cubicBezTo>
                    <a:pt x="0" y="1948"/>
                    <a:pt x="66" y="2014"/>
                    <a:pt x="147" y="2014"/>
                  </a:cubicBezTo>
                  <a:cubicBezTo>
                    <a:pt x="189" y="2014"/>
                    <a:pt x="227" y="1996"/>
                    <a:pt x="254" y="1967"/>
                  </a:cubicBezTo>
                  <a:cubicBezTo>
                    <a:pt x="254" y="2213"/>
                    <a:pt x="254" y="2213"/>
                    <a:pt x="254" y="2213"/>
                  </a:cubicBezTo>
                  <a:cubicBezTo>
                    <a:pt x="1476" y="2213"/>
                    <a:pt x="2467" y="1223"/>
                    <a:pt x="2467" y="0"/>
                  </a:cubicBezTo>
                  <a:cubicBezTo>
                    <a:pt x="2467" y="0"/>
                    <a:pt x="2467" y="0"/>
                    <a:pt x="2467" y="0"/>
                  </a:cubicBezTo>
                  <a:lnTo>
                    <a:pt x="2223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latin typeface="+mj-lt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3271838" y="2695575"/>
              <a:ext cx="1300163" cy="1449388"/>
            </a:xfrm>
            <a:custGeom>
              <a:avLst/>
              <a:gdLst>
                <a:gd name="T0" fmla="*/ 2106 w 2213"/>
                <a:gd name="T1" fmla="*/ 2267 h 2466"/>
                <a:gd name="T2" fmla="*/ 1959 w 2213"/>
                <a:gd name="T3" fmla="*/ 2120 h 2466"/>
                <a:gd name="T4" fmla="*/ 2106 w 2213"/>
                <a:gd name="T5" fmla="*/ 1974 h 2466"/>
                <a:gd name="T6" fmla="*/ 2213 w 2213"/>
                <a:gd name="T7" fmla="*/ 2021 h 2466"/>
                <a:gd name="T8" fmla="*/ 2213 w 2213"/>
                <a:gd name="T9" fmla="*/ 1775 h 2466"/>
                <a:gd name="T10" fmla="*/ 691 w 2213"/>
                <a:gd name="T11" fmla="*/ 253 h 2466"/>
                <a:gd name="T12" fmla="*/ 445 w 2213"/>
                <a:gd name="T13" fmla="*/ 253 h 2466"/>
                <a:gd name="T14" fmla="*/ 492 w 2213"/>
                <a:gd name="T15" fmla="*/ 146 h 2466"/>
                <a:gd name="T16" fmla="*/ 346 w 2213"/>
                <a:gd name="T17" fmla="*/ 0 h 2466"/>
                <a:gd name="T18" fmla="*/ 199 w 2213"/>
                <a:gd name="T19" fmla="*/ 146 h 2466"/>
                <a:gd name="T20" fmla="*/ 246 w 2213"/>
                <a:gd name="T21" fmla="*/ 253 h 2466"/>
                <a:gd name="T22" fmla="*/ 0 w 2213"/>
                <a:gd name="T23" fmla="*/ 253 h 2466"/>
                <a:gd name="T24" fmla="*/ 0 w 2213"/>
                <a:gd name="T25" fmla="*/ 253 h 2466"/>
                <a:gd name="T26" fmla="*/ 2213 w 2213"/>
                <a:gd name="T27" fmla="*/ 2466 h 2466"/>
                <a:gd name="T28" fmla="*/ 2213 w 2213"/>
                <a:gd name="T29" fmla="*/ 2220 h 2466"/>
                <a:gd name="T30" fmla="*/ 2106 w 2213"/>
                <a:gd name="T31" fmla="*/ 2267 h 2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13" h="2466">
                  <a:moveTo>
                    <a:pt x="2106" y="2267"/>
                  </a:moveTo>
                  <a:cubicBezTo>
                    <a:pt x="2025" y="2267"/>
                    <a:pt x="1959" y="2201"/>
                    <a:pt x="1959" y="2120"/>
                  </a:cubicBezTo>
                  <a:cubicBezTo>
                    <a:pt x="1959" y="2039"/>
                    <a:pt x="2025" y="1974"/>
                    <a:pt x="2106" y="1974"/>
                  </a:cubicBezTo>
                  <a:cubicBezTo>
                    <a:pt x="2148" y="1974"/>
                    <a:pt x="2186" y="1992"/>
                    <a:pt x="2213" y="2021"/>
                  </a:cubicBezTo>
                  <a:cubicBezTo>
                    <a:pt x="2213" y="1775"/>
                    <a:pt x="2213" y="1775"/>
                    <a:pt x="2213" y="1775"/>
                  </a:cubicBezTo>
                  <a:cubicBezTo>
                    <a:pt x="1372" y="1775"/>
                    <a:pt x="691" y="1094"/>
                    <a:pt x="691" y="253"/>
                  </a:cubicBezTo>
                  <a:cubicBezTo>
                    <a:pt x="445" y="253"/>
                    <a:pt x="445" y="253"/>
                    <a:pt x="445" y="253"/>
                  </a:cubicBezTo>
                  <a:cubicBezTo>
                    <a:pt x="474" y="227"/>
                    <a:pt x="492" y="188"/>
                    <a:pt x="492" y="146"/>
                  </a:cubicBezTo>
                  <a:cubicBezTo>
                    <a:pt x="492" y="65"/>
                    <a:pt x="427" y="0"/>
                    <a:pt x="346" y="0"/>
                  </a:cubicBezTo>
                  <a:cubicBezTo>
                    <a:pt x="265" y="0"/>
                    <a:pt x="199" y="65"/>
                    <a:pt x="199" y="146"/>
                  </a:cubicBezTo>
                  <a:cubicBezTo>
                    <a:pt x="199" y="188"/>
                    <a:pt x="218" y="227"/>
                    <a:pt x="246" y="253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0" y="1476"/>
                    <a:pt x="990" y="2466"/>
                    <a:pt x="2213" y="2466"/>
                  </a:cubicBezTo>
                  <a:cubicBezTo>
                    <a:pt x="2213" y="2220"/>
                    <a:pt x="2213" y="2220"/>
                    <a:pt x="2213" y="2220"/>
                  </a:cubicBezTo>
                  <a:cubicBezTo>
                    <a:pt x="2186" y="2249"/>
                    <a:pt x="2148" y="2267"/>
                    <a:pt x="2106" y="2267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latin typeface="+mj-lt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3271838" y="1543050"/>
              <a:ext cx="1447800" cy="1300163"/>
            </a:xfrm>
            <a:custGeom>
              <a:avLst/>
              <a:gdLst>
                <a:gd name="T0" fmla="*/ 2318 w 2465"/>
                <a:gd name="T1" fmla="*/ 200 h 2213"/>
                <a:gd name="T2" fmla="*/ 2213 w 2465"/>
                <a:gd name="T3" fmla="*/ 245 h 2213"/>
                <a:gd name="T4" fmla="*/ 2213 w 2465"/>
                <a:gd name="T5" fmla="*/ 0 h 2213"/>
                <a:gd name="T6" fmla="*/ 0 w 2465"/>
                <a:gd name="T7" fmla="*/ 2213 h 2213"/>
                <a:gd name="T8" fmla="*/ 0 w 2465"/>
                <a:gd name="T9" fmla="*/ 2213 h 2213"/>
                <a:gd name="T10" fmla="*/ 246 w 2465"/>
                <a:gd name="T11" fmla="*/ 2213 h 2213"/>
                <a:gd name="T12" fmla="*/ 199 w 2465"/>
                <a:gd name="T13" fmla="*/ 2106 h 2213"/>
                <a:gd name="T14" fmla="*/ 346 w 2465"/>
                <a:gd name="T15" fmla="*/ 1960 h 2213"/>
                <a:gd name="T16" fmla="*/ 492 w 2465"/>
                <a:gd name="T17" fmla="*/ 2106 h 2213"/>
                <a:gd name="T18" fmla="*/ 445 w 2465"/>
                <a:gd name="T19" fmla="*/ 2213 h 2213"/>
                <a:gd name="T20" fmla="*/ 691 w 2465"/>
                <a:gd name="T21" fmla="*/ 2213 h 2213"/>
                <a:gd name="T22" fmla="*/ 2213 w 2465"/>
                <a:gd name="T23" fmla="*/ 692 h 2213"/>
                <a:gd name="T24" fmla="*/ 2213 w 2465"/>
                <a:gd name="T25" fmla="*/ 448 h 2213"/>
                <a:gd name="T26" fmla="*/ 2318 w 2465"/>
                <a:gd name="T27" fmla="*/ 493 h 2213"/>
                <a:gd name="T28" fmla="*/ 2465 w 2465"/>
                <a:gd name="T29" fmla="*/ 346 h 2213"/>
                <a:gd name="T30" fmla="*/ 2318 w 2465"/>
                <a:gd name="T31" fmla="*/ 200 h 2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65" h="2213">
                  <a:moveTo>
                    <a:pt x="2318" y="200"/>
                  </a:moveTo>
                  <a:cubicBezTo>
                    <a:pt x="2277" y="200"/>
                    <a:pt x="2239" y="217"/>
                    <a:pt x="2213" y="245"/>
                  </a:cubicBezTo>
                  <a:cubicBezTo>
                    <a:pt x="2213" y="0"/>
                    <a:pt x="2213" y="0"/>
                    <a:pt x="2213" y="0"/>
                  </a:cubicBezTo>
                  <a:cubicBezTo>
                    <a:pt x="990" y="0"/>
                    <a:pt x="0" y="991"/>
                    <a:pt x="0" y="2213"/>
                  </a:cubicBezTo>
                  <a:cubicBezTo>
                    <a:pt x="0" y="2213"/>
                    <a:pt x="0" y="2213"/>
                    <a:pt x="0" y="2213"/>
                  </a:cubicBezTo>
                  <a:cubicBezTo>
                    <a:pt x="246" y="2213"/>
                    <a:pt x="246" y="2213"/>
                    <a:pt x="246" y="2213"/>
                  </a:cubicBezTo>
                  <a:cubicBezTo>
                    <a:pt x="218" y="2187"/>
                    <a:pt x="199" y="2148"/>
                    <a:pt x="199" y="2106"/>
                  </a:cubicBezTo>
                  <a:cubicBezTo>
                    <a:pt x="199" y="2025"/>
                    <a:pt x="265" y="1960"/>
                    <a:pt x="346" y="1960"/>
                  </a:cubicBezTo>
                  <a:cubicBezTo>
                    <a:pt x="427" y="1960"/>
                    <a:pt x="492" y="2025"/>
                    <a:pt x="492" y="2106"/>
                  </a:cubicBezTo>
                  <a:cubicBezTo>
                    <a:pt x="492" y="2148"/>
                    <a:pt x="474" y="2187"/>
                    <a:pt x="445" y="2213"/>
                  </a:cubicBezTo>
                  <a:cubicBezTo>
                    <a:pt x="691" y="2213"/>
                    <a:pt x="691" y="2213"/>
                    <a:pt x="691" y="2213"/>
                  </a:cubicBezTo>
                  <a:cubicBezTo>
                    <a:pt x="691" y="1373"/>
                    <a:pt x="1372" y="692"/>
                    <a:pt x="2213" y="692"/>
                  </a:cubicBezTo>
                  <a:cubicBezTo>
                    <a:pt x="2213" y="448"/>
                    <a:pt x="2213" y="448"/>
                    <a:pt x="2213" y="448"/>
                  </a:cubicBezTo>
                  <a:cubicBezTo>
                    <a:pt x="2239" y="475"/>
                    <a:pt x="2277" y="493"/>
                    <a:pt x="2318" y="493"/>
                  </a:cubicBezTo>
                  <a:cubicBezTo>
                    <a:pt x="2399" y="493"/>
                    <a:pt x="2465" y="427"/>
                    <a:pt x="2465" y="346"/>
                  </a:cubicBezTo>
                  <a:cubicBezTo>
                    <a:pt x="2465" y="266"/>
                    <a:pt x="2399" y="200"/>
                    <a:pt x="2318" y="20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latin typeface="+mj-lt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3551980" y="1825615"/>
            <a:ext cx="2040040" cy="2036782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Circle">
              <a:avLst>
                <a:gd name="adj" fmla="val 10910595"/>
              </a:avLst>
            </a:prstTxWarp>
            <a:spAutoFit/>
          </a:bodyPr>
          <a:lstStyle/>
          <a:p>
            <a:pPr algn="ctr">
              <a:lnSpc>
                <a:spcPts val="1500"/>
              </a:lnSpc>
              <a:spcAft>
                <a:spcPts val="600"/>
              </a:spcAft>
            </a:pPr>
            <a:r>
              <a:rPr lang="en-US" sz="1000" b="1" cap="all">
                <a:solidFill>
                  <a:schemeClr val="bg1"/>
                </a:solidFill>
                <a:latin typeface="+mj-lt"/>
              </a:rPr>
              <a:t>    Creative idea                                    knowledge                                         hard work                                   strong pas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93725" y="1853635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3779" y="1671727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Creative idea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93725" y="3322738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93779" y="3140830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trong pass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430963" y="1853635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431017" y="1671727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knowledg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430963" y="3322738"/>
            <a:ext cx="2116137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lorem ipsum dolor is a dummy text which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31017" y="3140830"/>
            <a:ext cx="21160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Hard work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4139321" y="2368595"/>
            <a:ext cx="830641" cy="1096873"/>
            <a:chOff x="4040188" y="1670050"/>
            <a:chExt cx="1362075" cy="1798638"/>
          </a:xfrm>
          <a:solidFill>
            <a:schemeClr val="accent1"/>
          </a:solidFill>
        </p:grpSpPr>
        <p:sp>
          <p:nvSpPr>
            <p:cNvPr id="31" name="Oval 7"/>
            <p:cNvSpPr>
              <a:spLocks noChangeArrowheads="1"/>
            </p:cNvSpPr>
            <p:nvPr/>
          </p:nvSpPr>
          <p:spPr bwMode="auto">
            <a:xfrm>
              <a:off x="4584700" y="1701800"/>
              <a:ext cx="271463" cy="273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4040188" y="1670050"/>
              <a:ext cx="1362075" cy="1798638"/>
            </a:xfrm>
            <a:custGeom>
              <a:avLst/>
              <a:gdLst>
                <a:gd name="T0" fmla="*/ 4482 w 4554"/>
                <a:gd name="T1" fmla="*/ 76 h 6021"/>
                <a:gd name="T2" fmla="*/ 4210 w 4554"/>
                <a:gd name="T3" fmla="*/ 77 h 6021"/>
                <a:gd name="T4" fmla="*/ 3139 w 4554"/>
                <a:gd name="T5" fmla="*/ 1147 h 6021"/>
                <a:gd name="T6" fmla="*/ 2961 w 4554"/>
                <a:gd name="T7" fmla="*/ 1112 h 6021"/>
                <a:gd name="T8" fmla="*/ 2607 w 4554"/>
                <a:gd name="T9" fmla="*/ 1112 h 6021"/>
                <a:gd name="T10" fmla="*/ 2557 w 4554"/>
                <a:gd name="T11" fmla="*/ 1485 h 6021"/>
                <a:gd name="T12" fmla="*/ 2446 w 4554"/>
                <a:gd name="T13" fmla="*/ 1856 h 6021"/>
                <a:gd name="T14" fmla="*/ 2379 w 4554"/>
                <a:gd name="T15" fmla="*/ 1581 h 6021"/>
                <a:gd name="T16" fmla="*/ 2322 w 4554"/>
                <a:gd name="T17" fmla="*/ 1432 h 6021"/>
                <a:gd name="T18" fmla="*/ 2412 w 4554"/>
                <a:gd name="T19" fmla="*/ 1338 h 6021"/>
                <a:gd name="T20" fmla="*/ 2280 w 4554"/>
                <a:gd name="T21" fmla="*/ 1201 h 6021"/>
                <a:gd name="T22" fmla="*/ 2280 w 4554"/>
                <a:gd name="T23" fmla="*/ 1199 h 6021"/>
                <a:gd name="T24" fmla="*/ 2278 w 4554"/>
                <a:gd name="T25" fmla="*/ 1197 h 6021"/>
                <a:gd name="T26" fmla="*/ 2277 w 4554"/>
                <a:gd name="T27" fmla="*/ 1198 h 6021"/>
                <a:gd name="T28" fmla="*/ 2276 w 4554"/>
                <a:gd name="T29" fmla="*/ 1197 h 6021"/>
                <a:gd name="T30" fmla="*/ 2274 w 4554"/>
                <a:gd name="T31" fmla="*/ 1199 h 6021"/>
                <a:gd name="T32" fmla="*/ 2274 w 4554"/>
                <a:gd name="T33" fmla="*/ 1201 h 6021"/>
                <a:gd name="T34" fmla="*/ 2142 w 4554"/>
                <a:gd name="T35" fmla="*/ 1338 h 6021"/>
                <a:gd name="T36" fmla="*/ 2232 w 4554"/>
                <a:gd name="T37" fmla="*/ 1432 h 6021"/>
                <a:gd name="T38" fmla="*/ 2175 w 4554"/>
                <a:gd name="T39" fmla="*/ 1581 h 6021"/>
                <a:gd name="T40" fmla="*/ 2108 w 4554"/>
                <a:gd name="T41" fmla="*/ 1856 h 6021"/>
                <a:gd name="T42" fmla="*/ 1997 w 4554"/>
                <a:gd name="T43" fmla="*/ 1485 h 6021"/>
                <a:gd name="T44" fmla="*/ 1947 w 4554"/>
                <a:gd name="T45" fmla="*/ 1112 h 6021"/>
                <a:gd name="T46" fmla="*/ 1593 w 4554"/>
                <a:gd name="T47" fmla="*/ 1112 h 6021"/>
                <a:gd name="T48" fmla="*/ 1415 w 4554"/>
                <a:gd name="T49" fmla="*/ 1147 h 6021"/>
                <a:gd name="T50" fmla="*/ 344 w 4554"/>
                <a:gd name="T51" fmla="*/ 77 h 6021"/>
                <a:gd name="T52" fmla="*/ 72 w 4554"/>
                <a:gd name="T53" fmla="*/ 76 h 6021"/>
                <a:gd name="T54" fmla="*/ 77 w 4554"/>
                <a:gd name="T55" fmla="*/ 345 h 6021"/>
                <a:gd name="T56" fmla="*/ 1596 w 4554"/>
                <a:gd name="T57" fmla="*/ 1876 h 6021"/>
                <a:gd name="T58" fmla="*/ 1684 w 4554"/>
                <a:gd name="T59" fmla="*/ 1876 h 6021"/>
                <a:gd name="T60" fmla="*/ 1684 w 4554"/>
                <a:gd name="T61" fmla="*/ 5763 h 6021"/>
                <a:gd name="T62" fmla="*/ 1945 w 4554"/>
                <a:gd name="T63" fmla="*/ 6021 h 6021"/>
                <a:gd name="T64" fmla="*/ 2201 w 4554"/>
                <a:gd name="T65" fmla="*/ 5763 h 6021"/>
                <a:gd name="T66" fmla="*/ 2201 w 4554"/>
                <a:gd name="T67" fmla="*/ 3472 h 6021"/>
                <a:gd name="T68" fmla="*/ 2274 w 4554"/>
                <a:gd name="T69" fmla="*/ 3472 h 6021"/>
                <a:gd name="T70" fmla="*/ 2280 w 4554"/>
                <a:gd name="T71" fmla="*/ 3472 h 6021"/>
                <a:gd name="T72" fmla="*/ 2353 w 4554"/>
                <a:gd name="T73" fmla="*/ 3472 h 6021"/>
                <a:gd name="T74" fmla="*/ 2353 w 4554"/>
                <a:gd name="T75" fmla="*/ 5763 h 6021"/>
                <a:gd name="T76" fmla="*/ 2609 w 4554"/>
                <a:gd name="T77" fmla="*/ 6021 h 6021"/>
                <a:gd name="T78" fmla="*/ 2871 w 4554"/>
                <a:gd name="T79" fmla="*/ 5763 h 6021"/>
                <a:gd name="T80" fmla="*/ 2871 w 4554"/>
                <a:gd name="T81" fmla="*/ 1876 h 6021"/>
                <a:gd name="T82" fmla="*/ 2958 w 4554"/>
                <a:gd name="T83" fmla="*/ 1876 h 6021"/>
                <a:gd name="T84" fmla="*/ 4477 w 4554"/>
                <a:gd name="T85" fmla="*/ 345 h 6021"/>
                <a:gd name="T86" fmla="*/ 4482 w 4554"/>
                <a:gd name="T87" fmla="*/ 76 h 6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54" h="6021">
                  <a:moveTo>
                    <a:pt x="4482" y="76"/>
                  </a:moveTo>
                  <a:cubicBezTo>
                    <a:pt x="4407" y="0"/>
                    <a:pt x="4286" y="1"/>
                    <a:pt x="4210" y="77"/>
                  </a:cubicBezTo>
                  <a:cubicBezTo>
                    <a:pt x="4210" y="77"/>
                    <a:pt x="3580" y="707"/>
                    <a:pt x="3139" y="1147"/>
                  </a:cubicBezTo>
                  <a:cubicBezTo>
                    <a:pt x="3084" y="1125"/>
                    <a:pt x="3024" y="1112"/>
                    <a:pt x="2961" y="1112"/>
                  </a:cubicBezTo>
                  <a:cubicBezTo>
                    <a:pt x="2961" y="1112"/>
                    <a:pt x="2961" y="1112"/>
                    <a:pt x="2607" y="1112"/>
                  </a:cubicBezTo>
                  <a:cubicBezTo>
                    <a:pt x="2604" y="1156"/>
                    <a:pt x="2592" y="1316"/>
                    <a:pt x="2557" y="1485"/>
                  </a:cubicBezTo>
                  <a:cubicBezTo>
                    <a:pt x="2537" y="1581"/>
                    <a:pt x="2446" y="1856"/>
                    <a:pt x="2446" y="1856"/>
                  </a:cubicBezTo>
                  <a:cubicBezTo>
                    <a:pt x="2446" y="1856"/>
                    <a:pt x="2396" y="1646"/>
                    <a:pt x="2379" y="1581"/>
                  </a:cubicBezTo>
                  <a:cubicBezTo>
                    <a:pt x="2367" y="1535"/>
                    <a:pt x="2322" y="1432"/>
                    <a:pt x="2322" y="1432"/>
                  </a:cubicBezTo>
                  <a:cubicBezTo>
                    <a:pt x="2412" y="1338"/>
                    <a:pt x="2412" y="1338"/>
                    <a:pt x="2412" y="1338"/>
                  </a:cubicBezTo>
                  <a:cubicBezTo>
                    <a:pt x="2280" y="1201"/>
                    <a:pt x="2280" y="1201"/>
                    <a:pt x="2280" y="1201"/>
                  </a:cubicBezTo>
                  <a:cubicBezTo>
                    <a:pt x="2280" y="1199"/>
                    <a:pt x="2280" y="1199"/>
                    <a:pt x="2280" y="1199"/>
                  </a:cubicBezTo>
                  <a:cubicBezTo>
                    <a:pt x="2278" y="1197"/>
                    <a:pt x="2278" y="1197"/>
                    <a:pt x="2278" y="1197"/>
                  </a:cubicBezTo>
                  <a:cubicBezTo>
                    <a:pt x="2277" y="1198"/>
                    <a:pt x="2277" y="1198"/>
                    <a:pt x="2277" y="1198"/>
                  </a:cubicBezTo>
                  <a:cubicBezTo>
                    <a:pt x="2276" y="1197"/>
                    <a:pt x="2276" y="1197"/>
                    <a:pt x="2276" y="1197"/>
                  </a:cubicBezTo>
                  <a:cubicBezTo>
                    <a:pt x="2274" y="1199"/>
                    <a:pt x="2274" y="1199"/>
                    <a:pt x="2274" y="1199"/>
                  </a:cubicBezTo>
                  <a:cubicBezTo>
                    <a:pt x="2274" y="1201"/>
                    <a:pt x="2274" y="1201"/>
                    <a:pt x="2274" y="1201"/>
                  </a:cubicBezTo>
                  <a:cubicBezTo>
                    <a:pt x="2142" y="1338"/>
                    <a:pt x="2142" y="1338"/>
                    <a:pt x="2142" y="1338"/>
                  </a:cubicBezTo>
                  <a:cubicBezTo>
                    <a:pt x="2232" y="1432"/>
                    <a:pt x="2232" y="1432"/>
                    <a:pt x="2232" y="1432"/>
                  </a:cubicBezTo>
                  <a:cubicBezTo>
                    <a:pt x="2232" y="1432"/>
                    <a:pt x="2187" y="1535"/>
                    <a:pt x="2175" y="1581"/>
                  </a:cubicBezTo>
                  <a:cubicBezTo>
                    <a:pt x="2158" y="1646"/>
                    <a:pt x="2108" y="1856"/>
                    <a:pt x="2108" y="1856"/>
                  </a:cubicBezTo>
                  <a:cubicBezTo>
                    <a:pt x="2108" y="1856"/>
                    <a:pt x="2017" y="1581"/>
                    <a:pt x="1997" y="1485"/>
                  </a:cubicBezTo>
                  <a:cubicBezTo>
                    <a:pt x="1962" y="1316"/>
                    <a:pt x="1950" y="1156"/>
                    <a:pt x="1947" y="1112"/>
                  </a:cubicBezTo>
                  <a:cubicBezTo>
                    <a:pt x="1593" y="1112"/>
                    <a:pt x="1593" y="1112"/>
                    <a:pt x="1593" y="1112"/>
                  </a:cubicBezTo>
                  <a:cubicBezTo>
                    <a:pt x="1530" y="1112"/>
                    <a:pt x="1470" y="1125"/>
                    <a:pt x="1415" y="1147"/>
                  </a:cubicBezTo>
                  <a:cubicBezTo>
                    <a:pt x="974" y="707"/>
                    <a:pt x="344" y="77"/>
                    <a:pt x="344" y="77"/>
                  </a:cubicBezTo>
                  <a:cubicBezTo>
                    <a:pt x="268" y="1"/>
                    <a:pt x="147" y="0"/>
                    <a:pt x="72" y="76"/>
                  </a:cubicBezTo>
                  <a:cubicBezTo>
                    <a:pt x="0" y="147"/>
                    <a:pt x="1" y="269"/>
                    <a:pt x="77" y="345"/>
                  </a:cubicBezTo>
                  <a:cubicBezTo>
                    <a:pt x="147" y="415"/>
                    <a:pt x="1596" y="1876"/>
                    <a:pt x="1596" y="1876"/>
                  </a:cubicBezTo>
                  <a:cubicBezTo>
                    <a:pt x="1683" y="1876"/>
                    <a:pt x="1684" y="1876"/>
                    <a:pt x="1684" y="1876"/>
                  </a:cubicBezTo>
                  <a:cubicBezTo>
                    <a:pt x="1684" y="3091"/>
                    <a:pt x="1684" y="5763"/>
                    <a:pt x="1684" y="5763"/>
                  </a:cubicBezTo>
                  <a:cubicBezTo>
                    <a:pt x="1684" y="5908"/>
                    <a:pt x="1801" y="6021"/>
                    <a:pt x="1945" y="6021"/>
                  </a:cubicBezTo>
                  <a:cubicBezTo>
                    <a:pt x="2083" y="6021"/>
                    <a:pt x="2201" y="5908"/>
                    <a:pt x="2201" y="5763"/>
                  </a:cubicBezTo>
                  <a:cubicBezTo>
                    <a:pt x="2201" y="3472"/>
                    <a:pt x="2201" y="3472"/>
                    <a:pt x="2201" y="3472"/>
                  </a:cubicBezTo>
                  <a:cubicBezTo>
                    <a:pt x="2230" y="3472"/>
                    <a:pt x="2254" y="3472"/>
                    <a:pt x="2274" y="3472"/>
                  </a:cubicBezTo>
                  <a:cubicBezTo>
                    <a:pt x="2276" y="3472"/>
                    <a:pt x="2278" y="3472"/>
                    <a:pt x="2280" y="3472"/>
                  </a:cubicBezTo>
                  <a:cubicBezTo>
                    <a:pt x="2300" y="3472"/>
                    <a:pt x="2324" y="3472"/>
                    <a:pt x="2353" y="3472"/>
                  </a:cubicBezTo>
                  <a:cubicBezTo>
                    <a:pt x="2353" y="3472"/>
                    <a:pt x="2353" y="3472"/>
                    <a:pt x="2353" y="5763"/>
                  </a:cubicBezTo>
                  <a:cubicBezTo>
                    <a:pt x="2353" y="5908"/>
                    <a:pt x="2471" y="6021"/>
                    <a:pt x="2609" y="6021"/>
                  </a:cubicBezTo>
                  <a:cubicBezTo>
                    <a:pt x="2753" y="6021"/>
                    <a:pt x="2871" y="5908"/>
                    <a:pt x="2871" y="5763"/>
                  </a:cubicBezTo>
                  <a:cubicBezTo>
                    <a:pt x="2871" y="5763"/>
                    <a:pt x="2871" y="3091"/>
                    <a:pt x="2871" y="1876"/>
                  </a:cubicBezTo>
                  <a:cubicBezTo>
                    <a:pt x="2871" y="1876"/>
                    <a:pt x="2871" y="1876"/>
                    <a:pt x="2958" y="1876"/>
                  </a:cubicBezTo>
                  <a:cubicBezTo>
                    <a:pt x="2958" y="1876"/>
                    <a:pt x="4407" y="415"/>
                    <a:pt x="4477" y="345"/>
                  </a:cubicBezTo>
                  <a:cubicBezTo>
                    <a:pt x="4554" y="269"/>
                    <a:pt x="4554" y="147"/>
                    <a:pt x="4482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223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reative </a:t>
            </a:r>
            <a:r>
              <a:rPr lang="en-US">
                <a:solidFill>
                  <a:schemeClr val="accent2"/>
                </a:solidFill>
              </a:rPr>
              <a:t>design 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1279526" y="2084958"/>
            <a:ext cx="1584325" cy="900112"/>
          </a:xfrm>
          <a:custGeom>
            <a:avLst/>
            <a:gdLst>
              <a:gd name="T0" fmla="*/ 1703 w 1776"/>
              <a:gd name="T1" fmla="*/ 843 h 1009"/>
              <a:gd name="T2" fmla="*/ 852 w 1776"/>
              <a:gd name="T3" fmla="*/ 0 h 1009"/>
              <a:gd name="T4" fmla="*/ 0 w 1776"/>
              <a:gd name="T5" fmla="*/ 852 h 1009"/>
              <a:gd name="T6" fmla="*/ 304 w 1776"/>
              <a:gd name="T7" fmla="*/ 852 h 1009"/>
              <a:gd name="T8" fmla="*/ 852 w 1776"/>
              <a:gd name="T9" fmla="*/ 304 h 1009"/>
              <a:gd name="T10" fmla="*/ 1399 w 1776"/>
              <a:gd name="T11" fmla="*/ 843 h 1009"/>
              <a:gd name="T12" fmla="*/ 1326 w 1776"/>
              <a:gd name="T13" fmla="*/ 843 h 1009"/>
              <a:gd name="T14" fmla="*/ 1551 w 1776"/>
              <a:gd name="T15" fmla="*/ 1009 h 1009"/>
              <a:gd name="T16" fmla="*/ 1776 w 1776"/>
              <a:gd name="T17" fmla="*/ 843 h 1009"/>
              <a:gd name="T18" fmla="*/ 1703 w 1776"/>
              <a:gd name="T19" fmla="*/ 843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76" h="1009">
                <a:moveTo>
                  <a:pt x="1703" y="843"/>
                </a:moveTo>
                <a:cubicBezTo>
                  <a:pt x="1698" y="377"/>
                  <a:pt x="1319" y="0"/>
                  <a:pt x="852" y="0"/>
                </a:cubicBezTo>
                <a:cubicBezTo>
                  <a:pt x="381" y="0"/>
                  <a:pt x="0" y="381"/>
                  <a:pt x="0" y="852"/>
                </a:cubicBezTo>
                <a:cubicBezTo>
                  <a:pt x="304" y="852"/>
                  <a:pt x="304" y="852"/>
                  <a:pt x="304" y="852"/>
                </a:cubicBezTo>
                <a:cubicBezTo>
                  <a:pt x="304" y="549"/>
                  <a:pt x="549" y="304"/>
                  <a:pt x="852" y="304"/>
                </a:cubicBezTo>
                <a:cubicBezTo>
                  <a:pt x="1151" y="304"/>
                  <a:pt x="1394" y="544"/>
                  <a:pt x="1399" y="843"/>
                </a:cubicBezTo>
                <a:cubicBezTo>
                  <a:pt x="1326" y="843"/>
                  <a:pt x="1326" y="843"/>
                  <a:pt x="1326" y="843"/>
                </a:cubicBezTo>
                <a:cubicBezTo>
                  <a:pt x="1551" y="1009"/>
                  <a:pt x="1551" y="1009"/>
                  <a:pt x="1551" y="1009"/>
                </a:cubicBezTo>
                <a:cubicBezTo>
                  <a:pt x="1776" y="843"/>
                  <a:pt x="1776" y="843"/>
                  <a:pt x="1776" y="843"/>
                </a:cubicBezTo>
                <a:lnTo>
                  <a:pt x="1703" y="843"/>
                </a:ln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2527301" y="2708276"/>
            <a:ext cx="1582738" cy="900112"/>
          </a:xfrm>
          <a:custGeom>
            <a:avLst/>
            <a:gdLst>
              <a:gd name="T0" fmla="*/ 1550 w 1775"/>
              <a:gd name="T1" fmla="*/ 0 h 1009"/>
              <a:gd name="T2" fmla="*/ 1324 w 1775"/>
              <a:gd name="T3" fmla="*/ 167 h 1009"/>
              <a:gd name="T4" fmla="*/ 1398 w 1775"/>
              <a:gd name="T5" fmla="*/ 167 h 1009"/>
              <a:gd name="T6" fmla="*/ 850 w 1775"/>
              <a:gd name="T7" fmla="*/ 705 h 1009"/>
              <a:gd name="T8" fmla="*/ 305 w 1775"/>
              <a:gd name="T9" fmla="*/ 202 h 1009"/>
              <a:gd name="T10" fmla="*/ 151 w 1775"/>
              <a:gd name="T11" fmla="*/ 315 h 1009"/>
              <a:gd name="T12" fmla="*/ 0 w 1775"/>
              <a:gd name="T13" fmla="*/ 204 h 1009"/>
              <a:gd name="T14" fmla="*/ 850 w 1775"/>
              <a:gd name="T15" fmla="*/ 1009 h 1009"/>
              <a:gd name="T16" fmla="*/ 1702 w 1775"/>
              <a:gd name="T17" fmla="*/ 167 h 1009"/>
              <a:gd name="T18" fmla="*/ 1775 w 1775"/>
              <a:gd name="T19" fmla="*/ 167 h 1009"/>
              <a:gd name="T20" fmla="*/ 1550 w 1775"/>
              <a:gd name="T21" fmla="*/ 0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550" y="0"/>
                </a:moveTo>
                <a:cubicBezTo>
                  <a:pt x="1324" y="167"/>
                  <a:pt x="1324" y="167"/>
                  <a:pt x="1324" y="167"/>
                </a:cubicBezTo>
                <a:cubicBezTo>
                  <a:pt x="1398" y="167"/>
                  <a:pt x="1398" y="167"/>
                  <a:pt x="1398" y="167"/>
                </a:cubicBezTo>
                <a:cubicBezTo>
                  <a:pt x="1393" y="465"/>
                  <a:pt x="1150" y="705"/>
                  <a:pt x="850" y="705"/>
                </a:cubicBezTo>
                <a:cubicBezTo>
                  <a:pt x="563" y="705"/>
                  <a:pt x="327" y="483"/>
                  <a:pt x="305" y="202"/>
                </a:cubicBezTo>
                <a:cubicBezTo>
                  <a:pt x="151" y="315"/>
                  <a:pt x="151" y="315"/>
                  <a:pt x="151" y="315"/>
                </a:cubicBezTo>
                <a:cubicBezTo>
                  <a:pt x="0" y="204"/>
                  <a:pt x="0" y="204"/>
                  <a:pt x="0" y="204"/>
                </a:cubicBezTo>
                <a:cubicBezTo>
                  <a:pt x="24" y="653"/>
                  <a:pt x="396" y="1009"/>
                  <a:pt x="850" y="1009"/>
                </a:cubicBezTo>
                <a:cubicBezTo>
                  <a:pt x="1318" y="1009"/>
                  <a:pt x="1697" y="633"/>
                  <a:pt x="1702" y="167"/>
                </a:cubicBezTo>
                <a:cubicBezTo>
                  <a:pt x="1775" y="167"/>
                  <a:pt x="1775" y="167"/>
                  <a:pt x="1775" y="167"/>
                </a:cubicBezTo>
                <a:lnTo>
                  <a:pt x="1550" y="0"/>
                </a:lnTo>
                <a:close/>
              </a:path>
            </a:pathLst>
          </a:custGeom>
          <a:solidFill>
            <a:schemeClr val="accent2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5022851" y="2708276"/>
            <a:ext cx="1582738" cy="900112"/>
          </a:xfrm>
          <a:custGeom>
            <a:avLst/>
            <a:gdLst>
              <a:gd name="T0" fmla="*/ 1550 w 1775"/>
              <a:gd name="T1" fmla="*/ 0 h 1009"/>
              <a:gd name="T2" fmla="*/ 1324 w 1775"/>
              <a:gd name="T3" fmla="*/ 167 h 1009"/>
              <a:gd name="T4" fmla="*/ 1397 w 1775"/>
              <a:gd name="T5" fmla="*/ 167 h 1009"/>
              <a:gd name="T6" fmla="*/ 850 w 1775"/>
              <a:gd name="T7" fmla="*/ 705 h 1009"/>
              <a:gd name="T8" fmla="*/ 305 w 1775"/>
              <a:gd name="T9" fmla="*/ 202 h 1009"/>
              <a:gd name="T10" fmla="*/ 151 w 1775"/>
              <a:gd name="T11" fmla="*/ 315 h 1009"/>
              <a:gd name="T12" fmla="*/ 0 w 1775"/>
              <a:gd name="T13" fmla="*/ 204 h 1009"/>
              <a:gd name="T14" fmla="*/ 850 w 1775"/>
              <a:gd name="T15" fmla="*/ 1009 h 1009"/>
              <a:gd name="T16" fmla="*/ 1701 w 1775"/>
              <a:gd name="T17" fmla="*/ 167 h 1009"/>
              <a:gd name="T18" fmla="*/ 1775 w 1775"/>
              <a:gd name="T19" fmla="*/ 167 h 1009"/>
              <a:gd name="T20" fmla="*/ 1550 w 1775"/>
              <a:gd name="T21" fmla="*/ 0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550" y="0"/>
                </a:moveTo>
                <a:cubicBezTo>
                  <a:pt x="1324" y="167"/>
                  <a:pt x="1324" y="167"/>
                  <a:pt x="1324" y="167"/>
                </a:cubicBezTo>
                <a:cubicBezTo>
                  <a:pt x="1397" y="167"/>
                  <a:pt x="1397" y="167"/>
                  <a:pt x="1397" y="167"/>
                </a:cubicBezTo>
                <a:cubicBezTo>
                  <a:pt x="1393" y="465"/>
                  <a:pt x="1149" y="705"/>
                  <a:pt x="850" y="705"/>
                </a:cubicBezTo>
                <a:cubicBezTo>
                  <a:pt x="563" y="705"/>
                  <a:pt x="327" y="483"/>
                  <a:pt x="305" y="202"/>
                </a:cubicBezTo>
                <a:cubicBezTo>
                  <a:pt x="151" y="315"/>
                  <a:pt x="151" y="315"/>
                  <a:pt x="151" y="315"/>
                </a:cubicBezTo>
                <a:cubicBezTo>
                  <a:pt x="0" y="204"/>
                  <a:pt x="0" y="204"/>
                  <a:pt x="0" y="204"/>
                </a:cubicBezTo>
                <a:cubicBezTo>
                  <a:pt x="24" y="653"/>
                  <a:pt x="395" y="1009"/>
                  <a:pt x="850" y="1009"/>
                </a:cubicBezTo>
                <a:cubicBezTo>
                  <a:pt x="1317" y="1009"/>
                  <a:pt x="1697" y="633"/>
                  <a:pt x="1701" y="167"/>
                </a:cubicBezTo>
                <a:cubicBezTo>
                  <a:pt x="1775" y="167"/>
                  <a:pt x="1775" y="167"/>
                  <a:pt x="1775" y="167"/>
                </a:cubicBezTo>
                <a:lnTo>
                  <a:pt x="1550" y="0"/>
                </a:lnTo>
                <a:close/>
              </a:path>
            </a:pathLst>
          </a:custGeom>
          <a:solidFill>
            <a:schemeClr val="accent4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3775076" y="2089152"/>
            <a:ext cx="1582738" cy="900112"/>
          </a:xfrm>
          <a:custGeom>
            <a:avLst/>
            <a:gdLst>
              <a:gd name="T0" fmla="*/ 1702 w 1775"/>
              <a:gd name="T1" fmla="*/ 843 h 1009"/>
              <a:gd name="T2" fmla="*/ 850 w 1775"/>
              <a:gd name="T3" fmla="*/ 0 h 1009"/>
              <a:gd name="T4" fmla="*/ 0 w 1775"/>
              <a:gd name="T5" fmla="*/ 805 h 1009"/>
              <a:gd name="T6" fmla="*/ 151 w 1775"/>
              <a:gd name="T7" fmla="*/ 694 h 1009"/>
              <a:gd name="T8" fmla="*/ 305 w 1775"/>
              <a:gd name="T9" fmla="*/ 808 h 1009"/>
              <a:gd name="T10" fmla="*/ 850 w 1775"/>
              <a:gd name="T11" fmla="*/ 304 h 1009"/>
              <a:gd name="T12" fmla="*/ 1397 w 1775"/>
              <a:gd name="T13" fmla="*/ 843 h 1009"/>
              <a:gd name="T14" fmla="*/ 1324 w 1775"/>
              <a:gd name="T15" fmla="*/ 843 h 1009"/>
              <a:gd name="T16" fmla="*/ 1550 w 1775"/>
              <a:gd name="T17" fmla="*/ 1009 h 1009"/>
              <a:gd name="T18" fmla="*/ 1775 w 1775"/>
              <a:gd name="T19" fmla="*/ 843 h 1009"/>
              <a:gd name="T20" fmla="*/ 1702 w 1775"/>
              <a:gd name="T21" fmla="*/ 843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702" y="843"/>
                </a:moveTo>
                <a:cubicBezTo>
                  <a:pt x="1697" y="377"/>
                  <a:pt x="1317" y="0"/>
                  <a:pt x="850" y="0"/>
                </a:cubicBezTo>
                <a:cubicBezTo>
                  <a:pt x="396" y="0"/>
                  <a:pt x="24" y="357"/>
                  <a:pt x="0" y="805"/>
                </a:cubicBezTo>
                <a:cubicBezTo>
                  <a:pt x="151" y="694"/>
                  <a:pt x="151" y="694"/>
                  <a:pt x="151" y="694"/>
                </a:cubicBezTo>
                <a:cubicBezTo>
                  <a:pt x="305" y="808"/>
                  <a:pt x="305" y="808"/>
                  <a:pt x="305" y="808"/>
                </a:cubicBezTo>
                <a:cubicBezTo>
                  <a:pt x="327" y="526"/>
                  <a:pt x="563" y="304"/>
                  <a:pt x="850" y="304"/>
                </a:cubicBezTo>
                <a:cubicBezTo>
                  <a:pt x="1150" y="304"/>
                  <a:pt x="1393" y="544"/>
                  <a:pt x="1397" y="843"/>
                </a:cubicBezTo>
                <a:cubicBezTo>
                  <a:pt x="1324" y="843"/>
                  <a:pt x="1324" y="843"/>
                  <a:pt x="1324" y="843"/>
                </a:cubicBezTo>
                <a:cubicBezTo>
                  <a:pt x="1550" y="1009"/>
                  <a:pt x="1550" y="1009"/>
                  <a:pt x="1550" y="1009"/>
                </a:cubicBezTo>
                <a:cubicBezTo>
                  <a:pt x="1775" y="843"/>
                  <a:pt x="1775" y="843"/>
                  <a:pt x="1775" y="843"/>
                </a:cubicBezTo>
                <a:lnTo>
                  <a:pt x="1702" y="843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6278562" y="2089152"/>
            <a:ext cx="1582738" cy="900112"/>
          </a:xfrm>
          <a:custGeom>
            <a:avLst/>
            <a:gdLst>
              <a:gd name="T0" fmla="*/ 1701 w 1775"/>
              <a:gd name="T1" fmla="*/ 843 h 1009"/>
              <a:gd name="T2" fmla="*/ 850 w 1775"/>
              <a:gd name="T3" fmla="*/ 0 h 1009"/>
              <a:gd name="T4" fmla="*/ 0 w 1775"/>
              <a:gd name="T5" fmla="*/ 798 h 1009"/>
              <a:gd name="T6" fmla="*/ 142 w 1775"/>
              <a:gd name="T7" fmla="*/ 694 h 1009"/>
              <a:gd name="T8" fmla="*/ 304 w 1775"/>
              <a:gd name="T9" fmla="*/ 814 h 1009"/>
              <a:gd name="T10" fmla="*/ 850 w 1775"/>
              <a:gd name="T11" fmla="*/ 304 h 1009"/>
              <a:gd name="T12" fmla="*/ 1397 w 1775"/>
              <a:gd name="T13" fmla="*/ 843 h 1009"/>
              <a:gd name="T14" fmla="*/ 1324 w 1775"/>
              <a:gd name="T15" fmla="*/ 843 h 1009"/>
              <a:gd name="T16" fmla="*/ 1549 w 1775"/>
              <a:gd name="T17" fmla="*/ 1009 h 1009"/>
              <a:gd name="T18" fmla="*/ 1775 w 1775"/>
              <a:gd name="T19" fmla="*/ 843 h 1009"/>
              <a:gd name="T20" fmla="*/ 1701 w 1775"/>
              <a:gd name="T21" fmla="*/ 843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701" y="843"/>
                </a:moveTo>
                <a:cubicBezTo>
                  <a:pt x="1697" y="377"/>
                  <a:pt x="1317" y="0"/>
                  <a:pt x="850" y="0"/>
                </a:cubicBezTo>
                <a:cubicBezTo>
                  <a:pt x="398" y="0"/>
                  <a:pt x="28" y="353"/>
                  <a:pt x="0" y="798"/>
                </a:cubicBezTo>
                <a:cubicBezTo>
                  <a:pt x="142" y="694"/>
                  <a:pt x="142" y="694"/>
                  <a:pt x="142" y="694"/>
                </a:cubicBezTo>
                <a:cubicBezTo>
                  <a:pt x="304" y="814"/>
                  <a:pt x="304" y="814"/>
                  <a:pt x="304" y="814"/>
                </a:cubicBezTo>
                <a:cubicBezTo>
                  <a:pt x="323" y="529"/>
                  <a:pt x="560" y="304"/>
                  <a:pt x="850" y="304"/>
                </a:cubicBezTo>
                <a:cubicBezTo>
                  <a:pt x="1149" y="304"/>
                  <a:pt x="1392" y="544"/>
                  <a:pt x="1397" y="843"/>
                </a:cubicBezTo>
                <a:cubicBezTo>
                  <a:pt x="1324" y="843"/>
                  <a:pt x="1324" y="843"/>
                  <a:pt x="1324" y="843"/>
                </a:cubicBezTo>
                <a:cubicBezTo>
                  <a:pt x="1549" y="1009"/>
                  <a:pt x="1549" y="1009"/>
                  <a:pt x="1549" y="1009"/>
                </a:cubicBezTo>
                <a:cubicBezTo>
                  <a:pt x="1775" y="843"/>
                  <a:pt x="1775" y="843"/>
                  <a:pt x="1775" y="843"/>
                </a:cubicBezTo>
                <a:lnTo>
                  <a:pt x="1701" y="843"/>
                </a:lnTo>
                <a:close/>
              </a:path>
            </a:pathLst>
          </a:custGeom>
          <a:solidFill>
            <a:schemeClr val="accent5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223322" y="2991223"/>
            <a:ext cx="38159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solidFill>
                  <a:schemeClr val="accent2"/>
                </a:solidFill>
                <a:latin typeface="+mj-lt"/>
              </a:rPr>
              <a:t>Start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479709" y="3123858"/>
            <a:ext cx="38159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solidFill>
                  <a:schemeClr val="accent2"/>
                </a:solidFill>
                <a:latin typeface="+mj-lt"/>
              </a:rPr>
              <a:t>Finish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509145" y="3319845"/>
            <a:ext cx="100781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Sed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043192" y="3319845"/>
            <a:ext cx="100781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Sed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6520190" y="3319845"/>
            <a:ext cx="100781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Sed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789484" y="1850390"/>
            <a:ext cx="100781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300311" y="1850391"/>
            <a:ext cx="100781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Sed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or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507336" y="2303943"/>
            <a:ext cx="1052508" cy="1014408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lnSpc>
                <a:spcPts val="1500"/>
              </a:lnSpc>
              <a:spcAft>
                <a:spcPts val="600"/>
              </a:spcAft>
            </a:pPr>
            <a:r>
              <a:rPr lang="en-US" sz="1000" b="1" cap="all">
                <a:solidFill>
                  <a:schemeClr val="bg1"/>
                </a:solidFill>
                <a:latin typeface="+mj-lt"/>
              </a:rPr>
              <a:t>creative</a:t>
            </a:r>
            <a:r>
              <a:rPr lang="en-US" sz="900" b="1" cap="all">
                <a:solidFill>
                  <a:schemeClr val="bg1"/>
                </a:solidFill>
                <a:latin typeface="+mj-lt"/>
              </a:rPr>
              <a:t> idea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2693043" y="2467293"/>
            <a:ext cx="1202682" cy="1005840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Down">
              <a:avLst>
                <a:gd name="adj" fmla="val 21055539"/>
              </a:avLst>
            </a:prstTxWarp>
            <a:spAutoFit/>
          </a:bodyPr>
          <a:lstStyle/>
          <a:p>
            <a:pPr algn="ctr"/>
            <a:r>
              <a:rPr lang="en-US" sz="1000" b="1" cap="all" spc="100">
                <a:solidFill>
                  <a:schemeClr val="bg1"/>
                </a:solidFill>
                <a:latin typeface="+mj-lt"/>
              </a:rPr>
              <a:t>Research</a:t>
            </a:r>
            <a:endParaRPr lang="en-US" sz="900" b="1" cap="all" spc="1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3997967" y="2303943"/>
            <a:ext cx="1052508" cy="1014408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lnSpc>
                <a:spcPts val="1500"/>
              </a:lnSpc>
              <a:spcAft>
                <a:spcPts val="600"/>
              </a:spcAft>
            </a:pPr>
            <a:r>
              <a:rPr lang="en-US" sz="1000" b="1" cap="all">
                <a:solidFill>
                  <a:schemeClr val="bg1"/>
                </a:solidFill>
                <a:latin typeface="+mj-lt"/>
              </a:rPr>
              <a:t>concept</a:t>
            </a:r>
            <a:endParaRPr lang="en-US" sz="900" b="1" cap="all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6535744" y="2303943"/>
            <a:ext cx="998532" cy="1014408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lnSpc>
                <a:spcPts val="1500"/>
              </a:lnSpc>
              <a:spcAft>
                <a:spcPts val="600"/>
              </a:spcAft>
            </a:pPr>
            <a:r>
              <a:rPr lang="en-US" sz="1000" b="1" cap="all">
                <a:solidFill>
                  <a:schemeClr val="bg1"/>
                </a:solidFill>
                <a:latin typeface="+mj-lt"/>
              </a:rPr>
              <a:t>delivery</a:t>
            </a:r>
            <a:endParaRPr lang="en-US" sz="900" b="1" cap="all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5215876" y="2467293"/>
            <a:ext cx="1129360" cy="1005840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Down">
              <a:avLst>
                <a:gd name="adj" fmla="val 21055539"/>
              </a:avLst>
            </a:prstTxWarp>
            <a:spAutoFit/>
          </a:bodyPr>
          <a:lstStyle/>
          <a:p>
            <a:pPr algn="ctr"/>
            <a:r>
              <a:rPr lang="en-US" sz="1000" b="1" cap="all" spc="100">
                <a:solidFill>
                  <a:schemeClr val="bg1"/>
                </a:solidFill>
                <a:latin typeface="+mj-lt"/>
              </a:rPr>
              <a:t>design</a:t>
            </a:r>
            <a:endParaRPr lang="en-US" sz="900" b="1" cap="all" spc="1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Oval 3"/>
          <p:cNvSpPr/>
          <p:nvPr/>
        </p:nvSpPr>
        <p:spPr>
          <a:xfrm>
            <a:off x="1373975" y="2908392"/>
            <a:ext cx="70552" cy="705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7635229" y="3038983"/>
            <a:ext cx="70552" cy="705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1" name="Freeform 213">
            <a:extLst>
              <a:ext uri="{FF2B5EF4-FFF2-40B4-BE49-F238E27FC236}">
                <a16:creationId xmlns:a16="http://schemas.microsoft.com/office/drawing/2014/main" id="{EC67AA79-9854-4F2A-B447-890E2D7AC00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893183" y="2698906"/>
            <a:ext cx="249064" cy="377488"/>
          </a:xfrm>
          <a:custGeom>
            <a:avLst/>
            <a:gdLst>
              <a:gd name="T0" fmla="*/ 87 w 97"/>
              <a:gd name="T1" fmla="*/ 68 h 146"/>
              <a:gd name="T2" fmla="*/ 75 w 97"/>
              <a:gd name="T3" fmla="*/ 85 h 146"/>
              <a:gd name="T4" fmla="*/ 76 w 97"/>
              <a:gd name="T5" fmla="*/ 103 h 146"/>
              <a:gd name="T6" fmla="*/ 76 w 97"/>
              <a:gd name="T7" fmla="*/ 115 h 146"/>
              <a:gd name="T8" fmla="*/ 73 w 97"/>
              <a:gd name="T9" fmla="*/ 127 h 146"/>
              <a:gd name="T10" fmla="*/ 63 w 97"/>
              <a:gd name="T11" fmla="*/ 136 h 146"/>
              <a:gd name="T12" fmla="*/ 49 w 97"/>
              <a:gd name="T13" fmla="*/ 146 h 146"/>
              <a:gd name="T14" fmla="*/ 35 w 97"/>
              <a:gd name="T15" fmla="*/ 136 h 146"/>
              <a:gd name="T16" fmla="*/ 25 w 97"/>
              <a:gd name="T17" fmla="*/ 127 h 146"/>
              <a:gd name="T18" fmla="*/ 22 w 97"/>
              <a:gd name="T19" fmla="*/ 115 h 146"/>
              <a:gd name="T20" fmla="*/ 22 w 97"/>
              <a:gd name="T21" fmla="*/ 103 h 146"/>
              <a:gd name="T22" fmla="*/ 23 w 97"/>
              <a:gd name="T23" fmla="*/ 85 h 146"/>
              <a:gd name="T24" fmla="*/ 10 w 97"/>
              <a:gd name="T25" fmla="*/ 68 h 146"/>
              <a:gd name="T26" fmla="*/ 5 w 97"/>
              <a:gd name="T27" fmla="*/ 25 h 146"/>
              <a:gd name="T28" fmla="*/ 31 w 97"/>
              <a:gd name="T29" fmla="*/ 3 h 146"/>
              <a:gd name="T30" fmla="*/ 66 w 97"/>
              <a:gd name="T31" fmla="*/ 3 h 146"/>
              <a:gd name="T32" fmla="*/ 93 w 97"/>
              <a:gd name="T33" fmla="*/ 25 h 146"/>
              <a:gd name="T34" fmla="*/ 85 w 97"/>
              <a:gd name="T35" fmla="*/ 43 h 146"/>
              <a:gd name="T36" fmla="*/ 73 w 97"/>
              <a:gd name="T37" fmla="*/ 20 h 146"/>
              <a:gd name="T38" fmla="*/ 49 w 97"/>
              <a:gd name="T39" fmla="*/ 12 h 146"/>
              <a:gd name="T40" fmla="*/ 24 w 97"/>
              <a:gd name="T41" fmla="*/ 20 h 146"/>
              <a:gd name="T42" fmla="*/ 13 w 97"/>
              <a:gd name="T43" fmla="*/ 43 h 146"/>
              <a:gd name="T44" fmla="*/ 22 w 97"/>
              <a:gd name="T45" fmla="*/ 63 h 146"/>
              <a:gd name="T46" fmla="*/ 38 w 97"/>
              <a:gd name="T47" fmla="*/ 94 h 146"/>
              <a:gd name="T48" fmla="*/ 73 w 97"/>
              <a:gd name="T49" fmla="*/ 66 h 146"/>
              <a:gd name="T50" fmla="*/ 79 w 97"/>
              <a:gd name="T51" fmla="*/ 60 h 146"/>
              <a:gd name="T52" fmla="*/ 70 w 97"/>
              <a:gd name="T53" fmla="*/ 43 h 146"/>
              <a:gd name="T54" fmla="*/ 67 w 97"/>
              <a:gd name="T55" fmla="*/ 46 h 146"/>
              <a:gd name="T56" fmla="*/ 64 w 97"/>
              <a:gd name="T57" fmla="*/ 43 h 146"/>
              <a:gd name="T58" fmla="*/ 49 w 97"/>
              <a:gd name="T59" fmla="*/ 34 h 146"/>
              <a:gd name="T60" fmla="*/ 46 w 97"/>
              <a:gd name="T61" fmla="*/ 31 h 146"/>
              <a:gd name="T62" fmla="*/ 49 w 97"/>
              <a:gd name="T63" fmla="*/ 28 h 146"/>
              <a:gd name="T64" fmla="*/ 66 w 97"/>
              <a:gd name="T6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43"/>
                </a:moveTo>
                <a:cubicBezTo>
                  <a:pt x="97" y="52"/>
                  <a:pt x="94" y="61"/>
                  <a:pt x="87" y="68"/>
                </a:cubicBezTo>
                <a:cubicBezTo>
                  <a:pt x="85" y="71"/>
                  <a:pt x="82" y="74"/>
                  <a:pt x="80" y="76"/>
                </a:cubicBezTo>
                <a:cubicBezTo>
                  <a:pt x="79" y="79"/>
                  <a:pt x="77" y="82"/>
                  <a:pt x="75" y="85"/>
                </a:cubicBezTo>
                <a:cubicBezTo>
                  <a:pt x="73" y="89"/>
                  <a:pt x="72" y="92"/>
                  <a:pt x="72" y="95"/>
                </a:cubicBezTo>
                <a:cubicBezTo>
                  <a:pt x="75" y="97"/>
                  <a:pt x="76" y="100"/>
                  <a:pt x="76" y="103"/>
                </a:cubicBezTo>
                <a:cubicBezTo>
                  <a:pt x="76" y="106"/>
                  <a:pt x="75" y="108"/>
                  <a:pt x="74" y="109"/>
                </a:cubicBezTo>
                <a:cubicBezTo>
                  <a:pt x="75" y="111"/>
                  <a:pt x="76" y="113"/>
                  <a:pt x="76" y="115"/>
                </a:cubicBezTo>
                <a:cubicBezTo>
                  <a:pt x="76" y="119"/>
                  <a:pt x="75" y="121"/>
                  <a:pt x="72" y="123"/>
                </a:cubicBezTo>
                <a:cubicBezTo>
                  <a:pt x="73" y="124"/>
                  <a:pt x="73" y="126"/>
                  <a:pt x="73" y="127"/>
                </a:cubicBezTo>
                <a:cubicBezTo>
                  <a:pt x="73" y="130"/>
                  <a:pt x="72" y="133"/>
                  <a:pt x="70" y="134"/>
                </a:cubicBezTo>
                <a:cubicBezTo>
                  <a:pt x="68" y="136"/>
                  <a:pt x="66" y="136"/>
                  <a:pt x="63" y="136"/>
                </a:cubicBezTo>
                <a:cubicBezTo>
                  <a:pt x="61" y="139"/>
                  <a:pt x="60" y="141"/>
                  <a:pt x="57" y="143"/>
                </a:cubicBezTo>
                <a:cubicBezTo>
                  <a:pt x="55" y="145"/>
                  <a:pt x="52" y="146"/>
                  <a:pt x="49" y="146"/>
                </a:cubicBezTo>
                <a:cubicBezTo>
                  <a:pt x="46" y="146"/>
                  <a:pt x="43" y="145"/>
                  <a:pt x="41" y="143"/>
                </a:cubicBezTo>
                <a:cubicBezTo>
                  <a:pt x="38" y="141"/>
                  <a:pt x="36" y="139"/>
                  <a:pt x="35" y="136"/>
                </a:cubicBezTo>
                <a:cubicBezTo>
                  <a:pt x="32" y="136"/>
                  <a:pt x="30" y="136"/>
                  <a:pt x="28" y="134"/>
                </a:cubicBezTo>
                <a:cubicBezTo>
                  <a:pt x="26" y="133"/>
                  <a:pt x="25" y="130"/>
                  <a:pt x="25" y="127"/>
                </a:cubicBezTo>
                <a:cubicBezTo>
                  <a:pt x="25" y="126"/>
                  <a:pt x="25" y="124"/>
                  <a:pt x="26" y="123"/>
                </a:cubicBezTo>
                <a:cubicBezTo>
                  <a:pt x="23" y="121"/>
                  <a:pt x="22" y="119"/>
                  <a:pt x="22" y="115"/>
                </a:cubicBezTo>
                <a:cubicBezTo>
                  <a:pt x="22" y="113"/>
                  <a:pt x="22" y="111"/>
                  <a:pt x="24" y="109"/>
                </a:cubicBezTo>
                <a:cubicBezTo>
                  <a:pt x="22" y="108"/>
                  <a:pt x="22" y="106"/>
                  <a:pt x="22" y="103"/>
                </a:cubicBezTo>
                <a:cubicBezTo>
                  <a:pt x="22" y="100"/>
                  <a:pt x="23" y="97"/>
                  <a:pt x="26" y="95"/>
                </a:cubicBezTo>
                <a:cubicBezTo>
                  <a:pt x="26" y="92"/>
                  <a:pt x="25" y="89"/>
                  <a:pt x="23" y="85"/>
                </a:cubicBezTo>
                <a:cubicBezTo>
                  <a:pt x="21" y="82"/>
                  <a:pt x="19" y="79"/>
                  <a:pt x="17" y="76"/>
                </a:cubicBezTo>
                <a:cubicBezTo>
                  <a:pt x="15" y="74"/>
                  <a:pt x="13" y="71"/>
                  <a:pt x="10" y="68"/>
                </a:cubicBezTo>
                <a:cubicBezTo>
                  <a:pt x="4" y="61"/>
                  <a:pt x="0" y="52"/>
                  <a:pt x="0" y="43"/>
                </a:cubicBezTo>
                <a:cubicBezTo>
                  <a:pt x="0" y="36"/>
                  <a:pt x="2" y="31"/>
                  <a:pt x="5" y="25"/>
                </a:cubicBezTo>
                <a:cubicBezTo>
                  <a:pt x="7" y="20"/>
                  <a:pt x="11" y="15"/>
                  <a:pt x="16" y="12"/>
                </a:cubicBezTo>
                <a:cubicBezTo>
                  <a:pt x="20" y="8"/>
                  <a:pt x="25" y="5"/>
                  <a:pt x="31" y="3"/>
                </a:cubicBezTo>
                <a:cubicBezTo>
                  <a:pt x="37" y="1"/>
                  <a:pt x="43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2" y="5"/>
                  <a:pt x="77" y="8"/>
                  <a:pt x="82" y="12"/>
                </a:cubicBezTo>
                <a:cubicBezTo>
                  <a:pt x="87" y="15"/>
                  <a:pt x="90" y="20"/>
                  <a:pt x="93" y="25"/>
                </a:cubicBezTo>
                <a:cubicBezTo>
                  <a:pt x="96" y="31"/>
                  <a:pt x="97" y="36"/>
                  <a:pt x="97" y="43"/>
                </a:cubicBezTo>
                <a:close/>
                <a:moveTo>
                  <a:pt x="85" y="43"/>
                </a:moveTo>
                <a:cubicBezTo>
                  <a:pt x="85" y="38"/>
                  <a:pt x="84" y="34"/>
                  <a:pt x="82" y="30"/>
                </a:cubicBezTo>
                <a:cubicBezTo>
                  <a:pt x="80" y="26"/>
                  <a:pt x="77" y="23"/>
                  <a:pt x="73" y="20"/>
                </a:cubicBezTo>
                <a:cubicBezTo>
                  <a:pt x="70" y="18"/>
                  <a:pt x="66" y="16"/>
                  <a:pt x="62" y="15"/>
                </a:cubicBezTo>
                <a:cubicBezTo>
                  <a:pt x="57" y="13"/>
                  <a:pt x="53" y="12"/>
                  <a:pt x="49" y="12"/>
                </a:cubicBezTo>
                <a:cubicBezTo>
                  <a:pt x="44" y="12"/>
                  <a:pt x="40" y="13"/>
                  <a:pt x="36" y="15"/>
                </a:cubicBezTo>
                <a:cubicBezTo>
                  <a:pt x="32" y="16"/>
                  <a:pt x="28" y="18"/>
                  <a:pt x="24" y="20"/>
                </a:cubicBezTo>
                <a:cubicBezTo>
                  <a:pt x="21" y="23"/>
                  <a:pt x="18" y="26"/>
                  <a:pt x="16" y="30"/>
                </a:cubicBezTo>
                <a:cubicBezTo>
                  <a:pt x="14" y="34"/>
                  <a:pt x="13" y="38"/>
                  <a:pt x="13" y="43"/>
                </a:cubicBezTo>
                <a:cubicBezTo>
                  <a:pt x="13" y="49"/>
                  <a:pt x="15" y="55"/>
                  <a:pt x="19" y="60"/>
                </a:cubicBezTo>
                <a:cubicBezTo>
                  <a:pt x="20" y="60"/>
                  <a:pt x="21" y="61"/>
                  <a:pt x="22" y="63"/>
                </a:cubicBezTo>
                <a:cubicBezTo>
                  <a:pt x="23" y="64"/>
                  <a:pt x="24" y="65"/>
                  <a:pt x="25" y="66"/>
                </a:cubicBezTo>
                <a:cubicBezTo>
                  <a:pt x="33" y="76"/>
                  <a:pt x="37" y="85"/>
                  <a:pt x="38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60" y="85"/>
                  <a:pt x="65" y="76"/>
                  <a:pt x="73" y="66"/>
                </a:cubicBezTo>
                <a:cubicBezTo>
                  <a:pt x="74" y="65"/>
                  <a:pt x="75" y="64"/>
                  <a:pt x="76" y="63"/>
                </a:cubicBezTo>
                <a:cubicBezTo>
                  <a:pt x="77" y="61"/>
                  <a:pt x="78" y="60"/>
                  <a:pt x="79" y="60"/>
                </a:cubicBezTo>
                <a:cubicBezTo>
                  <a:pt x="83" y="55"/>
                  <a:pt x="85" y="49"/>
                  <a:pt x="85" y="43"/>
                </a:cubicBezTo>
                <a:close/>
                <a:moveTo>
                  <a:pt x="70" y="43"/>
                </a:moveTo>
                <a:cubicBezTo>
                  <a:pt x="70" y="43"/>
                  <a:pt x="70" y="44"/>
                  <a:pt x="69" y="45"/>
                </a:cubicBezTo>
                <a:cubicBezTo>
                  <a:pt x="68" y="45"/>
                  <a:pt x="68" y="46"/>
                  <a:pt x="67" y="46"/>
                </a:cubicBezTo>
                <a:cubicBezTo>
                  <a:pt x="66" y="46"/>
                  <a:pt x="65" y="45"/>
                  <a:pt x="65" y="45"/>
                </a:cubicBezTo>
                <a:cubicBezTo>
                  <a:pt x="64" y="44"/>
                  <a:pt x="64" y="43"/>
                  <a:pt x="64" y="43"/>
                </a:cubicBezTo>
                <a:cubicBezTo>
                  <a:pt x="64" y="40"/>
                  <a:pt x="62" y="38"/>
                  <a:pt x="59" y="36"/>
                </a:cubicBezTo>
                <a:cubicBezTo>
                  <a:pt x="55" y="34"/>
                  <a:pt x="52" y="34"/>
                  <a:pt x="49" y="34"/>
                </a:cubicBezTo>
                <a:cubicBezTo>
                  <a:pt x="48" y="34"/>
                  <a:pt x="47" y="33"/>
                  <a:pt x="47" y="33"/>
                </a:cubicBezTo>
                <a:cubicBezTo>
                  <a:pt x="46" y="32"/>
                  <a:pt x="46" y="31"/>
                  <a:pt x="46" y="31"/>
                </a:cubicBezTo>
                <a:cubicBezTo>
                  <a:pt x="46" y="30"/>
                  <a:pt x="46" y="29"/>
                  <a:pt x="47" y="28"/>
                </a:cubicBezTo>
                <a:cubicBezTo>
                  <a:pt x="47" y="28"/>
                  <a:pt x="48" y="28"/>
                  <a:pt x="49" y="28"/>
                </a:cubicBezTo>
                <a:cubicBezTo>
                  <a:pt x="52" y="28"/>
                  <a:pt x="55" y="28"/>
                  <a:pt x="58" y="29"/>
                </a:cubicBezTo>
                <a:cubicBezTo>
                  <a:pt x="61" y="30"/>
                  <a:pt x="64" y="32"/>
                  <a:pt x="66" y="34"/>
                </a:cubicBezTo>
                <a:cubicBezTo>
                  <a:pt x="69" y="37"/>
                  <a:pt x="70" y="39"/>
                  <a:pt x="70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2" name="Freeform 7">
            <a:extLst>
              <a:ext uri="{FF2B5EF4-FFF2-40B4-BE49-F238E27FC236}">
                <a16:creationId xmlns:a16="http://schemas.microsoft.com/office/drawing/2014/main" id="{46D5DF79-9614-4813-88EB-FA986D916D9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95933" y="2735111"/>
            <a:ext cx="316426" cy="319466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3" name="Freeform 23">
            <a:extLst>
              <a:ext uri="{FF2B5EF4-FFF2-40B4-BE49-F238E27FC236}">
                <a16:creationId xmlns:a16="http://schemas.microsoft.com/office/drawing/2014/main" id="{8BAE2DD6-0899-45D3-90EB-A83DDB96F4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89579" y="2744261"/>
            <a:ext cx="292084" cy="295128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4" name="Freeform 240">
            <a:extLst>
              <a:ext uri="{FF2B5EF4-FFF2-40B4-BE49-F238E27FC236}">
                <a16:creationId xmlns:a16="http://schemas.microsoft.com/office/drawing/2014/main" id="{030A0A0A-4C54-4F17-B28F-560B428A704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95154" y="2707509"/>
            <a:ext cx="365105" cy="319469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5" name="Freeform 188">
            <a:extLst>
              <a:ext uri="{FF2B5EF4-FFF2-40B4-BE49-F238E27FC236}">
                <a16:creationId xmlns:a16="http://schemas.microsoft.com/office/drawing/2014/main" id="{07410901-3EA2-47E3-B01B-43630FD25858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6851256" y="2738051"/>
            <a:ext cx="361453" cy="297866"/>
          </a:xfrm>
          <a:custGeom>
            <a:avLst/>
            <a:gdLst>
              <a:gd name="T0" fmla="*/ 163 w 163"/>
              <a:gd name="T1" fmla="*/ 103 h 134"/>
              <a:gd name="T2" fmla="*/ 162 w 163"/>
              <a:gd name="T3" fmla="*/ 108 h 134"/>
              <a:gd name="T4" fmla="*/ 158 w 163"/>
              <a:gd name="T5" fmla="*/ 109 h 134"/>
              <a:gd name="T6" fmla="*/ 153 w 163"/>
              <a:gd name="T7" fmla="*/ 109 h 134"/>
              <a:gd name="T8" fmla="*/ 144 w 163"/>
              <a:gd name="T9" fmla="*/ 126 h 134"/>
              <a:gd name="T10" fmla="*/ 110 w 163"/>
              <a:gd name="T11" fmla="*/ 126 h 134"/>
              <a:gd name="T12" fmla="*/ 67 w 163"/>
              <a:gd name="T13" fmla="*/ 109 h 134"/>
              <a:gd name="T14" fmla="*/ 42 w 163"/>
              <a:gd name="T15" fmla="*/ 134 h 134"/>
              <a:gd name="T16" fmla="*/ 18 w 163"/>
              <a:gd name="T17" fmla="*/ 109 h 134"/>
              <a:gd name="T18" fmla="*/ 10 w 163"/>
              <a:gd name="T19" fmla="*/ 109 h 134"/>
              <a:gd name="T20" fmla="*/ 5 w 163"/>
              <a:gd name="T21" fmla="*/ 109 h 134"/>
              <a:gd name="T22" fmla="*/ 2 w 163"/>
              <a:gd name="T23" fmla="*/ 108 h 134"/>
              <a:gd name="T24" fmla="*/ 0 w 163"/>
              <a:gd name="T25" fmla="*/ 103 h 134"/>
              <a:gd name="T26" fmla="*/ 6 w 163"/>
              <a:gd name="T27" fmla="*/ 97 h 134"/>
              <a:gd name="T28" fmla="*/ 6 w 163"/>
              <a:gd name="T29" fmla="*/ 64 h 134"/>
              <a:gd name="T30" fmla="*/ 6 w 163"/>
              <a:gd name="T31" fmla="*/ 57 h 134"/>
              <a:gd name="T32" fmla="*/ 8 w 163"/>
              <a:gd name="T33" fmla="*/ 50 h 134"/>
              <a:gd name="T34" fmla="*/ 29 w 163"/>
              <a:gd name="T35" fmla="*/ 29 h 134"/>
              <a:gd name="T36" fmla="*/ 39 w 163"/>
              <a:gd name="T37" fmla="*/ 25 h 134"/>
              <a:gd name="T38" fmla="*/ 54 w 163"/>
              <a:gd name="T39" fmla="*/ 6 h 134"/>
              <a:gd name="T40" fmla="*/ 61 w 163"/>
              <a:gd name="T41" fmla="*/ 0 h 134"/>
              <a:gd name="T42" fmla="*/ 162 w 163"/>
              <a:gd name="T43" fmla="*/ 2 h 134"/>
              <a:gd name="T44" fmla="*/ 18 w 163"/>
              <a:gd name="T45" fmla="*/ 61 h 134"/>
              <a:gd name="T46" fmla="*/ 54 w 163"/>
              <a:gd name="T47" fmla="*/ 37 h 134"/>
              <a:gd name="T48" fmla="*/ 37 w 163"/>
              <a:gd name="T49" fmla="*/ 38 h 134"/>
              <a:gd name="T50" fmla="*/ 18 w 163"/>
              <a:gd name="T51" fmla="*/ 58 h 134"/>
              <a:gd name="T52" fmla="*/ 51 w 163"/>
              <a:gd name="T53" fmla="*/ 118 h 134"/>
              <a:gd name="T54" fmla="*/ 51 w 163"/>
              <a:gd name="T55" fmla="*/ 101 h 134"/>
              <a:gd name="T56" fmla="*/ 34 w 163"/>
              <a:gd name="T57" fmla="*/ 101 h 134"/>
              <a:gd name="T58" fmla="*/ 34 w 163"/>
              <a:gd name="T59" fmla="*/ 118 h 134"/>
              <a:gd name="T60" fmla="*/ 51 w 163"/>
              <a:gd name="T61" fmla="*/ 118 h 134"/>
              <a:gd name="T62" fmla="*/ 139 w 163"/>
              <a:gd name="T63" fmla="*/ 109 h 134"/>
              <a:gd name="T64" fmla="*/ 127 w 163"/>
              <a:gd name="T65" fmla="*/ 97 h 134"/>
              <a:gd name="T66" fmla="*/ 115 w 163"/>
              <a:gd name="T67" fmla="*/ 109 h 134"/>
              <a:gd name="T68" fmla="*/ 127 w 163"/>
              <a:gd name="T69" fmla="*/ 12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3" h="134">
                <a:moveTo>
                  <a:pt x="163" y="6"/>
                </a:moveTo>
                <a:cubicBezTo>
                  <a:pt x="163" y="103"/>
                  <a:pt x="163" y="103"/>
                  <a:pt x="163" y="103"/>
                </a:cubicBezTo>
                <a:cubicBezTo>
                  <a:pt x="163" y="104"/>
                  <a:pt x="163" y="105"/>
                  <a:pt x="163" y="106"/>
                </a:cubicBezTo>
                <a:cubicBezTo>
                  <a:pt x="163" y="107"/>
                  <a:pt x="162" y="107"/>
                  <a:pt x="162" y="108"/>
                </a:cubicBezTo>
                <a:cubicBezTo>
                  <a:pt x="161" y="108"/>
                  <a:pt x="161" y="108"/>
                  <a:pt x="160" y="109"/>
                </a:cubicBezTo>
                <a:cubicBezTo>
                  <a:pt x="160" y="109"/>
                  <a:pt x="159" y="109"/>
                  <a:pt x="158" y="109"/>
                </a:cubicBezTo>
                <a:cubicBezTo>
                  <a:pt x="157" y="109"/>
                  <a:pt x="156" y="109"/>
                  <a:pt x="156" y="109"/>
                </a:cubicBezTo>
                <a:cubicBezTo>
                  <a:pt x="155" y="109"/>
                  <a:pt x="155" y="109"/>
                  <a:pt x="153" y="109"/>
                </a:cubicBezTo>
                <a:cubicBezTo>
                  <a:pt x="152" y="109"/>
                  <a:pt x="152" y="109"/>
                  <a:pt x="151" y="109"/>
                </a:cubicBezTo>
                <a:cubicBezTo>
                  <a:pt x="151" y="116"/>
                  <a:pt x="149" y="122"/>
                  <a:pt x="144" y="126"/>
                </a:cubicBezTo>
                <a:cubicBezTo>
                  <a:pt x="139" y="131"/>
                  <a:pt x="134" y="134"/>
                  <a:pt x="127" y="134"/>
                </a:cubicBezTo>
                <a:cubicBezTo>
                  <a:pt x="120" y="134"/>
                  <a:pt x="115" y="131"/>
                  <a:pt x="110" y="126"/>
                </a:cubicBezTo>
                <a:cubicBezTo>
                  <a:pt x="105" y="122"/>
                  <a:pt x="103" y="116"/>
                  <a:pt x="103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16"/>
                  <a:pt x="64" y="122"/>
                  <a:pt x="60" y="126"/>
                </a:cubicBezTo>
                <a:cubicBezTo>
                  <a:pt x="55" y="131"/>
                  <a:pt x="49" y="134"/>
                  <a:pt x="42" y="134"/>
                </a:cubicBezTo>
                <a:cubicBezTo>
                  <a:pt x="36" y="134"/>
                  <a:pt x="30" y="131"/>
                  <a:pt x="25" y="126"/>
                </a:cubicBezTo>
                <a:cubicBezTo>
                  <a:pt x="21" y="122"/>
                  <a:pt x="18" y="116"/>
                  <a:pt x="18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1" y="109"/>
                  <a:pt x="10" y="109"/>
                </a:cubicBezTo>
                <a:cubicBezTo>
                  <a:pt x="9" y="109"/>
                  <a:pt x="8" y="109"/>
                  <a:pt x="8" y="109"/>
                </a:cubicBezTo>
                <a:cubicBezTo>
                  <a:pt x="7" y="109"/>
                  <a:pt x="7" y="109"/>
                  <a:pt x="5" y="109"/>
                </a:cubicBezTo>
                <a:cubicBezTo>
                  <a:pt x="4" y="109"/>
                  <a:pt x="4" y="109"/>
                  <a:pt x="3" y="109"/>
                </a:cubicBezTo>
                <a:cubicBezTo>
                  <a:pt x="3" y="108"/>
                  <a:pt x="2" y="108"/>
                  <a:pt x="2" y="108"/>
                </a:cubicBezTo>
                <a:cubicBezTo>
                  <a:pt x="1" y="107"/>
                  <a:pt x="1" y="107"/>
                  <a:pt x="0" y="106"/>
                </a:cubicBezTo>
                <a:cubicBezTo>
                  <a:pt x="0" y="105"/>
                  <a:pt x="0" y="104"/>
                  <a:pt x="0" y="103"/>
                </a:cubicBezTo>
                <a:cubicBezTo>
                  <a:pt x="0" y="102"/>
                  <a:pt x="1" y="100"/>
                  <a:pt x="2" y="99"/>
                </a:cubicBezTo>
                <a:cubicBezTo>
                  <a:pt x="3" y="98"/>
                  <a:pt x="4" y="97"/>
                  <a:pt x="6" y="9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6"/>
                  <a:pt x="6" y="65"/>
                  <a:pt x="6" y="64"/>
                </a:cubicBezTo>
                <a:cubicBezTo>
                  <a:pt x="6" y="62"/>
                  <a:pt x="6" y="61"/>
                  <a:pt x="6" y="60"/>
                </a:cubicBezTo>
                <a:cubicBezTo>
                  <a:pt x="6" y="59"/>
                  <a:pt x="6" y="58"/>
                  <a:pt x="6" y="57"/>
                </a:cubicBezTo>
                <a:cubicBezTo>
                  <a:pt x="6" y="55"/>
                  <a:pt x="7" y="54"/>
                  <a:pt x="7" y="53"/>
                </a:cubicBezTo>
                <a:cubicBezTo>
                  <a:pt x="7" y="52"/>
                  <a:pt x="8" y="52"/>
                  <a:pt x="8" y="50"/>
                </a:cubicBezTo>
                <a:cubicBezTo>
                  <a:pt x="9" y="49"/>
                  <a:pt x="10" y="48"/>
                  <a:pt x="10" y="48"/>
                </a:cubicBezTo>
                <a:cubicBezTo>
                  <a:pt x="29" y="29"/>
                  <a:pt x="29" y="29"/>
                  <a:pt x="29" y="29"/>
                </a:cubicBezTo>
                <a:cubicBezTo>
                  <a:pt x="30" y="28"/>
                  <a:pt x="32" y="27"/>
                  <a:pt x="34" y="26"/>
                </a:cubicBezTo>
                <a:cubicBezTo>
                  <a:pt x="36" y="25"/>
                  <a:pt x="38" y="25"/>
                  <a:pt x="39" y="25"/>
                </a:cubicBezTo>
                <a:cubicBezTo>
                  <a:pt x="54" y="25"/>
                  <a:pt x="54" y="25"/>
                  <a:pt x="54" y="25"/>
                </a:cubicBezTo>
                <a:cubicBezTo>
                  <a:pt x="54" y="6"/>
                  <a:pt x="54" y="6"/>
                  <a:pt x="54" y="6"/>
                </a:cubicBezTo>
                <a:cubicBezTo>
                  <a:pt x="54" y="5"/>
                  <a:pt x="55" y="3"/>
                  <a:pt x="56" y="2"/>
                </a:cubicBezTo>
                <a:cubicBezTo>
                  <a:pt x="57" y="1"/>
                  <a:pt x="59" y="0"/>
                  <a:pt x="61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9" y="0"/>
                  <a:pt x="160" y="1"/>
                  <a:pt x="162" y="2"/>
                </a:cubicBezTo>
                <a:cubicBezTo>
                  <a:pt x="163" y="3"/>
                  <a:pt x="163" y="5"/>
                  <a:pt x="163" y="6"/>
                </a:cubicBezTo>
                <a:close/>
                <a:moveTo>
                  <a:pt x="18" y="61"/>
                </a:moveTo>
                <a:cubicBezTo>
                  <a:pt x="54" y="61"/>
                  <a:pt x="54" y="61"/>
                  <a:pt x="54" y="61"/>
                </a:cubicBezTo>
                <a:cubicBezTo>
                  <a:pt x="54" y="37"/>
                  <a:pt x="54" y="37"/>
                  <a:pt x="54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39" y="37"/>
                  <a:pt x="38" y="37"/>
                  <a:pt x="37" y="38"/>
                </a:cubicBezTo>
                <a:cubicBezTo>
                  <a:pt x="19" y="56"/>
                  <a:pt x="19" y="56"/>
                  <a:pt x="19" y="56"/>
                </a:cubicBezTo>
                <a:cubicBezTo>
                  <a:pt x="18" y="57"/>
                  <a:pt x="18" y="57"/>
                  <a:pt x="18" y="58"/>
                </a:cubicBezTo>
                <a:lnTo>
                  <a:pt x="18" y="61"/>
                </a:lnTo>
                <a:close/>
                <a:moveTo>
                  <a:pt x="51" y="118"/>
                </a:moveTo>
                <a:cubicBezTo>
                  <a:pt x="53" y="115"/>
                  <a:pt x="54" y="113"/>
                  <a:pt x="54" y="109"/>
                </a:cubicBezTo>
                <a:cubicBezTo>
                  <a:pt x="54" y="106"/>
                  <a:pt x="53" y="103"/>
                  <a:pt x="51" y="101"/>
                </a:cubicBezTo>
                <a:cubicBezTo>
                  <a:pt x="49" y="98"/>
                  <a:pt x="46" y="97"/>
                  <a:pt x="42" y="97"/>
                </a:cubicBezTo>
                <a:cubicBezTo>
                  <a:pt x="39" y="97"/>
                  <a:pt x="36" y="98"/>
                  <a:pt x="34" y="101"/>
                </a:cubicBezTo>
                <a:cubicBezTo>
                  <a:pt x="31" y="103"/>
                  <a:pt x="30" y="106"/>
                  <a:pt x="30" y="109"/>
                </a:cubicBezTo>
                <a:cubicBezTo>
                  <a:pt x="30" y="113"/>
                  <a:pt x="31" y="115"/>
                  <a:pt x="34" y="118"/>
                </a:cubicBezTo>
                <a:cubicBezTo>
                  <a:pt x="36" y="120"/>
                  <a:pt x="39" y="121"/>
                  <a:pt x="42" y="121"/>
                </a:cubicBezTo>
                <a:cubicBezTo>
                  <a:pt x="46" y="121"/>
                  <a:pt x="49" y="120"/>
                  <a:pt x="51" y="118"/>
                </a:cubicBezTo>
                <a:close/>
                <a:moveTo>
                  <a:pt x="136" y="118"/>
                </a:moveTo>
                <a:cubicBezTo>
                  <a:pt x="138" y="115"/>
                  <a:pt x="139" y="113"/>
                  <a:pt x="139" y="109"/>
                </a:cubicBezTo>
                <a:cubicBezTo>
                  <a:pt x="139" y="106"/>
                  <a:pt x="138" y="103"/>
                  <a:pt x="136" y="101"/>
                </a:cubicBezTo>
                <a:cubicBezTo>
                  <a:pt x="133" y="98"/>
                  <a:pt x="130" y="97"/>
                  <a:pt x="127" y="97"/>
                </a:cubicBezTo>
                <a:cubicBezTo>
                  <a:pt x="124" y="97"/>
                  <a:pt x="121" y="98"/>
                  <a:pt x="119" y="101"/>
                </a:cubicBezTo>
                <a:cubicBezTo>
                  <a:pt x="116" y="103"/>
                  <a:pt x="115" y="106"/>
                  <a:pt x="115" y="109"/>
                </a:cubicBezTo>
                <a:cubicBezTo>
                  <a:pt x="115" y="113"/>
                  <a:pt x="116" y="115"/>
                  <a:pt x="119" y="118"/>
                </a:cubicBezTo>
                <a:cubicBezTo>
                  <a:pt x="121" y="120"/>
                  <a:pt x="124" y="121"/>
                  <a:pt x="127" y="121"/>
                </a:cubicBezTo>
                <a:cubicBezTo>
                  <a:pt x="130" y="121"/>
                  <a:pt x="133" y="120"/>
                  <a:pt x="136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684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Ways to find </a:t>
            </a:r>
            <a:r>
              <a:rPr lang="en-US">
                <a:solidFill>
                  <a:schemeClr val="accent2"/>
                </a:solidFill>
              </a:rPr>
              <a:t>creative idea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5" name="Group 34"/>
          <p:cNvGrpSpPr/>
          <p:nvPr/>
        </p:nvGrpSpPr>
        <p:grpSpPr>
          <a:xfrm>
            <a:off x="4262663" y="2279730"/>
            <a:ext cx="766762" cy="1616896"/>
            <a:chOff x="4100513" y="2408238"/>
            <a:chExt cx="890587" cy="1878012"/>
          </a:xfrm>
          <a:solidFill>
            <a:schemeClr val="accent1"/>
          </a:solidFill>
        </p:grpSpPr>
        <p:sp>
          <p:nvSpPr>
            <p:cNvPr id="12" name="Oval 5"/>
            <p:cNvSpPr>
              <a:spLocks noChangeArrowheads="1"/>
            </p:cNvSpPr>
            <p:nvPr/>
          </p:nvSpPr>
          <p:spPr bwMode="auto">
            <a:xfrm>
              <a:off x="4322763" y="2417763"/>
              <a:ext cx="285750" cy="2889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4100513" y="2408238"/>
              <a:ext cx="890587" cy="1878012"/>
            </a:xfrm>
            <a:custGeom>
              <a:avLst/>
              <a:gdLst>
                <a:gd name="T0" fmla="*/ 4300 w 4300"/>
                <a:gd name="T1" fmla="*/ 221 h 9069"/>
                <a:gd name="T2" fmla="*/ 4025 w 4300"/>
                <a:gd name="T3" fmla="*/ 0 h 9069"/>
                <a:gd name="T4" fmla="*/ 3732 w 4300"/>
                <a:gd name="T5" fmla="*/ 295 h 9069"/>
                <a:gd name="T6" fmla="*/ 3732 w 4300"/>
                <a:gd name="T7" fmla="*/ 1581 h 9069"/>
                <a:gd name="T8" fmla="*/ 2274 w 4300"/>
                <a:gd name="T9" fmla="*/ 1581 h 9069"/>
                <a:gd name="T10" fmla="*/ 2197 w 4300"/>
                <a:gd name="T11" fmla="*/ 2150 h 9069"/>
                <a:gd name="T12" fmla="*/ 2028 w 4300"/>
                <a:gd name="T13" fmla="*/ 2716 h 9069"/>
                <a:gd name="T14" fmla="*/ 1926 w 4300"/>
                <a:gd name="T15" fmla="*/ 2297 h 9069"/>
                <a:gd name="T16" fmla="*/ 1839 w 4300"/>
                <a:gd name="T17" fmla="*/ 2070 h 9069"/>
                <a:gd name="T18" fmla="*/ 1987 w 4300"/>
                <a:gd name="T19" fmla="*/ 1925 h 9069"/>
                <a:gd name="T20" fmla="*/ 1769 w 4300"/>
                <a:gd name="T21" fmla="*/ 1715 h 9069"/>
                <a:gd name="T22" fmla="*/ 1551 w 4300"/>
                <a:gd name="T23" fmla="*/ 1925 h 9069"/>
                <a:gd name="T24" fmla="*/ 1699 w 4300"/>
                <a:gd name="T25" fmla="*/ 2070 h 9069"/>
                <a:gd name="T26" fmla="*/ 1612 w 4300"/>
                <a:gd name="T27" fmla="*/ 2297 h 9069"/>
                <a:gd name="T28" fmla="*/ 1510 w 4300"/>
                <a:gd name="T29" fmla="*/ 2716 h 9069"/>
                <a:gd name="T30" fmla="*/ 1340 w 4300"/>
                <a:gd name="T31" fmla="*/ 2150 h 9069"/>
                <a:gd name="T32" fmla="*/ 1264 w 4300"/>
                <a:gd name="T33" fmla="*/ 1581 h 9069"/>
                <a:gd name="T34" fmla="*/ 724 w 4300"/>
                <a:gd name="T35" fmla="*/ 1581 h 9069"/>
                <a:gd name="T36" fmla="*/ 0 w 4300"/>
                <a:gd name="T37" fmla="*/ 2311 h 9069"/>
                <a:gd name="T38" fmla="*/ 0 w 4300"/>
                <a:gd name="T39" fmla="*/ 4936 h 9069"/>
                <a:gd name="T40" fmla="*/ 293 w 4300"/>
                <a:gd name="T41" fmla="*/ 5231 h 9069"/>
                <a:gd name="T42" fmla="*/ 578 w 4300"/>
                <a:gd name="T43" fmla="*/ 4936 h 9069"/>
                <a:gd name="T44" fmla="*/ 578 w 4300"/>
                <a:gd name="T45" fmla="*/ 2746 h 9069"/>
                <a:gd name="T46" fmla="*/ 862 w 4300"/>
                <a:gd name="T47" fmla="*/ 2746 h 9069"/>
                <a:gd name="T48" fmla="*/ 862 w 4300"/>
                <a:gd name="T49" fmla="*/ 8676 h 9069"/>
                <a:gd name="T50" fmla="*/ 1261 w 4300"/>
                <a:gd name="T51" fmla="*/ 9069 h 9069"/>
                <a:gd name="T52" fmla="*/ 1651 w 4300"/>
                <a:gd name="T53" fmla="*/ 8676 h 9069"/>
                <a:gd name="T54" fmla="*/ 1651 w 4300"/>
                <a:gd name="T55" fmla="*/ 5182 h 9069"/>
                <a:gd name="T56" fmla="*/ 1895 w 4300"/>
                <a:gd name="T57" fmla="*/ 5182 h 9069"/>
                <a:gd name="T58" fmla="*/ 1895 w 4300"/>
                <a:gd name="T59" fmla="*/ 8676 h 9069"/>
                <a:gd name="T60" fmla="*/ 2285 w 4300"/>
                <a:gd name="T61" fmla="*/ 9069 h 9069"/>
                <a:gd name="T62" fmla="*/ 2676 w 4300"/>
                <a:gd name="T63" fmla="*/ 8676 h 9069"/>
                <a:gd name="T64" fmla="*/ 2676 w 4300"/>
                <a:gd name="T65" fmla="*/ 4902 h 9069"/>
                <a:gd name="T66" fmla="*/ 2676 w 4300"/>
                <a:gd name="T67" fmla="*/ 2261 h 9069"/>
                <a:gd name="T68" fmla="*/ 2676 w 4300"/>
                <a:gd name="T69" fmla="*/ 2149 h 9069"/>
                <a:gd name="T70" fmla="*/ 4135 w 4300"/>
                <a:gd name="T71" fmla="*/ 2149 h 9069"/>
                <a:gd name="T72" fmla="*/ 4135 w 4300"/>
                <a:gd name="T73" fmla="*/ 2149 h 9069"/>
                <a:gd name="T74" fmla="*/ 4300 w 4300"/>
                <a:gd name="T75" fmla="*/ 2149 h 9069"/>
                <a:gd name="T76" fmla="*/ 4300 w 4300"/>
                <a:gd name="T77" fmla="*/ 221 h 9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00" h="9069">
                  <a:moveTo>
                    <a:pt x="4300" y="221"/>
                  </a:moveTo>
                  <a:cubicBezTo>
                    <a:pt x="4268" y="93"/>
                    <a:pt x="4155" y="0"/>
                    <a:pt x="4025" y="0"/>
                  </a:cubicBezTo>
                  <a:cubicBezTo>
                    <a:pt x="3862" y="0"/>
                    <a:pt x="3732" y="131"/>
                    <a:pt x="3732" y="295"/>
                  </a:cubicBezTo>
                  <a:cubicBezTo>
                    <a:pt x="3732" y="558"/>
                    <a:pt x="3732" y="1041"/>
                    <a:pt x="3732" y="1581"/>
                  </a:cubicBezTo>
                  <a:cubicBezTo>
                    <a:pt x="3038" y="1581"/>
                    <a:pt x="2356" y="1581"/>
                    <a:pt x="2274" y="1581"/>
                  </a:cubicBezTo>
                  <a:cubicBezTo>
                    <a:pt x="2270" y="1648"/>
                    <a:pt x="2250" y="1893"/>
                    <a:pt x="2197" y="2150"/>
                  </a:cubicBezTo>
                  <a:cubicBezTo>
                    <a:pt x="2167" y="2297"/>
                    <a:pt x="2028" y="2716"/>
                    <a:pt x="2028" y="2716"/>
                  </a:cubicBezTo>
                  <a:cubicBezTo>
                    <a:pt x="2028" y="2716"/>
                    <a:pt x="1952" y="2396"/>
                    <a:pt x="1926" y="2297"/>
                  </a:cubicBezTo>
                  <a:cubicBezTo>
                    <a:pt x="1907" y="2226"/>
                    <a:pt x="1839" y="2070"/>
                    <a:pt x="1839" y="2070"/>
                  </a:cubicBezTo>
                  <a:cubicBezTo>
                    <a:pt x="1987" y="1925"/>
                    <a:pt x="1987" y="1925"/>
                    <a:pt x="1987" y="1925"/>
                  </a:cubicBezTo>
                  <a:cubicBezTo>
                    <a:pt x="1769" y="1715"/>
                    <a:pt x="1769" y="1715"/>
                    <a:pt x="1769" y="1715"/>
                  </a:cubicBezTo>
                  <a:cubicBezTo>
                    <a:pt x="1551" y="1925"/>
                    <a:pt x="1551" y="1925"/>
                    <a:pt x="1551" y="1925"/>
                  </a:cubicBezTo>
                  <a:cubicBezTo>
                    <a:pt x="1699" y="2070"/>
                    <a:pt x="1699" y="2070"/>
                    <a:pt x="1699" y="2070"/>
                  </a:cubicBezTo>
                  <a:cubicBezTo>
                    <a:pt x="1699" y="2070"/>
                    <a:pt x="1631" y="2226"/>
                    <a:pt x="1612" y="2297"/>
                  </a:cubicBezTo>
                  <a:cubicBezTo>
                    <a:pt x="1586" y="2396"/>
                    <a:pt x="1510" y="2716"/>
                    <a:pt x="1510" y="2716"/>
                  </a:cubicBezTo>
                  <a:cubicBezTo>
                    <a:pt x="1510" y="2716"/>
                    <a:pt x="1371" y="2297"/>
                    <a:pt x="1340" y="2150"/>
                  </a:cubicBezTo>
                  <a:cubicBezTo>
                    <a:pt x="1288" y="1893"/>
                    <a:pt x="1268" y="1648"/>
                    <a:pt x="1264" y="1581"/>
                  </a:cubicBezTo>
                  <a:cubicBezTo>
                    <a:pt x="724" y="1581"/>
                    <a:pt x="724" y="1581"/>
                    <a:pt x="724" y="1581"/>
                  </a:cubicBezTo>
                  <a:cubicBezTo>
                    <a:pt x="326" y="1581"/>
                    <a:pt x="0" y="1910"/>
                    <a:pt x="0" y="2311"/>
                  </a:cubicBezTo>
                  <a:cubicBezTo>
                    <a:pt x="0" y="2623"/>
                    <a:pt x="0" y="4936"/>
                    <a:pt x="0" y="4936"/>
                  </a:cubicBezTo>
                  <a:cubicBezTo>
                    <a:pt x="0" y="5100"/>
                    <a:pt x="130" y="5231"/>
                    <a:pt x="293" y="5231"/>
                  </a:cubicBezTo>
                  <a:cubicBezTo>
                    <a:pt x="447" y="5231"/>
                    <a:pt x="578" y="5100"/>
                    <a:pt x="578" y="4936"/>
                  </a:cubicBezTo>
                  <a:cubicBezTo>
                    <a:pt x="578" y="4690"/>
                    <a:pt x="578" y="2746"/>
                    <a:pt x="578" y="2746"/>
                  </a:cubicBezTo>
                  <a:cubicBezTo>
                    <a:pt x="862" y="2746"/>
                    <a:pt x="862" y="2746"/>
                    <a:pt x="862" y="2746"/>
                  </a:cubicBezTo>
                  <a:cubicBezTo>
                    <a:pt x="862" y="4600"/>
                    <a:pt x="862" y="8676"/>
                    <a:pt x="862" y="8676"/>
                  </a:cubicBezTo>
                  <a:cubicBezTo>
                    <a:pt x="862" y="8897"/>
                    <a:pt x="1041" y="9069"/>
                    <a:pt x="1261" y="9069"/>
                  </a:cubicBezTo>
                  <a:cubicBezTo>
                    <a:pt x="1472" y="9069"/>
                    <a:pt x="1651" y="8897"/>
                    <a:pt x="1651" y="8676"/>
                  </a:cubicBezTo>
                  <a:cubicBezTo>
                    <a:pt x="1651" y="5182"/>
                    <a:pt x="1651" y="5182"/>
                    <a:pt x="1651" y="5182"/>
                  </a:cubicBezTo>
                  <a:cubicBezTo>
                    <a:pt x="1895" y="5182"/>
                    <a:pt x="1895" y="5182"/>
                    <a:pt x="1895" y="5182"/>
                  </a:cubicBezTo>
                  <a:cubicBezTo>
                    <a:pt x="1895" y="8676"/>
                    <a:pt x="1895" y="8676"/>
                    <a:pt x="1895" y="8676"/>
                  </a:cubicBezTo>
                  <a:cubicBezTo>
                    <a:pt x="1895" y="8897"/>
                    <a:pt x="2066" y="9069"/>
                    <a:pt x="2285" y="9069"/>
                  </a:cubicBezTo>
                  <a:cubicBezTo>
                    <a:pt x="2497" y="9069"/>
                    <a:pt x="2676" y="8897"/>
                    <a:pt x="2676" y="8676"/>
                  </a:cubicBezTo>
                  <a:cubicBezTo>
                    <a:pt x="2676" y="7185"/>
                    <a:pt x="2676" y="5912"/>
                    <a:pt x="2676" y="4902"/>
                  </a:cubicBezTo>
                  <a:cubicBezTo>
                    <a:pt x="2676" y="3213"/>
                    <a:pt x="2676" y="2261"/>
                    <a:pt x="2676" y="2261"/>
                  </a:cubicBezTo>
                  <a:cubicBezTo>
                    <a:pt x="2676" y="2149"/>
                    <a:pt x="2676" y="2149"/>
                    <a:pt x="2676" y="2149"/>
                  </a:cubicBezTo>
                  <a:cubicBezTo>
                    <a:pt x="4135" y="2149"/>
                    <a:pt x="4135" y="2149"/>
                    <a:pt x="4135" y="2149"/>
                  </a:cubicBezTo>
                  <a:cubicBezTo>
                    <a:pt x="4135" y="2149"/>
                    <a:pt x="4135" y="2149"/>
                    <a:pt x="4135" y="2149"/>
                  </a:cubicBezTo>
                  <a:cubicBezTo>
                    <a:pt x="4300" y="2149"/>
                    <a:pt x="4300" y="2149"/>
                    <a:pt x="4300" y="2149"/>
                  </a:cubicBezTo>
                  <a:lnTo>
                    <a:pt x="4300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4266949" y="1573373"/>
            <a:ext cx="610103" cy="624829"/>
            <a:chOff x="4161959" y="1573373"/>
            <a:chExt cx="610103" cy="624829"/>
          </a:xfrm>
          <a:solidFill>
            <a:schemeClr val="accent1"/>
          </a:solidFill>
        </p:grpSpPr>
        <p:sp>
          <p:nvSpPr>
            <p:cNvPr id="17" name="Freeform 10"/>
            <p:cNvSpPr>
              <a:spLocks/>
            </p:cNvSpPr>
            <p:nvPr/>
          </p:nvSpPr>
          <p:spPr bwMode="auto">
            <a:xfrm>
              <a:off x="4456645" y="1756996"/>
              <a:ext cx="122910" cy="121428"/>
            </a:xfrm>
            <a:custGeom>
              <a:avLst/>
              <a:gdLst>
                <a:gd name="T0" fmla="*/ 554 w 596"/>
                <a:gd name="T1" fmla="*/ 596 h 596"/>
                <a:gd name="T2" fmla="*/ 512 w 596"/>
                <a:gd name="T3" fmla="*/ 554 h 596"/>
                <a:gd name="T4" fmla="*/ 42 w 596"/>
                <a:gd name="T5" fmla="*/ 84 h 596"/>
                <a:gd name="T6" fmla="*/ 0 w 596"/>
                <a:gd name="T7" fmla="*/ 42 h 596"/>
                <a:gd name="T8" fmla="*/ 42 w 596"/>
                <a:gd name="T9" fmla="*/ 0 h 596"/>
                <a:gd name="T10" fmla="*/ 596 w 596"/>
                <a:gd name="T11" fmla="*/ 554 h 596"/>
                <a:gd name="T12" fmla="*/ 554 w 596"/>
                <a:gd name="T13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6" h="596">
                  <a:moveTo>
                    <a:pt x="554" y="596"/>
                  </a:moveTo>
                  <a:cubicBezTo>
                    <a:pt x="530" y="596"/>
                    <a:pt x="512" y="577"/>
                    <a:pt x="512" y="554"/>
                  </a:cubicBezTo>
                  <a:cubicBezTo>
                    <a:pt x="512" y="295"/>
                    <a:pt x="301" y="84"/>
                    <a:pt x="42" y="84"/>
                  </a:cubicBezTo>
                  <a:cubicBezTo>
                    <a:pt x="18" y="84"/>
                    <a:pt x="0" y="66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347" y="0"/>
                    <a:pt x="596" y="249"/>
                    <a:pt x="596" y="554"/>
                  </a:cubicBezTo>
                  <a:cubicBezTo>
                    <a:pt x="596" y="577"/>
                    <a:pt x="577" y="596"/>
                    <a:pt x="554" y="5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4484780" y="1936177"/>
              <a:ext cx="38502" cy="156968"/>
            </a:xfrm>
            <a:custGeom>
              <a:avLst/>
              <a:gdLst>
                <a:gd name="T0" fmla="*/ 9 w 26"/>
                <a:gd name="T1" fmla="*/ 106 h 106"/>
                <a:gd name="T2" fmla="*/ 0 w 26"/>
                <a:gd name="T3" fmla="*/ 105 h 106"/>
                <a:gd name="T4" fmla="*/ 18 w 26"/>
                <a:gd name="T5" fmla="*/ 0 h 106"/>
                <a:gd name="T6" fmla="*/ 26 w 26"/>
                <a:gd name="T7" fmla="*/ 2 h 106"/>
                <a:gd name="T8" fmla="*/ 9 w 26"/>
                <a:gd name="T9" fmla="*/ 106 h 106"/>
                <a:gd name="T10" fmla="*/ 9 w 26"/>
                <a:gd name="T1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06">
                  <a:moveTo>
                    <a:pt x="9" y="106"/>
                  </a:moveTo>
                  <a:lnTo>
                    <a:pt x="0" y="105"/>
                  </a:lnTo>
                  <a:lnTo>
                    <a:pt x="18" y="0"/>
                  </a:lnTo>
                  <a:lnTo>
                    <a:pt x="26" y="2"/>
                  </a:lnTo>
                  <a:lnTo>
                    <a:pt x="9" y="106"/>
                  </a:lnTo>
                  <a:lnTo>
                    <a:pt x="9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4407777" y="1936177"/>
              <a:ext cx="38502" cy="156968"/>
            </a:xfrm>
            <a:custGeom>
              <a:avLst/>
              <a:gdLst>
                <a:gd name="T0" fmla="*/ 17 w 26"/>
                <a:gd name="T1" fmla="*/ 106 h 106"/>
                <a:gd name="T2" fmla="*/ 0 w 26"/>
                <a:gd name="T3" fmla="*/ 2 h 106"/>
                <a:gd name="T4" fmla="*/ 9 w 26"/>
                <a:gd name="T5" fmla="*/ 0 h 106"/>
                <a:gd name="T6" fmla="*/ 26 w 26"/>
                <a:gd name="T7" fmla="*/ 105 h 106"/>
                <a:gd name="T8" fmla="*/ 17 w 26"/>
                <a:gd name="T9" fmla="*/ 106 h 106"/>
                <a:gd name="T10" fmla="*/ 17 w 26"/>
                <a:gd name="T1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06">
                  <a:moveTo>
                    <a:pt x="17" y="106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26" y="105"/>
                  </a:lnTo>
                  <a:lnTo>
                    <a:pt x="17" y="106"/>
                  </a:lnTo>
                  <a:lnTo>
                    <a:pt x="17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4418143" y="1937658"/>
              <a:ext cx="99216" cy="20732"/>
            </a:xfrm>
            <a:custGeom>
              <a:avLst/>
              <a:gdLst>
                <a:gd name="T0" fmla="*/ 486 w 486"/>
                <a:gd name="T1" fmla="*/ 102 h 102"/>
                <a:gd name="T2" fmla="*/ 440 w 486"/>
                <a:gd name="T3" fmla="*/ 58 h 102"/>
                <a:gd name="T4" fmla="*/ 425 w 486"/>
                <a:gd name="T5" fmla="*/ 34 h 102"/>
                <a:gd name="T6" fmla="*/ 410 w 486"/>
                <a:gd name="T7" fmla="*/ 58 h 102"/>
                <a:gd name="T8" fmla="*/ 364 w 486"/>
                <a:gd name="T9" fmla="*/ 102 h 102"/>
                <a:gd name="T10" fmla="*/ 318 w 486"/>
                <a:gd name="T11" fmla="*/ 58 h 102"/>
                <a:gd name="T12" fmla="*/ 304 w 486"/>
                <a:gd name="T13" fmla="*/ 34 h 102"/>
                <a:gd name="T14" fmla="*/ 289 w 486"/>
                <a:gd name="T15" fmla="*/ 58 h 102"/>
                <a:gd name="T16" fmla="*/ 243 w 486"/>
                <a:gd name="T17" fmla="*/ 102 h 102"/>
                <a:gd name="T18" fmla="*/ 197 w 486"/>
                <a:gd name="T19" fmla="*/ 58 h 102"/>
                <a:gd name="T20" fmla="*/ 182 w 486"/>
                <a:gd name="T21" fmla="*/ 34 h 102"/>
                <a:gd name="T22" fmla="*/ 167 w 486"/>
                <a:gd name="T23" fmla="*/ 58 h 102"/>
                <a:gd name="T24" fmla="*/ 121 w 486"/>
                <a:gd name="T25" fmla="*/ 102 h 102"/>
                <a:gd name="T26" fmla="*/ 76 w 486"/>
                <a:gd name="T27" fmla="*/ 58 h 102"/>
                <a:gd name="T28" fmla="*/ 61 w 486"/>
                <a:gd name="T29" fmla="*/ 34 h 102"/>
                <a:gd name="T30" fmla="*/ 46 w 486"/>
                <a:gd name="T31" fmla="*/ 58 h 102"/>
                <a:gd name="T32" fmla="*/ 0 w 486"/>
                <a:gd name="T33" fmla="*/ 102 h 102"/>
                <a:gd name="T34" fmla="*/ 0 w 486"/>
                <a:gd name="T35" fmla="*/ 68 h 102"/>
                <a:gd name="T36" fmla="*/ 15 w 486"/>
                <a:gd name="T37" fmla="*/ 44 h 102"/>
                <a:gd name="T38" fmla="*/ 61 w 486"/>
                <a:gd name="T39" fmla="*/ 0 h 102"/>
                <a:gd name="T40" fmla="*/ 107 w 486"/>
                <a:gd name="T41" fmla="*/ 44 h 102"/>
                <a:gd name="T42" fmla="*/ 121 w 486"/>
                <a:gd name="T43" fmla="*/ 68 h 102"/>
                <a:gd name="T44" fmla="*/ 136 w 486"/>
                <a:gd name="T45" fmla="*/ 44 h 102"/>
                <a:gd name="T46" fmla="*/ 182 w 486"/>
                <a:gd name="T47" fmla="*/ 0 h 102"/>
                <a:gd name="T48" fmla="*/ 228 w 486"/>
                <a:gd name="T49" fmla="*/ 44 h 102"/>
                <a:gd name="T50" fmla="*/ 243 w 486"/>
                <a:gd name="T51" fmla="*/ 68 h 102"/>
                <a:gd name="T52" fmla="*/ 258 w 486"/>
                <a:gd name="T53" fmla="*/ 44 h 102"/>
                <a:gd name="T54" fmla="*/ 304 w 486"/>
                <a:gd name="T55" fmla="*/ 0 h 102"/>
                <a:gd name="T56" fmla="*/ 349 w 486"/>
                <a:gd name="T57" fmla="*/ 44 h 102"/>
                <a:gd name="T58" fmla="*/ 364 w 486"/>
                <a:gd name="T59" fmla="*/ 68 h 102"/>
                <a:gd name="T60" fmla="*/ 379 w 486"/>
                <a:gd name="T61" fmla="*/ 44 h 102"/>
                <a:gd name="T62" fmla="*/ 425 w 486"/>
                <a:gd name="T63" fmla="*/ 0 h 102"/>
                <a:gd name="T64" fmla="*/ 471 w 486"/>
                <a:gd name="T65" fmla="*/ 44 h 102"/>
                <a:gd name="T66" fmla="*/ 486 w 486"/>
                <a:gd name="T67" fmla="*/ 68 h 102"/>
                <a:gd name="T68" fmla="*/ 486 w 486"/>
                <a:gd name="T6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6" h="102">
                  <a:moveTo>
                    <a:pt x="486" y="102"/>
                  </a:moveTo>
                  <a:cubicBezTo>
                    <a:pt x="459" y="102"/>
                    <a:pt x="448" y="77"/>
                    <a:pt x="440" y="58"/>
                  </a:cubicBezTo>
                  <a:cubicBezTo>
                    <a:pt x="436" y="50"/>
                    <a:pt x="429" y="34"/>
                    <a:pt x="425" y="34"/>
                  </a:cubicBezTo>
                  <a:cubicBezTo>
                    <a:pt x="421" y="34"/>
                    <a:pt x="414" y="50"/>
                    <a:pt x="410" y="58"/>
                  </a:cubicBezTo>
                  <a:cubicBezTo>
                    <a:pt x="402" y="77"/>
                    <a:pt x="390" y="102"/>
                    <a:pt x="364" y="102"/>
                  </a:cubicBezTo>
                  <a:cubicBezTo>
                    <a:pt x="338" y="102"/>
                    <a:pt x="327" y="77"/>
                    <a:pt x="318" y="58"/>
                  </a:cubicBezTo>
                  <a:cubicBezTo>
                    <a:pt x="315" y="50"/>
                    <a:pt x="308" y="34"/>
                    <a:pt x="304" y="34"/>
                  </a:cubicBezTo>
                  <a:cubicBezTo>
                    <a:pt x="299" y="34"/>
                    <a:pt x="292" y="50"/>
                    <a:pt x="289" y="58"/>
                  </a:cubicBezTo>
                  <a:cubicBezTo>
                    <a:pt x="281" y="77"/>
                    <a:pt x="269" y="102"/>
                    <a:pt x="243" y="102"/>
                  </a:cubicBezTo>
                  <a:cubicBezTo>
                    <a:pt x="217" y="102"/>
                    <a:pt x="205" y="77"/>
                    <a:pt x="197" y="58"/>
                  </a:cubicBezTo>
                  <a:cubicBezTo>
                    <a:pt x="193" y="50"/>
                    <a:pt x="186" y="34"/>
                    <a:pt x="182" y="34"/>
                  </a:cubicBezTo>
                  <a:cubicBezTo>
                    <a:pt x="178" y="34"/>
                    <a:pt x="171" y="50"/>
                    <a:pt x="167" y="58"/>
                  </a:cubicBezTo>
                  <a:cubicBezTo>
                    <a:pt x="159" y="77"/>
                    <a:pt x="148" y="102"/>
                    <a:pt x="121" y="102"/>
                  </a:cubicBezTo>
                  <a:cubicBezTo>
                    <a:pt x="95" y="102"/>
                    <a:pt x="84" y="77"/>
                    <a:pt x="76" y="58"/>
                  </a:cubicBezTo>
                  <a:cubicBezTo>
                    <a:pt x="72" y="50"/>
                    <a:pt x="65" y="34"/>
                    <a:pt x="61" y="34"/>
                  </a:cubicBezTo>
                  <a:cubicBezTo>
                    <a:pt x="57" y="34"/>
                    <a:pt x="49" y="50"/>
                    <a:pt x="46" y="58"/>
                  </a:cubicBezTo>
                  <a:cubicBezTo>
                    <a:pt x="38" y="77"/>
                    <a:pt x="26" y="102"/>
                    <a:pt x="0" y="10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4" y="68"/>
                    <a:pt x="11" y="52"/>
                    <a:pt x="15" y="44"/>
                  </a:cubicBezTo>
                  <a:cubicBezTo>
                    <a:pt x="23" y="25"/>
                    <a:pt x="34" y="0"/>
                    <a:pt x="61" y="0"/>
                  </a:cubicBezTo>
                  <a:cubicBezTo>
                    <a:pt x="87" y="0"/>
                    <a:pt x="98" y="25"/>
                    <a:pt x="107" y="44"/>
                  </a:cubicBezTo>
                  <a:cubicBezTo>
                    <a:pt x="110" y="52"/>
                    <a:pt x="117" y="68"/>
                    <a:pt x="121" y="68"/>
                  </a:cubicBezTo>
                  <a:cubicBezTo>
                    <a:pt x="126" y="68"/>
                    <a:pt x="133" y="52"/>
                    <a:pt x="136" y="44"/>
                  </a:cubicBezTo>
                  <a:cubicBezTo>
                    <a:pt x="145" y="25"/>
                    <a:pt x="156" y="0"/>
                    <a:pt x="182" y="0"/>
                  </a:cubicBezTo>
                  <a:cubicBezTo>
                    <a:pt x="208" y="0"/>
                    <a:pt x="220" y="25"/>
                    <a:pt x="228" y="44"/>
                  </a:cubicBezTo>
                  <a:cubicBezTo>
                    <a:pt x="232" y="52"/>
                    <a:pt x="239" y="68"/>
                    <a:pt x="243" y="68"/>
                  </a:cubicBezTo>
                  <a:cubicBezTo>
                    <a:pt x="247" y="68"/>
                    <a:pt x="254" y="52"/>
                    <a:pt x="258" y="44"/>
                  </a:cubicBezTo>
                  <a:cubicBezTo>
                    <a:pt x="266" y="25"/>
                    <a:pt x="277" y="0"/>
                    <a:pt x="304" y="0"/>
                  </a:cubicBezTo>
                  <a:cubicBezTo>
                    <a:pt x="330" y="0"/>
                    <a:pt x="341" y="25"/>
                    <a:pt x="349" y="44"/>
                  </a:cubicBezTo>
                  <a:cubicBezTo>
                    <a:pt x="353" y="52"/>
                    <a:pt x="360" y="68"/>
                    <a:pt x="364" y="68"/>
                  </a:cubicBezTo>
                  <a:cubicBezTo>
                    <a:pt x="368" y="68"/>
                    <a:pt x="376" y="52"/>
                    <a:pt x="379" y="44"/>
                  </a:cubicBezTo>
                  <a:cubicBezTo>
                    <a:pt x="387" y="25"/>
                    <a:pt x="399" y="0"/>
                    <a:pt x="425" y="0"/>
                  </a:cubicBezTo>
                  <a:cubicBezTo>
                    <a:pt x="451" y="0"/>
                    <a:pt x="463" y="25"/>
                    <a:pt x="471" y="44"/>
                  </a:cubicBezTo>
                  <a:cubicBezTo>
                    <a:pt x="474" y="52"/>
                    <a:pt x="481" y="68"/>
                    <a:pt x="486" y="68"/>
                  </a:cubicBezTo>
                  <a:cubicBezTo>
                    <a:pt x="486" y="102"/>
                    <a:pt x="486" y="102"/>
                    <a:pt x="486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4456645" y="1573373"/>
              <a:ext cx="17770" cy="106620"/>
            </a:xfrm>
            <a:custGeom>
              <a:avLst/>
              <a:gdLst>
                <a:gd name="T0" fmla="*/ 42 w 84"/>
                <a:gd name="T1" fmla="*/ 524 h 524"/>
                <a:gd name="T2" fmla="*/ 0 w 84"/>
                <a:gd name="T3" fmla="*/ 482 h 524"/>
                <a:gd name="T4" fmla="*/ 0 w 84"/>
                <a:gd name="T5" fmla="*/ 42 h 524"/>
                <a:gd name="T6" fmla="*/ 42 w 84"/>
                <a:gd name="T7" fmla="*/ 0 h 524"/>
                <a:gd name="T8" fmla="*/ 84 w 84"/>
                <a:gd name="T9" fmla="*/ 42 h 524"/>
                <a:gd name="T10" fmla="*/ 84 w 84"/>
                <a:gd name="T11" fmla="*/ 482 h 524"/>
                <a:gd name="T12" fmla="*/ 42 w 84"/>
                <a:gd name="T1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524">
                  <a:moveTo>
                    <a:pt x="42" y="524"/>
                  </a:moveTo>
                  <a:cubicBezTo>
                    <a:pt x="19" y="524"/>
                    <a:pt x="0" y="505"/>
                    <a:pt x="0" y="48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4" y="19"/>
                    <a:pt x="84" y="42"/>
                  </a:cubicBezTo>
                  <a:cubicBezTo>
                    <a:pt x="84" y="482"/>
                    <a:pt x="84" y="482"/>
                    <a:pt x="84" y="482"/>
                  </a:cubicBezTo>
                  <a:cubicBezTo>
                    <a:pt x="84" y="505"/>
                    <a:pt x="66" y="524"/>
                    <a:pt x="42" y="5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4558822" y="1611875"/>
              <a:ext cx="63676" cy="96255"/>
            </a:xfrm>
            <a:custGeom>
              <a:avLst/>
              <a:gdLst>
                <a:gd name="T0" fmla="*/ 48 w 316"/>
                <a:gd name="T1" fmla="*/ 471 h 471"/>
                <a:gd name="T2" fmla="*/ 27 w 316"/>
                <a:gd name="T3" fmla="*/ 465 h 471"/>
                <a:gd name="T4" fmla="*/ 12 w 316"/>
                <a:gd name="T5" fmla="*/ 408 h 471"/>
                <a:gd name="T6" fmla="*/ 232 w 316"/>
                <a:gd name="T7" fmla="*/ 27 h 471"/>
                <a:gd name="T8" fmla="*/ 289 w 316"/>
                <a:gd name="T9" fmla="*/ 11 h 471"/>
                <a:gd name="T10" fmla="*/ 304 w 316"/>
                <a:gd name="T11" fmla="*/ 69 h 471"/>
                <a:gd name="T12" fmla="*/ 84 w 316"/>
                <a:gd name="T13" fmla="*/ 450 h 471"/>
                <a:gd name="T14" fmla="*/ 48 w 316"/>
                <a:gd name="T15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6" h="471">
                  <a:moveTo>
                    <a:pt x="48" y="471"/>
                  </a:moveTo>
                  <a:cubicBezTo>
                    <a:pt x="41" y="471"/>
                    <a:pt x="34" y="469"/>
                    <a:pt x="27" y="465"/>
                  </a:cubicBezTo>
                  <a:cubicBezTo>
                    <a:pt x="7" y="454"/>
                    <a:pt x="0" y="428"/>
                    <a:pt x="12" y="408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43" y="7"/>
                    <a:pt x="269" y="0"/>
                    <a:pt x="289" y="11"/>
                  </a:cubicBezTo>
                  <a:cubicBezTo>
                    <a:pt x="309" y="23"/>
                    <a:pt x="316" y="49"/>
                    <a:pt x="304" y="69"/>
                  </a:cubicBezTo>
                  <a:cubicBezTo>
                    <a:pt x="84" y="450"/>
                    <a:pt x="84" y="450"/>
                    <a:pt x="84" y="450"/>
                  </a:cubicBezTo>
                  <a:cubicBezTo>
                    <a:pt x="77" y="463"/>
                    <a:pt x="63" y="471"/>
                    <a:pt x="48" y="4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4634345" y="1719976"/>
              <a:ext cx="96255" cy="62195"/>
            </a:xfrm>
            <a:custGeom>
              <a:avLst/>
              <a:gdLst>
                <a:gd name="T0" fmla="*/ 48 w 477"/>
                <a:gd name="T1" fmla="*/ 309 h 309"/>
                <a:gd name="T2" fmla="*/ 12 w 477"/>
                <a:gd name="T3" fmla="*/ 289 h 309"/>
                <a:gd name="T4" fmla="*/ 27 w 477"/>
                <a:gd name="T5" fmla="*/ 231 h 309"/>
                <a:gd name="T6" fmla="*/ 408 w 477"/>
                <a:gd name="T7" fmla="*/ 11 h 309"/>
                <a:gd name="T8" fmla="*/ 466 w 477"/>
                <a:gd name="T9" fmla="*/ 27 h 309"/>
                <a:gd name="T10" fmla="*/ 450 w 477"/>
                <a:gd name="T11" fmla="*/ 84 h 309"/>
                <a:gd name="T12" fmla="*/ 69 w 477"/>
                <a:gd name="T13" fmla="*/ 304 h 309"/>
                <a:gd name="T14" fmla="*/ 48 w 477"/>
                <a:gd name="T15" fmla="*/ 30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309">
                  <a:moveTo>
                    <a:pt x="48" y="309"/>
                  </a:moveTo>
                  <a:cubicBezTo>
                    <a:pt x="34" y="309"/>
                    <a:pt x="20" y="302"/>
                    <a:pt x="12" y="289"/>
                  </a:cubicBezTo>
                  <a:cubicBezTo>
                    <a:pt x="0" y="268"/>
                    <a:pt x="7" y="243"/>
                    <a:pt x="27" y="231"/>
                  </a:cubicBezTo>
                  <a:cubicBezTo>
                    <a:pt x="408" y="11"/>
                    <a:pt x="408" y="11"/>
                    <a:pt x="408" y="11"/>
                  </a:cubicBezTo>
                  <a:cubicBezTo>
                    <a:pt x="428" y="0"/>
                    <a:pt x="454" y="7"/>
                    <a:pt x="466" y="27"/>
                  </a:cubicBezTo>
                  <a:cubicBezTo>
                    <a:pt x="477" y="47"/>
                    <a:pt x="470" y="72"/>
                    <a:pt x="450" y="84"/>
                  </a:cubicBezTo>
                  <a:cubicBezTo>
                    <a:pt x="69" y="304"/>
                    <a:pt x="69" y="304"/>
                    <a:pt x="69" y="304"/>
                  </a:cubicBezTo>
                  <a:cubicBezTo>
                    <a:pt x="63" y="308"/>
                    <a:pt x="55" y="309"/>
                    <a:pt x="48" y="3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4662480" y="1868059"/>
              <a:ext cx="109582" cy="17770"/>
            </a:xfrm>
            <a:custGeom>
              <a:avLst/>
              <a:gdLst>
                <a:gd name="T0" fmla="*/ 496 w 538"/>
                <a:gd name="T1" fmla="*/ 84 h 84"/>
                <a:gd name="T2" fmla="*/ 42 w 538"/>
                <a:gd name="T3" fmla="*/ 84 h 84"/>
                <a:gd name="T4" fmla="*/ 0 w 538"/>
                <a:gd name="T5" fmla="*/ 42 h 84"/>
                <a:gd name="T6" fmla="*/ 42 w 538"/>
                <a:gd name="T7" fmla="*/ 0 h 84"/>
                <a:gd name="T8" fmla="*/ 496 w 538"/>
                <a:gd name="T9" fmla="*/ 0 h 84"/>
                <a:gd name="T10" fmla="*/ 538 w 538"/>
                <a:gd name="T11" fmla="*/ 42 h 84"/>
                <a:gd name="T12" fmla="*/ 496 w 53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8" h="84">
                  <a:moveTo>
                    <a:pt x="496" y="84"/>
                  </a:moveTo>
                  <a:cubicBezTo>
                    <a:pt x="42" y="84"/>
                    <a:pt x="42" y="84"/>
                    <a:pt x="42" y="84"/>
                  </a:cubicBez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496" y="0"/>
                    <a:pt x="496" y="0"/>
                    <a:pt x="496" y="0"/>
                  </a:cubicBezTo>
                  <a:cubicBezTo>
                    <a:pt x="519" y="0"/>
                    <a:pt x="538" y="19"/>
                    <a:pt x="538" y="42"/>
                  </a:cubicBezTo>
                  <a:cubicBezTo>
                    <a:pt x="538" y="65"/>
                    <a:pt x="519" y="84"/>
                    <a:pt x="4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4634345" y="1968756"/>
              <a:ext cx="96255" cy="63676"/>
            </a:xfrm>
            <a:custGeom>
              <a:avLst/>
              <a:gdLst>
                <a:gd name="T0" fmla="*/ 430 w 477"/>
                <a:gd name="T1" fmla="*/ 310 h 310"/>
                <a:gd name="T2" fmla="*/ 409 w 477"/>
                <a:gd name="T3" fmla="*/ 304 h 310"/>
                <a:gd name="T4" fmla="*/ 27 w 477"/>
                <a:gd name="T5" fmla="*/ 84 h 310"/>
                <a:gd name="T6" fmla="*/ 12 w 477"/>
                <a:gd name="T7" fmla="*/ 27 h 310"/>
                <a:gd name="T8" fmla="*/ 69 w 477"/>
                <a:gd name="T9" fmla="*/ 12 h 310"/>
                <a:gd name="T10" fmla="*/ 451 w 477"/>
                <a:gd name="T11" fmla="*/ 231 h 310"/>
                <a:gd name="T12" fmla="*/ 466 w 477"/>
                <a:gd name="T13" fmla="*/ 289 h 310"/>
                <a:gd name="T14" fmla="*/ 430 w 477"/>
                <a:gd name="T15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310">
                  <a:moveTo>
                    <a:pt x="430" y="310"/>
                  </a:moveTo>
                  <a:cubicBezTo>
                    <a:pt x="422" y="310"/>
                    <a:pt x="415" y="308"/>
                    <a:pt x="409" y="30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7" y="73"/>
                    <a:pt x="0" y="47"/>
                    <a:pt x="12" y="27"/>
                  </a:cubicBezTo>
                  <a:cubicBezTo>
                    <a:pt x="24" y="7"/>
                    <a:pt x="49" y="0"/>
                    <a:pt x="69" y="12"/>
                  </a:cubicBezTo>
                  <a:cubicBezTo>
                    <a:pt x="451" y="231"/>
                    <a:pt x="451" y="231"/>
                    <a:pt x="451" y="231"/>
                  </a:cubicBezTo>
                  <a:cubicBezTo>
                    <a:pt x="471" y="243"/>
                    <a:pt x="477" y="269"/>
                    <a:pt x="466" y="289"/>
                  </a:cubicBezTo>
                  <a:cubicBezTo>
                    <a:pt x="458" y="302"/>
                    <a:pt x="444" y="310"/>
                    <a:pt x="430" y="3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auto">
            <a:xfrm>
              <a:off x="4308562" y="1611875"/>
              <a:ext cx="63676" cy="96255"/>
            </a:xfrm>
            <a:custGeom>
              <a:avLst/>
              <a:gdLst>
                <a:gd name="T0" fmla="*/ 268 w 316"/>
                <a:gd name="T1" fmla="*/ 471 h 471"/>
                <a:gd name="T2" fmla="*/ 231 w 316"/>
                <a:gd name="T3" fmla="*/ 450 h 471"/>
                <a:gd name="T4" fmla="*/ 11 w 316"/>
                <a:gd name="T5" fmla="*/ 69 h 471"/>
                <a:gd name="T6" fmla="*/ 27 w 316"/>
                <a:gd name="T7" fmla="*/ 12 h 471"/>
                <a:gd name="T8" fmla="*/ 84 w 316"/>
                <a:gd name="T9" fmla="*/ 27 h 471"/>
                <a:gd name="T10" fmla="*/ 304 w 316"/>
                <a:gd name="T11" fmla="*/ 408 h 471"/>
                <a:gd name="T12" fmla="*/ 289 w 316"/>
                <a:gd name="T13" fmla="*/ 465 h 471"/>
                <a:gd name="T14" fmla="*/ 268 w 316"/>
                <a:gd name="T15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6" h="471">
                  <a:moveTo>
                    <a:pt x="268" y="471"/>
                  </a:moveTo>
                  <a:cubicBezTo>
                    <a:pt x="253" y="471"/>
                    <a:pt x="239" y="463"/>
                    <a:pt x="231" y="450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0" y="49"/>
                    <a:pt x="7" y="23"/>
                    <a:pt x="27" y="12"/>
                  </a:cubicBezTo>
                  <a:cubicBezTo>
                    <a:pt x="47" y="0"/>
                    <a:pt x="73" y="7"/>
                    <a:pt x="84" y="27"/>
                  </a:cubicBezTo>
                  <a:cubicBezTo>
                    <a:pt x="304" y="408"/>
                    <a:pt x="304" y="408"/>
                    <a:pt x="304" y="408"/>
                  </a:cubicBezTo>
                  <a:cubicBezTo>
                    <a:pt x="316" y="428"/>
                    <a:pt x="309" y="454"/>
                    <a:pt x="289" y="465"/>
                  </a:cubicBezTo>
                  <a:cubicBezTo>
                    <a:pt x="282" y="469"/>
                    <a:pt x="275" y="471"/>
                    <a:pt x="268" y="4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20"/>
            <p:cNvSpPr>
              <a:spLocks/>
            </p:cNvSpPr>
            <p:nvPr/>
          </p:nvSpPr>
          <p:spPr bwMode="auto">
            <a:xfrm>
              <a:off x="4200461" y="1719976"/>
              <a:ext cx="97735" cy="62195"/>
            </a:xfrm>
            <a:custGeom>
              <a:avLst/>
              <a:gdLst>
                <a:gd name="T0" fmla="*/ 429 w 477"/>
                <a:gd name="T1" fmla="*/ 310 h 310"/>
                <a:gd name="T2" fmla="*/ 408 w 477"/>
                <a:gd name="T3" fmla="*/ 304 h 310"/>
                <a:gd name="T4" fmla="*/ 27 w 477"/>
                <a:gd name="T5" fmla="*/ 84 h 310"/>
                <a:gd name="T6" fmla="*/ 12 w 477"/>
                <a:gd name="T7" fmla="*/ 27 h 310"/>
                <a:gd name="T8" fmla="*/ 69 w 477"/>
                <a:gd name="T9" fmla="*/ 12 h 310"/>
                <a:gd name="T10" fmla="*/ 450 w 477"/>
                <a:gd name="T11" fmla="*/ 232 h 310"/>
                <a:gd name="T12" fmla="*/ 465 w 477"/>
                <a:gd name="T13" fmla="*/ 289 h 310"/>
                <a:gd name="T14" fmla="*/ 429 w 477"/>
                <a:gd name="T15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310">
                  <a:moveTo>
                    <a:pt x="429" y="310"/>
                  </a:moveTo>
                  <a:cubicBezTo>
                    <a:pt x="422" y="310"/>
                    <a:pt x="415" y="308"/>
                    <a:pt x="408" y="30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7" y="73"/>
                    <a:pt x="0" y="47"/>
                    <a:pt x="12" y="27"/>
                  </a:cubicBezTo>
                  <a:cubicBezTo>
                    <a:pt x="23" y="7"/>
                    <a:pt x="49" y="0"/>
                    <a:pt x="69" y="12"/>
                  </a:cubicBezTo>
                  <a:cubicBezTo>
                    <a:pt x="450" y="232"/>
                    <a:pt x="450" y="232"/>
                    <a:pt x="450" y="232"/>
                  </a:cubicBezTo>
                  <a:cubicBezTo>
                    <a:pt x="470" y="243"/>
                    <a:pt x="477" y="269"/>
                    <a:pt x="465" y="289"/>
                  </a:cubicBezTo>
                  <a:cubicBezTo>
                    <a:pt x="458" y="303"/>
                    <a:pt x="443" y="310"/>
                    <a:pt x="429" y="3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4161959" y="1868059"/>
              <a:ext cx="106620" cy="17770"/>
            </a:xfrm>
            <a:custGeom>
              <a:avLst/>
              <a:gdLst>
                <a:gd name="T0" fmla="*/ 481 w 524"/>
                <a:gd name="T1" fmla="*/ 84 h 84"/>
                <a:gd name="T2" fmla="*/ 42 w 524"/>
                <a:gd name="T3" fmla="*/ 84 h 84"/>
                <a:gd name="T4" fmla="*/ 0 w 524"/>
                <a:gd name="T5" fmla="*/ 42 h 84"/>
                <a:gd name="T6" fmla="*/ 42 w 524"/>
                <a:gd name="T7" fmla="*/ 0 h 84"/>
                <a:gd name="T8" fmla="*/ 481 w 524"/>
                <a:gd name="T9" fmla="*/ 0 h 84"/>
                <a:gd name="T10" fmla="*/ 524 w 524"/>
                <a:gd name="T11" fmla="*/ 42 h 84"/>
                <a:gd name="T12" fmla="*/ 481 w 524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4" h="84">
                  <a:moveTo>
                    <a:pt x="481" y="84"/>
                  </a:moveTo>
                  <a:cubicBezTo>
                    <a:pt x="42" y="84"/>
                    <a:pt x="42" y="84"/>
                    <a:pt x="42" y="84"/>
                  </a:cubicBezTo>
                  <a:cubicBezTo>
                    <a:pt x="18" y="84"/>
                    <a:pt x="0" y="65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481" y="0"/>
                    <a:pt x="481" y="0"/>
                    <a:pt x="481" y="0"/>
                  </a:cubicBezTo>
                  <a:cubicBezTo>
                    <a:pt x="505" y="0"/>
                    <a:pt x="524" y="19"/>
                    <a:pt x="524" y="42"/>
                  </a:cubicBezTo>
                  <a:cubicBezTo>
                    <a:pt x="524" y="65"/>
                    <a:pt x="505" y="84"/>
                    <a:pt x="481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4200461" y="1968756"/>
              <a:ext cx="97735" cy="63676"/>
            </a:xfrm>
            <a:custGeom>
              <a:avLst/>
              <a:gdLst>
                <a:gd name="T0" fmla="*/ 48 w 477"/>
                <a:gd name="T1" fmla="*/ 310 h 310"/>
                <a:gd name="T2" fmla="*/ 12 w 477"/>
                <a:gd name="T3" fmla="*/ 289 h 310"/>
                <a:gd name="T4" fmla="*/ 27 w 477"/>
                <a:gd name="T5" fmla="*/ 232 h 310"/>
                <a:gd name="T6" fmla="*/ 408 w 477"/>
                <a:gd name="T7" fmla="*/ 12 h 310"/>
                <a:gd name="T8" fmla="*/ 466 w 477"/>
                <a:gd name="T9" fmla="*/ 27 h 310"/>
                <a:gd name="T10" fmla="*/ 450 w 477"/>
                <a:gd name="T11" fmla="*/ 85 h 310"/>
                <a:gd name="T12" fmla="*/ 69 w 477"/>
                <a:gd name="T13" fmla="*/ 305 h 310"/>
                <a:gd name="T14" fmla="*/ 48 w 477"/>
                <a:gd name="T15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310">
                  <a:moveTo>
                    <a:pt x="48" y="310"/>
                  </a:moveTo>
                  <a:cubicBezTo>
                    <a:pt x="34" y="310"/>
                    <a:pt x="20" y="303"/>
                    <a:pt x="12" y="289"/>
                  </a:cubicBezTo>
                  <a:cubicBezTo>
                    <a:pt x="0" y="269"/>
                    <a:pt x="7" y="244"/>
                    <a:pt x="27" y="232"/>
                  </a:cubicBezTo>
                  <a:cubicBezTo>
                    <a:pt x="408" y="12"/>
                    <a:pt x="408" y="12"/>
                    <a:pt x="408" y="12"/>
                  </a:cubicBezTo>
                  <a:cubicBezTo>
                    <a:pt x="428" y="0"/>
                    <a:pt x="454" y="7"/>
                    <a:pt x="466" y="27"/>
                  </a:cubicBezTo>
                  <a:cubicBezTo>
                    <a:pt x="477" y="48"/>
                    <a:pt x="470" y="73"/>
                    <a:pt x="450" y="85"/>
                  </a:cubicBezTo>
                  <a:cubicBezTo>
                    <a:pt x="69" y="305"/>
                    <a:pt x="69" y="305"/>
                    <a:pt x="69" y="305"/>
                  </a:cubicBezTo>
                  <a:cubicBezTo>
                    <a:pt x="63" y="308"/>
                    <a:pt x="55" y="310"/>
                    <a:pt x="48" y="3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4302639" y="1706648"/>
              <a:ext cx="327264" cy="389459"/>
            </a:xfrm>
            <a:custGeom>
              <a:avLst/>
              <a:gdLst>
                <a:gd name="T0" fmla="*/ 1173 w 1602"/>
                <a:gd name="T1" fmla="*/ 1910 h 1910"/>
                <a:gd name="T2" fmla="*/ 1172 w 1602"/>
                <a:gd name="T3" fmla="*/ 1910 h 1910"/>
                <a:gd name="T4" fmla="*/ 427 w 1602"/>
                <a:gd name="T5" fmla="*/ 1910 h 1910"/>
                <a:gd name="T6" fmla="*/ 357 w 1602"/>
                <a:gd name="T7" fmla="*/ 1840 h 1910"/>
                <a:gd name="T8" fmla="*/ 358 w 1602"/>
                <a:gd name="T9" fmla="*/ 1831 h 1910"/>
                <a:gd name="T10" fmla="*/ 307 w 1602"/>
                <a:gd name="T11" fmla="*/ 1560 h 1910"/>
                <a:gd name="T12" fmla="*/ 0 w 1602"/>
                <a:gd name="T13" fmla="*/ 801 h 1910"/>
                <a:gd name="T14" fmla="*/ 801 w 1602"/>
                <a:gd name="T15" fmla="*/ 0 h 1910"/>
                <a:gd name="T16" fmla="*/ 1602 w 1602"/>
                <a:gd name="T17" fmla="*/ 801 h 1910"/>
                <a:gd name="T18" fmla="*/ 1294 w 1602"/>
                <a:gd name="T19" fmla="*/ 1561 h 1910"/>
                <a:gd name="T20" fmla="*/ 1242 w 1602"/>
                <a:gd name="T21" fmla="*/ 1828 h 1910"/>
                <a:gd name="T22" fmla="*/ 1243 w 1602"/>
                <a:gd name="T23" fmla="*/ 1840 h 1910"/>
                <a:gd name="T24" fmla="*/ 1173 w 1602"/>
                <a:gd name="T25" fmla="*/ 1910 h 1910"/>
                <a:gd name="T26" fmla="*/ 427 w 1602"/>
                <a:gd name="T27" fmla="*/ 1770 h 1910"/>
                <a:gd name="T28" fmla="*/ 358 w 1602"/>
                <a:gd name="T29" fmla="*/ 1830 h 1910"/>
                <a:gd name="T30" fmla="*/ 427 w 1602"/>
                <a:gd name="T31" fmla="*/ 1770 h 1910"/>
                <a:gd name="T32" fmla="*/ 1184 w 1602"/>
                <a:gd name="T33" fmla="*/ 1771 h 1910"/>
                <a:gd name="T34" fmla="*/ 1211 w 1602"/>
                <a:gd name="T35" fmla="*/ 1782 h 1910"/>
                <a:gd name="T36" fmla="*/ 1184 w 1602"/>
                <a:gd name="T37" fmla="*/ 1771 h 1910"/>
                <a:gd name="T38" fmla="*/ 498 w 1602"/>
                <a:gd name="T39" fmla="*/ 1770 h 1910"/>
                <a:gd name="T40" fmla="*/ 1102 w 1602"/>
                <a:gd name="T41" fmla="*/ 1770 h 1910"/>
                <a:gd name="T42" fmla="*/ 1106 w 1602"/>
                <a:gd name="T43" fmla="*/ 1711 h 1910"/>
                <a:gd name="T44" fmla="*/ 1183 w 1602"/>
                <a:gd name="T45" fmla="*/ 1476 h 1910"/>
                <a:gd name="T46" fmla="*/ 1462 w 1602"/>
                <a:gd name="T47" fmla="*/ 801 h 1910"/>
                <a:gd name="T48" fmla="*/ 801 w 1602"/>
                <a:gd name="T49" fmla="*/ 140 h 1910"/>
                <a:gd name="T50" fmla="*/ 139 w 1602"/>
                <a:gd name="T51" fmla="*/ 801 h 1910"/>
                <a:gd name="T52" fmla="*/ 418 w 1602"/>
                <a:gd name="T53" fmla="*/ 1475 h 1910"/>
                <a:gd name="T54" fmla="*/ 495 w 1602"/>
                <a:gd name="T55" fmla="*/ 1712 h 1910"/>
                <a:gd name="T56" fmla="*/ 498 w 1602"/>
                <a:gd name="T57" fmla="*/ 1770 h 1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2" h="1910">
                  <a:moveTo>
                    <a:pt x="1173" y="1910"/>
                  </a:moveTo>
                  <a:cubicBezTo>
                    <a:pt x="1173" y="1910"/>
                    <a:pt x="1172" y="1910"/>
                    <a:pt x="1172" y="1910"/>
                  </a:cubicBezTo>
                  <a:cubicBezTo>
                    <a:pt x="427" y="1910"/>
                    <a:pt x="427" y="1910"/>
                    <a:pt x="427" y="1910"/>
                  </a:cubicBezTo>
                  <a:cubicBezTo>
                    <a:pt x="389" y="1910"/>
                    <a:pt x="357" y="1879"/>
                    <a:pt x="357" y="1840"/>
                  </a:cubicBezTo>
                  <a:cubicBezTo>
                    <a:pt x="357" y="1837"/>
                    <a:pt x="358" y="1834"/>
                    <a:pt x="358" y="1831"/>
                  </a:cubicBezTo>
                  <a:cubicBezTo>
                    <a:pt x="362" y="1781"/>
                    <a:pt x="358" y="1628"/>
                    <a:pt x="307" y="1560"/>
                  </a:cubicBezTo>
                  <a:cubicBezTo>
                    <a:pt x="8" y="1175"/>
                    <a:pt x="0" y="805"/>
                    <a:pt x="0" y="801"/>
                  </a:cubicBezTo>
                  <a:cubicBezTo>
                    <a:pt x="0" y="359"/>
                    <a:pt x="359" y="0"/>
                    <a:pt x="801" y="0"/>
                  </a:cubicBezTo>
                  <a:cubicBezTo>
                    <a:pt x="1243" y="0"/>
                    <a:pt x="1602" y="359"/>
                    <a:pt x="1602" y="801"/>
                  </a:cubicBezTo>
                  <a:cubicBezTo>
                    <a:pt x="1602" y="805"/>
                    <a:pt x="1594" y="1175"/>
                    <a:pt x="1294" y="1561"/>
                  </a:cubicBezTo>
                  <a:cubicBezTo>
                    <a:pt x="1241" y="1631"/>
                    <a:pt x="1239" y="1784"/>
                    <a:pt x="1242" y="1828"/>
                  </a:cubicBezTo>
                  <a:cubicBezTo>
                    <a:pt x="1242" y="1832"/>
                    <a:pt x="1243" y="1836"/>
                    <a:pt x="1243" y="1840"/>
                  </a:cubicBezTo>
                  <a:cubicBezTo>
                    <a:pt x="1243" y="1879"/>
                    <a:pt x="1211" y="1910"/>
                    <a:pt x="1173" y="1910"/>
                  </a:cubicBezTo>
                  <a:close/>
                  <a:moveTo>
                    <a:pt x="427" y="1770"/>
                  </a:moveTo>
                  <a:cubicBezTo>
                    <a:pt x="388" y="1770"/>
                    <a:pt x="362" y="1800"/>
                    <a:pt x="358" y="1830"/>
                  </a:cubicBezTo>
                  <a:cubicBezTo>
                    <a:pt x="363" y="1796"/>
                    <a:pt x="392" y="1770"/>
                    <a:pt x="427" y="1770"/>
                  </a:cubicBezTo>
                  <a:close/>
                  <a:moveTo>
                    <a:pt x="1184" y="1771"/>
                  </a:moveTo>
                  <a:cubicBezTo>
                    <a:pt x="1194" y="1773"/>
                    <a:pt x="1203" y="1777"/>
                    <a:pt x="1211" y="1782"/>
                  </a:cubicBezTo>
                  <a:cubicBezTo>
                    <a:pt x="1203" y="1777"/>
                    <a:pt x="1194" y="1773"/>
                    <a:pt x="1184" y="1771"/>
                  </a:cubicBezTo>
                  <a:close/>
                  <a:moveTo>
                    <a:pt x="498" y="1770"/>
                  </a:moveTo>
                  <a:cubicBezTo>
                    <a:pt x="1102" y="1770"/>
                    <a:pt x="1102" y="1770"/>
                    <a:pt x="1102" y="1770"/>
                  </a:cubicBezTo>
                  <a:cubicBezTo>
                    <a:pt x="1103" y="1739"/>
                    <a:pt x="1106" y="1712"/>
                    <a:pt x="1106" y="1711"/>
                  </a:cubicBezTo>
                  <a:cubicBezTo>
                    <a:pt x="1116" y="1610"/>
                    <a:pt x="1142" y="1530"/>
                    <a:pt x="1183" y="1476"/>
                  </a:cubicBezTo>
                  <a:cubicBezTo>
                    <a:pt x="1452" y="1130"/>
                    <a:pt x="1462" y="804"/>
                    <a:pt x="1462" y="801"/>
                  </a:cubicBezTo>
                  <a:cubicBezTo>
                    <a:pt x="1462" y="436"/>
                    <a:pt x="1166" y="140"/>
                    <a:pt x="801" y="140"/>
                  </a:cubicBezTo>
                  <a:cubicBezTo>
                    <a:pt x="436" y="140"/>
                    <a:pt x="139" y="436"/>
                    <a:pt x="139" y="801"/>
                  </a:cubicBezTo>
                  <a:cubicBezTo>
                    <a:pt x="139" y="804"/>
                    <a:pt x="149" y="1129"/>
                    <a:pt x="418" y="1475"/>
                  </a:cubicBezTo>
                  <a:cubicBezTo>
                    <a:pt x="459" y="1531"/>
                    <a:pt x="485" y="1610"/>
                    <a:pt x="495" y="1712"/>
                  </a:cubicBezTo>
                  <a:cubicBezTo>
                    <a:pt x="495" y="1712"/>
                    <a:pt x="497" y="1739"/>
                    <a:pt x="498" y="17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auto">
            <a:xfrm>
              <a:off x="4381122" y="2100467"/>
              <a:ext cx="170296" cy="28137"/>
            </a:xfrm>
            <a:custGeom>
              <a:avLst/>
              <a:gdLst>
                <a:gd name="T0" fmla="*/ 766 w 836"/>
                <a:gd name="T1" fmla="*/ 140 h 140"/>
                <a:gd name="T2" fmla="*/ 70 w 836"/>
                <a:gd name="T3" fmla="*/ 140 h 140"/>
                <a:gd name="T4" fmla="*/ 0 w 836"/>
                <a:gd name="T5" fmla="*/ 70 h 140"/>
                <a:gd name="T6" fmla="*/ 70 w 836"/>
                <a:gd name="T7" fmla="*/ 0 h 140"/>
                <a:gd name="T8" fmla="*/ 766 w 836"/>
                <a:gd name="T9" fmla="*/ 0 h 140"/>
                <a:gd name="T10" fmla="*/ 836 w 836"/>
                <a:gd name="T11" fmla="*/ 70 h 140"/>
                <a:gd name="T12" fmla="*/ 766 w 836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6" h="140">
                  <a:moveTo>
                    <a:pt x="766" y="140"/>
                  </a:moveTo>
                  <a:cubicBezTo>
                    <a:pt x="70" y="140"/>
                    <a:pt x="70" y="140"/>
                    <a:pt x="70" y="140"/>
                  </a:cubicBezTo>
                  <a:cubicBezTo>
                    <a:pt x="31" y="140"/>
                    <a:pt x="0" y="108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766" y="0"/>
                    <a:pt x="766" y="0"/>
                    <a:pt x="766" y="0"/>
                  </a:cubicBezTo>
                  <a:cubicBezTo>
                    <a:pt x="804" y="0"/>
                    <a:pt x="836" y="31"/>
                    <a:pt x="836" y="70"/>
                  </a:cubicBezTo>
                  <a:cubicBezTo>
                    <a:pt x="836" y="108"/>
                    <a:pt x="804" y="140"/>
                    <a:pt x="766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25"/>
            <p:cNvSpPr>
              <a:spLocks/>
            </p:cNvSpPr>
            <p:nvPr/>
          </p:nvSpPr>
          <p:spPr bwMode="auto">
            <a:xfrm>
              <a:off x="4391489" y="2136666"/>
              <a:ext cx="149565" cy="28137"/>
            </a:xfrm>
            <a:custGeom>
              <a:avLst/>
              <a:gdLst>
                <a:gd name="T0" fmla="*/ 663 w 733"/>
                <a:gd name="T1" fmla="*/ 140 h 140"/>
                <a:gd name="T2" fmla="*/ 70 w 733"/>
                <a:gd name="T3" fmla="*/ 140 h 140"/>
                <a:gd name="T4" fmla="*/ 0 w 733"/>
                <a:gd name="T5" fmla="*/ 70 h 140"/>
                <a:gd name="T6" fmla="*/ 70 w 733"/>
                <a:gd name="T7" fmla="*/ 0 h 140"/>
                <a:gd name="T8" fmla="*/ 663 w 733"/>
                <a:gd name="T9" fmla="*/ 0 h 140"/>
                <a:gd name="T10" fmla="*/ 733 w 733"/>
                <a:gd name="T11" fmla="*/ 70 h 140"/>
                <a:gd name="T12" fmla="*/ 663 w 733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3" h="140">
                  <a:moveTo>
                    <a:pt x="663" y="140"/>
                  </a:moveTo>
                  <a:cubicBezTo>
                    <a:pt x="70" y="140"/>
                    <a:pt x="70" y="140"/>
                    <a:pt x="70" y="140"/>
                  </a:cubicBezTo>
                  <a:cubicBezTo>
                    <a:pt x="32" y="140"/>
                    <a:pt x="0" y="109"/>
                    <a:pt x="0" y="70"/>
                  </a:cubicBezTo>
                  <a:cubicBezTo>
                    <a:pt x="0" y="32"/>
                    <a:pt x="32" y="0"/>
                    <a:pt x="70" y="0"/>
                  </a:cubicBezTo>
                  <a:cubicBezTo>
                    <a:pt x="663" y="0"/>
                    <a:pt x="663" y="0"/>
                    <a:pt x="663" y="0"/>
                  </a:cubicBezTo>
                  <a:cubicBezTo>
                    <a:pt x="702" y="0"/>
                    <a:pt x="733" y="32"/>
                    <a:pt x="733" y="70"/>
                  </a:cubicBezTo>
                  <a:cubicBezTo>
                    <a:pt x="733" y="109"/>
                    <a:pt x="702" y="140"/>
                    <a:pt x="66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auto">
            <a:xfrm>
              <a:off x="4409258" y="2170065"/>
              <a:ext cx="114024" cy="28137"/>
            </a:xfrm>
            <a:custGeom>
              <a:avLst/>
              <a:gdLst>
                <a:gd name="T0" fmla="*/ 489 w 559"/>
                <a:gd name="T1" fmla="*/ 140 h 140"/>
                <a:gd name="T2" fmla="*/ 70 w 559"/>
                <a:gd name="T3" fmla="*/ 140 h 140"/>
                <a:gd name="T4" fmla="*/ 0 w 559"/>
                <a:gd name="T5" fmla="*/ 70 h 140"/>
                <a:gd name="T6" fmla="*/ 70 w 559"/>
                <a:gd name="T7" fmla="*/ 0 h 140"/>
                <a:gd name="T8" fmla="*/ 489 w 559"/>
                <a:gd name="T9" fmla="*/ 0 h 140"/>
                <a:gd name="T10" fmla="*/ 559 w 559"/>
                <a:gd name="T11" fmla="*/ 70 h 140"/>
                <a:gd name="T12" fmla="*/ 489 w 559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9" h="140">
                  <a:moveTo>
                    <a:pt x="489" y="140"/>
                  </a:moveTo>
                  <a:cubicBezTo>
                    <a:pt x="70" y="140"/>
                    <a:pt x="70" y="140"/>
                    <a:pt x="70" y="140"/>
                  </a:cubicBezTo>
                  <a:cubicBezTo>
                    <a:pt x="32" y="140"/>
                    <a:pt x="0" y="108"/>
                    <a:pt x="0" y="70"/>
                  </a:cubicBezTo>
                  <a:cubicBezTo>
                    <a:pt x="0" y="31"/>
                    <a:pt x="32" y="0"/>
                    <a:pt x="7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528" y="0"/>
                    <a:pt x="559" y="31"/>
                    <a:pt x="559" y="70"/>
                  </a:cubicBezTo>
                  <a:cubicBezTo>
                    <a:pt x="559" y="108"/>
                    <a:pt x="528" y="140"/>
                    <a:pt x="48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570868" y="1680332"/>
            <a:ext cx="357790" cy="357790"/>
            <a:chOff x="5570868" y="1680332"/>
            <a:chExt cx="357790" cy="357790"/>
          </a:xfrm>
        </p:grpSpPr>
        <p:sp>
          <p:nvSpPr>
            <p:cNvPr id="44" name="Oval 43"/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606168" y="1761087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70868" y="2573018"/>
            <a:ext cx="357790" cy="357790"/>
            <a:chOff x="5570868" y="2573018"/>
            <a:chExt cx="357790" cy="357790"/>
          </a:xfrm>
        </p:grpSpPr>
        <p:sp>
          <p:nvSpPr>
            <p:cNvPr id="49" name="Oval 48"/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606168" y="2653773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570868" y="3445891"/>
            <a:ext cx="357790" cy="357790"/>
            <a:chOff x="5570868" y="3445891"/>
            <a:chExt cx="357790" cy="357790"/>
          </a:xfrm>
        </p:grpSpPr>
        <p:sp>
          <p:nvSpPr>
            <p:cNvPr id="59" name="Oval 58"/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606168" y="3526646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6</a:t>
              </a: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595824" y="1830686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93142" y="1619465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95824" y="2723372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93142" y="2512151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95824" y="3596245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93142" y="3385024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209231" y="1680332"/>
            <a:ext cx="357790" cy="357790"/>
            <a:chOff x="3209231" y="1680332"/>
            <a:chExt cx="357790" cy="357790"/>
          </a:xfrm>
        </p:grpSpPr>
        <p:sp>
          <p:nvSpPr>
            <p:cNvPr id="70" name="Oval 69"/>
            <p:cNvSpPr/>
            <p:nvPr/>
          </p:nvSpPr>
          <p:spPr>
            <a:xfrm>
              <a:off x="3209231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3244531" y="1761087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209231" y="2573018"/>
            <a:ext cx="357790" cy="357790"/>
            <a:chOff x="3209231" y="2573018"/>
            <a:chExt cx="357790" cy="357790"/>
          </a:xfrm>
        </p:grpSpPr>
        <p:sp>
          <p:nvSpPr>
            <p:cNvPr id="72" name="Oval 71"/>
            <p:cNvSpPr/>
            <p:nvPr/>
          </p:nvSpPr>
          <p:spPr>
            <a:xfrm>
              <a:off x="3209231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3244531" y="2653773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209231" y="3445891"/>
            <a:ext cx="357790" cy="357790"/>
            <a:chOff x="3209231" y="3445891"/>
            <a:chExt cx="357790" cy="357790"/>
          </a:xfrm>
        </p:grpSpPr>
        <p:sp>
          <p:nvSpPr>
            <p:cNvPr id="74" name="Oval 73"/>
            <p:cNvSpPr/>
            <p:nvPr/>
          </p:nvSpPr>
          <p:spPr>
            <a:xfrm>
              <a:off x="3209231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244531" y="3526646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5</a:t>
              </a:r>
            </a:p>
          </p:txBody>
        </p:sp>
      </p:grpSp>
      <p:sp>
        <p:nvSpPr>
          <p:cNvPr id="115" name="TextBox 114"/>
          <p:cNvSpPr txBox="1"/>
          <p:nvPr/>
        </p:nvSpPr>
        <p:spPr>
          <a:xfrm>
            <a:off x="6270727" y="1830686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6268045" y="1619465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6270727" y="2723372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6268045" y="2512151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6270727" y="3596245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6268045" y="3385024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</a:t>
            </a:r>
          </a:p>
        </p:txBody>
      </p:sp>
    </p:spTree>
    <p:extLst>
      <p:ext uri="{BB962C8B-B14F-4D97-AF65-F5344CB8AC3E}">
        <p14:creationId xmlns:p14="http://schemas.microsoft.com/office/powerpoint/2010/main" val="15584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nline Traffics </a:t>
            </a:r>
            <a:r>
              <a:rPr lang="en-US">
                <a:solidFill>
                  <a:schemeClr val="accent2"/>
                </a:solidFill>
              </a:rPr>
              <a:t>By De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3" name="Straight Connector 62"/>
          <p:cNvCxnSpPr/>
          <p:nvPr/>
        </p:nvCxnSpPr>
        <p:spPr>
          <a:xfrm>
            <a:off x="679244" y="3501826"/>
            <a:ext cx="314316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303901" y="3631529"/>
            <a:ext cx="154754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cap="all" spc="30">
                <a:solidFill>
                  <a:schemeClr val="accent2"/>
                </a:solidFill>
                <a:latin typeface="+mj-lt"/>
              </a:rPr>
              <a:t>Only 8.2%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79244" y="3908085"/>
            <a:ext cx="3143164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of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opl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se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6" name="Freeform 24"/>
          <p:cNvSpPr>
            <a:spLocks noEditPoints="1"/>
          </p:cNvSpPr>
          <p:nvPr/>
        </p:nvSpPr>
        <p:spPr bwMode="auto">
          <a:xfrm>
            <a:off x="5069538" y="1714790"/>
            <a:ext cx="239775" cy="462215"/>
          </a:xfrm>
          <a:custGeom>
            <a:avLst/>
            <a:gdLst>
              <a:gd name="T0" fmla="*/ 0 w 125"/>
              <a:gd name="T1" fmla="*/ 21 h 243"/>
              <a:gd name="T2" fmla="*/ 2 w 125"/>
              <a:gd name="T3" fmla="*/ 13 h 243"/>
              <a:gd name="T4" fmla="*/ 6 w 125"/>
              <a:gd name="T5" fmla="*/ 6 h 243"/>
              <a:gd name="T6" fmla="*/ 21 w 125"/>
              <a:gd name="T7" fmla="*/ 0 h 243"/>
              <a:gd name="T8" fmla="*/ 22 w 125"/>
              <a:gd name="T9" fmla="*/ 0 h 243"/>
              <a:gd name="T10" fmla="*/ 22 w 125"/>
              <a:gd name="T11" fmla="*/ 0 h 243"/>
              <a:gd name="T12" fmla="*/ 103 w 125"/>
              <a:gd name="T13" fmla="*/ 0 h 243"/>
              <a:gd name="T14" fmla="*/ 104 w 125"/>
              <a:gd name="T15" fmla="*/ 0 h 243"/>
              <a:gd name="T16" fmla="*/ 104 w 125"/>
              <a:gd name="T17" fmla="*/ 0 h 243"/>
              <a:gd name="T18" fmla="*/ 119 w 125"/>
              <a:gd name="T19" fmla="*/ 6 h 243"/>
              <a:gd name="T20" fmla="*/ 124 w 125"/>
              <a:gd name="T21" fmla="*/ 13 h 243"/>
              <a:gd name="T22" fmla="*/ 125 w 125"/>
              <a:gd name="T23" fmla="*/ 21 h 243"/>
              <a:gd name="T24" fmla="*/ 125 w 125"/>
              <a:gd name="T25" fmla="*/ 222 h 243"/>
              <a:gd name="T26" fmla="*/ 119 w 125"/>
              <a:gd name="T27" fmla="*/ 237 h 243"/>
              <a:gd name="T28" fmla="*/ 113 w 125"/>
              <a:gd name="T29" fmla="*/ 241 h 243"/>
              <a:gd name="T30" fmla="*/ 106 w 125"/>
              <a:gd name="T31" fmla="*/ 243 h 243"/>
              <a:gd name="T32" fmla="*/ 20 w 125"/>
              <a:gd name="T33" fmla="*/ 243 h 243"/>
              <a:gd name="T34" fmla="*/ 12 w 125"/>
              <a:gd name="T35" fmla="*/ 241 h 243"/>
              <a:gd name="T36" fmla="*/ 6 w 125"/>
              <a:gd name="T37" fmla="*/ 237 h 243"/>
              <a:gd name="T38" fmla="*/ 0 w 125"/>
              <a:gd name="T39" fmla="*/ 222 h 243"/>
              <a:gd name="T40" fmla="*/ 0 w 125"/>
              <a:gd name="T41" fmla="*/ 21 h 243"/>
              <a:gd name="T42" fmla="*/ 11 w 125"/>
              <a:gd name="T43" fmla="*/ 201 h 243"/>
              <a:gd name="T44" fmla="*/ 115 w 125"/>
              <a:gd name="T45" fmla="*/ 201 h 243"/>
              <a:gd name="T46" fmla="*/ 115 w 125"/>
              <a:gd name="T47" fmla="*/ 42 h 243"/>
              <a:gd name="T48" fmla="*/ 11 w 125"/>
              <a:gd name="T49" fmla="*/ 42 h 243"/>
              <a:gd name="T50" fmla="*/ 11 w 125"/>
              <a:gd name="T51" fmla="*/ 201 h 243"/>
              <a:gd name="T52" fmla="*/ 54 w 125"/>
              <a:gd name="T53" fmla="*/ 214 h 243"/>
              <a:gd name="T54" fmla="*/ 51 w 125"/>
              <a:gd name="T55" fmla="*/ 218 h 243"/>
              <a:gd name="T56" fmla="*/ 50 w 125"/>
              <a:gd name="T57" fmla="*/ 222 h 243"/>
              <a:gd name="T58" fmla="*/ 51 w 125"/>
              <a:gd name="T59" fmla="*/ 227 h 243"/>
              <a:gd name="T60" fmla="*/ 54 w 125"/>
              <a:gd name="T61" fmla="*/ 231 h 243"/>
              <a:gd name="T62" fmla="*/ 58 w 125"/>
              <a:gd name="T63" fmla="*/ 234 h 243"/>
              <a:gd name="T64" fmla="*/ 63 w 125"/>
              <a:gd name="T65" fmla="*/ 234 h 243"/>
              <a:gd name="T66" fmla="*/ 67 w 125"/>
              <a:gd name="T67" fmla="*/ 234 h 243"/>
              <a:gd name="T68" fmla="*/ 71 w 125"/>
              <a:gd name="T69" fmla="*/ 231 h 243"/>
              <a:gd name="T70" fmla="*/ 74 w 125"/>
              <a:gd name="T71" fmla="*/ 227 h 243"/>
              <a:gd name="T72" fmla="*/ 75 w 125"/>
              <a:gd name="T73" fmla="*/ 222 h 243"/>
              <a:gd name="T74" fmla="*/ 74 w 125"/>
              <a:gd name="T75" fmla="*/ 218 h 243"/>
              <a:gd name="T76" fmla="*/ 71 w 125"/>
              <a:gd name="T77" fmla="*/ 214 h 243"/>
              <a:gd name="T78" fmla="*/ 67 w 125"/>
              <a:gd name="T79" fmla="*/ 211 h 243"/>
              <a:gd name="T80" fmla="*/ 63 w 125"/>
              <a:gd name="T81" fmla="*/ 210 h 243"/>
              <a:gd name="T82" fmla="*/ 58 w 125"/>
              <a:gd name="T83" fmla="*/ 211 h 243"/>
              <a:gd name="T84" fmla="*/ 54 w 125"/>
              <a:gd name="T85" fmla="*/ 214 h 243"/>
              <a:gd name="T86" fmla="*/ 51 w 125"/>
              <a:gd name="T87" fmla="*/ 21 h 243"/>
              <a:gd name="T88" fmla="*/ 53 w 125"/>
              <a:gd name="T89" fmla="*/ 23 h 243"/>
              <a:gd name="T90" fmla="*/ 72 w 125"/>
              <a:gd name="T91" fmla="*/ 23 h 243"/>
              <a:gd name="T92" fmla="*/ 74 w 125"/>
              <a:gd name="T93" fmla="*/ 21 h 243"/>
              <a:gd name="T94" fmla="*/ 72 w 125"/>
              <a:gd name="T95" fmla="*/ 19 h 243"/>
              <a:gd name="T96" fmla="*/ 53 w 125"/>
              <a:gd name="T97" fmla="*/ 19 h 243"/>
              <a:gd name="T98" fmla="*/ 51 w 125"/>
              <a:gd name="T99" fmla="*/ 21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243">
                <a:moveTo>
                  <a:pt x="0" y="21"/>
                </a:moveTo>
                <a:cubicBezTo>
                  <a:pt x="0" y="18"/>
                  <a:pt x="1" y="15"/>
                  <a:pt x="2" y="13"/>
                </a:cubicBezTo>
                <a:cubicBezTo>
                  <a:pt x="3" y="10"/>
                  <a:pt x="4" y="8"/>
                  <a:pt x="6" y="6"/>
                </a:cubicBezTo>
                <a:cubicBezTo>
                  <a:pt x="10" y="2"/>
                  <a:pt x="15" y="0"/>
                  <a:pt x="21" y="0"/>
                </a:cubicBezTo>
                <a:cubicBezTo>
                  <a:pt x="21" y="0"/>
                  <a:pt x="21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0" y="0"/>
                  <a:pt x="115" y="2"/>
                  <a:pt x="119" y="6"/>
                </a:cubicBezTo>
                <a:cubicBezTo>
                  <a:pt x="121" y="8"/>
                  <a:pt x="123" y="10"/>
                  <a:pt x="124" y="13"/>
                </a:cubicBezTo>
                <a:cubicBezTo>
                  <a:pt x="125" y="15"/>
                  <a:pt x="125" y="18"/>
                  <a:pt x="125" y="21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8"/>
                  <a:pt x="123" y="232"/>
                  <a:pt x="119" y="237"/>
                </a:cubicBezTo>
                <a:cubicBezTo>
                  <a:pt x="117" y="239"/>
                  <a:pt x="115" y="240"/>
                  <a:pt x="113" y="241"/>
                </a:cubicBezTo>
                <a:cubicBezTo>
                  <a:pt x="111" y="243"/>
                  <a:pt x="108" y="243"/>
                  <a:pt x="106" y="243"/>
                </a:cubicBezTo>
                <a:cubicBezTo>
                  <a:pt x="20" y="243"/>
                  <a:pt x="20" y="243"/>
                  <a:pt x="20" y="243"/>
                </a:cubicBezTo>
                <a:cubicBezTo>
                  <a:pt x="17" y="243"/>
                  <a:pt x="15" y="243"/>
                  <a:pt x="12" y="241"/>
                </a:cubicBezTo>
                <a:cubicBezTo>
                  <a:pt x="10" y="240"/>
                  <a:pt x="8" y="239"/>
                  <a:pt x="6" y="237"/>
                </a:cubicBezTo>
                <a:cubicBezTo>
                  <a:pt x="2" y="232"/>
                  <a:pt x="0" y="228"/>
                  <a:pt x="0" y="222"/>
                </a:cubicBezTo>
                <a:lnTo>
                  <a:pt x="0" y="21"/>
                </a:lnTo>
                <a:close/>
                <a:moveTo>
                  <a:pt x="11" y="201"/>
                </a:moveTo>
                <a:cubicBezTo>
                  <a:pt x="115" y="201"/>
                  <a:pt x="115" y="201"/>
                  <a:pt x="115" y="201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" y="42"/>
                  <a:pt x="11" y="42"/>
                  <a:pt x="11" y="42"/>
                </a:cubicBezTo>
                <a:lnTo>
                  <a:pt x="11" y="201"/>
                </a:lnTo>
                <a:close/>
                <a:moveTo>
                  <a:pt x="54" y="214"/>
                </a:moveTo>
                <a:cubicBezTo>
                  <a:pt x="53" y="215"/>
                  <a:pt x="52" y="216"/>
                  <a:pt x="51" y="218"/>
                </a:cubicBezTo>
                <a:cubicBezTo>
                  <a:pt x="51" y="219"/>
                  <a:pt x="50" y="221"/>
                  <a:pt x="50" y="222"/>
                </a:cubicBezTo>
                <a:cubicBezTo>
                  <a:pt x="50" y="224"/>
                  <a:pt x="51" y="225"/>
                  <a:pt x="51" y="227"/>
                </a:cubicBezTo>
                <a:cubicBezTo>
                  <a:pt x="52" y="228"/>
                  <a:pt x="53" y="230"/>
                  <a:pt x="54" y="231"/>
                </a:cubicBezTo>
                <a:cubicBezTo>
                  <a:pt x="55" y="232"/>
                  <a:pt x="57" y="233"/>
                  <a:pt x="58" y="234"/>
                </a:cubicBezTo>
                <a:cubicBezTo>
                  <a:pt x="60" y="234"/>
                  <a:pt x="61" y="234"/>
                  <a:pt x="63" y="234"/>
                </a:cubicBezTo>
                <a:cubicBezTo>
                  <a:pt x="64" y="234"/>
                  <a:pt x="66" y="234"/>
                  <a:pt x="67" y="234"/>
                </a:cubicBezTo>
                <a:cubicBezTo>
                  <a:pt x="69" y="233"/>
                  <a:pt x="70" y="232"/>
                  <a:pt x="71" y="231"/>
                </a:cubicBezTo>
                <a:cubicBezTo>
                  <a:pt x="72" y="230"/>
                  <a:pt x="73" y="228"/>
                  <a:pt x="74" y="227"/>
                </a:cubicBezTo>
                <a:cubicBezTo>
                  <a:pt x="75" y="225"/>
                  <a:pt x="75" y="224"/>
                  <a:pt x="75" y="222"/>
                </a:cubicBezTo>
                <a:cubicBezTo>
                  <a:pt x="75" y="221"/>
                  <a:pt x="75" y="219"/>
                  <a:pt x="74" y="218"/>
                </a:cubicBezTo>
                <a:cubicBezTo>
                  <a:pt x="73" y="216"/>
                  <a:pt x="72" y="215"/>
                  <a:pt x="71" y="214"/>
                </a:cubicBezTo>
                <a:cubicBezTo>
                  <a:pt x="70" y="213"/>
                  <a:pt x="69" y="212"/>
                  <a:pt x="67" y="211"/>
                </a:cubicBezTo>
                <a:cubicBezTo>
                  <a:pt x="66" y="210"/>
                  <a:pt x="64" y="210"/>
                  <a:pt x="63" y="210"/>
                </a:cubicBezTo>
                <a:cubicBezTo>
                  <a:pt x="61" y="210"/>
                  <a:pt x="60" y="210"/>
                  <a:pt x="58" y="211"/>
                </a:cubicBezTo>
                <a:cubicBezTo>
                  <a:pt x="57" y="212"/>
                  <a:pt x="55" y="213"/>
                  <a:pt x="54" y="214"/>
                </a:cubicBezTo>
                <a:close/>
                <a:moveTo>
                  <a:pt x="51" y="21"/>
                </a:moveTo>
                <a:cubicBezTo>
                  <a:pt x="51" y="22"/>
                  <a:pt x="52" y="23"/>
                  <a:pt x="53" y="23"/>
                </a:cubicBezTo>
                <a:cubicBezTo>
                  <a:pt x="72" y="23"/>
                  <a:pt x="72" y="23"/>
                  <a:pt x="72" y="23"/>
                </a:cubicBezTo>
                <a:cubicBezTo>
                  <a:pt x="74" y="23"/>
                  <a:pt x="74" y="22"/>
                  <a:pt x="74" y="21"/>
                </a:cubicBezTo>
                <a:cubicBezTo>
                  <a:pt x="74" y="19"/>
                  <a:pt x="74" y="19"/>
                  <a:pt x="72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2" y="19"/>
                  <a:pt x="51" y="19"/>
                  <a:pt x="51" y="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8" name="Freeform 26"/>
          <p:cNvSpPr>
            <a:spLocks noEditPoints="1"/>
          </p:cNvSpPr>
          <p:nvPr/>
        </p:nvSpPr>
        <p:spPr bwMode="auto">
          <a:xfrm>
            <a:off x="4863275" y="3615076"/>
            <a:ext cx="436216" cy="297552"/>
          </a:xfrm>
          <a:custGeom>
            <a:avLst/>
            <a:gdLst>
              <a:gd name="T0" fmla="*/ 20 w 228"/>
              <a:gd name="T1" fmla="*/ 125 h 156"/>
              <a:gd name="T2" fmla="*/ 20 w 228"/>
              <a:gd name="T3" fmla="*/ 10 h 156"/>
              <a:gd name="T4" fmla="*/ 24 w 228"/>
              <a:gd name="T5" fmla="*/ 3 h 156"/>
              <a:gd name="T6" fmla="*/ 31 w 228"/>
              <a:gd name="T7" fmla="*/ 0 h 156"/>
              <a:gd name="T8" fmla="*/ 197 w 228"/>
              <a:gd name="T9" fmla="*/ 0 h 156"/>
              <a:gd name="T10" fmla="*/ 204 w 228"/>
              <a:gd name="T11" fmla="*/ 3 h 156"/>
              <a:gd name="T12" fmla="*/ 207 w 228"/>
              <a:gd name="T13" fmla="*/ 10 h 156"/>
              <a:gd name="T14" fmla="*/ 207 w 228"/>
              <a:gd name="T15" fmla="*/ 125 h 156"/>
              <a:gd name="T16" fmla="*/ 228 w 228"/>
              <a:gd name="T17" fmla="*/ 145 h 156"/>
              <a:gd name="T18" fmla="*/ 225 w 228"/>
              <a:gd name="T19" fmla="*/ 153 h 156"/>
              <a:gd name="T20" fmla="*/ 218 w 228"/>
              <a:gd name="T21" fmla="*/ 156 h 156"/>
              <a:gd name="T22" fmla="*/ 10 w 228"/>
              <a:gd name="T23" fmla="*/ 156 h 156"/>
              <a:gd name="T24" fmla="*/ 2 w 228"/>
              <a:gd name="T25" fmla="*/ 153 h 156"/>
              <a:gd name="T26" fmla="*/ 0 w 228"/>
              <a:gd name="T27" fmla="*/ 145 h 156"/>
              <a:gd name="T28" fmla="*/ 20 w 228"/>
              <a:gd name="T29" fmla="*/ 125 h 156"/>
              <a:gd name="T30" fmla="*/ 31 w 228"/>
              <a:gd name="T31" fmla="*/ 125 h 156"/>
              <a:gd name="T32" fmla="*/ 197 w 228"/>
              <a:gd name="T33" fmla="*/ 125 h 156"/>
              <a:gd name="T34" fmla="*/ 197 w 228"/>
              <a:gd name="T35" fmla="*/ 10 h 156"/>
              <a:gd name="T36" fmla="*/ 31 w 228"/>
              <a:gd name="T37" fmla="*/ 10 h 156"/>
              <a:gd name="T38" fmla="*/ 31 w 228"/>
              <a:gd name="T39" fmla="*/ 125 h 156"/>
              <a:gd name="T40" fmla="*/ 85 w 228"/>
              <a:gd name="T41" fmla="*/ 144 h 156"/>
              <a:gd name="T42" fmla="*/ 88 w 228"/>
              <a:gd name="T43" fmla="*/ 145 h 156"/>
              <a:gd name="T44" fmla="*/ 140 w 228"/>
              <a:gd name="T45" fmla="*/ 145 h 156"/>
              <a:gd name="T46" fmla="*/ 143 w 228"/>
              <a:gd name="T47" fmla="*/ 144 h 156"/>
              <a:gd name="T48" fmla="*/ 143 w 228"/>
              <a:gd name="T49" fmla="*/ 144 h 156"/>
              <a:gd name="T50" fmla="*/ 136 w 228"/>
              <a:gd name="T51" fmla="*/ 137 h 156"/>
              <a:gd name="T52" fmla="*/ 132 w 228"/>
              <a:gd name="T53" fmla="*/ 136 h 156"/>
              <a:gd name="T54" fmla="*/ 95 w 228"/>
              <a:gd name="T55" fmla="*/ 136 h 156"/>
              <a:gd name="T56" fmla="*/ 92 w 228"/>
              <a:gd name="T57" fmla="*/ 137 h 156"/>
              <a:gd name="T58" fmla="*/ 85 w 228"/>
              <a:gd name="T59" fmla="*/ 14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8" h="156">
                <a:moveTo>
                  <a:pt x="20" y="125"/>
                </a:moveTo>
                <a:cubicBezTo>
                  <a:pt x="20" y="10"/>
                  <a:pt x="20" y="10"/>
                  <a:pt x="20" y="10"/>
                </a:cubicBezTo>
                <a:cubicBezTo>
                  <a:pt x="20" y="7"/>
                  <a:pt x="21" y="5"/>
                  <a:pt x="24" y="3"/>
                </a:cubicBezTo>
                <a:cubicBezTo>
                  <a:pt x="26" y="1"/>
                  <a:pt x="28" y="0"/>
                  <a:pt x="31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99" y="0"/>
                  <a:pt x="202" y="1"/>
                  <a:pt x="204" y="3"/>
                </a:cubicBezTo>
                <a:cubicBezTo>
                  <a:pt x="206" y="5"/>
                  <a:pt x="207" y="7"/>
                  <a:pt x="207" y="10"/>
                </a:cubicBezTo>
                <a:cubicBezTo>
                  <a:pt x="207" y="125"/>
                  <a:pt x="207" y="125"/>
                  <a:pt x="207" y="125"/>
                </a:cubicBezTo>
                <a:cubicBezTo>
                  <a:pt x="228" y="145"/>
                  <a:pt x="228" y="145"/>
                  <a:pt x="228" y="145"/>
                </a:cubicBezTo>
                <a:cubicBezTo>
                  <a:pt x="228" y="148"/>
                  <a:pt x="227" y="151"/>
                  <a:pt x="225" y="153"/>
                </a:cubicBezTo>
                <a:cubicBezTo>
                  <a:pt x="223" y="155"/>
                  <a:pt x="221" y="156"/>
                  <a:pt x="218" y="156"/>
                </a:cubicBezTo>
                <a:cubicBezTo>
                  <a:pt x="10" y="156"/>
                  <a:pt x="10" y="156"/>
                  <a:pt x="10" y="156"/>
                </a:cubicBezTo>
                <a:cubicBezTo>
                  <a:pt x="7" y="156"/>
                  <a:pt x="4" y="155"/>
                  <a:pt x="2" y="153"/>
                </a:cubicBezTo>
                <a:cubicBezTo>
                  <a:pt x="0" y="151"/>
                  <a:pt x="0" y="148"/>
                  <a:pt x="0" y="145"/>
                </a:cubicBezTo>
                <a:lnTo>
                  <a:pt x="20" y="125"/>
                </a:lnTo>
                <a:close/>
                <a:moveTo>
                  <a:pt x="31" y="125"/>
                </a:moveTo>
                <a:cubicBezTo>
                  <a:pt x="197" y="125"/>
                  <a:pt x="197" y="125"/>
                  <a:pt x="197" y="125"/>
                </a:cubicBezTo>
                <a:cubicBezTo>
                  <a:pt x="197" y="10"/>
                  <a:pt x="197" y="10"/>
                  <a:pt x="197" y="10"/>
                </a:cubicBezTo>
                <a:cubicBezTo>
                  <a:pt x="31" y="10"/>
                  <a:pt x="31" y="10"/>
                  <a:pt x="31" y="10"/>
                </a:cubicBezTo>
                <a:lnTo>
                  <a:pt x="31" y="125"/>
                </a:lnTo>
                <a:close/>
                <a:moveTo>
                  <a:pt x="85" y="144"/>
                </a:moveTo>
                <a:cubicBezTo>
                  <a:pt x="85" y="145"/>
                  <a:pt x="86" y="145"/>
                  <a:pt x="88" y="145"/>
                </a:cubicBezTo>
                <a:cubicBezTo>
                  <a:pt x="140" y="145"/>
                  <a:pt x="140" y="145"/>
                  <a:pt x="140" y="145"/>
                </a:cubicBezTo>
                <a:cubicBezTo>
                  <a:pt x="142" y="145"/>
                  <a:pt x="143" y="145"/>
                  <a:pt x="143" y="144"/>
                </a:cubicBezTo>
                <a:cubicBezTo>
                  <a:pt x="143" y="144"/>
                  <a:pt x="143" y="144"/>
                  <a:pt x="143" y="144"/>
                </a:cubicBezTo>
                <a:cubicBezTo>
                  <a:pt x="136" y="137"/>
                  <a:pt x="136" y="137"/>
                  <a:pt x="136" y="137"/>
                </a:cubicBezTo>
                <a:cubicBezTo>
                  <a:pt x="136" y="137"/>
                  <a:pt x="134" y="136"/>
                  <a:pt x="132" y="136"/>
                </a:cubicBezTo>
                <a:cubicBezTo>
                  <a:pt x="95" y="136"/>
                  <a:pt x="95" y="136"/>
                  <a:pt x="95" y="136"/>
                </a:cubicBezTo>
                <a:cubicBezTo>
                  <a:pt x="93" y="136"/>
                  <a:pt x="92" y="137"/>
                  <a:pt x="92" y="137"/>
                </a:cubicBezTo>
                <a:cubicBezTo>
                  <a:pt x="85" y="144"/>
                  <a:pt x="85" y="144"/>
                  <a:pt x="85" y="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9" name="Freeform 27"/>
          <p:cNvSpPr>
            <a:spLocks noEditPoints="1"/>
          </p:cNvSpPr>
          <p:nvPr/>
        </p:nvSpPr>
        <p:spPr bwMode="auto">
          <a:xfrm>
            <a:off x="4945174" y="2735512"/>
            <a:ext cx="358217" cy="358217"/>
          </a:xfrm>
          <a:custGeom>
            <a:avLst/>
            <a:gdLst>
              <a:gd name="T0" fmla="*/ 0 w 188"/>
              <a:gd name="T1" fmla="*/ 8 h 187"/>
              <a:gd name="T2" fmla="*/ 3 w 188"/>
              <a:gd name="T3" fmla="*/ 3 h 187"/>
              <a:gd name="T4" fmla="*/ 9 w 188"/>
              <a:gd name="T5" fmla="*/ 0 h 187"/>
              <a:gd name="T6" fmla="*/ 180 w 188"/>
              <a:gd name="T7" fmla="*/ 0 h 187"/>
              <a:gd name="T8" fmla="*/ 185 w 188"/>
              <a:gd name="T9" fmla="*/ 3 h 187"/>
              <a:gd name="T10" fmla="*/ 188 w 188"/>
              <a:gd name="T11" fmla="*/ 8 h 187"/>
              <a:gd name="T12" fmla="*/ 188 w 188"/>
              <a:gd name="T13" fmla="*/ 147 h 187"/>
              <a:gd name="T14" fmla="*/ 185 w 188"/>
              <a:gd name="T15" fmla="*/ 153 h 187"/>
              <a:gd name="T16" fmla="*/ 180 w 188"/>
              <a:gd name="T17" fmla="*/ 156 h 187"/>
              <a:gd name="T18" fmla="*/ 113 w 188"/>
              <a:gd name="T19" fmla="*/ 156 h 187"/>
              <a:gd name="T20" fmla="*/ 116 w 188"/>
              <a:gd name="T21" fmla="*/ 180 h 187"/>
              <a:gd name="T22" fmla="*/ 121 w 188"/>
              <a:gd name="T23" fmla="*/ 186 h 187"/>
              <a:gd name="T24" fmla="*/ 121 w 188"/>
              <a:gd name="T25" fmla="*/ 186 h 187"/>
              <a:gd name="T26" fmla="*/ 120 w 188"/>
              <a:gd name="T27" fmla="*/ 187 h 187"/>
              <a:gd name="T28" fmla="*/ 117 w 188"/>
              <a:gd name="T29" fmla="*/ 187 h 187"/>
              <a:gd name="T30" fmla="*/ 116 w 188"/>
              <a:gd name="T31" fmla="*/ 187 h 187"/>
              <a:gd name="T32" fmla="*/ 73 w 188"/>
              <a:gd name="T33" fmla="*/ 187 h 187"/>
              <a:gd name="T34" fmla="*/ 67 w 188"/>
              <a:gd name="T35" fmla="*/ 186 h 187"/>
              <a:gd name="T36" fmla="*/ 67 w 188"/>
              <a:gd name="T37" fmla="*/ 186 h 187"/>
              <a:gd name="T38" fmla="*/ 72 w 188"/>
              <a:gd name="T39" fmla="*/ 180 h 187"/>
              <a:gd name="T40" fmla="*/ 75 w 188"/>
              <a:gd name="T41" fmla="*/ 156 h 187"/>
              <a:gd name="T42" fmla="*/ 9 w 188"/>
              <a:gd name="T43" fmla="*/ 156 h 187"/>
              <a:gd name="T44" fmla="*/ 3 w 188"/>
              <a:gd name="T45" fmla="*/ 153 h 187"/>
              <a:gd name="T46" fmla="*/ 0 w 188"/>
              <a:gd name="T47" fmla="*/ 147 h 187"/>
              <a:gd name="T48" fmla="*/ 0 w 188"/>
              <a:gd name="T49" fmla="*/ 8 h 187"/>
              <a:gd name="T50" fmla="*/ 11 w 188"/>
              <a:gd name="T51" fmla="*/ 117 h 187"/>
              <a:gd name="T52" fmla="*/ 177 w 188"/>
              <a:gd name="T53" fmla="*/ 117 h 187"/>
              <a:gd name="T54" fmla="*/ 177 w 188"/>
              <a:gd name="T55" fmla="*/ 11 h 187"/>
              <a:gd name="T56" fmla="*/ 11 w 188"/>
              <a:gd name="T57" fmla="*/ 11 h 187"/>
              <a:gd name="T58" fmla="*/ 11 w 188"/>
              <a:gd name="T59" fmla="*/ 117 h 187"/>
              <a:gd name="T60" fmla="*/ 90 w 188"/>
              <a:gd name="T61" fmla="*/ 130 h 187"/>
              <a:gd name="T62" fmla="*/ 89 w 188"/>
              <a:gd name="T63" fmla="*/ 134 h 187"/>
              <a:gd name="T64" fmla="*/ 90 w 188"/>
              <a:gd name="T65" fmla="*/ 138 h 187"/>
              <a:gd name="T66" fmla="*/ 94 w 188"/>
              <a:gd name="T67" fmla="*/ 139 h 187"/>
              <a:gd name="T68" fmla="*/ 98 w 188"/>
              <a:gd name="T69" fmla="*/ 138 h 187"/>
              <a:gd name="T70" fmla="*/ 99 w 188"/>
              <a:gd name="T71" fmla="*/ 134 h 187"/>
              <a:gd name="T72" fmla="*/ 98 w 188"/>
              <a:gd name="T73" fmla="*/ 130 h 187"/>
              <a:gd name="T74" fmla="*/ 94 w 188"/>
              <a:gd name="T75" fmla="*/ 129 h 187"/>
              <a:gd name="T76" fmla="*/ 90 w 188"/>
              <a:gd name="T77" fmla="*/ 13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8" h="187">
                <a:moveTo>
                  <a:pt x="0" y="8"/>
                </a:moveTo>
                <a:cubicBezTo>
                  <a:pt x="0" y="6"/>
                  <a:pt x="1" y="4"/>
                  <a:pt x="3" y="3"/>
                </a:cubicBezTo>
                <a:cubicBezTo>
                  <a:pt x="4" y="1"/>
                  <a:pt x="6" y="0"/>
                  <a:pt x="9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2" y="0"/>
                  <a:pt x="184" y="1"/>
                  <a:pt x="185" y="3"/>
                </a:cubicBezTo>
                <a:cubicBezTo>
                  <a:pt x="187" y="4"/>
                  <a:pt x="188" y="6"/>
                  <a:pt x="188" y="8"/>
                </a:cubicBezTo>
                <a:cubicBezTo>
                  <a:pt x="188" y="147"/>
                  <a:pt x="188" y="147"/>
                  <a:pt x="188" y="147"/>
                </a:cubicBezTo>
                <a:cubicBezTo>
                  <a:pt x="188" y="150"/>
                  <a:pt x="187" y="152"/>
                  <a:pt x="185" y="153"/>
                </a:cubicBezTo>
                <a:cubicBezTo>
                  <a:pt x="184" y="155"/>
                  <a:pt x="182" y="156"/>
                  <a:pt x="180" y="156"/>
                </a:cubicBezTo>
                <a:cubicBezTo>
                  <a:pt x="113" y="156"/>
                  <a:pt x="113" y="156"/>
                  <a:pt x="113" y="156"/>
                </a:cubicBezTo>
                <a:cubicBezTo>
                  <a:pt x="116" y="180"/>
                  <a:pt x="116" y="180"/>
                  <a:pt x="116" y="180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7"/>
                  <a:pt x="121" y="187"/>
                  <a:pt x="120" y="187"/>
                </a:cubicBezTo>
                <a:cubicBezTo>
                  <a:pt x="119" y="187"/>
                  <a:pt x="118" y="187"/>
                  <a:pt x="117" y="187"/>
                </a:cubicBezTo>
                <a:cubicBezTo>
                  <a:pt x="116" y="187"/>
                  <a:pt x="116" y="187"/>
                  <a:pt x="116" y="187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9" y="187"/>
                  <a:pt x="67" y="187"/>
                  <a:pt x="67" y="186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72" y="180"/>
                  <a:pt x="72" y="180"/>
                  <a:pt x="72" y="180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9" y="156"/>
                  <a:pt x="9" y="156"/>
                  <a:pt x="9" y="156"/>
                </a:cubicBezTo>
                <a:cubicBezTo>
                  <a:pt x="6" y="156"/>
                  <a:pt x="4" y="155"/>
                  <a:pt x="3" y="153"/>
                </a:cubicBezTo>
                <a:cubicBezTo>
                  <a:pt x="1" y="152"/>
                  <a:pt x="0" y="150"/>
                  <a:pt x="0" y="147"/>
                </a:cubicBezTo>
                <a:lnTo>
                  <a:pt x="0" y="8"/>
                </a:lnTo>
                <a:close/>
                <a:moveTo>
                  <a:pt x="11" y="117"/>
                </a:moveTo>
                <a:cubicBezTo>
                  <a:pt x="177" y="117"/>
                  <a:pt x="177" y="117"/>
                  <a:pt x="177" y="117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117"/>
                </a:lnTo>
                <a:close/>
                <a:moveTo>
                  <a:pt x="90" y="130"/>
                </a:moveTo>
                <a:cubicBezTo>
                  <a:pt x="89" y="131"/>
                  <a:pt x="89" y="133"/>
                  <a:pt x="89" y="134"/>
                </a:cubicBezTo>
                <a:cubicBezTo>
                  <a:pt x="89" y="136"/>
                  <a:pt x="89" y="137"/>
                  <a:pt x="90" y="138"/>
                </a:cubicBezTo>
                <a:cubicBezTo>
                  <a:pt x="91" y="139"/>
                  <a:pt x="93" y="139"/>
                  <a:pt x="94" y="139"/>
                </a:cubicBezTo>
                <a:cubicBezTo>
                  <a:pt x="96" y="139"/>
                  <a:pt x="97" y="139"/>
                  <a:pt x="98" y="138"/>
                </a:cubicBezTo>
                <a:cubicBezTo>
                  <a:pt x="99" y="137"/>
                  <a:pt x="99" y="136"/>
                  <a:pt x="99" y="134"/>
                </a:cubicBezTo>
                <a:cubicBezTo>
                  <a:pt x="99" y="133"/>
                  <a:pt x="99" y="131"/>
                  <a:pt x="98" y="130"/>
                </a:cubicBezTo>
                <a:cubicBezTo>
                  <a:pt x="97" y="129"/>
                  <a:pt x="96" y="129"/>
                  <a:pt x="94" y="129"/>
                </a:cubicBezTo>
                <a:cubicBezTo>
                  <a:pt x="93" y="129"/>
                  <a:pt x="91" y="129"/>
                  <a:pt x="90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5469551" y="1683910"/>
            <a:ext cx="3077549" cy="517768"/>
            <a:chOff x="5469551" y="1904557"/>
            <a:chExt cx="3077549" cy="517768"/>
          </a:xfrm>
        </p:grpSpPr>
        <p:sp>
          <p:nvSpPr>
            <p:cNvPr id="68" name="TextBox 67"/>
            <p:cNvSpPr txBox="1"/>
            <p:nvPr/>
          </p:nvSpPr>
          <p:spPr>
            <a:xfrm>
              <a:off x="5469551" y="1904557"/>
              <a:ext cx="1671853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Smartphone Users</a:t>
              </a: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5478780" y="2143294"/>
              <a:ext cx="3068320" cy="279031"/>
              <a:chOff x="6276756" y="2169522"/>
              <a:chExt cx="1831975" cy="180197"/>
            </a:xfrm>
          </p:grpSpPr>
          <p:sp>
            <p:nvSpPr>
              <p:cNvPr id="67" name="Rectangle 66"/>
              <p:cNvSpPr/>
              <p:nvPr/>
            </p:nvSpPr>
            <p:spPr>
              <a:xfrm>
                <a:off x="6276756" y="2169522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6276758" y="2169522"/>
                <a:ext cx="1123216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70" name="TextBox 69"/>
            <p:cNvSpPr txBox="1"/>
            <p:nvPr/>
          </p:nvSpPr>
          <p:spPr>
            <a:xfrm>
              <a:off x="7462688" y="2175087"/>
              <a:ext cx="36684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solidFill>
                    <a:schemeClr val="accent1"/>
                  </a:solidFill>
                  <a:latin typeface="+mj-lt"/>
                </a:rPr>
                <a:t>42%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574326" y="2221253"/>
              <a:ext cx="105189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>
                  <a:solidFill>
                    <a:schemeClr val="bg1"/>
                  </a:solidFill>
                  <a:latin typeface="+mj-lt"/>
                </a:rPr>
                <a:t>Coming online traffics </a:t>
              </a: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5469551" y="2550889"/>
            <a:ext cx="3077549" cy="517768"/>
            <a:chOff x="5469551" y="1904557"/>
            <a:chExt cx="3077549" cy="517768"/>
          </a:xfrm>
        </p:grpSpPr>
        <p:sp>
          <p:nvSpPr>
            <p:cNvPr id="83" name="TextBox 82"/>
            <p:cNvSpPr txBox="1"/>
            <p:nvPr/>
          </p:nvSpPr>
          <p:spPr>
            <a:xfrm>
              <a:off x="5469551" y="1904557"/>
              <a:ext cx="1393211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Desktop Users</a:t>
              </a: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5478780" y="2143294"/>
              <a:ext cx="3068320" cy="279031"/>
              <a:chOff x="6276756" y="2169522"/>
              <a:chExt cx="1831975" cy="180197"/>
            </a:xfrm>
          </p:grpSpPr>
          <p:sp>
            <p:nvSpPr>
              <p:cNvPr id="87" name="Rectangle 86"/>
              <p:cNvSpPr/>
              <p:nvPr/>
            </p:nvSpPr>
            <p:spPr>
              <a:xfrm>
                <a:off x="6276756" y="2169522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6276758" y="2169522"/>
                <a:ext cx="760995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85" name="TextBox 84"/>
            <p:cNvSpPr txBox="1"/>
            <p:nvPr/>
          </p:nvSpPr>
          <p:spPr>
            <a:xfrm>
              <a:off x="6860282" y="2175087"/>
              <a:ext cx="36684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solidFill>
                    <a:schemeClr val="accent1"/>
                  </a:solidFill>
                  <a:latin typeface="+mj-lt"/>
                </a:rPr>
                <a:t>22%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5574326" y="2221253"/>
              <a:ext cx="105189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>
                  <a:solidFill>
                    <a:schemeClr val="bg1"/>
                  </a:solidFill>
                  <a:latin typeface="+mj-lt"/>
                </a:rPr>
                <a:t>Coming online traffics </a:t>
              </a: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5469551" y="3414084"/>
            <a:ext cx="3077549" cy="517768"/>
            <a:chOff x="5469551" y="1904557"/>
            <a:chExt cx="3077549" cy="517768"/>
          </a:xfrm>
        </p:grpSpPr>
        <p:sp>
          <p:nvSpPr>
            <p:cNvPr id="90" name="TextBox 89"/>
            <p:cNvSpPr txBox="1"/>
            <p:nvPr/>
          </p:nvSpPr>
          <p:spPr>
            <a:xfrm>
              <a:off x="5469551" y="1904557"/>
              <a:ext cx="1393211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Laptop Users</a:t>
              </a: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5478780" y="2143294"/>
              <a:ext cx="3068320" cy="279031"/>
              <a:chOff x="6276756" y="2169522"/>
              <a:chExt cx="1831975" cy="180197"/>
            </a:xfrm>
          </p:grpSpPr>
          <p:sp>
            <p:nvSpPr>
              <p:cNvPr id="94" name="Rectangle 93"/>
              <p:cNvSpPr/>
              <p:nvPr/>
            </p:nvSpPr>
            <p:spPr>
              <a:xfrm>
                <a:off x="6276756" y="2169522"/>
                <a:ext cx="1831975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6276758" y="2169522"/>
                <a:ext cx="343873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92" name="TextBox 91"/>
            <p:cNvSpPr txBox="1"/>
            <p:nvPr/>
          </p:nvSpPr>
          <p:spPr>
            <a:xfrm>
              <a:off x="6166156" y="2175087"/>
              <a:ext cx="36684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solidFill>
                    <a:schemeClr val="accent1"/>
                  </a:solidFill>
                  <a:latin typeface="+mj-lt"/>
                </a:rPr>
                <a:t>12%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6602001" y="2221253"/>
              <a:ext cx="105189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>
                  <a:solidFill>
                    <a:schemeClr val="accent3"/>
                  </a:solidFill>
                  <a:latin typeface="+mj-lt"/>
                </a:rPr>
                <a:t>Coming online traffics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79244" y="1656433"/>
            <a:ext cx="3143165" cy="1757651"/>
            <a:chOff x="679244" y="1617383"/>
            <a:chExt cx="3200023" cy="1789446"/>
          </a:xfrm>
        </p:grpSpPr>
        <p:sp>
          <p:nvSpPr>
            <p:cNvPr id="13" name="Freeform 12"/>
            <p:cNvSpPr>
              <a:spLocks noChangeArrowheads="1"/>
            </p:cNvSpPr>
            <p:nvPr/>
          </p:nvSpPr>
          <p:spPr bwMode="auto">
            <a:xfrm>
              <a:off x="679244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Freeform 13"/>
            <p:cNvSpPr>
              <a:spLocks noChangeArrowheads="1"/>
            </p:cNvSpPr>
            <p:nvPr/>
          </p:nvSpPr>
          <p:spPr bwMode="auto">
            <a:xfrm>
              <a:off x="928740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5" name="Freeform 14"/>
            <p:cNvSpPr>
              <a:spLocks noChangeArrowheads="1"/>
            </p:cNvSpPr>
            <p:nvPr/>
          </p:nvSpPr>
          <p:spPr bwMode="auto">
            <a:xfrm>
              <a:off x="1178236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1427732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7" name="Freeform 16"/>
            <p:cNvSpPr>
              <a:spLocks noChangeArrowheads="1"/>
            </p:cNvSpPr>
            <p:nvPr/>
          </p:nvSpPr>
          <p:spPr bwMode="auto">
            <a:xfrm>
              <a:off x="1677228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8" name="Freeform 17"/>
            <p:cNvSpPr>
              <a:spLocks noChangeArrowheads="1"/>
            </p:cNvSpPr>
            <p:nvPr/>
          </p:nvSpPr>
          <p:spPr bwMode="auto">
            <a:xfrm>
              <a:off x="1926724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18"/>
            <p:cNvSpPr>
              <a:spLocks noChangeArrowheads="1"/>
            </p:cNvSpPr>
            <p:nvPr/>
          </p:nvSpPr>
          <p:spPr bwMode="auto">
            <a:xfrm>
              <a:off x="2176220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2425716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2675212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2924708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32"/>
            <p:cNvSpPr>
              <a:spLocks noChangeArrowheads="1"/>
            </p:cNvSpPr>
            <p:nvPr/>
          </p:nvSpPr>
          <p:spPr bwMode="auto">
            <a:xfrm>
              <a:off x="679244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33"/>
            <p:cNvSpPr>
              <a:spLocks noChangeArrowheads="1"/>
            </p:cNvSpPr>
            <p:nvPr/>
          </p:nvSpPr>
          <p:spPr bwMode="auto">
            <a:xfrm>
              <a:off x="928740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34"/>
            <p:cNvSpPr>
              <a:spLocks noChangeArrowheads="1"/>
            </p:cNvSpPr>
            <p:nvPr/>
          </p:nvSpPr>
          <p:spPr bwMode="auto">
            <a:xfrm>
              <a:off x="1178236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35"/>
            <p:cNvSpPr>
              <a:spLocks noChangeArrowheads="1"/>
            </p:cNvSpPr>
            <p:nvPr/>
          </p:nvSpPr>
          <p:spPr bwMode="auto">
            <a:xfrm>
              <a:off x="1427732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36"/>
            <p:cNvSpPr>
              <a:spLocks noChangeArrowheads="1"/>
            </p:cNvSpPr>
            <p:nvPr/>
          </p:nvSpPr>
          <p:spPr bwMode="auto">
            <a:xfrm>
              <a:off x="1677228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37"/>
            <p:cNvSpPr>
              <a:spLocks noChangeArrowheads="1"/>
            </p:cNvSpPr>
            <p:nvPr/>
          </p:nvSpPr>
          <p:spPr bwMode="auto">
            <a:xfrm>
              <a:off x="1926724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38"/>
            <p:cNvSpPr>
              <a:spLocks noChangeArrowheads="1"/>
            </p:cNvSpPr>
            <p:nvPr/>
          </p:nvSpPr>
          <p:spPr bwMode="auto">
            <a:xfrm>
              <a:off x="2176220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39"/>
            <p:cNvSpPr>
              <a:spLocks noChangeArrowheads="1"/>
            </p:cNvSpPr>
            <p:nvPr/>
          </p:nvSpPr>
          <p:spPr bwMode="auto">
            <a:xfrm>
              <a:off x="2425716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40"/>
            <p:cNvSpPr>
              <a:spLocks noChangeArrowheads="1"/>
            </p:cNvSpPr>
            <p:nvPr/>
          </p:nvSpPr>
          <p:spPr bwMode="auto">
            <a:xfrm>
              <a:off x="2675212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41"/>
            <p:cNvSpPr>
              <a:spLocks noChangeArrowheads="1"/>
            </p:cNvSpPr>
            <p:nvPr/>
          </p:nvSpPr>
          <p:spPr bwMode="auto">
            <a:xfrm>
              <a:off x="2924708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52"/>
            <p:cNvSpPr>
              <a:spLocks noChangeArrowheads="1"/>
            </p:cNvSpPr>
            <p:nvPr/>
          </p:nvSpPr>
          <p:spPr bwMode="auto">
            <a:xfrm>
              <a:off x="679244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53"/>
            <p:cNvSpPr>
              <a:spLocks noChangeArrowheads="1"/>
            </p:cNvSpPr>
            <p:nvPr/>
          </p:nvSpPr>
          <p:spPr bwMode="auto">
            <a:xfrm>
              <a:off x="928740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54"/>
            <p:cNvSpPr>
              <a:spLocks noChangeArrowheads="1"/>
            </p:cNvSpPr>
            <p:nvPr/>
          </p:nvSpPr>
          <p:spPr bwMode="auto">
            <a:xfrm>
              <a:off x="1178236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55"/>
            <p:cNvSpPr>
              <a:spLocks noChangeArrowheads="1"/>
            </p:cNvSpPr>
            <p:nvPr/>
          </p:nvSpPr>
          <p:spPr bwMode="auto">
            <a:xfrm>
              <a:off x="1427732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56"/>
            <p:cNvSpPr>
              <a:spLocks noChangeArrowheads="1"/>
            </p:cNvSpPr>
            <p:nvPr/>
          </p:nvSpPr>
          <p:spPr bwMode="auto">
            <a:xfrm>
              <a:off x="1677228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57"/>
            <p:cNvSpPr>
              <a:spLocks noChangeArrowheads="1"/>
            </p:cNvSpPr>
            <p:nvPr/>
          </p:nvSpPr>
          <p:spPr bwMode="auto">
            <a:xfrm>
              <a:off x="1926724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58"/>
            <p:cNvSpPr>
              <a:spLocks noChangeArrowheads="1"/>
            </p:cNvSpPr>
            <p:nvPr/>
          </p:nvSpPr>
          <p:spPr bwMode="auto">
            <a:xfrm>
              <a:off x="2176220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59"/>
            <p:cNvSpPr>
              <a:spLocks noChangeArrowheads="1"/>
            </p:cNvSpPr>
            <p:nvPr/>
          </p:nvSpPr>
          <p:spPr bwMode="auto">
            <a:xfrm>
              <a:off x="2425716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60"/>
            <p:cNvSpPr>
              <a:spLocks noChangeArrowheads="1"/>
            </p:cNvSpPr>
            <p:nvPr/>
          </p:nvSpPr>
          <p:spPr bwMode="auto">
            <a:xfrm>
              <a:off x="2675212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61"/>
            <p:cNvSpPr>
              <a:spLocks noChangeArrowheads="1"/>
            </p:cNvSpPr>
            <p:nvPr/>
          </p:nvSpPr>
          <p:spPr bwMode="auto">
            <a:xfrm>
              <a:off x="2924708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2" name="Freeform 71"/>
            <p:cNvSpPr>
              <a:spLocks noChangeArrowheads="1"/>
            </p:cNvSpPr>
            <p:nvPr/>
          </p:nvSpPr>
          <p:spPr bwMode="auto">
            <a:xfrm>
              <a:off x="3174204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3" name="Freeform 72"/>
            <p:cNvSpPr>
              <a:spLocks noChangeArrowheads="1"/>
            </p:cNvSpPr>
            <p:nvPr/>
          </p:nvSpPr>
          <p:spPr bwMode="auto">
            <a:xfrm>
              <a:off x="3174204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4" name="Freeform 73"/>
            <p:cNvSpPr>
              <a:spLocks noChangeArrowheads="1"/>
            </p:cNvSpPr>
            <p:nvPr/>
          </p:nvSpPr>
          <p:spPr bwMode="auto">
            <a:xfrm>
              <a:off x="3174204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6" name="Freeform 95"/>
            <p:cNvSpPr>
              <a:spLocks noChangeArrowheads="1"/>
            </p:cNvSpPr>
            <p:nvPr/>
          </p:nvSpPr>
          <p:spPr bwMode="auto">
            <a:xfrm>
              <a:off x="3423700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7" name="Freeform 96"/>
            <p:cNvSpPr>
              <a:spLocks noChangeArrowheads="1"/>
            </p:cNvSpPr>
            <p:nvPr/>
          </p:nvSpPr>
          <p:spPr bwMode="auto">
            <a:xfrm>
              <a:off x="3423700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8" name="Freeform 97"/>
            <p:cNvSpPr>
              <a:spLocks noChangeArrowheads="1"/>
            </p:cNvSpPr>
            <p:nvPr/>
          </p:nvSpPr>
          <p:spPr bwMode="auto">
            <a:xfrm>
              <a:off x="3423700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9" name="Freeform 98"/>
            <p:cNvSpPr>
              <a:spLocks noChangeArrowheads="1"/>
            </p:cNvSpPr>
            <p:nvPr/>
          </p:nvSpPr>
          <p:spPr bwMode="auto">
            <a:xfrm>
              <a:off x="3673191" y="1617383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0" name="Freeform 99"/>
            <p:cNvSpPr>
              <a:spLocks noChangeArrowheads="1"/>
            </p:cNvSpPr>
            <p:nvPr/>
          </p:nvSpPr>
          <p:spPr bwMode="auto">
            <a:xfrm>
              <a:off x="3673190" y="2249150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1" name="Freeform 100"/>
            <p:cNvSpPr>
              <a:spLocks noChangeArrowheads="1"/>
            </p:cNvSpPr>
            <p:nvPr/>
          </p:nvSpPr>
          <p:spPr bwMode="auto">
            <a:xfrm>
              <a:off x="3673190" y="2880917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112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obile Apps Users </a:t>
            </a:r>
            <a:r>
              <a:rPr lang="en-US">
                <a:solidFill>
                  <a:schemeClr val="accent2"/>
                </a:solidFill>
              </a:rPr>
              <a:t>Comparis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848862" y="1638150"/>
            <a:ext cx="5646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>
                <a:solidFill>
                  <a:schemeClr val="accent1"/>
                </a:solidFill>
                <a:latin typeface="+mj-lt"/>
              </a:rPr>
              <a:t>2013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275801" y="2057958"/>
            <a:ext cx="2420851" cy="525912"/>
            <a:chOff x="1275801" y="2057958"/>
            <a:chExt cx="2420851" cy="525912"/>
          </a:xfrm>
        </p:grpSpPr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1275801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1521887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1767973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2014059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2260145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23"/>
            <p:cNvSpPr>
              <a:spLocks noChangeArrowheads="1"/>
            </p:cNvSpPr>
            <p:nvPr/>
          </p:nvSpPr>
          <p:spPr bwMode="auto">
            <a:xfrm>
              <a:off x="2506231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24"/>
            <p:cNvSpPr>
              <a:spLocks noChangeArrowheads="1"/>
            </p:cNvSpPr>
            <p:nvPr/>
          </p:nvSpPr>
          <p:spPr bwMode="auto">
            <a:xfrm>
              <a:off x="2752317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25"/>
            <p:cNvSpPr>
              <a:spLocks noChangeArrowheads="1"/>
            </p:cNvSpPr>
            <p:nvPr/>
          </p:nvSpPr>
          <p:spPr bwMode="auto">
            <a:xfrm>
              <a:off x="2998403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26"/>
            <p:cNvSpPr>
              <a:spLocks noChangeArrowheads="1"/>
            </p:cNvSpPr>
            <p:nvPr/>
          </p:nvSpPr>
          <p:spPr bwMode="auto">
            <a:xfrm>
              <a:off x="3244489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27"/>
            <p:cNvSpPr>
              <a:spLocks noChangeArrowheads="1"/>
            </p:cNvSpPr>
            <p:nvPr/>
          </p:nvSpPr>
          <p:spPr bwMode="auto">
            <a:xfrm>
              <a:off x="3490576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275803" y="2804728"/>
            <a:ext cx="2420849" cy="506162"/>
            <a:chOff x="1275803" y="2804728"/>
            <a:chExt cx="2420849" cy="506162"/>
          </a:xfrm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275803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1519644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1763485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007326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251167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2495008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2738849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982690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226531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470373" y="2804728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cxnSp>
        <p:nvCxnSpPr>
          <p:cNvPr id="41" name="Straight Connector 40"/>
          <p:cNvCxnSpPr/>
          <p:nvPr/>
        </p:nvCxnSpPr>
        <p:spPr>
          <a:xfrm>
            <a:off x="1275801" y="3501826"/>
            <a:ext cx="2420851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1858353" y="3631529"/>
            <a:ext cx="123402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accent2"/>
                </a:solidFill>
                <a:latin typeface="+mj-lt"/>
              </a:rPr>
              <a:t>$456,000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190282" y="3908085"/>
            <a:ext cx="250637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00939" y="2189200"/>
            <a:ext cx="6748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49%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00939" y="2944174"/>
            <a:ext cx="6748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29%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367213" y="2208250"/>
            <a:ext cx="409576" cy="884200"/>
            <a:chOff x="4367213" y="2208250"/>
            <a:chExt cx="409576" cy="884200"/>
          </a:xfrm>
        </p:grpSpPr>
        <p:cxnSp>
          <p:nvCxnSpPr>
            <p:cNvPr id="80" name="Straight Connector 79"/>
            <p:cNvCxnSpPr/>
            <p:nvPr/>
          </p:nvCxnSpPr>
          <p:spPr>
            <a:xfrm>
              <a:off x="4572001" y="2208250"/>
              <a:ext cx="0" cy="8842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/>
            <p:cNvSpPr/>
            <p:nvPr/>
          </p:nvSpPr>
          <p:spPr>
            <a:xfrm>
              <a:off x="4367213" y="2445563"/>
              <a:ext cx="409576" cy="409576"/>
            </a:xfrm>
            <a:prstGeom prst="ellipse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390633" y="2542628"/>
              <a:ext cx="3627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+mj-lt"/>
                </a:rPr>
                <a:t>V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449688" y="2057958"/>
            <a:ext cx="2420851" cy="525912"/>
            <a:chOff x="5449688" y="2057958"/>
            <a:chExt cx="2420851" cy="525912"/>
          </a:xfrm>
        </p:grpSpPr>
        <p:sp>
          <p:nvSpPr>
            <p:cNvPr id="116" name="Freeform 115"/>
            <p:cNvSpPr>
              <a:spLocks noChangeArrowheads="1"/>
            </p:cNvSpPr>
            <p:nvPr/>
          </p:nvSpPr>
          <p:spPr bwMode="auto">
            <a:xfrm>
              <a:off x="5449688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7" name="Freeform 116"/>
            <p:cNvSpPr>
              <a:spLocks noChangeArrowheads="1"/>
            </p:cNvSpPr>
            <p:nvPr/>
          </p:nvSpPr>
          <p:spPr bwMode="auto">
            <a:xfrm>
              <a:off x="5695774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8" name="Freeform 117"/>
            <p:cNvSpPr>
              <a:spLocks noChangeArrowheads="1"/>
            </p:cNvSpPr>
            <p:nvPr/>
          </p:nvSpPr>
          <p:spPr bwMode="auto">
            <a:xfrm>
              <a:off x="5941860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9" name="Freeform 118"/>
            <p:cNvSpPr>
              <a:spLocks noChangeArrowheads="1"/>
            </p:cNvSpPr>
            <p:nvPr/>
          </p:nvSpPr>
          <p:spPr bwMode="auto">
            <a:xfrm>
              <a:off x="6187946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0" name="Freeform 119"/>
            <p:cNvSpPr>
              <a:spLocks noChangeArrowheads="1"/>
            </p:cNvSpPr>
            <p:nvPr/>
          </p:nvSpPr>
          <p:spPr bwMode="auto">
            <a:xfrm>
              <a:off x="6434032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1" name="Freeform 120"/>
            <p:cNvSpPr>
              <a:spLocks noChangeArrowheads="1"/>
            </p:cNvSpPr>
            <p:nvPr/>
          </p:nvSpPr>
          <p:spPr bwMode="auto">
            <a:xfrm>
              <a:off x="6680118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2" name="Freeform 121"/>
            <p:cNvSpPr>
              <a:spLocks noChangeArrowheads="1"/>
            </p:cNvSpPr>
            <p:nvPr/>
          </p:nvSpPr>
          <p:spPr bwMode="auto">
            <a:xfrm>
              <a:off x="6926204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3" name="Freeform 122"/>
            <p:cNvSpPr>
              <a:spLocks noChangeArrowheads="1"/>
            </p:cNvSpPr>
            <p:nvPr/>
          </p:nvSpPr>
          <p:spPr bwMode="auto">
            <a:xfrm>
              <a:off x="7172290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4" name="Freeform 123"/>
            <p:cNvSpPr>
              <a:spLocks noChangeArrowheads="1"/>
            </p:cNvSpPr>
            <p:nvPr/>
          </p:nvSpPr>
          <p:spPr bwMode="auto">
            <a:xfrm>
              <a:off x="7418376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5" name="Freeform 124"/>
            <p:cNvSpPr>
              <a:spLocks noChangeArrowheads="1"/>
            </p:cNvSpPr>
            <p:nvPr/>
          </p:nvSpPr>
          <p:spPr bwMode="auto">
            <a:xfrm>
              <a:off x="7664463" y="2057958"/>
              <a:ext cx="206076" cy="525912"/>
            </a:xfrm>
            <a:custGeom>
              <a:avLst/>
              <a:gdLst>
                <a:gd name="connsiteX0" fmla="*/ 30128 w 147257"/>
                <a:gd name="connsiteY0" fmla="*/ 63258 h 371254"/>
                <a:gd name="connsiteX1" fmla="*/ 117129 w 147257"/>
                <a:gd name="connsiteY1" fmla="*/ 63258 h 371254"/>
                <a:gd name="connsiteX2" fmla="*/ 147257 w 147257"/>
                <a:gd name="connsiteY2" fmla="*/ 93282 h 371254"/>
                <a:gd name="connsiteX3" fmla="*/ 147257 w 147257"/>
                <a:gd name="connsiteY3" fmla="*/ 106101 h 371254"/>
                <a:gd name="connsiteX4" fmla="*/ 147257 w 147257"/>
                <a:gd name="connsiteY4" fmla="*/ 157377 h 371254"/>
                <a:gd name="connsiteX5" fmla="*/ 147257 w 147257"/>
                <a:gd name="connsiteY5" fmla="*/ 201232 h 371254"/>
                <a:gd name="connsiteX6" fmla="*/ 135070 w 147257"/>
                <a:gd name="connsiteY6" fmla="*/ 213377 h 371254"/>
                <a:gd name="connsiteX7" fmla="*/ 123222 w 147257"/>
                <a:gd name="connsiteY7" fmla="*/ 201232 h 371254"/>
                <a:gd name="connsiteX8" fmla="*/ 123222 w 147257"/>
                <a:gd name="connsiteY8" fmla="*/ 191112 h 371254"/>
                <a:gd name="connsiteX9" fmla="*/ 123222 w 147257"/>
                <a:gd name="connsiteY9" fmla="*/ 186726 h 371254"/>
                <a:gd name="connsiteX10" fmla="*/ 123222 w 147257"/>
                <a:gd name="connsiteY10" fmla="*/ 111161 h 371254"/>
                <a:gd name="connsiteX11" fmla="*/ 111374 w 147257"/>
                <a:gd name="connsiteY11" fmla="*/ 111161 h 371254"/>
                <a:gd name="connsiteX12" fmla="*/ 111374 w 147257"/>
                <a:gd name="connsiteY12" fmla="*/ 187401 h 371254"/>
                <a:gd name="connsiteX13" fmla="*/ 111374 w 147257"/>
                <a:gd name="connsiteY13" fmla="*/ 191112 h 371254"/>
                <a:gd name="connsiteX14" fmla="*/ 111374 w 147257"/>
                <a:gd name="connsiteY14" fmla="*/ 355062 h 371254"/>
                <a:gd name="connsiteX15" fmla="*/ 95125 w 147257"/>
                <a:gd name="connsiteY15" fmla="*/ 371254 h 371254"/>
                <a:gd name="connsiteX16" fmla="*/ 78876 w 147257"/>
                <a:gd name="connsiteY16" fmla="*/ 355062 h 371254"/>
                <a:gd name="connsiteX17" fmla="*/ 78876 w 147257"/>
                <a:gd name="connsiteY17" fmla="*/ 211353 h 371254"/>
                <a:gd name="connsiteX18" fmla="*/ 68720 w 147257"/>
                <a:gd name="connsiteY18" fmla="*/ 211353 h 371254"/>
                <a:gd name="connsiteX19" fmla="*/ 68720 w 147257"/>
                <a:gd name="connsiteY19" fmla="*/ 355062 h 371254"/>
                <a:gd name="connsiteX20" fmla="*/ 52471 w 147257"/>
                <a:gd name="connsiteY20" fmla="*/ 371254 h 371254"/>
                <a:gd name="connsiteX21" fmla="*/ 35883 w 147257"/>
                <a:gd name="connsiteY21" fmla="*/ 355062 h 371254"/>
                <a:gd name="connsiteX22" fmla="*/ 35883 w 147257"/>
                <a:gd name="connsiteY22" fmla="*/ 191112 h 371254"/>
                <a:gd name="connsiteX23" fmla="*/ 35883 w 147257"/>
                <a:gd name="connsiteY23" fmla="*/ 187401 h 371254"/>
                <a:gd name="connsiteX24" fmla="*/ 35883 w 147257"/>
                <a:gd name="connsiteY24" fmla="*/ 111161 h 371254"/>
                <a:gd name="connsiteX25" fmla="*/ 24035 w 147257"/>
                <a:gd name="connsiteY25" fmla="*/ 111161 h 371254"/>
                <a:gd name="connsiteX26" fmla="*/ 24035 w 147257"/>
                <a:gd name="connsiteY26" fmla="*/ 186726 h 371254"/>
                <a:gd name="connsiteX27" fmla="*/ 24035 w 147257"/>
                <a:gd name="connsiteY27" fmla="*/ 191112 h 371254"/>
                <a:gd name="connsiteX28" fmla="*/ 24035 w 147257"/>
                <a:gd name="connsiteY28" fmla="*/ 201232 h 371254"/>
                <a:gd name="connsiteX29" fmla="*/ 12187 w 147257"/>
                <a:gd name="connsiteY29" fmla="*/ 213377 h 371254"/>
                <a:gd name="connsiteX30" fmla="*/ 0 w 147257"/>
                <a:gd name="connsiteY30" fmla="*/ 201232 h 371254"/>
                <a:gd name="connsiteX31" fmla="*/ 0 w 147257"/>
                <a:gd name="connsiteY31" fmla="*/ 157377 h 371254"/>
                <a:gd name="connsiteX32" fmla="*/ 0 w 147257"/>
                <a:gd name="connsiteY32" fmla="*/ 106101 h 371254"/>
                <a:gd name="connsiteX33" fmla="*/ 0 w 147257"/>
                <a:gd name="connsiteY33" fmla="*/ 93282 h 371254"/>
                <a:gd name="connsiteX34" fmla="*/ 30128 w 147257"/>
                <a:gd name="connsiteY34" fmla="*/ 63258 h 371254"/>
                <a:gd name="connsiteX35" fmla="*/ 73370 w 147257"/>
                <a:gd name="connsiteY35" fmla="*/ 0 h 371254"/>
                <a:gd name="connsiteX36" fmla="*/ 102148 w 147257"/>
                <a:gd name="connsiteY36" fmla="*/ 28778 h 371254"/>
                <a:gd name="connsiteX37" fmla="*/ 73370 w 147257"/>
                <a:gd name="connsiteY37" fmla="*/ 57556 h 371254"/>
                <a:gd name="connsiteX38" fmla="*/ 44592 w 147257"/>
                <a:gd name="connsiteY38" fmla="*/ 28778 h 371254"/>
                <a:gd name="connsiteX39" fmla="*/ 73370 w 147257"/>
                <a:gd name="connsiteY39" fmla="*/ 0 h 37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7257" h="371254">
                  <a:moveTo>
                    <a:pt x="30128" y="63258"/>
                  </a:moveTo>
                  <a:cubicBezTo>
                    <a:pt x="30128" y="63258"/>
                    <a:pt x="30128" y="63258"/>
                    <a:pt x="117129" y="63258"/>
                  </a:cubicBezTo>
                  <a:cubicBezTo>
                    <a:pt x="133716" y="63258"/>
                    <a:pt x="147257" y="76752"/>
                    <a:pt x="147257" y="93282"/>
                  </a:cubicBezTo>
                  <a:cubicBezTo>
                    <a:pt x="147257" y="93282"/>
                    <a:pt x="147257" y="93282"/>
                    <a:pt x="147257" y="106101"/>
                  </a:cubicBezTo>
                  <a:cubicBezTo>
                    <a:pt x="147257" y="106101"/>
                    <a:pt x="147257" y="106101"/>
                    <a:pt x="147257" y="157377"/>
                  </a:cubicBezTo>
                  <a:cubicBezTo>
                    <a:pt x="147257" y="157377"/>
                    <a:pt x="147257" y="157377"/>
                    <a:pt x="147257" y="201232"/>
                  </a:cubicBezTo>
                  <a:cubicBezTo>
                    <a:pt x="147257" y="207979"/>
                    <a:pt x="141841" y="213377"/>
                    <a:pt x="135070" y="213377"/>
                  </a:cubicBezTo>
                  <a:cubicBezTo>
                    <a:pt x="128639" y="213377"/>
                    <a:pt x="123222" y="207979"/>
                    <a:pt x="123222" y="201232"/>
                  </a:cubicBezTo>
                  <a:cubicBezTo>
                    <a:pt x="123222" y="201232"/>
                    <a:pt x="123222" y="201232"/>
                    <a:pt x="123222" y="191112"/>
                  </a:cubicBezTo>
                  <a:cubicBezTo>
                    <a:pt x="123222" y="191112"/>
                    <a:pt x="123222" y="191112"/>
                    <a:pt x="123222" y="186726"/>
                  </a:cubicBezTo>
                  <a:cubicBezTo>
                    <a:pt x="123222" y="186726"/>
                    <a:pt x="123222" y="186726"/>
                    <a:pt x="123222" y="111161"/>
                  </a:cubicBezTo>
                  <a:cubicBezTo>
                    <a:pt x="123222" y="111161"/>
                    <a:pt x="123222" y="111161"/>
                    <a:pt x="111374" y="111161"/>
                  </a:cubicBezTo>
                  <a:cubicBezTo>
                    <a:pt x="111374" y="111161"/>
                    <a:pt x="111374" y="111161"/>
                    <a:pt x="111374" y="187401"/>
                  </a:cubicBezTo>
                  <a:cubicBezTo>
                    <a:pt x="111374" y="187401"/>
                    <a:pt x="111374" y="187401"/>
                    <a:pt x="111374" y="191112"/>
                  </a:cubicBezTo>
                  <a:cubicBezTo>
                    <a:pt x="111374" y="191112"/>
                    <a:pt x="111374" y="191112"/>
                    <a:pt x="111374" y="355062"/>
                  </a:cubicBezTo>
                  <a:cubicBezTo>
                    <a:pt x="111374" y="364170"/>
                    <a:pt x="103926" y="371254"/>
                    <a:pt x="95125" y="371254"/>
                  </a:cubicBezTo>
                  <a:cubicBezTo>
                    <a:pt x="85985" y="371254"/>
                    <a:pt x="78876" y="364170"/>
                    <a:pt x="78876" y="355062"/>
                  </a:cubicBezTo>
                  <a:cubicBezTo>
                    <a:pt x="78876" y="355062"/>
                    <a:pt x="78876" y="355062"/>
                    <a:pt x="78876" y="211353"/>
                  </a:cubicBezTo>
                  <a:cubicBezTo>
                    <a:pt x="78876" y="211353"/>
                    <a:pt x="78876" y="211353"/>
                    <a:pt x="68720" y="211353"/>
                  </a:cubicBezTo>
                  <a:cubicBezTo>
                    <a:pt x="68720" y="211353"/>
                    <a:pt x="68720" y="211353"/>
                    <a:pt x="68720" y="355062"/>
                  </a:cubicBezTo>
                  <a:cubicBezTo>
                    <a:pt x="68720" y="364170"/>
                    <a:pt x="61273" y="371254"/>
                    <a:pt x="52471" y="371254"/>
                  </a:cubicBezTo>
                  <a:cubicBezTo>
                    <a:pt x="43331" y="371254"/>
                    <a:pt x="35883" y="364170"/>
                    <a:pt x="35883" y="355062"/>
                  </a:cubicBezTo>
                  <a:cubicBezTo>
                    <a:pt x="35883" y="355062"/>
                    <a:pt x="35883" y="355062"/>
                    <a:pt x="35883" y="191112"/>
                  </a:cubicBezTo>
                  <a:cubicBezTo>
                    <a:pt x="35883" y="191112"/>
                    <a:pt x="35883" y="191112"/>
                    <a:pt x="35883" y="187401"/>
                  </a:cubicBezTo>
                  <a:cubicBezTo>
                    <a:pt x="35883" y="187401"/>
                    <a:pt x="35883" y="187401"/>
                    <a:pt x="35883" y="111161"/>
                  </a:cubicBezTo>
                  <a:cubicBezTo>
                    <a:pt x="35883" y="111161"/>
                    <a:pt x="35883" y="111161"/>
                    <a:pt x="24035" y="111161"/>
                  </a:cubicBezTo>
                  <a:cubicBezTo>
                    <a:pt x="24035" y="111161"/>
                    <a:pt x="24035" y="111161"/>
                    <a:pt x="24035" y="186726"/>
                  </a:cubicBezTo>
                  <a:cubicBezTo>
                    <a:pt x="24035" y="186726"/>
                    <a:pt x="24035" y="186726"/>
                    <a:pt x="24035" y="191112"/>
                  </a:cubicBezTo>
                  <a:cubicBezTo>
                    <a:pt x="24035" y="191112"/>
                    <a:pt x="24035" y="191112"/>
                    <a:pt x="24035" y="201232"/>
                  </a:cubicBezTo>
                  <a:cubicBezTo>
                    <a:pt x="24035" y="207979"/>
                    <a:pt x="18618" y="213377"/>
                    <a:pt x="12187" y="213377"/>
                  </a:cubicBezTo>
                  <a:cubicBezTo>
                    <a:pt x="5416" y="213377"/>
                    <a:pt x="0" y="207979"/>
                    <a:pt x="0" y="201232"/>
                  </a:cubicBezTo>
                  <a:cubicBezTo>
                    <a:pt x="0" y="201232"/>
                    <a:pt x="0" y="201232"/>
                    <a:pt x="0" y="157377"/>
                  </a:cubicBezTo>
                  <a:cubicBezTo>
                    <a:pt x="0" y="157377"/>
                    <a:pt x="0" y="157377"/>
                    <a:pt x="0" y="106101"/>
                  </a:cubicBezTo>
                  <a:cubicBezTo>
                    <a:pt x="0" y="106101"/>
                    <a:pt x="0" y="106101"/>
                    <a:pt x="0" y="93282"/>
                  </a:cubicBezTo>
                  <a:cubicBezTo>
                    <a:pt x="0" y="76752"/>
                    <a:pt x="13541" y="63258"/>
                    <a:pt x="30128" y="63258"/>
                  </a:cubicBezTo>
                  <a:close/>
                  <a:moveTo>
                    <a:pt x="73370" y="0"/>
                  </a:moveTo>
                  <a:cubicBezTo>
                    <a:pt x="89264" y="0"/>
                    <a:pt x="102148" y="12884"/>
                    <a:pt x="102148" y="28778"/>
                  </a:cubicBezTo>
                  <a:cubicBezTo>
                    <a:pt x="102148" y="44672"/>
                    <a:pt x="89264" y="57556"/>
                    <a:pt x="73370" y="57556"/>
                  </a:cubicBezTo>
                  <a:cubicBezTo>
                    <a:pt x="57476" y="57556"/>
                    <a:pt x="44592" y="44672"/>
                    <a:pt x="44592" y="28778"/>
                  </a:cubicBezTo>
                  <a:cubicBezTo>
                    <a:pt x="44592" y="12884"/>
                    <a:pt x="57476" y="0"/>
                    <a:pt x="733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449690" y="2804728"/>
            <a:ext cx="2420849" cy="506162"/>
            <a:chOff x="5449690" y="2804728"/>
            <a:chExt cx="2420849" cy="506162"/>
          </a:xfrm>
        </p:grpSpPr>
        <p:sp>
          <p:nvSpPr>
            <p:cNvPr id="126" name="Freeform 125"/>
            <p:cNvSpPr>
              <a:spLocks/>
            </p:cNvSpPr>
            <p:nvPr/>
          </p:nvSpPr>
          <p:spPr bwMode="auto">
            <a:xfrm>
              <a:off x="5449690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auto">
            <a:xfrm>
              <a:off x="5693531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8" name="Freeform 127"/>
            <p:cNvSpPr>
              <a:spLocks/>
            </p:cNvSpPr>
            <p:nvPr/>
          </p:nvSpPr>
          <p:spPr bwMode="auto">
            <a:xfrm>
              <a:off x="5937372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9" name="Freeform 128"/>
            <p:cNvSpPr>
              <a:spLocks/>
            </p:cNvSpPr>
            <p:nvPr/>
          </p:nvSpPr>
          <p:spPr bwMode="auto">
            <a:xfrm>
              <a:off x="6181213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0" name="Freeform 129"/>
            <p:cNvSpPr>
              <a:spLocks/>
            </p:cNvSpPr>
            <p:nvPr/>
          </p:nvSpPr>
          <p:spPr bwMode="auto">
            <a:xfrm>
              <a:off x="6425054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1" name="Freeform 130"/>
            <p:cNvSpPr>
              <a:spLocks/>
            </p:cNvSpPr>
            <p:nvPr/>
          </p:nvSpPr>
          <p:spPr bwMode="auto">
            <a:xfrm>
              <a:off x="6668895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2" name="Freeform 131"/>
            <p:cNvSpPr>
              <a:spLocks/>
            </p:cNvSpPr>
            <p:nvPr/>
          </p:nvSpPr>
          <p:spPr bwMode="auto">
            <a:xfrm>
              <a:off x="6912736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3" name="Freeform 132"/>
            <p:cNvSpPr>
              <a:spLocks/>
            </p:cNvSpPr>
            <p:nvPr/>
          </p:nvSpPr>
          <p:spPr bwMode="auto">
            <a:xfrm>
              <a:off x="7156577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4" name="Freeform 133"/>
            <p:cNvSpPr>
              <a:spLocks/>
            </p:cNvSpPr>
            <p:nvPr/>
          </p:nvSpPr>
          <p:spPr bwMode="auto">
            <a:xfrm>
              <a:off x="7400418" y="2804729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5" name="Freeform 134"/>
            <p:cNvSpPr>
              <a:spLocks/>
            </p:cNvSpPr>
            <p:nvPr/>
          </p:nvSpPr>
          <p:spPr bwMode="auto">
            <a:xfrm>
              <a:off x="7644260" y="2804728"/>
              <a:ext cx="226279" cy="506161"/>
            </a:xfrm>
            <a:custGeom>
              <a:avLst/>
              <a:gdLst>
                <a:gd name="connsiteX0" fmla="*/ 68035 w 226295"/>
                <a:gd name="connsiteY0" fmla="*/ 91394 h 500062"/>
                <a:gd name="connsiteX1" fmla="*/ 113170 w 226295"/>
                <a:gd name="connsiteY1" fmla="*/ 91394 h 500062"/>
                <a:gd name="connsiteX2" fmla="*/ 157853 w 226295"/>
                <a:gd name="connsiteY2" fmla="*/ 91394 h 500062"/>
                <a:gd name="connsiteX3" fmla="*/ 178615 w 226295"/>
                <a:gd name="connsiteY3" fmla="*/ 101373 h 500062"/>
                <a:gd name="connsiteX4" fmla="*/ 187191 w 226295"/>
                <a:gd name="connsiteY4" fmla="*/ 119969 h 500062"/>
                <a:gd name="connsiteX5" fmla="*/ 187642 w 226295"/>
                <a:gd name="connsiteY5" fmla="*/ 120876 h 500062"/>
                <a:gd name="connsiteX6" fmla="*/ 225555 w 226295"/>
                <a:gd name="connsiteY6" fmla="*/ 243341 h 500062"/>
                <a:gd name="connsiteX7" fmla="*/ 214723 w 226295"/>
                <a:gd name="connsiteY7" fmla="*/ 263298 h 500062"/>
                <a:gd name="connsiteX8" fmla="*/ 194412 w 226295"/>
                <a:gd name="connsiteY8" fmla="*/ 252412 h 500062"/>
                <a:gd name="connsiteX9" fmla="*/ 161013 w 226295"/>
                <a:gd name="connsiteY9" fmla="*/ 144916 h 500062"/>
                <a:gd name="connsiteX10" fmla="*/ 155145 w 226295"/>
                <a:gd name="connsiteY10" fmla="*/ 145369 h 500062"/>
                <a:gd name="connsiteX11" fmla="*/ 205245 w 226295"/>
                <a:gd name="connsiteY11" fmla="*/ 332241 h 500062"/>
                <a:gd name="connsiteX12" fmla="*/ 156950 w 226295"/>
                <a:gd name="connsiteY12" fmla="*/ 332241 h 500062"/>
                <a:gd name="connsiteX13" fmla="*/ 156950 w 226295"/>
                <a:gd name="connsiteY13" fmla="*/ 481012 h 500062"/>
                <a:gd name="connsiteX14" fmla="*/ 137994 w 226295"/>
                <a:gd name="connsiteY14" fmla="*/ 500062 h 500062"/>
                <a:gd name="connsiteX15" fmla="*/ 119037 w 226295"/>
                <a:gd name="connsiteY15" fmla="*/ 481012 h 500062"/>
                <a:gd name="connsiteX16" fmla="*/ 119037 w 226295"/>
                <a:gd name="connsiteY16" fmla="*/ 332241 h 500062"/>
                <a:gd name="connsiteX17" fmla="*/ 113170 w 226295"/>
                <a:gd name="connsiteY17" fmla="*/ 332241 h 500062"/>
                <a:gd name="connsiteX18" fmla="*/ 106851 w 226295"/>
                <a:gd name="connsiteY18" fmla="*/ 332241 h 500062"/>
                <a:gd name="connsiteX19" fmla="*/ 106851 w 226295"/>
                <a:gd name="connsiteY19" fmla="*/ 481012 h 500062"/>
                <a:gd name="connsiteX20" fmla="*/ 87894 w 226295"/>
                <a:gd name="connsiteY20" fmla="*/ 500062 h 500062"/>
                <a:gd name="connsiteX21" fmla="*/ 69389 w 226295"/>
                <a:gd name="connsiteY21" fmla="*/ 481012 h 500062"/>
                <a:gd name="connsiteX22" fmla="*/ 69389 w 226295"/>
                <a:gd name="connsiteY22" fmla="*/ 332241 h 500062"/>
                <a:gd name="connsiteX23" fmla="*/ 21095 w 226295"/>
                <a:gd name="connsiteY23" fmla="*/ 332241 h 500062"/>
                <a:gd name="connsiteX24" fmla="*/ 71194 w 226295"/>
                <a:gd name="connsiteY24" fmla="*/ 145369 h 500062"/>
                <a:gd name="connsiteX25" fmla="*/ 64876 w 226295"/>
                <a:gd name="connsiteY25" fmla="*/ 144916 h 500062"/>
                <a:gd name="connsiteX26" fmla="*/ 31476 w 226295"/>
                <a:gd name="connsiteY26" fmla="*/ 252412 h 500062"/>
                <a:gd name="connsiteX27" fmla="*/ 11165 w 226295"/>
                <a:gd name="connsiteY27" fmla="*/ 263298 h 500062"/>
                <a:gd name="connsiteX28" fmla="*/ 784 w 226295"/>
                <a:gd name="connsiteY28" fmla="*/ 243341 h 500062"/>
                <a:gd name="connsiteX29" fmla="*/ 38697 w 226295"/>
                <a:gd name="connsiteY29" fmla="*/ 120876 h 500062"/>
                <a:gd name="connsiteX30" fmla="*/ 39149 w 226295"/>
                <a:gd name="connsiteY30" fmla="*/ 119969 h 500062"/>
                <a:gd name="connsiteX31" fmla="*/ 47724 w 226295"/>
                <a:gd name="connsiteY31" fmla="*/ 101373 h 500062"/>
                <a:gd name="connsiteX32" fmla="*/ 68035 w 226295"/>
                <a:gd name="connsiteY32" fmla="*/ 91394 h 500062"/>
                <a:gd name="connsiteX33" fmla="*/ 113169 w 226295"/>
                <a:gd name="connsiteY33" fmla="*/ 0 h 500062"/>
                <a:gd name="connsiteX34" fmla="*/ 152063 w 226295"/>
                <a:gd name="connsiteY34" fmla="*/ 38894 h 500062"/>
                <a:gd name="connsiteX35" fmla="*/ 113169 w 226295"/>
                <a:gd name="connsiteY35" fmla="*/ 77788 h 500062"/>
                <a:gd name="connsiteX36" fmla="*/ 74275 w 226295"/>
                <a:gd name="connsiteY36" fmla="*/ 38894 h 500062"/>
                <a:gd name="connsiteX37" fmla="*/ 113169 w 226295"/>
                <a:gd name="connsiteY37" fmla="*/ 0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6295" h="500062">
                  <a:moveTo>
                    <a:pt x="68035" y="91394"/>
                  </a:moveTo>
                  <a:cubicBezTo>
                    <a:pt x="68035" y="91394"/>
                    <a:pt x="68035" y="91394"/>
                    <a:pt x="113170" y="91394"/>
                  </a:cubicBezTo>
                  <a:cubicBezTo>
                    <a:pt x="113170" y="91394"/>
                    <a:pt x="113170" y="91394"/>
                    <a:pt x="157853" y="91394"/>
                  </a:cubicBezTo>
                  <a:cubicBezTo>
                    <a:pt x="157853" y="91394"/>
                    <a:pt x="169137" y="90487"/>
                    <a:pt x="178615" y="101373"/>
                  </a:cubicBezTo>
                  <a:cubicBezTo>
                    <a:pt x="184934" y="109084"/>
                    <a:pt x="187191" y="119969"/>
                    <a:pt x="187191" y="119969"/>
                  </a:cubicBezTo>
                  <a:cubicBezTo>
                    <a:pt x="187191" y="120423"/>
                    <a:pt x="187191" y="120423"/>
                    <a:pt x="187642" y="120876"/>
                  </a:cubicBezTo>
                  <a:cubicBezTo>
                    <a:pt x="187642" y="120876"/>
                    <a:pt x="187642" y="120876"/>
                    <a:pt x="225555" y="243341"/>
                  </a:cubicBezTo>
                  <a:cubicBezTo>
                    <a:pt x="228263" y="251959"/>
                    <a:pt x="223298" y="261030"/>
                    <a:pt x="214723" y="263298"/>
                  </a:cubicBezTo>
                  <a:cubicBezTo>
                    <a:pt x="206147" y="266019"/>
                    <a:pt x="197120" y="261030"/>
                    <a:pt x="194412" y="252412"/>
                  </a:cubicBezTo>
                  <a:cubicBezTo>
                    <a:pt x="194412" y="252412"/>
                    <a:pt x="194412" y="252412"/>
                    <a:pt x="161013" y="144916"/>
                  </a:cubicBezTo>
                  <a:cubicBezTo>
                    <a:pt x="161013" y="144916"/>
                    <a:pt x="161013" y="144916"/>
                    <a:pt x="155145" y="145369"/>
                  </a:cubicBezTo>
                  <a:cubicBezTo>
                    <a:pt x="155145" y="145369"/>
                    <a:pt x="155145" y="145369"/>
                    <a:pt x="205245" y="332241"/>
                  </a:cubicBezTo>
                  <a:cubicBezTo>
                    <a:pt x="205245" y="332241"/>
                    <a:pt x="205245" y="332241"/>
                    <a:pt x="156950" y="332241"/>
                  </a:cubicBezTo>
                  <a:cubicBezTo>
                    <a:pt x="156950" y="332241"/>
                    <a:pt x="156950" y="332241"/>
                    <a:pt x="156950" y="481012"/>
                  </a:cubicBezTo>
                  <a:cubicBezTo>
                    <a:pt x="156950" y="491444"/>
                    <a:pt x="148375" y="500062"/>
                    <a:pt x="137994" y="500062"/>
                  </a:cubicBezTo>
                  <a:cubicBezTo>
                    <a:pt x="127613" y="500062"/>
                    <a:pt x="119037" y="491444"/>
                    <a:pt x="119037" y="481012"/>
                  </a:cubicBezTo>
                  <a:cubicBezTo>
                    <a:pt x="119037" y="481012"/>
                    <a:pt x="119037" y="481012"/>
                    <a:pt x="119037" y="332241"/>
                  </a:cubicBezTo>
                  <a:cubicBezTo>
                    <a:pt x="119037" y="332241"/>
                    <a:pt x="119037" y="332241"/>
                    <a:pt x="113170" y="332241"/>
                  </a:cubicBezTo>
                  <a:cubicBezTo>
                    <a:pt x="113170" y="332241"/>
                    <a:pt x="113170" y="332241"/>
                    <a:pt x="106851" y="332241"/>
                  </a:cubicBezTo>
                  <a:cubicBezTo>
                    <a:pt x="106851" y="332241"/>
                    <a:pt x="106851" y="332241"/>
                    <a:pt x="106851" y="481012"/>
                  </a:cubicBezTo>
                  <a:cubicBezTo>
                    <a:pt x="106851" y="491444"/>
                    <a:pt x="98275" y="500062"/>
                    <a:pt x="87894" y="500062"/>
                  </a:cubicBezTo>
                  <a:cubicBezTo>
                    <a:pt x="77513" y="500062"/>
                    <a:pt x="69389" y="491444"/>
                    <a:pt x="69389" y="481012"/>
                  </a:cubicBezTo>
                  <a:cubicBezTo>
                    <a:pt x="69389" y="481012"/>
                    <a:pt x="69389" y="481012"/>
                    <a:pt x="69389" y="332241"/>
                  </a:cubicBezTo>
                  <a:cubicBezTo>
                    <a:pt x="69389" y="332241"/>
                    <a:pt x="69389" y="332241"/>
                    <a:pt x="21095" y="332241"/>
                  </a:cubicBezTo>
                  <a:cubicBezTo>
                    <a:pt x="21095" y="332241"/>
                    <a:pt x="21095" y="332241"/>
                    <a:pt x="71194" y="145369"/>
                  </a:cubicBezTo>
                  <a:cubicBezTo>
                    <a:pt x="71194" y="145369"/>
                    <a:pt x="71194" y="145369"/>
                    <a:pt x="64876" y="144916"/>
                  </a:cubicBezTo>
                  <a:cubicBezTo>
                    <a:pt x="64876" y="144916"/>
                    <a:pt x="64876" y="144916"/>
                    <a:pt x="31476" y="252412"/>
                  </a:cubicBezTo>
                  <a:cubicBezTo>
                    <a:pt x="28768" y="261030"/>
                    <a:pt x="19741" y="266019"/>
                    <a:pt x="11165" y="263298"/>
                  </a:cubicBezTo>
                  <a:cubicBezTo>
                    <a:pt x="2590" y="261030"/>
                    <a:pt x="-1924" y="251959"/>
                    <a:pt x="784" y="243341"/>
                  </a:cubicBezTo>
                  <a:cubicBezTo>
                    <a:pt x="784" y="243341"/>
                    <a:pt x="784" y="243341"/>
                    <a:pt x="38697" y="120876"/>
                  </a:cubicBezTo>
                  <a:cubicBezTo>
                    <a:pt x="38697" y="120423"/>
                    <a:pt x="38697" y="120423"/>
                    <a:pt x="39149" y="119969"/>
                  </a:cubicBezTo>
                  <a:cubicBezTo>
                    <a:pt x="39149" y="119969"/>
                    <a:pt x="40954" y="109084"/>
                    <a:pt x="47724" y="101373"/>
                  </a:cubicBezTo>
                  <a:cubicBezTo>
                    <a:pt x="57203" y="90487"/>
                    <a:pt x="68035" y="91394"/>
                    <a:pt x="68035" y="91394"/>
                  </a:cubicBezTo>
                  <a:close/>
                  <a:moveTo>
                    <a:pt x="113169" y="0"/>
                  </a:moveTo>
                  <a:cubicBezTo>
                    <a:pt x="134650" y="0"/>
                    <a:pt x="152063" y="17413"/>
                    <a:pt x="152063" y="38894"/>
                  </a:cubicBezTo>
                  <a:cubicBezTo>
                    <a:pt x="152063" y="60375"/>
                    <a:pt x="134650" y="77788"/>
                    <a:pt x="113169" y="77788"/>
                  </a:cubicBezTo>
                  <a:cubicBezTo>
                    <a:pt x="91688" y="77788"/>
                    <a:pt x="74275" y="60375"/>
                    <a:pt x="74275" y="38894"/>
                  </a:cubicBezTo>
                  <a:cubicBezTo>
                    <a:pt x="74275" y="17413"/>
                    <a:pt x="91688" y="0"/>
                    <a:pt x="11316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j-lt"/>
              </a:endParaRPr>
            </a:p>
          </p:txBody>
        </p:sp>
      </p:grpSp>
      <p:cxnSp>
        <p:nvCxnSpPr>
          <p:cNvPr id="136" name="Straight Connector 135"/>
          <p:cNvCxnSpPr/>
          <p:nvPr/>
        </p:nvCxnSpPr>
        <p:spPr>
          <a:xfrm>
            <a:off x="5449688" y="3501826"/>
            <a:ext cx="2420851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6032240" y="3631529"/>
            <a:ext cx="123402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accent2"/>
                </a:solidFill>
                <a:latin typeface="+mj-lt"/>
              </a:rPr>
              <a:t>$689,000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5364169" y="3908085"/>
            <a:ext cx="250637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7870539" y="2189200"/>
            <a:ext cx="6748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accent2"/>
                </a:solidFill>
                <a:latin typeface="+mj-lt"/>
              </a:rPr>
              <a:t>68%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7870539" y="2944174"/>
            <a:ext cx="6748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>
                <a:solidFill>
                  <a:schemeClr val="accent2"/>
                </a:solidFill>
                <a:latin typeface="+mj-lt"/>
              </a:rPr>
              <a:t>32%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5674084" y="1638150"/>
            <a:ext cx="5646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>
                <a:solidFill>
                  <a:schemeClr val="accent1"/>
                </a:solidFill>
                <a:latin typeface="+mj-lt"/>
              </a:rPr>
              <a:t>2014</a:t>
            </a:r>
          </a:p>
        </p:txBody>
      </p:sp>
      <p:sp>
        <p:nvSpPr>
          <p:cNvPr id="66" name="Freeform 113">
            <a:extLst>
              <a:ext uri="{FF2B5EF4-FFF2-40B4-BE49-F238E27FC236}">
                <a16:creationId xmlns:a16="http://schemas.microsoft.com/office/drawing/2014/main" id="{9C0072C6-9CE3-458C-AE8A-0E61CE676C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62254" y="1625024"/>
            <a:ext cx="178614" cy="194071"/>
          </a:xfrm>
          <a:custGeom>
            <a:avLst/>
            <a:gdLst>
              <a:gd name="T0" fmla="*/ 157 w 157"/>
              <a:gd name="T1" fmla="*/ 158 h 170"/>
              <a:gd name="T2" fmla="*/ 145 w 157"/>
              <a:gd name="T3" fmla="*/ 170 h 170"/>
              <a:gd name="T4" fmla="*/ 3 w 157"/>
              <a:gd name="T5" fmla="*/ 166 h 170"/>
              <a:gd name="T6" fmla="*/ 0 w 157"/>
              <a:gd name="T7" fmla="*/ 37 h 170"/>
              <a:gd name="T8" fmla="*/ 12 w 157"/>
              <a:gd name="T9" fmla="*/ 24 h 170"/>
              <a:gd name="T10" fmla="*/ 24 w 157"/>
              <a:gd name="T11" fmla="*/ 15 h 170"/>
              <a:gd name="T12" fmla="*/ 39 w 157"/>
              <a:gd name="T13" fmla="*/ 0 h 170"/>
              <a:gd name="T14" fmla="*/ 56 w 157"/>
              <a:gd name="T15" fmla="*/ 5 h 170"/>
              <a:gd name="T16" fmla="*/ 60 w 157"/>
              <a:gd name="T17" fmla="*/ 24 h 170"/>
              <a:gd name="T18" fmla="*/ 97 w 157"/>
              <a:gd name="T19" fmla="*/ 15 h 170"/>
              <a:gd name="T20" fmla="*/ 112 w 157"/>
              <a:gd name="T21" fmla="*/ 0 h 170"/>
              <a:gd name="T22" fmla="*/ 128 w 157"/>
              <a:gd name="T23" fmla="*/ 5 h 170"/>
              <a:gd name="T24" fmla="*/ 133 w 157"/>
              <a:gd name="T25" fmla="*/ 24 h 170"/>
              <a:gd name="T26" fmla="*/ 154 w 157"/>
              <a:gd name="T27" fmla="*/ 28 h 170"/>
              <a:gd name="T28" fmla="*/ 12 w 157"/>
              <a:gd name="T29" fmla="*/ 88 h 170"/>
              <a:gd name="T30" fmla="*/ 39 w 157"/>
              <a:gd name="T31" fmla="*/ 61 h 170"/>
              <a:gd name="T32" fmla="*/ 12 w 157"/>
              <a:gd name="T33" fmla="*/ 88 h 170"/>
              <a:gd name="T34" fmla="*/ 39 w 157"/>
              <a:gd name="T35" fmla="*/ 124 h 170"/>
              <a:gd name="T36" fmla="*/ 12 w 157"/>
              <a:gd name="T37" fmla="*/ 94 h 170"/>
              <a:gd name="T38" fmla="*/ 12 w 157"/>
              <a:gd name="T39" fmla="*/ 158 h 170"/>
              <a:gd name="T40" fmla="*/ 39 w 157"/>
              <a:gd name="T41" fmla="*/ 130 h 170"/>
              <a:gd name="T42" fmla="*/ 12 w 157"/>
              <a:gd name="T43" fmla="*/ 158 h 170"/>
              <a:gd name="T44" fmla="*/ 48 w 157"/>
              <a:gd name="T45" fmla="*/ 15 h 170"/>
              <a:gd name="T46" fmla="*/ 45 w 157"/>
              <a:gd name="T47" fmla="*/ 12 h 170"/>
              <a:gd name="T48" fmla="*/ 37 w 157"/>
              <a:gd name="T49" fmla="*/ 13 h 170"/>
              <a:gd name="T50" fmla="*/ 36 w 157"/>
              <a:gd name="T51" fmla="*/ 43 h 170"/>
              <a:gd name="T52" fmla="*/ 39 w 157"/>
              <a:gd name="T53" fmla="*/ 46 h 170"/>
              <a:gd name="T54" fmla="*/ 47 w 157"/>
              <a:gd name="T55" fmla="*/ 45 h 170"/>
              <a:gd name="T56" fmla="*/ 45 w 157"/>
              <a:gd name="T57" fmla="*/ 88 h 170"/>
              <a:gd name="T58" fmla="*/ 75 w 157"/>
              <a:gd name="T59" fmla="*/ 61 h 170"/>
              <a:gd name="T60" fmla="*/ 45 w 157"/>
              <a:gd name="T61" fmla="*/ 88 h 170"/>
              <a:gd name="T62" fmla="*/ 75 w 157"/>
              <a:gd name="T63" fmla="*/ 124 h 170"/>
              <a:gd name="T64" fmla="*/ 45 w 157"/>
              <a:gd name="T65" fmla="*/ 94 h 170"/>
              <a:gd name="T66" fmla="*/ 45 w 157"/>
              <a:gd name="T67" fmla="*/ 158 h 170"/>
              <a:gd name="T68" fmla="*/ 75 w 157"/>
              <a:gd name="T69" fmla="*/ 130 h 170"/>
              <a:gd name="T70" fmla="*/ 45 w 157"/>
              <a:gd name="T71" fmla="*/ 158 h 170"/>
              <a:gd name="T72" fmla="*/ 112 w 157"/>
              <a:gd name="T73" fmla="*/ 88 h 170"/>
              <a:gd name="T74" fmla="*/ 81 w 157"/>
              <a:gd name="T75" fmla="*/ 61 h 170"/>
              <a:gd name="T76" fmla="*/ 81 w 157"/>
              <a:gd name="T77" fmla="*/ 124 h 170"/>
              <a:gd name="T78" fmla="*/ 112 w 157"/>
              <a:gd name="T79" fmla="*/ 94 h 170"/>
              <a:gd name="T80" fmla="*/ 81 w 157"/>
              <a:gd name="T81" fmla="*/ 124 h 170"/>
              <a:gd name="T82" fmla="*/ 112 w 157"/>
              <a:gd name="T83" fmla="*/ 158 h 170"/>
              <a:gd name="T84" fmla="*/ 81 w 157"/>
              <a:gd name="T85" fmla="*/ 130 h 170"/>
              <a:gd name="T86" fmla="*/ 121 w 157"/>
              <a:gd name="T87" fmla="*/ 43 h 170"/>
              <a:gd name="T88" fmla="*/ 120 w 157"/>
              <a:gd name="T89" fmla="*/ 13 h 170"/>
              <a:gd name="T90" fmla="*/ 112 w 157"/>
              <a:gd name="T91" fmla="*/ 12 h 170"/>
              <a:gd name="T92" fmla="*/ 109 w 157"/>
              <a:gd name="T93" fmla="*/ 15 h 170"/>
              <a:gd name="T94" fmla="*/ 110 w 157"/>
              <a:gd name="T95" fmla="*/ 45 h 170"/>
              <a:gd name="T96" fmla="*/ 118 w 157"/>
              <a:gd name="T97" fmla="*/ 46 h 170"/>
              <a:gd name="T98" fmla="*/ 121 w 157"/>
              <a:gd name="T99" fmla="*/ 43 h 170"/>
              <a:gd name="T100" fmla="*/ 145 w 157"/>
              <a:gd name="T101" fmla="*/ 88 h 170"/>
              <a:gd name="T102" fmla="*/ 118 w 157"/>
              <a:gd name="T103" fmla="*/ 61 h 170"/>
              <a:gd name="T104" fmla="*/ 118 w 157"/>
              <a:gd name="T105" fmla="*/ 124 h 170"/>
              <a:gd name="T106" fmla="*/ 145 w 157"/>
              <a:gd name="T107" fmla="*/ 94 h 170"/>
              <a:gd name="T108" fmla="*/ 118 w 157"/>
              <a:gd name="T109" fmla="*/ 124 h 170"/>
              <a:gd name="T110" fmla="*/ 145 w 157"/>
              <a:gd name="T111" fmla="*/ 158 h 170"/>
              <a:gd name="T112" fmla="*/ 118 w 157"/>
              <a:gd name="T113" fmla="*/ 1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" h="170">
                <a:moveTo>
                  <a:pt x="157" y="37"/>
                </a:moveTo>
                <a:cubicBezTo>
                  <a:pt x="157" y="158"/>
                  <a:pt x="157" y="158"/>
                  <a:pt x="157" y="158"/>
                </a:cubicBezTo>
                <a:cubicBezTo>
                  <a:pt x="157" y="161"/>
                  <a:pt x="156" y="164"/>
                  <a:pt x="154" y="166"/>
                </a:cubicBezTo>
                <a:cubicBezTo>
                  <a:pt x="151" y="168"/>
                  <a:pt x="148" y="170"/>
                  <a:pt x="145" y="170"/>
                </a:cubicBezTo>
                <a:cubicBezTo>
                  <a:pt x="12" y="170"/>
                  <a:pt x="12" y="170"/>
                  <a:pt x="12" y="170"/>
                </a:cubicBezTo>
                <a:cubicBezTo>
                  <a:pt x="9" y="170"/>
                  <a:pt x="6" y="168"/>
                  <a:pt x="3" y="166"/>
                </a:cubicBezTo>
                <a:cubicBezTo>
                  <a:pt x="1" y="164"/>
                  <a:pt x="0" y="161"/>
                  <a:pt x="0" y="15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3"/>
                  <a:pt x="1" y="30"/>
                  <a:pt x="3" y="28"/>
                </a:cubicBezTo>
                <a:cubicBezTo>
                  <a:pt x="6" y="26"/>
                  <a:pt x="9" y="24"/>
                  <a:pt x="12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15"/>
                  <a:pt x="24" y="15"/>
                  <a:pt x="24" y="15"/>
                </a:cubicBezTo>
                <a:cubicBezTo>
                  <a:pt x="24" y="11"/>
                  <a:pt x="25" y="8"/>
                  <a:pt x="28" y="5"/>
                </a:cubicBezTo>
                <a:cubicBezTo>
                  <a:pt x="31" y="2"/>
                  <a:pt x="35" y="0"/>
                  <a:pt x="3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3" y="2"/>
                  <a:pt x="56" y="5"/>
                </a:cubicBezTo>
                <a:cubicBezTo>
                  <a:pt x="59" y="8"/>
                  <a:pt x="60" y="11"/>
                  <a:pt x="60" y="15"/>
                </a:cubicBezTo>
                <a:cubicBezTo>
                  <a:pt x="60" y="24"/>
                  <a:pt x="60" y="24"/>
                  <a:pt x="60" y="24"/>
                </a:cubicBezTo>
                <a:cubicBezTo>
                  <a:pt x="97" y="24"/>
                  <a:pt x="97" y="24"/>
                  <a:pt x="97" y="24"/>
                </a:cubicBezTo>
                <a:cubicBezTo>
                  <a:pt x="97" y="15"/>
                  <a:pt x="97" y="15"/>
                  <a:pt x="97" y="15"/>
                </a:cubicBezTo>
                <a:cubicBezTo>
                  <a:pt x="97" y="11"/>
                  <a:pt x="98" y="8"/>
                  <a:pt x="101" y="5"/>
                </a:cubicBezTo>
                <a:cubicBezTo>
                  <a:pt x="104" y="2"/>
                  <a:pt x="108" y="0"/>
                  <a:pt x="112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2" y="0"/>
                  <a:pt x="125" y="2"/>
                  <a:pt x="128" y="5"/>
                </a:cubicBezTo>
                <a:cubicBezTo>
                  <a:pt x="131" y="8"/>
                  <a:pt x="133" y="11"/>
                  <a:pt x="133" y="15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145" y="24"/>
                  <a:pt x="145" y="24"/>
                  <a:pt x="145" y="24"/>
                </a:cubicBezTo>
                <a:cubicBezTo>
                  <a:pt x="148" y="24"/>
                  <a:pt x="151" y="26"/>
                  <a:pt x="154" y="28"/>
                </a:cubicBezTo>
                <a:cubicBezTo>
                  <a:pt x="156" y="30"/>
                  <a:pt x="157" y="33"/>
                  <a:pt x="157" y="37"/>
                </a:cubicBezTo>
                <a:close/>
                <a:moveTo>
                  <a:pt x="12" y="88"/>
                </a:moveTo>
                <a:cubicBezTo>
                  <a:pt x="39" y="88"/>
                  <a:pt x="39" y="88"/>
                  <a:pt x="39" y="88"/>
                </a:cubicBezTo>
                <a:cubicBezTo>
                  <a:pt x="39" y="61"/>
                  <a:pt x="39" y="61"/>
                  <a:pt x="39" y="61"/>
                </a:cubicBezTo>
                <a:cubicBezTo>
                  <a:pt x="12" y="61"/>
                  <a:pt x="12" y="61"/>
                  <a:pt x="12" y="61"/>
                </a:cubicBezTo>
                <a:lnTo>
                  <a:pt x="12" y="88"/>
                </a:lnTo>
                <a:close/>
                <a:moveTo>
                  <a:pt x="12" y="124"/>
                </a:moveTo>
                <a:cubicBezTo>
                  <a:pt x="39" y="124"/>
                  <a:pt x="39" y="124"/>
                  <a:pt x="39" y="124"/>
                </a:cubicBezTo>
                <a:cubicBezTo>
                  <a:pt x="39" y="94"/>
                  <a:pt x="39" y="94"/>
                  <a:pt x="39" y="94"/>
                </a:cubicBezTo>
                <a:cubicBezTo>
                  <a:pt x="12" y="94"/>
                  <a:pt x="12" y="94"/>
                  <a:pt x="12" y="94"/>
                </a:cubicBezTo>
                <a:lnTo>
                  <a:pt x="12" y="124"/>
                </a:lnTo>
                <a:close/>
                <a:moveTo>
                  <a:pt x="12" y="158"/>
                </a:moveTo>
                <a:cubicBezTo>
                  <a:pt x="39" y="158"/>
                  <a:pt x="39" y="158"/>
                  <a:pt x="39" y="158"/>
                </a:cubicBezTo>
                <a:cubicBezTo>
                  <a:pt x="39" y="130"/>
                  <a:pt x="39" y="130"/>
                  <a:pt x="39" y="130"/>
                </a:cubicBezTo>
                <a:cubicBezTo>
                  <a:pt x="12" y="130"/>
                  <a:pt x="12" y="130"/>
                  <a:pt x="12" y="130"/>
                </a:cubicBezTo>
                <a:lnTo>
                  <a:pt x="12" y="158"/>
                </a:lnTo>
                <a:close/>
                <a:moveTo>
                  <a:pt x="48" y="43"/>
                </a:moveTo>
                <a:cubicBezTo>
                  <a:pt x="48" y="15"/>
                  <a:pt x="48" y="15"/>
                  <a:pt x="48" y="15"/>
                </a:cubicBezTo>
                <a:cubicBezTo>
                  <a:pt x="48" y="15"/>
                  <a:pt x="48" y="14"/>
                  <a:pt x="47" y="13"/>
                </a:cubicBezTo>
                <a:cubicBezTo>
                  <a:pt x="47" y="13"/>
                  <a:pt x="46" y="12"/>
                  <a:pt x="45" y="12"/>
                </a:cubicBezTo>
                <a:cubicBezTo>
                  <a:pt x="39" y="12"/>
                  <a:pt x="39" y="12"/>
                  <a:pt x="39" y="12"/>
                </a:cubicBezTo>
                <a:cubicBezTo>
                  <a:pt x="38" y="12"/>
                  <a:pt x="38" y="13"/>
                  <a:pt x="37" y="13"/>
                </a:cubicBezTo>
                <a:cubicBezTo>
                  <a:pt x="36" y="14"/>
                  <a:pt x="36" y="15"/>
                  <a:pt x="36" y="15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6" y="44"/>
                  <a:pt x="37" y="45"/>
                </a:cubicBezTo>
                <a:cubicBezTo>
                  <a:pt x="38" y="45"/>
                  <a:pt x="38" y="46"/>
                  <a:pt x="39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6" y="46"/>
                  <a:pt x="47" y="45"/>
                  <a:pt x="47" y="45"/>
                </a:cubicBezTo>
                <a:cubicBezTo>
                  <a:pt x="48" y="44"/>
                  <a:pt x="48" y="43"/>
                  <a:pt x="48" y="43"/>
                </a:cubicBezTo>
                <a:close/>
                <a:moveTo>
                  <a:pt x="45" y="88"/>
                </a:moveTo>
                <a:cubicBezTo>
                  <a:pt x="75" y="88"/>
                  <a:pt x="75" y="88"/>
                  <a:pt x="75" y="88"/>
                </a:cubicBezTo>
                <a:cubicBezTo>
                  <a:pt x="75" y="61"/>
                  <a:pt x="75" y="61"/>
                  <a:pt x="75" y="61"/>
                </a:cubicBezTo>
                <a:cubicBezTo>
                  <a:pt x="45" y="61"/>
                  <a:pt x="45" y="61"/>
                  <a:pt x="45" y="61"/>
                </a:cubicBezTo>
                <a:lnTo>
                  <a:pt x="45" y="88"/>
                </a:lnTo>
                <a:close/>
                <a:moveTo>
                  <a:pt x="45" y="124"/>
                </a:moveTo>
                <a:cubicBezTo>
                  <a:pt x="75" y="124"/>
                  <a:pt x="75" y="124"/>
                  <a:pt x="75" y="124"/>
                </a:cubicBezTo>
                <a:cubicBezTo>
                  <a:pt x="75" y="94"/>
                  <a:pt x="75" y="94"/>
                  <a:pt x="75" y="94"/>
                </a:cubicBezTo>
                <a:cubicBezTo>
                  <a:pt x="45" y="94"/>
                  <a:pt x="45" y="94"/>
                  <a:pt x="45" y="94"/>
                </a:cubicBezTo>
                <a:lnTo>
                  <a:pt x="45" y="124"/>
                </a:lnTo>
                <a:close/>
                <a:moveTo>
                  <a:pt x="45" y="158"/>
                </a:moveTo>
                <a:cubicBezTo>
                  <a:pt x="75" y="158"/>
                  <a:pt x="75" y="158"/>
                  <a:pt x="75" y="158"/>
                </a:cubicBezTo>
                <a:cubicBezTo>
                  <a:pt x="75" y="130"/>
                  <a:pt x="75" y="130"/>
                  <a:pt x="75" y="130"/>
                </a:cubicBezTo>
                <a:cubicBezTo>
                  <a:pt x="45" y="130"/>
                  <a:pt x="45" y="130"/>
                  <a:pt x="45" y="130"/>
                </a:cubicBezTo>
                <a:lnTo>
                  <a:pt x="45" y="158"/>
                </a:lnTo>
                <a:close/>
                <a:moveTo>
                  <a:pt x="81" y="88"/>
                </a:moveTo>
                <a:cubicBezTo>
                  <a:pt x="112" y="88"/>
                  <a:pt x="112" y="88"/>
                  <a:pt x="112" y="88"/>
                </a:cubicBezTo>
                <a:cubicBezTo>
                  <a:pt x="112" y="61"/>
                  <a:pt x="112" y="61"/>
                  <a:pt x="112" y="61"/>
                </a:cubicBezTo>
                <a:cubicBezTo>
                  <a:pt x="81" y="61"/>
                  <a:pt x="81" y="61"/>
                  <a:pt x="81" y="61"/>
                </a:cubicBezTo>
                <a:lnTo>
                  <a:pt x="81" y="88"/>
                </a:lnTo>
                <a:close/>
                <a:moveTo>
                  <a:pt x="81" y="124"/>
                </a:moveTo>
                <a:cubicBezTo>
                  <a:pt x="112" y="124"/>
                  <a:pt x="112" y="124"/>
                  <a:pt x="112" y="124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81" y="94"/>
                  <a:pt x="81" y="94"/>
                  <a:pt x="81" y="94"/>
                </a:cubicBezTo>
                <a:lnTo>
                  <a:pt x="81" y="124"/>
                </a:lnTo>
                <a:close/>
                <a:moveTo>
                  <a:pt x="81" y="158"/>
                </a:moveTo>
                <a:cubicBezTo>
                  <a:pt x="112" y="158"/>
                  <a:pt x="112" y="158"/>
                  <a:pt x="112" y="158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81" y="130"/>
                  <a:pt x="81" y="130"/>
                  <a:pt x="81" y="130"/>
                </a:cubicBezTo>
                <a:lnTo>
                  <a:pt x="81" y="158"/>
                </a:lnTo>
                <a:close/>
                <a:moveTo>
                  <a:pt x="121" y="43"/>
                </a:moveTo>
                <a:cubicBezTo>
                  <a:pt x="121" y="15"/>
                  <a:pt x="121" y="15"/>
                  <a:pt x="121" y="15"/>
                </a:cubicBezTo>
                <a:cubicBezTo>
                  <a:pt x="121" y="15"/>
                  <a:pt x="120" y="14"/>
                  <a:pt x="120" y="13"/>
                </a:cubicBezTo>
                <a:cubicBezTo>
                  <a:pt x="119" y="13"/>
                  <a:pt x="119" y="12"/>
                  <a:pt x="118" y="12"/>
                </a:cubicBezTo>
                <a:cubicBezTo>
                  <a:pt x="112" y="12"/>
                  <a:pt x="112" y="12"/>
                  <a:pt x="112" y="12"/>
                </a:cubicBezTo>
                <a:cubicBezTo>
                  <a:pt x="111" y="12"/>
                  <a:pt x="110" y="13"/>
                  <a:pt x="110" y="13"/>
                </a:cubicBezTo>
                <a:cubicBezTo>
                  <a:pt x="109" y="14"/>
                  <a:pt x="109" y="15"/>
                  <a:pt x="109" y="15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09" y="43"/>
                  <a:pt x="109" y="44"/>
                  <a:pt x="110" y="45"/>
                </a:cubicBezTo>
                <a:cubicBezTo>
                  <a:pt x="110" y="45"/>
                  <a:pt x="111" y="46"/>
                  <a:pt x="112" y="46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9" y="46"/>
                  <a:pt x="119" y="45"/>
                  <a:pt x="120" y="45"/>
                </a:cubicBezTo>
                <a:cubicBezTo>
                  <a:pt x="120" y="44"/>
                  <a:pt x="121" y="43"/>
                  <a:pt x="121" y="43"/>
                </a:cubicBezTo>
                <a:close/>
                <a:moveTo>
                  <a:pt x="118" y="88"/>
                </a:moveTo>
                <a:cubicBezTo>
                  <a:pt x="145" y="88"/>
                  <a:pt x="145" y="88"/>
                  <a:pt x="145" y="88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18" y="61"/>
                  <a:pt x="118" y="61"/>
                  <a:pt x="118" y="61"/>
                </a:cubicBezTo>
                <a:lnTo>
                  <a:pt x="118" y="88"/>
                </a:lnTo>
                <a:close/>
                <a:moveTo>
                  <a:pt x="118" y="124"/>
                </a:moveTo>
                <a:cubicBezTo>
                  <a:pt x="145" y="124"/>
                  <a:pt x="145" y="124"/>
                  <a:pt x="145" y="124"/>
                </a:cubicBezTo>
                <a:cubicBezTo>
                  <a:pt x="145" y="94"/>
                  <a:pt x="145" y="94"/>
                  <a:pt x="145" y="94"/>
                </a:cubicBezTo>
                <a:cubicBezTo>
                  <a:pt x="118" y="94"/>
                  <a:pt x="118" y="94"/>
                  <a:pt x="118" y="94"/>
                </a:cubicBezTo>
                <a:lnTo>
                  <a:pt x="118" y="124"/>
                </a:lnTo>
                <a:close/>
                <a:moveTo>
                  <a:pt x="118" y="158"/>
                </a:moveTo>
                <a:cubicBezTo>
                  <a:pt x="145" y="158"/>
                  <a:pt x="145" y="158"/>
                  <a:pt x="145" y="158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18" y="130"/>
                  <a:pt x="118" y="130"/>
                  <a:pt x="118" y="130"/>
                </a:cubicBezTo>
                <a:lnTo>
                  <a:pt x="118" y="1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7" name="Freeform 113">
            <a:extLst>
              <a:ext uri="{FF2B5EF4-FFF2-40B4-BE49-F238E27FC236}">
                <a16:creationId xmlns:a16="http://schemas.microsoft.com/office/drawing/2014/main" id="{9282E11F-4F59-4227-880D-58ABF1B366E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49688" y="1625024"/>
            <a:ext cx="178614" cy="194071"/>
          </a:xfrm>
          <a:custGeom>
            <a:avLst/>
            <a:gdLst>
              <a:gd name="T0" fmla="*/ 157 w 157"/>
              <a:gd name="T1" fmla="*/ 158 h 170"/>
              <a:gd name="T2" fmla="*/ 145 w 157"/>
              <a:gd name="T3" fmla="*/ 170 h 170"/>
              <a:gd name="T4" fmla="*/ 3 w 157"/>
              <a:gd name="T5" fmla="*/ 166 h 170"/>
              <a:gd name="T6" fmla="*/ 0 w 157"/>
              <a:gd name="T7" fmla="*/ 37 h 170"/>
              <a:gd name="T8" fmla="*/ 12 w 157"/>
              <a:gd name="T9" fmla="*/ 24 h 170"/>
              <a:gd name="T10" fmla="*/ 24 w 157"/>
              <a:gd name="T11" fmla="*/ 15 h 170"/>
              <a:gd name="T12" fmla="*/ 39 w 157"/>
              <a:gd name="T13" fmla="*/ 0 h 170"/>
              <a:gd name="T14" fmla="*/ 56 w 157"/>
              <a:gd name="T15" fmla="*/ 5 h 170"/>
              <a:gd name="T16" fmla="*/ 60 w 157"/>
              <a:gd name="T17" fmla="*/ 24 h 170"/>
              <a:gd name="T18" fmla="*/ 97 w 157"/>
              <a:gd name="T19" fmla="*/ 15 h 170"/>
              <a:gd name="T20" fmla="*/ 112 w 157"/>
              <a:gd name="T21" fmla="*/ 0 h 170"/>
              <a:gd name="T22" fmla="*/ 128 w 157"/>
              <a:gd name="T23" fmla="*/ 5 h 170"/>
              <a:gd name="T24" fmla="*/ 133 w 157"/>
              <a:gd name="T25" fmla="*/ 24 h 170"/>
              <a:gd name="T26" fmla="*/ 154 w 157"/>
              <a:gd name="T27" fmla="*/ 28 h 170"/>
              <a:gd name="T28" fmla="*/ 12 w 157"/>
              <a:gd name="T29" fmla="*/ 88 h 170"/>
              <a:gd name="T30" fmla="*/ 39 w 157"/>
              <a:gd name="T31" fmla="*/ 61 h 170"/>
              <a:gd name="T32" fmla="*/ 12 w 157"/>
              <a:gd name="T33" fmla="*/ 88 h 170"/>
              <a:gd name="T34" fmla="*/ 39 w 157"/>
              <a:gd name="T35" fmla="*/ 124 h 170"/>
              <a:gd name="T36" fmla="*/ 12 w 157"/>
              <a:gd name="T37" fmla="*/ 94 h 170"/>
              <a:gd name="T38" fmla="*/ 12 w 157"/>
              <a:gd name="T39" fmla="*/ 158 h 170"/>
              <a:gd name="T40" fmla="*/ 39 w 157"/>
              <a:gd name="T41" fmla="*/ 130 h 170"/>
              <a:gd name="T42" fmla="*/ 12 w 157"/>
              <a:gd name="T43" fmla="*/ 158 h 170"/>
              <a:gd name="T44" fmla="*/ 48 w 157"/>
              <a:gd name="T45" fmla="*/ 15 h 170"/>
              <a:gd name="T46" fmla="*/ 45 w 157"/>
              <a:gd name="T47" fmla="*/ 12 h 170"/>
              <a:gd name="T48" fmla="*/ 37 w 157"/>
              <a:gd name="T49" fmla="*/ 13 h 170"/>
              <a:gd name="T50" fmla="*/ 36 w 157"/>
              <a:gd name="T51" fmla="*/ 43 h 170"/>
              <a:gd name="T52" fmla="*/ 39 w 157"/>
              <a:gd name="T53" fmla="*/ 46 h 170"/>
              <a:gd name="T54" fmla="*/ 47 w 157"/>
              <a:gd name="T55" fmla="*/ 45 h 170"/>
              <a:gd name="T56" fmla="*/ 45 w 157"/>
              <a:gd name="T57" fmla="*/ 88 h 170"/>
              <a:gd name="T58" fmla="*/ 75 w 157"/>
              <a:gd name="T59" fmla="*/ 61 h 170"/>
              <a:gd name="T60" fmla="*/ 45 w 157"/>
              <a:gd name="T61" fmla="*/ 88 h 170"/>
              <a:gd name="T62" fmla="*/ 75 w 157"/>
              <a:gd name="T63" fmla="*/ 124 h 170"/>
              <a:gd name="T64" fmla="*/ 45 w 157"/>
              <a:gd name="T65" fmla="*/ 94 h 170"/>
              <a:gd name="T66" fmla="*/ 45 w 157"/>
              <a:gd name="T67" fmla="*/ 158 h 170"/>
              <a:gd name="T68" fmla="*/ 75 w 157"/>
              <a:gd name="T69" fmla="*/ 130 h 170"/>
              <a:gd name="T70" fmla="*/ 45 w 157"/>
              <a:gd name="T71" fmla="*/ 158 h 170"/>
              <a:gd name="T72" fmla="*/ 112 w 157"/>
              <a:gd name="T73" fmla="*/ 88 h 170"/>
              <a:gd name="T74" fmla="*/ 81 w 157"/>
              <a:gd name="T75" fmla="*/ 61 h 170"/>
              <a:gd name="T76" fmla="*/ 81 w 157"/>
              <a:gd name="T77" fmla="*/ 124 h 170"/>
              <a:gd name="T78" fmla="*/ 112 w 157"/>
              <a:gd name="T79" fmla="*/ 94 h 170"/>
              <a:gd name="T80" fmla="*/ 81 w 157"/>
              <a:gd name="T81" fmla="*/ 124 h 170"/>
              <a:gd name="T82" fmla="*/ 112 w 157"/>
              <a:gd name="T83" fmla="*/ 158 h 170"/>
              <a:gd name="T84" fmla="*/ 81 w 157"/>
              <a:gd name="T85" fmla="*/ 130 h 170"/>
              <a:gd name="T86" fmla="*/ 121 w 157"/>
              <a:gd name="T87" fmla="*/ 43 h 170"/>
              <a:gd name="T88" fmla="*/ 120 w 157"/>
              <a:gd name="T89" fmla="*/ 13 h 170"/>
              <a:gd name="T90" fmla="*/ 112 w 157"/>
              <a:gd name="T91" fmla="*/ 12 h 170"/>
              <a:gd name="T92" fmla="*/ 109 w 157"/>
              <a:gd name="T93" fmla="*/ 15 h 170"/>
              <a:gd name="T94" fmla="*/ 110 w 157"/>
              <a:gd name="T95" fmla="*/ 45 h 170"/>
              <a:gd name="T96" fmla="*/ 118 w 157"/>
              <a:gd name="T97" fmla="*/ 46 h 170"/>
              <a:gd name="T98" fmla="*/ 121 w 157"/>
              <a:gd name="T99" fmla="*/ 43 h 170"/>
              <a:gd name="T100" fmla="*/ 145 w 157"/>
              <a:gd name="T101" fmla="*/ 88 h 170"/>
              <a:gd name="T102" fmla="*/ 118 w 157"/>
              <a:gd name="T103" fmla="*/ 61 h 170"/>
              <a:gd name="T104" fmla="*/ 118 w 157"/>
              <a:gd name="T105" fmla="*/ 124 h 170"/>
              <a:gd name="T106" fmla="*/ 145 w 157"/>
              <a:gd name="T107" fmla="*/ 94 h 170"/>
              <a:gd name="T108" fmla="*/ 118 w 157"/>
              <a:gd name="T109" fmla="*/ 124 h 170"/>
              <a:gd name="T110" fmla="*/ 145 w 157"/>
              <a:gd name="T111" fmla="*/ 158 h 170"/>
              <a:gd name="T112" fmla="*/ 118 w 157"/>
              <a:gd name="T113" fmla="*/ 1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" h="170">
                <a:moveTo>
                  <a:pt x="157" y="37"/>
                </a:moveTo>
                <a:cubicBezTo>
                  <a:pt x="157" y="158"/>
                  <a:pt x="157" y="158"/>
                  <a:pt x="157" y="158"/>
                </a:cubicBezTo>
                <a:cubicBezTo>
                  <a:pt x="157" y="161"/>
                  <a:pt x="156" y="164"/>
                  <a:pt x="154" y="166"/>
                </a:cubicBezTo>
                <a:cubicBezTo>
                  <a:pt x="151" y="168"/>
                  <a:pt x="148" y="170"/>
                  <a:pt x="145" y="170"/>
                </a:cubicBezTo>
                <a:cubicBezTo>
                  <a:pt x="12" y="170"/>
                  <a:pt x="12" y="170"/>
                  <a:pt x="12" y="170"/>
                </a:cubicBezTo>
                <a:cubicBezTo>
                  <a:pt x="9" y="170"/>
                  <a:pt x="6" y="168"/>
                  <a:pt x="3" y="166"/>
                </a:cubicBezTo>
                <a:cubicBezTo>
                  <a:pt x="1" y="164"/>
                  <a:pt x="0" y="161"/>
                  <a:pt x="0" y="15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3"/>
                  <a:pt x="1" y="30"/>
                  <a:pt x="3" y="28"/>
                </a:cubicBezTo>
                <a:cubicBezTo>
                  <a:pt x="6" y="26"/>
                  <a:pt x="9" y="24"/>
                  <a:pt x="12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15"/>
                  <a:pt x="24" y="15"/>
                  <a:pt x="24" y="15"/>
                </a:cubicBezTo>
                <a:cubicBezTo>
                  <a:pt x="24" y="11"/>
                  <a:pt x="25" y="8"/>
                  <a:pt x="28" y="5"/>
                </a:cubicBezTo>
                <a:cubicBezTo>
                  <a:pt x="31" y="2"/>
                  <a:pt x="35" y="0"/>
                  <a:pt x="3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3" y="2"/>
                  <a:pt x="56" y="5"/>
                </a:cubicBezTo>
                <a:cubicBezTo>
                  <a:pt x="59" y="8"/>
                  <a:pt x="60" y="11"/>
                  <a:pt x="60" y="15"/>
                </a:cubicBezTo>
                <a:cubicBezTo>
                  <a:pt x="60" y="24"/>
                  <a:pt x="60" y="24"/>
                  <a:pt x="60" y="24"/>
                </a:cubicBezTo>
                <a:cubicBezTo>
                  <a:pt x="97" y="24"/>
                  <a:pt x="97" y="24"/>
                  <a:pt x="97" y="24"/>
                </a:cubicBezTo>
                <a:cubicBezTo>
                  <a:pt x="97" y="15"/>
                  <a:pt x="97" y="15"/>
                  <a:pt x="97" y="15"/>
                </a:cubicBezTo>
                <a:cubicBezTo>
                  <a:pt x="97" y="11"/>
                  <a:pt x="98" y="8"/>
                  <a:pt x="101" y="5"/>
                </a:cubicBezTo>
                <a:cubicBezTo>
                  <a:pt x="104" y="2"/>
                  <a:pt x="108" y="0"/>
                  <a:pt x="112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2" y="0"/>
                  <a:pt x="125" y="2"/>
                  <a:pt x="128" y="5"/>
                </a:cubicBezTo>
                <a:cubicBezTo>
                  <a:pt x="131" y="8"/>
                  <a:pt x="133" y="11"/>
                  <a:pt x="133" y="15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145" y="24"/>
                  <a:pt x="145" y="24"/>
                  <a:pt x="145" y="24"/>
                </a:cubicBezTo>
                <a:cubicBezTo>
                  <a:pt x="148" y="24"/>
                  <a:pt x="151" y="26"/>
                  <a:pt x="154" y="28"/>
                </a:cubicBezTo>
                <a:cubicBezTo>
                  <a:pt x="156" y="30"/>
                  <a:pt x="157" y="33"/>
                  <a:pt x="157" y="37"/>
                </a:cubicBezTo>
                <a:close/>
                <a:moveTo>
                  <a:pt x="12" y="88"/>
                </a:moveTo>
                <a:cubicBezTo>
                  <a:pt x="39" y="88"/>
                  <a:pt x="39" y="88"/>
                  <a:pt x="39" y="88"/>
                </a:cubicBezTo>
                <a:cubicBezTo>
                  <a:pt x="39" y="61"/>
                  <a:pt x="39" y="61"/>
                  <a:pt x="39" y="61"/>
                </a:cubicBezTo>
                <a:cubicBezTo>
                  <a:pt x="12" y="61"/>
                  <a:pt x="12" y="61"/>
                  <a:pt x="12" y="61"/>
                </a:cubicBezTo>
                <a:lnTo>
                  <a:pt x="12" y="88"/>
                </a:lnTo>
                <a:close/>
                <a:moveTo>
                  <a:pt x="12" y="124"/>
                </a:moveTo>
                <a:cubicBezTo>
                  <a:pt x="39" y="124"/>
                  <a:pt x="39" y="124"/>
                  <a:pt x="39" y="124"/>
                </a:cubicBezTo>
                <a:cubicBezTo>
                  <a:pt x="39" y="94"/>
                  <a:pt x="39" y="94"/>
                  <a:pt x="39" y="94"/>
                </a:cubicBezTo>
                <a:cubicBezTo>
                  <a:pt x="12" y="94"/>
                  <a:pt x="12" y="94"/>
                  <a:pt x="12" y="94"/>
                </a:cubicBezTo>
                <a:lnTo>
                  <a:pt x="12" y="124"/>
                </a:lnTo>
                <a:close/>
                <a:moveTo>
                  <a:pt x="12" y="158"/>
                </a:moveTo>
                <a:cubicBezTo>
                  <a:pt x="39" y="158"/>
                  <a:pt x="39" y="158"/>
                  <a:pt x="39" y="158"/>
                </a:cubicBezTo>
                <a:cubicBezTo>
                  <a:pt x="39" y="130"/>
                  <a:pt x="39" y="130"/>
                  <a:pt x="39" y="130"/>
                </a:cubicBezTo>
                <a:cubicBezTo>
                  <a:pt x="12" y="130"/>
                  <a:pt x="12" y="130"/>
                  <a:pt x="12" y="130"/>
                </a:cubicBezTo>
                <a:lnTo>
                  <a:pt x="12" y="158"/>
                </a:lnTo>
                <a:close/>
                <a:moveTo>
                  <a:pt x="48" y="43"/>
                </a:moveTo>
                <a:cubicBezTo>
                  <a:pt x="48" y="15"/>
                  <a:pt x="48" y="15"/>
                  <a:pt x="48" y="15"/>
                </a:cubicBezTo>
                <a:cubicBezTo>
                  <a:pt x="48" y="15"/>
                  <a:pt x="48" y="14"/>
                  <a:pt x="47" y="13"/>
                </a:cubicBezTo>
                <a:cubicBezTo>
                  <a:pt x="47" y="13"/>
                  <a:pt x="46" y="12"/>
                  <a:pt x="45" y="12"/>
                </a:cubicBezTo>
                <a:cubicBezTo>
                  <a:pt x="39" y="12"/>
                  <a:pt x="39" y="12"/>
                  <a:pt x="39" y="12"/>
                </a:cubicBezTo>
                <a:cubicBezTo>
                  <a:pt x="38" y="12"/>
                  <a:pt x="38" y="13"/>
                  <a:pt x="37" y="13"/>
                </a:cubicBezTo>
                <a:cubicBezTo>
                  <a:pt x="36" y="14"/>
                  <a:pt x="36" y="15"/>
                  <a:pt x="36" y="15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6" y="44"/>
                  <a:pt x="37" y="45"/>
                </a:cubicBezTo>
                <a:cubicBezTo>
                  <a:pt x="38" y="45"/>
                  <a:pt x="38" y="46"/>
                  <a:pt x="39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6" y="46"/>
                  <a:pt x="47" y="45"/>
                  <a:pt x="47" y="45"/>
                </a:cubicBezTo>
                <a:cubicBezTo>
                  <a:pt x="48" y="44"/>
                  <a:pt x="48" y="43"/>
                  <a:pt x="48" y="43"/>
                </a:cubicBezTo>
                <a:close/>
                <a:moveTo>
                  <a:pt x="45" y="88"/>
                </a:moveTo>
                <a:cubicBezTo>
                  <a:pt x="75" y="88"/>
                  <a:pt x="75" y="88"/>
                  <a:pt x="75" y="88"/>
                </a:cubicBezTo>
                <a:cubicBezTo>
                  <a:pt x="75" y="61"/>
                  <a:pt x="75" y="61"/>
                  <a:pt x="75" y="61"/>
                </a:cubicBezTo>
                <a:cubicBezTo>
                  <a:pt x="45" y="61"/>
                  <a:pt x="45" y="61"/>
                  <a:pt x="45" y="61"/>
                </a:cubicBezTo>
                <a:lnTo>
                  <a:pt x="45" y="88"/>
                </a:lnTo>
                <a:close/>
                <a:moveTo>
                  <a:pt x="45" y="124"/>
                </a:moveTo>
                <a:cubicBezTo>
                  <a:pt x="75" y="124"/>
                  <a:pt x="75" y="124"/>
                  <a:pt x="75" y="124"/>
                </a:cubicBezTo>
                <a:cubicBezTo>
                  <a:pt x="75" y="94"/>
                  <a:pt x="75" y="94"/>
                  <a:pt x="75" y="94"/>
                </a:cubicBezTo>
                <a:cubicBezTo>
                  <a:pt x="45" y="94"/>
                  <a:pt x="45" y="94"/>
                  <a:pt x="45" y="94"/>
                </a:cubicBezTo>
                <a:lnTo>
                  <a:pt x="45" y="124"/>
                </a:lnTo>
                <a:close/>
                <a:moveTo>
                  <a:pt x="45" y="158"/>
                </a:moveTo>
                <a:cubicBezTo>
                  <a:pt x="75" y="158"/>
                  <a:pt x="75" y="158"/>
                  <a:pt x="75" y="158"/>
                </a:cubicBezTo>
                <a:cubicBezTo>
                  <a:pt x="75" y="130"/>
                  <a:pt x="75" y="130"/>
                  <a:pt x="75" y="130"/>
                </a:cubicBezTo>
                <a:cubicBezTo>
                  <a:pt x="45" y="130"/>
                  <a:pt x="45" y="130"/>
                  <a:pt x="45" y="130"/>
                </a:cubicBezTo>
                <a:lnTo>
                  <a:pt x="45" y="158"/>
                </a:lnTo>
                <a:close/>
                <a:moveTo>
                  <a:pt x="81" y="88"/>
                </a:moveTo>
                <a:cubicBezTo>
                  <a:pt x="112" y="88"/>
                  <a:pt x="112" y="88"/>
                  <a:pt x="112" y="88"/>
                </a:cubicBezTo>
                <a:cubicBezTo>
                  <a:pt x="112" y="61"/>
                  <a:pt x="112" y="61"/>
                  <a:pt x="112" y="61"/>
                </a:cubicBezTo>
                <a:cubicBezTo>
                  <a:pt x="81" y="61"/>
                  <a:pt x="81" y="61"/>
                  <a:pt x="81" y="61"/>
                </a:cubicBezTo>
                <a:lnTo>
                  <a:pt x="81" y="88"/>
                </a:lnTo>
                <a:close/>
                <a:moveTo>
                  <a:pt x="81" y="124"/>
                </a:moveTo>
                <a:cubicBezTo>
                  <a:pt x="112" y="124"/>
                  <a:pt x="112" y="124"/>
                  <a:pt x="112" y="124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81" y="94"/>
                  <a:pt x="81" y="94"/>
                  <a:pt x="81" y="94"/>
                </a:cubicBezTo>
                <a:lnTo>
                  <a:pt x="81" y="124"/>
                </a:lnTo>
                <a:close/>
                <a:moveTo>
                  <a:pt x="81" y="158"/>
                </a:moveTo>
                <a:cubicBezTo>
                  <a:pt x="112" y="158"/>
                  <a:pt x="112" y="158"/>
                  <a:pt x="112" y="158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81" y="130"/>
                  <a:pt x="81" y="130"/>
                  <a:pt x="81" y="130"/>
                </a:cubicBezTo>
                <a:lnTo>
                  <a:pt x="81" y="158"/>
                </a:lnTo>
                <a:close/>
                <a:moveTo>
                  <a:pt x="121" y="43"/>
                </a:moveTo>
                <a:cubicBezTo>
                  <a:pt x="121" y="15"/>
                  <a:pt x="121" y="15"/>
                  <a:pt x="121" y="15"/>
                </a:cubicBezTo>
                <a:cubicBezTo>
                  <a:pt x="121" y="15"/>
                  <a:pt x="120" y="14"/>
                  <a:pt x="120" y="13"/>
                </a:cubicBezTo>
                <a:cubicBezTo>
                  <a:pt x="119" y="13"/>
                  <a:pt x="119" y="12"/>
                  <a:pt x="118" y="12"/>
                </a:cubicBezTo>
                <a:cubicBezTo>
                  <a:pt x="112" y="12"/>
                  <a:pt x="112" y="12"/>
                  <a:pt x="112" y="12"/>
                </a:cubicBezTo>
                <a:cubicBezTo>
                  <a:pt x="111" y="12"/>
                  <a:pt x="110" y="13"/>
                  <a:pt x="110" y="13"/>
                </a:cubicBezTo>
                <a:cubicBezTo>
                  <a:pt x="109" y="14"/>
                  <a:pt x="109" y="15"/>
                  <a:pt x="109" y="15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09" y="43"/>
                  <a:pt x="109" y="44"/>
                  <a:pt x="110" y="45"/>
                </a:cubicBezTo>
                <a:cubicBezTo>
                  <a:pt x="110" y="45"/>
                  <a:pt x="111" y="46"/>
                  <a:pt x="112" y="46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9" y="46"/>
                  <a:pt x="119" y="45"/>
                  <a:pt x="120" y="45"/>
                </a:cubicBezTo>
                <a:cubicBezTo>
                  <a:pt x="120" y="44"/>
                  <a:pt x="121" y="43"/>
                  <a:pt x="121" y="43"/>
                </a:cubicBezTo>
                <a:close/>
                <a:moveTo>
                  <a:pt x="118" y="88"/>
                </a:moveTo>
                <a:cubicBezTo>
                  <a:pt x="145" y="88"/>
                  <a:pt x="145" y="88"/>
                  <a:pt x="145" y="88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18" y="61"/>
                  <a:pt x="118" y="61"/>
                  <a:pt x="118" y="61"/>
                </a:cubicBezTo>
                <a:lnTo>
                  <a:pt x="118" y="88"/>
                </a:lnTo>
                <a:close/>
                <a:moveTo>
                  <a:pt x="118" y="124"/>
                </a:moveTo>
                <a:cubicBezTo>
                  <a:pt x="145" y="124"/>
                  <a:pt x="145" y="124"/>
                  <a:pt x="145" y="124"/>
                </a:cubicBezTo>
                <a:cubicBezTo>
                  <a:pt x="145" y="94"/>
                  <a:pt x="145" y="94"/>
                  <a:pt x="145" y="94"/>
                </a:cubicBezTo>
                <a:cubicBezTo>
                  <a:pt x="118" y="94"/>
                  <a:pt x="118" y="94"/>
                  <a:pt x="118" y="94"/>
                </a:cubicBezTo>
                <a:lnTo>
                  <a:pt x="118" y="124"/>
                </a:lnTo>
                <a:close/>
                <a:moveTo>
                  <a:pt x="118" y="158"/>
                </a:moveTo>
                <a:cubicBezTo>
                  <a:pt x="145" y="158"/>
                  <a:pt x="145" y="158"/>
                  <a:pt x="145" y="158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18" y="130"/>
                  <a:pt x="118" y="130"/>
                  <a:pt x="118" y="130"/>
                </a:cubicBezTo>
                <a:lnTo>
                  <a:pt x="118" y="1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622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FACC4C-3E0E-1E78-0FD3-46E8C725F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B3299-6E83-49CD-73C3-30EBA688F2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at is an </a:t>
            </a:r>
            <a:r>
              <a:rPr lang="en-US" dirty="0">
                <a:solidFill>
                  <a:schemeClr val="accent2"/>
                </a:solidFill>
              </a:rPr>
              <a:t>Autoencoder-GA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CA699AF-A390-4F73-99DD-8A9A4EA970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EGA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AA6DFA0-BF97-D347-F8FC-AE7DEC25204D}"/>
              </a:ext>
            </a:extLst>
          </p:cNvPr>
          <p:cNvGrpSpPr/>
          <p:nvPr/>
        </p:nvGrpSpPr>
        <p:grpSpPr>
          <a:xfrm>
            <a:off x="195759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7F1277-95FE-390F-18B2-2B97B663186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C5B5FA6-54D2-B49D-BC49-35070F9F458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BA22ACF-D2D9-FE53-5189-BAA5857DF5CA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7" name="Right Arrow 16">
            <a:extLst>
              <a:ext uri="{FF2B5EF4-FFF2-40B4-BE49-F238E27FC236}">
                <a16:creationId xmlns:a16="http://schemas.microsoft.com/office/drawing/2014/main" id="{D0C557B9-6E15-1AD1-E2DE-F716EC50E98E}"/>
              </a:ext>
            </a:extLst>
          </p:cNvPr>
          <p:cNvSpPr/>
          <p:nvPr/>
        </p:nvSpPr>
        <p:spPr>
          <a:xfrm>
            <a:off x="232814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0258A1A-E3B5-4459-F843-EB5B007C5876}"/>
              </a:ext>
            </a:extLst>
          </p:cNvPr>
          <p:cNvSpPr/>
          <p:nvPr/>
        </p:nvSpPr>
        <p:spPr>
          <a:xfrm>
            <a:off x="257185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260DD275-F57C-8132-8EAB-08B989E87BC0}"/>
              </a:ext>
            </a:extLst>
          </p:cNvPr>
          <p:cNvSpPr/>
          <p:nvPr/>
        </p:nvSpPr>
        <p:spPr>
          <a:xfrm>
            <a:off x="172122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DDFCBA63-B25A-6E12-8866-DAF3BFF67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73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C134DA0-DDBE-6DBA-DAE0-6F20B0E24FF3}"/>
              </a:ext>
            </a:extLst>
          </p:cNvPr>
          <p:cNvSpPr txBox="1"/>
          <p:nvPr/>
        </p:nvSpPr>
        <p:spPr>
          <a:xfrm>
            <a:off x="167898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pic>
        <p:nvPicPr>
          <p:cNvPr id="33" name="Picture 32" descr="A purple and black stripes&#10;&#10;Description automatically generated">
            <a:extLst>
              <a:ext uri="{FF2B5EF4-FFF2-40B4-BE49-F238E27FC236}">
                <a16:creationId xmlns:a16="http://schemas.microsoft.com/office/drawing/2014/main" id="{2EEA3D61-8A1B-8659-5AB9-12E1329C8C19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509309" y="1840463"/>
            <a:ext cx="324000" cy="841369"/>
          </a:xfrm>
          <a:prstGeom prst="rect">
            <a:avLst/>
          </a:prstGeom>
        </p:spPr>
      </p:pic>
      <p:sp>
        <p:nvSpPr>
          <p:cNvPr id="35" name="Right Arrow 34">
            <a:extLst>
              <a:ext uri="{FF2B5EF4-FFF2-40B4-BE49-F238E27FC236}">
                <a16:creationId xmlns:a16="http://schemas.microsoft.com/office/drawing/2014/main" id="{C64551DD-CF2F-8153-A723-04956B34C2EA}"/>
              </a:ext>
            </a:extLst>
          </p:cNvPr>
          <p:cNvSpPr/>
          <p:nvPr/>
        </p:nvSpPr>
        <p:spPr>
          <a:xfrm>
            <a:off x="325126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Right Arrow 35">
            <a:extLst>
              <a:ext uri="{FF2B5EF4-FFF2-40B4-BE49-F238E27FC236}">
                <a16:creationId xmlns:a16="http://schemas.microsoft.com/office/drawing/2014/main" id="{216D5F44-803C-495A-AEF9-52E31A8E5C57}"/>
              </a:ext>
            </a:extLst>
          </p:cNvPr>
          <p:cNvSpPr/>
          <p:nvPr/>
        </p:nvSpPr>
        <p:spPr>
          <a:xfrm>
            <a:off x="388492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7810CBD-3D79-2800-6F89-0A35523A70C6}"/>
              </a:ext>
            </a:extLst>
          </p:cNvPr>
          <p:cNvGrpSpPr/>
          <p:nvPr/>
        </p:nvGrpSpPr>
        <p:grpSpPr>
          <a:xfrm>
            <a:off x="5288631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C339D2E-C6FD-734F-D877-BD9BE81CCEA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5D94217-1D64-7AF3-102B-53EF96D249B7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D0BC433-C33A-39A8-F627-32BB1121DA9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B29CADB9-F677-0F9A-BF25-1E353984B0C2}"/>
              </a:ext>
            </a:extLst>
          </p:cNvPr>
          <p:cNvSpPr/>
          <p:nvPr/>
        </p:nvSpPr>
        <p:spPr>
          <a:xfrm>
            <a:off x="582174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Right Arrow 46">
            <a:extLst>
              <a:ext uri="{FF2B5EF4-FFF2-40B4-BE49-F238E27FC236}">
                <a16:creationId xmlns:a16="http://schemas.microsoft.com/office/drawing/2014/main" id="{D4DBC113-BB65-3F74-4E2F-F3BA9A7BF255}"/>
              </a:ext>
            </a:extLst>
          </p:cNvPr>
          <p:cNvSpPr/>
          <p:nvPr/>
        </p:nvSpPr>
        <p:spPr>
          <a:xfrm rot="3456229">
            <a:off x="449123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76EB0B48-C7FD-40B2-768A-1B6E0CC77182}"/>
              </a:ext>
            </a:extLst>
          </p:cNvPr>
          <p:cNvSpPr/>
          <p:nvPr/>
        </p:nvSpPr>
        <p:spPr>
          <a:xfrm rot="20303528">
            <a:off x="456671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A2E987B-9C44-6C88-F5DA-9C54789A4864}"/>
              </a:ext>
            </a:extLst>
          </p:cNvPr>
          <p:cNvSpPr txBox="1"/>
          <p:nvPr/>
        </p:nvSpPr>
        <p:spPr>
          <a:xfrm>
            <a:off x="322296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AC04252-9E2A-E7EA-3DCC-DE0DD59B968E}"/>
              </a:ext>
            </a:extLst>
          </p:cNvPr>
          <p:cNvSpPr txBox="1"/>
          <p:nvPr/>
        </p:nvSpPr>
        <p:spPr>
          <a:xfrm>
            <a:off x="509908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B6F6D43-26D5-FA8C-0167-09DD5FFB1CE8}"/>
              </a:ext>
            </a:extLst>
          </p:cNvPr>
          <p:cNvSpPr txBox="1"/>
          <p:nvPr/>
        </p:nvSpPr>
        <p:spPr>
          <a:xfrm>
            <a:off x="605472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pic>
        <p:nvPicPr>
          <p:cNvPr id="59" name="Picture 58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6274E56D-5FC2-FBD6-AAA1-233B21486A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152" y="3492692"/>
            <a:ext cx="864000" cy="864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3CDA0775-D581-655D-92BA-EBFA09618B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842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9602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Good </a:t>
            </a:r>
            <a:r>
              <a:rPr lang="en-US" err="1"/>
              <a:t>vs</a:t>
            </a:r>
            <a:r>
              <a:rPr lang="en-US"/>
              <a:t> bad </a:t>
            </a:r>
            <a:r>
              <a:rPr lang="en-US">
                <a:solidFill>
                  <a:schemeClr val="accent2"/>
                </a:solidFill>
              </a:rPr>
              <a:t>markete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 flipH="1">
            <a:off x="593724" y="2087841"/>
            <a:ext cx="2117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24" name="TextBox 23"/>
          <p:cNvSpPr txBox="1"/>
          <p:nvPr/>
        </p:nvSpPr>
        <p:spPr>
          <a:xfrm flipH="1">
            <a:off x="593724" y="1924274"/>
            <a:ext cx="21177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s </a:t>
            </a:r>
          </a:p>
        </p:txBody>
      </p:sp>
      <p:sp>
        <p:nvSpPr>
          <p:cNvPr id="26" name="TextBox 25"/>
          <p:cNvSpPr txBox="1"/>
          <p:nvPr/>
        </p:nvSpPr>
        <p:spPr>
          <a:xfrm flipH="1">
            <a:off x="593724" y="2813302"/>
            <a:ext cx="2117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27" name="TextBox 26"/>
          <p:cNvSpPr txBox="1"/>
          <p:nvPr/>
        </p:nvSpPr>
        <p:spPr>
          <a:xfrm flipH="1">
            <a:off x="593724" y="2649735"/>
            <a:ext cx="21177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s </a:t>
            </a: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2952749" y="2009518"/>
            <a:ext cx="5238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2952749" y="2730002"/>
            <a:ext cx="26193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2952749" y="3590667"/>
            <a:ext cx="47625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 flipH="1">
            <a:off x="593724" y="3668991"/>
            <a:ext cx="2117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32" name="TextBox 31"/>
          <p:cNvSpPr txBox="1"/>
          <p:nvPr/>
        </p:nvSpPr>
        <p:spPr>
          <a:xfrm flipH="1">
            <a:off x="593724" y="3505424"/>
            <a:ext cx="21177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s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367213" y="2115117"/>
            <a:ext cx="409576" cy="884200"/>
            <a:chOff x="4367213" y="2115117"/>
            <a:chExt cx="409576" cy="884200"/>
          </a:xfrm>
        </p:grpSpPr>
        <p:cxnSp>
          <p:nvCxnSpPr>
            <p:cNvPr id="43" name="Straight Connector 42"/>
            <p:cNvCxnSpPr/>
            <p:nvPr/>
          </p:nvCxnSpPr>
          <p:spPr>
            <a:xfrm>
              <a:off x="4572001" y="2115117"/>
              <a:ext cx="0" cy="8842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43"/>
            <p:cNvSpPr/>
            <p:nvPr/>
          </p:nvSpPr>
          <p:spPr>
            <a:xfrm>
              <a:off x="4367213" y="2352430"/>
              <a:ext cx="409576" cy="409576"/>
            </a:xfrm>
            <a:prstGeom prst="ellipse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390633" y="2449495"/>
              <a:ext cx="3627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+mj-lt"/>
                </a:rPr>
                <a:t>V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263449" y="1667167"/>
            <a:ext cx="882788" cy="2423001"/>
            <a:chOff x="3263449" y="1667167"/>
            <a:chExt cx="882788" cy="2423001"/>
          </a:xfrm>
        </p:grpSpPr>
        <p:grpSp>
          <p:nvGrpSpPr>
            <p:cNvPr id="16" name="Group 15"/>
            <p:cNvGrpSpPr/>
            <p:nvPr/>
          </p:nvGrpSpPr>
          <p:grpSpPr>
            <a:xfrm>
              <a:off x="3263449" y="1667167"/>
              <a:ext cx="882788" cy="2423001"/>
              <a:chOff x="3527425" y="1343025"/>
              <a:chExt cx="976313" cy="2679701"/>
            </a:xfrm>
            <a:solidFill>
              <a:schemeClr val="accent2"/>
            </a:solidFill>
          </p:grpSpPr>
          <p:sp>
            <p:nvSpPr>
              <p:cNvPr id="10" name="Oval 7"/>
              <p:cNvSpPr>
                <a:spLocks noChangeArrowheads="1"/>
              </p:cNvSpPr>
              <p:nvPr/>
            </p:nvSpPr>
            <p:spPr bwMode="auto">
              <a:xfrm>
                <a:off x="3822700" y="1531938"/>
                <a:ext cx="381000" cy="3857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grpSp>
            <p:nvGrpSpPr>
              <p:cNvPr id="15" name="Group 14"/>
              <p:cNvGrpSpPr/>
              <p:nvPr/>
            </p:nvGrpSpPr>
            <p:grpSpPr>
              <a:xfrm>
                <a:off x="3527425" y="1343025"/>
                <a:ext cx="976313" cy="2679701"/>
                <a:chOff x="3527425" y="1343025"/>
                <a:chExt cx="976313" cy="2679701"/>
              </a:xfrm>
              <a:grpFill/>
            </p:grpSpPr>
            <p:sp>
              <p:nvSpPr>
                <p:cNvPr id="12" name="Freeform 9"/>
                <p:cNvSpPr>
                  <a:spLocks/>
                </p:cNvSpPr>
                <p:nvPr/>
              </p:nvSpPr>
              <p:spPr bwMode="auto">
                <a:xfrm>
                  <a:off x="3527425" y="1957388"/>
                  <a:ext cx="976313" cy="2065338"/>
                </a:xfrm>
                <a:custGeom>
                  <a:avLst/>
                  <a:gdLst>
                    <a:gd name="T0" fmla="*/ 1655 w 2081"/>
                    <a:gd name="T1" fmla="*/ 0 h 4405"/>
                    <a:gd name="T2" fmla="*/ 1338 w 2081"/>
                    <a:gd name="T3" fmla="*/ 0 h 4405"/>
                    <a:gd name="T4" fmla="*/ 1292 w 2081"/>
                    <a:gd name="T5" fmla="*/ 334 h 4405"/>
                    <a:gd name="T6" fmla="*/ 1193 w 2081"/>
                    <a:gd name="T7" fmla="*/ 667 h 4405"/>
                    <a:gd name="T8" fmla="*/ 1133 w 2081"/>
                    <a:gd name="T9" fmla="*/ 420 h 4405"/>
                    <a:gd name="T10" fmla="*/ 1082 w 2081"/>
                    <a:gd name="T11" fmla="*/ 287 h 4405"/>
                    <a:gd name="T12" fmla="*/ 1145 w 2081"/>
                    <a:gd name="T13" fmla="*/ 202 h 4405"/>
                    <a:gd name="T14" fmla="*/ 1040 w 2081"/>
                    <a:gd name="T15" fmla="*/ 102 h 4405"/>
                    <a:gd name="T16" fmla="*/ 936 w 2081"/>
                    <a:gd name="T17" fmla="*/ 202 h 4405"/>
                    <a:gd name="T18" fmla="*/ 999 w 2081"/>
                    <a:gd name="T19" fmla="*/ 287 h 4405"/>
                    <a:gd name="T20" fmla="*/ 948 w 2081"/>
                    <a:gd name="T21" fmla="*/ 420 h 4405"/>
                    <a:gd name="T22" fmla="*/ 888 w 2081"/>
                    <a:gd name="T23" fmla="*/ 667 h 4405"/>
                    <a:gd name="T24" fmla="*/ 788 w 2081"/>
                    <a:gd name="T25" fmla="*/ 334 h 4405"/>
                    <a:gd name="T26" fmla="*/ 743 w 2081"/>
                    <a:gd name="T27" fmla="*/ 0 h 4405"/>
                    <a:gd name="T28" fmla="*/ 426 w 2081"/>
                    <a:gd name="T29" fmla="*/ 0 h 4405"/>
                    <a:gd name="T30" fmla="*/ 0 w 2081"/>
                    <a:gd name="T31" fmla="*/ 429 h 4405"/>
                    <a:gd name="T32" fmla="*/ 0 w 2081"/>
                    <a:gd name="T33" fmla="*/ 1973 h 4405"/>
                    <a:gd name="T34" fmla="*/ 172 w 2081"/>
                    <a:gd name="T35" fmla="*/ 2147 h 4405"/>
                    <a:gd name="T36" fmla="*/ 339 w 2081"/>
                    <a:gd name="T37" fmla="*/ 1973 h 4405"/>
                    <a:gd name="T38" fmla="*/ 339 w 2081"/>
                    <a:gd name="T39" fmla="*/ 685 h 4405"/>
                    <a:gd name="T40" fmla="*/ 507 w 2081"/>
                    <a:gd name="T41" fmla="*/ 685 h 4405"/>
                    <a:gd name="T42" fmla="*/ 507 w 2081"/>
                    <a:gd name="T43" fmla="*/ 4174 h 4405"/>
                    <a:gd name="T44" fmla="*/ 741 w 2081"/>
                    <a:gd name="T45" fmla="*/ 4405 h 4405"/>
                    <a:gd name="T46" fmla="*/ 971 w 2081"/>
                    <a:gd name="T47" fmla="*/ 4174 h 4405"/>
                    <a:gd name="T48" fmla="*/ 971 w 2081"/>
                    <a:gd name="T49" fmla="*/ 2118 h 4405"/>
                    <a:gd name="T50" fmla="*/ 1115 w 2081"/>
                    <a:gd name="T51" fmla="*/ 2118 h 4405"/>
                    <a:gd name="T52" fmla="*/ 1115 w 2081"/>
                    <a:gd name="T53" fmla="*/ 4174 h 4405"/>
                    <a:gd name="T54" fmla="*/ 1344 w 2081"/>
                    <a:gd name="T55" fmla="*/ 4405 h 4405"/>
                    <a:gd name="T56" fmla="*/ 1574 w 2081"/>
                    <a:gd name="T57" fmla="*/ 4174 h 4405"/>
                    <a:gd name="T58" fmla="*/ 1574 w 2081"/>
                    <a:gd name="T59" fmla="*/ 685 h 4405"/>
                    <a:gd name="T60" fmla="*/ 1741 w 2081"/>
                    <a:gd name="T61" fmla="*/ 685 h 4405"/>
                    <a:gd name="T62" fmla="*/ 1741 w 2081"/>
                    <a:gd name="T63" fmla="*/ 1973 h 4405"/>
                    <a:gd name="T64" fmla="*/ 1909 w 2081"/>
                    <a:gd name="T65" fmla="*/ 2147 h 4405"/>
                    <a:gd name="T66" fmla="*/ 2081 w 2081"/>
                    <a:gd name="T67" fmla="*/ 1973 h 4405"/>
                    <a:gd name="T68" fmla="*/ 2081 w 2081"/>
                    <a:gd name="T69" fmla="*/ 429 h 4405"/>
                    <a:gd name="T70" fmla="*/ 1655 w 2081"/>
                    <a:gd name="T71" fmla="*/ 0 h 4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081" h="4405">
                      <a:moveTo>
                        <a:pt x="1655" y="0"/>
                      </a:moveTo>
                      <a:cubicBezTo>
                        <a:pt x="1539" y="0"/>
                        <a:pt x="1433" y="0"/>
                        <a:pt x="1338" y="0"/>
                      </a:cubicBezTo>
                      <a:cubicBezTo>
                        <a:pt x="1335" y="39"/>
                        <a:pt x="1323" y="183"/>
                        <a:pt x="1292" y="334"/>
                      </a:cubicBezTo>
                      <a:cubicBezTo>
                        <a:pt x="1275" y="421"/>
                        <a:pt x="1193" y="667"/>
                        <a:pt x="1193" y="667"/>
                      </a:cubicBezTo>
                      <a:cubicBezTo>
                        <a:pt x="1193" y="667"/>
                        <a:pt x="1148" y="479"/>
                        <a:pt x="1133" y="420"/>
                      </a:cubicBezTo>
                      <a:cubicBezTo>
                        <a:pt x="1122" y="379"/>
                        <a:pt x="1082" y="287"/>
                        <a:pt x="1082" y="287"/>
                      </a:cubicBezTo>
                      <a:cubicBezTo>
                        <a:pt x="1145" y="202"/>
                        <a:pt x="1145" y="202"/>
                        <a:pt x="1145" y="202"/>
                      </a:cubicBezTo>
                      <a:cubicBezTo>
                        <a:pt x="1040" y="102"/>
                        <a:pt x="1040" y="102"/>
                        <a:pt x="1040" y="102"/>
                      </a:cubicBezTo>
                      <a:cubicBezTo>
                        <a:pt x="936" y="202"/>
                        <a:pt x="936" y="202"/>
                        <a:pt x="936" y="202"/>
                      </a:cubicBezTo>
                      <a:cubicBezTo>
                        <a:pt x="999" y="287"/>
                        <a:pt x="999" y="287"/>
                        <a:pt x="999" y="287"/>
                      </a:cubicBezTo>
                      <a:cubicBezTo>
                        <a:pt x="999" y="287"/>
                        <a:pt x="959" y="379"/>
                        <a:pt x="948" y="420"/>
                      </a:cubicBezTo>
                      <a:cubicBezTo>
                        <a:pt x="932" y="479"/>
                        <a:pt x="888" y="667"/>
                        <a:pt x="888" y="667"/>
                      </a:cubicBezTo>
                      <a:cubicBezTo>
                        <a:pt x="888" y="667"/>
                        <a:pt x="806" y="421"/>
                        <a:pt x="788" y="334"/>
                      </a:cubicBezTo>
                      <a:cubicBezTo>
                        <a:pt x="757" y="183"/>
                        <a:pt x="746" y="39"/>
                        <a:pt x="743" y="0"/>
                      </a:cubicBez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191" y="0"/>
                        <a:pt x="0" y="193"/>
                        <a:pt x="0" y="429"/>
                      </a:cubicBezTo>
                      <a:cubicBezTo>
                        <a:pt x="0" y="612"/>
                        <a:pt x="0" y="1973"/>
                        <a:pt x="0" y="1973"/>
                      </a:cubicBezTo>
                      <a:cubicBezTo>
                        <a:pt x="0" y="2070"/>
                        <a:pt x="76" y="2147"/>
                        <a:pt x="172" y="2147"/>
                      </a:cubicBezTo>
                      <a:cubicBezTo>
                        <a:pt x="263" y="2147"/>
                        <a:pt x="339" y="2070"/>
                        <a:pt x="339" y="1973"/>
                      </a:cubicBezTo>
                      <a:cubicBezTo>
                        <a:pt x="339" y="1828"/>
                        <a:pt x="339" y="685"/>
                        <a:pt x="339" y="685"/>
                      </a:cubicBezTo>
                      <a:cubicBezTo>
                        <a:pt x="507" y="685"/>
                        <a:pt x="507" y="685"/>
                        <a:pt x="507" y="685"/>
                      </a:cubicBezTo>
                      <a:cubicBezTo>
                        <a:pt x="507" y="1775"/>
                        <a:pt x="507" y="4174"/>
                        <a:pt x="507" y="4174"/>
                      </a:cubicBezTo>
                      <a:cubicBezTo>
                        <a:pt x="507" y="4304"/>
                        <a:pt x="612" y="4405"/>
                        <a:pt x="741" y="4405"/>
                      </a:cubicBezTo>
                      <a:cubicBezTo>
                        <a:pt x="866" y="4405"/>
                        <a:pt x="971" y="4304"/>
                        <a:pt x="971" y="4174"/>
                      </a:cubicBezTo>
                      <a:cubicBezTo>
                        <a:pt x="971" y="2118"/>
                        <a:pt x="971" y="2118"/>
                        <a:pt x="971" y="2118"/>
                      </a:cubicBezTo>
                      <a:cubicBezTo>
                        <a:pt x="1115" y="2118"/>
                        <a:pt x="1115" y="2118"/>
                        <a:pt x="1115" y="2118"/>
                      </a:cubicBezTo>
                      <a:cubicBezTo>
                        <a:pt x="1115" y="4174"/>
                        <a:pt x="1115" y="4174"/>
                        <a:pt x="1115" y="4174"/>
                      </a:cubicBezTo>
                      <a:cubicBezTo>
                        <a:pt x="1115" y="4304"/>
                        <a:pt x="1215" y="4405"/>
                        <a:pt x="1344" y="4405"/>
                      </a:cubicBezTo>
                      <a:cubicBezTo>
                        <a:pt x="1469" y="4405"/>
                        <a:pt x="1574" y="4304"/>
                        <a:pt x="1574" y="4174"/>
                      </a:cubicBezTo>
                      <a:cubicBezTo>
                        <a:pt x="1574" y="1828"/>
                        <a:pt x="1574" y="685"/>
                        <a:pt x="1574" y="685"/>
                      </a:cubicBezTo>
                      <a:cubicBezTo>
                        <a:pt x="1741" y="685"/>
                        <a:pt x="1741" y="685"/>
                        <a:pt x="1741" y="685"/>
                      </a:cubicBezTo>
                      <a:cubicBezTo>
                        <a:pt x="1741" y="1766"/>
                        <a:pt x="1741" y="1973"/>
                        <a:pt x="1741" y="1973"/>
                      </a:cubicBezTo>
                      <a:cubicBezTo>
                        <a:pt x="1741" y="2070"/>
                        <a:pt x="1818" y="2147"/>
                        <a:pt x="1909" y="2147"/>
                      </a:cubicBezTo>
                      <a:cubicBezTo>
                        <a:pt x="2004" y="2147"/>
                        <a:pt x="2081" y="2070"/>
                        <a:pt x="2081" y="1973"/>
                      </a:cubicBezTo>
                      <a:cubicBezTo>
                        <a:pt x="2081" y="1346"/>
                        <a:pt x="2081" y="429"/>
                        <a:pt x="2081" y="429"/>
                      </a:cubicBezTo>
                      <a:cubicBezTo>
                        <a:pt x="2081" y="193"/>
                        <a:pt x="1890" y="0"/>
                        <a:pt x="16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13" name="Freeform 10"/>
                <p:cNvSpPr>
                  <a:spLocks noEditPoints="1"/>
                </p:cNvSpPr>
                <p:nvPr/>
              </p:nvSpPr>
              <p:spPr bwMode="auto">
                <a:xfrm>
                  <a:off x="3808413" y="1343025"/>
                  <a:ext cx="414338" cy="120650"/>
                </a:xfrm>
                <a:custGeom>
                  <a:avLst/>
                  <a:gdLst>
                    <a:gd name="T0" fmla="*/ 440 w 881"/>
                    <a:gd name="T1" fmla="*/ 0 h 258"/>
                    <a:gd name="T2" fmla="*/ 0 w 881"/>
                    <a:gd name="T3" fmla="*/ 129 h 258"/>
                    <a:gd name="T4" fmla="*/ 440 w 881"/>
                    <a:gd name="T5" fmla="*/ 258 h 258"/>
                    <a:gd name="T6" fmla="*/ 881 w 881"/>
                    <a:gd name="T7" fmla="*/ 129 h 258"/>
                    <a:gd name="T8" fmla="*/ 440 w 881"/>
                    <a:gd name="T9" fmla="*/ 0 h 258"/>
                    <a:gd name="T10" fmla="*/ 440 w 881"/>
                    <a:gd name="T11" fmla="*/ 199 h 258"/>
                    <a:gd name="T12" fmla="*/ 163 w 881"/>
                    <a:gd name="T13" fmla="*/ 129 h 258"/>
                    <a:gd name="T14" fmla="*/ 440 w 881"/>
                    <a:gd name="T15" fmla="*/ 59 h 258"/>
                    <a:gd name="T16" fmla="*/ 717 w 881"/>
                    <a:gd name="T17" fmla="*/ 129 h 258"/>
                    <a:gd name="T18" fmla="*/ 440 w 881"/>
                    <a:gd name="T19" fmla="*/ 199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1" h="258">
                      <a:moveTo>
                        <a:pt x="440" y="0"/>
                      </a:moveTo>
                      <a:cubicBezTo>
                        <a:pt x="197" y="0"/>
                        <a:pt x="0" y="58"/>
                        <a:pt x="0" y="129"/>
                      </a:cubicBezTo>
                      <a:cubicBezTo>
                        <a:pt x="0" y="200"/>
                        <a:pt x="197" y="258"/>
                        <a:pt x="440" y="258"/>
                      </a:cubicBezTo>
                      <a:cubicBezTo>
                        <a:pt x="684" y="258"/>
                        <a:pt x="881" y="200"/>
                        <a:pt x="881" y="129"/>
                      </a:cubicBezTo>
                      <a:cubicBezTo>
                        <a:pt x="881" y="58"/>
                        <a:pt x="684" y="0"/>
                        <a:pt x="440" y="0"/>
                      </a:cubicBezTo>
                      <a:close/>
                      <a:moveTo>
                        <a:pt x="440" y="199"/>
                      </a:moveTo>
                      <a:cubicBezTo>
                        <a:pt x="287" y="199"/>
                        <a:pt x="163" y="168"/>
                        <a:pt x="163" y="129"/>
                      </a:cubicBezTo>
                      <a:cubicBezTo>
                        <a:pt x="163" y="90"/>
                        <a:pt x="287" y="59"/>
                        <a:pt x="440" y="59"/>
                      </a:cubicBezTo>
                      <a:cubicBezTo>
                        <a:pt x="593" y="59"/>
                        <a:pt x="717" y="90"/>
                        <a:pt x="717" y="129"/>
                      </a:cubicBezTo>
                      <a:cubicBezTo>
                        <a:pt x="717" y="168"/>
                        <a:pt x="593" y="199"/>
                        <a:pt x="440" y="19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j-lt"/>
                  </a:endParaRPr>
                </a:p>
              </p:txBody>
            </p:sp>
          </p:grpSp>
        </p:grpSp>
        <p:sp>
          <p:nvSpPr>
            <p:cNvPr id="54" name="Freeform 14"/>
            <p:cNvSpPr>
              <a:spLocks/>
            </p:cNvSpPr>
            <p:nvPr/>
          </p:nvSpPr>
          <p:spPr bwMode="auto">
            <a:xfrm>
              <a:off x="3282279" y="3121079"/>
              <a:ext cx="106240" cy="403299"/>
            </a:xfrm>
            <a:custGeom>
              <a:avLst/>
              <a:gdLst>
                <a:gd name="T0" fmla="*/ 59 w 84"/>
                <a:gd name="T1" fmla="*/ 36 h 328"/>
                <a:gd name="T2" fmla="*/ 55 w 84"/>
                <a:gd name="T3" fmla="*/ 36 h 328"/>
                <a:gd name="T4" fmla="*/ 55 w 84"/>
                <a:gd name="T5" fmla="*/ 12 h 328"/>
                <a:gd name="T6" fmla="*/ 42 w 84"/>
                <a:gd name="T7" fmla="*/ 0 h 328"/>
                <a:gd name="T8" fmla="*/ 29 w 84"/>
                <a:gd name="T9" fmla="*/ 12 h 328"/>
                <a:gd name="T10" fmla="*/ 29 w 84"/>
                <a:gd name="T11" fmla="*/ 36 h 328"/>
                <a:gd name="T12" fmla="*/ 25 w 84"/>
                <a:gd name="T13" fmla="*/ 36 h 328"/>
                <a:gd name="T14" fmla="*/ 0 w 84"/>
                <a:gd name="T15" fmla="*/ 61 h 328"/>
                <a:gd name="T16" fmla="*/ 0 w 84"/>
                <a:gd name="T17" fmla="*/ 303 h 328"/>
                <a:gd name="T18" fmla="*/ 25 w 84"/>
                <a:gd name="T19" fmla="*/ 328 h 328"/>
                <a:gd name="T20" fmla="*/ 59 w 84"/>
                <a:gd name="T21" fmla="*/ 328 h 328"/>
                <a:gd name="T22" fmla="*/ 84 w 84"/>
                <a:gd name="T23" fmla="*/ 303 h 328"/>
                <a:gd name="T24" fmla="*/ 84 w 84"/>
                <a:gd name="T25" fmla="*/ 61 h 328"/>
                <a:gd name="T26" fmla="*/ 59 w 84"/>
                <a:gd name="T27" fmla="*/ 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28">
                  <a:moveTo>
                    <a:pt x="59" y="36"/>
                  </a:moveTo>
                  <a:cubicBezTo>
                    <a:pt x="55" y="36"/>
                    <a:pt x="55" y="36"/>
                    <a:pt x="55" y="36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5"/>
                    <a:pt x="49" y="0"/>
                    <a:pt x="42" y="0"/>
                  </a:cubicBezTo>
                  <a:cubicBezTo>
                    <a:pt x="35" y="0"/>
                    <a:pt x="29" y="5"/>
                    <a:pt x="29" y="1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1" y="36"/>
                    <a:pt x="0" y="47"/>
                    <a:pt x="0" y="61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0" y="317"/>
                    <a:pt x="11" y="328"/>
                    <a:pt x="25" y="328"/>
                  </a:cubicBezTo>
                  <a:cubicBezTo>
                    <a:pt x="59" y="328"/>
                    <a:pt x="59" y="328"/>
                    <a:pt x="59" y="328"/>
                  </a:cubicBezTo>
                  <a:cubicBezTo>
                    <a:pt x="73" y="328"/>
                    <a:pt x="84" y="317"/>
                    <a:pt x="84" y="303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47"/>
                    <a:pt x="73" y="36"/>
                    <a:pt x="59" y="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997763" y="1832242"/>
            <a:ext cx="882788" cy="2257926"/>
            <a:chOff x="4997763" y="1832242"/>
            <a:chExt cx="882788" cy="2257926"/>
          </a:xfrm>
        </p:grpSpPr>
        <p:grpSp>
          <p:nvGrpSpPr>
            <p:cNvPr id="14" name="Group 13"/>
            <p:cNvGrpSpPr/>
            <p:nvPr/>
          </p:nvGrpSpPr>
          <p:grpSpPr>
            <a:xfrm>
              <a:off x="4997763" y="1832242"/>
              <a:ext cx="882788" cy="2257926"/>
              <a:chOff x="4348163" y="1525588"/>
              <a:chExt cx="976313" cy="2497138"/>
            </a:xfrm>
            <a:solidFill>
              <a:schemeClr val="accent1"/>
            </a:solidFill>
          </p:grpSpPr>
          <p:sp>
            <p:nvSpPr>
              <p:cNvPr id="8" name="Freeform 5"/>
              <p:cNvSpPr>
                <a:spLocks/>
              </p:cNvSpPr>
              <p:nvPr/>
            </p:nvSpPr>
            <p:spPr bwMode="auto">
              <a:xfrm>
                <a:off x="4348163" y="1957388"/>
                <a:ext cx="976313" cy="2065338"/>
              </a:xfrm>
              <a:custGeom>
                <a:avLst/>
                <a:gdLst>
                  <a:gd name="T0" fmla="*/ 1656 w 2082"/>
                  <a:gd name="T1" fmla="*/ 0 h 4405"/>
                  <a:gd name="T2" fmla="*/ 1338 w 2082"/>
                  <a:gd name="T3" fmla="*/ 0 h 4405"/>
                  <a:gd name="T4" fmla="*/ 1293 w 2082"/>
                  <a:gd name="T5" fmla="*/ 334 h 4405"/>
                  <a:gd name="T6" fmla="*/ 1193 w 2082"/>
                  <a:gd name="T7" fmla="*/ 667 h 4405"/>
                  <a:gd name="T8" fmla="*/ 1133 w 2082"/>
                  <a:gd name="T9" fmla="*/ 420 h 4405"/>
                  <a:gd name="T10" fmla="*/ 1082 w 2082"/>
                  <a:gd name="T11" fmla="*/ 287 h 4405"/>
                  <a:gd name="T12" fmla="*/ 1145 w 2082"/>
                  <a:gd name="T13" fmla="*/ 202 h 4405"/>
                  <a:gd name="T14" fmla="*/ 1041 w 2082"/>
                  <a:gd name="T15" fmla="*/ 102 h 4405"/>
                  <a:gd name="T16" fmla="*/ 937 w 2082"/>
                  <a:gd name="T17" fmla="*/ 202 h 4405"/>
                  <a:gd name="T18" fmla="*/ 1000 w 2082"/>
                  <a:gd name="T19" fmla="*/ 287 h 4405"/>
                  <a:gd name="T20" fmla="*/ 949 w 2082"/>
                  <a:gd name="T21" fmla="*/ 420 h 4405"/>
                  <a:gd name="T22" fmla="*/ 889 w 2082"/>
                  <a:gd name="T23" fmla="*/ 667 h 4405"/>
                  <a:gd name="T24" fmla="*/ 789 w 2082"/>
                  <a:gd name="T25" fmla="*/ 334 h 4405"/>
                  <a:gd name="T26" fmla="*/ 744 w 2082"/>
                  <a:gd name="T27" fmla="*/ 0 h 4405"/>
                  <a:gd name="T28" fmla="*/ 426 w 2082"/>
                  <a:gd name="T29" fmla="*/ 0 h 4405"/>
                  <a:gd name="T30" fmla="*/ 0 w 2082"/>
                  <a:gd name="T31" fmla="*/ 429 h 4405"/>
                  <a:gd name="T32" fmla="*/ 0 w 2082"/>
                  <a:gd name="T33" fmla="*/ 1973 h 4405"/>
                  <a:gd name="T34" fmla="*/ 173 w 2082"/>
                  <a:gd name="T35" fmla="*/ 2147 h 4405"/>
                  <a:gd name="T36" fmla="*/ 340 w 2082"/>
                  <a:gd name="T37" fmla="*/ 1973 h 4405"/>
                  <a:gd name="T38" fmla="*/ 340 w 2082"/>
                  <a:gd name="T39" fmla="*/ 685 h 4405"/>
                  <a:gd name="T40" fmla="*/ 507 w 2082"/>
                  <a:gd name="T41" fmla="*/ 685 h 4405"/>
                  <a:gd name="T42" fmla="*/ 507 w 2082"/>
                  <a:gd name="T43" fmla="*/ 4174 h 4405"/>
                  <a:gd name="T44" fmla="*/ 742 w 2082"/>
                  <a:gd name="T45" fmla="*/ 4405 h 4405"/>
                  <a:gd name="T46" fmla="*/ 972 w 2082"/>
                  <a:gd name="T47" fmla="*/ 4174 h 4405"/>
                  <a:gd name="T48" fmla="*/ 972 w 2082"/>
                  <a:gd name="T49" fmla="*/ 2118 h 4405"/>
                  <a:gd name="T50" fmla="*/ 1115 w 2082"/>
                  <a:gd name="T51" fmla="*/ 2118 h 4405"/>
                  <a:gd name="T52" fmla="*/ 1115 w 2082"/>
                  <a:gd name="T53" fmla="*/ 4174 h 4405"/>
                  <a:gd name="T54" fmla="*/ 1345 w 2082"/>
                  <a:gd name="T55" fmla="*/ 4405 h 4405"/>
                  <a:gd name="T56" fmla="*/ 1574 w 2082"/>
                  <a:gd name="T57" fmla="*/ 4174 h 4405"/>
                  <a:gd name="T58" fmla="*/ 1574 w 2082"/>
                  <a:gd name="T59" fmla="*/ 685 h 4405"/>
                  <a:gd name="T60" fmla="*/ 1742 w 2082"/>
                  <a:gd name="T61" fmla="*/ 685 h 4405"/>
                  <a:gd name="T62" fmla="*/ 1742 w 2082"/>
                  <a:gd name="T63" fmla="*/ 1973 h 4405"/>
                  <a:gd name="T64" fmla="*/ 1909 w 2082"/>
                  <a:gd name="T65" fmla="*/ 2147 h 4405"/>
                  <a:gd name="T66" fmla="*/ 2082 w 2082"/>
                  <a:gd name="T67" fmla="*/ 1973 h 4405"/>
                  <a:gd name="T68" fmla="*/ 2082 w 2082"/>
                  <a:gd name="T69" fmla="*/ 429 h 4405"/>
                  <a:gd name="T70" fmla="*/ 1656 w 2082"/>
                  <a:gd name="T71" fmla="*/ 0 h 4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82" h="4405">
                    <a:moveTo>
                      <a:pt x="1656" y="0"/>
                    </a:moveTo>
                    <a:cubicBezTo>
                      <a:pt x="1539" y="0"/>
                      <a:pt x="1434" y="0"/>
                      <a:pt x="1338" y="0"/>
                    </a:cubicBezTo>
                    <a:cubicBezTo>
                      <a:pt x="1336" y="39"/>
                      <a:pt x="1324" y="183"/>
                      <a:pt x="1293" y="334"/>
                    </a:cubicBezTo>
                    <a:cubicBezTo>
                      <a:pt x="1275" y="421"/>
                      <a:pt x="1193" y="667"/>
                      <a:pt x="1193" y="667"/>
                    </a:cubicBezTo>
                    <a:cubicBezTo>
                      <a:pt x="1193" y="667"/>
                      <a:pt x="1149" y="479"/>
                      <a:pt x="1133" y="420"/>
                    </a:cubicBezTo>
                    <a:cubicBezTo>
                      <a:pt x="1122" y="379"/>
                      <a:pt x="1082" y="287"/>
                      <a:pt x="1082" y="287"/>
                    </a:cubicBezTo>
                    <a:cubicBezTo>
                      <a:pt x="1145" y="202"/>
                      <a:pt x="1145" y="202"/>
                      <a:pt x="1145" y="202"/>
                    </a:cubicBezTo>
                    <a:cubicBezTo>
                      <a:pt x="1041" y="102"/>
                      <a:pt x="1041" y="102"/>
                      <a:pt x="1041" y="102"/>
                    </a:cubicBezTo>
                    <a:cubicBezTo>
                      <a:pt x="937" y="202"/>
                      <a:pt x="937" y="202"/>
                      <a:pt x="937" y="202"/>
                    </a:cubicBezTo>
                    <a:cubicBezTo>
                      <a:pt x="1000" y="287"/>
                      <a:pt x="1000" y="287"/>
                      <a:pt x="1000" y="287"/>
                    </a:cubicBezTo>
                    <a:cubicBezTo>
                      <a:pt x="1000" y="287"/>
                      <a:pt x="960" y="379"/>
                      <a:pt x="949" y="420"/>
                    </a:cubicBezTo>
                    <a:cubicBezTo>
                      <a:pt x="933" y="479"/>
                      <a:pt x="889" y="667"/>
                      <a:pt x="889" y="667"/>
                    </a:cubicBezTo>
                    <a:cubicBezTo>
                      <a:pt x="889" y="667"/>
                      <a:pt x="807" y="421"/>
                      <a:pt x="789" y="334"/>
                    </a:cubicBezTo>
                    <a:cubicBezTo>
                      <a:pt x="758" y="183"/>
                      <a:pt x="746" y="39"/>
                      <a:pt x="744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192" y="0"/>
                      <a:pt x="0" y="193"/>
                      <a:pt x="0" y="429"/>
                    </a:cubicBezTo>
                    <a:cubicBezTo>
                      <a:pt x="0" y="612"/>
                      <a:pt x="0" y="1973"/>
                      <a:pt x="0" y="1973"/>
                    </a:cubicBezTo>
                    <a:cubicBezTo>
                      <a:pt x="0" y="2070"/>
                      <a:pt x="77" y="2147"/>
                      <a:pt x="173" y="2147"/>
                    </a:cubicBezTo>
                    <a:cubicBezTo>
                      <a:pt x="263" y="2147"/>
                      <a:pt x="340" y="2070"/>
                      <a:pt x="340" y="1973"/>
                    </a:cubicBezTo>
                    <a:cubicBezTo>
                      <a:pt x="340" y="1828"/>
                      <a:pt x="340" y="685"/>
                      <a:pt x="340" y="685"/>
                    </a:cubicBezTo>
                    <a:cubicBezTo>
                      <a:pt x="507" y="685"/>
                      <a:pt x="507" y="685"/>
                      <a:pt x="507" y="685"/>
                    </a:cubicBezTo>
                    <a:cubicBezTo>
                      <a:pt x="507" y="1775"/>
                      <a:pt x="507" y="4174"/>
                      <a:pt x="507" y="4174"/>
                    </a:cubicBezTo>
                    <a:cubicBezTo>
                      <a:pt x="507" y="4304"/>
                      <a:pt x="613" y="4405"/>
                      <a:pt x="742" y="4405"/>
                    </a:cubicBezTo>
                    <a:cubicBezTo>
                      <a:pt x="866" y="4405"/>
                      <a:pt x="972" y="4304"/>
                      <a:pt x="972" y="4174"/>
                    </a:cubicBezTo>
                    <a:cubicBezTo>
                      <a:pt x="972" y="2118"/>
                      <a:pt x="972" y="2118"/>
                      <a:pt x="972" y="2118"/>
                    </a:cubicBezTo>
                    <a:cubicBezTo>
                      <a:pt x="1115" y="2118"/>
                      <a:pt x="1115" y="2118"/>
                      <a:pt x="1115" y="2118"/>
                    </a:cubicBezTo>
                    <a:cubicBezTo>
                      <a:pt x="1115" y="4174"/>
                      <a:pt x="1115" y="4174"/>
                      <a:pt x="1115" y="4174"/>
                    </a:cubicBezTo>
                    <a:cubicBezTo>
                      <a:pt x="1115" y="4304"/>
                      <a:pt x="1216" y="4405"/>
                      <a:pt x="1345" y="4405"/>
                    </a:cubicBezTo>
                    <a:cubicBezTo>
                      <a:pt x="1469" y="4405"/>
                      <a:pt x="1574" y="4304"/>
                      <a:pt x="1574" y="4174"/>
                    </a:cubicBezTo>
                    <a:cubicBezTo>
                      <a:pt x="1574" y="1828"/>
                      <a:pt x="1574" y="685"/>
                      <a:pt x="1574" y="685"/>
                    </a:cubicBezTo>
                    <a:cubicBezTo>
                      <a:pt x="1742" y="685"/>
                      <a:pt x="1742" y="685"/>
                      <a:pt x="1742" y="685"/>
                    </a:cubicBezTo>
                    <a:cubicBezTo>
                      <a:pt x="1742" y="1766"/>
                      <a:pt x="1742" y="1973"/>
                      <a:pt x="1742" y="1973"/>
                    </a:cubicBezTo>
                    <a:cubicBezTo>
                      <a:pt x="1742" y="2070"/>
                      <a:pt x="1818" y="2147"/>
                      <a:pt x="1909" y="2147"/>
                    </a:cubicBezTo>
                    <a:cubicBezTo>
                      <a:pt x="2005" y="2147"/>
                      <a:pt x="2082" y="2070"/>
                      <a:pt x="2082" y="1973"/>
                    </a:cubicBezTo>
                    <a:cubicBezTo>
                      <a:pt x="2082" y="1346"/>
                      <a:pt x="2082" y="429"/>
                      <a:pt x="2082" y="429"/>
                    </a:cubicBezTo>
                    <a:cubicBezTo>
                      <a:pt x="2082" y="193"/>
                      <a:pt x="1890" y="0"/>
                      <a:pt x="16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9" name="Freeform 6"/>
              <p:cNvSpPr>
                <a:spLocks/>
              </p:cNvSpPr>
              <p:nvPr/>
            </p:nvSpPr>
            <p:spPr bwMode="auto">
              <a:xfrm>
                <a:off x="4583113" y="1525588"/>
                <a:ext cx="504825" cy="392113"/>
              </a:xfrm>
              <a:custGeom>
                <a:avLst/>
                <a:gdLst>
                  <a:gd name="T0" fmla="*/ 1063 w 1076"/>
                  <a:gd name="T1" fmla="*/ 0 h 837"/>
                  <a:gd name="T2" fmla="*/ 945 w 1076"/>
                  <a:gd name="T3" fmla="*/ 104 h 837"/>
                  <a:gd name="T4" fmla="*/ 831 w 1076"/>
                  <a:gd name="T5" fmla="*/ 143 h 837"/>
                  <a:gd name="T6" fmla="*/ 534 w 1076"/>
                  <a:gd name="T7" fmla="*/ 14 h 837"/>
                  <a:gd name="T8" fmla="*/ 239 w 1076"/>
                  <a:gd name="T9" fmla="*/ 142 h 837"/>
                  <a:gd name="T10" fmla="*/ 131 w 1076"/>
                  <a:gd name="T11" fmla="*/ 104 h 837"/>
                  <a:gd name="T12" fmla="*/ 13 w 1076"/>
                  <a:gd name="T13" fmla="*/ 0 h 837"/>
                  <a:gd name="T14" fmla="*/ 46 w 1076"/>
                  <a:gd name="T15" fmla="*/ 147 h 837"/>
                  <a:gd name="T16" fmla="*/ 168 w 1076"/>
                  <a:gd name="T17" fmla="*/ 246 h 837"/>
                  <a:gd name="T18" fmla="*/ 128 w 1076"/>
                  <a:gd name="T19" fmla="*/ 425 h 837"/>
                  <a:gd name="T20" fmla="*/ 534 w 1076"/>
                  <a:gd name="T21" fmla="*/ 837 h 837"/>
                  <a:gd name="T22" fmla="*/ 941 w 1076"/>
                  <a:gd name="T23" fmla="*/ 425 h 837"/>
                  <a:gd name="T24" fmla="*/ 902 w 1076"/>
                  <a:gd name="T25" fmla="*/ 249 h 837"/>
                  <a:gd name="T26" fmla="*/ 1030 w 1076"/>
                  <a:gd name="T27" fmla="*/ 147 h 837"/>
                  <a:gd name="T28" fmla="*/ 1063 w 1076"/>
                  <a:gd name="T29" fmla="*/ 0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6" h="837">
                    <a:moveTo>
                      <a:pt x="1063" y="0"/>
                    </a:moveTo>
                    <a:cubicBezTo>
                      <a:pt x="1063" y="0"/>
                      <a:pt x="999" y="75"/>
                      <a:pt x="945" y="104"/>
                    </a:cubicBezTo>
                    <a:cubicBezTo>
                      <a:pt x="902" y="126"/>
                      <a:pt x="861" y="137"/>
                      <a:pt x="831" y="143"/>
                    </a:cubicBezTo>
                    <a:cubicBezTo>
                      <a:pt x="756" y="64"/>
                      <a:pt x="651" y="14"/>
                      <a:pt x="534" y="14"/>
                    </a:cubicBezTo>
                    <a:cubicBezTo>
                      <a:pt x="418" y="14"/>
                      <a:pt x="313" y="63"/>
                      <a:pt x="239" y="142"/>
                    </a:cubicBezTo>
                    <a:cubicBezTo>
                      <a:pt x="209" y="136"/>
                      <a:pt x="171" y="125"/>
                      <a:pt x="131" y="104"/>
                    </a:cubicBezTo>
                    <a:cubicBezTo>
                      <a:pt x="77" y="75"/>
                      <a:pt x="13" y="0"/>
                      <a:pt x="13" y="0"/>
                    </a:cubicBezTo>
                    <a:cubicBezTo>
                      <a:pt x="13" y="0"/>
                      <a:pt x="0" y="87"/>
                      <a:pt x="46" y="147"/>
                    </a:cubicBezTo>
                    <a:cubicBezTo>
                      <a:pt x="90" y="205"/>
                      <a:pt x="136" y="233"/>
                      <a:pt x="168" y="246"/>
                    </a:cubicBezTo>
                    <a:cubicBezTo>
                      <a:pt x="142" y="300"/>
                      <a:pt x="128" y="361"/>
                      <a:pt x="128" y="425"/>
                    </a:cubicBezTo>
                    <a:cubicBezTo>
                      <a:pt x="128" y="653"/>
                      <a:pt x="310" y="837"/>
                      <a:pt x="534" y="837"/>
                    </a:cubicBezTo>
                    <a:cubicBezTo>
                      <a:pt x="759" y="837"/>
                      <a:pt x="941" y="653"/>
                      <a:pt x="941" y="425"/>
                    </a:cubicBezTo>
                    <a:cubicBezTo>
                      <a:pt x="941" y="362"/>
                      <a:pt x="927" y="302"/>
                      <a:pt x="902" y="249"/>
                    </a:cubicBezTo>
                    <a:cubicBezTo>
                      <a:pt x="934" y="236"/>
                      <a:pt x="983" y="208"/>
                      <a:pt x="1030" y="147"/>
                    </a:cubicBezTo>
                    <a:cubicBezTo>
                      <a:pt x="1076" y="87"/>
                      <a:pt x="1063" y="0"/>
                      <a:pt x="10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55" name="Freeform 14"/>
            <p:cNvSpPr>
              <a:spLocks/>
            </p:cNvSpPr>
            <p:nvPr/>
          </p:nvSpPr>
          <p:spPr bwMode="auto">
            <a:xfrm>
              <a:off x="5754017" y="3121079"/>
              <a:ext cx="106240" cy="403299"/>
            </a:xfrm>
            <a:custGeom>
              <a:avLst/>
              <a:gdLst>
                <a:gd name="T0" fmla="*/ 59 w 84"/>
                <a:gd name="T1" fmla="*/ 36 h 328"/>
                <a:gd name="T2" fmla="*/ 55 w 84"/>
                <a:gd name="T3" fmla="*/ 36 h 328"/>
                <a:gd name="T4" fmla="*/ 55 w 84"/>
                <a:gd name="T5" fmla="*/ 12 h 328"/>
                <a:gd name="T6" fmla="*/ 42 w 84"/>
                <a:gd name="T7" fmla="*/ 0 h 328"/>
                <a:gd name="T8" fmla="*/ 29 w 84"/>
                <a:gd name="T9" fmla="*/ 12 h 328"/>
                <a:gd name="T10" fmla="*/ 29 w 84"/>
                <a:gd name="T11" fmla="*/ 36 h 328"/>
                <a:gd name="T12" fmla="*/ 25 w 84"/>
                <a:gd name="T13" fmla="*/ 36 h 328"/>
                <a:gd name="T14" fmla="*/ 0 w 84"/>
                <a:gd name="T15" fmla="*/ 61 h 328"/>
                <a:gd name="T16" fmla="*/ 0 w 84"/>
                <a:gd name="T17" fmla="*/ 303 h 328"/>
                <a:gd name="T18" fmla="*/ 25 w 84"/>
                <a:gd name="T19" fmla="*/ 328 h 328"/>
                <a:gd name="T20" fmla="*/ 59 w 84"/>
                <a:gd name="T21" fmla="*/ 328 h 328"/>
                <a:gd name="T22" fmla="*/ 84 w 84"/>
                <a:gd name="T23" fmla="*/ 303 h 328"/>
                <a:gd name="T24" fmla="*/ 84 w 84"/>
                <a:gd name="T25" fmla="*/ 61 h 328"/>
                <a:gd name="T26" fmla="*/ 59 w 84"/>
                <a:gd name="T27" fmla="*/ 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28">
                  <a:moveTo>
                    <a:pt x="59" y="36"/>
                  </a:moveTo>
                  <a:cubicBezTo>
                    <a:pt x="55" y="36"/>
                    <a:pt x="55" y="36"/>
                    <a:pt x="55" y="36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5"/>
                    <a:pt x="49" y="0"/>
                    <a:pt x="42" y="0"/>
                  </a:cubicBezTo>
                  <a:cubicBezTo>
                    <a:pt x="35" y="0"/>
                    <a:pt x="29" y="5"/>
                    <a:pt x="29" y="1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1" y="36"/>
                    <a:pt x="0" y="47"/>
                    <a:pt x="0" y="61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0" y="317"/>
                    <a:pt x="11" y="328"/>
                    <a:pt x="25" y="328"/>
                  </a:cubicBezTo>
                  <a:cubicBezTo>
                    <a:pt x="59" y="328"/>
                    <a:pt x="59" y="328"/>
                    <a:pt x="59" y="328"/>
                  </a:cubicBezTo>
                  <a:cubicBezTo>
                    <a:pt x="73" y="328"/>
                    <a:pt x="84" y="317"/>
                    <a:pt x="84" y="303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47"/>
                    <a:pt x="73" y="36"/>
                    <a:pt x="59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cxnSp>
        <p:nvCxnSpPr>
          <p:cNvPr id="57" name="Straight Connector 56"/>
          <p:cNvCxnSpPr/>
          <p:nvPr/>
        </p:nvCxnSpPr>
        <p:spPr>
          <a:xfrm>
            <a:off x="5666672" y="2009517"/>
            <a:ext cx="52120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5927276" y="2734978"/>
            <a:ext cx="260604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5714055" y="3590667"/>
            <a:ext cx="4738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 flipH="1">
            <a:off x="6429375" y="2087841"/>
            <a:ext cx="2117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61" name="TextBox 60"/>
          <p:cNvSpPr txBox="1"/>
          <p:nvPr/>
        </p:nvSpPr>
        <p:spPr>
          <a:xfrm flipH="1">
            <a:off x="6429375" y="1924274"/>
            <a:ext cx="21177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s </a:t>
            </a:r>
          </a:p>
        </p:txBody>
      </p:sp>
      <p:sp>
        <p:nvSpPr>
          <p:cNvPr id="62" name="TextBox 61"/>
          <p:cNvSpPr txBox="1"/>
          <p:nvPr/>
        </p:nvSpPr>
        <p:spPr>
          <a:xfrm flipH="1">
            <a:off x="6429375" y="2813302"/>
            <a:ext cx="2117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63" name="TextBox 62"/>
          <p:cNvSpPr txBox="1"/>
          <p:nvPr/>
        </p:nvSpPr>
        <p:spPr>
          <a:xfrm flipH="1">
            <a:off x="6429375" y="2649735"/>
            <a:ext cx="21177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s </a:t>
            </a:r>
          </a:p>
        </p:txBody>
      </p:sp>
      <p:sp>
        <p:nvSpPr>
          <p:cNvPr id="64" name="TextBox 63"/>
          <p:cNvSpPr txBox="1"/>
          <p:nvPr/>
        </p:nvSpPr>
        <p:spPr>
          <a:xfrm flipH="1">
            <a:off x="6429375" y="3668991"/>
            <a:ext cx="2117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 vol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do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</a:p>
        </p:txBody>
      </p:sp>
      <p:sp>
        <p:nvSpPr>
          <p:cNvPr id="65" name="TextBox 64"/>
          <p:cNvSpPr txBox="1"/>
          <p:nvPr/>
        </p:nvSpPr>
        <p:spPr>
          <a:xfrm flipH="1">
            <a:off x="6429375" y="3505424"/>
            <a:ext cx="21177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options </a:t>
            </a:r>
          </a:p>
        </p:txBody>
      </p:sp>
    </p:spTree>
    <p:extLst>
      <p:ext uri="{BB962C8B-B14F-4D97-AF65-F5344CB8AC3E}">
        <p14:creationId xmlns:p14="http://schemas.microsoft.com/office/powerpoint/2010/main" val="27320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design &amp; dev. </a:t>
            </a:r>
            <a:r>
              <a:rPr lang="en-US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4" name="Oval 73"/>
          <p:cNvSpPr/>
          <p:nvPr/>
        </p:nvSpPr>
        <p:spPr>
          <a:xfrm>
            <a:off x="4295755" y="1912101"/>
            <a:ext cx="552490" cy="55249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75" name="Straight Connector 74"/>
          <p:cNvCxnSpPr>
            <a:stCxn id="74" idx="4"/>
          </p:cNvCxnSpPr>
          <p:nvPr/>
        </p:nvCxnSpPr>
        <p:spPr>
          <a:xfrm>
            <a:off x="4572000" y="2464591"/>
            <a:ext cx="0" cy="267890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4381902" y="2049846"/>
            <a:ext cx="3293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b="1" cap="all" spc="2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521594" y="2606067"/>
            <a:ext cx="2896221" cy="13981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521594" y="2338903"/>
            <a:ext cx="2902455" cy="204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400" b="1" cap="all" spc="30">
                <a:solidFill>
                  <a:schemeClr val="accent1"/>
                </a:solidFill>
                <a:latin typeface="+mj-lt"/>
              </a:rPr>
              <a:t>Concept development</a:t>
            </a:r>
          </a:p>
        </p:txBody>
      </p:sp>
      <p:cxnSp>
        <p:nvCxnSpPr>
          <p:cNvPr id="80" name="Straight Connector 79"/>
          <p:cNvCxnSpPr/>
          <p:nvPr/>
        </p:nvCxnSpPr>
        <p:spPr>
          <a:xfrm>
            <a:off x="5521594" y="2188346"/>
            <a:ext cx="27432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1407783" y="1912101"/>
            <a:ext cx="1961856" cy="2374149"/>
            <a:chOff x="1407783" y="1912101"/>
            <a:chExt cx="1961856" cy="2374149"/>
          </a:xfrm>
        </p:grpSpPr>
        <p:sp>
          <p:nvSpPr>
            <p:cNvPr id="57" name="Freeform 19"/>
            <p:cNvSpPr>
              <a:spLocks noEditPoints="1"/>
            </p:cNvSpPr>
            <p:nvPr/>
          </p:nvSpPr>
          <p:spPr bwMode="auto">
            <a:xfrm>
              <a:off x="2275415" y="1912101"/>
              <a:ext cx="913065" cy="1793392"/>
            </a:xfrm>
            <a:custGeom>
              <a:avLst/>
              <a:gdLst>
                <a:gd name="T0" fmla="*/ 2322 w 2374"/>
                <a:gd name="T1" fmla="*/ 0 h 4656"/>
                <a:gd name="T2" fmla="*/ 1187 w 2374"/>
                <a:gd name="T3" fmla="*/ 0 h 4656"/>
                <a:gd name="T4" fmla="*/ 52 w 2374"/>
                <a:gd name="T5" fmla="*/ 0 h 4656"/>
                <a:gd name="T6" fmla="*/ 0 w 2374"/>
                <a:gd name="T7" fmla="*/ 0 h 4656"/>
                <a:gd name="T8" fmla="*/ 0 w 2374"/>
                <a:gd name="T9" fmla="*/ 52 h 4656"/>
                <a:gd name="T10" fmla="*/ 0 w 2374"/>
                <a:gd name="T11" fmla="*/ 2712 h 4656"/>
                <a:gd name="T12" fmla="*/ 0 w 2374"/>
                <a:gd name="T13" fmla="*/ 2764 h 4656"/>
                <a:gd name="T14" fmla="*/ 52 w 2374"/>
                <a:gd name="T15" fmla="*/ 2764 h 4656"/>
                <a:gd name="T16" fmla="*/ 881 w 2374"/>
                <a:gd name="T17" fmla="*/ 2764 h 4656"/>
                <a:gd name="T18" fmla="*/ 321 w 2374"/>
                <a:gd name="T19" fmla="*/ 4546 h 4656"/>
                <a:gd name="T20" fmla="*/ 420 w 2374"/>
                <a:gd name="T21" fmla="*/ 4577 h 4656"/>
                <a:gd name="T22" fmla="*/ 691 w 2374"/>
                <a:gd name="T23" fmla="*/ 3715 h 4656"/>
                <a:gd name="T24" fmla="*/ 1135 w 2374"/>
                <a:gd name="T25" fmla="*/ 3715 h 4656"/>
                <a:gd name="T26" fmla="*/ 1135 w 2374"/>
                <a:gd name="T27" fmla="*/ 4098 h 4656"/>
                <a:gd name="T28" fmla="*/ 1187 w 2374"/>
                <a:gd name="T29" fmla="*/ 4150 h 4656"/>
                <a:gd name="T30" fmla="*/ 1239 w 2374"/>
                <a:gd name="T31" fmla="*/ 4098 h 4656"/>
                <a:gd name="T32" fmla="*/ 1239 w 2374"/>
                <a:gd name="T33" fmla="*/ 3715 h 4656"/>
                <a:gd name="T34" fmla="*/ 1683 w 2374"/>
                <a:gd name="T35" fmla="*/ 3715 h 4656"/>
                <a:gd name="T36" fmla="*/ 1954 w 2374"/>
                <a:gd name="T37" fmla="*/ 4577 h 4656"/>
                <a:gd name="T38" fmla="*/ 2054 w 2374"/>
                <a:gd name="T39" fmla="*/ 4546 h 4656"/>
                <a:gd name="T40" fmla="*/ 1493 w 2374"/>
                <a:gd name="T41" fmla="*/ 2764 h 4656"/>
                <a:gd name="T42" fmla="*/ 2322 w 2374"/>
                <a:gd name="T43" fmla="*/ 2764 h 4656"/>
                <a:gd name="T44" fmla="*/ 2374 w 2374"/>
                <a:gd name="T45" fmla="*/ 2764 h 4656"/>
                <a:gd name="T46" fmla="*/ 2374 w 2374"/>
                <a:gd name="T47" fmla="*/ 2712 h 4656"/>
                <a:gd name="T48" fmla="*/ 2374 w 2374"/>
                <a:gd name="T49" fmla="*/ 52 h 4656"/>
                <a:gd name="T50" fmla="*/ 2374 w 2374"/>
                <a:gd name="T51" fmla="*/ 0 h 4656"/>
                <a:gd name="T52" fmla="*/ 2322 w 2374"/>
                <a:gd name="T53" fmla="*/ 0 h 4656"/>
                <a:gd name="T54" fmla="*/ 724 w 2374"/>
                <a:gd name="T55" fmla="*/ 3611 h 4656"/>
                <a:gd name="T56" fmla="*/ 991 w 2374"/>
                <a:gd name="T57" fmla="*/ 2764 h 4656"/>
                <a:gd name="T58" fmla="*/ 1135 w 2374"/>
                <a:gd name="T59" fmla="*/ 2764 h 4656"/>
                <a:gd name="T60" fmla="*/ 1135 w 2374"/>
                <a:gd name="T61" fmla="*/ 3611 h 4656"/>
                <a:gd name="T62" fmla="*/ 724 w 2374"/>
                <a:gd name="T63" fmla="*/ 3611 h 4656"/>
                <a:gd name="T64" fmla="*/ 1650 w 2374"/>
                <a:gd name="T65" fmla="*/ 3611 h 4656"/>
                <a:gd name="T66" fmla="*/ 1239 w 2374"/>
                <a:gd name="T67" fmla="*/ 3611 h 4656"/>
                <a:gd name="T68" fmla="*/ 1239 w 2374"/>
                <a:gd name="T69" fmla="*/ 2764 h 4656"/>
                <a:gd name="T70" fmla="*/ 1384 w 2374"/>
                <a:gd name="T71" fmla="*/ 2764 h 4656"/>
                <a:gd name="T72" fmla="*/ 1650 w 2374"/>
                <a:gd name="T73" fmla="*/ 3611 h 4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74" h="4656">
                  <a:moveTo>
                    <a:pt x="2322" y="0"/>
                  </a:moveTo>
                  <a:cubicBezTo>
                    <a:pt x="1187" y="0"/>
                    <a:pt x="1187" y="0"/>
                    <a:pt x="118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712"/>
                    <a:pt x="0" y="2712"/>
                    <a:pt x="0" y="2712"/>
                  </a:cubicBezTo>
                  <a:cubicBezTo>
                    <a:pt x="0" y="2764"/>
                    <a:pt x="0" y="2764"/>
                    <a:pt x="0" y="2764"/>
                  </a:cubicBezTo>
                  <a:cubicBezTo>
                    <a:pt x="52" y="2764"/>
                    <a:pt x="52" y="2764"/>
                    <a:pt x="52" y="2764"/>
                  </a:cubicBezTo>
                  <a:cubicBezTo>
                    <a:pt x="881" y="2764"/>
                    <a:pt x="881" y="2764"/>
                    <a:pt x="881" y="2764"/>
                  </a:cubicBezTo>
                  <a:cubicBezTo>
                    <a:pt x="321" y="4546"/>
                    <a:pt x="321" y="4546"/>
                    <a:pt x="321" y="4546"/>
                  </a:cubicBezTo>
                  <a:cubicBezTo>
                    <a:pt x="296" y="4636"/>
                    <a:pt x="395" y="4656"/>
                    <a:pt x="420" y="4577"/>
                  </a:cubicBezTo>
                  <a:cubicBezTo>
                    <a:pt x="691" y="3715"/>
                    <a:pt x="691" y="3715"/>
                    <a:pt x="691" y="3715"/>
                  </a:cubicBezTo>
                  <a:cubicBezTo>
                    <a:pt x="1135" y="3715"/>
                    <a:pt x="1135" y="3715"/>
                    <a:pt x="1135" y="3715"/>
                  </a:cubicBezTo>
                  <a:cubicBezTo>
                    <a:pt x="1135" y="4098"/>
                    <a:pt x="1135" y="4098"/>
                    <a:pt x="1135" y="4098"/>
                  </a:cubicBezTo>
                  <a:cubicBezTo>
                    <a:pt x="1135" y="4127"/>
                    <a:pt x="1158" y="4150"/>
                    <a:pt x="1187" y="4150"/>
                  </a:cubicBezTo>
                  <a:cubicBezTo>
                    <a:pt x="1216" y="4150"/>
                    <a:pt x="1239" y="4127"/>
                    <a:pt x="1239" y="4098"/>
                  </a:cubicBezTo>
                  <a:cubicBezTo>
                    <a:pt x="1239" y="3715"/>
                    <a:pt x="1239" y="3715"/>
                    <a:pt x="1239" y="3715"/>
                  </a:cubicBezTo>
                  <a:cubicBezTo>
                    <a:pt x="1683" y="3715"/>
                    <a:pt x="1683" y="3715"/>
                    <a:pt x="1683" y="3715"/>
                  </a:cubicBezTo>
                  <a:cubicBezTo>
                    <a:pt x="1954" y="4577"/>
                    <a:pt x="1954" y="4577"/>
                    <a:pt x="1954" y="4577"/>
                  </a:cubicBezTo>
                  <a:cubicBezTo>
                    <a:pt x="1976" y="4646"/>
                    <a:pt x="2078" y="4623"/>
                    <a:pt x="2054" y="4546"/>
                  </a:cubicBezTo>
                  <a:cubicBezTo>
                    <a:pt x="1493" y="2764"/>
                    <a:pt x="1493" y="2764"/>
                    <a:pt x="1493" y="2764"/>
                  </a:cubicBezTo>
                  <a:cubicBezTo>
                    <a:pt x="2322" y="2764"/>
                    <a:pt x="2322" y="2764"/>
                    <a:pt x="2322" y="2764"/>
                  </a:cubicBezTo>
                  <a:cubicBezTo>
                    <a:pt x="2374" y="2764"/>
                    <a:pt x="2374" y="2764"/>
                    <a:pt x="2374" y="2764"/>
                  </a:cubicBezTo>
                  <a:cubicBezTo>
                    <a:pt x="2374" y="2712"/>
                    <a:pt x="2374" y="2712"/>
                    <a:pt x="2374" y="2712"/>
                  </a:cubicBezTo>
                  <a:cubicBezTo>
                    <a:pt x="2374" y="52"/>
                    <a:pt x="2374" y="52"/>
                    <a:pt x="2374" y="52"/>
                  </a:cubicBezTo>
                  <a:cubicBezTo>
                    <a:pt x="2374" y="0"/>
                    <a:pt x="2374" y="0"/>
                    <a:pt x="2374" y="0"/>
                  </a:cubicBezTo>
                  <a:lnTo>
                    <a:pt x="2322" y="0"/>
                  </a:lnTo>
                  <a:close/>
                  <a:moveTo>
                    <a:pt x="724" y="3611"/>
                  </a:moveTo>
                  <a:cubicBezTo>
                    <a:pt x="991" y="2764"/>
                    <a:pt x="991" y="2764"/>
                    <a:pt x="991" y="2764"/>
                  </a:cubicBezTo>
                  <a:cubicBezTo>
                    <a:pt x="1135" y="2764"/>
                    <a:pt x="1135" y="2764"/>
                    <a:pt x="1135" y="2764"/>
                  </a:cubicBezTo>
                  <a:cubicBezTo>
                    <a:pt x="1135" y="3611"/>
                    <a:pt x="1135" y="3611"/>
                    <a:pt x="1135" y="3611"/>
                  </a:cubicBezTo>
                  <a:lnTo>
                    <a:pt x="724" y="3611"/>
                  </a:lnTo>
                  <a:close/>
                  <a:moveTo>
                    <a:pt x="1650" y="3611"/>
                  </a:moveTo>
                  <a:cubicBezTo>
                    <a:pt x="1239" y="3611"/>
                    <a:pt x="1239" y="3611"/>
                    <a:pt x="1239" y="3611"/>
                  </a:cubicBezTo>
                  <a:cubicBezTo>
                    <a:pt x="1239" y="2764"/>
                    <a:pt x="1239" y="2764"/>
                    <a:pt x="1239" y="2764"/>
                  </a:cubicBezTo>
                  <a:cubicBezTo>
                    <a:pt x="1384" y="2764"/>
                    <a:pt x="1384" y="2764"/>
                    <a:pt x="1384" y="2764"/>
                  </a:cubicBezTo>
                  <a:lnTo>
                    <a:pt x="1650" y="361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1618646" y="3599293"/>
              <a:ext cx="1516944" cy="2398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1407783" y="3749026"/>
              <a:ext cx="440767" cy="537224"/>
              <a:chOff x="3016250" y="2838911"/>
              <a:chExt cx="396875" cy="483727"/>
            </a:xfrm>
            <a:solidFill>
              <a:schemeClr val="accent1"/>
            </a:solidFill>
          </p:grpSpPr>
          <p:sp>
            <p:nvSpPr>
              <p:cNvPr id="60" name="Oval 10"/>
              <p:cNvSpPr>
                <a:spLocks noChangeArrowheads="1"/>
              </p:cNvSpPr>
              <p:nvPr/>
            </p:nvSpPr>
            <p:spPr bwMode="auto">
              <a:xfrm>
                <a:off x="3124086" y="2838911"/>
                <a:ext cx="181204" cy="1829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61" name="Freeform 11"/>
              <p:cNvSpPr>
                <a:spLocks/>
              </p:cNvSpPr>
              <p:nvPr/>
            </p:nvSpPr>
            <p:spPr bwMode="auto">
              <a:xfrm>
                <a:off x="3016250" y="3040063"/>
                <a:ext cx="396875" cy="282575"/>
              </a:xfrm>
              <a:custGeom>
                <a:avLst/>
                <a:gdLst>
                  <a:gd name="T0" fmla="*/ 1706 w 1706"/>
                  <a:gd name="T1" fmla="*/ 1210 h 1210"/>
                  <a:gd name="T2" fmla="*/ 1706 w 1706"/>
                  <a:gd name="T3" fmla="*/ 596 h 1210"/>
                  <a:gd name="T4" fmla="*/ 1592 w 1706"/>
                  <a:gd name="T5" fmla="*/ 258 h 1210"/>
                  <a:gd name="T6" fmla="*/ 1095 w 1706"/>
                  <a:gd name="T7" fmla="*/ 20 h 1210"/>
                  <a:gd name="T8" fmla="*/ 611 w 1706"/>
                  <a:gd name="T9" fmla="*/ 20 h 1210"/>
                  <a:gd name="T10" fmla="*/ 114 w 1706"/>
                  <a:gd name="T11" fmla="*/ 258 h 1210"/>
                  <a:gd name="T12" fmla="*/ 0 w 1706"/>
                  <a:gd name="T13" fmla="*/ 596 h 1210"/>
                  <a:gd name="T14" fmla="*/ 0 w 1706"/>
                  <a:gd name="T15" fmla="*/ 1210 h 1210"/>
                  <a:gd name="T16" fmla="*/ 1706 w 1706"/>
                  <a:gd name="T17" fmla="*/ 121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6" h="1210">
                    <a:moveTo>
                      <a:pt x="1706" y="1210"/>
                    </a:moveTo>
                    <a:cubicBezTo>
                      <a:pt x="1706" y="1071"/>
                      <a:pt x="1706" y="640"/>
                      <a:pt x="1706" y="596"/>
                    </a:cubicBezTo>
                    <a:cubicBezTo>
                      <a:pt x="1706" y="523"/>
                      <a:pt x="1693" y="351"/>
                      <a:pt x="1592" y="258"/>
                    </a:cubicBezTo>
                    <a:cubicBezTo>
                      <a:pt x="1425" y="103"/>
                      <a:pt x="1131" y="34"/>
                      <a:pt x="1095" y="20"/>
                    </a:cubicBezTo>
                    <a:cubicBezTo>
                      <a:pt x="1045" y="0"/>
                      <a:pt x="644" y="5"/>
                      <a:pt x="611" y="20"/>
                    </a:cubicBezTo>
                    <a:cubicBezTo>
                      <a:pt x="575" y="34"/>
                      <a:pt x="281" y="103"/>
                      <a:pt x="114" y="258"/>
                    </a:cubicBezTo>
                    <a:cubicBezTo>
                      <a:pt x="13" y="351"/>
                      <a:pt x="0" y="523"/>
                      <a:pt x="0" y="596"/>
                    </a:cubicBezTo>
                    <a:cubicBezTo>
                      <a:pt x="0" y="640"/>
                      <a:pt x="0" y="1071"/>
                      <a:pt x="0" y="1210"/>
                    </a:cubicBezTo>
                    <a:lnTo>
                      <a:pt x="1706" y="1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2320857" y="1969445"/>
              <a:ext cx="822181" cy="949368"/>
              <a:chOff x="2233930" y="1612106"/>
              <a:chExt cx="947420" cy="1093982"/>
            </a:xfrm>
          </p:grpSpPr>
          <p:sp>
            <p:nvSpPr>
              <p:cNvPr id="63" name="Rectangle 62"/>
              <p:cNvSpPr/>
              <p:nvPr/>
            </p:nvSpPr>
            <p:spPr>
              <a:xfrm>
                <a:off x="2233930" y="1612106"/>
                <a:ext cx="947420" cy="10939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2279015" y="1647825"/>
                <a:ext cx="857250" cy="76200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279015" y="1755868"/>
                <a:ext cx="857250" cy="26870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2859881" y="2055019"/>
                <a:ext cx="276384" cy="616744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440779" y="1827066"/>
                <a:ext cx="461806" cy="1063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600">
                    <a:solidFill>
                      <a:schemeClr val="bg1"/>
                    </a:solidFill>
                    <a:latin typeface="+mj-lt"/>
                  </a:rPr>
                  <a:t>Slider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2279015" y="2055019"/>
                <a:ext cx="548006" cy="616744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2322114" y="2296273"/>
                <a:ext cx="461806" cy="1063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600">
                    <a:solidFill>
                      <a:schemeClr val="bg1"/>
                    </a:solidFill>
                    <a:latin typeface="+mj-lt"/>
                  </a:rPr>
                  <a:t>Content</a:t>
                </a:r>
              </a:p>
            </p:txBody>
          </p:sp>
          <p:sp>
            <p:nvSpPr>
              <p:cNvPr id="70" name="TextBox 69"/>
              <p:cNvSpPr txBox="1"/>
              <p:nvPr/>
            </p:nvSpPr>
            <p:spPr>
              <a:xfrm>
                <a:off x="2852260" y="2296273"/>
                <a:ext cx="281466" cy="1063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600">
                    <a:solidFill>
                      <a:schemeClr val="bg1"/>
                    </a:solidFill>
                    <a:latin typeface="+mj-lt"/>
                  </a:rPr>
                  <a:t>Ads</a:t>
                </a: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>
              <a:off x="1914813" y="3749026"/>
              <a:ext cx="440767" cy="537224"/>
              <a:chOff x="3016250" y="2838911"/>
              <a:chExt cx="396875" cy="483727"/>
            </a:xfrm>
            <a:solidFill>
              <a:schemeClr val="accent1"/>
            </a:solidFill>
          </p:grpSpPr>
          <p:sp>
            <p:nvSpPr>
              <p:cNvPr id="82" name="Oval 10"/>
              <p:cNvSpPr>
                <a:spLocks noChangeArrowheads="1"/>
              </p:cNvSpPr>
              <p:nvPr/>
            </p:nvSpPr>
            <p:spPr bwMode="auto">
              <a:xfrm>
                <a:off x="3124086" y="2838911"/>
                <a:ext cx="181204" cy="1829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3" name="Freeform 11"/>
              <p:cNvSpPr>
                <a:spLocks/>
              </p:cNvSpPr>
              <p:nvPr/>
            </p:nvSpPr>
            <p:spPr bwMode="auto">
              <a:xfrm>
                <a:off x="3016250" y="3040063"/>
                <a:ext cx="396875" cy="282575"/>
              </a:xfrm>
              <a:custGeom>
                <a:avLst/>
                <a:gdLst>
                  <a:gd name="T0" fmla="*/ 1706 w 1706"/>
                  <a:gd name="T1" fmla="*/ 1210 h 1210"/>
                  <a:gd name="T2" fmla="*/ 1706 w 1706"/>
                  <a:gd name="T3" fmla="*/ 596 h 1210"/>
                  <a:gd name="T4" fmla="*/ 1592 w 1706"/>
                  <a:gd name="T5" fmla="*/ 258 h 1210"/>
                  <a:gd name="T6" fmla="*/ 1095 w 1706"/>
                  <a:gd name="T7" fmla="*/ 20 h 1210"/>
                  <a:gd name="T8" fmla="*/ 611 w 1706"/>
                  <a:gd name="T9" fmla="*/ 20 h 1210"/>
                  <a:gd name="T10" fmla="*/ 114 w 1706"/>
                  <a:gd name="T11" fmla="*/ 258 h 1210"/>
                  <a:gd name="T12" fmla="*/ 0 w 1706"/>
                  <a:gd name="T13" fmla="*/ 596 h 1210"/>
                  <a:gd name="T14" fmla="*/ 0 w 1706"/>
                  <a:gd name="T15" fmla="*/ 1210 h 1210"/>
                  <a:gd name="T16" fmla="*/ 1706 w 1706"/>
                  <a:gd name="T17" fmla="*/ 121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6" h="1210">
                    <a:moveTo>
                      <a:pt x="1706" y="1210"/>
                    </a:moveTo>
                    <a:cubicBezTo>
                      <a:pt x="1706" y="1071"/>
                      <a:pt x="1706" y="640"/>
                      <a:pt x="1706" y="596"/>
                    </a:cubicBezTo>
                    <a:cubicBezTo>
                      <a:pt x="1706" y="523"/>
                      <a:pt x="1693" y="351"/>
                      <a:pt x="1592" y="258"/>
                    </a:cubicBezTo>
                    <a:cubicBezTo>
                      <a:pt x="1425" y="103"/>
                      <a:pt x="1131" y="34"/>
                      <a:pt x="1095" y="20"/>
                    </a:cubicBezTo>
                    <a:cubicBezTo>
                      <a:pt x="1045" y="0"/>
                      <a:pt x="644" y="5"/>
                      <a:pt x="611" y="20"/>
                    </a:cubicBezTo>
                    <a:cubicBezTo>
                      <a:pt x="575" y="34"/>
                      <a:pt x="281" y="103"/>
                      <a:pt x="114" y="258"/>
                    </a:cubicBezTo>
                    <a:cubicBezTo>
                      <a:pt x="13" y="351"/>
                      <a:pt x="0" y="523"/>
                      <a:pt x="0" y="596"/>
                    </a:cubicBezTo>
                    <a:cubicBezTo>
                      <a:pt x="0" y="640"/>
                      <a:pt x="0" y="1071"/>
                      <a:pt x="0" y="1210"/>
                    </a:cubicBezTo>
                    <a:lnTo>
                      <a:pt x="1706" y="1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2421843" y="3749026"/>
              <a:ext cx="440767" cy="537224"/>
              <a:chOff x="3016250" y="2838911"/>
              <a:chExt cx="396875" cy="483727"/>
            </a:xfrm>
            <a:solidFill>
              <a:schemeClr val="accent1"/>
            </a:solidFill>
          </p:grpSpPr>
          <p:sp>
            <p:nvSpPr>
              <p:cNvPr id="85" name="Oval 10"/>
              <p:cNvSpPr>
                <a:spLocks noChangeArrowheads="1"/>
              </p:cNvSpPr>
              <p:nvPr/>
            </p:nvSpPr>
            <p:spPr bwMode="auto">
              <a:xfrm>
                <a:off x="3124086" y="2838911"/>
                <a:ext cx="181204" cy="1829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6" name="Freeform 11"/>
              <p:cNvSpPr>
                <a:spLocks/>
              </p:cNvSpPr>
              <p:nvPr/>
            </p:nvSpPr>
            <p:spPr bwMode="auto">
              <a:xfrm>
                <a:off x="3016250" y="3040063"/>
                <a:ext cx="396875" cy="282575"/>
              </a:xfrm>
              <a:custGeom>
                <a:avLst/>
                <a:gdLst>
                  <a:gd name="T0" fmla="*/ 1706 w 1706"/>
                  <a:gd name="T1" fmla="*/ 1210 h 1210"/>
                  <a:gd name="T2" fmla="*/ 1706 w 1706"/>
                  <a:gd name="T3" fmla="*/ 596 h 1210"/>
                  <a:gd name="T4" fmla="*/ 1592 w 1706"/>
                  <a:gd name="T5" fmla="*/ 258 h 1210"/>
                  <a:gd name="T6" fmla="*/ 1095 w 1706"/>
                  <a:gd name="T7" fmla="*/ 20 h 1210"/>
                  <a:gd name="T8" fmla="*/ 611 w 1706"/>
                  <a:gd name="T9" fmla="*/ 20 h 1210"/>
                  <a:gd name="T10" fmla="*/ 114 w 1706"/>
                  <a:gd name="T11" fmla="*/ 258 h 1210"/>
                  <a:gd name="T12" fmla="*/ 0 w 1706"/>
                  <a:gd name="T13" fmla="*/ 596 h 1210"/>
                  <a:gd name="T14" fmla="*/ 0 w 1706"/>
                  <a:gd name="T15" fmla="*/ 1210 h 1210"/>
                  <a:gd name="T16" fmla="*/ 1706 w 1706"/>
                  <a:gd name="T17" fmla="*/ 121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6" h="1210">
                    <a:moveTo>
                      <a:pt x="1706" y="1210"/>
                    </a:moveTo>
                    <a:cubicBezTo>
                      <a:pt x="1706" y="1071"/>
                      <a:pt x="1706" y="640"/>
                      <a:pt x="1706" y="596"/>
                    </a:cubicBezTo>
                    <a:cubicBezTo>
                      <a:pt x="1706" y="523"/>
                      <a:pt x="1693" y="351"/>
                      <a:pt x="1592" y="258"/>
                    </a:cubicBezTo>
                    <a:cubicBezTo>
                      <a:pt x="1425" y="103"/>
                      <a:pt x="1131" y="34"/>
                      <a:pt x="1095" y="20"/>
                    </a:cubicBezTo>
                    <a:cubicBezTo>
                      <a:pt x="1045" y="0"/>
                      <a:pt x="644" y="5"/>
                      <a:pt x="611" y="20"/>
                    </a:cubicBezTo>
                    <a:cubicBezTo>
                      <a:pt x="575" y="34"/>
                      <a:pt x="281" y="103"/>
                      <a:pt x="114" y="258"/>
                    </a:cubicBezTo>
                    <a:cubicBezTo>
                      <a:pt x="13" y="351"/>
                      <a:pt x="0" y="523"/>
                      <a:pt x="0" y="596"/>
                    </a:cubicBezTo>
                    <a:cubicBezTo>
                      <a:pt x="0" y="640"/>
                      <a:pt x="0" y="1071"/>
                      <a:pt x="0" y="1210"/>
                    </a:cubicBezTo>
                    <a:lnTo>
                      <a:pt x="1706" y="1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2928872" y="3749026"/>
              <a:ext cx="440767" cy="537224"/>
              <a:chOff x="3016250" y="2838911"/>
              <a:chExt cx="396875" cy="483727"/>
            </a:xfrm>
            <a:solidFill>
              <a:schemeClr val="accent1"/>
            </a:solidFill>
          </p:grpSpPr>
          <p:sp>
            <p:nvSpPr>
              <p:cNvPr id="88" name="Oval 10"/>
              <p:cNvSpPr>
                <a:spLocks noChangeArrowheads="1"/>
              </p:cNvSpPr>
              <p:nvPr/>
            </p:nvSpPr>
            <p:spPr bwMode="auto">
              <a:xfrm>
                <a:off x="3124086" y="2838911"/>
                <a:ext cx="181204" cy="1829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89" name="Freeform 11"/>
              <p:cNvSpPr>
                <a:spLocks/>
              </p:cNvSpPr>
              <p:nvPr/>
            </p:nvSpPr>
            <p:spPr bwMode="auto">
              <a:xfrm>
                <a:off x="3016250" y="3040063"/>
                <a:ext cx="396875" cy="282575"/>
              </a:xfrm>
              <a:custGeom>
                <a:avLst/>
                <a:gdLst>
                  <a:gd name="T0" fmla="*/ 1706 w 1706"/>
                  <a:gd name="T1" fmla="*/ 1210 h 1210"/>
                  <a:gd name="T2" fmla="*/ 1706 w 1706"/>
                  <a:gd name="T3" fmla="*/ 596 h 1210"/>
                  <a:gd name="T4" fmla="*/ 1592 w 1706"/>
                  <a:gd name="T5" fmla="*/ 258 h 1210"/>
                  <a:gd name="T6" fmla="*/ 1095 w 1706"/>
                  <a:gd name="T7" fmla="*/ 20 h 1210"/>
                  <a:gd name="T8" fmla="*/ 611 w 1706"/>
                  <a:gd name="T9" fmla="*/ 20 h 1210"/>
                  <a:gd name="T10" fmla="*/ 114 w 1706"/>
                  <a:gd name="T11" fmla="*/ 258 h 1210"/>
                  <a:gd name="T12" fmla="*/ 0 w 1706"/>
                  <a:gd name="T13" fmla="*/ 596 h 1210"/>
                  <a:gd name="T14" fmla="*/ 0 w 1706"/>
                  <a:gd name="T15" fmla="*/ 1210 h 1210"/>
                  <a:gd name="T16" fmla="*/ 1706 w 1706"/>
                  <a:gd name="T17" fmla="*/ 121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6" h="1210">
                    <a:moveTo>
                      <a:pt x="1706" y="1210"/>
                    </a:moveTo>
                    <a:cubicBezTo>
                      <a:pt x="1706" y="1071"/>
                      <a:pt x="1706" y="640"/>
                      <a:pt x="1706" y="596"/>
                    </a:cubicBezTo>
                    <a:cubicBezTo>
                      <a:pt x="1706" y="523"/>
                      <a:pt x="1693" y="351"/>
                      <a:pt x="1592" y="258"/>
                    </a:cubicBezTo>
                    <a:cubicBezTo>
                      <a:pt x="1425" y="103"/>
                      <a:pt x="1131" y="34"/>
                      <a:pt x="1095" y="20"/>
                    </a:cubicBezTo>
                    <a:cubicBezTo>
                      <a:pt x="1045" y="0"/>
                      <a:pt x="644" y="5"/>
                      <a:pt x="611" y="20"/>
                    </a:cubicBezTo>
                    <a:cubicBezTo>
                      <a:pt x="575" y="34"/>
                      <a:pt x="281" y="103"/>
                      <a:pt x="114" y="258"/>
                    </a:cubicBezTo>
                    <a:cubicBezTo>
                      <a:pt x="13" y="351"/>
                      <a:pt x="0" y="523"/>
                      <a:pt x="0" y="596"/>
                    </a:cubicBezTo>
                    <a:cubicBezTo>
                      <a:pt x="0" y="640"/>
                      <a:pt x="0" y="1071"/>
                      <a:pt x="0" y="1210"/>
                    </a:cubicBezTo>
                    <a:lnTo>
                      <a:pt x="1706" y="1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1560492" y="2056322"/>
              <a:ext cx="973095" cy="1673226"/>
              <a:chOff x="793750" y="2125663"/>
              <a:chExt cx="871538" cy="1498600"/>
            </a:xfrm>
            <a:solidFill>
              <a:schemeClr val="accent2"/>
            </a:solidFill>
          </p:grpSpPr>
          <p:sp>
            <p:nvSpPr>
              <p:cNvPr id="43" name="Oval 5"/>
              <p:cNvSpPr>
                <a:spLocks noChangeArrowheads="1"/>
              </p:cNvSpPr>
              <p:nvPr/>
            </p:nvSpPr>
            <p:spPr bwMode="auto">
              <a:xfrm>
                <a:off x="971550" y="2125663"/>
                <a:ext cx="230188" cy="2317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4" name="Freeform 6"/>
              <p:cNvSpPr>
                <a:spLocks/>
              </p:cNvSpPr>
              <p:nvPr/>
            </p:nvSpPr>
            <p:spPr bwMode="auto">
              <a:xfrm>
                <a:off x="793750" y="2381250"/>
                <a:ext cx="871538" cy="1243013"/>
              </a:xfrm>
              <a:custGeom>
                <a:avLst/>
                <a:gdLst>
                  <a:gd name="T0" fmla="*/ 974 w 1032"/>
                  <a:gd name="T1" fmla="*/ 0 h 1473"/>
                  <a:gd name="T2" fmla="*/ 448 w 1032"/>
                  <a:gd name="T3" fmla="*/ 0 h 1473"/>
                  <a:gd name="T4" fmla="*/ 433 w 1032"/>
                  <a:gd name="T5" fmla="*/ 111 h 1473"/>
                  <a:gd name="T6" fmla="*/ 399 w 1032"/>
                  <a:gd name="T7" fmla="*/ 223 h 1473"/>
                  <a:gd name="T8" fmla="*/ 379 w 1032"/>
                  <a:gd name="T9" fmla="*/ 140 h 1473"/>
                  <a:gd name="T10" fmla="*/ 362 w 1032"/>
                  <a:gd name="T11" fmla="*/ 96 h 1473"/>
                  <a:gd name="T12" fmla="*/ 391 w 1032"/>
                  <a:gd name="T13" fmla="*/ 67 h 1473"/>
                  <a:gd name="T14" fmla="*/ 348 w 1032"/>
                  <a:gd name="T15" fmla="*/ 26 h 1473"/>
                  <a:gd name="T16" fmla="*/ 305 w 1032"/>
                  <a:gd name="T17" fmla="*/ 67 h 1473"/>
                  <a:gd name="T18" fmla="*/ 334 w 1032"/>
                  <a:gd name="T19" fmla="*/ 96 h 1473"/>
                  <a:gd name="T20" fmla="*/ 317 w 1032"/>
                  <a:gd name="T21" fmla="*/ 140 h 1473"/>
                  <a:gd name="T22" fmla="*/ 297 w 1032"/>
                  <a:gd name="T23" fmla="*/ 223 h 1473"/>
                  <a:gd name="T24" fmla="*/ 264 w 1032"/>
                  <a:gd name="T25" fmla="*/ 111 h 1473"/>
                  <a:gd name="T26" fmla="*/ 249 w 1032"/>
                  <a:gd name="T27" fmla="*/ 0 h 1473"/>
                  <a:gd name="T28" fmla="*/ 143 w 1032"/>
                  <a:gd name="T29" fmla="*/ 0 h 1473"/>
                  <a:gd name="T30" fmla="*/ 0 w 1032"/>
                  <a:gd name="T31" fmla="*/ 143 h 1473"/>
                  <a:gd name="T32" fmla="*/ 0 w 1032"/>
                  <a:gd name="T33" fmla="*/ 660 h 1473"/>
                  <a:gd name="T34" fmla="*/ 58 w 1032"/>
                  <a:gd name="T35" fmla="*/ 718 h 1473"/>
                  <a:gd name="T36" fmla="*/ 114 w 1032"/>
                  <a:gd name="T37" fmla="*/ 660 h 1473"/>
                  <a:gd name="T38" fmla="*/ 114 w 1032"/>
                  <a:gd name="T39" fmla="*/ 229 h 1473"/>
                  <a:gd name="T40" fmla="*/ 170 w 1032"/>
                  <a:gd name="T41" fmla="*/ 229 h 1473"/>
                  <a:gd name="T42" fmla="*/ 170 w 1032"/>
                  <a:gd name="T43" fmla="*/ 1396 h 1473"/>
                  <a:gd name="T44" fmla="*/ 248 w 1032"/>
                  <a:gd name="T45" fmla="*/ 1473 h 1473"/>
                  <a:gd name="T46" fmla="*/ 325 w 1032"/>
                  <a:gd name="T47" fmla="*/ 1396 h 1473"/>
                  <a:gd name="T48" fmla="*/ 325 w 1032"/>
                  <a:gd name="T49" fmla="*/ 708 h 1473"/>
                  <a:gd name="T50" fmla="*/ 373 w 1032"/>
                  <a:gd name="T51" fmla="*/ 708 h 1473"/>
                  <a:gd name="T52" fmla="*/ 373 w 1032"/>
                  <a:gd name="T53" fmla="*/ 1396 h 1473"/>
                  <a:gd name="T54" fmla="*/ 450 w 1032"/>
                  <a:gd name="T55" fmla="*/ 1473 h 1473"/>
                  <a:gd name="T56" fmla="*/ 527 w 1032"/>
                  <a:gd name="T57" fmla="*/ 1396 h 1473"/>
                  <a:gd name="T58" fmla="*/ 527 w 1032"/>
                  <a:gd name="T59" fmla="*/ 653 h 1473"/>
                  <a:gd name="T60" fmla="*/ 527 w 1032"/>
                  <a:gd name="T61" fmla="*/ 133 h 1473"/>
                  <a:gd name="T62" fmla="*/ 527 w 1032"/>
                  <a:gd name="T63" fmla="*/ 111 h 1473"/>
                  <a:gd name="T64" fmla="*/ 989 w 1032"/>
                  <a:gd name="T65" fmla="*/ 111 h 1473"/>
                  <a:gd name="T66" fmla="*/ 1032 w 1032"/>
                  <a:gd name="T67" fmla="*/ 57 h 1473"/>
                  <a:gd name="T68" fmla="*/ 974 w 1032"/>
                  <a:gd name="T69" fmla="*/ 0 h 1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32" h="1473">
                    <a:moveTo>
                      <a:pt x="974" y="0"/>
                    </a:moveTo>
                    <a:cubicBezTo>
                      <a:pt x="826" y="0"/>
                      <a:pt x="474" y="0"/>
                      <a:pt x="448" y="0"/>
                    </a:cubicBezTo>
                    <a:cubicBezTo>
                      <a:pt x="447" y="13"/>
                      <a:pt x="443" y="61"/>
                      <a:pt x="433" y="111"/>
                    </a:cubicBezTo>
                    <a:cubicBezTo>
                      <a:pt x="427" y="141"/>
                      <a:pt x="399" y="223"/>
                      <a:pt x="399" y="223"/>
                    </a:cubicBezTo>
                    <a:cubicBezTo>
                      <a:pt x="399" y="223"/>
                      <a:pt x="384" y="160"/>
                      <a:pt x="379" y="140"/>
                    </a:cubicBezTo>
                    <a:cubicBezTo>
                      <a:pt x="375" y="127"/>
                      <a:pt x="362" y="96"/>
                      <a:pt x="362" y="96"/>
                    </a:cubicBezTo>
                    <a:cubicBezTo>
                      <a:pt x="391" y="67"/>
                      <a:pt x="391" y="67"/>
                      <a:pt x="391" y="67"/>
                    </a:cubicBezTo>
                    <a:cubicBezTo>
                      <a:pt x="348" y="26"/>
                      <a:pt x="348" y="26"/>
                      <a:pt x="348" y="26"/>
                    </a:cubicBezTo>
                    <a:cubicBezTo>
                      <a:pt x="305" y="67"/>
                      <a:pt x="305" y="67"/>
                      <a:pt x="305" y="67"/>
                    </a:cubicBezTo>
                    <a:cubicBezTo>
                      <a:pt x="334" y="96"/>
                      <a:pt x="334" y="96"/>
                      <a:pt x="334" y="96"/>
                    </a:cubicBezTo>
                    <a:cubicBezTo>
                      <a:pt x="334" y="96"/>
                      <a:pt x="321" y="127"/>
                      <a:pt x="317" y="140"/>
                    </a:cubicBezTo>
                    <a:cubicBezTo>
                      <a:pt x="312" y="160"/>
                      <a:pt x="297" y="223"/>
                      <a:pt x="297" y="223"/>
                    </a:cubicBezTo>
                    <a:cubicBezTo>
                      <a:pt x="297" y="223"/>
                      <a:pt x="270" y="141"/>
                      <a:pt x="264" y="111"/>
                    </a:cubicBezTo>
                    <a:cubicBezTo>
                      <a:pt x="254" y="61"/>
                      <a:pt x="250" y="13"/>
                      <a:pt x="24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64" y="0"/>
                      <a:pt x="0" y="64"/>
                      <a:pt x="0" y="143"/>
                    </a:cubicBezTo>
                    <a:cubicBezTo>
                      <a:pt x="0" y="205"/>
                      <a:pt x="0" y="660"/>
                      <a:pt x="0" y="660"/>
                    </a:cubicBezTo>
                    <a:cubicBezTo>
                      <a:pt x="0" y="692"/>
                      <a:pt x="26" y="718"/>
                      <a:pt x="58" y="718"/>
                    </a:cubicBezTo>
                    <a:cubicBezTo>
                      <a:pt x="88" y="718"/>
                      <a:pt x="114" y="692"/>
                      <a:pt x="114" y="660"/>
                    </a:cubicBezTo>
                    <a:cubicBezTo>
                      <a:pt x="114" y="611"/>
                      <a:pt x="114" y="229"/>
                      <a:pt x="114" y="229"/>
                    </a:cubicBezTo>
                    <a:cubicBezTo>
                      <a:pt x="170" y="229"/>
                      <a:pt x="170" y="229"/>
                      <a:pt x="170" y="229"/>
                    </a:cubicBezTo>
                    <a:cubicBezTo>
                      <a:pt x="170" y="594"/>
                      <a:pt x="170" y="1396"/>
                      <a:pt x="170" y="1396"/>
                    </a:cubicBezTo>
                    <a:cubicBezTo>
                      <a:pt x="170" y="1440"/>
                      <a:pt x="205" y="1473"/>
                      <a:pt x="248" y="1473"/>
                    </a:cubicBezTo>
                    <a:cubicBezTo>
                      <a:pt x="290" y="1473"/>
                      <a:pt x="325" y="1440"/>
                      <a:pt x="325" y="1396"/>
                    </a:cubicBezTo>
                    <a:cubicBezTo>
                      <a:pt x="325" y="708"/>
                      <a:pt x="325" y="708"/>
                      <a:pt x="325" y="708"/>
                    </a:cubicBezTo>
                    <a:cubicBezTo>
                      <a:pt x="373" y="708"/>
                      <a:pt x="373" y="708"/>
                      <a:pt x="373" y="708"/>
                    </a:cubicBezTo>
                    <a:cubicBezTo>
                      <a:pt x="373" y="1396"/>
                      <a:pt x="373" y="1396"/>
                      <a:pt x="373" y="1396"/>
                    </a:cubicBezTo>
                    <a:cubicBezTo>
                      <a:pt x="373" y="1440"/>
                      <a:pt x="407" y="1473"/>
                      <a:pt x="450" y="1473"/>
                    </a:cubicBezTo>
                    <a:cubicBezTo>
                      <a:pt x="491" y="1473"/>
                      <a:pt x="527" y="1440"/>
                      <a:pt x="527" y="1396"/>
                    </a:cubicBezTo>
                    <a:cubicBezTo>
                      <a:pt x="527" y="1103"/>
                      <a:pt x="527" y="852"/>
                      <a:pt x="527" y="653"/>
                    </a:cubicBezTo>
                    <a:cubicBezTo>
                      <a:pt x="527" y="321"/>
                      <a:pt x="527" y="133"/>
                      <a:pt x="527" y="133"/>
                    </a:cubicBezTo>
                    <a:cubicBezTo>
                      <a:pt x="527" y="111"/>
                      <a:pt x="527" y="111"/>
                      <a:pt x="527" y="111"/>
                    </a:cubicBezTo>
                    <a:cubicBezTo>
                      <a:pt x="989" y="111"/>
                      <a:pt x="989" y="111"/>
                      <a:pt x="989" y="111"/>
                    </a:cubicBezTo>
                    <a:cubicBezTo>
                      <a:pt x="1014" y="105"/>
                      <a:pt x="1032" y="83"/>
                      <a:pt x="1032" y="57"/>
                    </a:cubicBezTo>
                    <a:cubicBezTo>
                      <a:pt x="1032" y="25"/>
                      <a:pt x="1006" y="0"/>
                      <a:pt x="97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405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/>
        </p:nvSpPr>
        <p:spPr>
          <a:xfrm>
            <a:off x="4295755" y="1327150"/>
            <a:ext cx="552490" cy="55249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7" name="Straight Connector 16"/>
          <p:cNvCxnSpPr>
            <a:stCxn id="16" idx="4"/>
          </p:cNvCxnSpPr>
          <p:nvPr/>
        </p:nvCxnSpPr>
        <p:spPr>
          <a:xfrm>
            <a:off x="4572000" y="1879640"/>
            <a:ext cx="0" cy="326386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381902" y="1464895"/>
            <a:ext cx="3293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b="1" cap="all" spc="2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cxnSp>
        <p:nvCxnSpPr>
          <p:cNvPr id="21" name="Straight Connector 20"/>
          <p:cNvCxnSpPr>
            <a:endCxn id="16" idx="0"/>
          </p:cNvCxnSpPr>
          <p:nvPr/>
        </p:nvCxnSpPr>
        <p:spPr>
          <a:xfrm>
            <a:off x="4572000" y="0"/>
            <a:ext cx="0" cy="132715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eform 21"/>
          <p:cNvSpPr>
            <a:spLocks/>
          </p:cNvSpPr>
          <p:nvPr/>
        </p:nvSpPr>
        <p:spPr bwMode="auto">
          <a:xfrm>
            <a:off x="6456363" y="2424113"/>
            <a:ext cx="960437" cy="1249363"/>
          </a:xfrm>
          <a:custGeom>
            <a:avLst/>
            <a:gdLst>
              <a:gd name="T0" fmla="*/ 1815 w 1934"/>
              <a:gd name="T1" fmla="*/ 2275 h 2515"/>
              <a:gd name="T2" fmla="*/ 1704 w 1934"/>
              <a:gd name="T3" fmla="*/ 2275 h 2515"/>
              <a:gd name="T4" fmla="*/ 1704 w 1934"/>
              <a:gd name="T5" fmla="*/ 315 h 2515"/>
              <a:gd name="T6" fmla="*/ 1777 w 1934"/>
              <a:gd name="T7" fmla="*/ 315 h 2515"/>
              <a:gd name="T8" fmla="*/ 1934 w 1934"/>
              <a:gd name="T9" fmla="*/ 158 h 2515"/>
              <a:gd name="T10" fmla="*/ 1777 w 1934"/>
              <a:gd name="T11" fmla="*/ 0 h 2515"/>
              <a:gd name="T12" fmla="*/ 157 w 1934"/>
              <a:gd name="T13" fmla="*/ 0 h 2515"/>
              <a:gd name="T14" fmla="*/ 0 w 1934"/>
              <a:gd name="T15" fmla="*/ 158 h 2515"/>
              <a:gd name="T16" fmla="*/ 157 w 1934"/>
              <a:gd name="T17" fmla="*/ 315 h 2515"/>
              <a:gd name="T18" fmla="*/ 1199 w 1934"/>
              <a:gd name="T19" fmla="*/ 315 h 2515"/>
              <a:gd name="T20" fmla="*/ 1199 w 1934"/>
              <a:gd name="T21" fmla="*/ 2275 h 2515"/>
              <a:gd name="T22" fmla="*/ 583 w 1934"/>
              <a:gd name="T23" fmla="*/ 2275 h 2515"/>
              <a:gd name="T24" fmla="*/ 464 w 1934"/>
              <a:gd name="T25" fmla="*/ 2395 h 2515"/>
              <a:gd name="T26" fmla="*/ 583 w 1934"/>
              <a:gd name="T27" fmla="*/ 2515 h 2515"/>
              <a:gd name="T28" fmla="*/ 1815 w 1934"/>
              <a:gd name="T29" fmla="*/ 2515 h 2515"/>
              <a:gd name="T30" fmla="*/ 1934 w 1934"/>
              <a:gd name="T31" fmla="*/ 2395 h 2515"/>
              <a:gd name="T32" fmla="*/ 1815 w 1934"/>
              <a:gd name="T33" fmla="*/ 2275 h 2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934" h="2515">
                <a:moveTo>
                  <a:pt x="1815" y="2275"/>
                </a:moveTo>
                <a:cubicBezTo>
                  <a:pt x="1704" y="2275"/>
                  <a:pt x="1704" y="2275"/>
                  <a:pt x="1704" y="2275"/>
                </a:cubicBezTo>
                <a:cubicBezTo>
                  <a:pt x="1704" y="315"/>
                  <a:pt x="1704" y="315"/>
                  <a:pt x="1704" y="315"/>
                </a:cubicBezTo>
                <a:cubicBezTo>
                  <a:pt x="1777" y="315"/>
                  <a:pt x="1777" y="315"/>
                  <a:pt x="1777" y="315"/>
                </a:cubicBezTo>
                <a:cubicBezTo>
                  <a:pt x="1864" y="315"/>
                  <a:pt x="1934" y="245"/>
                  <a:pt x="1934" y="158"/>
                </a:cubicBezTo>
                <a:cubicBezTo>
                  <a:pt x="1934" y="71"/>
                  <a:pt x="1864" y="0"/>
                  <a:pt x="177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70" y="0"/>
                  <a:pt x="0" y="71"/>
                  <a:pt x="0" y="158"/>
                </a:cubicBezTo>
                <a:cubicBezTo>
                  <a:pt x="0" y="245"/>
                  <a:pt x="70" y="315"/>
                  <a:pt x="157" y="315"/>
                </a:cubicBezTo>
                <a:cubicBezTo>
                  <a:pt x="1199" y="315"/>
                  <a:pt x="1199" y="315"/>
                  <a:pt x="1199" y="315"/>
                </a:cubicBezTo>
                <a:cubicBezTo>
                  <a:pt x="1199" y="2275"/>
                  <a:pt x="1199" y="2275"/>
                  <a:pt x="1199" y="2275"/>
                </a:cubicBezTo>
                <a:cubicBezTo>
                  <a:pt x="583" y="2275"/>
                  <a:pt x="583" y="2275"/>
                  <a:pt x="583" y="2275"/>
                </a:cubicBezTo>
                <a:cubicBezTo>
                  <a:pt x="517" y="2275"/>
                  <a:pt x="464" y="2329"/>
                  <a:pt x="464" y="2395"/>
                </a:cubicBezTo>
                <a:cubicBezTo>
                  <a:pt x="464" y="2461"/>
                  <a:pt x="517" y="2515"/>
                  <a:pt x="583" y="2515"/>
                </a:cubicBezTo>
                <a:cubicBezTo>
                  <a:pt x="1815" y="2515"/>
                  <a:pt x="1815" y="2515"/>
                  <a:pt x="1815" y="2515"/>
                </a:cubicBezTo>
                <a:cubicBezTo>
                  <a:pt x="1881" y="2515"/>
                  <a:pt x="1934" y="2461"/>
                  <a:pt x="1934" y="2395"/>
                </a:cubicBezTo>
                <a:cubicBezTo>
                  <a:pt x="1934" y="2329"/>
                  <a:pt x="1881" y="2275"/>
                  <a:pt x="1815" y="22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6" name="Freeform 22"/>
          <p:cNvSpPr>
            <a:spLocks/>
          </p:cNvSpPr>
          <p:nvPr/>
        </p:nvSpPr>
        <p:spPr bwMode="auto">
          <a:xfrm>
            <a:off x="6670675" y="1795463"/>
            <a:ext cx="744537" cy="601663"/>
          </a:xfrm>
          <a:custGeom>
            <a:avLst/>
            <a:gdLst>
              <a:gd name="T0" fmla="*/ 1418 w 1501"/>
              <a:gd name="T1" fmla="*/ 13 h 1212"/>
              <a:gd name="T2" fmla="*/ 1296 w 1501"/>
              <a:gd name="T3" fmla="*/ 103 h 1212"/>
              <a:gd name="T4" fmla="*/ 1076 w 1501"/>
              <a:gd name="T5" fmla="*/ 1017 h 1212"/>
              <a:gd name="T6" fmla="*/ 98 w 1501"/>
              <a:gd name="T7" fmla="*/ 1017 h 1212"/>
              <a:gd name="T8" fmla="*/ 0 w 1501"/>
              <a:gd name="T9" fmla="*/ 1115 h 1212"/>
              <a:gd name="T10" fmla="*/ 98 w 1501"/>
              <a:gd name="T11" fmla="*/ 1212 h 1212"/>
              <a:gd name="T12" fmla="*/ 1150 w 1501"/>
              <a:gd name="T13" fmla="*/ 1212 h 1212"/>
              <a:gd name="T14" fmla="*/ 1150 w 1501"/>
              <a:gd name="T15" fmla="*/ 1212 h 1212"/>
              <a:gd name="T16" fmla="*/ 1152 w 1501"/>
              <a:gd name="T17" fmla="*/ 1212 h 1212"/>
              <a:gd name="T18" fmla="*/ 1248 w 1501"/>
              <a:gd name="T19" fmla="*/ 1134 h 1212"/>
              <a:gd name="T20" fmla="*/ 1253 w 1501"/>
              <a:gd name="T21" fmla="*/ 1119 h 1212"/>
              <a:gd name="T22" fmla="*/ 1486 w 1501"/>
              <a:gd name="T23" fmla="*/ 149 h 1212"/>
              <a:gd name="T24" fmla="*/ 1418 w 1501"/>
              <a:gd name="T25" fmla="*/ 13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01" h="1212">
                <a:moveTo>
                  <a:pt x="1418" y="13"/>
                </a:moveTo>
                <a:cubicBezTo>
                  <a:pt x="1366" y="0"/>
                  <a:pt x="1311" y="41"/>
                  <a:pt x="1296" y="103"/>
                </a:cubicBezTo>
                <a:cubicBezTo>
                  <a:pt x="1076" y="1017"/>
                  <a:pt x="1076" y="1017"/>
                  <a:pt x="1076" y="1017"/>
                </a:cubicBezTo>
                <a:cubicBezTo>
                  <a:pt x="98" y="1017"/>
                  <a:pt x="98" y="1017"/>
                  <a:pt x="98" y="1017"/>
                </a:cubicBezTo>
                <a:cubicBezTo>
                  <a:pt x="44" y="1017"/>
                  <a:pt x="0" y="1061"/>
                  <a:pt x="0" y="1115"/>
                </a:cubicBezTo>
                <a:cubicBezTo>
                  <a:pt x="0" y="1169"/>
                  <a:pt x="44" y="1212"/>
                  <a:pt x="98" y="1212"/>
                </a:cubicBezTo>
                <a:cubicBezTo>
                  <a:pt x="1150" y="1212"/>
                  <a:pt x="1150" y="1212"/>
                  <a:pt x="1150" y="1212"/>
                </a:cubicBezTo>
                <a:cubicBezTo>
                  <a:pt x="1150" y="1212"/>
                  <a:pt x="1150" y="1212"/>
                  <a:pt x="1150" y="1212"/>
                </a:cubicBezTo>
                <a:cubicBezTo>
                  <a:pt x="1152" y="1212"/>
                  <a:pt x="1152" y="1212"/>
                  <a:pt x="1152" y="1212"/>
                </a:cubicBezTo>
                <a:cubicBezTo>
                  <a:pt x="1200" y="1212"/>
                  <a:pt x="1239" y="1179"/>
                  <a:pt x="1248" y="1134"/>
                </a:cubicBezTo>
                <a:cubicBezTo>
                  <a:pt x="1250" y="1129"/>
                  <a:pt x="1252" y="1124"/>
                  <a:pt x="1253" y="1119"/>
                </a:cubicBezTo>
                <a:cubicBezTo>
                  <a:pt x="1486" y="149"/>
                  <a:pt x="1486" y="149"/>
                  <a:pt x="1486" y="149"/>
                </a:cubicBezTo>
                <a:cubicBezTo>
                  <a:pt x="1501" y="86"/>
                  <a:pt x="1470" y="25"/>
                  <a:pt x="1418" y="1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5832475" y="1543050"/>
            <a:ext cx="854075" cy="1919288"/>
            <a:chOff x="1743075" y="1249363"/>
            <a:chExt cx="854075" cy="1919288"/>
          </a:xfrm>
          <a:solidFill>
            <a:schemeClr val="accent1"/>
          </a:solidFill>
        </p:grpSpPr>
        <p:sp>
          <p:nvSpPr>
            <p:cNvPr id="47" name="Freeform 23"/>
            <p:cNvSpPr>
              <a:spLocks/>
            </p:cNvSpPr>
            <p:nvPr/>
          </p:nvSpPr>
          <p:spPr bwMode="auto">
            <a:xfrm>
              <a:off x="1743075" y="1651001"/>
              <a:ext cx="854075" cy="1517650"/>
            </a:xfrm>
            <a:custGeom>
              <a:avLst/>
              <a:gdLst>
                <a:gd name="T0" fmla="*/ 0 w 1720"/>
                <a:gd name="T1" fmla="*/ 349 h 3056"/>
                <a:gd name="T2" fmla="*/ 349 w 1720"/>
                <a:gd name="T3" fmla="*/ 0 h 3056"/>
                <a:gd name="T4" fmla="*/ 595 w 1720"/>
                <a:gd name="T5" fmla="*/ 101 h 3056"/>
                <a:gd name="T6" fmla="*/ 624 w 1720"/>
                <a:gd name="T7" fmla="*/ 122 h 3056"/>
                <a:gd name="T8" fmla="*/ 1064 w 1720"/>
                <a:gd name="T9" fmla="*/ 562 h 3056"/>
                <a:gd name="T10" fmla="*/ 1593 w 1720"/>
                <a:gd name="T11" fmla="*/ 562 h 3056"/>
                <a:gd name="T12" fmla="*/ 1720 w 1720"/>
                <a:gd name="T13" fmla="*/ 689 h 3056"/>
                <a:gd name="T14" fmla="*/ 1593 w 1720"/>
                <a:gd name="T15" fmla="*/ 815 h 3056"/>
                <a:gd name="T16" fmla="*/ 1035 w 1720"/>
                <a:gd name="T17" fmla="*/ 815 h 3056"/>
                <a:gd name="T18" fmla="*/ 1035 w 1720"/>
                <a:gd name="T19" fmla="*/ 815 h 3056"/>
                <a:gd name="T20" fmla="*/ 1007 w 1720"/>
                <a:gd name="T21" fmla="*/ 815 h 3056"/>
                <a:gd name="T22" fmla="*/ 1007 w 1720"/>
                <a:gd name="T23" fmla="*/ 811 h 3056"/>
                <a:gd name="T24" fmla="*/ 953 w 1720"/>
                <a:gd name="T25" fmla="*/ 781 h 3056"/>
                <a:gd name="T26" fmla="*/ 698 w 1720"/>
                <a:gd name="T27" fmla="*/ 526 h 3056"/>
                <a:gd name="T28" fmla="*/ 698 w 1720"/>
                <a:gd name="T29" fmla="*/ 1322 h 3056"/>
                <a:gd name="T30" fmla="*/ 1505 w 1720"/>
                <a:gd name="T31" fmla="*/ 1322 h 3056"/>
                <a:gd name="T32" fmla="*/ 1518 w 1720"/>
                <a:gd name="T33" fmla="*/ 1323 h 3056"/>
                <a:gd name="T34" fmla="*/ 1530 w 1720"/>
                <a:gd name="T35" fmla="*/ 1322 h 3056"/>
                <a:gd name="T36" fmla="*/ 1720 w 1720"/>
                <a:gd name="T37" fmla="*/ 1512 h 3056"/>
                <a:gd name="T38" fmla="*/ 1720 w 1720"/>
                <a:gd name="T39" fmla="*/ 1537 h 3056"/>
                <a:gd name="T40" fmla="*/ 1720 w 1720"/>
                <a:gd name="T41" fmla="*/ 1537 h 3056"/>
                <a:gd name="T42" fmla="*/ 1720 w 1720"/>
                <a:gd name="T43" fmla="*/ 1537 h 3056"/>
                <a:gd name="T44" fmla="*/ 1720 w 1720"/>
                <a:gd name="T45" fmla="*/ 2866 h 3056"/>
                <a:gd name="T46" fmla="*/ 1530 w 1720"/>
                <a:gd name="T47" fmla="*/ 3056 h 3056"/>
                <a:gd name="T48" fmla="*/ 1340 w 1720"/>
                <a:gd name="T49" fmla="*/ 2866 h 3056"/>
                <a:gd name="T50" fmla="*/ 1340 w 1720"/>
                <a:gd name="T51" fmla="*/ 1752 h 3056"/>
                <a:gd name="T52" fmla="*/ 215 w 1720"/>
                <a:gd name="T53" fmla="*/ 1752 h 3056"/>
                <a:gd name="T54" fmla="*/ 0 w 1720"/>
                <a:gd name="T55" fmla="*/ 1537 h 3056"/>
                <a:gd name="T56" fmla="*/ 0 w 1720"/>
                <a:gd name="T57" fmla="*/ 1403 h 3056"/>
                <a:gd name="T58" fmla="*/ 0 w 1720"/>
                <a:gd name="T59" fmla="*/ 349 h 3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20" h="3056">
                  <a:moveTo>
                    <a:pt x="0" y="349"/>
                  </a:moveTo>
                  <a:cubicBezTo>
                    <a:pt x="0" y="156"/>
                    <a:pt x="156" y="0"/>
                    <a:pt x="349" y="0"/>
                  </a:cubicBezTo>
                  <a:cubicBezTo>
                    <a:pt x="445" y="0"/>
                    <a:pt x="531" y="38"/>
                    <a:pt x="595" y="101"/>
                  </a:cubicBezTo>
                  <a:cubicBezTo>
                    <a:pt x="605" y="106"/>
                    <a:pt x="615" y="113"/>
                    <a:pt x="624" y="122"/>
                  </a:cubicBezTo>
                  <a:cubicBezTo>
                    <a:pt x="1064" y="562"/>
                    <a:pt x="1064" y="562"/>
                    <a:pt x="1064" y="562"/>
                  </a:cubicBezTo>
                  <a:cubicBezTo>
                    <a:pt x="1593" y="562"/>
                    <a:pt x="1593" y="562"/>
                    <a:pt x="1593" y="562"/>
                  </a:cubicBezTo>
                  <a:cubicBezTo>
                    <a:pt x="1663" y="562"/>
                    <a:pt x="1720" y="619"/>
                    <a:pt x="1720" y="689"/>
                  </a:cubicBezTo>
                  <a:cubicBezTo>
                    <a:pt x="1720" y="758"/>
                    <a:pt x="1663" y="815"/>
                    <a:pt x="1593" y="815"/>
                  </a:cubicBezTo>
                  <a:cubicBezTo>
                    <a:pt x="1035" y="815"/>
                    <a:pt x="1035" y="815"/>
                    <a:pt x="1035" y="815"/>
                  </a:cubicBezTo>
                  <a:cubicBezTo>
                    <a:pt x="1035" y="815"/>
                    <a:pt x="1035" y="815"/>
                    <a:pt x="1035" y="815"/>
                  </a:cubicBezTo>
                  <a:cubicBezTo>
                    <a:pt x="1007" y="815"/>
                    <a:pt x="1007" y="815"/>
                    <a:pt x="1007" y="815"/>
                  </a:cubicBezTo>
                  <a:cubicBezTo>
                    <a:pt x="1007" y="811"/>
                    <a:pt x="1007" y="811"/>
                    <a:pt x="1007" y="811"/>
                  </a:cubicBezTo>
                  <a:cubicBezTo>
                    <a:pt x="987" y="806"/>
                    <a:pt x="968" y="796"/>
                    <a:pt x="953" y="781"/>
                  </a:cubicBezTo>
                  <a:cubicBezTo>
                    <a:pt x="698" y="526"/>
                    <a:pt x="698" y="526"/>
                    <a:pt x="698" y="526"/>
                  </a:cubicBezTo>
                  <a:cubicBezTo>
                    <a:pt x="698" y="1322"/>
                    <a:pt x="698" y="1322"/>
                    <a:pt x="698" y="1322"/>
                  </a:cubicBezTo>
                  <a:cubicBezTo>
                    <a:pt x="1505" y="1322"/>
                    <a:pt x="1505" y="1322"/>
                    <a:pt x="1505" y="1322"/>
                  </a:cubicBezTo>
                  <a:cubicBezTo>
                    <a:pt x="1509" y="1322"/>
                    <a:pt x="1513" y="1322"/>
                    <a:pt x="1518" y="1323"/>
                  </a:cubicBezTo>
                  <a:cubicBezTo>
                    <a:pt x="1522" y="1322"/>
                    <a:pt x="1526" y="1322"/>
                    <a:pt x="1530" y="1322"/>
                  </a:cubicBezTo>
                  <a:cubicBezTo>
                    <a:pt x="1635" y="1322"/>
                    <a:pt x="1720" y="1407"/>
                    <a:pt x="1720" y="1512"/>
                  </a:cubicBezTo>
                  <a:cubicBezTo>
                    <a:pt x="1720" y="1537"/>
                    <a:pt x="1720" y="1537"/>
                    <a:pt x="1720" y="1537"/>
                  </a:cubicBezTo>
                  <a:cubicBezTo>
                    <a:pt x="1720" y="1537"/>
                    <a:pt x="1720" y="1537"/>
                    <a:pt x="1720" y="1537"/>
                  </a:cubicBezTo>
                  <a:cubicBezTo>
                    <a:pt x="1720" y="1537"/>
                    <a:pt x="1720" y="1537"/>
                    <a:pt x="1720" y="1537"/>
                  </a:cubicBezTo>
                  <a:cubicBezTo>
                    <a:pt x="1720" y="2866"/>
                    <a:pt x="1720" y="2866"/>
                    <a:pt x="1720" y="2866"/>
                  </a:cubicBezTo>
                  <a:cubicBezTo>
                    <a:pt x="1720" y="2971"/>
                    <a:pt x="1635" y="3056"/>
                    <a:pt x="1530" y="3056"/>
                  </a:cubicBezTo>
                  <a:cubicBezTo>
                    <a:pt x="1425" y="3056"/>
                    <a:pt x="1340" y="2971"/>
                    <a:pt x="1340" y="2866"/>
                  </a:cubicBezTo>
                  <a:cubicBezTo>
                    <a:pt x="1340" y="1752"/>
                    <a:pt x="1340" y="1752"/>
                    <a:pt x="1340" y="1752"/>
                  </a:cubicBezTo>
                  <a:cubicBezTo>
                    <a:pt x="215" y="1752"/>
                    <a:pt x="215" y="1752"/>
                    <a:pt x="215" y="1752"/>
                  </a:cubicBezTo>
                  <a:cubicBezTo>
                    <a:pt x="96" y="1752"/>
                    <a:pt x="0" y="1656"/>
                    <a:pt x="0" y="1537"/>
                  </a:cubicBezTo>
                  <a:cubicBezTo>
                    <a:pt x="0" y="1517"/>
                    <a:pt x="0" y="1429"/>
                    <a:pt x="0" y="1403"/>
                  </a:cubicBezTo>
                  <a:lnTo>
                    <a:pt x="0" y="3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Oval 24"/>
            <p:cNvSpPr>
              <a:spLocks noChangeArrowheads="1"/>
            </p:cNvSpPr>
            <p:nvPr/>
          </p:nvSpPr>
          <p:spPr bwMode="auto">
            <a:xfrm>
              <a:off x="1755775" y="1249363"/>
              <a:ext cx="347662" cy="3476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49" name="Freeform 25"/>
          <p:cNvSpPr>
            <a:spLocks/>
          </p:cNvSpPr>
          <p:nvPr/>
        </p:nvSpPr>
        <p:spPr bwMode="auto">
          <a:xfrm>
            <a:off x="5602288" y="2071688"/>
            <a:ext cx="873125" cy="1527175"/>
          </a:xfrm>
          <a:custGeom>
            <a:avLst/>
            <a:gdLst>
              <a:gd name="T0" fmla="*/ 190 w 1758"/>
              <a:gd name="T1" fmla="*/ 0 h 3078"/>
              <a:gd name="T2" fmla="*/ 190 w 1758"/>
              <a:gd name="T3" fmla="*/ 0 h 3078"/>
              <a:gd name="T4" fmla="*/ 379 w 1758"/>
              <a:gd name="T5" fmla="*/ 190 h 3078"/>
              <a:gd name="T6" fmla="*/ 379 w 1758"/>
              <a:gd name="T7" fmla="*/ 1554 h 3078"/>
              <a:gd name="T8" fmla="*/ 1568 w 1758"/>
              <a:gd name="T9" fmla="*/ 1554 h 3078"/>
              <a:gd name="T10" fmla="*/ 1758 w 1758"/>
              <a:gd name="T11" fmla="*/ 1744 h 3078"/>
              <a:gd name="T12" fmla="*/ 1568 w 1758"/>
              <a:gd name="T13" fmla="*/ 1933 h 3078"/>
              <a:gd name="T14" fmla="*/ 945 w 1758"/>
              <a:gd name="T15" fmla="*/ 1933 h 3078"/>
              <a:gd name="T16" fmla="*/ 945 w 1758"/>
              <a:gd name="T17" fmla="*/ 2905 h 3078"/>
              <a:gd name="T18" fmla="*/ 1379 w 1758"/>
              <a:gd name="T19" fmla="*/ 2905 h 3078"/>
              <a:gd name="T20" fmla="*/ 1465 w 1758"/>
              <a:gd name="T21" fmla="*/ 2992 h 3078"/>
              <a:gd name="T22" fmla="*/ 1379 w 1758"/>
              <a:gd name="T23" fmla="*/ 3078 h 3078"/>
              <a:gd name="T24" fmla="*/ 439 w 1758"/>
              <a:gd name="T25" fmla="*/ 3078 h 3078"/>
              <a:gd name="T26" fmla="*/ 352 w 1758"/>
              <a:gd name="T27" fmla="*/ 2992 h 3078"/>
              <a:gd name="T28" fmla="*/ 439 w 1758"/>
              <a:gd name="T29" fmla="*/ 2905 h 3078"/>
              <a:gd name="T30" fmla="*/ 813 w 1758"/>
              <a:gd name="T31" fmla="*/ 2905 h 3078"/>
              <a:gd name="T32" fmla="*/ 813 w 1758"/>
              <a:gd name="T33" fmla="*/ 1933 h 3078"/>
              <a:gd name="T34" fmla="*/ 190 w 1758"/>
              <a:gd name="T35" fmla="*/ 1933 h 3078"/>
              <a:gd name="T36" fmla="*/ 190 w 1758"/>
              <a:gd name="T37" fmla="*/ 1933 h 3078"/>
              <a:gd name="T38" fmla="*/ 0 w 1758"/>
              <a:gd name="T39" fmla="*/ 1744 h 3078"/>
              <a:gd name="T40" fmla="*/ 0 w 1758"/>
              <a:gd name="T41" fmla="*/ 190 h 3078"/>
              <a:gd name="T42" fmla="*/ 190 w 1758"/>
              <a:gd name="T43" fmla="*/ 0 h 3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58" h="3078">
                <a:moveTo>
                  <a:pt x="190" y="0"/>
                </a:moveTo>
                <a:cubicBezTo>
                  <a:pt x="190" y="0"/>
                  <a:pt x="190" y="0"/>
                  <a:pt x="190" y="0"/>
                </a:cubicBezTo>
                <a:cubicBezTo>
                  <a:pt x="294" y="0"/>
                  <a:pt x="379" y="86"/>
                  <a:pt x="379" y="190"/>
                </a:cubicBezTo>
                <a:cubicBezTo>
                  <a:pt x="379" y="1554"/>
                  <a:pt x="379" y="1554"/>
                  <a:pt x="379" y="1554"/>
                </a:cubicBezTo>
                <a:cubicBezTo>
                  <a:pt x="1568" y="1554"/>
                  <a:pt x="1568" y="1554"/>
                  <a:pt x="1568" y="1554"/>
                </a:cubicBezTo>
                <a:cubicBezTo>
                  <a:pt x="1672" y="1554"/>
                  <a:pt x="1758" y="1640"/>
                  <a:pt x="1758" y="1744"/>
                </a:cubicBezTo>
                <a:cubicBezTo>
                  <a:pt x="1758" y="1848"/>
                  <a:pt x="1672" y="1933"/>
                  <a:pt x="1568" y="1933"/>
                </a:cubicBezTo>
                <a:cubicBezTo>
                  <a:pt x="945" y="1933"/>
                  <a:pt x="945" y="1933"/>
                  <a:pt x="945" y="1933"/>
                </a:cubicBezTo>
                <a:cubicBezTo>
                  <a:pt x="945" y="2905"/>
                  <a:pt x="945" y="2905"/>
                  <a:pt x="945" y="2905"/>
                </a:cubicBezTo>
                <a:cubicBezTo>
                  <a:pt x="1379" y="2905"/>
                  <a:pt x="1379" y="2905"/>
                  <a:pt x="1379" y="2905"/>
                </a:cubicBezTo>
                <a:cubicBezTo>
                  <a:pt x="1426" y="2905"/>
                  <a:pt x="1465" y="2944"/>
                  <a:pt x="1465" y="2992"/>
                </a:cubicBezTo>
                <a:cubicBezTo>
                  <a:pt x="1465" y="3040"/>
                  <a:pt x="1426" y="3078"/>
                  <a:pt x="1379" y="3078"/>
                </a:cubicBezTo>
                <a:cubicBezTo>
                  <a:pt x="439" y="3078"/>
                  <a:pt x="439" y="3078"/>
                  <a:pt x="439" y="3078"/>
                </a:cubicBezTo>
                <a:cubicBezTo>
                  <a:pt x="391" y="3078"/>
                  <a:pt x="352" y="3040"/>
                  <a:pt x="352" y="2992"/>
                </a:cubicBezTo>
                <a:cubicBezTo>
                  <a:pt x="352" y="2944"/>
                  <a:pt x="391" y="2905"/>
                  <a:pt x="439" y="2905"/>
                </a:cubicBezTo>
                <a:cubicBezTo>
                  <a:pt x="813" y="2905"/>
                  <a:pt x="813" y="2905"/>
                  <a:pt x="813" y="2905"/>
                </a:cubicBezTo>
                <a:cubicBezTo>
                  <a:pt x="813" y="1933"/>
                  <a:pt x="813" y="1933"/>
                  <a:pt x="813" y="1933"/>
                </a:cubicBezTo>
                <a:cubicBezTo>
                  <a:pt x="190" y="1933"/>
                  <a:pt x="190" y="1933"/>
                  <a:pt x="190" y="1933"/>
                </a:cubicBezTo>
                <a:cubicBezTo>
                  <a:pt x="190" y="1933"/>
                  <a:pt x="190" y="1933"/>
                  <a:pt x="190" y="1933"/>
                </a:cubicBezTo>
                <a:cubicBezTo>
                  <a:pt x="85" y="1933"/>
                  <a:pt x="0" y="1848"/>
                  <a:pt x="0" y="1744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86"/>
                  <a:pt x="85" y="0"/>
                  <a:pt x="1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30481" y="2021116"/>
            <a:ext cx="2896221" cy="13981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30481" y="1753952"/>
            <a:ext cx="2902455" cy="204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400" b="1" cap="all" spc="30">
                <a:solidFill>
                  <a:schemeClr val="accent1"/>
                </a:solidFill>
                <a:latin typeface="+mj-lt"/>
              </a:rPr>
              <a:t>Design &amp; development</a:t>
            </a:r>
          </a:p>
        </p:txBody>
      </p:sp>
      <p:cxnSp>
        <p:nvCxnSpPr>
          <p:cNvPr id="60" name="Straight Connector 59"/>
          <p:cNvCxnSpPr/>
          <p:nvPr/>
        </p:nvCxnSpPr>
        <p:spPr>
          <a:xfrm>
            <a:off x="730481" y="1603395"/>
            <a:ext cx="27432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DA940D-8A70-4340-932F-2AF5A34800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design &amp; dev. </a:t>
            </a:r>
            <a:r>
              <a:rPr lang="en-US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BC9D43-DD17-4C93-8B68-E6DD7E69C9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9D5555D9-1350-45F9-8878-ADADAC60DE3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31087" y="1784286"/>
            <a:ext cx="388763" cy="392816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0303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/>
          <p:cNvSpPr/>
          <p:nvPr/>
        </p:nvSpPr>
        <p:spPr>
          <a:xfrm>
            <a:off x="4295755" y="1327150"/>
            <a:ext cx="552490" cy="55249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20" name="Straight Connector 19"/>
          <p:cNvCxnSpPr>
            <a:stCxn id="19" idx="4"/>
          </p:cNvCxnSpPr>
          <p:nvPr/>
        </p:nvCxnSpPr>
        <p:spPr>
          <a:xfrm>
            <a:off x="4572000" y="1879640"/>
            <a:ext cx="0" cy="326386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81902" y="1464895"/>
            <a:ext cx="3293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b="1" cap="all" spc="2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cxnSp>
        <p:nvCxnSpPr>
          <p:cNvPr id="24" name="Straight Connector 23"/>
          <p:cNvCxnSpPr>
            <a:endCxn id="19" idx="0"/>
          </p:cNvCxnSpPr>
          <p:nvPr/>
        </p:nvCxnSpPr>
        <p:spPr>
          <a:xfrm>
            <a:off x="4572000" y="0"/>
            <a:ext cx="0" cy="132715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 22"/>
          <p:cNvSpPr>
            <a:spLocks/>
          </p:cNvSpPr>
          <p:nvPr/>
        </p:nvSpPr>
        <p:spPr bwMode="auto">
          <a:xfrm>
            <a:off x="2097079" y="2210364"/>
            <a:ext cx="497297" cy="401868"/>
          </a:xfrm>
          <a:custGeom>
            <a:avLst/>
            <a:gdLst>
              <a:gd name="T0" fmla="*/ 1418 w 1501"/>
              <a:gd name="T1" fmla="*/ 13 h 1212"/>
              <a:gd name="T2" fmla="*/ 1296 w 1501"/>
              <a:gd name="T3" fmla="*/ 103 h 1212"/>
              <a:gd name="T4" fmla="*/ 1076 w 1501"/>
              <a:gd name="T5" fmla="*/ 1017 h 1212"/>
              <a:gd name="T6" fmla="*/ 98 w 1501"/>
              <a:gd name="T7" fmla="*/ 1017 h 1212"/>
              <a:gd name="T8" fmla="*/ 0 w 1501"/>
              <a:gd name="T9" fmla="*/ 1115 h 1212"/>
              <a:gd name="T10" fmla="*/ 98 w 1501"/>
              <a:gd name="T11" fmla="*/ 1212 h 1212"/>
              <a:gd name="T12" fmla="*/ 1150 w 1501"/>
              <a:gd name="T13" fmla="*/ 1212 h 1212"/>
              <a:gd name="T14" fmla="*/ 1150 w 1501"/>
              <a:gd name="T15" fmla="*/ 1212 h 1212"/>
              <a:gd name="T16" fmla="*/ 1152 w 1501"/>
              <a:gd name="T17" fmla="*/ 1212 h 1212"/>
              <a:gd name="T18" fmla="*/ 1248 w 1501"/>
              <a:gd name="T19" fmla="*/ 1134 h 1212"/>
              <a:gd name="T20" fmla="*/ 1253 w 1501"/>
              <a:gd name="T21" fmla="*/ 1119 h 1212"/>
              <a:gd name="T22" fmla="*/ 1486 w 1501"/>
              <a:gd name="T23" fmla="*/ 149 h 1212"/>
              <a:gd name="T24" fmla="*/ 1418 w 1501"/>
              <a:gd name="T25" fmla="*/ 13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01" h="1212">
                <a:moveTo>
                  <a:pt x="1418" y="13"/>
                </a:moveTo>
                <a:cubicBezTo>
                  <a:pt x="1366" y="0"/>
                  <a:pt x="1311" y="41"/>
                  <a:pt x="1296" y="103"/>
                </a:cubicBezTo>
                <a:cubicBezTo>
                  <a:pt x="1076" y="1017"/>
                  <a:pt x="1076" y="1017"/>
                  <a:pt x="1076" y="1017"/>
                </a:cubicBezTo>
                <a:cubicBezTo>
                  <a:pt x="98" y="1017"/>
                  <a:pt x="98" y="1017"/>
                  <a:pt x="98" y="1017"/>
                </a:cubicBezTo>
                <a:cubicBezTo>
                  <a:pt x="44" y="1017"/>
                  <a:pt x="0" y="1061"/>
                  <a:pt x="0" y="1115"/>
                </a:cubicBezTo>
                <a:cubicBezTo>
                  <a:pt x="0" y="1169"/>
                  <a:pt x="44" y="1212"/>
                  <a:pt x="98" y="1212"/>
                </a:cubicBezTo>
                <a:cubicBezTo>
                  <a:pt x="1150" y="1212"/>
                  <a:pt x="1150" y="1212"/>
                  <a:pt x="1150" y="1212"/>
                </a:cubicBezTo>
                <a:cubicBezTo>
                  <a:pt x="1150" y="1212"/>
                  <a:pt x="1150" y="1212"/>
                  <a:pt x="1150" y="1212"/>
                </a:cubicBezTo>
                <a:cubicBezTo>
                  <a:pt x="1152" y="1212"/>
                  <a:pt x="1152" y="1212"/>
                  <a:pt x="1152" y="1212"/>
                </a:cubicBezTo>
                <a:cubicBezTo>
                  <a:pt x="1200" y="1212"/>
                  <a:pt x="1239" y="1179"/>
                  <a:pt x="1248" y="1134"/>
                </a:cubicBezTo>
                <a:cubicBezTo>
                  <a:pt x="1250" y="1129"/>
                  <a:pt x="1252" y="1124"/>
                  <a:pt x="1253" y="1119"/>
                </a:cubicBezTo>
                <a:cubicBezTo>
                  <a:pt x="1486" y="149"/>
                  <a:pt x="1486" y="149"/>
                  <a:pt x="1486" y="149"/>
                </a:cubicBezTo>
                <a:cubicBezTo>
                  <a:pt x="1501" y="86"/>
                  <a:pt x="1470" y="25"/>
                  <a:pt x="1418" y="1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916238" y="1955800"/>
            <a:ext cx="671513" cy="1512888"/>
            <a:chOff x="2916238" y="1955800"/>
            <a:chExt cx="671513" cy="1512888"/>
          </a:xfrm>
          <a:solidFill>
            <a:schemeClr val="accent1"/>
          </a:solidFill>
        </p:grpSpPr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2916238" y="2271713"/>
              <a:ext cx="671513" cy="1196975"/>
            </a:xfrm>
            <a:custGeom>
              <a:avLst/>
              <a:gdLst>
                <a:gd name="T0" fmla="*/ 1668 w 1668"/>
                <a:gd name="T1" fmla="*/ 339 h 2965"/>
                <a:gd name="T2" fmla="*/ 1330 w 1668"/>
                <a:gd name="T3" fmla="*/ 0 h 2965"/>
                <a:gd name="T4" fmla="*/ 1092 w 1668"/>
                <a:gd name="T5" fmla="*/ 98 h 2965"/>
                <a:gd name="T6" fmla="*/ 1063 w 1668"/>
                <a:gd name="T7" fmla="*/ 119 h 2965"/>
                <a:gd name="T8" fmla="*/ 636 w 1668"/>
                <a:gd name="T9" fmla="*/ 546 h 2965"/>
                <a:gd name="T10" fmla="*/ 123 w 1668"/>
                <a:gd name="T11" fmla="*/ 546 h 2965"/>
                <a:gd name="T12" fmla="*/ 0 w 1668"/>
                <a:gd name="T13" fmla="*/ 668 h 2965"/>
                <a:gd name="T14" fmla="*/ 123 w 1668"/>
                <a:gd name="T15" fmla="*/ 790 h 2965"/>
                <a:gd name="T16" fmla="*/ 664 w 1668"/>
                <a:gd name="T17" fmla="*/ 790 h 2965"/>
                <a:gd name="T18" fmla="*/ 664 w 1668"/>
                <a:gd name="T19" fmla="*/ 790 h 2965"/>
                <a:gd name="T20" fmla="*/ 692 w 1668"/>
                <a:gd name="T21" fmla="*/ 790 h 2965"/>
                <a:gd name="T22" fmla="*/ 692 w 1668"/>
                <a:gd name="T23" fmla="*/ 787 h 2965"/>
                <a:gd name="T24" fmla="*/ 744 w 1668"/>
                <a:gd name="T25" fmla="*/ 757 h 2965"/>
                <a:gd name="T26" fmla="*/ 991 w 1668"/>
                <a:gd name="T27" fmla="*/ 510 h 2965"/>
                <a:gd name="T28" fmla="*/ 991 w 1668"/>
                <a:gd name="T29" fmla="*/ 1283 h 2965"/>
                <a:gd name="T30" fmla="*/ 209 w 1668"/>
                <a:gd name="T31" fmla="*/ 1283 h 2965"/>
                <a:gd name="T32" fmla="*/ 196 w 1668"/>
                <a:gd name="T33" fmla="*/ 1283 h 2965"/>
                <a:gd name="T34" fmla="*/ 184 w 1668"/>
                <a:gd name="T35" fmla="*/ 1283 h 2965"/>
                <a:gd name="T36" fmla="*/ 0 w 1668"/>
                <a:gd name="T37" fmla="*/ 1467 h 2965"/>
                <a:gd name="T38" fmla="*/ 0 w 1668"/>
                <a:gd name="T39" fmla="*/ 1491 h 2965"/>
                <a:gd name="T40" fmla="*/ 0 w 1668"/>
                <a:gd name="T41" fmla="*/ 1491 h 2965"/>
                <a:gd name="T42" fmla="*/ 0 w 1668"/>
                <a:gd name="T43" fmla="*/ 1491 h 2965"/>
                <a:gd name="T44" fmla="*/ 0 w 1668"/>
                <a:gd name="T45" fmla="*/ 2780 h 2965"/>
                <a:gd name="T46" fmla="*/ 184 w 1668"/>
                <a:gd name="T47" fmla="*/ 2965 h 2965"/>
                <a:gd name="T48" fmla="*/ 369 w 1668"/>
                <a:gd name="T49" fmla="*/ 2780 h 2965"/>
                <a:gd name="T50" fmla="*/ 369 w 1668"/>
                <a:gd name="T51" fmla="*/ 1700 h 2965"/>
                <a:gd name="T52" fmla="*/ 1460 w 1668"/>
                <a:gd name="T53" fmla="*/ 1700 h 2965"/>
                <a:gd name="T54" fmla="*/ 1668 w 1668"/>
                <a:gd name="T55" fmla="*/ 1491 h 2965"/>
                <a:gd name="T56" fmla="*/ 1668 w 1668"/>
                <a:gd name="T57" fmla="*/ 1361 h 2965"/>
                <a:gd name="T58" fmla="*/ 1668 w 1668"/>
                <a:gd name="T59" fmla="*/ 339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68" h="2965">
                  <a:moveTo>
                    <a:pt x="1668" y="339"/>
                  </a:moveTo>
                  <a:cubicBezTo>
                    <a:pt x="1668" y="152"/>
                    <a:pt x="1517" y="0"/>
                    <a:pt x="1330" y="0"/>
                  </a:cubicBezTo>
                  <a:cubicBezTo>
                    <a:pt x="1237" y="0"/>
                    <a:pt x="1153" y="37"/>
                    <a:pt x="1092" y="98"/>
                  </a:cubicBezTo>
                  <a:cubicBezTo>
                    <a:pt x="1081" y="103"/>
                    <a:pt x="1072" y="110"/>
                    <a:pt x="1063" y="119"/>
                  </a:cubicBezTo>
                  <a:cubicBezTo>
                    <a:pt x="636" y="546"/>
                    <a:pt x="636" y="546"/>
                    <a:pt x="636" y="546"/>
                  </a:cubicBezTo>
                  <a:cubicBezTo>
                    <a:pt x="123" y="546"/>
                    <a:pt x="123" y="546"/>
                    <a:pt x="123" y="546"/>
                  </a:cubicBezTo>
                  <a:cubicBezTo>
                    <a:pt x="55" y="546"/>
                    <a:pt x="0" y="600"/>
                    <a:pt x="0" y="668"/>
                  </a:cubicBezTo>
                  <a:cubicBezTo>
                    <a:pt x="0" y="736"/>
                    <a:pt x="55" y="790"/>
                    <a:pt x="123" y="790"/>
                  </a:cubicBezTo>
                  <a:cubicBezTo>
                    <a:pt x="664" y="790"/>
                    <a:pt x="664" y="790"/>
                    <a:pt x="664" y="790"/>
                  </a:cubicBezTo>
                  <a:cubicBezTo>
                    <a:pt x="664" y="790"/>
                    <a:pt x="664" y="790"/>
                    <a:pt x="664" y="790"/>
                  </a:cubicBezTo>
                  <a:cubicBezTo>
                    <a:pt x="692" y="790"/>
                    <a:pt x="692" y="790"/>
                    <a:pt x="692" y="790"/>
                  </a:cubicBezTo>
                  <a:cubicBezTo>
                    <a:pt x="692" y="787"/>
                    <a:pt x="692" y="787"/>
                    <a:pt x="692" y="787"/>
                  </a:cubicBezTo>
                  <a:cubicBezTo>
                    <a:pt x="711" y="782"/>
                    <a:pt x="729" y="772"/>
                    <a:pt x="744" y="757"/>
                  </a:cubicBezTo>
                  <a:cubicBezTo>
                    <a:pt x="991" y="510"/>
                    <a:pt x="991" y="510"/>
                    <a:pt x="991" y="510"/>
                  </a:cubicBezTo>
                  <a:cubicBezTo>
                    <a:pt x="991" y="1283"/>
                    <a:pt x="991" y="1283"/>
                    <a:pt x="991" y="1283"/>
                  </a:cubicBezTo>
                  <a:cubicBezTo>
                    <a:pt x="209" y="1283"/>
                    <a:pt x="209" y="1283"/>
                    <a:pt x="209" y="1283"/>
                  </a:cubicBezTo>
                  <a:cubicBezTo>
                    <a:pt x="205" y="1283"/>
                    <a:pt x="200" y="1283"/>
                    <a:pt x="196" y="1283"/>
                  </a:cubicBezTo>
                  <a:cubicBezTo>
                    <a:pt x="192" y="1283"/>
                    <a:pt x="188" y="1283"/>
                    <a:pt x="184" y="1283"/>
                  </a:cubicBezTo>
                  <a:cubicBezTo>
                    <a:pt x="83" y="1283"/>
                    <a:pt x="0" y="1365"/>
                    <a:pt x="0" y="1467"/>
                  </a:cubicBezTo>
                  <a:cubicBezTo>
                    <a:pt x="0" y="1491"/>
                    <a:pt x="0" y="1491"/>
                    <a:pt x="0" y="1491"/>
                  </a:cubicBezTo>
                  <a:cubicBezTo>
                    <a:pt x="0" y="1491"/>
                    <a:pt x="0" y="1491"/>
                    <a:pt x="0" y="1491"/>
                  </a:cubicBezTo>
                  <a:cubicBezTo>
                    <a:pt x="0" y="1491"/>
                    <a:pt x="0" y="1491"/>
                    <a:pt x="0" y="1491"/>
                  </a:cubicBezTo>
                  <a:cubicBezTo>
                    <a:pt x="0" y="2780"/>
                    <a:pt x="0" y="2780"/>
                    <a:pt x="0" y="2780"/>
                  </a:cubicBezTo>
                  <a:cubicBezTo>
                    <a:pt x="0" y="2882"/>
                    <a:pt x="83" y="2965"/>
                    <a:pt x="184" y="2965"/>
                  </a:cubicBezTo>
                  <a:cubicBezTo>
                    <a:pt x="286" y="2965"/>
                    <a:pt x="369" y="2882"/>
                    <a:pt x="369" y="2780"/>
                  </a:cubicBezTo>
                  <a:cubicBezTo>
                    <a:pt x="369" y="1700"/>
                    <a:pt x="369" y="1700"/>
                    <a:pt x="369" y="1700"/>
                  </a:cubicBezTo>
                  <a:cubicBezTo>
                    <a:pt x="1460" y="1700"/>
                    <a:pt x="1460" y="1700"/>
                    <a:pt x="1460" y="1700"/>
                  </a:cubicBezTo>
                  <a:cubicBezTo>
                    <a:pt x="1575" y="1700"/>
                    <a:pt x="1668" y="1606"/>
                    <a:pt x="1668" y="1491"/>
                  </a:cubicBezTo>
                  <a:cubicBezTo>
                    <a:pt x="1668" y="1471"/>
                    <a:pt x="1668" y="1386"/>
                    <a:pt x="1668" y="1361"/>
                  </a:cubicBezTo>
                  <a:lnTo>
                    <a:pt x="1668" y="33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Oval 19"/>
            <p:cNvSpPr>
              <a:spLocks noChangeArrowheads="1"/>
            </p:cNvSpPr>
            <p:nvPr/>
          </p:nvSpPr>
          <p:spPr bwMode="auto">
            <a:xfrm>
              <a:off x="3303588" y="1955800"/>
              <a:ext cx="274638" cy="2746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7" name="Freeform 20"/>
          <p:cNvSpPr>
            <a:spLocks/>
          </p:cNvSpPr>
          <p:nvPr/>
        </p:nvSpPr>
        <p:spPr bwMode="auto">
          <a:xfrm>
            <a:off x="3081338" y="2371725"/>
            <a:ext cx="687388" cy="1204913"/>
          </a:xfrm>
          <a:custGeom>
            <a:avLst/>
            <a:gdLst>
              <a:gd name="T0" fmla="*/ 1521 w 1705"/>
              <a:gd name="T1" fmla="*/ 0 h 2985"/>
              <a:gd name="T2" fmla="*/ 1521 w 1705"/>
              <a:gd name="T3" fmla="*/ 0 h 2985"/>
              <a:gd name="T4" fmla="*/ 1338 w 1705"/>
              <a:gd name="T5" fmla="*/ 184 h 2985"/>
              <a:gd name="T6" fmla="*/ 1338 w 1705"/>
              <a:gd name="T7" fmla="*/ 1507 h 2985"/>
              <a:gd name="T8" fmla="*/ 184 w 1705"/>
              <a:gd name="T9" fmla="*/ 1507 h 2985"/>
              <a:gd name="T10" fmla="*/ 0 w 1705"/>
              <a:gd name="T11" fmla="*/ 1691 h 2985"/>
              <a:gd name="T12" fmla="*/ 184 w 1705"/>
              <a:gd name="T13" fmla="*/ 1874 h 2985"/>
              <a:gd name="T14" fmla="*/ 789 w 1705"/>
              <a:gd name="T15" fmla="*/ 1874 h 2985"/>
              <a:gd name="T16" fmla="*/ 789 w 1705"/>
              <a:gd name="T17" fmla="*/ 2818 h 2985"/>
              <a:gd name="T18" fmla="*/ 368 w 1705"/>
              <a:gd name="T19" fmla="*/ 2818 h 2985"/>
              <a:gd name="T20" fmla="*/ 284 w 1705"/>
              <a:gd name="T21" fmla="*/ 2901 h 2985"/>
              <a:gd name="T22" fmla="*/ 368 w 1705"/>
              <a:gd name="T23" fmla="*/ 2985 h 2985"/>
              <a:gd name="T24" fmla="*/ 1280 w 1705"/>
              <a:gd name="T25" fmla="*/ 2985 h 2985"/>
              <a:gd name="T26" fmla="*/ 1363 w 1705"/>
              <a:gd name="T27" fmla="*/ 2901 h 2985"/>
              <a:gd name="T28" fmla="*/ 1280 w 1705"/>
              <a:gd name="T29" fmla="*/ 2818 h 2985"/>
              <a:gd name="T30" fmla="*/ 917 w 1705"/>
              <a:gd name="T31" fmla="*/ 2818 h 2985"/>
              <a:gd name="T32" fmla="*/ 917 w 1705"/>
              <a:gd name="T33" fmla="*/ 1874 h 2985"/>
              <a:gd name="T34" fmla="*/ 1521 w 1705"/>
              <a:gd name="T35" fmla="*/ 1874 h 2985"/>
              <a:gd name="T36" fmla="*/ 1521 w 1705"/>
              <a:gd name="T37" fmla="*/ 1874 h 2985"/>
              <a:gd name="T38" fmla="*/ 1705 w 1705"/>
              <a:gd name="T39" fmla="*/ 1691 h 2985"/>
              <a:gd name="T40" fmla="*/ 1705 w 1705"/>
              <a:gd name="T41" fmla="*/ 184 h 2985"/>
              <a:gd name="T42" fmla="*/ 1521 w 1705"/>
              <a:gd name="T43" fmla="*/ 0 h 2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05" h="2985">
                <a:moveTo>
                  <a:pt x="1521" y="0"/>
                </a:moveTo>
                <a:cubicBezTo>
                  <a:pt x="1521" y="0"/>
                  <a:pt x="1521" y="0"/>
                  <a:pt x="1521" y="0"/>
                </a:cubicBezTo>
                <a:cubicBezTo>
                  <a:pt x="1420" y="0"/>
                  <a:pt x="1338" y="82"/>
                  <a:pt x="1338" y="184"/>
                </a:cubicBezTo>
                <a:cubicBezTo>
                  <a:pt x="1338" y="1507"/>
                  <a:pt x="1338" y="1507"/>
                  <a:pt x="1338" y="1507"/>
                </a:cubicBezTo>
                <a:cubicBezTo>
                  <a:pt x="184" y="1507"/>
                  <a:pt x="184" y="1507"/>
                  <a:pt x="184" y="1507"/>
                </a:cubicBezTo>
                <a:cubicBezTo>
                  <a:pt x="83" y="1507"/>
                  <a:pt x="0" y="1590"/>
                  <a:pt x="0" y="1691"/>
                </a:cubicBezTo>
                <a:cubicBezTo>
                  <a:pt x="0" y="1792"/>
                  <a:pt x="83" y="1874"/>
                  <a:pt x="184" y="1874"/>
                </a:cubicBezTo>
                <a:cubicBezTo>
                  <a:pt x="789" y="1874"/>
                  <a:pt x="789" y="1874"/>
                  <a:pt x="789" y="1874"/>
                </a:cubicBezTo>
                <a:cubicBezTo>
                  <a:pt x="789" y="2818"/>
                  <a:pt x="789" y="2818"/>
                  <a:pt x="789" y="2818"/>
                </a:cubicBezTo>
                <a:cubicBezTo>
                  <a:pt x="368" y="2818"/>
                  <a:pt x="368" y="2818"/>
                  <a:pt x="368" y="2818"/>
                </a:cubicBezTo>
                <a:cubicBezTo>
                  <a:pt x="322" y="2818"/>
                  <a:pt x="284" y="2855"/>
                  <a:pt x="284" y="2901"/>
                </a:cubicBezTo>
                <a:cubicBezTo>
                  <a:pt x="284" y="2948"/>
                  <a:pt x="322" y="2985"/>
                  <a:pt x="368" y="2985"/>
                </a:cubicBezTo>
                <a:cubicBezTo>
                  <a:pt x="1280" y="2985"/>
                  <a:pt x="1280" y="2985"/>
                  <a:pt x="1280" y="2985"/>
                </a:cubicBezTo>
                <a:cubicBezTo>
                  <a:pt x="1326" y="2985"/>
                  <a:pt x="1363" y="2948"/>
                  <a:pt x="1363" y="2901"/>
                </a:cubicBezTo>
                <a:cubicBezTo>
                  <a:pt x="1363" y="2855"/>
                  <a:pt x="1326" y="2818"/>
                  <a:pt x="1280" y="2818"/>
                </a:cubicBezTo>
                <a:cubicBezTo>
                  <a:pt x="917" y="2818"/>
                  <a:pt x="917" y="2818"/>
                  <a:pt x="917" y="2818"/>
                </a:cubicBezTo>
                <a:cubicBezTo>
                  <a:pt x="917" y="1874"/>
                  <a:pt x="917" y="1874"/>
                  <a:pt x="917" y="1874"/>
                </a:cubicBezTo>
                <a:cubicBezTo>
                  <a:pt x="1521" y="1874"/>
                  <a:pt x="1521" y="1874"/>
                  <a:pt x="1521" y="1874"/>
                </a:cubicBezTo>
                <a:cubicBezTo>
                  <a:pt x="1521" y="1874"/>
                  <a:pt x="1521" y="1874"/>
                  <a:pt x="1521" y="1874"/>
                </a:cubicBezTo>
                <a:cubicBezTo>
                  <a:pt x="1623" y="1874"/>
                  <a:pt x="1705" y="1792"/>
                  <a:pt x="1705" y="1691"/>
                </a:cubicBezTo>
                <a:cubicBezTo>
                  <a:pt x="1705" y="184"/>
                  <a:pt x="1705" y="184"/>
                  <a:pt x="1705" y="184"/>
                </a:cubicBezTo>
                <a:cubicBezTo>
                  <a:pt x="1705" y="82"/>
                  <a:pt x="1623" y="0"/>
                  <a:pt x="152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1403350" y="1955800"/>
            <a:ext cx="671513" cy="1512888"/>
            <a:chOff x="1403350" y="1955800"/>
            <a:chExt cx="671513" cy="1512888"/>
          </a:xfrm>
          <a:solidFill>
            <a:schemeClr val="accent1"/>
          </a:solidFill>
        </p:grpSpPr>
        <p:sp>
          <p:nvSpPr>
            <p:cNvPr id="38" name="Freeform 21"/>
            <p:cNvSpPr>
              <a:spLocks/>
            </p:cNvSpPr>
            <p:nvPr/>
          </p:nvSpPr>
          <p:spPr bwMode="auto">
            <a:xfrm>
              <a:off x="1403350" y="2271713"/>
              <a:ext cx="671513" cy="1196975"/>
            </a:xfrm>
            <a:custGeom>
              <a:avLst/>
              <a:gdLst>
                <a:gd name="T0" fmla="*/ 0 w 1668"/>
                <a:gd name="T1" fmla="*/ 339 h 2965"/>
                <a:gd name="T2" fmla="*/ 339 w 1668"/>
                <a:gd name="T3" fmla="*/ 0 h 2965"/>
                <a:gd name="T4" fmla="*/ 577 w 1668"/>
                <a:gd name="T5" fmla="*/ 98 h 2965"/>
                <a:gd name="T6" fmla="*/ 606 w 1668"/>
                <a:gd name="T7" fmla="*/ 119 h 2965"/>
                <a:gd name="T8" fmla="*/ 1033 w 1668"/>
                <a:gd name="T9" fmla="*/ 546 h 2965"/>
                <a:gd name="T10" fmla="*/ 1546 w 1668"/>
                <a:gd name="T11" fmla="*/ 546 h 2965"/>
                <a:gd name="T12" fmla="*/ 1668 w 1668"/>
                <a:gd name="T13" fmla="*/ 668 h 2965"/>
                <a:gd name="T14" fmla="*/ 1546 w 1668"/>
                <a:gd name="T15" fmla="*/ 790 h 2965"/>
                <a:gd name="T16" fmla="*/ 1005 w 1668"/>
                <a:gd name="T17" fmla="*/ 790 h 2965"/>
                <a:gd name="T18" fmla="*/ 1005 w 1668"/>
                <a:gd name="T19" fmla="*/ 790 h 2965"/>
                <a:gd name="T20" fmla="*/ 977 w 1668"/>
                <a:gd name="T21" fmla="*/ 790 h 2965"/>
                <a:gd name="T22" fmla="*/ 977 w 1668"/>
                <a:gd name="T23" fmla="*/ 787 h 2965"/>
                <a:gd name="T24" fmla="*/ 925 w 1668"/>
                <a:gd name="T25" fmla="*/ 757 h 2965"/>
                <a:gd name="T26" fmla="*/ 678 w 1668"/>
                <a:gd name="T27" fmla="*/ 510 h 2965"/>
                <a:gd name="T28" fmla="*/ 678 w 1668"/>
                <a:gd name="T29" fmla="*/ 1283 h 2965"/>
                <a:gd name="T30" fmla="*/ 1460 w 1668"/>
                <a:gd name="T31" fmla="*/ 1283 h 2965"/>
                <a:gd name="T32" fmla="*/ 1472 w 1668"/>
                <a:gd name="T33" fmla="*/ 1283 h 2965"/>
                <a:gd name="T34" fmla="*/ 1484 w 1668"/>
                <a:gd name="T35" fmla="*/ 1283 h 2965"/>
                <a:gd name="T36" fmla="*/ 1668 w 1668"/>
                <a:gd name="T37" fmla="*/ 1467 h 2965"/>
                <a:gd name="T38" fmla="*/ 1668 w 1668"/>
                <a:gd name="T39" fmla="*/ 1491 h 2965"/>
                <a:gd name="T40" fmla="*/ 1668 w 1668"/>
                <a:gd name="T41" fmla="*/ 1491 h 2965"/>
                <a:gd name="T42" fmla="*/ 1668 w 1668"/>
                <a:gd name="T43" fmla="*/ 1491 h 2965"/>
                <a:gd name="T44" fmla="*/ 1668 w 1668"/>
                <a:gd name="T45" fmla="*/ 2780 h 2965"/>
                <a:gd name="T46" fmla="*/ 1484 w 1668"/>
                <a:gd name="T47" fmla="*/ 2965 h 2965"/>
                <a:gd name="T48" fmla="*/ 1300 w 1668"/>
                <a:gd name="T49" fmla="*/ 2780 h 2965"/>
                <a:gd name="T50" fmla="*/ 1300 w 1668"/>
                <a:gd name="T51" fmla="*/ 1700 h 2965"/>
                <a:gd name="T52" fmla="*/ 209 w 1668"/>
                <a:gd name="T53" fmla="*/ 1700 h 2965"/>
                <a:gd name="T54" fmla="*/ 0 w 1668"/>
                <a:gd name="T55" fmla="*/ 1491 h 2965"/>
                <a:gd name="T56" fmla="*/ 0 w 1668"/>
                <a:gd name="T57" fmla="*/ 1361 h 2965"/>
                <a:gd name="T58" fmla="*/ 0 w 1668"/>
                <a:gd name="T59" fmla="*/ 339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68" h="2965">
                  <a:moveTo>
                    <a:pt x="0" y="339"/>
                  </a:moveTo>
                  <a:cubicBezTo>
                    <a:pt x="0" y="152"/>
                    <a:pt x="152" y="0"/>
                    <a:pt x="339" y="0"/>
                  </a:cubicBezTo>
                  <a:cubicBezTo>
                    <a:pt x="432" y="0"/>
                    <a:pt x="516" y="37"/>
                    <a:pt x="577" y="98"/>
                  </a:cubicBezTo>
                  <a:cubicBezTo>
                    <a:pt x="587" y="103"/>
                    <a:pt x="597" y="110"/>
                    <a:pt x="606" y="119"/>
                  </a:cubicBezTo>
                  <a:cubicBezTo>
                    <a:pt x="1033" y="546"/>
                    <a:pt x="1033" y="546"/>
                    <a:pt x="1033" y="546"/>
                  </a:cubicBezTo>
                  <a:cubicBezTo>
                    <a:pt x="1546" y="546"/>
                    <a:pt x="1546" y="546"/>
                    <a:pt x="1546" y="546"/>
                  </a:cubicBezTo>
                  <a:cubicBezTo>
                    <a:pt x="1613" y="546"/>
                    <a:pt x="1668" y="600"/>
                    <a:pt x="1668" y="668"/>
                  </a:cubicBezTo>
                  <a:cubicBezTo>
                    <a:pt x="1668" y="736"/>
                    <a:pt x="1613" y="790"/>
                    <a:pt x="1546" y="790"/>
                  </a:cubicBezTo>
                  <a:cubicBezTo>
                    <a:pt x="1005" y="790"/>
                    <a:pt x="1005" y="790"/>
                    <a:pt x="1005" y="790"/>
                  </a:cubicBezTo>
                  <a:cubicBezTo>
                    <a:pt x="1005" y="790"/>
                    <a:pt x="1005" y="790"/>
                    <a:pt x="1005" y="790"/>
                  </a:cubicBezTo>
                  <a:cubicBezTo>
                    <a:pt x="977" y="790"/>
                    <a:pt x="977" y="790"/>
                    <a:pt x="977" y="790"/>
                  </a:cubicBezTo>
                  <a:cubicBezTo>
                    <a:pt x="977" y="787"/>
                    <a:pt x="977" y="787"/>
                    <a:pt x="977" y="787"/>
                  </a:cubicBezTo>
                  <a:cubicBezTo>
                    <a:pt x="958" y="782"/>
                    <a:pt x="940" y="772"/>
                    <a:pt x="925" y="757"/>
                  </a:cubicBezTo>
                  <a:cubicBezTo>
                    <a:pt x="678" y="510"/>
                    <a:pt x="678" y="510"/>
                    <a:pt x="678" y="510"/>
                  </a:cubicBezTo>
                  <a:cubicBezTo>
                    <a:pt x="678" y="1283"/>
                    <a:pt x="678" y="1283"/>
                    <a:pt x="678" y="1283"/>
                  </a:cubicBezTo>
                  <a:cubicBezTo>
                    <a:pt x="1460" y="1283"/>
                    <a:pt x="1460" y="1283"/>
                    <a:pt x="1460" y="1283"/>
                  </a:cubicBezTo>
                  <a:cubicBezTo>
                    <a:pt x="1464" y="1283"/>
                    <a:pt x="1468" y="1283"/>
                    <a:pt x="1472" y="1283"/>
                  </a:cubicBezTo>
                  <a:cubicBezTo>
                    <a:pt x="1476" y="1283"/>
                    <a:pt x="1480" y="1283"/>
                    <a:pt x="1484" y="1283"/>
                  </a:cubicBezTo>
                  <a:cubicBezTo>
                    <a:pt x="1586" y="1283"/>
                    <a:pt x="1668" y="1365"/>
                    <a:pt x="1668" y="1467"/>
                  </a:cubicBezTo>
                  <a:cubicBezTo>
                    <a:pt x="1668" y="1491"/>
                    <a:pt x="1668" y="1491"/>
                    <a:pt x="1668" y="1491"/>
                  </a:cubicBezTo>
                  <a:cubicBezTo>
                    <a:pt x="1668" y="1491"/>
                    <a:pt x="1668" y="1491"/>
                    <a:pt x="1668" y="1491"/>
                  </a:cubicBezTo>
                  <a:cubicBezTo>
                    <a:pt x="1668" y="1491"/>
                    <a:pt x="1668" y="1491"/>
                    <a:pt x="1668" y="1491"/>
                  </a:cubicBezTo>
                  <a:cubicBezTo>
                    <a:pt x="1668" y="2780"/>
                    <a:pt x="1668" y="2780"/>
                    <a:pt x="1668" y="2780"/>
                  </a:cubicBezTo>
                  <a:cubicBezTo>
                    <a:pt x="1668" y="2882"/>
                    <a:pt x="1586" y="2965"/>
                    <a:pt x="1484" y="2965"/>
                  </a:cubicBezTo>
                  <a:cubicBezTo>
                    <a:pt x="1382" y="2965"/>
                    <a:pt x="1300" y="2882"/>
                    <a:pt x="1300" y="2780"/>
                  </a:cubicBezTo>
                  <a:cubicBezTo>
                    <a:pt x="1300" y="1700"/>
                    <a:pt x="1300" y="1700"/>
                    <a:pt x="1300" y="1700"/>
                  </a:cubicBezTo>
                  <a:cubicBezTo>
                    <a:pt x="209" y="1700"/>
                    <a:pt x="209" y="1700"/>
                    <a:pt x="209" y="1700"/>
                  </a:cubicBezTo>
                  <a:cubicBezTo>
                    <a:pt x="94" y="1700"/>
                    <a:pt x="0" y="1606"/>
                    <a:pt x="0" y="1491"/>
                  </a:cubicBezTo>
                  <a:cubicBezTo>
                    <a:pt x="0" y="1471"/>
                    <a:pt x="0" y="1386"/>
                    <a:pt x="0" y="1361"/>
                  </a:cubicBezTo>
                  <a:lnTo>
                    <a:pt x="0" y="3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Oval 22"/>
            <p:cNvSpPr>
              <a:spLocks noChangeArrowheads="1"/>
            </p:cNvSpPr>
            <p:nvPr/>
          </p:nvSpPr>
          <p:spPr bwMode="auto">
            <a:xfrm>
              <a:off x="1412875" y="1955800"/>
              <a:ext cx="274638" cy="274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40" name="Freeform 23"/>
          <p:cNvSpPr>
            <a:spLocks/>
          </p:cNvSpPr>
          <p:nvPr/>
        </p:nvSpPr>
        <p:spPr bwMode="auto">
          <a:xfrm>
            <a:off x="1222375" y="2371725"/>
            <a:ext cx="687388" cy="1204913"/>
          </a:xfrm>
          <a:custGeom>
            <a:avLst/>
            <a:gdLst>
              <a:gd name="T0" fmla="*/ 184 w 1705"/>
              <a:gd name="T1" fmla="*/ 0 h 2985"/>
              <a:gd name="T2" fmla="*/ 184 w 1705"/>
              <a:gd name="T3" fmla="*/ 0 h 2985"/>
              <a:gd name="T4" fmla="*/ 368 w 1705"/>
              <a:gd name="T5" fmla="*/ 184 h 2985"/>
              <a:gd name="T6" fmla="*/ 368 w 1705"/>
              <a:gd name="T7" fmla="*/ 1507 h 2985"/>
              <a:gd name="T8" fmla="*/ 1521 w 1705"/>
              <a:gd name="T9" fmla="*/ 1507 h 2985"/>
              <a:gd name="T10" fmla="*/ 1705 w 1705"/>
              <a:gd name="T11" fmla="*/ 1691 h 2985"/>
              <a:gd name="T12" fmla="*/ 1521 w 1705"/>
              <a:gd name="T13" fmla="*/ 1874 h 2985"/>
              <a:gd name="T14" fmla="*/ 917 w 1705"/>
              <a:gd name="T15" fmla="*/ 1874 h 2985"/>
              <a:gd name="T16" fmla="*/ 917 w 1705"/>
              <a:gd name="T17" fmla="*/ 2818 h 2985"/>
              <a:gd name="T18" fmla="*/ 1337 w 1705"/>
              <a:gd name="T19" fmla="*/ 2818 h 2985"/>
              <a:gd name="T20" fmla="*/ 1421 w 1705"/>
              <a:gd name="T21" fmla="*/ 2901 h 2985"/>
              <a:gd name="T22" fmla="*/ 1337 w 1705"/>
              <a:gd name="T23" fmla="*/ 2985 h 2985"/>
              <a:gd name="T24" fmla="*/ 426 w 1705"/>
              <a:gd name="T25" fmla="*/ 2985 h 2985"/>
              <a:gd name="T26" fmla="*/ 342 w 1705"/>
              <a:gd name="T27" fmla="*/ 2901 h 2985"/>
              <a:gd name="T28" fmla="*/ 426 w 1705"/>
              <a:gd name="T29" fmla="*/ 2818 h 2985"/>
              <a:gd name="T30" fmla="*/ 789 w 1705"/>
              <a:gd name="T31" fmla="*/ 2818 h 2985"/>
              <a:gd name="T32" fmla="*/ 789 w 1705"/>
              <a:gd name="T33" fmla="*/ 1874 h 2985"/>
              <a:gd name="T34" fmla="*/ 184 w 1705"/>
              <a:gd name="T35" fmla="*/ 1874 h 2985"/>
              <a:gd name="T36" fmla="*/ 184 w 1705"/>
              <a:gd name="T37" fmla="*/ 1874 h 2985"/>
              <a:gd name="T38" fmla="*/ 0 w 1705"/>
              <a:gd name="T39" fmla="*/ 1691 h 2985"/>
              <a:gd name="T40" fmla="*/ 0 w 1705"/>
              <a:gd name="T41" fmla="*/ 184 h 2985"/>
              <a:gd name="T42" fmla="*/ 184 w 1705"/>
              <a:gd name="T43" fmla="*/ 0 h 2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05" h="2985">
                <a:moveTo>
                  <a:pt x="184" y="0"/>
                </a:moveTo>
                <a:cubicBezTo>
                  <a:pt x="184" y="0"/>
                  <a:pt x="184" y="0"/>
                  <a:pt x="184" y="0"/>
                </a:cubicBezTo>
                <a:cubicBezTo>
                  <a:pt x="285" y="0"/>
                  <a:pt x="368" y="82"/>
                  <a:pt x="368" y="184"/>
                </a:cubicBezTo>
                <a:cubicBezTo>
                  <a:pt x="368" y="1507"/>
                  <a:pt x="368" y="1507"/>
                  <a:pt x="368" y="1507"/>
                </a:cubicBezTo>
                <a:cubicBezTo>
                  <a:pt x="1521" y="1507"/>
                  <a:pt x="1521" y="1507"/>
                  <a:pt x="1521" y="1507"/>
                </a:cubicBezTo>
                <a:cubicBezTo>
                  <a:pt x="1622" y="1507"/>
                  <a:pt x="1705" y="1590"/>
                  <a:pt x="1705" y="1691"/>
                </a:cubicBezTo>
                <a:cubicBezTo>
                  <a:pt x="1705" y="1792"/>
                  <a:pt x="1622" y="1874"/>
                  <a:pt x="1521" y="1874"/>
                </a:cubicBezTo>
                <a:cubicBezTo>
                  <a:pt x="917" y="1874"/>
                  <a:pt x="917" y="1874"/>
                  <a:pt x="917" y="1874"/>
                </a:cubicBezTo>
                <a:cubicBezTo>
                  <a:pt x="917" y="2818"/>
                  <a:pt x="917" y="2818"/>
                  <a:pt x="917" y="2818"/>
                </a:cubicBezTo>
                <a:cubicBezTo>
                  <a:pt x="1337" y="2818"/>
                  <a:pt x="1337" y="2818"/>
                  <a:pt x="1337" y="2818"/>
                </a:cubicBezTo>
                <a:cubicBezTo>
                  <a:pt x="1384" y="2818"/>
                  <a:pt x="1421" y="2855"/>
                  <a:pt x="1421" y="2901"/>
                </a:cubicBezTo>
                <a:cubicBezTo>
                  <a:pt x="1421" y="2948"/>
                  <a:pt x="1384" y="2985"/>
                  <a:pt x="1337" y="2985"/>
                </a:cubicBezTo>
                <a:cubicBezTo>
                  <a:pt x="426" y="2985"/>
                  <a:pt x="426" y="2985"/>
                  <a:pt x="426" y="2985"/>
                </a:cubicBezTo>
                <a:cubicBezTo>
                  <a:pt x="380" y="2985"/>
                  <a:pt x="342" y="2948"/>
                  <a:pt x="342" y="2901"/>
                </a:cubicBezTo>
                <a:cubicBezTo>
                  <a:pt x="342" y="2855"/>
                  <a:pt x="380" y="2818"/>
                  <a:pt x="426" y="2818"/>
                </a:cubicBezTo>
                <a:cubicBezTo>
                  <a:pt x="789" y="2818"/>
                  <a:pt x="789" y="2818"/>
                  <a:pt x="789" y="2818"/>
                </a:cubicBezTo>
                <a:cubicBezTo>
                  <a:pt x="789" y="1874"/>
                  <a:pt x="789" y="1874"/>
                  <a:pt x="789" y="1874"/>
                </a:cubicBezTo>
                <a:cubicBezTo>
                  <a:pt x="184" y="1874"/>
                  <a:pt x="184" y="1874"/>
                  <a:pt x="184" y="1874"/>
                </a:cubicBezTo>
                <a:cubicBezTo>
                  <a:pt x="184" y="1874"/>
                  <a:pt x="184" y="1874"/>
                  <a:pt x="184" y="1874"/>
                </a:cubicBezTo>
                <a:cubicBezTo>
                  <a:pt x="83" y="1874"/>
                  <a:pt x="0" y="1792"/>
                  <a:pt x="0" y="1691"/>
                </a:cubicBezTo>
                <a:cubicBezTo>
                  <a:pt x="0" y="184"/>
                  <a:pt x="0" y="184"/>
                  <a:pt x="0" y="184"/>
                </a:cubicBezTo>
                <a:cubicBezTo>
                  <a:pt x="0" y="82"/>
                  <a:pt x="83" y="0"/>
                  <a:pt x="18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1" name="Freeform 24"/>
          <p:cNvSpPr>
            <a:spLocks/>
          </p:cNvSpPr>
          <p:nvPr/>
        </p:nvSpPr>
        <p:spPr bwMode="auto">
          <a:xfrm>
            <a:off x="1784350" y="2622550"/>
            <a:ext cx="1422400" cy="954088"/>
          </a:xfrm>
          <a:custGeom>
            <a:avLst/>
            <a:gdLst>
              <a:gd name="T0" fmla="*/ 3346 w 3529"/>
              <a:gd name="T1" fmla="*/ 0 h 2365"/>
              <a:gd name="T2" fmla="*/ 184 w 3529"/>
              <a:gd name="T3" fmla="*/ 0 h 2365"/>
              <a:gd name="T4" fmla="*/ 0 w 3529"/>
              <a:gd name="T5" fmla="*/ 129 h 2365"/>
              <a:gd name="T6" fmla="*/ 184 w 3529"/>
              <a:gd name="T7" fmla="*/ 258 h 2365"/>
              <a:gd name="T8" fmla="*/ 991 w 3529"/>
              <a:gd name="T9" fmla="*/ 258 h 2365"/>
              <a:gd name="T10" fmla="*/ 991 w 3529"/>
              <a:gd name="T11" fmla="*/ 2161 h 2365"/>
              <a:gd name="T12" fmla="*/ 844 w 3529"/>
              <a:gd name="T13" fmla="*/ 2161 h 2365"/>
              <a:gd name="T14" fmla="*/ 742 w 3529"/>
              <a:gd name="T15" fmla="*/ 2263 h 2365"/>
              <a:gd name="T16" fmla="*/ 844 w 3529"/>
              <a:gd name="T17" fmla="*/ 2365 h 2365"/>
              <a:gd name="T18" fmla="*/ 991 w 3529"/>
              <a:gd name="T19" fmla="*/ 2365 h 2365"/>
              <a:gd name="T20" fmla="*/ 2538 w 3529"/>
              <a:gd name="T21" fmla="*/ 2365 h 2365"/>
              <a:gd name="T22" fmla="*/ 2686 w 3529"/>
              <a:gd name="T23" fmla="*/ 2365 h 2365"/>
              <a:gd name="T24" fmla="*/ 2788 w 3529"/>
              <a:gd name="T25" fmla="*/ 2263 h 2365"/>
              <a:gd name="T26" fmla="*/ 2686 w 3529"/>
              <a:gd name="T27" fmla="*/ 2161 h 2365"/>
              <a:gd name="T28" fmla="*/ 2538 w 3529"/>
              <a:gd name="T29" fmla="*/ 2161 h 2365"/>
              <a:gd name="T30" fmla="*/ 2538 w 3529"/>
              <a:gd name="T31" fmla="*/ 258 h 2365"/>
              <a:gd name="T32" fmla="*/ 3346 w 3529"/>
              <a:gd name="T33" fmla="*/ 258 h 2365"/>
              <a:gd name="T34" fmla="*/ 3529 w 3529"/>
              <a:gd name="T35" fmla="*/ 129 h 2365"/>
              <a:gd name="T36" fmla="*/ 3346 w 3529"/>
              <a:gd name="T37" fmla="*/ 0 h 2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29" h="2365">
                <a:moveTo>
                  <a:pt x="3346" y="0"/>
                </a:moveTo>
                <a:cubicBezTo>
                  <a:pt x="184" y="0"/>
                  <a:pt x="184" y="0"/>
                  <a:pt x="184" y="0"/>
                </a:cubicBezTo>
                <a:cubicBezTo>
                  <a:pt x="83" y="0"/>
                  <a:pt x="0" y="58"/>
                  <a:pt x="0" y="129"/>
                </a:cubicBezTo>
                <a:cubicBezTo>
                  <a:pt x="0" y="200"/>
                  <a:pt x="83" y="258"/>
                  <a:pt x="184" y="258"/>
                </a:cubicBezTo>
                <a:cubicBezTo>
                  <a:pt x="991" y="258"/>
                  <a:pt x="991" y="258"/>
                  <a:pt x="991" y="258"/>
                </a:cubicBezTo>
                <a:cubicBezTo>
                  <a:pt x="991" y="2161"/>
                  <a:pt x="991" y="2161"/>
                  <a:pt x="991" y="2161"/>
                </a:cubicBezTo>
                <a:cubicBezTo>
                  <a:pt x="844" y="2161"/>
                  <a:pt x="844" y="2161"/>
                  <a:pt x="844" y="2161"/>
                </a:cubicBezTo>
                <a:cubicBezTo>
                  <a:pt x="787" y="2161"/>
                  <a:pt x="742" y="2207"/>
                  <a:pt x="742" y="2263"/>
                </a:cubicBezTo>
                <a:cubicBezTo>
                  <a:pt x="742" y="2320"/>
                  <a:pt x="787" y="2365"/>
                  <a:pt x="844" y="2365"/>
                </a:cubicBezTo>
                <a:cubicBezTo>
                  <a:pt x="991" y="2365"/>
                  <a:pt x="991" y="2365"/>
                  <a:pt x="991" y="2365"/>
                </a:cubicBezTo>
                <a:cubicBezTo>
                  <a:pt x="2538" y="2365"/>
                  <a:pt x="2538" y="2365"/>
                  <a:pt x="2538" y="2365"/>
                </a:cubicBezTo>
                <a:cubicBezTo>
                  <a:pt x="2686" y="2365"/>
                  <a:pt x="2686" y="2365"/>
                  <a:pt x="2686" y="2365"/>
                </a:cubicBezTo>
                <a:cubicBezTo>
                  <a:pt x="2742" y="2365"/>
                  <a:pt x="2788" y="2320"/>
                  <a:pt x="2788" y="2263"/>
                </a:cubicBezTo>
                <a:cubicBezTo>
                  <a:pt x="2788" y="2207"/>
                  <a:pt x="2742" y="2161"/>
                  <a:pt x="2686" y="2161"/>
                </a:cubicBezTo>
                <a:cubicBezTo>
                  <a:pt x="2538" y="2161"/>
                  <a:pt x="2538" y="2161"/>
                  <a:pt x="2538" y="2161"/>
                </a:cubicBezTo>
                <a:cubicBezTo>
                  <a:pt x="2538" y="258"/>
                  <a:pt x="2538" y="258"/>
                  <a:pt x="2538" y="258"/>
                </a:cubicBezTo>
                <a:cubicBezTo>
                  <a:pt x="3346" y="258"/>
                  <a:pt x="3346" y="258"/>
                  <a:pt x="3346" y="258"/>
                </a:cubicBezTo>
                <a:cubicBezTo>
                  <a:pt x="3447" y="258"/>
                  <a:pt x="3529" y="200"/>
                  <a:pt x="3529" y="129"/>
                </a:cubicBezTo>
                <a:cubicBezTo>
                  <a:pt x="3529" y="58"/>
                  <a:pt x="3447" y="0"/>
                  <a:pt x="334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514572" y="2014384"/>
            <a:ext cx="2896221" cy="13981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514572" y="1747220"/>
            <a:ext cx="2902455" cy="204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400" b="1" cap="all" spc="30">
                <a:solidFill>
                  <a:schemeClr val="accent1"/>
                </a:solidFill>
                <a:latin typeface="+mj-lt"/>
              </a:rPr>
              <a:t>Review &amp; refinement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5514572" y="1596663"/>
            <a:ext cx="27432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3ADB23-852A-4029-9C71-DBF6CB0C76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design &amp; dev. </a:t>
            </a:r>
            <a:r>
              <a:rPr lang="en-US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519A-138B-4FF1-B4D8-6D1E07C15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id="{ACDE4090-C178-4A9A-BAE3-40F865CC6F8A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>
            <a:off x="2219604" y="2256783"/>
            <a:ext cx="196475" cy="198364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692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/>
          <p:cNvSpPr/>
          <p:nvPr/>
        </p:nvSpPr>
        <p:spPr>
          <a:xfrm>
            <a:off x="4295755" y="1327150"/>
            <a:ext cx="552490" cy="55249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1902" y="1464895"/>
            <a:ext cx="3293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b="1" cap="all" spc="2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cxnSp>
        <p:nvCxnSpPr>
          <p:cNvPr id="38" name="Straight Connector 37"/>
          <p:cNvCxnSpPr>
            <a:endCxn id="35" idx="0"/>
          </p:cNvCxnSpPr>
          <p:nvPr/>
        </p:nvCxnSpPr>
        <p:spPr>
          <a:xfrm>
            <a:off x="4572000" y="0"/>
            <a:ext cx="0" cy="132715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728230" y="2021116"/>
            <a:ext cx="2896221" cy="13981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error sit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accus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qua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ab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 dirty="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beatae vit ae dicta sunt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.  Sed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qua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ab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dirty="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 dirty="0">
                <a:solidFill>
                  <a:schemeClr val="accent1"/>
                </a:solidFill>
                <a:latin typeface="+mj-lt"/>
              </a:rPr>
              <a:t> very.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28230" y="1753952"/>
            <a:ext cx="2902455" cy="204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400" b="1" cap="all" spc="30">
                <a:solidFill>
                  <a:schemeClr val="accent1"/>
                </a:solidFill>
                <a:latin typeface="+mj-lt"/>
              </a:rPr>
              <a:t>Launch and be happy</a:t>
            </a:r>
          </a:p>
        </p:txBody>
      </p:sp>
      <p:cxnSp>
        <p:nvCxnSpPr>
          <p:cNvPr id="97" name="Straight Connector 96"/>
          <p:cNvCxnSpPr/>
          <p:nvPr/>
        </p:nvCxnSpPr>
        <p:spPr>
          <a:xfrm>
            <a:off x="728230" y="1603395"/>
            <a:ext cx="27432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5602288" y="2021116"/>
            <a:ext cx="1407337" cy="1652360"/>
            <a:chOff x="5602288" y="1543050"/>
            <a:chExt cx="1814512" cy="2130426"/>
          </a:xfrm>
        </p:grpSpPr>
        <p:sp>
          <p:nvSpPr>
            <p:cNvPr id="43" name="Freeform 21"/>
            <p:cNvSpPr>
              <a:spLocks/>
            </p:cNvSpPr>
            <p:nvPr/>
          </p:nvSpPr>
          <p:spPr bwMode="auto">
            <a:xfrm>
              <a:off x="6456363" y="2424113"/>
              <a:ext cx="960437" cy="1249363"/>
            </a:xfrm>
            <a:custGeom>
              <a:avLst/>
              <a:gdLst>
                <a:gd name="T0" fmla="*/ 1815 w 1934"/>
                <a:gd name="T1" fmla="*/ 2275 h 2515"/>
                <a:gd name="T2" fmla="*/ 1704 w 1934"/>
                <a:gd name="T3" fmla="*/ 2275 h 2515"/>
                <a:gd name="T4" fmla="*/ 1704 w 1934"/>
                <a:gd name="T5" fmla="*/ 315 h 2515"/>
                <a:gd name="T6" fmla="*/ 1777 w 1934"/>
                <a:gd name="T7" fmla="*/ 315 h 2515"/>
                <a:gd name="T8" fmla="*/ 1934 w 1934"/>
                <a:gd name="T9" fmla="*/ 158 h 2515"/>
                <a:gd name="T10" fmla="*/ 1777 w 1934"/>
                <a:gd name="T11" fmla="*/ 0 h 2515"/>
                <a:gd name="T12" fmla="*/ 157 w 1934"/>
                <a:gd name="T13" fmla="*/ 0 h 2515"/>
                <a:gd name="T14" fmla="*/ 0 w 1934"/>
                <a:gd name="T15" fmla="*/ 158 h 2515"/>
                <a:gd name="T16" fmla="*/ 157 w 1934"/>
                <a:gd name="T17" fmla="*/ 315 h 2515"/>
                <a:gd name="T18" fmla="*/ 1199 w 1934"/>
                <a:gd name="T19" fmla="*/ 315 h 2515"/>
                <a:gd name="T20" fmla="*/ 1199 w 1934"/>
                <a:gd name="T21" fmla="*/ 2275 h 2515"/>
                <a:gd name="T22" fmla="*/ 583 w 1934"/>
                <a:gd name="T23" fmla="*/ 2275 h 2515"/>
                <a:gd name="T24" fmla="*/ 464 w 1934"/>
                <a:gd name="T25" fmla="*/ 2395 h 2515"/>
                <a:gd name="T26" fmla="*/ 583 w 1934"/>
                <a:gd name="T27" fmla="*/ 2515 h 2515"/>
                <a:gd name="T28" fmla="*/ 1815 w 1934"/>
                <a:gd name="T29" fmla="*/ 2515 h 2515"/>
                <a:gd name="T30" fmla="*/ 1934 w 1934"/>
                <a:gd name="T31" fmla="*/ 2395 h 2515"/>
                <a:gd name="T32" fmla="*/ 1815 w 1934"/>
                <a:gd name="T33" fmla="*/ 2275 h 2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4" h="2515">
                  <a:moveTo>
                    <a:pt x="1815" y="2275"/>
                  </a:moveTo>
                  <a:cubicBezTo>
                    <a:pt x="1704" y="2275"/>
                    <a:pt x="1704" y="2275"/>
                    <a:pt x="1704" y="2275"/>
                  </a:cubicBezTo>
                  <a:cubicBezTo>
                    <a:pt x="1704" y="315"/>
                    <a:pt x="1704" y="315"/>
                    <a:pt x="1704" y="315"/>
                  </a:cubicBezTo>
                  <a:cubicBezTo>
                    <a:pt x="1777" y="315"/>
                    <a:pt x="1777" y="315"/>
                    <a:pt x="1777" y="315"/>
                  </a:cubicBezTo>
                  <a:cubicBezTo>
                    <a:pt x="1864" y="315"/>
                    <a:pt x="1934" y="245"/>
                    <a:pt x="1934" y="158"/>
                  </a:cubicBezTo>
                  <a:cubicBezTo>
                    <a:pt x="1934" y="71"/>
                    <a:pt x="1864" y="0"/>
                    <a:pt x="1777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70" y="0"/>
                    <a:pt x="0" y="71"/>
                    <a:pt x="0" y="158"/>
                  </a:cubicBezTo>
                  <a:cubicBezTo>
                    <a:pt x="0" y="245"/>
                    <a:pt x="70" y="315"/>
                    <a:pt x="157" y="315"/>
                  </a:cubicBezTo>
                  <a:cubicBezTo>
                    <a:pt x="1199" y="315"/>
                    <a:pt x="1199" y="315"/>
                    <a:pt x="1199" y="315"/>
                  </a:cubicBezTo>
                  <a:cubicBezTo>
                    <a:pt x="1199" y="2275"/>
                    <a:pt x="1199" y="2275"/>
                    <a:pt x="1199" y="2275"/>
                  </a:cubicBezTo>
                  <a:cubicBezTo>
                    <a:pt x="583" y="2275"/>
                    <a:pt x="583" y="2275"/>
                    <a:pt x="583" y="2275"/>
                  </a:cubicBezTo>
                  <a:cubicBezTo>
                    <a:pt x="517" y="2275"/>
                    <a:pt x="464" y="2329"/>
                    <a:pt x="464" y="2395"/>
                  </a:cubicBezTo>
                  <a:cubicBezTo>
                    <a:pt x="464" y="2461"/>
                    <a:pt x="517" y="2515"/>
                    <a:pt x="583" y="2515"/>
                  </a:cubicBezTo>
                  <a:cubicBezTo>
                    <a:pt x="1815" y="2515"/>
                    <a:pt x="1815" y="2515"/>
                    <a:pt x="1815" y="2515"/>
                  </a:cubicBezTo>
                  <a:cubicBezTo>
                    <a:pt x="1881" y="2515"/>
                    <a:pt x="1934" y="2461"/>
                    <a:pt x="1934" y="2395"/>
                  </a:cubicBezTo>
                  <a:cubicBezTo>
                    <a:pt x="1934" y="2329"/>
                    <a:pt x="1881" y="2275"/>
                    <a:pt x="1815" y="227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22"/>
            <p:cNvSpPr>
              <a:spLocks/>
            </p:cNvSpPr>
            <p:nvPr/>
          </p:nvSpPr>
          <p:spPr bwMode="auto">
            <a:xfrm>
              <a:off x="6670675" y="1795463"/>
              <a:ext cx="744537" cy="601663"/>
            </a:xfrm>
            <a:custGeom>
              <a:avLst/>
              <a:gdLst>
                <a:gd name="T0" fmla="*/ 1418 w 1501"/>
                <a:gd name="T1" fmla="*/ 13 h 1212"/>
                <a:gd name="T2" fmla="*/ 1296 w 1501"/>
                <a:gd name="T3" fmla="*/ 103 h 1212"/>
                <a:gd name="T4" fmla="*/ 1076 w 1501"/>
                <a:gd name="T5" fmla="*/ 1017 h 1212"/>
                <a:gd name="T6" fmla="*/ 98 w 1501"/>
                <a:gd name="T7" fmla="*/ 1017 h 1212"/>
                <a:gd name="T8" fmla="*/ 0 w 1501"/>
                <a:gd name="T9" fmla="*/ 1115 h 1212"/>
                <a:gd name="T10" fmla="*/ 98 w 1501"/>
                <a:gd name="T11" fmla="*/ 1212 h 1212"/>
                <a:gd name="T12" fmla="*/ 1150 w 1501"/>
                <a:gd name="T13" fmla="*/ 1212 h 1212"/>
                <a:gd name="T14" fmla="*/ 1150 w 1501"/>
                <a:gd name="T15" fmla="*/ 1212 h 1212"/>
                <a:gd name="T16" fmla="*/ 1152 w 1501"/>
                <a:gd name="T17" fmla="*/ 1212 h 1212"/>
                <a:gd name="T18" fmla="*/ 1248 w 1501"/>
                <a:gd name="T19" fmla="*/ 1134 h 1212"/>
                <a:gd name="T20" fmla="*/ 1253 w 1501"/>
                <a:gd name="T21" fmla="*/ 1119 h 1212"/>
                <a:gd name="T22" fmla="*/ 1486 w 1501"/>
                <a:gd name="T23" fmla="*/ 149 h 1212"/>
                <a:gd name="T24" fmla="*/ 1418 w 1501"/>
                <a:gd name="T25" fmla="*/ 13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1" h="1212">
                  <a:moveTo>
                    <a:pt x="1418" y="13"/>
                  </a:moveTo>
                  <a:cubicBezTo>
                    <a:pt x="1366" y="0"/>
                    <a:pt x="1311" y="41"/>
                    <a:pt x="1296" y="103"/>
                  </a:cubicBezTo>
                  <a:cubicBezTo>
                    <a:pt x="1076" y="1017"/>
                    <a:pt x="1076" y="1017"/>
                    <a:pt x="1076" y="1017"/>
                  </a:cubicBezTo>
                  <a:cubicBezTo>
                    <a:pt x="98" y="1017"/>
                    <a:pt x="98" y="1017"/>
                    <a:pt x="98" y="1017"/>
                  </a:cubicBezTo>
                  <a:cubicBezTo>
                    <a:pt x="44" y="1017"/>
                    <a:pt x="0" y="1061"/>
                    <a:pt x="0" y="1115"/>
                  </a:cubicBezTo>
                  <a:cubicBezTo>
                    <a:pt x="0" y="1169"/>
                    <a:pt x="44" y="1212"/>
                    <a:pt x="98" y="1212"/>
                  </a:cubicBezTo>
                  <a:cubicBezTo>
                    <a:pt x="1150" y="1212"/>
                    <a:pt x="1150" y="1212"/>
                    <a:pt x="1150" y="1212"/>
                  </a:cubicBezTo>
                  <a:cubicBezTo>
                    <a:pt x="1150" y="1212"/>
                    <a:pt x="1150" y="1212"/>
                    <a:pt x="1150" y="1212"/>
                  </a:cubicBezTo>
                  <a:cubicBezTo>
                    <a:pt x="1152" y="1212"/>
                    <a:pt x="1152" y="1212"/>
                    <a:pt x="1152" y="1212"/>
                  </a:cubicBezTo>
                  <a:cubicBezTo>
                    <a:pt x="1200" y="1212"/>
                    <a:pt x="1239" y="1179"/>
                    <a:pt x="1248" y="1134"/>
                  </a:cubicBezTo>
                  <a:cubicBezTo>
                    <a:pt x="1250" y="1129"/>
                    <a:pt x="1252" y="1124"/>
                    <a:pt x="1253" y="1119"/>
                  </a:cubicBezTo>
                  <a:cubicBezTo>
                    <a:pt x="1486" y="149"/>
                    <a:pt x="1486" y="149"/>
                    <a:pt x="1486" y="149"/>
                  </a:cubicBezTo>
                  <a:cubicBezTo>
                    <a:pt x="1501" y="86"/>
                    <a:pt x="1470" y="25"/>
                    <a:pt x="1418" y="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5832475" y="1543050"/>
              <a:ext cx="854075" cy="1919288"/>
              <a:chOff x="1743075" y="1249363"/>
              <a:chExt cx="854075" cy="1919288"/>
            </a:xfrm>
            <a:solidFill>
              <a:schemeClr val="accent1"/>
            </a:solidFill>
          </p:grpSpPr>
          <p:sp>
            <p:nvSpPr>
              <p:cNvPr id="46" name="Freeform 23"/>
              <p:cNvSpPr>
                <a:spLocks/>
              </p:cNvSpPr>
              <p:nvPr/>
            </p:nvSpPr>
            <p:spPr bwMode="auto">
              <a:xfrm>
                <a:off x="1743075" y="1651001"/>
                <a:ext cx="854075" cy="1517650"/>
              </a:xfrm>
              <a:custGeom>
                <a:avLst/>
                <a:gdLst>
                  <a:gd name="T0" fmla="*/ 0 w 1720"/>
                  <a:gd name="T1" fmla="*/ 349 h 3056"/>
                  <a:gd name="T2" fmla="*/ 349 w 1720"/>
                  <a:gd name="T3" fmla="*/ 0 h 3056"/>
                  <a:gd name="T4" fmla="*/ 595 w 1720"/>
                  <a:gd name="T5" fmla="*/ 101 h 3056"/>
                  <a:gd name="T6" fmla="*/ 624 w 1720"/>
                  <a:gd name="T7" fmla="*/ 122 h 3056"/>
                  <a:gd name="T8" fmla="*/ 1064 w 1720"/>
                  <a:gd name="T9" fmla="*/ 562 h 3056"/>
                  <a:gd name="T10" fmla="*/ 1593 w 1720"/>
                  <a:gd name="T11" fmla="*/ 562 h 3056"/>
                  <a:gd name="T12" fmla="*/ 1720 w 1720"/>
                  <a:gd name="T13" fmla="*/ 689 h 3056"/>
                  <a:gd name="T14" fmla="*/ 1593 w 1720"/>
                  <a:gd name="T15" fmla="*/ 815 h 3056"/>
                  <a:gd name="T16" fmla="*/ 1035 w 1720"/>
                  <a:gd name="T17" fmla="*/ 815 h 3056"/>
                  <a:gd name="T18" fmla="*/ 1035 w 1720"/>
                  <a:gd name="T19" fmla="*/ 815 h 3056"/>
                  <a:gd name="T20" fmla="*/ 1007 w 1720"/>
                  <a:gd name="T21" fmla="*/ 815 h 3056"/>
                  <a:gd name="T22" fmla="*/ 1007 w 1720"/>
                  <a:gd name="T23" fmla="*/ 811 h 3056"/>
                  <a:gd name="T24" fmla="*/ 953 w 1720"/>
                  <a:gd name="T25" fmla="*/ 781 h 3056"/>
                  <a:gd name="T26" fmla="*/ 698 w 1720"/>
                  <a:gd name="T27" fmla="*/ 526 h 3056"/>
                  <a:gd name="T28" fmla="*/ 698 w 1720"/>
                  <a:gd name="T29" fmla="*/ 1322 h 3056"/>
                  <a:gd name="T30" fmla="*/ 1505 w 1720"/>
                  <a:gd name="T31" fmla="*/ 1322 h 3056"/>
                  <a:gd name="T32" fmla="*/ 1518 w 1720"/>
                  <a:gd name="T33" fmla="*/ 1323 h 3056"/>
                  <a:gd name="T34" fmla="*/ 1530 w 1720"/>
                  <a:gd name="T35" fmla="*/ 1322 h 3056"/>
                  <a:gd name="T36" fmla="*/ 1720 w 1720"/>
                  <a:gd name="T37" fmla="*/ 1512 h 3056"/>
                  <a:gd name="T38" fmla="*/ 1720 w 1720"/>
                  <a:gd name="T39" fmla="*/ 1537 h 3056"/>
                  <a:gd name="T40" fmla="*/ 1720 w 1720"/>
                  <a:gd name="T41" fmla="*/ 1537 h 3056"/>
                  <a:gd name="T42" fmla="*/ 1720 w 1720"/>
                  <a:gd name="T43" fmla="*/ 1537 h 3056"/>
                  <a:gd name="T44" fmla="*/ 1720 w 1720"/>
                  <a:gd name="T45" fmla="*/ 2866 h 3056"/>
                  <a:gd name="T46" fmla="*/ 1530 w 1720"/>
                  <a:gd name="T47" fmla="*/ 3056 h 3056"/>
                  <a:gd name="T48" fmla="*/ 1340 w 1720"/>
                  <a:gd name="T49" fmla="*/ 2866 h 3056"/>
                  <a:gd name="T50" fmla="*/ 1340 w 1720"/>
                  <a:gd name="T51" fmla="*/ 1752 h 3056"/>
                  <a:gd name="T52" fmla="*/ 215 w 1720"/>
                  <a:gd name="T53" fmla="*/ 1752 h 3056"/>
                  <a:gd name="T54" fmla="*/ 0 w 1720"/>
                  <a:gd name="T55" fmla="*/ 1537 h 3056"/>
                  <a:gd name="T56" fmla="*/ 0 w 1720"/>
                  <a:gd name="T57" fmla="*/ 1403 h 3056"/>
                  <a:gd name="T58" fmla="*/ 0 w 1720"/>
                  <a:gd name="T59" fmla="*/ 349 h 3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20" h="3056">
                    <a:moveTo>
                      <a:pt x="0" y="349"/>
                    </a:moveTo>
                    <a:cubicBezTo>
                      <a:pt x="0" y="156"/>
                      <a:pt x="156" y="0"/>
                      <a:pt x="349" y="0"/>
                    </a:cubicBezTo>
                    <a:cubicBezTo>
                      <a:pt x="445" y="0"/>
                      <a:pt x="531" y="38"/>
                      <a:pt x="595" y="101"/>
                    </a:cubicBezTo>
                    <a:cubicBezTo>
                      <a:pt x="605" y="106"/>
                      <a:pt x="615" y="113"/>
                      <a:pt x="624" y="122"/>
                    </a:cubicBezTo>
                    <a:cubicBezTo>
                      <a:pt x="1064" y="562"/>
                      <a:pt x="1064" y="562"/>
                      <a:pt x="1064" y="562"/>
                    </a:cubicBezTo>
                    <a:cubicBezTo>
                      <a:pt x="1593" y="562"/>
                      <a:pt x="1593" y="562"/>
                      <a:pt x="1593" y="562"/>
                    </a:cubicBezTo>
                    <a:cubicBezTo>
                      <a:pt x="1663" y="562"/>
                      <a:pt x="1720" y="619"/>
                      <a:pt x="1720" y="689"/>
                    </a:cubicBezTo>
                    <a:cubicBezTo>
                      <a:pt x="1720" y="758"/>
                      <a:pt x="1663" y="815"/>
                      <a:pt x="1593" y="815"/>
                    </a:cubicBezTo>
                    <a:cubicBezTo>
                      <a:pt x="1035" y="815"/>
                      <a:pt x="1035" y="815"/>
                      <a:pt x="1035" y="815"/>
                    </a:cubicBezTo>
                    <a:cubicBezTo>
                      <a:pt x="1035" y="815"/>
                      <a:pt x="1035" y="815"/>
                      <a:pt x="1035" y="815"/>
                    </a:cubicBezTo>
                    <a:cubicBezTo>
                      <a:pt x="1007" y="815"/>
                      <a:pt x="1007" y="815"/>
                      <a:pt x="1007" y="815"/>
                    </a:cubicBezTo>
                    <a:cubicBezTo>
                      <a:pt x="1007" y="811"/>
                      <a:pt x="1007" y="811"/>
                      <a:pt x="1007" y="811"/>
                    </a:cubicBezTo>
                    <a:cubicBezTo>
                      <a:pt x="987" y="806"/>
                      <a:pt x="968" y="796"/>
                      <a:pt x="953" y="781"/>
                    </a:cubicBezTo>
                    <a:cubicBezTo>
                      <a:pt x="698" y="526"/>
                      <a:pt x="698" y="526"/>
                      <a:pt x="698" y="526"/>
                    </a:cubicBezTo>
                    <a:cubicBezTo>
                      <a:pt x="698" y="1322"/>
                      <a:pt x="698" y="1322"/>
                      <a:pt x="698" y="1322"/>
                    </a:cubicBezTo>
                    <a:cubicBezTo>
                      <a:pt x="1505" y="1322"/>
                      <a:pt x="1505" y="1322"/>
                      <a:pt x="1505" y="1322"/>
                    </a:cubicBezTo>
                    <a:cubicBezTo>
                      <a:pt x="1509" y="1322"/>
                      <a:pt x="1513" y="1322"/>
                      <a:pt x="1518" y="1323"/>
                    </a:cubicBezTo>
                    <a:cubicBezTo>
                      <a:pt x="1522" y="1322"/>
                      <a:pt x="1526" y="1322"/>
                      <a:pt x="1530" y="1322"/>
                    </a:cubicBezTo>
                    <a:cubicBezTo>
                      <a:pt x="1635" y="1322"/>
                      <a:pt x="1720" y="1407"/>
                      <a:pt x="1720" y="1512"/>
                    </a:cubicBezTo>
                    <a:cubicBezTo>
                      <a:pt x="1720" y="1537"/>
                      <a:pt x="1720" y="1537"/>
                      <a:pt x="1720" y="1537"/>
                    </a:cubicBezTo>
                    <a:cubicBezTo>
                      <a:pt x="1720" y="1537"/>
                      <a:pt x="1720" y="1537"/>
                      <a:pt x="1720" y="1537"/>
                    </a:cubicBezTo>
                    <a:cubicBezTo>
                      <a:pt x="1720" y="1537"/>
                      <a:pt x="1720" y="1537"/>
                      <a:pt x="1720" y="1537"/>
                    </a:cubicBezTo>
                    <a:cubicBezTo>
                      <a:pt x="1720" y="2866"/>
                      <a:pt x="1720" y="2866"/>
                      <a:pt x="1720" y="2866"/>
                    </a:cubicBezTo>
                    <a:cubicBezTo>
                      <a:pt x="1720" y="2971"/>
                      <a:pt x="1635" y="3056"/>
                      <a:pt x="1530" y="3056"/>
                    </a:cubicBezTo>
                    <a:cubicBezTo>
                      <a:pt x="1425" y="3056"/>
                      <a:pt x="1340" y="2971"/>
                      <a:pt x="1340" y="2866"/>
                    </a:cubicBezTo>
                    <a:cubicBezTo>
                      <a:pt x="1340" y="1752"/>
                      <a:pt x="1340" y="1752"/>
                      <a:pt x="1340" y="1752"/>
                    </a:cubicBezTo>
                    <a:cubicBezTo>
                      <a:pt x="215" y="1752"/>
                      <a:pt x="215" y="1752"/>
                      <a:pt x="215" y="1752"/>
                    </a:cubicBezTo>
                    <a:cubicBezTo>
                      <a:pt x="96" y="1752"/>
                      <a:pt x="0" y="1656"/>
                      <a:pt x="0" y="1537"/>
                    </a:cubicBezTo>
                    <a:cubicBezTo>
                      <a:pt x="0" y="1517"/>
                      <a:pt x="0" y="1429"/>
                      <a:pt x="0" y="1403"/>
                    </a:cubicBezTo>
                    <a:lnTo>
                      <a:pt x="0" y="3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7" name="Oval 24"/>
              <p:cNvSpPr>
                <a:spLocks noChangeArrowheads="1"/>
              </p:cNvSpPr>
              <p:nvPr/>
            </p:nvSpPr>
            <p:spPr bwMode="auto">
              <a:xfrm>
                <a:off x="1755775" y="1249363"/>
                <a:ext cx="347662" cy="3476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48" name="Freeform 25"/>
            <p:cNvSpPr>
              <a:spLocks/>
            </p:cNvSpPr>
            <p:nvPr/>
          </p:nvSpPr>
          <p:spPr bwMode="auto">
            <a:xfrm>
              <a:off x="5602288" y="2071688"/>
              <a:ext cx="873125" cy="1527175"/>
            </a:xfrm>
            <a:custGeom>
              <a:avLst/>
              <a:gdLst>
                <a:gd name="T0" fmla="*/ 190 w 1758"/>
                <a:gd name="T1" fmla="*/ 0 h 3078"/>
                <a:gd name="T2" fmla="*/ 190 w 1758"/>
                <a:gd name="T3" fmla="*/ 0 h 3078"/>
                <a:gd name="T4" fmla="*/ 379 w 1758"/>
                <a:gd name="T5" fmla="*/ 190 h 3078"/>
                <a:gd name="T6" fmla="*/ 379 w 1758"/>
                <a:gd name="T7" fmla="*/ 1554 h 3078"/>
                <a:gd name="T8" fmla="*/ 1568 w 1758"/>
                <a:gd name="T9" fmla="*/ 1554 h 3078"/>
                <a:gd name="T10" fmla="*/ 1758 w 1758"/>
                <a:gd name="T11" fmla="*/ 1744 h 3078"/>
                <a:gd name="T12" fmla="*/ 1568 w 1758"/>
                <a:gd name="T13" fmla="*/ 1933 h 3078"/>
                <a:gd name="T14" fmla="*/ 945 w 1758"/>
                <a:gd name="T15" fmla="*/ 1933 h 3078"/>
                <a:gd name="T16" fmla="*/ 945 w 1758"/>
                <a:gd name="T17" fmla="*/ 2905 h 3078"/>
                <a:gd name="T18" fmla="*/ 1379 w 1758"/>
                <a:gd name="T19" fmla="*/ 2905 h 3078"/>
                <a:gd name="T20" fmla="*/ 1465 w 1758"/>
                <a:gd name="T21" fmla="*/ 2992 h 3078"/>
                <a:gd name="T22" fmla="*/ 1379 w 1758"/>
                <a:gd name="T23" fmla="*/ 3078 h 3078"/>
                <a:gd name="T24" fmla="*/ 439 w 1758"/>
                <a:gd name="T25" fmla="*/ 3078 h 3078"/>
                <a:gd name="T26" fmla="*/ 352 w 1758"/>
                <a:gd name="T27" fmla="*/ 2992 h 3078"/>
                <a:gd name="T28" fmla="*/ 439 w 1758"/>
                <a:gd name="T29" fmla="*/ 2905 h 3078"/>
                <a:gd name="T30" fmla="*/ 813 w 1758"/>
                <a:gd name="T31" fmla="*/ 2905 h 3078"/>
                <a:gd name="T32" fmla="*/ 813 w 1758"/>
                <a:gd name="T33" fmla="*/ 1933 h 3078"/>
                <a:gd name="T34" fmla="*/ 190 w 1758"/>
                <a:gd name="T35" fmla="*/ 1933 h 3078"/>
                <a:gd name="T36" fmla="*/ 190 w 1758"/>
                <a:gd name="T37" fmla="*/ 1933 h 3078"/>
                <a:gd name="T38" fmla="*/ 0 w 1758"/>
                <a:gd name="T39" fmla="*/ 1744 h 3078"/>
                <a:gd name="T40" fmla="*/ 0 w 1758"/>
                <a:gd name="T41" fmla="*/ 190 h 3078"/>
                <a:gd name="T42" fmla="*/ 190 w 1758"/>
                <a:gd name="T43" fmla="*/ 0 h 3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58" h="3078">
                  <a:moveTo>
                    <a:pt x="190" y="0"/>
                  </a:moveTo>
                  <a:cubicBezTo>
                    <a:pt x="190" y="0"/>
                    <a:pt x="190" y="0"/>
                    <a:pt x="190" y="0"/>
                  </a:cubicBezTo>
                  <a:cubicBezTo>
                    <a:pt x="294" y="0"/>
                    <a:pt x="379" y="86"/>
                    <a:pt x="379" y="190"/>
                  </a:cubicBezTo>
                  <a:cubicBezTo>
                    <a:pt x="379" y="1554"/>
                    <a:pt x="379" y="1554"/>
                    <a:pt x="379" y="1554"/>
                  </a:cubicBezTo>
                  <a:cubicBezTo>
                    <a:pt x="1568" y="1554"/>
                    <a:pt x="1568" y="1554"/>
                    <a:pt x="1568" y="1554"/>
                  </a:cubicBezTo>
                  <a:cubicBezTo>
                    <a:pt x="1672" y="1554"/>
                    <a:pt x="1758" y="1640"/>
                    <a:pt x="1758" y="1744"/>
                  </a:cubicBezTo>
                  <a:cubicBezTo>
                    <a:pt x="1758" y="1848"/>
                    <a:pt x="1672" y="1933"/>
                    <a:pt x="1568" y="1933"/>
                  </a:cubicBezTo>
                  <a:cubicBezTo>
                    <a:pt x="945" y="1933"/>
                    <a:pt x="945" y="1933"/>
                    <a:pt x="945" y="1933"/>
                  </a:cubicBezTo>
                  <a:cubicBezTo>
                    <a:pt x="945" y="2905"/>
                    <a:pt x="945" y="2905"/>
                    <a:pt x="945" y="2905"/>
                  </a:cubicBezTo>
                  <a:cubicBezTo>
                    <a:pt x="1379" y="2905"/>
                    <a:pt x="1379" y="2905"/>
                    <a:pt x="1379" y="2905"/>
                  </a:cubicBezTo>
                  <a:cubicBezTo>
                    <a:pt x="1426" y="2905"/>
                    <a:pt x="1465" y="2944"/>
                    <a:pt x="1465" y="2992"/>
                  </a:cubicBezTo>
                  <a:cubicBezTo>
                    <a:pt x="1465" y="3040"/>
                    <a:pt x="1426" y="3078"/>
                    <a:pt x="1379" y="3078"/>
                  </a:cubicBezTo>
                  <a:cubicBezTo>
                    <a:pt x="439" y="3078"/>
                    <a:pt x="439" y="3078"/>
                    <a:pt x="439" y="3078"/>
                  </a:cubicBezTo>
                  <a:cubicBezTo>
                    <a:pt x="391" y="3078"/>
                    <a:pt x="352" y="3040"/>
                    <a:pt x="352" y="2992"/>
                  </a:cubicBezTo>
                  <a:cubicBezTo>
                    <a:pt x="352" y="2944"/>
                    <a:pt x="391" y="2905"/>
                    <a:pt x="439" y="2905"/>
                  </a:cubicBezTo>
                  <a:cubicBezTo>
                    <a:pt x="813" y="2905"/>
                    <a:pt x="813" y="2905"/>
                    <a:pt x="813" y="2905"/>
                  </a:cubicBezTo>
                  <a:cubicBezTo>
                    <a:pt x="813" y="1933"/>
                    <a:pt x="813" y="1933"/>
                    <a:pt x="813" y="1933"/>
                  </a:cubicBezTo>
                  <a:cubicBezTo>
                    <a:pt x="190" y="1933"/>
                    <a:pt x="190" y="1933"/>
                    <a:pt x="190" y="1933"/>
                  </a:cubicBezTo>
                  <a:cubicBezTo>
                    <a:pt x="190" y="1933"/>
                    <a:pt x="190" y="1933"/>
                    <a:pt x="190" y="1933"/>
                  </a:cubicBezTo>
                  <a:cubicBezTo>
                    <a:pt x="85" y="1933"/>
                    <a:pt x="0" y="1848"/>
                    <a:pt x="0" y="1744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86"/>
                    <a:pt x="85" y="0"/>
                    <a:pt x="19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7050372" y="1864129"/>
            <a:ext cx="1377090" cy="1818466"/>
            <a:chOff x="4040188" y="1670050"/>
            <a:chExt cx="1362075" cy="1798638"/>
          </a:xfrm>
          <a:solidFill>
            <a:schemeClr val="accent2"/>
          </a:solidFill>
        </p:grpSpPr>
        <p:sp>
          <p:nvSpPr>
            <p:cNvPr id="23" name="Oval 7"/>
            <p:cNvSpPr>
              <a:spLocks noChangeArrowheads="1"/>
            </p:cNvSpPr>
            <p:nvPr/>
          </p:nvSpPr>
          <p:spPr bwMode="auto">
            <a:xfrm>
              <a:off x="4584700" y="1701800"/>
              <a:ext cx="271463" cy="273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4040188" y="1670050"/>
              <a:ext cx="1362075" cy="1798638"/>
            </a:xfrm>
            <a:custGeom>
              <a:avLst/>
              <a:gdLst>
                <a:gd name="T0" fmla="*/ 4482 w 4554"/>
                <a:gd name="T1" fmla="*/ 76 h 6021"/>
                <a:gd name="T2" fmla="*/ 4210 w 4554"/>
                <a:gd name="T3" fmla="*/ 77 h 6021"/>
                <a:gd name="T4" fmla="*/ 3139 w 4554"/>
                <a:gd name="T5" fmla="*/ 1147 h 6021"/>
                <a:gd name="T6" fmla="*/ 2961 w 4554"/>
                <a:gd name="T7" fmla="*/ 1112 h 6021"/>
                <a:gd name="T8" fmla="*/ 2607 w 4554"/>
                <a:gd name="T9" fmla="*/ 1112 h 6021"/>
                <a:gd name="T10" fmla="*/ 2557 w 4554"/>
                <a:gd name="T11" fmla="*/ 1485 h 6021"/>
                <a:gd name="T12" fmla="*/ 2446 w 4554"/>
                <a:gd name="T13" fmla="*/ 1856 h 6021"/>
                <a:gd name="T14" fmla="*/ 2379 w 4554"/>
                <a:gd name="T15" fmla="*/ 1581 h 6021"/>
                <a:gd name="T16" fmla="*/ 2322 w 4554"/>
                <a:gd name="T17" fmla="*/ 1432 h 6021"/>
                <a:gd name="T18" fmla="*/ 2412 w 4554"/>
                <a:gd name="T19" fmla="*/ 1338 h 6021"/>
                <a:gd name="T20" fmla="*/ 2280 w 4554"/>
                <a:gd name="T21" fmla="*/ 1201 h 6021"/>
                <a:gd name="T22" fmla="*/ 2280 w 4554"/>
                <a:gd name="T23" fmla="*/ 1199 h 6021"/>
                <a:gd name="T24" fmla="*/ 2278 w 4554"/>
                <a:gd name="T25" fmla="*/ 1197 h 6021"/>
                <a:gd name="T26" fmla="*/ 2277 w 4554"/>
                <a:gd name="T27" fmla="*/ 1198 h 6021"/>
                <a:gd name="T28" fmla="*/ 2276 w 4554"/>
                <a:gd name="T29" fmla="*/ 1197 h 6021"/>
                <a:gd name="T30" fmla="*/ 2274 w 4554"/>
                <a:gd name="T31" fmla="*/ 1199 h 6021"/>
                <a:gd name="T32" fmla="*/ 2274 w 4554"/>
                <a:gd name="T33" fmla="*/ 1201 h 6021"/>
                <a:gd name="T34" fmla="*/ 2142 w 4554"/>
                <a:gd name="T35" fmla="*/ 1338 h 6021"/>
                <a:gd name="T36" fmla="*/ 2232 w 4554"/>
                <a:gd name="T37" fmla="*/ 1432 h 6021"/>
                <a:gd name="T38" fmla="*/ 2175 w 4554"/>
                <a:gd name="T39" fmla="*/ 1581 h 6021"/>
                <a:gd name="T40" fmla="*/ 2108 w 4554"/>
                <a:gd name="T41" fmla="*/ 1856 h 6021"/>
                <a:gd name="T42" fmla="*/ 1997 w 4554"/>
                <a:gd name="T43" fmla="*/ 1485 h 6021"/>
                <a:gd name="T44" fmla="*/ 1947 w 4554"/>
                <a:gd name="T45" fmla="*/ 1112 h 6021"/>
                <a:gd name="T46" fmla="*/ 1593 w 4554"/>
                <a:gd name="T47" fmla="*/ 1112 h 6021"/>
                <a:gd name="T48" fmla="*/ 1415 w 4554"/>
                <a:gd name="T49" fmla="*/ 1147 h 6021"/>
                <a:gd name="T50" fmla="*/ 344 w 4554"/>
                <a:gd name="T51" fmla="*/ 77 h 6021"/>
                <a:gd name="T52" fmla="*/ 72 w 4554"/>
                <a:gd name="T53" fmla="*/ 76 h 6021"/>
                <a:gd name="T54" fmla="*/ 77 w 4554"/>
                <a:gd name="T55" fmla="*/ 345 h 6021"/>
                <a:gd name="T56" fmla="*/ 1596 w 4554"/>
                <a:gd name="T57" fmla="*/ 1876 h 6021"/>
                <a:gd name="T58" fmla="*/ 1684 w 4554"/>
                <a:gd name="T59" fmla="*/ 1876 h 6021"/>
                <a:gd name="T60" fmla="*/ 1684 w 4554"/>
                <a:gd name="T61" fmla="*/ 5763 h 6021"/>
                <a:gd name="T62" fmla="*/ 1945 w 4554"/>
                <a:gd name="T63" fmla="*/ 6021 h 6021"/>
                <a:gd name="T64" fmla="*/ 2201 w 4554"/>
                <a:gd name="T65" fmla="*/ 5763 h 6021"/>
                <a:gd name="T66" fmla="*/ 2201 w 4554"/>
                <a:gd name="T67" fmla="*/ 3472 h 6021"/>
                <a:gd name="T68" fmla="*/ 2274 w 4554"/>
                <a:gd name="T69" fmla="*/ 3472 h 6021"/>
                <a:gd name="T70" fmla="*/ 2280 w 4554"/>
                <a:gd name="T71" fmla="*/ 3472 h 6021"/>
                <a:gd name="T72" fmla="*/ 2353 w 4554"/>
                <a:gd name="T73" fmla="*/ 3472 h 6021"/>
                <a:gd name="T74" fmla="*/ 2353 w 4554"/>
                <a:gd name="T75" fmla="*/ 5763 h 6021"/>
                <a:gd name="T76" fmla="*/ 2609 w 4554"/>
                <a:gd name="T77" fmla="*/ 6021 h 6021"/>
                <a:gd name="T78" fmla="*/ 2871 w 4554"/>
                <a:gd name="T79" fmla="*/ 5763 h 6021"/>
                <a:gd name="T80" fmla="*/ 2871 w 4554"/>
                <a:gd name="T81" fmla="*/ 1876 h 6021"/>
                <a:gd name="T82" fmla="*/ 2958 w 4554"/>
                <a:gd name="T83" fmla="*/ 1876 h 6021"/>
                <a:gd name="T84" fmla="*/ 4477 w 4554"/>
                <a:gd name="T85" fmla="*/ 345 h 6021"/>
                <a:gd name="T86" fmla="*/ 4482 w 4554"/>
                <a:gd name="T87" fmla="*/ 76 h 6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54" h="6021">
                  <a:moveTo>
                    <a:pt x="4482" y="76"/>
                  </a:moveTo>
                  <a:cubicBezTo>
                    <a:pt x="4407" y="0"/>
                    <a:pt x="4286" y="1"/>
                    <a:pt x="4210" y="77"/>
                  </a:cubicBezTo>
                  <a:cubicBezTo>
                    <a:pt x="4210" y="77"/>
                    <a:pt x="3580" y="707"/>
                    <a:pt x="3139" y="1147"/>
                  </a:cubicBezTo>
                  <a:cubicBezTo>
                    <a:pt x="3084" y="1125"/>
                    <a:pt x="3024" y="1112"/>
                    <a:pt x="2961" y="1112"/>
                  </a:cubicBezTo>
                  <a:cubicBezTo>
                    <a:pt x="2961" y="1112"/>
                    <a:pt x="2961" y="1112"/>
                    <a:pt x="2607" y="1112"/>
                  </a:cubicBezTo>
                  <a:cubicBezTo>
                    <a:pt x="2604" y="1156"/>
                    <a:pt x="2592" y="1316"/>
                    <a:pt x="2557" y="1485"/>
                  </a:cubicBezTo>
                  <a:cubicBezTo>
                    <a:pt x="2537" y="1581"/>
                    <a:pt x="2446" y="1856"/>
                    <a:pt x="2446" y="1856"/>
                  </a:cubicBezTo>
                  <a:cubicBezTo>
                    <a:pt x="2446" y="1856"/>
                    <a:pt x="2396" y="1646"/>
                    <a:pt x="2379" y="1581"/>
                  </a:cubicBezTo>
                  <a:cubicBezTo>
                    <a:pt x="2367" y="1535"/>
                    <a:pt x="2322" y="1432"/>
                    <a:pt x="2322" y="1432"/>
                  </a:cubicBezTo>
                  <a:cubicBezTo>
                    <a:pt x="2412" y="1338"/>
                    <a:pt x="2412" y="1338"/>
                    <a:pt x="2412" y="1338"/>
                  </a:cubicBezTo>
                  <a:cubicBezTo>
                    <a:pt x="2280" y="1201"/>
                    <a:pt x="2280" y="1201"/>
                    <a:pt x="2280" y="1201"/>
                  </a:cubicBezTo>
                  <a:cubicBezTo>
                    <a:pt x="2280" y="1199"/>
                    <a:pt x="2280" y="1199"/>
                    <a:pt x="2280" y="1199"/>
                  </a:cubicBezTo>
                  <a:cubicBezTo>
                    <a:pt x="2278" y="1197"/>
                    <a:pt x="2278" y="1197"/>
                    <a:pt x="2278" y="1197"/>
                  </a:cubicBezTo>
                  <a:cubicBezTo>
                    <a:pt x="2277" y="1198"/>
                    <a:pt x="2277" y="1198"/>
                    <a:pt x="2277" y="1198"/>
                  </a:cubicBezTo>
                  <a:cubicBezTo>
                    <a:pt x="2276" y="1197"/>
                    <a:pt x="2276" y="1197"/>
                    <a:pt x="2276" y="1197"/>
                  </a:cubicBezTo>
                  <a:cubicBezTo>
                    <a:pt x="2274" y="1199"/>
                    <a:pt x="2274" y="1199"/>
                    <a:pt x="2274" y="1199"/>
                  </a:cubicBezTo>
                  <a:cubicBezTo>
                    <a:pt x="2274" y="1201"/>
                    <a:pt x="2274" y="1201"/>
                    <a:pt x="2274" y="1201"/>
                  </a:cubicBezTo>
                  <a:cubicBezTo>
                    <a:pt x="2142" y="1338"/>
                    <a:pt x="2142" y="1338"/>
                    <a:pt x="2142" y="1338"/>
                  </a:cubicBezTo>
                  <a:cubicBezTo>
                    <a:pt x="2232" y="1432"/>
                    <a:pt x="2232" y="1432"/>
                    <a:pt x="2232" y="1432"/>
                  </a:cubicBezTo>
                  <a:cubicBezTo>
                    <a:pt x="2232" y="1432"/>
                    <a:pt x="2187" y="1535"/>
                    <a:pt x="2175" y="1581"/>
                  </a:cubicBezTo>
                  <a:cubicBezTo>
                    <a:pt x="2158" y="1646"/>
                    <a:pt x="2108" y="1856"/>
                    <a:pt x="2108" y="1856"/>
                  </a:cubicBezTo>
                  <a:cubicBezTo>
                    <a:pt x="2108" y="1856"/>
                    <a:pt x="2017" y="1581"/>
                    <a:pt x="1997" y="1485"/>
                  </a:cubicBezTo>
                  <a:cubicBezTo>
                    <a:pt x="1962" y="1316"/>
                    <a:pt x="1950" y="1156"/>
                    <a:pt x="1947" y="1112"/>
                  </a:cubicBezTo>
                  <a:cubicBezTo>
                    <a:pt x="1593" y="1112"/>
                    <a:pt x="1593" y="1112"/>
                    <a:pt x="1593" y="1112"/>
                  </a:cubicBezTo>
                  <a:cubicBezTo>
                    <a:pt x="1530" y="1112"/>
                    <a:pt x="1470" y="1125"/>
                    <a:pt x="1415" y="1147"/>
                  </a:cubicBezTo>
                  <a:cubicBezTo>
                    <a:pt x="974" y="707"/>
                    <a:pt x="344" y="77"/>
                    <a:pt x="344" y="77"/>
                  </a:cubicBezTo>
                  <a:cubicBezTo>
                    <a:pt x="268" y="1"/>
                    <a:pt x="147" y="0"/>
                    <a:pt x="72" y="76"/>
                  </a:cubicBezTo>
                  <a:cubicBezTo>
                    <a:pt x="0" y="147"/>
                    <a:pt x="1" y="269"/>
                    <a:pt x="77" y="345"/>
                  </a:cubicBezTo>
                  <a:cubicBezTo>
                    <a:pt x="147" y="415"/>
                    <a:pt x="1596" y="1876"/>
                    <a:pt x="1596" y="1876"/>
                  </a:cubicBezTo>
                  <a:cubicBezTo>
                    <a:pt x="1683" y="1876"/>
                    <a:pt x="1684" y="1876"/>
                    <a:pt x="1684" y="1876"/>
                  </a:cubicBezTo>
                  <a:cubicBezTo>
                    <a:pt x="1684" y="3091"/>
                    <a:pt x="1684" y="5763"/>
                    <a:pt x="1684" y="5763"/>
                  </a:cubicBezTo>
                  <a:cubicBezTo>
                    <a:pt x="1684" y="5908"/>
                    <a:pt x="1801" y="6021"/>
                    <a:pt x="1945" y="6021"/>
                  </a:cubicBezTo>
                  <a:cubicBezTo>
                    <a:pt x="2083" y="6021"/>
                    <a:pt x="2201" y="5908"/>
                    <a:pt x="2201" y="5763"/>
                  </a:cubicBezTo>
                  <a:cubicBezTo>
                    <a:pt x="2201" y="3472"/>
                    <a:pt x="2201" y="3472"/>
                    <a:pt x="2201" y="3472"/>
                  </a:cubicBezTo>
                  <a:cubicBezTo>
                    <a:pt x="2230" y="3472"/>
                    <a:pt x="2254" y="3472"/>
                    <a:pt x="2274" y="3472"/>
                  </a:cubicBezTo>
                  <a:cubicBezTo>
                    <a:pt x="2276" y="3472"/>
                    <a:pt x="2278" y="3472"/>
                    <a:pt x="2280" y="3472"/>
                  </a:cubicBezTo>
                  <a:cubicBezTo>
                    <a:pt x="2300" y="3472"/>
                    <a:pt x="2324" y="3472"/>
                    <a:pt x="2353" y="3472"/>
                  </a:cubicBezTo>
                  <a:cubicBezTo>
                    <a:pt x="2353" y="3472"/>
                    <a:pt x="2353" y="3472"/>
                    <a:pt x="2353" y="5763"/>
                  </a:cubicBezTo>
                  <a:cubicBezTo>
                    <a:pt x="2353" y="5908"/>
                    <a:pt x="2471" y="6021"/>
                    <a:pt x="2609" y="6021"/>
                  </a:cubicBezTo>
                  <a:cubicBezTo>
                    <a:pt x="2753" y="6021"/>
                    <a:pt x="2871" y="5908"/>
                    <a:pt x="2871" y="5763"/>
                  </a:cubicBezTo>
                  <a:cubicBezTo>
                    <a:pt x="2871" y="5763"/>
                    <a:pt x="2871" y="3091"/>
                    <a:pt x="2871" y="1876"/>
                  </a:cubicBezTo>
                  <a:cubicBezTo>
                    <a:pt x="2871" y="1876"/>
                    <a:pt x="2871" y="1876"/>
                    <a:pt x="2958" y="1876"/>
                  </a:cubicBezTo>
                  <a:cubicBezTo>
                    <a:pt x="2958" y="1876"/>
                    <a:pt x="4407" y="415"/>
                    <a:pt x="4477" y="345"/>
                  </a:cubicBezTo>
                  <a:cubicBezTo>
                    <a:pt x="4554" y="269"/>
                    <a:pt x="4554" y="147"/>
                    <a:pt x="4482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DD72A-E157-4B49-A24B-1A06C4585B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design &amp; dev. </a:t>
            </a:r>
            <a:r>
              <a:rPr lang="en-US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B43B94-493F-4E39-B406-9E0C7D22EA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Freeform 143">
            <a:extLst>
              <a:ext uri="{FF2B5EF4-FFF2-40B4-BE49-F238E27FC236}">
                <a16:creationId xmlns:a16="http://schemas.microsoft.com/office/drawing/2014/main" id="{68B879C4-40AA-498F-9EDE-3D5CF601AF6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00724" y="2241953"/>
            <a:ext cx="287660" cy="276595"/>
          </a:xfrm>
          <a:custGeom>
            <a:avLst/>
            <a:gdLst>
              <a:gd name="T0" fmla="*/ 157 w 157"/>
              <a:gd name="T1" fmla="*/ 112 h 152"/>
              <a:gd name="T2" fmla="*/ 157 w 157"/>
              <a:gd name="T3" fmla="*/ 142 h 152"/>
              <a:gd name="T4" fmla="*/ 155 w 157"/>
              <a:gd name="T5" fmla="*/ 149 h 152"/>
              <a:gd name="T6" fmla="*/ 148 w 157"/>
              <a:gd name="T7" fmla="*/ 152 h 152"/>
              <a:gd name="T8" fmla="*/ 9 w 157"/>
              <a:gd name="T9" fmla="*/ 152 h 152"/>
              <a:gd name="T10" fmla="*/ 3 w 157"/>
              <a:gd name="T11" fmla="*/ 149 h 152"/>
              <a:gd name="T12" fmla="*/ 0 w 157"/>
              <a:gd name="T13" fmla="*/ 142 h 152"/>
              <a:gd name="T14" fmla="*/ 0 w 157"/>
              <a:gd name="T15" fmla="*/ 112 h 152"/>
              <a:gd name="T16" fmla="*/ 3 w 157"/>
              <a:gd name="T17" fmla="*/ 106 h 152"/>
              <a:gd name="T18" fmla="*/ 9 w 157"/>
              <a:gd name="T19" fmla="*/ 103 h 152"/>
              <a:gd name="T20" fmla="*/ 49 w 157"/>
              <a:gd name="T21" fmla="*/ 103 h 152"/>
              <a:gd name="T22" fmla="*/ 56 w 157"/>
              <a:gd name="T23" fmla="*/ 112 h 152"/>
              <a:gd name="T24" fmla="*/ 66 w 157"/>
              <a:gd name="T25" fmla="*/ 115 h 152"/>
              <a:gd name="T26" fmla="*/ 91 w 157"/>
              <a:gd name="T27" fmla="*/ 115 h 152"/>
              <a:gd name="T28" fmla="*/ 101 w 157"/>
              <a:gd name="T29" fmla="*/ 112 h 152"/>
              <a:gd name="T30" fmla="*/ 108 w 157"/>
              <a:gd name="T31" fmla="*/ 103 h 152"/>
              <a:gd name="T32" fmla="*/ 148 w 157"/>
              <a:gd name="T33" fmla="*/ 103 h 152"/>
              <a:gd name="T34" fmla="*/ 155 w 157"/>
              <a:gd name="T35" fmla="*/ 106 h 152"/>
              <a:gd name="T36" fmla="*/ 157 w 157"/>
              <a:gd name="T37" fmla="*/ 112 h 152"/>
              <a:gd name="T38" fmla="*/ 127 w 157"/>
              <a:gd name="T39" fmla="*/ 51 h 152"/>
              <a:gd name="T40" fmla="*/ 121 w 157"/>
              <a:gd name="T41" fmla="*/ 55 h 152"/>
              <a:gd name="T42" fmla="*/ 97 w 157"/>
              <a:gd name="T43" fmla="*/ 55 h 152"/>
              <a:gd name="T44" fmla="*/ 97 w 157"/>
              <a:gd name="T45" fmla="*/ 97 h 152"/>
              <a:gd name="T46" fmla="*/ 95 w 157"/>
              <a:gd name="T47" fmla="*/ 101 h 152"/>
              <a:gd name="T48" fmla="*/ 91 w 157"/>
              <a:gd name="T49" fmla="*/ 103 h 152"/>
              <a:gd name="T50" fmla="*/ 66 w 157"/>
              <a:gd name="T51" fmla="*/ 103 h 152"/>
              <a:gd name="T52" fmla="*/ 62 w 157"/>
              <a:gd name="T53" fmla="*/ 101 h 152"/>
              <a:gd name="T54" fmla="*/ 60 w 157"/>
              <a:gd name="T55" fmla="*/ 97 h 152"/>
              <a:gd name="T56" fmla="*/ 60 w 157"/>
              <a:gd name="T57" fmla="*/ 55 h 152"/>
              <a:gd name="T58" fmla="*/ 36 w 157"/>
              <a:gd name="T59" fmla="*/ 55 h 152"/>
              <a:gd name="T60" fmla="*/ 31 w 157"/>
              <a:gd name="T61" fmla="*/ 51 h 152"/>
              <a:gd name="T62" fmla="*/ 32 w 157"/>
              <a:gd name="T63" fmla="*/ 44 h 152"/>
              <a:gd name="T64" fmla="*/ 74 w 157"/>
              <a:gd name="T65" fmla="*/ 2 h 152"/>
              <a:gd name="T66" fmla="*/ 79 w 157"/>
              <a:gd name="T67" fmla="*/ 0 h 152"/>
              <a:gd name="T68" fmla="*/ 83 w 157"/>
              <a:gd name="T69" fmla="*/ 2 h 152"/>
              <a:gd name="T70" fmla="*/ 125 w 157"/>
              <a:gd name="T71" fmla="*/ 44 h 152"/>
              <a:gd name="T72" fmla="*/ 127 w 157"/>
              <a:gd name="T73" fmla="*/ 51 h 152"/>
              <a:gd name="T74" fmla="*/ 119 w 157"/>
              <a:gd name="T75" fmla="*/ 138 h 152"/>
              <a:gd name="T76" fmla="*/ 121 w 157"/>
              <a:gd name="T77" fmla="*/ 133 h 152"/>
              <a:gd name="T78" fmla="*/ 119 w 157"/>
              <a:gd name="T79" fmla="*/ 129 h 152"/>
              <a:gd name="T80" fmla="*/ 115 w 157"/>
              <a:gd name="T81" fmla="*/ 127 h 152"/>
              <a:gd name="T82" fmla="*/ 111 w 157"/>
              <a:gd name="T83" fmla="*/ 129 h 152"/>
              <a:gd name="T84" fmla="*/ 109 w 157"/>
              <a:gd name="T85" fmla="*/ 133 h 152"/>
              <a:gd name="T86" fmla="*/ 111 w 157"/>
              <a:gd name="T87" fmla="*/ 138 h 152"/>
              <a:gd name="T88" fmla="*/ 115 w 157"/>
              <a:gd name="T89" fmla="*/ 139 h 152"/>
              <a:gd name="T90" fmla="*/ 119 w 157"/>
              <a:gd name="T91" fmla="*/ 138 h 152"/>
              <a:gd name="T92" fmla="*/ 143 w 157"/>
              <a:gd name="T93" fmla="*/ 138 h 152"/>
              <a:gd name="T94" fmla="*/ 145 w 157"/>
              <a:gd name="T95" fmla="*/ 133 h 152"/>
              <a:gd name="T96" fmla="*/ 143 w 157"/>
              <a:gd name="T97" fmla="*/ 129 h 152"/>
              <a:gd name="T98" fmla="*/ 139 w 157"/>
              <a:gd name="T99" fmla="*/ 127 h 152"/>
              <a:gd name="T100" fmla="*/ 135 w 157"/>
              <a:gd name="T101" fmla="*/ 129 h 152"/>
              <a:gd name="T102" fmla="*/ 133 w 157"/>
              <a:gd name="T103" fmla="*/ 133 h 152"/>
              <a:gd name="T104" fmla="*/ 135 w 157"/>
              <a:gd name="T105" fmla="*/ 138 h 152"/>
              <a:gd name="T106" fmla="*/ 139 w 157"/>
              <a:gd name="T107" fmla="*/ 139 h 152"/>
              <a:gd name="T108" fmla="*/ 143 w 157"/>
              <a:gd name="T109" fmla="*/ 138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7" h="152">
                <a:moveTo>
                  <a:pt x="157" y="112"/>
                </a:moveTo>
                <a:cubicBezTo>
                  <a:pt x="157" y="142"/>
                  <a:pt x="157" y="142"/>
                  <a:pt x="157" y="142"/>
                </a:cubicBezTo>
                <a:cubicBezTo>
                  <a:pt x="157" y="145"/>
                  <a:pt x="156" y="147"/>
                  <a:pt x="155" y="149"/>
                </a:cubicBezTo>
                <a:cubicBezTo>
                  <a:pt x="153" y="151"/>
                  <a:pt x="151" y="152"/>
                  <a:pt x="148" y="152"/>
                </a:cubicBezTo>
                <a:cubicBezTo>
                  <a:pt x="9" y="152"/>
                  <a:pt x="9" y="152"/>
                  <a:pt x="9" y="152"/>
                </a:cubicBezTo>
                <a:cubicBezTo>
                  <a:pt x="6" y="152"/>
                  <a:pt x="4" y="151"/>
                  <a:pt x="3" y="149"/>
                </a:cubicBezTo>
                <a:cubicBezTo>
                  <a:pt x="1" y="147"/>
                  <a:pt x="0" y="145"/>
                  <a:pt x="0" y="14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0"/>
                  <a:pt x="1" y="108"/>
                  <a:pt x="3" y="106"/>
                </a:cubicBezTo>
                <a:cubicBezTo>
                  <a:pt x="4" y="104"/>
                  <a:pt x="6" y="103"/>
                  <a:pt x="9" y="103"/>
                </a:cubicBezTo>
                <a:cubicBezTo>
                  <a:pt x="49" y="103"/>
                  <a:pt x="49" y="103"/>
                  <a:pt x="49" y="103"/>
                </a:cubicBezTo>
                <a:cubicBezTo>
                  <a:pt x="51" y="107"/>
                  <a:pt x="53" y="110"/>
                  <a:pt x="56" y="112"/>
                </a:cubicBezTo>
                <a:cubicBezTo>
                  <a:pt x="59" y="114"/>
                  <a:pt x="63" y="115"/>
                  <a:pt x="66" y="115"/>
                </a:cubicBezTo>
                <a:cubicBezTo>
                  <a:pt x="91" y="115"/>
                  <a:pt x="91" y="115"/>
                  <a:pt x="91" y="115"/>
                </a:cubicBezTo>
                <a:cubicBezTo>
                  <a:pt x="95" y="115"/>
                  <a:pt x="98" y="114"/>
                  <a:pt x="101" y="112"/>
                </a:cubicBezTo>
                <a:cubicBezTo>
                  <a:pt x="104" y="110"/>
                  <a:pt x="106" y="107"/>
                  <a:pt x="108" y="103"/>
                </a:cubicBezTo>
                <a:cubicBezTo>
                  <a:pt x="148" y="103"/>
                  <a:pt x="148" y="103"/>
                  <a:pt x="148" y="103"/>
                </a:cubicBezTo>
                <a:cubicBezTo>
                  <a:pt x="151" y="103"/>
                  <a:pt x="153" y="104"/>
                  <a:pt x="155" y="106"/>
                </a:cubicBezTo>
                <a:cubicBezTo>
                  <a:pt x="156" y="108"/>
                  <a:pt x="157" y="110"/>
                  <a:pt x="157" y="112"/>
                </a:cubicBezTo>
                <a:close/>
                <a:moveTo>
                  <a:pt x="127" y="51"/>
                </a:moveTo>
                <a:cubicBezTo>
                  <a:pt x="125" y="53"/>
                  <a:pt x="124" y="55"/>
                  <a:pt x="121" y="55"/>
                </a:cubicBezTo>
                <a:cubicBezTo>
                  <a:pt x="97" y="55"/>
                  <a:pt x="97" y="55"/>
                  <a:pt x="97" y="55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99"/>
                  <a:pt x="96" y="100"/>
                  <a:pt x="95" y="101"/>
                </a:cubicBezTo>
                <a:cubicBezTo>
                  <a:pt x="94" y="103"/>
                  <a:pt x="92" y="103"/>
                  <a:pt x="91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5" y="103"/>
                  <a:pt x="63" y="103"/>
                  <a:pt x="62" y="101"/>
                </a:cubicBezTo>
                <a:cubicBezTo>
                  <a:pt x="61" y="100"/>
                  <a:pt x="60" y="99"/>
                  <a:pt x="60" y="97"/>
                </a:cubicBezTo>
                <a:cubicBezTo>
                  <a:pt x="60" y="55"/>
                  <a:pt x="60" y="55"/>
                  <a:pt x="60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4" y="55"/>
                  <a:pt x="32" y="53"/>
                  <a:pt x="31" y="51"/>
                </a:cubicBezTo>
                <a:cubicBezTo>
                  <a:pt x="30" y="49"/>
                  <a:pt x="30" y="46"/>
                  <a:pt x="32" y="44"/>
                </a:cubicBezTo>
                <a:cubicBezTo>
                  <a:pt x="74" y="2"/>
                  <a:pt x="74" y="2"/>
                  <a:pt x="74" y="2"/>
                </a:cubicBezTo>
                <a:cubicBezTo>
                  <a:pt x="75" y="1"/>
                  <a:pt x="77" y="0"/>
                  <a:pt x="79" y="0"/>
                </a:cubicBezTo>
                <a:cubicBezTo>
                  <a:pt x="80" y="0"/>
                  <a:pt x="82" y="1"/>
                  <a:pt x="83" y="2"/>
                </a:cubicBezTo>
                <a:cubicBezTo>
                  <a:pt x="125" y="44"/>
                  <a:pt x="125" y="44"/>
                  <a:pt x="125" y="44"/>
                </a:cubicBezTo>
                <a:cubicBezTo>
                  <a:pt x="127" y="46"/>
                  <a:pt x="128" y="49"/>
                  <a:pt x="127" y="51"/>
                </a:cubicBezTo>
                <a:close/>
                <a:moveTo>
                  <a:pt x="119" y="138"/>
                </a:moveTo>
                <a:cubicBezTo>
                  <a:pt x="120" y="136"/>
                  <a:pt x="121" y="135"/>
                  <a:pt x="121" y="133"/>
                </a:cubicBezTo>
                <a:cubicBezTo>
                  <a:pt x="121" y="132"/>
                  <a:pt x="120" y="130"/>
                  <a:pt x="119" y="129"/>
                </a:cubicBezTo>
                <a:cubicBezTo>
                  <a:pt x="118" y="128"/>
                  <a:pt x="117" y="127"/>
                  <a:pt x="115" y="127"/>
                </a:cubicBezTo>
                <a:cubicBezTo>
                  <a:pt x="113" y="127"/>
                  <a:pt x="112" y="128"/>
                  <a:pt x="111" y="129"/>
                </a:cubicBezTo>
                <a:cubicBezTo>
                  <a:pt x="109" y="130"/>
                  <a:pt x="109" y="132"/>
                  <a:pt x="109" y="133"/>
                </a:cubicBezTo>
                <a:cubicBezTo>
                  <a:pt x="109" y="135"/>
                  <a:pt x="109" y="136"/>
                  <a:pt x="111" y="138"/>
                </a:cubicBezTo>
                <a:cubicBezTo>
                  <a:pt x="112" y="139"/>
                  <a:pt x="113" y="139"/>
                  <a:pt x="115" y="139"/>
                </a:cubicBezTo>
                <a:cubicBezTo>
                  <a:pt x="117" y="139"/>
                  <a:pt x="118" y="139"/>
                  <a:pt x="119" y="138"/>
                </a:cubicBezTo>
                <a:close/>
                <a:moveTo>
                  <a:pt x="143" y="138"/>
                </a:moveTo>
                <a:cubicBezTo>
                  <a:pt x="145" y="136"/>
                  <a:pt x="145" y="135"/>
                  <a:pt x="145" y="133"/>
                </a:cubicBezTo>
                <a:cubicBezTo>
                  <a:pt x="145" y="132"/>
                  <a:pt x="145" y="130"/>
                  <a:pt x="143" y="129"/>
                </a:cubicBezTo>
                <a:cubicBezTo>
                  <a:pt x="142" y="128"/>
                  <a:pt x="141" y="127"/>
                  <a:pt x="139" y="127"/>
                </a:cubicBezTo>
                <a:cubicBezTo>
                  <a:pt x="137" y="127"/>
                  <a:pt x="136" y="128"/>
                  <a:pt x="135" y="129"/>
                </a:cubicBezTo>
                <a:cubicBezTo>
                  <a:pt x="134" y="130"/>
                  <a:pt x="133" y="132"/>
                  <a:pt x="133" y="133"/>
                </a:cubicBezTo>
                <a:cubicBezTo>
                  <a:pt x="133" y="135"/>
                  <a:pt x="134" y="136"/>
                  <a:pt x="135" y="138"/>
                </a:cubicBezTo>
                <a:cubicBezTo>
                  <a:pt x="136" y="139"/>
                  <a:pt x="137" y="139"/>
                  <a:pt x="139" y="139"/>
                </a:cubicBezTo>
                <a:cubicBezTo>
                  <a:pt x="141" y="139"/>
                  <a:pt x="142" y="139"/>
                  <a:pt x="143" y="13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8870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</a:t>
            </a:r>
            <a:r>
              <a:rPr lang="en-US">
                <a:solidFill>
                  <a:schemeClr val="accent2"/>
                </a:solidFill>
              </a:rPr>
              <a:t>pre-defined invo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73162"/>
              </p:ext>
            </p:extLst>
          </p:nvPr>
        </p:nvGraphicFramePr>
        <p:xfrm>
          <a:off x="584202" y="1543050"/>
          <a:ext cx="7962899" cy="2624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4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6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37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853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3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025">
                <a:tc>
                  <a:txBody>
                    <a:bodyPr/>
                    <a:lstStyle/>
                    <a:p>
                      <a:endParaRPr lang="en-US" sz="1600">
                        <a:latin typeface="Lato" panose="020F050202020403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latin typeface="Lato" panose="020F0502020204030203" pitchFamily="34" charset="0"/>
                        </a:rPr>
                        <a:t>UNIT PRICE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latin typeface="Lato" panose="020F0502020204030203" pitchFamily="34" charset="0"/>
                        </a:rPr>
                        <a:t>QUANTITY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latin typeface="Lato" panose="020F0502020204030203" pitchFamily="34" charset="0"/>
                        </a:rPr>
                        <a:t>REMARK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Website Design in HTML/CSS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5,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11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Main files transferred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Website</a:t>
                      </a:r>
                      <a:r>
                        <a:rPr lang="en-US" sz="1000" baseline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 Development in PHP/MSQL</a:t>
                      </a:r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6,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6,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Guaranteed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Domain and Hos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1,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1,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For full 2 years and six</a:t>
                      </a:r>
                      <a:r>
                        <a:rPr lang="en-US" sz="1000" b="0" baseline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 months</a:t>
                      </a:r>
                      <a:endParaRPr lang="en-US" sz="1000" b="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Maintenance 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1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1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For one yea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Extra Charge for Review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$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7025">
                <a:tc rowSpan="2" gridSpan="2">
                  <a:txBody>
                    <a:bodyPr/>
                    <a:lstStyle/>
                    <a:p>
                      <a:pPr algn="l"/>
                      <a:endParaRPr lang="en-US" sz="100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8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VAT/ Tax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$6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 sz="10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7025">
                <a:tc gridSpan="2" vMerge="1">
                  <a:txBody>
                    <a:bodyPr/>
                    <a:lstStyle/>
                    <a:p>
                      <a:pPr algn="l"/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8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$28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800" b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72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eb design </a:t>
            </a:r>
            <a:r>
              <a:rPr lang="en-US" dirty="0">
                <a:solidFill>
                  <a:schemeClr val="accent2"/>
                </a:solidFill>
              </a:rPr>
              <a:t>final pr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739713"/>
              </p:ext>
            </p:extLst>
          </p:nvPr>
        </p:nvGraphicFramePr>
        <p:xfrm>
          <a:off x="593725" y="1543052"/>
          <a:ext cx="7943852" cy="2743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9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48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8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48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48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48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8485">
                <a:tc>
                  <a:txBody>
                    <a:bodyPr/>
                    <a:lstStyle/>
                    <a:p>
                      <a:endParaRPr lang="en-US" sz="1050">
                        <a:latin typeface="Lato" panose="020F0502020204030203" pitchFamily="34" charset="0"/>
                      </a:endParaRP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latin typeface="Lato" panose="020F0502020204030203" pitchFamily="34" charset="0"/>
                        </a:rPr>
                        <a:t>STARTER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latin typeface="Lato" panose="020F0502020204030203" pitchFamily="34" charset="0"/>
                        </a:rPr>
                        <a:t>BUSINES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latin typeface="Lato Black" panose="020F0A02020204030203" pitchFamily="34" charset="0"/>
                        </a:rPr>
                        <a:t>STANDARD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latin typeface="Lato" panose="020F0502020204030203" pitchFamily="34" charset="0"/>
                        </a:rPr>
                        <a:t>PL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latin typeface="Lato" panose="020F0502020204030203" pitchFamily="34" charset="0"/>
                        </a:rPr>
                        <a:t>+PRO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Number of Pages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Email POP Boxes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Search Engine Friendly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Onsite Consultancy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Contact/ Enquiry Form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PHP/ MSQL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Content Management</a:t>
                      </a: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3089"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82880" marR="0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$5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$1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  <a:latin typeface="Lato Black" panose="020F0A02020204030203" pitchFamily="34" charset="0"/>
                        </a:rPr>
                        <a:t>$2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$5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$10,0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3373440" y="2634517"/>
            <a:ext cx="4639940" cy="1265072"/>
            <a:chOff x="3373440" y="2634517"/>
            <a:chExt cx="4639940" cy="1265072"/>
          </a:xfrm>
        </p:grpSpPr>
        <p:sp>
          <p:nvSpPr>
            <p:cNvPr id="8" name="Freeform 64"/>
            <p:cNvSpPr>
              <a:spLocks/>
            </p:cNvSpPr>
            <p:nvPr/>
          </p:nvSpPr>
          <p:spPr bwMode="auto">
            <a:xfrm>
              <a:off x="3373440" y="2634517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Freeform 62"/>
            <p:cNvSpPr>
              <a:spLocks/>
            </p:cNvSpPr>
            <p:nvPr/>
          </p:nvSpPr>
          <p:spPr bwMode="auto">
            <a:xfrm>
              <a:off x="3388455" y="2935783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Freeform 64"/>
            <p:cNvSpPr>
              <a:spLocks/>
            </p:cNvSpPr>
            <p:nvPr/>
          </p:nvSpPr>
          <p:spPr bwMode="auto">
            <a:xfrm>
              <a:off x="4505961" y="2634517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Freeform 64"/>
            <p:cNvSpPr>
              <a:spLocks/>
            </p:cNvSpPr>
            <p:nvPr/>
          </p:nvSpPr>
          <p:spPr bwMode="auto">
            <a:xfrm>
              <a:off x="5638482" y="2634517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5" name="Freeform 64"/>
            <p:cNvSpPr>
              <a:spLocks/>
            </p:cNvSpPr>
            <p:nvPr/>
          </p:nvSpPr>
          <p:spPr bwMode="auto">
            <a:xfrm>
              <a:off x="6771003" y="2634517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Freeform 64"/>
            <p:cNvSpPr>
              <a:spLocks/>
            </p:cNvSpPr>
            <p:nvPr/>
          </p:nvSpPr>
          <p:spPr bwMode="auto">
            <a:xfrm>
              <a:off x="7903524" y="2634517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7" name="Freeform 62"/>
            <p:cNvSpPr>
              <a:spLocks/>
            </p:cNvSpPr>
            <p:nvPr/>
          </p:nvSpPr>
          <p:spPr bwMode="auto">
            <a:xfrm>
              <a:off x="4520976" y="2935783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8" name="Freeform 62"/>
            <p:cNvSpPr>
              <a:spLocks/>
            </p:cNvSpPr>
            <p:nvPr/>
          </p:nvSpPr>
          <p:spPr bwMode="auto">
            <a:xfrm>
              <a:off x="3388455" y="3230227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9" name="Freeform 62"/>
            <p:cNvSpPr>
              <a:spLocks/>
            </p:cNvSpPr>
            <p:nvPr/>
          </p:nvSpPr>
          <p:spPr bwMode="auto">
            <a:xfrm>
              <a:off x="3388455" y="3524671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" name="Freeform 62"/>
            <p:cNvSpPr>
              <a:spLocks/>
            </p:cNvSpPr>
            <p:nvPr/>
          </p:nvSpPr>
          <p:spPr bwMode="auto">
            <a:xfrm>
              <a:off x="3388455" y="3819115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62"/>
            <p:cNvSpPr>
              <a:spLocks/>
            </p:cNvSpPr>
            <p:nvPr/>
          </p:nvSpPr>
          <p:spPr bwMode="auto">
            <a:xfrm>
              <a:off x="4520976" y="3812655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62"/>
            <p:cNvSpPr>
              <a:spLocks/>
            </p:cNvSpPr>
            <p:nvPr/>
          </p:nvSpPr>
          <p:spPr bwMode="auto">
            <a:xfrm>
              <a:off x="4520976" y="3522431"/>
              <a:ext cx="79826" cy="80474"/>
            </a:xfrm>
            <a:custGeom>
              <a:avLst/>
              <a:gdLst>
                <a:gd name="T0" fmla="*/ 0 w 123"/>
                <a:gd name="T1" fmla="*/ 103 h 124"/>
                <a:gd name="T2" fmla="*/ 41 w 123"/>
                <a:gd name="T3" fmla="*/ 61 h 124"/>
                <a:gd name="T4" fmla="*/ 0 w 123"/>
                <a:gd name="T5" fmla="*/ 20 h 124"/>
                <a:gd name="T6" fmla="*/ 20 w 123"/>
                <a:gd name="T7" fmla="*/ 0 h 124"/>
                <a:gd name="T8" fmla="*/ 61 w 123"/>
                <a:gd name="T9" fmla="*/ 41 h 124"/>
                <a:gd name="T10" fmla="*/ 103 w 123"/>
                <a:gd name="T11" fmla="*/ 0 h 124"/>
                <a:gd name="T12" fmla="*/ 123 w 123"/>
                <a:gd name="T13" fmla="*/ 20 h 124"/>
                <a:gd name="T14" fmla="*/ 82 w 123"/>
                <a:gd name="T15" fmla="*/ 61 h 124"/>
                <a:gd name="T16" fmla="*/ 123 w 123"/>
                <a:gd name="T17" fmla="*/ 103 h 124"/>
                <a:gd name="T18" fmla="*/ 103 w 123"/>
                <a:gd name="T19" fmla="*/ 124 h 124"/>
                <a:gd name="T20" fmla="*/ 61 w 123"/>
                <a:gd name="T21" fmla="*/ 83 h 124"/>
                <a:gd name="T22" fmla="*/ 20 w 123"/>
                <a:gd name="T23" fmla="*/ 124 h 124"/>
                <a:gd name="T24" fmla="*/ 0 w 123"/>
                <a:gd name="T25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24">
                  <a:moveTo>
                    <a:pt x="0" y="103"/>
                  </a:moveTo>
                  <a:lnTo>
                    <a:pt x="41" y="61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61" y="41"/>
                  </a:lnTo>
                  <a:lnTo>
                    <a:pt x="103" y="0"/>
                  </a:lnTo>
                  <a:lnTo>
                    <a:pt x="123" y="20"/>
                  </a:lnTo>
                  <a:lnTo>
                    <a:pt x="82" y="61"/>
                  </a:lnTo>
                  <a:lnTo>
                    <a:pt x="123" y="103"/>
                  </a:lnTo>
                  <a:lnTo>
                    <a:pt x="103" y="124"/>
                  </a:lnTo>
                  <a:lnTo>
                    <a:pt x="61" y="83"/>
                  </a:lnTo>
                  <a:lnTo>
                    <a:pt x="20" y="124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64"/>
            <p:cNvSpPr>
              <a:spLocks/>
            </p:cNvSpPr>
            <p:nvPr/>
          </p:nvSpPr>
          <p:spPr bwMode="auto">
            <a:xfrm>
              <a:off x="4505961" y="3231535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64"/>
            <p:cNvSpPr>
              <a:spLocks/>
            </p:cNvSpPr>
            <p:nvPr/>
          </p:nvSpPr>
          <p:spPr bwMode="auto">
            <a:xfrm>
              <a:off x="5638482" y="3801613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64"/>
            <p:cNvSpPr>
              <a:spLocks/>
            </p:cNvSpPr>
            <p:nvPr/>
          </p:nvSpPr>
          <p:spPr bwMode="auto">
            <a:xfrm>
              <a:off x="6771003" y="3801613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64"/>
            <p:cNvSpPr>
              <a:spLocks/>
            </p:cNvSpPr>
            <p:nvPr/>
          </p:nvSpPr>
          <p:spPr bwMode="auto">
            <a:xfrm>
              <a:off x="7903524" y="3801613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64"/>
            <p:cNvSpPr>
              <a:spLocks/>
            </p:cNvSpPr>
            <p:nvPr/>
          </p:nvSpPr>
          <p:spPr bwMode="auto">
            <a:xfrm>
              <a:off x="5638482" y="3511389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9" name="Freeform 64"/>
            <p:cNvSpPr>
              <a:spLocks/>
            </p:cNvSpPr>
            <p:nvPr/>
          </p:nvSpPr>
          <p:spPr bwMode="auto">
            <a:xfrm>
              <a:off x="6771003" y="3511389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0" name="Freeform 64"/>
            <p:cNvSpPr>
              <a:spLocks/>
            </p:cNvSpPr>
            <p:nvPr/>
          </p:nvSpPr>
          <p:spPr bwMode="auto">
            <a:xfrm>
              <a:off x="7903524" y="3511389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1" name="Freeform 64"/>
            <p:cNvSpPr>
              <a:spLocks/>
            </p:cNvSpPr>
            <p:nvPr/>
          </p:nvSpPr>
          <p:spPr bwMode="auto">
            <a:xfrm>
              <a:off x="5638482" y="3219185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2" name="Freeform 64"/>
            <p:cNvSpPr>
              <a:spLocks/>
            </p:cNvSpPr>
            <p:nvPr/>
          </p:nvSpPr>
          <p:spPr bwMode="auto">
            <a:xfrm>
              <a:off x="6771003" y="3219185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64"/>
            <p:cNvSpPr>
              <a:spLocks/>
            </p:cNvSpPr>
            <p:nvPr/>
          </p:nvSpPr>
          <p:spPr bwMode="auto">
            <a:xfrm>
              <a:off x="7903524" y="3219185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64"/>
            <p:cNvSpPr>
              <a:spLocks/>
            </p:cNvSpPr>
            <p:nvPr/>
          </p:nvSpPr>
          <p:spPr bwMode="auto">
            <a:xfrm>
              <a:off x="5638482" y="2924741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64"/>
            <p:cNvSpPr>
              <a:spLocks/>
            </p:cNvSpPr>
            <p:nvPr/>
          </p:nvSpPr>
          <p:spPr bwMode="auto">
            <a:xfrm>
              <a:off x="6771003" y="2924741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64"/>
            <p:cNvSpPr>
              <a:spLocks/>
            </p:cNvSpPr>
            <p:nvPr/>
          </p:nvSpPr>
          <p:spPr bwMode="auto">
            <a:xfrm>
              <a:off x="7903524" y="2924741"/>
              <a:ext cx="109856" cy="90208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252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FF087-DD2E-8440-84BF-596041E8F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dcast - </a:t>
            </a:r>
            <a:r>
              <a:rPr lang="en-US" dirty="0">
                <a:solidFill>
                  <a:schemeClr val="accent2"/>
                </a:solidFill>
              </a:rPr>
              <a:t>Medially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60AAA9-6E42-FA41-A20D-707F53631C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 descr="Ein Bild, das Wand, Person, drinnen, Frau enthält.&#10;&#10;Automatisch generierte Beschreibung">
            <a:extLst>
              <a:ext uri="{FF2B5EF4-FFF2-40B4-BE49-F238E27FC236}">
                <a16:creationId xmlns:a16="http://schemas.microsoft.com/office/drawing/2014/main" id="{C0706028-1B4C-474B-B3E1-D4A2FE4A35D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93" y="1955775"/>
            <a:ext cx="3661206" cy="1922133"/>
          </a:xfrm>
          <a:ln w="47625">
            <a:solidFill>
              <a:srgbClr val="92D050"/>
            </a:solidFill>
          </a:ln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1DAC9968-5744-3B4C-8550-5CCD5058F6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772" y="3123551"/>
            <a:ext cx="1556258" cy="1556258"/>
          </a:xfrm>
          <a:prstGeom prst="rect">
            <a:avLst/>
          </a:prstGeom>
        </p:spPr>
      </p:pic>
      <p:sp>
        <p:nvSpPr>
          <p:cNvPr id="9" name="Freeform 276">
            <a:extLst>
              <a:ext uri="{FF2B5EF4-FFF2-40B4-BE49-F238E27FC236}">
                <a16:creationId xmlns:a16="http://schemas.microsoft.com/office/drawing/2014/main" id="{7F8F4B1A-DF73-7842-950D-8AFED17B2C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44521" y="1339802"/>
            <a:ext cx="844759" cy="1231947"/>
          </a:xfrm>
          <a:custGeom>
            <a:avLst/>
            <a:gdLst>
              <a:gd name="T0" fmla="*/ 109 w 109"/>
              <a:gd name="T1" fmla="*/ 67 h 158"/>
              <a:gd name="T2" fmla="*/ 109 w 109"/>
              <a:gd name="T3" fmla="*/ 79 h 158"/>
              <a:gd name="T4" fmla="*/ 95 w 109"/>
              <a:gd name="T5" fmla="*/ 115 h 158"/>
              <a:gd name="T6" fmla="*/ 60 w 109"/>
              <a:gd name="T7" fmla="*/ 133 h 158"/>
              <a:gd name="T8" fmla="*/ 60 w 109"/>
              <a:gd name="T9" fmla="*/ 145 h 158"/>
              <a:gd name="T10" fmla="*/ 84 w 109"/>
              <a:gd name="T11" fmla="*/ 145 h 158"/>
              <a:gd name="T12" fmla="*/ 89 w 109"/>
              <a:gd name="T13" fmla="*/ 147 h 158"/>
              <a:gd name="T14" fmla="*/ 91 w 109"/>
              <a:gd name="T15" fmla="*/ 151 h 158"/>
              <a:gd name="T16" fmla="*/ 89 w 109"/>
              <a:gd name="T17" fmla="*/ 156 h 158"/>
              <a:gd name="T18" fmla="*/ 84 w 109"/>
              <a:gd name="T19" fmla="*/ 158 h 158"/>
              <a:gd name="T20" fmla="*/ 24 w 109"/>
              <a:gd name="T21" fmla="*/ 158 h 158"/>
              <a:gd name="T22" fmla="*/ 20 w 109"/>
              <a:gd name="T23" fmla="*/ 156 h 158"/>
              <a:gd name="T24" fmla="*/ 18 w 109"/>
              <a:gd name="T25" fmla="*/ 151 h 158"/>
              <a:gd name="T26" fmla="*/ 20 w 109"/>
              <a:gd name="T27" fmla="*/ 147 h 158"/>
              <a:gd name="T28" fmla="*/ 24 w 109"/>
              <a:gd name="T29" fmla="*/ 145 h 158"/>
              <a:gd name="T30" fmla="*/ 48 w 109"/>
              <a:gd name="T31" fmla="*/ 145 h 158"/>
              <a:gd name="T32" fmla="*/ 48 w 109"/>
              <a:gd name="T33" fmla="*/ 133 h 158"/>
              <a:gd name="T34" fmla="*/ 14 w 109"/>
              <a:gd name="T35" fmla="*/ 115 h 158"/>
              <a:gd name="T36" fmla="*/ 0 w 109"/>
              <a:gd name="T37" fmla="*/ 79 h 158"/>
              <a:gd name="T38" fmla="*/ 0 w 109"/>
              <a:gd name="T39" fmla="*/ 67 h 158"/>
              <a:gd name="T40" fmla="*/ 2 w 109"/>
              <a:gd name="T41" fmla="*/ 63 h 158"/>
              <a:gd name="T42" fmla="*/ 6 w 109"/>
              <a:gd name="T43" fmla="*/ 61 h 158"/>
              <a:gd name="T44" fmla="*/ 10 w 109"/>
              <a:gd name="T45" fmla="*/ 63 h 158"/>
              <a:gd name="T46" fmla="*/ 12 w 109"/>
              <a:gd name="T47" fmla="*/ 67 h 158"/>
              <a:gd name="T48" fmla="*/ 12 w 109"/>
              <a:gd name="T49" fmla="*/ 79 h 158"/>
              <a:gd name="T50" fmla="*/ 24 w 109"/>
              <a:gd name="T51" fmla="*/ 109 h 158"/>
              <a:gd name="T52" fmla="*/ 54 w 109"/>
              <a:gd name="T53" fmla="*/ 121 h 158"/>
              <a:gd name="T54" fmla="*/ 84 w 109"/>
              <a:gd name="T55" fmla="*/ 109 h 158"/>
              <a:gd name="T56" fmla="*/ 97 w 109"/>
              <a:gd name="T57" fmla="*/ 79 h 158"/>
              <a:gd name="T58" fmla="*/ 97 w 109"/>
              <a:gd name="T59" fmla="*/ 67 h 158"/>
              <a:gd name="T60" fmla="*/ 98 w 109"/>
              <a:gd name="T61" fmla="*/ 63 h 158"/>
              <a:gd name="T62" fmla="*/ 103 w 109"/>
              <a:gd name="T63" fmla="*/ 61 h 158"/>
              <a:gd name="T64" fmla="*/ 107 w 109"/>
              <a:gd name="T65" fmla="*/ 63 h 158"/>
              <a:gd name="T66" fmla="*/ 109 w 109"/>
              <a:gd name="T67" fmla="*/ 67 h 158"/>
              <a:gd name="T68" fmla="*/ 84 w 109"/>
              <a:gd name="T69" fmla="*/ 30 h 158"/>
              <a:gd name="T70" fmla="*/ 84 w 109"/>
              <a:gd name="T71" fmla="*/ 79 h 158"/>
              <a:gd name="T72" fmla="*/ 76 w 109"/>
              <a:gd name="T73" fmla="*/ 100 h 158"/>
              <a:gd name="T74" fmla="*/ 54 w 109"/>
              <a:gd name="T75" fmla="*/ 109 h 158"/>
              <a:gd name="T76" fmla="*/ 33 w 109"/>
              <a:gd name="T77" fmla="*/ 100 h 158"/>
              <a:gd name="T78" fmla="*/ 24 w 109"/>
              <a:gd name="T79" fmla="*/ 79 h 158"/>
              <a:gd name="T80" fmla="*/ 24 w 109"/>
              <a:gd name="T81" fmla="*/ 30 h 158"/>
              <a:gd name="T82" fmla="*/ 33 w 109"/>
              <a:gd name="T83" fmla="*/ 9 h 158"/>
              <a:gd name="T84" fmla="*/ 54 w 109"/>
              <a:gd name="T85" fmla="*/ 0 h 158"/>
              <a:gd name="T86" fmla="*/ 76 w 109"/>
              <a:gd name="T87" fmla="*/ 9 h 158"/>
              <a:gd name="T88" fmla="*/ 84 w 109"/>
              <a:gd name="T89" fmla="*/ 3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9" h="158">
                <a:moveTo>
                  <a:pt x="109" y="67"/>
                </a:moveTo>
                <a:cubicBezTo>
                  <a:pt x="109" y="79"/>
                  <a:pt x="109" y="79"/>
                  <a:pt x="109" y="79"/>
                </a:cubicBezTo>
                <a:cubicBezTo>
                  <a:pt x="109" y="93"/>
                  <a:pt x="104" y="105"/>
                  <a:pt x="95" y="115"/>
                </a:cubicBezTo>
                <a:cubicBezTo>
                  <a:pt x="85" y="126"/>
                  <a:pt x="74" y="131"/>
                  <a:pt x="60" y="133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86" y="145"/>
                  <a:pt x="88" y="146"/>
                  <a:pt x="89" y="147"/>
                </a:cubicBezTo>
                <a:cubicBezTo>
                  <a:pt x="90" y="148"/>
                  <a:pt x="91" y="150"/>
                  <a:pt x="91" y="151"/>
                </a:cubicBezTo>
                <a:cubicBezTo>
                  <a:pt x="91" y="153"/>
                  <a:pt x="90" y="155"/>
                  <a:pt x="89" y="156"/>
                </a:cubicBezTo>
                <a:cubicBezTo>
                  <a:pt x="88" y="157"/>
                  <a:pt x="86" y="158"/>
                  <a:pt x="84" y="158"/>
                </a:cubicBezTo>
                <a:cubicBezTo>
                  <a:pt x="24" y="158"/>
                  <a:pt x="24" y="158"/>
                  <a:pt x="24" y="158"/>
                </a:cubicBezTo>
                <a:cubicBezTo>
                  <a:pt x="22" y="158"/>
                  <a:pt x="21" y="157"/>
                  <a:pt x="20" y="156"/>
                </a:cubicBezTo>
                <a:cubicBezTo>
                  <a:pt x="19" y="155"/>
                  <a:pt x="18" y="153"/>
                  <a:pt x="18" y="151"/>
                </a:cubicBezTo>
                <a:cubicBezTo>
                  <a:pt x="18" y="150"/>
                  <a:pt x="19" y="148"/>
                  <a:pt x="20" y="147"/>
                </a:cubicBezTo>
                <a:cubicBezTo>
                  <a:pt x="21" y="146"/>
                  <a:pt x="22" y="145"/>
                  <a:pt x="24" y="145"/>
                </a:cubicBezTo>
                <a:cubicBezTo>
                  <a:pt x="48" y="145"/>
                  <a:pt x="48" y="145"/>
                  <a:pt x="48" y="145"/>
                </a:cubicBezTo>
                <a:cubicBezTo>
                  <a:pt x="48" y="133"/>
                  <a:pt x="48" y="133"/>
                  <a:pt x="48" y="133"/>
                </a:cubicBezTo>
                <a:cubicBezTo>
                  <a:pt x="35" y="131"/>
                  <a:pt x="23" y="126"/>
                  <a:pt x="14" y="115"/>
                </a:cubicBezTo>
                <a:cubicBezTo>
                  <a:pt x="4" y="105"/>
                  <a:pt x="0" y="93"/>
                  <a:pt x="0" y="79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65"/>
                  <a:pt x="0" y="64"/>
                  <a:pt x="2" y="63"/>
                </a:cubicBezTo>
                <a:cubicBezTo>
                  <a:pt x="3" y="61"/>
                  <a:pt x="4" y="61"/>
                  <a:pt x="6" y="61"/>
                </a:cubicBezTo>
                <a:cubicBezTo>
                  <a:pt x="7" y="61"/>
                  <a:pt x="9" y="61"/>
                  <a:pt x="10" y="63"/>
                </a:cubicBezTo>
                <a:cubicBezTo>
                  <a:pt x="11" y="64"/>
                  <a:pt x="12" y="65"/>
                  <a:pt x="12" y="67"/>
                </a:cubicBezTo>
                <a:cubicBezTo>
                  <a:pt x="12" y="79"/>
                  <a:pt x="12" y="79"/>
                  <a:pt x="12" y="79"/>
                </a:cubicBezTo>
                <a:cubicBezTo>
                  <a:pt x="12" y="91"/>
                  <a:pt x="16" y="101"/>
                  <a:pt x="24" y="109"/>
                </a:cubicBezTo>
                <a:cubicBezTo>
                  <a:pt x="33" y="117"/>
                  <a:pt x="43" y="121"/>
                  <a:pt x="54" y="121"/>
                </a:cubicBezTo>
                <a:cubicBezTo>
                  <a:pt x="66" y="121"/>
                  <a:pt x="76" y="117"/>
                  <a:pt x="84" y="109"/>
                </a:cubicBezTo>
                <a:cubicBezTo>
                  <a:pt x="92" y="101"/>
                  <a:pt x="97" y="91"/>
                  <a:pt x="97" y="79"/>
                </a:cubicBezTo>
                <a:cubicBezTo>
                  <a:pt x="97" y="67"/>
                  <a:pt x="97" y="67"/>
                  <a:pt x="97" y="67"/>
                </a:cubicBezTo>
                <a:cubicBezTo>
                  <a:pt x="97" y="65"/>
                  <a:pt x="97" y="64"/>
                  <a:pt x="98" y="63"/>
                </a:cubicBezTo>
                <a:cubicBezTo>
                  <a:pt x="100" y="61"/>
                  <a:pt x="101" y="61"/>
                  <a:pt x="103" y="61"/>
                </a:cubicBezTo>
                <a:cubicBezTo>
                  <a:pt x="104" y="61"/>
                  <a:pt x="106" y="61"/>
                  <a:pt x="107" y="63"/>
                </a:cubicBezTo>
                <a:cubicBezTo>
                  <a:pt x="108" y="64"/>
                  <a:pt x="109" y="65"/>
                  <a:pt x="109" y="67"/>
                </a:cubicBezTo>
                <a:close/>
                <a:moveTo>
                  <a:pt x="84" y="30"/>
                </a:moveTo>
                <a:cubicBezTo>
                  <a:pt x="84" y="79"/>
                  <a:pt x="84" y="79"/>
                  <a:pt x="84" y="79"/>
                </a:cubicBezTo>
                <a:cubicBezTo>
                  <a:pt x="84" y="87"/>
                  <a:pt x="82" y="94"/>
                  <a:pt x="76" y="100"/>
                </a:cubicBezTo>
                <a:cubicBezTo>
                  <a:pt x="70" y="106"/>
                  <a:pt x="63" y="109"/>
                  <a:pt x="54" y="109"/>
                </a:cubicBezTo>
                <a:cubicBezTo>
                  <a:pt x="46" y="109"/>
                  <a:pt x="39" y="106"/>
                  <a:pt x="33" y="100"/>
                </a:cubicBezTo>
                <a:cubicBezTo>
                  <a:pt x="27" y="94"/>
                  <a:pt x="24" y="87"/>
                  <a:pt x="24" y="79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22"/>
                  <a:pt x="27" y="15"/>
                  <a:pt x="33" y="9"/>
                </a:cubicBezTo>
                <a:cubicBezTo>
                  <a:pt x="39" y="3"/>
                  <a:pt x="46" y="0"/>
                  <a:pt x="54" y="0"/>
                </a:cubicBezTo>
                <a:cubicBezTo>
                  <a:pt x="63" y="0"/>
                  <a:pt x="70" y="3"/>
                  <a:pt x="76" y="9"/>
                </a:cubicBezTo>
                <a:cubicBezTo>
                  <a:pt x="82" y="15"/>
                  <a:pt x="84" y="22"/>
                  <a:pt x="84" y="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j-lt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69DCE05-CA3C-4740-A809-4D458224D2FC}"/>
              </a:ext>
            </a:extLst>
          </p:cNvPr>
          <p:cNvSpPr txBox="1"/>
          <p:nvPr/>
        </p:nvSpPr>
        <p:spPr>
          <a:xfrm>
            <a:off x="1399429" y="3975652"/>
            <a:ext cx="28937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Natascha </a:t>
            </a:r>
            <a:r>
              <a:rPr lang="en-US" sz="1400" dirty="0" err="1">
                <a:solidFill>
                  <a:schemeClr val="accent1"/>
                </a:solidFill>
              </a:rPr>
              <a:t>Könches</a:t>
            </a:r>
            <a:r>
              <a:rPr lang="en-US" sz="1400" dirty="0">
                <a:solidFill>
                  <a:schemeClr val="accent1"/>
                </a:solidFill>
              </a:rPr>
              <a:t> und Kim Beck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096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FF087-DD2E-8440-84BF-596041E8F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dcast - </a:t>
            </a:r>
            <a:r>
              <a:rPr lang="en-US" dirty="0">
                <a:solidFill>
                  <a:schemeClr val="accent2"/>
                </a:solidFill>
              </a:rPr>
              <a:t>Medially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60AAA9-6E42-FA41-A20D-707F53631C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 descr="Ein Bild, das Wand, Person, drinnen, Frau enthält.&#10;&#10;Automatisch generierte Beschreibung">
            <a:extLst>
              <a:ext uri="{FF2B5EF4-FFF2-40B4-BE49-F238E27FC236}">
                <a16:creationId xmlns:a16="http://schemas.microsoft.com/office/drawing/2014/main" id="{C0706028-1B4C-474B-B3E1-D4A2FE4A35D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7" y="2051191"/>
            <a:ext cx="3661206" cy="1922133"/>
          </a:xfrm>
          <a:ln w="47625">
            <a:solidFill>
              <a:srgbClr val="0BCC40"/>
            </a:solidFill>
          </a:ln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1DAC9968-5744-3B4C-8550-5CCD5058F6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13000" contrast="-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349" y="2230720"/>
            <a:ext cx="1612800" cy="1612800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376E854-8A34-3B46-832B-C81ED8C204CE}"/>
              </a:ext>
            </a:extLst>
          </p:cNvPr>
          <p:cNvGrpSpPr/>
          <p:nvPr/>
        </p:nvGrpSpPr>
        <p:grpSpPr>
          <a:xfrm>
            <a:off x="4644888" y="2230720"/>
            <a:ext cx="1378369" cy="1620243"/>
            <a:chOff x="4644888" y="2230720"/>
            <a:chExt cx="1378369" cy="1620243"/>
          </a:xfrm>
        </p:grpSpPr>
        <p:pic>
          <p:nvPicPr>
            <p:cNvPr id="10" name="Grafik 9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A45B3C8B-22F2-5340-8E6F-36ED9565B8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500"/>
                      </a14:imgEffect>
                      <a14:imgEffect>
                        <a14:saturation sat="400000"/>
                      </a14:imgEffect>
                      <a14:imgEffect>
                        <a14:brightnessContrast bright="13000" contrast="-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218" b="74182"/>
            <a:stretch/>
          </p:blipFill>
          <p:spPr>
            <a:xfrm>
              <a:off x="4644888" y="2234126"/>
              <a:ext cx="682024" cy="80841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Grafik 12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2BA97E54-3F4D-3E48-A8E0-FB3D55A73F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1500"/>
                      </a14:imgEffect>
                      <a14:imgEffect>
                        <a14:saturation sat="400000"/>
                      </a14:imgEffect>
                      <a14:imgEffect>
                        <a14:brightnessContrast bright="13000" contrast="-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214" r="81553"/>
            <a:stretch/>
          </p:blipFill>
          <p:spPr>
            <a:xfrm>
              <a:off x="4644888" y="3042544"/>
              <a:ext cx="682024" cy="80841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Grafik 13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816C20B3-1AAA-9740-B4D7-1F70A4EEA1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500"/>
                      </a14:imgEffect>
                      <a14:imgEffect>
                        <a14:saturation sat="400000"/>
                      </a14:imgEffect>
                      <a14:imgEffect>
                        <a14:brightnessContrast bright="13000" contrast="-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559" t="80329"/>
            <a:stretch/>
          </p:blipFill>
          <p:spPr>
            <a:xfrm>
              <a:off x="5252271" y="3042544"/>
              <a:ext cx="770986" cy="80841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" name="Grafik 14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44B674B8-DC06-F84A-BFB4-D0B6227E36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500"/>
                      </a14:imgEffect>
                      <a14:imgEffect>
                        <a14:saturation sat="400000"/>
                      </a14:imgEffect>
                      <a14:imgEffect>
                        <a14:brightnessContrast bright="13000" contrast="-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927" b="83723"/>
            <a:stretch/>
          </p:blipFill>
          <p:spPr>
            <a:xfrm>
              <a:off x="5178498" y="2230720"/>
              <a:ext cx="844759" cy="823570"/>
            </a:xfrm>
            <a:prstGeom prst="rect">
              <a:avLst/>
            </a:prstGeom>
            <a:ln>
              <a:noFill/>
            </a:ln>
          </p:spPr>
        </p:pic>
        <p:sp>
          <p:nvSpPr>
            <p:cNvPr id="9" name="Freeform 276">
              <a:extLst>
                <a:ext uri="{FF2B5EF4-FFF2-40B4-BE49-F238E27FC236}">
                  <a16:creationId xmlns:a16="http://schemas.microsoft.com/office/drawing/2014/main" id="{7F8F4B1A-DF73-7842-950D-8AFED17B2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97676" y="2396282"/>
              <a:ext cx="844759" cy="1231947"/>
            </a:xfrm>
            <a:custGeom>
              <a:avLst/>
              <a:gdLst>
                <a:gd name="T0" fmla="*/ 109 w 109"/>
                <a:gd name="T1" fmla="*/ 67 h 158"/>
                <a:gd name="T2" fmla="*/ 109 w 109"/>
                <a:gd name="T3" fmla="*/ 79 h 158"/>
                <a:gd name="T4" fmla="*/ 95 w 109"/>
                <a:gd name="T5" fmla="*/ 115 h 158"/>
                <a:gd name="T6" fmla="*/ 60 w 109"/>
                <a:gd name="T7" fmla="*/ 133 h 158"/>
                <a:gd name="T8" fmla="*/ 60 w 109"/>
                <a:gd name="T9" fmla="*/ 145 h 158"/>
                <a:gd name="T10" fmla="*/ 84 w 109"/>
                <a:gd name="T11" fmla="*/ 145 h 158"/>
                <a:gd name="T12" fmla="*/ 89 w 109"/>
                <a:gd name="T13" fmla="*/ 147 h 158"/>
                <a:gd name="T14" fmla="*/ 91 w 109"/>
                <a:gd name="T15" fmla="*/ 151 h 158"/>
                <a:gd name="T16" fmla="*/ 89 w 109"/>
                <a:gd name="T17" fmla="*/ 156 h 158"/>
                <a:gd name="T18" fmla="*/ 84 w 109"/>
                <a:gd name="T19" fmla="*/ 158 h 158"/>
                <a:gd name="T20" fmla="*/ 24 w 109"/>
                <a:gd name="T21" fmla="*/ 158 h 158"/>
                <a:gd name="T22" fmla="*/ 20 w 109"/>
                <a:gd name="T23" fmla="*/ 156 h 158"/>
                <a:gd name="T24" fmla="*/ 18 w 109"/>
                <a:gd name="T25" fmla="*/ 151 h 158"/>
                <a:gd name="T26" fmla="*/ 20 w 109"/>
                <a:gd name="T27" fmla="*/ 147 h 158"/>
                <a:gd name="T28" fmla="*/ 24 w 109"/>
                <a:gd name="T29" fmla="*/ 145 h 158"/>
                <a:gd name="T30" fmla="*/ 48 w 109"/>
                <a:gd name="T31" fmla="*/ 145 h 158"/>
                <a:gd name="T32" fmla="*/ 48 w 109"/>
                <a:gd name="T33" fmla="*/ 133 h 158"/>
                <a:gd name="T34" fmla="*/ 14 w 109"/>
                <a:gd name="T35" fmla="*/ 115 h 158"/>
                <a:gd name="T36" fmla="*/ 0 w 109"/>
                <a:gd name="T37" fmla="*/ 79 h 158"/>
                <a:gd name="T38" fmla="*/ 0 w 109"/>
                <a:gd name="T39" fmla="*/ 67 h 158"/>
                <a:gd name="T40" fmla="*/ 2 w 109"/>
                <a:gd name="T41" fmla="*/ 63 h 158"/>
                <a:gd name="T42" fmla="*/ 6 w 109"/>
                <a:gd name="T43" fmla="*/ 61 h 158"/>
                <a:gd name="T44" fmla="*/ 10 w 109"/>
                <a:gd name="T45" fmla="*/ 63 h 158"/>
                <a:gd name="T46" fmla="*/ 12 w 109"/>
                <a:gd name="T47" fmla="*/ 67 h 158"/>
                <a:gd name="T48" fmla="*/ 12 w 109"/>
                <a:gd name="T49" fmla="*/ 79 h 158"/>
                <a:gd name="T50" fmla="*/ 24 w 109"/>
                <a:gd name="T51" fmla="*/ 109 h 158"/>
                <a:gd name="T52" fmla="*/ 54 w 109"/>
                <a:gd name="T53" fmla="*/ 121 h 158"/>
                <a:gd name="T54" fmla="*/ 84 w 109"/>
                <a:gd name="T55" fmla="*/ 109 h 158"/>
                <a:gd name="T56" fmla="*/ 97 w 109"/>
                <a:gd name="T57" fmla="*/ 79 h 158"/>
                <a:gd name="T58" fmla="*/ 97 w 109"/>
                <a:gd name="T59" fmla="*/ 67 h 158"/>
                <a:gd name="T60" fmla="*/ 98 w 109"/>
                <a:gd name="T61" fmla="*/ 63 h 158"/>
                <a:gd name="T62" fmla="*/ 103 w 109"/>
                <a:gd name="T63" fmla="*/ 61 h 158"/>
                <a:gd name="T64" fmla="*/ 107 w 109"/>
                <a:gd name="T65" fmla="*/ 63 h 158"/>
                <a:gd name="T66" fmla="*/ 109 w 109"/>
                <a:gd name="T67" fmla="*/ 67 h 158"/>
                <a:gd name="T68" fmla="*/ 84 w 109"/>
                <a:gd name="T69" fmla="*/ 30 h 158"/>
                <a:gd name="T70" fmla="*/ 84 w 109"/>
                <a:gd name="T71" fmla="*/ 79 h 158"/>
                <a:gd name="T72" fmla="*/ 76 w 109"/>
                <a:gd name="T73" fmla="*/ 100 h 158"/>
                <a:gd name="T74" fmla="*/ 54 w 109"/>
                <a:gd name="T75" fmla="*/ 109 h 158"/>
                <a:gd name="T76" fmla="*/ 33 w 109"/>
                <a:gd name="T77" fmla="*/ 100 h 158"/>
                <a:gd name="T78" fmla="*/ 24 w 109"/>
                <a:gd name="T79" fmla="*/ 79 h 158"/>
                <a:gd name="T80" fmla="*/ 24 w 109"/>
                <a:gd name="T81" fmla="*/ 30 h 158"/>
                <a:gd name="T82" fmla="*/ 33 w 109"/>
                <a:gd name="T83" fmla="*/ 9 h 158"/>
                <a:gd name="T84" fmla="*/ 54 w 109"/>
                <a:gd name="T85" fmla="*/ 0 h 158"/>
                <a:gd name="T86" fmla="*/ 76 w 109"/>
                <a:gd name="T87" fmla="*/ 9 h 158"/>
                <a:gd name="T88" fmla="*/ 84 w 109"/>
                <a:gd name="T89" fmla="*/ 3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9" h="158">
                  <a:moveTo>
                    <a:pt x="109" y="67"/>
                  </a:moveTo>
                  <a:cubicBezTo>
                    <a:pt x="109" y="79"/>
                    <a:pt x="109" y="79"/>
                    <a:pt x="109" y="79"/>
                  </a:cubicBezTo>
                  <a:cubicBezTo>
                    <a:pt x="109" y="93"/>
                    <a:pt x="104" y="105"/>
                    <a:pt x="95" y="115"/>
                  </a:cubicBezTo>
                  <a:cubicBezTo>
                    <a:pt x="85" y="126"/>
                    <a:pt x="74" y="131"/>
                    <a:pt x="60" y="133"/>
                  </a:cubicBezTo>
                  <a:cubicBezTo>
                    <a:pt x="60" y="145"/>
                    <a:pt x="60" y="145"/>
                    <a:pt x="60" y="145"/>
                  </a:cubicBezTo>
                  <a:cubicBezTo>
                    <a:pt x="84" y="145"/>
                    <a:pt x="84" y="145"/>
                    <a:pt x="84" y="145"/>
                  </a:cubicBezTo>
                  <a:cubicBezTo>
                    <a:pt x="86" y="145"/>
                    <a:pt x="88" y="146"/>
                    <a:pt x="89" y="147"/>
                  </a:cubicBezTo>
                  <a:cubicBezTo>
                    <a:pt x="90" y="148"/>
                    <a:pt x="91" y="150"/>
                    <a:pt x="91" y="151"/>
                  </a:cubicBezTo>
                  <a:cubicBezTo>
                    <a:pt x="91" y="153"/>
                    <a:pt x="90" y="155"/>
                    <a:pt x="89" y="156"/>
                  </a:cubicBezTo>
                  <a:cubicBezTo>
                    <a:pt x="88" y="157"/>
                    <a:pt x="86" y="158"/>
                    <a:pt x="84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2" y="158"/>
                    <a:pt x="21" y="157"/>
                    <a:pt x="20" y="156"/>
                  </a:cubicBezTo>
                  <a:cubicBezTo>
                    <a:pt x="19" y="155"/>
                    <a:pt x="18" y="153"/>
                    <a:pt x="18" y="151"/>
                  </a:cubicBezTo>
                  <a:cubicBezTo>
                    <a:pt x="18" y="150"/>
                    <a:pt x="19" y="148"/>
                    <a:pt x="20" y="147"/>
                  </a:cubicBezTo>
                  <a:cubicBezTo>
                    <a:pt x="21" y="146"/>
                    <a:pt x="22" y="145"/>
                    <a:pt x="24" y="145"/>
                  </a:cubicBezTo>
                  <a:cubicBezTo>
                    <a:pt x="48" y="145"/>
                    <a:pt x="48" y="145"/>
                    <a:pt x="48" y="145"/>
                  </a:cubicBezTo>
                  <a:cubicBezTo>
                    <a:pt x="48" y="133"/>
                    <a:pt x="48" y="133"/>
                    <a:pt x="48" y="133"/>
                  </a:cubicBezTo>
                  <a:cubicBezTo>
                    <a:pt x="35" y="131"/>
                    <a:pt x="23" y="126"/>
                    <a:pt x="14" y="115"/>
                  </a:cubicBezTo>
                  <a:cubicBezTo>
                    <a:pt x="4" y="105"/>
                    <a:pt x="0" y="93"/>
                    <a:pt x="0" y="79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5"/>
                    <a:pt x="0" y="64"/>
                    <a:pt x="2" y="63"/>
                  </a:cubicBezTo>
                  <a:cubicBezTo>
                    <a:pt x="3" y="61"/>
                    <a:pt x="4" y="61"/>
                    <a:pt x="6" y="61"/>
                  </a:cubicBezTo>
                  <a:cubicBezTo>
                    <a:pt x="7" y="61"/>
                    <a:pt x="9" y="61"/>
                    <a:pt x="10" y="63"/>
                  </a:cubicBezTo>
                  <a:cubicBezTo>
                    <a:pt x="11" y="64"/>
                    <a:pt x="12" y="65"/>
                    <a:pt x="12" y="6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91"/>
                    <a:pt x="16" y="101"/>
                    <a:pt x="24" y="109"/>
                  </a:cubicBezTo>
                  <a:cubicBezTo>
                    <a:pt x="33" y="117"/>
                    <a:pt x="43" y="121"/>
                    <a:pt x="54" y="121"/>
                  </a:cubicBezTo>
                  <a:cubicBezTo>
                    <a:pt x="66" y="121"/>
                    <a:pt x="76" y="117"/>
                    <a:pt x="84" y="109"/>
                  </a:cubicBezTo>
                  <a:cubicBezTo>
                    <a:pt x="92" y="101"/>
                    <a:pt x="97" y="91"/>
                    <a:pt x="97" y="79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7" y="65"/>
                    <a:pt x="97" y="64"/>
                    <a:pt x="98" y="63"/>
                  </a:cubicBezTo>
                  <a:cubicBezTo>
                    <a:pt x="100" y="61"/>
                    <a:pt x="101" y="61"/>
                    <a:pt x="103" y="61"/>
                  </a:cubicBezTo>
                  <a:cubicBezTo>
                    <a:pt x="104" y="61"/>
                    <a:pt x="106" y="61"/>
                    <a:pt x="107" y="63"/>
                  </a:cubicBezTo>
                  <a:cubicBezTo>
                    <a:pt x="108" y="64"/>
                    <a:pt x="109" y="65"/>
                    <a:pt x="109" y="67"/>
                  </a:cubicBezTo>
                  <a:close/>
                  <a:moveTo>
                    <a:pt x="84" y="30"/>
                  </a:moveTo>
                  <a:cubicBezTo>
                    <a:pt x="84" y="79"/>
                    <a:pt x="84" y="79"/>
                    <a:pt x="84" y="79"/>
                  </a:cubicBezTo>
                  <a:cubicBezTo>
                    <a:pt x="84" y="87"/>
                    <a:pt x="82" y="94"/>
                    <a:pt x="76" y="100"/>
                  </a:cubicBezTo>
                  <a:cubicBezTo>
                    <a:pt x="70" y="106"/>
                    <a:pt x="63" y="109"/>
                    <a:pt x="54" y="109"/>
                  </a:cubicBezTo>
                  <a:cubicBezTo>
                    <a:pt x="46" y="109"/>
                    <a:pt x="39" y="106"/>
                    <a:pt x="33" y="100"/>
                  </a:cubicBezTo>
                  <a:cubicBezTo>
                    <a:pt x="27" y="94"/>
                    <a:pt x="24" y="87"/>
                    <a:pt x="24" y="79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2"/>
                    <a:pt x="27" y="15"/>
                    <a:pt x="33" y="9"/>
                  </a:cubicBezTo>
                  <a:cubicBezTo>
                    <a:pt x="39" y="3"/>
                    <a:pt x="46" y="0"/>
                    <a:pt x="54" y="0"/>
                  </a:cubicBezTo>
                  <a:cubicBezTo>
                    <a:pt x="63" y="0"/>
                    <a:pt x="70" y="3"/>
                    <a:pt x="76" y="9"/>
                  </a:cubicBezTo>
                  <a:cubicBezTo>
                    <a:pt x="82" y="15"/>
                    <a:pt x="84" y="22"/>
                    <a:pt x="84" y="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969DCE05-CA3C-4740-A809-4D458224D2FC}"/>
              </a:ext>
            </a:extLst>
          </p:cNvPr>
          <p:cNvSpPr txBox="1"/>
          <p:nvPr/>
        </p:nvSpPr>
        <p:spPr>
          <a:xfrm>
            <a:off x="671069" y="4038292"/>
            <a:ext cx="28937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Natascha </a:t>
            </a:r>
            <a:r>
              <a:rPr lang="en-US" sz="1400" dirty="0" err="1">
                <a:solidFill>
                  <a:schemeClr val="accent1"/>
                </a:solidFill>
              </a:rPr>
              <a:t>Könches</a:t>
            </a:r>
            <a:r>
              <a:rPr lang="en-US" sz="1400" dirty="0">
                <a:solidFill>
                  <a:schemeClr val="accent1"/>
                </a:solidFill>
              </a:rPr>
              <a:t> und Kim Beck </a:t>
            </a:r>
            <a:endParaRPr lang="de-DE" dirty="0"/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D57B0BDF-52E9-4549-8CE3-0AD99A7E4AE4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3948543" y="3012255"/>
            <a:ext cx="696345" cy="3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A96D180B-94D7-C043-9185-91C7CDB66A57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6023257" y="3037120"/>
            <a:ext cx="780092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73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Fully editable </a:t>
            </a:r>
            <a:r>
              <a:rPr lang="en-US">
                <a:solidFill>
                  <a:schemeClr val="accent2"/>
                </a:solidFill>
              </a:rPr>
              <a:t>ic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reeform 5"/>
          <p:cNvSpPr>
            <a:spLocks noChangeAspect="1"/>
          </p:cNvSpPr>
          <p:nvPr/>
        </p:nvSpPr>
        <p:spPr bwMode="auto">
          <a:xfrm>
            <a:off x="749909" y="1555540"/>
            <a:ext cx="157692" cy="163937"/>
          </a:xfrm>
          <a:custGeom>
            <a:avLst/>
            <a:gdLst>
              <a:gd name="T0" fmla="*/ 152 w 152"/>
              <a:gd name="T1" fmla="*/ 6 h 158"/>
              <a:gd name="T2" fmla="*/ 148 w 152"/>
              <a:gd name="T3" fmla="*/ 13 h 158"/>
              <a:gd name="T4" fmla="*/ 88 w 152"/>
              <a:gd name="T5" fmla="*/ 73 h 158"/>
              <a:gd name="T6" fmla="*/ 88 w 152"/>
              <a:gd name="T7" fmla="*/ 146 h 158"/>
              <a:gd name="T8" fmla="*/ 118 w 152"/>
              <a:gd name="T9" fmla="*/ 146 h 158"/>
              <a:gd name="T10" fmla="*/ 122 w 152"/>
              <a:gd name="T11" fmla="*/ 147 h 158"/>
              <a:gd name="T12" fmla="*/ 124 w 152"/>
              <a:gd name="T13" fmla="*/ 152 h 158"/>
              <a:gd name="T14" fmla="*/ 122 w 152"/>
              <a:gd name="T15" fmla="*/ 156 h 158"/>
              <a:gd name="T16" fmla="*/ 118 w 152"/>
              <a:gd name="T17" fmla="*/ 158 h 158"/>
              <a:gd name="T18" fmla="*/ 33 w 152"/>
              <a:gd name="T19" fmla="*/ 158 h 158"/>
              <a:gd name="T20" fmla="*/ 29 w 152"/>
              <a:gd name="T21" fmla="*/ 156 h 158"/>
              <a:gd name="T22" fmla="*/ 27 w 152"/>
              <a:gd name="T23" fmla="*/ 152 h 158"/>
              <a:gd name="T24" fmla="*/ 29 w 152"/>
              <a:gd name="T25" fmla="*/ 147 h 158"/>
              <a:gd name="T26" fmla="*/ 33 w 152"/>
              <a:gd name="T27" fmla="*/ 146 h 158"/>
              <a:gd name="T28" fmla="*/ 64 w 152"/>
              <a:gd name="T29" fmla="*/ 146 h 158"/>
              <a:gd name="T30" fmla="*/ 64 w 152"/>
              <a:gd name="T31" fmla="*/ 73 h 158"/>
              <a:gd name="T32" fmla="*/ 4 w 152"/>
              <a:gd name="T33" fmla="*/ 13 h 158"/>
              <a:gd name="T34" fmla="*/ 0 w 152"/>
              <a:gd name="T35" fmla="*/ 6 h 158"/>
              <a:gd name="T36" fmla="*/ 1 w 152"/>
              <a:gd name="T37" fmla="*/ 2 h 158"/>
              <a:gd name="T38" fmla="*/ 5 w 152"/>
              <a:gd name="T39" fmla="*/ 1 h 158"/>
              <a:gd name="T40" fmla="*/ 9 w 152"/>
              <a:gd name="T41" fmla="*/ 0 h 158"/>
              <a:gd name="T42" fmla="*/ 142 w 152"/>
              <a:gd name="T43" fmla="*/ 0 h 158"/>
              <a:gd name="T44" fmla="*/ 146 w 152"/>
              <a:gd name="T45" fmla="*/ 1 h 158"/>
              <a:gd name="T46" fmla="*/ 150 w 152"/>
              <a:gd name="T47" fmla="*/ 2 h 158"/>
              <a:gd name="T48" fmla="*/ 152 w 152"/>
              <a:gd name="T49" fmla="*/ 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2" h="158">
                <a:moveTo>
                  <a:pt x="152" y="6"/>
                </a:moveTo>
                <a:cubicBezTo>
                  <a:pt x="152" y="8"/>
                  <a:pt x="150" y="11"/>
                  <a:pt x="148" y="13"/>
                </a:cubicBezTo>
                <a:cubicBezTo>
                  <a:pt x="88" y="73"/>
                  <a:pt x="88" y="73"/>
                  <a:pt x="88" y="73"/>
                </a:cubicBezTo>
                <a:cubicBezTo>
                  <a:pt x="88" y="146"/>
                  <a:pt x="88" y="146"/>
                  <a:pt x="88" y="146"/>
                </a:cubicBezTo>
                <a:cubicBezTo>
                  <a:pt x="118" y="146"/>
                  <a:pt x="118" y="146"/>
                  <a:pt x="118" y="146"/>
                </a:cubicBezTo>
                <a:cubicBezTo>
                  <a:pt x="120" y="146"/>
                  <a:pt x="121" y="146"/>
                  <a:pt x="122" y="147"/>
                </a:cubicBezTo>
                <a:cubicBezTo>
                  <a:pt x="123" y="149"/>
                  <a:pt x="124" y="150"/>
                  <a:pt x="124" y="152"/>
                </a:cubicBezTo>
                <a:cubicBezTo>
                  <a:pt x="124" y="153"/>
                  <a:pt x="123" y="155"/>
                  <a:pt x="122" y="156"/>
                </a:cubicBezTo>
                <a:cubicBezTo>
                  <a:pt x="121" y="157"/>
                  <a:pt x="120" y="158"/>
                  <a:pt x="118" y="158"/>
                </a:cubicBezTo>
                <a:cubicBezTo>
                  <a:pt x="33" y="158"/>
                  <a:pt x="33" y="158"/>
                  <a:pt x="33" y="158"/>
                </a:cubicBezTo>
                <a:cubicBezTo>
                  <a:pt x="32" y="158"/>
                  <a:pt x="30" y="157"/>
                  <a:pt x="29" y="156"/>
                </a:cubicBezTo>
                <a:cubicBezTo>
                  <a:pt x="28" y="155"/>
                  <a:pt x="27" y="153"/>
                  <a:pt x="27" y="152"/>
                </a:cubicBezTo>
                <a:cubicBezTo>
                  <a:pt x="27" y="150"/>
                  <a:pt x="28" y="149"/>
                  <a:pt x="29" y="147"/>
                </a:cubicBezTo>
                <a:cubicBezTo>
                  <a:pt x="30" y="146"/>
                  <a:pt x="32" y="146"/>
                  <a:pt x="33" y="146"/>
                </a:cubicBezTo>
                <a:cubicBezTo>
                  <a:pt x="64" y="146"/>
                  <a:pt x="64" y="146"/>
                  <a:pt x="64" y="146"/>
                </a:cubicBezTo>
                <a:cubicBezTo>
                  <a:pt x="64" y="73"/>
                  <a:pt x="64" y="73"/>
                  <a:pt x="64" y="73"/>
                </a:cubicBezTo>
                <a:cubicBezTo>
                  <a:pt x="4" y="13"/>
                  <a:pt x="4" y="13"/>
                  <a:pt x="4" y="13"/>
                </a:cubicBezTo>
                <a:cubicBezTo>
                  <a:pt x="1" y="11"/>
                  <a:pt x="0" y="8"/>
                  <a:pt x="0" y="6"/>
                </a:cubicBezTo>
                <a:cubicBezTo>
                  <a:pt x="0" y="4"/>
                  <a:pt x="0" y="3"/>
                  <a:pt x="1" y="2"/>
                </a:cubicBezTo>
                <a:cubicBezTo>
                  <a:pt x="3" y="2"/>
                  <a:pt x="4" y="1"/>
                  <a:pt x="5" y="1"/>
                </a:cubicBezTo>
                <a:cubicBezTo>
                  <a:pt x="6" y="0"/>
                  <a:pt x="8" y="0"/>
                  <a:pt x="9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4" y="0"/>
                  <a:pt x="145" y="0"/>
                  <a:pt x="146" y="1"/>
                </a:cubicBezTo>
                <a:cubicBezTo>
                  <a:pt x="148" y="1"/>
                  <a:pt x="149" y="2"/>
                  <a:pt x="150" y="2"/>
                </a:cubicBezTo>
                <a:cubicBezTo>
                  <a:pt x="151" y="3"/>
                  <a:pt x="152" y="4"/>
                  <a:pt x="152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962247" y="1555540"/>
            <a:ext cx="149885" cy="163937"/>
          </a:xfrm>
          <a:custGeom>
            <a:avLst/>
            <a:gdLst>
              <a:gd name="T0" fmla="*/ 145 w 145"/>
              <a:gd name="T1" fmla="*/ 9 h 158"/>
              <a:gd name="T2" fmla="*/ 145 w 145"/>
              <a:gd name="T3" fmla="*/ 115 h 158"/>
              <a:gd name="T4" fmla="*/ 142 w 145"/>
              <a:gd name="T5" fmla="*/ 124 h 158"/>
              <a:gd name="T6" fmla="*/ 134 w 145"/>
              <a:gd name="T7" fmla="*/ 129 h 158"/>
              <a:gd name="T8" fmla="*/ 124 w 145"/>
              <a:gd name="T9" fmla="*/ 132 h 158"/>
              <a:gd name="T10" fmla="*/ 115 w 145"/>
              <a:gd name="T11" fmla="*/ 133 h 158"/>
              <a:gd name="T12" fmla="*/ 106 w 145"/>
              <a:gd name="T13" fmla="*/ 132 h 158"/>
              <a:gd name="T14" fmla="*/ 96 w 145"/>
              <a:gd name="T15" fmla="*/ 129 h 158"/>
              <a:gd name="T16" fmla="*/ 88 w 145"/>
              <a:gd name="T17" fmla="*/ 124 h 158"/>
              <a:gd name="T18" fmla="*/ 85 w 145"/>
              <a:gd name="T19" fmla="*/ 115 h 158"/>
              <a:gd name="T20" fmla="*/ 88 w 145"/>
              <a:gd name="T21" fmla="*/ 107 h 158"/>
              <a:gd name="T22" fmla="*/ 96 w 145"/>
              <a:gd name="T23" fmla="*/ 101 h 158"/>
              <a:gd name="T24" fmla="*/ 106 w 145"/>
              <a:gd name="T25" fmla="*/ 98 h 158"/>
              <a:gd name="T26" fmla="*/ 115 w 145"/>
              <a:gd name="T27" fmla="*/ 97 h 158"/>
              <a:gd name="T28" fmla="*/ 133 w 145"/>
              <a:gd name="T29" fmla="*/ 101 h 158"/>
              <a:gd name="T30" fmla="*/ 133 w 145"/>
              <a:gd name="T31" fmla="*/ 50 h 158"/>
              <a:gd name="T32" fmla="*/ 61 w 145"/>
              <a:gd name="T33" fmla="*/ 72 h 158"/>
              <a:gd name="T34" fmla="*/ 61 w 145"/>
              <a:gd name="T35" fmla="*/ 140 h 158"/>
              <a:gd name="T36" fmla="*/ 57 w 145"/>
              <a:gd name="T37" fmla="*/ 148 h 158"/>
              <a:gd name="T38" fmla="*/ 49 w 145"/>
              <a:gd name="T39" fmla="*/ 154 h 158"/>
              <a:gd name="T40" fmla="*/ 39 w 145"/>
              <a:gd name="T41" fmla="*/ 157 h 158"/>
              <a:gd name="T42" fmla="*/ 30 w 145"/>
              <a:gd name="T43" fmla="*/ 158 h 158"/>
              <a:gd name="T44" fmla="*/ 21 w 145"/>
              <a:gd name="T45" fmla="*/ 157 h 158"/>
              <a:gd name="T46" fmla="*/ 11 w 145"/>
              <a:gd name="T47" fmla="*/ 154 h 158"/>
              <a:gd name="T48" fmla="*/ 3 w 145"/>
              <a:gd name="T49" fmla="*/ 148 h 158"/>
              <a:gd name="T50" fmla="*/ 0 w 145"/>
              <a:gd name="T51" fmla="*/ 140 h 158"/>
              <a:gd name="T52" fmla="*/ 3 w 145"/>
              <a:gd name="T53" fmla="*/ 131 h 158"/>
              <a:gd name="T54" fmla="*/ 11 w 145"/>
              <a:gd name="T55" fmla="*/ 125 h 158"/>
              <a:gd name="T56" fmla="*/ 21 w 145"/>
              <a:gd name="T57" fmla="*/ 122 h 158"/>
              <a:gd name="T58" fmla="*/ 30 w 145"/>
              <a:gd name="T59" fmla="*/ 121 h 158"/>
              <a:gd name="T60" fmla="*/ 48 w 145"/>
              <a:gd name="T61" fmla="*/ 125 h 158"/>
              <a:gd name="T62" fmla="*/ 48 w 145"/>
              <a:gd name="T63" fmla="*/ 34 h 158"/>
              <a:gd name="T64" fmla="*/ 50 w 145"/>
              <a:gd name="T65" fmla="*/ 28 h 158"/>
              <a:gd name="T66" fmla="*/ 55 w 145"/>
              <a:gd name="T67" fmla="*/ 25 h 158"/>
              <a:gd name="T68" fmla="*/ 134 w 145"/>
              <a:gd name="T69" fmla="*/ 1 h 158"/>
              <a:gd name="T70" fmla="*/ 136 w 145"/>
              <a:gd name="T71" fmla="*/ 0 h 158"/>
              <a:gd name="T72" fmla="*/ 143 w 145"/>
              <a:gd name="T73" fmla="*/ 3 h 158"/>
              <a:gd name="T74" fmla="*/ 145 w 145"/>
              <a:gd name="T75" fmla="*/ 9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5" h="158">
                <a:moveTo>
                  <a:pt x="145" y="9"/>
                </a:moveTo>
                <a:cubicBezTo>
                  <a:pt x="145" y="115"/>
                  <a:pt x="145" y="115"/>
                  <a:pt x="145" y="115"/>
                </a:cubicBezTo>
                <a:cubicBezTo>
                  <a:pt x="145" y="118"/>
                  <a:pt x="144" y="121"/>
                  <a:pt x="142" y="124"/>
                </a:cubicBezTo>
                <a:cubicBezTo>
                  <a:pt x="140" y="126"/>
                  <a:pt x="137" y="128"/>
                  <a:pt x="134" y="129"/>
                </a:cubicBezTo>
                <a:cubicBezTo>
                  <a:pt x="131" y="131"/>
                  <a:pt x="127" y="132"/>
                  <a:pt x="124" y="132"/>
                </a:cubicBezTo>
                <a:cubicBezTo>
                  <a:pt x="121" y="133"/>
                  <a:pt x="118" y="133"/>
                  <a:pt x="115" y="133"/>
                </a:cubicBezTo>
                <a:cubicBezTo>
                  <a:pt x="112" y="133"/>
                  <a:pt x="109" y="133"/>
                  <a:pt x="106" y="132"/>
                </a:cubicBezTo>
                <a:cubicBezTo>
                  <a:pt x="103" y="132"/>
                  <a:pt x="99" y="131"/>
                  <a:pt x="96" y="129"/>
                </a:cubicBezTo>
                <a:cubicBezTo>
                  <a:pt x="93" y="128"/>
                  <a:pt x="90" y="126"/>
                  <a:pt x="88" y="124"/>
                </a:cubicBezTo>
                <a:cubicBezTo>
                  <a:pt x="86" y="121"/>
                  <a:pt x="85" y="118"/>
                  <a:pt x="85" y="115"/>
                </a:cubicBezTo>
                <a:cubicBezTo>
                  <a:pt x="85" y="112"/>
                  <a:pt x="86" y="109"/>
                  <a:pt x="88" y="107"/>
                </a:cubicBezTo>
                <a:cubicBezTo>
                  <a:pt x="90" y="104"/>
                  <a:pt x="93" y="103"/>
                  <a:pt x="96" y="101"/>
                </a:cubicBezTo>
                <a:cubicBezTo>
                  <a:pt x="99" y="100"/>
                  <a:pt x="103" y="99"/>
                  <a:pt x="106" y="98"/>
                </a:cubicBezTo>
                <a:cubicBezTo>
                  <a:pt x="109" y="97"/>
                  <a:pt x="112" y="97"/>
                  <a:pt x="115" y="97"/>
                </a:cubicBezTo>
                <a:cubicBezTo>
                  <a:pt x="122" y="97"/>
                  <a:pt x="128" y="98"/>
                  <a:pt x="133" y="101"/>
                </a:cubicBezTo>
                <a:cubicBezTo>
                  <a:pt x="133" y="50"/>
                  <a:pt x="133" y="50"/>
                  <a:pt x="133" y="50"/>
                </a:cubicBezTo>
                <a:cubicBezTo>
                  <a:pt x="61" y="72"/>
                  <a:pt x="61" y="72"/>
                  <a:pt x="61" y="72"/>
                </a:cubicBezTo>
                <a:cubicBezTo>
                  <a:pt x="61" y="140"/>
                  <a:pt x="61" y="140"/>
                  <a:pt x="61" y="140"/>
                </a:cubicBezTo>
                <a:cubicBezTo>
                  <a:pt x="61" y="143"/>
                  <a:pt x="59" y="145"/>
                  <a:pt x="57" y="148"/>
                </a:cubicBezTo>
                <a:cubicBezTo>
                  <a:pt x="55" y="150"/>
                  <a:pt x="52" y="152"/>
                  <a:pt x="49" y="154"/>
                </a:cubicBezTo>
                <a:cubicBezTo>
                  <a:pt x="46" y="155"/>
                  <a:pt x="43" y="156"/>
                  <a:pt x="39" y="157"/>
                </a:cubicBezTo>
                <a:cubicBezTo>
                  <a:pt x="36" y="157"/>
                  <a:pt x="33" y="158"/>
                  <a:pt x="30" y="158"/>
                </a:cubicBezTo>
                <a:cubicBezTo>
                  <a:pt x="27" y="158"/>
                  <a:pt x="24" y="157"/>
                  <a:pt x="21" y="157"/>
                </a:cubicBezTo>
                <a:cubicBezTo>
                  <a:pt x="18" y="156"/>
                  <a:pt x="15" y="155"/>
                  <a:pt x="11" y="154"/>
                </a:cubicBezTo>
                <a:cubicBezTo>
                  <a:pt x="8" y="152"/>
                  <a:pt x="5" y="150"/>
                  <a:pt x="3" y="148"/>
                </a:cubicBezTo>
                <a:cubicBezTo>
                  <a:pt x="1" y="145"/>
                  <a:pt x="0" y="143"/>
                  <a:pt x="0" y="140"/>
                </a:cubicBezTo>
                <a:cubicBezTo>
                  <a:pt x="0" y="136"/>
                  <a:pt x="1" y="134"/>
                  <a:pt x="3" y="131"/>
                </a:cubicBezTo>
                <a:cubicBezTo>
                  <a:pt x="5" y="129"/>
                  <a:pt x="8" y="127"/>
                  <a:pt x="11" y="125"/>
                </a:cubicBezTo>
                <a:cubicBezTo>
                  <a:pt x="15" y="124"/>
                  <a:pt x="18" y="123"/>
                  <a:pt x="21" y="122"/>
                </a:cubicBezTo>
                <a:cubicBezTo>
                  <a:pt x="24" y="122"/>
                  <a:pt x="27" y="121"/>
                  <a:pt x="30" y="121"/>
                </a:cubicBezTo>
                <a:cubicBezTo>
                  <a:pt x="37" y="121"/>
                  <a:pt x="43" y="123"/>
                  <a:pt x="48" y="125"/>
                </a:cubicBezTo>
                <a:cubicBezTo>
                  <a:pt x="48" y="34"/>
                  <a:pt x="48" y="34"/>
                  <a:pt x="48" y="34"/>
                </a:cubicBezTo>
                <a:cubicBezTo>
                  <a:pt x="48" y="32"/>
                  <a:pt x="49" y="30"/>
                  <a:pt x="50" y="28"/>
                </a:cubicBezTo>
                <a:cubicBezTo>
                  <a:pt x="51" y="27"/>
                  <a:pt x="53" y="26"/>
                  <a:pt x="55" y="25"/>
                </a:cubicBezTo>
                <a:cubicBezTo>
                  <a:pt x="134" y="1"/>
                  <a:pt x="134" y="1"/>
                  <a:pt x="134" y="1"/>
                </a:cubicBezTo>
                <a:cubicBezTo>
                  <a:pt x="134" y="0"/>
                  <a:pt x="135" y="0"/>
                  <a:pt x="136" y="0"/>
                </a:cubicBezTo>
                <a:cubicBezTo>
                  <a:pt x="139" y="0"/>
                  <a:pt x="141" y="1"/>
                  <a:pt x="143" y="3"/>
                </a:cubicBezTo>
                <a:cubicBezTo>
                  <a:pt x="144" y="5"/>
                  <a:pt x="145" y="7"/>
                  <a:pt x="145" y="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" name="Freeform 7"/>
          <p:cNvSpPr>
            <a:spLocks noChangeAspect="1" noEditPoints="1"/>
          </p:cNvSpPr>
          <p:nvPr/>
        </p:nvSpPr>
        <p:spPr bwMode="auto">
          <a:xfrm>
            <a:off x="1158971" y="1555540"/>
            <a:ext cx="162376" cy="163937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" name="Freeform 8"/>
          <p:cNvSpPr>
            <a:spLocks noChangeAspect="1" noEditPoints="1"/>
          </p:cNvSpPr>
          <p:nvPr/>
        </p:nvSpPr>
        <p:spPr bwMode="auto">
          <a:xfrm>
            <a:off x="1368186" y="1568031"/>
            <a:ext cx="174866" cy="138956"/>
          </a:xfrm>
          <a:custGeom>
            <a:avLst/>
            <a:gdLst>
              <a:gd name="T0" fmla="*/ 169 w 169"/>
              <a:gd name="T1" fmla="*/ 16 h 134"/>
              <a:gd name="T2" fmla="*/ 169 w 169"/>
              <a:gd name="T3" fmla="*/ 118 h 134"/>
              <a:gd name="T4" fmla="*/ 165 w 169"/>
              <a:gd name="T5" fmla="*/ 129 h 134"/>
              <a:gd name="T6" fmla="*/ 154 w 169"/>
              <a:gd name="T7" fmla="*/ 134 h 134"/>
              <a:gd name="T8" fmla="*/ 15 w 169"/>
              <a:gd name="T9" fmla="*/ 134 h 134"/>
              <a:gd name="T10" fmla="*/ 4 w 169"/>
              <a:gd name="T11" fmla="*/ 129 h 134"/>
              <a:gd name="T12" fmla="*/ 0 w 169"/>
              <a:gd name="T13" fmla="*/ 118 h 134"/>
              <a:gd name="T14" fmla="*/ 0 w 169"/>
              <a:gd name="T15" fmla="*/ 16 h 134"/>
              <a:gd name="T16" fmla="*/ 4 w 169"/>
              <a:gd name="T17" fmla="*/ 5 h 134"/>
              <a:gd name="T18" fmla="*/ 15 w 169"/>
              <a:gd name="T19" fmla="*/ 0 h 134"/>
              <a:gd name="T20" fmla="*/ 154 w 169"/>
              <a:gd name="T21" fmla="*/ 0 h 134"/>
              <a:gd name="T22" fmla="*/ 165 w 169"/>
              <a:gd name="T23" fmla="*/ 5 h 134"/>
              <a:gd name="T24" fmla="*/ 169 w 169"/>
              <a:gd name="T25" fmla="*/ 16 h 134"/>
              <a:gd name="T26" fmla="*/ 157 w 169"/>
              <a:gd name="T27" fmla="*/ 19 h 134"/>
              <a:gd name="T28" fmla="*/ 157 w 169"/>
              <a:gd name="T29" fmla="*/ 18 h 134"/>
              <a:gd name="T30" fmla="*/ 157 w 169"/>
              <a:gd name="T31" fmla="*/ 17 h 134"/>
              <a:gd name="T32" fmla="*/ 157 w 169"/>
              <a:gd name="T33" fmla="*/ 16 h 134"/>
              <a:gd name="T34" fmla="*/ 157 w 169"/>
              <a:gd name="T35" fmla="*/ 14 h 134"/>
              <a:gd name="T36" fmla="*/ 156 w 169"/>
              <a:gd name="T37" fmla="*/ 14 h 134"/>
              <a:gd name="T38" fmla="*/ 155 w 169"/>
              <a:gd name="T39" fmla="*/ 13 h 134"/>
              <a:gd name="T40" fmla="*/ 154 w 169"/>
              <a:gd name="T41" fmla="*/ 13 h 134"/>
              <a:gd name="T42" fmla="*/ 15 w 169"/>
              <a:gd name="T43" fmla="*/ 13 h 134"/>
              <a:gd name="T44" fmla="*/ 13 w 169"/>
              <a:gd name="T45" fmla="*/ 13 h 134"/>
              <a:gd name="T46" fmla="*/ 12 w 169"/>
              <a:gd name="T47" fmla="*/ 16 h 134"/>
              <a:gd name="T48" fmla="*/ 26 w 169"/>
              <a:gd name="T49" fmla="*/ 42 h 134"/>
              <a:gd name="T50" fmla="*/ 64 w 169"/>
              <a:gd name="T51" fmla="*/ 72 h 134"/>
              <a:gd name="T52" fmla="*/ 67 w 169"/>
              <a:gd name="T53" fmla="*/ 75 h 134"/>
              <a:gd name="T54" fmla="*/ 71 w 169"/>
              <a:gd name="T55" fmla="*/ 79 h 134"/>
              <a:gd name="T56" fmla="*/ 76 w 169"/>
              <a:gd name="T57" fmla="*/ 82 h 134"/>
              <a:gd name="T58" fmla="*/ 80 w 169"/>
              <a:gd name="T59" fmla="*/ 84 h 134"/>
              <a:gd name="T60" fmla="*/ 84 w 169"/>
              <a:gd name="T61" fmla="*/ 85 h 134"/>
              <a:gd name="T62" fmla="*/ 85 w 169"/>
              <a:gd name="T63" fmla="*/ 85 h 134"/>
              <a:gd name="T64" fmla="*/ 85 w 169"/>
              <a:gd name="T65" fmla="*/ 85 h 134"/>
              <a:gd name="T66" fmla="*/ 89 w 169"/>
              <a:gd name="T67" fmla="*/ 84 h 134"/>
              <a:gd name="T68" fmla="*/ 93 w 169"/>
              <a:gd name="T69" fmla="*/ 82 h 134"/>
              <a:gd name="T70" fmla="*/ 98 w 169"/>
              <a:gd name="T71" fmla="*/ 79 h 134"/>
              <a:gd name="T72" fmla="*/ 102 w 169"/>
              <a:gd name="T73" fmla="*/ 75 h 134"/>
              <a:gd name="T74" fmla="*/ 105 w 169"/>
              <a:gd name="T75" fmla="*/ 72 h 134"/>
              <a:gd name="T76" fmla="*/ 143 w 169"/>
              <a:gd name="T77" fmla="*/ 42 h 134"/>
              <a:gd name="T78" fmla="*/ 153 w 169"/>
              <a:gd name="T79" fmla="*/ 32 h 134"/>
              <a:gd name="T80" fmla="*/ 157 w 169"/>
              <a:gd name="T81" fmla="*/ 19 h 134"/>
              <a:gd name="T82" fmla="*/ 157 w 169"/>
              <a:gd name="T83" fmla="*/ 118 h 134"/>
              <a:gd name="T84" fmla="*/ 157 w 169"/>
              <a:gd name="T85" fmla="*/ 46 h 134"/>
              <a:gd name="T86" fmla="*/ 151 w 169"/>
              <a:gd name="T87" fmla="*/ 52 h 134"/>
              <a:gd name="T88" fmla="*/ 110 w 169"/>
              <a:gd name="T89" fmla="*/ 84 h 134"/>
              <a:gd name="T90" fmla="*/ 103 w 169"/>
              <a:gd name="T91" fmla="*/ 90 h 134"/>
              <a:gd name="T92" fmla="*/ 94 w 169"/>
              <a:gd name="T93" fmla="*/ 95 h 134"/>
              <a:gd name="T94" fmla="*/ 85 w 169"/>
              <a:gd name="T95" fmla="*/ 97 h 134"/>
              <a:gd name="T96" fmla="*/ 85 w 169"/>
              <a:gd name="T97" fmla="*/ 97 h 134"/>
              <a:gd name="T98" fmla="*/ 84 w 169"/>
              <a:gd name="T99" fmla="*/ 97 h 134"/>
              <a:gd name="T100" fmla="*/ 75 w 169"/>
              <a:gd name="T101" fmla="*/ 95 h 134"/>
              <a:gd name="T102" fmla="*/ 67 w 169"/>
              <a:gd name="T103" fmla="*/ 90 h 134"/>
              <a:gd name="T104" fmla="*/ 59 w 169"/>
              <a:gd name="T105" fmla="*/ 84 h 134"/>
              <a:gd name="T106" fmla="*/ 18 w 169"/>
              <a:gd name="T107" fmla="*/ 52 h 134"/>
              <a:gd name="T108" fmla="*/ 12 w 169"/>
              <a:gd name="T109" fmla="*/ 46 h 134"/>
              <a:gd name="T110" fmla="*/ 12 w 169"/>
              <a:gd name="T111" fmla="*/ 118 h 134"/>
              <a:gd name="T112" fmla="*/ 13 w 169"/>
              <a:gd name="T113" fmla="*/ 121 h 134"/>
              <a:gd name="T114" fmla="*/ 15 w 169"/>
              <a:gd name="T115" fmla="*/ 121 h 134"/>
              <a:gd name="T116" fmla="*/ 154 w 169"/>
              <a:gd name="T117" fmla="*/ 121 h 134"/>
              <a:gd name="T118" fmla="*/ 156 w 169"/>
              <a:gd name="T119" fmla="*/ 121 h 134"/>
              <a:gd name="T120" fmla="*/ 157 w 169"/>
              <a:gd name="T121" fmla="*/ 118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9" h="134">
                <a:moveTo>
                  <a:pt x="169" y="16"/>
                </a:moveTo>
                <a:cubicBezTo>
                  <a:pt x="169" y="118"/>
                  <a:pt x="169" y="118"/>
                  <a:pt x="169" y="118"/>
                </a:cubicBezTo>
                <a:cubicBezTo>
                  <a:pt x="169" y="123"/>
                  <a:pt x="168" y="126"/>
                  <a:pt x="165" y="129"/>
                </a:cubicBezTo>
                <a:cubicBezTo>
                  <a:pt x="162" y="132"/>
                  <a:pt x="158" y="134"/>
                  <a:pt x="154" y="134"/>
                </a:cubicBezTo>
                <a:cubicBezTo>
                  <a:pt x="15" y="134"/>
                  <a:pt x="15" y="134"/>
                  <a:pt x="15" y="134"/>
                </a:cubicBezTo>
                <a:cubicBezTo>
                  <a:pt x="11" y="134"/>
                  <a:pt x="7" y="132"/>
                  <a:pt x="4" y="129"/>
                </a:cubicBezTo>
                <a:cubicBezTo>
                  <a:pt x="1" y="126"/>
                  <a:pt x="0" y="123"/>
                  <a:pt x="0" y="118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8" y="0"/>
                  <a:pt x="162" y="2"/>
                  <a:pt x="165" y="5"/>
                </a:cubicBezTo>
                <a:cubicBezTo>
                  <a:pt x="168" y="8"/>
                  <a:pt x="169" y="11"/>
                  <a:pt x="169" y="16"/>
                </a:cubicBezTo>
                <a:close/>
                <a:moveTo>
                  <a:pt x="157" y="19"/>
                </a:moveTo>
                <a:cubicBezTo>
                  <a:pt x="157" y="19"/>
                  <a:pt x="157" y="19"/>
                  <a:pt x="157" y="18"/>
                </a:cubicBezTo>
                <a:cubicBezTo>
                  <a:pt x="157" y="17"/>
                  <a:pt x="157" y="17"/>
                  <a:pt x="157" y="17"/>
                </a:cubicBezTo>
                <a:cubicBezTo>
                  <a:pt x="157" y="16"/>
                  <a:pt x="157" y="16"/>
                  <a:pt x="157" y="16"/>
                </a:cubicBezTo>
                <a:cubicBezTo>
                  <a:pt x="157" y="15"/>
                  <a:pt x="157" y="15"/>
                  <a:pt x="157" y="14"/>
                </a:cubicBezTo>
                <a:cubicBezTo>
                  <a:pt x="157" y="14"/>
                  <a:pt x="156" y="14"/>
                  <a:pt x="156" y="14"/>
                </a:cubicBezTo>
                <a:cubicBezTo>
                  <a:pt x="156" y="13"/>
                  <a:pt x="156" y="13"/>
                  <a:pt x="155" y="13"/>
                </a:cubicBezTo>
                <a:cubicBezTo>
                  <a:pt x="155" y="13"/>
                  <a:pt x="155" y="13"/>
                  <a:pt x="154" y="13"/>
                </a:cubicBezTo>
                <a:cubicBezTo>
                  <a:pt x="15" y="13"/>
                  <a:pt x="15" y="13"/>
                  <a:pt x="15" y="13"/>
                </a:cubicBezTo>
                <a:cubicBezTo>
                  <a:pt x="14" y="13"/>
                  <a:pt x="13" y="13"/>
                  <a:pt x="13" y="13"/>
                </a:cubicBezTo>
                <a:cubicBezTo>
                  <a:pt x="12" y="14"/>
                  <a:pt x="12" y="15"/>
                  <a:pt x="12" y="16"/>
                </a:cubicBezTo>
                <a:cubicBezTo>
                  <a:pt x="12" y="26"/>
                  <a:pt x="17" y="35"/>
                  <a:pt x="26" y="42"/>
                </a:cubicBezTo>
                <a:cubicBezTo>
                  <a:pt x="38" y="52"/>
                  <a:pt x="51" y="62"/>
                  <a:pt x="64" y="72"/>
                </a:cubicBezTo>
                <a:cubicBezTo>
                  <a:pt x="64" y="73"/>
                  <a:pt x="65" y="74"/>
                  <a:pt x="67" y="75"/>
                </a:cubicBezTo>
                <a:cubicBezTo>
                  <a:pt x="69" y="77"/>
                  <a:pt x="70" y="78"/>
                  <a:pt x="71" y="79"/>
                </a:cubicBezTo>
                <a:cubicBezTo>
                  <a:pt x="72" y="80"/>
                  <a:pt x="74" y="81"/>
                  <a:pt x="76" y="82"/>
                </a:cubicBezTo>
                <a:cubicBezTo>
                  <a:pt x="77" y="83"/>
                  <a:pt x="79" y="84"/>
                  <a:pt x="80" y="84"/>
                </a:cubicBezTo>
                <a:cubicBezTo>
                  <a:pt x="82" y="85"/>
                  <a:pt x="83" y="85"/>
                  <a:pt x="84" y="85"/>
                </a:cubicBezTo>
                <a:cubicBezTo>
                  <a:pt x="85" y="85"/>
                  <a:pt x="85" y="85"/>
                  <a:pt x="85" y="85"/>
                </a:cubicBezTo>
                <a:cubicBezTo>
                  <a:pt x="85" y="85"/>
                  <a:pt x="85" y="85"/>
                  <a:pt x="85" y="85"/>
                </a:cubicBezTo>
                <a:cubicBezTo>
                  <a:pt x="86" y="85"/>
                  <a:pt x="87" y="85"/>
                  <a:pt x="89" y="84"/>
                </a:cubicBezTo>
                <a:cubicBezTo>
                  <a:pt x="90" y="84"/>
                  <a:pt x="92" y="83"/>
                  <a:pt x="93" y="82"/>
                </a:cubicBezTo>
                <a:cubicBezTo>
                  <a:pt x="95" y="81"/>
                  <a:pt x="97" y="80"/>
                  <a:pt x="98" y="79"/>
                </a:cubicBezTo>
                <a:cubicBezTo>
                  <a:pt x="99" y="78"/>
                  <a:pt x="100" y="77"/>
                  <a:pt x="102" y="75"/>
                </a:cubicBezTo>
                <a:cubicBezTo>
                  <a:pt x="104" y="74"/>
                  <a:pt x="105" y="73"/>
                  <a:pt x="105" y="72"/>
                </a:cubicBezTo>
                <a:cubicBezTo>
                  <a:pt x="118" y="62"/>
                  <a:pt x="131" y="52"/>
                  <a:pt x="143" y="42"/>
                </a:cubicBezTo>
                <a:cubicBezTo>
                  <a:pt x="147" y="40"/>
                  <a:pt x="150" y="36"/>
                  <a:pt x="153" y="32"/>
                </a:cubicBezTo>
                <a:cubicBezTo>
                  <a:pt x="156" y="27"/>
                  <a:pt x="157" y="23"/>
                  <a:pt x="157" y="19"/>
                </a:cubicBezTo>
                <a:close/>
                <a:moveTo>
                  <a:pt x="157" y="118"/>
                </a:moveTo>
                <a:cubicBezTo>
                  <a:pt x="157" y="46"/>
                  <a:pt x="157" y="46"/>
                  <a:pt x="157" y="46"/>
                </a:cubicBezTo>
                <a:cubicBezTo>
                  <a:pt x="155" y="48"/>
                  <a:pt x="153" y="50"/>
                  <a:pt x="151" y="52"/>
                </a:cubicBezTo>
                <a:cubicBezTo>
                  <a:pt x="134" y="65"/>
                  <a:pt x="120" y="76"/>
                  <a:pt x="110" y="84"/>
                </a:cubicBezTo>
                <a:cubicBezTo>
                  <a:pt x="107" y="87"/>
                  <a:pt x="105" y="89"/>
                  <a:pt x="103" y="90"/>
                </a:cubicBezTo>
                <a:cubicBezTo>
                  <a:pt x="100" y="92"/>
                  <a:pt x="98" y="93"/>
                  <a:pt x="94" y="95"/>
                </a:cubicBezTo>
                <a:cubicBezTo>
                  <a:pt x="91" y="97"/>
                  <a:pt x="88" y="97"/>
                  <a:pt x="85" y="97"/>
                </a:cubicBezTo>
                <a:cubicBezTo>
                  <a:pt x="85" y="97"/>
                  <a:pt x="85" y="97"/>
                  <a:pt x="85" y="97"/>
                </a:cubicBezTo>
                <a:cubicBezTo>
                  <a:pt x="84" y="97"/>
                  <a:pt x="84" y="97"/>
                  <a:pt x="84" y="97"/>
                </a:cubicBezTo>
                <a:cubicBezTo>
                  <a:pt x="81" y="97"/>
                  <a:pt x="78" y="97"/>
                  <a:pt x="75" y="95"/>
                </a:cubicBezTo>
                <a:cubicBezTo>
                  <a:pt x="71" y="93"/>
                  <a:pt x="69" y="92"/>
                  <a:pt x="67" y="90"/>
                </a:cubicBezTo>
                <a:cubicBezTo>
                  <a:pt x="65" y="89"/>
                  <a:pt x="62" y="87"/>
                  <a:pt x="59" y="84"/>
                </a:cubicBezTo>
                <a:cubicBezTo>
                  <a:pt x="49" y="76"/>
                  <a:pt x="35" y="65"/>
                  <a:pt x="18" y="52"/>
                </a:cubicBezTo>
                <a:cubicBezTo>
                  <a:pt x="16" y="50"/>
                  <a:pt x="14" y="48"/>
                  <a:pt x="12" y="46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19"/>
                  <a:pt x="12" y="120"/>
                  <a:pt x="13" y="121"/>
                </a:cubicBezTo>
                <a:cubicBezTo>
                  <a:pt x="13" y="121"/>
                  <a:pt x="14" y="121"/>
                  <a:pt x="15" y="121"/>
                </a:cubicBezTo>
                <a:cubicBezTo>
                  <a:pt x="154" y="121"/>
                  <a:pt x="154" y="121"/>
                  <a:pt x="154" y="121"/>
                </a:cubicBezTo>
                <a:cubicBezTo>
                  <a:pt x="155" y="121"/>
                  <a:pt x="156" y="121"/>
                  <a:pt x="156" y="121"/>
                </a:cubicBezTo>
                <a:cubicBezTo>
                  <a:pt x="157" y="120"/>
                  <a:pt x="157" y="119"/>
                  <a:pt x="157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1589892" y="1555540"/>
            <a:ext cx="174866" cy="151447"/>
          </a:xfrm>
          <a:custGeom>
            <a:avLst/>
            <a:gdLst>
              <a:gd name="T0" fmla="*/ 85 w 169"/>
              <a:gd name="T1" fmla="*/ 146 h 146"/>
              <a:gd name="T2" fmla="*/ 80 w 169"/>
              <a:gd name="T3" fmla="*/ 144 h 146"/>
              <a:gd name="T4" fmla="*/ 21 w 169"/>
              <a:gd name="T5" fmla="*/ 87 h 146"/>
              <a:gd name="T6" fmla="*/ 19 w 169"/>
              <a:gd name="T7" fmla="*/ 85 h 146"/>
              <a:gd name="T8" fmla="*/ 14 w 169"/>
              <a:gd name="T9" fmla="*/ 78 h 146"/>
              <a:gd name="T10" fmla="*/ 7 w 169"/>
              <a:gd name="T11" fmla="*/ 69 h 146"/>
              <a:gd name="T12" fmla="*/ 2 w 169"/>
              <a:gd name="T13" fmla="*/ 58 h 146"/>
              <a:gd name="T14" fmla="*/ 0 w 169"/>
              <a:gd name="T15" fmla="*/ 45 h 146"/>
              <a:gd name="T16" fmla="*/ 12 w 169"/>
              <a:gd name="T17" fmla="*/ 12 h 146"/>
              <a:gd name="T18" fmla="*/ 45 w 169"/>
              <a:gd name="T19" fmla="*/ 0 h 146"/>
              <a:gd name="T20" fmla="*/ 57 w 169"/>
              <a:gd name="T21" fmla="*/ 2 h 146"/>
              <a:gd name="T22" fmla="*/ 68 w 169"/>
              <a:gd name="T23" fmla="*/ 8 h 146"/>
              <a:gd name="T24" fmla="*/ 77 w 169"/>
              <a:gd name="T25" fmla="*/ 14 h 146"/>
              <a:gd name="T26" fmla="*/ 85 w 169"/>
              <a:gd name="T27" fmla="*/ 21 h 146"/>
              <a:gd name="T28" fmla="*/ 92 w 169"/>
              <a:gd name="T29" fmla="*/ 14 h 146"/>
              <a:gd name="T30" fmla="*/ 101 w 169"/>
              <a:gd name="T31" fmla="*/ 8 h 146"/>
              <a:gd name="T32" fmla="*/ 112 w 169"/>
              <a:gd name="T33" fmla="*/ 2 h 146"/>
              <a:gd name="T34" fmla="*/ 124 w 169"/>
              <a:gd name="T35" fmla="*/ 0 h 146"/>
              <a:gd name="T36" fmla="*/ 157 w 169"/>
              <a:gd name="T37" fmla="*/ 12 h 146"/>
              <a:gd name="T38" fmla="*/ 169 w 169"/>
              <a:gd name="T39" fmla="*/ 45 h 146"/>
              <a:gd name="T40" fmla="*/ 148 w 169"/>
              <a:gd name="T41" fmla="*/ 87 h 146"/>
              <a:gd name="T42" fmla="*/ 89 w 169"/>
              <a:gd name="T43" fmla="*/ 144 h 146"/>
              <a:gd name="T44" fmla="*/ 85 w 169"/>
              <a:gd name="T45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69" h="146">
                <a:moveTo>
                  <a:pt x="85" y="146"/>
                </a:moveTo>
                <a:cubicBezTo>
                  <a:pt x="83" y="146"/>
                  <a:pt x="82" y="145"/>
                  <a:pt x="80" y="144"/>
                </a:cubicBezTo>
                <a:cubicBezTo>
                  <a:pt x="21" y="87"/>
                  <a:pt x="21" y="87"/>
                  <a:pt x="21" y="87"/>
                </a:cubicBezTo>
                <a:cubicBezTo>
                  <a:pt x="21" y="86"/>
                  <a:pt x="20" y="86"/>
                  <a:pt x="19" y="85"/>
                </a:cubicBezTo>
                <a:cubicBezTo>
                  <a:pt x="18" y="83"/>
                  <a:pt x="16" y="81"/>
                  <a:pt x="14" y="78"/>
                </a:cubicBezTo>
                <a:cubicBezTo>
                  <a:pt x="11" y="75"/>
                  <a:pt x="9" y="72"/>
                  <a:pt x="7" y="69"/>
                </a:cubicBezTo>
                <a:cubicBezTo>
                  <a:pt x="5" y="66"/>
                  <a:pt x="4" y="62"/>
                  <a:pt x="2" y="58"/>
                </a:cubicBezTo>
                <a:cubicBezTo>
                  <a:pt x="1" y="53"/>
                  <a:pt x="0" y="49"/>
                  <a:pt x="0" y="45"/>
                </a:cubicBezTo>
                <a:cubicBezTo>
                  <a:pt x="0" y="31"/>
                  <a:pt x="4" y="20"/>
                  <a:pt x="12" y="12"/>
                </a:cubicBezTo>
                <a:cubicBezTo>
                  <a:pt x="20" y="4"/>
                  <a:pt x="31" y="0"/>
                  <a:pt x="45" y="0"/>
                </a:cubicBezTo>
                <a:cubicBezTo>
                  <a:pt x="49" y="0"/>
                  <a:pt x="53" y="1"/>
                  <a:pt x="57" y="2"/>
                </a:cubicBezTo>
                <a:cubicBezTo>
                  <a:pt x="61" y="4"/>
                  <a:pt x="65" y="6"/>
                  <a:pt x="68" y="8"/>
                </a:cubicBezTo>
                <a:cubicBezTo>
                  <a:pt x="72" y="10"/>
                  <a:pt x="75" y="12"/>
                  <a:pt x="77" y="14"/>
                </a:cubicBezTo>
                <a:cubicBezTo>
                  <a:pt x="80" y="16"/>
                  <a:pt x="82" y="19"/>
                  <a:pt x="85" y="21"/>
                </a:cubicBezTo>
                <a:cubicBezTo>
                  <a:pt x="87" y="19"/>
                  <a:pt x="89" y="16"/>
                  <a:pt x="92" y="14"/>
                </a:cubicBezTo>
                <a:cubicBezTo>
                  <a:pt x="94" y="12"/>
                  <a:pt x="97" y="10"/>
                  <a:pt x="101" y="8"/>
                </a:cubicBezTo>
                <a:cubicBezTo>
                  <a:pt x="104" y="6"/>
                  <a:pt x="108" y="4"/>
                  <a:pt x="112" y="2"/>
                </a:cubicBezTo>
                <a:cubicBezTo>
                  <a:pt x="116" y="1"/>
                  <a:pt x="120" y="0"/>
                  <a:pt x="124" y="0"/>
                </a:cubicBezTo>
                <a:cubicBezTo>
                  <a:pt x="138" y="0"/>
                  <a:pt x="149" y="4"/>
                  <a:pt x="157" y="12"/>
                </a:cubicBezTo>
                <a:cubicBezTo>
                  <a:pt x="165" y="20"/>
                  <a:pt x="169" y="31"/>
                  <a:pt x="169" y="45"/>
                </a:cubicBezTo>
                <a:cubicBezTo>
                  <a:pt x="169" y="59"/>
                  <a:pt x="162" y="73"/>
                  <a:pt x="148" y="87"/>
                </a:cubicBezTo>
                <a:cubicBezTo>
                  <a:pt x="89" y="144"/>
                  <a:pt x="89" y="144"/>
                  <a:pt x="89" y="144"/>
                </a:cubicBezTo>
                <a:cubicBezTo>
                  <a:pt x="88" y="145"/>
                  <a:pt x="86" y="146"/>
                  <a:pt x="8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" name="Freeform 10"/>
          <p:cNvSpPr>
            <a:spLocks noChangeAspect="1"/>
          </p:cNvSpPr>
          <p:nvPr/>
        </p:nvSpPr>
        <p:spPr bwMode="auto">
          <a:xfrm>
            <a:off x="1811597" y="1546173"/>
            <a:ext cx="162376" cy="156131"/>
          </a:xfrm>
          <a:custGeom>
            <a:avLst/>
            <a:gdLst>
              <a:gd name="T0" fmla="*/ 157 w 157"/>
              <a:gd name="T1" fmla="*/ 58 h 150"/>
              <a:gd name="T2" fmla="*/ 155 w 157"/>
              <a:gd name="T3" fmla="*/ 63 h 150"/>
              <a:gd name="T4" fmla="*/ 120 w 157"/>
              <a:gd name="T5" fmla="*/ 96 h 150"/>
              <a:gd name="T6" fmla="*/ 129 w 157"/>
              <a:gd name="T7" fmla="*/ 144 h 150"/>
              <a:gd name="T8" fmla="*/ 129 w 157"/>
              <a:gd name="T9" fmla="*/ 146 h 150"/>
              <a:gd name="T10" fmla="*/ 128 w 157"/>
              <a:gd name="T11" fmla="*/ 149 h 150"/>
              <a:gd name="T12" fmla="*/ 125 w 157"/>
              <a:gd name="T13" fmla="*/ 150 h 150"/>
              <a:gd name="T14" fmla="*/ 121 w 157"/>
              <a:gd name="T15" fmla="*/ 149 h 150"/>
              <a:gd name="T16" fmla="*/ 79 w 157"/>
              <a:gd name="T17" fmla="*/ 127 h 150"/>
              <a:gd name="T18" fmla="*/ 36 w 157"/>
              <a:gd name="T19" fmla="*/ 149 h 150"/>
              <a:gd name="T20" fmla="*/ 32 w 157"/>
              <a:gd name="T21" fmla="*/ 150 h 150"/>
              <a:gd name="T22" fmla="*/ 29 w 157"/>
              <a:gd name="T23" fmla="*/ 149 h 150"/>
              <a:gd name="T24" fmla="*/ 28 w 157"/>
              <a:gd name="T25" fmla="*/ 146 h 150"/>
              <a:gd name="T26" fmla="*/ 29 w 157"/>
              <a:gd name="T27" fmla="*/ 144 h 150"/>
              <a:gd name="T28" fmla="*/ 37 w 157"/>
              <a:gd name="T29" fmla="*/ 96 h 150"/>
              <a:gd name="T30" fmla="*/ 2 w 157"/>
              <a:gd name="T31" fmla="*/ 63 h 150"/>
              <a:gd name="T32" fmla="*/ 0 w 157"/>
              <a:gd name="T33" fmla="*/ 58 h 150"/>
              <a:gd name="T34" fmla="*/ 5 w 157"/>
              <a:gd name="T35" fmla="*/ 54 h 150"/>
              <a:gd name="T36" fmla="*/ 53 w 157"/>
              <a:gd name="T37" fmla="*/ 47 h 150"/>
              <a:gd name="T38" fmla="*/ 74 w 157"/>
              <a:gd name="T39" fmla="*/ 4 h 150"/>
              <a:gd name="T40" fmla="*/ 79 w 157"/>
              <a:gd name="T41" fmla="*/ 0 h 150"/>
              <a:gd name="T42" fmla="*/ 83 w 157"/>
              <a:gd name="T43" fmla="*/ 4 h 150"/>
              <a:gd name="T44" fmla="*/ 105 w 157"/>
              <a:gd name="T45" fmla="*/ 47 h 150"/>
              <a:gd name="T46" fmla="*/ 152 w 157"/>
              <a:gd name="T47" fmla="*/ 54 h 150"/>
              <a:gd name="T48" fmla="*/ 157 w 157"/>
              <a:gd name="T49" fmla="*/ 5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7" h="150">
                <a:moveTo>
                  <a:pt x="157" y="58"/>
                </a:moveTo>
                <a:cubicBezTo>
                  <a:pt x="157" y="60"/>
                  <a:pt x="156" y="61"/>
                  <a:pt x="155" y="63"/>
                </a:cubicBezTo>
                <a:cubicBezTo>
                  <a:pt x="120" y="96"/>
                  <a:pt x="120" y="96"/>
                  <a:pt x="120" y="96"/>
                </a:cubicBezTo>
                <a:cubicBezTo>
                  <a:pt x="129" y="144"/>
                  <a:pt x="129" y="144"/>
                  <a:pt x="129" y="144"/>
                </a:cubicBezTo>
                <a:cubicBezTo>
                  <a:pt x="129" y="144"/>
                  <a:pt x="129" y="145"/>
                  <a:pt x="129" y="146"/>
                </a:cubicBezTo>
                <a:cubicBezTo>
                  <a:pt x="129" y="147"/>
                  <a:pt x="128" y="148"/>
                  <a:pt x="128" y="149"/>
                </a:cubicBezTo>
                <a:cubicBezTo>
                  <a:pt x="127" y="150"/>
                  <a:pt x="126" y="150"/>
                  <a:pt x="125" y="150"/>
                </a:cubicBezTo>
                <a:cubicBezTo>
                  <a:pt x="124" y="150"/>
                  <a:pt x="122" y="150"/>
                  <a:pt x="121" y="149"/>
                </a:cubicBezTo>
                <a:cubicBezTo>
                  <a:pt x="79" y="127"/>
                  <a:pt x="79" y="127"/>
                  <a:pt x="79" y="127"/>
                </a:cubicBezTo>
                <a:cubicBezTo>
                  <a:pt x="36" y="149"/>
                  <a:pt x="36" y="149"/>
                  <a:pt x="36" y="149"/>
                </a:cubicBezTo>
                <a:cubicBezTo>
                  <a:pt x="35" y="150"/>
                  <a:pt x="34" y="150"/>
                  <a:pt x="32" y="150"/>
                </a:cubicBezTo>
                <a:cubicBezTo>
                  <a:pt x="31" y="150"/>
                  <a:pt x="30" y="150"/>
                  <a:pt x="29" y="149"/>
                </a:cubicBezTo>
                <a:cubicBezTo>
                  <a:pt x="29" y="148"/>
                  <a:pt x="28" y="147"/>
                  <a:pt x="28" y="146"/>
                </a:cubicBezTo>
                <a:cubicBezTo>
                  <a:pt x="28" y="145"/>
                  <a:pt x="28" y="145"/>
                  <a:pt x="29" y="144"/>
                </a:cubicBezTo>
                <a:cubicBezTo>
                  <a:pt x="37" y="96"/>
                  <a:pt x="37" y="96"/>
                  <a:pt x="37" y="96"/>
                </a:cubicBezTo>
                <a:cubicBezTo>
                  <a:pt x="2" y="63"/>
                  <a:pt x="2" y="63"/>
                  <a:pt x="2" y="63"/>
                </a:cubicBezTo>
                <a:cubicBezTo>
                  <a:pt x="1" y="61"/>
                  <a:pt x="0" y="60"/>
                  <a:pt x="0" y="58"/>
                </a:cubicBezTo>
                <a:cubicBezTo>
                  <a:pt x="0" y="56"/>
                  <a:pt x="2" y="55"/>
                  <a:pt x="5" y="54"/>
                </a:cubicBezTo>
                <a:cubicBezTo>
                  <a:pt x="53" y="47"/>
                  <a:pt x="53" y="47"/>
                  <a:pt x="53" y="47"/>
                </a:cubicBezTo>
                <a:cubicBezTo>
                  <a:pt x="74" y="4"/>
                  <a:pt x="74" y="4"/>
                  <a:pt x="74" y="4"/>
                </a:cubicBezTo>
                <a:cubicBezTo>
                  <a:pt x="75" y="2"/>
                  <a:pt x="77" y="0"/>
                  <a:pt x="79" y="0"/>
                </a:cubicBezTo>
                <a:cubicBezTo>
                  <a:pt x="81" y="0"/>
                  <a:pt x="82" y="2"/>
                  <a:pt x="83" y="4"/>
                </a:cubicBezTo>
                <a:cubicBezTo>
                  <a:pt x="105" y="47"/>
                  <a:pt x="105" y="47"/>
                  <a:pt x="105" y="47"/>
                </a:cubicBezTo>
                <a:cubicBezTo>
                  <a:pt x="152" y="54"/>
                  <a:pt x="152" y="54"/>
                  <a:pt x="152" y="54"/>
                </a:cubicBezTo>
                <a:cubicBezTo>
                  <a:pt x="156" y="55"/>
                  <a:pt x="157" y="56"/>
                  <a:pt x="157" y="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" name="Freeform 11"/>
          <p:cNvSpPr>
            <a:spLocks noChangeAspect="1" noEditPoints="1"/>
          </p:cNvSpPr>
          <p:nvPr/>
        </p:nvSpPr>
        <p:spPr bwMode="auto">
          <a:xfrm>
            <a:off x="2020812" y="1546173"/>
            <a:ext cx="162376" cy="156131"/>
          </a:xfrm>
          <a:custGeom>
            <a:avLst/>
            <a:gdLst>
              <a:gd name="T0" fmla="*/ 157 w 157"/>
              <a:gd name="T1" fmla="*/ 58 h 150"/>
              <a:gd name="T2" fmla="*/ 155 w 157"/>
              <a:gd name="T3" fmla="*/ 63 h 150"/>
              <a:gd name="T4" fmla="*/ 120 w 157"/>
              <a:gd name="T5" fmla="*/ 96 h 150"/>
              <a:gd name="T6" fmla="*/ 129 w 157"/>
              <a:gd name="T7" fmla="*/ 144 h 150"/>
              <a:gd name="T8" fmla="*/ 129 w 157"/>
              <a:gd name="T9" fmla="*/ 146 h 150"/>
              <a:gd name="T10" fmla="*/ 125 w 157"/>
              <a:gd name="T11" fmla="*/ 150 h 150"/>
              <a:gd name="T12" fmla="*/ 121 w 157"/>
              <a:gd name="T13" fmla="*/ 149 h 150"/>
              <a:gd name="T14" fmla="*/ 79 w 157"/>
              <a:gd name="T15" fmla="*/ 127 h 150"/>
              <a:gd name="T16" fmla="*/ 36 w 157"/>
              <a:gd name="T17" fmla="*/ 149 h 150"/>
              <a:gd name="T18" fmla="*/ 32 w 157"/>
              <a:gd name="T19" fmla="*/ 150 h 150"/>
              <a:gd name="T20" fmla="*/ 29 w 157"/>
              <a:gd name="T21" fmla="*/ 149 h 150"/>
              <a:gd name="T22" fmla="*/ 28 w 157"/>
              <a:gd name="T23" fmla="*/ 146 h 150"/>
              <a:gd name="T24" fmla="*/ 29 w 157"/>
              <a:gd name="T25" fmla="*/ 144 h 150"/>
              <a:gd name="T26" fmla="*/ 37 w 157"/>
              <a:gd name="T27" fmla="*/ 96 h 150"/>
              <a:gd name="T28" fmla="*/ 2 w 157"/>
              <a:gd name="T29" fmla="*/ 63 h 150"/>
              <a:gd name="T30" fmla="*/ 0 w 157"/>
              <a:gd name="T31" fmla="*/ 58 h 150"/>
              <a:gd name="T32" fmla="*/ 5 w 157"/>
              <a:gd name="T33" fmla="*/ 54 h 150"/>
              <a:gd name="T34" fmla="*/ 53 w 157"/>
              <a:gd name="T35" fmla="*/ 47 h 150"/>
              <a:gd name="T36" fmla="*/ 74 w 157"/>
              <a:gd name="T37" fmla="*/ 4 h 150"/>
              <a:gd name="T38" fmla="*/ 79 w 157"/>
              <a:gd name="T39" fmla="*/ 0 h 150"/>
              <a:gd name="T40" fmla="*/ 83 w 157"/>
              <a:gd name="T41" fmla="*/ 4 h 150"/>
              <a:gd name="T42" fmla="*/ 104 w 157"/>
              <a:gd name="T43" fmla="*/ 47 h 150"/>
              <a:gd name="T44" fmla="*/ 152 w 157"/>
              <a:gd name="T45" fmla="*/ 54 h 150"/>
              <a:gd name="T46" fmla="*/ 157 w 157"/>
              <a:gd name="T47" fmla="*/ 58 h 150"/>
              <a:gd name="T48" fmla="*/ 107 w 157"/>
              <a:gd name="T49" fmla="*/ 92 h 150"/>
              <a:gd name="T50" fmla="*/ 136 w 157"/>
              <a:gd name="T51" fmla="*/ 64 h 150"/>
              <a:gd name="T52" fmla="*/ 96 w 157"/>
              <a:gd name="T53" fmla="*/ 58 h 150"/>
              <a:gd name="T54" fmla="*/ 79 w 157"/>
              <a:gd name="T55" fmla="*/ 22 h 150"/>
              <a:gd name="T56" fmla="*/ 61 w 157"/>
              <a:gd name="T57" fmla="*/ 58 h 150"/>
              <a:gd name="T58" fmla="*/ 21 w 157"/>
              <a:gd name="T59" fmla="*/ 64 h 150"/>
              <a:gd name="T60" fmla="*/ 50 w 157"/>
              <a:gd name="T61" fmla="*/ 92 h 150"/>
              <a:gd name="T62" fmla="*/ 43 w 157"/>
              <a:gd name="T63" fmla="*/ 132 h 150"/>
              <a:gd name="T64" fmla="*/ 79 w 157"/>
              <a:gd name="T65" fmla="*/ 113 h 150"/>
              <a:gd name="T66" fmla="*/ 114 w 157"/>
              <a:gd name="T67" fmla="*/ 132 h 150"/>
              <a:gd name="T68" fmla="*/ 107 w 157"/>
              <a:gd name="T69" fmla="*/ 92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7" h="150">
                <a:moveTo>
                  <a:pt x="157" y="58"/>
                </a:moveTo>
                <a:cubicBezTo>
                  <a:pt x="157" y="60"/>
                  <a:pt x="156" y="61"/>
                  <a:pt x="155" y="63"/>
                </a:cubicBezTo>
                <a:cubicBezTo>
                  <a:pt x="120" y="96"/>
                  <a:pt x="120" y="96"/>
                  <a:pt x="120" y="96"/>
                </a:cubicBezTo>
                <a:cubicBezTo>
                  <a:pt x="129" y="144"/>
                  <a:pt x="129" y="144"/>
                  <a:pt x="129" y="144"/>
                </a:cubicBezTo>
                <a:cubicBezTo>
                  <a:pt x="129" y="144"/>
                  <a:pt x="129" y="145"/>
                  <a:pt x="129" y="146"/>
                </a:cubicBezTo>
                <a:cubicBezTo>
                  <a:pt x="129" y="149"/>
                  <a:pt x="127" y="150"/>
                  <a:pt x="125" y="150"/>
                </a:cubicBezTo>
                <a:cubicBezTo>
                  <a:pt x="124" y="150"/>
                  <a:pt x="122" y="150"/>
                  <a:pt x="121" y="149"/>
                </a:cubicBezTo>
                <a:cubicBezTo>
                  <a:pt x="79" y="127"/>
                  <a:pt x="79" y="127"/>
                  <a:pt x="79" y="127"/>
                </a:cubicBezTo>
                <a:cubicBezTo>
                  <a:pt x="36" y="149"/>
                  <a:pt x="36" y="149"/>
                  <a:pt x="36" y="149"/>
                </a:cubicBezTo>
                <a:cubicBezTo>
                  <a:pt x="35" y="150"/>
                  <a:pt x="33" y="150"/>
                  <a:pt x="32" y="150"/>
                </a:cubicBezTo>
                <a:cubicBezTo>
                  <a:pt x="31" y="150"/>
                  <a:pt x="30" y="150"/>
                  <a:pt x="29" y="149"/>
                </a:cubicBezTo>
                <a:cubicBezTo>
                  <a:pt x="29" y="148"/>
                  <a:pt x="28" y="147"/>
                  <a:pt x="28" y="146"/>
                </a:cubicBezTo>
                <a:cubicBezTo>
                  <a:pt x="28" y="145"/>
                  <a:pt x="28" y="145"/>
                  <a:pt x="29" y="144"/>
                </a:cubicBezTo>
                <a:cubicBezTo>
                  <a:pt x="37" y="96"/>
                  <a:pt x="37" y="96"/>
                  <a:pt x="37" y="96"/>
                </a:cubicBezTo>
                <a:cubicBezTo>
                  <a:pt x="2" y="63"/>
                  <a:pt x="2" y="63"/>
                  <a:pt x="2" y="63"/>
                </a:cubicBezTo>
                <a:cubicBezTo>
                  <a:pt x="1" y="61"/>
                  <a:pt x="0" y="60"/>
                  <a:pt x="0" y="58"/>
                </a:cubicBezTo>
                <a:cubicBezTo>
                  <a:pt x="0" y="56"/>
                  <a:pt x="2" y="55"/>
                  <a:pt x="5" y="54"/>
                </a:cubicBezTo>
                <a:cubicBezTo>
                  <a:pt x="53" y="47"/>
                  <a:pt x="53" y="47"/>
                  <a:pt x="53" y="47"/>
                </a:cubicBezTo>
                <a:cubicBezTo>
                  <a:pt x="74" y="4"/>
                  <a:pt x="74" y="4"/>
                  <a:pt x="74" y="4"/>
                </a:cubicBezTo>
                <a:cubicBezTo>
                  <a:pt x="75" y="2"/>
                  <a:pt x="77" y="0"/>
                  <a:pt x="79" y="0"/>
                </a:cubicBezTo>
                <a:cubicBezTo>
                  <a:pt x="80" y="0"/>
                  <a:pt x="82" y="2"/>
                  <a:pt x="83" y="4"/>
                </a:cubicBezTo>
                <a:cubicBezTo>
                  <a:pt x="104" y="47"/>
                  <a:pt x="104" y="47"/>
                  <a:pt x="104" y="47"/>
                </a:cubicBezTo>
                <a:cubicBezTo>
                  <a:pt x="152" y="54"/>
                  <a:pt x="152" y="54"/>
                  <a:pt x="152" y="54"/>
                </a:cubicBezTo>
                <a:cubicBezTo>
                  <a:pt x="155" y="55"/>
                  <a:pt x="157" y="56"/>
                  <a:pt x="157" y="58"/>
                </a:cubicBezTo>
                <a:close/>
                <a:moveTo>
                  <a:pt x="107" y="92"/>
                </a:moveTo>
                <a:cubicBezTo>
                  <a:pt x="136" y="64"/>
                  <a:pt x="136" y="64"/>
                  <a:pt x="136" y="64"/>
                </a:cubicBezTo>
                <a:cubicBezTo>
                  <a:pt x="96" y="58"/>
                  <a:pt x="96" y="58"/>
                  <a:pt x="96" y="58"/>
                </a:cubicBezTo>
                <a:cubicBezTo>
                  <a:pt x="79" y="22"/>
                  <a:pt x="79" y="22"/>
                  <a:pt x="79" y="22"/>
                </a:cubicBezTo>
                <a:cubicBezTo>
                  <a:pt x="61" y="58"/>
                  <a:pt x="61" y="58"/>
                  <a:pt x="61" y="58"/>
                </a:cubicBezTo>
                <a:cubicBezTo>
                  <a:pt x="21" y="64"/>
                  <a:pt x="21" y="64"/>
                  <a:pt x="21" y="64"/>
                </a:cubicBezTo>
                <a:cubicBezTo>
                  <a:pt x="50" y="92"/>
                  <a:pt x="50" y="92"/>
                  <a:pt x="50" y="92"/>
                </a:cubicBezTo>
                <a:cubicBezTo>
                  <a:pt x="43" y="132"/>
                  <a:pt x="43" y="132"/>
                  <a:pt x="43" y="132"/>
                </a:cubicBezTo>
                <a:cubicBezTo>
                  <a:pt x="79" y="113"/>
                  <a:pt x="79" y="113"/>
                  <a:pt x="79" y="113"/>
                </a:cubicBezTo>
                <a:cubicBezTo>
                  <a:pt x="114" y="132"/>
                  <a:pt x="114" y="132"/>
                  <a:pt x="114" y="132"/>
                </a:cubicBezTo>
                <a:lnTo>
                  <a:pt x="107" y="9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" name="Freeform 12"/>
          <p:cNvSpPr>
            <a:spLocks noChangeAspect="1" noEditPoints="1"/>
          </p:cNvSpPr>
          <p:nvPr/>
        </p:nvSpPr>
        <p:spPr bwMode="auto">
          <a:xfrm>
            <a:off x="2230028" y="1555540"/>
            <a:ext cx="137395" cy="151447"/>
          </a:xfrm>
          <a:custGeom>
            <a:avLst/>
            <a:gdLst>
              <a:gd name="T0" fmla="*/ 133 w 133"/>
              <a:gd name="T1" fmla="*/ 121 h 146"/>
              <a:gd name="T2" fmla="*/ 126 w 133"/>
              <a:gd name="T3" fmla="*/ 139 h 146"/>
              <a:gd name="T4" fmla="*/ 108 w 133"/>
              <a:gd name="T5" fmla="*/ 146 h 146"/>
              <a:gd name="T6" fmla="*/ 25 w 133"/>
              <a:gd name="T7" fmla="*/ 146 h 146"/>
              <a:gd name="T8" fmla="*/ 7 w 133"/>
              <a:gd name="T9" fmla="*/ 139 h 146"/>
              <a:gd name="T10" fmla="*/ 0 w 133"/>
              <a:gd name="T11" fmla="*/ 121 h 146"/>
              <a:gd name="T12" fmla="*/ 0 w 133"/>
              <a:gd name="T13" fmla="*/ 111 h 146"/>
              <a:gd name="T14" fmla="*/ 2 w 133"/>
              <a:gd name="T15" fmla="*/ 101 h 146"/>
              <a:gd name="T16" fmla="*/ 4 w 133"/>
              <a:gd name="T17" fmla="*/ 91 h 146"/>
              <a:gd name="T18" fmla="*/ 8 w 133"/>
              <a:gd name="T19" fmla="*/ 82 h 146"/>
              <a:gd name="T20" fmla="*/ 14 w 133"/>
              <a:gd name="T21" fmla="*/ 74 h 146"/>
              <a:gd name="T22" fmla="*/ 22 w 133"/>
              <a:gd name="T23" fmla="*/ 69 h 146"/>
              <a:gd name="T24" fmla="*/ 33 w 133"/>
              <a:gd name="T25" fmla="*/ 67 h 146"/>
              <a:gd name="T26" fmla="*/ 37 w 133"/>
              <a:gd name="T27" fmla="*/ 69 h 146"/>
              <a:gd name="T28" fmla="*/ 44 w 133"/>
              <a:gd name="T29" fmla="*/ 73 h 146"/>
              <a:gd name="T30" fmla="*/ 54 w 133"/>
              <a:gd name="T31" fmla="*/ 78 h 146"/>
              <a:gd name="T32" fmla="*/ 66 w 133"/>
              <a:gd name="T33" fmla="*/ 80 h 146"/>
              <a:gd name="T34" fmla="*/ 79 w 133"/>
              <a:gd name="T35" fmla="*/ 78 h 146"/>
              <a:gd name="T36" fmla="*/ 89 w 133"/>
              <a:gd name="T37" fmla="*/ 73 h 146"/>
              <a:gd name="T38" fmla="*/ 96 w 133"/>
              <a:gd name="T39" fmla="*/ 69 h 146"/>
              <a:gd name="T40" fmla="*/ 100 w 133"/>
              <a:gd name="T41" fmla="*/ 67 h 146"/>
              <a:gd name="T42" fmla="*/ 111 w 133"/>
              <a:gd name="T43" fmla="*/ 69 h 146"/>
              <a:gd name="T44" fmla="*/ 119 w 133"/>
              <a:gd name="T45" fmla="*/ 74 h 146"/>
              <a:gd name="T46" fmla="*/ 125 w 133"/>
              <a:gd name="T47" fmla="*/ 82 h 146"/>
              <a:gd name="T48" fmla="*/ 129 w 133"/>
              <a:gd name="T49" fmla="*/ 91 h 146"/>
              <a:gd name="T50" fmla="*/ 131 w 133"/>
              <a:gd name="T51" fmla="*/ 101 h 146"/>
              <a:gd name="T52" fmla="*/ 133 w 133"/>
              <a:gd name="T53" fmla="*/ 111 h 146"/>
              <a:gd name="T54" fmla="*/ 133 w 133"/>
              <a:gd name="T55" fmla="*/ 121 h 146"/>
              <a:gd name="T56" fmla="*/ 92 w 133"/>
              <a:gd name="T57" fmla="*/ 11 h 146"/>
              <a:gd name="T58" fmla="*/ 103 w 133"/>
              <a:gd name="T59" fmla="*/ 37 h 146"/>
              <a:gd name="T60" fmla="*/ 92 w 133"/>
              <a:gd name="T61" fmla="*/ 62 h 146"/>
              <a:gd name="T62" fmla="*/ 66 w 133"/>
              <a:gd name="T63" fmla="*/ 73 h 146"/>
              <a:gd name="T64" fmla="*/ 41 w 133"/>
              <a:gd name="T65" fmla="*/ 62 h 146"/>
              <a:gd name="T66" fmla="*/ 30 w 133"/>
              <a:gd name="T67" fmla="*/ 37 h 146"/>
              <a:gd name="T68" fmla="*/ 41 w 133"/>
              <a:gd name="T69" fmla="*/ 11 h 146"/>
              <a:gd name="T70" fmla="*/ 66 w 133"/>
              <a:gd name="T71" fmla="*/ 0 h 146"/>
              <a:gd name="T72" fmla="*/ 92 w 133"/>
              <a:gd name="T73" fmla="*/ 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3" h="146">
                <a:moveTo>
                  <a:pt x="133" y="121"/>
                </a:moveTo>
                <a:cubicBezTo>
                  <a:pt x="133" y="129"/>
                  <a:pt x="131" y="135"/>
                  <a:pt x="126" y="139"/>
                </a:cubicBezTo>
                <a:cubicBezTo>
                  <a:pt x="121" y="143"/>
                  <a:pt x="115" y="146"/>
                  <a:pt x="108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17" y="146"/>
                  <a:pt x="11" y="143"/>
                  <a:pt x="7" y="139"/>
                </a:cubicBezTo>
                <a:cubicBezTo>
                  <a:pt x="2" y="135"/>
                  <a:pt x="0" y="129"/>
                  <a:pt x="0" y="121"/>
                </a:cubicBezTo>
                <a:cubicBezTo>
                  <a:pt x="0" y="118"/>
                  <a:pt x="0" y="114"/>
                  <a:pt x="0" y="111"/>
                </a:cubicBezTo>
                <a:cubicBezTo>
                  <a:pt x="0" y="108"/>
                  <a:pt x="1" y="105"/>
                  <a:pt x="2" y="101"/>
                </a:cubicBezTo>
                <a:cubicBezTo>
                  <a:pt x="2" y="97"/>
                  <a:pt x="3" y="94"/>
                  <a:pt x="4" y="91"/>
                </a:cubicBezTo>
                <a:cubicBezTo>
                  <a:pt x="5" y="88"/>
                  <a:pt x="6" y="85"/>
                  <a:pt x="8" y="82"/>
                </a:cubicBezTo>
                <a:cubicBezTo>
                  <a:pt x="10" y="79"/>
                  <a:pt x="12" y="76"/>
                  <a:pt x="14" y="74"/>
                </a:cubicBezTo>
                <a:cubicBezTo>
                  <a:pt x="16" y="72"/>
                  <a:pt x="19" y="70"/>
                  <a:pt x="22" y="69"/>
                </a:cubicBezTo>
                <a:cubicBezTo>
                  <a:pt x="25" y="68"/>
                  <a:pt x="29" y="67"/>
                  <a:pt x="33" y="67"/>
                </a:cubicBezTo>
                <a:cubicBezTo>
                  <a:pt x="33" y="67"/>
                  <a:pt x="34" y="68"/>
                  <a:pt x="37" y="69"/>
                </a:cubicBezTo>
                <a:cubicBezTo>
                  <a:pt x="39" y="70"/>
                  <a:pt x="41" y="72"/>
                  <a:pt x="44" y="73"/>
                </a:cubicBezTo>
                <a:cubicBezTo>
                  <a:pt x="46" y="75"/>
                  <a:pt x="50" y="77"/>
                  <a:pt x="54" y="78"/>
                </a:cubicBezTo>
                <a:cubicBezTo>
                  <a:pt x="58" y="79"/>
                  <a:pt x="62" y="80"/>
                  <a:pt x="66" y="80"/>
                </a:cubicBezTo>
                <a:cubicBezTo>
                  <a:pt x="71" y="80"/>
                  <a:pt x="75" y="79"/>
                  <a:pt x="79" y="78"/>
                </a:cubicBezTo>
                <a:cubicBezTo>
                  <a:pt x="83" y="77"/>
                  <a:pt x="87" y="75"/>
                  <a:pt x="89" y="73"/>
                </a:cubicBezTo>
                <a:cubicBezTo>
                  <a:pt x="92" y="72"/>
                  <a:pt x="94" y="70"/>
                  <a:pt x="96" y="69"/>
                </a:cubicBezTo>
                <a:cubicBezTo>
                  <a:pt x="98" y="68"/>
                  <a:pt x="100" y="67"/>
                  <a:pt x="100" y="67"/>
                </a:cubicBezTo>
                <a:cubicBezTo>
                  <a:pt x="104" y="67"/>
                  <a:pt x="108" y="68"/>
                  <a:pt x="111" y="69"/>
                </a:cubicBezTo>
                <a:cubicBezTo>
                  <a:pt x="114" y="70"/>
                  <a:pt x="117" y="72"/>
                  <a:pt x="119" y="74"/>
                </a:cubicBezTo>
                <a:cubicBezTo>
                  <a:pt x="121" y="76"/>
                  <a:pt x="123" y="79"/>
                  <a:pt x="125" y="82"/>
                </a:cubicBezTo>
                <a:cubicBezTo>
                  <a:pt x="126" y="85"/>
                  <a:pt x="128" y="88"/>
                  <a:pt x="129" y="91"/>
                </a:cubicBezTo>
                <a:cubicBezTo>
                  <a:pt x="130" y="94"/>
                  <a:pt x="131" y="97"/>
                  <a:pt x="131" y="101"/>
                </a:cubicBezTo>
                <a:cubicBezTo>
                  <a:pt x="132" y="105"/>
                  <a:pt x="132" y="108"/>
                  <a:pt x="133" y="111"/>
                </a:cubicBezTo>
                <a:cubicBezTo>
                  <a:pt x="133" y="114"/>
                  <a:pt x="133" y="118"/>
                  <a:pt x="133" y="121"/>
                </a:cubicBezTo>
                <a:close/>
                <a:moveTo>
                  <a:pt x="92" y="11"/>
                </a:moveTo>
                <a:cubicBezTo>
                  <a:pt x="99" y="18"/>
                  <a:pt x="103" y="27"/>
                  <a:pt x="103" y="37"/>
                </a:cubicBezTo>
                <a:cubicBezTo>
                  <a:pt x="103" y="47"/>
                  <a:pt x="99" y="55"/>
                  <a:pt x="92" y="62"/>
                </a:cubicBezTo>
                <a:cubicBezTo>
                  <a:pt x="85" y="69"/>
                  <a:pt x="76" y="73"/>
                  <a:pt x="66" y="73"/>
                </a:cubicBezTo>
                <a:cubicBezTo>
                  <a:pt x="56" y="73"/>
                  <a:pt x="48" y="69"/>
                  <a:pt x="41" y="62"/>
                </a:cubicBezTo>
                <a:cubicBezTo>
                  <a:pt x="34" y="55"/>
                  <a:pt x="30" y="47"/>
                  <a:pt x="30" y="37"/>
                </a:cubicBezTo>
                <a:cubicBezTo>
                  <a:pt x="30" y="27"/>
                  <a:pt x="34" y="18"/>
                  <a:pt x="41" y="11"/>
                </a:cubicBezTo>
                <a:cubicBezTo>
                  <a:pt x="48" y="4"/>
                  <a:pt x="56" y="0"/>
                  <a:pt x="66" y="0"/>
                </a:cubicBezTo>
                <a:cubicBezTo>
                  <a:pt x="76" y="0"/>
                  <a:pt x="85" y="4"/>
                  <a:pt x="92" y="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" name="Freeform 13"/>
          <p:cNvSpPr>
            <a:spLocks noChangeAspect="1" noEditPoints="1"/>
          </p:cNvSpPr>
          <p:nvPr/>
        </p:nvSpPr>
        <p:spPr bwMode="auto">
          <a:xfrm>
            <a:off x="2414262" y="1555540"/>
            <a:ext cx="187357" cy="163937"/>
          </a:xfrm>
          <a:custGeom>
            <a:avLst/>
            <a:gdLst>
              <a:gd name="T0" fmla="*/ 177 w 181"/>
              <a:gd name="T1" fmla="*/ 153 h 158"/>
              <a:gd name="T2" fmla="*/ 4 w 181"/>
              <a:gd name="T3" fmla="*/ 153 h 158"/>
              <a:gd name="T4" fmla="*/ 4 w 181"/>
              <a:gd name="T5" fmla="*/ 5 h 158"/>
              <a:gd name="T6" fmla="*/ 177 w 181"/>
              <a:gd name="T7" fmla="*/ 5 h 158"/>
              <a:gd name="T8" fmla="*/ 36 w 181"/>
              <a:gd name="T9" fmla="*/ 19 h 158"/>
              <a:gd name="T10" fmla="*/ 18 w 181"/>
              <a:gd name="T11" fmla="*/ 12 h 158"/>
              <a:gd name="T12" fmla="*/ 12 w 181"/>
              <a:gd name="T13" fmla="*/ 31 h 158"/>
              <a:gd name="T14" fmla="*/ 30 w 181"/>
              <a:gd name="T15" fmla="*/ 37 h 158"/>
              <a:gd name="T16" fmla="*/ 36 w 181"/>
              <a:gd name="T17" fmla="*/ 67 h 158"/>
              <a:gd name="T18" fmla="*/ 30 w 181"/>
              <a:gd name="T19" fmla="*/ 49 h 158"/>
              <a:gd name="T20" fmla="*/ 12 w 181"/>
              <a:gd name="T21" fmla="*/ 55 h 158"/>
              <a:gd name="T22" fmla="*/ 18 w 181"/>
              <a:gd name="T23" fmla="*/ 73 h 158"/>
              <a:gd name="T24" fmla="*/ 36 w 181"/>
              <a:gd name="T25" fmla="*/ 67 h 158"/>
              <a:gd name="T26" fmla="*/ 34 w 181"/>
              <a:gd name="T27" fmla="*/ 87 h 158"/>
              <a:gd name="T28" fmla="*/ 14 w 181"/>
              <a:gd name="T29" fmla="*/ 87 h 158"/>
              <a:gd name="T30" fmla="*/ 14 w 181"/>
              <a:gd name="T31" fmla="*/ 107 h 158"/>
              <a:gd name="T32" fmla="*/ 34 w 181"/>
              <a:gd name="T33" fmla="*/ 107 h 158"/>
              <a:gd name="T34" fmla="*/ 36 w 181"/>
              <a:gd name="T35" fmla="*/ 127 h 158"/>
              <a:gd name="T36" fmla="*/ 18 w 181"/>
              <a:gd name="T37" fmla="*/ 121 h 158"/>
              <a:gd name="T38" fmla="*/ 12 w 181"/>
              <a:gd name="T39" fmla="*/ 140 h 158"/>
              <a:gd name="T40" fmla="*/ 30 w 181"/>
              <a:gd name="T41" fmla="*/ 146 h 158"/>
              <a:gd name="T42" fmla="*/ 133 w 181"/>
              <a:gd name="T43" fmla="*/ 67 h 158"/>
              <a:gd name="T44" fmla="*/ 127 w 181"/>
              <a:gd name="T45" fmla="*/ 12 h 158"/>
              <a:gd name="T46" fmla="*/ 48 w 181"/>
              <a:gd name="T47" fmla="*/ 19 h 158"/>
              <a:gd name="T48" fmla="*/ 54 w 181"/>
              <a:gd name="T49" fmla="*/ 73 h 158"/>
              <a:gd name="T50" fmla="*/ 133 w 181"/>
              <a:gd name="T51" fmla="*/ 67 h 158"/>
              <a:gd name="T52" fmla="*/ 131 w 181"/>
              <a:gd name="T53" fmla="*/ 87 h 158"/>
              <a:gd name="T54" fmla="*/ 50 w 181"/>
              <a:gd name="T55" fmla="*/ 87 h 158"/>
              <a:gd name="T56" fmla="*/ 50 w 181"/>
              <a:gd name="T57" fmla="*/ 144 h 158"/>
              <a:gd name="T58" fmla="*/ 131 w 181"/>
              <a:gd name="T59" fmla="*/ 144 h 158"/>
              <a:gd name="T60" fmla="*/ 169 w 181"/>
              <a:gd name="T61" fmla="*/ 19 h 158"/>
              <a:gd name="T62" fmla="*/ 151 w 181"/>
              <a:gd name="T63" fmla="*/ 12 h 158"/>
              <a:gd name="T64" fmla="*/ 145 w 181"/>
              <a:gd name="T65" fmla="*/ 31 h 158"/>
              <a:gd name="T66" fmla="*/ 163 w 181"/>
              <a:gd name="T67" fmla="*/ 37 h 158"/>
              <a:gd name="T68" fmla="*/ 169 w 181"/>
              <a:gd name="T69" fmla="*/ 67 h 158"/>
              <a:gd name="T70" fmla="*/ 163 w 181"/>
              <a:gd name="T71" fmla="*/ 49 h 158"/>
              <a:gd name="T72" fmla="*/ 145 w 181"/>
              <a:gd name="T73" fmla="*/ 55 h 158"/>
              <a:gd name="T74" fmla="*/ 151 w 181"/>
              <a:gd name="T75" fmla="*/ 73 h 158"/>
              <a:gd name="T76" fmla="*/ 169 w 181"/>
              <a:gd name="T77" fmla="*/ 67 h 158"/>
              <a:gd name="T78" fmla="*/ 167 w 181"/>
              <a:gd name="T79" fmla="*/ 87 h 158"/>
              <a:gd name="T80" fmla="*/ 147 w 181"/>
              <a:gd name="T81" fmla="*/ 87 h 158"/>
              <a:gd name="T82" fmla="*/ 147 w 181"/>
              <a:gd name="T83" fmla="*/ 107 h 158"/>
              <a:gd name="T84" fmla="*/ 167 w 181"/>
              <a:gd name="T85" fmla="*/ 107 h 158"/>
              <a:gd name="T86" fmla="*/ 169 w 181"/>
              <a:gd name="T87" fmla="*/ 127 h 158"/>
              <a:gd name="T88" fmla="*/ 151 w 181"/>
              <a:gd name="T89" fmla="*/ 121 h 158"/>
              <a:gd name="T90" fmla="*/ 145 w 181"/>
              <a:gd name="T91" fmla="*/ 140 h 158"/>
              <a:gd name="T92" fmla="*/ 163 w 181"/>
              <a:gd name="T93" fmla="*/ 14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43"/>
                  <a:pt x="181" y="143"/>
                  <a:pt x="181" y="143"/>
                </a:cubicBezTo>
                <a:cubicBezTo>
                  <a:pt x="181" y="147"/>
                  <a:pt x="180" y="150"/>
                  <a:pt x="177" y="153"/>
                </a:cubicBezTo>
                <a:cubicBezTo>
                  <a:pt x="174" y="156"/>
                  <a:pt x="170" y="158"/>
                  <a:pt x="166" y="158"/>
                </a:cubicBezTo>
                <a:cubicBezTo>
                  <a:pt x="15" y="158"/>
                  <a:pt x="15" y="158"/>
                  <a:pt x="15" y="158"/>
                </a:cubicBezTo>
                <a:cubicBezTo>
                  <a:pt x="11" y="158"/>
                  <a:pt x="7" y="156"/>
                  <a:pt x="4" y="153"/>
                </a:cubicBezTo>
                <a:cubicBezTo>
                  <a:pt x="1" y="150"/>
                  <a:pt x="0" y="147"/>
                  <a:pt x="0" y="143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0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36" y="31"/>
                </a:moveTo>
                <a:cubicBezTo>
                  <a:pt x="36" y="19"/>
                  <a:pt x="36" y="19"/>
                  <a:pt x="36" y="19"/>
                </a:cubicBezTo>
                <a:cubicBezTo>
                  <a:pt x="36" y="17"/>
                  <a:pt x="35" y="15"/>
                  <a:pt x="34" y="14"/>
                </a:cubicBezTo>
                <a:cubicBezTo>
                  <a:pt x="33" y="13"/>
                  <a:pt x="32" y="12"/>
                  <a:pt x="30" y="12"/>
                </a:cubicBezTo>
                <a:cubicBezTo>
                  <a:pt x="18" y="12"/>
                  <a:pt x="18" y="12"/>
                  <a:pt x="18" y="12"/>
                </a:cubicBezTo>
                <a:cubicBezTo>
                  <a:pt x="16" y="12"/>
                  <a:pt x="15" y="13"/>
                  <a:pt x="14" y="14"/>
                </a:cubicBezTo>
                <a:cubicBezTo>
                  <a:pt x="12" y="15"/>
                  <a:pt x="12" y="17"/>
                  <a:pt x="12" y="19"/>
                </a:cubicBezTo>
                <a:cubicBezTo>
                  <a:pt x="12" y="31"/>
                  <a:pt x="12" y="31"/>
                  <a:pt x="12" y="31"/>
                </a:cubicBezTo>
                <a:cubicBezTo>
                  <a:pt x="12" y="32"/>
                  <a:pt x="12" y="34"/>
                  <a:pt x="14" y="35"/>
                </a:cubicBezTo>
                <a:cubicBezTo>
                  <a:pt x="15" y="36"/>
                  <a:pt x="16" y="37"/>
                  <a:pt x="18" y="37"/>
                </a:cubicBezTo>
                <a:cubicBezTo>
                  <a:pt x="30" y="37"/>
                  <a:pt x="30" y="37"/>
                  <a:pt x="30" y="37"/>
                </a:cubicBezTo>
                <a:cubicBezTo>
                  <a:pt x="32" y="37"/>
                  <a:pt x="33" y="36"/>
                  <a:pt x="34" y="35"/>
                </a:cubicBezTo>
                <a:cubicBezTo>
                  <a:pt x="35" y="34"/>
                  <a:pt x="36" y="32"/>
                  <a:pt x="36" y="31"/>
                </a:cubicBezTo>
                <a:close/>
                <a:moveTo>
                  <a:pt x="36" y="67"/>
                </a:moveTo>
                <a:cubicBezTo>
                  <a:pt x="36" y="55"/>
                  <a:pt x="36" y="55"/>
                  <a:pt x="36" y="55"/>
                </a:cubicBezTo>
                <a:cubicBezTo>
                  <a:pt x="36" y="53"/>
                  <a:pt x="35" y="52"/>
                  <a:pt x="34" y="51"/>
                </a:cubicBezTo>
                <a:cubicBezTo>
                  <a:pt x="33" y="49"/>
                  <a:pt x="32" y="49"/>
                  <a:pt x="30" y="49"/>
                </a:cubicBezTo>
                <a:cubicBezTo>
                  <a:pt x="18" y="49"/>
                  <a:pt x="18" y="49"/>
                  <a:pt x="18" y="49"/>
                </a:cubicBezTo>
                <a:cubicBezTo>
                  <a:pt x="16" y="49"/>
                  <a:pt x="15" y="49"/>
                  <a:pt x="14" y="51"/>
                </a:cubicBezTo>
                <a:cubicBezTo>
                  <a:pt x="12" y="52"/>
                  <a:pt x="12" y="53"/>
                  <a:pt x="12" y="55"/>
                </a:cubicBezTo>
                <a:cubicBezTo>
                  <a:pt x="12" y="67"/>
                  <a:pt x="12" y="67"/>
                  <a:pt x="12" y="67"/>
                </a:cubicBezTo>
                <a:cubicBezTo>
                  <a:pt x="12" y="69"/>
                  <a:pt x="12" y="70"/>
                  <a:pt x="14" y="71"/>
                </a:cubicBezTo>
                <a:cubicBezTo>
                  <a:pt x="15" y="72"/>
                  <a:pt x="16" y="73"/>
                  <a:pt x="18" y="73"/>
                </a:cubicBezTo>
                <a:cubicBezTo>
                  <a:pt x="30" y="73"/>
                  <a:pt x="30" y="73"/>
                  <a:pt x="30" y="73"/>
                </a:cubicBezTo>
                <a:cubicBezTo>
                  <a:pt x="32" y="73"/>
                  <a:pt x="33" y="72"/>
                  <a:pt x="34" y="71"/>
                </a:cubicBezTo>
                <a:cubicBezTo>
                  <a:pt x="35" y="70"/>
                  <a:pt x="36" y="69"/>
                  <a:pt x="36" y="67"/>
                </a:cubicBezTo>
                <a:close/>
                <a:moveTo>
                  <a:pt x="36" y="103"/>
                </a:moveTo>
                <a:cubicBezTo>
                  <a:pt x="36" y="91"/>
                  <a:pt x="36" y="91"/>
                  <a:pt x="36" y="91"/>
                </a:cubicBezTo>
                <a:cubicBezTo>
                  <a:pt x="36" y="89"/>
                  <a:pt x="35" y="88"/>
                  <a:pt x="34" y="87"/>
                </a:cubicBezTo>
                <a:cubicBezTo>
                  <a:pt x="33" y="86"/>
                  <a:pt x="32" y="85"/>
                  <a:pt x="30" y="85"/>
                </a:cubicBezTo>
                <a:cubicBezTo>
                  <a:pt x="18" y="85"/>
                  <a:pt x="18" y="85"/>
                  <a:pt x="18" y="85"/>
                </a:cubicBezTo>
                <a:cubicBezTo>
                  <a:pt x="16" y="85"/>
                  <a:pt x="15" y="86"/>
                  <a:pt x="14" y="87"/>
                </a:cubicBezTo>
                <a:cubicBezTo>
                  <a:pt x="12" y="88"/>
                  <a:pt x="12" y="89"/>
                  <a:pt x="12" y="91"/>
                </a:cubicBezTo>
                <a:cubicBezTo>
                  <a:pt x="12" y="103"/>
                  <a:pt x="12" y="103"/>
                  <a:pt x="12" y="103"/>
                </a:cubicBezTo>
                <a:cubicBezTo>
                  <a:pt x="12" y="105"/>
                  <a:pt x="12" y="106"/>
                  <a:pt x="14" y="107"/>
                </a:cubicBezTo>
                <a:cubicBezTo>
                  <a:pt x="15" y="109"/>
                  <a:pt x="16" y="109"/>
                  <a:pt x="18" y="109"/>
                </a:cubicBezTo>
                <a:cubicBezTo>
                  <a:pt x="30" y="109"/>
                  <a:pt x="30" y="109"/>
                  <a:pt x="30" y="109"/>
                </a:cubicBezTo>
                <a:cubicBezTo>
                  <a:pt x="32" y="109"/>
                  <a:pt x="33" y="109"/>
                  <a:pt x="34" y="107"/>
                </a:cubicBezTo>
                <a:cubicBezTo>
                  <a:pt x="35" y="106"/>
                  <a:pt x="36" y="105"/>
                  <a:pt x="36" y="103"/>
                </a:cubicBezTo>
                <a:close/>
                <a:moveTo>
                  <a:pt x="36" y="140"/>
                </a:moveTo>
                <a:cubicBezTo>
                  <a:pt x="36" y="127"/>
                  <a:pt x="36" y="127"/>
                  <a:pt x="36" y="127"/>
                </a:cubicBezTo>
                <a:cubicBezTo>
                  <a:pt x="36" y="126"/>
                  <a:pt x="35" y="124"/>
                  <a:pt x="34" y="123"/>
                </a:cubicBezTo>
                <a:cubicBezTo>
                  <a:pt x="33" y="122"/>
                  <a:pt x="32" y="121"/>
                  <a:pt x="30" y="121"/>
                </a:cubicBezTo>
                <a:cubicBezTo>
                  <a:pt x="18" y="121"/>
                  <a:pt x="18" y="121"/>
                  <a:pt x="18" y="121"/>
                </a:cubicBezTo>
                <a:cubicBezTo>
                  <a:pt x="16" y="121"/>
                  <a:pt x="15" y="122"/>
                  <a:pt x="14" y="123"/>
                </a:cubicBezTo>
                <a:cubicBezTo>
                  <a:pt x="12" y="124"/>
                  <a:pt x="12" y="126"/>
                  <a:pt x="12" y="127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2" y="141"/>
                  <a:pt x="12" y="143"/>
                  <a:pt x="14" y="144"/>
                </a:cubicBezTo>
                <a:cubicBezTo>
                  <a:pt x="15" y="145"/>
                  <a:pt x="16" y="146"/>
                  <a:pt x="18" y="146"/>
                </a:cubicBezTo>
                <a:cubicBezTo>
                  <a:pt x="30" y="146"/>
                  <a:pt x="30" y="146"/>
                  <a:pt x="30" y="146"/>
                </a:cubicBezTo>
                <a:cubicBezTo>
                  <a:pt x="32" y="146"/>
                  <a:pt x="33" y="145"/>
                  <a:pt x="34" y="144"/>
                </a:cubicBezTo>
                <a:cubicBezTo>
                  <a:pt x="35" y="143"/>
                  <a:pt x="36" y="141"/>
                  <a:pt x="36" y="140"/>
                </a:cubicBezTo>
                <a:close/>
                <a:moveTo>
                  <a:pt x="133" y="67"/>
                </a:moveTo>
                <a:cubicBezTo>
                  <a:pt x="133" y="19"/>
                  <a:pt x="133" y="19"/>
                  <a:pt x="133" y="19"/>
                </a:cubicBezTo>
                <a:cubicBezTo>
                  <a:pt x="133" y="17"/>
                  <a:pt x="132" y="15"/>
                  <a:pt x="131" y="14"/>
                </a:cubicBezTo>
                <a:cubicBezTo>
                  <a:pt x="130" y="13"/>
                  <a:pt x="128" y="12"/>
                  <a:pt x="127" y="12"/>
                </a:cubicBezTo>
                <a:cubicBezTo>
                  <a:pt x="54" y="12"/>
                  <a:pt x="54" y="12"/>
                  <a:pt x="54" y="12"/>
                </a:cubicBezTo>
                <a:cubicBezTo>
                  <a:pt x="52" y="12"/>
                  <a:pt x="51" y="13"/>
                  <a:pt x="50" y="14"/>
                </a:cubicBezTo>
                <a:cubicBezTo>
                  <a:pt x="49" y="15"/>
                  <a:pt x="48" y="17"/>
                  <a:pt x="48" y="19"/>
                </a:cubicBezTo>
                <a:cubicBezTo>
                  <a:pt x="48" y="67"/>
                  <a:pt x="48" y="67"/>
                  <a:pt x="48" y="67"/>
                </a:cubicBezTo>
                <a:cubicBezTo>
                  <a:pt x="48" y="69"/>
                  <a:pt x="49" y="70"/>
                  <a:pt x="50" y="71"/>
                </a:cubicBezTo>
                <a:cubicBezTo>
                  <a:pt x="51" y="72"/>
                  <a:pt x="52" y="73"/>
                  <a:pt x="54" y="73"/>
                </a:cubicBezTo>
                <a:cubicBezTo>
                  <a:pt x="127" y="73"/>
                  <a:pt x="127" y="73"/>
                  <a:pt x="127" y="73"/>
                </a:cubicBezTo>
                <a:cubicBezTo>
                  <a:pt x="128" y="73"/>
                  <a:pt x="130" y="72"/>
                  <a:pt x="131" y="71"/>
                </a:cubicBezTo>
                <a:cubicBezTo>
                  <a:pt x="132" y="70"/>
                  <a:pt x="133" y="69"/>
                  <a:pt x="133" y="67"/>
                </a:cubicBezTo>
                <a:close/>
                <a:moveTo>
                  <a:pt x="133" y="140"/>
                </a:moveTo>
                <a:cubicBezTo>
                  <a:pt x="133" y="91"/>
                  <a:pt x="133" y="91"/>
                  <a:pt x="133" y="91"/>
                </a:cubicBezTo>
                <a:cubicBezTo>
                  <a:pt x="133" y="89"/>
                  <a:pt x="132" y="88"/>
                  <a:pt x="131" y="87"/>
                </a:cubicBezTo>
                <a:cubicBezTo>
                  <a:pt x="130" y="86"/>
                  <a:pt x="128" y="85"/>
                  <a:pt x="127" y="85"/>
                </a:cubicBezTo>
                <a:cubicBezTo>
                  <a:pt x="54" y="85"/>
                  <a:pt x="54" y="85"/>
                  <a:pt x="54" y="85"/>
                </a:cubicBezTo>
                <a:cubicBezTo>
                  <a:pt x="52" y="85"/>
                  <a:pt x="51" y="86"/>
                  <a:pt x="50" y="87"/>
                </a:cubicBezTo>
                <a:cubicBezTo>
                  <a:pt x="49" y="88"/>
                  <a:pt x="48" y="89"/>
                  <a:pt x="48" y="91"/>
                </a:cubicBezTo>
                <a:cubicBezTo>
                  <a:pt x="48" y="140"/>
                  <a:pt x="48" y="140"/>
                  <a:pt x="48" y="140"/>
                </a:cubicBezTo>
                <a:cubicBezTo>
                  <a:pt x="48" y="141"/>
                  <a:pt x="49" y="143"/>
                  <a:pt x="50" y="144"/>
                </a:cubicBezTo>
                <a:cubicBezTo>
                  <a:pt x="51" y="145"/>
                  <a:pt x="52" y="146"/>
                  <a:pt x="54" y="146"/>
                </a:cubicBezTo>
                <a:cubicBezTo>
                  <a:pt x="127" y="146"/>
                  <a:pt x="127" y="146"/>
                  <a:pt x="127" y="146"/>
                </a:cubicBezTo>
                <a:cubicBezTo>
                  <a:pt x="128" y="146"/>
                  <a:pt x="130" y="145"/>
                  <a:pt x="131" y="144"/>
                </a:cubicBezTo>
                <a:cubicBezTo>
                  <a:pt x="132" y="143"/>
                  <a:pt x="133" y="141"/>
                  <a:pt x="133" y="140"/>
                </a:cubicBezTo>
                <a:close/>
                <a:moveTo>
                  <a:pt x="169" y="31"/>
                </a:moveTo>
                <a:cubicBezTo>
                  <a:pt x="169" y="19"/>
                  <a:pt x="169" y="19"/>
                  <a:pt x="169" y="19"/>
                </a:cubicBezTo>
                <a:cubicBezTo>
                  <a:pt x="169" y="17"/>
                  <a:pt x="168" y="15"/>
                  <a:pt x="167" y="14"/>
                </a:cubicBezTo>
                <a:cubicBezTo>
                  <a:pt x="166" y="13"/>
                  <a:pt x="165" y="12"/>
                  <a:pt x="163" y="12"/>
                </a:cubicBezTo>
                <a:cubicBezTo>
                  <a:pt x="151" y="12"/>
                  <a:pt x="151" y="12"/>
                  <a:pt x="151" y="12"/>
                </a:cubicBezTo>
                <a:cubicBezTo>
                  <a:pt x="149" y="12"/>
                  <a:pt x="148" y="13"/>
                  <a:pt x="147" y="14"/>
                </a:cubicBezTo>
                <a:cubicBezTo>
                  <a:pt x="145" y="15"/>
                  <a:pt x="145" y="17"/>
                  <a:pt x="145" y="19"/>
                </a:cubicBezTo>
                <a:cubicBezTo>
                  <a:pt x="145" y="31"/>
                  <a:pt x="145" y="31"/>
                  <a:pt x="145" y="31"/>
                </a:cubicBezTo>
                <a:cubicBezTo>
                  <a:pt x="145" y="32"/>
                  <a:pt x="145" y="34"/>
                  <a:pt x="147" y="35"/>
                </a:cubicBezTo>
                <a:cubicBezTo>
                  <a:pt x="148" y="36"/>
                  <a:pt x="149" y="37"/>
                  <a:pt x="151" y="37"/>
                </a:cubicBezTo>
                <a:cubicBezTo>
                  <a:pt x="163" y="37"/>
                  <a:pt x="163" y="37"/>
                  <a:pt x="163" y="37"/>
                </a:cubicBezTo>
                <a:cubicBezTo>
                  <a:pt x="165" y="37"/>
                  <a:pt x="166" y="36"/>
                  <a:pt x="167" y="35"/>
                </a:cubicBezTo>
                <a:cubicBezTo>
                  <a:pt x="168" y="34"/>
                  <a:pt x="169" y="32"/>
                  <a:pt x="169" y="31"/>
                </a:cubicBezTo>
                <a:close/>
                <a:moveTo>
                  <a:pt x="169" y="67"/>
                </a:moveTo>
                <a:cubicBezTo>
                  <a:pt x="169" y="55"/>
                  <a:pt x="169" y="55"/>
                  <a:pt x="169" y="55"/>
                </a:cubicBezTo>
                <a:cubicBezTo>
                  <a:pt x="169" y="53"/>
                  <a:pt x="168" y="52"/>
                  <a:pt x="167" y="51"/>
                </a:cubicBezTo>
                <a:cubicBezTo>
                  <a:pt x="166" y="49"/>
                  <a:pt x="165" y="49"/>
                  <a:pt x="163" y="49"/>
                </a:cubicBezTo>
                <a:cubicBezTo>
                  <a:pt x="151" y="49"/>
                  <a:pt x="151" y="49"/>
                  <a:pt x="151" y="49"/>
                </a:cubicBezTo>
                <a:cubicBezTo>
                  <a:pt x="149" y="49"/>
                  <a:pt x="148" y="49"/>
                  <a:pt x="147" y="51"/>
                </a:cubicBezTo>
                <a:cubicBezTo>
                  <a:pt x="145" y="52"/>
                  <a:pt x="145" y="53"/>
                  <a:pt x="145" y="55"/>
                </a:cubicBezTo>
                <a:cubicBezTo>
                  <a:pt x="145" y="67"/>
                  <a:pt x="145" y="67"/>
                  <a:pt x="145" y="67"/>
                </a:cubicBezTo>
                <a:cubicBezTo>
                  <a:pt x="145" y="69"/>
                  <a:pt x="145" y="70"/>
                  <a:pt x="147" y="71"/>
                </a:cubicBezTo>
                <a:cubicBezTo>
                  <a:pt x="148" y="72"/>
                  <a:pt x="149" y="73"/>
                  <a:pt x="151" y="73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65" y="73"/>
                  <a:pt x="166" y="72"/>
                  <a:pt x="167" y="71"/>
                </a:cubicBezTo>
                <a:cubicBezTo>
                  <a:pt x="168" y="70"/>
                  <a:pt x="169" y="69"/>
                  <a:pt x="169" y="67"/>
                </a:cubicBezTo>
                <a:close/>
                <a:moveTo>
                  <a:pt x="169" y="103"/>
                </a:moveTo>
                <a:cubicBezTo>
                  <a:pt x="169" y="91"/>
                  <a:pt x="169" y="91"/>
                  <a:pt x="169" y="91"/>
                </a:cubicBezTo>
                <a:cubicBezTo>
                  <a:pt x="169" y="89"/>
                  <a:pt x="168" y="88"/>
                  <a:pt x="167" y="87"/>
                </a:cubicBezTo>
                <a:cubicBezTo>
                  <a:pt x="166" y="86"/>
                  <a:pt x="165" y="85"/>
                  <a:pt x="163" y="85"/>
                </a:cubicBezTo>
                <a:cubicBezTo>
                  <a:pt x="151" y="85"/>
                  <a:pt x="151" y="85"/>
                  <a:pt x="151" y="85"/>
                </a:cubicBezTo>
                <a:cubicBezTo>
                  <a:pt x="149" y="85"/>
                  <a:pt x="148" y="86"/>
                  <a:pt x="147" y="87"/>
                </a:cubicBezTo>
                <a:cubicBezTo>
                  <a:pt x="145" y="88"/>
                  <a:pt x="145" y="89"/>
                  <a:pt x="145" y="91"/>
                </a:cubicBezTo>
                <a:cubicBezTo>
                  <a:pt x="145" y="103"/>
                  <a:pt x="145" y="103"/>
                  <a:pt x="145" y="103"/>
                </a:cubicBezTo>
                <a:cubicBezTo>
                  <a:pt x="145" y="105"/>
                  <a:pt x="145" y="106"/>
                  <a:pt x="147" y="107"/>
                </a:cubicBezTo>
                <a:cubicBezTo>
                  <a:pt x="148" y="109"/>
                  <a:pt x="149" y="109"/>
                  <a:pt x="151" y="109"/>
                </a:cubicBezTo>
                <a:cubicBezTo>
                  <a:pt x="163" y="109"/>
                  <a:pt x="163" y="109"/>
                  <a:pt x="163" y="109"/>
                </a:cubicBezTo>
                <a:cubicBezTo>
                  <a:pt x="165" y="109"/>
                  <a:pt x="166" y="109"/>
                  <a:pt x="167" y="107"/>
                </a:cubicBezTo>
                <a:cubicBezTo>
                  <a:pt x="168" y="106"/>
                  <a:pt x="169" y="105"/>
                  <a:pt x="169" y="103"/>
                </a:cubicBezTo>
                <a:close/>
                <a:moveTo>
                  <a:pt x="169" y="140"/>
                </a:moveTo>
                <a:cubicBezTo>
                  <a:pt x="169" y="127"/>
                  <a:pt x="169" y="127"/>
                  <a:pt x="169" y="127"/>
                </a:cubicBezTo>
                <a:cubicBezTo>
                  <a:pt x="169" y="126"/>
                  <a:pt x="168" y="124"/>
                  <a:pt x="167" y="123"/>
                </a:cubicBezTo>
                <a:cubicBezTo>
                  <a:pt x="166" y="122"/>
                  <a:pt x="165" y="121"/>
                  <a:pt x="163" y="121"/>
                </a:cubicBezTo>
                <a:cubicBezTo>
                  <a:pt x="151" y="121"/>
                  <a:pt x="151" y="121"/>
                  <a:pt x="151" y="121"/>
                </a:cubicBezTo>
                <a:cubicBezTo>
                  <a:pt x="149" y="121"/>
                  <a:pt x="148" y="122"/>
                  <a:pt x="147" y="123"/>
                </a:cubicBezTo>
                <a:cubicBezTo>
                  <a:pt x="145" y="124"/>
                  <a:pt x="145" y="126"/>
                  <a:pt x="145" y="127"/>
                </a:cubicBezTo>
                <a:cubicBezTo>
                  <a:pt x="145" y="140"/>
                  <a:pt x="145" y="140"/>
                  <a:pt x="145" y="140"/>
                </a:cubicBezTo>
                <a:cubicBezTo>
                  <a:pt x="145" y="141"/>
                  <a:pt x="145" y="143"/>
                  <a:pt x="147" y="144"/>
                </a:cubicBezTo>
                <a:cubicBezTo>
                  <a:pt x="148" y="145"/>
                  <a:pt x="149" y="146"/>
                  <a:pt x="151" y="146"/>
                </a:cubicBezTo>
                <a:cubicBezTo>
                  <a:pt x="163" y="146"/>
                  <a:pt x="163" y="146"/>
                  <a:pt x="163" y="146"/>
                </a:cubicBezTo>
                <a:cubicBezTo>
                  <a:pt x="165" y="146"/>
                  <a:pt x="166" y="145"/>
                  <a:pt x="167" y="144"/>
                </a:cubicBezTo>
                <a:cubicBezTo>
                  <a:pt x="168" y="143"/>
                  <a:pt x="169" y="141"/>
                  <a:pt x="169" y="1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" name="Freeform 14"/>
          <p:cNvSpPr>
            <a:spLocks noChangeAspect="1" noEditPoints="1"/>
          </p:cNvSpPr>
          <p:nvPr/>
        </p:nvSpPr>
        <p:spPr bwMode="auto">
          <a:xfrm>
            <a:off x="2648458" y="1555540"/>
            <a:ext cx="162376" cy="138956"/>
          </a:xfrm>
          <a:custGeom>
            <a:avLst/>
            <a:gdLst>
              <a:gd name="T0" fmla="*/ 72 w 157"/>
              <a:gd name="T1" fmla="*/ 12 h 133"/>
              <a:gd name="T2" fmla="*/ 72 w 157"/>
              <a:gd name="T3" fmla="*/ 49 h 133"/>
              <a:gd name="T4" fmla="*/ 69 w 157"/>
              <a:gd name="T5" fmla="*/ 57 h 133"/>
              <a:gd name="T6" fmla="*/ 60 w 157"/>
              <a:gd name="T7" fmla="*/ 61 h 133"/>
              <a:gd name="T8" fmla="*/ 12 w 157"/>
              <a:gd name="T9" fmla="*/ 61 h 133"/>
              <a:gd name="T10" fmla="*/ 3 w 157"/>
              <a:gd name="T11" fmla="*/ 57 h 133"/>
              <a:gd name="T12" fmla="*/ 0 w 157"/>
              <a:gd name="T13" fmla="*/ 49 h 133"/>
              <a:gd name="T14" fmla="*/ 0 w 157"/>
              <a:gd name="T15" fmla="*/ 12 h 133"/>
              <a:gd name="T16" fmla="*/ 3 w 157"/>
              <a:gd name="T17" fmla="*/ 4 h 133"/>
              <a:gd name="T18" fmla="*/ 12 w 157"/>
              <a:gd name="T19" fmla="*/ 0 h 133"/>
              <a:gd name="T20" fmla="*/ 60 w 157"/>
              <a:gd name="T21" fmla="*/ 0 h 133"/>
              <a:gd name="T22" fmla="*/ 69 w 157"/>
              <a:gd name="T23" fmla="*/ 4 h 133"/>
              <a:gd name="T24" fmla="*/ 72 w 157"/>
              <a:gd name="T25" fmla="*/ 12 h 133"/>
              <a:gd name="T26" fmla="*/ 72 w 157"/>
              <a:gd name="T27" fmla="*/ 85 h 133"/>
              <a:gd name="T28" fmla="*/ 72 w 157"/>
              <a:gd name="T29" fmla="*/ 121 h 133"/>
              <a:gd name="T30" fmla="*/ 69 w 157"/>
              <a:gd name="T31" fmla="*/ 130 h 133"/>
              <a:gd name="T32" fmla="*/ 60 w 157"/>
              <a:gd name="T33" fmla="*/ 133 h 133"/>
              <a:gd name="T34" fmla="*/ 12 w 157"/>
              <a:gd name="T35" fmla="*/ 133 h 133"/>
              <a:gd name="T36" fmla="*/ 3 w 157"/>
              <a:gd name="T37" fmla="*/ 130 h 133"/>
              <a:gd name="T38" fmla="*/ 0 w 157"/>
              <a:gd name="T39" fmla="*/ 121 h 133"/>
              <a:gd name="T40" fmla="*/ 0 w 157"/>
              <a:gd name="T41" fmla="*/ 85 h 133"/>
              <a:gd name="T42" fmla="*/ 3 w 157"/>
              <a:gd name="T43" fmla="*/ 77 h 133"/>
              <a:gd name="T44" fmla="*/ 12 w 157"/>
              <a:gd name="T45" fmla="*/ 73 h 133"/>
              <a:gd name="T46" fmla="*/ 60 w 157"/>
              <a:gd name="T47" fmla="*/ 73 h 133"/>
              <a:gd name="T48" fmla="*/ 69 w 157"/>
              <a:gd name="T49" fmla="*/ 77 h 133"/>
              <a:gd name="T50" fmla="*/ 72 w 157"/>
              <a:gd name="T51" fmla="*/ 85 h 133"/>
              <a:gd name="T52" fmla="*/ 157 w 157"/>
              <a:gd name="T53" fmla="*/ 12 h 133"/>
              <a:gd name="T54" fmla="*/ 157 w 157"/>
              <a:gd name="T55" fmla="*/ 49 h 133"/>
              <a:gd name="T56" fmla="*/ 154 w 157"/>
              <a:gd name="T57" fmla="*/ 57 h 133"/>
              <a:gd name="T58" fmla="*/ 145 w 157"/>
              <a:gd name="T59" fmla="*/ 61 h 133"/>
              <a:gd name="T60" fmla="*/ 97 w 157"/>
              <a:gd name="T61" fmla="*/ 61 h 133"/>
              <a:gd name="T62" fmla="*/ 88 w 157"/>
              <a:gd name="T63" fmla="*/ 57 h 133"/>
              <a:gd name="T64" fmla="*/ 85 w 157"/>
              <a:gd name="T65" fmla="*/ 49 h 133"/>
              <a:gd name="T66" fmla="*/ 85 w 157"/>
              <a:gd name="T67" fmla="*/ 12 h 133"/>
              <a:gd name="T68" fmla="*/ 88 w 157"/>
              <a:gd name="T69" fmla="*/ 4 h 133"/>
              <a:gd name="T70" fmla="*/ 97 w 157"/>
              <a:gd name="T71" fmla="*/ 0 h 133"/>
              <a:gd name="T72" fmla="*/ 145 w 157"/>
              <a:gd name="T73" fmla="*/ 0 h 133"/>
              <a:gd name="T74" fmla="*/ 154 w 157"/>
              <a:gd name="T75" fmla="*/ 4 h 133"/>
              <a:gd name="T76" fmla="*/ 157 w 157"/>
              <a:gd name="T77" fmla="*/ 12 h 133"/>
              <a:gd name="T78" fmla="*/ 157 w 157"/>
              <a:gd name="T79" fmla="*/ 85 h 133"/>
              <a:gd name="T80" fmla="*/ 157 w 157"/>
              <a:gd name="T81" fmla="*/ 121 h 133"/>
              <a:gd name="T82" fmla="*/ 154 w 157"/>
              <a:gd name="T83" fmla="*/ 130 h 133"/>
              <a:gd name="T84" fmla="*/ 145 w 157"/>
              <a:gd name="T85" fmla="*/ 133 h 133"/>
              <a:gd name="T86" fmla="*/ 97 w 157"/>
              <a:gd name="T87" fmla="*/ 133 h 133"/>
              <a:gd name="T88" fmla="*/ 88 w 157"/>
              <a:gd name="T89" fmla="*/ 130 h 133"/>
              <a:gd name="T90" fmla="*/ 85 w 157"/>
              <a:gd name="T91" fmla="*/ 121 h 133"/>
              <a:gd name="T92" fmla="*/ 85 w 157"/>
              <a:gd name="T93" fmla="*/ 85 h 133"/>
              <a:gd name="T94" fmla="*/ 88 w 157"/>
              <a:gd name="T95" fmla="*/ 77 h 133"/>
              <a:gd name="T96" fmla="*/ 97 w 157"/>
              <a:gd name="T97" fmla="*/ 73 h 133"/>
              <a:gd name="T98" fmla="*/ 145 w 157"/>
              <a:gd name="T99" fmla="*/ 73 h 133"/>
              <a:gd name="T100" fmla="*/ 154 w 157"/>
              <a:gd name="T101" fmla="*/ 77 h 133"/>
              <a:gd name="T102" fmla="*/ 157 w 157"/>
              <a:gd name="T103" fmla="*/ 8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7" h="133">
                <a:moveTo>
                  <a:pt x="72" y="12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2"/>
                  <a:pt x="71" y="55"/>
                  <a:pt x="69" y="57"/>
                </a:cubicBezTo>
                <a:cubicBezTo>
                  <a:pt x="66" y="60"/>
                  <a:pt x="64" y="61"/>
                  <a:pt x="60" y="61"/>
                </a:cubicBezTo>
                <a:cubicBezTo>
                  <a:pt x="12" y="61"/>
                  <a:pt x="12" y="61"/>
                  <a:pt x="12" y="61"/>
                </a:cubicBezTo>
                <a:cubicBezTo>
                  <a:pt x="9" y="61"/>
                  <a:pt x="6" y="60"/>
                  <a:pt x="3" y="57"/>
                </a:cubicBezTo>
                <a:cubicBezTo>
                  <a:pt x="1" y="55"/>
                  <a:pt x="0" y="52"/>
                  <a:pt x="0" y="49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2"/>
                  <a:pt x="69" y="4"/>
                </a:cubicBezTo>
                <a:cubicBezTo>
                  <a:pt x="71" y="6"/>
                  <a:pt x="72" y="9"/>
                  <a:pt x="72" y="12"/>
                </a:cubicBezTo>
                <a:close/>
                <a:moveTo>
                  <a:pt x="72" y="85"/>
                </a:moveTo>
                <a:cubicBezTo>
                  <a:pt x="72" y="121"/>
                  <a:pt x="72" y="121"/>
                  <a:pt x="72" y="121"/>
                </a:cubicBezTo>
                <a:cubicBezTo>
                  <a:pt x="72" y="125"/>
                  <a:pt x="71" y="127"/>
                  <a:pt x="69" y="130"/>
                </a:cubicBezTo>
                <a:cubicBezTo>
                  <a:pt x="66" y="132"/>
                  <a:pt x="64" y="133"/>
                  <a:pt x="60" y="133"/>
                </a:cubicBezTo>
                <a:cubicBezTo>
                  <a:pt x="12" y="133"/>
                  <a:pt x="12" y="133"/>
                  <a:pt x="12" y="133"/>
                </a:cubicBezTo>
                <a:cubicBezTo>
                  <a:pt x="9" y="133"/>
                  <a:pt x="6" y="132"/>
                  <a:pt x="3" y="130"/>
                </a:cubicBezTo>
                <a:cubicBezTo>
                  <a:pt x="1" y="127"/>
                  <a:pt x="0" y="125"/>
                  <a:pt x="0" y="121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82"/>
                  <a:pt x="1" y="79"/>
                  <a:pt x="3" y="77"/>
                </a:cubicBezTo>
                <a:cubicBezTo>
                  <a:pt x="6" y="74"/>
                  <a:pt x="9" y="73"/>
                  <a:pt x="12" y="73"/>
                </a:cubicBezTo>
                <a:cubicBezTo>
                  <a:pt x="60" y="73"/>
                  <a:pt x="60" y="73"/>
                  <a:pt x="60" y="73"/>
                </a:cubicBezTo>
                <a:cubicBezTo>
                  <a:pt x="64" y="73"/>
                  <a:pt x="66" y="74"/>
                  <a:pt x="69" y="77"/>
                </a:cubicBezTo>
                <a:cubicBezTo>
                  <a:pt x="71" y="79"/>
                  <a:pt x="72" y="82"/>
                  <a:pt x="72" y="85"/>
                </a:cubicBezTo>
                <a:close/>
                <a:moveTo>
                  <a:pt x="157" y="12"/>
                </a:moveTo>
                <a:cubicBezTo>
                  <a:pt x="157" y="49"/>
                  <a:pt x="157" y="49"/>
                  <a:pt x="157" y="49"/>
                </a:cubicBezTo>
                <a:cubicBezTo>
                  <a:pt x="157" y="52"/>
                  <a:pt x="156" y="55"/>
                  <a:pt x="154" y="57"/>
                </a:cubicBezTo>
                <a:cubicBezTo>
                  <a:pt x="151" y="60"/>
                  <a:pt x="148" y="61"/>
                  <a:pt x="145" y="61"/>
                </a:cubicBezTo>
                <a:cubicBezTo>
                  <a:pt x="97" y="61"/>
                  <a:pt x="97" y="61"/>
                  <a:pt x="97" y="61"/>
                </a:cubicBezTo>
                <a:cubicBezTo>
                  <a:pt x="93" y="61"/>
                  <a:pt x="90" y="60"/>
                  <a:pt x="88" y="57"/>
                </a:cubicBezTo>
                <a:cubicBezTo>
                  <a:pt x="86" y="55"/>
                  <a:pt x="85" y="52"/>
                  <a:pt x="85" y="49"/>
                </a:cubicBezTo>
                <a:cubicBezTo>
                  <a:pt x="85" y="12"/>
                  <a:pt x="85" y="12"/>
                  <a:pt x="85" y="12"/>
                </a:cubicBezTo>
                <a:cubicBezTo>
                  <a:pt x="85" y="9"/>
                  <a:pt x="86" y="6"/>
                  <a:pt x="88" y="4"/>
                </a:cubicBezTo>
                <a:cubicBezTo>
                  <a:pt x="90" y="2"/>
                  <a:pt x="93" y="0"/>
                  <a:pt x="97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8" y="0"/>
                  <a:pt x="151" y="2"/>
                  <a:pt x="154" y="4"/>
                </a:cubicBezTo>
                <a:cubicBezTo>
                  <a:pt x="156" y="6"/>
                  <a:pt x="157" y="9"/>
                  <a:pt x="157" y="12"/>
                </a:cubicBezTo>
                <a:close/>
                <a:moveTo>
                  <a:pt x="157" y="85"/>
                </a:moveTo>
                <a:cubicBezTo>
                  <a:pt x="157" y="121"/>
                  <a:pt x="157" y="121"/>
                  <a:pt x="157" y="121"/>
                </a:cubicBezTo>
                <a:cubicBezTo>
                  <a:pt x="157" y="125"/>
                  <a:pt x="156" y="127"/>
                  <a:pt x="154" y="130"/>
                </a:cubicBezTo>
                <a:cubicBezTo>
                  <a:pt x="151" y="132"/>
                  <a:pt x="148" y="133"/>
                  <a:pt x="145" y="133"/>
                </a:cubicBezTo>
                <a:cubicBezTo>
                  <a:pt x="97" y="133"/>
                  <a:pt x="97" y="133"/>
                  <a:pt x="97" y="133"/>
                </a:cubicBezTo>
                <a:cubicBezTo>
                  <a:pt x="93" y="133"/>
                  <a:pt x="90" y="132"/>
                  <a:pt x="88" y="130"/>
                </a:cubicBezTo>
                <a:cubicBezTo>
                  <a:pt x="86" y="127"/>
                  <a:pt x="85" y="125"/>
                  <a:pt x="85" y="121"/>
                </a:cubicBezTo>
                <a:cubicBezTo>
                  <a:pt x="85" y="85"/>
                  <a:pt x="85" y="85"/>
                  <a:pt x="85" y="85"/>
                </a:cubicBezTo>
                <a:cubicBezTo>
                  <a:pt x="85" y="82"/>
                  <a:pt x="86" y="79"/>
                  <a:pt x="88" y="77"/>
                </a:cubicBezTo>
                <a:cubicBezTo>
                  <a:pt x="90" y="74"/>
                  <a:pt x="93" y="73"/>
                  <a:pt x="97" y="73"/>
                </a:cubicBezTo>
                <a:cubicBezTo>
                  <a:pt x="145" y="73"/>
                  <a:pt x="145" y="73"/>
                  <a:pt x="145" y="73"/>
                </a:cubicBezTo>
                <a:cubicBezTo>
                  <a:pt x="148" y="73"/>
                  <a:pt x="151" y="74"/>
                  <a:pt x="154" y="77"/>
                </a:cubicBezTo>
                <a:cubicBezTo>
                  <a:pt x="156" y="79"/>
                  <a:pt x="157" y="82"/>
                  <a:pt x="157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" name="Freeform 15"/>
          <p:cNvSpPr>
            <a:spLocks noChangeAspect="1" noEditPoints="1"/>
          </p:cNvSpPr>
          <p:nvPr/>
        </p:nvSpPr>
        <p:spPr bwMode="auto">
          <a:xfrm>
            <a:off x="2857673" y="1555540"/>
            <a:ext cx="174866" cy="138956"/>
          </a:xfrm>
          <a:custGeom>
            <a:avLst/>
            <a:gdLst>
              <a:gd name="T0" fmla="*/ 48 w 169"/>
              <a:gd name="T1" fmla="*/ 28 h 133"/>
              <a:gd name="T2" fmla="*/ 39 w 169"/>
              <a:gd name="T3" fmla="*/ 37 h 133"/>
              <a:gd name="T4" fmla="*/ 2 w 169"/>
              <a:gd name="T5" fmla="*/ 34 h 133"/>
              <a:gd name="T6" fmla="*/ 0 w 169"/>
              <a:gd name="T7" fmla="*/ 9 h 133"/>
              <a:gd name="T8" fmla="*/ 9 w 169"/>
              <a:gd name="T9" fmla="*/ 0 h 133"/>
              <a:gd name="T10" fmla="*/ 46 w 169"/>
              <a:gd name="T11" fmla="*/ 3 h 133"/>
              <a:gd name="T12" fmla="*/ 48 w 169"/>
              <a:gd name="T13" fmla="*/ 58 h 133"/>
              <a:gd name="T14" fmla="*/ 46 w 169"/>
              <a:gd name="T15" fmla="*/ 82 h 133"/>
              <a:gd name="T16" fmla="*/ 9 w 169"/>
              <a:gd name="T17" fmla="*/ 85 h 133"/>
              <a:gd name="T18" fmla="*/ 0 w 169"/>
              <a:gd name="T19" fmla="*/ 76 h 133"/>
              <a:gd name="T20" fmla="*/ 2 w 169"/>
              <a:gd name="T21" fmla="*/ 51 h 133"/>
              <a:gd name="T22" fmla="*/ 39 w 169"/>
              <a:gd name="T23" fmla="*/ 49 h 133"/>
              <a:gd name="T24" fmla="*/ 48 w 169"/>
              <a:gd name="T25" fmla="*/ 58 h 133"/>
              <a:gd name="T26" fmla="*/ 48 w 169"/>
              <a:gd name="T27" fmla="*/ 124 h 133"/>
              <a:gd name="T28" fmla="*/ 39 w 169"/>
              <a:gd name="T29" fmla="*/ 133 h 133"/>
              <a:gd name="T30" fmla="*/ 2 w 169"/>
              <a:gd name="T31" fmla="*/ 131 h 133"/>
              <a:gd name="T32" fmla="*/ 0 w 169"/>
              <a:gd name="T33" fmla="*/ 106 h 133"/>
              <a:gd name="T34" fmla="*/ 9 w 169"/>
              <a:gd name="T35" fmla="*/ 97 h 133"/>
              <a:gd name="T36" fmla="*/ 46 w 169"/>
              <a:gd name="T37" fmla="*/ 100 h 133"/>
              <a:gd name="T38" fmla="*/ 109 w 169"/>
              <a:gd name="T39" fmla="*/ 9 h 133"/>
              <a:gd name="T40" fmla="*/ 106 w 169"/>
              <a:gd name="T41" fmla="*/ 34 h 133"/>
              <a:gd name="T42" fmla="*/ 69 w 169"/>
              <a:gd name="T43" fmla="*/ 37 h 133"/>
              <a:gd name="T44" fmla="*/ 60 w 169"/>
              <a:gd name="T45" fmla="*/ 28 h 133"/>
              <a:gd name="T46" fmla="*/ 63 w 169"/>
              <a:gd name="T47" fmla="*/ 3 h 133"/>
              <a:gd name="T48" fmla="*/ 100 w 169"/>
              <a:gd name="T49" fmla="*/ 0 h 133"/>
              <a:gd name="T50" fmla="*/ 109 w 169"/>
              <a:gd name="T51" fmla="*/ 9 h 133"/>
              <a:gd name="T52" fmla="*/ 109 w 169"/>
              <a:gd name="T53" fmla="*/ 76 h 133"/>
              <a:gd name="T54" fmla="*/ 100 w 169"/>
              <a:gd name="T55" fmla="*/ 85 h 133"/>
              <a:gd name="T56" fmla="*/ 63 w 169"/>
              <a:gd name="T57" fmla="*/ 82 h 133"/>
              <a:gd name="T58" fmla="*/ 60 w 169"/>
              <a:gd name="T59" fmla="*/ 58 h 133"/>
              <a:gd name="T60" fmla="*/ 69 w 169"/>
              <a:gd name="T61" fmla="*/ 49 h 133"/>
              <a:gd name="T62" fmla="*/ 106 w 169"/>
              <a:gd name="T63" fmla="*/ 51 h 133"/>
              <a:gd name="T64" fmla="*/ 109 w 169"/>
              <a:gd name="T65" fmla="*/ 106 h 133"/>
              <a:gd name="T66" fmla="*/ 106 w 169"/>
              <a:gd name="T67" fmla="*/ 131 h 133"/>
              <a:gd name="T68" fmla="*/ 69 w 169"/>
              <a:gd name="T69" fmla="*/ 133 h 133"/>
              <a:gd name="T70" fmla="*/ 60 w 169"/>
              <a:gd name="T71" fmla="*/ 124 h 133"/>
              <a:gd name="T72" fmla="*/ 63 w 169"/>
              <a:gd name="T73" fmla="*/ 100 h 133"/>
              <a:gd name="T74" fmla="*/ 100 w 169"/>
              <a:gd name="T75" fmla="*/ 97 h 133"/>
              <a:gd name="T76" fmla="*/ 109 w 169"/>
              <a:gd name="T77" fmla="*/ 106 h 133"/>
              <a:gd name="T78" fmla="*/ 169 w 169"/>
              <a:gd name="T79" fmla="*/ 28 h 133"/>
              <a:gd name="T80" fmla="*/ 160 w 169"/>
              <a:gd name="T81" fmla="*/ 37 h 133"/>
              <a:gd name="T82" fmla="*/ 123 w 169"/>
              <a:gd name="T83" fmla="*/ 34 h 133"/>
              <a:gd name="T84" fmla="*/ 121 w 169"/>
              <a:gd name="T85" fmla="*/ 9 h 133"/>
              <a:gd name="T86" fmla="*/ 130 w 169"/>
              <a:gd name="T87" fmla="*/ 0 h 133"/>
              <a:gd name="T88" fmla="*/ 167 w 169"/>
              <a:gd name="T89" fmla="*/ 3 h 133"/>
              <a:gd name="T90" fmla="*/ 169 w 169"/>
              <a:gd name="T91" fmla="*/ 58 h 133"/>
              <a:gd name="T92" fmla="*/ 167 w 169"/>
              <a:gd name="T93" fmla="*/ 82 h 133"/>
              <a:gd name="T94" fmla="*/ 130 w 169"/>
              <a:gd name="T95" fmla="*/ 85 h 133"/>
              <a:gd name="T96" fmla="*/ 121 w 169"/>
              <a:gd name="T97" fmla="*/ 76 h 133"/>
              <a:gd name="T98" fmla="*/ 123 w 169"/>
              <a:gd name="T99" fmla="*/ 51 h 133"/>
              <a:gd name="T100" fmla="*/ 160 w 169"/>
              <a:gd name="T101" fmla="*/ 49 h 133"/>
              <a:gd name="T102" fmla="*/ 169 w 169"/>
              <a:gd name="T103" fmla="*/ 58 h 133"/>
              <a:gd name="T104" fmla="*/ 169 w 169"/>
              <a:gd name="T105" fmla="*/ 124 h 133"/>
              <a:gd name="T106" fmla="*/ 160 w 169"/>
              <a:gd name="T107" fmla="*/ 133 h 133"/>
              <a:gd name="T108" fmla="*/ 123 w 169"/>
              <a:gd name="T109" fmla="*/ 131 h 133"/>
              <a:gd name="T110" fmla="*/ 121 w 169"/>
              <a:gd name="T111" fmla="*/ 106 h 133"/>
              <a:gd name="T112" fmla="*/ 130 w 169"/>
              <a:gd name="T113" fmla="*/ 97 h 133"/>
              <a:gd name="T114" fmla="*/ 167 w 169"/>
              <a:gd name="T115" fmla="*/ 10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9" h="133">
                <a:moveTo>
                  <a:pt x="48" y="9"/>
                </a:moveTo>
                <a:cubicBezTo>
                  <a:pt x="48" y="28"/>
                  <a:pt x="48" y="28"/>
                  <a:pt x="48" y="28"/>
                </a:cubicBezTo>
                <a:cubicBezTo>
                  <a:pt x="48" y="30"/>
                  <a:pt x="47" y="32"/>
                  <a:pt x="46" y="34"/>
                </a:cubicBezTo>
                <a:cubicBezTo>
                  <a:pt x="44" y="36"/>
                  <a:pt x="42" y="37"/>
                  <a:pt x="39" y="37"/>
                </a:cubicBezTo>
                <a:cubicBezTo>
                  <a:pt x="9" y="37"/>
                  <a:pt x="9" y="37"/>
                  <a:pt x="9" y="37"/>
                </a:cubicBezTo>
                <a:cubicBezTo>
                  <a:pt x="6" y="37"/>
                  <a:pt x="4" y="36"/>
                  <a:pt x="2" y="34"/>
                </a:cubicBezTo>
                <a:cubicBezTo>
                  <a:pt x="1" y="32"/>
                  <a:pt x="0" y="30"/>
                  <a:pt x="0" y="28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2" y="3"/>
                </a:cubicBezTo>
                <a:cubicBezTo>
                  <a:pt x="4" y="1"/>
                  <a:pt x="6" y="0"/>
                  <a:pt x="9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2" y="0"/>
                  <a:pt x="44" y="1"/>
                  <a:pt x="46" y="3"/>
                </a:cubicBezTo>
                <a:cubicBezTo>
                  <a:pt x="47" y="5"/>
                  <a:pt x="48" y="7"/>
                  <a:pt x="48" y="9"/>
                </a:cubicBezTo>
                <a:close/>
                <a:moveTo>
                  <a:pt x="48" y="58"/>
                </a:moveTo>
                <a:cubicBezTo>
                  <a:pt x="48" y="76"/>
                  <a:pt x="48" y="76"/>
                  <a:pt x="48" y="76"/>
                </a:cubicBezTo>
                <a:cubicBezTo>
                  <a:pt x="48" y="79"/>
                  <a:pt x="47" y="81"/>
                  <a:pt x="46" y="82"/>
                </a:cubicBezTo>
                <a:cubicBezTo>
                  <a:pt x="44" y="84"/>
                  <a:pt x="42" y="85"/>
                  <a:pt x="39" y="85"/>
                </a:cubicBezTo>
                <a:cubicBezTo>
                  <a:pt x="9" y="85"/>
                  <a:pt x="9" y="85"/>
                  <a:pt x="9" y="85"/>
                </a:cubicBezTo>
                <a:cubicBezTo>
                  <a:pt x="6" y="85"/>
                  <a:pt x="4" y="84"/>
                  <a:pt x="2" y="82"/>
                </a:cubicBezTo>
                <a:cubicBezTo>
                  <a:pt x="1" y="81"/>
                  <a:pt x="0" y="79"/>
                  <a:pt x="0" y="76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5"/>
                  <a:pt x="1" y="53"/>
                  <a:pt x="2" y="51"/>
                </a:cubicBezTo>
                <a:cubicBezTo>
                  <a:pt x="4" y="50"/>
                  <a:pt x="6" y="49"/>
                  <a:pt x="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42" y="49"/>
                  <a:pt x="44" y="50"/>
                  <a:pt x="46" y="51"/>
                </a:cubicBezTo>
                <a:cubicBezTo>
                  <a:pt x="47" y="53"/>
                  <a:pt x="48" y="55"/>
                  <a:pt x="48" y="58"/>
                </a:cubicBezTo>
                <a:close/>
                <a:moveTo>
                  <a:pt x="48" y="106"/>
                </a:moveTo>
                <a:cubicBezTo>
                  <a:pt x="48" y="124"/>
                  <a:pt x="48" y="124"/>
                  <a:pt x="48" y="124"/>
                </a:cubicBezTo>
                <a:cubicBezTo>
                  <a:pt x="48" y="127"/>
                  <a:pt x="47" y="129"/>
                  <a:pt x="46" y="131"/>
                </a:cubicBezTo>
                <a:cubicBezTo>
                  <a:pt x="44" y="133"/>
                  <a:pt x="42" y="133"/>
                  <a:pt x="39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6" y="133"/>
                  <a:pt x="4" y="133"/>
                  <a:pt x="2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4"/>
                  <a:pt x="1" y="102"/>
                  <a:pt x="2" y="100"/>
                </a:cubicBezTo>
                <a:cubicBezTo>
                  <a:pt x="4" y="98"/>
                  <a:pt x="6" y="97"/>
                  <a:pt x="9" y="97"/>
                </a:cubicBezTo>
                <a:cubicBezTo>
                  <a:pt x="39" y="97"/>
                  <a:pt x="39" y="97"/>
                  <a:pt x="39" y="97"/>
                </a:cubicBezTo>
                <a:cubicBezTo>
                  <a:pt x="42" y="97"/>
                  <a:pt x="44" y="98"/>
                  <a:pt x="46" y="100"/>
                </a:cubicBezTo>
                <a:cubicBezTo>
                  <a:pt x="47" y="102"/>
                  <a:pt x="48" y="104"/>
                  <a:pt x="48" y="106"/>
                </a:cubicBezTo>
                <a:close/>
                <a:moveTo>
                  <a:pt x="109" y="9"/>
                </a:moveTo>
                <a:cubicBezTo>
                  <a:pt x="109" y="28"/>
                  <a:pt x="109" y="28"/>
                  <a:pt x="109" y="28"/>
                </a:cubicBezTo>
                <a:cubicBezTo>
                  <a:pt x="109" y="30"/>
                  <a:pt x="108" y="32"/>
                  <a:pt x="106" y="34"/>
                </a:cubicBezTo>
                <a:cubicBezTo>
                  <a:pt x="104" y="36"/>
                  <a:pt x="102" y="37"/>
                  <a:pt x="100" y="37"/>
                </a:cubicBezTo>
                <a:cubicBezTo>
                  <a:pt x="69" y="37"/>
                  <a:pt x="69" y="37"/>
                  <a:pt x="69" y="37"/>
                </a:cubicBezTo>
                <a:cubicBezTo>
                  <a:pt x="67" y="37"/>
                  <a:pt x="65" y="36"/>
                  <a:pt x="63" y="34"/>
                </a:cubicBezTo>
                <a:cubicBezTo>
                  <a:pt x="61" y="32"/>
                  <a:pt x="60" y="30"/>
                  <a:pt x="60" y="28"/>
                </a:cubicBezTo>
                <a:cubicBezTo>
                  <a:pt x="60" y="9"/>
                  <a:pt x="60" y="9"/>
                  <a:pt x="60" y="9"/>
                </a:cubicBezTo>
                <a:cubicBezTo>
                  <a:pt x="60" y="7"/>
                  <a:pt x="61" y="5"/>
                  <a:pt x="63" y="3"/>
                </a:cubicBezTo>
                <a:cubicBezTo>
                  <a:pt x="65" y="1"/>
                  <a:pt x="67" y="0"/>
                  <a:pt x="69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102" y="0"/>
                  <a:pt x="104" y="1"/>
                  <a:pt x="106" y="3"/>
                </a:cubicBezTo>
                <a:cubicBezTo>
                  <a:pt x="108" y="5"/>
                  <a:pt x="109" y="7"/>
                  <a:pt x="109" y="9"/>
                </a:cubicBezTo>
                <a:close/>
                <a:moveTo>
                  <a:pt x="109" y="58"/>
                </a:moveTo>
                <a:cubicBezTo>
                  <a:pt x="109" y="76"/>
                  <a:pt x="109" y="76"/>
                  <a:pt x="109" y="76"/>
                </a:cubicBezTo>
                <a:cubicBezTo>
                  <a:pt x="109" y="79"/>
                  <a:pt x="108" y="81"/>
                  <a:pt x="106" y="82"/>
                </a:cubicBezTo>
                <a:cubicBezTo>
                  <a:pt x="104" y="84"/>
                  <a:pt x="102" y="85"/>
                  <a:pt x="100" y="85"/>
                </a:cubicBezTo>
                <a:cubicBezTo>
                  <a:pt x="69" y="85"/>
                  <a:pt x="69" y="85"/>
                  <a:pt x="69" y="85"/>
                </a:cubicBezTo>
                <a:cubicBezTo>
                  <a:pt x="67" y="85"/>
                  <a:pt x="65" y="84"/>
                  <a:pt x="63" y="82"/>
                </a:cubicBezTo>
                <a:cubicBezTo>
                  <a:pt x="61" y="81"/>
                  <a:pt x="60" y="79"/>
                  <a:pt x="60" y="76"/>
                </a:cubicBezTo>
                <a:cubicBezTo>
                  <a:pt x="60" y="58"/>
                  <a:pt x="60" y="58"/>
                  <a:pt x="60" y="58"/>
                </a:cubicBezTo>
                <a:cubicBezTo>
                  <a:pt x="60" y="55"/>
                  <a:pt x="61" y="53"/>
                  <a:pt x="63" y="51"/>
                </a:cubicBezTo>
                <a:cubicBezTo>
                  <a:pt x="65" y="50"/>
                  <a:pt x="67" y="49"/>
                  <a:pt x="69" y="49"/>
                </a:cubicBezTo>
                <a:cubicBezTo>
                  <a:pt x="100" y="49"/>
                  <a:pt x="100" y="49"/>
                  <a:pt x="100" y="49"/>
                </a:cubicBezTo>
                <a:cubicBezTo>
                  <a:pt x="102" y="49"/>
                  <a:pt x="104" y="50"/>
                  <a:pt x="106" y="51"/>
                </a:cubicBezTo>
                <a:cubicBezTo>
                  <a:pt x="108" y="53"/>
                  <a:pt x="109" y="55"/>
                  <a:pt x="109" y="58"/>
                </a:cubicBezTo>
                <a:close/>
                <a:moveTo>
                  <a:pt x="109" y="106"/>
                </a:moveTo>
                <a:cubicBezTo>
                  <a:pt x="109" y="124"/>
                  <a:pt x="109" y="124"/>
                  <a:pt x="109" y="124"/>
                </a:cubicBezTo>
                <a:cubicBezTo>
                  <a:pt x="109" y="127"/>
                  <a:pt x="108" y="129"/>
                  <a:pt x="106" y="131"/>
                </a:cubicBezTo>
                <a:cubicBezTo>
                  <a:pt x="104" y="133"/>
                  <a:pt x="102" y="133"/>
                  <a:pt x="100" y="133"/>
                </a:cubicBezTo>
                <a:cubicBezTo>
                  <a:pt x="69" y="133"/>
                  <a:pt x="69" y="133"/>
                  <a:pt x="69" y="133"/>
                </a:cubicBezTo>
                <a:cubicBezTo>
                  <a:pt x="67" y="133"/>
                  <a:pt x="65" y="133"/>
                  <a:pt x="63" y="131"/>
                </a:cubicBezTo>
                <a:cubicBezTo>
                  <a:pt x="61" y="129"/>
                  <a:pt x="60" y="127"/>
                  <a:pt x="60" y="124"/>
                </a:cubicBezTo>
                <a:cubicBezTo>
                  <a:pt x="60" y="106"/>
                  <a:pt x="60" y="106"/>
                  <a:pt x="60" y="106"/>
                </a:cubicBezTo>
                <a:cubicBezTo>
                  <a:pt x="60" y="104"/>
                  <a:pt x="61" y="102"/>
                  <a:pt x="63" y="100"/>
                </a:cubicBezTo>
                <a:cubicBezTo>
                  <a:pt x="65" y="98"/>
                  <a:pt x="67" y="97"/>
                  <a:pt x="69" y="97"/>
                </a:cubicBezTo>
                <a:cubicBezTo>
                  <a:pt x="100" y="97"/>
                  <a:pt x="100" y="97"/>
                  <a:pt x="100" y="97"/>
                </a:cubicBezTo>
                <a:cubicBezTo>
                  <a:pt x="102" y="97"/>
                  <a:pt x="104" y="98"/>
                  <a:pt x="106" y="100"/>
                </a:cubicBezTo>
                <a:cubicBezTo>
                  <a:pt x="108" y="102"/>
                  <a:pt x="109" y="104"/>
                  <a:pt x="109" y="106"/>
                </a:cubicBezTo>
                <a:close/>
                <a:moveTo>
                  <a:pt x="169" y="9"/>
                </a:moveTo>
                <a:cubicBezTo>
                  <a:pt x="169" y="28"/>
                  <a:pt x="169" y="28"/>
                  <a:pt x="169" y="28"/>
                </a:cubicBezTo>
                <a:cubicBezTo>
                  <a:pt x="169" y="30"/>
                  <a:pt x="168" y="32"/>
                  <a:pt x="167" y="34"/>
                </a:cubicBezTo>
                <a:cubicBezTo>
                  <a:pt x="165" y="36"/>
                  <a:pt x="163" y="37"/>
                  <a:pt x="160" y="37"/>
                </a:cubicBezTo>
                <a:cubicBezTo>
                  <a:pt x="130" y="37"/>
                  <a:pt x="130" y="37"/>
                  <a:pt x="130" y="37"/>
                </a:cubicBezTo>
                <a:cubicBezTo>
                  <a:pt x="127" y="37"/>
                  <a:pt x="125" y="36"/>
                  <a:pt x="123" y="34"/>
                </a:cubicBezTo>
                <a:cubicBezTo>
                  <a:pt x="122" y="32"/>
                  <a:pt x="121" y="30"/>
                  <a:pt x="121" y="28"/>
                </a:cubicBezTo>
                <a:cubicBezTo>
                  <a:pt x="121" y="9"/>
                  <a:pt x="121" y="9"/>
                  <a:pt x="121" y="9"/>
                </a:cubicBezTo>
                <a:cubicBezTo>
                  <a:pt x="121" y="7"/>
                  <a:pt x="122" y="5"/>
                  <a:pt x="123" y="3"/>
                </a:cubicBezTo>
                <a:cubicBezTo>
                  <a:pt x="125" y="1"/>
                  <a:pt x="127" y="0"/>
                  <a:pt x="130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63" y="0"/>
                  <a:pt x="165" y="1"/>
                  <a:pt x="167" y="3"/>
                </a:cubicBezTo>
                <a:cubicBezTo>
                  <a:pt x="168" y="5"/>
                  <a:pt x="169" y="7"/>
                  <a:pt x="169" y="9"/>
                </a:cubicBezTo>
                <a:close/>
                <a:moveTo>
                  <a:pt x="169" y="58"/>
                </a:moveTo>
                <a:cubicBezTo>
                  <a:pt x="169" y="76"/>
                  <a:pt x="169" y="76"/>
                  <a:pt x="169" y="76"/>
                </a:cubicBezTo>
                <a:cubicBezTo>
                  <a:pt x="169" y="79"/>
                  <a:pt x="168" y="81"/>
                  <a:pt x="167" y="82"/>
                </a:cubicBezTo>
                <a:cubicBezTo>
                  <a:pt x="165" y="84"/>
                  <a:pt x="163" y="85"/>
                  <a:pt x="160" y="85"/>
                </a:cubicBezTo>
                <a:cubicBezTo>
                  <a:pt x="130" y="85"/>
                  <a:pt x="130" y="85"/>
                  <a:pt x="130" y="85"/>
                </a:cubicBezTo>
                <a:cubicBezTo>
                  <a:pt x="127" y="85"/>
                  <a:pt x="125" y="84"/>
                  <a:pt x="123" y="82"/>
                </a:cubicBezTo>
                <a:cubicBezTo>
                  <a:pt x="122" y="81"/>
                  <a:pt x="121" y="79"/>
                  <a:pt x="121" y="76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1" y="55"/>
                  <a:pt x="122" y="53"/>
                  <a:pt x="123" y="51"/>
                </a:cubicBezTo>
                <a:cubicBezTo>
                  <a:pt x="125" y="50"/>
                  <a:pt x="127" y="49"/>
                  <a:pt x="130" y="49"/>
                </a:cubicBezTo>
                <a:cubicBezTo>
                  <a:pt x="160" y="49"/>
                  <a:pt x="160" y="49"/>
                  <a:pt x="160" y="49"/>
                </a:cubicBezTo>
                <a:cubicBezTo>
                  <a:pt x="163" y="49"/>
                  <a:pt x="165" y="50"/>
                  <a:pt x="167" y="51"/>
                </a:cubicBezTo>
                <a:cubicBezTo>
                  <a:pt x="168" y="53"/>
                  <a:pt x="169" y="55"/>
                  <a:pt x="169" y="58"/>
                </a:cubicBezTo>
                <a:close/>
                <a:moveTo>
                  <a:pt x="169" y="106"/>
                </a:moveTo>
                <a:cubicBezTo>
                  <a:pt x="169" y="124"/>
                  <a:pt x="169" y="124"/>
                  <a:pt x="169" y="124"/>
                </a:cubicBezTo>
                <a:cubicBezTo>
                  <a:pt x="169" y="127"/>
                  <a:pt x="168" y="129"/>
                  <a:pt x="167" y="131"/>
                </a:cubicBezTo>
                <a:cubicBezTo>
                  <a:pt x="165" y="133"/>
                  <a:pt x="163" y="133"/>
                  <a:pt x="160" y="133"/>
                </a:cubicBezTo>
                <a:cubicBezTo>
                  <a:pt x="130" y="133"/>
                  <a:pt x="130" y="133"/>
                  <a:pt x="130" y="133"/>
                </a:cubicBezTo>
                <a:cubicBezTo>
                  <a:pt x="127" y="133"/>
                  <a:pt x="125" y="133"/>
                  <a:pt x="123" y="131"/>
                </a:cubicBezTo>
                <a:cubicBezTo>
                  <a:pt x="122" y="129"/>
                  <a:pt x="121" y="127"/>
                  <a:pt x="121" y="124"/>
                </a:cubicBezTo>
                <a:cubicBezTo>
                  <a:pt x="121" y="106"/>
                  <a:pt x="121" y="106"/>
                  <a:pt x="121" y="106"/>
                </a:cubicBezTo>
                <a:cubicBezTo>
                  <a:pt x="121" y="104"/>
                  <a:pt x="122" y="102"/>
                  <a:pt x="123" y="100"/>
                </a:cubicBezTo>
                <a:cubicBezTo>
                  <a:pt x="125" y="98"/>
                  <a:pt x="127" y="97"/>
                  <a:pt x="130" y="97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63" y="97"/>
                  <a:pt x="165" y="98"/>
                  <a:pt x="167" y="100"/>
                </a:cubicBezTo>
                <a:cubicBezTo>
                  <a:pt x="168" y="102"/>
                  <a:pt x="169" y="104"/>
                  <a:pt x="169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" name="Freeform 16"/>
          <p:cNvSpPr>
            <a:spLocks noChangeAspect="1" noEditPoints="1"/>
          </p:cNvSpPr>
          <p:nvPr/>
        </p:nvSpPr>
        <p:spPr bwMode="auto">
          <a:xfrm>
            <a:off x="3077817" y="1555540"/>
            <a:ext cx="174866" cy="138956"/>
          </a:xfrm>
          <a:custGeom>
            <a:avLst/>
            <a:gdLst>
              <a:gd name="T0" fmla="*/ 48 w 169"/>
              <a:gd name="T1" fmla="*/ 28 h 133"/>
              <a:gd name="T2" fmla="*/ 39 w 169"/>
              <a:gd name="T3" fmla="*/ 37 h 133"/>
              <a:gd name="T4" fmla="*/ 2 w 169"/>
              <a:gd name="T5" fmla="*/ 34 h 133"/>
              <a:gd name="T6" fmla="*/ 0 w 169"/>
              <a:gd name="T7" fmla="*/ 9 h 133"/>
              <a:gd name="T8" fmla="*/ 9 w 169"/>
              <a:gd name="T9" fmla="*/ 0 h 133"/>
              <a:gd name="T10" fmla="*/ 46 w 169"/>
              <a:gd name="T11" fmla="*/ 3 h 133"/>
              <a:gd name="T12" fmla="*/ 48 w 169"/>
              <a:gd name="T13" fmla="*/ 58 h 133"/>
              <a:gd name="T14" fmla="*/ 46 w 169"/>
              <a:gd name="T15" fmla="*/ 82 h 133"/>
              <a:gd name="T16" fmla="*/ 9 w 169"/>
              <a:gd name="T17" fmla="*/ 85 h 133"/>
              <a:gd name="T18" fmla="*/ 0 w 169"/>
              <a:gd name="T19" fmla="*/ 76 h 133"/>
              <a:gd name="T20" fmla="*/ 2 w 169"/>
              <a:gd name="T21" fmla="*/ 51 h 133"/>
              <a:gd name="T22" fmla="*/ 39 w 169"/>
              <a:gd name="T23" fmla="*/ 49 h 133"/>
              <a:gd name="T24" fmla="*/ 48 w 169"/>
              <a:gd name="T25" fmla="*/ 58 h 133"/>
              <a:gd name="T26" fmla="*/ 48 w 169"/>
              <a:gd name="T27" fmla="*/ 124 h 133"/>
              <a:gd name="T28" fmla="*/ 39 w 169"/>
              <a:gd name="T29" fmla="*/ 133 h 133"/>
              <a:gd name="T30" fmla="*/ 2 w 169"/>
              <a:gd name="T31" fmla="*/ 131 h 133"/>
              <a:gd name="T32" fmla="*/ 0 w 169"/>
              <a:gd name="T33" fmla="*/ 106 h 133"/>
              <a:gd name="T34" fmla="*/ 9 w 169"/>
              <a:gd name="T35" fmla="*/ 97 h 133"/>
              <a:gd name="T36" fmla="*/ 46 w 169"/>
              <a:gd name="T37" fmla="*/ 100 h 133"/>
              <a:gd name="T38" fmla="*/ 169 w 169"/>
              <a:gd name="T39" fmla="*/ 9 h 133"/>
              <a:gd name="T40" fmla="*/ 167 w 169"/>
              <a:gd name="T41" fmla="*/ 34 h 133"/>
              <a:gd name="T42" fmla="*/ 69 w 169"/>
              <a:gd name="T43" fmla="*/ 37 h 133"/>
              <a:gd name="T44" fmla="*/ 60 w 169"/>
              <a:gd name="T45" fmla="*/ 28 h 133"/>
              <a:gd name="T46" fmla="*/ 63 w 169"/>
              <a:gd name="T47" fmla="*/ 3 h 133"/>
              <a:gd name="T48" fmla="*/ 160 w 169"/>
              <a:gd name="T49" fmla="*/ 0 h 133"/>
              <a:gd name="T50" fmla="*/ 169 w 169"/>
              <a:gd name="T51" fmla="*/ 9 h 133"/>
              <a:gd name="T52" fmla="*/ 169 w 169"/>
              <a:gd name="T53" fmla="*/ 76 h 133"/>
              <a:gd name="T54" fmla="*/ 160 w 169"/>
              <a:gd name="T55" fmla="*/ 85 h 133"/>
              <a:gd name="T56" fmla="*/ 63 w 169"/>
              <a:gd name="T57" fmla="*/ 82 h 133"/>
              <a:gd name="T58" fmla="*/ 60 w 169"/>
              <a:gd name="T59" fmla="*/ 58 h 133"/>
              <a:gd name="T60" fmla="*/ 69 w 169"/>
              <a:gd name="T61" fmla="*/ 49 h 133"/>
              <a:gd name="T62" fmla="*/ 167 w 169"/>
              <a:gd name="T63" fmla="*/ 51 h 133"/>
              <a:gd name="T64" fmla="*/ 169 w 169"/>
              <a:gd name="T65" fmla="*/ 106 h 133"/>
              <a:gd name="T66" fmla="*/ 167 w 169"/>
              <a:gd name="T67" fmla="*/ 131 h 133"/>
              <a:gd name="T68" fmla="*/ 69 w 169"/>
              <a:gd name="T69" fmla="*/ 133 h 133"/>
              <a:gd name="T70" fmla="*/ 60 w 169"/>
              <a:gd name="T71" fmla="*/ 124 h 133"/>
              <a:gd name="T72" fmla="*/ 63 w 169"/>
              <a:gd name="T73" fmla="*/ 100 h 133"/>
              <a:gd name="T74" fmla="*/ 160 w 169"/>
              <a:gd name="T75" fmla="*/ 97 h 133"/>
              <a:gd name="T76" fmla="*/ 169 w 169"/>
              <a:gd name="T77" fmla="*/ 10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" h="133">
                <a:moveTo>
                  <a:pt x="48" y="9"/>
                </a:moveTo>
                <a:cubicBezTo>
                  <a:pt x="48" y="28"/>
                  <a:pt x="48" y="28"/>
                  <a:pt x="48" y="28"/>
                </a:cubicBezTo>
                <a:cubicBezTo>
                  <a:pt x="48" y="30"/>
                  <a:pt x="47" y="32"/>
                  <a:pt x="46" y="34"/>
                </a:cubicBezTo>
                <a:cubicBezTo>
                  <a:pt x="44" y="36"/>
                  <a:pt x="42" y="37"/>
                  <a:pt x="39" y="37"/>
                </a:cubicBezTo>
                <a:cubicBezTo>
                  <a:pt x="9" y="37"/>
                  <a:pt x="9" y="37"/>
                  <a:pt x="9" y="37"/>
                </a:cubicBezTo>
                <a:cubicBezTo>
                  <a:pt x="6" y="37"/>
                  <a:pt x="4" y="36"/>
                  <a:pt x="2" y="34"/>
                </a:cubicBezTo>
                <a:cubicBezTo>
                  <a:pt x="1" y="32"/>
                  <a:pt x="0" y="30"/>
                  <a:pt x="0" y="28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2" y="3"/>
                </a:cubicBezTo>
                <a:cubicBezTo>
                  <a:pt x="4" y="1"/>
                  <a:pt x="6" y="0"/>
                  <a:pt x="9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42" y="0"/>
                  <a:pt x="44" y="1"/>
                  <a:pt x="46" y="3"/>
                </a:cubicBezTo>
                <a:cubicBezTo>
                  <a:pt x="47" y="5"/>
                  <a:pt x="48" y="7"/>
                  <a:pt x="48" y="9"/>
                </a:cubicBezTo>
                <a:close/>
                <a:moveTo>
                  <a:pt x="48" y="58"/>
                </a:moveTo>
                <a:cubicBezTo>
                  <a:pt x="48" y="76"/>
                  <a:pt x="48" y="76"/>
                  <a:pt x="48" y="76"/>
                </a:cubicBezTo>
                <a:cubicBezTo>
                  <a:pt x="48" y="79"/>
                  <a:pt x="47" y="81"/>
                  <a:pt x="46" y="82"/>
                </a:cubicBezTo>
                <a:cubicBezTo>
                  <a:pt x="44" y="84"/>
                  <a:pt x="42" y="85"/>
                  <a:pt x="39" y="85"/>
                </a:cubicBezTo>
                <a:cubicBezTo>
                  <a:pt x="9" y="85"/>
                  <a:pt x="9" y="85"/>
                  <a:pt x="9" y="85"/>
                </a:cubicBezTo>
                <a:cubicBezTo>
                  <a:pt x="6" y="85"/>
                  <a:pt x="4" y="84"/>
                  <a:pt x="2" y="82"/>
                </a:cubicBezTo>
                <a:cubicBezTo>
                  <a:pt x="1" y="81"/>
                  <a:pt x="0" y="79"/>
                  <a:pt x="0" y="76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5"/>
                  <a:pt x="1" y="53"/>
                  <a:pt x="2" y="51"/>
                </a:cubicBezTo>
                <a:cubicBezTo>
                  <a:pt x="4" y="50"/>
                  <a:pt x="6" y="49"/>
                  <a:pt x="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42" y="49"/>
                  <a:pt x="44" y="50"/>
                  <a:pt x="46" y="51"/>
                </a:cubicBezTo>
                <a:cubicBezTo>
                  <a:pt x="47" y="53"/>
                  <a:pt x="48" y="55"/>
                  <a:pt x="48" y="58"/>
                </a:cubicBezTo>
                <a:close/>
                <a:moveTo>
                  <a:pt x="48" y="106"/>
                </a:moveTo>
                <a:cubicBezTo>
                  <a:pt x="48" y="124"/>
                  <a:pt x="48" y="124"/>
                  <a:pt x="48" y="124"/>
                </a:cubicBezTo>
                <a:cubicBezTo>
                  <a:pt x="48" y="127"/>
                  <a:pt x="47" y="129"/>
                  <a:pt x="46" y="131"/>
                </a:cubicBezTo>
                <a:cubicBezTo>
                  <a:pt x="44" y="133"/>
                  <a:pt x="42" y="133"/>
                  <a:pt x="39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6" y="133"/>
                  <a:pt x="4" y="133"/>
                  <a:pt x="2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4"/>
                  <a:pt x="1" y="102"/>
                  <a:pt x="2" y="100"/>
                </a:cubicBezTo>
                <a:cubicBezTo>
                  <a:pt x="4" y="98"/>
                  <a:pt x="6" y="97"/>
                  <a:pt x="9" y="97"/>
                </a:cubicBezTo>
                <a:cubicBezTo>
                  <a:pt x="39" y="97"/>
                  <a:pt x="39" y="97"/>
                  <a:pt x="39" y="97"/>
                </a:cubicBezTo>
                <a:cubicBezTo>
                  <a:pt x="42" y="97"/>
                  <a:pt x="44" y="98"/>
                  <a:pt x="46" y="100"/>
                </a:cubicBezTo>
                <a:cubicBezTo>
                  <a:pt x="47" y="102"/>
                  <a:pt x="48" y="104"/>
                  <a:pt x="48" y="106"/>
                </a:cubicBezTo>
                <a:close/>
                <a:moveTo>
                  <a:pt x="169" y="9"/>
                </a:moveTo>
                <a:cubicBezTo>
                  <a:pt x="169" y="28"/>
                  <a:pt x="169" y="28"/>
                  <a:pt x="169" y="28"/>
                </a:cubicBezTo>
                <a:cubicBezTo>
                  <a:pt x="169" y="30"/>
                  <a:pt x="168" y="32"/>
                  <a:pt x="167" y="34"/>
                </a:cubicBezTo>
                <a:cubicBezTo>
                  <a:pt x="165" y="36"/>
                  <a:pt x="163" y="37"/>
                  <a:pt x="160" y="37"/>
                </a:cubicBezTo>
                <a:cubicBezTo>
                  <a:pt x="69" y="37"/>
                  <a:pt x="69" y="37"/>
                  <a:pt x="69" y="37"/>
                </a:cubicBezTo>
                <a:cubicBezTo>
                  <a:pt x="67" y="37"/>
                  <a:pt x="65" y="36"/>
                  <a:pt x="63" y="34"/>
                </a:cubicBezTo>
                <a:cubicBezTo>
                  <a:pt x="61" y="32"/>
                  <a:pt x="60" y="30"/>
                  <a:pt x="60" y="28"/>
                </a:cubicBezTo>
                <a:cubicBezTo>
                  <a:pt x="60" y="9"/>
                  <a:pt x="60" y="9"/>
                  <a:pt x="60" y="9"/>
                </a:cubicBezTo>
                <a:cubicBezTo>
                  <a:pt x="60" y="7"/>
                  <a:pt x="61" y="5"/>
                  <a:pt x="63" y="3"/>
                </a:cubicBezTo>
                <a:cubicBezTo>
                  <a:pt x="65" y="1"/>
                  <a:pt x="67" y="0"/>
                  <a:pt x="69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63" y="0"/>
                  <a:pt x="165" y="1"/>
                  <a:pt x="167" y="3"/>
                </a:cubicBezTo>
                <a:cubicBezTo>
                  <a:pt x="168" y="5"/>
                  <a:pt x="169" y="7"/>
                  <a:pt x="169" y="9"/>
                </a:cubicBezTo>
                <a:close/>
                <a:moveTo>
                  <a:pt x="169" y="58"/>
                </a:moveTo>
                <a:cubicBezTo>
                  <a:pt x="169" y="76"/>
                  <a:pt x="169" y="76"/>
                  <a:pt x="169" y="76"/>
                </a:cubicBezTo>
                <a:cubicBezTo>
                  <a:pt x="169" y="79"/>
                  <a:pt x="168" y="81"/>
                  <a:pt x="167" y="82"/>
                </a:cubicBezTo>
                <a:cubicBezTo>
                  <a:pt x="165" y="84"/>
                  <a:pt x="163" y="85"/>
                  <a:pt x="160" y="85"/>
                </a:cubicBezTo>
                <a:cubicBezTo>
                  <a:pt x="69" y="85"/>
                  <a:pt x="69" y="85"/>
                  <a:pt x="69" y="85"/>
                </a:cubicBezTo>
                <a:cubicBezTo>
                  <a:pt x="67" y="85"/>
                  <a:pt x="65" y="84"/>
                  <a:pt x="63" y="82"/>
                </a:cubicBezTo>
                <a:cubicBezTo>
                  <a:pt x="61" y="81"/>
                  <a:pt x="60" y="79"/>
                  <a:pt x="60" y="76"/>
                </a:cubicBezTo>
                <a:cubicBezTo>
                  <a:pt x="60" y="58"/>
                  <a:pt x="60" y="58"/>
                  <a:pt x="60" y="58"/>
                </a:cubicBezTo>
                <a:cubicBezTo>
                  <a:pt x="60" y="55"/>
                  <a:pt x="61" y="53"/>
                  <a:pt x="63" y="51"/>
                </a:cubicBezTo>
                <a:cubicBezTo>
                  <a:pt x="65" y="50"/>
                  <a:pt x="67" y="49"/>
                  <a:pt x="69" y="49"/>
                </a:cubicBezTo>
                <a:cubicBezTo>
                  <a:pt x="160" y="49"/>
                  <a:pt x="160" y="49"/>
                  <a:pt x="160" y="49"/>
                </a:cubicBezTo>
                <a:cubicBezTo>
                  <a:pt x="163" y="49"/>
                  <a:pt x="165" y="50"/>
                  <a:pt x="167" y="51"/>
                </a:cubicBezTo>
                <a:cubicBezTo>
                  <a:pt x="168" y="53"/>
                  <a:pt x="169" y="55"/>
                  <a:pt x="169" y="58"/>
                </a:cubicBezTo>
                <a:close/>
                <a:moveTo>
                  <a:pt x="169" y="106"/>
                </a:moveTo>
                <a:cubicBezTo>
                  <a:pt x="169" y="124"/>
                  <a:pt x="169" y="124"/>
                  <a:pt x="169" y="124"/>
                </a:cubicBezTo>
                <a:cubicBezTo>
                  <a:pt x="169" y="127"/>
                  <a:pt x="168" y="129"/>
                  <a:pt x="167" y="131"/>
                </a:cubicBezTo>
                <a:cubicBezTo>
                  <a:pt x="165" y="133"/>
                  <a:pt x="163" y="133"/>
                  <a:pt x="160" y="133"/>
                </a:cubicBezTo>
                <a:cubicBezTo>
                  <a:pt x="69" y="133"/>
                  <a:pt x="69" y="133"/>
                  <a:pt x="69" y="133"/>
                </a:cubicBezTo>
                <a:cubicBezTo>
                  <a:pt x="67" y="133"/>
                  <a:pt x="65" y="133"/>
                  <a:pt x="63" y="131"/>
                </a:cubicBezTo>
                <a:cubicBezTo>
                  <a:pt x="61" y="129"/>
                  <a:pt x="60" y="127"/>
                  <a:pt x="60" y="124"/>
                </a:cubicBezTo>
                <a:cubicBezTo>
                  <a:pt x="60" y="106"/>
                  <a:pt x="60" y="106"/>
                  <a:pt x="60" y="106"/>
                </a:cubicBezTo>
                <a:cubicBezTo>
                  <a:pt x="60" y="104"/>
                  <a:pt x="61" y="102"/>
                  <a:pt x="63" y="100"/>
                </a:cubicBezTo>
                <a:cubicBezTo>
                  <a:pt x="65" y="98"/>
                  <a:pt x="67" y="97"/>
                  <a:pt x="69" y="97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63" y="97"/>
                  <a:pt x="165" y="98"/>
                  <a:pt x="167" y="100"/>
                </a:cubicBezTo>
                <a:cubicBezTo>
                  <a:pt x="168" y="102"/>
                  <a:pt x="169" y="104"/>
                  <a:pt x="169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" name="Freeform 17"/>
          <p:cNvSpPr>
            <a:spLocks noChangeAspect="1"/>
          </p:cNvSpPr>
          <p:nvPr/>
        </p:nvSpPr>
        <p:spPr bwMode="auto">
          <a:xfrm>
            <a:off x="3312013" y="1577399"/>
            <a:ext cx="151447" cy="115537"/>
          </a:xfrm>
          <a:custGeom>
            <a:avLst/>
            <a:gdLst>
              <a:gd name="T0" fmla="*/ 147 w 147"/>
              <a:gd name="T1" fmla="*/ 22 h 112"/>
              <a:gd name="T2" fmla="*/ 144 w 147"/>
              <a:gd name="T3" fmla="*/ 28 h 112"/>
              <a:gd name="T4" fmla="*/ 76 w 147"/>
              <a:gd name="T5" fmla="*/ 97 h 112"/>
              <a:gd name="T6" fmla="*/ 63 w 147"/>
              <a:gd name="T7" fmla="*/ 110 h 112"/>
              <a:gd name="T8" fmla="*/ 56 w 147"/>
              <a:gd name="T9" fmla="*/ 112 h 112"/>
              <a:gd name="T10" fmla="*/ 50 w 147"/>
              <a:gd name="T11" fmla="*/ 110 h 112"/>
              <a:gd name="T12" fmla="*/ 37 w 147"/>
              <a:gd name="T13" fmla="*/ 97 h 112"/>
              <a:gd name="T14" fmla="*/ 3 w 147"/>
              <a:gd name="T15" fmla="*/ 62 h 112"/>
              <a:gd name="T16" fmla="*/ 0 w 147"/>
              <a:gd name="T17" fmla="*/ 56 h 112"/>
              <a:gd name="T18" fmla="*/ 3 w 147"/>
              <a:gd name="T19" fmla="*/ 50 h 112"/>
              <a:gd name="T20" fmla="*/ 16 w 147"/>
              <a:gd name="T21" fmla="*/ 37 h 112"/>
              <a:gd name="T22" fmla="*/ 22 w 147"/>
              <a:gd name="T23" fmla="*/ 34 h 112"/>
              <a:gd name="T24" fmla="*/ 29 w 147"/>
              <a:gd name="T25" fmla="*/ 37 h 112"/>
              <a:gd name="T26" fmla="*/ 56 w 147"/>
              <a:gd name="T27" fmla="*/ 65 h 112"/>
              <a:gd name="T28" fmla="*/ 119 w 147"/>
              <a:gd name="T29" fmla="*/ 2 h 112"/>
              <a:gd name="T30" fmla="*/ 125 w 147"/>
              <a:gd name="T31" fmla="*/ 0 h 112"/>
              <a:gd name="T32" fmla="*/ 131 w 147"/>
              <a:gd name="T33" fmla="*/ 2 h 112"/>
              <a:gd name="T34" fmla="*/ 144 w 147"/>
              <a:gd name="T35" fmla="*/ 15 h 112"/>
              <a:gd name="T36" fmla="*/ 147 w 147"/>
              <a:gd name="T37" fmla="*/ 22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7" h="112">
                <a:moveTo>
                  <a:pt x="147" y="22"/>
                </a:moveTo>
                <a:cubicBezTo>
                  <a:pt x="147" y="24"/>
                  <a:pt x="146" y="26"/>
                  <a:pt x="144" y="28"/>
                </a:cubicBezTo>
                <a:cubicBezTo>
                  <a:pt x="76" y="97"/>
                  <a:pt x="76" y="97"/>
                  <a:pt x="76" y="97"/>
                </a:cubicBezTo>
                <a:cubicBezTo>
                  <a:pt x="63" y="110"/>
                  <a:pt x="63" y="110"/>
                  <a:pt x="63" y="110"/>
                </a:cubicBezTo>
                <a:cubicBezTo>
                  <a:pt x="61" y="111"/>
                  <a:pt x="59" y="112"/>
                  <a:pt x="56" y="112"/>
                </a:cubicBezTo>
                <a:cubicBezTo>
                  <a:pt x="54" y="112"/>
                  <a:pt x="52" y="111"/>
                  <a:pt x="50" y="110"/>
                </a:cubicBezTo>
                <a:cubicBezTo>
                  <a:pt x="37" y="97"/>
                  <a:pt x="37" y="97"/>
                  <a:pt x="37" y="97"/>
                </a:cubicBezTo>
                <a:cubicBezTo>
                  <a:pt x="3" y="62"/>
                  <a:pt x="3" y="62"/>
                  <a:pt x="3" y="62"/>
                </a:cubicBezTo>
                <a:cubicBezTo>
                  <a:pt x="1" y="61"/>
                  <a:pt x="0" y="59"/>
                  <a:pt x="0" y="56"/>
                </a:cubicBezTo>
                <a:cubicBezTo>
                  <a:pt x="0" y="53"/>
                  <a:pt x="1" y="51"/>
                  <a:pt x="3" y="50"/>
                </a:cubicBezTo>
                <a:cubicBezTo>
                  <a:pt x="16" y="37"/>
                  <a:pt x="16" y="37"/>
                  <a:pt x="16" y="37"/>
                </a:cubicBezTo>
                <a:cubicBezTo>
                  <a:pt x="18" y="35"/>
                  <a:pt x="20" y="34"/>
                  <a:pt x="22" y="34"/>
                </a:cubicBezTo>
                <a:cubicBezTo>
                  <a:pt x="25" y="34"/>
                  <a:pt x="27" y="35"/>
                  <a:pt x="29" y="37"/>
                </a:cubicBezTo>
                <a:cubicBezTo>
                  <a:pt x="56" y="65"/>
                  <a:pt x="56" y="65"/>
                  <a:pt x="56" y="65"/>
                </a:cubicBezTo>
                <a:cubicBezTo>
                  <a:pt x="119" y="2"/>
                  <a:pt x="119" y="2"/>
                  <a:pt x="119" y="2"/>
                </a:cubicBezTo>
                <a:cubicBezTo>
                  <a:pt x="120" y="1"/>
                  <a:pt x="122" y="0"/>
                  <a:pt x="125" y="0"/>
                </a:cubicBezTo>
                <a:cubicBezTo>
                  <a:pt x="127" y="0"/>
                  <a:pt x="130" y="1"/>
                  <a:pt x="131" y="2"/>
                </a:cubicBezTo>
                <a:cubicBezTo>
                  <a:pt x="144" y="15"/>
                  <a:pt x="144" y="15"/>
                  <a:pt x="144" y="15"/>
                </a:cubicBezTo>
                <a:cubicBezTo>
                  <a:pt x="146" y="17"/>
                  <a:pt x="147" y="19"/>
                  <a:pt x="147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" name="Freeform 18"/>
          <p:cNvSpPr>
            <a:spLocks noChangeAspect="1"/>
          </p:cNvSpPr>
          <p:nvPr/>
        </p:nvSpPr>
        <p:spPr bwMode="auto">
          <a:xfrm>
            <a:off x="3532157" y="1580521"/>
            <a:ext cx="117098" cy="115537"/>
          </a:xfrm>
          <a:custGeom>
            <a:avLst/>
            <a:gdLst>
              <a:gd name="T0" fmla="*/ 113 w 113"/>
              <a:gd name="T1" fmla="*/ 90 h 112"/>
              <a:gd name="T2" fmla="*/ 110 w 113"/>
              <a:gd name="T3" fmla="*/ 97 h 112"/>
              <a:gd name="T4" fmla="*/ 97 w 113"/>
              <a:gd name="T5" fmla="*/ 110 h 112"/>
              <a:gd name="T6" fmla="*/ 91 w 113"/>
              <a:gd name="T7" fmla="*/ 112 h 112"/>
              <a:gd name="T8" fmla="*/ 84 w 113"/>
              <a:gd name="T9" fmla="*/ 110 h 112"/>
              <a:gd name="T10" fmla="*/ 57 w 113"/>
              <a:gd name="T11" fmla="*/ 82 h 112"/>
              <a:gd name="T12" fmla="*/ 29 w 113"/>
              <a:gd name="T13" fmla="*/ 110 h 112"/>
              <a:gd name="T14" fmla="*/ 22 w 113"/>
              <a:gd name="T15" fmla="*/ 112 h 112"/>
              <a:gd name="T16" fmla="*/ 16 w 113"/>
              <a:gd name="T17" fmla="*/ 110 h 112"/>
              <a:gd name="T18" fmla="*/ 3 w 113"/>
              <a:gd name="T19" fmla="*/ 97 h 112"/>
              <a:gd name="T20" fmla="*/ 0 w 113"/>
              <a:gd name="T21" fmla="*/ 90 h 112"/>
              <a:gd name="T22" fmla="*/ 3 w 113"/>
              <a:gd name="T23" fmla="*/ 84 h 112"/>
              <a:gd name="T24" fmla="*/ 31 w 113"/>
              <a:gd name="T25" fmla="*/ 56 h 112"/>
              <a:gd name="T26" fmla="*/ 3 w 113"/>
              <a:gd name="T27" fmla="*/ 28 h 112"/>
              <a:gd name="T28" fmla="*/ 0 w 113"/>
              <a:gd name="T29" fmla="*/ 22 h 112"/>
              <a:gd name="T30" fmla="*/ 3 w 113"/>
              <a:gd name="T31" fmla="*/ 15 h 112"/>
              <a:gd name="T32" fmla="*/ 16 w 113"/>
              <a:gd name="T33" fmla="*/ 3 h 112"/>
              <a:gd name="T34" fmla="*/ 22 w 113"/>
              <a:gd name="T35" fmla="*/ 0 h 112"/>
              <a:gd name="T36" fmla="*/ 29 w 113"/>
              <a:gd name="T37" fmla="*/ 3 h 112"/>
              <a:gd name="T38" fmla="*/ 57 w 113"/>
              <a:gd name="T39" fmla="*/ 30 h 112"/>
              <a:gd name="T40" fmla="*/ 84 w 113"/>
              <a:gd name="T41" fmla="*/ 3 h 112"/>
              <a:gd name="T42" fmla="*/ 91 w 113"/>
              <a:gd name="T43" fmla="*/ 0 h 112"/>
              <a:gd name="T44" fmla="*/ 97 w 113"/>
              <a:gd name="T45" fmla="*/ 3 h 112"/>
              <a:gd name="T46" fmla="*/ 110 w 113"/>
              <a:gd name="T47" fmla="*/ 15 h 112"/>
              <a:gd name="T48" fmla="*/ 113 w 113"/>
              <a:gd name="T49" fmla="*/ 22 h 112"/>
              <a:gd name="T50" fmla="*/ 110 w 113"/>
              <a:gd name="T51" fmla="*/ 28 h 112"/>
              <a:gd name="T52" fmla="*/ 82 w 113"/>
              <a:gd name="T53" fmla="*/ 56 h 112"/>
              <a:gd name="T54" fmla="*/ 110 w 113"/>
              <a:gd name="T55" fmla="*/ 84 h 112"/>
              <a:gd name="T56" fmla="*/ 113 w 113"/>
              <a:gd name="T57" fmla="*/ 90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3" h="112">
                <a:moveTo>
                  <a:pt x="113" y="90"/>
                </a:moveTo>
                <a:cubicBezTo>
                  <a:pt x="113" y="93"/>
                  <a:pt x="112" y="95"/>
                  <a:pt x="110" y="97"/>
                </a:cubicBezTo>
                <a:cubicBezTo>
                  <a:pt x="97" y="110"/>
                  <a:pt x="97" y="110"/>
                  <a:pt x="97" y="110"/>
                </a:cubicBezTo>
                <a:cubicBezTo>
                  <a:pt x="95" y="111"/>
                  <a:pt x="93" y="112"/>
                  <a:pt x="91" y="112"/>
                </a:cubicBezTo>
                <a:cubicBezTo>
                  <a:pt x="88" y="112"/>
                  <a:pt x="86" y="111"/>
                  <a:pt x="84" y="110"/>
                </a:cubicBezTo>
                <a:cubicBezTo>
                  <a:pt x="57" y="82"/>
                  <a:pt x="57" y="82"/>
                  <a:pt x="57" y="82"/>
                </a:cubicBezTo>
                <a:cubicBezTo>
                  <a:pt x="29" y="110"/>
                  <a:pt x="29" y="110"/>
                  <a:pt x="29" y="110"/>
                </a:cubicBezTo>
                <a:cubicBezTo>
                  <a:pt x="27" y="111"/>
                  <a:pt x="25" y="112"/>
                  <a:pt x="22" y="112"/>
                </a:cubicBezTo>
                <a:cubicBezTo>
                  <a:pt x="20" y="112"/>
                  <a:pt x="18" y="111"/>
                  <a:pt x="16" y="110"/>
                </a:cubicBezTo>
                <a:cubicBezTo>
                  <a:pt x="3" y="97"/>
                  <a:pt x="3" y="97"/>
                  <a:pt x="3" y="97"/>
                </a:cubicBezTo>
                <a:cubicBezTo>
                  <a:pt x="1" y="95"/>
                  <a:pt x="0" y="93"/>
                  <a:pt x="0" y="90"/>
                </a:cubicBezTo>
                <a:cubicBezTo>
                  <a:pt x="0" y="88"/>
                  <a:pt x="1" y="86"/>
                  <a:pt x="3" y="84"/>
                </a:cubicBezTo>
                <a:cubicBezTo>
                  <a:pt x="31" y="56"/>
                  <a:pt x="31" y="56"/>
                  <a:pt x="31" y="56"/>
                </a:cubicBezTo>
                <a:cubicBezTo>
                  <a:pt x="3" y="28"/>
                  <a:pt x="3" y="28"/>
                  <a:pt x="3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19"/>
                  <a:pt x="1" y="17"/>
                  <a:pt x="3" y="15"/>
                </a:cubicBezTo>
                <a:cubicBezTo>
                  <a:pt x="16" y="3"/>
                  <a:pt x="16" y="3"/>
                  <a:pt x="16" y="3"/>
                </a:cubicBezTo>
                <a:cubicBezTo>
                  <a:pt x="18" y="1"/>
                  <a:pt x="20" y="0"/>
                  <a:pt x="22" y="0"/>
                </a:cubicBezTo>
                <a:cubicBezTo>
                  <a:pt x="25" y="0"/>
                  <a:pt x="27" y="1"/>
                  <a:pt x="29" y="3"/>
                </a:cubicBezTo>
                <a:cubicBezTo>
                  <a:pt x="57" y="30"/>
                  <a:pt x="57" y="30"/>
                  <a:pt x="57" y="30"/>
                </a:cubicBezTo>
                <a:cubicBezTo>
                  <a:pt x="84" y="3"/>
                  <a:pt x="84" y="3"/>
                  <a:pt x="84" y="3"/>
                </a:cubicBezTo>
                <a:cubicBezTo>
                  <a:pt x="86" y="1"/>
                  <a:pt x="88" y="0"/>
                  <a:pt x="91" y="0"/>
                </a:cubicBezTo>
                <a:cubicBezTo>
                  <a:pt x="93" y="0"/>
                  <a:pt x="95" y="1"/>
                  <a:pt x="97" y="3"/>
                </a:cubicBezTo>
                <a:cubicBezTo>
                  <a:pt x="110" y="15"/>
                  <a:pt x="110" y="15"/>
                  <a:pt x="110" y="15"/>
                </a:cubicBezTo>
                <a:cubicBezTo>
                  <a:pt x="112" y="17"/>
                  <a:pt x="113" y="19"/>
                  <a:pt x="113" y="22"/>
                </a:cubicBezTo>
                <a:cubicBezTo>
                  <a:pt x="113" y="24"/>
                  <a:pt x="112" y="26"/>
                  <a:pt x="110" y="28"/>
                </a:cubicBezTo>
                <a:cubicBezTo>
                  <a:pt x="82" y="56"/>
                  <a:pt x="82" y="56"/>
                  <a:pt x="82" y="56"/>
                </a:cubicBezTo>
                <a:cubicBezTo>
                  <a:pt x="110" y="84"/>
                  <a:pt x="110" y="84"/>
                  <a:pt x="110" y="84"/>
                </a:cubicBezTo>
                <a:cubicBezTo>
                  <a:pt x="112" y="86"/>
                  <a:pt x="113" y="88"/>
                  <a:pt x="113" y="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" name="Freeform 19"/>
          <p:cNvSpPr>
            <a:spLocks noChangeAspect="1" noEditPoints="1"/>
          </p:cNvSpPr>
          <p:nvPr/>
        </p:nvSpPr>
        <p:spPr bwMode="auto">
          <a:xfrm>
            <a:off x="3705462" y="1555540"/>
            <a:ext cx="162376" cy="163937"/>
          </a:xfrm>
          <a:custGeom>
            <a:avLst/>
            <a:gdLst>
              <a:gd name="T0" fmla="*/ 157 w 157"/>
              <a:gd name="T1" fmla="*/ 146 h 158"/>
              <a:gd name="T2" fmla="*/ 153 w 157"/>
              <a:gd name="T3" fmla="*/ 154 h 158"/>
              <a:gd name="T4" fmla="*/ 145 w 157"/>
              <a:gd name="T5" fmla="*/ 158 h 158"/>
              <a:gd name="T6" fmla="*/ 136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0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0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3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6 w 157"/>
              <a:gd name="T51" fmla="*/ 37 h 158"/>
              <a:gd name="T52" fmla="*/ 24 w 157"/>
              <a:gd name="T53" fmla="*/ 67 h 158"/>
              <a:gd name="T54" fmla="*/ 36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  <a:gd name="T60" fmla="*/ 97 w 157"/>
              <a:gd name="T61" fmla="*/ 64 h 158"/>
              <a:gd name="T62" fmla="*/ 97 w 157"/>
              <a:gd name="T63" fmla="*/ 70 h 158"/>
              <a:gd name="T64" fmla="*/ 96 w 157"/>
              <a:gd name="T65" fmla="*/ 72 h 158"/>
              <a:gd name="T66" fmla="*/ 93 w 157"/>
              <a:gd name="T67" fmla="*/ 73 h 158"/>
              <a:gd name="T68" fmla="*/ 72 w 157"/>
              <a:gd name="T69" fmla="*/ 73 h 158"/>
              <a:gd name="T70" fmla="*/ 72 w 157"/>
              <a:gd name="T71" fmla="*/ 94 h 158"/>
              <a:gd name="T72" fmla="*/ 71 w 157"/>
              <a:gd name="T73" fmla="*/ 96 h 158"/>
              <a:gd name="T74" fmla="*/ 69 w 157"/>
              <a:gd name="T75" fmla="*/ 97 h 158"/>
              <a:gd name="T76" fmla="*/ 63 w 157"/>
              <a:gd name="T77" fmla="*/ 97 h 158"/>
              <a:gd name="T78" fmla="*/ 61 w 157"/>
              <a:gd name="T79" fmla="*/ 96 h 158"/>
              <a:gd name="T80" fmla="*/ 60 w 157"/>
              <a:gd name="T81" fmla="*/ 94 h 158"/>
              <a:gd name="T82" fmla="*/ 60 w 157"/>
              <a:gd name="T83" fmla="*/ 73 h 158"/>
              <a:gd name="T84" fmla="*/ 39 w 157"/>
              <a:gd name="T85" fmla="*/ 73 h 158"/>
              <a:gd name="T86" fmla="*/ 37 w 157"/>
              <a:gd name="T87" fmla="*/ 72 h 158"/>
              <a:gd name="T88" fmla="*/ 36 w 157"/>
              <a:gd name="T89" fmla="*/ 70 h 158"/>
              <a:gd name="T90" fmla="*/ 36 w 157"/>
              <a:gd name="T91" fmla="*/ 64 h 158"/>
              <a:gd name="T92" fmla="*/ 37 w 157"/>
              <a:gd name="T93" fmla="*/ 62 h 158"/>
              <a:gd name="T94" fmla="*/ 39 w 157"/>
              <a:gd name="T95" fmla="*/ 61 h 158"/>
              <a:gd name="T96" fmla="*/ 60 w 157"/>
              <a:gd name="T97" fmla="*/ 61 h 158"/>
              <a:gd name="T98" fmla="*/ 60 w 157"/>
              <a:gd name="T99" fmla="*/ 40 h 158"/>
              <a:gd name="T100" fmla="*/ 61 w 157"/>
              <a:gd name="T101" fmla="*/ 38 h 158"/>
              <a:gd name="T102" fmla="*/ 63 w 157"/>
              <a:gd name="T103" fmla="*/ 37 h 158"/>
              <a:gd name="T104" fmla="*/ 69 w 157"/>
              <a:gd name="T105" fmla="*/ 37 h 158"/>
              <a:gd name="T106" fmla="*/ 71 w 157"/>
              <a:gd name="T107" fmla="*/ 38 h 158"/>
              <a:gd name="T108" fmla="*/ 72 w 157"/>
              <a:gd name="T109" fmla="*/ 40 h 158"/>
              <a:gd name="T110" fmla="*/ 72 w 157"/>
              <a:gd name="T111" fmla="*/ 61 h 158"/>
              <a:gd name="T112" fmla="*/ 93 w 157"/>
              <a:gd name="T113" fmla="*/ 61 h 158"/>
              <a:gd name="T114" fmla="*/ 96 w 157"/>
              <a:gd name="T115" fmla="*/ 62 h 158"/>
              <a:gd name="T116" fmla="*/ 97 w 157"/>
              <a:gd name="T117" fmla="*/ 6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3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6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0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8" y="101"/>
                  <a:pt x="5" y="93"/>
                </a:cubicBezTo>
                <a:cubicBezTo>
                  <a:pt x="1" y="85"/>
                  <a:pt x="0" y="76"/>
                  <a:pt x="0" y="67"/>
                </a:cubicBezTo>
                <a:cubicBezTo>
                  <a:pt x="0" y="58"/>
                  <a:pt x="1" y="49"/>
                  <a:pt x="5" y="41"/>
                </a:cubicBezTo>
                <a:cubicBezTo>
                  <a:pt x="8" y="33"/>
                  <a:pt x="13" y="26"/>
                  <a:pt x="19" y="20"/>
                </a:cubicBezTo>
                <a:cubicBezTo>
                  <a:pt x="25" y="14"/>
                  <a:pt x="32" y="9"/>
                  <a:pt x="40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0" y="9"/>
                  <a:pt x="107" y="14"/>
                  <a:pt x="113" y="20"/>
                </a:cubicBezTo>
                <a:cubicBezTo>
                  <a:pt x="119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4" y="89"/>
                  <a:pt x="109" y="79"/>
                  <a:pt x="109" y="67"/>
                </a:cubicBezTo>
                <a:cubicBezTo>
                  <a:pt x="109" y="55"/>
                  <a:pt x="104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6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6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  <a:moveTo>
                  <a:pt x="97" y="64"/>
                </a:moveTo>
                <a:cubicBezTo>
                  <a:pt x="97" y="70"/>
                  <a:pt x="97" y="70"/>
                  <a:pt x="97" y="70"/>
                </a:cubicBezTo>
                <a:cubicBezTo>
                  <a:pt x="97" y="71"/>
                  <a:pt x="96" y="71"/>
                  <a:pt x="96" y="72"/>
                </a:cubicBezTo>
                <a:cubicBezTo>
                  <a:pt x="95" y="73"/>
                  <a:pt x="94" y="73"/>
                  <a:pt x="93" y="73"/>
                </a:cubicBezTo>
                <a:cubicBezTo>
                  <a:pt x="72" y="73"/>
                  <a:pt x="72" y="73"/>
                  <a:pt x="72" y="73"/>
                </a:cubicBezTo>
                <a:cubicBezTo>
                  <a:pt x="72" y="94"/>
                  <a:pt x="72" y="94"/>
                  <a:pt x="72" y="94"/>
                </a:cubicBezTo>
                <a:cubicBezTo>
                  <a:pt x="72" y="95"/>
                  <a:pt x="72" y="96"/>
                  <a:pt x="71" y="96"/>
                </a:cubicBezTo>
                <a:cubicBezTo>
                  <a:pt x="71" y="97"/>
                  <a:pt x="70" y="97"/>
                  <a:pt x="69" y="97"/>
                </a:cubicBezTo>
                <a:cubicBezTo>
                  <a:pt x="63" y="97"/>
                  <a:pt x="63" y="97"/>
                  <a:pt x="63" y="97"/>
                </a:cubicBezTo>
                <a:cubicBezTo>
                  <a:pt x="62" y="97"/>
                  <a:pt x="62" y="97"/>
                  <a:pt x="61" y="96"/>
                </a:cubicBezTo>
                <a:cubicBezTo>
                  <a:pt x="61" y="96"/>
                  <a:pt x="60" y="95"/>
                  <a:pt x="60" y="94"/>
                </a:cubicBezTo>
                <a:cubicBezTo>
                  <a:pt x="60" y="73"/>
                  <a:pt x="60" y="73"/>
                  <a:pt x="60" y="73"/>
                </a:cubicBezTo>
                <a:cubicBezTo>
                  <a:pt x="39" y="73"/>
                  <a:pt x="39" y="73"/>
                  <a:pt x="39" y="73"/>
                </a:cubicBezTo>
                <a:cubicBezTo>
                  <a:pt x="38" y="73"/>
                  <a:pt x="37" y="73"/>
                  <a:pt x="37" y="72"/>
                </a:cubicBezTo>
                <a:cubicBezTo>
                  <a:pt x="36" y="71"/>
                  <a:pt x="36" y="71"/>
                  <a:pt x="36" y="70"/>
                </a:cubicBezTo>
                <a:cubicBezTo>
                  <a:pt x="36" y="64"/>
                  <a:pt x="36" y="64"/>
                  <a:pt x="36" y="64"/>
                </a:cubicBezTo>
                <a:cubicBezTo>
                  <a:pt x="36" y="63"/>
                  <a:pt x="36" y="62"/>
                  <a:pt x="37" y="62"/>
                </a:cubicBezTo>
                <a:cubicBezTo>
                  <a:pt x="37" y="61"/>
                  <a:pt x="38" y="61"/>
                  <a:pt x="39" y="61"/>
                </a:cubicBezTo>
                <a:cubicBezTo>
                  <a:pt x="60" y="61"/>
                  <a:pt x="60" y="61"/>
                  <a:pt x="60" y="61"/>
                </a:cubicBezTo>
                <a:cubicBezTo>
                  <a:pt x="60" y="40"/>
                  <a:pt x="60" y="40"/>
                  <a:pt x="60" y="40"/>
                </a:cubicBezTo>
                <a:cubicBezTo>
                  <a:pt x="60" y="39"/>
                  <a:pt x="61" y="38"/>
                  <a:pt x="61" y="38"/>
                </a:cubicBezTo>
                <a:cubicBezTo>
                  <a:pt x="62" y="37"/>
                  <a:pt x="62" y="37"/>
                  <a:pt x="63" y="37"/>
                </a:cubicBezTo>
                <a:cubicBezTo>
                  <a:pt x="69" y="37"/>
                  <a:pt x="69" y="37"/>
                  <a:pt x="69" y="37"/>
                </a:cubicBezTo>
                <a:cubicBezTo>
                  <a:pt x="70" y="37"/>
                  <a:pt x="71" y="37"/>
                  <a:pt x="71" y="38"/>
                </a:cubicBezTo>
                <a:cubicBezTo>
                  <a:pt x="72" y="38"/>
                  <a:pt x="72" y="39"/>
                  <a:pt x="72" y="40"/>
                </a:cubicBezTo>
                <a:cubicBezTo>
                  <a:pt x="72" y="61"/>
                  <a:pt x="72" y="61"/>
                  <a:pt x="72" y="61"/>
                </a:cubicBezTo>
                <a:cubicBezTo>
                  <a:pt x="93" y="61"/>
                  <a:pt x="93" y="61"/>
                  <a:pt x="93" y="61"/>
                </a:cubicBezTo>
                <a:cubicBezTo>
                  <a:pt x="94" y="61"/>
                  <a:pt x="95" y="61"/>
                  <a:pt x="96" y="62"/>
                </a:cubicBezTo>
                <a:cubicBezTo>
                  <a:pt x="96" y="62"/>
                  <a:pt x="97" y="63"/>
                  <a:pt x="97" y="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" name="Freeform 20"/>
          <p:cNvSpPr>
            <a:spLocks noChangeAspect="1" noEditPoints="1"/>
          </p:cNvSpPr>
          <p:nvPr/>
        </p:nvSpPr>
        <p:spPr bwMode="auto">
          <a:xfrm>
            <a:off x="3914678" y="1555540"/>
            <a:ext cx="162376" cy="163937"/>
          </a:xfrm>
          <a:custGeom>
            <a:avLst/>
            <a:gdLst>
              <a:gd name="T0" fmla="*/ 157 w 157"/>
              <a:gd name="T1" fmla="*/ 146 h 158"/>
              <a:gd name="T2" fmla="*/ 153 w 157"/>
              <a:gd name="T3" fmla="*/ 154 h 158"/>
              <a:gd name="T4" fmla="*/ 145 w 157"/>
              <a:gd name="T5" fmla="*/ 158 h 158"/>
              <a:gd name="T6" fmla="*/ 136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0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0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3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3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6 w 157"/>
              <a:gd name="T51" fmla="*/ 37 h 158"/>
              <a:gd name="T52" fmla="*/ 24 w 157"/>
              <a:gd name="T53" fmla="*/ 67 h 158"/>
              <a:gd name="T54" fmla="*/ 36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  <a:gd name="T60" fmla="*/ 96 w 157"/>
              <a:gd name="T61" fmla="*/ 64 h 158"/>
              <a:gd name="T62" fmla="*/ 96 w 157"/>
              <a:gd name="T63" fmla="*/ 70 h 158"/>
              <a:gd name="T64" fmla="*/ 96 w 157"/>
              <a:gd name="T65" fmla="*/ 72 h 158"/>
              <a:gd name="T66" fmla="*/ 93 w 157"/>
              <a:gd name="T67" fmla="*/ 73 h 158"/>
              <a:gd name="T68" fmla="*/ 39 w 157"/>
              <a:gd name="T69" fmla="*/ 73 h 158"/>
              <a:gd name="T70" fmla="*/ 37 w 157"/>
              <a:gd name="T71" fmla="*/ 72 h 158"/>
              <a:gd name="T72" fmla="*/ 36 w 157"/>
              <a:gd name="T73" fmla="*/ 70 h 158"/>
              <a:gd name="T74" fmla="*/ 36 w 157"/>
              <a:gd name="T75" fmla="*/ 64 h 158"/>
              <a:gd name="T76" fmla="*/ 37 w 157"/>
              <a:gd name="T77" fmla="*/ 62 h 158"/>
              <a:gd name="T78" fmla="*/ 39 w 157"/>
              <a:gd name="T79" fmla="*/ 61 h 158"/>
              <a:gd name="T80" fmla="*/ 93 w 157"/>
              <a:gd name="T81" fmla="*/ 61 h 158"/>
              <a:gd name="T82" fmla="*/ 96 w 157"/>
              <a:gd name="T83" fmla="*/ 62 h 158"/>
              <a:gd name="T84" fmla="*/ 96 w 157"/>
              <a:gd name="T85" fmla="*/ 6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3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1" y="158"/>
                  <a:pt x="139" y="156"/>
                  <a:pt x="136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0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8" y="101"/>
                  <a:pt x="5" y="93"/>
                </a:cubicBezTo>
                <a:cubicBezTo>
                  <a:pt x="1" y="85"/>
                  <a:pt x="0" y="76"/>
                  <a:pt x="0" y="67"/>
                </a:cubicBezTo>
                <a:cubicBezTo>
                  <a:pt x="0" y="58"/>
                  <a:pt x="1" y="49"/>
                  <a:pt x="5" y="41"/>
                </a:cubicBezTo>
                <a:cubicBezTo>
                  <a:pt x="8" y="33"/>
                  <a:pt x="13" y="26"/>
                  <a:pt x="19" y="20"/>
                </a:cubicBezTo>
                <a:cubicBezTo>
                  <a:pt x="25" y="14"/>
                  <a:pt x="32" y="9"/>
                  <a:pt x="40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0" y="9"/>
                  <a:pt x="107" y="14"/>
                  <a:pt x="113" y="20"/>
                </a:cubicBezTo>
                <a:cubicBezTo>
                  <a:pt x="119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4" y="89"/>
                  <a:pt x="109" y="79"/>
                  <a:pt x="109" y="67"/>
                </a:cubicBezTo>
                <a:cubicBezTo>
                  <a:pt x="109" y="55"/>
                  <a:pt x="104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6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6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  <a:moveTo>
                  <a:pt x="96" y="64"/>
                </a:moveTo>
                <a:cubicBezTo>
                  <a:pt x="96" y="70"/>
                  <a:pt x="96" y="70"/>
                  <a:pt x="96" y="70"/>
                </a:cubicBezTo>
                <a:cubicBezTo>
                  <a:pt x="96" y="71"/>
                  <a:pt x="96" y="71"/>
                  <a:pt x="96" y="72"/>
                </a:cubicBezTo>
                <a:cubicBezTo>
                  <a:pt x="95" y="73"/>
                  <a:pt x="94" y="73"/>
                  <a:pt x="93" y="73"/>
                </a:cubicBezTo>
                <a:cubicBezTo>
                  <a:pt x="39" y="73"/>
                  <a:pt x="39" y="73"/>
                  <a:pt x="39" y="73"/>
                </a:cubicBezTo>
                <a:cubicBezTo>
                  <a:pt x="38" y="73"/>
                  <a:pt x="37" y="73"/>
                  <a:pt x="37" y="72"/>
                </a:cubicBezTo>
                <a:cubicBezTo>
                  <a:pt x="36" y="71"/>
                  <a:pt x="36" y="71"/>
                  <a:pt x="36" y="70"/>
                </a:cubicBezTo>
                <a:cubicBezTo>
                  <a:pt x="36" y="64"/>
                  <a:pt x="36" y="64"/>
                  <a:pt x="36" y="64"/>
                </a:cubicBezTo>
                <a:cubicBezTo>
                  <a:pt x="36" y="63"/>
                  <a:pt x="36" y="62"/>
                  <a:pt x="37" y="62"/>
                </a:cubicBezTo>
                <a:cubicBezTo>
                  <a:pt x="37" y="61"/>
                  <a:pt x="38" y="61"/>
                  <a:pt x="39" y="61"/>
                </a:cubicBezTo>
                <a:cubicBezTo>
                  <a:pt x="93" y="61"/>
                  <a:pt x="93" y="61"/>
                  <a:pt x="93" y="61"/>
                </a:cubicBezTo>
                <a:cubicBezTo>
                  <a:pt x="94" y="61"/>
                  <a:pt x="95" y="61"/>
                  <a:pt x="96" y="62"/>
                </a:cubicBezTo>
                <a:cubicBezTo>
                  <a:pt x="96" y="62"/>
                  <a:pt x="96" y="63"/>
                  <a:pt x="96" y="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" name="Freeform 21"/>
          <p:cNvSpPr>
            <a:spLocks noChangeAspect="1" noEditPoints="1"/>
          </p:cNvSpPr>
          <p:nvPr/>
        </p:nvSpPr>
        <p:spPr bwMode="auto">
          <a:xfrm>
            <a:off x="4123893" y="1543050"/>
            <a:ext cx="149885" cy="163937"/>
          </a:xfrm>
          <a:custGeom>
            <a:avLst/>
            <a:gdLst>
              <a:gd name="T0" fmla="*/ 145 w 145"/>
              <a:gd name="T1" fmla="*/ 85 h 158"/>
              <a:gd name="T2" fmla="*/ 139 w 145"/>
              <a:gd name="T3" fmla="*/ 113 h 158"/>
              <a:gd name="T4" fmla="*/ 124 w 145"/>
              <a:gd name="T5" fmla="*/ 136 h 158"/>
              <a:gd name="T6" fmla="*/ 100 w 145"/>
              <a:gd name="T7" fmla="*/ 152 h 158"/>
              <a:gd name="T8" fmla="*/ 72 w 145"/>
              <a:gd name="T9" fmla="*/ 158 h 158"/>
              <a:gd name="T10" fmla="*/ 44 w 145"/>
              <a:gd name="T11" fmla="*/ 152 h 158"/>
              <a:gd name="T12" fmla="*/ 21 w 145"/>
              <a:gd name="T13" fmla="*/ 136 h 158"/>
              <a:gd name="T14" fmla="*/ 5 w 145"/>
              <a:gd name="T15" fmla="*/ 113 h 158"/>
              <a:gd name="T16" fmla="*/ 0 w 145"/>
              <a:gd name="T17" fmla="*/ 85 h 158"/>
              <a:gd name="T18" fmla="*/ 7 w 145"/>
              <a:gd name="T19" fmla="*/ 53 h 158"/>
              <a:gd name="T20" fmla="*/ 29 w 145"/>
              <a:gd name="T21" fmla="*/ 27 h 158"/>
              <a:gd name="T22" fmla="*/ 38 w 145"/>
              <a:gd name="T23" fmla="*/ 25 h 158"/>
              <a:gd name="T24" fmla="*/ 46 w 145"/>
              <a:gd name="T25" fmla="*/ 29 h 158"/>
              <a:gd name="T26" fmla="*/ 48 w 145"/>
              <a:gd name="T27" fmla="*/ 38 h 158"/>
              <a:gd name="T28" fmla="*/ 43 w 145"/>
              <a:gd name="T29" fmla="*/ 46 h 158"/>
              <a:gd name="T30" fmla="*/ 29 w 145"/>
              <a:gd name="T31" fmla="*/ 63 h 158"/>
              <a:gd name="T32" fmla="*/ 24 w 145"/>
              <a:gd name="T33" fmla="*/ 85 h 158"/>
              <a:gd name="T34" fmla="*/ 28 w 145"/>
              <a:gd name="T35" fmla="*/ 104 h 158"/>
              <a:gd name="T36" fmla="*/ 38 w 145"/>
              <a:gd name="T37" fmla="*/ 119 h 158"/>
              <a:gd name="T38" fmla="*/ 53 w 145"/>
              <a:gd name="T39" fmla="*/ 130 h 158"/>
              <a:gd name="T40" fmla="*/ 72 w 145"/>
              <a:gd name="T41" fmla="*/ 133 h 158"/>
              <a:gd name="T42" fmla="*/ 91 w 145"/>
              <a:gd name="T43" fmla="*/ 130 h 158"/>
              <a:gd name="T44" fmla="*/ 106 w 145"/>
              <a:gd name="T45" fmla="*/ 119 h 158"/>
              <a:gd name="T46" fmla="*/ 117 w 145"/>
              <a:gd name="T47" fmla="*/ 104 h 158"/>
              <a:gd name="T48" fmla="*/ 121 w 145"/>
              <a:gd name="T49" fmla="*/ 85 h 158"/>
              <a:gd name="T50" fmla="*/ 116 w 145"/>
              <a:gd name="T51" fmla="*/ 63 h 158"/>
              <a:gd name="T52" fmla="*/ 101 w 145"/>
              <a:gd name="T53" fmla="*/ 46 h 158"/>
              <a:gd name="T54" fmla="*/ 97 w 145"/>
              <a:gd name="T55" fmla="*/ 38 h 158"/>
              <a:gd name="T56" fmla="*/ 99 w 145"/>
              <a:gd name="T57" fmla="*/ 29 h 158"/>
              <a:gd name="T58" fmla="*/ 107 w 145"/>
              <a:gd name="T59" fmla="*/ 25 h 158"/>
              <a:gd name="T60" fmla="*/ 116 w 145"/>
              <a:gd name="T61" fmla="*/ 27 h 158"/>
              <a:gd name="T62" fmla="*/ 137 w 145"/>
              <a:gd name="T63" fmla="*/ 53 h 158"/>
              <a:gd name="T64" fmla="*/ 145 w 145"/>
              <a:gd name="T65" fmla="*/ 85 h 158"/>
              <a:gd name="T66" fmla="*/ 84 w 145"/>
              <a:gd name="T67" fmla="*/ 12 h 158"/>
              <a:gd name="T68" fmla="*/ 84 w 145"/>
              <a:gd name="T69" fmla="*/ 73 h 158"/>
              <a:gd name="T70" fmla="*/ 81 w 145"/>
              <a:gd name="T71" fmla="*/ 81 h 158"/>
              <a:gd name="T72" fmla="*/ 72 w 145"/>
              <a:gd name="T73" fmla="*/ 85 h 158"/>
              <a:gd name="T74" fmla="*/ 64 w 145"/>
              <a:gd name="T75" fmla="*/ 81 h 158"/>
              <a:gd name="T76" fmla="*/ 60 w 145"/>
              <a:gd name="T77" fmla="*/ 73 h 158"/>
              <a:gd name="T78" fmla="*/ 60 w 145"/>
              <a:gd name="T79" fmla="*/ 12 h 158"/>
              <a:gd name="T80" fmla="*/ 64 w 145"/>
              <a:gd name="T81" fmla="*/ 4 h 158"/>
              <a:gd name="T82" fmla="*/ 72 w 145"/>
              <a:gd name="T83" fmla="*/ 0 h 158"/>
              <a:gd name="T84" fmla="*/ 81 w 145"/>
              <a:gd name="T85" fmla="*/ 4 h 158"/>
              <a:gd name="T86" fmla="*/ 84 w 145"/>
              <a:gd name="T87" fmla="*/ 12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45" h="158">
                <a:moveTo>
                  <a:pt x="145" y="85"/>
                </a:moveTo>
                <a:cubicBezTo>
                  <a:pt x="145" y="95"/>
                  <a:pt x="143" y="104"/>
                  <a:pt x="139" y="113"/>
                </a:cubicBezTo>
                <a:cubicBezTo>
                  <a:pt x="135" y="122"/>
                  <a:pt x="130" y="130"/>
                  <a:pt x="124" y="136"/>
                </a:cubicBezTo>
                <a:cubicBezTo>
                  <a:pt x="117" y="143"/>
                  <a:pt x="109" y="148"/>
                  <a:pt x="100" y="152"/>
                </a:cubicBezTo>
                <a:cubicBezTo>
                  <a:pt x="91" y="156"/>
                  <a:pt x="82" y="158"/>
                  <a:pt x="72" y="158"/>
                </a:cubicBezTo>
                <a:cubicBezTo>
                  <a:pt x="62" y="158"/>
                  <a:pt x="53" y="156"/>
                  <a:pt x="44" y="152"/>
                </a:cubicBezTo>
                <a:cubicBezTo>
                  <a:pt x="35" y="148"/>
                  <a:pt x="27" y="143"/>
                  <a:pt x="21" y="136"/>
                </a:cubicBezTo>
                <a:cubicBezTo>
                  <a:pt x="14" y="130"/>
                  <a:pt x="9" y="122"/>
                  <a:pt x="5" y="113"/>
                </a:cubicBezTo>
                <a:cubicBezTo>
                  <a:pt x="2" y="104"/>
                  <a:pt x="0" y="95"/>
                  <a:pt x="0" y="85"/>
                </a:cubicBezTo>
                <a:cubicBezTo>
                  <a:pt x="0" y="73"/>
                  <a:pt x="2" y="63"/>
                  <a:pt x="7" y="53"/>
                </a:cubicBezTo>
                <a:cubicBezTo>
                  <a:pt x="12" y="42"/>
                  <a:pt x="19" y="34"/>
                  <a:pt x="29" y="27"/>
                </a:cubicBezTo>
                <a:cubicBezTo>
                  <a:pt x="31" y="25"/>
                  <a:pt x="34" y="24"/>
                  <a:pt x="38" y="25"/>
                </a:cubicBezTo>
                <a:cubicBezTo>
                  <a:pt x="41" y="25"/>
                  <a:pt x="44" y="27"/>
                  <a:pt x="46" y="29"/>
                </a:cubicBezTo>
                <a:cubicBezTo>
                  <a:pt x="48" y="32"/>
                  <a:pt x="48" y="35"/>
                  <a:pt x="48" y="38"/>
                </a:cubicBezTo>
                <a:cubicBezTo>
                  <a:pt x="47" y="42"/>
                  <a:pt x="46" y="44"/>
                  <a:pt x="43" y="46"/>
                </a:cubicBezTo>
                <a:cubicBezTo>
                  <a:pt x="37" y="51"/>
                  <a:pt x="32" y="57"/>
                  <a:pt x="29" y="63"/>
                </a:cubicBezTo>
                <a:cubicBezTo>
                  <a:pt x="25" y="70"/>
                  <a:pt x="24" y="77"/>
                  <a:pt x="24" y="85"/>
                </a:cubicBezTo>
                <a:cubicBezTo>
                  <a:pt x="24" y="92"/>
                  <a:pt x="25" y="98"/>
                  <a:pt x="28" y="104"/>
                </a:cubicBezTo>
                <a:cubicBezTo>
                  <a:pt x="30" y="110"/>
                  <a:pt x="34" y="115"/>
                  <a:pt x="38" y="119"/>
                </a:cubicBezTo>
                <a:cubicBezTo>
                  <a:pt x="42" y="124"/>
                  <a:pt x="47" y="127"/>
                  <a:pt x="53" y="130"/>
                </a:cubicBezTo>
                <a:cubicBezTo>
                  <a:pt x="59" y="132"/>
                  <a:pt x="66" y="133"/>
                  <a:pt x="72" y="133"/>
                </a:cubicBezTo>
                <a:cubicBezTo>
                  <a:pt x="79" y="133"/>
                  <a:pt x="85" y="132"/>
                  <a:pt x="91" y="130"/>
                </a:cubicBezTo>
                <a:cubicBezTo>
                  <a:pt x="97" y="127"/>
                  <a:pt x="102" y="124"/>
                  <a:pt x="106" y="119"/>
                </a:cubicBezTo>
                <a:cubicBezTo>
                  <a:pt x="111" y="115"/>
                  <a:pt x="114" y="110"/>
                  <a:pt x="117" y="104"/>
                </a:cubicBezTo>
                <a:cubicBezTo>
                  <a:pt x="119" y="98"/>
                  <a:pt x="121" y="92"/>
                  <a:pt x="121" y="85"/>
                </a:cubicBezTo>
                <a:cubicBezTo>
                  <a:pt x="121" y="77"/>
                  <a:pt x="119" y="70"/>
                  <a:pt x="116" y="63"/>
                </a:cubicBezTo>
                <a:cubicBezTo>
                  <a:pt x="112" y="57"/>
                  <a:pt x="107" y="51"/>
                  <a:pt x="101" y="46"/>
                </a:cubicBezTo>
                <a:cubicBezTo>
                  <a:pt x="99" y="44"/>
                  <a:pt x="97" y="42"/>
                  <a:pt x="97" y="38"/>
                </a:cubicBezTo>
                <a:cubicBezTo>
                  <a:pt x="96" y="35"/>
                  <a:pt x="97" y="32"/>
                  <a:pt x="99" y="29"/>
                </a:cubicBezTo>
                <a:cubicBezTo>
                  <a:pt x="101" y="27"/>
                  <a:pt x="103" y="25"/>
                  <a:pt x="107" y="25"/>
                </a:cubicBezTo>
                <a:cubicBezTo>
                  <a:pt x="110" y="24"/>
                  <a:pt x="113" y="25"/>
                  <a:pt x="116" y="27"/>
                </a:cubicBezTo>
                <a:cubicBezTo>
                  <a:pt x="125" y="34"/>
                  <a:pt x="132" y="42"/>
                  <a:pt x="137" y="53"/>
                </a:cubicBezTo>
                <a:cubicBezTo>
                  <a:pt x="142" y="63"/>
                  <a:pt x="145" y="73"/>
                  <a:pt x="145" y="85"/>
                </a:cubicBezTo>
                <a:close/>
                <a:moveTo>
                  <a:pt x="84" y="12"/>
                </a:moveTo>
                <a:cubicBezTo>
                  <a:pt x="84" y="73"/>
                  <a:pt x="84" y="73"/>
                  <a:pt x="84" y="73"/>
                </a:cubicBezTo>
                <a:cubicBezTo>
                  <a:pt x="84" y="76"/>
                  <a:pt x="83" y="79"/>
                  <a:pt x="81" y="81"/>
                </a:cubicBezTo>
                <a:cubicBezTo>
                  <a:pt x="78" y="84"/>
                  <a:pt x="75" y="85"/>
                  <a:pt x="72" y="85"/>
                </a:cubicBezTo>
                <a:cubicBezTo>
                  <a:pt x="69" y="85"/>
                  <a:pt x="66" y="84"/>
                  <a:pt x="64" y="81"/>
                </a:cubicBezTo>
                <a:cubicBezTo>
                  <a:pt x="61" y="79"/>
                  <a:pt x="60" y="76"/>
                  <a:pt x="60" y="73"/>
                </a:cubicBezTo>
                <a:cubicBezTo>
                  <a:pt x="60" y="12"/>
                  <a:pt x="60" y="12"/>
                  <a:pt x="60" y="12"/>
                </a:cubicBezTo>
                <a:cubicBezTo>
                  <a:pt x="60" y="9"/>
                  <a:pt x="61" y="6"/>
                  <a:pt x="64" y="4"/>
                </a:cubicBezTo>
                <a:cubicBezTo>
                  <a:pt x="66" y="1"/>
                  <a:pt x="69" y="0"/>
                  <a:pt x="72" y="0"/>
                </a:cubicBezTo>
                <a:cubicBezTo>
                  <a:pt x="75" y="0"/>
                  <a:pt x="78" y="1"/>
                  <a:pt x="81" y="4"/>
                </a:cubicBezTo>
                <a:cubicBezTo>
                  <a:pt x="83" y="6"/>
                  <a:pt x="84" y="9"/>
                  <a:pt x="84" y="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" name="Freeform 22"/>
          <p:cNvSpPr>
            <a:spLocks noChangeAspect="1" noEditPoints="1"/>
          </p:cNvSpPr>
          <p:nvPr/>
        </p:nvSpPr>
        <p:spPr bwMode="auto">
          <a:xfrm>
            <a:off x="4320617" y="1555540"/>
            <a:ext cx="174866" cy="151447"/>
          </a:xfrm>
          <a:custGeom>
            <a:avLst/>
            <a:gdLst>
              <a:gd name="T0" fmla="*/ 25 w 170"/>
              <a:gd name="T1" fmla="*/ 143 h 146"/>
              <a:gd name="T2" fmla="*/ 22 w 170"/>
              <a:gd name="T3" fmla="*/ 146 h 146"/>
              <a:gd name="T4" fmla="*/ 1 w 170"/>
              <a:gd name="T5" fmla="*/ 145 h 146"/>
              <a:gd name="T6" fmla="*/ 0 w 170"/>
              <a:gd name="T7" fmla="*/ 124 h 146"/>
              <a:gd name="T8" fmla="*/ 3 w 170"/>
              <a:gd name="T9" fmla="*/ 121 h 146"/>
              <a:gd name="T10" fmla="*/ 24 w 170"/>
              <a:gd name="T11" fmla="*/ 122 h 146"/>
              <a:gd name="T12" fmla="*/ 61 w 170"/>
              <a:gd name="T13" fmla="*/ 112 h 146"/>
              <a:gd name="T14" fmla="*/ 60 w 170"/>
              <a:gd name="T15" fmla="*/ 145 h 146"/>
              <a:gd name="T16" fmla="*/ 40 w 170"/>
              <a:gd name="T17" fmla="*/ 146 h 146"/>
              <a:gd name="T18" fmla="*/ 37 w 170"/>
              <a:gd name="T19" fmla="*/ 143 h 146"/>
              <a:gd name="T20" fmla="*/ 38 w 170"/>
              <a:gd name="T21" fmla="*/ 110 h 146"/>
              <a:gd name="T22" fmla="*/ 58 w 170"/>
              <a:gd name="T23" fmla="*/ 109 h 146"/>
              <a:gd name="T24" fmla="*/ 61 w 170"/>
              <a:gd name="T25" fmla="*/ 112 h 146"/>
              <a:gd name="T26" fmla="*/ 97 w 170"/>
              <a:gd name="T27" fmla="*/ 143 h 146"/>
              <a:gd name="T28" fmla="*/ 94 w 170"/>
              <a:gd name="T29" fmla="*/ 146 h 146"/>
              <a:gd name="T30" fmla="*/ 74 w 170"/>
              <a:gd name="T31" fmla="*/ 145 h 146"/>
              <a:gd name="T32" fmla="*/ 73 w 170"/>
              <a:gd name="T33" fmla="*/ 88 h 146"/>
              <a:gd name="T34" fmla="*/ 76 w 170"/>
              <a:gd name="T35" fmla="*/ 85 h 146"/>
              <a:gd name="T36" fmla="*/ 96 w 170"/>
              <a:gd name="T37" fmla="*/ 86 h 146"/>
              <a:gd name="T38" fmla="*/ 134 w 170"/>
              <a:gd name="T39" fmla="*/ 52 h 146"/>
              <a:gd name="T40" fmla="*/ 133 w 170"/>
              <a:gd name="T41" fmla="*/ 145 h 146"/>
              <a:gd name="T42" fmla="*/ 112 w 170"/>
              <a:gd name="T43" fmla="*/ 146 h 146"/>
              <a:gd name="T44" fmla="*/ 109 w 170"/>
              <a:gd name="T45" fmla="*/ 143 h 146"/>
              <a:gd name="T46" fmla="*/ 110 w 170"/>
              <a:gd name="T47" fmla="*/ 50 h 146"/>
              <a:gd name="T48" fmla="*/ 131 w 170"/>
              <a:gd name="T49" fmla="*/ 49 h 146"/>
              <a:gd name="T50" fmla="*/ 134 w 170"/>
              <a:gd name="T51" fmla="*/ 52 h 146"/>
              <a:gd name="T52" fmla="*/ 170 w 170"/>
              <a:gd name="T53" fmla="*/ 143 h 146"/>
              <a:gd name="T54" fmla="*/ 167 w 170"/>
              <a:gd name="T55" fmla="*/ 146 h 146"/>
              <a:gd name="T56" fmla="*/ 147 w 170"/>
              <a:gd name="T57" fmla="*/ 145 h 146"/>
              <a:gd name="T58" fmla="*/ 146 w 170"/>
              <a:gd name="T59" fmla="*/ 3 h 146"/>
              <a:gd name="T60" fmla="*/ 149 w 170"/>
              <a:gd name="T61" fmla="*/ 0 h 146"/>
              <a:gd name="T62" fmla="*/ 169 w 170"/>
              <a:gd name="T63" fmla="*/ 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0" h="146">
                <a:moveTo>
                  <a:pt x="25" y="124"/>
                </a:moveTo>
                <a:cubicBezTo>
                  <a:pt x="25" y="143"/>
                  <a:pt x="25" y="143"/>
                  <a:pt x="25" y="143"/>
                </a:cubicBezTo>
                <a:cubicBezTo>
                  <a:pt x="25" y="143"/>
                  <a:pt x="24" y="144"/>
                  <a:pt x="24" y="145"/>
                </a:cubicBezTo>
                <a:cubicBezTo>
                  <a:pt x="23" y="145"/>
                  <a:pt x="23" y="146"/>
                  <a:pt x="22" y="146"/>
                </a:cubicBezTo>
                <a:cubicBezTo>
                  <a:pt x="3" y="146"/>
                  <a:pt x="3" y="146"/>
                  <a:pt x="3" y="146"/>
                </a:cubicBezTo>
                <a:cubicBezTo>
                  <a:pt x="3" y="146"/>
                  <a:pt x="2" y="145"/>
                  <a:pt x="1" y="145"/>
                </a:cubicBezTo>
                <a:cubicBezTo>
                  <a:pt x="1" y="144"/>
                  <a:pt x="0" y="143"/>
                  <a:pt x="0" y="143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4"/>
                  <a:pt x="1" y="123"/>
                  <a:pt x="1" y="122"/>
                </a:cubicBezTo>
                <a:cubicBezTo>
                  <a:pt x="2" y="122"/>
                  <a:pt x="3" y="121"/>
                  <a:pt x="3" y="121"/>
                </a:cubicBezTo>
                <a:cubicBezTo>
                  <a:pt x="22" y="121"/>
                  <a:pt x="22" y="121"/>
                  <a:pt x="22" y="121"/>
                </a:cubicBezTo>
                <a:cubicBezTo>
                  <a:pt x="23" y="121"/>
                  <a:pt x="23" y="122"/>
                  <a:pt x="24" y="122"/>
                </a:cubicBezTo>
                <a:cubicBezTo>
                  <a:pt x="24" y="123"/>
                  <a:pt x="25" y="124"/>
                  <a:pt x="25" y="124"/>
                </a:cubicBezTo>
                <a:close/>
                <a:moveTo>
                  <a:pt x="61" y="112"/>
                </a:moveTo>
                <a:cubicBezTo>
                  <a:pt x="61" y="143"/>
                  <a:pt x="61" y="143"/>
                  <a:pt x="61" y="143"/>
                </a:cubicBezTo>
                <a:cubicBezTo>
                  <a:pt x="61" y="143"/>
                  <a:pt x="61" y="144"/>
                  <a:pt x="60" y="145"/>
                </a:cubicBezTo>
                <a:cubicBezTo>
                  <a:pt x="60" y="145"/>
                  <a:pt x="59" y="146"/>
                  <a:pt x="58" y="146"/>
                </a:cubicBezTo>
                <a:cubicBezTo>
                  <a:pt x="40" y="146"/>
                  <a:pt x="40" y="146"/>
                  <a:pt x="40" y="146"/>
                </a:cubicBezTo>
                <a:cubicBezTo>
                  <a:pt x="39" y="146"/>
                  <a:pt x="38" y="145"/>
                  <a:pt x="38" y="145"/>
                </a:cubicBezTo>
                <a:cubicBezTo>
                  <a:pt x="37" y="144"/>
                  <a:pt x="37" y="143"/>
                  <a:pt x="37" y="143"/>
                </a:cubicBezTo>
                <a:cubicBezTo>
                  <a:pt x="37" y="112"/>
                  <a:pt x="37" y="112"/>
                  <a:pt x="37" y="112"/>
                </a:cubicBezTo>
                <a:cubicBezTo>
                  <a:pt x="37" y="111"/>
                  <a:pt x="37" y="111"/>
                  <a:pt x="38" y="110"/>
                </a:cubicBezTo>
                <a:cubicBezTo>
                  <a:pt x="38" y="110"/>
                  <a:pt x="39" y="109"/>
                  <a:pt x="40" y="109"/>
                </a:cubicBezTo>
                <a:cubicBezTo>
                  <a:pt x="58" y="109"/>
                  <a:pt x="58" y="109"/>
                  <a:pt x="58" y="109"/>
                </a:cubicBezTo>
                <a:cubicBezTo>
                  <a:pt x="59" y="109"/>
                  <a:pt x="60" y="110"/>
                  <a:pt x="60" y="110"/>
                </a:cubicBezTo>
                <a:cubicBezTo>
                  <a:pt x="61" y="111"/>
                  <a:pt x="61" y="111"/>
                  <a:pt x="61" y="112"/>
                </a:cubicBezTo>
                <a:close/>
                <a:moveTo>
                  <a:pt x="97" y="88"/>
                </a:moveTo>
                <a:cubicBezTo>
                  <a:pt x="97" y="143"/>
                  <a:pt x="97" y="143"/>
                  <a:pt x="97" y="143"/>
                </a:cubicBezTo>
                <a:cubicBezTo>
                  <a:pt x="97" y="143"/>
                  <a:pt x="97" y="144"/>
                  <a:pt x="96" y="145"/>
                </a:cubicBezTo>
                <a:cubicBezTo>
                  <a:pt x="96" y="145"/>
                  <a:pt x="95" y="146"/>
                  <a:pt x="94" y="146"/>
                </a:cubicBezTo>
                <a:cubicBezTo>
                  <a:pt x="76" y="146"/>
                  <a:pt x="76" y="146"/>
                  <a:pt x="76" y="146"/>
                </a:cubicBezTo>
                <a:cubicBezTo>
                  <a:pt x="75" y="146"/>
                  <a:pt x="75" y="145"/>
                  <a:pt x="74" y="145"/>
                </a:cubicBezTo>
                <a:cubicBezTo>
                  <a:pt x="73" y="144"/>
                  <a:pt x="73" y="143"/>
                  <a:pt x="73" y="143"/>
                </a:cubicBezTo>
                <a:cubicBezTo>
                  <a:pt x="73" y="88"/>
                  <a:pt x="73" y="88"/>
                  <a:pt x="73" y="88"/>
                </a:cubicBezTo>
                <a:cubicBezTo>
                  <a:pt x="73" y="87"/>
                  <a:pt x="73" y="86"/>
                  <a:pt x="74" y="86"/>
                </a:cubicBezTo>
                <a:cubicBezTo>
                  <a:pt x="75" y="85"/>
                  <a:pt x="75" y="85"/>
                  <a:pt x="76" y="85"/>
                </a:cubicBezTo>
                <a:cubicBezTo>
                  <a:pt x="94" y="85"/>
                  <a:pt x="94" y="85"/>
                  <a:pt x="94" y="85"/>
                </a:cubicBezTo>
                <a:cubicBezTo>
                  <a:pt x="95" y="85"/>
                  <a:pt x="96" y="85"/>
                  <a:pt x="96" y="86"/>
                </a:cubicBezTo>
                <a:cubicBezTo>
                  <a:pt x="97" y="86"/>
                  <a:pt x="97" y="87"/>
                  <a:pt x="97" y="88"/>
                </a:cubicBezTo>
                <a:close/>
                <a:moveTo>
                  <a:pt x="134" y="52"/>
                </a:moveTo>
                <a:cubicBezTo>
                  <a:pt x="134" y="143"/>
                  <a:pt x="134" y="143"/>
                  <a:pt x="134" y="143"/>
                </a:cubicBezTo>
                <a:cubicBezTo>
                  <a:pt x="134" y="143"/>
                  <a:pt x="133" y="144"/>
                  <a:pt x="133" y="145"/>
                </a:cubicBezTo>
                <a:cubicBezTo>
                  <a:pt x="132" y="145"/>
                  <a:pt x="131" y="146"/>
                  <a:pt x="131" y="146"/>
                </a:cubicBezTo>
                <a:cubicBezTo>
                  <a:pt x="112" y="146"/>
                  <a:pt x="112" y="146"/>
                  <a:pt x="112" y="146"/>
                </a:cubicBezTo>
                <a:cubicBezTo>
                  <a:pt x="112" y="146"/>
                  <a:pt x="111" y="145"/>
                  <a:pt x="110" y="145"/>
                </a:cubicBezTo>
                <a:cubicBezTo>
                  <a:pt x="110" y="144"/>
                  <a:pt x="109" y="143"/>
                  <a:pt x="109" y="143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9" y="51"/>
                  <a:pt x="110" y="50"/>
                  <a:pt x="110" y="50"/>
                </a:cubicBezTo>
                <a:cubicBezTo>
                  <a:pt x="111" y="49"/>
                  <a:pt x="112" y="49"/>
                  <a:pt x="112" y="49"/>
                </a:cubicBezTo>
                <a:cubicBezTo>
                  <a:pt x="131" y="49"/>
                  <a:pt x="131" y="49"/>
                  <a:pt x="131" y="49"/>
                </a:cubicBezTo>
                <a:cubicBezTo>
                  <a:pt x="131" y="49"/>
                  <a:pt x="132" y="49"/>
                  <a:pt x="133" y="50"/>
                </a:cubicBezTo>
                <a:cubicBezTo>
                  <a:pt x="133" y="50"/>
                  <a:pt x="134" y="51"/>
                  <a:pt x="134" y="52"/>
                </a:cubicBezTo>
                <a:close/>
                <a:moveTo>
                  <a:pt x="170" y="3"/>
                </a:moveTo>
                <a:cubicBezTo>
                  <a:pt x="170" y="143"/>
                  <a:pt x="170" y="143"/>
                  <a:pt x="170" y="143"/>
                </a:cubicBezTo>
                <a:cubicBezTo>
                  <a:pt x="170" y="143"/>
                  <a:pt x="170" y="144"/>
                  <a:pt x="169" y="145"/>
                </a:cubicBezTo>
                <a:cubicBezTo>
                  <a:pt x="168" y="145"/>
                  <a:pt x="168" y="146"/>
                  <a:pt x="167" y="146"/>
                </a:cubicBezTo>
                <a:cubicBezTo>
                  <a:pt x="149" y="146"/>
                  <a:pt x="149" y="146"/>
                  <a:pt x="149" y="146"/>
                </a:cubicBezTo>
                <a:cubicBezTo>
                  <a:pt x="148" y="146"/>
                  <a:pt x="147" y="145"/>
                  <a:pt x="147" y="145"/>
                </a:cubicBezTo>
                <a:cubicBezTo>
                  <a:pt x="146" y="144"/>
                  <a:pt x="146" y="143"/>
                  <a:pt x="146" y="143"/>
                </a:cubicBezTo>
                <a:cubicBezTo>
                  <a:pt x="146" y="3"/>
                  <a:pt x="146" y="3"/>
                  <a:pt x="146" y="3"/>
                </a:cubicBezTo>
                <a:cubicBezTo>
                  <a:pt x="146" y="2"/>
                  <a:pt x="146" y="2"/>
                  <a:pt x="147" y="1"/>
                </a:cubicBezTo>
                <a:cubicBezTo>
                  <a:pt x="147" y="1"/>
                  <a:pt x="148" y="0"/>
                  <a:pt x="149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68" y="0"/>
                  <a:pt x="168" y="1"/>
                  <a:pt x="169" y="1"/>
                </a:cubicBezTo>
                <a:cubicBezTo>
                  <a:pt x="170" y="2"/>
                  <a:pt x="170" y="2"/>
                  <a:pt x="170" y="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" name="Freeform 23"/>
          <p:cNvSpPr>
            <a:spLocks noChangeAspect="1" noEditPoints="1"/>
          </p:cNvSpPr>
          <p:nvPr/>
        </p:nvSpPr>
        <p:spPr bwMode="auto">
          <a:xfrm>
            <a:off x="4542323" y="1555540"/>
            <a:ext cx="149885" cy="151447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" name="Freeform 24"/>
          <p:cNvSpPr>
            <a:spLocks noChangeAspect="1" noEditPoints="1"/>
          </p:cNvSpPr>
          <p:nvPr/>
        </p:nvSpPr>
        <p:spPr bwMode="auto">
          <a:xfrm>
            <a:off x="4737486" y="1555540"/>
            <a:ext cx="138956" cy="151447"/>
          </a:xfrm>
          <a:custGeom>
            <a:avLst/>
            <a:gdLst>
              <a:gd name="T0" fmla="*/ 134 w 134"/>
              <a:gd name="T1" fmla="*/ 34 h 146"/>
              <a:gd name="T2" fmla="*/ 130 w 134"/>
              <a:gd name="T3" fmla="*/ 37 h 146"/>
              <a:gd name="T4" fmla="*/ 121 w 134"/>
              <a:gd name="T5" fmla="*/ 126 h 146"/>
              <a:gd name="T6" fmla="*/ 106 w 134"/>
              <a:gd name="T7" fmla="*/ 146 h 146"/>
              <a:gd name="T8" fmla="*/ 17 w 134"/>
              <a:gd name="T9" fmla="*/ 140 h 146"/>
              <a:gd name="T10" fmla="*/ 12 w 134"/>
              <a:gd name="T11" fmla="*/ 37 h 146"/>
              <a:gd name="T12" fmla="*/ 1 w 134"/>
              <a:gd name="T13" fmla="*/ 36 h 146"/>
              <a:gd name="T14" fmla="*/ 0 w 134"/>
              <a:gd name="T15" fmla="*/ 28 h 146"/>
              <a:gd name="T16" fmla="*/ 3 w 134"/>
              <a:gd name="T17" fmla="*/ 25 h 146"/>
              <a:gd name="T18" fmla="*/ 39 w 134"/>
              <a:gd name="T19" fmla="*/ 9 h 146"/>
              <a:gd name="T20" fmla="*/ 52 w 134"/>
              <a:gd name="T21" fmla="*/ 0 h 146"/>
              <a:gd name="T22" fmla="*/ 90 w 134"/>
              <a:gd name="T23" fmla="*/ 3 h 146"/>
              <a:gd name="T24" fmla="*/ 101 w 134"/>
              <a:gd name="T25" fmla="*/ 25 h 146"/>
              <a:gd name="T26" fmla="*/ 133 w 134"/>
              <a:gd name="T27" fmla="*/ 25 h 146"/>
              <a:gd name="T28" fmla="*/ 109 w 134"/>
              <a:gd name="T29" fmla="*/ 126 h 146"/>
              <a:gd name="T30" fmla="*/ 25 w 134"/>
              <a:gd name="T31" fmla="*/ 37 h 146"/>
              <a:gd name="T32" fmla="*/ 25 w 134"/>
              <a:gd name="T33" fmla="*/ 130 h 146"/>
              <a:gd name="T34" fmla="*/ 28 w 134"/>
              <a:gd name="T35" fmla="*/ 133 h 146"/>
              <a:gd name="T36" fmla="*/ 107 w 134"/>
              <a:gd name="T37" fmla="*/ 133 h 146"/>
              <a:gd name="T38" fmla="*/ 109 w 134"/>
              <a:gd name="T39" fmla="*/ 126 h 146"/>
              <a:gd name="T40" fmla="*/ 49 w 134"/>
              <a:gd name="T41" fmla="*/ 112 h 146"/>
              <a:gd name="T42" fmla="*/ 46 w 134"/>
              <a:gd name="T43" fmla="*/ 115 h 146"/>
              <a:gd name="T44" fmla="*/ 38 w 134"/>
              <a:gd name="T45" fmla="*/ 114 h 146"/>
              <a:gd name="T46" fmla="*/ 37 w 134"/>
              <a:gd name="T47" fmla="*/ 58 h 146"/>
              <a:gd name="T48" fmla="*/ 40 w 134"/>
              <a:gd name="T49" fmla="*/ 55 h 146"/>
              <a:gd name="T50" fmla="*/ 48 w 134"/>
              <a:gd name="T51" fmla="*/ 56 h 146"/>
              <a:gd name="T52" fmla="*/ 46 w 134"/>
              <a:gd name="T53" fmla="*/ 25 h 146"/>
              <a:gd name="T54" fmla="*/ 84 w 134"/>
              <a:gd name="T55" fmla="*/ 13 h 146"/>
              <a:gd name="T56" fmla="*/ 52 w 134"/>
              <a:gd name="T57" fmla="*/ 12 h 146"/>
              <a:gd name="T58" fmla="*/ 46 w 134"/>
              <a:gd name="T59" fmla="*/ 25 h 146"/>
              <a:gd name="T60" fmla="*/ 73 w 134"/>
              <a:gd name="T61" fmla="*/ 112 h 146"/>
              <a:gd name="T62" fmla="*/ 70 w 134"/>
              <a:gd name="T63" fmla="*/ 115 h 146"/>
              <a:gd name="T64" fmla="*/ 62 w 134"/>
              <a:gd name="T65" fmla="*/ 114 h 146"/>
              <a:gd name="T66" fmla="*/ 61 w 134"/>
              <a:gd name="T67" fmla="*/ 58 h 146"/>
              <a:gd name="T68" fmla="*/ 64 w 134"/>
              <a:gd name="T69" fmla="*/ 55 h 146"/>
              <a:gd name="T70" fmla="*/ 72 w 134"/>
              <a:gd name="T71" fmla="*/ 56 h 146"/>
              <a:gd name="T72" fmla="*/ 97 w 134"/>
              <a:gd name="T73" fmla="*/ 58 h 146"/>
              <a:gd name="T74" fmla="*/ 96 w 134"/>
              <a:gd name="T75" fmla="*/ 114 h 146"/>
              <a:gd name="T76" fmla="*/ 88 w 134"/>
              <a:gd name="T77" fmla="*/ 115 h 146"/>
              <a:gd name="T78" fmla="*/ 85 w 134"/>
              <a:gd name="T79" fmla="*/ 112 h 146"/>
              <a:gd name="T80" fmla="*/ 86 w 134"/>
              <a:gd name="T81" fmla="*/ 56 h 146"/>
              <a:gd name="T82" fmla="*/ 94 w 134"/>
              <a:gd name="T83" fmla="*/ 55 h 146"/>
              <a:gd name="T84" fmla="*/ 97 w 134"/>
              <a:gd name="T85" fmla="*/ 5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4" h="146">
                <a:moveTo>
                  <a:pt x="134" y="28"/>
                </a:moveTo>
                <a:cubicBezTo>
                  <a:pt x="134" y="34"/>
                  <a:pt x="134" y="34"/>
                  <a:pt x="134" y="34"/>
                </a:cubicBezTo>
                <a:cubicBezTo>
                  <a:pt x="134" y="35"/>
                  <a:pt x="133" y="35"/>
                  <a:pt x="133" y="36"/>
                </a:cubicBezTo>
                <a:cubicBezTo>
                  <a:pt x="132" y="36"/>
                  <a:pt x="131" y="37"/>
                  <a:pt x="130" y="37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121" y="126"/>
                  <a:pt x="121" y="126"/>
                  <a:pt x="121" y="126"/>
                </a:cubicBezTo>
                <a:cubicBezTo>
                  <a:pt x="121" y="132"/>
                  <a:pt x="120" y="136"/>
                  <a:pt x="117" y="140"/>
                </a:cubicBezTo>
                <a:cubicBezTo>
                  <a:pt x="114" y="144"/>
                  <a:pt x="110" y="146"/>
                  <a:pt x="106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3" y="146"/>
                  <a:pt x="20" y="144"/>
                  <a:pt x="17" y="140"/>
                </a:cubicBezTo>
                <a:cubicBezTo>
                  <a:pt x="14" y="136"/>
                  <a:pt x="12" y="132"/>
                  <a:pt x="12" y="127"/>
                </a:cubicBezTo>
                <a:cubicBezTo>
                  <a:pt x="12" y="37"/>
                  <a:pt x="12" y="37"/>
                  <a:pt x="12" y="37"/>
                </a:cubicBezTo>
                <a:cubicBezTo>
                  <a:pt x="3" y="37"/>
                  <a:pt x="3" y="37"/>
                  <a:pt x="3" y="37"/>
                </a:cubicBezTo>
                <a:cubicBezTo>
                  <a:pt x="3" y="37"/>
                  <a:pt x="2" y="36"/>
                  <a:pt x="1" y="36"/>
                </a:cubicBezTo>
                <a:cubicBezTo>
                  <a:pt x="1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1" y="26"/>
                  <a:pt x="1" y="25"/>
                </a:cubicBezTo>
                <a:cubicBezTo>
                  <a:pt x="2" y="25"/>
                  <a:pt x="3" y="25"/>
                  <a:pt x="3" y="25"/>
                </a:cubicBezTo>
                <a:cubicBezTo>
                  <a:pt x="33" y="25"/>
                  <a:pt x="33" y="25"/>
                  <a:pt x="33" y="25"/>
                </a:cubicBezTo>
                <a:cubicBezTo>
                  <a:pt x="39" y="9"/>
                  <a:pt x="39" y="9"/>
                  <a:pt x="39" y="9"/>
                </a:cubicBezTo>
                <a:cubicBezTo>
                  <a:pt x="40" y="6"/>
                  <a:pt x="42" y="4"/>
                  <a:pt x="44" y="3"/>
                </a:cubicBezTo>
                <a:cubicBezTo>
                  <a:pt x="47" y="1"/>
                  <a:pt x="49" y="0"/>
                  <a:pt x="52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85" y="0"/>
                  <a:pt x="87" y="1"/>
                  <a:pt x="90" y="3"/>
                </a:cubicBezTo>
                <a:cubicBezTo>
                  <a:pt x="92" y="4"/>
                  <a:pt x="94" y="6"/>
                  <a:pt x="95" y="9"/>
                </a:cubicBezTo>
                <a:cubicBezTo>
                  <a:pt x="101" y="25"/>
                  <a:pt x="101" y="25"/>
                  <a:pt x="101" y="25"/>
                </a:cubicBezTo>
                <a:cubicBezTo>
                  <a:pt x="130" y="25"/>
                  <a:pt x="130" y="25"/>
                  <a:pt x="130" y="25"/>
                </a:cubicBezTo>
                <a:cubicBezTo>
                  <a:pt x="131" y="25"/>
                  <a:pt x="132" y="25"/>
                  <a:pt x="133" y="25"/>
                </a:cubicBezTo>
                <a:cubicBezTo>
                  <a:pt x="133" y="26"/>
                  <a:pt x="134" y="27"/>
                  <a:pt x="134" y="28"/>
                </a:cubicBezTo>
                <a:close/>
                <a:moveTo>
                  <a:pt x="109" y="126"/>
                </a:moveTo>
                <a:cubicBezTo>
                  <a:pt x="109" y="37"/>
                  <a:pt x="109" y="37"/>
                  <a:pt x="109" y="37"/>
                </a:cubicBezTo>
                <a:cubicBezTo>
                  <a:pt x="25" y="37"/>
                  <a:pt x="25" y="37"/>
                  <a:pt x="25" y="37"/>
                </a:cubicBezTo>
                <a:cubicBezTo>
                  <a:pt x="25" y="126"/>
                  <a:pt x="25" y="126"/>
                  <a:pt x="25" y="126"/>
                </a:cubicBezTo>
                <a:cubicBezTo>
                  <a:pt x="25" y="128"/>
                  <a:pt x="25" y="129"/>
                  <a:pt x="25" y="130"/>
                </a:cubicBezTo>
                <a:cubicBezTo>
                  <a:pt x="26" y="131"/>
                  <a:pt x="26" y="132"/>
                  <a:pt x="27" y="133"/>
                </a:cubicBezTo>
                <a:cubicBezTo>
                  <a:pt x="27" y="133"/>
                  <a:pt x="27" y="133"/>
                  <a:pt x="28" y="133"/>
                </a:cubicBezTo>
                <a:cubicBezTo>
                  <a:pt x="106" y="133"/>
                  <a:pt x="106" y="133"/>
                  <a:pt x="106" y="133"/>
                </a:cubicBezTo>
                <a:cubicBezTo>
                  <a:pt x="106" y="133"/>
                  <a:pt x="107" y="133"/>
                  <a:pt x="107" y="133"/>
                </a:cubicBezTo>
                <a:cubicBezTo>
                  <a:pt x="108" y="132"/>
                  <a:pt x="108" y="131"/>
                  <a:pt x="109" y="130"/>
                </a:cubicBezTo>
                <a:cubicBezTo>
                  <a:pt x="109" y="129"/>
                  <a:pt x="109" y="128"/>
                  <a:pt x="109" y="126"/>
                </a:cubicBezTo>
                <a:close/>
                <a:moveTo>
                  <a:pt x="49" y="58"/>
                </a:moveTo>
                <a:cubicBezTo>
                  <a:pt x="49" y="112"/>
                  <a:pt x="49" y="112"/>
                  <a:pt x="49" y="112"/>
                </a:cubicBezTo>
                <a:cubicBezTo>
                  <a:pt x="49" y="113"/>
                  <a:pt x="49" y="114"/>
                  <a:pt x="48" y="114"/>
                </a:cubicBezTo>
                <a:cubicBezTo>
                  <a:pt x="47" y="115"/>
                  <a:pt x="47" y="115"/>
                  <a:pt x="46" y="115"/>
                </a:cubicBezTo>
                <a:cubicBezTo>
                  <a:pt x="40" y="115"/>
                  <a:pt x="40" y="115"/>
                  <a:pt x="40" y="115"/>
                </a:cubicBezTo>
                <a:cubicBezTo>
                  <a:pt x="39" y="115"/>
                  <a:pt x="38" y="115"/>
                  <a:pt x="38" y="114"/>
                </a:cubicBezTo>
                <a:cubicBezTo>
                  <a:pt x="37" y="114"/>
                  <a:pt x="37" y="113"/>
                  <a:pt x="37" y="112"/>
                </a:cubicBezTo>
                <a:cubicBezTo>
                  <a:pt x="37" y="58"/>
                  <a:pt x="37" y="58"/>
                  <a:pt x="37" y="58"/>
                </a:cubicBezTo>
                <a:cubicBezTo>
                  <a:pt x="37" y="57"/>
                  <a:pt x="37" y="56"/>
                  <a:pt x="38" y="56"/>
                </a:cubicBezTo>
                <a:cubicBezTo>
                  <a:pt x="38" y="55"/>
                  <a:pt x="39" y="55"/>
                  <a:pt x="40" y="55"/>
                </a:cubicBezTo>
                <a:cubicBezTo>
                  <a:pt x="46" y="55"/>
                  <a:pt x="46" y="55"/>
                  <a:pt x="46" y="55"/>
                </a:cubicBezTo>
                <a:cubicBezTo>
                  <a:pt x="47" y="55"/>
                  <a:pt x="47" y="55"/>
                  <a:pt x="48" y="56"/>
                </a:cubicBezTo>
                <a:cubicBezTo>
                  <a:pt x="49" y="56"/>
                  <a:pt x="49" y="57"/>
                  <a:pt x="49" y="58"/>
                </a:cubicBezTo>
                <a:close/>
                <a:moveTo>
                  <a:pt x="46" y="25"/>
                </a:moveTo>
                <a:cubicBezTo>
                  <a:pt x="88" y="25"/>
                  <a:pt x="88" y="25"/>
                  <a:pt x="88" y="25"/>
                </a:cubicBezTo>
                <a:cubicBezTo>
                  <a:pt x="84" y="13"/>
                  <a:pt x="84" y="13"/>
                  <a:pt x="84" y="13"/>
                </a:cubicBezTo>
                <a:cubicBezTo>
                  <a:pt x="83" y="13"/>
                  <a:pt x="83" y="13"/>
                  <a:pt x="82" y="12"/>
                </a:cubicBezTo>
                <a:cubicBezTo>
                  <a:pt x="52" y="12"/>
                  <a:pt x="52" y="12"/>
                  <a:pt x="52" y="12"/>
                </a:cubicBezTo>
                <a:cubicBezTo>
                  <a:pt x="51" y="13"/>
                  <a:pt x="51" y="13"/>
                  <a:pt x="50" y="13"/>
                </a:cubicBezTo>
                <a:lnTo>
                  <a:pt x="46" y="25"/>
                </a:lnTo>
                <a:close/>
                <a:moveTo>
                  <a:pt x="73" y="58"/>
                </a:moveTo>
                <a:cubicBezTo>
                  <a:pt x="73" y="112"/>
                  <a:pt x="73" y="112"/>
                  <a:pt x="73" y="112"/>
                </a:cubicBezTo>
                <a:cubicBezTo>
                  <a:pt x="73" y="113"/>
                  <a:pt x="73" y="114"/>
                  <a:pt x="72" y="114"/>
                </a:cubicBezTo>
                <a:cubicBezTo>
                  <a:pt x="72" y="115"/>
                  <a:pt x="71" y="115"/>
                  <a:pt x="70" y="115"/>
                </a:cubicBezTo>
                <a:cubicBezTo>
                  <a:pt x="64" y="115"/>
                  <a:pt x="64" y="115"/>
                  <a:pt x="64" y="115"/>
                </a:cubicBezTo>
                <a:cubicBezTo>
                  <a:pt x="63" y="115"/>
                  <a:pt x="62" y="115"/>
                  <a:pt x="62" y="114"/>
                </a:cubicBezTo>
                <a:cubicBezTo>
                  <a:pt x="61" y="114"/>
                  <a:pt x="61" y="113"/>
                  <a:pt x="61" y="112"/>
                </a:cubicBezTo>
                <a:cubicBezTo>
                  <a:pt x="61" y="58"/>
                  <a:pt x="61" y="58"/>
                  <a:pt x="61" y="58"/>
                </a:cubicBezTo>
                <a:cubicBezTo>
                  <a:pt x="61" y="57"/>
                  <a:pt x="61" y="56"/>
                  <a:pt x="62" y="56"/>
                </a:cubicBezTo>
                <a:cubicBezTo>
                  <a:pt x="62" y="55"/>
                  <a:pt x="63" y="55"/>
                  <a:pt x="64" y="55"/>
                </a:cubicBezTo>
                <a:cubicBezTo>
                  <a:pt x="70" y="55"/>
                  <a:pt x="70" y="55"/>
                  <a:pt x="70" y="55"/>
                </a:cubicBezTo>
                <a:cubicBezTo>
                  <a:pt x="71" y="55"/>
                  <a:pt x="72" y="55"/>
                  <a:pt x="72" y="56"/>
                </a:cubicBezTo>
                <a:cubicBezTo>
                  <a:pt x="73" y="56"/>
                  <a:pt x="73" y="57"/>
                  <a:pt x="73" y="58"/>
                </a:cubicBezTo>
                <a:close/>
                <a:moveTo>
                  <a:pt x="97" y="58"/>
                </a:moveTo>
                <a:cubicBezTo>
                  <a:pt x="97" y="112"/>
                  <a:pt x="97" y="112"/>
                  <a:pt x="97" y="112"/>
                </a:cubicBezTo>
                <a:cubicBezTo>
                  <a:pt x="97" y="113"/>
                  <a:pt x="97" y="114"/>
                  <a:pt x="96" y="114"/>
                </a:cubicBezTo>
                <a:cubicBezTo>
                  <a:pt x="96" y="115"/>
                  <a:pt x="95" y="115"/>
                  <a:pt x="94" y="115"/>
                </a:cubicBezTo>
                <a:cubicBezTo>
                  <a:pt x="88" y="115"/>
                  <a:pt x="88" y="115"/>
                  <a:pt x="88" y="115"/>
                </a:cubicBezTo>
                <a:cubicBezTo>
                  <a:pt x="87" y="115"/>
                  <a:pt x="87" y="115"/>
                  <a:pt x="86" y="114"/>
                </a:cubicBezTo>
                <a:cubicBezTo>
                  <a:pt x="85" y="114"/>
                  <a:pt x="85" y="113"/>
                  <a:pt x="85" y="112"/>
                </a:cubicBezTo>
                <a:cubicBezTo>
                  <a:pt x="85" y="58"/>
                  <a:pt x="85" y="58"/>
                  <a:pt x="85" y="58"/>
                </a:cubicBezTo>
                <a:cubicBezTo>
                  <a:pt x="85" y="57"/>
                  <a:pt x="85" y="56"/>
                  <a:pt x="86" y="56"/>
                </a:cubicBezTo>
                <a:cubicBezTo>
                  <a:pt x="87" y="55"/>
                  <a:pt x="87" y="55"/>
                  <a:pt x="88" y="55"/>
                </a:cubicBezTo>
                <a:cubicBezTo>
                  <a:pt x="94" y="55"/>
                  <a:pt x="94" y="55"/>
                  <a:pt x="94" y="55"/>
                </a:cubicBezTo>
                <a:cubicBezTo>
                  <a:pt x="95" y="55"/>
                  <a:pt x="96" y="55"/>
                  <a:pt x="96" y="56"/>
                </a:cubicBezTo>
                <a:cubicBezTo>
                  <a:pt x="97" y="56"/>
                  <a:pt x="97" y="57"/>
                  <a:pt x="97" y="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" name="Freeform 25"/>
          <p:cNvSpPr>
            <a:spLocks noChangeAspect="1" noEditPoints="1"/>
          </p:cNvSpPr>
          <p:nvPr/>
        </p:nvSpPr>
        <p:spPr bwMode="auto">
          <a:xfrm>
            <a:off x="4924843" y="1568031"/>
            <a:ext cx="157692" cy="126466"/>
          </a:xfrm>
          <a:custGeom>
            <a:avLst/>
            <a:gdLst>
              <a:gd name="T0" fmla="*/ 151 w 152"/>
              <a:gd name="T1" fmla="*/ 64 h 121"/>
              <a:gd name="T2" fmla="*/ 145 w 152"/>
              <a:gd name="T3" fmla="*/ 71 h 121"/>
              <a:gd name="T4" fmla="*/ 144 w 152"/>
              <a:gd name="T5" fmla="*/ 72 h 121"/>
              <a:gd name="T6" fmla="*/ 143 w 152"/>
              <a:gd name="T7" fmla="*/ 72 h 121"/>
              <a:gd name="T8" fmla="*/ 141 w 152"/>
              <a:gd name="T9" fmla="*/ 71 h 121"/>
              <a:gd name="T10" fmla="*/ 76 w 152"/>
              <a:gd name="T11" fmla="*/ 16 h 121"/>
              <a:gd name="T12" fmla="*/ 10 w 152"/>
              <a:gd name="T13" fmla="*/ 71 h 121"/>
              <a:gd name="T14" fmla="*/ 8 w 152"/>
              <a:gd name="T15" fmla="*/ 72 h 121"/>
              <a:gd name="T16" fmla="*/ 6 w 152"/>
              <a:gd name="T17" fmla="*/ 71 h 121"/>
              <a:gd name="T18" fmla="*/ 0 w 152"/>
              <a:gd name="T19" fmla="*/ 64 h 121"/>
              <a:gd name="T20" fmla="*/ 0 w 152"/>
              <a:gd name="T21" fmla="*/ 61 h 121"/>
              <a:gd name="T22" fmla="*/ 1 w 152"/>
              <a:gd name="T23" fmla="*/ 59 h 121"/>
              <a:gd name="T24" fmla="*/ 69 w 152"/>
              <a:gd name="T25" fmla="*/ 3 h 121"/>
              <a:gd name="T26" fmla="*/ 76 w 152"/>
              <a:gd name="T27" fmla="*/ 0 h 121"/>
              <a:gd name="T28" fmla="*/ 83 w 152"/>
              <a:gd name="T29" fmla="*/ 3 h 121"/>
              <a:gd name="T30" fmla="*/ 106 w 152"/>
              <a:gd name="T31" fmla="*/ 22 h 121"/>
              <a:gd name="T32" fmla="*/ 106 w 152"/>
              <a:gd name="T33" fmla="*/ 3 h 121"/>
              <a:gd name="T34" fmla="*/ 107 w 152"/>
              <a:gd name="T35" fmla="*/ 1 h 121"/>
              <a:gd name="T36" fmla="*/ 109 w 152"/>
              <a:gd name="T37" fmla="*/ 0 h 121"/>
              <a:gd name="T38" fmla="*/ 127 w 152"/>
              <a:gd name="T39" fmla="*/ 0 h 121"/>
              <a:gd name="T40" fmla="*/ 129 w 152"/>
              <a:gd name="T41" fmla="*/ 1 h 121"/>
              <a:gd name="T42" fmla="*/ 130 w 152"/>
              <a:gd name="T43" fmla="*/ 3 h 121"/>
              <a:gd name="T44" fmla="*/ 130 w 152"/>
              <a:gd name="T45" fmla="*/ 42 h 121"/>
              <a:gd name="T46" fmla="*/ 151 w 152"/>
              <a:gd name="T47" fmla="*/ 59 h 121"/>
              <a:gd name="T48" fmla="*/ 152 w 152"/>
              <a:gd name="T49" fmla="*/ 61 h 121"/>
              <a:gd name="T50" fmla="*/ 151 w 152"/>
              <a:gd name="T51" fmla="*/ 64 h 121"/>
              <a:gd name="T52" fmla="*/ 130 w 152"/>
              <a:gd name="T53" fmla="*/ 70 h 121"/>
              <a:gd name="T54" fmla="*/ 130 w 152"/>
              <a:gd name="T55" fmla="*/ 115 h 121"/>
              <a:gd name="T56" fmla="*/ 128 w 152"/>
              <a:gd name="T57" fmla="*/ 120 h 121"/>
              <a:gd name="T58" fmla="*/ 124 w 152"/>
              <a:gd name="T59" fmla="*/ 121 h 121"/>
              <a:gd name="T60" fmla="*/ 88 w 152"/>
              <a:gd name="T61" fmla="*/ 121 h 121"/>
              <a:gd name="T62" fmla="*/ 88 w 152"/>
              <a:gd name="T63" fmla="*/ 85 h 121"/>
              <a:gd name="T64" fmla="*/ 64 w 152"/>
              <a:gd name="T65" fmla="*/ 85 h 121"/>
              <a:gd name="T66" fmla="*/ 64 w 152"/>
              <a:gd name="T67" fmla="*/ 121 h 121"/>
              <a:gd name="T68" fmla="*/ 27 w 152"/>
              <a:gd name="T69" fmla="*/ 121 h 121"/>
              <a:gd name="T70" fmla="*/ 23 w 152"/>
              <a:gd name="T71" fmla="*/ 120 h 121"/>
              <a:gd name="T72" fmla="*/ 21 w 152"/>
              <a:gd name="T73" fmla="*/ 115 h 121"/>
              <a:gd name="T74" fmla="*/ 21 w 152"/>
              <a:gd name="T75" fmla="*/ 70 h 121"/>
              <a:gd name="T76" fmla="*/ 21 w 152"/>
              <a:gd name="T77" fmla="*/ 70 h 121"/>
              <a:gd name="T78" fmla="*/ 21 w 152"/>
              <a:gd name="T79" fmla="*/ 69 h 121"/>
              <a:gd name="T80" fmla="*/ 76 w 152"/>
              <a:gd name="T81" fmla="*/ 25 h 121"/>
              <a:gd name="T82" fmla="*/ 130 w 152"/>
              <a:gd name="T83" fmla="*/ 69 h 121"/>
              <a:gd name="T84" fmla="*/ 130 w 152"/>
              <a:gd name="T85" fmla="*/ 7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2" h="121">
                <a:moveTo>
                  <a:pt x="151" y="64"/>
                </a:moveTo>
                <a:cubicBezTo>
                  <a:pt x="145" y="71"/>
                  <a:pt x="145" y="71"/>
                  <a:pt x="145" y="71"/>
                </a:cubicBezTo>
                <a:cubicBezTo>
                  <a:pt x="145" y="71"/>
                  <a:pt x="144" y="71"/>
                  <a:pt x="144" y="72"/>
                </a:cubicBezTo>
                <a:cubicBezTo>
                  <a:pt x="143" y="72"/>
                  <a:pt x="143" y="72"/>
                  <a:pt x="143" y="72"/>
                </a:cubicBezTo>
                <a:cubicBezTo>
                  <a:pt x="142" y="72"/>
                  <a:pt x="142" y="71"/>
                  <a:pt x="141" y="71"/>
                </a:cubicBezTo>
                <a:cubicBezTo>
                  <a:pt x="76" y="16"/>
                  <a:pt x="76" y="16"/>
                  <a:pt x="76" y="16"/>
                </a:cubicBezTo>
                <a:cubicBezTo>
                  <a:pt x="10" y="71"/>
                  <a:pt x="10" y="71"/>
                  <a:pt x="10" y="71"/>
                </a:cubicBezTo>
                <a:cubicBezTo>
                  <a:pt x="10" y="71"/>
                  <a:pt x="9" y="72"/>
                  <a:pt x="8" y="72"/>
                </a:cubicBezTo>
                <a:cubicBezTo>
                  <a:pt x="7" y="71"/>
                  <a:pt x="7" y="71"/>
                  <a:pt x="6" y="71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3"/>
                  <a:pt x="0" y="62"/>
                  <a:pt x="0" y="61"/>
                </a:cubicBezTo>
                <a:cubicBezTo>
                  <a:pt x="0" y="60"/>
                  <a:pt x="0" y="60"/>
                  <a:pt x="1" y="59"/>
                </a:cubicBezTo>
                <a:cubicBezTo>
                  <a:pt x="69" y="3"/>
                  <a:pt x="69" y="3"/>
                  <a:pt x="69" y="3"/>
                </a:cubicBezTo>
                <a:cubicBezTo>
                  <a:pt x="71" y="1"/>
                  <a:pt x="73" y="0"/>
                  <a:pt x="76" y="0"/>
                </a:cubicBezTo>
                <a:cubicBezTo>
                  <a:pt x="79" y="0"/>
                  <a:pt x="81" y="1"/>
                  <a:pt x="83" y="3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06" y="3"/>
                  <a:pt x="106" y="3"/>
                  <a:pt x="106" y="3"/>
                </a:cubicBezTo>
                <a:cubicBezTo>
                  <a:pt x="106" y="3"/>
                  <a:pt x="106" y="2"/>
                  <a:pt x="107" y="1"/>
                </a:cubicBezTo>
                <a:cubicBezTo>
                  <a:pt x="107" y="1"/>
                  <a:pt x="108" y="0"/>
                  <a:pt x="109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8" y="0"/>
                  <a:pt x="129" y="1"/>
                  <a:pt x="129" y="1"/>
                </a:cubicBezTo>
                <a:cubicBezTo>
                  <a:pt x="130" y="2"/>
                  <a:pt x="130" y="3"/>
                  <a:pt x="130" y="3"/>
                </a:cubicBezTo>
                <a:cubicBezTo>
                  <a:pt x="130" y="42"/>
                  <a:pt x="130" y="42"/>
                  <a:pt x="130" y="42"/>
                </a:cubicBezTo>
                <a:cubicBezTo>
                  <a:pt x="151" y="59"/>
                  <a:pt x="151" y="59"/>
                  <a:pt x="151" y="59"/>
                </a:cubicBezTo>
                <a:cubicBezTo>
                  <a:pt x="152" y="60"/>
                  <a:pt x="152" y="60"/>
                  <a:pt x="152" y="61"/>
                </a:cubicBezTo>
                <a:cubicBezTo>
                  <a:pt x="152" y="62"/>
                  <a:pt x="152" y="63"/>
                  <a:pt x="151" y="64"/>
                </a:cubicBezTo>
                <a:close/>
                <a:moveTo>
                  <a:pt x="130" y="70"/>
                </a:moveTo>
                <a:cubicBezTo>
                  <a:pt x="130" y="115"/>
                  <a:pt x="130" y="115"/>
                  <a:pt x="130" y="115"/>
                </a:cubicBezTo>
                <a:cubicBezTo>
                  <a:pt x="130" y="117"/>
                  <a:pt x="130" y="118"/>
                  <a:pt x="128" y="120"/>
                </a:cubicBezTo>
                <a:cubicBezTo>
                  <a:pt x="127" y="121"/>
                  <a:pt x="126" y="121"/>
                  <a:pt x="124" y="121"/>
                </a:cubicBezTo>
                <a:cubicBezTo>
                  <a:pt x="88" y="121"/>
                  <a:pt x="88" y="121"/>
                  <a:pt x="88" y="121"/>
                </a:cubicBezTo>
                <a:cubicBezTo>
                  <a:pt x="88" y="85"/>
                  <a:pt x="88" y="85"/>
                  <a:pt x="88" y="85"/>
                </a:cubicBezTo>
                <a:cubicBezTo>
                  <a:pt x="64" y="85"/>
                  <a:pt x="64" y="85"/>
                  <a:pt x="64" y="85"/>
                </a:cubicBezTo>
                <a:cubicBezTo>
                  <a:pt x="64" y="121"/>
                  <a:pt x="64" y="121"/>
                  <a:pt x="64" y="121"/>
                </a:cubicBezTo>
                <a:cubicBezTo>
                  <a:pt x="27" y="121"/>
                  <a:pt x="27" y="121"/>
                  <a:pt x="27" y="121"/>
                </a:cubicBezTo>
                <a:cubicBezTo>
                  <a:pt x="26" y="121"/>
                  <a:pt x="24" y="121"/>
                  <a:pt x="23" y="120"/>
                </a:cubicBezTo>
                <a:cubicBezTo>
                  <a:pt x="22" y="118"/>
                  <a:pt x="21" y="117"/>
                  <a:pt x="21" y="115"/>
                </a:cubicBezTo>
                <a:cubicBezTo>
                  <a:pt x="21" y="70"/>
                  <a:pt x="21" y="70"/>
                  <a:pt x="21" y="70"/>
                </a:cubicBezTo>
                <a:cubicBezTo>
                  <a:pt x="21" y="70"/>
                  <a:pt x="21" y="70"/>
                  <a:pt x="21" y="70"/>
                </a:cubicBezTo>
                <a:cubicBezTo>
                  <a:pt x="21" y="70"/>
                  <a:pt x="21" y="70"/>
                  <a:pt x="21" y="69"/>
                </a:cubicBezTo>
                <a:cubicBezTo>
                  <a:pt x="76" y="25"/>
                  <a:pt x="76" y="25"/>
                  <a:pt x="76" y="25"/>
                </a:cubicBezTo>
                <a:cubicBezTo>
                  <a:pt x="130" y="69"/>
                  <a:pt x="130" y="69"/>
                  <a:pt x="130" y="69"/>
                </a:cubicBezTo>
                <a:cubicBezTo>
                  <a:pt x="130" y="70"/>
                  <a:pt x="130" y="70"/>
                  <a:pt x="130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" name="Freeform 26"/>
          <p:cNvSpPr>
            <a:spLocks noChangeAspect="1" noEditPoints="1"/>
          </p:cNvSpPr>
          <p:nvPr/>
        </p:nvSpPr>
        <p:spPr bwMode="auto">
          <a:xfrm>
            <a:off x="5130935" y="1543050"/>
            <a:ext cx="151447" cy="176428"/>
          </a:xfrm>
          <a:custGeom>
            <a:avLst/>
            <a:gdLst>
              <a:gd name="T0" fmla="*/ 139 w 145"/>
              <a:gd name="T1" fmla="*/ 36 h 170"/>
              <a:gd name="T2" fmla="*/ 143 w 145"/>
              <a:gd name="T3" fmla="*/ 43 h 170"/>
              <a:gd name="T4" fmla="*/ 145 w 145"/>
              <a:gd name="T5" fmla="*/ 52 h 170"/>
              <a:gd name="T6" fmla="*/ 145 w 145"/>
              <a:gd name="T7" fmla="*/ 161 h 170"/>
              <a:gd name="T8" fmla="*/ 143 w 145"/>
              <a:gd name="T9" fmla="*/ 167 h 170"/>
              <a:gd name="T10" fmla="*/ 136 w 145"/>
              <a:gd name="T11" fmla="*/ 170 h 170"/>
              <a:gd name="T12" fmla="*/ 9 w 145"/>
              <a:gd name="T13" fmla="*/ 170 h 170"/>
              <a:gd name="T14" fmla="*/ 3 w 145"/>
              <a:gd name="T15" fmla="*/ 167 h 170"/>
              <a:gd name="T16" fmla="*/ 0 w 145"/>
              <a:gd name="T17" fmla="*/ 161 h 170"/>
              <a:gd name="T18" fmla="*/ 0 w 145"/>
              <a:gd name="T19" fmla="*/ 9 h 170"/>
              <a:gd name="T20" fmla="*/ 3 w 145"/>
              <a:gd name="T21" fmla="*/ 3 h 170"/>
              <a:gd name="T22" fmla="*/ 9 w 145"/>
              <a:gd name="T23" fmla="*/ 0 h 170"/>
              <a:gd name="T24" fmla="*/ 94 w 145"/>
              <a:gd name="T25" fmla="*/ 0 h 170"/>
              <a:gd name="T26" fmla="*/ 102 w 145"/>
              <a:gd name="T27" fmla="*/ 2 h 170"/>
              <a:gd name="T28" fmla="*/ 109 w 145"/>
              <a:gd name="T29" fmla="*/ 7 h 170"/>
              <a:gd name="T30" fmla="*/ 139 w 145"/>
              <a:gd name="T31" fmla="*/ 36 h 170"/>
              <a:gd name="T32" fmla="*/ 133 w 145"/>
              <a:gd name="T33" fmla="*/ 158 h 170"/>
              <a:gd name="T34" fmla="*/ 133 w 145"/>
              <a:gd name="T35" fmla="*/ 61 h 170"/>
              <a:gd name="T36" fmla="*/ 94 w 145"/>
              <a:gd name="T37" fmla="*/ 61 h 170"/>
              <a:gd name="T38" fmla="*/ 87 w 145"/>
              <a:gd name="T39" fmla="*/ 58 h 170"/>
              <a:gd name="T40" fmla="*/ 85 w 145"/>
              <a:gd name="T41" fmla="*/ 52 h 170"/>
              <a:gd name="T42" fmla="*/ 85 w 145"/>
              <a:gd name="T43" fmla="*/ 12 h 170"/>
              <a:gd name="T44" fmla="*/ 12 w 145"/>
              <a:gd name="T45" fmla="*/ 12 h 170"/>
              <a:gd name="T46" fmla="*/ 12 w 145"/>
              <a:gd name="T47" fmla="*/ 158 h 170"/>
              <a:gd name="T48" fmla="*/ 133 w 145"/>
              <a:gd name="T49" fmla="*/ 158 h 170"/>
              <a:gd name="T50" fmla="*/ 97 w 145"/>
              <a:gd name="T51" fmla="*/ 13 h 170"/>
              <a:gd name="T52" fmla="*/ 97 w 145"/>
              <a:gd name="T53" fmla="*/ 49 h 170"/>
              <a:gd name="T54" fmla="*/ 132 w 145"/>
              <a:gd name="T55" fmla="*/ 49 h 170"/>
              <a:gd name="T56" fmla="*/ 130 w 145"/>
              <a:gd name="T57" fmla="*/ 45 h 170"/>
              <a:gd name="T58" fmla="*/ 101 w 145"/>
              <a:gd name="T59" fmla="*/ 15 h 170"/>
              <a:gd name="T60" fmla="*/ 97 w 145"/>
              <a:gd name="T61" fmla="*/ 1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5" h="170">
                <a:moveTo>
                  <a:pt x="139" y="36"/>
                </a:moveTo>
                <a:cubicBezTo>
                  <a:pt x="141" y="38"/>
                  <a:pt x="142" y="40"/>
                  <a:pt x="143" y="43"/>
                </a:cubicBezTo>
                <a:cubicBezTo>
                  <a:pt x="145" y="46"/>
                  <a:pt x="145" y="49"/>
                  <a:pt x="145" y="52"/>
                </a:cubicBezTo>
                <a:cubicBezTo>
                  <a:pt x="145" y="161"/>
                  <a:pt x="145" y="161"/>
                  <a:pt x="145" y="161"/>
                </a:cubicBezTo>
                <a:cubicBezTo>
                  <a:pt x="145" y="163"/>
                  <a:pt x="144" y="165"/>
                  <a:pt x="143" y="167"/>
                </a:cubicBezTo>
                <a:cubicBezTo>
                  <a:pt x="141" y="169"/>
                  <a:pt x="139" y="170"/>
                  <a:pt x="136" y="170"/>
                </a:cubicBezTo>
                <a:cubicBezTo>
                  <a:pt x="9" y="170"/>
                  <a:pt x="9" y="170"/>
                  <a:pt x="9" y="170"/>
                </a:cubicBezTo>
                <a:cubicBezTo>
                  <a:pt x="7" y="170"/>
                  <a:pt x="5" y="169"/>
                  <a:pt x="3" y="167"/>
                </a:cubicBezTo>
                <a:cubicBezTo>
                  <a:pt x="1" y="165"/>
                  <a:pt x="0" y="163"/>
                  <a:pt x="0" y="161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3" y="3"/>
                </a:cubicBezTo>
                <a:cubicBezTo>
                  <a:pt x="5" y="1"/>
                  <a:pt x="7" y="0"/>
                  <a:pt x="9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6" y="0"/>
                  <a:pt x="99" y="1"/>
                  <a:pt x="102" y="2"/>
                </a:cubicBezTo>
                <a:cubicBezTo>
                  <a:pt x="105" y="3"/>
                  <a:pt x="108" y="5"/>
                  <a:pt x="109" y="7"/>
                </a:cubicBezTo>
                <a:lnTo>
                  <a:pt x="139" y="36"/>
                </a:lnTo>
                <a:close/>
                <a:moveTo>
                  <a:pt x="133" y="158"/>
                </a:moveTo>
                <a:cubicBezTo>
                  <a:pt x="133" y="61"/>
                  <a:pt x="133" y="61"/>
                  <a:pt x="133" y="61"/>
                </a:cubicBezTo>
                <a:cubicBezTo>
                  <a:pt x="94" y="61"/>
                  <a:pt x="94" y="61"/>
                  <a:pt x="94" y="61"/>
                </a:cubicBezTo>
                <a:cubicBezTo>
                  <a:pt x="91" y="61"/>
                  <a:pt x="89" y="60"/>
                  <a:pt x="87" y="58"/>
                </a:cubicBezTo>
                <a:cubicBezTo>
                  <a:pt x="86" y="56"/>
                  <a:pt x="85" y="54"/>
                  <a:pt x="85" y="52"/>
                </a:cubicBezTo>
                <a:cubicBezTo>
                  <a:pt x="85" y="12"/>
                  <a:pt x="85" y="12"/>
                  <a:pt x="85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158"/>
                  <a:pt x="12" y="158"/>
                  <a:pt x="12" y="158"/>
                </a:cubicBezTo>
                <a:lnTo>
                  <a:pt x="133" y="158"/>
                </a:lnTo>
                <a:close/>
                <a:moveTo>
                  <a:pt x="97" y="13"/>
                </a:moveTo>
                <a:cubicBezTo>
                  <a:pt x="97" y="49"/>
                  <a:pt x="97" y="49"/>
                  <a:pt x="97" y="49"/>
                </a:cubicBezTo>
                <a:cubicBezTo>
                  <a:pt x="132" y="49"/>
                  <a:pt x="132" y="49"/>
                  <a:pt x="132" y="49"/>
                </a:cubicBezTo>
                <a:cubicBezTo>
                  <a:pt x="132" y="47"/>
                  <a:pt x="131" y="46"/>
                  <a:pt x="130" y="45"/>
                </a:cubicBezTo>
                <a:cubicBezTo>
                  <a:pt x="101" y="15"/>
                  <a:pt x="101" y="15"/>
                  <a:pt x="101" y="15"/>
                </a:cubicBezTo>
                <a:cubicBezTo>
                  <a:pt x="100" y="14"/>
                  <a:pt x="99" y="14"/>
                  <a:pt x="97" y="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" name="Freeform 27"/>
          <p:cNvSpPr>
            <a:spLocks noChangeAspect="1" noEditPoints="1"/>
          </p:cNvSpPr>
          <p:nvPr/>
        </p:nvSpPr>
        <p:spPr bwMode="auto">
          <a:xfrm>
            <a:off x="5327660" y="1555540"/>
            <a:ext cx="151447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17 w 145"/>
              <a:gd name="T27" fmla="*/ 99 h 146"/>
              <a:gd name="T28" fmla="*/ 124 w 145"/>
              <a:gd name="T29" fmla="*/ 73 h 146"/>
              <a:gd name="T30" fmla="*/ 117 w 145"/>
              <a:gd name="T31" fmla="*/ 47 h 146"/>
              <a:gd name="T32" fmla="*/ 98 w 145"/>
              <a:gd name="T33" fmla="*/ 28 h 146"/>
              <a:gd name="T34" fmla="*/ 73 w 145"/>
              <a:gd name="T35" fmla="*/ 22 h 146"/>
              <a:gd name="T36" fmla="*/ 47 w 145"/>
              <a:gd name="T37" fmla="*/ 28 h 146"/>
              <a:gd name="T38" fmla="*/ 28 w 145"/>
              <a:gd name="T39" fmla="*/ 47 h 146"/>
              <a:gd name="T40" fmla="*/ 21 w 145"/>
              <a:gd name="T41" fmla="*/ 73 h 146"/>
              <a:gd name="T42" fmla="*/ 28 w 145"/>
              <a:gd name="T43" fmla="*/ 99 h 146"/>
              <a:gd name="T44" fmla="*/ 47 w 145"/>
              <a:gd name="T45" fmla="*/ 118 h 146"/>
              <a:gd name="T46" fmla="*/ 73 w 145"/>
              <a:gd name="T47" fmla="*/ 124 h 146"/>
              <a:gd name="T48" fmla="*/ 98 w 145"/>
              <a:gd name="T49" fmla="*/ 118 h 146"/>
              <a:gd name="T50" fmla="*/ 117 w 145"/>
              <a:gd name="T51" fmla="*/ 99 h 146"/>
              <a:gd name="T52" fmla="*/ 85 w 145"/>
              <a:gd name="T53" fmla="*/ 40 h 146"/>
              <a:gd name="T54" fmla="*/ 85 w 145"/>
              <a:gd name="T55" fmla="*/ 82 h 146"/>
              <a:gd name="T56" fmla="*/ 84 w 145"/>
              <a:gd name="T57" fmla="*/ 84 h 146"/>
              <a:gd name="T58" fmla="*/ 82 w 145"/>
              <a:gd name="T59" fmla="*/ 85 h 146"/>
              <a:gd name="T60" fmla="*/ 51 w 145"/>
              <a:gd name="T61" fmla="*/ 85 h 146"/>
              <a:gd name="T62" fmla="*/ 49 w 145"/>
              <a:gd name="T63" fmla="*/ 84 h 146"/>
              <a:gd name="T64" fmla="*/ 48 w 145"/>
              <a:gd name="T65" fmla="*/ 82 h 146"/>
              <a:gd name="T66" fmla="*/ 48 w 145"/>
              <a:gd name="T67" fmla="*/ 76 h 146"/>
              <a:gd name="T68" fmla="*/ 49 w 145"/>
              <a:gd name="T69" fmla="*/ 74 h 146"/>
              <a:gd name="T70" fmla="*/ 51 w 145"/>
              <a:gd name="T71" fmla="*/ 73 h 146"/>
              <a:gd name="T72" fmla="*/ 73 w 145"/>
              <a:gd name="T73" fmla="*/ 73 h 146"/>
              <a:gd name="T74" fmla="*/ 73 w 145"/>
              <a:gd name="T75" fmla="*/ 40 h 146"/>
              <a:gd name="T76" fmla="*/ 73 w 145"/>
              <a:gd name="T77" fmla="*/ 38 h 146"/>
              <a:gd name="T78" fmla="*/ 76 w 145"/>
              <a:gd name="T79" fmla="*/ 37 h 146"/>
              <a:gd name="T80" fmla="*/ 82 w 145"/>
              <a:gd name="T81" fmla="*/ 37 h 146"/>
              <a:gd name="T82" fmla="*/ 84 w 145"/>
              <a:gd name="T83" fmla="*/ 38 h 146"/>
              <a:gd name="T84" fmla="*/ 85 w 145"/>
              <a:gd name="T85" fmla="*/ 4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17" y="99"/>
                </a:moveTo>
                <a:cubicBezTo>
                  <a:pt x="122" y="91"/>
                  <a:pt x="124" y="82"/>
                  <a:pt x="124" y="73"/>
                </a:cubicBezTo>
                <a:cubicBezTo>
                  <a:pt x="124" y="64"/>
                  <a:pt x="122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ubicBezTo>
                  <a:pt x="90" y="24"/>
                  <a:pt x="82" y="22"/>
                  <a:pt x="73" y="22"/>
                </a:cubicBezTo>
                <a:cubicBezTo>
                  <a:pt x="63" y="22"/>
                  <a:pt x="55" y="24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3" y="107"/>
                  <a:pt x="39" y="113"/>
                  <a:pt x="47" y="118"/>
                </a:cubicBezTo>
                <a:cubicBezTo>
                  <a:pt x="55" y="122"/>
                  <a:pt x="63" y="124"/>
                  <a:pt x="73" y="124"/>
                </a:cubicBezTo>
                <a:cubicBezTo>
                  <a:pt x="82" y="124"/>
                  <a:pt x="90" y="122"/>
                  <a:pt x="98" y="118"/>
                </a:cubicBezTo>
                <a:cubicBezTo>
                  <a:pt x="106" y="113"/>
                  <a:pt x="112" y="107"/>
                  <a:pt x="117" y="99"/>
                </a:cubicBezTo>
                <a:close/>
                <a:moveTo>
                  <a:pt x="85" y="40"/>
                </a:moveTo>
                <a:cubicBezTo>
                  <a:pt x="85" y="82"/>
                  <a:pt x="85" y="82"/>
                  <a:pt x="85" y="82"/>
                </a:cubicBezTo>
                <a:cubicBezTo>
                  <a:pt x="85" y="83"/>
                  <a:pt x="84" y="84"/>
                  <a:pt x="84" y="84"/>
                </a:cubicBezTo>
                <a:cubicBezTo>
                  <a:pt x="83" y="85"/>
                  <a:pt x="83" y="85"/>
                  <a:pt x="82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1" y="85"/>
                  <a:pt x="50" y="85"/>
                  <a:pt x="49" y="84"/>
                </a:cubicBezTo>
                <a:cubicBezTo>
                  <a:pt x="49" y="84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9" y="74"/>
                  <a:pt x="49" y="74"/>
                </a:cubicBezTo>
                <a:cubicBezTo>
                  <a:pt x="50" y="73"/>
                  <a:pt x="51" y="73"/>
                  <a:pt x="51" y="73"/>
                </a:cubicBezTo>
                <a:cubicBezTo>
                  <a:pt x="73" y="73"/>
                  <a:pt x="73" y="73"/>
                  <a:pt x="73" y="73"/>
                </a:cubicBezTo>
                <a:cubicBezTo>
                  <a:pt x="73" y="40"/>
                  <a:pt x="73" y="40"/>
                  <a:pt x="73" y="40"/>
                </a:cubicBezTo>
                <a:cubicBezTo>
                  <a:pt x="73" y="39"/>
                  <a:pt x="73" y="38"/>
                  <a:pt x="73" y="38"/>
                </a:cubicBezTo>
                <a:cubicBezTo>
                  <a:pt x="74" y="37"/>
                  <a:pt x="75" y="37"/>
                  <a:pt x="76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3" y="37"/>
                  <a:pt x="83" y="37"/>
                  <a:pt x="84" y="38"/>
                </a:cubicBezTo>
                <a:cubicBezTo>
                  <a:pt x="84" y="38"/>
                  <a:pt x="85" y="39"/>
                  <a:pt x="85" y="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" name="Freeform 28"/>
          <p:cNvSpPr>
            <a:spLocks noChangeAspect="1" noEditPoints="1"/>
          </p:cNvSpPr>
          <p:nvPr/>
        </p:nvSpPr>
        <p:spPr bwMode="auto">
          <a:xfrm>
            <a:off x="5530630" y="1568031"/>
            <a:ext cx="177989" cy="126466"/>
          </a:xfrm>
          <a:custGeom>
            <a:avLst/>
            <a:gdLst>
              <a:gd name="T0" fmla="*/ 172 w 172"/>
              <a:gd name="T1" fmla="*/ 115 h 121"/>
              <a:gd name="T2" fmla="*/ 167 w 172"/>
              <a:gd name="T3" fmla="*/ 121 h 121"/>
              <a:gd name="T4" fmla="*/ 101 w 172"/>
              <a:gd name="T5" fmla="*/ 121 h 121"/>
              <a:gd name="T6" fmla="*/ 103 w 172"/>
              <a:gd name="T7" fmla="*/ 121 h 121"/>
              <a:gd name="T8" fmla="*/ 104 w 172"/>
              <a:gd name="T9" fmla="*/ 118 h 121"/>
              <a:gd name="T10" fmla="*/ 102 w 172"/>
              <a:gd name="T11" fmla="*/ 94 h 121"/>
              <a:gd name="T12" fmla="*/ 101 w 172"/>
              <a:gd name="T13" fmla="*/ 92 h 121"/>
              <a:gd name="T14" fmla="*/ 98 w 172"/>
              <a:gd name="T15" fmla="*/ 91 h 121"/>
              <a:gd name="T16" fmla="*/ 73 w 172"/>
              <a:gd name="T17" fmla="*/ 91 h 121"/>
              <a:gd name="T18" fmla="*/ 71 w 172"/>
              <a:gd name="T19" fmla="*/ 92 h 121"/>
              <a:gd name="T20" fmla="*/ 69 w 172"/>
              <a:gd name="T21" fmla="*/ 94 h 121"/>
              <a:gd name="T22" fmla="*/ 68 w 172"/>
              <a:gd name="T23" fmla="*/ 118 h 121"/>
              <a:gd name="T24" fmla="*/ 68 w 172"/>
              <a:gd name="T25" fmla="*/ 121 h 121"/>
              <a:gd name="T26" fmla="*/ 70 w 172"/>
              <a:gd name="T27" fmla="*/ 121 h 121"/>
              <a:gd name="T28" fmla="*/ 4 w 172"/>
              <a:gd name="T29" fmla="*/ 121 h 121"/>
              <a:gd name="T30" fmla="*/ 0 w 172"/>
              <a:gd name="T31" fmla="*/ 115 h 121"/>
              <a:gd name="T32" fmla="*/ 2 w 172"/>
              <a:gd name="T33" fmla="*/ 104 h 121"/>
              <a:gd name="T34" fmla="*/ 41 w 172"/>
              <a:gd name="T35" fmla="*/ 5 h 121"/>
              <a:gd name="T36" fmla="*/ 44 w 172"/>
              <a:gd name="T37" fmla="*/ 2 h 121"/>
              <a:gd name="T38" fmla="*/ 47 w 172"/>
              <a:gd name="T39" fmla="*/ 0 h 121"/>
              <a:gd name="T40" fmla="*/ 80 w 172"/>
              <a:gd name="T41" fmla="*/ 0 h 121"/>
              <a:gd name="T42" fmla="*/ 77 w 172"/>
              <a:gd name="T43" fmla="*/ 1 h 121"/>
              <a:gd name="T44" fmla="*/ 76 w 172"/>
              <a:gd name="T45" fmla="*/ 3 h 121"/>
              <a:gd name="T46" fmla="*/ 75 w 172"/>
              <a:gd name="T47" fmla="*/ 22 h 121"/>
              <a:gd name="T48" fmla="*/ 76 w 172"/>
              <a:gd name="T49" fmla="*/ 24 h 121"/>
              <a:gd name="T50" fmla="*/ 78 w 172"/>
              <a:gd name="T51" fmla="*/ 25 h 121"/>
              <a:gd name="T52" fmla="*/ 93 w 172"/>
              <a:gd name="T53" fmla="*/ 25 h 121"/>
              <a:gd name="T54" fmla="*/ 96 w 172"/>
              <a:gd name="T55" fmla="*/ 24 h 121"/>
              <a:gd name="T56" fmla="*/ 96 w 172"/>
              <a:gd name="T57" fmla="*/ 22 h 121"/>
              <a:gd name="T58" fmla="*/ 95 w 172"/>
              <a:gd name="T59" fmla="*/ 3 h 121"/>
              <a:gd name="T60" fmla="*/ 94 w 172"/>
              <a:gd name="T61" fmla="*/ 1 h 121"/>
              <a:gd name="T62" fmla="*/ 92 w 172"/>
              <a:gd name="T63" fmla="*/ 0 h 121"/>
              <a:gd name="T64" fmla="*/ 124 w 172"/>
              <a:gd name="T65" fmla="*/ 0 h 121"/>
              <a:gd name="T66" fmla="*/ 127 w 172"/>
              <a:gd name="T67" fmla="*/ 2 h 121"/>
              <a:gd name="T68" fmla="*/ 130 w 172"/>
              <a:gd name="T69" fmla="*/ 5 h 121"/>
              <a:gd name="T70" fmla="*/ 169 w 172"/>
              <a:gd name="T71" fmla="*/ 104 h 121"/>
              <a:gd name="T72" fmla="*/ 172 w 172"/>
              <a:gd name="T73" fmla="*/ 115 h 121"/>
              <a:gd name="T74" fmla="*/ 100 w 172"/>
              <a:gd name="T75" fmla="*/ 70 h 121"/>
              <a:gd name="T76" fmla="*/ 100 w 172"/>
              <a:gd name="T77" fmla="*/ 70 h 121"/>
              <a:gd name="T78" fmla="*/ 98 w 172"/>
              <a:gd name="T79" fmla="*/ 40 h 121"/>
              <a:gd name="T80" fmla="*/ 97 w 172"/>
              <a:gd name="T81" fmla="*/ 38 h 121"/>
              <a:gd name="T82" fmla="*/ 94 w 172"/>
              <a:gd name="T83" fmla="*/ 37 h 121"/>
              <a:gd name="T84" fmla="*/ 77 w 172"/>
              <a:gd name="T85" fmla="*/ 37 h 121"/>
              <a:gd name="T86" fmla="*/ 75 w 172"/>
              <a:gd name="T87" fmla="*/ 38 h 121"/>
              <a:gd name="T88" fmla="*/ 74 w 172"/>
              <a:gd name="T89" fmla="*/ 40 h 121"/>
              <a:gd name="T90" fmla="*/ 71 w 172"/>
              <a:gd name="T91" fmla="*/ 70 h 121"/>
              <a:gd name="T92" fmla="*/ 71 w 172"/>
              <a:gd name="T93" fmla="*/ 70 h 121"/>
              <a:gd name="T94" fmla="*/ 72 w 172"/>
              <a:gd name="T95" fmla="*/ 72 h 121"/>
              <a:gd name="T96" fmla="*/ 74 w 172"/>
              <a:gd name="T97" fmla="*/ 73 h 121"/>
              <a:gd name="T98" fmla="*/ 97 w 172"/>
              <a:gd name="T99" fmla="*/ 73 h 121"/>
              <a:gd name="T100" fmla="*/ 99 w 172"/>
              <a:gd name="T101" fmla="*/ 72 h 121"/>
              <a:gd name="T102" fmla="*/ 100 w 172"/>
              <a:gd name="T103" fmla="*/ 7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2" h="121">
                <a:moveTo>
                  <a:pt x="172" y="115"/>
                </a:moveTo>
                <a:cubicBezTo>
                  <a:pt x="172" y="119"/>
                  <a:pt x="170" y="121"/>
                  <a:pt x="167" y="121"/>
                </a:cubicBezTo>
                <a:cubicBezTo>
                  <a:pt x="101" y="121"/>
                  <a:pt x="101" y="121"/>
                  <a:pt x="101" y="121"/>
                </a:cubicBezTo>
                <a:cubicBezTo>
                  <a:pt x="102" y="121"/>
                  <a:pt x="102" y="121"/>
                  <a:pt x="103" y="121"/>
                </a:cubicBezTo>
                <a:cubicBezTo>
                  <a:pt x="103" y="120"/>
                  <a:pt x="104" y="119"/>
                  <a:pt x="104" y="118"/>
                </a:cubicBezTo>
                <a:cubicBezTo>
                  <a:pt x="102" y="94"/>
                  <a:pt x="102" y="94"/>
                  <a:pt x="102" y="94"/>
                </a:cubicBezTo>
                <a:cubicBezTo>
                  <a:pt x="102" y="93"/>
                  <a:pt x="101" y="93"/>
                  <a:pt x="101" y="92"/>
                </a:cubicBezTo>
                <a:cubicBezTo>
                  <a:pt x="100" y="92"/>
                  <a:pt x="99" y="91"/>
                  <a:pt x="98" y="91"/>
                </a:cubicBezTo>
                <a:cubicBezTo>
                  <a:pt x="73" y="91"/>
                  <a:pt x="73" y="91"/>
                  <a:pt x="73" y="91"/>
                </a:cubicBezTo>
                <a:cubicBezTo>
                  <a:pt x="72" y="91"/>
                  <a:pt x="71" y="92"/>
                  <a:pt x="71" y="92"/>
                </a:cubicBezTo>
                <a:cubicBezTo>
                  <a:pt x="70" y="93"/>
                  <a:pt x="70" y="93"/>
                  <a:pt x="69" y="94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8" y="119"/>
                  <a:pt x="68" y="120"/>
                  <a:pt x="68" y="121"/>
                </a:cubicBezTo>
                <a:cubicBezTo>
                  <a:pt x="69" y="121"/>
                  <a:pt x="70" y="121"/>
                  <a:pt x="70" y="121"/>
                </a:cubicBezTo>
                <a:cubicBezTo>
                  <a:pt x="4" y="121"/>
                  <a:pt x="4" y="121"/>
                  <a:pt x="4" y="121"/>
                </a:cubicBezTo>
                <a:cubicBezTo>
                  <a:pt x="1" y="121"/>
                  <a:pt x="0" y="119"/>
                  <a:pt x="0" y="115"/>
                </a:cubicBezTo>
                <a:cubicBezTo>
                  <a:pt x="0" y="111"/>
                  <a:pt x="0" y="108"/>
                  <a:pt x="2" y="104"/>
                </a:cubicBezTo>
                <a:cubicBezTo>
                  <a:pt x="41" y="5"/>
                  <a:pt x="41" y="5"/>
                  <a:pt x="41" y="5"/>
                </a:cubicBezTo>
                <a:cubicBezTo>
                  <a:pt x="42" y="4"/>
                  <a:pt x="43" y="3"/>
                  <a:pt x="44" y="2"/>
                </a:cubicBezTo>
                <a:cubicBezTo>
                  <a:pt x="45" y="1"/>
                  <a:pt x="46" y="0"/>
                  <a:pt x="47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9" y="0"/>
                  <a:pt x="78" y="1"/>
                  <a:pt x="77" y="1"/>
                </a:cubicBezTo>
                <a:cubicBezTo>
                  <a:pt x="77" y="2"/>
                  <a:pt x="76" y="3"/>
                  <a:pt x="76" y="3"/>
                </a:cubicBezTo>
                <a:cubicBezTo>
                  <a:pt x="75" y="22"/>
                  <a:pt x="75" y="22"/>
                  <a:pt x="75" y="22"/>
                </a:cubicBezTo>
                <a:cubicBezTo>
                  <a:pt x="75" y="23"/>
                  <a:pt x="75" y="23"/>
                  <a:pt x="76" y="24"/>
                </a:cubicBezTo>
                <a:cubicBezTo>
                  <a:pt x="76" y="24"/>
                  <a:pt x="77" y="25"/>
                  <a:pt x="78" y="25"/>
                </a:cubicBezTo>
                <a:cubicBezTo>
                  <a:pt x="93" y="25"/>
                  <a:pt x="93" y="25"/>
                  <a:pt x="93" y="25"/>
                </a:cubicBezTo>
                <a:cubicBezTo>
                  <a:pt x="94" y="25"/>
                  <a:pt x="95" y="24"/>
                  <a:pt x="96" y="24"/>
                </a:cubicBezTo>
                <a:cubicBezTo>
                  <a:pt x="96" y="23"/>
                  <a:pt x="96" y="23"/>
                  <a:pt x="96" y="22"/>
                </a:cubicBezTo>
                <a:cubicBezTo>
                  <a:pt x="95" y="3"/>
                  <a:pt x="95" y="3"/>
                  <a:pt x="95" y="3"/>
                </a:cubicBezTo>
                <a:cubicBezTo>
                  <a:pt x="95" y="3"/>
                  <a:pt x="94" y="2"/>
                  <a:pt x="94" y="1"/>
                </a:cubicBezTo>
                <a:cubicBezTo>
                  <a:pt x="93" y="1"/>
                  <a:pt x="92" y="0"/>
                  <a:pt x="92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5" y="0"/>
                  <a:pt x="126" y="1"/>
                  <a:pt x="127" y="2"/>
                </a:cubicBezTo>
                <a:cubicBezTo>
                  <a:pt x="128" y="3"/>
                  <a:pt x="129" y="4"/>
                  <a:pt x="130" y="5"/>
                </a:cubicBezTo>
                <a:cubicBezTo>
                  <a:pt x="169" y="104"/>
                  <a:pt x="169" y="104"/>
                  <a:pt x="169" y="104"/>
                </a:cubicBezTo>
                <a:cubicBezTo>
                  <a:pt x="171" y="108"/>
                  <a:pt x="172" y="111"/>
                  <a:pt x="172" y="115"/>
                </a:cubicBezTo>
                <a:close/>
                <a:moveTo>
                  <a:pt x="100" y="70"/>
                </a:moveTo>
                <a:cubicBezTo>
                  <a:pt x="100" y="70"/>
                  <a:pt x="100" y="70"/>
                  <a:pt x="100" y="70"/>
                </a:cubicBezTo>
                <a:cubicBezTo>
                  <a:pt x="98" y="40"/>
                  <a:pt x="98" y="40"/>
                  <a:pt x="98" y="40"/>
                </a:cubicBezTo>
                <a:cubicBezTo>
                  <a:pt x="98" y="39"/>
                  <a:pt x="97" y="38"/>
                  <a:pt x="97" y="38"/>
                </a:cubicBezTo>
                <a:cubicBezTo>
                  <a:pt x="96" y="37"/>
                  <a:pt x="95" y="37"/>
                  <a:pt x="94" y="37"/>
                </a:cubicBezTo>
                <a:cubicBezTo>
                  <a:pt x="77" y="37"/>
                  <a:pt x="77" y="37"/>
                  <a:pt x="77" y="37"/>
                </a:cubicBezTo>
                <a:cubicBezTo>
                  <a:pt x="76" y="37"/>
                  <a:pt x="75" y="37"/>
                  <a:pt x="75" y="38"/>
                </a:cubicBezTo>
                <a:cubicBezTo>
                  <a:pt x="74" y="38"/>
                  <a:pt x="74" y="39"/>
                  <a:pt x="74" y="40"/>
                </a:cubicBezTo>
                <a:cubicBezTo>
                  <a:pt x="71" y="70"/>
                  <a:pt x="71" y="70"/>
                  <a:pt x="71" y="70"/>
                </a:cubicBezTo>
                <a:cubicBezTo>
                  <a:pt x="71" y="70"/>
                  <a:pt x="71" y="70"/>
                  <a:pt x="71" y="70"/>
                </a:cubicBezTo>
                <a:cubicBezTo>
                  <a:pt x="71" y="71"/>
                  <a:pt x="71" y="72"/>
                  <a:pt x="72" y="72"/>
                </a:cubicBezTo>
                <a:cubicBezTo>
                  <a:pt x="73" y="73"/>
                  <a:pt x="73" y="73"/>
                  <a:pt x="74" y="73"/>
                </a:cubicBezTo>
                <a:cubicBezTo>
                  <a:pt x="97" y="73"/>
                  <a:pt x="97" y="73"/>
                  <a:pt x="97" y="73"/>
                </a:cubicBezTo>
                <a:cubicBezTo>
                  <a:pt x="98" y="73"/>
                  <a:pt x="99" y="73"/>
                  <a:pt x="99" y="72"/>
                </a:cubicBezTo>
                <a:cubicBezTo>
                  <a:pt x="100" y="72"/>
                  <a:pt x="100" y="71"/>
                  <a:pt x="100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" name="Freeform 29"/>
          <p:cNvSpPr>
            <a:spLocks noChangeAspect="1" noEditPoints="1"/>
          </p:cNvSpPr>
          <p:nvPr/>
        </p:nvSpPr>
        <p:spPr bwMode="auto">
          <a:xfrm>
            <a:off x="5758581" y="1543050"/>
            <a:ext cx="162376" cy="151447"/>
          </a:xfrm>
          <a:custGeom>
            <a:avLst/>
            <a:gdLst>
              <a:gd name="T0" fmla="*/ 157 w 157"/>
              <a:gd name="T1" fmla="*/ 106 h 145"/>
              <a:gd name="T2" fmla="*/ 157 w 157"/>
              <a:gd name="T3" fmla="*/ 136 h 145"/>
              <a:gd name="T4" fmla="*/ 155 w 157"/>
              <a:gd name="T5" fmla="*/ 143 h 145"/>
              <a:gd name="T6" fmla="*/ 148 w 157"/>
              <a:gd name="T7" fmla="*/ 145 h 145"/>
              <a:gd name="T8" fmla="*/ 9 w 157"/>
              <a:gd name="T9" fmla="*/ 145 h 145"/>
              <a:gd name="T10" fmla="*/ 3 w 157"/>
              <a:gd name="T11" fmla="*/ 143 h 145"/>
              <a:gd name="T12" fmla="*/ 0 w 157"/>
              <a:gd name="T13" fmla="*/ 136 h 145"/>
              <a:gd name="T14" fmla="*/ 0 w 157"/>
              <a:gd name="T15" fmla="*/ 106 h 145"/>
              <a:gd name="T16" fmla="*/ 3 w 157"/>
              <a:gd name="T17" fmla="*/ 100 h 145"/>
              <a:gd name="T18" fmla="*/ 9 w 157"/>
              <a:gd name="T19" fmla="*/ 97 h 145"/>
              <a:gd name="T20" fmla="*/ 53 w 157"/>
              <a:gd name="T21" fmla="*/ 97 h 145"/>
              <a:gd name="T22" fmla="*/ 66 w 157"/>
              <a:gd name="T23" fmla="*/ 110 h 145"/>
              <a:gd name="T24" fmla="*/ 79 w 157"/>
              <a:gd name="T25" fmla="*/ 115 h 145"/>
              <a:gd name="T26" fmla="*/ 91 w 157"/>
              <a:gd name="T27" fmla="*/ 110 h 145"/>
              <a:gd name="T28" fmla="*/ 104 w 157"/>
              <a:gd name="T29" fmla="*/ 97 h 145"/>
              <a:gd name="T30" fmla="*/ 148 w 157"/>
              <a:gd name="T31" fmla="*/ 97 h 145"/>
              <a:gd name="T32" fmla="*/ 155 w 157"/>
              <a:gd name="T33" fmla="*/ 100 h 145"/>
              <a:gd name="T34" fmla="*/ 157 w 157"/>
              <a:gd name="T35" fmla="*/ 106 h 145"/>
              <a:gd name="T36" fmla="*/ 127 w 157"/>
              <a:gd name="T37" fmla="*/ 52 h 145"/>
              <a:gd name="T38" fmla="*/ 125 w 157"/>
              <a:gd name="T39" fmla="*/ 59 h 145"/>
              <a:gd name="T40" fmla="*/ 83 w 157"/>
              <a:gd name="T41" fmla="*/ 101 h 145"/>
              <a:gd name="T42" fmla="*/ 79 w 157"/>
              <a:gd name="T43" fmla="*/ 103 h 145"/>
              <a:gd name="T44" fmla="*/ 74 w 157"/>
              <a:gd name="T45" fmla="*/ 101 h 145"/>
              <a:gd name="T46" fmla="*/ 32 w 157"/>
              <a:gd name="T47" fmla="*/ 59 h 145"/>
              <a:gd name="T48" fmla="*/ 31 w 157"/>
              <a:gd name="T49" fmla="*/ 52 h 145"/>
              <a:gd name="T50" fmla="*/ 36 w 157"/>
              <a:gd name="T51" fmla="*/ 49 h 145"/>
              <a:gd name="T52" fmla="*/ 60 w 157"/>
              <a:gd name="T53" fmla="*/ 49 h 145"/>
              <a:gd name="T54" fmla="*/ 60 w 157"/>
              <a:gd name="T55" fmla="*/ 6 h 145"/>
              <a:gd name="T56" fmla="*/ 62 w 157"/>
              <a:gd name="T57" fmla="*/ 2 h 145"/>
              <a:gd name="T58" fmla="*/ 67 w 157"/>
              <a:gd name="T59" fmla="*/ 0 h 145"/>
              <a:gd name="T60" fmla="*/ 91 w 157"/>
              <a:gd name="T61" fmla="*/ 0 h 145"/>
              <a:gd name="T62" fmla="*/ 95 w 157"/>
              <a:gd name="T63" fmla="*/ 2 h 145"/>
              <a:gd name="T64" fmla="*/ 97 w 157"/>
              <a:gd name="T65" fmla="*/ 6 h 145"/>
              <a:gd name="T66" fmla="*/ 97 w 157"/>
              <a:gd name="T67" fmla="*/ 49 h 145"/>
              <a:gd name="T68" fmla="*/ 121 w 157"/>
              <a:gd name="T69" fmla="*/ 49 h 145"/>
              <a:gd name="T70" fmla="*/ 127 w 157"/>
              <a:gd name="T71" fmla="*/ 52 h 145"/>
              <a:gd name="T72" fmla="*/ 119 w 157"/>
              <a:gd name="T73" fmla="*/ 132 h 145"/>
              <a:gd name="T74" fmla="*/ 121 w 157"/>
              <a:gd name="T75" fmla="*/ 127 h 145"/>
              <a:gd name="T76" fmla="*/ 119 w 157"/>
              <a:gd name="T77" fmla="*/ 123 h 145"/>
              <a:gd name="T78" fmla="*/ 115 w 157"/>
              <a:gd name="T79" fmla="*/ 121 h 145"/>
              <a:gd name="T80" fmla="*/ 111 w 157"/>
              <a:gd name="T81" fmla="*/ 123 h 145"/>
              <a:gd name="T82" fmla="*/ 109 w 157"/>
              <a:gd name="T83" fmla="*/ 127 h 145"/>
              <a:gd name="T84" fmla="*/ 111 w 157"/>
              <a:gd name="T85" fmla="*/ 132 h 145"/>
              <a:gd name="T86" fmla="*/ 115 w 157"/>
              <a:gd name="T87" fmla="*/ 133 h 145"/>
              <a:gd name="T88" fmla="*/ 119 w 157"/>
              <a:gd name="T89" fmla="*/ 132 h 145"/>
              <a:gd name="T90" fmla="*/ 143 w 157"/>
              <a:gd name="T91" fmla="*/ 132 h 145"/>
              <a:gd name="T92" fmla="*/ 145 w 157"/>
              <a:gd name="T93" fmla="*/ 127 h 145"/>
              <a:gd name="T94" fmla="*/ 143 w 157"/>
              <a:gd name="T95" fmla="*/ 123 h 145"/>
              <a:gd name="T96" fmla="*/ 139 w 157"/>
              <a:gd name="T97" fmla="*/ 121 h 145"/>
              <a:gd name="T98" fmla="*/ 135 w 157"/>
              <a:gd name="T99" fmla="*/ 123 h 145"/>
              <a:gd name="T100" fmla="*/ 133 w 157"/>
              <a:gd name="T101" fmla="*/ 127 h 145"/>
              <a:gd name="T102" fmla="*/ 135 w 157"/>
              <a:gd name="T103" fmla="*/ 132 h 145"/>
              <a:gd name="T104" fmla="*/ 139 w 157"/>
              <a:gd name="T105" fmla="*/ 133 h 145"/>
              <a:gd name="T106" fmla="*/ 143 w 157"/>
              <a:gd name="T107" fmla="*/ 132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45">
                <a:moveTo>
                  <a:pt x="157" y="106"/>
                </a:moveTo>
                <a:cubicBezTo>
                  <a:pt x="157" y="136"/>
                  <a:pt x="157" y="136"/>
                  <a:pt x="157" y="136"/>
                </a:cubicBezTo>
                <a:cubicBezTo>
                  <a:pt x="157" y="139"/>
                  <a:pt x="156" y="141"/>
                  <a:pt x="155" y="143"/>
                </a:cubicBezTo>
                <a:cubicBezTo>
                  <a:pt x="153" y="145"/>
                  <a:pt x="151" y="145"/>
                  <a:pt x="148" y="145"/>
                </a:cubicBezTo>
                <a:cubicBezTo>
                  <a:pt x="9" y="145"/>
                  <a:pt x="9" y="145"/>
                  <a:pt x="9" y="145"/>
                </a:cubicBezTo>
                <a:cubicBezTo>
                  <a:pt x="7" y="145"/>
                  <a:pt x="4" y="145"/>
                  <a:pt x="3" y="143"/>
                </a:cubicBezTo>
                <a:cubicBezTo>
                  <a:pt x="1" y="141"/>
                  <a:pt x="0" y="139"/>
                  <a:pt x="0" y="13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4"/>
                  <a:pt x="1" y="101"/>
                  <a:pt x="3" y="100"/>
                </a:cubicBezTo>
                <a:cubicBezTo>
                  <a:pt x="4" y="98"/>
                  <a:pt x="7" y="97"/>
                  <a:pt x="9" y="97"/>
                </a:cubicBezTo>
                <a:cubicBezTo>
                  <a:pt x="53" y="97"/>
                  <a:pt x="53" y="97"/>
                  <a:pt x="53" y="97"/>
                </a:cubicBezTo>
                <a:cubicBezTo>
                  <a:pt x="66" y="110"/>
                  <a:pt x="66" y="110"/>
                  <a:pt x="66" y="110"/>
                </a:cubicBezTo>
                <a:cubicBezTo>
                  <a:pt x="69" y="113"/>
                  <a:pt x="74" y="115"/>
                  <a:pt x="79" y="115"/>
                </a:cubicBezTo>
                <a:cubicBezTo>
                  <a:pt x="84" y="115"/>
                  <a:pt x="88" y="113"/>
                  <a:pt x="91" y="110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148" y="97"/>
                  <a:pt x="148" y="97"/>
                  <a:pt x="148" y="97"/>
                </a:cubicBezTo>
                <a:cubicBezTo>
                  <a:pt x="151" y="97"/>
                  <a:pt x="153" y="98"/>
                  <a:pt x="155" y="100"/>
                </a:cubicBezTo>
                <a:cubicBezTo>
                  <a:pt x="156" y="101"/>
                  <a:pt x="157" y="104"/>
                  <a:pt x="157" y="106"/>
                </a:cubicBezTo>
                <a:close/>
                <a:moveTo>
                  <a:pt x="127" y="52"/>
                </a:moveTo>
                <a:cubicBezTo>
                  <a:pt x="128" y="55"/>
                  <a:pt x="127" y="57"/>
                  <a:pt x="125" y="59"/>
                </a:cubicBezTo>
                <a:cubicBezTo>
                  <a:pt x="83" y="101"/>
                  <a:pt x="83" y="101"/>
                  <a:pt x="83" y="101"/>
                </a:cubicBezTo>
                <a:cubicBezTo>
                  <a:pt x="82" y="103"/>
                  <a:pt x="80" y="103"/>
                  <a:pt x="79" y="103"/>
                </a:cubicBezTo>
                <a:cubicBezTo>
                  <a:pt x="77" y="103"/>
                  <a:pt x="76" y="103"/>
                  <a:pt x="74" y="101"/>
                </a:cubicBezTo>
                <a:cubicBezTo>
                  <a:pt x="32" y="59"/>
                  <a:pt x="32" y="59"/>
                  <a:pt x="32" y="59"/>
                </a:cubicBezTo>
                <a:cubicBezTo>
                  <a:pt x="30" y="57"/>
                  <a:pt x="30" y="55"/>
                  <a:pt x="31" y="52"/>
                </a:cubicBezTo>
                <a:cubicBezTo>
                  <a:pt x="32" y="50"/>
                  <a:pt x="34" y="49"/>
                  <a:pt x="36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5"/>
                  <a:pt x="61" y="3"/>
                  <a:pt x="62" y="2"/>
                </a:cubicBezTo>
                <a:cubicBezTo>
                  <a:pt x="63" y="1"/>
                  <a:pt x="65" y="0"/>
                  <a:pt x="67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92" y="0"/>
                  <a:pt x="94" y="1"/>
                  <a:pt x="95" y="2"/>
                </a:cubicBezTo>
                <a:cubicBezTo>
                  <a:pt x="96" y="3"/>
                  <a:pt x="97" y="5"/>
                  <a:pt x="97" y="6"/>
                </a:cubicBezTo>
                <a:cubicBezTo>
                  <a:pt x="97" y="49"/>
                  <a:pt x="97" y="49"/>
                  <a:pt x="97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24" y="49"/>
                  <a:pt x="125" y="50"/>
                  <a:pt x="127" y="52"/>
                </a:cubicBezTo>
                <a:close/>
                <a:moveTo>
                  <a:pt x="119" y="132"/>
                </a:moveTo>
                <a:cubicBezTo>
                  <a:pt x="120" y="130"/>
                  <a:pt x="121" y="129"/>
                  <a:pt x="121" y="127"/>
                </a:cubicBezTo>
                <a:cubicBezTo>
                  <a:pt x="121" y="126"/>
                  <a:pt x="120" y="124"/>
                  <a:pt x="119" y="123"/>
                </a:cubicBezTo>
                <a:cubicBezTo>
                  <a:pt x="118" y="122"/>
                  <a:pt x="117" y="121"/>
                  <a:pt x="115" y="121"/>
                </a:cubicBezTo>
                <a:cubicBezTo>
                  <a:pt x="113" y="121"/>
                  <a:pt x="112" y="122"/>
                  <a:pt x="111" y="123"/>
                </a:cubicBezTo>
                <a:cubicBezTo>
                  <a:pt x="109" y="124"/>
                  <a:pt x="109" y="126"/>
                  <a:pt x="109" y="127"/>
                </a:cubicBezTo>
                <a:cubicBezTo>
                  <a:pt x="109" y="129"/>
                  <a:pt x="109" y="130"/>
                  <a:pt x="111" y="132"/>
                </a:cubicBezTo>
                <a:cubicBezTo>
                  <a:pt x="112" y="133"/>
                  <a:pt x="113" y="133"/>
                  <a:pt x="115" y="133"/>
                </a:cubicBezTo>
                <a:cubicBezTo>
                  <a:pt x="117" y="133"/>
                  <a:pt x="118" y="133"/>
                  <a:pt x="119" y="132"/>
                </a:cubicBezTo>
                <a:close/>
                <a:moveTo>
                  <a:pt x="143" y="132"/>
                </a:moveTo>
                <a:cubicBezTo>
                  <a:pt x="145" y="130"/>
                  <a:pt x="145" y="129"/>
                  <a:pt x="145" y="127"/>
                </a:cubicBezTo>
                <a:cubicBezTo>
                  <a:pt x="145" y="126"/>
                  <a:pt x="145" y="124"/>
                  <a:pt x="143" y="123"/>
                </a:cubicBezTo>
                <a:cubicBezTo>
                  <a:pt x="142" y="122"/>
                  <a:pt x="141" y="121"/>
                  <a:pt x="139" y="121"/>
                </a:cubicBezTo>
                <a:cubicBezTo>
                  <a:pt x="138" y="121"/>
                  <a:pt x="136" y="122"/>
                  <a:pt x="135" y="123"/>
                </a:cubicBezTo>
                <a:cubicBezTo>
                  <a:pt x="134" y="124"/>
                  <a:pt x="133" y="126"/>
                  <a:pt x="133" y="127"/>
                </a:cubicBezTo>
                <a:cubicBezTo>
                  <a:pt x="133" y="129"/>
                  <a:pt x="134" y="130"/>
                  <a:pt x="135" y="132"/>
                </a:cubicBezTo>
                <a:cubicBezTo>
                  <a:pt x="136" y="133"/>
                  <a:pt x="138" y="133"/>
                  <a:pt x="139" y="133"/>
                </a:cubicBezTo>
                <a:cubicBezTo>
                  <a:pt x="141" y="133"/>
                  <a:pt x="142" y="133"/>
                  <a:pt x="143" y="1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" name="Freeform 30"/>
          <p:cNvSpPr>
            <a:spLocks noChangeAspect="1" noEditPoints="1"/>
          </p:cNvSpPr>
          <p:nvPr/>
        </p:nvSpPr>
        <p:spPr bwMode="auto">
          <a:xfrm>
            <a:off x="5967796" y="1555540"/>
            <a:ext cx="149885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98 w 145"/>
              <a:gd name="T27" fmla="*/ 28 h 146"/>
              <a:gd name="T28" fmla="*/ 73 w 145"/>
              <a:gd name="T29" fmla="*/ 22 h 146"/>
              <a:gd name="T30" fmla="*/ 47 w 145"/>
              <a:gd name="T31" fmla="*/ 28 h 146"/>
              <a:gd name="T32" fmla="*/ 28 w 145"/>
              <a:gd name="T33" fmla="*/ 47 h 146"/>
              <a:gd name="T34" fmla="*/ 21 w 145"/>
              <a:gd name="T35" fmla="*/ 73 h 146"/>
              <a:gd name="T36" fmla="*/ 28 w 145"/>
              <a:gd name="T37" fmla="*/ 99 h 146"/>
              <a:gd name="T38" fmla="*/ 47 w 145"/>
              <a:gd name="T39" fmla="*/ 118 h 146"/>
              <a:gd name="T40" fmla="*/ 73 w 145"/>
              <a:gd name="T41" fmla="*/ 124 h 146"/>
              <a:gd name="T42" fmla="*/ 98 w 145"/>
              <a:gd name="T43" fmla="*/ 118 h 146"/>
              <a:gd name="T44" fmla="*/ 117 w 145"/>
              <a:gd name="T45" fmla="*/ 99 h 146"/>
              <a:gd name="T46" fmla="*/ 124 w 145"/>
              <a:gd name="T47" fmla="*/ 73 h 146"/>
              <a:gd name="T48" fmla="*/ 117 w 145"/>
              <a:gd name="T49" fmla="*/ 47 h 146"/>
              <a:gd name="T50" fmla="*/ 98 w 145"/>
              <a:gd name="T51" fmla="*/ 28 h 146"/>
              <a:gd name="T52" fmla="*/ 106 w 145"/>
              <a:gd name="T53" fmla="*/ 76 h 146"/>
              <a:gd name="T54" fmla="*/ 105 w 145"/>
              <a:gd name="T55" fmla="*/ 78 h 146"/>
              <a:gd name="T56" fmla="*/ 75 w 145"/>
              <a:gd name="T57" fmla="*/ 108 h 146"/>
              <a:gd name="T58" fmla="*/ 73 w 145"/>
              <a:gd name="T59" fmla="*/ 109 h 146"/>
              <a:gd name="T60" fmla="*/ 70 w 145"/>
              <a:gd name="T61" fmla="*/ 108 h 146"/>
              <a:gd name="T62" fmla="*/ 40 w 145"/>
              <a:gd name="T63" fmla="*/ 78 h 146"/>
              <a:gd name="T64" fmla="*/ 39 w 145"/>
              <a:gd name="T65" fmla="*/ 75 h 146"/>
              <a:gd name="T66" fmla="*/ 42 w 145"/>
              <a:gd name="T67" fmla="*/ 73 h 146"/>
              <a:gd name="T68" fmla="*/ 60 w 145"/>
              <a:gd name="T69" fmla="*/ 73 h 146"/>
              <a:gd name="T70" fmla="*/ 60 w 145"/>
              <a:gd name="T71" fmla="*/ 40 h 146"/>
              <a:gd name="T72" fmla="*/ 61 w 145"/>
              <a:gd name="T73" fmla="*/ 38 h 146"/>
              <a:gd name="T74" fmla="*/ 63 w 145"/>
              <a:gd name="T75" fmla="*/ 37 h 146"/>
              <a:gd name="T76" fmla="*/ 82 w 145"/>
              <a:gd name="T77" fmla="*/ 37 h 146"/>
              <a:gd name="T78" fmla="*/ 84 w 145"/>
              <a:gd name="T79" fmla="*/ 38 h 146"/>
              <a:gd name="T80" fmla="*/ 85 w 145"/>
              <a:gd name="T81" fmla="*/ 40 h 146"/>
              <a:gd name="T82" fmla="*/ 85 w 145"/>
              <a:gd name="T83" fmla="*/ 73 h 146"/>
              <a:gd name="T84" fmla="*/ 103 w 145"/>
              <a:gd name="T85" fmla="*/ 73 h 146"/>
              <a:gd name="T86" fmla="*/ 105 w 145"/>
              <a:gd name="T87" fmla="*/ 74 h 146"/>
              <a:gd name="T88" fmla="*/ 106 w 145"/>
              <a:gd name="T89" fmla="*/ 7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98" y="28"/>
                </a:moveTo>
                <a:cubicBezTo>
                  <a:pt x="90" y="24"/>
                  <a:pt x="82" y="22"/>
                  <a:pt x="73" y="22"/>
                </a:cubicBezTo>
                <a:cubicBezTo>
                  <a:pt x="63" y="22"/>
                  <a:pt x="55" y="24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3" y="107"/>
                  <a:pt x="39" y="113"/>
                  <a:pt x="47" y="118"/>
                </a:cubicBezTo>
                <a:cubicBezTo>
                  <a:pt x="55" y="122"/>
                  <a:pt x="63" y="124"/>
                  <a:pt x="73" y="124"/>
                </a:cubicBezTo>
                <a:cubicBezTo>
                  <a:pt x="82" y="124"/>
                  <a:pt x="90" y="122"/>
                  <a:pt x="98" y="118"/>
                </a:cubicBezTo>
                <a:cubicBezTo>
                  <a:pt x="106" y="113"/>
                  <a:pt x="112" y="107"/>
                  <a:pt x="117" y="99"/>
                </a:cubicBezTo>
                <a:cubicBezTo>
                  <a:pt x="122" y="91"/>
                  <a:pt x="124" y="82"/>
                  <a:pt x="124" y="73"/>
                </a:cubicBezTo>
                <a:cubicBezTo>
                  <a:pt x="124" y="64"/>
                  <a:pt x="122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lose/>
                <a:moveTo>
                  <a:pt x="106" y="76"/>
                </a:moveTo>
                <a:cubicBezTo>
                  <a:pt x="106" y="77"/>
                  <a:pt x="106" y="78"/>
                  <a:pt x="105" y="78"/>
                </a:cubicBezTo>
                <a:cubicBezTo>
                  <a:pt x="75" y="108"/>
                  <a:pt x="75" y="108"/>
                  <a:pt x="75" y="108"/>
                </a:cubicBezTo>
                <a:cubicBezTo>
                  <a:pt x="74" y="109"/>
                  <a:pt x="73" y="109"/>
                  <a:pt x="73" y="109"/>
                </a:cubicBezTo>
                <a:cubicBezTo>
                  <a:pt x="72" y="109"/>
                  <a:pt x="71" y="109"/>
                  <a:pt x="70" y="108"/>
                </a:cubicBezTo>
                <a:cubicBezTo>
                  <a:pt x="40" y="78"/>
                  <a:pt x="40" y="78"/>
                  <a:pt x="40" y="78"/>
                </a:cubicBezTo>
                <a:cubicBezTo>
                  <a:pt x="39" y="77"/>
                  <a:pt x="39" y="76"/>
                  <a:pt x="39" y="75"/>
                </a:cubicBezTo>
                <a:cubicBezTo>
                  <a:pt x="40" y="74"/>
                  <a:pt x="41" y="73"/>
                  <a:pt x="42" y="73"/>
                </a:cubicBezTo>
                <a:cubicBezTo>
                  <a:pt x="60" y="73"/>
                  <a:pt x="60" y="73"/>
                  <a:pt x="60" y="73"/>
                </a:cubicBezTo>
                <a:cubicBezTo>
                  <a:pt x="60" y="40"/>
                  <a:pt x="60" y="40"/>
                  <a:pt x="60" y="40"/>
                </a:cubicBezTo>
                <a:cubicBezTo>
                  <a:pt x="60" y="39"/>
                  <a:pt x="61" y="38"/>
                  <a:pt x="61" y="38"/>
                </a:cubicBezTo>
                <a:cubicBezTo>
                  <a:pt x="62" y="37"/>
                  <a:pt x="63" y="37"/>
                  <a:pt x="63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2" y="37"/>
                  <a:pt x="83" y="37"/>
                  <a:pt x="84" y="38"/>
                </a:cubicBezTo>
                <a:cubicBezTo>
                  <a:pt x="84" y="38"/>
                  <a:pt x="85" y="39"/>
                  <a:pt x="85" y="40"/>
                </a:cubicBezTo>
                <a:cubicBezTo>
                  <a:pt x="85" y="73"/>
                  <a:pt x="85" y="73"/>
                  <a:pt x="85" y="73"/>
                </a:cubicBezTo>
                <a:cubicBezTo>
                  <a:pt x="103" y="73"/>
                  <a:pt x="103" y="73"/>
                  <a:pt x="103" y="73"/>
                </a:cubicBezTo>
                <a:cubicBezTo>
                  <a:pt x="104" y="73"/>
                  <a:pt x="104" y="73"/>
                  <a:pt x="105" y="74"/>
                </a:cubicBezTo>
                <a:cubicBezTo>
                  <a:pt x="106" y="74"/>
                  <a:pt x="106" y="75"/>
                  <a:pt x="106" y="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" name="Freeform 31"/>
          <p:cNvSpPr>
            <a:spLocks noChangeAspect="1" noEditPoints="1"/>
          </p:cNvSpPr>
          <p:nvPr/>
        </p:nvSpPr>
        <p:spPr bwMode="auto">
          <a:xfrm>
            <a:off x="6164520" y="1555540"/>
            <a:ext cx="149885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98 w 145"/>
              <a:gd name="T27" fmla="*/ 28 h 146"/>
              <a:gd name="T28" fmla="*/ 72 w 145"/>
              <a:gd name="T29" fmla="*/ 22 h 146"/>
              <a:gd name="T30" fmla="*/ 47 w 145"/>
              <a:gd name="T31" fmla="*/ 28 h 146"/>
              <a:gd name="T32" fmla="*/ 28 w 145"/>
              <a:gd name="T33" fmla="*/ 47 h 146"/>
              <a:gd name="T34" fmla="*/ 21 w 145"/>
              <a:gd name="T35" fmla="*/ 73 h 146"/>
              <a:gd name="T36" fmla="*/ 28 w 145"/>
              <a:gd name="T37" fmla="*/ 99 h 146"/>
              <a:gd name="T38" fmla="*/ 47 w 145"/>
              <a:gd name="T39" fmla="*/ 118 h 146"/>
              <a:gd name="T40" fmla="*/ 72 w 145"/>
              <a:gd name="T41" fmla="*/ 124 h 146"/>
              <a:gd name="T42" fmla="*/ 98 w 145"/>
              <a:gd name="T43" fmla="*/ 118 h 146"/>
              <a:gd name="T44" fmla="*/ 117 w 145"/>
              <a:gd name="T45" fmla="*/ 99 h 146"/>
              <a:gd name="T46" fmla="*/ 124 w 145"/>
              <a:gd name="T47" fmla="*/ 73 h 146"/>
              <a:gd name="T48" fmla="*/ 117 w 145"/>
              <a:gd name="T49" fmla="*/ 47 h 146"/>
              <a:gd name="T50" fmla="*/ 98 w 145"/>
              <a:gd name="T51" fmla="*/ 28 h 146"/>
              <a:gd name="T52" fmla="*/ 105 w 145"/>
              <a:gd name="T53" fmla="*/ 71 h 146"/>
              <a:gd name="T54" fmla="*/ 103 w 145"/>
              <a:gd name="T55" fmla="*/ 73 h 146"/>
              <a:gd name="T56" fmla="*/ 84 w 145"/>
              <a:gd name="T57" fmla="*/ 73 h 146"/>
              <a:gd name="T58" fmla="*/ 84 w 145"/>
              <a:gd name="T59" fmla="*/ 106 h 146"/>
              <a:gd name="T60" fmla="*/ 84 w 145"/>
              <a:gd name="T61" fmla="*/ 108 h 146"/>
              <a:gd name="T62" fmla="*/ 81 w 145"/>
              <a:gd name="T63" fmla="*/ 109 h 146"/>
              <a:gd name="T64" fmla="*/ 63 w 145"/>
              <a:gd name="T65" fmla="*/ 109 h 146"/>
              <a:gd name="T66" fmla="*/ 61 w 145"/>
              <a:gd name="T67" fmla="*/ 108 h 146"/>
              <a:gd name="T68" fmla="*/ 60 w 145"/>
              <a:gd name="T69" fmla="*/ 106 h 146"/>
              <a:gd name="T70" fmla="*/ 60 w 145"/>
              <a:gd name="T71" fmla="*/ 73 h 146"/>
              <a:gd name="T72" fmla="*/ 42 w 145"/>
              <a:gd name="T73" fmla="*/ 73 h 146"/>
              <a:gd name="T74" fmla="*/ 40 w 145"/>
              <a:gd name="T75" fmla="*/ 72 h 146"/>
              <a:gd name="T76" fmla="*/ 39 w 145"/>
              <a:gd name="T77" fmla="*/ 70 h 146"/>
              <a:gd name="T78" fmla="*/ 40 w 145"/>
              <a:gd name="T79" fmla="*/ 68 h 146"/>
              <a:gd name="T80" fmla="*/ 70 w 145"/>
              <a:gd name="T81" fmla="*/ 38 h 146"/>
              <a:gd name="T82" fmla="*/ 72 w 145"/>
              <a:gd name="T83" fmla="*/ 37 h 146"/>
              <a:gd name="T84" fmla="*/ 75 w 145"/>
              <a:gd name="T85" fmla="*/ 38 h 146"/>
              <a:gd name="T86" fmla="*/ 105 w 145"/>
              <a:gd name="T87" fmla="*/ 68 h 146"/>
              <a:gd name="T88" fmla="*/ 105 w 145"/>
              <a:gd name="T89" fmla="*/ 7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98" y="28"/>
                </a:moveTo>
                <a:cubicBezTo>
                  <a:pt x="90" y="24"/>
                  <a:pt x="82" y="22"/>
                  <a:pt x="72" y="22"/>
                </a:cubicBezTo>
                <a:cubicBezTo>
                  <a:pt x="63" y="22"/>
                  <a:pt x="54" y="24"/>
                  <a:pt x="47" y="28"/>
                </a:cubicBezTo>
                <a:cubicBezTo>
                  <a:pt x="39" y="33"/>
                  <a:pt x="32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2" y="107"/>
                  <a:pt x="39" y="113"/>
                  <a:pt x="47" y="118"/>
                </a:cubicBezTo>
                <a:cubicBezTo>
                  <a:pt x="54" y="122"/>
                  <a:pt x="63" y="124"/>
                  <a:pt x="72" y="124"/>
                </a:cubicBezTo>
                <a:cubicBezTo>
                  <a:pt x="82" y="124"/>
                  <a:pt x="90" y="122"/>
                  <a:pt x="98" y="118"/>
                </a:cubicBezTo>
                <a:cubicBezTo>
                  <a:pt x="106" y="113"/>
                  <a:pt x="112" y="107"/>
                  <a:pt x="117" y="99"/>
                </a:cubicBezTo>
                <a:cubicBezTo>
                  <a:pt x="122" y="91"/>
                  <a:pt x="124" y="82"/>
                  <a:pt x="124" y="73"/>
                </a:cubicBezTo>
                <a:cubicBezTo>
                  <a:pt x="124" y="64"/>
                  <a:pt x="122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lose/>
                <a:moveTo>
                  <a:pt x="105" y="71"/>
                </a:moveTo>
                <a:cubicBezTo>
                  <a:pt x="105" y="72"/>
                  <a:pt x="104" y="73"/>
                  <a:pt x="103" y="73"/>
                </a:cubicBezTo>
                <a:cubicBezTo>
                  <a:pt x="84" y="73"/>
                  <a:pt x="84" y="73"/>
                  <a:pt x="84" y="73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84" y="107"/>
                  <a:pt x="84" y="108"/>
                  <a:pt x="84" y="108"/>
                </a:cubicBezTo>
                <a:cubicBezTo>
                  <a:pt x="83" y="109"/>
                  <a:pt x="82" y="109"/>
                  <a:pt x="81" y="109"/>
                </a:cubicBezTo>
                <a:cubicBezTo>
                  <a:pt x="63" y="109"/>
                  <a:pt x="63" y="109"/>
                  <a:pt x="63" y="109"/>
                </a:cubicBezTo>
                <a:cubicBezTo>
                  <a:pt x="62" y="109"/>
                  <a:pt x="62" y="109"/>
                  <a:pt x="61" y="108"/>
                </a:cubicBezTo>
                <a:cubicBezTo>
                  <a:pt x="61" y="108"/>
                  <a:pt x="60" y="107"/>
                  <a:pt x="60" y="106"/>
                </a:cubicBezTo>
                <a:cubicBezTo>
                  <a:pt x="60" y="73"/>
                  <a:pt x="60" y="73"/>
                  <a:pt x="60" y="73"/>
                </a:cubicBezTo>
                <a:cubicBezTo>
                  <a:pt x="42" y="73"/>
                  <a:pt x="42" y="73"/>
                  <a:pt x="42" y="73"/>
                </a:cubicBezTo>
                <a:cubicBezTo>
                  <a:pt x="41" y="73"/>
                  <a:pt x="41" y="73"/>
                  <a:pt x="40" y="72"/>
                </a:cubicBezTo>
                <a:cubicBezTo>
                  <a:pt x="39" y="72"/>
                  <a:pt x="39" y="71"/>
                  <a:pt x="39" y="70"/>
                </a:cubicBezTo>
                <a:cubicBezTo>
                  <a:pt x="39" y="69"/>
                  <a:pt x="39" y="68"/>
                  <a:pt x="40" y="68"/>
                </a:cubicBezTo>
                <a:cubicBezTo>
                  <a:pt x="70" y="38"/>
                  <a:pt x="70" y="38"/>
                  <a:pt x="70" y="38"/>
                </a:cubicBezTo>
                <a:cubicBezTo>
                  <a:pt x="71" y="37"/>
                  <a:pt x="72" y="37"/>
                  <a:pt x="72" y="37"/>
                </a:cubicBezTo>
                <a:cubicBezTo>
                  <a:pt x="73" y="37"/>
                  <a:pt x="74" y="37"/>
                  <a:pt x="75" y="38"/>
                </a:cubicBezTo>
                <a:cubicBezTo>
                  <a:pt x="105" y="68"/>
                  <a:pt x="105" y="68"/>
                  <a:pt x="105" y="68"/>
                </a:cubicBezTo>
                <a:cubicBezTo>
                  <a:pt x="106" y="69"/>
                  <a:pt x="106" y="70"/>
                  <a:pt x="105" y="7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" name="Freeform 32"/>
          <p:cNvSpPr>
            <a:spLocks noChangeAspect="1" noEditPoints="1"/>
          </p:cNvSpPr>
          <p:nvPr/>
        </p:nvSpPr>
        <p:spPr bwMode="auto">
          <a:xfrm>
            <a:off x="6361245" y="1568031"/>
            <a:ext cx="149885" cy="126466"/>
          </a:xfrm>
          <a:custGeom>
            <a:avLst/>
            <a:gdLst>
              <a:gd name="T0" fmla="*/ 145 w 145"/>
              <a:gd name="T1" fmla="*/ 70 h 121"/>
              <a:gd name="T2" fmla="*/ 145 w 145"/>
              <a:gd name="T3" fmla="*/ 115 h 121"/>
              <a:gd name="T4" fmla="*/ 143 w 145"/>
              <a:gd name="T5" fmla="*/ 120 h 121"/>
              <a:gd name="T6" fmla="*/ 139 w 145"/>
              <a:gd name="T7" fmla="*/ 121 h 121"/>
              <a:gd name="T8" fmla="*/ 6 w 145"/>
              <a:gd name="T9" fmla="*/ 121 h 121"/>
              <a:gd name="T10" fmla="*/ 1 w 145"/>
              <a:gd name="T11" fmla="*/ 120 h 121"/>
              <a:gd name="T12" fmla="*/ 0 w 145"/>
              <a:gd name="T13" fmla="*/ 115 h 121"/>
              <a:gd name="T14" fmla="*/ 0 w 145"/>
              <a:gd name="T15" fmla="*/ 70 h 121"/>
              <a:gd name="T16" fmla="*/ 2 w 145"/>
              <a:gd name="T17" fmla="*/ 58 h 121"/>
              <a:gd name="T18" fmla="*/ 25 w 145"/>
              <a:gd name="T19" fmla="*/ 6 h 121"/>
              <a:gd name="T20" fmla="*/ 28 w 145"/>
              <a:gd name="T21" fmla="*/ 2 h 121"/>
              <a:gd name="T22" fmla="*/ 33 w 145"/>
              <a:gd name="T23" fmla="*/ 0 h 121"/>
              <a:gd name="T24" fmla="*/ 112 w 145"/>
              <a:gd name="T25" fmla="*/ 0 h 121"/>
              <a:gd name="T26" fmla="*/ 117 w 145"/>
              <a:gd name="T27" fmla="*/ 2 h 121"/>
              <a:gd name="T28" fmla="*/ 120 w 145"/>
              <a:gd name="T29" fmla="*/ 6 h 121"/>
              <a:gd name="T30" fmla="*/ 142 w 145"/>
              <a:gd name="T31" fmla="*/ 58 h 121"/>
              <a:gd name="T32" fmla="*/ 145 w 145"/>
              <a:gd name="T33" fmla="*/ 70 h 121"/>
              <a:gd name="T34" fmla="*/ 96 w 145"/>
              <a:gd name="T35" fmla="*/ 67 h 121"/>
              <a:gd name="T36" fmla="*/ 126 w 145"/>
              <a:gd name="T37" fmla="*/ 67 h 121"/>
              <a:gd name="T38" fmla="*/ 126 w 145"/>
              <a:gd name="T39" fmla="*/ 66 h 121"/>
              <a:gd name="T40" fmla="*/ 126 w 145"/>
              <a:gd name="T41" fmla="*/ 66 h 121"/>
              <a:gd name="T42" fmla="*/ 106 w 145"/>
              <a:gd name="T43" fmla="*/ 19 h 121"/>
              <a:gd name="T44" fmla="*/ 39 w 145"/>
              <a:gd name="T45" fmla="*/ 19 h 121"/>
              <a:gd name="T46" fmla="*/ 19 w 145"/>
              <a:gd name="T47" fmla="*/ 66 h 121"/>
              <a:gd name="T48" fmla="*/ 18 w 145"/>
              <a:gd name="T49" fmla="*/ 66 h 121"/>
              <a:gd name="T50" fmla="*/ 18 w 145"/>
              <a:gd name="T51" fmla="*/ 67 h 121"/>
              <a:gd name="T52" fmla="*/ 48 w 145"/>
              <a:gd name="T53" fmla="*/ 67 h 121"/>
              <a:gd name="T54" fmla="*/ 57 w 145"/>
              <a:gd name="T55" fmla="*/ 85 h 121"/>
              <a:gd name="T56" fmla="*/ 87 w 145"/>
              <a:gd name="T57" fmla="*/ 85 h 121"/>
              <a:gd name="T58" fmla="*/ 96 w 145"/>
              <a:gd name="T59" fmla="*/ 67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5" h="121">
                <a:moveTo>
                  <a:pt x="145" y="70"/>
                </a:moveTo>
                <a:cubicBezTo>
                  <a:pt x="145" y="115"/>
                  <a:pt x="145" y="115"/>
                  <a:pt x="145" y="115"/>
                </a:cubicBezTo>
                <a:cubicBezTo>
                  <a:pt x="145" y="117"/>
                  <a:pt x="144" y="118"/>
                  <a:pt x="143" y="120"/>
                </a:cubicBezTo>
                <a:cubicBezTo>
                  <a:pt x="142" y="121"/>
                  <a:pt x="140" y="121"/>
                  <a:pt x="139" y="121"/>
                </a:cubicBezTo>
                <a:cubicBezTo>
                  <a:pt x="6" y="121"/>
                  <a:pt x="6" y="121"/>
                  <a:pt x="6" y="121"/>
                </a:cubicBezTo>
                <a:cubicBezTo>
                  <a:pt x="4" y="121"/>
                  <a:pt x="3" y="121"/>
                  <a:pt x="1" y="120"/>
                </a:cubicBezTo>
                <a:cubicBezTo>
                  <a:pt x="0" y="118"/>
                  <a:pt x="0" y="117"/>
                  <a:pt x="0" y="115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66"/>
                  <a:pt x="0" y="62"/>
                  <a:pt x="2" y="58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4"/>
                  <a:pt x="26" y="3"/>
                  <a:pt x="28" y="2"/>
                </a:cubicBezTo>
                <a:cubicBezTo>
                  <a:pt x="30" y="1"/>
                  <a:pt x="31" y="0"/>
                  <a:pt x="33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3" y="0"/>
                  <a:pt x="115" y="1"/>
                  <a:pt x="117" y="2"/>
                </a:cubicBezTo>
                <a:cubicBezTo>
                  <a:pt x="118" y="3"/>
                  <a:pt x="119" y="4"/>
                  <a:pt x="120" y="6"/>
                </a:cubicBezTo>
                <a:cubicBezTo>
                  <a:pt x="142" y="58"/>
                  <a:pt x="142" y="58"/>
                  <a:pt x="142" y="58"/>
                </a:cubicBezTo>
                <a:cubicBezTo>
                  <a:pt x="144" y="62"/>
                  <a:pt x="145" y="66"/>
                  <a:pt x="145" y="70"/>
                </a:cubicBezTo>
                <a:close/>
                <a:moveTo>
                  <a:pt x="96" y="67"/>
                </a:moveTo>
                <a:cubicBezTo>
                  <a:pt x="126" y="67"/>
                  <a:pt x="126" y="67"/>
                  <a:pt x="126" y="67"/>
                </a:cubicBezTo>
                <a:cubicBezTo>
                  <a:pt x="126" y="67"/>
                  <a:pt x="126" y="67"/>
                  <a:pt x="126" y="66"/>
                </a:cubicBezTo>
                <a:cubicBezTo>
                  <a:pt x="126" y="66"/>
                  <a:pt x="126" y="66"/>
                  <a:pt x="126" y="66"/>
                </a:cubicBezTo>
                <a:cubicBezTo>
                  <a:pt x="106" y="19"/>
                  <a:pt x="106" y="19"/>
                  <a:pt x="106" y="19"/>
                </a:cubicBezTo>
                <a:cubicBezTo>
                  <a:pt x="39" y="19"/>
                  <a:pt x="39" y="19"/>
                  <a:pt x="39" y="19"/>
                </a:cubicBezTo>
                <a:cubicBezTo>
                  <a:pt x="19" y="66"/>
                  <a:pt x="19" y="66"/>
                  <a:pt x="19" y="66"/>
                </a:cubicBezTo>
                <a:cubicBezTo>
                  <a:pt x="19" y="66"/>
                  <a:pt x="19" y="66"/>
                  <a:pt x="18" y="66"/>
                </a:cubicBezTo>
                <a:cubicBezTo>
                  <a:pt x="18" y="67"/>
                  <a:pt x="18" y="67"/>
                  <a:pt x="18" y="67"/>
                </a:cubicBezTo>
                <a:cubicBezTo>
                  <a:pt x="48" y="67"/>
                  <a:pt x="48" y="67"/>
                  <a:pt x="48" y="67"/>
                </a:cubicBezTo>
                <a:cubicBezTo>
                  <a:pt x="57" y="85"/>
                  <a:pt x="57" y="85"/>
                  <a:pt x="57" y="85"/>
                </a:cubicBezTo>
                <a:cubicBezTo>
                  <a:pt x="87" y="85"/>
                  <a:pt x="87" y="85"/>
                  <a:pt x="87" y="85"/>
                </a:cubicBezTo>
                <a:lnTo>
                  <a:pt x="96" y="6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" name="Freeform 33"/>
          <p:cNvSpPr>
            <a:spLocks noChangeAspect="1" noEditPoints="1"/>
          </p:cNvSpPr>
          <p:nvPr/>
        </p:nvSpPr>
        <p:spPr bwMode="auto">
          <a:xfrm>
            <a:off x="6557970" y="1555540"/>
            <a:ext cx="149885" cy="151447"/>
          </a:xfrm>
          <a:custGeom>
            <a:avLst/>
            <a:gdLst>
              <a:gd name="T0" fmla="*/ 136 w 146"/>
              <a:gd name="T1" fmla="*/ 37 h 146"/>
              <a:gd name="T2" fmla="*/ 146 w 146"/>
              <a:gd name="T3" fmla="*/ 73 h 146"/>
              <a:gd name="T4" fmla="*/ 136 w 146"/>
              <a:gd name="T5" fmla="*/ 109 h 146"/>
              <a:gd name="T6" fmla="*/ 110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7 h 146"/>
              <a:gd name="T18" fmla="*/ 37 w 146"/>
              <a:gd name="T19" fmla="*/ 10 h 146"/>
              <a:gd name="T20" fmla="*/ 73 w 146"/>
              <a:gd name="T21" fmla="*/ 0 h 146"/>
              <a:gd name="T22" fmla="*/ 110 w 146"/>
              <a:gd name="T23" fmla="*/ 10 h 146"/>
              <a:gd name="T24" fmla="*/ 136 w 146"/>
              <a:gd name="T25" fmla="*/ 37 h 146"/>
              <a:gd name="T26" fmla="*/ 118 w 146"/>
              <a:gd name="T27" fmla="*/ 99 h 146"/>
              <a:gd name="T28" fmla="*/ 125 w 146"/>
              <a:gd name="T29" fmla="*/ 73 h 146"/>
              <a:gd name="T30" fmla="*/ 118 w 146"/>
              <a:gd name="T31" fmla="*/ 47 h 146"/>
              <a:gd name="T32" fmla="*/ 99 w 146"/>
              <a:gd name="T33" fmla="*/ 28 h 146"/>
              <a:gd name="T34" fmla="*/ 73 w 146"/>
              <a:gd name="T35" fmla="*/ 22 h 146"/>
              <a:gd name="T36" fmla="*/ 47 w 146"/>
              <a:gd name="T37" fmla="*/ 28 h 146"/>
              <a:gd name="T38" fmla="*/ 29 w 146"/>
              <a:gd name="T39" fmla="*/ 47 h 146"/>
              <a:gd name="T40" fmla="*/ 22 w 146"/>
              <a:gd name="T41" fmla="*/ 73 h 146"/>
              <a:gd name="T42" fmla="*/ 29 w 146"/>
              <a:gd name="T43" fmla="*/ 99 h 146"/>
              <a:gd name="T44" fmla="*/ 47 w 146"/>
              <a:gd name="T45" fmla="*/ 118 h 146"/>
              <a:gd name="T46" fmla="*/ 73 w 146"/>
              <a:gd name="T47" fmla="*/ 124 h 146"/>
              <a:gd name="T48" fmla="*/ 99 w 146"/>
              <a:gd name="T49" fmla="*/ 118 h 146"/>
              <a:gd name="T50" fmla="*/ 118 w 146"/>
              <a:gd name="T51" fmla="*/ 99 h 146"/>
              <a:gd name="T52" fmla="*/ 112 w 146"/>
              <a:gd name="T53" fmla="*/ 73 h 146"/>
              <a:gd name="T54" fmla="*/ 109 w 146"/>
              <a:gd name="T55" fmla="*/ 78 h 146"/>
              <a:gd name="T56" fmla="*/ 58 w 146"/>
              <a:gd name="T57" fmla="*/ 108 h 146"/>
              <a:gd name="T58" fmla="*/ 55 w 146"/>
              <a:gd name="T59" fmla="*/ 109 h 146"/>
              <a:gd name="T60" fmla="*/ 52 w 146"/>
              <a:gd name="T61" fmla="*/ 109 h 146"/>
              <a:gd name="T62" fmla="*/ 49 w 146"/>
              <a:gd name="T63" fmla="*/ 103 h 146"/>
              <a:gd name="T64" fmla="*/ 49 w 146"/>
              <a:gd name="T65" fmla="*/ 43 h 146"/>
              <a:gd name="T66" fmla="*/ 52 w 146"/>
              <a:gd name="T67" fmla="*/ 37 h 146"/>
              <a:gd name="T68" fmla="*/ 58 w 146"/>
              <a:gd name="T69" fmla="*/ 38 h 146"/>
              <a:gd name="T70" fmla="*/ 109 w 146"/>
              <a:gd name="T71" fmla="*/ 68 h 146"/>
              <a:gd name="T72" fmla="*/ 112 w 146"/>
              <a:gd name="T73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6" h="146">
                <a:moveTo>
                  <a:pt x="136" y="37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10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6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7"/>
                </a:cubicBezTo>
                <a:cubicBezTo>
                  <a:pt x="17" y="25"/>
                  <a:pt x="26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7"/>
                </a:cubicBezTo>
                <a:close/>
                <a:moveTo>
                  <a:pt x="118" y="99"/>
                </a:moveTo>
                <a:cubicBezTo>
                  <a:pt x="122" y="91"/>
                  <a:pt x="125" y="82"/>
                  <a:pt x="125" y="73"/>
                </a:cubicBezTo>
                <a:cubicBezTo>
                  <a:pt x="125" y="64"/>
                  <a:pt x="122" y="55"/>
                  <a:pt x="118" y="47"/>
                </a:cubicBezTo>
                <a:cubicBezTo>
                  <a:pt x="113" y="39"/>
                  <a:pt x="107" y="33"/>
                  <a:pt x="99" y="28"/>
                </a:cubicBezTo>
                <a:cubicBezTo>
                  <a:pt x="91" y="24"/>
                  <a:pt x="82" y="22"/>
                  <a:pt x="73" y="22"/>
                </a:cubicBezTo>
                <a:cubicBezTo>
                  <a:pt x="64" y="22"/>
                  <a:pt x="55" y="24"/>
                  <a:pt x="47" y="28"/>
                </a:cubicBezTo>
                <a:cubicBezTo>
                  <a:pt x="39" y="33"/>
                  <a:pt x="33" y="39"/>
                  <a:pt x="29" y="47"/>
                </a:cubicBezTo>
                <a:cubicBezTo>
                  <a:pt x="24" y="55"/>
                  <a:pt x="22" y="64"/>
                  <a:pt x="22" y="73"/>
                </a:cubicBezTo>
                <a:cubicBezTo>
                  <a:pt x="22" y="82"/>
                  <a:pt x="24" y="91"/>
                  <a:pt x="29" y="99"/>
                </a:cubicBezTo>
                <a:cubicBezTo>
                  <a:pt x="33" y="107"/>
                  <a:pt x="39" y="113"/>
                  <a:pt x="47" y="118"/>
                </a:cubicBezTo>
                <a:cubicBezTo>
                  <a:pt x="55" y="122"/>
                  <a:pt x="64" y="124"/>
                  <a:pt x="73" y="124"/>
                </a:cubicBezTo>
                <a:cubicBezTo>
                  <a:pt x="82" y="124"/>
                  <a:pt x="91" y="122"/>
                  <a:pt x="99" y="118"/>
                </a:cubicBezTo>
                <a:cubicBezTo>
                  <a:pt x="107" y="113"/>
                  <a:pt x="113" y="107"/>
                  <a:pt x="118" y="99"/>
                </a:cubicBezTo>
                <a:close/>
                <a:moveTo>
                  <a:pt x="112" y="73"/>
                </a:moveTo>
                <a:cubicBezTo>
                  <a:pt x="112" y="75"/>
                  <a:pt x="111" y="77"/>
                  <a:pt x="109" y="78"/>
                </a:cubicBezTo>
                <a:cubicBezTo>
                  <a:pt x="58" y="108"/>
                  <a:pt x="58" y="108"/>
                  <a:pt x="58" y="108"/>
                </a:cubicBezTo>
                <a:cubicBezTo>
                  <a:pt x="57" y="109"/>
                  <a:pt x="56" y="109"/>
                  <a:pt x="55" y="109"/>
                </a:cubicBezTo>
                <a:cubicBezTo>
                  <a:pt x="54" y="109"/>
                  <a:pt x="53" y="109"/>
                  <a:pt x="52" y="109"/>
                </a:cubicBezTo>
                <a:cubicBezTo>
                  <a:pt x="50" y="107"/>
                  <a:pt x="49" y="106"/>
                  <a:pt x="49" y="103"/>
                </a:cubicBezTo>
                <a:cubicBezTo>
                  <a:pt x="49" y="43"/>
                  <a:pt x="49" y="43"/>
                  <a:pt x="49" y="43"/>
                </a:cubicBezTo>
                <a:cubicBezTo>
                  <a:pt x="49" y="40"/>
                  <a:pt x="50" y="39"/>
                  <a:pt x="52" y="37"/>
                </a:cubicBezTo>
                <a:cubicBezTo>
                  <a:pt x="54" y="36"/>
                  <a:pt x="56" y="36"/>
                  <a:pt x="58" y="38"/>
                </a:cubicBezTo>
                <a:cubicBezTo>
                  <a:pt x="109" y="68"/>
                  <a:pt x="109" y="68"/>
                  <a:pt x="109" y="68"/>
                </a:cubicBezTo>
                <a:cubicBezTo>
                  <a:pt x="111" y="69"/>
                  <a:pt x="112" y="71"/>
                  <a:pt x="112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" name="Freeform 34"/>
          <p:cNvSpPr>
            <a:spLocks noChangeAspect="1"/>
          </p:cNvSpPr>
          <p:nvPr/>
        </p:nvSpPr>
        <p:spPr bwMode="auto">
          <a:xfrm>
            <a:off x="6754694" y="1555540"/>
            <a:ext cx="149885" cy="151447"/>
          </a:xfrm>
          <a:custGeom>
            <a:avLst/>
            <a:gdLst>
              <a:gd name="T0" fmla="*/ 146 w 146"/>
              <a:gd name="T1" fmla="*/ 12 h 146"/>
              <a:gd name="T2" fmla="*/ 146 w 146"/>
              <a:gd name="T3" fmla="*/ 55 h 146"/>
              <a:gd name="T4" fmla="*/ 144 w 146"/>
              <a:gd name="T5" fmla="*/ 59 h 146"/>
              <a:gd name="T6" fmla="*/ 140 w 146"/>
              <a:gd name="T7" fmla="*/ 61 h 146"/>
              <a:gd name="T8" fmla="*/ 97 w 146"/>
              <a:gd name="T9" fmla="*/ 61 h 146"/>
              <a:gd name="T10" fmla="*/ 92 w 146"/>
              <a:gd name="T11" fmla="*/ 57 h 146"/>
              <a:gd name="T12" fmla="*/ 93 w 146"/>
              <a:gd name="T13" fmla="*/ 51 h 146"/>
              <a:gd name="T14" fmla="*/ 106 w 146"/>
              <a:gd name="T15" fmla="*/ 38 h 146"/>
              <a:gd name="T16" fmla="*/ 73 w 146"/>
              <a:gd name="T17" fmla="*/ 25 h 146"/>
              <a:gd name="T18" fmla="*/ 54 w 146"/>
              <a:gd name="T19" fmla="*/ 28 h 146"/>
              <a:gd name="T20" fmla="*/ 39 w 146"/>
              <a:gd name="T21" fmla="*/ 39 h 146"/>
              <a:gd name="T22" fmla="*/ 28 w 146"/>
              <a:gd name="T23" fmla="*/ 54 h 146"/>
              <a:gd name="T24" fmla="*/ 25 w 146"/>
              <a:gd name="T25" fmla="*/ 73 h 146"/>
              <a:gd name="T26" fmla="*/ 28 w 146"/>
              <a:gd name="T27" fmla="*/ 92 h 146"/>
              <a:gd name="T28" fmla="*/ 39 w 146"/>
              <a:gd name="T29" fmla="*/ 107 h 146"/>
              <a:gd name="T30" fmla="*/ 54 w 146"/>
              <a:gd name="T31" fmla="*/ 118 h 146"/>
              <a:gd name="T32" fmla="*/ 73 w 146"/>
              <a:gd name="T33" fmla="*/ 121 h 146"/>
              <a:gd name="T34" fmla="*/ 94 w 146"/>
              <a:gd name="T35" fmla="*/ 116 h 146"/>
              <a:gd name="T36" fmla="*/ 111 w 146"/>
              <a:gd name="T37" fmla="*/ 103 h 146"/>
              <a:gd name="T38" fmla="*/ 113 w 146"/>
              <a:gd name="T39" fmla="*/ 101 h 146"/>
              <a:gd name="T40" fmla="*/ 116 w 146"/>
              <a:gd name="T41" fmla="*/ 102 h 146"/>
              <a:gd name="T42" fmla="*/ 129 w 146"/>
              <a:gd name="T43" fmla="*/ 115 h 146"/>
              <a:gd name="T44" fmla="*/ 130 w 146"/>
              <a:gd name="T45" fmla="*/ 117 h 146"/>
              <a:gd name="T46" fmla="*/ 129 w 146"/>
              <a:gd name="T47" fmla="*/ 119 h 146"/>
              <a:gd name="T48" fmla="*/ 104 w 146"/>
              <a:gd name="T49" fmla="*/ 139 h 146"/>
              <a:gd name="T50" fmla="*/ 73 w 146"/>
              <a:gd name="T51" fmla="*/ 146 h 146"/>
              <a:gd name="T52" fmla="*/ 45 w 146"/>
              <a:gd name="T53" fmla="*/ 140 h 146"/>
              <a:gd name="T54" fmla="*/ 22 w 146"/>
              <a:gd name="T55" fmla="*/ 124 h 146"/>
              <a:gd name="T56" fmla="*/ 6 w 146"/>
              <a:gd name="T57" fmla="*/ 101 h 146"/>
              <a:gd name="T58" fmla="*/ 0 w 146"/>
              <a:gd name="T59" fmla="*/ 73 h 146"/>
              <a:gd name="T60" fmla="*/ 6 w 146"/>
              <a:gd name="T61" fmla="*/ 45 h 146"/>
              <a:gd name="T62" fmla="*/ 22 w 146"/>
              <a:gd name="T63" fmla="*/ 22 h 146"/>
              <a:gd name="T64" fmla="*/ 45 w 146"/>
              <a:gd name="T65" fmla="*/ 6 h 146"/>
              <a:gd name="T66" fmla="*/ 73 w 146"/>
              <a:gd name="T67" fmla="*/ 0 h 146"/>
              <a:gd name="T68" fmla="*/ 100 w 146"/>
              <a:gd name="T69" fmla="*/ 6 h 146"/>
              <a:gd name="T70" fmla="*/ 123 w 146"/>
              <a:gd name="T71" fmla="*/ 20 h 146"/>
              <a:gd name="T72" fmla="*/ 135 w 146"/>
              <a:gd name="T73" fmla="*/ 8 h 146"/>
              <a:gd name="T74" fmla="*/ 142 w 146"/>
              <a:gd name="T75" fmla="*/ 7 h 146"/>
              <a:gd name="T76" fmla="*/ 146 w 146"/>
              <a:gd name="T77" fmla="*/ 1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6" h="146">
                <a:moveTo>
                  <a:pt x="146" y="12"/>
                </a:moveTo>
                <a:cubicBezTo>
                  <a:pt x="146" y="55"/>
                  <a:pt x="146" y="55"/>
                  <a:pt x="146" y="55"/>
                </a:cubicBezTo>
                <a:cubicBezTo>
                  <a:pt x="146" y="56"/>
                  <a:pt x="145" y="58"/>
                  <a:pt x="144" y="59"/>
                </a:cubicBezTo>
                <a:cubicBezTo>
                  <a:pt x="143" y="60"/>
                  <a:pt x="141" y="61"/>
                  <a:pt x="140" y="61"/>
                </a:cubicBezTo>
                <a:cubicBezTo>
                  <a:pt x="97" y="61"/>
                  <a:pt x="97" y="61"/>
                  <a:pt x="97" y="61"/>
                </a:cubicBezTo>
                <a:cubicBezTo>
                  <a:pt x="95" y="61"/>
                  <a:pt x="93" y="60"/>
                  <a:pt x="92" y="57"/>
                </a:cubicBezTo>
                <a:cubicBezTo>
                  <a:pt x="91" y="55"/>
                  <a:pt x="91" y="52"/>
                  <a:pt x="93" y="51"/>
                </a:cubicBezTo>
                <a:cubicBezTo>
                  <a:pt x="106" y="38"/>
                  <a:pt x="106" y="38"/>
                  <a:pt x="106" y="38"/>
                </a:cubicBezTo>
                <a:cubicBezTo>
                  <a:pt x="97" y="29"/>
                  <a:pt x="86" y="25"/>
                  <a:pt x="73" y="25"/>
                </a:cubicBezTo>
                <a:cubicBezTo>
                  <a:pt x="66" y="25"/>
                  <a:pt x="60" y="26"/>
                  <a:pt x="54" y="28"/>
                </a:cubicBezTo>
                <a:cubicBezTo>
                  <a:pt x="48" y="31"/>
                  <a:pt x="43" y="34"/>
                  <a:pt x="39" y="39"/>
                </a:cubicBezTo>
                <a:cubicBezTo>
                  <a:pt x="34" y="43"/>
                  <a:pt x="31" y="48"/>
                  <a:pt x="28" y="54"/>
                </a:cubicBezTo>
                <a:cubicBezTo>
                  <a:pt x="26" y="60"/>
                  <a:pt x="25" y="66"/>
                  <a:pt x="25" y="73"/>
                </a:cubicBezTo>
                <a:cubicBezTo>
                  <a:pt x="25" y="80"/>
                  <a:pt x="26" y="86"/>
                  <a:pt x="28" y="92"/>
                </a:cubicBezTo>
                <a:cubicBezTo>
                  <a:pt x="31" y="98"/>
                  <a:pt x="34" y="103"/>
                  <a:pt x="39" y="107"/>
                </a:cubicBezTo>
                <a:cubicBezTo>
                  <a:pt x="43" y="112"/>
                  <a:pt x="48" y="115"/>
                  <a:pt x="54" y="118"/>
                </a:cubicBezTo>
                <a:cubicBezTo>
                  <a:pt x="60" y="120"/>
                  <a:pt x="66" y="121"/>
                  <a:pt x="73" y="121"/>
                </a:cubicBezTo>
                <a:cubicBezTo>
                  <a:pt x="80" y="121"/>
                  <a:pt x="88" y="120"/>
                  <a:pt x="94" y="116"/>
                </a:cubicBezTo>
                <a:cubicBezTo>
                  <a:pt x="101" y="113"/>
                  <a:pt x="107" y="109"/>
                  <a:pt x="111" y="103"/>
                </a:cubicBezTo>
                <a:cubicBezTo>
                  <a:pt x="112" y="102"/>
                  <a:pt x="112" y="102"/>
                  <a:pt x="113" y="101"/>
                </a:cubicBezTo>
                <a:cubicBezTo>
                  <a:pt x="114" y="101"/>
                  <a:pt x="115" y="102"/>
                  <a:pt x="116" y="102"/>
                </a:cubicBezTo>
                <a:cubicBezTo>
                  <a:pt x="129" y="115"/>
                  <a:pt x="129" y="115"/>
                  <a:pt x="129" y="115"/>
                </a:cubicBezTo>
                <a:cubicBezTo>
                  <a:pt x="129" y="116"/>
                  <a:pt x="130" y="116"/>
                  <a:pt x="130" y="117"/>
                </a:cubicBezTo>
                <a:cubicBezTo>
                  <a:pt x="130" y="118"/>
                  <a:pt x="129" y="119"/>
                  <a:pt x="129" y="119"/>
                </a:cubicBezTo>
                <a:cubicBezTo>
                  <a:pt x="122" y="128"/>
                  <a:pt x="114" y="134"/>
                  <a:pt x="104" y="139"/>
                </a:cubicBezTo>
                <a:cubicBezTo>
                  <a:pt x="94" y="143"/>
                  <a:pt x="84" y="146"/>
                  <a:pt x="73" y="146"/>
                </a:cubicBezTo>
                <a:cubicBezTo>
                  <a:pt x="63" y="146"/>
                  <a:pt x="54" y="144"/>
                  <a:pt x="45" y="140"/>
                </a:cubicBezTo>
                <a:cubicBezTo>
                  <a:pt x="36" y="136"/>
                  <a:pt x="28" y="131"/>
                  <a:pt x="22" y="124"/>
                </a:cubicBezTo>
                <a:cubicBezTo>
                  <a:pt x="15" y="118"/>
                  <a:pt x="10" y="110"/>
                  <a:pt x="6" y="101"/>
                </a:cubicBezTo>
                <a:cubicBezTo>
                  <a:pt x="2" y="92"/>
                  <a:pt x="0" y="83"/>
                  <a:pt x="0" y="73"/>
                </a:cubicBezTo>
                <a:cubicBezTo>
                  <a:pt x="0" y="63"/>
                  <a:pt x="2" y="54"/>
                  <a:pt x="6" y="45"/>
                </a:cubicBezTo>
                <a:cubicBezTo>
                  <a:pt x="10" y="36"/>
                  <a:pt x="15" y="28"/>
                  <a:pt x="22" y="22"/>
                </a:cubicBezTo>
                <a:cubicBezTo>
                  <a:pt x="28" y="15"/>
                  <a:pt x="36" y="10"/>
                  <a:pt x="45" y="6"/>
                </a:cubicBezTo>
                <a:cubicBezTo>
                  <a:pt x="54" y="2"/>
                  <a:pt x="63" y="0"/>
                  <a:pt x="73" y="0"/>
                </a:cubicBezTo>
                <a:cubicBezTo>
                  <a:pt x="82" y="0"/>
                  <a:pt x="91" y="2"/>
                  <a:pt x="100" y="6"/>
                </a:cubicBezTo>
                <a:cubicBezTo>
                  <a:pt x="109" y="9"/>
                  <a:pt x="116" y="14"/>
                  <a:pt x="123" y="20"/>
                </a:cubicBezTo>
                <a:cubicBezTo>
                  <a:pt x="135" y="8"/>
                  <a:pt x="135" y="8"/>
                  <a:pt x="135" y="8"/>
                </a:cubicBezTo>
                <a:cubicBezTo>
                  <a:pt x="137" y="6"/>
                  <a:pt x="139" y="6"/>
                  <a:pt x="142" y="7"/>
                </a:cubicBezTo>
                <a:cubicBezTo>
                  <a:pt x="144" y="8"/>
                  <a:pt x="146" y="10"/>
                  <a:pt x="146" y="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" name="Freeform 35"/>
          <p:cNvSpPr>
            <a:spLocks noChangeAspect="1" noEditPoints="1"/>
          </p:cNvSpPr>
          <p:nvPr/>
        </p:nvSpPr>
        <p:spPr bwMode="auto">
          <a:xfrm>
            <a:off x="6951419" y="1555540"/>
            <a:ext cx="149885" cy="151447"/>
          </a:xfrm>
          <a:custGeom>
            <a:avLst/>
            <a:gdLst>
              <a:gd name="T0" fmla="*/ 143 w 145"/>
              <a:gd name="T1" fmla="*/ 88 h 146"/>
              <a:gd name="T2" fmla="*/ 143 w 145"/>
              <a:gd name="T3" fmla="*/ 89 h 146"/>
              <a:gd name="T4" fmla="*/ 118 w 145"/>
              <a:gd name="T5" fmla="*/ 130 h 146"/>
              <a:gd name="T6" fmla="*/ 72 w 145"/>
              <a:gd name="T7" fmla="*/ 146 h 146"/>
              <a:gd name="T8" fmla="*/ 46 w 145"/>
              <a:gd name="T9" fmla="*/ 140 h 146"/>
              <a:gd name="T10" fmla="*/ 23 w 145"/>
              <a:gd name="T11" fmla="*/ 126 h 146"/>
              <a:gd name="T12" fmla="*/ 11 w 145"/>
              <a:gd name="T13" fmla="*/ 138 h 146"/>
              <a:gd name="T14" fmla="*/ 6 w 145"/>
              <a:gd name="T15" fmla="*/ 140 h 146"/>
              <a:gd name="T16" fmla="*/ 2 w 145"/>
              <a:gd name="T17" fmla="*/ 138 h 146"/>
              <a:gd name="T18" fmla="*/ 0 w 145"/>
              <a:gd name="T19" fmla="*/ 133 h 146"/>
              <a:gd name="T20" fmla="*/ 0 w 145"/>
              <a:gd name="T21" fmla="*/ 91 h 146"/>
              <a:gd name="T22" fmla="*/ 2 w 145"/>
              <a:gd name="T23" fmla="*/ 87 h 146"/>
              <a:gd name="T24" fmla="*/ 6 w 145"/>
              <a:gd name="T25" fmla="*/ 85 h 146"/>
              <a:gd name="T26" fmla="*/ 49 w 145"/>
              <a:gd name="T27" fmla="*/ 85 h 146"/>
              <a:gd name="T28" fmla="*/ 53 w 145"/>
              <a:gd name="T29" fmla="*/ 87 h 146"/>
              <a:gd name="T30" fmla="*/ 55 w 145"/>
              <a:gd name="T31" fmla="*/ 91 h 146"/>
              <a:gd name="T32" fmla="*/ 53 w 145"/>
              <a:gd name="T33" fmla="*/ 95 h 146"/>
              <a:gd name="T34" fmla="*/ 40 w 145"/>
              <a:gd name="T35" fmla="*/ 108 h 146"/>
              <a:gd name="T36" fmla="*/ 55 w 145"/>
              <a:gd name="T37" fmla="*/ 118 h 146"/>
              <a:gd name="T38" fmla="*/ 73 w 145"/>
              <a:gd name="T39" fmla="*/ 121 h 146"/>
              <a:gd name="T40" fmla="*/ 96 w 145"/>
              <a:gd name="T41" fmla="*/ 115 h 146"/>
              <a:gd name="T42" fmla="*/ 114 w 145"/>
              <a:gd name="T43" fmla="*/ 98 h 146"/>
              <a:gd name="T44" fmla="*/ 119 w 145"/>
              <a:gd name="T45" fmla="*/ 87 h 146"/>
              <a:gd name="T46" fmla="*/ 122 w 145"/>
              <a:gd name="T47" fmla="*/ 85 h 146"/>
              <a:gd name="T48" fmla="*/ 140 w 145"/>
              <a:gd name="T49" fmla="*/ 85 h 146"/>
              <a:gd name="T50" fmla="*/ 142 w 145"/>
              <a:gd name="T51" fmla="*/ 86 h 146"/>
              <a:gd name="T52" fmla="*/ 143 w 145"/>
              <a:gd name="T53" fmla="*/ 88 h 146"/>
              <a:gd name="T54" fmla="*/ 145 w 145"/>
              <a:gd name="T55" fmla="*/ 12 h 146"/>
              <a:gd name="T56" fmla="*/ 145 w 145"/>
              <a:gd name="T57" fmla="*/ 55 h 146"/>
              <a:gd name="T58" fmla="*/ 144 w 145"/>
              <a:gd name="T59" fmla="*/ 59 h 146"/>
              <a:gd name="T60" fmla="*/ 139 w 145"/>
              <a:gd name="T61" fmla="*/ 61 h 146"/>
              <a:gd name="T62" fmla="*/ 97 w 145"/>
              <a:gd name="T63" fmla="*/ 61 h 146"/>
              <a:gd name="T64" fmla="*/ 93 w 145"/>
              <a:gd name="T65" fmla="*/ 59 h 146"/>
              <a:gd name="T66" fmla="*/ 91 w 145"/>
              <a:gd name="T67" fmla="*/ 55 h 146"/>
              <a:gd name="T68" fmla="*/ 93 w 145"/>
              <a:gd name="T69" fmla="*/ 51 h 146"/>
              <a:gd name="T70" fmla="*/ 106 w 145"/>
              <a:gd name="T71" fmla="*/ 38 h 146"/>
              <a:gd name="T72" fmla="*/ 73 w 145"/>
              <a:gd name="T73" fmla="*/ 25 h 146"/>
              <a:gd name="T74" fmla="*/ 49 w 145"/>
              <a:gd name="T75" fmla="*/ 31 h 146"/>
              <a:gd name="T76" fmla="*/ 32 w 145"/>
              <a:gd name="T77" fmla="*/ 48 h 146"/>
              <a:gd name="T78" fmla="*/ 27 w 145"/>
              <a:gd name="T79" fmla="*/ 59 h 146"/>
              <a:gd name="T80" fmla="*/ 24 w 145"/>
              <a:gd name="T81" fmla="*/ 61 h 146"/>
              <a:gd name="T82" fmla="*/ 5 w 145"/>
              <a:gd name="T83" fmla="*/ 61 h 146"/>
              <a:gd name="T84" fmla="*/ 3 w 145"/>
              <a:gd name="T85" fmla="*/ 60 h 146"/>
              <a:gd name="T86" fmla="*/ 2 w 145"/>
              <a:gd name="T87" fmla="*/ 58 h 146"/>
              <a:gd name="T88" fmla="*/ 2 w 145"/>
              <a:gd name="T89" fmla="*/ 57 h 146"/>
              <a:gd name="T90" fmla="*/ 27 w 145"/>
              <a:gd name="T91" fmla="*/ 16 h 146"/>
              <a:gd name="T92" fmla="*/ 73 w 145"/>
              <a:gd name="T93" fmla="*/ 0 h 146"/>
              <a:gd name="T94" fmla="*/ 100 w 145"/>
              <a:gd name="T95" fmla="*/ 6 h 146"/>
              <a:gd name="T96" fmla="*/ 123 w 145"/>
              <a:gd name="T97" fmla="*/ 20 h 146"/>
              <a:gd name="T98" fmla="*/ 135 w 145"/>
              <a:gd name="T99" fmla="*/ 8 h 146"/>
              <a:gd name="T100" fmla="*/ 139 w 145"/>
              <a:gd name="T101" fmla="*/ 6 h 146"/>
              <a:gd name="T102" fmla="*/ 144 w 145"/>
              <a:gd name="T103" fmla="*/ 8 h 146"/>
              <a:gd name="T104" fmla="*/ 145 w 145"/>
              <a:gd name="T105" fmla="*/ 1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5" h="146">
                <a:moveTo>
                  <a:pt x="143" y="88"/>
                </a:moveTo>
                <a:cubicBezTo>
                  <a:pt x="143" y="88"/>
                  <a:pt x="143" y="89"/>
                  <a:pt x="143" y="89"/>
                </a:cubicBezTo>
                <a:cubicBezTo>
                  <a:pt x="139" y="106"/>
                  <a:pt x="130" y="119"/>
                  <a:pt x="118" y="130"/>
                </a:cubicBezTo>
                <a:cubicBezTo>
                  <a:pt x="105" y="140"/>
                  <a:pt x="90" y="146"/>
                  <a:pt x="72" y="146"/>
                </a:cubicBezTo>
                <a:cubicBezTo>
                  <a:pt x="63" y="146"/>
                  <a:pt x="54" y="144"/>
                  <a:pt x="46" y="140"/>
                </a:cubicBezTo>
                <a:cubicBezTo>
                  <a:pt x="37" y="137"/>
                  <a:pt x="29" y="132"/>
                  <a:pt x="23" y="126"/>
                </a:cubicBezTo>
                <a:cubicBezTo>
                  <a:pt x="11" y="138"/>
                  <a:pt x="11" y="138"/>
                  <a:pt x="11" y="138"/>
                </a:cubicBezTo>
                <a:cubicBezTo>
                  <a:pt x="9" y="139"/>
                  <a:pt x="8" y="140"/>
                  <a:pt x="6" y="140"/>
                </a:cubicBezTo>
                <a:cubicBezTo>
                  <a:pt x="5" y="140"/>
                  <a:pt x="3" y="139"/>
                  <a:pt x="2" y="138"/>
                </a:cubicBezTo>
                <a:cubicBezTo>
                  <a:pt x="1" y="137"/>
                  <a:pt x="0" y="135"/>
                  <a:pt x="0" y="133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89"/>
                  <a:pt x="1" y="88"/>
                  <a:pt x="2" y="87"/>
                </a:cubicBezTo>
                <a:cubicBezTo>
                  <a:pt x="3" y="86"/>
                  <a:pt x="5" y="85"/>
                  <a:pt x="6" y="85"/>
                </a:cubicBezTo>
                <a:cubicBezTo>
                  <a:pt x="49" y="85"/>
                  <a:pt x="49" y="85"/>
                  <a:pt x="49" y="85"/>
                </a:cubicBezTo>
                <a:cubicBezTo>
                  <a:pt x="50" y="85"/>
                  <a:pt x="52" y="86"/>
                  <a:pt x="53" y="87"/>
                </a:cubicBezTo>
                <a:cubicBezTo>
                  <a:pt x="54" y="88"/>
                  <a:pt x="55" y="89"/>
                  <a:pt x="55" y="91"/>
                </a:cubicBezTo>
                <a:cubicBezTo>
                  <a:pt x="55" y="93"/>
                  <a:pt x="54" y="94"/>
                  <a:pt x="53" y="95"/>
                </a:cubicBezTo>
                <a:cubicBezTo>
                  <a:pt x="40" y="108"/>
                  <a:pt x="40" y="108"/>
                  <a:pt x="40" y="108"/>
                </a:cubicBezTo>
                <a:cubicBezTo>
                  <a:pt x="44" y="112"/>
                  <a:pt x="49" y="116"/>
                  <a:pt x="55" y="118"/>
                </a:cubicBezTo>
                <a:cubicBezTo>
                  <a:pt x="61" y="120"/>
                  <a:pt x="67" y="121"/>
                  <a:pt x="73" y="121"/>
                </a:cubicBezTo>
                <a:cubicBezTo>
                  <a:pt x="81" y="121"/>
                  <a:pt x="89" y="119"/>
                  <a:pt x="96" y="115"/>
                </a:cubicBezTo>
                <a:cubicBezTo>
                  <a:pt x="104" y="111"/>
                  <a:pt x="110" y="105"/>
                  <a:pt x="114" y="98"/>
                </a:cubicBezTo>
                <a:cubicBezTo>
                  <a:pt x="115" y="97"/>
                  <a:pt x="116" y="94"/>
                  <a:pt x="119" y="87"/>
                </a:cubicBezTo>
                <a:cubicBezTo>
                  <a:pt x="120" y="86"/>
                  <a:pt x="121" y="85"/>
                  <a:pt x="122" y="85"/>
                </a:cubicBezTo>
                <a:cubicBezTo>
                  <a:pt x="140" y="85"/>
                  <a:pt x="140" y="85"/>
                  <a:pt x="140" y="85"/>
                </a:cubicBezTo>
                <a:cubicBezTo>
                  <a:pt x="141" y="85"/>
                  <a:pt x="142" y="85"/>
                  <a:pt x="142" y="86"/>
                </a:cubicBezTo>
                <a:cubicBezTo>
                  <a:pt x="143" y="87"/>
                  <a:pt x="143" y="87"/>
                  <a:pt x="143" y="88"/>
                </a:cubicBezTo>
                <a:close/>
                <a:moveTo>
                  <a:pt x="145" y="12"/>
                </a:moveTo>
                <a:cubicBezTo>
                  <a:pt x="145" y="55"/>
                  <a:pt x="145" y="55"/>
                  <a:pt x="145" y="55"/>
                </a:cubicBezTo>
                <a:cubicBezTo>
                  <a:pt x="145" y="56"/>
                  <a:pt x="145" y="58"/>
                  <a:pt x="144" y="59"/>
                </a:cubicBezTo>
                <a:cubicBezTo>
                  <a:pt x="142" y="60"/>
                  <a:pt x="141" y="61"/>
                  <a:pt x="139" y="61"/>
                </a:cubicBezTo>
                <a:cubicBezTo>
                  <a:pt x="97" y="61"/>
                  <a:pt x="97" y="61"/>
                  <a:pt x="97" y="61"/>
                </a:cubicBezTo>
                <a:cubicBezTo>
                  <a:pt x="95" y="61"/>
                  <a:pt x="94" y="60"/>
                  <a:pt x="93" y="59"/>
                </a:cubicBezTo>
                <a:cubicBezTo>
                  <a:pt x="92" y="58"/>
                  <a:pt x="91" y="56"/>
                  <a:pt x="91" y="55"/>
                </a:cubicBezTo>
                <a:cubicBezTo>
                  <a:pt x="91" y="53"/>
                  <a:pt x="92" y="52"/>
                  <a:pt x="93" y="51"/>
                </a:cubicBezTo>
                <a:cubicBezTo>
                  <a:pt x="106" y="38"/>
                  <a:pt x="106" y="38"/>
                  <a:pt x="106" y="38"/>
                </a:cubicBezTo>
                <a:cubicBezTo>
                  <a:pt x="96" y="29"/>
                  <a:pt x="85" y="25"/>
                  <a:pt x="73" y="25"/>
                </a:cubicBezTo>
                <a:cubicBezTo>
                  <a:pt x="64" y="25"/>
                  <a:pt x="56" y="27"/>
                  <a:pt x="49" y="31"/>
                </a:cubicBezTo>
                <a:cubicBezTo>
                  <a:pt x="42" y="35"/>
                  <a:pt x="36" y="40"/>
                  <a:pt x="32" y="48"/>
                </a:cubicBezTo>
                <a:cubicBezTo>
                  <a:pt x="31" y="49"/>
                  <a:pt x="29" y="52"/>
                  <a:pt x="27" y="59"/>
                </a:cubicBezTo>
                <a:cubicBezTo>
                  <a:pt x="26" y="60"/>
                  <a:pt x="25" y="61"/>
                  <a:pt x="24" y="61"/>
                </a:cubicBezTo>
                <a:cubicBezTo>
                  <a:pt x="5" y="61"/>
                  <a:pt x="5" y="61"/>
                  <a:pt x="5" y="61"/>
                </a:cubicBezTo>
                <a:cubicBezTo>
                  <a:pt x="4" y="61"/>
                  <a:pt x="3" y="61"/>
                  <a:pt x="3" y="60"/>
                </a:cubicBezTo>
                <a:cubicBezTo>
                  <a:pt x="2" y="59"/>
                  <a:pt x="2" y="59"/>
                  <a:pt x="2" y="58"/>
                </a:cubicBezTo>
                <a:cubicBezTo>
                  <a:pt x="2" y="57"/>
                  <a:pt x="2" y="57"/>
                  <a:pt x="2" y="57"/>
                </a:cubicBezTo>
                <a:cubicBezTo>
                  <a:pt x="6" y="40"/>
                  <a:pt x="15" y="27"/>
                  <a:pt x="27" y="16"/>
                </a:cubicBezTo>
                <a:cubicBezTo>
                  <a:pt x="40" y="6"/>
                  <a:pt x="55" y="0"/>
                  <a:pt x="73" y="0"/>
                </a:cubicBezTo>
                <a:cubicBezTo>
                  <a:pt x="82" y="0"/>
                  <a:pt x="91" y="2"/>
                  <a:pt x="100" y="6"/>
                </a:cubicBezTo>
                <a:cubicBezTo>
                  <a:pt x="108" y="9"/>
                  <a:pt x="116" y="14"/>
                  <a:pt x="123" y="20"/>
                </a:cubicBezTo>
                <a:cubicBezTo>
                  <a:pt x="135" y="8"/>
                  <a:pt x="135" y="8"/>
                  <a:pt x="135" y="8"/>
                </a:cubicBezTo>
                <a:cubicBezTo>
                  <a:pt x="136" y="7"/>
                  <a:pt x="138" y="6"/>
                  <a:pt x="139" y="6"/>
                </a:cubicBezTo>
                <a:cubicBezTo>
                  <a:pt x="141" y="6"/>
                  <a:pt x="142" y="7"/>
                  <a:pt x="144" y="8"/>
                </a:cubicBezTo>
                <a:cubicBezTo>
                  <a:pt x="145" y="9"/>
                  <a:pt x="145" y="11"/>
                  <a:pt x="145" y="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" name="Freeform 36"/>
          <p:cNvSpPr>
            <a:spLocks noChangeAspect="1" noEditPoints="1"/>
          </p:cNvSpPr>
          <p:nvPr/>
        </p:nvSpPr>
        <p:spPr bwMode="auto">
          <a:xfrm>
            <a:off x="7148144" y="1555540"/>
            <a:ext cx="174866" cy="138956"/>
          </a:xfrm>
          <a:custGeom>
            <a:avLst/>
            <a:gdLst>
              <a:gd name="T0" fmla="*/ 169 w 169"/>
              <a:gd name="T1" fmla="*/ 118 h 133"/>
              <a:gd name="T2" fmla="*/ 154 w 169"/>
              <a:gd name="T3" fmla="*/ 133 h 133"/>
              <a:gd name="T4" fmla="*/ 5 w 169"/>
              <a:gd name="T5" fmla="*/ 129 h 133"/>
              <a:gd name="T6" fmla="*/ 0 w 169"/>
              <a:gd name="T7" fmla="*/ 15 h 133"/>
              <a:gd name="T8" fmla="*/ 15 w 169"/>
              <a:gd name="T9" fmla="*/ 0 h 133"/>
              <a:gd name="T10" fmla="*/ 165 w 169"/>
              <a:gd name="T11" fmla="*/ 5 h 133"/>
              <a:gd name="T12" fmla="*/ 157 w 169"/>
              <a:gd name="T13" fmla="*/ 118 h 133"/>
              <a:gd name="T14" fmla="*/ 156 w 169"/>
              <a:gd name="T15" fmla="*/ 38 h 133"/>
              <a:gd name="T16" fmla="*/ 15 w 169"/>
              <a:gd name="T17" fmla="*/ 37 h 133"/>
              <a:gd name="T18" fmla="*/ 12 w 169"/>
              <a:gd name="T19" fmla="*/ 40 h 133"/>
              <a:gd name="T20" fmla="*/ 13 w 169"/>
              <a:gd name="T21" fmla="*/ 120 h 133"/>
              <a:gd name="T22" fmla="*/ 154 w 169"/>
              <a:gd name="T23" fmla="*/ 121 h 133"/>
              <a:gd name="T24" fmla="*/ 157 w 169"/>
              <a:gd name="T25" fmla="*/ 118 h 133"/>
              <a:gd name="T26" fmla="*/ 36 w 169"/>
              <a:gd name="T27" fmla="*/ 58 h 133"/>
              <a:gd name="T28" fmla="*/ 33 w 169"/>
              <a:gd name="T29" fmla="*/ 61 h 133"/>
              <a:gd name="T30" fmla="*/ 25 w 169"/>
              <a:gd name="T31" fmla="*/ 60 h 133"/>
              <a:gd name="T32" fmla="*/ 24 w 169"/>
              <a:gd name="T33" fmla="*/ 52 h 133"/>
              <a:gd name="T34" fmla="*/ 27 w 169"/>
              <a:gd name="T35" fmla="*/ 49 h 133"/>
              <a:gd name="T36" fmla="*/ 35 w 169"/>
              <a:gd name="T37" fmla="*/ 50 h 133"/>
              <a:gd name="T38" fmla="*/ 36 w 169"/>
              <a:gd name="T39" fmla="*/ 76 h 133"/>
              <a:gd name="T40" fmla="*/ 35 w 169"/>
              <a:gd name="T41" fmla="*/ 84 h 133"/>
              <a:gd name="T42" fmla="*/ 27 w 169"/>
              <a:gd name="T43" fmla="*/ 85 h 133"/>
              <a:gd name="T44" fmla="*/ 24 w 169"/>
              <a:gd name="T45" fmla="*/ 82 h 133"/>
              <a:gd name="T46" fmla="*/ 25 w 169"/>
              <a:gd name="T47" fmla="*/ 74 h 133"/>
              <a:gd name="T48" fmla="*/ 33 w 169"/>
              <a:gd name="T49" fmla="*/ 73 h 133"/>
              <a:gd name="T50" fmla="*/ 36 w 169"/>
              <a:gd name="T51" fmla="*/ 76 h 133"/>
              <a:gd name="T52" fmla="*/ 36 w 169"/>
              <a:gd name="T53" fmla="*/ 106 h 133"/>
              <a:gd name="T54" fmla="*/ 33 w 169"/>
              <a:gd name="T55" fmla="*/ 109 h 133"/>
              <a:gd name="T56" fmla="*/ 25 w 169"/>
              <a:gd name="T57" fmla="*/ 108 h 133"/>
              <a:gd name="T58" fmla="*/ 24 w 169"/>
              <a:gd name="T59" fmla="*/ 100 h 133"/>
              <a:gd name="T60" fmla="*/ 27 w 169"/>
              <a:gd name="T61" fmla="*/ 97 h 133"/>
              <a:gd name="T62" fmla="*/ 35 w 169"/>
              <a:gd name="T63" fmla="*/ 98 h 133"/>
              <a:gd name="T64" fmla="*/ 145 w 169"/>
              <a:gd name="T65" fmla="*/ 52 h 133"/>
              <a:gd name="T66" fmla="*/ 144 w 169"/>
              <a:gd name="T67" fmla="*/ 60 h 133"/>
              <a:gd name="T68" fmla="*/ 51 w 169"/>
              <a:gd name="T69" fmla="*/ 61 h 133"/>
              <a:gd name="T70" fmla="*/ 48 w 169"/>
              <a:gd name="T71" fmla="*/ 58 h 133"/>
              <a:gd name="T72" fmla="*/ 49 w 169"/>
              <a:gd name="T73" fmla="*/ 50 h 133"/>
              <a:gd name="T74" fmla="*/ 142 w 169"/>
              <a:gd name="T75" fmla="*/ 49 h 133"/>
              <a:gd name="T76" fmla="*/ 145 w 169"/>
              <a:gd name="T77" fmla="*/ 52 h 133"/>
              <a:gd name="T78" fmla="*/ 145 w 169"/>
              <a:gd name="T79" fmla="*/ 82 h 133"/>
              <a:gd name="T80" fmla="*/ 142 w 169"/>
              <a:gd name="T81" fmla="*/ 85 h 133"/>
              <a:gd name="T82" fmla="*/ 49 w 169"/>
              <a:gd name="T83" fmla="*/ 84 h 133"/>
              <a:gd name="T84" fmla="*/ 48 w 169"/>
              <a:gd name="T85" fmla="*/ 76 h 133"/>
              <a:gd name="T86" fmla="*/ 51 w 169"/>
              <a:gd name="T87" fmla="*/ 73 h 133"/>
              <a:gd name="T88" fmla="*/ 144 w 169"/>
              <a:gd name="T89" fmla="*/ 74 h 133"/>
              <a:gd name="T90" fmla="*/ 145 w 169"/>
              <a:gd name="T91" fmla="*/ 100 h 133"/>
              <a:gd name="T92" fmla="*/ 144 w 169"/>
              <a:gd name="T93" fmla="*/ 108 h 133"/>
              <a:gd name="T94" fmla="*/ 51 w 169"/>
              <a:gd name="T95" fmla="*/ 109 h 133"/>
              <a:gd name="T96" fmla="*/ 48 w 169"/>
              <a:gd name="T97" fmla="*/ 106 h 133"/>
              <a:gd name="T98" fmla="*/ 49 w 169"/>
              <a:gd name="T99" fmla="*/ 98 h 133"/>
              <a:gd name="T100" fmla="*/ 142 w 169"/>
              <a:gd name="T101" fmla="*/ 97 h 133"/>
              <a:gd name="T102" fmla="*/ 145 w 169"/>
              <a:gd name="T103" fmla="*/ 10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9" h="133">
                <a:moveTo>
                  <a:pt x="169" y="15"/>
                </a:moveTo>
                <a:cubicBezTo>
                  <a:pt x="169" y="118"/>
                  <a:pt x="169" y="118"/>
                  <a:pt x="169" y="118"/>
                </a:cubicBezTo>
                <a:cubicBezTo>
                  <a:pt x="169" y="123"/>
                  <a:pt x="168" y="126"/>
                  <a:pt x="165" y="129"/>
                </a:cubicBezTo>
                <a:cubicBezTo>
                  <a:pt x="162" y="132"/>
                  <a:pt x="159" y="133"/>
                  <a:pt x="154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5" y="129"/>
                </a:cubicBezTo>
                <a:cubicBezTo>
                  <a:pt x="2" y="126"/>
                  <a:pt x="0" y="123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2" y="8"/>
                  <a:pt x="5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9" y="0"/>
                  <a:pt x="162" y="2"/>
                  <a:pt x="165" y="5"/>
                </a:cubicBezTo>
                <a:cubicBezTo>
                  <a:pt x="168" y="8"/>
                  <a:pt x="169" y="11"/>
                  <a:pt x="169" y="15"/>
                </a:cubicBezTo>
                <a:close/>
                <a:moveTo>
                  <a:pt x="157" y="118"/>
                </a:moveTo>
                <a:cubicBezTo>
                  <a:pt x="157" y="40"/>
                  <a:pt x="157" y="40"/>
                  <a:pt x="157" y="40"/>
                </a:cubicBezTo>
                <a:cubicBezTo>
                  <a:pt x="157" y="39"/>
                  <a:pt x="157" y="38"/>
                  <a:pt x="156" y="38"/>
                </a:cubicBezTo>
                <a:cubicBezTo>
                  <a:pt x="156" y="37"/>
                  <a:pt x="155" y="37"/>
                  <a:pt x="154" y="37"/>
                </a:cubicBezTo>
                <a:cubicBezTo>
                  <a:pt x="15" y="37"/>
                  <a:pt x="15" y="37"/>
                  <a:pt x="15" y="37"/>
                </a:cubicBezTo>
                <a:cubicBezTo>
                  <a:pt x="14" y="37"/>
                  <a:pt x="14" y="37"/>
                  <a:pt x="13" y="38"/>
                </a:cubicBezTo>
                <a:cubicBezTo>
                  <a:pt x="12" y="38"/>
                  <a:pt x="12" y="39"/>
                  <a:pt x="12" y="40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19"/>
                  <a:pt x="12" y="120"/>
                  <a:pt x="13" y="120"/>
                </a:cubicBezTo>
                <a:cubicBezTo>
                  <a:pt x="14" y="121"/>
                  <a:pt x="14" y="121"/>
                  <a:pt x="15" y="121"/>
                </a:cubicBezTo>
                <a:cubicBezTo>
                  <a:pt x="154" y="121"/>
                  <a:pt x="154" y="121"/>
                  <a:pt x="154" y="121"/>
                </a:cubicBezTo>
                <a:cubicBezTo>
                  <a:pt x="155" y="121"/>
                  <a:pt x="156" y="121"/>
                  <a:pt x="156" y="120"/>
                </a:cubicBezTo>
                <a:cubicBezTo>
                  <a:pt x="157" y="120"/>
                  <a:pt x="157" y="119"/>
                  <a:pt x="157" y="118"/>
                </a:cubicBezTo>
                <a:close/>
                <a:moveTo>
                  <a:pt x="36" y="52"/>
                </a:moveTo>
                <a:cubicBezTo>
                  <a:pt x="36" y="58"/>
                  <a:pt x="36" y="58"/>
                  <a:pt x="36" y="58"/>
                </a:cubicBezTo>
                <a:cubicBezTo>
                  <a:pt x="36" y="59"/>
                  <a:pt x="36" y="59"/>
                  <a:pt x="35" y="60"/>
                </a:cubicBezTo>
                <a:cubicBezTo>
                  <a:pt x="35" y="61"/>
                  <a:pt x="34" y="61"/>
                  <a:pt x="33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6" y="61"/>
                  <a:pt x="26" y="61"/>
                  <a:pt x="25" y="60"/>
                </a:cubicBezTo>
                <a:cubicBezTo>
                  <a:pt x="25" y="59"/>
                  <a:pt x="24" y="59"/>
                  <a:pt x="24" y="58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1"/>
                  <a:pt x="25" y="50"/>
                  <a:pt x="25" y="50"/>
                </a:cubicBezTo>
                <a:cubicBezTo>
                  <a:pt x="26" y="49"/>
                  <a:pt x="26" y="49"/>
                  <a:pt x="27" y="49"/>
                </a:cubicBezTo>
                <a:cubicBezTo>
                  <a:pt x="33" y="49"/>
                  <a:pt x="33" y="49"/>
                  <a:pt x="33" y="49"/>
                </a:cubicBezTo>
                <a:cubicBezTo>
                  <a:pt x="34" y="49"/>
                  <a:pt x="35" y="49"/>
                  <a:pt x="35" y="50"/>
                </a:cubicBezTo>
                <a:cubicBezTo>
                  <a:pt x="36" y="50"/>
                  <a:pt x="36" y="51"/>
                  <a:pt x="36" y="52"/>
                </a:cubicBezTo>
                <a:close/>
                <a:moveTo>
                  <a:pt x="36" y="76"/>
                </a:moveTo>
                <a:cubicBezTo>
                  <a:pt x="36" y="82"/>
                  <a:pt x="36" y="82"/>
                  <a:pt x="36" y="82"/>
                </a:cubicBezTo>
                <a:cubicBezTo>
                  <a:pt x="36" y="83"/>
                  <a:pt x="36" y="84"/>
                  <a:pt x="35" y="84"/>
                </a:cubicBezTo>
                <a:cubicBezTo>
                  <a:pt x="35" y="85"/>
                  <a:pt x="34" y="85"/>
                  <a:pt x="33" y="85"/>
                </a:cubicBezTo>
                <a:cubicBezTo>
                  <a:pt x="27" y="85"/>
                  <a:pt x="27" y="85"/>
                  <a:pt x="27" y="85"/>
                </a:cubicBezTo>
                <a:cubicBezTo>
                  <a:pt x="26" y="85"/>
                  <a:pt x="26" y="85"/>
                  <a:pt x="25" y="84"/>
                </a:cubicBezTo>
                <a:cubicBezTo>
                  <a:pt x="25" y="84"/>
                  <a:pt x="24" y="83"/>
                  <a:pt x="24" y="82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75"/>
                  <a:pt x="25" y="74"/>
                  <a:pt x="25" y="74"/>
                </a:cubicBezTo>
                <a:cubicBezTo>
                  <a:pt x="26" y="73"/>
                  <a:pt x="26" y="73"/>
                  <a:pt x="27" y="73"/>
                </a:cubicBezTo>
                <a:cubicBezTo>
                  <a:pt x="33" y="73"/>
                  <a:pt x="33" y="73"/>
                  <a:pt x="33" y="73"/>
                </a:cubicBezTo>
                <a:cubicBezTo>
                  <a:pt x="34" y="73"/>
                  <a:pt x="35" y="73"/>
                  <a:pt x="35" y="74"/>
                </a:cubicBezTo>
                <a:cubicBezTo>
                  <a:pt x="36" y="74"/>
                  <a:pt x="36" y="75"/>
                  <a:pt x="36" y="76"/>
                </a:cubicBezTo>
                <a:close/>
                <a:moveTo>
                  <a:pt x="36" y="100"/>
                </a:moveTo>
                <a:cubicBezTo>
                  <a:pt x="36" y="106"/>
                  <a:pt x="36" y="106"/>
                  <a:pt x="36" y="106"/>
                </a:cubicBezTo>
                <a:cubicBezTo>
                  <a:pt x="36" y="107"/>
                  <a:pt x="36" y="108"/>
                  <a:pt x="35" y="108"/>
                </a:cubicBezTo>
                <a:cubicBezTo>
                  <a:pt x="35" y="109"/>
                  <a:pt x="34" y="109"/>
                  <a:pt x="33" y="109"/>
                </a:cubicBezTo>
                <a:cubicBezTo>
                  <a:pt x="27" y="109"/>
                  <a:pt x="27" y="109"/>
                  <a:pt x="27" y="109"/>
                </a:cubicBezTo>
                <a:cubicBezTo>
                  <a:pt x="26" y="109"/>
                  <a:pt x="26" y="109"/>
                  <a:pt x="25" y="108"/>
                </a:cubicBezTo>
                <a:cubicBezTo>
                  <a:pt x="25" y="108"/>
                  <a:pt x="24" y="107"/>
                  <a:pt x="24" y="106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99"/>
                  <a:pt x="25" y="99"/>
                  <a:pt x="25" y="98"/>
                </a:cubicBezTo>
                <a:cubicBezTo>
                  <a:pt x="26" y="97"/>
                  <a:pt x="26" y="97"/>
                  <a:pt x="27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4" y="97"/>
                  <a:pt x="35" y="97"/>
                  <a:pt x="35" y="98"/>
                </a:cubicBezTo>
                <a:cubicBezTo>
                  <a:pt x="36" y="99"/>
                  <a:pt x="36" y="99"/>
                  <a:pt x="36" y="100"/>
                </a:cubicBezTo>
                <a:close/>
                <a:moveTo>
                  <a:pt x="145" y="52"/>
                </a:moveTo>
                <a:cubicBezTo>
                  <a:pt x="145" y="58"/>
                  <a:pt x="145" y="58"/>
                  <a:pt x="145" y="58"/>
                </a:cubicBezTo>
                <a:cubicBezTo>
                  <a:pt x="145" y="59"/>
                  <a:pt x="145" y="59"/>
                  <a:pt x="144" y="60"/>
                </a:cubicBezTo>
                <a:cubicBezTo>
                  <a:pt x="144" y="61"/>
                  <a:pt x="143" y="61"/>
                  <a:pt x="142" y="61"/>
                </a:cubicBezTo>
                <a:cubicBezTo>
                  <a:pt x="51" y="61"/>
                  <a:pt x="51" y="61"/>
                  <a:pt x="51" y="61"/>
                </a:cubicBezTo>
                <a:cubicBezTo>
                  <a:pt x="51" y="61"/>
                  <a:pt x="50" y="61"/>
                  <a:pt x="49" y="60"/>
                </a:cubicBezTo>
                <a:cubicBezTo>
                  <a:pt x="49" y="59"/>
                  <a:pt x="48" y="59"/>
                  <a:pt x="48" y="58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51"/>
                  <a:pt x="49" y="50"/>
                  <a:pt x="49" y="50"/>
                </a:cubicBezTo>
                <a:cubicBezTo>
                  <a:pt x="50" y="49"/>
                  <a:pt x="51" y="49"/>
                  <a:pt x="51" y="49"/>
                </a:cubicBezTo>
                <a:cubicBezTo>
                  <a:pt x="142" y="49"/>
                  <a:pt x="142" y="49"/>
                  <a:pt x="142" y="49"/>
                </a:cubicBezTo>
                <a:cubicBezTo>
                  <a:pt x="143" y="49"/>
                  <a:pt x="144" y="49"/>
                  <a:pt x="144" y="50"/>
                </a:cubicBezTo>
                <a:cubicBezTo>
                  <a:pt x="145" y="50"/>
                  <a:pt x="145" y="51"/>
                  <a:pt x="145" y="52"/>
                </a:cubicBezTo>
                <a:close/>
                <a:moveTo>
                  <a:pt x="145" y="76"/>
                </a:moveTo>
                <a:cubicBezTo>
                  <a:pt x="145" y="82"/>
                  <a:pt x="145" y="82"/>
                  <a:pt x="145" y="82"/>
                </a:cubicBezTo>
                <a:cubicBezTo>
                  <a:pt x="145" y="83"/>
                  <a:pt x="145" y="84"/>
                  <a:pt x="144" y="84"/>
                </a:cubicBezTo>
                <a:cubicBezTo>
                  <a:pt x="144" y="85"/>
                  <a:pt x="143" y="85"/>
                  <a:pt x="142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1" y="85"/>
                  <a:pt x="50" y="85"/>
                  <a:pt x="49" y="84"/>
                </a:cubicBezTo>
                <a:cubicBezTo>
                  <a:pt x="49" y="84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9" y="74"/>
                  <a:pt x="49" y="74"/>
                </a:cubicBezTo>
                <a:cubicBezTo>
                  <a:pt x="50" y="73"/>
                  <a:pt x="51" y="73"/>
                  <a:pt x="51" y="73"/>
                </a:cubicBezTo>
                <a:cubicBezTo>
                  <a:pt x="142" y="73"/>
                  <a:pt x="142" y="73"/>
                  <a:pt x="142" y="73"/>
                </a:cubicBezTo>
                <a:cubicBezTo>
                  <a:pt x="143" y="73"/>
                  <a:pt x="144" y="73"/>
                  <a:pt x="144" y="74"/>
                </a:cubicBezTo>
                <a:cubicBezTo>
                  <a:pt x="145" y="74"/>
                  <a:pt x="145" y="75"/>
                  <a:pt x="145" y="76"/>
                </a:cubicBezTo>
                <a:close/>
                <a:moveTo>
                  <a:pt x="145" y="100"/>
                </a:moveTo>
                <a:cubicBezTo>
                  <a:pt x="145" y="106"/>
                  <a:pt x="145" y="106"/>
                  <a:pt x="145" y="106"/>
                </a:cubicBezTo>
                <a:cubicBezTo>
                  <a:pt x="145" y="107"/>
                  <a:pt x="145" y="108"/>
                  <a:pt x="144" y="108"/>
                </a:cubicBezTo>
                <a:cubicBezTo>
                  <a:pt x="144" y="109"/>
                  <a:pt x="143" y="109"/>
                  <a:pt x="142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0" y="109"/>
                  <a:pt x="49" y="108"/>
                </a:cubicBezTo>
                <a:cubicBezTo>
                  <a:pt x="49" y="108"/>
                  <a:pt x="48" y="107"/>
                  <a:pt x="48" y="106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8" y="99"/>
                  <a:pt x="49" y="99"/>
                  <a:pt x="49" y="98"/>
                </a:cubicBezTo>
                <a:cubicBezTo>
                  <a:pt x="50" y="97"/>
                  <a:pt x="51" y="97"/>
                  <a:pt x="51" y="97"/>
                </a:cubicBezTo>
                <a:cubicBezTo>
                  <a:pt x="142" y="97"/>
                  <a:pt x="142" y="97"/>
                  <a:pt x="142" y="97"/>
                </a:cubicBezTo>
                <a:cubicBezTo>
                  <a:pt x="143" y="97"/>
                  <a:pt x="144" y="97"/>
                  <a:pt x="144" y="98"/>
                </a:cubicBezTo>
                <a:cubicBezTo>
                  <a:pt x="145" y="99"/>
                  <a:pt x="145" y="99"/>
                  <a:pt x="145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" name="Freeform 37"/>
          <p:cNvSpPr>
            <a:spLocks noChangeAspect="1" noEditPoints="1"/>
          </p:cNvSpPr>
          <p:nvPr/>
        </p:nvSpPr>
        <p:spPr bwMode="auto">
          <a:xfrm>
            <a:off x="7369849" y="1555540"/>
            <a:ext cx="112414" cy="138956"/>
          </a:xfrm>
          <a:custGeom>
            <a:avLst/>
            <a:gdLst>
              <a:gd name="T0" fmla="*/ 109 w 109"/>
              <a:gd name="T1" fmla="*/ 70 h 133"/>
              <a:gd name="T2" fmla="*/ 109 w 109"/>
              <a:gd name="T3" fmla="*/ 124 h 133"/>
              <a:gd name="T4" fmla="*/ 106 w 109"/>
              <a:gd name="T5" fmla="*/ 131 h 133"/>
              <a:gd name="T6" fmla="*/ 100 w 109"/>
              <a:gd name="T7" fmla="*/ 133 h 133"/>
              <a:gd name="T8" fmla="*/ 9 w 109"/>
              <a:gd name="T9" fmla="*/ 133 h 133"/>
              <a:gd name="T10" fmla="*/ 3 w 109"/>
              <a:gd name="T11" fmla="*/ 131 h 133"/>
              <a:gd name="T12" fmla="*/ 0 w 109"/>
              <a:gd name="T13" fmla="*/ 124 h 133"/>
              <a:gd name="T14" fmla="*/ 0 w 109"/>
              <a:gd name="T15" fmla="*/ 70 h 133"/>
              <a:gd name="T16" fmla="*/ 3 w 109"/>
              <a:gd name="T17" fmla="*/ 64 h 133"/>
              <a:gd name="T18" fmla="*/ 9 w 109"/>
              <a:gd name="T19" fmla="*/ 61 h 133"/>
              <a:gd name="T20" fmla="*/ 12 w 109"/>
              <a:gd name="T21" fmla="*/ 61 h 133"/>
              <a:gd name="T22" fmla="*/ 12 w 109"/>
              <a:gd name="T23" fmla="*/ 43 h 133"/>
              <a:gd name="T24" fmla="*/ 25 w 109"/>
              <a:gd name="T25" fmla="*/ 13 h 133"/>
              <a:gd name="T26" fmla="*/ 55 w 109"/>
              <a:gd name="T27" fmla="*/ 0 h 133"/>
              <a:gd name="T28" fmla="*/ 84 w 109"/>
              <a:gd name="T29" fmla="*/ 13 h 133"/>
              <a:gd name="T30" fmla="*/ 97 w 109"/>
              <a:gd name="T31" fmla="*/ 43 h 133"/>
              <a:gd name="T32" fmla="*/ 97 w 109"/>
              <a:gd name="T33" fmla="*/ 61 h 133"/>
              <a:gd name="T34" fmla="*/ 100 w 109"/>
              <a:gd name="T35" fmla="*/ 61 h 133"/>
              <a:gd name="T36" fmla="*/ 106 w 109"/>
              <a:gd name="T37" fmla="*/ 64 h 133"/>
              <a:gd name="T38" fmla="*/ 109 w 109"/>
              <a:gd name="T39" fmla="*/ 70 h 133"/>
              <a:gd name="T40" fmla="*/ 30 w 109"/>
              <a:gd name="T41" fmla="*/ 61 h 133"/>
              <a:gd name="T42" fmla="*/ 79 w 109"/>
              <a:gd name="T43" fmla="*/ 61 h 133"/>
              <a:gd name="T44" fmla="*/ 79 w 109"/>
              <a:gd name="T45" fmla="*/ 43 h 133"/>
              <a:gd name="T46" fmla="*/ 72 w 109"/>
              <a:gd name="T47" fmla="*/ 26 h 133"/>
              <a:gd name="T48" fmla="*/ 55 w 109"/>
              <a:gd name="T49" fmla="*/ 19 h 133"/>
              <a:gd name="T50" fmla="*/ 37 w 109"/>
              <a:gd name="T51" fmla="*/ 26 h 133"/>
              <a:gd name="T52" fmla="*/ 30 w 109"/>
              <a:gd name="T53" fmla="*/ 43 h 133"/>
              <a:gd name="T54" fmla="*/ 30 w 109"/>
              <a:gd name="T55" fmla="*/ 61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9" h="133">
                <a:moveTo>
                  <a:pt x="109" y="70"/>
                </a:moveTo>
                <a:cubicBezTo>
                  <a:pt x="109" y="124"/>
                  <a:pt x="109" y="124"/>
                  <a:pt x="109" y="124"/>
                </a:cubicBezTo>
                <a:cubicBezTo>
                  <a:pt x="109" y="127"/>
                  <a:pt x="108" y="129"/>
                  <a:pt x="106" y="131"/>
                </a:cubicBezTo>
                <a:cubicBezTo>
                  <a:pt x="105" y="133"/>
                  <a:pt x="102" y="133"/>
                  <a:pt x="100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3"/>
                  <a:pt x="5" y="133"/>
                  <a:pt x="3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67"/>
                  <a:pt x="1" y="65"/>
                  <a:pt x="3" y="64"/>
                </a:cubicBezTo>
                <a:cubicBezTo>
                  <a:pt x="5" y="62"/>
                  <a:pt x="7" y="61"/>
                  <a:pt x="9" y="61"/>
                </a:cubicBezTo>
                <a:cubicBezTo>
                  <a:pt x="12" y="61"/>
                  <a:pt x="12" y="61"/>
                  <a:pt x="12" y="61"/>
                </a:cubicBezTo>
                <a:cubicBezTo>
                  <a:pt x="12" y="43"/>
                  <a:pt x="12" y="43"/>
                  <a:pt x="12" y="43"/>
                </a:cubicBezTo>
                <a:cubicBezTo>
                  <a:pt x="12" y="31"/>
                  <a:pt x="16" y="21"/>
                  <a:pt x="25" y="13"/>
                </a:cubicBezTo>
                <a:cubicBezTo>
                  <a:pt x="33" y="5"/>
                  <a:pt x="43" y="0"/>
                  <a:pt x="55" y="0"/>
                </a:cubicBezTo>
                <a:cubicBezTo>
                  <a:pt x="66" y="0"/>
                  <a:pt x="76" y="5"/>
                  <a:pt x="84" y="13"/>
                </a:cubicBezTo>
                <a:cubicBezTo>
                  <a:pt x="93" y="21"/>
                  <a:pt x="97" y="31"/>
                  <a:pt x="97" y="43"/>
                </a:cubicBezTo>
                <a:cubicBezTo>
                  <a:pt x="97" y="61"/>
                  <a:pt x="97" y="61"/>
                  <a:pt x="97" y="61"/>
                </a:cubicBezTo>
                <a:cubicBezTo>
                  <a:pt x="100" y="61"/>
                  <a:pt x="100" y="61"/>
                  <a:pt x="100" y="61"/>
                </a:cubicBezTo>
                <a:cubicBezTo>
                  <a:pt x="102" y="61"/>
                  <a:pt x="105" y="62"/>
                  <a:pt x="106" y="64"/>
                </a:cubicBezTo>
                <a:cubicBezTo>
                  <a:pt x="108" y="65"/>
                  <a:pt x="109" y="67"/>
                  <a:pt x="109" y="70"/>
                </a:cubicBezTo>
                <a:close/>
                <a:moveTo>
                  <a:pt x="30" y="61"/>
                </a:moveTo>
                <a:cubicBezTo>
                  <a:pt x="79" y="61"/>
                  <a:pt x="79" y="61"/>
                  <a:pt x="79" y="61"/>
                </a:cubicBezTo>
                <a:cubicBezTo>
                  <a:pt x="79" y="43"/>
                  <a:pt x="79" y="43"/>
                  <a:pt x="79" y="43"/>
                </a:cubicBezTo>
                <a:cubicBezTo>
                  <a:pt x="79" y="36"/>
                  <a:pt x="76" y="30"/>
                  <a:pt x="72" y="26"/>
                </a:cubicBezTo>
                <a:cubicBezTo>
                  <a:pt x="67" y="21"/>
                  <a:pt x="61" y="19"/>
                  <a:pt x="55" y="19"/>
                </a:cubicBezTo>
                <a:cubicBezTo>
                  <a:pt x="48" y="19"/>
                  <a:pt x="42" y="21"/>
                  <a:pt x="37" y="26"/>
                </a:cubicBezTo>
                <a:cubicBezTo>
                  <a:pt x="33" y="30"/>
                  <a:pt x="30" y="36"/>
                  <a:pt x="30" y="43"/>
                </a:cubicBezTo>
                <a:lnTo>
                  <a:pt x="30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38"/>
          <p:cNvSpPr>
            <a:spLocks noChangeAspect="1" noEditPoints="1"/>
          </p:cNvSpPr>
          <p:nvPr/>
        </p:nvSpPr>
        <p:spPr bwMode="auto">
          <a:xfrm>
            <a:off x="7535348" y="1555540"/>
            <a:ext cx="168621" cy="151447"/>
          </a:xfrm>
          <a:custGeom>
            <a:avLst/>
            <a:gdLst>
              <a:gd name="T0" fmla="*/ 24 w 163"/>
              <a:gd name="T1" fmla="*/ 12 h 146"/>
              <a:gd name="T2" fmla="*/ 18 w 163"/>
              <a:gd name="T3" fmla="*/ 23 h 146"/>
              <a:gd name="T4" fmla="*/ 18 w 163"/>
              <a:gd name="T5" fmla="*/ 143 h 146"/>
              <a:gd name="T6" fmla="*/ 17 w 163"/>
              <a:gd name="T7" fmla="*/ 145 h 146"/>
              <a:gd name="T8" fmla="*/ 15 w 163"/>
              <a:gd name="T9" fmla="*/ 146 h 146"/>
              <a:gd name="T10" fmla="*/ 9 w 163"/>
              <a:gd name="T11" fmla="*/ 146 h 146"/>
              <a:gd name="T12" fmla="*/ 7 w 163"/>
              <a:gd name="T13" fmla="*/ 145 h 146"/>
              <a:gd name="T14" fmla="*/ 6 w 163"/>
              <a:gd name="T15" fmla="*/ 143 h 146"/>
              <a:gd name="T16" fmla="*/ 6 w 163"/>
              <a:gd name="T17" fmla="*/ 23 h 146"/>
              <a:gd name="T18" fmla="*/ 0 w 163"/>
              <a:gd name="T19" fmla="*/ 12 h 146"/>
              <a:gd name="T20" fmla="*/ 3 w 163"/>
              <a:gd name="T21" fmla="*/ 4 h 146"/>
              <a:gd name="T22" fmla="*/ 12 w 163"/>
              <a:gd name="T23" fmla="*/ 0 h 146"/>
              <a:gd name="T24" fmla="*/ 20 w 163"/>
              <a:gd name="T25" fmla="*/ 4 h 146"/>
              <a:gd name="T26" fmla="*/ 24 w 163"/>
              <a:gd name="T27" fmla="*/ 12 h 146"/>
              <a:gd name="T28" fmla="*/ 163 w 163"/>
              <a:gd name="T29" fmla="*/ 19 h 146"/>
              <a:gd name="T30" fmla="*/ 163 w 163"/>
              <a:gd name="T31" fmla="*/ 91 h 146"/>
              <a:gd name="T32" fmla="*/ 162 w 163"/>
              <a:gd name="T33" fmla="*/ 94 h 146"/>
              <a:gd name="T34" fmla="*/ 158 w 163"/>
              <a:gd name="T35" fmla="*/ 97 h 146"/>
              <a:gd name="T36" fmla="*/ 123 w 163"/>
              <a:gd name="T37" fmla="*/ 108 h 146"/>
              <a:gd name="T38" fmla="*/ 112 w 163"/>
              <a:gd name="T39" fmla="*/ 106 h 146"/>
              <a:gd name="T40" fmla="*/ 101 w 163"/>
              <a:gd name="T41" fmla="*/ 101 h 146"/>
              <a:gd name="T42" fmla="*/ 90 w 163"/>
              <a:gd name="T43" fmla="*/ 97 h 146"/>
              <a:gd name="T44" fmla="*/ 77 w 163"/>
              <a:gd name="T45" fmla="*/ 95 h 146"/>
              <a:gd name="T46" fmla="*/ 33 w 163"/>
              <a:gd name="T47" fmla="*/ 108 h 146"/>
              <a:gd name="T48" fmla="*/ 30 w 163"/>
              <a:gd name="T49" fmla="*/ 109 h 146"/>
              <a:gd name="T50" fmla="*/ 26 w 163"/>
              <a:gd name="T51" fmla="*/ 107 h 146"/>
              <a:gd name="T52" fmla="*/ 24 w 163"/>
              <a:gd name="T53" fmla="*/ 103 h 146"/>
              <a:gd name="T54" fmla="*/ 24 w 163"/>
              <a:gd name="T55" fmla="*/ 33 h 146"/>
              <a:gd name="T56" fmla="*/ 27 w 163"/>
              <a:gd name="T57" fmla="*/ 28 h 146"/>
              <a:gd name="T58" fmla="*/ 34 w 163"/>
              <a:gd name="T59" fmla="*/ 24 h 146"/>
              <a:gd name="T60" fmla="*/ 74 w 163"/>
              <a:gd name="T61" fmla="*/ 12 h 146"/>
              <a:gd name="T62" fmla="*/ 93 w 163"/>
              <a:gd name="T63" fmla="*/ 15 h 146"/>
              <a:gd name="T64" fmla="*/ 114 w 163"/>
              <a:gd name="T65" fmla="*/ 24 h 146"/>
              <a:gd name="T66" fmla="*/ 122 w 163"/>
              <a:gd name="T67" fmla="*/ 25 h 146"/>
              <a:gd name="T68" fmla="*/ 133 w 163"/>
              <a:gd name="T69" fmla="*/ 23 h 146"/>
              <a:gd name="T70" fmla="*/ 144 w 163"/>
              <a:gd name="T71" fmla="*/ 19 h 146"/>
              <a:gd name="T72" fmla="*/ 152 w 163"/>
              <a:gd name="T73" fmla="*/ 14 h 146"/>
              <a:gd name="T74" fmla="*/ 157 w 163"/>
              <a:gd name="T75" fmla="*/ 12 h 146"/>
              <a:gd name="T76" fmla="*/ 161 w 163"/>
              <a:gd name="T77" fmla="*/ 14 h 146"/>
              <a:gd name="T78" fmla="*/ 163 w 163"/>
              <a:gd name="T79" fmla="*/ 1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3" h="146">
                <a:moveTo>
                  <a:pt x="24" y="12"/>
                </a:moveTo>
                <a:cubicBezTo>
                  <a:pt x="24" y="17"/>
                  <a:pt x="22" y="20"/>
                  <a:pt x="18" y="23"/>
                </a:cubicBezTo>
                <a:cubicBezTo>
                  <a:pt x="18" y="143"/>
                  <a:pt x="18" y="143"/>
                  <a:pt x="18" y="143"/>
                </a:cubicBezTo>
                <a:cubicBezTo>
                  <a:pt x="18" y="143"/>
                  <a:pt x="18" y="144"/>
                  <a:pt x="17" y="145"/>
                </a:cubicBezTo>
                <a:cubicBezTo>
                  <a:pt x="16" y="145"/>
                  <a:pt x="16" y="146"/>
                  <a:pt x="15" y="146"/>
                </a:cubicBezTo>
                <a:cubicBezTo>
                  <a:pt x="9" y="146"/>
                  <a:pt x="9" y="146"/>
                  <a:pt x="9" y="146"/>
                </a:cubicBezTo>
                <a:cubicBezTo>
                  <a:pt x="8" y="146"/>
                  <a:pt x="7" y="145"/>
                  <a:pt x="7" y="145"/>
                </a:cubicBezTo>
                <a:cubicBezTo>
                  <a:pt x="6" y="144"/>
                  <a:pt x="6" y="143"/>
                  <a:pt x="6" y="143"/>
                </a:cubicBezTo>
                <a:cubicBezTo>
                  <a:pt x="6" y="23"/>
                  <a:pt x="6" y="23"/>
                  <a:pt x="6" y="23"/>
                </a:cubicBezTo>
                <a:cubicBezTo>
                  <a:pt x="2" y="20"/>
                  <a:pt x="0" y="17"/>
                  <a:pt x="0" y="12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8" y="0"/>
                  <a:pt x="12" y="0"/>
                </a:cubicBezTo>
                <a:cubicBezTo>
                  <a:pt x="15" y="0"/>
                  <a:pt x="18" y="2"/>
                  <a:pt x="20" y="4"/>
                </a:cubicBezTo>
                <a:cubicBezTo>
                  <a:pt x="23" y="6"/>
                  <a:pt x="24" y="9"/>
                  <a:pt x="24" y="12"/>
                </a:cubicBezTo>
                <a:close/>
                <a:moveTo>
                  <a:pt x="163" y="19"/>
                </a:moveTo>
                <a:cubicBezTo>
                  <a:pt x="163" y="91"/>
                  <a:pt x="163" y="91"/>
                  <a:pt x="163" y="91"/>
                </a:cubicBezTo>
                <a:cubicBezTo>
                  <a:pt x="163" y="92"/>
                  <a:pt x="163" y="93"/>
                  <a:pt x="162" y="94"/>
                </a:cubicBezTo>
                <a:cubicBezTo>
                  <a:pt x="161" y="95"/>
                  <a:pt x="160" y="96"/>
                  <a:pt x="158" y="97"/>
                </a:cubicBezTo>
                <a:cubicBezTo>
                  <a:pt x="145" y="104"/>
                  <a:pt x="133" y="108"/>
                  <a:pt x="123" y="108"/>
                </a:cubicBezTo>
                <a:cubicBezTo>
                  <a:pt x="119" y="108"/>
                  <a:pt x="116" y="107"/>
                  <a:pt x="112" y="106"/>
                </a:cubicBezTo>
                <a:cubicBezTo>
                  <a:pt x="108" y="104"/>
                  <a:pt x="104" y="103"/>
                  <a:pt x="101" y="101"/>
                </a:cubicBezTo>
                <a:cubicBezTo>
                  <a:pt x="98" y="100"/>
                  <a:pt x="95" y="98"/>
                  <a:pt x="90" y="97"/>
                </a:cubicBezTo>
                <a:cubicBezTo>
                  <a:pt x="86" y="95"/>
                  <a:pt x="82" y="95"/>
                  <a:pt x="77" y="95"/>
                </a:cubicBezTo>
                <a:cubicBezTo>
                  <a:pt x="65" y="95"/>
                  <a:pt x="50" y="99"/>
                  <a:pt x="33" y="108"/>
                </a:cubicBezTo>
                <a:cubicBezTo>
                  <a:pt x="32" y="109"/>
                  <a:pt x="31" y="109"/>
                  <a:pt x="30" y="109"/>
                </a:cubicBezTo>
                <a:cubicBezTo>
                  <a:pt x="28" y="109"/>
                  <a:pt x="27" y="109"/>
                  <a:pt x="26" y="107"/>
                </a:cubicBezTo>
                <a:cubicBezTo>
                  <a:pt x="25" y="106"/>
                  <a:pt x="24" y="105"/>
                  <a:pt x="24" y="103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31"/>
                  <a:pt x="25" y="29"/>
                  <a:pt x="27" y="28"/>
                </a:cubicBezTo>
                <a:cubicBezTo>
                  <a:pt x="28" y="27"/>
                  <a:pt x="31" y="26"/>
                  <a:pt x="34" y="24"/>
                </a:cubicBezTo>
                <a:cubicBezTo>
                  <a:pt x="49" y="16"/>
                  <a:pt x="62" y="12"/>
                  <a:pt x="74" y="12"/>
                </a:cubicBezTo>
                <a:cubicBezTo>
                  <a:pt x="81" y="12"/>
                  <a:pt x="87" y="13"/>
                  <a:pt x="93" y="15"/>
                </a:cubicBezTo>
                <a:cubicBezTo>
                  <a:pt x="99" y="17"/>
                  <a:pt x="106" y="20"/>
                  <a:pt x="114" y="24"/>
                </a:cubicBezTo>
                <a:cubicBezTo>
                  <a:pt x="116" y="25"/>
                  <a:pt x="119" y="25"/>
                  <a:pt x="122" y="25"/>
                </a:cubicBezTo>
                <a:cubicBezTo>
                  <a:pt x="125" y="25"/>
                  <a:pt x="129" y="25"/>
                  <a:pt x="133" y="23"/>
                </a:cubicBezTo>
                <a:cubicBezTo>
                  <a:pt x="137" y="22"/>
                  <a:pt x="141" y="21"/>
                  <a:pt x="144" y="19"/>
                </a:cubicBezTo>
                <a:cubicBezTo>
                  <a:pt x="147" y="17"/>
                  <a:pt x="149" y="16"/>
                  <a:pt x="152" y="14"/>
                </a:cubicBezTo>
                <a:cubicBezTo>
                  <a:pt x="155" y="13"/>
                  <a:pt x="156" y="12"/>
                  <a:pt x="157" y="12"/>
                </a:cubicBezTo>
                <a:cubicBezTo>
                  <a:pt x="159" y="12"/>
                  <a:pt x="160" y="13"/>
                  <a:pt x="161" y="14"/>
                </a:cubicBezTo>
                <a:cubicBezTo>
                  <a:pt x="163" y="15"/>
                  <a:pt x="163" y="17"/>
                  <a:pt x="163" y="1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Freeform 39"/>
          <p:cNvSpPr>
            <a:spLocks noChangeAspect="1"/>
          </p:cNvSpPr>
          <p:nvPr/>
        </p:nvSpPr>
        <p:spPr bwMode="auto">
          <a:xfrm>
            <a:off x="7750808" y="1555540"/>
            <a:ext cx="162376" cy="138956"/>
          </a:xfrm>
          <a:custGeom>
            <a:avLst/>
            <a:gdLst>
              <a:gd name="T0" fmla="*/ 157 w 157"/>
              <a:gd name="T1" fmla="*/ 72 h 133"/>
              <a:gd name="T2" fmla="*/ 151 w 157"/>
              <a:gd name="T3" fmla="*/ 102 h 133"/>
              <a:gd name="T4" fmla="*/ 150 w 157"/>
              <a:gd name="T5" fmla="*/ 106 h 133"/>
              <a:gd name="T6" fmla="*/ 132 w 157"/>
              <a:gd name="T7" fmla="*/ 109 h 133"/>
              <a:gd name="T8" fmla="*/ 123 w 157"/>
              <a:gd name="T9" fmla="*/ 122 h 133"/>
              <a:gd name="T10" fmla="*/ 109 w 157"/>
              <a:gd name="T11" fmla="*/ 127 h 133"/>
              <a:gd name="T12" fmla="*/ 109 w 157"/>
              <a:gd name="T13" fmla="*/ 130 h 133"/>
              <a:gd name="T14" fmla="*/ 108 w 157"/>
              <a:gd name="T15" fmla="*/ 133 h 133"/>
              <a:gd name="T16" fmla="*/ 106 w 157"/>
              <a:gd name="T17" fmla="*/ 133 h 133"/>
              <a:gd name="T18" fmla="*/ 100 w 157"/>
              <a:gd name="T19" fmla="*/ 133 h 133"/>
              <a:gd name="T20" fmla="*/ 97 w 157"/>
              <a:gd name="T21" fmla="*/ 133 h 133"/>
              <a:gd name="T22" fmla="*/ 97 w 157"/>
              <a:gd name="T23" fmla="*/ 130 h 133"/>
              <a:gd name="T24" fmla="*/ 97 w 157"/>
              <a:gd name="T25" fmla="*/ 76 h 133"/>
              <a:gd name="T26" fmla="*/ 97 w 157"/>
              <a:gd name="T27" fmla="*/ 74 h 133"/>
              <a:gd name="T28" fmla="*/ 100 w 157"/>
              <a:gd name="T29" fmla="*/ 73 h 133"/>
              <a:gd name="T30" fmla="*/ 106 w 157"/>
              <a:gd name="T31" fmla="*/ 73 h 133"/>
              <a:gd name="T32" fmla="*/ 108 w 157"/>
              <a:gd name="T33" fmla="*/ 74 h 133"/>
              <a:gd name="T34" fmla="*/ 109 w 157"/>
              <a:gd name="T35" fmla="*/ 76 h 133"/>
              <a:gd name="T36" fmla="*/ 109 w 157"/>
              <a:gd name="T37" fmla="*/ 79 h 133"/>
              <a:gd name="T38" fmla="*/ 121 w 157"/>
              <a:gd name="T39" fmla="*/ 82 h 133"/>
              <a:gd name="T40" fmla="*/ 130 w 157"/>
              <a:gd name="T41" fmla="*/ 91 h 133"/>
              <a:gd name="T42" fmla="*/ 136 w 157"/>
              <a:gd name="T43" fmla="*/ 90 h 133"/>
              <a:gd name="T44" fmla="*/ 139 w 157"/>
              <a:gd name="T45" fmla="*/ 72 h 133"/>
              <a:gd name="T46" fmla="*/ 131 w 157"/>
              <a:gd name="T47" fmla="*/ 46 h 133"/>
              <a:gd name="T48" fmla="*/ 108 w 157"/>
              <a:gd name="T49" fmla="*/ 26 h 133"/>
              <a:gd name="T50" fmla="*/ 78 w 157"/>
              <a:gd name="T51" fmla="*/ 19 h 133"/>
              <a:gd name="T52" fmla="*/ 49 w 157"/>
              <a:gd name="T53" fmla="*/ 26 h 133"/>
              <a:gd name="T54" fmla="*/ 26 w 157"/>
              <a:gd name="T55" fmla="*/ 46 h 133"/>
              <a:gd name="T56" fmla="*/ 18 w 157"/>
              <a:gd name="T57" fmla="*/ 72 h 133"/>
              <a:gd name="T58" fmla="*/ 21 w 157"/>
              <a:gd name="T59" fmla="*/ 90 h 133"/>
              <a:gd name="T60" fmla="*/ 27 w 157"/>
              <a:gd name="T61" fmla="*/ 91 h 133"/>
              <a:gd name="T62" fmla="*/ 36 w 157"/>
              <a:gd name="T63" fmla="*/ 82 h 133"/>
              <a:gd name="T64" fmla="*/ 48 w 157"/>
              <a:gd name="T65" fmla="*/ 79 h 133"/>
              <a:gd name="T66" fmla="*/ 48 w 157"/>
              <a:gd name="T67" fmla="*/ 76 h 133"/>
              <a:gd name="T68" fmla="*/ 49 w 157"/>
              <a:gd name="T69" fmla="*/ 74 h 133"/>
              <a:gd name="T70" fmla="*/ 51 w 157"/>
              <a:gd name="T71" fmla="*/ 73 h 133"/>
              <a:gd name="T72" fmla="*/ 57 w 157"/>
              <a:gd name="T73" fmla="*/ 73 h 133"/>
              <a:gd name="T74" fmla="*/ 59 w 157"/>
              <a:gd name="T75" fmla="*/ 74 h 133"/>
              <a:gd name="T76" fmla="*/ 60 w 157"/>
              <a:gd name="T77" fmla="*/ 76 h 133"/>
              <a:gd name="T78" fmla="*/ 60 w 157"/>
              <a:gd name="T79" fmla="*/ 130 h 133"/>
              <a:gd name="T80" fmla="*/ 59 w 157"/>
              <a:gd name="T81" fmla="*/ 133 h 133"/>
              <a:gd name="T82" fmla="*/ 57 w 157"/>
              <a:gd name="T83" fmla="*/ 133 h 133"/>
              <a:gd name="T84" fmla="*/ 51 w 157"/>
              <a:gd name="T85" fmla="*/ 133 h 133"/>
              <a:gd name="T86" fmla="*/ 49 w 157"/>
              <a:gd name="T87" fmla="*/ 133 h 133"/>
              <a:gd name="T88" fmla="*/ 48 w 157"/>
              <a:gd name="T89" fmla="*/ 130 h 133"/>
              <a:gd name="T90" fmla="*/ 48 w 157"/>
              <a:gd name="T91" fmla="*/ 127 h 133"/>
              <a:gd name="T92" fmla="*/ 33 w 157"/>
              <a:gd name="T93" fmla="*/ 122 h 133"/>
              <a:gd name="T94" fmla="*/ 25 w 157"/>
              <a:gd name="T95" fmla="*/ 109 h 133"/>
              <a:gd name="T96" fmla="*/ 7 w 157"/>
              <a:gd name="T97" fmla="*/ 106 h 133"/>
              <a:gd name="T98" fmla="*/ 5 w 157"/>
              <a:gd name="T99" fmla="*/ 102 h 133"/>
              <a:gd name="T100" fmla="*/ 0 w 157"/>
              <a:gd name="T101" fmla="*/ 72 h 133"/>
              <a:gd name="T102" fmla="*/ 6 w 157"/>
              <a:gd name="T103" fmla="*/ 45 h 133"/>
              <a:gd name="T104" fmla="*/ 23 w 157"/>
              <a:gd name="T105" fmla="*/ 22 h 133"/>
              <a:gd name="T106" fmla="*/ 48 w 157"/>
              <a:gd name="T107" fmla="*/ 6 h 133"/>
              <a:gd name="T108" fmla="*/ 78 w 157"/>
              <a:gd name="T109" fmla="*/ 0 h 133"/>
              <a:gd name="T110" fmla="*/ 109 w 157"/>
              <a:gd name="T111" fmla="*/ 6 h 133"/>
              <a:gd name="T112" fmla="*/ 134 w 157"/>
              <a:gd name="T113" fmla="*/ 22 h 133"/>
              <a:gd name="T114" fmla="*/ 151 w 157"/>
              <a:gd name="T115" fmla="*/ 45 h 133"/>
              <a:gd name="T116" fmla="*/ 157 w 157"/>
              <a:gd name="T117" fmla="*/ 7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7" h="133">
                <a:moveTo>
                  <a:pt x="157" y="72"/>
                </a:moveTo>
                <a:cubicBezTo>
                  <a:pt x="157" y="82"/>
                  <a:pt x="155" y="92"/>
                  <a:pt x="151" y="102"/>
                </a:cubicBezTo>
                <a:cubicBezTo>
                  <a:pt x="150" y="106"/>
                  <a:pt x="150" y="106"/>
                  <a:pt x="150" y="106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131" y="115"/>
                  <a:pt x="128" y="119"/>
                  <a:pt x="123" y="122"/>
                </a:cubicBezTo>
                <a:cubicBezTo>
                  <a:pt x="119" y="126"/>
                  <a:pt x="114" y="127"/>
                  <a:pt x="109" y="127"/>
                </a:cubicBezTo>
                <a:cubicBezTo>
                  <a:pt x="109" y="130"/>
                  <a:pt x="109" y="130"/>
                  <a:pt x="109" y="130"/>
                </a:cubicBezTo>
                <a:cubicBezTo>
                  <a:pt x="109" y="131"/>
                  <a:pt x="108" y="132"/>
                  <a:pt x="108" y="133"/>
                </a:cubicBezTo>
                <a:cubicBezTo>
                  <a:pt x="107" y="133"/>
                  <a:pt x="107" y="133"/>
                  <a:pt x="106" y="133"/>
                </a:cubicBezTo>
                <a:cubicBezTo>
                  <a:pt x="100" y="133"/>
                  <a:pt x="100" y="133"/>
                  <a:pt x="100" y="133"/>
                </a:cubicBezTo>
                <a:cubicBezTo>
                  <a:pt x="99" y="133"/>
                  <a:pt x="98" y="133"/>
                  <a:pt x="97" y="133"/>
                </a:cubicBezTo>
                <a:cubicBezTo>
                  <a:pt x="97" y="132"/>
                  <a:pt x="97" y="131"/>
                  <a:pt x="97" y="130"/>
                </a:cubicBezTo>
                <a:cubicBezTo>
                  <a:pt x="97" y="76"/>
                  <a:pt x="97" y="76"/>
                  <a:pt x="97" y="76"/>
                </a:cubicBezTo>
                <a:cubicBezTo>
                  <a:pt x="97" y="75"/>
                  <a:pt x="97" y="74"/>
                  <a:pt x="97" y="74"/>
                </a:cubicBezTo>
                <a:cubicBezTo>
                  <a:pt x="98" y="73"/>
                  <a:pt x="99" y="73"/>
                  <a:pt x="100" y="73"/>
                </a:cubicBezTo>
                <a:cubicBezTo>
                  <a:pt x="106" y="73"/>
                  <a:pt x="106" y="73"/>
                  <a:pt x="106" y="73"/>
                </a:cubicBezTo>
                <a:cubicBezTo>
                  <a:pt x="107" y="73"/>
                  <a:pt x="107" y="73"/>
                  <a:pt x="108" y="74"/>
                </a:cubicBezTo>
                <a:cubicBezTo>
                  <a:pt x="108" y="74"/>
                  <a:pt x="109" y="75"/>
                  <a:pt x="109" y="76"/>
                </a:cubicBezTo>
                <a:cubicBezTo>
                  <a:pt x="109" y="79"/>
                  <a:pt x="109" y="79"/>
                  <a:pt x="109" y="79"/>
                </a:cubicBezTo>
                <a:cubicBezTo>
                  <a:pt x="113" y="79"/>
                  <a:pt x="117" y="80"/>
                  <a:pt x="121" y="82"/>
                </a:cubicBezTo>
                <a:cubicBezTo>
                  <a:pt x="125" y="85"/>
                  <a:pt x="128" y="88"/>
                  <a:pt x="130" y="91"/>
                </a:cubicBezTo>
                <a:cubicBezTo>
                  <a:pt x="136" y="90"/>
                  <a:pt x="136" y="90"/>
                  <a:pt x="136" y="90"/>
                </a:cubicBezTo>
                <a:cubicBezTo>
                  <a:pt x="138" y="84"/>
                  <a:pt x="139" y="78"/>
                  <a:pt x="139" y="72"/>
                </a:cubicBezTo>
                <a:cubicBezTo>
                  <a:pt x="139" y="63"/>
                  <a:pt x="136" y="54"/>
                  <a:pt x="131" y="46"/>
                </a:cubicBezTo>
                <a:cubicBezTo>
                  <a:pt x="125" y="37"/>
                  <a:pt x="118" y="31"/>
                  <a:pt x="108" y="26"/>
                </a:cubicBezTo>
                <a:cubicBezTo>
                  <a:pt x="99" y="21"/>
                  <a:pt x="89" y="19"/>
                  <a:pt x="78" y="19"/>
                </a:cubicBezTo>
                <a:cubicBezTo>
                  <a:pt x="68" y="19"/>
                  <a:pt x="58" y="21"/>
                  <a:pt x="49" y="26"/>
                </a:cubicBezTo>
                <a:cubicBezTo>
                  <a:pt x="39" y="31"/>
                  <a:pt x="32" y="37"/>
                  <a:pt x="26" y="46"/>
                </a:cubicBezTo>
                <a:cubicBezTo>
                  <a:pt x="21" y="54"/>
                  <a:pt x="18" y="63"/>
                  <a:pt x="18" y="72"/>
                </a:cubicBezTo>
                <a:cubicBezTo>
                  <a:pt x="18" y="78"/>
                  <a:pt x="19" y="84"/>
                  <a:pt x="21" y="90"/>
                </a:cubicBezTo>
                <a:cubicBezTo>
                  <a:pt x="27" y="91"/>
                  <a:pt x="27" y="91"/>
                  <a:pt x="27" y="91"/>
                </a:cubicBezTo>
                <a:cubicBezTo>
                  <a:pt x="29" y="88"/>
                  <a:pt x="32" y="85"/>
                  <a:pt x="36" y="82"/>
                </a:cubicBezTo>
                <a:cubicBezTo>
                  <a:pt x="40" y="80"/>
                  <a:pt x="44" y="79"/>
                  <a:pt x="48" y="79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8" y="74"/>
                  <a:pt x="49" y="74"/>
                </a:cubicBezTo>
                <a:cubicBezTo>
                  <a:pt x="50" y="73"/>
                  <a:pt x="50" y="73"/>
                  <a:pt x="51" y="73"/>
                </a:cubicBezTo>
                <a:cubicBezTo>
                  <a:pt x="57" y="73"/>
                  <a:pt x="57" y="73"/>
                  <a:pt x="57" y="73"/>
                </a:cubicBezTo>
                <a:cubicBezTo>
                  <a:pt x="58" y="73"/>
                  <a:pt x="59" y="73"/>
                  <a:pt x="59" y="74"/>
                </a:cubicBezTo>
                <a:cubicBezTo>
                  <a:pt x="60" y="74"/>
                  <a:pt x="60" y="75"/>
                  <a:pt x="60" y="76"/>
                </a:cubicBezTo>
                <a:cubicBezTo>
                  <a:pt x="60" y="130"/>
                  <a:pt x="60" y="130"/>
                  <a:pt x="60" y="130"/>
                </a:cubicBezTo>
                <a:cubicBezTo>
                  <a:pt x="60" y="131"/>
                  <a:pt x="60" y="132"/>
                  <a:pt x="59" y="133"/>
                </a:cubicBezTo>
                <a:cubicBezTo>
                  <a:pt x="59" y="133"/>
                  <a:pt x="58" y="133"/>
                  <a:pt x="57" y="133"/>
                </a:cubicBezTo>
                <a:cubicBezTo>
                  <a:pt x="51" y="133"/>
                  <a:pt x="51" y="133"/>
                  <a:pt x="51" y="133"/>
                </a:cubicBezTo>
                <a:cubicBezTo>
                  <a:pt x="50" y="133"/>
                  <a:pt x="50" y="133"/>
                  <a:pt x="49" y="133"/>
                </a:cubicBezTo>
                <a:cubicBezTo>
                  <a:pt x="48" y="132"/>
                  <a:pt x="48" y="131"/>
                  <a:pt x="48" y="130"/>
                </a:cubicBezTo>
                <a:cubicBezTo>
                  <a:pt x="48" y="127"/>
                  <a:pt x="48" y="127"/>
                  <a:pt x="48" y="127"/>
                </a:cubicBezTo>
                <a:cubicBezTo>
                  <a:pt x="43" y="127"/>
                  <a:pt x="38" y="126"/>
                  <a:pt x="33" y="122"/>
                </a:cubicBezTo>
                <a:cubicBezTo>
                  <a:pt x="29" y="119"/>
                  <a:pt x="26" y="115"/>
                  <a:pt x="25" y="109"/>
                </a:cubicBezTo>
                <a:cubicBezTo>
                  <a:pt x="7" y="106"/>
                  <a:pt x="7" y="106"/>
                  <a:pt x="7" y="106"/>
                </a:cubicBezTo>
                <a:cubicBezTo>
                  <a:pt x="5" y="102"/>
                  <a:pt x="5" y="102"/>
                  <a:pt x="5" y="102"/>
                </a:cubicBezTo>
                <a:cubicBezTo>
                  <a:pt x="2" y="92"/>
                  <a:pt x="0" y="82"/>
                  <a:pt x="0" y="72"/>
                </a:cubicBezTo>
                <a:cubicBezTo>
                  <a:pt x="0" y="63"/>
                  <a:pt x="2" y="53"/>
                  <a:pt x="6" y="45"/>
                </a:cubicBezTo>
                <a:cubicBezTo>
                  <a:pt x="10" y="36"/>
                  <a:pt x="16" y="28"/>
                  <a:pt x="23" y="22"/>
                </a:cubicBezTo>
                <a:cubicBezTo>
                  <a:pt x="30" y="15"/>
                  <a:pt x="38" y="10"/>
                  <a:pt x="48" y="6"/>
                </a:cubicBezTo>
                <a:cubicBezTo>
                  <a:pt x="58" y="2"/>
                  <a:pt x="68" y="0"/>
                  <a:pt x="78" y="0"/>
                </a:cubicBezTo>
                <a:cubicBezTo>
                  <a:pt x="89" y="0"/>
                  <a:pt x="99" y="2"/>
                  <a:pt x="109" y="6"/>
                </a:cubicBezTo>
                <a:cubicBezTo>
                  <a:pt x="118" y="10"/>
                  <a:pt x="127" y="15"/>
                  <a:pt x="134" y="22"/>
                </a:cubicBezTo>
                <a:cubicBezTo>
                  <a:pt x="141" y="28"/>
                  <a:pt x="147" y="36"/>
                  <a:pt x="151" y="45"/>
                </a:cubicBezTo>
                <a:cubicBezTo>
                  <a:pt x="155" y="53"/>
                  <a:pt x="157" y="63"/>
                  <a:pt x="157" y="7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0" name="Freeform 40"/>
          <p:cNvSpPr>
            <a:spLocks noChangeAspect="1"/>
          </p:cNvSpPr>
          <p:nvPr/>
        </p:nvSpPr>
        <p:spPr bwMode="auto">
          <a:xfrm>
            <a:off x="7960023" y="1571154"/>
            <a:ext cx="73381" cy="120221"/>
          </a:xfrm>
          <a:custGeom>
            <a:avLst/>
            <a:gdLst>
              <a:gd name="T0" fmla="*/ 72 w 72"/>
              <a:gd name="T1" fmla="*/ 7 h 115"/>
              <a:gd name="T2" fmla="*/ 72 w 72"/>
              <a:gd name="T3" fmla="*/ 109 h 115"/>
              <a:gd name="T4" fmla="*/ 71 w 72"/>
              <a:gd name="T5" fmla="*/ 114 h 115"/>
              <a:gd name="T6" fmla="*/ 66 w 72"/>
              <a:gd name="T7" fmla="*/ 115 h 115"/>
              <a:gd name="T8" fmla="*/ 62 w 72"/>
              <a:gd name="T9" fmla="*/ 114 h 115"/>
              <a:gd name="T10" fmla="*/ 31 w 72"/>
              <a:gd name="T11" fmla="*/ 82 h 115"/>
              <a:gd name="T12" fmla="*/ 6 w 72"/>
              <a:gd name="T13" fmla="*/ 82 h 115"/>
              <a:gd name="T14" fmla="*/ 2 w 72"/>
              <a:gd name="T15" fmla="*/ 80 h 115"/>
              <a:gd name="T16" fmla="*/ 0 w 72"/>
              <a:gd name="T17" fmla="*/ 76 h 115"/>
              <a:gd name="T18" fmla="*/ 0 w 72"/>
              <a:gd name="T19" fmla="*/ 40 h 115"/>
              <a:gd name="T20" fmla="*/ 2 w 72"/>
              <a:gd name="T21" fmla="*/ 36 h 115"/>
              <a:gd name="T22" fmla="*/ 6 w 72"/>
              <a:gd name="T23" fmla="*/ 34 h 115"/>
              <a:gd name="T24" fmla="*/ 31 w 72"/>
              <a:gd name="T25" fmla="*/ 34 h 115"/>
              <a:gd name="T26" fmla="*/ 62 w 72"/>
              <a:gd name="T27" fmla="*/ 2 h 115"/>
              <a:gd name="T28" fmla="*/ 66 w 72"/>
              <a:gd name="T29" fmla="*/ 0 h 115"/>
              <a:gd name="T30" fmla="*/ 71 w 72"/>
              <a:gd name="T31" fmla="*/ 2 h 115"/>
              <a:gd name="T32" fmla="*/ 72 w 72"/>
              <a:gd name="T33" fmla="*/ 7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2" h="115">
                <a:moveTo>
                  <a:pt x="72" y="7"/>
                </a:moveTo>
                <a:cubicBezTo>
                  <a:pt x="72" y="109"/>
                  <a:pt x="72" y="109"/>
                  <a:pt x="72" y="109"/>
                </a:cubicBezTo>
                <a:cubicBezTo>
                  <a:pt x="72" y="111"/>
                  <a:pt x="72" y="112"/>
                  <a:pt x="71" y="114"/>
                </a:cubicBezTo>
                <a:cubicBezTo>
                  <a:pt x="69" y="115"/>
                  <a:pt x="68" y="115"/>
                  <a:pt x="66" y="115"/>
                </a:cubicBezTo>
                <a:cubicBezTo>
                  <a:pt x="65" y="115"/>
                  <a:pt x="63" y="115"/>
                  <a:pt x="62" y="114"/>
                </a:cubicBezTo>
                <a:cubicBezTo>
                  <a:pt x="31" y="82"/>
                  <a:pt x="31" y="82"/>
                  <a:pt x="31" y="82"/>
                </a:cubicBezTo>
                <a:cubicBezTo>
                  <a:pt x="6" y="82"/>
                  <a:pt x="6" y="82"/>
                  <a:pt x="6" y="82"/>
                </a:cubicBezTo>
                <a:cubicBezTo>
                  <a:pt x="4" y="82"/>
                  <a:pt x="3" y="82"/>
                  <a:pt x="2" y="80"/>
                </a:cubicBezTo>
                <a:cubicBezTo>
                  <a:pt x="0" y="79"/>
                  <a:pt x="0" y="78"/>
                  <a:pt x="0" y="7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0" y="37"/>
                  <a:pt x="2" y="36"/>
                </a:cubicBezTo>
                <a:cubicBezTo>
                  <a:pt x="3" y="34"/>
                  <a:pt x="4" y="34"/>
                  <a:pt x="6" y="34"/>
                </a:cubicBezTo>
                <a:cubicBezTo>
                  <a:pt x="31" y="34"/>
                  <a:pt x="31" y="34"/>
                  <a:pt x="31" y="34"/>
                </a:cubicBezTo>
                <a:cubicBezTo>
                  <a:pt x="62" y="2"/>
                  <a:pt x="62" y="2"/>
                  <a:pt x="62" y="2"/>
                </a:cubicBezTo>
                <a:cubicBezTo>
                  <a:pt x="63" y="1"/>
                  <a:pt x="65" y="0"/>
                  <a:pt x="66" y="0"/>
                </a:cubicBezTo>
                <a:cubicBezTo>
                  <a:pt x="68" y="0"/>
                  <a:pt x="69" y="1"/>
                  <a:pt x="71" y="2"/>
                </a:cubicBezTo>
                <a:cubicBezTo>
                  <a:pt x="72" y="3"/>
                  <a:pt x="72" y="5"/>
                  <a:pt x="72" y="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1" name="Freeform 41"/>
          <p:cNvSpPr>
            <a:spLocks noChangeAspect="1" noEditPoints="1"/>
          </p:cNvSpPr>
          <p:nvPr/>
        </p:nvSpPr>
        <p:spPr bwMode="auto">
          <a:xfrm>
            <a:off x="8080244" y="1571154"/>
            <a:ext cx="112414" cy="120221"/>
          </a:xfrm>
          <a:custGeom>
            <a:avLst/>
            <a:gdLst>
              <a:gd name="T0" fmla="*/ 73 w 109"/>
              <a:gd name="T1" fmla="*/ 7 h 115"/>
              <a:gd name="T2" fmla="*/ 73 w 109"/>
              <a:gd name="T3" fmla="*/ 109 h 115"/>
              <a:gd name="T4" fmla="*/ 71 w 109"/>
              <a:gd name="T5" fmla="*/ 114 h 115"/>
              <a:gd name="T6" fmla="*/ 66 w 109"/>
              <a:gd name="T7" fmla="*/ 115 h 115"/>
              <a:gd name="T8" fmla="*/ 62 w 109"/>
              <a:gd name="T9" fmla="*/ 114 h 115"/>
              <a:gd name="T10" fmla="*/ 31 w 109"/>
              <a:gd name="T11" fmla="*/ 82 h 115"/>
              <a:gd name="T12" fmla="*/ 6 w 109"/>
              <a:gd name="T13" fmla="*/ 82 h 115"/>
              <a:gd name="T14" fmla="*/ 2 w 109"/>
              <a:gd name="T15" fmla="*/ 80 h 115"/>
              <a:gd name="T16" fmla="*/ 0 w 109"/>
              <a:gd name="T17" fmla="*/ 76 h 115"/>
              <a:gd name="T18" fmla="*/ 0 w 109"/>
              <a:gd name="T19" fmla="*/ 40 h 115"/>
              <a:gd name="T20" fmla="*/ 2 w 109"/>
              <a:gd name="T21" fmla="*/ 36 h 115"/>
              <a:gd name="T22" fmla="*/ 6 w 109"/>
              <a:gd name="T23" fmla="*/ 34 h 115"/>
              <a:gd name="T24" fmla="*/ 31 w 109"/>
              <a:gd name="T25" fmla="*/ 34 h 115"/>
              <a:gd name="T26" fmla="*/ 62 w 109"/>
              <a:gd name="T27" fmla="*/ 2 h 115"/>
              <a:gd name="T28" fmla="*/ 66 w 109"/>
              <a:gd name="T29" fmla="*/ 0 h 115"/>
              <a:gd name="T30" fmla="*/ 71 w 109"/>
              <a:gd name="T31" fmla="*/ 2 h 115"/>
              <a:gd name="T32" fmla="*/ 73 w 109"/>
              <a:gd name="T33" fmla="*/ 7 h 115"/>
              <a:gd name="T34" fmla="*/ 105 w 109"/>
              <a:gd name="T35" fmla="*/ 45 h 115"/>
              <a:gd name="T36" fmla="*/ 109 w 109"/>
              <a:gd name="T37" fmla="*/ 58 h 115"/>
              <a:gd name="T38" fmla="*/ 105 w 109"/>
              <a:gd name="T39" fmla="*/ 71 h 115"/>
              <a:gd name="T40" fmla="*/ 94 w 109"/>
              <a:gd name="T41" fmla="*/ 80 h 115"/>
              <a:gd name="T42" fmla="*/ 92 w 109"/>
              <a:gd name="T43" fmla="*/ 81 h 115"/>
              <a:gd name="T44" fmla="*/ 88 w 109"/>
              <a:gd name="T45" fmla="*/ 79 h 115"/>
              <a:gd name="T46" fmla="*/ 86 w 109"/>
              <a:gd name="T47" fmla="*/ 75 h 115"/>
              <a:gd name="T48" fmla="*/ 87 w 109"/>
              <a:gd name="T49" fmla="*/ 71 h 115"/>
              <a:gd name="T50" fmla="*/ 90 w 109"/>
              <a:gd name="T51" fmla="*/ 69 h 115"/>
              <a:gd name="T52" fmla="*/ 93 w 109"/>
              <a:gd name="T53" fmla="*/ 67 h 115"/>
              <a:gd name="T54" fmla="*/ 96 w 109"/>
              <a:gd name="T55" fmla="*/ 63 h 115"/>
              <a:gd name="T56" fmla="*/ 97 w 109"/>
              <a:gd name="T57" fmla="*/ 58 h 115"/>
              <a:gd name="T58" fmla="*/ 96 w 109"/>
              <a:gd name="T59" fmla="*/ 53 h 115"/>
              <a:gd name="T60" fmla="*/ 93 w 109"/>
              <a:gd name="T61" fmla="*/ 49 h 115"/>
              <a:gd name="T62" fmla="*/ 90 w 109"/>
              <a:gd name="T63" fmla="*/ 47 h 115"/>
              <a:gd name="T64" fmla="*/ 87 w 109"/>
              <a:gd name="T65" fmla="*/ 45 h 115"/>
              <a:gd name="T66" fmla="*/ 86 w 109"/>
              <a:gd name="T67" fmla="*/ 41 h 115"/>
              <a:gd name="T68" fmla="*/ 88 w 109"/>
              <a:gd name="T69" fmla="*/ 37 h 115"/>
              <a:gd name="T70" fmla="*/ 92 w 109"/>
              <a:gd name="T71" fmla="*/ 35 h 115"/>
              <a:gd name="T72" fmla="*/ 94 w 109"/>
              <a:gd name="T73" fmla="*/ 36 h 115"/>
              <a:gd name="T74" fmla="*/ 105 w 109"/>
              <a:gd name="T75" fmla="*/ 4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9" h="115">
                <a:moveTo>
                  <a:pt x="73" y="7"/>
                </a:moveTo>
                <a:cubicBezTo>
                  <a:pt x="73" y="109"/>
                  <a:pt x="73" y="109"/>
                  <a:pt x="73" y="109"/>
                </a:cubicBezTo>
                <a:cubicBezTo>
                  <a:pt x="73" y="111"/>
                  <a:pt x="72" y="112"/>
                  <a:pt x="71" y="114"/>
                </a:cubicBezTo>
                <a:cubicBezTo>
                  <a:pt x="70" y="115"/>
                  <a:pt x="68" y="115"/>
                  <a:pt x="66" y="115"/>
                </a:cubicBezTo>
                <a:cubicBezTo>
                  <a:pt x="65" y="115"/>
                  <a:pt x="63" y="115"/>
                  <a:pt x="62" y="114"/>
                </a:cubicBezTo>
                <a:cubicBezTo>
                  <a:pt x="31" y="82"/>
                  <a:pt x="31" y="82"/>
                  <a:pt x="31" y="82"/>
                </a:cubicBezTo>
                <a:cubicBezTo>
                  <a:pt x="6" y="82"/>
                  <a:pt x="6" y="82"/>
                  <a:pt x="6" y="82"/>
                </a:cubicBezTo>
                <a:cubicBezTo>
                  <a:pt x="4" y="82"/>
                  <a:pt x="3" y="82"/>
                  <a:pt x="2" y="80"/>
                </a:cubicBezTo>
                <a:cubicBezTo>
                  <a:pt x="1" y="79"/>
                  <a:pt x="0" y="78"/>
                  <a:pt x="0" y="7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7"/>
                  <a:pt x="2" y="36"/>
                </a:cubicBezTo>
                <a:cubicBezTo>
                  <a:pt x="3" y="34"/>
                  <a:pt x="4" y="34"/>
                  <a:pt x="6" y="34"/>
                </a:cubicBezTo>
                <a:cubicBezTo>
                  <a:pt x="31" y="34"/>
                  <a:pt x="31" y="34"/>
                  <a:pt x="31" y="34"/>
                </a:cubicBezTo>
                <a:cubicBezTo>
                  <a:pt x="62" y="2"/>
                  <a:pt x="62" y="2"/>
                  <a:pt x="62" y="2"/>
                </a:cubicBezTo>
                <a:cubicBezTo>
                  <a:pt x="63" y="1"/>
                  <a:pt x="65" y="0"/>
                  <a:pt x="66" y="0"/>
                </a:cubicBezTo>
                <a:cubicBezTo>
                  <a:pt x="68" y="0"/>
                  <a:pt x="70" y="1"/>
                  <a:pt x="71" y="2"/>
                </a:cubicBezTo>
                <a:cubicBezTo>
                  <a:pt x="72" y="3"/>
                  <a:pt x="73" y="5"/>
                  <a:pt x="73" y="7"/>
                </a:cubicBezTo>
                <a:close/>
                <a:moveTo>
                  <a:pt x="105" y="45"/>
                </a:moveTo>
                <a:cubicBezTo>
                  <a:pt x="108" y="49"/>
                  <a:pt x="109" y="53"/>
                  <a:pt x="109" y="58"/>
                </a:cubicBezTo>
                <a:cubicBezTo>
                  <a:pt x="109" y="63"/>
                  <a:pt x="108" y="67"/>
                  <a:pt x="105" y="71"/>
                </a:cubicBezTo>
                <a:cubicBezTo>
                  <a:pt x="102" y="75"/>
                  <a:pt x="99" y="78"/>
                  <a:pt x="94" y="80"/>
                </a:cubicBezTo>
                <a:cubicBezTo>
                  <a:pt x="94" y="80"/>
                  <a:pt x="93" y="81"/>
                  <a:pt x="92" y="81"/>
                </a:cubicBezTo>
                <a:cubicBezTo>
                  <a:pt x="90" y="81"/>
                  <a:pt x="89" y="80"/>
                  <a:pt x="88" y="79"/>
                </a:cubicBezTo>
                <a:cubicBezTo>
                  <a:pt x="86" y="78"/>
                  <a:pt x="86" y="76"/>
                  <a:pt x="86" y="75"/>
                </a:cubicBezTo>
                <a:cubicBezTo>
                  <a:pt x="86" y="73"/>
                  <a:pt x="86" y="72"/>
                  <a:pt x="87" y="71"/>
                </a:cubicBezTo>
                <a:cubicBezTo>
                  <a:pt x="88" y="70"/>
                  <a:pt x="89" y="70"/>
                  <a:pt x="90" y="69"/>
                </a:cubicBezTo>
                <a:cubicBezTo>
                  <a:pt x="91" y="68"/>
                  <a:pt x="92" y="68"/>
                  <a:pt x="93" y="67"/>
                </a:cubicBezTo>
                <a:cubicBezTo>
                  <a:pt x="94" y="66"/>
                  <a:pt x="95" y="65"/>
                  <a:pt x="96" y="63"/>
                </a:cubicBezTo>
                <a:cubicBezTo>
                  <a:pt x="96" y="62"/>
                  <a:pt x="97" y="60"/>
                  <a:pt x="97" y="58"/>
                </a:cubicBezTo>
                <a:cubicBezTo>
                  <a:pt x="97" y="56"/>
                  <a:pt x="96" y="54"/>
                  <a:pt x="96" y="53"/>
                </a:cubicBezTo>
                <a:cubicBezTo>
                  <a:pt x="95" y="51"/>
                  <a:pt x="94" y="50"/>
                  <a:pt x="93" y="49"/>
                </a:cubicBezTo>
                <a:cubicBezTo>
                  <a:pt x="92" y="48"/>
                  <a:pt x="91" y="48"/>
                  <a:pt x="90" y="47"/>
                </a:cubicBezTo>
                <a:cubicBezTo>
                  <a:pt x="89" y="46"/>
                  <a:pt x="88" y="46"/>
                  <a:pt x="87" y="45"/>
                </a:cubicBezTo>
                <a:cubicBezTo>
                  <a:pt x="86" y="44"/>
                  <a:pt x="86" y="43"/>
                  <a:pt x="86" y="41"/>
                </a:cubicBezTo>
                <a:cubicBezTo>
                  <a:pt x="86" y="40"/>
                  <a:pt x="86" y="38"/>
                  <a:pt x="88" y="37"/>
                </a:cubicBezTo>
                <a:cubicBezTo>
                  <a:pt x="89" y="36"/>
                  <a:pt x="90" y="35"/>
                  <a:pt x="92" y="35"/>
                </a:cubicBezTo>
                <a:cubicBezTo>
                  <a:pt x="93" y="35"/>
                  <a:pt x="94" y="35"/>
                  <a:pt x="94" y="36"/>
                </a:cubicBezTo>
                <a:cubicBezTo>
                  <a:pt x="99" y="37"/>
                  <a:pt x="102" y="40"/>
                  <a:pt x="105" y="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2" name="Freeform 42"/>
          <p:cNvSpPr>
            <a:spLocks noChangeAspect="1" noEditPoints="1"/>
          </p:cNvSpPr>
          <p:nvPr/>
        </p:nvSpPr>
        <p:spPr bwMode="auto">
          <a:xfrm>
            <a:off x="8239497" y="1561786"/>
            <a:ext cx="162376" cy="138956"/>
          </a:xfrm>
          <a:custGeom>
            <a:avLst/>
            <a:gdLst>
              <a:gd name="T0" fmla="*/ 73 w 158"/>
              <a:gd name="T1" fmla="*/ 118 h 134"/>
              <a:gd name="T2" fmla="*/ 67 w 158"/>
              <a:gd name="T3" fmla="*/ 124 h 134"/>
              <a:gd name="T4" fmla="*/ 31 w 158"/>
              <a:gd name="T5" fmla="*/ 91 h 134"/>
              <a:gd name="T6" fmla="*/ 2 w 158"/>
              <a:gd name="T7" fmla="*/ 89 h 134"/>
              <a:gd name="T8" fmla="*/ 0 w 158"/>
              <a:gd name="T9" fmla="*/ 49 h 134"/>
              <a:gd name="T10" fmla="*/ 7 w 158"/>
              <a:gd name="T11" fmla="*/ 43 h 134"/>
              <a:gd name="T12" fmla="*/ 63 w 158"/>
              <a:gd name="T13" fmla="*/ 11 h 134"/>
              <a:gd name="T14" fmla="*/ 71 w 158"/>
              <a:gd name="T15" fmla="*/ 11 h 134"/>
              <a:gd name="T16" fmla="*/ 105 w 158"/>
              <a:gd name="T17" fmla="*/ 54 h 134"/>
              <a:gd name="T18" fmla="*/ 105 w 158"/>
              <a:gd name="T19" fmla="*/ 80 h 134"/>
              <a:gd name="T20" fmla="*/ 92 w 158"/>
              <a:gd name="T21" fmla="*/ 90 h 134"/>
              <a:gd name="T22" fmla="*/ 86 w 158"/>
              <a:gd name="T23" fmla="*/ 84 h 134"/>
              <a:gd name="T24" fmla="*/ 90 w 158"/>
              <a:gd name="T25" fmla="*/ 78 h 134"/>
              <a:gd name="T26" fmla="*/ 96 w 158"/>
              <a:gd name="T27" fmla="*/ 72 h 134"/>
              <a:gd name="T28" fmla="*/ 96 w 158"/>
              <a:gd name="T29" fmla="*/ 62 h 134"/>
              <a:gd name="T30" fmla="*/ 90 w 158"/>
              <a:gd name="T31" fmla="*/ 56 h 134"/>
              <a:gd name="T32" fmla="*/ 86 w 158"/>
              <a:gd name="T33" fmla="*/ 50 h 134"/>
              <a:gd name="T34" fmla="*/ 92 w 158"/>
              <a:gd name="T35" fmla="*/ 44 h 134"/>
              <a:gd name="T36" fmla="*/ 105 w 158"/>
              <a:gd name="T37" fmla="*/ 54 h 134"/>
              <a:gd name="T38" fmla="*/ 134 w 158"/>
              <a:gd name="T39" fmla="*/ 67 h 134"/>
              <a:gd name="T40" fmla="*/ 104 w 158"/>
              <a:gd name="T41" fmla="*/ 112 h 134"/>
              <a:gd name="T42" fmla="*/ 98 w 158"/>
              <a:gd name="T43" fmla="*/ 110 h 134"/>
              <a:gd name="T44" fmla="*/ 99 w 158"/>
              <a:gd name="T45" fmla="*/ 100 h 134"/>
              <a:gd name="T46" fmla="*/ 118 w 158"/>
              <a:gd name="T47" fmla="*/ 83 h 134"/>
              <a:gd name="T48" fmla="*/ 118 w 158"/>
              <a:gd name="T49" fmla="*/ 51 h 134"/>
              <a:gd name="T50" fmla="*/ 99 w 158"/>
              <a:gd name="T51" fmla="*/ 34 h 134"/>
              <a:gd name="T52" fmla="*/ 98 w 158"/>
              <a:gd name="T53" fmla="*/ 24 h 134"/>
              <a:gd name="T54" fmla="*/ 104 w 158"/>
              <a:gd name="T55" fmla="*/ 22 h 134"/>
              <a:gd name="T56" fmla="*/ 146 w 158"/>
              <a:gd name="T57" fmla="*/ 27 h 134"/>
              <a:gd name="T58" fmla="*/ 146 w 158"/>
              <a:gd name="T59" fmla="*/ 107 h 134"/>
              <a:gd name="T60" fmla="*/ 111 w 158"/>
              <a:gd name="T61" fmla="*/ 134 h 134"/>
              <a:gd name="T62" fmla="*/ 105 w 158"/>
              <a:gd name="T63" fmla="*/ 128 h 134"/>
              <a:gd name="T64" fmla="*/ 111 w 158"/>
              <a:gd name="T65" fmla="*/ 122 h 134"/>
              <a:gd name="T66" fmla="*/ 121 w 158"/>
              <a:gd name="T67" fmla="*/ 116 h 134"/>
              <a:gd name="T68" fmla="*/ 146 w 158"/>
              <a:gd name="T69" fmla="*/ 67 h 134"/>
              <a:gd name="T70" fmla="*/ 121 w 158"/>
              <a:gd name="T71" fmla="*/ 18 h 134"/>
              <a:gd name="T72" fmla="*/ 111 w 158"/>
              <a:gd name="T73" fmla="*/ 12 h 134"/>
              <a:gd name="T74" fmla="*/ 105 w 158"/>
              <a:gd name="T75" fmla="*/ 6 h 134"/>
              <a:gd name="T76" fmla="*/ 111 w 158"/>
              <a:gd name="T77" fmla="*/ 0 h 134"/>
              <a:gd name="T78" fmla="*/ 146 w 158"/>
              <a:gd name="T79" fmla="*/ 27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8" h="134">
                <a:moveTo>
                  <a:pt x="73" y="16"/>
                </a:moveTo>
                <a:cubicBezTo>
                  <a:pt x="73" y="118"/>
                  <a:pt x="73" y="118"/>
                  <a:pt x="73" y="118"/>
                </a:cubicBezTo>
                <a:cubicBezTo>
                  <a:pt x="73" y="120"/>
                  <a:pt x="73" y="121"/>
                  <a:pt x="71" y="123"/>
                </a:cubicBezTo>
                <a:cubicBezTo>
                  <a:pt x="70" y="124"/>
                  <a:pt x="69" y="124"/>
                  <a:pt x="67" y="124"/>
                </a:cubicBezTo>
                <a:cubicBezTo>
                  <a:pt x="65" y="124"/>
                  <a:pt x="64" y="124"/>
                  <a:pt x="63" y="123"/>
                </a:cubicBezTo>
                <a:cubicBezTo>
                  <a:pt x="31" y="91"/>
                  <a:pt x="31" y="91"/>
                  <a:pt x="31" y="91"/>
                </a:cubicBezTo>
                <a:cubicBezTo>
                  <a:pt x="7" y="91"/>
                  <a:pt x="7" y="91"/>
                  <a:pt x="7" y="91"/>
                </a:cubicBezTo>
                <a:cubicBezTo>
                  <a:pt x="5" y="91"/>
                  <a:pt x="3" y="91"/>
                  <a:pt x="2" y="89"/>
                </a:cubicBezTo>
                <a:cubicBezTo>
                  <a:pt x="1" y="88"/>
                  <a:pt x="0" y="87"/>
                  <a:pt x="0" y="8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7"/>
                  <a:pt x="1" y="46"/>
                  <a:pt x="2" y="45"/>
                </a:cubicBezTo>
                <a:cubicBezTo>
                  <a:pt x="3" y="43"/>
                  <a:pt x="5" y="43"/>
                  <a:pt x="7" y="43"/>
                </a:cubicBezTo>
                <a:cubicBezTo>
                  <a:pt x="31" y="43"/>
                  <a:pt x="31" y="43"/>
                  <a:pt x="31" y="43"/>
                </a:cubicBezTo>
                <a:cubicBezTo>
                  <a:pt x="63" y="11"/>
                  <a:pt x="63" y="11"/>
                  <a:pt x="63" y="11"/>
                </a:cubicBezTo>
                <a:cubicBezTo>
                  <a:pt x="64" y="10"/>
                  <a:pt x="65" y="9"/>
                  <a:pt x="67" y="9"/>
                </a:cubicBezTo>
                <a:cubicBezTo>
                  <a:pt x="69" y="9"/>
                  <a:pt x="70" y="10"/>
                  <a:pt x="71" y="11"/>
                </a:cubicBezTo>
                <a:cubicBezTo>
                  <a:pt x="73" y="12"/>
                  <a:pt x="73" y="14"/>
                  <a:pt x="73" y="16"/>
                </a:cubicBezTo>
                <a:close/>
                <a:moveTo>
                  <a:pt x="105" y="54"/>
                </a:moveTo>
                <a:cubicBezTo>
                  <a:pt x="108" y="58"/>
                  <a:pt x="109" y="62"/>
                  <a:pt x="109" y="67"/>
                </a:cubicBezTo>
                <a:cubicBezTo>
                  <a:pt x="109" y="72"/>
                  <a:pt x="108" y="76"/>
                  <a:pt x="105" y="80"/>
                </a:cubicBezTo>
                <a:cubicBezTo>
                  <a:pt x="103" y="84"/>
                  <a:pt x="99" y="87"/>
                  <a:pt x="95" y="89"/>
                </a:cubicBezTo>
                <a:cubicBezTo>
                  <a:pt x="94" y="89"/>
                  <a:pt x="93" y="90"/>
                  <a:pt x="92" y="90"/>
                </a:cubicBezTo>
                <a:cubicBezTo>
                  <a:pt x="91" y="90"/>
                  <a:pt x="89" y="89"/>
                  <a:pt x="88" y="88"/>
                </a:cubicBezTo>
                <a:cubicBezTo>
                  <a:pt x="87" y="87"/>
                  <a:pt x="86" y="85"/>
                  <a:pt x="86" y="84"/>
                </a:cubicBezTo>
                <a:cubicBezTo>
                  <a:pt x="86" y="82"/>
                  <a:pt x="87" y="81"/>
                  <a:pt x="87" y="80"/>
                </a:cubicBezTo>
                <a:cubicBezTo>
                  <a:pt x="88" y="79"/>
                  <a:pt x="89" y="79"/>
                  <a:pt x="90" y="78"/>
                </a:cubicBezTo>
                <a:cubicBezTo>
                  <a:pt x="91" y="77"/>
                  <a:pt x="92" y="77"/>
                  <a:pt x="93" y="76"/>
                </a:cubicBezTo>
                <a:cubicBezTo>
                  <a:pt x="94" y="75"/>
                  <a:pt x="95" y="74"/>
                  <a:pt x="96" y="72"/>
                </a:cubicBezTo>
                <a:cubicBezTo>
                  <a:pt x="97" y="71"/>
                  <a:pt x="97" y="69"/>
                  <a:pt x="97" y="67"/>
                </a:cubicBezTo>
                <a:cubicBezTo>
                  <a:pt x="97" y="65"/>
                  <a:pt x="97" y="63"/>
                  <a:pt x="96" y="62"/>
                </a:cubicBezTo>
                <a:cubicBezTo>
                  <a:pt x="95" y="60"/>
                  <a:pt x="94" y="59"/>
                  <a:pt x="93" y="58"/>
                </a:cubicBezTo>
                <a:cubicBezTo>
                  <a:pt x="92" y="57"/>
                  <a:pt x="91" y="57"/>
                  <a:pt x="90" y="56"/>
                </a:cubicBezTo>
                <a:cubicBezTo>
                  <a:pt x="89" y="55"/>
                  <a:pt x="88" y="55"/>
                  <a:pt x="87" y="54"/>
                </a:cubicBezTo>
                <a:cubicBezTo>
                  <a:pt x="87" y="53"/>
                  <a:pt x="86" y="52"/>
                  <a:pt x="86" y="50"/>
                </a:cubicBezTo>
                <a:cubicBezTo>
                  <a:pt x="86" y="49"/>
                  <a:pt x="87" y="47"/>
                  <a:pt x="88" y="46"/>
                </a:cubicBezTo>
                <a:cubicBezTo>
                  <a:pt x="89" y="45"/>
                  <a:pt x="91" y="44"/>
                  <a:pt x="92" y="44"/>
                </a:cubicBezTo>
                <a:cubicBezTo>
                  <a:pt x="93" y="44"/>
                  <a:pt x="94" y="44"/>
                  <a:pt x="95" y="45"/>
                </a:cubicBezTo>
                <a:cubicBezTo>
                  <a:pt x="99" y="46"/>
                  <a:pt x="103" y="49"/>
                  <a:pt x="105" y="54"/>
                </a:cubicBezTo>
                <a:close/>
                <a:moveTo>
                  <a:pt x="126" y="40"/>
                </a:moveTo>
                <a:cubicBezTo>
                  <a:pt x="131" y="48"/>
                  <a:pt x="134" y="57"/>
                  <a:pt x="134" y="67"/>
                </a:cubicBezTo>
                <a:cubicBezTo>
                  <a:pt x="134" y="77"/>
                  <a:pt x="131" y="86"/>
                  <a:pt x="126" y="94"/>
                </a:cubicBezTo>
                <a:cubicBezTo>
                  <a:pt x="120" y="102"/>
                  <a:pt x="113" y="108"/>
                  <a:pt x="104" y="112"/>
                </a:cubicBezTo>
                <a:cubicBezTo>
                  <a:pt x="103" y="112"/>
                  <a:pt x="103" y="112"/>
                  <a:pt x="102" y="112"/>
                </a:cubicBezTo>
                <a:cubicBezTo>
                  <a:pt x="100" y="112"/>
                  <a:pt x="99" y="111"/>
                  <a:pt x="98" y="110"/>
                </a:cubicBezTo>
                <a:cubicBezTo>
                  <a:pt x="96" y="109"/>
                  <a:pt x="96" y="108"/>
                  <a:pt x="96" y="106"/>
                </a:cubicBezTo>
                <a:cubicBezTo>
                  <a:pt x="96" y="103"/>
                  <a:pt x="97" y="102"/>
                  <a:pt x="99" y="100"/>
                </a:cubicBezTo>
                <a:cubicBezTo>
                  <a:pt x="103" y="99"/>
                  <a:pt x="105" y="97"/>
                  <a:pt x="107" y="96"/>
                </a:cubicBezTo>
                <a:cubicBezTo>
                  <a:pt x="111" y="93"/>
                  <a:pt x="115" y="89"/>
                  <a:pt x="118" y="83"/>
                </a:cubicBezTo>
                <a:cubicBezTo>
                  <a:pt x="120" y="78"/>
                  <a:pt x="122" y="73"/>
                  <a:pt x="122" y="67"/>
                </a:cubicBezTo>
                <a:cubicBezTo>
                  <a:pt x="122" y="61"/>
                  <a:pt x="120" y="56"/>
                  <a:pt x="118" y="51"/>
                </a:cubicBezTo>
                <a:cubicBezTo>
                  <a:pt x="115" y="45"/>
                  <a:pt x="111" y="41"/>
                  <a:pt x="107" y="38"/>
                </a:cubicBezTo>
                <a:cubicBezTo>
                  <a:pt x="105" y="37"/>
                  <a:pt x="103" y="35"/>
                  <a:pt x="99" y="34"/>
                </a:cubicBezTo>
                <a:cubicBezTo>
                  <a:pt x="97" y="32"/>
                  <a:pt x="96" y="30"/>
                  <a:pt x="96" y="28"/>
                </a:cubicBezTo>
                <a:cubicBezTo>
                  <a:pt x="96" y="26"/>
                  <a:pt x="96" y="25"/>
                  <a:pt x="98" y="24"/>
                </a:cubicBezTo>
                <a:cubicBezTo>
                  <a:pt x="99" y="23"/>
                  <a:pt x="100" y="22"/>
                  <a:pt x="102" y="22"/>
                </a:cubicBezTo>
                <a:cubicBezTo>
                  <a:pt x="103" y="22"/>
                  <a:pt x="103" y="22"/>
                  <a:pt x="104" y="22"/>
                </a:cubicBezTo>
                <a:cubicBezTo>
                  <a:pt x="113" y="26"/>
                  <a:pt x="120" y="32"/>
                  <a:pt x="126" y="40"/>
                </a:cubicBezTo>
                <a:close/>
                <a:moveTo>
                  <a:pt x="146" y="27"/>
                </a:moveTo>
                <a:cubicBezTo>
                  <a:pt x="154" y="39"/>
                  <a:pt x="158" y="52"/>
                  <a:pt x="158" y="67"/>
                </a:cubicBezTo>
                <a:cubicBezTo>
                  <a:pt x="158" y="81"/>
                  <a:pt x="154" y="95"/>
                  <a:pt x="146" y="107"/>
                </a:cubicBezTo>
                <a:cubicBezTo>
                  <a:pt x="138" y="119"/>
                  <a:pt x="127" y="128"/>
                  <a:pt x="114" y="134"/>
                </a:cubicBezTo>
                <a:cubicBezTo>
                  <a:pt x="113" y="134"/>
                  <a:pt x="112" y="134"/>
                  <a:pt x="111" y="134"/>
                </a:cubicBezTo>
                <a:cubicBezTo>
                  <a:pt x="110" y="134"/>
                  <a:pt x="108" y="134"/>
                  <a:pt x="107" y="132"/>
                </a:cubicBezTo>
                <a:cubicBezTo>
                  <a:pt x="106" y="131"/>
                  <a:pt x="105" y="130"/>
                  <a:pt x="105" y="128"/>
                </a:cubicBezTo>
                <a:cubicBezTo>
                  <a:pt x="105" y="126"/>
                  <a:pt x="107" y="124"/>
                  <a:pt x="109" y="123"/>
                </a:cubicBezTo>
                <a:cubicBezTo>
                  <a:pt x="109" y="122"/>
                  <a:pt x="110" y="122"/>
                  <a:pt x="111" y="122"/>
                </a:cubicBezTo>
                <a:cubicBezTo>
                  <a:pt x="112" y="121"/>
                  <a:pt x="113" y="121"/>
                  <a:pt x="113" y="121"/>
                </a:cubicBezTo>
                <a:cubicBezTo>
                  <a:pt x="116" y="119"/>
                  <a:pt x="119" y="117"/>
                  <a:pt x="121" y="116"/>
                </a:cubicBezTo>
                <a:cubicBezTo>
                  <a:pt x="129" y="110"/>
                  <a:pt x="135" y="103"/>
                  <a:pt x="139" y="94"/>
                </a:cubicBezTo>
                <a:cubicBezTo>
                  <a:pt x="144" y="86"/>
                  <a:pt x="146" y="77"/>
                  <a:pt x="146" y="67"/>
                </a:cubicBezTo>
                <a:cubicBezTo>
                  <a:pt x="146" y="57"/>
                  <a:pt x="144" y="48"/>
                  <a:pt x="139" y="40"/>
                </a:cubicBezTo>
                <a:cubicBezTo>
                  <a:pt x="135" y="31"/>
                  <a:pt x="129" y="24"/>
                  <a:pt x="121" y="18"/>
                </a:cubicBezTo>
                <a:cubicBezTo>
                  <a:pt x="119" y="17"/>
                  <a:pt x="116" y="15"/>
                  <a:pt x="113" y="13"/>
                </a:cubicBezTo>
                <a:cubicBezTo>
                  <a:pt x="113" y="13"/>
                  <a:pt x="112" y="13"/>
                  <a:pt x="111" y="12"/>
                </a:cubicBezTo>
                <a:cubicBezTo>
                  <a:pt x="110" y="12"/>
                  <a:pt x="109" y="12"/>
                  <a:pt x="109" y="11"/>
                </a:cubicBezTo>
                <a:cubicBezTo>
                  <a:pt x="107" y="10"/>
                  <a:pt x="105" y="8"/>
                  <a:pt x="105" y="6"/>
                </a:cubicBezTo>
                <a:cubicBezTo>
                  <a:pt x="105" y="4"/>
                  <a:pt x="106" y="3"/>
                  <a:pt x="107" y="2"/>
                </a:cubicBezTo>
                <a:cubicBezTo>
                  <a:pt x="108" y="0"/>
                  <a:pt x="110" y="0"/>
                  <a:pt x="111" y="0"/>
                </a:cubicBezTo>
                <a:cubicBezTo>
                  <a:pt x="112" y="0"/>
                  <a:pt x="113" y="0"/>
                  <a:pt x="114" y="0"/>
                </a:cubicBezTo>
                <a:cubicBezTo>
                  <a:pt x="127" y="6"/>
                  <a:pt x="138" y="15"/>
                  <a:pt x="146" y="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3" name="Freeform 43"/>
          <p:cNvSpPr>
            <a:spLocks noChangeAspect="1" noEditPoints="1"/>
          </p:cNvSpPr>
          <p:nvPr/>
        </p:nvSpPr>
        <p:spPr bwMode="auto">
          <a:xfrm>
            <a:off x="740541" y="1866240"/>
            <a:ext cx="137395" cy="137395"/>
          </a:xfrm>
          <a:custGeom>
            <a:avLst/>
            <a:gdLst>
              <a:gd name="T0" fmla="*/ 40 w 88"/>
              <a:gd name="T1" fmla="*/ 40 h 88"/>
              <a:gd name="T2" fmla="*/ 0 w 88"/>
              <a:gd name="T3" fmla="*/ 0 h 88"/>
              <a:gd name="T4" fmla="*/ 40 w 88"/>
              <a:gd name="T5" fmla="*/ 48 h 88"/>
              <a:gd name="T6" fmla="*/ 0 w 88"/>
              <a:gd name="T7" fmla="*/ 88 h 88"/>
              <a:gd name="T8" fmla="*/ 40 w 88"/>
              <a:gd name="T9" fmla="*/ 48 h 88"/>
              <a:gd name="T10" fmla="*/ 32 w 88"/>
              <a:gd name="T11" fmla="*/ 32 h 88"/>
              <a:gd name="T12" fmla="*/ 8 w 88"/>
              <a:gd name="T13" fmla="*/ 8 h 88"/>
              <a:gd name="T14" fmla="*/ 8 w 88"/>
              <a:gd name="T15" fmla="*/ 80 h 88"/>
              <a:gd name="T16" fmla="*/ 32 w 88"/>
              <a:gd name="T17" fmla="*/ 56 h 88"/>
              <a:gd name="T18" fmla="*/ 8 w 88"/>
              <a:gd name="T19" fmla="*/ 80 h 88"/>
              <a:gd name="T20" fmla="*/ 24 w 88"/>
              <a:gd name="T21" fmla="*/ 24 h 88"/>
              <a:gd name="T22" fmla="*/ 16 w 88"/>
              <a:gd name="T23" fmla="*/ 16 h 88"/>
              <a:gd name="T24" fmla="*/ 24 w 88"/>
              <a:gd name="T25" fmla="*/ 64 h 88"/>
              <a:gd name="T26" fmla="*/ 16 w 88"/>
              <a:gd name="T27" fmla="*/ 72 h 88"/>
              <a:gd name="T28" fmla="*/ 24 w 88"/>
              <a:gd name="T29" fmla="*/ 64 h 88"/>
              <a:gd name="T30" fmla="*/ 88 w 88"/>
              <a:gd name="T31" fmla="*/ 40 h 88"/>
              <a:gd name="T32" fmla="*/ 48 w 88"/>
              <a:gd name="T33" fmla="*/ 0 h 88"/>
              <a:gd name="T34" fmla="*/ 88 w 88"/>
              <a:gd name="T35" fmla="*/ 48 h 88"/>
              <a:gd name="T36" fmla="*/ 64 w 88"/>
              <a:gd name="T37" fmla="*/ 72 h 88"/>
              <a:gd name="T38" fmla="*/ 56 w 88"/>
              <a:gd name="T39" fmla="*/ 64 h 88"/>
              <a:gd name="T40" fmla="*/ 48 w 88"/>
              <a:gd name="T41" fmla="*/ 88 h 88"/>
              <a:gd name="T42" fmla="*/ 72 w 88"/>
              <a:gd name="T43" fmla="*/ 48 h 88"/>
              <a:gd name="T44" fmla="*/ 80 w 88"/>
              <a:gd name="T45" fmla="*/ 56 h 88"/>
              <a:gd name="T46" fmla="*/ 88 w 88"/>
              <a:gd name="T47" fmla="*/ 48 h 88"/>
              <a:gd name="T48" fmla="*/ 80 w 88"/>
              <a:gd name="T49" fmla="*/ 32 h 88"/>
              <a:gd name="T50" fmla="*/ 56 w 88"/>
              <a:gd name="T51" fmla="*/ 8 h 88"/>
              <a:gd name="T52" fmla="*/ 72 w 88"/>
              <a:gd name="T53" fmla="*/ 16 h 88"/>
              <a:gd name="T54" fmla="*/ 64 w 88"/>
              <a:gd name="T55" fmla="*/ 24 h 88"/>
              <a:gd name="T56" fmla="*/ 72 w 88"/>
              <a:gd name="T57" fmla="*/ 16 h 88"/>
              <a:gd name="T58" fmla="*/ 72 w 88"/>
              <a:gd name="T59" fmla="*/ 88 h 88"/>
              <a:gd name="T60" fmla="*/ 64 w 88"/>
              <a:gd name="T61" fmla="*/ 80 h 88"/>
              <a:gd name="T62" fmla="*/ 88 w 88"/>
              <a:gd name="T63" fmla="*/ 80 h 88"/>
              <a:gd name="T64" fmla="*/ 80 w 88"/>
              <a:gd name="T65" fmla="*/ 88 h 88"/>
              <a:gd name="T66" fmla="*/ 88 w 88"/>
              <a:gd name="T67" fmla="*/ 80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8" h="88">
                <a:moveTo>
                  <a:pt x="40" y="0"/>
                </a:moveTo>
                <a:lnTo>
                  <a:pt x="40" y="40"/>
                </a:lnTo>
                <a:lnTo>
                  <a:pt x="0" y="40"/>
                </a:lnTo>
                <a:lnTo>
                  <a:pt x="0" y="0"/>
                </a:lnTo>
                <a:lnTo>
                  <a:pt x="40" y="0"/>
                </a:lnTo>
                <a:close/>
                <a:moveTo>
                  <a:pt x="40" y="48"/>
                </a:moveTo>
                <a:lnTo>
                  <a:pt x="40" y="88"/>
                </a:lnTo>
                <a:lnTo>
                  <a:pt x="0" y="88"/>
                </a:lnTo>
                <a:lnTo>
                  <a:pt x="0" y="48"/>
                </a:lnTo>
                <a:lnTo>
                  <a:pt x="40" y="48"/>
                </a:lnTo>
                <a:close/>
                <a:moveTo>
                  <a:pt x="8" y="32"/>
                </a:moveTo>
                <a:lnTo>
                  <a:pt x="32" y="32"/>
                </a:lnTo>
                <a:lnTo>
                  <a:pt x="32" y="8"/>
                </a:lnTo>
                <a:lnTo>
                  <a:pt x="8" y="8"/>
                </a:lnTo>
                <a:lnTo>
                  <a:pt x="8" y="32"/>
                </a:lnTo>
                <a:close/>
                <a:moveTo>
                  <a:pt x="8" y="80"/>
                </a:moveTo>
                <a:lnTo>
                  <a:pt x="32" y="80"/>
                </a:lnTo>
                <a:lnTo>
                  <a:pt x="32" y="56"/>
                </a:lnTo>
                <a:lnTo>
                  <a:pt x="8" y="56"/>
                </a:lnTo>
                <a:lnTo>
                  <a:pt x="8" y="80"/>
                </a:lnTo>
                <a:close/>
                <a:moveTo>
                  <a:pt x="24" y="16"/>
                </a:moveTo>
                <a:lnTo>
                  <a:pt x="24" y="24"/>
                </a:lnTo>
                <a:lnTo>
                  <a:pt x="16" y="24"/>
                </a:lnTo>
                <a:lnTo>
                  <a:pt x="16" y="16"/>
                </a:lnTo>
                <a:lnTo>
                  <a:pt x="24" y="16"/>
                </a:lnTo>
                <a:close/>
                <a:moveTo>
                  <a:pt x="24" y="64"/>
                </a:moveTo>
                <a:lnTo>
                  <a:pt x="24" y="72"/>
                </a:lnTo>
                <a:lnTo>
                  <a:pt x="16" y="72"/>
                </a:lnTo>
                <a:lnTo>
                  <a:pt x="16" y="64"/>
                </a:lnTo>
                <a:lnTo>
                  <a:pt x="24" y="64"/>
                </a:lnTo>
                <a:close/>
                <a:moveTo>
                  <a:pt x="88" y="0"/>
                </a:moveTo>
                <a:lnTo>
                  <a:pt x="88" y="40"/>
                </a:lnTo>
                <a:lnTo>
                  <a:pt x="48" y="40"/>
                </a:lnTo>
                <a:lnTo>
                  <a:pt x="48" y="0"/>
                </a:lnTo>
                <a:lnTo>
                  <a:pt x="88" y="0"/>
                </a:lnTo>
                <a:close/>
                <a:moveTo>
                  <a:pt x="88" y="48"/>
                </a:moveTo>
                <a:lnTo>
                  <a:pt x="88" y="72"/>
                </a:lnTo>
                <a:lnTo>
                  <a:pt x="64" y="72"/>
                </a:lnTo>
                <a:lnTo>
                  <a:pt x="64" y="64"/>
                </a:lnTo>
                <a:lnTo>
                  <a:pt x="56" y="64"/>
                </a:lnTo>
                <a:lnTo>
                  <a:pt x="56" y="88"/>
                </a:lnTo>
                <a:lnTo>
                  <a:pt x="48" y="88"/>
                </a:lnTo>
                <a:lnTo>
                  <a:pt x="48" y="48"/>
                </a:lnTo>
                <a:lnTo>
                  <a:pt x="72" y="48"/>
                </a:lnTo>
                <a:lnTo>
                  <a:pt x="72" y="56"/>
                </a:lnTo>
                <a:lnTo>
                  <a:pt x="80" y="56"/>
                </a:lnTo>
                <a:lnTo>
                  <a:pt x="80" y="48"/>
                </a:lnTo>
                <a:lnTo>
                  <a:pt x="88" y="48"/>
                </a:lnTo>
                <a:close/>
                <a:moveTo>
                  <a:pt x="56" y="32"/>
                </a:moveTo>
                <a:lnTo>
                  <a:pt x="80" y="32"/>
                </a:lnTo>
                <a:lnTo>
                  <a:pt x="80" y="8"/>
                </a:lnTo>
                <a:lnTo>
                  <a:pt x="56" y="8"/>
                </a:lnTo>
                <a:lnTo>
                  <a:pt x="56" y="32"/>
                </a:lnTo>
                <a:close/>
                <a:moveTo>
                  <a:pt x="72" y="16"/>
                </a:moveTo>
                <a:lnTo>
                  <a:pt x="72" y="24"/>
                </a:lnTo>
                <a:lnTo>
                  <a:pt x="64" y="24"/>
                </a:lnTo>
                <a:lnTo>
                  <a:pt x="64" y="16"/>
                </a:lnTo>
                <a:lnTo>
                  <a:pt x="72" y="16"/>
                </a:lnTo>
                <a:close/>
                <a:moveTo>
                  <a:pt x="72" y="80"/>
                </a:moveTo>
                <a:lnTo>
                  <a:pt x="72" y="88"/>
                </a:lnTo>
                <a:lnTo>
                  <a:pt x="64" y="88"/>
                </a:lnTo>
                <a:lnTo>
                  <a:pt x="64" y="80"/>
                </a:lnTo>
                <a:lnTo>
                  <a:pt x="72" y="80"/>
                </a:lnTo>
                <a:close/>
                <a:moveTo>
                  <a:pt x="88" y="80"/>
                </a:moveTo>
                <a:lnTo>
                  <a:pt x="88" y="88"/>
                </a:lnTo>
                <a:lnTo>
                  <a:pt x="80" y="88"/>
                </a:lnTo>
                <a:lnTo>
                  <a:pt x="80" y="80"/>
                </a:lnTo>
                <a:lnTo>
                  <a:pt x="88" y="8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4" name="Freeform 44"/>
          <p:cNvSpPr>
            <a:spLocks noChangeAspect="1" noEditPoints="1"/>
          </p:cNvSpPr>
          <p:nvPr/>
        </p:nvSpPr>
        <p:spPr bwMode="auto">
          <a:xfrm>
            <a:off x="923214" y="1866240"/>
            <a:ext cx="174866" cy="137395"/>
          </a:xfrm>
          <a:custGeom>
            <a:avLst/>
            <a:gdLst>
              <a:gd name="T0" fmla="*/ 0 w 112"/>
              <a:gd name="T1" fmla="*/ 88 h 88"/>
              <a:gd name="T2" fmla="*/ 4 w 112"/>
              <a:gd name="T3" fmla="*/ 0 h 88"/>
              <a:gd name="T4" fmla="*/ 8 w 112"/>
              <a:gd name="T5" fmla="*/ 88 h 88"/>
              <a:gd name="T6" fmla="*/ 6 w 112"/>
              <a:gd name="T7" fmla="*/ 0 h 88"/>
              <a:gd name="T8" fmla="*/ 8 w 112"/>
              <a:gd name="T9" fmla="*/ 88 h 88"/>
              <a:gd name="T10" fmla="*/ 12 w 112"/>
              <a:gd name="T11" fmla="*/ 88 h 88"/>
              <a:gd name="T12" fmla="*/ 14 w 112"/>
              <a:gd name="T13" fmla="*/ 0 h 88"/>
              <a:gd name="T14" fmla="*/ 24 w 112"/>
              <a:gd name="T15" fmla="*/ 88 h 88"/>
              <a:gd name="T16" fmla="*/ 22 w 112"/>
              <a:gd name="T17" fmla="*/ 0 h 88"/>
              <a:gd name="T18" fmla="*/ 24 w 112"/>
              <a:gd name="T19" fmla="*/ 88 h 88"/>
              <a:gd name="T20" fmla="*/ 30 w 112"/>
              <a:gd name="T21" fmla="*/ 88 h 88"/>
              <a:gd name="T22" fmla="*/ 34 w 112"/>
              <a:gd name="T23" fmla="*/ 0 h 88"/>
              <a:gd name="T24" fmla="*/ 42 w 112"/>
              <a:gd name="T25" fmla="*/ 88 h 88"/>
              <a:gd name="T26" fmla="*/ 40 w 112"/>
              <a:gd name="T27" fmla="*/ 0 h 88"/>
              <a:gd name="T28" fmla="*/ 42 w 112"/>
              <a:gd name="T29" fmla="*/ 88 h 88"/>
              <a:gd name="T30" fmla="*/ 44 w 112"/>
              <a:gd name="T31" fmla="*/ 88 h 88"/>
              <a:gd name="T32" fmla="*/ 45 w 112"/>
              <a:gd name="T33" fmla="*/ 0 h 88"/>
              <a:gd name="T34" fmla="*/ 49 w 112"/>
              <a:gd name="T35" fmla="*/ 88 h 88"/>
              <a:gd name="T36" fmla="*/ 47 w 112"/>
              <a:gd name="T37" fmla="*/ 0 h 88"/>
              <a:gd name="T38" fmla="*/ 49 w 112"/>
              <a:gd name="T39" fmla="*/ 88 h 88"/>
              <a:gd name="T40" fmla="*/ 55 w 112"/>
              <a:gd name="T41" fmla="*/ 88 h 88"/>
              <a:gd name="T42" fmla="*/ 59 w 112"/>
              <a:gd name="T43" fmla="*/ 0 h 88"/>
              <a:gd name="T44" fmla="*/ 69 w 112"/>
              <a:gd name="T45" fmla="*/ 88 h 88"/>
              <a:gd name="T46" fmla="*/ 65 w 112"/>
              <a:gd name="T47" fmla="*/ 0 h 88"/>
              <a:gd name="T48" fmla="*/ 69 w 112"/>
              <a:gd name="T49" fmla="*/ 88 h 88"/>
              <a:gd name="T50" fmla="*/ 73 w 112"/>
              <a:gd name="T51" fmla="*/ 88 h 88"/>
              <a:gd name="T52" fmla="*/ 77 w 112"/>
              <a:gd name="T53" fmla="*/ 0 h 88"/>
              <a:gd name="T54" fmla="*/ 85 w 112"/>
              <a:gd name="T55" fmla="*/ 88 h 88"/>
              <a:gd name="T56" fmla="*/ 81 w 112"/>
              <a:gd name="T57" fmla="*/ 0 h 88"/>
              <a:gd name="T58" fmla="*/ 85 w 112"/>
              <a:gd name="T59" fmla="*/ 88 h 88"/>
              <a:gd name="T60" fmla="*/ 87 w 112"/>
              <a:gd name="T61" fmla="*/ 88 h 88"/>
              <a:gd name="T62" fmla="*/ 91 w 112"/>
              <a:gd name="T63" fmla="*/ 0 h 88"/>
              <a:gd name="T64" fmla="*/ 103 w 112"/>
              <a:gd name="T65" fmla="*/ 88 h 88"/>
              <a:gd name="T66" fmla="*/ 97 w 112"/>
              <a:gd name="T67" fmla="*/ 0 h 88"/>
              <a:gd name="T68" fmla="*/ 103 w 112"/>
              <a:gd name="T69" fmla="*/ 88 h 88"/>
              <a:gd name="T70" fmla="*/ 105 w 112"/>
              <a:gd name="T71" fmla="*/ 88 h 88"/>
              <a:gd name="T72" fmla="*/ 107 w 112"/>
              <a:gd name="T73" fmla="*/ 0 h 88"/>
              <a:gd name="T74" fmla="*/ 112 w 112"/>
              <a:gd name="T75" fmla="*/ 88 h 88"/>
              <a:gd name="T76" fmla="*/ 108 w 112"/>
              <a:gd name="T77" fmla="*/ 0 h 88"/>
              <a:gd name="T78" fmla="*/ 112 w 112"/>
              <a:gd name="T79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2" h="88">
                <a:moveTo>
                  <a:pt x="4" y="88"/>
                </a:moveTo>
                <a:lnTo>
                  <a:pt x="0" y="88"/>
                </a:lnTo>
                <a:lnTo>
                  <a:pt x="0" y="0"/>
                </a:lnTo>
                <a:lnTo>
                  <a:pt x="4" y="0"/>
                </a:lnTo>
                <a:lnTo>
                  <a:pt x="4" y="88"/>
                </a:lnTo>
                <a:close/>
                <a:moveTo>
                  <a:pt x="8" y="88"/>
                </a:moveTo>
                <a:lnTo>
                  <a:pt x="6" y="88"/>
                </a:lnTo>
                <a:lnTo>
                  <a:pt x="6" y="0"/>
                </a:lnTo>
                <a:lnTo>
                  <a:pt x="8" y="0"/>
                </a:lnTo>
                <a:lnTo>
                  <a:pt x="8" y="88"/>
                </a:lnTo>
                <a:close/>
                <a:moveTo>
                  <a:pt x="14" y="88"/>
                </a:moveTo>
                <a:lnTo>
                  <a:pt x="12" y="88"/>
                </a:lnTo>
                <a:lnTo>
                  <a:pt x="12" y="0"/>
                </a:lnTo>
                <a:lnTo>
                  <a:pt x="14" y="0"/>
                </a:lnTo>
                <a:lnTo>
                  <a:pt x="14" y="88"/>
                </a:lnTo>
                <a:close/>
                <a:moveTo>
                  <a:pt x="24" y="88"/>
                </a:moveTo>
                <a:lnTo>
                  <a:pt x="22" y="88"/>
                </a:lnTo>
                <a:lnTo>
                  <a:pt x="22" y="0"/>
                </a:lnTo>
                <a:lnTo>
                  <a:pt x="24" y="0"/>
                </a:lnTo>
                <a:lnTo>
                  <a:pt x="24" y="88"/>
                </a:lnTo>
                <a:close/>
                <a:moveTo>
                  <a:pt x="34" y="88"/>
                </a:moveTo>
                <a:lnTo>
                  <a:pt x="30" y="88"/>
                </a:lnTo>
                <a:lnTo>
                  <a:pt x="30" y="0"/>
                </a:lnTo>
                <a:lnTo>
                  <a:pt x="34" y="0"/>
                </a:lnTo>
                <a:lnTo>
                  <a:pt x="34" y="88"/>
                </a:lnTo>
                <a:close/>
                <a:moveTo>
                  <a:pt x="42" y="88"/>
                </a:moveTo>
                <a:lnTo>
                  <a:pt x="40" y="88"/>
                </a:lnTo>
                <a:lnTo>
                  <a:pt x="40" y="0"/>
                </a:lnTo>
                <a:lnTo>
                  <a:pt x="42" y="0"/>
                </a:lnTo>
                <a:lnTo>
                  <a:pt x="42" y="88"/>
                </a:lnTo>
                <a:close/>
                <a:moveTo>
                  <a:pt x="45" y="88"/>
                </a:moveTo>
                <a:lnTo>
                  <a:pt x="44" y="88"/>
                </a:lnTo>
                <a:lnTo>
                  <a:pt x="44" y="0"/>
                </a:lnTo>
                <a:lnTo>
                  <a:pt x="45" y="0"/>
                </a:lnTo>
                <a:lnTo>
                  <a:pt x="45" y="88"/>
                </a:lnTo>
                <a:close/>
                <a:moveTo>
                  <a:pt x="49" y="88"/>
                </a:moveTo>
                <a:lnTo>
                  <a:pt x="47" y="88"/>
                </a:lnTo>
                <a:lnTo>
                  <a:pt x="47" y="0"/>
                </a:lnTo>
                <a:lnTo>
                  <a:pt x="49" y="0"/>
                </a:lnTo>
                <a:lnTo>
                  <a:pt x="49" y="88"/>
                </a:lnTo>
                <a:close/>
                <a:moveTo>
                  <a:pt x="59" y="88"/>
                </a:moveTo>
                <a:lnTo>
                  <a:pt x="55" y="88"/>
                </a:lnTo>
                <a:lnTo>
                  <a:pt x="55" y="0"/>
                </a:lnTo>
                <a:lnTo>
                  <a:pt x="59" y="0"/>
                </a:lnTo>
                <a:lnTo>
                  <a:pt x="59" y="88"/>
                </a:lnTo>
                <a:close/>
                <a:moveTo>
                  <a:pt x="69" y="88"/>
                </a:moveTo>
                <a:lnTo>
                  <a:pt x="65" y="88"/>
                </a:lnTo>
                <a:lnTo>
                  <a:pt x="65" y="0"/>
                </a:lnTo>
                <a:lnTo>
                  <a:pt x="69" y="0"/>
                </a:lnTo>
                <a:lnTo>
                  <a:pt x="69" y="88"/>
                </a:lnTo>
                <a:close/>
                <a:moveTo>
                  <a:pt x="77" y="88"/>
                </a:moveTo>
                <a:lnTo>
                  <a:pt x="73" y="88"/>
                </a:lnTo>
                <a:lnTo>
                  <a:pt x="73" y="0"/>
                </a:lnTo>
                <a:lnTo>
                  <a:pt x="77" y="0"/>
                </a:lnTo>
                <a:lnTo>
                  <a:pt x="77" y="88"/>
                </a:lnTo>
                <a:close/>
                <a:moveTo>
                  <a:pt x="85" y="88"/>
                </a:moveTo>
                <a:lnTo>
                  <a:pt x="81" y="88"/>
                </a:lnTo>
                <a:lnTo>
                  <a:pt x="81" y="0"/>
                </a:lnTo>
                <a:lnTo>
                  <a:pt x="85" y="0"/>
                </a:lnTo>
                <a:lnTo>
                  <a:pt x="85" y="88"/>
                </a:lnTo>
                <a:close/>
                <a:moveTo>
                  <a:pt x="91" y="88"/>
                </a:moveTo>
                <a:lnTo>
                  <a:pt x="87" y="88"/>
                </a:lnTo>
                <a:lnTo>
                  <a:pt x="87" y="0"/>
                </a:lnTo>
                <a:lnTo>
                  <a:pt x="91" y="0"/>
                </a:lnTo>
                <a:lnTo>
                  <a:pt x="91" y="88"/>
                </a:lnTo>
                <a:close/>
                <a:moveTo>
                  <a:pt x="103" y="88"/>
                </a:moveTo>
                <a:lnTo>
                  <a:pt x="97" y="88"/>
                </a:lnTo>
                <a:lnTo>
                  <a:pt x="97" y="0"/>
                </a:lnTo>
                <a:lnTo>
                  <a:pt x="103" y="0"/>
                </a:lnTo>
                <a:lnTo>
                  <a:pt x="103" y="88"/>
                </a:lnTo>
                <a:close/>
                <a:moveTo>
                  <a:pt x="107" y="88"/>
                </a:moveTo>
                <a:lnTo>
                  <a:pt x="105" y="88"/>
                </a:lnTo>
                <a:lnTo>
                  <a:pt x="105" y="0"/>
                </a:lnTo>
                <a:lnTo>
                  <a:pt x="107" y="0"/>
                </a:lnTo>
                <a:lnTo>
                  <a:pt x="107" y="88"/>
                </a:lnTo>
                <a:close/>
                <a:moveTo>
                  <a:pt x="112" y="88"/>
                </a:moveTo>
                <a:lnTo>
                  <a:pt x="108" y="88"/>
                </a:lnTo>
                <a:lnTo>
                  <a:pt x="108" y="0"/>
                </a:lnTo>
                <a:lnTo>
                  <a:pt x="112" y="0"/>
                </a:lnTo>
                <a:lnTo>
                  <a:pt x="112" y="8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5" name="Freeform 45"/>
          <p:cNvSpPr>
            <a:spLocks noChangeAspect="1" noEditPoints="1"/>
          </p:cNvSpPr>
          <p:nvPr/>
        </p:nvSpPr>
        <p:spPr bwMode="auto">
          <a:xfrm>
            <a:off x="1143358" y="1866240"/>
            <a:ext cx="148324" cy="148324"/>
          </a:xfrm>
          <a:custGeom>
            <a:avLst/>
            <a:gdLst>
              <a:gd name="T0" fmla="*/ 143 w 143"/>
              <a:gd name="T1" fmla="*/ 85 h 144"/>
              <a:gd name="T2" fmla="*/ 140 w 143"/>
              <a:gd name="T3" fmla="*/ 94 h 144"/>
              <a:gd name="T4" fmla="*/ 93 w 143"/>
              <a:gd name="T5" fmla="*/ 140 h 144"/>
              <a:gd name="T6" fmla="*/ 85 w 143"/>
              <a:gd name="T7" fmla="*/ 144 h 144"/>
              <a:gd name="T8" fmla="*/ 76 w 143"/>
              <a:gd name="T9" fmla="*/ 140 h 144"/>
              <a:gd name="T10" fmla="*/ 9 w 143"/>
              <a:gd name="T11" fmla="*/ 72 h 144"/>
              <a:gd name="T12" fmla="*/ 3 w 143"/>
              <a:gd name="T13" fmla="*/ 63 h 144"/>
              <a:gd name="T14" fmla="*/ 0 w 143"/>
              <a:gd name="T15" fmla="*/ 52 h 144"/>
              <a:gd name="T16" fmla="*/ 0 w 143"/>
              <a:gd name="T17" fmla="*/ 12 h 144"/>
              <a:gd name="T18" fmla="*/ 4 w 143"/>
              <a:gd name="T19" fmla="*/ 4 h 144"/>
              <a:gd name="T20" fmla="*/ 12 w 143"/>
              <a:gd name="T21" fmla="*/ 0 h 144"/>
              <a:gd name="T22" fmla="*/ 52 w 143"/>
              <a:gd name="T23" fmla="*/ 0 h 144"/>
              <a:gd name="T24" fmla="*/ 63 w 143"/>
              <a:gd name="T25" fmla="*/ 3 h 144"/>
              <a:gd name="T26" fmla="*/ 72 w 143"/>
              <a:gd name="T27" fmla="*/ 9 h 144"/>
              <a:gd name="T28" fmla="*/ 140 w 143"/>
              <a:gd name="T29" fmla="*/ 76 h 144"/>
              <a:gd name="T30" fmla="*/ 143 w 143"/>
              <a:gd name="T31" fmla="*/ 85 h 144"/>
              <a:gd name="T32" fmla="*/ 39 w 143"/>
              <a:gd name="T33" fmla="*/ 39 h 144"/>
              <a:gd name="T34" fmla="*/ 43 w 143"/>
              <a:gd name="T35" fmla="*/ 31 h 144"/>
              <a:gd name="T36" fmla="*/ 39 w 143"/>
              <a:gd name="T37" fmla="*/ 22 h 144"/>
              <a:gd name="T38" fmla="*/ 30 w 143"/>
              <a:gd name="T39" fmla="*/ 19 h 144"/>
              <a:gd name="T40" fmla="*/ 22 w 143"/>
              <a:gd name="T41" fmla="*/ 22 h 144"/>
              <a:gd name="T42" fmla="*/ 18 w 143"/>
              <a:gd name="T43" fmla="*/ 31 h 144"/>
              <a:gd name="T44" fmla="*/ 22 w 143"/>
              <a:gd name="T45" fmla="*/ 39 h 144"/>
              <a:gd name="T46" fmla="*/ 30 w 143"/>
              <a:gd name="T47" fmla="*/ 43 h 144"/>
              <a:gd name="T48" fmla="*/ 39 w 143"/>
              <a:gd name="T49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3" h="144">
                <a:moveTo>
                  <a:pt x="143" y="85"/>
                </a:moveTo>
                <a:cubicBezTo>
                  <a:pt x="143" y="88"/>
                  <a:pt x="142" y="91"/>
                  <a:pt x="140" y="94"/>
                </a:cubicBezTo>
                <a:cubicBezTo>
                  <a:pt x="93" y="140"/>
                  <a:pt x="93" y="140"/>
                  <a:pt x="93" y="140"/>
                </a:cubicBezTo>
                <a:cubicBezTo>
                  <a:pt x="91" y="142"/>
                  <a:pt x="88" y="144"/>
                  <a:pt x="85" y="144"/>
                </a:cubicBezTo>
                <a:cubicBezTo>
                  <a:pt x="82" y="144"/>
                  <a:pt x="79" y="142"/>
                  <a:pt x="76" y="140"/>
                </a:cubicBezTo>
                <a:cubicBezTo>
                  <a:pt x="9" y="72"/>
                  <a:pt x="9" y="72"/>
                  <a:pt x="9" y="72"/>
                </a:cubicBezTo>
                <a:cubicBezTo>
                  <a:pt x="6" y="70"/>
                  <a:pt x="4" y="67"/>
                  <a:pt x="3" y="63"/>
                </a:cubicBezTo>
                <a:cubicBezTo>
                  <a:pt x="1" y="59"/>
                  <a:pt x="0" y="55"/>
                  <a:pt x="0" y="5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9"/>
                  <a:pt x="1" y="6"/>
                  <a:pt x="4" y="4"/>
                </a:cubicBezTo>
                <a:cubicBezTo>
                  <a:pt x="6" y="2"/>
                  <a:pt x="9" y="0"/>
                  <a:pt x="1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5" y="0"/>
                  <a:pt x="59" y="1"/>
                  <a:pt x="63" y="3"/>
                </a:cubicBezTo>
                <a:cubicBezTo>
                  <a:pt x="67" y="5"/>
                  <a:pt x="70" y="7"/>
                  <a:pt x="72" y="9"/>
                </a:cubicBezTo>
                <a:cubicBezTo>
                  <a:pt x="140" y="76"/>
                  <a:pt x="140" y="76"/>
                  <a:pt x="140" y="76"/>
                </a:cubicBezTo>
                <a:cubicBezTo>
                  <a:pt x="142" y="79"/>
                  <a:pt x="143" y="82"/>
                  <a:pt x="143" y="85"/>
                </a:cubicBezTo>
                <a:close/>
                <a:moveTo>
                  <a:pt x="39" y="39"/>
                </a:moveTo>
                <a:cubicBezTo>
                  <a:pt x="41" y="37"/>
                  <a:pt x="43" y="34"/>
                  <a:pt x="43" y="31"/>
                </a:cubicBezTo>
                <a:cubicBezTo>
                  <a:pt x="43" y="27"/>
                  <a:pt x="41" y="24"/>
                  <a:pt x="39" y="22"/>
                </a:cubicBezTo>
                <a:cubicBezTo>
                  <a:pt x="37" y="20"/>
                  <a:pt x="34" y="19"/>
                  <a:pt x="30" y="19"/>
                </a:cubicBezTo>
                <a:cubicBezTo>
                  <a:pt x="27" y="19"/>
                  <a:pt x="24" y="20"/>
                  <a:pt x="22" y="22"/>
                </a:cubicBezTo>
                <a:cubicBezTo>
                  <a:pt x="19" y="24"/>
                  <a:pt x="18" y="27"/>
                  <a:pt x="18" y="31"/>
                </a:cubicBezTo>
                <a:cubicBezTo>
                  <a:pt x="18" y="34"/>
                  <a:pt x="19" y="37"/>
                  <a:pt x="22" y="39"/>
                </a:cubicBezTo>
                <a:cubicBezTo>
                  <a:pt x="24" y="42"/>
                  <a:pt x="27" y="43"/>
                  <a:pt x="30" y="43"/>
                </a:cubicBezTo>
                <a:cubicBezTo>
                  <a:pt x="34" y="43"/>
                  <a:pt x="37" y="42"/>
                  <a:pt x="39" y="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6" name="Freeform 46"/>
          <p:cNvSpPr>
            <a:spLocks noChangeAspect="1" noEditPoints="1"/>
          </p:cNvSpPr>
          <p:nvPr/>
        </p:nvSpPr>
        <p:spPr bwMode="auto">
          <a:xfrm>
            <a:off x="1338521" y="1866240"/>
            <a:ext cx="185795" cy="148324"/>
          </a:xfrm>
          <a:custGeom>
            <a:avLst/>
            <a:gdLst>
              <a:gd name="T0" fmla="*/ 143 w 179"/>
              <a:gd name="T1" fmla="*/ 85 h 144"/>
              <a:gd name="T2" fmla="*/ 139 w 179"/>
              <a:gd name="T3" fmla="*/ 94 h 144"/>
              <a:gd name="T4" fmla="*/ 93 w 179"/>
              <a:gd name="T5" fmla="*/ 140 h 144"/>
              <a:gd name="T6" fmla="*/ 84 w 179"/>
              <a:gd name="T7" fmla="*/ 144 h 144"/>
              <a:gd name="T8" fmla="*/ 76 w 179"/>
              <a:gd name="T9" fmla="*/ 140 h 144"/>
              <a:gd name="T10" fmla="*/ 8 w 179"/>
              <a:gd name="T11" fmla="*/ 72 h 144"/>
              <a:gd name="T12" fmla="*/ 2 w 179"/>
              <a:gd name="T13" fmla="*/ 63 h 144"/>
              <a:gd name="T14" fmla="*/ 0 w 179"/>
              <a:gd name="T15" fmla="*/ 52 h 144"/>
              <a:gd name="T16" fmla="*/ 0 w 179"/>
              <a:gd name="T17" fmla="*/ 12 h 144"/>
              <a:gd name="T18" fmla="*/ 3 w 179"/>
              <a:gd name="T19" fmla="*/ 4 h 144"/>
              <a:gd name="T20" fmla="*/ 12 w 179"/>
              <a:gd name="T21" fmla="*/ 0 h 144"/>
              <a:gd name="T22" fmla="*/ 51 w 179"/>
              <a:gd name="T23" fmla="*/ 0 h 144"/>
              <a:gd name="T24" fmla="*/ 62 w 179"/>
              <a:gd name="T25" fmla="*/ 3 h 144"/>
              <a:gd name="T26" fmla="*/ 72 w 179"/>
              <a:gd name="T27" fmla="*/ 9 h 144"/>
              <a:gd name="T28" fmla="*/ 139 w 179"/>
              <a:gd name="T29" fmla="*/ 76 h 144"/>
              <a:gd name="T30" fmla="*/ 143 w 179"/>
              <a:gd name="T31" fmla="*/ 85 h 144"/>
              <a:gd name="T32" fmla="*/ 39 w 179"/>
              <a:gd name="T33" fmla="*/ 39 h 144"/>
              <a:gd name="T34" fmla="*/ 42 w 179"/>
              <a:gd name="T35" fmla="*/ 31 h 144"/>
              <a:gd name="T36" fmla="*/ 39 w 179"/>
              <a:gd name="T37" fmla="*/ 22 h 144"/>
              <a:gd name="T38" fmla="*/ 30 w 179"/>
              <a:gd name="T39" fmla="*/ 19 h 144"/>
              <a:gd name="T40" fmla="*/ 21 w 179"/>
              <a:gd name="T41" fmla="*/ 22 h 144"/>
              <a:gd name="T42" fmla="*/ 18 w 179"/>
              <a:gd name="T43" fmla="*/ 31 h 144"/>
              <a:gd name="T44" fmla="*/ 21 w 179"/>
              <a:gd name="T45" fmla="*/ 39 h 144"/>
              <a:gd name="T46" fmla="*/ 30 w 179"/>
              <a:gd name="T47" fmla="*/ 43 h 144"/>
              <a:gd name="T48" fmla="*/ 39 w 179"/>
              <a:gd name="T49" fmla="*/ 39 h 144"/>
              <a:gd name="T50" fmla="*/ 179 w 179"/>
              <a:gd name="T51" fmla="*/ 85 h 144"/>
              <a:gd name="T52" fmla="*/ 176 w 179"/>
              <a:gd name="T53" fmla="*/ 94 h 144"/>
              <a:gd name="T54" fmla="*/ 129 w 179"/>
              <a:gd name="T55" fmla="*/ 140 h 144"/>
              <a:gd name="T56" fmla="*/ 121 w 179"/>
              <a:gd name="T57" fmla="*/ 144 h 144"/>
              <a:gd name="T58" fmla="*/ 115 w 179"/>
              <a:gd name="T59" fmla="*/ 142 h 144"/>
              <a:gd name="T60" fmla="*/ 110 w 179"/>
              <a:gd name="T61" fmla="*/ 138 h 144"/>
              <a:gd name="T62" fmla="*/ 155 w 179"/>
              <a:gd name="T63" fmla="*/ 94 h 144"/>
              <a:gd name="T64" fmla="*/ 158 w 179"/>
              <a:gd name="T65" fmla="*/ 85 h 144"/>
              <a:gd name="T66" fmla="*/ 155 w 179"/>
              <a:gd name="T67" fmla="*/ 76 h 144"/>
              <a:gd name="T68" fmla="*/ 87 w 179"/>
              <a:gd name="T69" fmla="*/ 9 h 144"/>
              <a:gd name="T70" fmla="*/ 77 w 179"/>
              <a:gd name="T71" fmla="*/ 3 h 144"/>
              <a:gd name="T72" fmla="*/ 66 w 179"/>
              <a:gd name="T73" fmla="*/ 0 h 144"/>
              <a:gd name="T74" fmla="*/ 87 w 179"/>
              <a:gd name="T75" fmla="*/ 0 h 144"/>
              <a:gd name="T76" fmla="*/ 98 w 179"/>
              <a:gd name="T77" fmla="*/ 3 h 144"/>
              <a:gd name="T78" fmla="*/ 108 w 179"/>
              <a:gd name="T79" fmla="*/ 9 h 144"/>
              <a:gd name="T80" fmla="*/ 176 w 179"/>
              <a:gd name="T81" fmla="*/ 76 h 144"/>
              <a:gd name="T82" fmla="*/ 179 w 179"/>
              <a:gd name="T83" fmla="*/ 85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9" h="144">
                <a:moveTo>
                  <a:pt x="143" y="85"/>
                </a:moveTo>
                <a:cubicBezTo>
                  <a:pt x="143" y="88"/>
                  <a:pt x="142" y="91"/>
                  <a:pt x="139" y="94"/>
                </a:cubicBezTo>
                <a:cubicBezTo>
                  <a:pt x="93" y="140"/>
                  <a:pt x="93" y="140"/>
                  <a:pt x="93" y="140"/>
                </a:cubicBezTo>
                <a:cubicBezTo>
                  <a:pt x="91" y="142"/>
                  <a:pt x="88" y="144"/>
                  <a:pt x="84" y="144"/>
                </a:cubicBezTo>
                <a:cubicBezTo>
                  <a:pt x="81" y="144"/>
                  <a:pt x="78" y="142"/>
                  <a:pt x="76" y="140"/>
                </a:cubicBezTo>
                <a:cubicBezTo>
                  <a:pt x="8" y="72"/>
                  <a:pt x="8" y="72"/>
                  <a:pt x="8" y="72"/>
                </a:cubicBezTo>
                <a:cubicBezTo>
                  <a:pt x="6" y="70"/>
                  <a:pt x="4" y="67"/>
                  <a:pt x="2" y="63"/>
                </a:cubicBezTo>
                <a:cubicBezTo>
                  <a:pt x="1" y="59"/>
                  <a:pt x="0" y="55"/>
                  <a:pt x="0" y="5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4" y="0"/>
                  <a:pt x="58" y="1"/>
                  <a:pt x="62" y="3"/>
                </a:cubicBezTo>
                <a:cubicBezTo>
                  <a:pt x="66" y="5"/>
                  <a:pt x="69" y="7"/>
                  <a:pt x="72" y="9"/>
                </a:cubicBezTo>
                <a:cubicBezTo>
                  <a:pt x="139" y="76"/>
                  <a:pt x="139" y="76"/>
                  <a:pt x="139" y="76"/>
                </a:cubicBezTo>
                <a:cubicBezTo>
                  <a:pt x="142" y="79"/>
                  <a:pt x="143" y="82"/>
                  <a:pt x="143" y="85"/>
                </a:cubicBezTo>
                <a:close/>
                <a:moveTo>
                  <a:pt x="39" y="39"/>
                </a:moveTo>
                <a:cubicBezTo>
                  <a:pt x="41" y="37"/>
                  <a:pt x="42" y="34"/>
                  <a:pt x="42" y="31"/>
                </a:cubicBezTo>
                <a:cubicBezTo>
                  <a:pt x="42" y="27"/>
                  <a:pt x="41" y="24"/>
                  <a:pt x="39" y="22"/>
                </a:cubicBezTo>
                <a:cubicBezTo>
                  <a:pt x="36" y="20"/>
                  <a:pt x="33" y="19"/>
                  <a:pt x="30" y="19"/>
                </a:cubicBezTo>
                <a:cubicBezTo>
                  <a:pt x="27" y="19"/>
                  <a:pt x="24" y="20"/>
                  <a:pt x="21" y="22"/>
                </a:cubicBezTo>
                <a:cubicBezTo>
                  <a:pt x="19" y="24"/>
                  <a:pt x="18" y="27"/>
                  <a:pt x="18" y="31"/>
                </a:cubicBezTo>
                <a:cubicBezTo>
                  <a:pt x="18" y="34"/>
                  <a:pt x="19" y="37"/>
                  <a:pt x="21" y="39"/>
                </a:cubicBezTo>
                <a:cubicBezTo>
                  <a:pt x="24" y="42"/>
                  <a:pt x="27" y="43"/>
                  <a:pt x="30" y="43"/>
                </a:cubicBezTo>
                <a:cubicBezTo>
                  <a:pt x="33" y="43"/>
                  <a:pt x="36" y="42"/>
                  <a:pt x="39" y="39"/>
                </a:cubicBezTo>
                <a:close/>
                <a:moveTo>
                  <a:pt x="179" y="85"/>
                </a:moveTo>
                <a:cubicBezTo>
                  <a:pt x="179" y="88"/>
                  <a:pt x="178" y="91"/>
                  <a:pt x="176" y="94"/>
                </a:cubicBezTo>
                <a:cubicBezTo>
                  <a:pt x="129" y="140"/>
                  <a:pt x="129" y="140"/>
                  <a:pt x="129" y="140"/>
                </a:cubicBezTo>
                <a:cubicBezTo>
                  <a:pt x="127" y="142"/>
                  <a:pt x="124" y="144"/>
                  <a:pt x="121" y="144"/>
                </a:cubicBezTo>
                <a:cubicBezTo>
                  <a:pt x="118" y="144"/>
                  <a:pt x="117" y="143"/>
                  <a:pt x="115" y="142"/>
                </a:cubicBezTo>
                <a:cubicBezTo>
                  <a:pt x="114" y="141"/>
                  <a:pt x="112" y="140"/>
                  <a:pt x="110" y="138"/>
                </a:cubicBezTo>
                <a:cubicBezTo>
                  <a:pt x="155" y="94"/>
                  <a:pt x="155" y="94"/>
                  <a:pt x="155" y="94"/>
                </a:cubicBezTo>
                <a:cubicBezTo>
                  <a:pt x="157" y="91"/>
                  <a:pt x="158" y="88"/>
                  <a:pt x="158" y="85"/>
                </a:cubicBezTo>
                <a:cubicBezTo>
                  <a:pt x="158" y="82"/>
                  <a:pt x="157" y="79"/>
                  <a:pt x="155" y="76"/>
                </a:cubicBezTo>
                <a:cubicBezTo>
                  <a:pt x="87" y="9"/>
                  <a:pt x="87" y="9"/>
                  <a:pt x="87" y="9"/>
                </a:cubicBezTo>
                <a:cubicBezTo>
                  <a:pt x="85" y="7"/>
                  <a:pt x="81" y="5"/>
                  <a:pt x="77" y="3"/>
                </a:cubicBezTo>
                <a:cubicBezTo>
                  <a:pt x="73" y="1"/>
                  <a:pt x="70" y="0"/>
                  <a:pt x="66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91" y="0"/>
                  <a:pt x="94" y="1"/>
                  <a:pt x="98" y="3"/>
                </a:cubicBezTo>
                <a:cubicBezTo>
                  <a:pt x="103" y="5"/>
                  <a:pt x="106" y="7"/>
                  <a:pt x="108" y="9"/>
                </a:cubicBezTo>
                <a:cubicBezTo>
                  <a:pt x="176" y="76"/>
                  <a:pt x="176" y="76"/>
                  <a:pt x="176" y="76"/>
                </a:cubicBezTo>
                <a:cubicBezTo>
                  <a:pt x="178" y="79"/>
                  <a:pt x="179" y="82"/>
                  <a:pt x="179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7" name="Freeform 47"/>
          <p:cNvSpPr>
            <a:spLocks noChangeAspect="1" noEditPoints="1"/>
          </p:cNvSpPr>
          <p:nvPr/>
        </p:nvSpPr>
        <p:spPr bwMode="auto">
          <a:xfrm>
            <a:off x="1571156" y="1866240"/>
            <a:ext cx="163937" cy="151447"/>
          </a:xfrm>
          <a:custGeom>
            <a:avLst/>
            <a:gdLst>
              <a:gd name="T0" fmla="*/ 157 w 159"/>
              <a:gd name="T1" fmla="*/ 46 h 146"/>
              <a:gd name="T2" fmla="*/ 124 w 159"/>
              <a:gd name="T3" fmla="*/ 141 h 146"/>
              <a:gd name="T4" fmla="*/ 25 w 159"/>
              <a:gd name="T5" fmla="*/ 146 h 146"/>
              <a:gd name="T6" fmla="*/ 2 w 159"/>
              <a:gd name="T7" fmla="*/ 128 h 146"/>
              <a:gd name="T8" fmla="*/ 2 w 159"/>
              <a:gd name="T9" fmla="*/ 114 h 146"/>
              <a:gd name="T10" fmla="*/ 2 w 159"/>
              <a:gd name="T11" fmla="*/ 108 h 146"/>
              <a:gd name="T12" fmla="*/ 2 w 159"/>
              <a:gd name="T13" fmla="*/ 104 h 146"/>
              <a:gd name="T14" fmla="*/ 5 w 159"/>
              <a:gd name="T15" fmla="*/ 100 h 146"/>
              <a:gd name="T16" fmla="*/ 13 w 159"/>
              <a:gd name="T17" fmla="*/ 82 h 146"/>
              <a:gd name="T18" fmla="*/ 13 w 159"/>
              <a:gd name="T19" fmla="*/ 77 h 146"/>
              <a:gd name="T20" fmla="*/ 16 w 159"/>
              <a:gd name="T21" fmla="*/ 72 h 146"/>
              <a:gd name="T22" fmla="*/ 22 w 159"/>
              <a:gd name="T23" fmla="*/ 55 h 146"/>
              <a:gd name="T24" fmla="*/ 22 w 159"/>
              <a:gd name="T25" fmla="*/ 49 h 146"/>
              <a:gd name="T26" fmla="*/ 26 w 159"/>
              <a:gd name="T27" fmla="*/ 44 h 146"/>
              <a:gd name="T28" fmla="*/ 33 w 159"/>
              <a:gd name="T29" fmla="*/ 27 h 146"/>
              <a:gd name="T30" fmla="*/ 32 w 159"/>
              <a:gd name="T31" fmla="*/ 22 h 146"/>
              <a:gd name="T32" fmla="*/ 35 w 159"/>
              <a:gd name="T33" fmla="*/ 18 h 146"/>
              <a:gd name="T34" fmla="*/ 38 w 159"/>
              <a:gd name="T35" fmla="*/ 13 h 146"/>
              <a:gd name="T36" fmla="*/ 41 w 159"/>
              <a:gd name="T37" fmla="*/ 7 h 146"/>
              <a:gd name="T38" fmla="*/ 45 w 159"/>
              <a:gd name="T39" fmla="*/ 1 h 146"/>
              <a:gd name="T40" fmla="*/ 53 w 159"/>
              <a:gd name="T41" fmla="*/ 1 h 146"/>
              <a:gd name="T42" fmla="*/ 58 w 159"/>
              <a:gd name="T43" fmla="*/ 0 h 146"/>
              <a:gd name="T44" fmla="*/ 141 w 159"/>
              <a:gd name="T45" fmla="*/ 6 h 146"/>
              <a:gd name="T46" fmla="*/ 116 w 159"/>
              <a:gd name="T47" fmla="*/ 104 h 146"/>
              <a:gd name="T48" fmla="*/ 97 w 159"/>
              <a:gd name="T49" fmla="*/ 121 h 146"/>
              <a:gd name="T50" fmla="*/ 12 w 159"/>
              <a:gd name="T51" fmla="*/ 123 h 146"/>
              <a:gd name="T52" fmla="*/ 25 w 159"/>
              <a:gd name="T53" fmla="*/ 133 h 146"/>
              <a:gd name="T54" fmla="*/ 118 w 159"/>
              <a:gd name="T55" fmla="*/ 132 h 146"/>
              <a:gd name="T56" fmla="*/ 149 w 159"/>
              <a:gd name="T57" fmla="*/ 35 h 146"/>
              <a:gd name="T58" fmla="*/ 156 w 159"/>
              <a:gd name="T59" fmla="*/ 33 h 146"/>
              <a:gd name="T60" fmla="*/ 47 w 159"/>
              <a:gd name="T61" fmla="*/ 60 h 146"/>
              <a:gd name="T62" fmla="*/ 107 w 159"/>
              <a:gd name="T63" fmla="*/ 61 h 146"/>
              <a:gd name="T64" fmla="*/ 111 w 159"/>
              <a:gd name="T65" fmla="*/ 58 h 146"/>
              <a:gd name="T66" fmla="*/ 112 w 159"/>
              <a:gd name="T67" fmla="*/ 50 h 146"/>
              <a:gd name="T68" fmla="*/ 53 w 159"/>
              <a:gd name="T69" fmla="*/ 49 h 146"/>
              <a:gd name="T70" fmla="*/ 49 w 159"/>
              <a:gd name="T71" fmla="*/ 52 h 146"/>
              <a:gd name="T72" fmla="*/ 55 w 159"/>
              <a:gd name="T73" fmla="*/ 34 h 146"/>
              <a:gd name="T74" fmla="*/ 57 w 159"/>
              <a:gd name="T75" fmla="*/ 37 h 146"/>
              <a:gd name="T76" fmla="*/ 117 w 159"/>
              <a:gd name="T77" fmla="*/ 36 h 146"/>
              <a:gd name="T78" fmla="*/ 120 w 159"/>
              <a:gd name="T79" fmla="*/ 28 h 146"/>
              <a:gd name="T80" fmla="*/ 118 w 159"/>
              <a:gd name="T81" fmla="*/ 25 h 146"/>
              <a:gd name="T82" fmla="*/ 58 w 159"/>
              <a:gd name="T83" fmla="*/ 25 h 146"/>
              <a:gd name="T84" fmla="*/ 55 w 159"/>
              <a:gd name="T8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9" h="146">
                <a:moveTo>
                  <a:pt x="156" y="33"/>
                </a:moveTo>
                <a:cubicBezTo>
                  <a:pt x="158" y="37"/>
                  <a:pt x="159" y="41"/>
                  <a:pt x="157" y="46"/>
                </a:cubicBezTo>
                <a:cubicBezTo>
                  <a:pt x="131" y="131"/>
                  <a:pt x="131" y="131"/>
                  <a:pt x="131" y="131"/>
                </a:cubicBezTo>
                <a:cubicBezTo>
                  <a:pt x="130" y="135"/>
                  <a:pt x="128" y="139"/>
                  <a:pt x="124" y="141"/>
                </a:cubicBezTo>
                <a:cubicBezTo>
                  <a:pt x="120" y="144"/>
                  <a:pt x="116" y="146"/>
                  <a:pt x="112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20" y="146"/>
                  <a:pt x="16" y="144"/>
                  <a:pt x="11" y="141"/>
                </a:cubicBezTo>
                <a:cubicBezTo>
                  <a:pt x="7" y="137"/>
                  <a:pt x="3" y="133"/>
                  <a:pt x="2" y="128"/>
                </a:cubicBezTo>
                <a:cubicBezTo>
                  <a:pt x="0" y="124"/>
                  <a:pt x="0" y="120"/>
                  <a:pt x="1" y="116"/>
                </a:cubicBezTo>
                <a:cubicBezTo>
                  <a:pt x="1" y="116"/>
                  <a:pt x="2" y="115"/>
                  <a:pt x="2" y="114"/>
                </a:cubicBezTo>
                <a:cubicBezTo>
                  <a:pt x="2" y="112"/>
                  <a:pt x="2" y="111"/>
                  <a:pt x="2" y="110"/>
                </a:cubicBezTo>
                <a:cubicBezTo>
                  <a:pt x="2" y="110"/>
                  <a:pt x="2" y="109"/>
                  <a:pt x="2" y="108"/>
                </a:cubicBezTo>
                <a:cubicBezTo>
                  <a:pt x="2" y="107"/>
                  <a:pt x="2" y="107"/>
                  <a:pt x="2" y="106"/>
                </a:cubicBezTo>
                <a:cubicBezTo>
                  <a:pt x="2" y="105"/>
                  <a:pt x="2" y="105"/>
                  <a:pt x="2" y="104"/>
                </a:cubicBezTo>
                <a:cubicBezTo>
                  <a:pt x="3" y="104"/>
                  <a:pt x="3" y="103"/>
                  <a:pt x="4" y="102"/>
                </a:cubicBezTo>
                <a:cubicBezTo>
                  <a:pt x="5" y="101"/>
                  <a:pt x="5" y="100"/>
                  <a:pt x="5" y="100"/>
                </a:cubicBezTo>
                <a:cubicBezTo>
                  <a:pt x="7" y="97"/>
                  <a:pt x="8" y="94"/>
                  <a:pt x="10" y="91"/>
                </a:cubicBezTo>
                <a:cubicBezTo>
                  <a:pt x="11" y="88"/>
                  <a:pt x="12" y="85"/>
                  <a:pt x="13" y="82"/>
                </a:cubicBezTo>
                <a:cubicBezTo>
                  <a:pt x="13" y="82"/>
                  <a:pt x="13" y="81"/>
                  <a:pt x="13" y="80"/>
                </a:cubicBezTo>
                <a:cubicBezTo>
                  <a:pt x="12" y="78"/>
                  <a:pt x="12" y="77"/>
                  <a:pt x="13" y="77"/>
                </a:cubicBezTo>
                <a:cubicBezTo>
                  <a:pt x="13" y="76"/>
                  <a:pt x="13" y="75"/>
                  <a:pt x="14" y="74"/>
                </a:cubicBezTo>
                <a:cubicBezTo>
                  <a:pt x="15" y="73"/>
                  <a:pt x="16" y="72"/>
                  <a:pt x="16" y="72"/>
                </a:cubicBezTo>
                <a:cubicBezTo>
                  <a:pt x="17" y="70"/>
                  <a:pt x="18" y="67"/>
                  <a:pt x="20" y="63"/>
                </a:cubicBezTo>
                <a:cubicBezTo>
                  <a:pt x="21" y="60"/>
                  <a:pt x="22" y="57"/>
                  <a:pt x="22" y="55"/>
                </a:cubicBezTo>
                <a:cubicBezTo>
                  <a:pt x="22" y="54"/>
                  <a:pt x="22" y="53"/>
                  <a:pt x="22" y="52"/>
                </a:cubicBezTo>
                <a:cubicBezTo>
                  <a:pt x="22" y="50"/>
                  <a:pt x="22" y="50"/>
                  <a:pt x="22" y="49"/>
                </a:cubicBezTo>
                <a:cubicBezTo>
                  <a:pt x="22" y="48"/>
                  <a:pt x="23" y="47"/>
                  <a:pt x="24" y="46"/>
                </a:cubicBezTo>
                <a:cubicBezTo>
                  <a:pt x="25" y="45"/>
                  <a:pt x="26" y="45"/>
                  <a:pt x="26" y="44"/>
                </a:cubicBezTo>
                <a:cubicBezTo>
                  <a:pt x="27" y="43"/>
                  <a:pt x="29" y="40"/>
                  <a:pt x="30" y="36"/>
                </a:cubicBezTo>
                <a:cubicBezTo>
                  <a:pt x="32" y="33"/>
                  <a:pt x="32" y="29"/>
                  <a:pt x="33" y="27"/>
                </a:cubicBezTo>
                <a:cubicBezTo>
                  <a:pt x="33" y="27"/>
                  <a:pt x="33" y="26"/>
                  <a:pt x="32" y="25"/>
                </a:cubicBezTo>
                <a:cubicBezTo>
                  <a:pt x="32" y="24"/>
                  <a:pt x="32" y="23"/>
                  <a:pt x="32" y="22"/>
                </a:cubicBezTo>
                <a:cubicBezTo>
                  <a:pt x="32" y="22"/>
                  <a:pt x="33" y="21"/>
                  <a:pt x="33" y="20"/>
                </a:cubicBezTo>
                <a:cubicBezTo>
                  <a:pt x="34" y="20"/>
                  <a:pt x="34" y="19"/>
                  <a:pt x="35" y="18"/>
                </a:cubicBezTo>
                <a:cubicBezTo>
                  <a:pt x="35" y="17"/>
                  <a:pt x="36" y="17"/>
                  <a:pt x="36" y="16"/>
                </a:cubicBezTo>
                <a:cubicBezTo>
                  <a:pt x="37" y="16"/>
                  <a:pt x="37" y="15"/>
                  <a:pt x="38" y="13"/>
                </a:cubicBezTo>
                <a:cubicBezTo>
                  <a:pt x="38" y="12"/>
                  <a:pt x="39" y="11"/>
                  <a:pt x="39" y="10"/>
                </a:cubicBezTo>
                <a:cubicBezTo>
                  <a:pt x="40" y="9"/>
                  <a:pt x="40" y="8"/>
                  <a:pt x="41" y="7"/>
                </a:cubicBezTo>
                <a:cubicBezTo>
                  <a:pt x="41" y="5"/>
                  <a:pt x="42" y="4"/>
                  <a:pt x="43" y="4"/>
                </a:cubicBezTo>
                <a:cubicBezTo>
                  <a:pt x="43" y="3"/>
                  <a:pt x="44" y="2"/>
                  <a:pt x="45" y="1"/>
                </a:cubicBezTo>
                <a:cubicBezTo>
                  <a:pt x="46" y="1"/>
                  <a:pt x="47" y="0"/>
                  <a:pt x="49" y="0"/>
                </a:cubicBezTo>
                <a:cubicBezTo>
                  <a:pt x="50" y="0"/>
                  <a:pt x="51" y="1"/>
                  <a:pt x="53" y="1"/>
                </a:cubicBezTo>
                <a:cubicBezTo>
                  <a:pt x="53" y="1"/>
                  <a:pt x="53" y="1"/>
                  <a:pt x="53" y="1"/>
                </a:cubicBezTo>
                <a:cubicBezTo>
                  <a:pt x="55" y="1"/>
                  <a:pt x="57" y="0"/>
                  <a:pt x="58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134" y="0"/>
                  <a:pt x="138" y="2"/>
                  <a:pt x="141" y="6"/>
                </a:cubicBezTo>
                <a:cubicBezTo>
                  <a:pt x="143" y="9"/>
                  <a:pt x="144" y="13"/>
                  <a:pt x="142" y="18"/>
                </a:cubicBezTo>
                <a:cubicBezTo>
                  <a:pt x="116" y="104"/>
                  <a:pt x="116" y="104"/>
                  <a:pt x="116" y="104"/>
                </a:cubicBezTo>
                <a:cubicBezTo>
                  <a:pt x="114" y="111"/>
                  <a:pt x="112" y="116"/>
                  <a:pt x="110" y="118"/>
                </a:cubicBezTo>
                <a:cubicBezTo>
                  <a:pt x="107" y="120"/>
                  <a:pt x="103" y="121"/>
                  <a:pt x="97" y="121"/>
                </a:cubicBezTo>
                <a:cubicBezTo>
                  <a:pt x="15" y="121"/>
                  <a:pt x="15" y="121"/>
                  <a:pt x="15" y="121"/>
                </a:cubicBezTo>
                <a:cubicBezTo>
                  <a:pt x="14" y="121"/>
                  <a:pt x="12" y="122"/>
                  <a:pt x="12" y="123"/>
                </a:cubicBezTo>
                <a:cubicBezTo>
                  <a:pt x="11" y="124"/>
                  <a:pt x="11" y="125"/>
                  <a:pt x="12" y="127"/>
                </a:cubicBezTo>
                <a:cubicBezTo>
                  <a:pt x="13" y="131"/>
                  <a:pt x="18" y="133"/>
                  <a:pt x="25" y="133"/>
                </a:cubicBezTo>
                <a:cubicBezTo>
                  <a:pt x="112" y="133"/>
                  <a:pt x="112" y="133"/>
                  <a:pt x="112" y="133"/>
                </a:cubicBezTo>
                <a:cubicBezTo>
                  <a:pt x="114" y="133"/>
                  <a:pt x="116" y="133"/>
                  <a:pt x="118" y="132"/>
                </a:cubicBezTo>
                <a:cubicBezTo>
                  <a:pt x="119" y="131"/>
                  <a:pt x="121" y="130"/>
                  <a:pt x="121" y="128"/>
                </a:cubicBezTo>
                <a:cubicBezTo>
                  <a:pt x="149" y="35"/>
                  <a:pt x="149" y="35"/>
                  <a:pt x="149" y="35"/>
                </a:cubicBezTo>
                <a:cubicBezTo>
                  <a:pt x="150" y="33"/>
                  <a:pt x="150" y="32"/>
                  <a:pt x="150" y="29"/>
                </a:cubicBezTo>
                <a:cubicBezTo>
                  <a:pt x="152" y="30"/>
                  <a:pt x="154" y="32"/>
                  <a:pt x="156" y="33"/>
                </a:cubicBezTo>
                <a:close/>
                <a:moveTo>
                  <a:pt x="47" y="58"/>
                </a:moveTo>
                <a:cubicBezTo>
                  <a:pt x="47" y="59"/>
                  <a:pt x="47" y="59"/>
                  <a:pt x="47" y="60"/>
                </a:cubicBezTo>
                <a:cubicBezTo>
                  <a:pt x="48" y="61"/>
                  <a:pt x="48" y="61"/>
                  <a:pt x="49" y="61"/>
                </a:cubicBezTo>
                <a:cubicBezTo>
                  <a:pt x="107" y="61"/>
                  <a:pt x="107" y="61"/>
                  <a:pt x="107" y="61"/>
                </a:cubicBezTo>
                <a:cubicBezTo>
                  <a:pt x="107" y="61"/>
                  <a:pt x="108" y="61"/>
                  <a:pt x="109" y="60"/>
                </a:cubicBezTo>
                <a:cubicBezTo>
                  <a:pt x="110" y="59"/>
                  <a:pt x="110" y="59"/>
                  <a:pt x="111" y="58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3" y="51"/>
                  <a:pt x="113" y="50"/>
                  <a:pt x="112" y="50"/>
                </a:cubicBezTo>
                <a:cubicBezTo>
                  <a:pt x="112" y="49"/>
                  <a:pt x="111" y="49"/>
                  <a:pt x="111" y="49"/>
                </a:cubicBezTo>
                <a:cubicBezTo>
                  <a:pt x="53" y="49"/>
                  <a:pt x="53" y="49"/>
                  <a:pt x="53" y="49"/>
                </a:cubicBezTo>
                <a:cubicBezTo>
                  <a:pt x="52" y="49"/>
                  <a:pt x="51" y="49"/>
                  <a:pt x="51" y="50"/>
                </a:cubicBezTo>
                <a:cubicBezTo>
                  <a:pt x="50" y="50"/>
                  <a:pt x="49" y="51"/>
                  <a:pt x="49" y="52"/>
                </a:cubicBezTo>
                <a:lnTo>
                  <a:pt x="47" y="58"/>
                </a:lnTo>
                <a:close/>
                <a:moveTo>
                  <a:pt x="55" y="34"/>
                </a:moveTo>
                <a:cubicBezTo>
                  <a:pt x="55" y="34"/>
                  <a:pt x="55" y="35"/>
                  <a:pt x="55" y="36"/>
                </a:cubicBezTo>
                <a:cubicBezTo>
                  <a:pt x="55" y="36"/>
                  <a:pt x="56" y="37"/>
                  <a:pt x="57" y="37"/>
                </a:cubicBezTo>
                <a:cubicBezTo>
                  <a:pt x="114" y="37"/>
                  <a:pt x="114" y="37"/>
                  <a:pt x="114" y="37"/>
                </a:cubicBezTo>
                <a:cubicBezTo>
                  <a:pt x="115" y="37"/>
                  <a:pt x="116" y="36"/>
                  <a:pt x="117" y="36"/>
                </a:cubicBezTo>
                <a:cubicBezTo>
                  <a:pt x="118" y="35"/>
                  <a:pt x="118" y="34"/>
                  <a:pt x="118" y="34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21" y="27"/>
                  <a:pt x="121" y="26"/>
                  <a:pt x="120" y="25"/>
                </a:cubicBezTo>
                <a:cubicBezTo>
                  <a:pt x="120" y="25"/>
                  <a:pt x="119" y="25"/>
                  <a:pt x="118" y="25"/>
                </a:cubicBezTo>
                <a:cubicBezTo>
                  <a:pt x="61" y="25"/>
                  <a:pt x="61" y="25"/>
                  <a:pt x="61" y="25"/>
                </a:cubicBezTo>
                <a:cubicBezTo>
                  <a:pt x="60" y="25"/>
                  <a:pt x="59" y="25"/>
                  <a:pt x="58" y="25"/>
                </a:cubicBezTo>
                <a:cubicBezTo>
                  <a:pt x="58" y="26"/>
                  <a:pt x="57" y="27"/>
                  <a:pt x="57" y="28"/>
                </a:cubicBezTo>
                <a:lnTo>
                  <a:pt x="55" y="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8" name="Freeform 48"/>
          <p:cNvSpPr>
            <a:spLocks noChangeAspect="1"/>
          </p:cNvSpPr>
          <p:nvPr/>
        </p:nvSpPr>
        <p:spPr bwMode="auto">
          <a:xfrm>
            <a:off x="1778810" y="1866240"/>
            <a:ext cx="124905" cy="148324"/>
          </a:xfrm>
          <a:custGeom>
            <a:avLst/>
            <a:gdLst>
              <a:gd name="T0" fmla="*/ 110 w 121"/>
              <a:gd name="T1" fmla="*/ 0 h 143"/>
              <a:gd name="T2" fmla="*/ 114 w 121"/>
              <a:gd name="T3" fmla="*/ 1 h 143"/>
              <a:gd name="T4" fmla="*/ 119 w 121"/>
              <a:gd name="T5" fmla="*/ 5 h 143"/>
              <a:gd name="T6" fmla="*/ 121 w 121"/>
              <a:gd name="T7" fmla="*/ 11 h 143"/>
              <a:gd name="T8" fmla="*/ 121 w 121"/>
              <a:gd name="T9" fmla="*/ 133 h 143"/>
              <a:gd name="T10" fmla="*/ 119 w 121"/>
              <a:gd name="T11" fmla="*/ 139 h 143"/>
              <a:gd name="T12" fmla="*/ 114 w 121"/>
              <a:gd name="T13" fmla="*/ 143 h 143"/>
              <a:gd name="T14" fmla="*/ 110 w 121"/>
              <a:gd name="T15" fmla="*/ 143 h 143"/>
              <a:gd name="T16" fmla="*/ 102 w 121"/>
              <a:gd name="T17" fmla="*/ 140 h 143"/>
              <a:gd name="T18" fmla="*/ 61 w 121"/>
              <a:gd name="T19" fmla="*/ 100 h 143"/>
              <a:gd name="T20" fmla="*/ 19 w 121"/>
              <a:gd name="T21" fmla="*/ 140 h 143"/>
              <a:gd name="T22" fmla="*/ 11 w 121"/>
              <a:gd name="T23" fmla="*/ 143 h 143"/>
              <a:gd name="T24" fmla="*/ 7 w 121"/>
              <a:gd name="T25" fmla="*/ 143 h 143"/>
              <a:gd name="T26" fmla="*/ 2 w 121"/>
              <a:gd name="T27" fmla="*/ 139 h 143"/>
              <a:gd name="T28" fmla="*/ 0 w 121"/>
              <a:gd name="T29" fmla="*/ 133 h 143"/>
              <a:gd name="T30" fmla="*/ 0 w 121"/>
              <a:gd name="T31" fmla="*/ 11 h 143"/>
              <a:gd name="T32" fmla="*/ 2 w 121"/>
              <a:gd name="T33" fmla="*/ 5 h 143"/>
              <a:gd name="T34" fmla="*/ 7 w 121"/>
              <a:gd name="T35" fmla="*/ 1 h 143"/>
              <a:gd name="T36" fmla="*/ 11 w 121"/>
              <a:gd name="T37" fmla="*/ 0 h 143"/>
              <a:gd name="T38" fmla="*/ 110 w 121"/>
              <a:gd name="T39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1" h="143">
                <a:moveTo>
                  <a:pt x="110" y="0"/>
                </a:moveTo>
                <a:cubicBezTo>
                  <a:pt x="112" y="0"/>
                  <a:pt x="113" y="1"/>
                  <a:pt x="114" y="1"/>
                </a:cubicBezTo>
                <a:cubicBezTo>
                  <a:pt x="116" y="2"/>
                  <a:pt x="118" y="3"/>
                  <a:pt x="119" y="5"/>
                </a:cubicBezTo>
                <a:cubicBezTo>
                  <a:pt x="121" y="7"/>
                  <a:pt x="121" y="9"/>
                  <a:pt x="121" y="11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21" y="135"/>
                  <a:pt x="121" y="137"/>
                  <a:pt x="119" y="139"/>
                </a:cubicBezTo>
                <a:cubicBezTo>
                  <a:pt x="118" y="140"/>
                  <a:pt x="116" y="142"/>
                  <a:pt x="114" y="143"/>
                </a:cubicBezTo>
                <a:cubicBezTo>
                  <a:pt x="113" y="143"/>
                  <a:pt x="112" y="143"/>
                  <a:pt x="110" y="143"/>
                </a:cubicBezTo>
                <a:cubicBezTo>
                  <a:pt x="107" y="143"/>
                  <a:pt x="105" y="142"/>
                  <a:pt x="102" y="140"/>
                </a:cubicBezTo>
                <a:cubicBezTo>
                  <a:pt x="61" y="100"/>
                  <a:pt x="61" y="100"/>
                  <a:pt x="61" y="100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7" y="142"/>
                  <a:pt x="14" y="143"/>
                  <a:pt x="11" y="143"/>
                </a:cubicBezTo>
                <a:cubicBezTo>
                  <a:pt x="10" y="143"/>
                  <a:pt x="8" y="143"/>
                  <a:pt x="7" y="143"/>
                </a:cubicBezTo>
                <a:cubicBezTo>
                  <a:pt x="5" y="142"/>
                  <a:pt x="3" y="140"/>
                  <a:pt x="2" y="139"/>
                </a:cubicBezTo>
                <a:cubicBezTo>
                  <a:pt x="1" y="137"/>
                  <a:pt x="0" y="135"/>
                  <a:pt x="0" y="133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9"/>
                  <a:pt x="1" y="7"/>
                  <a:pt x="2" y="5"/>
                </a:cubicBezTo>
                <a:cubicBezTo>
                  <a:pt x="3" y="3"/>
                  <a:pt x="5" y="2"/>
                  <a:pt x="7" y="1"/>
                </a:cubicBezTo>
                <a:cubicBezTo>
                  <a:pt x="8" y="1"/>
                  <a:pt x="10" y="0"/>
                  <a:pt x="11" y="0"/>
                </a:cubicBezTo>
                <a:lnTo>
                  <a:pt x="11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9" name="Freeform 49"/>
          <p:cNvSpPr>
            <a:spLocks noChangeAspect="1" noEditPoints="1"/>
          </p:cNvSpPr>
          <p:nvPr/>
        </p:nvSpPr>
        <p:spPr bwMode="auto">
          <a:xfrm>
            <a:off x="1950554" y="1866240"/>
            <a:ext cx="162376" cy="151447"/>
          </a:xfrm>
          <a:custGeom>
            <a:avLst/>
            <a:gdLst>
              <a:gd name="T0" fmla="*/ 157 w 157"/>
              <a:gd name="T1" fmla="*/ 79 h 146"/>
              <a:gd name="T2" fmla="*/ 157 w 157"/>
              <a:gd name="T3" fmla="*/ 118 h 146"/>
              <a:gd name="T4" fmla="*/ 156 w 157"/>
              <a:gd name="T5" fmla="*/ 120 h 146"/>
              <a:gd name="T6" fmla="*/ 154 w 157"/>
              <a:gd name="T7" fmla="*/ 121 h 146"/>
              <a:gd name="T8" fmla="*/ 133 w 157"/>
              <a:gd name="T9" fmla="*/ 121 h 146"/>
              <a:gd name="T10" fmla="*/ 133 w 157"/>
              <a:gd name="T11" fmla="*/ 136 h 146"/>
              <a:gd name="T12" fmla="*/ 130 w 157"/>
              <a:gd name="T13" fmla="*/ 143 h 146"/>
              <a:gd name="T14" fmla="*/ 124 w 157"/>
              <a:gd name="T15" fmla="*/ 146 h 146"/>
              <a:gd name="T16" fmla="*/ 33 w 157"/>
              <a:gd name="T17" fmla="*/ 146 h 146"/>
              <a:gd name="T18" fmla="*/ 26 w 157"/>
              <a:gd name="T19" fmla="*/ 143 h 146"/>
              <a:gd name="T20" fmla="*/ 24 w 157"/>
              <a:gd name="T21" fmla="*/ 136 h 146"/>
              <a:gd name="T22" fmla="*/ 24 w 157"/>
              <a:gd name="T23" fmla="*/ 121 h 146"/>
              <a:gd name="T24" fmla="*/ 3 w 157"/>
              <a:gd name="T25" fmla="*/ 121 h 146"/>
              <a:gd name="T26" fmla="*/ 0 w 157"/>
              <a:gd name="T27" fmla="*/ 120 h 146"/>
              <a:gd name="T28" fmla="*/ 0 w 157"/>
              <a:gd name="T29" fmla="*/ 118 h 146"/>
              <a:gd name="T30" fmla="*/ 0 w 157"/>
              <a:gd name="T31" fmla="*/ 79 h 146"/>
              <a:gd name="T32" fmla="*/ 5 w 157"/>
              <a:gd name="T33" fmla="*/ 66 h 146"/>
              <a:gd name="T34" fmla="*/ 18 w 157"/>
              <a:gd name="T35" fmla="*/ 61 h 146"/>
              <a:gd name="T36" fmla="*/ 24 w 157"/>
              <a:gd name="T37" fmla="*/ 61 h 146"/>
              <a:gd name="T38" fmla="*/ 24 w 157"/>
              <a:gd name="T39" fmla="*/ 9 h 146"/>
              <a:gd name="T40" fmla="*/ 26 w 157"/>
              <a:gd name="T41" fmla="*/ 3 h 146"/>
              <a:gd name="T42" fmla="*/ 33 w 157"/>
              <a:gd name="T43" fmla="*/ 0 h 146"/>
              <a:gd name="T44" fmla="*/ 96 w 157"/>
              <a:gd name="T45" fmla="*/ 0 h 146"/>
              <a:gd name="T46" fmla="*/ 105 w 157"/>
              <a:gd name="T47" fmla="*/ 2 h 146"/>
              <a:gd name="T48" fmla="*/ 112 w 157"/>
              <a:gd name="T49" fmla="*/ 7 h 146"/>
              <a:gd name="T50" fmla="*/ 126 w 157"/>
              <a:gd name="T51" fmla="*/ 21 h 146"/>
              <a:gd name="T52" fmla="*/ 131 w 157"/>
              <a:gd name="T53" fmla="*/ 28 h 146"/>
              <a:gd name="T54" fmla="*/ 133 w 157"/>
              <a:gd name="T55" fmla="*/ 37 h 146"/>
              <a:gd name="T56" fmla="*/ 133 w 157"/>
              <a:gd name="T57" fmla="*/ 61 h 146"/>
              <a:gd name="T58" fmla="*/ 139 w 157"/>
              <a:gd name="T59" fmla="*/ 61 h 146"/>
              <a:gd name="T60" fmla="*/ 152 w 157"/>
              <a:gd name="T61" fmla="*/ 66 h 146"/>
              <a:gd name="T62" fmla="*/ 157 w 157"/>
              <a:gd name="T63" fmla="*/ 79 h 146"/>
              <a:gd name="T64" fmla="*/ 36 w 157"/>
              <a:gd name="T65" fmla="*/ 73 h 146"/>
              <a:gd name="T66" fmla="*/ 121 w 157"/>
              <a:gd name="T67" fmla="*/ 73 h 146"/>
              <a:gd name="T68" fmla="*/ 121 w 157"/>
              <a:gd name="T69" fmla="*/ 37 h 146"/>
              <a:gd name="T70" fmla="*/ 105 w 157"/>
              <a:gd name="T71" fmla="*/ 37 h 146"/>
              <a:gd name="T72" fmla="*/ 99 w 157"/>
              <a:gd name="T73" fmla="*/ 34 h 146"/>
              <a:gd name="T74" fmla="*/ 96 w 157"/>
              <a:gd name="T75" fmla="*/ 28 h 146"/>
              <a:gd name="T76" fmla="*/ 96 w 157"/>
              <a:gd name="T77" fmla="*/ 12 h 146"/>
              <a:gd name="T78" fmla="*/ 36 w 157"/>
              <a:gd name="T79" fmla="*/ 12 h 146"/>
              <a:gd name="T80" fmla="*/ 36 w 157"/>
              <a:gd name="T81" fmla="*/ 73 h 146"/>
              <a:gd name="T82" fmla="*/ 36 w 157"/>
              <a:gd name="T83" fmla="*/ 133 h 146"/>
              <a:gd name="T84" fmla="*/ 121 w 157"/>
              <a:gd name="T85" fmla="*/ 133 h 146"/>
              <a:gd name="T86" fmla="*/ 121 w 157"/>
              <a:gd name="T87" fmla="*/ 109 h 146"/>
              <a:gd name="T88" fmla="*/ 36 w 157"/>
              <a:gd name="T89" fmla="*/ 109 h 146"/>
              <a:gd name="T90" fmla="*/ 36 w 157"/>
              <a:gd name="T91" fmla="*/ 133 h 146"/>
              <a:gd name="T92" fmla="*/ 143 w 157"/>
              <a:gd name="T93" fmla="*/ 83 h 146"/>
              <a:gd name="T94" fmla="*/ 145 w 157"/>
              <a:gd name="T95" fmla="*/ 79 h 146"/>
              <a:gd name="T96" fmla="*/ 143 w 157"/>
              <a:gd name="T97" fmla="*/ 75 h 146"/>
              <a:gd name="T98" fmla="*/ 139 w 157"/>
              <a:gd name="T99" fmla="*/ 73 h 146"/>
              <a:gd name="T100" fmla="*/ 134 w 157"/>
              <a:gd name="T101" fmla="*/ 75 h 146"/>
              <a:gd name="T102" fmla="*/ 133 w 157"/>
              <a:gd name="T103" fmla="*/ 79 h 146"/>
              <a:gd name="T104" fmla="*/ 134 w 157"/>
              <a:gd name="T105" fmla="*/ 83 h 146"/>
              <a:gd name="T106" fmla="*/ 139 w 157"/>
              <a:gd name="T107" fmla="*/ 85 h 146"/>
              <a:gd name="T108" fmla="*/ 143 w 157"/>
              <a:gd name="T109" fmla="*/ 8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7" h="146">
                <a:moveTo>
                  <a:pt x="157" y="79"/>
                </a:moveTo>
                <a:cubicBezTo>
                  <a:pt x="157" y="118"/>
                  <a:pt x="157" y="118"/>
                  <a:pt x="157" y="118"/>
                </a:cubicBezTo>
                <a:cubicBezTo>
                  <a:pt x="157" y="119"/>
                  <a:pt x="157" y="120"/>
                  <a:pt x="156" y="120"/>
                </a:cubicBezTo>
                <a:cubicBezTo>
                  <a:pt x="155" y="121"/>
                  <a:pt x="155" y="121"/>
                  <a:pt x="154" y="121"/>
                </a:cubicBezTo>
                <a:cubicBezTo>
                  <a:pt x="133" y="121"/>
                  <a:pt x="133" y="121"/>
                  <a:pt x="133" y="121"/>
                </a:cubicBezTo>
                <a:cubicBezTo>
                  <a:pt x="133" y="136"/>
                  <a:pt x="133" y="136"/>
                  <a:pt x="133" y="136"/>
                </a:cubicBezTo>
                <a:cubicBezTo>
                  <a:pt x="133" y="139"/>
                  <a:pt x="132" y="141"/>
                  <a:pt x="130" y="143"/>
                </a:cubicBezTo>
                <a:cubicBezTo>
                  <a:pt x="128" y="145"/>
                  <a:pt x="126" y="146"/>
                  <a:pt x="124" y="146"/>
                </a:cubicBezTo>
                <a:cubicBezTo>
                  <a:pt x="33" y="146"/>
                  <a:pt x="33" y="146"/>
                  <a:pt x="33" y="146"/>
                </a:cubicBezTo>
                <a:cubicBezTo>
                  <a:pt x="30" y="146"/>
                  <a:pt x="28" y="145"/>
                  <a:pt x="26" y="143"/>
                </a:cubicBezTo>
                <a:cubicBezTo>
                  <a:pt x="25" y="141"/>
                  <a:pt x="24" y="139"/>
                  <a:pt x="24" y="136"/>
                </a:cubicBezTo>
                <a:cubicBezTo>
                  <a:pt x="24" y="121"/>
                  <a:pt x="24" y="121"/>
                  <a:pt x="24" y="121"/>
                </a:cubicBezTo>
                <a:cubicBezTo>
                  <a:pt x="3" y="121"/>
                  <a:pt x="3" y="121"/>
                  <a:pt x="3" y="121"/>
                </a:cubicBezTo>
                <a:cubicBezTo>
                  <a:pt x="2" y="121"/>
                  <a:pt x="1" y="121"/>
                  <a:pt x="0" y="120"/>
                </a:cubicBezTo>
                <a:cubicBezTo>
                  <a:pt x="0" y="120"/>
                  <a:pt x="0" y="119"/>
                  <a:pt x="0" y="118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74"/>
                  <a:pt x="1" y="70"/>
                  <a:pt x="5" y="66"/>
                </a:cubicBezTo>
                <a:cubicBezTo>
                  <a:pt x="8" y="63"/>
                  <a:pt x="13" y="61"/>
                  <a:pt x="18" y="61"/>
                </a:cubicBezTo>
                <a:cubicBezTo>
                  <a:pt x="24" y="61"/>
                  <a:pt x="24" y="61"/>
                  <a:pt x="24" y="61"/>
                </a:cubicBezTo>
                <a:cubicBezTo>
                  <a:pt x="24" y="9"/>
                  <a:pt x="24" y="9"/>
                  <a:pt x="24" y="9"/>
                </a:cubicBezTo>
                <a:cubicBezTo>
                  <a:pt x="24" y="7"/>
                  <a:pt x="25" y="5"/>
                  <a:pt x="26" y="3"/>
                </a:cubicBezTo>
                <a:cubicBezTo>
                  <a:pt x="28" y="1"/>
                  <a:pt x="30" y="0"/>
                  <a:pt x="33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9" y="0"/>
                  <a:pt x="102" y="1"/>
                  <a:pt x="105" y="2"/>
                </a:cubicBezTo>
                <a:cubicBezTo>
                  <a:pt x="108" y="3"/>
                  <a:pt x="110" y="5"/>
                  <a:pt x="112" y="7"/>
                </a:cubicBezTo>
                <a:cubicBezTo>
                  <a:pt x="126" y="21"/>
                  <a:pt x="126" y="21"/>
                  <a:pt x="126" y="21"/>
                </a:cubicBezTo>
                <a:cubicBezTo>
                  <a:pt x="128" y="23"/>
                  <a:pt x="130" y="25"/>
                  <a:pt x="131" y="28"/>
                </a:cubicBezTo>
                <a:cubicBezTo>
                  <a:pt x="132" y="31"/>
                  <a:pt x="133" y="34"/>
                  <a:pt x="133" y="37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4" y="61"/>
                  <a:pt x="148" y="63"/>
                  <a:pt x="152" y="66"/>
                </a:cubicBezTo>
                <a:cubicBezTo>
                  <a:pt x="155" y="70"/>
                  <a:pt x="157" y="74"/>
                  <a:pt x="157" y="79"/>
                </a:cubicBezTo>
                <a:close/>
                <a:moveTo>
                  <a:pt x="36" y="73"/>
                </a:moveTo>
                <a:cubicBezTo>
                  <a:pt x="121" y="73"/>
                  <a:pt x="121" y="73"/>
                  <a:pt x="121" y="73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105" y="37"/>
                  <a:pt x="105" y="37"/>
                  <a:pt x="105" y="37"/>
                </a:cubicBezTo>
                <a:cubicBezTo>
                  <a:pt x="103" y="37"/>
                  <a:pt x="101" y="36"/>
                  <a:pt x="99" y="34"/>
                </a:cubicBezTo>
                <a:cubicBezTo>
                  <a:pt x="97" y="32"/>
                  <a:pt x="96" y="30"/>
                  <a:pt x="96" y="28"/>
                </a:cubicBezTo>
                <a:cubicBezTo>
                  <a:pt x="96" y="12"/>
                  <a:pt x="96" y="12"/>
                  <a:pt x="96" y="12"/>
                </a:cubicBezTo>
                <a:cubicBezTo>
                  <a:pt x="36" y="12"/>
                  <a:pt x="36" y="12"/>
                  <a:pt x="36" y="12"/>
                </a:cubicBezTo>
                <a:lnTo>
                  <a:pt x="36" y="73"/>
                </a:lnTo>
                <a:close/>
                <a:moveTo>
                  <a:pt x="36" y="133"/>
                </a:moveTo>
                <a:cubicBezTo>
                  <a:pt x="121" y="133"/>
                  <a:pt x="121" y="133"/>
                  <a:pt x="121" y="133"/>
                </a:cubicBezTo>
                <a:cubicBezTo>
                  <a:pt x="121" y="109"/>
                  <a:pt x="121" y="109"/>
                  <a:pt x="121" y="109"/>
                </a:cubicBezTo>
                <a:cubicBezTo>
                  <a:pt x="36" y="109"/>
                  <a:pt x="36" y="109"/>
                  <a:pt x="36" y="109"/>
                </a:cubicBezTo>
                <a:lnTo>
                  <a:pt x="36" y="133"/>
                </a:lnTo>
                <a:close/>
                <a:moveTo>
                  <a:pt x="143" y="83"/>
                </a:moveTo>
                <a:cubicBezTo>
                  <a:pt x="144" y="82"/>
                  <a:pt x="145" y="81"/>
                  <a:pt x="145" y="79"/>
                </a:cubicBezTo>
                <a:cubicBezTo>
                  <a:pt x="145" y="77"/>
                  <a:pt x="144" y="76"/>
                  <a:pt x="143" y="75"/>
                </a:cubicBezTo>
                <a:cubicBezTo>
                  <a:pt x="142" y="74"/>
                  <a:pt x="140" y="73"/>
                  <a:pt x="139" y="73"/>
                </a:cubicBezTo>
                <a:cubicBezTo>
                  <a:pt x="137" y="73"/>
                  <a:pt x="136" y="74"/>
                  <a:pt x="134" y="75"/>
                </a:cubicBezTo>
                <a:cubicBezTo>
                  <a:pt x="133" y="76"/>
                  <a:pt x="133" y="77"/>
                  <a:pt x="133" y="79"/>
                </a:cubicBezTo>
                <a:cubicBezTo>
                  <a:pt x="133" y="81"/>
                  <a:pt x="133" y="82"/>
                  <a:pt x="134" y="83"/>
                </a:cubicBezTo>
                <a:cubicBezTo>
                  <a:pt x="136" y="84"/>
                  <a:pt x="137" y="85"/>
                  <a:pt x="139" y="85"/>
                </a:cubicBezTo>
                <a:cubicBezTo>
                  <a:pt x="140" y="85"/>
                  <a:pt x="142" y="84"/>
                  <a:pt x="143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0" name="Freeform 50"/>
          <p:cNvSpPr>
            <a:spLocks noChangeAspect="1" noEditPoints="1"/>
          </p:cNvSpPr>
          <p:nvPr/>
        </p:nvSpPr>
        <p:spPr bwMode="auto">
          <a:xfrm>
            <a:off x="2156646" y="1853750"/>
            <a:ext cx="188918" cy="163937"/>
          </a:xfrm>
          <a:custGeom>
            <a:avLst/>
            <a:gdLst>
              <a:gd name="T0" fmla="*/ 158 w 182"/>
              <a:gd name="T1" fmla="*/ 24 h 158"/>
              <a:gd name="T2" fmla="*/ 175 w 182"/>
              <a:gd name="T3" fmla="*/ 32 h 158"/>
              <a:gd name="T4" fmla="*/ 182 w 182"/>
              <a:gd name="T5" fmla="*/ 49 h 158"/>
              <a:gd name="T6" fmla="*/ 182 w 182"/>
              <a:gd name="T7" fmla="*/ 133 h 158"/>
              <a:gd name="T8" fmla="*/ 175 w 182"/>
              <a:gd name="T9" fmla="*/ 150 h 158"/>
              <a:gd name="T10" fmla="*/ 158 w 182"/>
              <a:gd name="T11" fmla="*/ 158 h 158"/>
              <a:gd name="T12" fmla="*/ 24 w 182"/>
              <a:gd name="T13" fmla="*/ 158 h 158"/>
              <a:gd name="T14" fmla="*/ 7 w 182"/>
              <a:gd name="T15" fmla="*/ 150 h 158"/>
              <a:gd name="T16" fmla="*/ 0 w 182"/>
              <a:gd name="T17" fmla="*/ 133 h 158"/>
              <a:gd name="T18" fmla="*/ 0 w 182"/>
              <a:gd name="T19" fmla="*/ 49 h 158"/>
              <a:gd name="T20" fmla="*/ 7 w 182"/>
              <a:gd name="T21" fmla="*/ 32 h 158"/>
              <a:gd name="T22" fmla="*/ 24 w 182"/>
              <a:gd name="T23" fmla="*/ 24 h 158"/>
              <a:gd name="T24" fmla="*/ 46 w 182"/>
              <a:gd name="T25" fmla="*/ 24 h 158"/>
              <a:gd name="T26" fmla="*/ 50 w 182"/>
              <a:gd name="T27" fmla="*/ 12 h 158"/>
              <a:gd name="T28" fmla="*/ 57 w 182"/>
              <a:gd name="T29" fmla="*/ 4 h 158"/>
              <a:gd name="T30" fmla="*/ 67 w 182"/>
              <a:gd name="T31" fmla="*/ 0 h 158"/>
              <a:gd name="T32" fmla="*/ 115 w 182"/>
              <a:gd name="T33" fmla="*/ 0 h 158"/>
              <a:gd name="T34" fmla="*/ 125 w 182"/>
              <a:gd name="T35" fmla="*/ 4 h 158"/>
              <a:gd name="T36" fmla="*/ 132 w 182"/>
              <a:gd name="T37" fmla="*/ 12 h 158"/>
              <a:gd name="T38" fmla="*/ 136 w 182"/>
              <a:gd name="T39" fmla="*/ 24 h 158"/>
              <a:gd name="T40" fmla="*/ 158 w 182"/>
              <a:gd name="T41" fmla="*/ 24 h 158"/>
              <a:gd name="T42" fmla="*/ 61 w 182"/>
              <a:gd name="T43" fmla="*/ 121 h 158"/>
              <a:gd name="T44" fmla="*/ 91 w 182"/>
              <a:gd name="T45" fmla="*/ 133 h 158"/>
              <a:gd name="T46" fmla="*/ 121 w 182"/>
              <a:gd name="T47" fmla="*/ 121 h 158"/>
              <a:gd name="T48" fmla="*/ 133 w 182"/>
              <a:gd name="T49" fmla="*/ 91 h 158"/>
              <a:gd name="T50" fmla="*/ 121 w 182"/>
              <a:gd name="T51" fmla="*/ 61 h 158"/>
              <a:gd name="T52" fmla="*/ 91 w 182"/>
              <a:gd name="T53" fmla="*/ 49 h 158"/>
              <a:gd name="T54" fmla="*/ 61 w 182"/>
              <a:gd name="T55" fmla="*/ 61 h 158"/>
              <a:gd name="T56" fmla="*/ 49 w 182"/>
              <a:gd name="T57" fmla="*/ 91 h 158"/>
              <a:gd name="T58" fmla="*/ 61 w 182"/>
              <a:gd name="T59" fmla="*/ 121 h 158"/>
              <a:gd name="T60" fmla="*/ 72 w 182"/>
              <a:gd name="T61" fmla="*/ 72 h 158"/>
              <a:gd name="T62" fmla="*/ 91 w 182"/>
              <a:gd name="T63" fmla="*/ 64 h 158"/>
              <a:gd name="T64" fmla="*/ 110 w 182"/>
              <a:gd name="T65" fmla="*/ 72 h 158"/>
              <a:gd name="T66" fmla="*/ 118 w 182"/>
              <a:gd name="T67" fmla="*/ 91 h 158"/>
              <a:gd name="T68" fmla="*/ 110 w 182"/>
              <a:gd name="T69" fmla="*/ 110 h 158"/>
              <a:gd name="T70" fmla="*/ 91 w 182"/>
              <a:gd name="T71" fmla="*/ 118 h 158"/>
              <a:gd name="T72" fmla="*/ 72 w 182"/>
              <a:gd name="T73" fmla="*/ 110 h 158"/>
              <a:gd name="T74" fmla="*/ 64 w 182"/>
              <a:gd name="T75" fmla="*/ 91 h 158"/>
              <a:gd name="T76" fmla="*/ 72 w 182"/>
              <a:gd name="T77" fmla="*/ 72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58">
                <a:moveTo>
                  <a:pt x="158" y="24"/>
                </a:moveTo>
                <a:cubicBezTo>
                  <a:pt x="164" y="24"/>
                  <a:pt x="170" y="27"/>
                  <a:pt x="175" y="32"/>
                </a:cubicBezTo>
                <a:cubicBezTo>
                  <a:pt x="179" y="36"/>
                  <a:pt x="182" y="42"/>
                  <a:pt x="182" y="49"/>
                </a:cubicBezTo>
                <a:cubicBezTo>
                  <a:pt x="182" y="133"/>
                  <a:pt x="182" y="133"/>
                  <a:pt x="182" y="133"/>
                </a:cubicBezTo>
                <a:cubicBezTo>
                  <a:pt x="182" y="140"/>
                  <a:pt x="179" y="146"/>
                  <a:pt x="175" y="150"/>
                </a:cubicBezTo>
                <a:cubicBezTo>
                  <a:pt x="170" y="155"/>
                  <a:pt x="164" y="158"/>
                  <a:pt x="158" y="158"/>
                </a:cubicBezTo>
                <a:cubicBezTo>
                  <a:pt x="24" y="158"/>
                  <a:pt x="24" y="158"/>
                  <a:pt x="24" y="158"/>
                </a:cubicBezTo>
                <a:cubicBezTo>
                  <a:pt x="18" y="158"/>
                  <a:pt x="12" y="155"/>
                  <a:pt x="7" y="150"/>
                </a:cubicBezTo>
                <a:cubicBezTo>
                  <a:pt x="3" y="146"/>
                  <a:pt x="0" y="140"/>
                  <a:pt x="0" y="133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2"/>
                  <a:pt x="3" y="36"/>
                  <a:pt x="7" y="32"/>
                </a:cubicBezTo>
                <a:cubicBezTo>
                  <a:pt x="12" y="27"/>
                  <a:pt x="18" y="24"/>
                  <a:pt x="24" y="24"/>
                </a:cubicBezTo>
                <a:cubicBezTo>
                  <a:pt x="46" y="24"/>
                  <a:pt x="46" y="24"/>
                  <a:pt x="46" y="24"/>
                </a:cubicBezTo>
                <a:cubicBezTo>
                  <a:pt x="50" y="12"/>
                  <a:pt x="50" y="12"/>
                  <a:pt x="50" y="12"/>
                </a:cubicBezTo>
                <a:cubicBezTo>
                  <a:pt x="52" y="9"/>
                  <a:pt x="54" y="6"/>
                  <a:pt x="57" y="4"/>
                </a:cubicBezTo>
                <a:cubicBezTo>
                  <a:pt x="60" y="1"/>
                  <a:pt x="63" y="0"/>
                  <a:pt x="67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19" y="0"/>
                  <a:pt x="122" y="1"/>
                  <a:pt x="125" y="4"/>
                </a:cubicBezTo>
                <a:cubicBezTo>
                  <a:pt x="128" y="6"/>
                  <a:pt x="130" y="9"/>
                  <a:pt x="132" y="12"/>
                </a:cubicBezTo>
                <a:cubicBezTo>
                  <a:pt x="136" y="24"/>
                  <a:pt x="136" y="24"/>
                  <a:pt x="136" y="24"/>
                </a:cubicBezTo>
                <a:lnTo>
                  <a:pt x="158" y="24"/>
                </a:lnTo>
                <a:close/>
                <a:moveTo>
                  <a:pt x="61" y="121"/>
                </a:moveTo>
                <a:cubicBezTo>
                  <a:pt x="69" y="129"/>
                  <a:pt x="79" y="133"/>
                  <a:pt x="91" y="133"/>
                </a:cubicBezTo>
                <a:cubicBezTo>
                  <a:pt x="103" y="133"/>
                  <a:pt x="113" y="129"/>
                  <a:pt x="121" y="121"/>
                </a:cubicBezTo>
                <a:cubicBezTo>
                  <a:pt x="129" y="113"/>
                  <a:pt x="133" y="103"/>
                  <a:pt x="133" y="91"/>
                </a:cubicBezTo>
                <a:cubicBezTo>
                  <a:pt x="133" y="79"/>
                  <a:pt x="129" y="69"/>
                  <a:pt x="121" y="61"/>
                </a:cubicBezTo>
                <a:cubicBezTo>
                  <a:pt x="113" y="53"/>
                  <a:pt x="103" y="49"/>
                  <a:pt x="91" y="49"/>
                </a:cubicBezTo>
                <a:cubicBezTo>
                  <a:pt x="79" y="49"/>
                  <a:pt x="69" y="53"/>
                  <a:pt x="61" y="61"/>
                </a:cubicBezTo>
                <a:cubicBezTo>
                  <a:pt x="53" y="69"/>
                  <a:pt x="49" y="79"/>
                  <a:pt x="49" y="91"/>
                </a:cubicBezTo>
                <a:cubicBezTo>
                  <a:pt x="49" y="103"/>
                  <a:pt x="53" y="113"/>
                  <a:pt x="61" y="121"/>
                </a:cubicBezTo>
                <a:close/>
                <a:moveTo>
                  <a:pt x="72" y="72"/>
                </a:moveTo>
                <a:cubicBezTo>
                  <a:pt x="77" y="66"/>
                  <a:pt x="83" y="64"/>
                  <a:pt x="91" y="64"/>
                </a:cubicBezTo>
                <a:cubicBezTo>
                  <a:pt x="98" y="64"/>
                  <a:pt x="105" y="66"/>
                  <a:pt x="110" y="72"/>
                </a:cubicBezTo>
                <a:cubicBezTo>
                  <a:pt x="116" y="77"/>
                  <a:pt x="118" y="84"/>
                  <a:pt x="118" y="91"/>
                </a:cubicBezTo>
                <a:cubicBezTo>
                  <a:pt x="118" y="99"/>
                  <a:pt x="116" y="105"/>
                  <a:pt x="110" y="110"/>
                </a:cubicBezTo>
                <a:cubicBezTo>
                  <a:pt x="105" y="116"/>
                  <a:pt x="98" y="118"/>
                  <a:pt x="91" y="118"/>
                </a:cubicBezTo>
                <a:cubicBezTo>
                  <a:pt x="83" y="118"/>
                  <a:pt x="77" y="116"/>
                  <a:pt x="72" y="110"/>
                </a:cubicBezTo>
                <a:cubicBezTo>
                  <a:pt x="66" y="105"/>
                  <a:pt x="64" y="99"/>
                  <a:pt x="64" y="91"/>
                </a:cubicBezTo>
                <a:cubicBezTo>
                  <a:pt x="64" y="84"/>
                  <a:pt x="66" y="77"/>
                  <a:pt x="72" y="7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1" name="Freeform 51"/>
          <p:cNvSpPr>
            <a:spLocks noChangeAspect="1" noEditPoints="1"/>
          </p:cNvSpPr>
          <p:nvPr/>
        </p:nvSpPr>
        <p:spPr bwMode="auto">
          <a:xfrm>
            <a:off x="2389281" y="1866240"/>
            <a:ext cx="163937" cy="151447"/>
          </a:xfrm>
          <a:custGeom>
            <a:avLst/>
            <a:gdLst>
              <a:gd name="T0" fmla="*/ 0 w 157"/>
              <a:gd name="T1" fmla="*/ 146 h 146"/>
              <a:gd name="T2" fmla="*/ 0 w 157"/>
              <a:gd name="T3" fmla="*/ 138 h 146"/>
              <a:gd name="T4" fmla="*/ 6 w 157"/>
              <a:gd name="T5" fmla="*/ 137 h 146"/>
              <a:gd name="T6" fmla="*/ 11 w 157"/>
              <a:gd name="T7" fmla="*/ 136 h 146"/>
              <a:gd name="T8" fmla="*/ 16 w 157"/>
              <a:gd name="T9" fmla="*/ 135 h 146"/>
              <a:gd name="T10" fmla="*/ 20 w 157"/>
              <a:gd name="T11" fmla="*/ 132 h 146"/>
              <a:gd name="T12" fmla="*/ 23 w 157"/>
              <a:gd name="T13" fmla="*/ 127 h 146"/>
              <a:gd name="T14" fmla="*/ 45 w 157"/>
              <a:gd name="T15" fmla="*/ 69 h 146"/>
              <a:gd name="T16" fmla="*/ 72 w 157"/>
              <a:gd name="T17" fmla="*/ 0 h 146"/>
              <a:gd name="T18" fmla="*/ 79 w 157"/>
              <a:gd name="T19" fmla="*/ 0 h 146"/>
              <a:gd name="T20" fmla="*/ 84 w 157"/>
              <a:gd name="T21" fmla="*/ 0 h 146"/>
              <a:gd name="T22" fmla="*/ 85 w 157"/>
              <a:gd name="T23" fmla="*/ 2 h 146"/>
              <a:gd name="T24" fmla="*/ 104 w 157"/>
              <a:gd name="T25" fmla="*/ 48 h 146"/>
              <a:gd name="T26" fmla="*/ 114 w 157"/>
              <a:gd name="T27" fmla="*/ 72 h 146"/>
              <a:gd name="T28" fmla="*/ 125 w 157"/>
              <a:gd name="T29" fmla="*/ 98 h 146"/>
              <a:gd name="T30" fmla="*/ 130 w 157"/>
              <a:gd name="T31" fmla="*/ 112 h 146"/>
              <a:gd name="T32" fmla="*/ 137 w 157"/>
              <a:gd name="T33" fmla="*/ 128 h 146"/>
              <a:gd name="T34" fmla="*/ 141 w 157"/>
              <a:gd name="T35" fmla="*/ 133 h 146"/>
              <a:gd name="T36" fmla="*/ 149 w 157"/>
              <a:gd name="T37" fmla="*/ 136 h 146"/>
              <a:gd name="T38" fmla="*/ 157 w 157"/>
              <a:gd name="T39" fmla="*/ 138 h 146"/>
              <a:gd name="T40" fmla="*/ 157 w 157"/>
              <a:gd name="T41" fmla="*/ 143 h 146"/>
              <a:gd name="T42" fmla="*/ 157 w 157"/>
              <a:gd name="T43" fmla="*/ 144 h 146"/>
              <a:gd name="T44" fmla="*/ 157 w 157"/>
              <a:gd name="T45" fmla="*/ 146 h 146"/>
              <a:gd name="T46" fmla="*/ 139 w 157"/>
              <a:gd name="T47" fmla="*/ 145 h 146"/>
              <a:gd name="T48" fmla="*/ 121 w 157"/>
              <a:gd name="T49" fmla="*/ 144 h 146"/>
              <a:gd name="T50" fmla="*/ 101 w 157"/>
              <a:gd name="T51" fmla="*/ 145 h 146"/>
              <a:gd name="T52" fmla="*/ 84 w 157"/>
              <a:gd name="T53" fmla="*/ 145 h 146"/>
              <a:gd name="T54" fmla="*/ 84 w 157"/>
              <a:gd name="T55" fmla="*/ 138 h 146"/>
              <a:gd name="T56" fmla="*/ 97 w 157"/>
              <a:gd name="T57" fmla="*/ 135 h 146"/>
              <a:gd name="T58" fmla="*/ 98 w 157"/>
              <a:gd name="T59" fmla="*/ 135 h 146"/>
              <a:gd name="T60" fmla="*/ 100 w 157"/>
              <a:gd name="T61" fmla="*/ 135 h 146"/>
              <a:gd name="T62" fmla="*/ 101 w 157"/>
              <a:gd name="T63" fmla="*/ 134 h 146"/>
              <a:gd name="T64" fmla="*/ 102 w 157"/>
              <a:gd name="T65" fmla="*/ 134 h 146"/>
              <a:gd name="T66" fmla="*/ 103 w 157"/>
              <a:gd name="T67" fmla="*/ 133 h 146"/>
              <a:gd name="T68" fmla="*/ 104 w 157"/>
              <a:gd name="T69" fmla="*/ 132 h 146"/>
              <a:gd name="T70" fmla="*/ 104 w 157"/>
              <a:gd name="T71" fmla="*/ 131 h 146"/>
              <a:gd name="T72" fmla="*/ 102 w 157"/>
              <a:gd name="T73" fmla="*/ 122 h 146"/>
              <a:gd name="T74" fmla="*/ 95 w 157"/>
              <a:gd name="T75" fmla="*/ 105 h 146"/>
              <a:gd name="T76" fmla="*/ 91 w 157"/>
              <a:gd name="T77" fmla="*/ 95 h 146"/>
              <a:gd name="T78" fmla="*/ 48 w 157"/>
              <a:gd name="T79" fmla="*/ 95 h 146"/>
              <a:gd name="T80" fmla="*/ 41 w 157"/>
              <a:gd name="T81" fmla="*/ 114 h 146"/>
              <a:gd name="T82" fmla="*/ 36 w 157"/>
              <a:gd name="T83" fmla="*/ 129 h 146"/>
              <a:gd name="T84" fmla="*/ 37 w 157"/>
              <a:gd name="T85" fmla="*/ 133 h 146"/>
              <a:gd name="T86" fmla="*/ 42 w 157"/>
              <a:gd name="T87" fmla="*/ 135 h 146"/>
              <a:gd name="T88" fmla="*/ 46 w 157"/>
              <a:gd name="T89" fmla="*/ 136 h 146"/>
              <a:gd name="T90" fmla="*/ 52 w 157"/>
              <a:gd name="T91" fmla="*/ 137 h 146"/>
              <a:gd name="T92" fmla="*/ 55 w 157"/>
              <a:gd name="T93" fmla="*/ 137 h 146"/>
              <a:gd name="T94" fmla="*/ 56 w 157"/>
              <a:gd name="T95" fmla="*/ 143 h 146"/>
              <a:gd name="T96" fmla="*/ 55 w 157"/>
              <a:gd name="T97" fmla="*/ 145 h 146"/>
              <a:gd name="T98" fmla="*/ 39 w 157"/>
              <a:gd name="T99" fmla="*/ 144 h 146"/>
              <a:gd name="T100" fmla="*/ 22 w 157"/>
              <a:gd name="T101" fmla="*/ 143 h 146"/>
              <a:gd name="T102" fmla="*/ 20 w 157"/>
              <a:gd name="T103" fmla="*/ 144 h 146"/>
              <a:gd name="T104" fmla="*/ 18 w 157"/>
              <a:gd name="T105" fmla="*/ 144 h 146"/>
              <a:gd name="T106" fmla="*/ 0 w 157"/>
              <a:gd name="T107" fmla="*/ 146 h 146"/>
              <a:gd name="T108" fmla="*/ 69 w 157"/>
              <a:gd name="T109" fmla="*/ 41 h 146"/>
              <a:gd name="T110" fmla="*/ 53 w 157"/>
              <a:gd name="T111" fmla="*/ 84 h 146"/>
              <a:gd name="T112" fmla="*/ 65 w 157"/>
              <a:gd name="T113" fmla="*/ 84 h 146"/>
              <a:gd name="T114" fmla="*/ 81 w 157"/>
              <a:gd name="T115" fmla="*/ 84 h 146"/>
              <a:gd name="T116" fmla="*/ 86 w 157"/>
              <a:gd name="T117" fmla="*/ 84 h 146"/>
              <a:gd name="T118" fmla="*/ 69 w 157"/>
              <a:gd name="T119" fmla="*/ 4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7" h="146">
                <a:moveTo>
                  <a:pt x="0" y="146"/>
                </a:moveTo>
                <a:cubicBezTo>
                  <a:pt x="0" y="138"/>
                  <a:pt x="0" y="138"/>
                  <a:pt x="0" y="138"/>
                </a:cubicBezTo>
                <a:cubicBezTo>
                  <a:pt x="2" y="138"/>
                  <a:pt x="3" y="137"/>
                  <a:pt x="6" y="137"/>
                </a:cubicBezTo>
                <a:cubicBezTo>
                  <a:pt x="8" y="137"/>
                  <a:pt x="9" y="136"/>
                  <a:pt x="11" y="136"/>
                </a:cubicBezTo>
                <a:cubicBezTo>
                  <a:pt x="12" y="136"/>
                  <a:pt x="14" y="135"/>
                  <a:pt x="16" y="135"/>
                </a:cubicBezTo>
                <a:cubicBezTo>
                  <a:pt x="17" y="134"/>
                  <a:pt x="19" y="133"/>
                  <a:pt x="20" y="132"/>
                </a:cubicBezTo>
                <a:cubicBezTo>
                  <a:pt x="21" y="131"/>
                  <a:pt x="22" y="129"/>
                  <a:pt x="23" y="127"/>
                </a:cubicBezTo>
                <a:cubicBezTo>
                  <a:pt x="45" y="69"/>
                  <a:pt x="45" y="69"/>
                  <a:pt x="45" y="69"/>
                </a:cubicBezTo>
                <a:cubicBezTo>
                  <a:pt x="72" y="0"/>
                  <a:pt x="72" y="0"/>
                  <a:pt x="72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1"/>
                  <a:pt x="85" y="2"/>
                  <a:pt x="85" y="2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106" y="53"/>
                  <a:pt x="110" y="61"/>
                  <a:pt x="114" y="72"/>
                </a:cubicBezTo>
                <a:cubicBezTo>
                  <a:pt x="119" y="83"/>
                  <a:pt x="122" y="92"/>
                  <a:pt x="125" y="98"/>
                </a:cubicBezTo>
                <a:cubicBezTo>
                  <a:pt x="126" y="100"/>
                  <a:pt x="128" y="105"/>
                  <a:pt x="130" y="112"/>
                </a:cubicBezTo>
                <a:cubicBezTo>
                  <a:pt x="133" y="119"/>
                  <a:pt x="135" y="124"/>
                  <a:pt x="137" y="128"/>
                </a:cubicBezTo>
                <a:cubicBezTo>
                  <a:pt x="139" y="130"/>
                  <a:pt x="140" y="132"/>
                  <a:pt x="141" y="133"/>
                </a:cubicBezTo>
                <a:cubicBezTo>
                  <a:pt x="142" y="134"/>
                  <a:pt x="145" y="135"/>
                  <a:pt x="149" y="136"/>
                </a:cubicBezTo>
                <a:cubicBezTo>
                  <a:pt x="153" y="137"/>
                  <a:pt x="156" y="137"/>
                  <a:pt x="157" y="138"/>
                </a:cubicBezTo>
                <a:cubicBezTo>
                  <a:pt x="157" y="140"/>
                  <a:pt x="157" y="142"/>
                  <a:pt x="157" y="143"/>
                </a:cubicBezTo>
                <a:cubicBezTo>
                  <a:pt x="157" y="143"/>
                  <a:pt x="157" y="144"/>
                  <a:pt x="157" y="144"/>
                </a:cubicBezTo>
                <a:cubicBezTo>
                  <a:pt x="157" y="145"/>
                  <a:pt x="157" y="145"/>
                  <a:pt x="157" y="146"/>
                </a:cubicBezTo>
                <a:cubicBezTo>
                  <a:pt x="153" y="146"/>
                  <a:pt x="147" y="145"/>
                  <a:pt x="139" y="145"/>
                </a:cubicBezTo>
                <a:cubicBezTo>
                  <a:pt x="131" y="144"/>
                  <a:pt x="125" y="144"/>
                  <a:pt x="121" y="144"/>
                </a:cubicBezTo>
                <a:cubicBezTo>
                  <a:pt x="116" y="144"/>
                  <a:pt x="110" y="144"/>
                  <a:pt x="101" y="145"/>
                </a:cubicBezTo>
                <a:cubicBezTo>
                  <a:pt x="92" y="145"/>
                  <a:pt x="87" y="145"/>
                  <a:pt x="84" y="145"/>
                </a:cubicBezTo>
                <a:cubicBezTo>
                  <a:pt x="84" y="143"/>
                  <a:pt x="84" y="140"/>
                  <a:pt x="84" y="138"/>
                </a:cubicBezTo>
                <a:cubicBezTo>
                  <a:pt x="97" y="135"/>
                  <a:pt x="97" y="135"/>
                  <a:pt x="97" y="135"/>
                </a:cubicBezTo>
                <a:cubicBezTo>
                  <a:pt x="97" y="135"/>
                  <a:pt x="97" y="135"/>
                  <a:pt x="98" y="135"/>
                </a:cubicBezTo>
                <a:cubicBezTo>
                  <a:pt x="99" y="135"/>
                  <a:pt x="99" y="135"/>
                  <a:pt x="100" y="135"/>
                </a:cubicBezTo>
                <a:cubicBezTo>
                  <a:pt x="100" y="135"/>
                  <a:pt x="100" y="135"/>
                  <a:pt x="101" y="134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3" y="134"/>
                  <a:pt x="103" y="133"/>
                  <a:pt x="103" y="133"/>
                </a:cubicBezTo>
                <a:cubicBezTo>
                  <a:pt x="104" y="133"/>
                  <a:pt x="104" y="132"/>
                  <a:pt x="104" y="132"/>
                </a:cubicBezTo>
                <a:cubicBezTo>
                  <a:pt x="104" y="132"/>
                  <a:pt x="104" y="131"/>
                  <a:pt x="104" y="131"/>
                </a:cubicBezTo>
                <a:cubicBezTo>
                  <a:pt x="104" y="130"/>
                  <a:pt x="103" y="127"/>
                  <a:pt x="102" y="122"/>
                </a:cubicBezTo>
                <a:cubicBezTo>
                  <a:pt x="100" y="117"/>
                  <a:pt x="97" y="111"/>
                  <a:pt x="95" y="105"/>
                </a:cubicBezTo>
                <a:cubicBezTo>
                  <a:pt x="92" y="99"/>
                  <a:pt x="91" y="96"/>
                  <a:pt x="91" y="95"/>
                </a:cubicBezTo>
                <a:cubicBezTo>
                  <a:pt x="48" y="95"/>
                  <a:pt x="48" y="95"/>
                  <a:pt x="48" y="95"/>
                </a:cubicBezTo>
                <a:cubicBezTo>
                  <a:pt x="47" y="99"/>
                  <a:pt x="44" y="105"/>
                  <a:pt x="41" y="114"/>
                </a:cubicBezTo>
                <a:cubicBezTo>
                  <a:pt x="38" y="122"/>
                  <a:pt x="36" y="127"/>
                  <a:pt x="36" y="129"/>
                </a:cubicBezTo>
                <a:cubicBezTo>
                  <a:pt x="36" y="130"/>
                  <a:pt x="37" y="132"/>
                  <a:pt x="37" y="133"/>
                </a:cubicBezTo>
                <a:cubicBezTo>
                  <a:pt x="38" y="134"/>
                  <a:pt x="40" y="134"/>
                  <a:pt x="42" y="135"/>
                </a:cubicBezTo>
                <a:cubicBezTo>
                  <a:pt x="43" y="135"/>
                  <a:pt x="45" y="136"/>
                  <a:pt x="46" y="136"/>
                </a:cubicBezTo>
                <a:cubicBezTo>
                  <a:pt x="47" y="136"/>
                  <a:pt x="49" y="137"/>
                  <a:pt x="52" y="137"/>
                </a:cubicBezTo>
                <a:cubicBezTo>
                  <a:pt x="54" y="137"/>
                  <a:pt x="55" y="137"/>
                  <a:pt x="55" y="137"/>
                </a:cubicBezTo>
                <a:cubicBezTo>
                  <a:pt x="56" y="139"/>
                  <a:pt x="56" y="140"/>
                  <a:pt x="56" y="143"/>
                </a:cubicBezTo>
                <a:cubicBezTo>
                  <a:pt x="56" y="143"/>
                  <a:pt x="55" y="144"/>
                  <a:pt x="55" y="145"/>
                </a:cubicBezTo>
                <a:cubicBezTo>
                  <a:pt x="52" y="145"/>
                  <a:pt x="46" y="145"/>
                  <a:pt x="39" y="144"/>
                </a:cubicBezTo>
                <a:cubicBezTo>
                  <a:pt x="32" y="144"/>
                  <a:pt x="26" y="143"/>
                  <a:pt x="22" y="143"/>
                </a:cubicBezTo>
                <a:cubicBezTo>
                  <a:pt x="22" y="143"/>
                  <a:pt x="21" y="144"/>
                  <a:pt x="20" y="144"/>
                </a:cubicBezTo>
                <a:cubicBezTo>
                  <a:pt x="19" y="144"/>
                  <a:pt x="18" y="144"/>
                  <a:pt x="18" y="144"/>
                </a:cubicBezTo>
                <a:cubicBezTo>
                  <a:pt x="13" y="145"/>
                  <a:pt x="7" y="146"/>
                  <a:pt x="0" y="146"/>
                </a:cubicBezTo>
                <a:close/>
                <a:moveTo>
                  <a:pt x="69" y="41"/>
                </a:moveTo>
                <a:cubicBezTo>
                  <a:pt x="53" y="84"/>
                  <a:pt x="53" y="84"/>
                  <a:pt x="53" y="84"/>
                </a:cubicBezTo>
                <a:cubicBezTo>
                  <a:pt x="55" y="84"/>
                  <a:pt x="59" y="84"/>
                  <a:pt x="65" y="84"/>
                </a:cubicBezTo>
                <a:cubicBezTo>
                  <a:pt x="72" y="84"/>
                  <a:pt x="77" y="84"/>
                  <a:pt x="81" y="84"/>
                </a:cubicBezTo>
                <a:cubicBezTo>
                  <a:pt x="82" y="84"/>
                  <a:pt x="84" y="84"/>
                  <a:pt x="86" y="84"/>
                </a:cubicBezTo>
                <a:cubicBezTo>
                  <a:pt x="81" y="68"/>
                  <a:pt x="75" y="54"/>
                  <a:pt x="69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2" name="Freeform 52"/>
          <p:cNvSpPr>
            <a:spLocks noChangeAspect="1" noEditPoints="1"/>
          </p:cNvSpPr>
          <p:nvPr/>
        </p:nvSpPr>
        <p:spPr bwMode="auto">
          <a:xfrm>
            <a:off x="2598496" y="1866240"/>
            <a:ext cx="137395" cy="151447"/>
          </a:xfrm>
          <a:custGeom>
            <a:avLst/>
            <a:gdLst>
              <a:gd name="T0" fmla="*/ 0 w 133"/>
              <a:gd name="T1" fmla="*/ 137 h 146"/>
              <a:gd name="T2" fmla="*/ 18 w 133"/>
              <a:gd name="T3" fmla="*/ 133 h 146"/>
              <a:gd name="T4" fmla="*/ 20 w 133"/>
              <a:gd name="T5" fmla="*/ 127 h 146"/>
              <a:gd name="T6" fmla="*/ 21 w 133"/>
              <a:gd name="T7" fmla="*/ 120 h 146"/>
              <a:gd name="T8" fmla="*/ 21 w 133"/>
              <a:gd name="T9" fmla="*/ 114 h 146"/>
              <a:gd name="T10" fmla="*/ 19 w 133"/>
              <a:gd name="T11" fmla="*/ 14 h 146"/>
              <a:gd name="T12" fmla="*/ 12 w 133"/>
              <a:gd name="T13" fmla="*/ 12 h 146"/>
              <a:gd name="T14" fmla="*/ 3 w 133"/>
              <a:gd name="T15" fmla="*/ 10 h 146"/>
              <a:gd name="T16" fmla="*/ 0 w 133"/>
              <a:gd name="T17" fmla="*/ 2 h 146"/>
              <a:gd name="T18" fmla="*/ 67 w 133"/>
              <a:gd name="T19" fmla="*/ 0 h 146"/>
              <a:gd name="T20" fmla="*/ 80 w 133"/>
              <a:gd name="T21" fmla="*/ 0 h 146"/>
              <a:gd name="T22" fmla="*/ 105 w 133"/>
              <a:gd name="T23" fmla="*/ 6 h 146"/>
              <a:gd name="T24" fmla="*/ 122 w 133"/>
              <a:gd name="T25" fmla="*/ 22 h 146"/>
              <a:gd name="T26" fmla="*/ 124 w 133"/>
              <a:gd name="T27" fmla="*/ 44 h 146"/>
              <a:gd name="T28" fmla="*/ 114 w 133"/>
              <a:gd name="T29" fmla="*/ 57 h 146"/>
              <a:gd name="T30" fmla="*/ 99 w 133"/>
              <a:gd name="T31" fmla="*/ 65 h 146"/>
              <a:gd name="T32" fmla="*/ 133 w 133"/>
              <a:gd name="T33" fmla="*/ 101 h 146"/>
              <a:gd name="T34" fmla="*/ 121 w 133"/>
              <a:gd name="T35" fmla="*/ 130 h 146"/>
              <a:gd name="T36" fmla="*/ 92 w 133"/>
              <a:gd name="T37" fmla="*/ 143 h 146"/>
              <a:gd name="T38" fmla="*/ 63 w 133"/>
              <a:gd name="T39" fmla="*/ 144 h 146"/>
              <a:gd name="T40" fmla="*/ 22 w 133"/>
              <a:gd name="T41" fmla="*/ 144 h 146"/>
              <a:gd name="T42" fmla="*/ 51 w 133"/>
              <a:gd name="T43" fmla="*/ 62 h 146"/>
              <a:gd name="T44" fmla="*/ 75 w 133"/>
              <a:gd name="T45" fmla="*/ 61 h 146"/>
              <a:gd name="T46" fmla="*/ 92 w 133"/>
              <a:gd name="T47" fmla="*/ 48 h 146"/>
              <a:gd name="T48" fmla="*/ 92 w 133"/>
              <a:gd name="T49" fmla="*/ 23 h 146"/>
              <a:gd name="T50" fmla="*/ 74 w 133"/>
              <a:gd name="T51" fmla="*/ 11 h 146"/>
              <a:gd name="T52" fmla="*/ 50 w 133"/>
              <a:gd name="T53" fmla="*/ 11 h 146"/>
              <a:gd name="T54" fmla="*/ 51 w 133"/>
              <a:gd name="T55" fmla="*/ 40 h 146"/>
              <a:gd name="T56" fmla="*/ 51 w 133"/>
              <a:gd name="T57" fmla="*/ 55 h 146"/>
              <a:gd name="T58" fmla="*/ 52 w 133"/>
              <a:gd name="T59" fmla="*/ 132 h 146"/>
              <a:gd name="T60" fmla="*/ 101 w 133"/>
              <a:gd name="T61" fmla="*/ 103 h 146"/>
              <a:gd name="T62" fmla="*/ 91 w 133"/>
              <a:gd name="T63" fmla="*/ 79 h 146"/>
              <a:gd name="T64" fmla="*/ 77 w 133"/>
              <a:gd name="T65" fmla="*/ 73 h 146"/>
              <a:gd name="T66" fmla="*/ 60 w 133"/>
              <a:gd name="T67" fmla="*/ 71 h 146"/>
              <a:gd name="T68" fmla="*/ 51 w 133"/>
              <a:gd name="T69" fmla="*/ 87 h 146"/>
              <a:gd name="T70" fmla="*/ 51 w 133"/>
              <a:gd name="T71" fmla="*/ 109 h 146"/>
              <a:gd name="T72" fmla="*/ 51 w 133"/>
              <a:gd name="T73" fmla="*/ 12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3" h="146">
                <a:moveTo>
                  <a:pt x="0" y="146"/>
                </a:moveTo>
                <a:cubicBezTo>
                  <a:pt x="0" y="137"/>
                  <a:pt x="0" y="137"/>
                  <a:pt x="0" y="137"/>
                </a:cubicBezTo>
                <a:cubicBezTo>
                  <a:pt x="1" y="136"/>
                  <a:pt x="4" y="136"/>
                  <a:pt x="8" y="135"/>
                </a:cubicBezTo>
                <a:cubicBezTo>
                  <a:pt x="12" y="134"/>
                  <a:pt x="16" y="134"/>
                  <a:pt x="18" y="133"/>
                </a:cubicBezTo>
                <a:cubicBezTo>
                  <a:pt x="18" y="132"/>
                  <a:pt x="19" y="131"/>
                  <a:pt x="19" y="130"/>
                </a:cubicBezTo>
                <a:cubicBezTo>
                  <a:pt x="19" y="129"/>
                  <a:pt x="20" y="128"/>
                  <a:pt x="20" y="127"/>
                </a:cubicBezTo>
                <a:cubicBezTo>
                  <a:pt x="20" y="126"/>
                  <a:pt x="20" y="125"/>
                  <a:pt x="20" y="124"/>
                </a:cubicBezTo>
                <a:cubicBezTo>
                  <a:pt x="21" y="123"/>
                  <a:pt x="21" y="122"/>
                  <a:pt x="21" y="120"/>
                </a:cubicBezTo>
                <a:cubicBezTo>
                  <a:pt x="21" y="119"/>
                  <a:pt x="21" y="118"/>
                  <a:pt x="21" y="117"/>
                </a:cubicBezTo>
                <a:cubicBezTo>
                  <a:pt x="21" y="116"/>
                  <a:pt x="21" y="115"/>
                  <a:pt x="21" y="114"/>
                </a:cubicBezTo>
                <a:cubicBezTo>
                  <a:pt x="21" y="112"/>
                  <a:pt x="21" y="111"/>
                  <a:pt x="21" y="111"/>
                </a:cubicBezTo>
                <a:cubicBezTo>
                  <a:pt x="21" y="49"/>
                  <a:pt x="20" y="17"/>
                  <a:pt x="19" y="14"/>
                </a:cubicBezTo>
                <a:cubicBezTo>
                  <a:pt x="18" y="13"/>
                  <a:pt x="18" y="13"/>
                  <a:pt x="17" y="13"/>
                </a:cubicBezTo>
                <a:cubicBezTo>
                  <a:pt x="15" y="12"/>
                  <a:pt x="14" y="12"/>
                  <a:pt x="12" y="12"/>
                </a:cubicBezTo>
                <a:cubicBezTo>
                  <a:pt x="11" y="11"/>
                  <a:pt x="9" y="11"/>
                  <a:pt x="8" y="11"/>
                </a:cubicBezTo>
                <a:cubicBezTo>
                  <a:pt x="6" y="11"/>
                  <a:pt x="5" y="11"/>
                  <a:pt x="3" y="10"/>
                </a:cubicBezTo>
                <a:cubicBezTo>
                  <a:pt x="2" y="10"/>
                  <a:pt x="1" y="10"/>
                  <a:pt x="0" y="10"/>
                </a:cubicBezTo>
                <a:cubicBezTo>
                  <a:pt x="0" y="2"/>
                  <a:pt x="0" y="2"/>
                  <a:pt x="0" y="2"/>
                </a:cubicBezTo>
                <a:cubicBezTo>
                  <a:pt x="6" y="2"/>
                  <a:pt x="17" y="2"/>
                  <a:pt x="32" y="1"/>
                </a:cubicBezTo>
                <a:cubicBezTo>
                  <a:pt x="47" y="1"/>
                  <a:pt x="59" y="0"/>
                  <a:pt x="67" y="0"/>
                </a:cubicBezTo>
                <a:cubicBezTo>
                  <a:pt x="69" y="0"/>
                  <a:pt x="71" y="0"/>
                  <a:pt x="74" y="0"/>
                </a:cubicBezTo>
                <a:cubicBezTo>
                  <a:pt x="77" y="0"/>
                  <a:pt x="79" y="0"/>
                  <a:pt x="80" y="0"/>
                </a:cubicBezTo>
                <a:cubicBezTo>
                  <a:pt x="85" y="0"/>
                  <a:pt x="89" y="1"/>
                  <a:pt x="93" y="2"/>
                </a:cubicBezTo>
                <a:cubicBezTo>
                  <a:pt x="97" y="2"/>
                  <a:pt x="101" y="4"/>
                  <a:pt x="105" y="6"/>
                </a:cubicBezTo>
                <a:cubicBezTo>
                  <a:pt x="109" y="7"/>
                  <a:pt x="113" y="10"/>
                  <a:pt x="115" y="12"/>
                </a:cubicBezTo>
                <a:cubicBezTo>
                  <a:pt x="118" y="15"/>
                  <a:pt x="121" y="18"/>
                  <a:pt x="122" y="22"/>
                </a:cubicBezTo>
                <a:cubicBezTo>
                  <a:pt x="124" y="26"/>
                  <a:pt x="125" y="31"/>
                  <a:pt x="125" y="35"/>
                </a:cubicBezTo>
                <a:cubicBezTo>
                  <a:pt x="125" y="39"/>
                  <a:pt x="125" y="42"/>
                  <a:pt x="124" y="44"/>
                </a:cubicBezTo>
                <a:cubicBezTo>
                  <a:pt x="122" y="47"/>
                  <a:pt x="121" y="49"/>
                  <a:pt x="120" y="51"/>
                </a:cubicBezTo>
                <a:cubicBezTo>
                  <a:pt x="118" y="53"/>
                  <a:pt x="116" y="55"/>
                  <a:pt x="114" y="57"/>
                </a:cubicBezTo>
                <a:cubicBezTo>
                  <a:pt x="111" y="58"/>
                  <a:pt x="109" y="60"/>
                  <a:pt x="107" y="61"/>
                </a:cubicBezTo>
                <a:cubicBezTo>
                  <a:pt x="105" y="62"/>
                  <a:pt x="102" y="63"/>
                  <a:pt x="99" y="65"/>
                </a:cubicBezTo>
                <a:cubicBezTo>
                  <a:pt x="109" y="67"/>
                  <a:pt x="117" y="71"/>
                  <a:pt x="123" y="77"/>
                </a:cubicBezTo>
                <a:cubicBezTo>
                  <a:pt x="130" y="83"/>
                  <a:pt x="133" y="91"/>
                  <a:pt x="133" y="101"/>
                </a:cubicBezTo>
                <a:cubicBezTo>
                  <a:pt x="133" y="107"/>
                  <a:pt x="132" y="113"/>
                  <a:pt x="130" y="118"/>
                </a:cubicBezTo>
                <a:cubicBezTo>
                  <a:pt x="127" y="123"/>
                  <a:pt x="124" y="127"/>
                  <a:pt x="121" y="130"/>
                </a:cubicBezTo>
                <a:cubicBezTo>
                  <a:pt x="117" y="133"/>
                  <a:pt x="113" y="136"/>
                  <a:pt x="108" y="138"/>
                </a:cubicBezTo>
                <a:cubicBezTo>
                  <a:pt x="103" y="140"/>
                  <a:pt x="97" y="142"/>
                  <a:pt x="92" y="143"/>
                </a:cubicBezTo>
                <a:cubicBezTo>
                  <a:pt x="87" y="144"/>
                  <a:pt x="81" y="144"/>
                  <a:pt x="76" y="144"/>
                </a:cubicBezTo>
                <a:cubicBezTo>
                  <a:pt x="73" y="144"/>
                  <a:pt x="69" y="144"/>
                  <a:pt x="63" y="144"/>
                </a:cubicBezTo>
                <a:cubicBezTo>
                  <a:pt x="58" y="143"/>
                  <a:pt x="53" y="143"/>
                  <a:pt x="51" y="143"/>
                </a:cubicBezTo>
                <a:cubicBezTo>
                  <a:pt x="44" y="143"/>
                  <a:pt x="34" y="144"/>
                  <a:pt x="22" y="144"/>
                </a:cubicBezTo>
                <a:cubicBezTo>
                  <a:pt x="9" y="145"/>
                  <a:pt x="2" y="146"/>
                  <a:pt x="0" y="146"/>
                </a:cubicBezTo>
                <a:close/>
                <a:moveTo>
                  <a:pt x="51" y="62"/>
                </a:moveTo>
                <a:cubicBezTo>
                  <a:pt x="54" y="62"/>
                  <a:pt x="57" y="62"/>
                  <a:pt x="61" y="62"/>
                </a:cubicBezTo>
                <a:cubicBezTo>
                  <a:pt x="66" y="62"/>
                  <a:pt x="71" y="62"/>
                  <a:pt x="75" y="61"/>
                </a:cubicBezTo>
                <a:cubicBezTo>
                  <a:pt x="79" y="60"/>
                  <a:pt x="82" y="59"/>
                  <a:pt x="85" y="57"/>
                </a:cubicBezTo>
                <a:cubicBezTo>
                  <a:pt x="88" y="55"/>
                  <a:pt x="91" y="52"/>
                  <a:pt x="92" y="48"/>
                </a:cubicBezTo>
                <a:cubicBezTo>
                  <a:pt x="94" y="45"/>
                  <a:pt x="95" y="40"/>
                  <a:pt x="95" y="35"/>
                </a:cubicBezTo>
                <a:cubicBezTo>
                  <a:pt x="95" y="30"/>
                  <a:pt x="94" y="27"/>
                  <a:pt x="92" y="23"/>
                </a:cubicBezTo>
                <a:cubicBezTo>
                  <a:pt x="90" y="20"/>
                  <a:pt x="87" y="17"/>
                  <a:pt x="84" y="16"/>
                </a:cubicBezTo>
                <a:cubicBezTo>
                  <a:pt x="81" y="14"/>
                  <a:pt x="78" y="12"/>
                  <a:pt x="74" y="11"/>
                </a:cubicBezTo>
                <a:cubicBezTo>
                  <a:pt x="70" y="11"/>
                  <a:pt x="67" y="10"/>
                  <a:pt x="62" y="10"/>
                </a:cubicBezTo>
                <a:cubicBezTo>
                  <a:pt x="59" y="10"/>
                  <a:pt x="55" y="10"/>
                  <a:pt x="50" y="11"/>
                </a:cubicBezTo>
                <a:cubicBezTo>
                  <a:pt x="50" y="14"/>
                  <a:pt x="50" y="19"/>
                  <a:pt x="50" y="26"/>
                </a:cubicBezTo>
                <a:cubicBezTo>
                  <a:pt x="51" y="32"/>
                  <a:pt x="51" y="37"/>
                  <a:pt x="51" y="40"/>
                </a:cubicBezTo>
                <a:cubicBezTo>
                  <a:pt x="51" y="42"/>
                  <a:pt x="51" y="44"/>
                  <a:pt x="51" y="48"/>
                </a:cubicBezTo>
                <a:cubicBezTo>
                  <a:pt x="51" y="51"/>
                  <a:pt x="51" y="53"/>
                  <a:pt x="51" y="55"/>
                </a:cubicBezTo>
                <a:cubicBezTo>
                  <a:pt x="51" y="58"/>
                  <a:pt x="51" y="60"/>
                  <a:pt x="51" y="62"/>
                </a:cubicBezTo>
                <a:close/>
                <a:moveTo>
                  <a:pt x="52" y="132"/>
                </a:moveTo>
                <a:cubicBezTo>
                  <a:pt x="57" y="134"/>
                  <a:pt x="61" y="135"/>
                  <a:pt x="65" y="135"/>
                </a:cubicBezTo>
                <a:cubicBezTo>
                  <a:pt x="89" y="135"/>
                  <a:pt x="101" y="125"/>
                  <a:pt x="101" y="103"/>
                </a:cubicBezTo>
                <a:cubicBezTo>
                  <a:pt x="101" y="96"/>
                  <a:pt x="100" y="91"/>
                  <a:pt x="97" y="86"/>
                </a:cubicBezTo>
                <a:cubicBezTo>
                  <a:pt x="95" y="84"/>
                  <a:pt x="93" y="81"/>
                  <a:pt x="91" y="79"/>
                </a:cubicBezTo>
                <a:cubicBezTo>
                  <a:pt x="89" y="77"/>
                  <a:pt x="87" y="76"/>
                  <a:pt x="85" y="75"/>
                </a:cubicBezTo>
                <a:cubicBezTo>
                  <a:pt x="83" y="74"/>
                  <a:pt x="80" y="73"/>
                  <a:pt x="77" y="73"/>
                </a:cubicBezTo>
                <a:cubicBezTo>
                  <a:pt x="74" y="72"/>
                  <a:pt x="72" y="72"/>
                  <a:pt x="69" y="72"/>
                </a:cubicBezTo>
                <a:cubicBezTo>
                  <a:pt x="67" y="72"/>
                  <a:pt x="64" y="71"/>
                  <a:pt x="60" y="71"/>
                </a:cubicBezTo>
                <a:cubicBezTo>
                  <a:pt x="56" y="71"/>
                  <a:pt x="53" y="72"/>
                  <a:pt x="51" y="72"/>
                </a:cubicBezTo>
                <a:cubicBezTo>
                  <a:pt x="51" y="76"/>
                  <a:pt x="51" y="81"/>
                  <a:pt x="51" y="87"/>
                </a:cubicBezTo>
                <a:cubicBezTo>
                  <a:pt x="51" y="94"/>
                  <a:pt x="51" y="99"/>
                  <a:pt x="51" y="102"/>
                </a:cubicBezTo>
                <a:cubicBezTo>
                  <a:pt x="51" y="103"/>
                  <a:pt x="51" y="105"/>
                  <a:pt x="51" y="109"/>
                </a:cubicBezTo>
                <a:cubicBezTo>
                  <a:pt x="51" y="112"/>
                  <a:pt x="51" y="116"/>
                  <a:pt x="51" y="118"/>
                </a:cubicBezTo>
                <a:cubicBezTo>
                  <a:pt x="51" y="120"/>
                  <a:pt x="51" y="123"/>
                  <a:pt x="51" y="126"/>
                </a:cubicBezTo>
                <a:cubicBezTo>
                  <a:pt x="51" y="129"/>
                  <a:pt x="52" y="131"/>
                  <a:pt x="52" y="1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3" name="Freeform 53"/>
          <p:cNvSpPr>
            <a:spLocks noChangeAspect="1"/>
          </p:cNvSpPr>
          <p:nvPr/>
        </p:nvSpPr>
        <p:spPr bwMode="auto">
          <a:xfrm>
            <a:off x="2779608" y="1866240"/>
            <a:ext cx="101485" cy="151447"/>
          </a:xfrm>
          <a:custGeom>
            <a:avLst/>
            <a:gdLst>
              <a:gd name="T0" fmla="*/ 0 w 97"/>
              <a:gd name="T1" fmla="*/ 145 h 146"/>
              <a:gd name="T2" fmla="*/ 2 w 97"/>
              <a:gd name="T3" fmla="*/ 137 h 146"/>
              <a:gd name="T4" fmla="*/ 9 w 97"/>
              <a:gd name="T5" fmla="*/ 135 h 146"/>
              <a:gd name="T6" fmla="*/ 20 w 97"/>
              <a:gd name="T7" fmla="*/ 132 h 146"/>
              <a:gd name="T8" fmla="*/ 24 w 97"/>
              <a:gd name="T9" fmla="*/ 122 h 146"/>
              <a:gd name="T10" fmla="*/ 30 w 97"/>
              <a:gd name="T11" fmla="*/ 95 h 146"/>
              <a:gd name="T12" fmla="*/ 41 w 97"/>
              <a:gd name="T13" fmla="*/ 44 h 146"/>
              <a:gd name="T14" fmla="*/ 45 w 97"/>
              <a:gd name="T15" fmla="*/ 15 h 146"/>
              <a:gd name="T16" fmla="*/ 45 w 97"/>
              <a:gd name="T17" fmla="*/ 13 h 146"/>
              <a:gd name="T18" fmla="*/ 40 w 97"/>
              <a:gd name="T19" fmla="*/ 11 h 146"/>
              <a:gd name="T20" fmla="*/ 34 w 97"/>
              <a:gd name="T21" fmla="*/ 11 h 146"/>
              <a:gd name="T22" fmla="*/ 28 w 97"/>
              <a:gd name="T23" fmla="*/ 10 h 146"/>
              <a:gd name="T24" fmla="*/ 30 w 97"/>
              <a:gd name="T25" fmla="*/ 0 h 146"/>
              <a:gd name="T26" fmla="*/ 41 w 97"/>
              <a:gd name="T27" fmla="*/ 1 h 146"/>
              <a:gd name="T28" fmla="*/ 56 w 97"/>
              <a:gd name="T29" fmla="*/ 2 h 146"/>
              <a:gd name="T30" fmla="*/ 67 w 97"/>
              <a:gd name="T31" fmla="*/ 2 h 146"/>
              <a:gd name="T32" fmla="*/ 76 w 97"/>
              <a:gd name="T33" fmla="*/ 2 h 146"/>
              <a:gd name="T34" fmla="*/ 88 w 97"/>
              <a:gd name="T35" fmla="*/ 1 h 146"/>
              <a:gd name="T36" fmla="*/ 97 w 97"/>
              <a:gd name="T37" fmla="*/ 0 h 146"/>
              <a:gd name="T38" fmla="*/ 95 w 97"/>
              <a:gd name="T39" fmla="*/ 9 h 146"/>
              <a:gd name="T40" fmla="*/ 86 w 97"/>
              <a:gd name="T41" fmla="*/ 11 h 146"/>
              <a:gd name="T42" fmla="*/ 75 w 97"/>
              <a:gd name="T43" fmla="*/ 15 h 146"/>
              <a:gd name="T44" fmla="*/ 74 w 97"/>
              <a:gd name="T45" fmla="*/ 19 h 146"/>
              <a:gd name="T46" fmla="*/ 73 w 97"/>
              <a:gd name="T47" fmla="*/ 22 h 146"/>
              <a:gd name="T48" fmla="*/ 72 w 97"/>
              <a:gd name="T49" fmla="*/ 27 h 146"/>
              <a:gd name="T50" fmla="*/ 72 w 97"/>
              <a:gd name="T51" fmla="*/ 31 h 146"/>
              <a:gd name="T52" fmla="*/ 64 w 97"/>
              <a:gd name="T53" fmla="*/ 70 h 146"/>
              <a:gd name="T54" fmla="*/ 56 w 97"/>
              <a:gd name="T55" fmla="*/ 104 h 146"/>
              <a:gd name="T56" fmla="*/ 55 w 97"/>
              <a:gd name="T57" fmla="*/ 109 h 146"/>
              <a:gd name="T58" fmla="*/ 53 w 97"/>
              <a:gd name="T59" fmla="*/ 118 h 146"/>
              <a:gd name="T60" fmla="*/ 52 w 97"/>
              <a:gd name="T61" fmla="*/ 126 h 146"/>
              <a:gd name="T62" fmla="*/ 51 w 97"/>
              <a:gd name="T63" fmla="*/ 131 h 146"/>
              <a:gd name="T64" fmla="*/ 51 w 97"/>
              <a:gd name="T65" fmla="*/ 133 h 146"/>
              <a:gd name="T66" fmla="*/ 69 w 97"/>
              <a:gd name="T67" fmla="*/ 136 h 146"/>
              <a:gd name="T68" fmla="*/ 67 w 97"/>
              <a:gd name="T69" fmla="*/ 145 h 146"/>
              <a:gd name="T70" fmla="*/ 64 w 97"/>
              <a:gd name="T71" fmla="*/ 145 h 146"/>
              <a:gd name="T72" fmla="*/ 61 w 97"/>
              <a:gd name="T73" fmla="*/ 146 h 146"/>
              <a:gd name="T74" fmla="*/ 53 w 97"/>
              <a:gd name="T75" fmla="*/ 145 h 146"/>
              <a:gd name="T76" fmla="*/ 45 w 97"/>
              <a:gd name="T77" fmla="*/ 144 h 146"/>
              <a:gd name="T78" fmla="*/ 25 w 97"/>
              <a:gd name="T79" fmla="*/ 143 h 146"/>
              <a:gd name="T80" fmla="*/ 12 w 97"/>
              <a:gd name="T81" fmla="*/ 144 h 146"/>
              <a:gd name="T82" fmla="*/ 0 w 97"/>
              <a:gd name="T83" fmla="*/ 14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7" h="146">
                <a:moveTo>
                  <a:pt x="0" y="145"/>
                </a:moveTo>
                <a:cubicBezTo>
                  <a:pt x="2" y="137"/>
                  <a:pt x="2" y="137"/>
                  <a:pt x="2" y="137"/>
                </a:cubicBezTo>
                <a:cubicBezTo>
                  <a:pt x="2" y="137"/>
                  <a:pt x="5" y="137"/>
                  <a:pt x="9" y="135"/>
                </a:cubicBezTo>
                <a:cubicBezTo>
                  <a:pt x="14" y="134"/>
                  <a:pt x="18" y="133"/>
                  <a:pt x="20" y="132"/>
                </a:cubicBezTo>
                <a:cubicBezTo>
                  <a:pt x="22" y="130"/>
                  <a:pt x="23" y="126"/>
                  <a:pt x="24" y="122"/>
                </a:cubicBezTo>
                <a:cubicBezTo>
                  <a:pt x="24" y="122"/>
                  <a:pt x="26" y="113"/>
                  <a:pt x="30" y="95"/>
                </a:cubicBezTo>
                <a:cubicBezTo>
                  <a:pt x="34" y="77"/>
                  <a:pt x="37" y="60"/>
                  <a:pt x="41" y="44"/>
                </a:cubicBezTo>
                <a:cubicBezTo>
                  <a:pt x="44" y="27"/>
                  <a:pt x="45" y="18"/>
                  <a:pt x="45" y="15"/>
                </a:cubicBezTo>
                <a:cubicBezTo>
                  <a:pt x="45" y="13"/>
                  <a:pt x="45" y="13"/>
                  <a:pt x="45" y="13"/>
                </a:cubicBezTo>
                <a:cubicBezTo>
                  <a:pt x="44" y="12"/>
                  <a:pt x="42" y="12"/>
                  <a:pt x="40" y="11"/>
                </a:cubicBezTo>
                <a:cubicBezTo>
                  <a:pt x="38" y="11"/>
                  <a:pt x="36" y="11"/>
                  <a:pt x="34" y="11"/>
                </a:cubicBezTo>
                <a:cubicBezTo>
                  <a:pt x="31" y="10"/>
                  <a:pt x="29" y="10"/>
                  <a:pt x="28" y="10"/>
                </a:cubicBezTo>
                <a:cubicBezTo>
                  <a:pt x="30" y="0"/>
                  <a:pt x="30" y="0"/>
                  <a:pt x="30" y="0"/>
                </a:cubicBezTo>
                <a:cubicBezTo>
                  <a:pt x="32" y="0"/>
                  <a:pt x="36" y="1"/>
                  <a:pt x="41" y="1"/>
                </a:cubicBezTo>
                <a:cubicBezTo>
                  <a:pt x="47" y="1"/>
                  <a:pt x="52" y="1"/>
                  <a:pt x="56" y="2"/>
                </a:cubicBezTo>
                <a:cubicBezTo>
                  <a:pt x="59" y="2"/>
                  <a:pt x="63" y="2"/>
                  <a:pt x="67" y="2"/>
                </a:cubicBezTo>
                <a:cubicBezTo>
                  <a:pt x="70" y="2"/>
                  <a:pt x="73" y="2"/>
                  <a:pt x="76" y="2"/>
                </a:cubicBezTo>
                <a:cubicBezTo>
                  <a:pt x="79" y="1"/>
                  <a:pt x="83" y="1"/>
                  <a:pt x="88" y="1"/>
                </a:cubicBezTo>
                <a:cubicBezTo>
                  <a:pt x="92" y="1"/>
                  <a:pt x="95" y="0"/>
                  <a:pt x="97" y="0"/>
                </a:cubicBezTo>
                <a:cubicBezTo>
                  <a:pt x="97" y="3"/>
                  <a:pt x="96" y="6"/>
                  <a:pt x="95" y="9"/>
                </a:cubicBezTo>
                <a:cubicBezTo>
                  <a:pt x="93" y="9"/>
                  <a:pt x="90" y="10"/>
                  <a:pt x="86" y="11"/>
                </a:cubicBezTo>
                <a:cubicBezTo>
                  <a:pt x="81" y="13"/>
                  <a:pt x="78" y="14"/>
                  <a:pt x="75" y="15"/>
                </a:cubicBezTo>
                <a:cubicBezTo>
                  <a:pt x="75" y="16"/>
                  <a:pt x="74" y="17"/>
                  <a:pt x="74" y="19"/>
                </a:cubicBezTo>
                <a:cubicBezTo>
                  <a:pt x="74" y="20"/>
                  <a:pt x="73" y="21"/>
                  <a:pt x="73" y="22"/>
                </a:cubicBezTo>
                <a:cubicBezTo>
                  <a:pt x="73" y="23"/>
                  <a:pt x="73" y="25"/>
                  <a:pt x="72" y="27"/>
                </a:cubicBezTo>
                <a:cubicBezTo>
                  <a:pt x="72" y="29"/>
                  <a:pt x="72" y="30"/>
                  <a:pt x="72" y="31"/>
                </a:cubicBezTo>
                <a:cubicBezTo>
                  <a:pt x="70" y="40"/>
                  <a:pt x="67" y="53"/>
                  <a:pt x="64" y="70"/>
                </a:cubicBezTo>
                <a:cubicBezTo>
                  <a:pt x="60" y="87"/>
                  <a:pt x="57" y="99"/>
                  <a:pt x="56" y="104"/>
                </a:cubicBezTo>
                <a:cubicBezTo>
                  <a:pt x="56" y="105"/>
                  <a:pt x="56" y="106"/>
                  <a:pt x="55" y="109"/>
                </a:cubicBezTo>
                <a:cubicBezTo>
                  <a:pt x="54" y="113"/>
                  <a:pt x="54" y="115"/>
                  <a:pt x="53" y="118"/>
                </a:cubicBezTo>
                <a:cubicBezTo>
                  <a:pt x="53" y="121"/>
                  <a:pt x="52" y="123"/>
                  <a:pt x="52" y="126"/>
                </a:cubicBezTo>
                <a:cubicBezTo>
                  <a:pt x="51" y="129"/>
                  <a:pt x="51" y="130"/>
                  <a:pt x="51" y="131"/>
                </a:cubicBezTo>
                <a:cubicBezTo>
                  <a:pt x="51" y="133"/>
                  <a:pt x="51" y="133"/>
                  <a:pt x="51" y="133"/>
                </a:cubicBezTo>
                <a:cubicBezTo>
                  <a:pt x="52" y="133"/>
                  <a:pt x="58" y="134"/>
                  <a:pt x="69" y="136"/>
                </a:cubicBezTo>
                <a:cubicBezTo>
                  <a:pt x="68" y="139"/>
                  <a:pt x="68" y="142"/>
                  <a:pt x="67" y="145"/>
                </a:cubicBezTo>
                <a:cubicBezTo>
                  <a:pt x="66" y="145"/>
                  <a:pt x="65" y="145"/>
                  <a:pt x="64" y="145"/>
                </a:cubicBezTo>
                <a:cubicBezTo>
                  <a:pt x="63" y="146"/>
                  <a:pt x="62" y="146"/>
                  <a:pt x="61" y="146"/>
                </a:cubicBezTo>
                <a:cubicBezTo>
                  <a:pt x="59" y="146"/>
                  <a:pt x="56" y="145"/>
                  <a:pt x="53" y="145"/>
                </a:cubicBezTo>
                <a:cubicBezTo>
                  <a:pt x="49" y="144"/>
                  <a:pt x="46" y="144"/>
                  <a:pt x="45" y="144"/>
                </a:cubicBezTo>
                <a:cubicBezTo>
                  <a:pt x="36" y="144"/>
                  <a:pt x="29" y="143"/>
                  <a:pt x="25" y="143"/>
                </a:cubicBezTo>
                <a:cubicBezTo>
                  <a:pt x="22" y="143"/>
                  <a:pt x="17" y="144"/>
                  <a:pt x="12" y="144"/>
                </a:cubicBezTo>
                <a:cubicBezTo>
                  <a:pt x="6" y="145"/>
                  <a:pt x="2" y="145"/>
                  <a:pt x="0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4" name="Freeform 54"/>
          <p:cNvSpPr>
            <a:spLocks noChangeAspect="1" noEditPoints="1"/>
          </p:cNvSpPr>
          <p:nvPr/>
        </p:nvSpPr>
        <p:spPr bwMode="auto">
          <a:xfrm>
            <a:off x="2924809" y="1866240"/>
            <a:ext cx="176428" cy="151447"/>
          </a:xfrm>
          <a:custGeom>
            <a:avLst/>
            <a:gdLst>
              <a:gd name="T0" fmla="*/ 13 w 170"/>
              <a:gd name="T1" fmla="*/ 3 h 146"/>
              <a:gd name="T2" fmla="*/ 45 w 170"/>
              <a:gd name="T3" fmla="*/ 3 h 146"/>
              <a:gd name="T4" fmla="*/ 68 w 170"/>
              <a:gd name="T5" fmla="*/ 3 h 146"/>
              <a:gd name="T6" fmla="*/ 106 w 170"/>
              <a:gd name="T7" fmla="*/ 3 h 146"/>
              <a:gd name="T8" fmla="*/ 110 w 170"/>
              <a:gd name="T9" fmla="*/ 3 h 146"/>
              <a:gd name="T10" fmla="*/ 113 w 170"/>
              <a:gd name="T11" fmla="*/ 2 h 146"/>
              <a:gd name="T12" fmla="*/ 118 w 170"/>
              <a:gd name="T13" fmla="*/ 0 h 146"/>
              <a:gd name="T14" fmla="*/ 121 w 170"/>
              <a:gd name="T15" fmla="*/ 0 h 146"/>
              <a:gd name="T16" fmla="*/ 121 w 170"/>
              <a:gd name="T17" fmla="*/ 43 h 146"/>
              <a:gd name="T18" fmla="*/ 109 w 170"/>
              <a:gd name="T19" fmla="*/ 32 h 146"/>
              <a:gd name="T20" fmla="*/ 107 w 170"/>
              <a:gd name="T21" fmla="*/ 21 h 146"/>
              <a:gd name="T22" fmla="*/ 105 w 170"/>
              <a:gd name="T23" fmla="*/ 16 h 146"/>
              <a:gd name="T24" fmla="*/ 102 w 170"/>
              <a:gd name="T25" fmla="*/ 15 h 146"/>
              <a:gd name="T26" fmla="*/ 99 w 170"/>
              <a:gd name="T27" fmla="*/ 15 h 146"/>
              <a:gd name="T28" fmla="*/ 86 w 170"/>
              <a:gd name="T29" fmla="*/ 15 h 146"/>
              <a:gd name="T30" fmla="*/ 73 w 170"/>
              <a:gd name="T31" fmla="*/ 16 h 146"/>
              <a:gd name="T32" fmla="*/ 72 w 170"/>
              <a:gd name="T33" fmla="*/ 65 h 146"/>
              <a:gd name="T34" fmla="*/ 72 w 170"/>
              <a:gd name="T35" fmla="*/ 115 h 146"/>
              <a:gd name="T36" fmla="*/ 74 w 170"/>
              <a:gd name="T37" fmla="*/ 130 h 146"/>
              <a:gd name="T38" fmla="*/ 97 w 170"/>
              <a:gd name="T39" fmla="*/ 138 h 146"/>
              <a:gd name="T40" fmla="*/ 97 w 170"/>
              <a:gd name="T41" fmla="*/ 145 h 146"/>
              <a:gd name="T42" fmla="*/ 73 w 170"/>
              <a:gd name="T43" fmla="*/ 145 h 146"/>
              <a:gd name="T44" fmla="*/ 39 w 170"/>
              <a:gd name="T45" fmla="*/ 145 h 146"/>
              <a:gd name="T46" fmla="*/ 24 w 170"/>
              <a:gd name="T47" fmla="*/ 141 h 146"/>
              <a:gd name="T48" fmla="*/ 30 w 170"/>
              <a:gd name="T49" fmla="*/ 136 h 146"/>
              <a:gd name="T50" fmla="*/ 47 w 170"/>
              <a:gd name="T51" fmla="*/ 130 h 146"/>
              <a:gd name="T52" fmla="*/ 49 w 170"/>
              <a:gd name="T53" fmla="*/ 66 h 146"/>
              <a:gd name="T54" fmla="*/ 48 w 170"/>
              <a:gd name="T55" fmla="*/ 26 h 146"/>
              <a:gd name="T56" fmla="*/ 48 w 170"/>
              <a:gd name="T57" fmla="*/ 22 h 146"/>
              <a:gd name="T58" fmla="*/ 48 w 170"/>
              <a:gd name="T59" fmla="*/ 17 h 146"/>
              <a:gd name="T60" fmla="*/ 32 w 170"/>
              <a:gd name="T61" fmla="*/ 15 h 146"/>
              <a:gd name="T62" fmla="*/ 16 w 170"/>
              <a:gd name="T63" fmla="*/ 19 h 146"/>
              <a:gd name="T64" fmla="*/ 10 w 170"/>
              <a:gd name="T65" fmla="*/ 36 h 146"/>
              <a:gd name="T66" fmla="*/ 0 w 170"/>
              <a:gd name="T67" fmla="*/ 37 h 146"/>
              <a:gd name="T68" fmla="*/ 8 w 170"/>
              <a:gd name="T69" fmla="*/ 0 h 146"/>
              <a:gd name="T70" fmla="*/ 169 w 170"/>
              <a:gd name="T71" fmla="*/ 123 h 146"/>
              <a:gd name="T72" fmla="*/ 156 w 170"/>
              <a:gd name="T73" fmla="*/ 143 h 146"/>
              <a:gd name="T74" fmla="*/ 147 w 170"/>
              <a:gd name="T75" fmla="*/ 143 h 146"/>
              <a:gd name="T76" fmla="*/ 134 w 170"/>
              <a:gd name="T77" fmla="*/ 123 h 146"/>
              <a:gd name="T78" fmla="*/ 146 w 170"/>
              <a:gd name="T79" fmla="*/ 121 h 146"/>
              <a:gd name="T80" fmla="*/ 138 w 170"/>
              <a:gd name="T81" fmla="*/ 25 h 146"/>
              <a:gd name="T82" fmla="*/ 135 w 170"/>
              <a:gd name="T83" fmla="*/ 19 h 146"/>
              <a:gd name="T84" fmla="*/ 152 w 170"/>
              <a:gd name="T85" fmla="*/ 1 h 146"/>
              <a:gd name="T86" fmla="*/ 168 w 170"/>
              <a:gd name="T87" fmla="*/ 19 h 146"/>
              <a:gd name="T88" fmla="*/ 165 w 170"/>
              <a:gd name="T89" fmla="*/ 25 h 146"/>
              <a:gd name="T90" fmla="*/ 158 w 170"/>
              <a:gd name="T91" fmla="*/ 12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0" h="146">
                <a:moveTo>
                  <a:pt x="8" y="0"/>
                </a:moveTo>
                <a:cubicBezTo>
                  <a:pt x="13" y="3"/>
                  <a:pt x="13" y="3"/>
                  <a:pt x="13" y="3"/>
                </a:cubicBezTo>
                <a:cubicBezTo>
                  <a:pt x="14" y="3"/>
                  <a:pt x="20" y="3"/>
                  <a:pt x="33" y="3"/>
                </a:cubicBezTo>
                <a:cubicBezTo>
                  <a:pt x="36" y="3"/>
                  <a:pt x="40" y="3"/>
                  <a:pt x="45" y="3"/>
                </a:cubicBezTo>
                <a:cubicBezTo>
                  <a:pt x="51" y="3"/>
                  <a:pt x="55" y="3"/>
                  <a:pt x="58" y="3"/>
                </a:cubicBezTo>
                <a:cubicBezTo>
                  <a:pt x="60" y="3"/>
                  <a:pt x="64" y="3"/>
                  <a:pt x="68" y="3"/>
                </a:cubicBezTo>
                <a:cubicBezTo>
                  <a:pt x="73" y="3"/>
                  <a:pt x="76" y="3"/>
                  <a:pt x="78" y="3"/>
                </a:cubicBezTo>
                <a:cubicBezTo>
                  <a:pt x="106" y="3"/>
                  <a:pt x="106" y="3"/>
                  <a:pt x="106" y="3"/>
                </a:cubicBezTo>
                <a:cubicBezTo>
                  <a:pt x="106" y="3"/>
                  <a:pt x="107" y="3"/>
                  <a:pt x="108" y="3"/>
                </a:cubicBezTo>
                <a:cubicBezTo>
                  <a:pt x="109" y="3"/>
                  <a:pt x="110" y="3"/>
                  <a:pt x="110" y="3"/>
                </a:cubicBezTo>
                <a:cubicBezTo>
                  <a:pt x="110" y="3"/>
                  <a:pt x="111" y="3"/>
                  <a:pt x="111" y="3"/>
                </a:cubicBezTo>
                <a:cubicBezTo>
                  <a:pt x="112" y="3"/>
                  <a:pt x="113" y="3"/>
                  <a:pt x="113" y="2"/>
                </a:cubicBezTo>
                <a:cubicBezTo>
                  <a:pt x="114" y="2"/>
                  <a:pt x="114" y="1"/>
                  <a:pt x="115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19" y="0"/>
                  <a:pt x="119" y="0"/>
                  <a:pt x="120" y="0"/>
                </a:cubicBezTo>
                <a:cubicBezTo>
                  <a:pt x="120" y="0"/>
                  <a:pt x="121" y="0"/>
                  <a:pt x="121" y="0"/>
                </a:cubicBezTo>
                <a:cubicBezTo>
                  <a:pt x="121" y="8"/>
                  <a:pt x="121" y="18"/>
                  <a:pt x="121" y="32"/>
                </a:cubicBezTo>
                <a:cubicBezTo>
                  <a:pt x="121" y="37"/>
                  <a:pt x="121" y="41"/>
                  <a:pt x="121" y="43"/>
                </a:cubicBezTo>
                <a:cubicBezTo>
                  <a:pt x="118" y="43"/>
                  <a:pt x="116" y="44"/>
                  <a:pt x="114" y="44"/>
                </a:cubicBezTo>
                <a:cubicBezTo>
                  <a:pt x="113" y="41"/>
                  <a:pt x="111" y="37"/>
                  <a:pt x="109" y="32"/>
                </a:cubicBezTo>
                <a:cubicBezTo>
                  <a:pt x="109" y="32"/>
                  <a:pt x="109" y="30"/>
                  <a:pt x="108" y="28"/>
                </a:cubicBezTo>
                <a:cubicBezTo>
                  <a:pt x="108" y="25"/>
                  <a:pt x="107" y="23"/>
                  <a:pt x="107" y="21"/>
                </a:cubicBezTo>
                <a:cubicBezTo>
                  <a:pt x="106" y="18"/>
                  <a:pt x="106" y="17"/>
                  <a:pt x="106" y="17"/>
                </a:cubicBezTo>
                <a:cubicBezTo>
                  <a:pt x="106" y="17"/>
                  <a:pt x="105" y="16"/>
                  <a:pt x="105" y="16"/>
                </a:cubicBezTo>
                <a:cubicBezTo>
                  <a:pt x="105" y="16"/>
                  <a:pt x="104" y="16"/>
                  <a:pt x="104" y="16"/>
                </a:cubicBezTo>
                <a:cubicBezTo>
                  <a:pt x="103" y="15"/>
                  <a:pt x="103" y="15"/>
                  <a:pt x="102" y="15"/>
                </a:cubicBezTo>
                <a:cubicBezTo>
                  <a:pt x="102" y="15"/>
                  <a:pt x="102" y="15"/>
                  <a:pt x="101" y="15"/>
                </a:cubicBezTo>
                <a:cubicBezTo>
                  <a:pt x="100" y="15"/>
                  <a:pt x="99" y="15"/>
                  <a:pt x="99" y="15"/>
                </a:cubicBezTo>
                <a:cubicBezTo>
                  <a:pt x="98" y="15"/>
                  <a:pt x="96" y="15"/>
                  <a:pt x="93" y="15"/>
                </a:cubicBezTo>
                <a:cubicBezTo>
                  <a:pt x="90" y="15"/>
                  <a:pt x="87" y="15"/>
                  <a:pt x="86" y="15"/>
                </a:cubicBezTo>
                <a:cubicBezTo>
                  <a:pt x="84" y="15"/>
                  <a:pt x="82" y="15"/>
                  <a:pt x="80" y="15"/>
                </a:cubicBezTo>
                <a:cubicBezTo>
                  <a:pt x="77" y="16"/>
                  <a:pt x="75" y="16"/>
                  <a:pt x="73" y="16"/>
                </a:cubicBezTo>
                <a:cubicBezTo>
                  <a:pt x="72" y="21"/>
                  <a:pt x="72" y="25"/>
                  <a:pt x="72" y="29"/>
                </a:cubicBezTo>
                <a:cubicBezTo>
                  <a:pt x="72" y="35"/>
                  <a:pt x="72" y="47"/>
                  <a:pt x="72" y="65"/>
                </a:cubicBezTo>
                <a:cubicBezTo>
                  <a:pt x="73" y="84"/>
                  <a:pt x="73" y="98"/>
                  <a:pt x="73" y="109"/>
                </a:cubicBezTo>
                <a:cubicBezTo>
                  <a:pt x="73" y="110"/>
                  <a:pt x="73" y="112"/>
                  <a:pt x="72" y="115"/>
                </a:cubicBezTo>
                <a:cubicBezTo>
                  <a:pt x="72" y="119"/>
                  <a:pt x="72" y="122"/>
                  <a:pt x="72" y="124"/>
                </a:cubicBezTo>
                <a:cubicBezTo>
                  <a:pt x="73" y="126"/>
                  <a:pt x="73" y="128"/>
                  <a:pt x="74" y="130"/>
                </a:cubicBezTo>
                <a:cubicBezTo>
                  <a:pt x="76" y="132"/>
                  <a:pt x="80" y="133"/>
                  <a:pt x="85" y="134"/>
                </a:cubicBezTo>
                <a:cubicBezTo>
                  <a:pt x="91" y="136"/>
                  <a:pt x="94" y="137"/>
                  <a:pt x="97" y="138"/>
                </a:cubicBezTo>
                <a:cubicBezTo>
                  <a:pt x="97" y="141"/>
                  <a:pt x="97" y="142"/>
                  <a:pt x="97" y="143"/>
                </a:cubicBezTo>
                <a:cubicBezTo>
                  <a:pt x="97" y="144"/>
                  <a:pt x="97" y="145"/>
                  <a:pt x="97" y="145"/>
                </a:cubicBezTo>
                <a:cubicBezTo>
                  <a:pt x="94" y="146"/>
                  <a:pt x="94" y="146"/>
                  <a:pt x="94" y="146"/>
                </a:cubicBezTo>
                <a:cubicBezTo>
                  <a:pt x="89" y="146"/>
                  <a:pt x="82" y="145"/>
                  <a:pt x="73" y="145"/>
                </a:cubicBezTo>
                <a:cubicBezTo>
                  <a:pt x="64" y="144"/>
                  <a:pt x="58" y="144"/>
                  <a:pt x="53" y="144"/>
                </a:cubicBezTo>
                <a:cubicBezTo>
                  <a:pt x="50" y="144"/>
                  <a:pt x="46" y="144"/>
                  <a:pt x="39" y="145"/>
                </a:cubicBezTo>
                <a:cubicBezTo>
                  <a:pt x="33" y="145"/>
                  <a:pt x="28" y="146"/>
                  <a:pt x="25" y="146"/>
                </a:cubicBezTo>
                <a:cubicBezTo>
                  <a:pt x="25" y="142"/>
                  <a:pt x="24" y="141"/>
                  <a:pt x="24" y="141"/>
                </a:cubicBezTo>
                <a:cubicBezTo>
                  <a:pt x="24" y="140"/>
                  <a:pt x="24" y="140"/>
                  <a:pt x="24" y="140"/>
                </a:cubicBezTo>
                <a:cubicBezTo>
                  <a:pt x="26" y="138"/>
                  <a:pt x="28" y="137"/>
                  <a:pt x="30" y="136"/>
                </a:cubicBezTo>
                <a:cubicBezTo>
                  <a:pt x="33" y="135"/>
                  <a:pt x="36" y="134"/>
                  <a:pt x="40" y="133"/>
                </a:cubicBezTo>
                <a:cubicBezTo>
                  <a:pt x="43" y="132"/>
                  <a:pt x="45" y="131"/>
                  <a:pt x="47" y="130"/>
                </a:cubicBezTo>
                <a:cubicBezTo>
                  <a:pt x="48" y="128"/>
                  <a:pt x="49" y="116"/>
                  <a:pt x="49" y="94"/>
                </a:cubicBezTo>
                <a:cubicBezTo>
                  <a:pt x="49" y="88"/>
                  <a:pt x="49" y="78"/>
                  <a:pt x="49" y="66"/>
                </a:cubicBezTo>
                <a:cubicBezTo>
                  <a:pt x="48" y="53"/>
                  <a:pt x="48" y="43"/>
                  <a:pt x="48" y="37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5"/>
                  <a:pt x="48" y="24"/>
                </a:cubicBezTo>
                <a:cubicBezTo>
                  <a:pt x="48" y="24"/>
                  <a:pt x="48" y="23"/>
                  <a:pt x="48" y="22"/>
                </a:cubicBezTo>
                <a:cubicBezTo>
                  <a:pt x="48" y="21"/>
                  <a:pt x="48" y="21"/>
                  <a:pt x="48" y="20"/>
                </a:cubicBezTo>
                <a:cubicBezTo>
                  <a:pt x="48" y="19"/>
                  <a:pt x="48" y="18"/>
                  <a:pt x="48" y="17"/>
                </a:cubicBezTo>
                <a:cubicBezTo>
                  <a:pt x="48" y="17"/>
                  <a:pt x="48" y="16"/>
                  <a:pt x="47" y="16"/>
                </a:cubicBezTo>
                <a:cubicBezTo>
                  <a:pt x="47" y="15"/>
                  <a:pt x="42" y="15"/>
                  <a:pt x="32" y="15"/>
                </a:cubicBezTo>
                <a:cubicBezTo>
                  <a:pt x="30" y="15"/>
                  <a:pt x="27" y="15"/>
                  <a:pt x="23" y="16"/>
                </a:cubicBezTo>
                <a:cubicBezTo>
                  <a:pt x="20" y="17"/>
                  <a:pt x="17" y="18"/>
                  <a:pt x="16" y="19"/>
                </a:cubicBezTo>
                <a:cubicBezTo>
                  <a:pt x="15" y="19"/>
                  <a:pt x="14" y="22"/>
                  <a:pt x="13" y="25"/>
                </a:cubicBezTo>
                <a:cubicBezTo>
                  <a:pt x="12" y="29"/>
                  <a:pt x="11" y="33"/>
                  <a:pt x="10" y="36"/>
                </a:cubicBezTo>
                <a:cubicBezTo>
                  <a:pt x="9" y="39"/>
                  <a:pt x="7" y="41"/>
                  <a:pt x="6" y="41"/>
                </a:cubicBezTo>
                <a:cubicBezTo>
                  <a:pt x="3" y="39"/>
                  <a:pt x="1" y="38"/>
                  <a:pt x="0" y="37"/>
                </a:cubicBezTo>
                <a:cubicBezTo>
                  <a:pt x="0" y="1"/>
                  <a:pt x="0" y="1"/>
                  <a:pt x="0" y="1"/>
                </a:cubicBezTo>
                <a:lnTo>
                  <a:pt x="8" y="0"/>
                </a:lnTo>
                <a:close/>
                <a:moveTo>
                  <a:pt x="165" y="121"/>
                </a:moveTo>
                <a:cubicBezTo>
                  <a:pt x="167" y="121"/>
                  <a:pt x="169" y="122"/>
                  <a:pt x="169" y="123"/>
                </a:cubicBezTo>
                <a:cubicBezTo>
                  <a:pt x="170" y="124"/>
                  <a:pt x="169" y="126"/>
                  <a:pt x="168" y="127"/>
                </a:cubicBezTo>
                <a:cubicBezTo>
                  <a:pt x="156" y="143"/>
                  <a:pt x="156" y="143"/>
                  <a:pt x="156" y="143"/>
                </a:cubicBezTo>
                <a:cubicBezTo>
                  <a:pt x="155" y="144"/>
                  <a:pt x="153" y="145"/>
                  <a:pt x="152" y="145"/>
                </a:cubicBezTo>
                <a:cubicBezTo>
                  <a:pt x="150" y="145"/>
                  <a:pt x="148" y="144"/>
                  <a:pt x="147" y="143"/>
                </a:cubicBezTo>
                <a:cubicBezTo>
                  <a:pt x="135" y="127"/>
                  <a:pt x="135" y="127"/>
                  <a:pt x="135" y="127"/>
                </a:cubicBezTo>
                <a:cubicBezTo>
                  <a:pt x="134" y="126"/>
                  <a:pt x="133" y="124"/>
                  <a:pt x="134" y="123"/>
                </a:cubicBezTo>
                <a:cubicBezTo>
                  <a:pt x="135" y="122"/>
                  <a:pt x="136" y="121"/>
                  <a:pt x="138" y="121"/>
                </a:cubicBezTo>
                <a:cubicBezTo>
                  <a:pt x="146" y="121"/>
                  <a:pt x="146" y="121"/>
                  <a:pt x="146" y="121"/>
                </a:cubicBezTo>
                <a:cubicBezTo>
                  <a:pt x="146" y="25"/>
                  <a:pt x="146" y="25"/>
                  <a:pt x="146" y="25"/>
                </a:cubicBezTo>
                <a:cubicBezTo>
                  <a:pt x="138" y="25"/>
                  <a:pt x="138" y="25"/>
                  <a:pt x="138" y="25"/>
                </a:cubicBezTo>
                <a:cubicBezTo>
                  <a:pt x="136" y="25"/>
                  <a:pt x="135" y="24"/>
                  <a:pt x="134" y="23"/>
                </a:cubicBezTo>
                <a:cubicBezTo>
                  <a:pt x="133" y="22"/>
                  <a:pt x="134" y="20"/>
                  <a:pt x="135" y="19"/>
                </a:cubicBezTo>
                <a:cubicBezTo>
                  <a:pt x="147" y="3"/>
                  <a:pt x="147" y="3"/>
                  <a:pt x="147" y="3"/>
                </a:cubicBezTo>
                <a:cubicBezTo>
                  <a:pt x="148" y="2"/>
                  <a:pt x="150" y="1"/>
                  <a:pt x="152" y="1"/>
                </a:cubicBezTo>
                <a:cubicBezTo>
                  <a:pt x="153" y="1"/>
                  <a:pt x="155" y="2"/>
                  <a:pt x="156" y="3"/>
                </a:cubicBezTo>
                <a:cubicBezTo>
                  <a:pt x="168" y="19"/>
                  <a:pt x="168" y="19"/>
                  <a:pt x="168" y="19"/>
                </a:cubicBezTo>
                <a:cubicBezTo>
                  <a:pt x="169" y="20"/>
                  <a:pt x="170" y="22"/>
                  <a:pt x="169" y="23"/>
                </a:cubicBezTo>
                <a:cubicBezTo>
                  <a:pt x="169" y="24"/>
                  <a:pt x="167" y="25"/>
                  <a:pt x="165" y="25"/>
                </a:cubicBezTo>
                <a:cubicBezTo>
                  <a:pt x="158" y="25"/>
                  <a:pt x="158" y="25"/>
                  <a:pt x="158" y="25"/>
                </a:cubicBezTo>
                <a:cubicBezTo>
                  <a:pt x="158" y="121"/>
                  <a:pt x="158" y="121"/>
                  <a:pt x="158" y="121"/>
                </a:cubicBezTo>
                <a:lnTo>
                  <a:pt x="165" y="1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5" name="Freeform 55"/>
          <p:cNvSpPr>
            <a:spLocks noChangeAspect="1" noEditPoints="1"/>
          </p:cNvSpPr>
          <p:nvPr/>
        </p:nvSpPr>
        <p:spPr bwMode="auto">
          <a:xfrm>
            <a:off x="3146515" y="1866240"/>
            <a:ext cx="149885" cy="162376"/>
          </a:xfrm>
          <a:custGeom>
            <a:avLst/>
            <a:gdLst>
              <a:gd name="T0" fmla="*/ 13 w 145"/>
              <a:gd name="T1" fmla="*/ 3 h 157"/>
              <a:gd name="T2" fmla="*/ 45 w 145"/>
              <a:gd name="T3" fmla="*/ 3 h 157"/>
              <a:gd name="T4" fmla="*/ 81 w 145"/>
              <a:gd name="T5" fmla="*/ 3 h 157"/>
              <a:gd name="T6" fmla="*/ 133 w 145"/>
              <a:gd name="T7" fmla="*/ 3 h 157"/>
              <a:gd name="T8" fmla="*/ 142 w 145"/>
              <a:gd name="T9" fmla="*/ 0 h 157"/>
              <a:gd name="T10" fmla="*/ 145 w 145"/>
              <a:gd name="T11" fmla="*/ 0 h 157"/>
              <a:gd name="T12" fmla="*/ 145 w 145"/>
              <a:gd name="T13" fmla="*/ 43 h 157"/>
              <a:gd name="T14" fmla="*/ 133 w 145"/>
              <a:gd name="T15" fmla="*/ 32 h 157"/>
              <a:gd name="T16" fmla="*/ 131 w 145"/>
              <a:gd name="T17" fmla="*/ 21 h 157"/>
              <a:gd name="T18" fmla="*/ 128 w 145"/>
              <a:gd name="T19" fmla="*/ 15 h 157"/>
              <a:gd name="T20" fmla="*/ 113 w 145"/>
              <a:gd name="T21" fmla="*/ 15 h 157"/>
              <a:gd name="T22" fmla="*/ 94 w 145"/>
              <a:gd name="T23" fmla="*/ 15 h 157"/>
              <a:gd name="T24" fmla="*/ 84 w 145"/>
              <a:gd name="T25" fmla="*/ 29 h 157"/>
              <a:gd name="T26" fmla="*/ 84 w 145"/>
              <a:gd name="T27" fmla="*/ 38 h 157"/>
              <a:gd name="T28" fmla="*/ 84 w 145"/>
              <a:gd name="T29" fmla="*/ 70 h 157"/>
              <a:gd name="T30" fmla="*/ 84 w 145"/>
              <a:gd name="T31" fmla="*/ 91 h 157"/>
              <a:gd name="T32" fmla="*/ 85 w 145"/>
              <a:gd name="T33" fmla="*/ 106 h 157"/>
              <a:gd name="T34" fmla="*/ 108 w 145"/>
              <a:gd name="T35" fmla="*/ 114 h 157"/>
              <a:gd name="T36" fmla="*/ 109 w 145"/>
              <a:gd name="T37" fmla="*/ 121 h 157"/>
              <a:gd name="T38" fmla="*/ 85 w 145"/>
              <a:gd name="T39" fmla="*/ 121 h 157"/>
              <a:gd name="T40" fmla="*/ 51 w 145"/>
              <a:gd name="T41" fmla="*/ 121 h 157"/>
              <a:gd name="T42" fmla="*/ 36 w 145"/>
              <a:gd name="T43" fmla="*/ 116 h 157"/>
              <a:gd name="T44" fmla="*/ 42 w 145"/>
              <a:gd name="T45" fmla="*/ 112 h 157"/>
              <a:gd name="T46" fmla="*/ 59 w 145"/>
              <a:gd name="T47" fmla="*/ 106 h 157"/>
              <a:gd name="T48" fmla="*/ 61 w 145"/>
              <a:gd name="T49" fmla="*/ 85 h 157"/>
              <a:gd name="T50" fmla="*/ 61 w 145"/>
              <a:gd name="T51" fmla="*/ 56 h 157"/>
              <a:gd name="T52" fmla="*/ 60 w 145"/>
              <a:gd name="T53" fmla="*/ 46 h 157"/>
              <a:gd name="T54" fmla="*/ 60 w 145"/>
              <a:gd name="T55" fmla="*/ 40 h 157"/>
              <a:gd name="T56" fmla="*/ 60 w 145"/>
              <a:gd name="T57" fmla="*/ 25 h 157"/>
              <a:gd name="T58" fmla="*/ 59 w 145"/>
              <a:gd name="T59" fmla="*/ 16 h 157"/>
              <a:gd name="T60" fmla="*/ 29 w 145"/>
              <a:gd name="T61" fmla="*/ 16 h 157"/>
              <a:gd name="T62" fmla="*/ 12 w 145"/>
              <a:gd name="T63" fmla="*/ 25 h 157"/>
              <a:gd name="T64" fmla="*/ 5 w 145"/>
              <a:gd name="T65" fmla="*/ 41 h 157"/>
              <a:gd name="T66" fmla="*/ 0 w 145"/>
              <a:gd name="T67" fmla="*/ 1 h 157"/>
              <a:gd name="T68" fmla="*/ 124 w 145"/>
              <a:gd name="T69" fmla="*/ 122 h 157"/>
              <a:gd name="T70" fmla="*/ 133 w 145"/>
              <a:gd name="T71" fmla="*/ 127 h 157"/>
              <a:gd name="T72" fmla="*/ 142 w 145"/>
              <a:gd name="T73" fmla="*/ 135 h 157"/>
              <a:gd name="T74" fmla="*/ 142 w 145"/>
              <a:gd name="T75" fmla="*/ 144 h 157"/>
              <a:gd name="T76" fmla="*/ 133 w 145"/>
              <a:gd name="T77" fmla="*/ 152 h 157"/>
              <a:gd name="T78" fmla="*/ 124 w 145"/>
              <a:gd name="T79" fmla="*/ 157 h 157"/>
              <a:gd name="T80" fmla="*/ 121 w 145"/>
              <a:gd name="T81" fmla="*/ 154 h 157"/>
              <a:gd name="T82" fmla="*/ 121 w 145"/>
              <a:gd name="T83" fmla="*/ 147 h 157"/>
              <a:gd name="T84" fmla="*/ 24 w 145"/>
              <a:gd name="T85" fmla="*/ 146 h 157"/>
              <a:gd name="T86" fmla="*/ 25 w 145"/>
              <a:gd name="T87" fmla="*/ 151 h 157"/>
              <a:gd name="T88" fmla="*/ 23 w 145"/>
              <a:gd name="T89" fmla="*/ 156 h 157"/>
              <a:gd name="T90" fmla="*/ 17 w 145"/>
              <a:gd name="T91" fmla="*/ 156 h 157"/>
              <a:gd name="T92" fmla="*/ 6 w 145"/>
              <a:gd name="T93" fmla="*/ 147 h 157"/>
              <a:gd name="T94" fmla="*/ 1 w 145"/>
              <a:gd name="T95" fmla="*/ 140 h 157"/>
              <a:gd name="T96" fmla="*/ 6 w 145"/>
              <a:gd name="T97" fmla="*/ 132 h 157"/>
              <a:gd name="T98" fmla="*/ 17 w 145"/>
              <a:gd name="T99" fmla="*/ 123 h 157"/>
              <a:gd name="T100" fmla="*/ 23 w 145"/>
              <a:gd name="T101" fmla="*/ 123 h 157"/>
              <a:gd name="T102" fmla="*/ 25 w 145"/>
              <a:gd name="T103" fmla="*/ 129 h 157"/>
              <a:gd name="T104" fmla="*/ 24 w 145"/>
              <a:gd name="T105" fmla="*/ 133 h 157"/>
              <a:gd name="T106" fmla="*/ 121 w 145"/>
              <a:gd name="T107" fmla="*/ 132 h 157"/>
              <a:gd name="T108" fmla="*/ 121 w 145"/>
              <a:gd name="T109" fmla="*/ 125 h 157"/>
              <a:gd name="T110" fmla="*/ 124 w 145"/>
              <a:gd name="T111" fmla="*/ 122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5" h="157">
                <a:moveTo>
                  <a:pt x="8" y="0"/>
                </a:moveTo>
                <a:cubicBezTo>
                  <a:pt x="13" y="3"/>
                  <a:pt x="13" y="3"/>
                  <a:pt x="13" y="3"/>
                </a:cubicBezTo>
                <a:cubicBezTo>
                  <a:pt x="14" y="3"/>
                  <a:pt x="20" y="3"/>
                  <a:pt x="33" y="3"/>
                </a:cubicBezTo>
                <a:cubicBezTo>
                  <a:pt x="36" y="3"/>
                  <a:pt x="40" y="3"/>
                  <a:pt x="45" y="3"/>
                </a:cubicBezTo>
                <a:cubicBezTo>
                  <a:pt x="51" y="3"/>
                  <a:pt x="55" y="3"/>
                  <a:pt x="58" y="3"/>
                </a:cubicBezTo>
                <a:cubicBezTo>
                  <a:pt x="62" y="3"/>
                  <a:pt x="70" y="3"/>
                  <a:pt x="81" y="3"/>
                </a:cubicBezTo>
                <a:cubicBezTo>
                  <a:pt x="92" y="3"/>
                  <a:pt x="102" y="3"/>
                  <a:pt x="110" y="3"/>
                </a:cubicBezTo>
                <a:cubicBezTo>
                  <a:pt x="118" y="3"/>
                  <a:pt x="126" y="3"/>
                  <a:pt x="133" y="3"/>
                </a:cubicBezTo>
                <a:cubicBezTo>
                  <a:pt x="135" y="3"/>
                  <a:pt x="137" y="2"/>
                  <a:pt x="138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3" y="0"/>
                  <a:pt x="143" y="0"/>
                  <a:pt x="144" y="0"/>
                </a:cubicBezTo>
                <a:cubicBezTo>
                  <a:pt x="144" y="0"/>
                  <a:pt x="145" y="0"/>
                  <a:pt x="145" y="0"/>
                </a:cubicBezTo>
                <a:cubicBezTo>
                  <a:pt x="145" y="8"/>
                  <a:pt x="145" y="18"/>
                  <a:pt x="145" y="32"/>
                </a:cubicBezTo>
                <a:cubicBezTo>
                  <a:pt x="145" y="37"/>
                  <a:pt x="145" y="41"/>
                  <a:pt x="145" y="43"/>
                </a:cubicBezTo>
                <a:cubicBezTo>
                  <a:pt x="142" y="43"/>
                  <a:pt x="140" y="44"/>
                  <a:pt x="138" y="44"/>
                </a:cubicBezTo>
                <a:cubicBezTo>
                  <a:pt x="137" y="41"/>
                  <a:pt x="135" y="37"/>
                  <a:pt x="133" y="32"/>
                </a:cubicBezTo>
                <a:cubicBezTo>
                  <a:pt x="133" y="32"/>
                  <a:pt x="133" y="30"/>
                  <a:pt x="132" y="28"/>
                </a:cubicBezTo>
                <a:cubicBezTo>
                  <a:pt x="132" y="25"/>
                  <a:pt x="131" y="23"/>
                  <a:pt x="131" y="21"/>
                </a:cubicBezTo>
                <a:cubicBezTo>
                  <a:pt x="130" y="18"/>
                  <a:pt x="130" y="17"/>
                  <a:pt x="130" y="17"/>
                </a:cubicBezTo>
                <a:cubicBezTo>
                  <a:pt x="130" y="16"/>
                  <a:pt x="129" y="16"/>
                  <a:pt x="128" y="15"/>
                </a:cubicBezTo>
                <a:cubicBezTo>
                  <a:pt x="127" y="15"/>
                  <a:pt x="125" y="15"/>
                  <a:pt x="121" y="15"/>
                </a:cubicBezTo>
                <a:cubicBezTo>
                  <a:pt x="119" y="15"/>
                  <a:pt x="117" y="15"/>
                  <a:pt x="113" y="15"/>
                </a:cubicBezTo>
                <a:cubicBezTo>
                  <a:pt x="109" y="15"/>
                  <a:pt x="105" y="15"/>
                  <a:pt x="103" y="15"/>
                </a:cubicBezTo>
                <a:cubicBezTo>
                  <a:pt x="100" y="15"/>
                  <a:pt x="97" y="15"/>
                  <a:pt x="94" y="15"/>
                </a:cubicBezTo>
                <a:cubicBezTo>
                  <a:pt x="91" y="15"/>
                  <a:pt x="88" y="16"/>
                  <a:pt x="85" y="16"/>
                </a:cubicBezTo>
                <a:cubicBezTo>
                  <a:pt x="84" y="21"/>
                  <a:pt x="84" y="25"/>
                  <a:pt x="84" y="29"/>
                </a:cubicBezTo>
                <a:cubicBezTo>
                  <a:pt x="84" y="43"/>
                  <a:pt x="84" y="43"/>
                  <a:pt x="84" y="43"/>
                </a:cubicBezTo>
                <a:cubicBezTo>
                  <a:pt x="84" y="38"/>
                  <a:pt x="84" y="38"/>
                  <a:pt x="84" y="38"/>
                </a:cubicBezTo>
                <a:cubicBezTo>
                  <a:pt x="84" y="42"/>
                  <a:pt x="84" y="47"/>
                  <a:pt x="84" y="53"/>
                </a:cubicBezTo>
                <a:cubicBezTo>
                  <a:pt x="84" y="59"/>
                  <a:pt x="84" y="65"/>
                  <a:pt x="84" y="70"/>
                </a:cubicBezTo>
                <a:cubicBezTo>
                  <a:pt x="84" y="75"/>
                  <a:pt x="84" y="80"/>
                  <a:pt x="84" y="84"/>
                </a:cubicBezTo>
                <a:cubicBezTo>
                  <a:pt x="84" y="85"/>
                  <a:pt x="84" y="88"/>
                  <a:pt x="84" y="91"/>
                </a:cubicBezTo>
                <a:cubicBezTo>
                  <a:pt x="84" y="95"/>
                  <a:pt x="84" y="97"/>
                  <a:pt x="84" y="100"/>
                </a:cubicBezTo>
                <a:cubicBezTo>
                  <a:pt x="84" y="102"/>
                  <a:pt x="85" y="104"/>
                  <a:pt x="85" y="106"/>
                </a:cubicBezTo>
                <a:cubicBezTo>
                  <a:pt x="88" y="108"/>
                  <a:pt x="92" y="109"/>
                  <a:pt x="97" y="110"/>
                </a:cubicBezTo>
                <a:cubicBezTo>
                  <a:pt x="102" y="112"/>
                  <a:pt x="106" y="113"/>
                  <a:pt x="108" y="114"/>
                </a:cubicBezTo>
                <a:cubicBezTo>
                  <a:pt x="109" y="116"/>
                  <a:pt x="109" y="118"/>
                  <a:pt x="109" y="119"/>
                </a:cubicBezTo>
                <a:cubicBezTo>
                  <a:pt x="109" y="119"/>
                  <a:pt x="109" y="120"/>
                  <a:pt x="109" y="121"/>
                </a:cubicBezTo>
                <a:cubicBezTo>
                  <a:pt x="105" y="121"/>
                  <a:pt x="105" y="121"/>
                  <a:pt x="105" y="121"/>
                </a:cubicBezTo>
                <a:cubicBezTo>
                  <a:pt x="101" y="121"/>
                  <a:pt x="94" y="121"/>
                  <a:pt x="85" y="121"/>
                </a:cubicBezTo>
                <a:cubicBezTo>
                  <a:pt x="76" y="120"/>
                  <a:pt x="69" y="120"/>
                  <a:pt x="65" y="120"/>
                </a:cubicBezTo>
                <a:cubicBezTo>
                  <a:pt x="62" y="120"/>
                  <a:pt x="57" y="120"/>
                  <a:pt x="51" y="121"/>
                </a:cubicBezTo>
                <a:cubicBezTo>
                  <a:pt x="45" y="121"/>
                  <a:pt x="40" y="121"/>
                  <a:pt x="37" y="121"/>
                </a:cubicBezTo>
                <a:cubicBezTo>
                  <a:pt x="36" y="118"/>
                  <a:pt x="36" y="117"/>
                  <a:pt x="36" y="116"/>
                </a:cubicBezTo>
                <a:cubicBezTo>
                  <a:pt x="36" y="116"/>
                  <a:pt x="36" y="116"/>
                  <a:pt x="36" y="116"/>
                </a:cubicBezTo>
                <a:cubicBezTo>
                  <a:pt x="37" y="114"/>
                  <a:pt x="39" y="113"/>
                  <a:pt x="42" y="112"/>
                </a:cubicBezTo>
                <a:cubicBezTo>
                  <a:pt x="45" y="111"/>
                  <a:pt x="48" y="110"/>
                  <a:pt x="51" y="109"/>
                </a:cubicBezTo>
                <a:cubicBezTo>
                  <a:pt x="55" y="108"/>
                  <a:pt x="57" y="107"/>
                  <a:pt x="59" y="106"/>
                </a:cubicBezTo>
                <a:cubicBezTo>
                  <a:pt x="59" y="105"/>
                  <a:pt x="60" y="103"/>
                  <a:pt x="60" y="99"/>
                </a:cubicBezTo>
                <a:cubicBezTo>
                  <a:pt x="60" y="96"/>
                  <a:pt x="60" y="91"/>
                  <a:pt x="61" y="85"/>
                </a:cubicBezTo>
                <a:cubicBezTo>
                  <a:pt x="61" y="80"/>
                  <a:pt x="61" y="75"/>
                  <a:pt x="61" y="71"/>
                </a:cubicBezTo>
                <a:cubicBezTo>
                  <a:pt x="61" y="67"/>
                  <a:pt x="61" y="62"/>
                  <a:pt x="61" y="56"/>
                </a:cubicBezTo>
                <a:cubicBezTo>
                  <a:pt x="61" y="51"/>
                  <a:pt x="61" y="48"/>
                  <a:pt x="61" y="48"/>
                </a:cubicBezTo>
                <a:cubicBezTo>
                  <a:pt x="61" y="47"/>
                  <a:pt x="60" y="47"/>
                  <a:pt x="60" y="46"/>
                </a:cubicBezTo>
                <a:cubicBezTo>
                  <a:pt x="60" y="45"/>
                  <a:pt x="60" y="44"/>
                  <a:pt x="60" y="44"/>
                </a:cubicBezTo>
                <a:cubicBezTo>
                  <a:pt x="60" y="43"/>
                  <a:pt x="60" y="42"/>
                  <a:pt x="60" y="40"/>
                </a:cubicBezTo>
                <a:cubicBezTo>
                  <a:pt x="60" y="37"/>
                  <a:pt x="60" y="35"/>
                  <a:pt x="60" y="33"/>
                </a:cubicBezTo>
                <a:cubicBezTo>
                  <a:pt x="60" y="30"/>
                  <a:pt x="60" y="28"/>
                  <a:pt x="60" y="25"/>
                </a:cubicBezTo>
                <a:cubicBezTo>
                  <a:pt x="60" y="23"/>
                  <a:pt x="60" y="21"/>
                  <a:pt x="60" y="19"/>
                </a:cubicBezTo>
                <a:cubicBezTo>
                  <a:pt x="60" y="17"/>
                  <a:pt x="60" y="16"/>
                  <a:pt x="59" y="16"/>
                </a:cubicBezTo>
                <a:cubicBezTo>
                  <a:pt x="59" y="15"/>
                  <a:pt x="54" y="15"/>
                  <a:pt x="44" y="15"/>
                </a:cubicBezTo>
                <a:cubicBezTo>
                  <a:pt x="41" y="15"/>
                  <a:pt x="36" y="15"/>
                  <a:pt x="29" y="16"/>
                </a:cubicBezTo>
                <a:cubicBezTo>
                  <a:pt x="21" y="17"/>
                  <a:pt x="17" y="18"/>
                  <a:pt x="16" y="19"/>
                </a:cubicBezTo>
                <a:cubicBezTo>
                  <a:pt x="14" y="19"/>
                  <a:pt x="13" y="22"/>
                  <a:pt x="12" y="25"/>
                </a:cubicBezTo>
                <a:cubicBezTo>
                  <a:pt x="11" y="29"/>
                  <a:pt x="10" y="33"/>
                  <a:pt x="9" y="36"/>
                </a:cubicBezTo>
                <a:cubicBezTo>
                  <a:pt x="8" y="39"/>
                  <a:pt x="7" y="41"/>
                  <a:pt x="5" y="41"/>
                </a:cubicBezTo>
                <a:cubicBezTo>
                  <a:pt x="3" y="39"/>
                  <a:pt x="1" y="38"/>
                  <a:pt x="0" y="37"/>
                </a:cubicBezTo>
                <a:cubicBezTo>
                  <a:pt x="0" y="1"/>
                  <a:pt x="0" y="1"/>
                  <a:pt x="0" y="1"/>
                </a:cubicBezTo>
                <a:lnTo>
                  <a:pt x="8" y="0"/>
                </a:lnTo>
                <a:close/>
                <a:moveTo>
                  <a:pt x="124" y="122"/>
                </a:moveTo>
                <a:cubicBezTo>
                  <a:pt x="125" y="122"/>
                  <a:pt x="126" y="122"/>
                  <a:pt x="128" y="123"/>
                </a:cubicBezTo>
                <a:cubicBezTo>
                  <a:pt x="130" y="125"/>
                  <a:pt x="132" y="126"/>
                  <a:pt x="133" y="127"/>
                </a:cubicBezTo>
                <a:cubicBezTo>
                  <a:pt x="135" y="129"/>
                  <a:pt x="137" y="130"/>
                  <a:pt x="139" y="132"/>
                </a:cubicBezTo>
                <a:cubicBezTo>
                  <a:pt x="141" y="134"/>
                  <a:pt x="142" y="135"/>
                  <a:pt x="142" y="135"/>
                </a:cubicBezTo>
                <a:cubicBezTo>
                  <a:pt x="144" y="136"/>
                  <a:pt x="145" y="138"/>
                  <a:pt x="145" y="140"/>
                </a:cubicBezTo>
                <a:cubicBezTo>
                  <a:pt x="145" y="141"/>
                  <a:pt x="144" y="143"/>
                  <a:pt x="142" y="144"/>
                </a:cubicBezTo>
                <a:cubicBezTo>
                  <a:pt x="142" y="144"/>
                  <a:pt x="141" y="145"/>
                  <a:pt x="139" y="147"/>
                </a:cubicBezTo>
                <a:cubicBezTo>
                  <a:pt x="137" y="149"/>
                  <a:pt x="135" y="150"/>
                  <a:pt x="133" y="152"/>
                </a:cubicBezTo>
                <a:cubicBezTo>
                  <a:pt x="132" y="153"/>
                  <a:pt x="130" y="154"/>
                  <a:pt x="128" y="156"/>
                </a:cubicBezTo>
                <a:cubicBezTo>
                  <a:pt x="126" y="157"/>
                  <a:pt x="125" y="157"/>
                  <a:pt x="124" y="157"/>
                </a:cubicBezTo>
                <a:cubicBezTo>
                  <a:pt x="123" y="157"/>
                  <a:pt x="122" y="157"/>
                  <a:pt x="122" y="156"/>
                </a:cubicBezTo>
                <a:cubicBezTo>
                  <a:pt x="121" y="156"/>
                  <a:pt x="121" y="155"/>
                  <a:pt x="121" y="154"/>
                </a:cubicBezTo>
                <a:cubicBezTo>
                  <a:pt x="121" y="153"/>
                  <a:pt x="121" y="152"/>
                  <a:pt x="121" y="151"/>
                </a:cubicBezTo>
                <a:cubicBezTo>
                  <a:pt x="121" y="150"/>
                  <a:pt x="121" y="149"/>
                  <a:pt x="121" y="147"/>
                </a:cubicBezTo>
                <a:cubicBezTo>
                  <a:pt x="121" y="146"/>
                  <a:pt x="121" y="146"/>
                  <a:pt x="121" y="146"/>
                </a:cubicBezTo>
                <a:cubicBezTo>
                  <a:pt x="24" y="146"/>
                  <a:pt x="24" y="146"/>
                  <a:pt x="24" y="146"/>
                </a:cubicBezTo>
                <a:cubicBezTo>
                  <a:pt x="24" y="146"/>
                  <a:pt x="24" y="146"/>
                  <a:pt x="24" y="147"/>
                </a:cubicBezTo>
                <a:cubicBezTo>
                  <a:pt x="24" y="149"/>
                  <a:pt x="25" y="150"/>
                  <a:pt x="25" y="151"/>
                </a:cubicBezTo>
                <a:cubicBezTo>
                  <a:pt x="25" y="152"/>
                  <a:pt x="24" y="153"/>
                  <a:pt x="24" y="154"/>
                </a:cubicBezTo>
                <a:cubicBezTo>
                  <a:pt x="24" y="155"/>
                  <a:pt x="24" y="156"/>
                  <a:pt x="23" y="156"/>
                </a:cubicBezTo>
                <a:cubicBezTo>
                  <a:pt x="23" y="157"/>
                  <a:pt x="22" y="157"/>
                  <a:pt x="21" y="157"/>
                </a:cubicBezTo>
                <a:cubicBezTo>
                  <a:pt x="21" y="157"/>
                  <a:pt x="19" y="157"/>
                  <a:pt x="17" y="156"/>
                </a:cubicBezTo>
                <a:cubicBezTo>
                  <a:pt x="16" y="154"/>
                  <a:pt x="14" y="153"/>
                  <a:pt x="12" y="152"/>
                </a:cubicBezTo>
                <a:cubicBezTo>
                  <a:pt x="10" y="150"/>
                  <a:pt x="8" y="149"/>
                  <a:pt x="6" y="147"/>
                </a:cubicBezTo>
                <a:cubicBezTo>
                  <a:pt x="4" y="145"/>
                  <a:pt x="3" y="144"/>
                  <a:pt x="3" y="144"/>
                </a:cubicBezTo>
                <a:cubicBezTo>
                  <a:pt x="1" y="143"/>
                  <a:pt x="1" y="141"/>
                  <a:pt x="1" y="140"/>
                </a:cubicBezTo>
                <a:cubicBezTo>
                  <a:pt x="1" y="138"/>
                  <a:pt x="1" y="136"/>
                  <a:pt x="3" y="135"/>
                </a:cubicBezTo>
                <a:cubicBezTo>
                  <a:pt x="3" y="135"/>
                  <a:pt x="4" y="134"/>
                  <a:pt x="6" y="132"/>
                </a:cubicBezTo>
                <a:cubicBezTo>
                  <a:pt x="8" y="130"/>
                  <a:pt x="10" y="129"/>
                  <a:pt x="12" y="127"/>
                </a:cubicBezTo>
                <a:cubicBezTo>
                  <a:pt x="14" y="126"/>
                  <a:pt x="16" y="125"/>
                  <a:pt x="17" y="123"/>
                </a:cubicBezTo>
                <a:cubicBezTo>
                  <a:pt x="19" y="122"/>
                  <a:pt x="21" y="122"/>
                  <a:pt x="21" y="122"/>
                </a:cubicBezTo>
                <a:cubicBezTo>
                  <a:pt x="22" y="122"/>
                  <a:pt x="23" y="122"/>
                  <a:pt x="23" y="123"/>
                </a:cubicBezTo>
                <a:cubicBezTo>
                  <a:pt x="24" y="123"/>
                  <a:pt x="24" y="124"/>
                  <a:pt x="24" y="125"/>
                </a:cubicBezTo>
                <a:cubicBezTo>
                  <a:pt x="24" y="126"/>
                  <a:pt x="25" y="128"/>
                  <a:pt x="25" y="129"/>
                </a:cubicBezTo>
                <a:cubicBezTo>
                  <a:pt x="25" y="129"/>
                  <a:pt x="24" y="131"/>
                  <a:pt x="24" y="132"/>
                </a:cubicBezTo>
                <a:cubicBezTo>
                  <a:pt x="24" y="133"/>
                  <a:pt x="24" y="133"/>
                  <a:pt x="24" y="133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21" y="133"/>
                  <a:pt x="121" y="133"/>
                  <a:pt x="121" y="132"/>
                </a:cubicBezTo>
                <a:cubicBezTo>
                  <a:pt x="121" y="131"/>
                  <a:pt x="121" y="129"/>
                  <a:pt x="121" y="129"/>
                </a:cubicBezTo>
                <a:cubicBezTo>
                  <a:pt x="121" y="128"/>
                  <a:pt x="121" y="126"/>
                  <a:pt x="121" y="125"/>
                </a:cubicBezTo>
                <a:cubicBezTo>
                  <a:pt x="121" y="124"/>
                  <a:pt x="121" y="123"/>
                  <a:pt x="122" y="123"/>
                </a:cubicBezTo>
                <a:cubicBezTo>
                  <a:pt x="122" y="122"/>
                  <a:pt x="123" y="122"/>
                  <a:pt x="124" y="1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6" name="Freeform 56"/>
          <p:cNvSpPr>
            <a:spLocks noChangeAspect="1" noEditPoints="1"/>
          </p:cNvSpPr>
          <p:nvPr/>
        </p:nvSpPr>
        <p:spPr bwMode="auto">
          <a:xfrm>
            <a:off x="3341678" y="1866240"/>
            <a:ext cx="174866" cy="137395"/>
          </a:xfrm>
          <a:custGeom>
            <a:avLst/>
            <a:gdLst>
              <a:gd name="T0" fmla="*/ 121 w 169"/>
              <a:gd name="T1" fmla="*/ 6 h 133"/>
              <a:gd name="T2" fmla="*/ 121 w 169"/>
              <a:gd name="T3" fmla="*/ 19 h 133"/>
              <a:gd name="T4" fmla="*/ 119 w 169"/>
              <a:gd name="T5" fmla="*/ 23 h 133"/>
              <a:gd name="T6" fmla="*/ 115 w 169"/>
              <a:gd name="T7" fmla="*/ 25 h 133"/>
              <a:gd name="T8" fmla="*/ 6 w 169"/>
              <a:gd name="T9" fmla="*/ 25 h 133"/>
              <a:gd name="T10" fmla="*/ 1 w 169"/>
              <a:gd name="T11" fmla="*/ 23 h 133"/>
              <a:gd name="T12" fmla="*/ 0 w 169"/>
              <a:gd name="T13" fmla="*/ 19 h 133"/>
              <a:gd name="T14" fmla="*/ 0 w 169"/>
              <a:gd name="T15" fmla="*/ 6 h 133"/>
              <a:gd name="T16" fmla="*/ 1 w 169"/>
              <a:gd name="T17" fmla="*/ 2 h 133"/>
              <a:gd name="T18" fmla="*/ 6 w 169"/>
              <a:gd name="T19" fmla="*/ 0 h 133"/>
              <a:gd name="T20" fmla="*/ 115 w 169"/>
              <a:gd name="T21" fmla="*/ 0 h 133"/>
              <a:gd name="T22" fmla="*/ 119 w 169"/>
              <a:gd name="T23" fmla="*/ 2 h 133"/>
              <a:gd name="T24" fmla="*/ 121 w 169"/>
              <a:gd name="T25" fmla="*/ 6 h 133"/>
              <a:gd name="T26" fmla="*/ 157 w 169"/>
              <a:gd name="T27" fmla="*/ 43 h 133"/>
              <a:gd name="T28" fmla="*/ 157 w 169"/>
              <a:gd name="T29" fmla="*/ 55 h 133"/>
              <a:gd name="T30" fmla="*/ 155 w 169"/>
              <a:gd name="T31" fmla="*/ 59 h 133"/>
              <a:gd name="T32" fmla="*/ 151 w 169"/>
              <a:gd name="T33" fmla="*/ 61 h 133"/>
              <a:gd name="T34" fmla="*/ 6 w 169"/>
              <a:gd name="T35" fmla="*/ 61 h 133"/>
              <a:gd name="T36" fmla="*/ 1 w 169"/>
              <a:gd name="T37" fmla="*/ 59 h 133"/>
              <a:gd name="T38" fmla="*/ 0 w 169"/>
              <a:gd name="T39" fmla="*/ 55 h 133"/>
              <a:gd name="T40" fmla="*/ 0 w 169"/>
              <a:gd name="T41" fmla="*/ 43 h 133"/>
              <a:gd name="T42" fmla="*/ 1 w 169"/>
              <a:gd name="T43" fmla="*/ 38 h 133"/>
              <a:gd name="T44" fmla="*/ 6 w 169"/>
              <a:gd name="T45" fmla="*/ 37 h 133"/>
              <a:gd name="T46" fmla="*/ 151 w 169"/>
              <a:gd name="T47" fmla="*/ 37 h 133"/>
              <a:gd name="T48" fmla="*/ 155 w 169"/>
              <a:gd name="T49" fmla="*/ 38 h 133"/>
              <a:gd name="T50" fmla="*/ 157 w 169"/>
              <a:gd name="T51" fmla="*/ 43 h 133"/>
              <a:gd name="T52" fmla="*/ 133 w 169"/>
              <a:gd name="T53" fmla="*/ 79 h 133"/>
              <a:gd name="T54" fmla="*/ 133 w 169"/>
              <a:gd name="T55" fmla="*/ 91 h 133"/>
              <a:gd name="T56" fmla="*/ 131 w 169"/>
              <a:gd name="T57" fmla="*/ 95 h 133"/>
              <a:gd name="T58" fmla="*/ 127 w 169"/>
              <a:gd name="T59" fmla="*/ 97 h 133"/>
              <a:gd name="T60" fmla="*/ 6 w 169"/>
              <a:gd name="T61" fmla="*/ 97 h 133"/>
              <a:gd name="T62" fmla="*/ 1 w 169"/>
              <a:gd name="T63" fmla="*/ 95 h 133"/>
              <a:gd name="T64" fmla="*/ 0 w 169"/>
              <a:gd name="T65" fmla="*/ 91 h 133"/>
              <a:gd name="T66" fmla="*/ 0 w 169"/>
              <a:gd name="T67" fmla="*/ 79 h 133"/>
              <a:gd name="T68" fmla="*/ 1 w 169"/>
              <a:gd name="T69" fmla="*/ 75 h 133"/>
              <a:gd name="T70" fmla="*/ 6 w 169"/>
              <a:gd name="T71" fmla="*/ 73 h 133"/>
              <a:gd name="T72" fmla="*/ 127 w 169"/>
              <a:gd name="T73" fmla="*/ 73 h 133"/>
              <a:gd name="T74" fmla="*/ 131 w 169"/>
              <a:gd name="T75" fmla="*/ 75 h 133"/>
              <a:gd name="T76" fmla="*/ 133 w 169"/>
              <a:gd name="T77" fmla="*/ 79 h 133"/>
              <a:gd name="T78" fmla="*/ 169 w 169"/>
              <a:gd name="T79" fmla="*/ 115 h 133"/>
              <a:gd name="T80" fmla="*/ 169 w 169"/>
              <a:gd name="T81" fmla="*/ 127 h 133"/>
              <a:gd name="T82" fmla="*/ 167 w 169"/>
              <a:gd name="T83" fmla="*/ 132 h 133"/>
              <a:gd name="T84" fmla="*/ 163 w 169"/>
              <a:gd name="T85" fmla="*/ 133 h 133"/>
              <a:gd name="T86" fmla="*/ 6 w 169"/>
              <a:gd name="T87" fmla="*/ 133 h 133"/>
              <a:gd name="T88" fmla="*/ 1 w 169"/>
              <a:gd name="T89" fmla="*/ 132 h 133"/>
              <a:gd name="T90" fmla="*/ 0 w 169"/>
              <a:gd name="T91" fmla="*/ 127 h 133"/>
              <a:gd name="T92" fmla="*/ 0 w 169"/>
              <a:gd name="T93" fmla="*/ 115 h 133"/>
              <a:gd name="T94" fmla="*/ 1 w 169"/>
              <a:gd name="T95" fmla="*/ 111 h 133"/>
              <a:gd name="T96" fmla="*/ 6 w 169"/>
              <a:gd name="T97" fmla="*/ 109 h 133"/>
              <a:gd name="T98" fmla="*/ 163 w 169"/>
              <a:gd name="T99" fmla="*/ 109 h 133"/>
              <a:gd name="T100" fmla="*/ 167 w 169"/>
              <a:gd name="T101" fmla="*/ 111 h 133"/>
              <a:gd name="T102" fmla="*/ 169 w 169"/>
              <a:gd name="T103" fmla="*/ 11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9" h="133">
                <a:moveTo>
                  <a:pt x="121" y="6"/>
                </a:moveTo>
                <a:cubicBezTo>
                  <a:pt x="121" y="19"/>
                  <a:pt x="121" y="19"/>
                  <a:pt x="121" y="19"/>
                </a:cubicBezTo>
                <a:cubicBezTo>
                  <a:pt x="121" y="20"/>
                  <a:pt x="120" y="22"/>
                  <a:pt x="119" y="23"/>
                </a:cubicBezTo>
                <a:cubicBezTo>
                  <a:pt x="118" y="24"/>
                  <a:pt x="116" y="25"/>
                  <a:pt x="115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4" y="25"/>
                  <a:pt x="3" y="24"/>
                  <a:pt x="1" y="23"/>
                </a:cubicBezTo>
                <a:cubicBezTo>
                  <a:pt x="0" y="22"/>
                  <a:pt x="0" y="20"/>
                  <a:pt x="0" y="1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16" y="0"/>
                  <a:pt x="118" y="1"/>
                  <a:pt x="119" y="2"/>
                </a:cubicBezTo>
                <a:cubicBezTo>
                  <a:pt x="120" y="3"/>
                  <a:pt x="121" y="5"/>
                  <a:pt x="121" y="6"/>
                </a:cubicBezTo>
                <a:close/>
                <a:moveTo>
                  <a:pt x="157" y="43"/>
                </a:moveTo>
                <a:cubicBezTo>
                  <a:pt x="157" y="55"/>
                  <a:pt x="157" y="55"/>
                  <a:pt x="157" y="55"/>
                </a:cubicBezTo>
                <a:cubicBezTo>
                  <a:pt x="157" y="56"/>
                  <a:pt x="156" y="58"/>
                  <a:pt x="155" y="59"/>
                </a:cubicBezTo>
                <a:cubicBezTo>
                  <a:pt x="154" y="60"/>
                  <a:pt x="153" y="61"/>
                  <a:pt x="151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4" y="61"/>
                  <a:pt x="3" y="60"/>
                  <a:pt x="1" y="59"/>
                </a:cubicBezTo>
                <a:cubicBezTo>
                  <a:pt x="0" y="58"/>
                  <a:pt x="0" y="56"/>
                  <a:pt x="0" y="55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1"/>
                  <a:pt x="0" y="40"/>
                  <a:pt x="1" y="38"/>
                </a:cubicBezTo>
                <a:cubicBezTo>
                  <a:pt x="3" y="37"/>
                  <a:pt x="4" y="37"/>
                  <a:pt x="6" y="37"/>
                </a:cubicBezTo>
                <a:cubicBezTo>
                  <a:pt x="151" y="37"/>
                  <a:pt x="151" y="37"/>
                  <a:pt x="151" y="37"/>
                </a:cubicBezTo>
                <a:cubicBezTo>
                  <a:pt x="153" y="37"/>
                  <a:pt x="154" y="37"/>
                  <a:pt x="155" y="38"/>
                </a:cubicBezTo>
                <a:cubicBezTo>
                  <a:pt x="156" y="40"/>
                  <a:pt x="157" y="41"/>
                  <a:pt x="157" y="43"/>
                </a:cubicBezTo>
                <a:close/>
                <a:moveTo>
                  <a:pt x="133" y="79"/>
                </a:moveTo>
                <a:cubicBezTo>
                  <a:pt x="133" y="91"/>
                  <a:pt x="133" y="91"/>
                  <a:pt x="133" y="91"/>
                </a:cubicBezTo>
                <a:cubicBezTo>
                  <a:pt x="133" y="93"/>
                  <a:pt x="132" y="94"/>
                  <a:pt x="131" y="95"/>
                </a:cubicBezTo>
                <a:cubicBezTo>
                  <a:pt x="130" y="97"/>
                  <a:pt x="128" y="97"/>
                  <a:pt x="127" y="97"/>
                </a:cubicBezTo>
                <a:cubicBezTo>
                  <a:pt x="6" y="97"/>
                  <a:pt x="6" y="97"/>
                  <a:pt x="6" y="97"/>
                </a:cubicBezTo>
                <a:cubicBezTo>
                  <a:pt x="4" y="97"/>
                  <a:pt x="3" y="97"/>
                  <a:pt x="1" y="95"/>
                </a:cubicBezTo>
                <a:cubicBezTo>
                  <a:pt x="0" y="94"/>
                  <a:pt x="0" y="93"/>
                  <a:pt x="0" y="91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77"/>
                  <a:pt x="0" y="76"/>
                  <a:pt x="1" y="75"/>
                </a:cubicBezTo>
                <a:cubicBezTo>
                  <a:pt x="3" y="74"/>
                  <a:pt x="4" y="73"/>
                  <a:pt x="6" y="73"/>
                </a:cubicBezTo>
                <a:cubicBezTo>
                  <a:pt x="127" y="73"/>
                  <a:pt x="127" y="73"/>
                  <a:pt x="127" y="73"/>
                </a:cubicBezTo>
                <a:cubicBezTo>
                  <a:pt x="128" y="73"/>
                  <a:pt x="130" y="74"/>
                  <a:pt x="131" y="75"/>
                </a:cubicBezTo>
                <a:cubicBezTo>
                  <a:pt x="132" y="76"/>
                  <a:pt x="133" y="77"/>
                  <a:pt x="133" y="79"/>
                </a:cubicBezTo>
                <a:close/>
                <a:moveTo>
                  <a:pt x="169" y="115"/>
                </a:moveTo>
                <a:cubicBezTo>
                  <a:pt x="169" y="127"/>
                  <a:pt x="169" y="127"/>
                  <a:pt x="169" y="127"/>
                </a:cubicBezTo>
                <a:cubicBezTo>
                  <a:pt x="169" y="129"/>
                  <a:pt x="168" y="130"/>
                  <a:pt x="167" y="132"/>
                </a:cubicBezTo>
                <a:cubicBezTo>
                  <a:pt x="166" y="133"/>
                  <a:pt x="165" y="133"/>
                  <a:pt x="163" y="133"/>
                </a:cubicBezTo>
                <a:cubicBezTo>
                  <a:pt x="6" y="133"/>
                  <a:pt x="6" y="133"/>
                  <a:pt x="6" y="133"/>
                </a:cubicBezTo>
                <a:cubicBezTo>
                  <a:pt x="4" y="133"/>
                  <a:pt x="3" y="133"/>
                  <a:pt x="1" y="132"/>
                </a:cubicBezTo>
                <a:cubicBezTo>
                  <a:pt x="0" y="130"/>
                  <a:pt x="0" y="129"/>
                  <a:pt x="0" y="127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4"/>
                  <a:pt x="0" y="112"/>
                  <a:pt x="1" y="111"/>
                </a:cubicBezTo>
                <a:cubicBezTo>
                  <a:pt x="3" y="110"/>
                  <a:pt x="4" y="109"/>
                  <a:pt x="6" y="109"/>
                </a:cubicBezTo>
                <a:cubicBezTo>
                  <a:pt x="163" y="109"/>
                  <a:pt x="163" y="109"/>
                  <a:pt x="163" y="109"/>
                </a:cubicBezTo>
                <a:cubicBezTo>
                  <a:pt x="165" y="109"/>
                  <a:pt x="166" y="110"/>
                  <a:pt x="167" y="111"/>
                </a:cubicBezTo>
                <a:cubicBezTo>
                  <a:pt x="168" y="112"/>
                  <a:pt x="169" y="114"/>
                  <a:pt x="169" y="1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7" name="Freeform 57"/>
          <p:cNvSpPr>
            <a:spLocks noChangeAspect="1" noEditPoints="1"/>
          </p:cNvSpPr>
          <p:nvPr/>
        </p:nvSpPr>
        <p:spPr bwMode="auto">
          <a:xfrm>
            <a:off x="3560261" y="1866240"/>
            <a:ext cx="176428" cy="137395"/>
          </a:xfrm>
          <a:custGeom>
            <a:avLst/>
            <a:gdLst>
              <a:gd name="T0" fmla="*/ 170 w 170"/>
              <a:gd name="T1" fmla="*/ 115 h 133"/>
              <a:gd name="T2" fmla="*/ 170 w 170"/>
              <a:gd name="T3" fmla="*/ 127 h 133"/>
              <a:gd name="T4" fmla="*/ 168 w 170"/>
              <a:gd name="T5" fmla="*/ 132 h 133"/>
              <a:gd name="T6" fmla="*/ 164 w 170"/>
              <a:gd name="T7" fmla="*/ 133 h 133"/>
              <a:gd name="T8" fmla="*/ 6 w 170"/>
              <a:gd name="T9" fmla="*/ 133 h 133"/>
              <a:gd name="T10" fmla="*/ 2 w 170"/>
              <a:gd name="T11" fmla="*/ 132 h 133"/>
              <a:gd name="T12" fmla="*/ 0 w 170"/>
              <a:gd name="T13" fmla="*/ 127 h 133"/>
              <a:gd name="T14" fmla="*/ 0 w 170"/>
              <a:gd name="T15" fmla="*/ 115 h 133"/>
              <a:gd name="T16" fmla="*/ 2 w 170"/>
              <a:gd name="T17" fmla="*/ 111 h 133"/>
              <a:gd name="T18" fmla="*/ 6 w 170"/>
              <a:gd name="T19" fmla="*/ 109 h 133"/>
              <a:gd name="T20" fmla="*/ 164 w 170"/>
              <a:gd name="T21" fmla="*/ 109 h 133"/>
              <a:gd name="T22" fmla="*/ 168 w 170"/>
              <a:gd name="T23" fmla="*/ 111 h 133"/>
              <a:gd name="T24" fmla="*/ 170 w 170"/>
              <a:gd name="T25" fmla="*/ 115 h 133"/>
              <a:gd name="T26" fmla="*/ 158 w 170"/>
              <a:gd name="T27" fmla="*/ 43 h 133"/>
              <a:gd name="T28" fmla="*/ 158 w 170"/>
              <a:gd name="T29" fmla="*/ 55 h 133"/>
              <a:gd name="T30" fmla="*/ 156 w 170"/>
              <a:gd name="T31" fmla="*/ 59 h 133"/>
              <a:gd name="T32" fmla="*/ 152 w 170"/>
              <a:gd name="T33" fmla="*/ 61 h 133"/>
              <a:gd name="T34" fmla="*/ 18 w 170"/>
              <a:gd name="T35" fmla="*/ 61 h 133"/>
              <a:gd name="T36" fmla="*/ 14 w 170"/>
              <a:gd name="T37" fmla="*/ 59 h 133"/>
              <a:gd name="T38" fmla="*/ 12 w 170"/>
              <a:gd name="T39" fmla="*/ 55 h 133"/>
              <a:gd name="T40" fmla="*/ 12 w 170"/>
              <a:gd name="T41" fmla="*/ 43 h 133"/>
              <a:gd name="T42" fmla="*/ 14 w 170"/>
              <a:gd name="T43" fmla="*/ 38 h 133"/>
              <a:gd name="T44" fmla="*/ 18 w 170"/>
              <a:gd name="T45" fmla="*/ 37 h 133"/>
              <a:gd name="T46" fmla="*/ 152 w 170"/>
              <a:gd name="T47" fmla="*/ 37 h 133"/>
              <a:gd name="T48" fmla="*/ 156 w 170"/>
              <a:gd name="T49" fmla="*/ 38 h 133"/>
              <a:gd name="T50" fmla="*/ 158 w 170"/>
              <a:gd name="T51" fmla="*/ 43 h 133"/>
              <a:gd name="T52" fmla="*/ 133 w 170"/>
              <a:gd name="T53" fmla="*/ 79 h 133"/>
              <a:gd name="T54" fmla="*/ 133 w 170"/>
              <a:gd name="T55" fmla="*/ 91 h 133"/>
              <a:gd name="T56" fmla="*/ 132 w 170"/>
              <a:gd name="T57" fmla="*/ 95 h 133"/>
              <a:gd name="T58" fmla="*/ 127 w 170"/>
              <a:gd name="T59" fmla="*/ 97 h 133"/>
              <a:gd name="T60" fmla="*/ 43 w 170"/>
              <a:gd name="T61" fmla="*/ 97 h 133"/>
              <a:gd name="T62" fmla="*/ 38 w 170"/>
              <a:gd name="T63" fmla="*/ 95 h 133"/>
              <a:gd name="T64" fmla="*/ 37 w 170"/>
              <a:gd name="T65" fmla="*/ 91 h 133"/>
              <a:gd name="T66" fmla="*/ 37 w 170"/>
              <a:gd name="T67" fmla="*/ 79 h 133"/>
              <a:gd name="T68" fmla="*/ 38 w 170"/>
              <a:gd name="T69" fmla="*/ 75 h 133"/>
              <a:gd name="T70" fmla="*/ 43 w 170"/>
              <a:gd name="T71" fmla="*/ 73 h 133"/>
              <a:gd name="T72" fmla="*/ 127 w 170"/>
              <a:gd name="T73" fmla="*/ 73 h 133"/>
              <a:gd name="T74" fmla="*/ 132 w 170"/>
              <a:gd name="T75" fmla="*/ 75 h 133"/>
              <a:gd name="T76" fmla="*/ 133 w 170"/>
              <a:gd name="T77" fmla="*/ 79 h 133"/>
              <a:gd name="T78" fmla="*/ 121 w 170"/>
              <a:gd name="T79" fmla="*/ 6 h 133"/>
              <a:gd name="T80" fmla="*/ 121 w 170"/>
              <a:gd name="T81" fmla="*/ 19 h 133"/>
              <a:gd name="T82" fmla="*/ 120 w 170"/>
              <a:gd name="T83" fmla="*/ 23 h 133"/>
              <a:gd name="T84" fmla="*/ 115 w 170"/>
              <a:gd name="T85" fmla="*/ 25 h 133"/>
              <a:gd name="T86" fmla="*/ 55 w 170"/>
              <a:gd name="T87" fmla="*/ 25 h 133"/>
              <a:gd name="T88" fmla="*/ 51 w 170"/>
              <a:gd name="T89" fmla="*/ 23 h 133"/>
              <a:gd name="T90" fmla="*/ 49 w 170"/>
              <a:gd name="T91" fmla="*/ 19 h 133"/>
              <a:gd name="T92" fmla="*/ 49 w 170"/>
              <a:gd name="T93" fmla="*/ 6 h 133"/>
              <a:gd name="T94" fmla="*/ 51 w 170"/>
              <a:gd name="T95" fmla="*/ 2 h 133"/>
              <a:gd name="T96" fmla="*/ 55 w 170"/>
              <a:gd name="T97" fmla="*/ 0 h 133"/>
              <a:gd name="T98" fmla="*/ 115 w 170"/>
              <a:gd name="T99" fmla="*/ 0 h 133"/>
              <a:gd name="T100" fmla="*/ 120 w 170"/>
              <a:gd name="T101" fmla="*/ 2 h 133"/>
              <a:gd name="T102" fmla="*/ 121 w 170"/>
              <a:gd name="T103" fmla="*/ 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" h="133">
                <a:moveTo>
                  <a:pt x="170" y="115"/>
                </a:moveTo>
                <a:cubicBezTo>
                  <a:pt x="170" y="127"/>
                  <a:pt x="170" y="127"/>
                  <a:pt x="170" y="127"/>
                </a:cubicBezTo>
                <a:cubicBezTo>
                  <a:pt x="170" y="129"/>
                  <a:pt x="169" y="130"/>
                  <a:pt x="168" y="132"/>
                </a:cubicBezTo>
                <a:cubicBezTo>
                  <a:pt x="167" y="133"/>
                  <a:pt x="165" y="133"/>
                  <a:pt x="164" y="133"/>
                </a:cubicBezTo>
                <a:cubicBezTo>
                  <a:pt x="6" y="133"/>
                  <a:pt x="6" y="133"/>
                  <a:pt x="6" y="133"/>
                </a:cubicBezTo>
                <a:cubicBezTo>
                  <a:pt x="5" y="133"/>
                  <a:pt x="3" y="133"/>
                  <a:pt x="2" y="132"/>
                </a:cubicBezTo>
                <a:cubicBezTo>
                  <a:pt x="1" y="130"/>
                  <a:pt x="0" y="129"/>
                  <a:pt x="0" y="127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4"/>
                  <a:pt x="1" y="112"/>
                  <a:pt x="2" y="111"/>
                </a:cubicBezTo>
                <a:cubicBezTo>
                  <a:pt x="3" y="110"/>
                  <a:pt x="5" y="109"/>
                  <a:pt x="6" y="109"/>
                </a:cubicBezTo>
                <a:cubicBezTo>
                  <a:pt x="164" y="109"/>
                  <a:pt x="164" y="109"/>
                  <a:pt x="164" y="109"/>
                </a:cubicBezTo>
                <a:cubicBezTo>
                  <a:pt x="165" y="109"/>
                  <a:pt x="167" y="110"/>
                  <a:pt x="168" y="111"/>
                </a:cubicBezTo>
                <a:cubicBezTo>
                  <a:pt x="169" y="112"/>
                  <a:pt x="170" y="114"/>
                  <a:pt x="170" y="115"/>
                </a:cubicBezTo>
                <a:close/>
                <a:moveTo>
                  <a:pt x="158" y="43"/>
                </a:moveTo>
                <a:cubicBezTo>
                  <a:pt x="158" y="55"/>
                  <a:pt x="158" y="55"/>
                  <a:pt x="158" y="55"/>
                </a:cubicBezTo>
                <a:cubicBezTo>
                  <a:pt x="158" y="56"/>
                  <a:pt x="157" y="58"/>
                  <a:pt x="156" y="59"/>
                </a:cubicBezTo>
                <a:cubicBezTo>
                  <a:pt x="155" y="60"/>
                  <a:pt x="153" y="61"/>
                  <a:pt x="152" y="61"/>
                </a:cubicBezTo>
                <a:cubicBezTo>
                  <a:pt x="18" y="61"/>
                  <a:pt x="18" y="61"/>
                  <a:pt x="18" y="61"/>
                </a:cubicBezTo>
                <a:cubicBezTo>
                  <a:pt x="17" y="61"/>
                  <a:pt x="15" y="60"/>
                  <a:pt x="14" y="59"/>
                </a:cubicBezTo>
                <a:cubicBezTo>
                  <a:pt x="13" y="58"/>
                  <a:pt x="12" y="56"/>
                  <a:pt x="12" y="55"/>
                </a:cubicBezTo>
                <a:cubicBezTo>
                  <a:pt x="12" y="43"/>
                  <a:pt x="12" y="43"/>
                  <a:pt x="12" y="43"/>
                </a:cubicBezTo>
                <a:cubicBezTo>
                  <a:pt x="12" y="41"/>
                  <a:pt x="13" y="40"/>
                  <a:pt x="14" y="38"/>
                </a:cubicBezTo>
                <a:cubicBezTo>
                  <a:pt x="15" y="37"/>
                  <a:pt x="17" y="37"/>
                  <a:pt x="18" y="37"/>
                </a:cubicBezTo>
                <a:cubicBezTo>
                  <a:pt x="152" y="37"/>
                  <a:pt x="152" y="37"/>
                  <a:pt x="152" y="37"/>
                </a:cubicBezTo>
                <a:cubicBezTo>
                  <a:pt x="153" y="37"/>
                  <a:pt x="155" y="37"/>
                  <a:pt x="156" y="38"/>
                </a:cubicBezTo>
                <a:cubicBezTo>
                  <a:pt x="157" y="40"/>
                  <a:pt x="158" y="41"/>
                  <a:pt x="158" y="43"/>
                </a:cubicBezTo>
                <a:close/>
                <a:moveTo>
                  <a:pt x="133" y="79"/>
                </a:moveTo>
                <a:cubicBezTo>
                  <a:pt x="133" y="91"/>
                  <a:pt x="133" y="91"/>
                  <a:pt x="133" y="91"/>
                </a:cubicBezTo>
                <a:cubicBezTo>
                  <a:pt x="133" y="93"/>
                  <a:pt x="133" y="94"/>
                  <a:pt x="132" y="95"/>
                </a:cubicBezTo>
                <a:cubicBezTo>
                  <a:pt x="130" y="97"/>
                  <a:pt x="129" y="97"/>
                  <a:pt x="127" y="97"/>
                </a:cubicBezTo>
                <a:cubicBezTo>
                  <a:pt x="43" y="97"/>
                  <a:pt x="43" y="97"/>
                  <a:pt x="43" y="97"/>
                </a:cubicBezTo>
                <a:cubicBezTo>
                  <a:pt x="41" y="97"/>
                  <a:pt x="40" y="97"/>
                  <a:pt x="38" y="95"/>
                </a:cubicBezTo>
                <a:cubicBezTo>
                  <a:pt x="37" y="94"/>
                  <a:pt x="37" y="93"/>
                  <a:pt x="37" y="91"/>
                </a:cubicBezTo>
                <a:cubicBezTo>
                  <a:pt x="37" y="79"/>
                  <a:pt x="37" y="79"/>
                  <a:pt x="37" y="79"/>
                </a:cubicBezTo>
                <a:cubicBezTo>
                  <a:pt x="37" y="77"/>
                  <a:pt x="37" y="76"/>
                  <a:pt x="38" y="75"/>
                </a:cubicBezTo>
                <a:cubicBezTo>
                  <a:pt x="40" y="74"/>
                  <a:pt x="41" y="73"/>
                  <a:pt x="43" y="73"/>
                </a:cubicBezTo>
                <a:cubicBezTo>
                  <a:pt x="127" y="73"/>
                  <a:pt x="127" y="73"/>
                  <a:pt x="127" y="73"/>
                </a:cubicBezTo>
                <a:cubicBezTo>
                  <a:pt x="129" y="73"/>
                  <a:pt x="130" y="74"/>
                  <a:pt x="132" y="75"/>
                </a:cubicBezTo>
                <a:cubicBezTo>
                  <a:pt x="133" y="76"/>
                  <a:pt x="133" y="77"/>
                  <a:pt x="133" y="79"/>
                </a:cubicBezTo>
                <a:close/>
                <a:moveTo>
                  <a:pt x="121" y="6"/>
                </a:moveTo>
                <a:cubicBezTo>
                  <a:pt x="121" y="19"/>
                  <a:pt x="121" y="19"/>
                  <a:pt x="121" y="19"/>
                </a:cubicBezTo>
                <a:cubicBezTo>
                  <a:pt x="121" y="20"/>
                  <a:pt x="121" y="22"/>
                  <a:pt x="120" y="23"/>
                </a:cubicBezTo>
                <a:cubicBezTo>
                  <a:pt x="118" y="24"/>
                  <a:pt x="117" y="25"/>
                  <a:pt x="115" y="25"/>
                </a:cubicBezTo>
                <a:cubicBezTo>
                  <a:pt x="55" y="25"/>
                  <a:pt x="55" y="25"/>
                  <a:pt x="55" y="25"/>
                </a:cubicBezTo>
                <a:cubicBezTo>
                  <a:pt x="53" y="25"/>
                  <a:pt x="52" y="24"/>
                  <a:pt x="51" y="23"/>
                </a:cubicBezTo>
                <a:cubicBezTo>
                  <a:pt x="49" y="22"/>
                  <a:pt x="49" y="20"/>
                  <a:pt x="49" y="19"/>
                </a:cubicBezTo>
                <a:cubicBezTo>
                  <a:pt x="49" y="6"/>
                  <a:pt x="49" y="6"/>
                  <a:pt x="49" y="6"/>
                </a:cubicBezTo>
                <a:cubicBezTo>
                  <a:pt x="49" y="5"/>
                  <a:pt x="49" y="3"/>
                  <a:pt x="51" y="2"/>
                </a:cubicBezTo>
                <a:cubicBezTo>
                  <a:pt x="52" y="1"/>
                  <a:pt x="53" y="0"/>
                  <a:pt x="55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17" y="0"/>
                  <a:pt x="118" y="1"/>
                  <a:pt x="120" y="2"/>
                </a:cubicBezTo>
                <a:cubicBezTo>
                  <a:pt x="121" y="3"/>
                  <a:pt x="121" y="5"/>
                  <a:pt x="121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8" name="Freeform 58"/>
          <p:cNvSpPr>
            <a:spLocks noChangeAspect="1" noEditPoints="1"/>
          </p:cNvSpPr>
          <p:nvPr/>
        </p:nvSpPr>
        <p:spPr bwMode="auto">
          <a:xfrm>
            <a:off x="3781966" y="1866240"/>
            <a:ext cx="174866" cy="137395"/>
          </a:xfrm>
          <a:custGeom>
            <a:avLst/>
            <a:gdLst>
              <a:gd name="T0" fmla="*/ 170 w 170"/>
              <a:gd name="T1" fmla="*/ 115 h 133"/>
              <a:gd name="T2" fmla="*/ 170 w 170"/>
              <a:gd name="T3" fmla="*/ 127 h 133"/>
              <a:gd name="T4" fmla="*/ 168 w 170"/>
              <a:gd name="T5" fmla="*/ 132 h 133"/>
              <a:gd name="T6" fmla="*/ 163 w 170"/>
              <a:gd name="T7" fmla="*/ 133 h 133"/>
              <a:gd name="T8" fmla="*/ 6 w 170"/>
              <a:gd name="T9" fmla="*/ 133 h 133"/>
              <a:gd name="T10" fmla="*/ 2 w 170"/>
              <a:gd name="T11" fmla="*/ 132 h 133"/>
              <a:gd name="T12" fmla="*/ 0 w 170"/>
              <a:gd name="T13" fmla="*/ 127 h 133"/>
              <a:gd name="T14" fmla="*/ 0 w 170"/>
              <a:gd name="T15" fmla="*/ 115 h 133"/>
              <a:gd name="T16" fmla="*/ 2 w 170"/>
              <a:gd name="T17" fmla="*/ 111 h 133"/>
              <a:gd name="T18" fmla="*/ 6 w 170"/>
              <a:gd name="T19" fmla="*/ 109 h 133"/>
              <a:gd name="T20" fmla="*/ 163 w 170"/>
              <a:gd name="T21" fmla="*/ 109 h 133"/>
              <a:gd name="T22" fmla="*/ 168 w 170"/>
              <a:gd name="T23" fmla="*/ 111 h 133"/>
              <a:gd name="T24" fmla="*/ 170 w 170"/>
              <a:gd name="T25" fmla="*/ 115 h 133"/>
              <a:gd name="T26" fmla="*/ 170 w 170"/>
              <a:gd name="T27" fmla="*/ 43 h 133"/>
              <a:gd name="T28" fmla="*/ 170 w 170"/>
              <a:gd name="T29" fmla="*/ 55 h 133"/>
              <a:gd name="T30" fmla="*/ 168 w 170"/>
              <a:gd name="T31" fmla="*/ 59 h 133"/>
              <a:gd name="T32" fmla="*/ 163 w 170"/>
              <a:gd name="T33" fmla="*/ 61 h 133"/>
              <a:gd name="T34" fmla="*/ 18 w 170"/>
              <a:gd name="T35" fmla="*/ 61 h 133"/>
              <a:gd name="T36" fmla="*/ 14 w 170"/>
              <a:gd name="T37" fmla="*/ 59 h 133"/>
              <a:gd name="T38" fmla="*/ 12 w 170"/>
              <a:gd name="T39" fmla="*/ 55 h 133"/>
              <a:gd name="T40" fmla="*/ 12 w 170"/>
              <a:gd name="T41" fmla="*/ 43 h 133"/>
              <a:gd name="T42" fmla="*/ 14 w 170"/>
              <a:gd name="T43" fmla="*/ 38 h 133"/>
              <a:gd name="T44" fmla="*/ 18 w 170"/>
              <a:gd name="T45" fmla="*/ 37 h 133"/>
              <a:gd name="T46" fmla="*/ 163 w 170"/>
              <a:gd name="T47" fmla="*/ 37 h 133"/>
              <a:gd name="T48" fmla="*/ 168 w 170"/>
              <a:gd name="T49" fmla="*/ 38 h 133"/>
              <a:gd name="T50" fmla="*/ 170 w 170"/>
              <a:gd name="T51" fmla="*/ 43 h 133"/>
              <a:gd name="T52" fmla="*/ 170 w 170"/>
              <a:gd name="T53" fmla="*/ 79 h 133"/>
              <a:gd name="T54" fmla="*/ 170 w 170"/>
              <a:gd name="T55" fmla="*/ 91 h 133"/>
              <a:gd name="T56" fmla="*/ 168 w 170"/>
              <a:gd name="T57" fmla="*/ 95 h 133"/>
              <a:gd name="T58" fmla="*/ 163 w 170"/>
              <a:gd name="T59" fmla="*/ 97 h 133"/>
              <a:gd name="T60" fmla="*/ 42 w 170"/>
              <a:gd name="T61" fmla="*/ 97 h 133"/>
              <a:gd name="T62" fmla="*/ 38 w 170"/>
              <a:gd name="T63" fmla="*/ 95 h 133"/>
              <a:gd name="T64" fmla="*/ 36 w 170"/>
              <a:gd name="T65" fmla="*/ 91 h 133"/>
              <a:gd name="T66" fmla="*/ 36 w 170"/>
              <a:gd name="T67" fmla="*/ 79 h 133"/>
              <a:gd name="T68" fmla="*/ 38 w 170"/>
              <a:gd name="T69" fmla="*/ 75 h 133"/>
              <a:gd name="T70" fmla="*/ 42 w 170"/>
              <a:gd name="T71" fmla="*/ 73 h 133"/>
              <a:gd name="T72" fmla="*/ 163 w 170"/>
              <a:gd name="T73" fmla="*/ 73 h 133"/>
              <a:gd name="T74" fmla="*/ 168 w 170"/>
              <a:gd name="T75" fmla="*/ 75 h 133"/>
              <a:gd name="T76" fmla="*/ 170 w 170"/>
              <a:gd name="T77" fmla="*/ 79 h 133"/>
              <a:gd name="T78" fmla="*/ 170 w 170"/>
              <a:gd name="T79" fmla="*/ 6 h 133"/>
              <a:gd name="T80" fmla="*/ 170 w 170"/>
              <a:gd name="T81" fmla="*/ 19 h 133"/>
              <a:gd name="T82" fmla="*/ 168 w 170"/>
              <a:gd name="T83" fmla="*/ 23 h 133"/>
              <a:gd name="T84" fmla="*/ 163 w 170"/>
              <a:gd name="T85" fmla="*/ 25 h 133"/>
              <a:gd name="T86" fmla="*/ 55 w 170"/>
              <a:gd name="T87" fmla="*/ 25 h 133"/>
              <a:gd name="T88" fmla="*/ 50 w 170"/>
              <a:gd name="T89" fmla="*/ 23 h 133"/>
              <a:gd name="T90" fmla="*/ 49 w 170"/>
              <a:gd name="T91" fmla="*/ 19 h 133"/>
              <a:gd name="T92" fmla="*/ 49 w 170"/>
              <a:gd name="T93" fmla="*/ 6 h 133"/>
              <a:gd name="T94" fmla="*/ 50 w 170"/>
              <a:gd name="T95" fmla="*/ 2 h 133"/>
              <a:gd name="T96" fmla="*/ 55 w 170"/>
              <a:gd name="T97" fmla="*/ 0 h 133"/>
              <a:gd name="T98" fmla="*/ 163 w 170"/>
              <a:gd name="T99" fmla="*/ 0 h 133"/>
              <a:gd name="T100" fmla="*/ 168 w 170"/>
              <a:gd name="T101" fmla="*/ 2 h 133"/>
              <a:gd name="T102" fmla="*/ 170 w 170"/>
              <a:gd name="T103" fmla="*/ 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" h="133">
                <a:moveTo>
                  <a:pt x="170" y="115"/>
                </a:moveTo>
                <a:cubicBezTo>
                  <a:pt x="170" y="127"/>
                  <a:pt x="170" y="127"/>
                  <a:pt x="170" y="127"/>
                </a:cubicBezTo>
                <a:cubicBezTo>
                  <a:pt x="170" y="129"/>
                  <a:pt x="169" y="130"/>
                  <a:pt x="168" y="132"/>
                </a:cubicBezTo>
                <a:cubicBezTo>
                  <a:pt x="167" y="133"/>
                  <a:pt x="165" y="133"/>
                  <a:pt x="163" y="133"/>
                </a:cubicBezTo>
                <a:cubicBezTo>
                  <a:pt x="6" y="133"/>
                  <a:pt x="6" y="133"/>
                  <a:pt x="6" y="133"/>
                </a:cubicBezTo>
                <a:cubicBezTo>
                  <a:pt x="5" y="133"/>
                  <a:pt x="3" y="133"/>
                  <a:pt x="2" y="132"/>
                </a:cubicBezTo>
                <a:cubicBezTo>
                  <a:pt x="1" y="130"/>
                  <a:pt x="0" y="129"/>
                  <a:pt x="0" y="127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4"/>
                  <a:pt x="1" y="112"/>
                  <a:pt x="2" y="111"/>
                </a:cubicBezTo>
                <a:cubicBezTo>
                  <a:pt x="3" y="110"/>
                  <a:pt x="5" y="109"/>
                  <a:pt x="6" y="109"/>
                </a:cubicBezTo>
                <a:cubicBezTo>
                  <a:pt x="163" y="109"/>
                  <a:pt x="163" y="109"/>
                  <a:pt x="163" y="109"/>
                </a:cubicBezTo>
                <a:cubicBezTo>
                  <a:pt x="165" y="109"/>
                  <a:pt x="167" y="110"/>
                  <a:pt x="168" y="111"/>
                </a:cubicBezTo>
                <a:cubicBezTo>
                  <a:pt x="169" y="112"/>
                  <a:pt x="170" y="114"/>
                  <a:pt x="170" y="115"/>
                </a:cubicBezTo>
                <a:close/>
                <a:moveTo>
                  <a:pt x="170" y="43"/>
                </a:moveTo>
                <a:cubicBezTo>
                  <a:pt x="170" y="55"/>
                  <a:pt x="170" y="55"/>
                  <a:pt x="170" y="55"/>
                </a:cubicBezTo>
                <a:cubicBezTo>
                  <a:pt x="170" y="56"/>
                  <a:pt x="169" y="58"/>
                  <a:pt x="168" y="59"/>
                </a:cubicBezTo>
                <a:cubicBezTo>
                  <a:pt x="167" y="60"/>
                  <a:pt x="165" y="61"/>
                  <a:pt x="163" y="61"/>
                </a:cubicBezTo>
                <a:cubicBezTo>
                  <a:pt x="18" y="61"/>
                  <a:pt x="18" y="61"/>
                  <a:pt x="18" y="61"/>
                </a:cubicBezTo>
                <a:cubicBezTo>
                  <a:pt x="17" y="61"/>
                  <a:pt x="15" y="60"/>
                  <a:pt x="14" y="59"/>
                </a:cubicBezTo>
                <a:cubicBezTo>
                  <a:pt x="13" y="58"/>
                  <a:pt x="12" y="56"/>
                  <a:pt x="12" y="55"/>
                </a:cubicBezTo>
                <a:cubicBezTo>
                  <a:pt x="12" y="43"/>
                  <a:pt x="12" y="43"/>
                  <a:pt x="12" y="43"/>
                </a:cubicBezTo>
                <a:cubicBezTo>
                  <a:pt x="12" y="41"/>
                  <a:pt x="13" y="40"/>
                  <a:pt x="14" y="38"/>
                </a:cubicBezTo>
                <a:cubicBezTo>
                  <a:pt x="15" y="37"/>
                  <a:pt x="17" y="37"/>
                  <a:pt x="18" y="37"/>
                </a:cubicBezTo>
                <a:cubicBezTo>
                  <a:pt x="163" y="37"/>
                  <a:pt x="163" y="37"/>
                  <a:pt x="163" y="37"/>
                </a:cubicBezTo>
                <a:cubicBezTo>
                  <a:pt x="165" y="37"/>
                  <a:pt x="167" y="37"/>
                  <a:pt x="168" y="38"/>
                </a:cubicBezTo>
                <a:cubicBezTo>
                  <a:pt x="169" y="40"/>
                  <a:pt x="170" y="41"/>
                  <a:pt x="170" y="43"/>
                </a:cubicBezTo>
                <a:close/>
                <a:moveTo>
                  <a:pt x="170" y="79"/>
                </a:moveTo>
                <a:cubicBezTo>
                  <a:pt x="170" y="91"/>
                  <a:pt x="170" y="91"/>
                  <a:pt x="170" y="91"/>
                </a:cubicBezTo>
                <a:cubicBezTo>
                  <a:pt x="170" y="93"/>
                  <a:pt x="169" y="94"/>
                  <a:pt x="168" y="95"/>
                </a:cubicBezTo>
                <a:cubicBezTo>
                  <a:pt x="167" y="97"/>
                  <a:pt x="165" y="97"/>
                  <a:pt x="163" y="97"/>
                </a:cubicBezTo>
                <a:cubicBezTo>
                  <a:pt x="42" y="97"/>
                  <a:pt x="42" y="97"/>
                  <a:pt x="42" y="97"/>
                </a:cubicBezTo>
                <a:cubicBezTo>
                  <a:pt x="41" y="97"/>
                  <a:pt x="39" y="97"/>
                  <a:pt x="38" y="95"/>
                </a:cubicBezTo>
                <a:cubicBezTo>
                  <a:pt x="37" y="94"/>
                  <a:pt x="36" y="93"/>
                  <a:pt x="36" y="91"/>
                </a:cubicBezTo>
                <a:cubicBezTo>
                  <a:pt x="36" y="79"/>
                  <a:pt x="36" y="79"/>
                  <a:pt x="36" y="79"/>
                </a:cubicBezTo>
                <a:cubicBezTo>
                  <a:pt x="36" y="77"/>
                  <a:pt x="37" y="76"/>
                  <a:pt x="38" y="75"/>
                </a:cubicBezTo>
                <a:cubicBezTo>
                  <a:pt x="39" y="74"/>
                  <a:pt x="41" y="73"/>
                  <a:pt x="42" y="73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65" y="73"/>
                  <a:pt x="167" y="74"/>
                  <a:pt x="168" y="75"/>
                </a:cubicBezTo>
                <a:cubicBezTo>
                  <a:pt x="169" y="76"/>
                  <a:pt x="170" y="77"/>
                  <a:pt x="170" y="79"/>
                </a:cubicBezTo>
                <a:close/>
                <a:moveTo>
                  <a:pt x="170" y="6"/>
                </a:moveTo>
                <a:cubicBezTo>
                  <a:pt x="170" y="19"/>
                  <a:pt x="170" y="19"/>
                  <a:pt x="170" y="19"/>
                </a:cubicBezTo>
                <a:cubicBezTo>
                  <a:pt x="170" y="20"/>
                  <a:pt x="169" y="22"/>
                  <a:pt x="168" y="23"/>
                </a:cubicBezTo>
                <a:cubicBezTo>
                  <a:pt x="167" y="24"/>
                  <a:pt x="165" y="25"/>
                  <a:pt x="163" y="25"/>
                </a:cubicBezTo>
                <a:cubicBezTo>
                  <a:pt x="55" y="25"/>
                  <a:pt x="55" y="25"/>
                  <a:pt x="55" y="25"/>
                </a:cubicBezTo>
                <a:cubicBezTo>
                  <a:pt x="53" y="25"/>
                  <a:pt x="51" y="24"/>
                  <a:pt x="50" y="23"/>
                </a:cubicBezTo>
                <a:cubicBezTo>
                  <a:pt x="49" y="22"/>
                  <a:pt x="49" y="20"/>
                  <a:pt x="49" y="19"/>
                </a:cubicBezTo>
                <a:cubicBezTo>
                  <a:pt x="49" y="6"/>
                  <a:pt x="49" y="6"/>
                  <a:pt x="49" y="6"/>
                </a:cubicBezTo>
                <a:cubicBezTo>
                  <a:pt x="49" y="5"/>
                  <a:pt x="49" y="3"/>
                  <a:pt x="50" y="2"/>
                </a:cubicBezTo>
                <a:cubicBezTo>
                  <a:pt x="51" y="1"/>
                  <a:pt x="53" y="0"/>
                  <a:pt x="55" y="0"/>
                </a:cubicBezTo>
                <a:cubicBezTo>
                  <a:pt x="163" y="0"/>
                  <a:pt x="163" y="0"/>
                  <a:pt x="163" y="0"/>
                </a:cubicBezTo>
                <a:cubicBezTo>
                  <a:pt x="165" y="0"/>
                  <a:pt x="167" y="1"/>
                  <a:pt x="168" y="2"/>
                </a:cubicBezTo>
                <a:cubicBezTo>
                  <a:pt x="169" y="3"/>
                  <a:pt x="170" y="5"/>
                  <a:pt x="170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9" name="Freeform 59"/>
          <p:cNvSpPr>
            <a:spLocks noChangeAspect="1" noEditPoints="1"/>
          </p:cNvSpPr>
          <p:nvPr/>
        </p:nvSpPr>
        <p:spPr bwMode="auto">
          <a:xfrm>
            <a:off x="4002111" y="1866240"/>
            <a:ext cx="174866" cy="137395"/>
          </a:xfrm>
          <a:custGeom>
            <a:avLst/>
            <a:gdLst>
              <a:gd name="T0" fmla="*/ 169 w 169"/>
              <a:gd name="T1" fmla="*/ 6 h 133"/>
              <a:gd name="T2" fmla="*/ 169 w 169"/>
              <a:gd name="T3" fmla="*/ 19 h 133"/>
              <a:gd name="T4" fmla="*/ 167 w 169"/>
              <a:gd name="T5" fmla="*/ 23 h 133"/>
              <a:gd name="T6" fmla="*/ 163 w 169"/>
              <a:gd name="T7" fmla="*/ 25 h 133"/>
              <a:gd name="T8" fmla="*/ 6 w 169"/>
              <a:gd name="T9" fmla="*/ 25 h 133"/>
              <a:gd name="T10" fmla="*/ 2 w 169"/>
              <a:gd name="T11" fmla="*/ 23 h 133"/>
              <a:gd name="T12" fmla="*/ 0 w 169"/>
              <a:gd name="T13" fmla="*/ 19 h 133"/>
              <a:gd name="T14" fmla="*/ 0 w 169"/>
              <a:gd name="T15" fmla="*/ 6 h 133"/>
              <a:gd name="T16" fmla="*/ 2 w 169"/>
              <a:gd name="T17" fmla="*/ 2 h 133"/>
              <a:gd name="T18" fmla="*/ 6 w 169"/>
              <a:gd name="T19" fmla="*/ 0 h 133"/>
              <a:gd name="T20" fmla="*/ 163 w 169"/>
              <a:gd name="T21" fmla="*/ 0 h 133"/>
              <a:gd name="T22" fmla="*/ 167 w 169"/>
              <a:gd name="T23" fmla="*/ 2 h 133"/>
              <a:gd name="T24" fmla="*/ 169 w 169"/>
              <a:gd name="T25" fmla="*/ 6 h 133"/>
              <a:gd name="T26" fmla="*/ 169 w 169"/>
              <a:gd name="T27" fmla="*/ 43 h 133"/>
              <a:gd name="T28" fmla="*/ 169 w 169"/>
              <a:gd name="T29" fmla="*/ 55 h 133"/>
              <a:gd name="T30" fmla="*/ 167 w 169"/>
              <a:gd name="T31" fmla="*/ 59 h 133"/>
              <a:gd name="T32" fmla="*/ 163 w 169"/>
              <a:gd name="T33" fmla="*/ 61 h 133"/>
              <a:gd name="T34" fmla="*/ 6 w 169"/>
              <a:gd name="T35" fmla="*/ 61 h 133"/>
              <a:gd name="T36" fmla="*/ 2 w 169"/>
              <a:gd name="T37" fmla="*/ 59 h 133"/>
              <a:gd name="T38" fmla="*/ 0 w 169"/>
              <a:gd name="T39" fmla="*/ 55 h 133"/>
              <a:gd name="T40" fmla="*/ 0 w 169"/>
              <a:gd name="T41" fmla="*/ 43 h 133"/>
              <a:gd name="T42" fmla="*/ 2 w 169"/>
              <a:gd name="T43" fmla="*/ 38 h 133"/>
              <a:gd name="T44" fmla="*/ 6 w 169"/>
              <a:gd name="T45" fmla="*/ 37 h 133"/>
              <a:gd name="T46" fmla="*/ 163 w 169"/>
              <a:gd name="T47" fmla="*/ 37 h 133"/>
              <a:gd name="T48" fmla="*/ 167 w 169"/>
              <a:gd name="T49" fmla="*/ 38 h 133"/>
              <a:gd name="T50" fmla="*/ 169 w 169"/>
              <a:gd name="T51" fmla="*/ 43 h 133"/>
              <a:gd name="T52" fmla="*/ 169 w 169"/>
              <a:gd name="T53" fmla="*/ 79 h 133"/>
              <a:gd name="T54" fmla="*/ 169 w 169"/>
              <a:gd name="T55" fmla="*/ 91 h 133"/>
              <a:gd name="T56" fmla="*/ 167 w 169"/>
              <a:gd name="T57" fmla="*/ 95 h 133"/>
              <a:gd name="T58" fmla="*/ 163 w 169"/>
              <a:gd name="T59" fmla="*/ 97 h 133"/>
              <a:gd name="T60" fmla="*/ 6 w 169"/>
              <a:gd name="T61" fmla="*/ 97 h 133"/>
              <a:gd name="T62" fmla="*/ 2 w 169"/>
              <a:gd name="T63" fmla="*/ 95 h 133"/>
              <a:gd name="T64" fmla="*/ 0 w 169"/>
              <a:gd name="T65" fmla="*/ 91 h 133"/>
              <a:gd name="T66" fmla="*/ 0 w 169"/>
              <a:gd name="T67" fmla="*/ 79 h 133"/>
              <a:gd name="T68" fmla="*/ 2 w 169"/>
              <a:gd name="T69" fmla="*/ 75 h 133"/>
              <a:gd name="T70" fmla="*/ 6 w 169"/>
              <a:gd name="T71" fmla="*/ 73 h 133"/>
              <a:gd name="T72" fmla="*/ 163 w 169"/>
              <a:gd name="T73" fmla="*/ 73 h 133"/>
              <a:gd name="T74" fmla="*/ 167 w 169"/>
              <a:gd name="T75" fmla="*/ 75 h 133"/>
              <a:gd name="T76" fmla="*/ 169 w 169"/>
              <a:gd name="T77" fmla="*/ 79 h 133"/>
              <a:gd name="T78" fmla="*/ 169 w 169"/>
              <a:gd name="T79" fmla="*/ 115 h 133"/>
              <a:gd name="T80" fmla="*/ 169 w 169"/>
              <a:gd name="T81" fmla="*/ 127 h 133"/>
              <a:gd name="T82" fmla="*/ 167 w 169"/>
              <a:gd name="T83" fmla="*/ 132 h 133"/>
              <a:gd name="T84" fmla="*/ 163 w 169"/>
              <a:gd name="T85" fmla="*/ 133 h 133"/>
              <a:gd name="T86" fmla="*/ 6 w 169"/>
              <a:gd name="T87" fmla="*/ 133 h 133"/>
              <a:gd name="T88" fmla="*/ 2 w 169"/>
              <a:gd name="T89" fmla="*/ 132 h 133"/>
              <a:gd name="T90" fmla="*/ 0 w 169"/>
              <a:gd name="T91" fmla="*/ 127 h 133"/>
              <a:gd name="T92" fmla="*/ 0 w 169"/>
              <a:gd name="T93" fmla="*/ 115 h 133"/>
              <a:gd name="T94" fmla="*/ 2 w 169"/>
              <a:gd name="T95" fmla="*/ 111 h 133"/>
              <a:gd name="T96" fmla="*/ 6 w 169"/>
              <a:gd name="T97" fmla="*/ 109 h 133"/>
              <a:gd name="T98" fmla="*/ 163 w 169"/>
              <a:gd name="T99" fmla="*/ 109 h 133"/>
              <a:gd name="T100" fmla="*/ 167 w 169"/>
              <a:gd name="T101" fmla="*/ 111 h 133"/>
              <a:gd name="T102" fmla="*/ 169 w 169"/>
              <a:gd name="T103" fmla="*/ 11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9" h="133">
                <a:moveTo>
                  <a:pt x="169" y="6"/>
                </a:moveTo>
                <a:cubicBezTo>
                  <a:pt x="169" y="19"/>
                  <a:pt x="169" y="19"/>
                  <a:pt x="169" y="19"/>
                </a:cubicBezTo>
                <a:cubicBezTo>
                  <a:pt x="169" y="20"/>
                  <a:pt x="169" y="22"/>
                  <a:pt x="167" y="23"/>
                </a:cubicBezTo>
                <a:cubicBezTo>
                  <a:pt x="166" y="24"/>
                  <a:pt x="165" y="25"/>
                  <a:pt x="163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4" y="25"/>
                  <a:pt x="3" y="24"/>
                  <a:pt x="2" y="23"/>
                </a:cubicBezTo>
                <a:cubicBezTo>
                  <a:pt x="0" y="22"/>
                  <a:pt x="0" y="20"/>
                  <a:pt x="0" y="1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163" y="0"/>
                  <a:pt x="163" y="0"/>
                  <a:pt x="163" y="0"/>
                </a:cubicBezTo>
                <a:cubicBezTo>
                  <a:pt x="165" y="0"/>
                  <a:pt x="166" y="1"/>
                  <a:pt x="167" y="2"/>
                </a:cubicBezTo>
                <a:cubicBezTo>
                  <a:pt x="169" y="3"/>
                  <a:pt x="169" y="5"/>
                  <a:pt x="169" y="6"/>
                </a:cubicBezTo>
                <a:close/>
                <a:moveTo>
                  <a:pt x="169" y="43"/>
                </a:moveTo>
                <a:cubicBezTo>
                  <a:pt x="169" y="55"/>
                  <a:pt x="169" y="55"/>
                  <a:pt x="169" y="55"/>
                </a:cubicBezTo>
                <a:cubicBezTo>
                  <a:pt x="169" y="56"/>
                  <a:pt x="169" y="58"/>
                  <a:pt x="167" y="59"/>
                </a:cubicBezTo>
                <a:cubicBezTo>
                  <a:pt x="166" y="60"/>
                  <a:pt x="165" y="61"/>
                  <a:pt x="163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4" y="61"/>
                  <a:pt x="3" y="60"/>
                  <a:pt x="2" y="59"/>
                </a:cubicBezTo>
                <a:cubicBezTo>
                  <a:pt x="0" y="58"/>
                  <a:pt x="0" y="56"/>
                  <a:pt x="0" y="55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1"/>
                  <a:pt x="0" y="40"/>
                  <a:pt x="2" y="38"/>
                </a:cubicBezTo>
                <a:cubicBezTo>
                  <a:pt x="3" y="37"/>
                  <a:pt x="4" y="37"/>
                  <a:pt x="6" y="37"/>
                </a:cubicBezTo>
                <a:cubicBezTo>
                  <a:pt x="163" y="37"/>
                  <a:pt x="163" y="37"/>
                  <a:pt x="163" y="37"/>
                </a:cubicBezTo>
                <a:cubicBezTo>
                  <a:pt x="165" y="37"/>
                  <a:pt x="166" y="37"/>
                  <a:pt x="167" y="38"/>
                </a:cubicBezTo>
                <a:cubicBezTo>
                  <a:pt x="169" y="40"/>
                  <a:pt x="169" y="41"/>
                  <a:pt x="169" y="43"/>
                </a:cubicBezTo>
                <a:close/>
                <a:moveTo>
                  <a:pt x="169" y="79"/>
                </a:moveTo>
                <a:cubicBezTo>
                  <a:pt x="169" y="91"/>
                  <a:pt x="169" y="91"/>
                  <a:pt x="169" y="91"/>
                </a:cubicBezTo>
                <a:cubicBezTo>
                  <a:pt x="169" y="93"/>
                  <a:pt x="169" y="94"/>
                  <a:pt x="167" y="95"/>
                </a:cubicBezTo>
                <a:cubicBezTo>
                  <a:pt x="166" y="97"/>
                  <a:pt x="165" y="97"/>
                  <a:pt x="163" y="97"/>
                </a:cubicBezTo>
                <a:cubicBezTo>
                  <a:pt x="6" y="97"/>
                  <a:pt x="6" y="97"/>
                  <a:pt x="6" y="97"/>
                </a:cubicBezTo>
                <a:cubicBezTo>
                  <a:pt x="4" y="97"/>
                  <a:pt x="3" y="97"/>
                  <a:pt x="2" y="95"/>
                </a:cubicBezTo>
                <a:cubicBezTo>
                  <a:pt x="0" y="94"/>
                  <a:pt x="0" y="93"/>
                  <a:pt x="0" y="91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77"/>
                  <a:pt x="0" y="76"/>
                  <a:pt x="2" y="75"/>
                </a:cubicBezTo>
                <a:cubicBezTo>
                  <a:pt x="3" y="74"/>
                  <a:pt x="4" y="73"/>
                  <a:pt x="6" y="73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65" y="73"/>
                  <a:pt x="166" y="74"/>
                  <a:pt x="167" y="75"/>
                </a:cubicBezTo>
                <a:cubicBezTo>
                  <a:pt x="169" y="76"/>
                  <a:pt x="169" y="77"/>
                  <a:pt x="169" y="79"/>
                </a:cubicBezTo>
                <a:close/>
                <a:moveTo>
                  <a:pt x="169" y="115"/>
                </a:moveTo>
                <a:cubicBezTo>
                  <a:pt x="169" y="127"/>
                  <a:pt x="169" y="127"/>
                  <a:pt x="169" y="127"/>
                </a:cubicBezTo>
                <a:cubicBezTo>
                  <a:pt x="169" y="129"/>
                  <a:pt x="169" y="130"/>
                  <a:pt x="167" y="132"/>
                </a:cubicBezTo>
                <a:cubicBezTo>
                  <a:pt x="166" y="133"/>
                  <a:pt x="165" y="133"/>
                  <a:pt x="163" y="133"/>
                </a:cubicBezTo>
                <a:cubicBezTo>
                  <a:pt x="6" y="133"/>
                  <a:pt x="6" y="133"/>
                  <a:pt x="6" y="133"/>
                </a:cubicBezTo>
                <a:cubicBezTo>
                  <a:pt x="4" y="133"/>
                  <a:pt x="3" y="133"/>
                  <a:pt x="2" y="132"/>
                </a:cubicBezTo>
                <a:cubicBezTo>
                  <a:pt x="0" y="130"/>
                  <a:pt x="0" y="129"/>
                  <a:pt x="0" y="127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4"/>
                  <a:pt x="0" y="112"/>
                  <a:pt x="2" y="111"/>
                </a:cubicBezTo>
                <a:cubicBezTo>
                  <a:pt x="3" y="110"/>
                  <a:pt x="4" y="109"/>
                  <a:pt x="6" y="109"/>
                </a:cubicBezTo>
                <a:cubicBezTo>
                  <a:pt x="163" y="109"/>
                  <a:pt x="163" y="109"/>
                  <a:pt x="163" y="109"/>
                </a:cubicBezTo>
                <a:cubicBezTo>
                  <a:pt x="165" y="109"/>
                  <a:pt x="166" y="110"/>
                  <a:pt x="167" y="111"/>
                </a:cubicBezTo>
                <a:cubicBezTo>
                  <a:pt x="169" y="112"/>
                  <a:pt x="169" y="114"/>
                  <a:pt x="169" y="1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0" name="Freeform 60"/>
          <p:cNvSpPr>
            <a:spLocks noChangeAspect="1" noEditPoints="1"/>
          </p:cNvSpPr>
          <p:nvPr/>
        </p:nvSpPr>
        <p:spPr bwMode="auto">
          <a:xfrm>
            <a:off x="4222255" y="1866240"/>
            <a:ext cx="174866" cy="137395"/>
          </a:xfrm>
          <a:custGeom>
            <a:avLst/>
            <a:gdLst>
              <a:gd name="T0" fmla="*/ 24 w 169"/>
              <a:gd name="T1" fmla="*/ 22 h 133"/>
              <a:gd name="T2" fmla="*/ 21 w 169"/>
              <a:gd name="T3" fmla="*/ 25 h 133"/>
              <a:gd name="T4" fmla="*/ 1 w 169"/>
              <a:gd name="T5" fmla="*/ 24 h 133"/>
              <a:gd name="T6" fmla="*/ 0 w 169"/>
              <a:gd name="T7" fmla="*/ 3 h 133"/>
              <a:gd name="T8" fmla="*/ 3 w 169"/>
              <a:gd name="T9" fmla="*/ 0 h 133"/>
              <a:gd name="T10" fmla="*/ 23 w 169"/>
              <a:gd name="T11" fmla="*/ 1 h 133"/>
              <a:gd name="T12" fmla="*/ 24 w 169"/>
              <a:gd name="T13" fmla="*/ 40 h 133"/>
              <a:gd name="T14" fmla="*/ 23 w 169"/>
              <a:gd name="T15" fmla="*/ 60 h 133"/>
              <a:gd name="T16" fmla="*/ 3 w 169"/>
              <a:gd name="T17" fmla="*/ 61 h 133"/>
              <a:gd name="T18" fmla="*/ 0 w 169"/>
              <a:gd name="T19" fmla="*/ 58 h 133"/>
              <a:gd name="T20" fmla="*/ 1 w 169"/>
              <a:gd name="T21" fmla="*/ 38 h 133"/>
              <a:gd name="T22" fmla="*/ 21 w 169"/>
              <a:gd name="T23" fmla="*/ 37 h 133"/>
              <a:gd name="T24" fmla="*/ 24 w 169"/>
              <a:gd name="T25" fmla="*/ 40 h 133"/>
              <a:gd name="T26" fmla="*/ 24 w 169"/>
              <a:gd name="T27" fmla="*/ 94 h 133"/>
              <a:gd name="T28" fmla="*/ 21 w 169"/>
              <a:gd name="T29" fmla="*/ 97 h 133"/>
              <a:gd name="T30" fmla="*/ 1 w 169"/>
              <a:gd name="T31" fmla="*/ 96 h 133"/>
              <a:gd name="T32" fmla="*/ 0 w 169"/>
              <a:gd name="T33" fmla="*/ 76 h 133"/>
              <a:gd name="T34" fmla="*/ 3 w 169"/>
              <a:gd name="T35" fmla="*/ 73 h 133"/>
              <a:gd name="T36" fmla="*/ 23 w 169"/>
              <a:gd name="T37" fmla="*/ 74 h 133"/>
              <a:gd name="T38" fmla="*/ 24 w 169"/>
              <a:gd name="T39" fmla="*/ 112 h 133"/>
              <a:gd name="T40" fmla="*/ 23 w 169"/>
              <a:gd name="T41" fmla="*/ 133 h 133"/>
              <a:gd name="T42" fmla="*/ 3 w 169"/>
              <a:gd name="T43" fmla="*/ 133 h 133"/>
              <a:gd name="T44" fmla="*/ 0 w 169"/>
              <a:gd name="T45" fmla="*/ 130 h 133"/>
              <a:gd name="T46" fmla="*/ 1 w 169"/>
              <a:gd name="T47" fmla="*/ 110 h 133"/>
              <a:gd name="T48" fmla="*/ 21 w 169"/>
              <a:gd name="T49" fmla="*/ 109 h 133"/>
              <a:gd name="T50" fmla="*/ 24 w 169"/>
              <a:gd name="T51" fmla="*/ 112 h 133"/>
              <a:gd name="T52" fmla="*/ 169 w 169"/>
              <a:gd name="T53" fmla="*/ 22 h 133"/>
              <a:gd name="T54" fmla="*/ 166 w 169"/>
              <a:gd name="T55" fmla="*/ 25 h 133"/>
              <a:gd name="T56" fmla="*/ 37 w 169"/>
              <a:gd name="T57" fmla="*/ 24 h 133"/>
              <a:gd name="T58" fmla="*/ 36 w 169"/>
              <a:gd name="T59" fmla="*/ 3 h 133"/>
              <a:gd name="T60" fmla="*/ 39 w 169"/>
              <a:gd name="T61" fmla="*/ 0 h 133"/>
              <a:gd name="T62" fmla="*/ 168 w 169"/>
              <a:gd name="T63" fmla="*/ 1 h 133"/>
              <a:gd name="T64" fmla="*/ 169 w 169"/>
              <a:gd name="T65" fmla="*/ 40 h 133"/>
              <a:gd name="T66" fmla="*/ 168 w 169"/>
              <a:gd name="T67" fmla="*/ 60 h 133"/>
              <a:gd name="T68" fmla="*/ 39 w 169"/>
              <a:gd name="T69" fmla="*/ 61 h 133"/>
              <a:gd name="T70" fmla="*/ 36 w 169"/>
              <a:gd name="T71" fmla="*/ 58 h 133"/>
              <a:gd name="T72" fmla="*/ 37 w 169"/>
              <a:gd name="T73" fmla="*/ 38 h 133"/>
              <a:gd name="T74" fmla="*/ 166 w 169"/>
              <a:gd name="T75" fmla="*/ 37 h 133"/>
              <a:gd name="T76" fmla="*/ 169 w 169"/>
              <a:gd name="T77" fmla="*/ 40 h 133"/>
              <a:gd name="T78" fmla="*/ 169 w 169"/>
              <a:gd name="T79" fmla="*/ 94 h 133"/>
              <a:gd name="T80" fmla="*/ 166 w 169"/>
              <a:gd name="T81" fmla="*/ 97 h 133"/>
              <a:gd name="T82" fmla="*/ 37 w 169"/>
              <a:gd name="T83" fmla="*/ 96 h 133"/>
              <a:gd name="T84" fmla="*/ 36 w 169"/>
              <a:gd name="T85" fmla="*/ 76 h 133"/>
              <a:gd name="T86" fmla="*/ 39 w 169"/>
              <a:gd name="T87" fmla="*/ 73 h 133"/>
              <a:gd name="T88" fmla="*/ 168 w 169"/>
              <a:gd name="T89" fmla="*/ 74 h 133"/>
              <a:gd name="T90" fmla="*/ 169 w 169"/>
              <a:gd name="T91" fmla="*/ 112 h 133"/>
              <a:gd name="T92" fmla="*/ 168 w 169"/>
              <a:gd name="T93" fmla="*/ 133 h 133"/>
              <a:gd name="T94" fmla="*/ 39 w 169"/>
              <a:gd name="T95" fmla="*/ 133 h 133"/>
              <a:gd name="T96" fmla="*/ 36 w 169"/>
              <a:gd name="T97" fmla="*/ 130 h 133"/>
              <a:gd name="T98" fmla="*/ 37 w 169"/>
              <a:gd name="T99" fmla="*/ 110 h 133"/>
              <a:gd name="T100" fmla="*/ 166 w 169"/>
              <a:gd name="T101" fmla="*/ 109 h 133"/>
              <a:gd name="T102" fmla="*/ 169 w 169"/>
              <a:gd name="T103" fmla="*/ 11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9" h="133">
                <a:moveTo>
                  <a:pt x="24" y="3"/>
                </a:moveTo>
                <a:cubicBezTo>
                  <a:pt x="24" y="22"/>
                  <a:pt x="24" y="22"/>
                  <a:pt x="24" y="22"/>
                </a:cubicBezTo>
                <a:cubicBezTo>
                  <a:pt x="24" y="22"/>
                  <a:pt x="24" y="23"/>
                  <a:pt x="23" y="24"/>
                </a:cubicBezTo>
                <a:cubicBezTo>
                  <a:pt x="22" y="24"/>
                  <a:pt x="22" y="25"/>
                  <a:pt x="21" y="25"/>
                </a:cubicBez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1" y="24"/>
                  <a:pt x="1" y="24"/>
                </a:cubicBezTo>
                <a:cubicBezTo>
                  <a:pt x="0" y="23"/>
                  <a:pt x="0" y="22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3"/>
                  <a:pt x="0" y="2"/>
                  <a:pt x="1" y="1"/>
                </a:cubicBezTo>
                <a:cubicBezTo>
                  <a:pt x="1" y="1"/>
                  <a:pt x="2" y="0"/>
                  <a:pt x="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2" y="0"/>
                  <a:pt x="22" y="1"/>
                  <a:pt x="23" y="1"/>
                </a:cubicBezTo>
                <a:cubicBezTo>
                  <a:pt x="24" y="2"/>
                  <a:pt x="24" y="3"/>
                  <a:pt x="24" y="3"/>
                </a:cubicBezTo>
                <a:close/>
                <a:moveTo>
                  <a:pt x="24" y="40"/>
                </a:moveTo>
                <a:cubicBezTo>
                  <a:pt x="24" y="58"/>
                  <a:pt x="24" y="58"/>
                  <a:pt x="24" y="58"/>
                </a:cubicBezTo>
                <a:cubicBezTo>
                  <a:pt x="24" y="59"/>
                  <a:pt x="24" y="59"/>
                  <a:pt x="23" y="60"/>
                </a:cubicBezTo>
                <a:cubicBezTo>
                  <a:pt x="22" y="61"/>
                  <a:pt x="22" y="61"/>
                  <a:pt x="21" y="61"/>
                </a:cubicBezTo>
                <a:cubicBezTo>
                  <a:pt x="3" y="61"/>
                  <a:pt x="3" y="61"/>
                  <a:pt x="3" y="61"/>
                </a:cubicBezTo>
                <a:cubicBezTo>
                  <a:pt x="2" y="61"/>
                  <a:pt x="1" y="61"/>
                  <a:pt x="1" y="60"/>
                </a:cubicBezTo>
                <a:cubicBezTo>
                  <a:pt x="0" y="59"/>
                  <a:pt x="0" y="59"/>
                  <a:pt x="0" y="58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9"/>
                  <a:pt x="0" y="38"/>
                  <a:pt x="1" y="38"/>
                </a:cubicBezTo>
                <a:cubicBezTo>
                  <a:pt x="1" y="37"/>
                  <a:pt x="2" y="37"/>
                  <a:pt x="3" y="37"/>
                </a:cubicBezTo>
                <a:cubicBezTo>
                  <a:pt x="21" y="37"/>
                  <a:pt x="21" y="37"/>
                  <a:pt x="21" y="37"/>
                </a:cubicBezTo>
                <a:cubicBezTo>
                  <a:pt x="22" y="37"/>
                  <a:pt x="22" y="37"/>
                  <a:pt x="23" y="38"/>
                </a:cubicBezTo>
                <a:cubicBezTo>
                  <a:pt x="24" y="38"/>
                  <a:pt x="24" y="39"/>
                  <a:pt x="24" y="40"/>
                </a:cubicBezTo>
                <a:close/>
                <a:moveTo>
                  <a:pt x="24" y="76"/>
                </a:moveTo>
                <a:cubicBezTo>
                  <a:pt x="24" y="94"/>
                  <a:pt x="24" y="94"/>
                  <a:pt x="24" y="94"/>
                </a:cubicBezTo>
                <a:cubicBezTo>
                  <a:pt x="24" y="95"/>
                  <a:pt x="24" y="96"/>
                  <a:pt x="23" y="96"/>
                </a:cubicBezTo>
                <a:cubicBezTo>
                  <a:pt x="22" y="97"/>
                  <a:pt x="22" y="97"/>
                  <a:pt x="21" y="97"/>
                </a:cubicBezTo>
                <a:cubicBezTo>
                  <a:pt x="3" y="97"/>
                  <a:pt x="3" y="97"/>
                  <a:pt x="3" y="97"/>
                </a:cubicBezTo>
                <a:cubicBezTo>
                  <a:pt x="2" y="97"/>
                  <a:pt x="1" y="97"/>
                  <a:pt x="1" y="96"/>
                </a:cubicBezTo>
                <a:cubicBezTo>
                  <a:pt x="0" y="96"/>
                  <a:pt x="0" y="95"/>
                  <a:pt x="0" y="94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5"/>
                  <a:pt x="0" y="74"/>
                  <a:pt x="1" y="74"/>
                </a:cubicBezTo>
                <a:cubicBezTo>
                  <a:pt x="1" y="73"/>
                  <a:pt x="2" y="73"/>
                  <a:pt x="3" y="73"/>
                </a:cubicBezTo>
                <a:cubicBezTo>
                  <a:pt x="21" y="73"/>
                  <a:pt x="21" y="73"/>
                  <a:pt x="21" y="73"/>
                </a:cubicBezTo>
                <a:cubicBezTo>
                  <a:pt x="22" y="73"/>
                  <a:pt x="22" y="73"/>
                  <a:pt x="23" y="74"/>
                </a:cubicBezTo>
                <a:cubicBezTo>
                  <a:pt x="24" y="74"/>
                  <a:pt x="24" y="75"/>
                  <a:pt x="24" y="76"/>
                </a:cubicBezTo>
                <a:close/>
                <a:moveTo>
                  <a:pt x="24" y="112"/>
                </a:moveTo>
                <a:cubicBezTo>
                  <a:pt x="24" y="130"/>
                  <a:pt x="24" y="130"/>
                  <a:pt x="24" y="130"/>
                </a:cubicBezTo>
                <a:cubicBezTo>
                  <a:pt x="24" y="131"/>
                  <a:pt x="24" y="132"/>
                  <a:pt x="23" y="133"/>
                </a:cubicBezTo>
                <a:cubicBezTo>
                  <a:pt x="22" y="133"/>
                  <a:pt x="22" y="133"/>
                  <a:pt x="21" y="133"/>
                </a:cubicBezTo>
                <a:cubicBezTo>
                  <a:pt x="3" y="133"/>
                  <a:pt x="3" y="133"/>
                  <a:pt x="3" y="133"/>
                </a:cubicBezTo>
                <a:cubicBezTo>
                  <a:pt x="2" y="133"/>
                  <a:pt x="1" y="133"/>
                  <a:pt x="1" y="133"/>
                </a:cubicBezTo>
                <a:cubicBezTo>
                  <a:pt x="0" y="132"/>
                  <a:pt x="0" y="131"/>
                  <a:pt x="0" y="130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0" y="111"/>
                  <a:pt x="1" y="110"/>
                </a:cubicBezTo>
                <a:cubicBezTo>
                  <a:pt x="1" y="110"/>
                  <a:pt x="2" y="109"/>
                  <a:pt x="3" y="109"/>
                </a:cubicBezTo>
                <a:cubicBezTo>
                  <a:pt x="21" y="109"/>
                  <a:pt x="21" y="109"/>
                  <a:pt x="21" y="109"/>
                </a:cubicBezTo>
                <a:cubicBezTo>
                  <a:pt x="22" y="109"/>
                  <a:pt x="22" y="110"/>
                  <a:pt x="23" y="110"/>
                </a:cubicBezTo>
                <a:cubicBezTo>
                  <a:pt x="24" y="111"/>
                  <a:pt x="24" y="111"/>
                  <a:pt x="24" y="112"/>
                </a:cubicBezTo>
                <a:close/>
                <a:moveTo>
                  <a:pt x="169" y="3"/>
                </a:moveTo>
                <a:cubicBezTo>
                  <a:pt x="169" y="22"/>
                  <a:pt x="169" y="22"/>
                  <a:pt x="169" y="22"/>
                </a:cubicBezTo>
                <a:cubicBezTo>
                  <a:pt x="169" y="22"/>
                  <a:pt x="169" y="23"/>
                  <a:pt x="168" y="24"/>
                </a:cubicBezTo>
                <a:cubicBezTo>
                  <a:pt x="168" y="24"/>
                  <a:pt x="167" y="25"/>
                  <a:pt x="166" y="25"/>
                </a:cubicBezTo>
                <a:cubicBezTo>
                  <a:pt x="39" y="25"/>
                  <a:pt x="39" y="25"/>
                  <a:pt x="39" y="25"/>
                </a:cubicBezTo>
                <a:cubicBezTo>
                  <a:pt x="38" y="25"/>
                  <a:pt x="37" y="24"/>
                  <a:pt x="37" y="24"/>
                </a:cubicBezTo>
                <a:cubicBezTo>
                  <a:pt x="36" y="23"/>
                  <a:pt x="36" y="22"/>
                  <a:pt x="36" y="22"/>
                </a:cubicBezTo>
                <a:cubicBezTo>
                  <a:pt x="36" y="3"/>
                  <a:pt x="36" y="3"/>
                  <a:pt x="36" y="3"/>
                </a:cubicBezTo>
                <a:cubicBezTo>
                  <a:pt x="36" y="3"/>
                  <a:pt x="36" y="2"/>
                  <a:pt x="37" y="1"/>
                </a:cubicBezTo>
                <a:cubicBezTo>
                  <a:pt x="37" y="1"/>
                  <a:pt x="38" y="0"/>
                  <a:pt x="39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67" y="0"/>
                  <a:pt x="168" y="1"/>
                  <a:pt x="168" y="1"/>
                </a:cubicBezTo>
                <a:cubicBezTo>
                  <a:pt x="169" y="2"/>
                  <a:pt x="169" y="3"/>
                  <a:pt x="169" y="3"/>
                </a:cubicBezTo>
                <a:close/>
                <a:moveTo>
                  <a:pt x="169" y="40"/>
                </a:moveTo>
                <a:cubicBezTo>
                  <a:pt x="169" y="58"/>
                  <a:pt x="169" y="58"/>
                  <a:pt x="169" y="58"/>
                </a:cubicBezTo>
                <a:cubicBezTo>
                  <a:pt x="169" y="59"/>
                  <a:pt x="169" y="59"/>
                  <a:pt x="168" y="60"/>
                </a:cubicBezTo>
                <a:cubicBezTo>
                  <a:pt x="168" y="61"/>
                  <a:pt x="167" y="61"/>
                  <a:pt x="166" y="61"/>
                </a:cubicBezTo>
                <a:cubicBezTo>
                  <a:pt x="39" y="61"/>
                  <a:pt x="39" y="61"/>
                  <a:pt x="39" y="61"/>
                </a:cubicBezTo>
                <a:cubicBezTo>
                  <a:pt x="38" y="61"/>
                  <a:pt x="37" y="61"/>
                  <a:pt x="37" y="60"/>
                </a:cubicBezTo>
                <a:cubicBezTo>
                  <a:pt x="36" y="59"/>
                  <a:pt x="36" y="59"/>
                  <a:pt x="36" y="58"/>
                </a:cubicBezTo>
                <a:cubicBezTo>
                  <a:pt x="36" y="40"/>
                  <a:pt x="36" y="40"/>
                  <a:pt x="36" y="40"/>
                </a:cubicBezTo>
                <a:cubicBezTo>
                  <a:pt x="36" y="39"/>
                  <a:pt x="36" y="38"/>
                  <a:pt x="37" y="38"/>
                </a:cubicBezTo>
                <a:cubicBezTo>
                  <a:pt x="37" y="37"/>
                  <a:pt x="38" y="37"/>
                  <a:pt x="39" y="37"/>
                </a:cubicBezTo>
                <a:cubicBezTo>
                  <a:pt x="166" y="37"/>
                  <a:pt x="166" y="37"/>
                  <a:pt x="166" y="37"/>
                </a:cubicBezTo>
                <a:cubicBezTo>
                  <a:pt x="167" y="37"/>
                  <a:pt x="168" y="37"/>
                  <a:pt x="168" y="38"/>
                </a:cubicBezTo>
                <a:cubicBezTo>
                  <a:pt x="169" y="38"/>
                  <a:pt x="169" y="39"/>
                  <a:pt x="169" y="40"/>
                </a:cubicBezTo>
                <a:close/>
                <a:moveTo>
                  <a:pt x="169" y="76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95"/>
                  <a:pt x="169" y="96"/>
                  <a:pt x="168" y="96"/>
                </a:cubicBezTo>
                <a:cubicBezTo>
                  <a:pt x="168" y="97"/>
                  <a:pt x="167" y="97"/>
                  <a:pt x="166" y="97"/>
                </a:cubicBezTo>
                <a:cubicBezTo>
                  <a:pt x="39" y="97"/>
                  <a:pt x="39" y="97"/>
                  <a:pt x="39" y="97"/>
                </a:cubicBezTo>
                <a:cubicBezTo>
                  <a:pt x="38" y="97"/>
                  <a:pt x="37" y="97"/>
                  <a:pt x="37" y="96"/>
                </a:cubicBezTo>
                <a:cubicBezTo>
                  <a:pt x="36" y="96"/>
                  <a:pt x="36" y="95"/>
                  <a:pt x="36" y="94"/>
                </a:cubicBezTo>
                <a:cubicBezTo>
                  <a:pt x="36" y="76"/>
                  <a:pt x="36" y="76"/>
                  <a:pt x="36" y="76"/>
                </a:cubicBezTo>
                <a:cubicBezTo>
                  <a:pt x="36" y="75"/>
                  <a:pt x="36" y="74"/>
                  <a:pt x="37" y="74"/>
                </a:cubicBezTo>
                <a:cubicBezTo>
                  <a:pt x="37" y="73"/>
                  <a:pt x="38" y="73"/>
                  <a:pt x="39" y="73"/>
                </a:cubicBezTo>
                <a:cubicBezTo>
                  <a:pt x="166" y="73"/>
                  <a:pt x="166" y="73"/>
                  <a:pt x="166" y="73"/>
                </a:cubicBezTo>
                <a:cubicBezTo>
                  <a:pt x="167" y="73"/>
                  <a:pt x="168" y="73"/>
                  <a:pt x="168" y="74"/>
                </a:cubicBezTo>
                <a:cubicBezTo>
                  <a:pt x="169" y="74"/>
                  <a:pt x="169" y="75"/>
                  <a:pt x="169" y="76"/>
                </a:cubicBezTo>
                <a:close/>
                <a:moveTo>
                  <a:pt x="169" y="112"/>
                </a:moveTo>
                <a:cubicBezTo>
                  <a:pt x="169" y="130"/>
                  <a:pt x="169" y="130"/>
                  <a:pt x="169" y="130"/>
                </a:cubicBezTo>
                <a:cubicBezTo>
                  <a:pt x="169" y="131"/>
                  <a:pt x="169" y="132"/>
                  <a:pt x="168" y="133"/>
                </a:cubicBezTo>
                <a:cubicBezTo>
                  <a:pt x="168" y="133"/>
                  <a:pt x="167" y="133"/>
                  <a:pt x="166" y="133"/>
                </a:cubicBezTo>
                <a:cubicBezTo>
                  <a:pt x="39" y="133"/>
                  <a:pt x="39" y="133"/>
                  <a:pt x="39" y="133"/>
                </a:cubicBezTo>
                <a:cubicBezTo>
                  <a:pt x="38" y="133"/>
                  <a:pt x="37" y="133"/>
                  <a:pt x="37" y="133"/>
                </a:cubicBezTo>
                <a:cubicBezTo>
                  <a:pt x="36" y="132"/>
                  <a:pt x="36" y="131"/>
                  <a:pt x="36" y="130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36" y="111"/>
                  <a:pt x="36" y="111"/>
                  <a:pt x="37" y="110"/>
                </a:cubicBezTo>
                <a:cubicBezTo>
                  <a:pt x="37" y="110"/>
                  <a:pt x="38" y="109"/>
                  <a:pt x="39" y="109"/>
                </a:cubicBezTo>
                <a:cubicBezTo>
                  <a:pt x="166" y="109"/>
                  <a:pt x="166" y="109"/>
                  <a:pt x="166" y="109"/>
                </a:cubicBezTo>
                <a:cubicBezTo>
                  <a:pt x="167" y="109"/>
                  <a:pt x="168" y="110"/>
                  <a:pt x="168" y="110"/>
                </a:cubicBezTo>
                <a:cubicBezTo>
                  <a:pt x="169" y="111"/>
                  <a:pt x="169" y="111"/>
                  <a:pt x="169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1" name="Freeform 61"/>
          <p:cNvSpPr>
            <a:spLocks noChangeAspect="1" noEditPoints="1"/>
          </p:cNvSpPr>
          <p:nvPr/>
        </p:nvSpPr>
        <p:spPr bwMode="auto">
          <a:xfrm>
            <a:off x="4442399" y="1866240"/>
            <a:ext cx="176428" cy="137395"/>
          </a:xfrm>
          <a:custGeom>
            <a:avLst/>
            <a:gdLst>
              <a:gd name="T0" fmla="*/ 170 w 170"/>
              <a:gd name="T1" fmla="*/ 22 h 133"/>
              <a:gd name="T2" fmla="*/ 167 w 170"/>
              <a:gd name="T3" fmla="*/ 25 h 133"/>
              <a:gd name="T4" fmla="*/ 1 w 170"/>
              <a:gd name="T5" fmla="*/ 24 h 133"/>
              <a:gd name="T6" fmla="*/ 0 w 170"/>
              <a:gd name="T7" fmla="*/ 3 h 133"/>
              <a:gd name="T8" fmla="*/ 3 w 170"/>
              <a:gd name="T9" fmla="*/ 0 h 133"/>
              <a:gd name="T10" fmla="*/ 169 w 170"/>
              <a:gd name="T11" fmla="*/ 1 h 133"/>
              <a:gd name="T12" fmla="*/ 170 w 170"/>
              <a:gd name="T13" fmla="*/ 112 h 133"/>
              <a:gd name="T14" fmla="*/ 169 w 170"/>
              <a:gd name="T15" fmla="*/ 133 h 133"/>
              <a:gd name="T16" fmla="*/ 3 w 170"/>
              <a:gd name="T17" fmla="*/ 133 h 133"/>
              <a:gd name="T18" fmla="*/ 0 w 170"/>
              <a:gd name="T19" fmla="*/ 130 h 133"/>
              <a:gd name="T20" fmla="*/ 1 w 170"/>
              <a:gd name="T21" fmla="*/ 110 h 133"/>
              <a:gd name="T22" fmla="*/ 167 w 170"/>
              <a:gd name="T23" fmla="*/ 109 h 133"/>
              <a:gd name="T24" fmla="*/ 170 w 170"/>
              <a:gd name="T25" fmla="*/ 112 h 133"/>
              <a:gd name="T26" fmla="*/ 37 w 170"/>
              <a:gd name="T27" fmla="*/ 94 h 133"/>
              <a:gd name="T28" fmla="*/ 34 w 170"/>
              <a:gd name="T29" fmla="*/ 97 h 133"/>
              <a:gd name="T30" fmla="*/ 4 w 170"/>
              <a:gd name="T31" fmla="*/ 69 h 133"/>
              <a:gd name="T32" fmla="*/ 4 w 170"/>
              <a:gd name="T33" fmla="*/ 65 h 133"/>
              <a:gd name="T34" fmla="*/ 34 w 170"/>
              <a:gd name="T35" fmla="*/ 37 h 133"/>
              <a:gd name="T36" fmla="*/ 37 w 170"/>
              <a:gd name="T37" fmla="*/ 40 h 133"/>
              <a:gd name="T38" fmla="*/ 170 w 170"/>
              <a:gd name="T39" fmla="*/ 58 h 133"/>
              <a:gd name="T40" fmla="*/ 167 w 170"/>
              <a:gd name="T41" fmla="*/ 61 h 133"/>
              <a:gd name="T42" fmla="*/ 62 w 170"/>
              <a:gd name="T43" fmla="*/ 60 h 133"/>
              <a:gd name="T44" fmla="*/ 61 w 170"/>
              <a:gd name="T45" fmla="*/ 40 h 133"/>
              <a:gd name="T46" fmla="*/ 64 w 170"/>
              <a:gd name="T47" fmla="*/ 37 h 133"/>
              <a:gd name="T48" fmla="*/ 169 w 170"/>
              <a:gd name="T49" fmla="*/ 38 h 133"/>
              <a:gd name="T50" fmla="*/ 170 w 170"/>
              <a:gd name="T51" fmla="*/ 76 h 133"/>
              <a:gd name="T52" fmla="*/ 169 w 170"/>
              <a:gd name="T53" fmla="*/ 96 h 133"/>
              <a:gd name="T54" fmla="*/ 64 w 170"/>
              <a:gd name="T55" fmla="*/ 97 h 133"/>
              <a:gd name="T56" fmla="*/ 61 w 170"/>
              <a:gd name="T57" fmla="*/ 94 h 133"/>
              <a:gd name="T58" fmla="*/ 62 w 170"/>
              <a:gd name="T59" fmla="*/ 74 h 133"/>
              <a:gd name="T60" fmla="*/ 167 w 170"/>
              <a:gd name="T61" fmla="*/ 73 h 133"/>
              <a:gd name="T62" fmla="*/ 170 w 170"/>
              <a:gd name="T63" fmla="*/ 7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0" h="133">
                <a:moveTo>
                  <a:pt x="170" y="3"/>
                </a:moveTo>
                <a:cubicBezTo>
                  <a:pt x="170" y="22"/>
                  <a:pt x="170" y="22"/>
                  <a:pt x="170" y="22"/>
                </a:cubicBezTo>
                <a:cubicBezTo>
                  <a:pt x="170" y="22"/>
                  <a:pt x="169" y="23"/>
                  <a:pt x="169" y="24"/>
                </a:cubicBezTo>
                <a:cubicBezTo>
                  <a:pt x="168" y="24"/>
                  <a:pt x="168" y="25"/>
                  <a:pt x="167" y="25"/>
                </a:cubicBezTo>
                <a:cubicBezTo>
                  <a:pt x="3" y="25"/>
                  <a:pt x="3" y="25"/>
                  <a:pt x="3" y="25"/>
                </a:cubicBezTo>
                <a:cubicBezTo>
                  <a:pt x="3" y="25"/>
                  <a:pt x="2" y="24"/>
                  <a:pt x="1" y="24"/>
                </a:cubicBezTo>
                <a:cubicBezTo>
                  <a:pt x="1" y="23"/>
                  <a:pt x="0" y="22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3"/>
                  <a:pt x="1" y="2"/>
                  <a:pt x="1" y="1"/>
                </a:cubicBezTo>
                <a:cubicBezTo>
                  <a:pt x="2" y="1"/>
                  <a:pt x="3" y="0"/>
                  <a:pt x="3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68" y="0"/>
                  <a:pt x="168" y="1"/>
                  <a:pt x="169" y="1"/>
                </a:cubicBezTo>
                <a:cubicBezTo>
                  <a:pt x="169" y="2"/>
                  <a:pt x="170" y="3"/>
                  <a:pt x="170" y="3"/>
                </a:cubicBezTo>
                <a:close/>
                <a:moveTo>
                  <a:pt x="170" y="112"/>
                </a:moveTo>
                <a:cubicBezTo>
                  <a:pt x="170" y="130"/>
                  <a:pt x="170" y="130"/>
                  <a:pt x="170" y="130"/>
                </a:cubicBezTo>
                <a:cubicBezTo>
                  <a:pt x="170" y="131"/>
                  <a:pt x="169" y="132"/>
                  <a:pt x="169" y="133"/>
                </a:cubicBezTo>
                <a:cubicBezTo>
                  <a:pt x="168" y="133"/>
                  <a:pt x="168" y="133"/>
                  <a:pt x="167" y="133"/>
                </a:cubicBezTo>
                <a:cubicBezTo>
                  <a:pt x="3" y="133"/>
                  <a:pt x="3" y="133"/>
                  <a:pt x="3" y="133"/>
                </a:cubicBezTo>
                <a:cubicBezTo>
                  <a:pt x="3" y="133"/>
                  <a:pt x="2" y="133"/>
                  <a:pt x="1" y="133"/>
                </a:cubicBezTo>
                <a:cubicBezTo>
                  <a:pt x="1" y="132"/>
                  <a:pt x="0" y="131"/>
                  <a:pt x="0" y="130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1" y="111"/>
                  <a:pt x="1" y="110"/>
                </a:cubicBezTo>
                <a:cubicBezTo>
                  <a:pt x="2" y="110"/>
                  <a:pt x="3" y="109"/>
                  <a:pt x="3" y="109"/>
                </a:cubicBezTo>
                <a:cubicBezTo>
                  <a:pt x="167" y="109"/>
                  <a:pt x="167" y="109"/>
                  <a:pt x="167" y="109"/>
                </a:cubicBezTo>
                <a:cubicBezTo>
                  <a:pt x="168" y="109"/>
                  <a:pt x="168" y="110"/>
                  <a:pt x="169" y="110"/>
                </a:cubicBezTo>
                <a:cubicBezTo>
                  <a:pt x="169" y="111"/>
                  <a:pt x="170" y="111"/>
                  <a:pt x="170" y="112"/>
                </a:cubicBezTo>
                <a:close/>
                <a:moveTo>
                  <a:pt x="37" y="40"/>
                </a:moveTo>
                <a:cubicBezTo>
                  <a:pt x="37" y="94"/>
                  <a:pt x="37" y="94"/>
                  <a:pt x="37" y="94"/>
                </a:cubicBezTo>
                <a:cubicBezTo>
                  <a:pt x="37" y="95"/>
                  <a:pt x="36" y="96"/>
                  <a:pt x="36" y="96"/>
                </a:cubicBezTo>
                <a:cubicBezTo>
                  <a:pt x="35" y="97"/>
                  <a:pt x="34" y="97"/>
                  <a:pt x="34" y="97"/>
                </a:cubicBezTo>
                <a:cubicBezTo>
                  <a:pt x="33" y="97"/>
                  <a:pt x="32" y="97"/>
                  <a:pt x="31" y="96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3" y="68"/>
                  <a:pt x="3" y="67"/>
                </a:cubicBezTo>
                <a:cubicBezTo>
                  <a:pt x="3" y="66"/>
                  <a:pt x="4" y="65"/>
                  <a:pt x="4" y="65"/>
                </a:cubicBezTo>
                <a:cubicBezTo>
                  <a:pt x="31" y="38"/>
                  <a:pt x="31" y="38"/>
                  <a:pt x="31" y="38"/>
                </a:cubicBezTo>
                <a:cubicBezTo>
                  <a:pt x="32" y="37"/>
                  <a:pt x="33" y="37"/>
                  <a:pt x="34" y="37"/>
                </a:cubicBezTo>
                <a:cubicBezTo>
                  <a:pt x="34" y="37"/>
                  <a:pt x="35" y="37"/>
                  <a:pt x="36" y="38"/>
                </a:cubicBezTo>
                <a:cubicBezTo>
                  <a:pt x="36" y="38"/>
                  <a:pt x="37" y="39"/>
                  <a:pt x="37" y="40"/>
                </a:cubicBezTo>
                <a:close/>
                <a:moveTo>
                  <a:pt x="170" y="40"/>
                </a:moveTo>
                <a:cubicBezTo>
                  <a:pt x="170" y="58"/>
                  <a:pt x="170" y="58"/>
                  <a:pt x="170" y="58"/>
                </a:cubicBezTo>
                <a:cubicBezTo>
                  <a:pt x="170" y="59"/>
                  <a:pt x="169" y="59"/>
                  <a:pt x="169" y="60"/>
                </a:cubicBezTo>
                <a:cubicBezTo>
                  <a:pt x="168" y="61"/>
                  <a:pt x="168" y="61"/>
                  <a:pt x="167" y="61"/>
                </a:cubicBezTo>
                <a:cubicBezTo>
                  <a:pt x="64" y="61"/>
                  <a:pt x="64" y="61"/>
                  <a:pt x="64" y="61"/>
                </a:cubicBezTo>
                <a:cubicBezTo>
                  <a:pt x="63" y="61"/>
                  <a:pt x="62" y="61"/>
                  <a:pt x="62" y="60"/>
                </a:cubicBezTo>
                <a:cubicBezTo>
                  <a:pt x="61" y="59"/>
                  <a:pt x="61" y="59"/>
                  <a:pt x="61" y="58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39"/>
                  <a:pt x="61" y="38"/>
                  <a:pt x="62" y="38"/>
                </a:cubicBezTo>
                <a:cubicBezTo>
                  <a:pt x="62" y="37"/>
                  <a:pt x="63" y="37"/>
                  <a:pt x="64" y="37"/>
                </a:cubicBezTo>
                <a:cubicBezTo>
                  <a:pt x="167" y="37"/>
                  <a:pt x="167" y="37"/>
                  <a:pt x="167" y="37"/>
                </a:cubicBezTo>
                <a:cubicBezTo>
                  <a:pt x="168" y="37"/>
                  <a:pt x="168" y="37"/>
                  <a:pt x="169" y="38"/>
                </a:cubicBezTo>
                <a:cubicBezTo>
                  <a:pt x="169" y="38"/>
                  <a:pt x="170" y="39"/>
                  <a:pt x="170" y="40"/>
                </a:cubicBezTo>
                <a:close/>
                <a:moveTo>
                  <a:pt x="170" y="76"/>
                </a:moveTo>
                <a:cubicBezTo>
                  <a:pt x="170" y="94"/>
                  <a:pt x="170" y="94"/>
                  <a:pt x="170" y="94"/>
                </a:cubicBezTo>
                <a:cubicBezTo>
                  <a:pt x="170" y="95"/>
                  <a:pt x="169" y="96"/>
                  <a:pt x="169" y="96"/>
                </a:cubicBezTo>
                <a:cubicBezTo>
                  <a:pt x="168" y="97"/>
                  <a:pt x="168" y="97"/>
                  <a:pt x="167" y="97"/>
                </a:cubicBezTo>
                <a:cubicBezTo>
                  <a:pt x="64" y="97"/>
                  <a:pt x="64" y="97"/>
                  <a:pt x="64" y="97"/>
                </a:cubicBezTo>
                <a:cubicBezTo>
                  <a:pt x="63" y="97"/>
                  <a:pt x="62" y="97"/>
                  <a:pt x="62" y="96"/>
                </a:cubicBezTo>
                <a:cubicBezTo>
                  <a:pt x="61" y="96"/>
                  <a:pt x="61" y="95"/>
                  <a:pt x="61" y="94"/>
                </a:cubicBezTo>
                <a:cubicBezTo>
                  <a:pt x="61" y="76"/>
                  <a:pt x="61" y="76"/>
                  <a:pt x="61" y="76"/>
                </a:cubicBezTo>
                <a:cubicBezTo>
                  <a:pt x="61" y="75"/>
                  <a:pt x="61" y="74"/>
                  <a:pt x="62" y="74"/>
                </a:cubicBezTo>
                <a:cubicBezTo>
                  <a:pt x="62" y="73"/>
                  <a:pt x="63" y="73"/>
                  <a:pt x="64" y="73"/>
                </a:cubicBezTo>
                <a:cubicBezTo>
                  <a:pt x="167" y="73"/>
                  <a:pt x="167" y="73"/>
                  <a:pt x="167" y="73"/>
                </a:cubicBezTo>
                <a:cubicBezTo>
                  <a:pt x="168" y="73"/>
                  <a:pt x="168" y="73"/>
                  <a:pt x="169" y="74"/>
                </a:cubicBezTo>
                <a:cubicBezTo>
                  <a:pt x="169" y="74"/>
                  <a:pt x="170" y="75"/>
                  <a:pt x="170" y="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2" name="Freeform 62"/>
          <p:cNvSpPr>
            <a:spLocks noChangeAspect="1" noEditPoints="1"/>
          </p:cNvSpPr>
          <p:nvPr/>
        </p:nvSpPr>
        <p:spPr bwMode="auto">
          <a:xfrm>
            <a:off x="4662543" y="1866240"/>
            <a:ext cx="176428" cy="137395"/>
          </a:xfrm>
          <a:custGeom>
            <a:avLst/>
            <a:gdLst>
              <a:gd name="T0" fmla="*/ 170 w 170"/>
              <a:gd name="T1" fmla="*/ 22 h 133"/>
              <a:gd name="T2" fmla="*/ 167 w 170"/>
              <a:gd name="T3" fmla="*/ 25 h 133"/>
              <a:gd name="T4" fmla="*/ 1 w 170"/>
              <a:gd name="T5" fmla="*/ 24 h 133"/>
              <a:gd name="T6" fmla="*/ 0 w 170"/>
              <a:gd name="T7" fmla="*/ 3 h 133"/>
              <a:gd name="T8" fmla="*/ 3 w 170"/>
              <a:gd name="T9" fmla="*/ 0 h 133"/>
              <a:gd name="T10" fmla="*/ 169 w 170"/>
              <a:gd name="T11" fmla="*/ 1 h 133"/>
              <a:gd name="T12" fmla="*/ 33 w 170"/>
              <a:gd name="T13" fmla="*/ 67 h 133"/>
              <a:gd name="T14" fmla="*/ 5 w 170"/>
              <a:gd name="T15" fmla="*/ 96 h 133"/>
              <a:gd name="T16" fmla="*/ 1 w 170"/>
              <a:gd name="T17" fmla="*/ 96 h 133"/>
              <a:gd name="T18" fmla="*/ 0 w 170"/>
              <a:gd name="T19" fmla="*/ 40 h 133"/>
              <a:gd name="T20" fmla="*/ 3 w 170"/>
              <a:gd name="T21" fmla="*/ 37 h 133"/>
              <a:gd name="T22" fmla="*/ 33 w 170"/>
              <a:gd name="T23" fmla="*/ 65 h 133"/>
              <a:gd name="T24" fmla="*/ 170 w 170"/>
              <a:gd name="T25" fmla="*/ 112 h 133"/>
              <a:gd name="T26" fmla="*/ 169 w 170"/>
              <a:gd name="T27" fmla="*/ 133 h 133"/>
              <a:gd name="T28" fmla="*/ 3 w 170"/>
              <a:gd name="T29" fmla="*/ 133 h 133"/>
              <a:gd name="T30" fmla="*/ 0 w 170"/>
              <a:gd name="T31" fmla="*/ 130 h 133"/>
              <a:gd name="T32" fmla="*/ 1 w 170"/>
              <a:gd name="T33" fmla="*/ 110 h 133"/>
              <a:gd name="T34" fmla="*/ 167 w 170"/>
              <a:gd name="T35" fmla="*/ 109 h 133"/>
              <a:gd name="T36" fmla="*/ 170 w 170"/>
              <a:gd name="T37" fmla="*/ 112 h 133"/>
              <a:gd name="T38" fmla="*/ 170 w 170"/>
              <a:gd name="T39" fmla="*/ 58 h 133"/>
              <a:gd name="T40" fmla="*/ 167 w 170"/>
              <a:gd name="T41" fmla="*/ 61 h 133"/>
              <a:gd name="T42" fmla="*/ 62 w 170"/>
              <a:gd name="T43" fmla="*/ 60 h 133"/>
              <a:gd name="T44" fmla="*/ 61 w 170"/>
              <a:gd name="T45" fmla="*/ 40 h 133"/>
              <a:gd name="T46" fmla="*/ 64 w 170"/>
              <a:gd name="T47" fmla="*/ 37 h 133"/>
              <a:gd name="T48" fmla="*/ 169 w 170"/>
              <a:gd name="T49" fmla="*/ 38 h 133"/>
              <a:gd name="T50" fmla="*/ 170 w 170"/>
              <a:gd name="T51" fmla="*/ 76 h 133"/>
              <a:gd name="T52" fmla="*/ 169 w 170"/>
              <a:gd name="T53" fmla="*/ 96 h 133"/>
              <a:gd name="T54" fmla="*/ 64 w 170"/>
              <a:gd name="T55" fmla="*/ 97 h 133"/>
              <a:gd name="T56" fmla="*/ 61 w 170"/>
              <a:gd name="T57" fmla="*/ 94 h 133"/>
              <a:gd name="T58" fmla="*/ 62 w 170"/>
              <a:gd name="T59" fmla="*/ 74 h 133"/>
              <a:gd name="T60" fmla="*/ 167 w 170"/>
              <a:gd name="T61" fmla="*/ 73 h 133"/>
              <a:gd name="T62" fmla="*/ 170 w 170"/>
              <a:gd name="T63" fmla="*/ 7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0" h="133">
                <a:moveTo>
                  <a:pt x="170" y="3"/>
                </a:moveTo>
                <a:cubicBezTo>
                  <a:pt x="170" y="22"/>
                  <a:pt x="170" y="22"/>
                  <a:pt x="170" y="22"/>
                </a:cubicBezTo>
                <a:cubicBezTo>
                  <a:pt x="170" y="22"/>
                  <a:pt x="169" y="23"/>
                  <a:pt x="169" y="24"/>
                </a:cubicBezTo>
                <a:cubicBezTo>
                  <a:pt x="168" y="24"/>
                  <a:pt x="167" y="25"/>
                  <a:pt x="167" y="25"/>
                </a:cubicBez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2" y="24"/>
                  <a:pt x="1" y="24"/>
                </a:cubicBezTo>
                <a:cubicBezTo>
                  <a:pt x="0" y="23"/>
                  <a:pt x="0" y="22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3"/>
                  <a:pt x="0" y="2"/>
                  <a:pt x="1" y="1"/>
                </a:cubicBezTo>
                <a:cubicBezTo>
                  <a:pt x="2" y="1"/>
                  <a:pt x="2" y="0"/>
                  <a:pt x="3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67" y="0"/>
                  <a:pt x="168" y="1"/>
                  <a:pt x="169" y="1"/>
                </a:cubicBezTo>
                <a:cubicBezTo>
                  <a:pt x="169" y="2"/>
                  <a:pt x="170" y="3"/>
                  <a:pt x="170" y="3"/>
                </a:cubicBezTo>
                <a:close/>
                <a:moveTo>
                  <a:pt x="33" y="67"/>
                </a:moveTo>
                <a:cubicBezTo>
                  <a:pt x="33" y="68"/>
                  <a:pt x="33" y="69"/>
                  <a:pt x="33" y="69"/>
                </a:cubicBezTo>
                <a:cubicBezTo>
                  <a:pt x="5" y="96"/>
                  <a:pt x="5" y="96"/>
                  <a:pt x="5" y="96"/>
                </a:cubicBezTo>
                <a:cubicBezTo>
                  <a:pt x="5" y="97"/>
                  <a:pt x="4" y="97"/>
                  <a:pt x="3" y="97"/>
                </a:cubicBezTo>
                <a:cubicBezTo>
                  <a:pt x="2" y="97"/>
                  <a:pt x="2" y="97"/>
                  <a:pt x="1" y="96"/>
                </a:cubicBezTo>
                <a:cubicBezTo>
                  <a:pt x="0" y="96"/>
                  <a:pt x="0" y="95"/>
                  <a:pt x="0" y="94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9"/>
                  <a:pt x="0" y="38"/>
                  <a:pt x="1" y="38"/>
                </a:cubicBezTo>
                <a:cubicBezTo>
                  <a:pt x="2" y="37"/>
                  <a:pt x="2" y="37"/>
                  <a:pt x="3" y="37"/>
                </a:cubicBezTo>
                <a:cubicBezTo>
                  <a:pt x="4" y="37"/>
                  <a:pt x="5" y="37"/>
                  <a:pt x="5" y="38"/>
                </a:cubicBez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3" y="66"/>
                  <a:pt x="33" y="67"/>
                </a:cubicBezTo>
                <a:close/>
                <a:moveTo>
                  <a:pt x="170" y="112"/>
                </a:moveTo>
                <a:cubicBezTo>
                  <a:pt x="170" y="130"/>
                  <a:pt x="170" y="130"/>
                  <a:pt x="170" y="130"/>
                </a:cubicBezTo>
                <a:cubicBezTo>
                  <a:pt x="170" y="131"/>
                  <a:pt x="169" y="132"/>
                  <a:pt x="169" y="133"/>
                </a:cubicBezTo>
                <a:cubicBezTo>
                  <a:pt x="168" y="133"/>
                  <a:pt x="167" y="133"/>
                  <a:pt x="167" y="133"/>
                </a:cubicBezTo>
                <a:cubicBezTo>
                  <a:pt x="3" y="133"/>
                  <a:pt x="3" y="133"/>
                  <a:pt x="3" y="133"/>
                </a:cubicBezTo>
                <a:cubicBezTo>
                  <a:pt x="2" y="133"/>
                  <a:pt x="2" y="133"/>
                  <a:pt x="1" y="133"/>
                </a:cubicBezTo>
                <a:cubicBezTo>
                  <a:pt x="0" y="132"/>
                  <a:pt x="0" y="131"/>
                  <a:pt x="0" y="130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0" y="111"/>
                  <a:pt x="1" y="110"/>
                </a:cubicBezTo>
                <a:cubicBezTo>
                  <a:pt x="2" y="110"/>
                  <a:pt x="2" y="109"/>
                  <a:pt x="3" y="109"/>
                </a:cubicBezTo>
                <a:cubicBezTo>
                  <a:pt x="167" y="109"/>
                  <a:pt x="167" y="109"/>
                  <a:pt x="167" y="109"/>
                </a:cubicBezTo>
                <a:cubicBezTo>
                  <a:pt x="167" y="109"/>
                  <a:pt x="168" y="110"/>
                  <a:pt x="169" y="110"/>
                </a:cubicBezTo>
                <a:cubicBezTo>
                  <a:pt x="169" y="111"/>
                  <a:pt x="170" y="111"/>
                  <a:pt x="170" y="112"/>
                </a:cubicBezTo>
                <a:close/>
                <a:moveTo>
                  <a:pt x="170" y="40"/>
                </a:moveTo>
                <a:cubicBezTo>
                  <a:pt x="170" y="58"/>
                  <a:pt x="170" y="58"/>
                  <a:pt x="170" y="58"/>
                </a:cubicBezTo>
                <a:cubicBezTo>
                  <a:pt x="170" y="59"/>
                  <a:pt x="169" y="59"/>
                  <a:pt x="169" y="60"/>
                </a:cubicBezTo>
                <a:cubicBezTo>
                  <a:pt x="168" y="61"/>
                  <a:pt x="167" y="61"/>
                  <a:pt x="167" y="61"/>
                </a:cubicBezTo>
                <a:cubicBezTo>
                  <a:pt x="64" y="61"/>
                  <a:pt x="64" y="61"/>
                  <a:pt x="64" y="61"/>
                </a:cubicBezTo>
                <a:cubicBezTo>
                  <a:pt x="63" y="61"/>
                  <a:pt x="62" y="61"/>
                  <a:pt x="62" y="60"/>
                </a:cubicBezTo>
                <a:cubicBezTo>
                  <a:pt x="61" y="59"/>
                  <a:pt x="61" y="59"/>
                  <a:pt x="61" y="58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39"/>
                  <a:pt x="61" y="38"/>
                  <a:pt x="62" y="38"/>
                </a:cubicBezTo>
                <a:cubicBezTo>
                  <a:pt x="62" y="37"/>
                  <a:pt x="63" y="37"/>
                  <a:pt x="64" y="37"/>
                </a:cubicBezTo>
                <a:cubicBezTo>
                  <a:pt x="167" y="37"/>
                  <a:pt x="167" y="37"/>
                  <a:pt x="167" y="37"/>
                </a:cubicBezTo>
                <a:cubicBezTo>
                  <a:pt x="167" y="37"/>
                  <a:pt x="168" y="37"/>
                  <a:pt x="169" y="38"/>
                </a:cubicBezTo>
                <a:cubicBezTo>
                  <a:pt x="169" y="38"/>
                  <a:pt x="170" y="39"/>
                  <a:pt x="170" y="40"/>
                </a:cubicBezTo>
                <a:close/>
                <a:moveTo>
                  <a:pt x="170" y="76"/>
                </a:moveTo>
                <a:cubicBezTo>
                  <a:pt x="170" y="94"/>
                  <a:pt x="170" y="94"/>
                  <a:pt x="170" y="94"/>
                </a:cubicBezTo>
                <a:cubicBezTo>
                  <a:pt x="170" y="95"/>
                  <a:pt x="169" y="96"/>
                  <a:pt x="169" y="96"/>
                </a:cubicBezTo>
                <a:cubicBezTo>
                  <a:pt x="168" y="97"/>
                  <a:pt x="167" y="97"/>
                  <a:pt x="167" y="97"/>
                </a:cubicBezTo>
                <a:cubicBezTo>
                  <a:pt x="64" y="97"/>
                  <a:pt x="64" y="97"/>
                  <a:pt x="64" y="97"/>
                </a:cubicBezTo>
                <a:cubicBezTo>
                  <a:pt x="63" y="97"/>
                  <a:pt x="62" y="97"/>
                  <a:pt x="62" y="96"/>
                </a:cubicBezTo>
                <a:cubicBezTo>
                  <a:pt x="61" y="96"/>
                  <a:pt x="61" y="95"/>
                  <a:pt x="61" y="94"/>
                </a:cubicBezTo>
                <a:cubicBezTo>
                  <a:pt x="61" y="76"/>
                  <a:pt x="61" y="76"/>
                  <a:pt x="61" y="76"/>
                </a:cubicBezTo>
                <a:cubicBezTo>
                  <a:pt x="61" y="75"/>
                  <a:pt x="61" y="74"/>
                  <a:pt x="62" y="74"/>
                </a:cubicBezTo>
                <a:cubicBezTo>
                  <a:pt x="62" y="73"/>
                  <a:pt x="63" y="73"/>
                  <a:pt x="64" y="73"/>
                </a:cubicBezTo>
                <a:cubicBezTo>
                  <a:pt x="167" y="73"/>
                  <a:pt x="167" y="73"/>
                  <a:pt x="167" y="73"/>
                </a:cubicBezTo>
                <a:cubicBezTo>
                  <a:pt x="167" y="73"/>
                  <a:pt x="168" y="73"/>
                  <a:pt x="169" y="74"/>
                </a:cubicBezTo>
                <a:cubicBezTo>
                  <a:pt x="169" y="74"/>
                  <a:pt x="170" y="75"/>
                  <a:pt x="170" y="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3" name="Freeform 63"/>
          <p:cNvSpPr>
            <a:spLocks noChangeAspect="1"/>
          </p:cNvSpPr>
          <p:nvPr/>
        </p:nvSpPr>
        <p:spPr bwMode="auto">
          <a:xfrm>
            <a:off x="4882688" y="1878731"/>
            <a:ext cx="174866" cy="124904"/>
          </a:xfrm>
          <a:custGeom>
            <a:avLst/>
            <a:gdLst>
              <a:gd name="T0" fmla="*/ 169 w 169"/>
              <a:gd name="T1" fmla="*/ 10 h 121"/>
              <a:gd name="T2" fmla="*/ 169 w 169"/>
              <a:gd name="T3" fmla="*/ 112 h 121"/>
              <a:gd name="T4" fmla="*/ 166 w 169"/>
              <a:gd name="T5" fmla="*/ 118 h 121"/>
              <a:gd name="T6" fmla="*/ 163 w 169"/>
              <a:gd name="T7" fmla="*/ 118 h 121"/>
              <a:gd name="T8" fmla="*/ 159 w 169"/>
              <a:gd name="T9" fmla="*/ 117 h 121"/>
              <a:gd name="T10" fmla="*/ 121 w 169"/>
              <a:gd name="T11" fmla="*/ 79 h 121"/>
              <a:gd name="T12" fmla="*/ 121 w 169"/>
              <a:gd name="T13" fmla="*/ 94 h 121"/>
              <a:gd name="T14" fmla="*/ 113 w 169"/>
              <a:gd name="T15" fmla="*/ 113 h 121"/>
              <a:gd name="T16" fmla="*/ 94 w 169"/>
              <a:gd name="T17" fmla="*/ 121 h 121"/>
              <a:gd name="T18" fmla="*/ 27 w 169"/>
              <a:gd name="T19" fmla="*/ 121 h 121"/>
              <a:gd name="T20" fmla="*/ 8 w 169"/>
              <a:gd name="T21" fmla="*/ 113 h 121"/>
              <a:gd name="T22" fmla="*/ 0 w 169"/>
              <a:gd name="T23" fmla="*/ 94 h 121"/>
              <a:gd name="T24" fmla="*/ 0 w 169"/>
              <a:gd name="T25" fmla="*/ 28 h 121"/>
              <a:gd name="T26" fmla="*/ 8 w 169"/>
              <a:gd name="T27" fmla="*/ 8 h 121"/>
              <a:gd name="T28" fmla="*/ 27 w 169"/>
              <a:gd name="T29" fmla="*/ 0 h 121"/>
              <a:gd name="T30" fmla="*/ 94 w 169"/>
              <a:gd name="T31" fmla="*/ 0 h 121"/>
              <a:gd name="T32" fmla="*/ 113 w 169"/>
              <a:gd name="T33" fmla="*/ 8 h 121"/>
              <a:gd name="T34" fmla="*/ 121 w 169"/>
              <a:gd name="T35" fmla="*/ 28 h 121"/>
              <a:gd name="T36" fmla="*/ 121 w 169"/>
              <a:gd name="T37" fmla="*/ 43 h 121"/>
              <a:gd name="T38" fmla="*/ 159 w 169"/>
              <a:gd name="T39" fmla="*/ 5 h 121"/>
              <a:gd name="T40" fmla="*/ 163 w 169"/>
              <a:gd name="T41" fmla="*/ 3 h 121"/>
              <a:gd name="T42" fmla="*/ 166 w 169"/>
              <a:gd name="T43" fmla="*/ 4 h 121"/>
              <a:gd name="T44" fmla="*/ 169 w 169"/>
              <a:gd name="T45" fmla="*/ 1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69" h="121">
                <a:moveTo>
                  <a:pt x="169" y="10"/>
                </a:moveTo>
                <a:cubicBezTo>
                  <a:pt x="169" y="112"/>
                  <a:pt x="169" y="112"/>
                  <a:pt x="169" y="112"/>
                </a:cubicBezTo>
                <a:cubicBezTo>
                  <a:pt x="169" y="115"/>
                  <a:pt x="168" y="117"/>
                  <a:pt x="166" y="118"/>
                </a:cubicBezTo>
                <a:cubicBezTo>
                  <a:pt x="165" y="118"/>
                  <a:pt x="164" y="118"/>
                  <a:pt x="163" y="118"/>
                </a:cubicBezTo>
                <a:cubicBezTo>
                  <a:pt x="162" y="118"/>
                  <a:pt x="160" y="118"/>
                  <a:pt x="159" y="117"/>
                </a:cubicBezTo>
                <a:cubicBezTo>
                  <a:pt x="121" y="79"/>
                  <a:pt x="121" y="79"/>
                  <a:pt x="121" y="79"/>
                </a:cubicBezTo>
                <a:cubicBezTo>
                  <a:pt x="121" y="94"/>
                  <a:pt x="121" y="94"/>
                  <a:pt x="121" y="94"/>
                </a:cubicBezTo>
                <a:cubicBezTo>
                  <a:pt x="121" y="102"/>
                  <a:pt x="118" y="108"/>
                  <a:pt x="113" y="113"/>
                </a:cubicBezTo>
                <a:cubicBezTo>
                  <a:pt x="108" y="119"/>
                  <a:pt x="101" y="121"/>
                  <a:pt x="94" y="121"/>
                </a:cubicBezTo>
                <a:cubicBezTo>
                  <a:pt x="27" y="121"/>
                  <a:pt x="27" y="121"/>
                  <a:pt x="27" y="121"/>
                </a:cubicBezTo>
                <a:cubicBezTo>
                  <a:pt x="20" y="121"/>
                  <a:pt x="13" y="119"/>
                  <a:pt x="8" y="113"/>
                </a:cubicBezTo>
                <a:cubicBezTo>
                  <a:pt x="3" y="108"/>
                  <a:pt x="0" y="102"/>
                  <a:pt x="0" y="9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101" y="0"/>
                  <a:pt x="108" y="3"/>
                  <a:pt x="113" y="8"/>
                </a:cubicBezTo>
                <a:cubicBezTo>
                  <a:pt x="118" y="14"/>
                  <a:pt x="121" y="20"/>
                  <a:pt x="121" y="28"/>
                </a:cubicBezTo>
                <a:cubicBezTo>
                  <a:pt x="121" y="43"/>
                  <a:pt x="121" y="43"/>
                  <a:pt x="121" y="43"/>
                </a:cubicBezTo>
                <a:cubicBezTo>
                  <a:pt x="159" y="5"/>
                  <a:pt x="159" y="5"/>
                  <a:pt x="159" y="5"/>
                </a:cubicBezTo>
                <a:cubicBezTo>
                  <a:pt x="160" y="4"/>
                  <a:pt x="162" y="3"/>
                  <a:pt x="163" y="3"/>
                </a:cubicBezTo>
                <a:cubicBezTo>
                  <a:pt x="164" y="3"/>
                  <a:pt x="165" y="4"/>
                  <a:pt x="166" y="4"/>
                </a:cubicBezTo>
                <a:cubicBezTo>
                  <a:pt x="168" y="5"/>
                  <a:pt x="169" y="7"/>
                  <a:pt x="169" y="1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4" name="Freeform 64"/>
          <p:cNvSpPr>
            <a:spLocks noChangeAspect="1" noEditPoints="1"/>
          </p:cNvSpPr>
          <p:nvPr/>
        </p:nvSpPr>
        <p:spPr bwMode="auto">
          <a:xfrm>
            <a:off x="5104393" y="1866240"/>
            <a:ext cx="187357" cy="151447"/>
          </a:xfrm>
          <a:custGeom>
            <a:avLst/>
            <a:gdLst>
              <a:gd name="T0" fmla="*/ 181 w 181"/>
              <a:gd name="T1" fmla="*/ 15 h 146"/>
              <a:gd name="T2" fmla="*/ 181 w 181"/>
              <a:gd name="T3" fmla="*/ 130 h 146"/>
              <a:gd name="T4" fmla="*/ 177 w 181"/>
              <a:gd name="T5" fmla="*/ 141 h 146"/>
              <a:gd name="T6" fmla="*/ 166 w 181"/>
              <a:gd name="T7" fmla="*/ 146 h 146"/>
              <a:gd name="T8" fmla="*/ 15 w 181"/>
              <a:gd name="T9" fmla="*/ 146 h 146"/>
              <a:gd name="T10" fmla="*/ 4 w 181"/>
              <a:gd name="T11" fmla="*/ 141 h 146"/>
              <a:gd name="T12" fmla="*/ 0 w 181"/>
              <a:gd name="T13" fmla="*/ 130 h 146"/>
              <a:gd name="T14" fmla="*/ 0 w 181"/>
              <a:gd name="T15" fmla="*/ 15 h 146"/>
              <a:gd name="T16" fmla="*/ 4 w 181"/>
              <a:gd name="T17" fmla="*/ 5 h 146"/>
              <a:gd name="T18" fmla="*/ 15 w 181"/>
              <a:gd name="T19" fmla="*/ 0 h 146"/>
              <a:gd name="T20" fmla="*/ 166 w 181"/>
              <a:gd name="T21" fmla="*/ 0 h 146"/>
              <a:gd name="T22" fmla="*/ 177 w 181"/>
              <a:gd name="T23" fmla="*/ 5 h 146"/>
              <a:gd name="T24" fmla="*/ 181 w 181"/>
              <a:gd name="T25" fmla="*/ 15 h 146"/>
              <a:gd name="T26" fmla="*/ 166 w 181"/>
              <a:gd name="T27" fmla="*/ 12 h 146"/>
              <a:gd name="T28" fmla="*/ 15 w 181"/>
              <a:gd name="T29" fmla="*/ 12 h 146"/>
              <a:gd name="T30" fmla="*/ 13 w 181"/>
              <a:gd name="T31" fmla="*/ 13 h 146"/>
              <a:gd name="T32" fmla="*/ 12 w 181"/>
              <a:gd name="T33" fmla="*/ 15 h 146"/>
              <a:gd name="T34" fmla="*/ 12 w 181"/>
              <a:gd name="T35" fmla="*/ 130 h 146"/>
              <a:gd name="T36" fmla="*/ 13 w 181"/>
              <a:gd name="T37" fmla="*/ 133 h 146"/>
              <a:gd name="T38" fmla="*/ 15 w 181"/>
              <a:gd name="T39" fmla="*/ 133 h 146"/>
              <a:gd name="T40" fmla="*/ 166 w 181"/>
              <a:gd name="T41" fmla="*/ 133 h 146"/>
              <a:gd name="T42" fmla="*/ 168 w 181"/>
              <a:gd name="T43" fmla="*/ 133 h 146"/>
              <a:gd name="T44" fmla="*/ 169 w 181"/>
              <a:gd name="T45" fmla="*/ 130 h 146"/>
              <a:gd name="T46" fmla="*/ 169 w 181"/>
              <a:gd name="T47" fmla="*/ 15 h 146"/>
              <a:gd name="T48" fmla="*/ 168 w 181"/>
              <a:gd name="T49" fmla="*/ 13 h 146"/>
              <a:gd name="T50" fmla="*/ 166 w 181"/>
              <a:gd name="T51" fmla="*/ 12 h 146"/>
              <a:gd name="T52" fmla="*/ 55 w 181"/>
              <a:gd name="T53" fmla="*/ 30 h 146"/>
              <a:gd name="T54" fmla="*/ 60 w 181"/>
              <a:gd name="T55" fmla="*/ 43 h 146"/>
              <a:gd name="T56" fmla="*/ 55 w 181"/>
              <a:gd name="T57" fmla="*/ 56 h 146"/>
              <a:gd name="T58" fmla="*/ 42 w 181"/>
              <a:gd name="T59" fmla="*/ 61 h 146"/>
              <a:gd name="T60" fmla="*/ 29 w 181"/>
              <a:gd name="T61" fmla="*/ 56 h 146"/>
              <a:gd name="T62" fmla="*/ 24 w 181"/>
              <a:gd name="T63" fmla="*/ 43 h 146"/>
              <a:gd name="T64" fmla="*/ 29 w 181"/>
              <a:gd name="T65" fmla="*/ 30 h 146"/>
              <a:gd name="T66" fmla="*/ 42 w 181"/>
              <a:gd name="T67" fmla="*/ 25 h 146"/>
              <a:gd name="T68" fmla="*/ 55 w 181"/>
              <a:gd name="T69" fmla="*/ 30 h 146"/>
              <a:gd name="T70" fmla="*/ 157 w 181"/>
              <a:gd name="T71" fmla="*/ 79 h 146"/>
              <a:gd name="T72" fmla="*/ 157 w 181"/>
              <a:gd name="T73" fmla="*/ 121 h 146"/>
              <a:gd name="T74" fmla="*/ 24 w 181"/>
              <a:gd name="T75" fmla="*/ 121 h 146"/>
              <a:gd name="T76" fmla="*/ 24 w 181"/>
              <a:gd name="T77" fmla="*/ 103 h 146"/>
              <a:gd name="T78" fmla="*/ 54 w 181"/>
              <a:gd name="T79" fmla="*/ 73 h 146"/>
              <a:gd name="T80" fmla="*/ 69 w 181"/>
              <a:gd name="T81" fmla="*/ 88 h 146"/>
              <a:gd name="T82" fmla="*/ 118 w 181"/>
              <a:gd name="T83" fmla="*/ 40 h 146"/>
              <a:gd name="T84" fmla="*/ 157 w 181"/>
              <a:gd name="T85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81" h="146">
                <a:moveTo>
                  <a:pt x="181" y="15"/>
                </a:moveTo>
                <a:cubicBezTo>
                  <a:pt x="181" y="130"/>
                  <a:pt x="181" y="130"/>
                  <a:pt x="181" y="130"/>
                </a:cubicBezTo>
                <a:cubicBezTo>
                  <a:pt x="181" y="135"/>
                  <a:pt x="180" y="138"/>
                  <a:pt x="177" y="141"/>
                </a:cubicBezTo>
                <a:cubicBezTo>
                  <a:pt x="174" y="144"/>
                  <a:pt x="170" y="146"/>
                  <a:pt x="166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11" y="146"/>
                  <a:pt x="7" y="144"/>
                  <a:pt x="4" y="141"/>
                </a:cubicBezTo>
                <a:cubicBezTo>
                  <a:pt x="1" y="138"/>
                  <a:pt x="0" y="135"/>
                  <a:pt x="0" y="13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0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6" y="12"/>
                </a:move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3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130"/>
                  <a:pt x="12" y="130"/>
                  <a:pt x="12" y="130"/>
                </a:cubicBezTo>
                <a:cubicBezTo>
                  <a:pt x="12" y="131"/>
                  <a:pt x="12" y="132"/>
                  <a:pt x="13" y="133"/>
                </a:cubicBezTo>
                <a:cubicBezTo>
                  <a:pt x="13" y="133"/>
                  <a:pt x="14" y="133"/>
                  <a:pt x="15" y="133"/>
                </a:cubicBezTo>
                <a:cubicBezTo>
                  <a:pt x="166" y="133"/>
                  <a:pt x="166" y="133"/>
                  <a:pt x="166" y="133"/>
                </a:cubicBezTo>
                <a:cubicBezTo>
                  <a:pt x="167" y="133"/>
                  <a:pt x="168" y="133"/>
                  <a:pt x="168" y="133"/>
                </a:cubicBezTo>
                <a:cubicBezTo>
                  <a:pt x="169" y="132"/>
                  <a:pt x="169" y="131"/>
                  <a:pt x="169" y="130"/>
                </a:cubicBez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lose/>
                <a:moveTo>
                  <a:pt x="55" y="30"/>
                </a:moveTo>
                <a:cubicBezTo>
                  <a:pt x="58" y="33"/>
                  <a:pt x="60" y="38"/>
                  <a:pt x="60" y="43"/>
                </a:cubicBezTo>
                <a:cubicBezTo>
                  <a:pt x="60" y="48"/>
                  <a:pt x="58" y="52"/>
                  <a:pt x="55" y="56"/>
                </a:cubicBezTo>
                <a:cubicBezTo>
                  <a:pt x="51" y="59"/>
                  <a:pt x="47" y="61"/>
                  <a:pt x="42" y="61"/>
                </a:cubicBezTo>
                <a:cubicBezTo>
                  <a:pt x="37" y="61"/>
                  <a:pt x="33" y="59"/>
                  <a:pt x="29" y="56"/>
                </a:cubicBezTo>
                <a:cubicBezTo>
                  <a:pt x="26" y="52"/>
                  <a:pt x="24" y="48"/>
                  <a:pt x="24" y="43"/>
                </a:cubicBezTo>
                <a:cubicBezTo>
                  <a:pt x="24" y="38"/>
                  <a:pt x="26" y="33"/>
                  <a:pt x="29" y="30"/>
                </a:cubicBezTo>
                <a:cubicBezTo>
                  <a:pt x="33" y="26"/>
                  <a:pt x="37" y="25"/>
                  <a:pt x="42" y="25"/>
                </a:cubicBezTo>
                <a:cubicBezTo>
                  <a:pt x="47" y="25"/>
                  <a:pt x="51" y="26"/>
                  <a:pt x="55" y="30"/>
                </a:cubicBezTo>
                <a:close/>
                <a:moveTo>
                  <a:pt x="157" y="79"/>
                </a:moveTo>
                <a:cubicBezTo>
                  <a:pt x="157" y="121"/>
                  <a:pt x="157" y="121"/>
                  <a:pt x="157" y="121"/>
                </a:cubicBezTo>
                <a:cubicBezTo>
                  <a:pt x="24" y="121"/>
                  <a:pt x="24" y="121"/>
                  <a:pt x="24" y="121"/>
                </a:cubicBezTo>
                <a:cubicBezTo>
                  <a:pt x="24" y="103"/>
                  <a:pt x="24" y="103"/>
                  <a:pt x="24" y="103"/>
                </a:cubicBezTo>
                <a:cubicBezTo>
                  <a:pt x="54" y="73"/>
                  <a:pt x="54" y="73"/>
                  <a:pt x="54" y="73"/>
                </a:cubicBezTo>
                <a:cubicBezTo>
                  <a:pt x="69" y="88"/>
                  <a:pt x="69" y="88"/>
                  <a:pt x="69" y="88"/>
                </a:cubicBezTo>
                <a:cubicBezTo>
                  <a:pt x="118" y="40"/>
                  <a:pt x="118" y="40"/>
                  <a:pt x="118" y="40"/>
                </a:cubicBezTo>
                <a:lnTo>
                  <a:pt x="157" y="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5" name="Freeform 65"/>
          <p:cNvSpPr>
            <a:spLocks noChangeAspect="1" noEditPoints="1"/>
          </p:cNvSpPr>
          <p:nvPr/>
        </p:nvSpPr>
        <p:spPr bwMode="auto">
          <a:xfrm>
            <a:off x="5335467" y="1867802"/>
            <a:ext cx="149885" cy="149885"/>
          </a:xfrm>
          <a:custGeom>
            <a:avLst/>
            <a:gdLst>
              <a:gd name="T0" fmla="*/ 79 w 144"/>
              <a:gd name="T1" fmla="*/ 26 h 144"/>
              <a:gd name="T2" fmla="*/ 118 w 144"/>
              <a:gd name="T3" fmla="*/ 65 h 144"/>
              <a:gd name="T4" fmla="*/ 40 w 144"/>
              <a:gd name="T5" fmla="*/ 144 h 144"/>
              <a:gd name="T6" fmla="*/ 0 w 144"/>
              <a:gd name="T7" fmla="*/ 144 h 144"/>
              <a:gd name="T8" fmla="*/ 0 w 144"/>
              <a:gd name="T9" fmla="*/ 104 h 144"/>
              <a:gd name="T10" fmla="*/ 79 w 144"/>
              <a:gd name="T11" fmla="*/ 26 h 144"/>
              <a:gd name="T12" fmla="*/ 35 w 144"/>
              <a:gd name="T13" fmla="*/ 131 h 144"/>
              <a:gd name="T14" fmla="*/ 43 w 144"/>
              <a:gd name="T15" fmla="*/ 123 h 144"/>
              <a:gd name="T16" fmla="*/ 21 w 144"/>
              <a:gd name="T17" fmla="*/ 101 h 144"/>
              <a:gd name="T18" fmla="*/ 13 w 144"/>
              <a:gd name="T19" fmla="*/ 109 h 144"/>
              <a:gd name="T20" fmla="*/ 13 w 144"/>
              <a:gd name="T21" fmla="*/ 119 h 144"/>
              <a:gd name="T22" fmla="*/ 25 w 144"/>
              <a:gd name="T23" fmla="*/ 119 h 144"/>
              <a:gd name="T24" fmla="*/ 25 w 144"/>
              <a:gd name="T25" fmla="*/ 131 h 144"/>
              <a:gd name="T26" fmla="*/ 35 w 144"/>
              <a:gd name="T27" fmla="*/ 131 h 144"/>
              <a:gd name="T28" fmla="*/ 84 w 144"/>
              <a:gd name="T29" fmla="*/ 44 h 144"/>
              <a:gd name="T30" fmla="*/ 82 w 144"/>
              <a:gd name="T31" fmla="*/ 42 h 144"/>
              <a:gd name="T32" fmla="*/ 81 w 144"/>
              <a:gd name="T33" fmla="*/ 42 h 144"/>
              <a:gd name="T34" fmla="*/ 29 w 144"/>
              <a:gd name="T35" fmla="*/ 94 h 144"/>
              <a:gd name="T36" fmla="*/ 29 w 144"/>
              <a:gd name="T37" fmla="*/ 95 h 144"/>
              <a:gd name="T38" fmla="*/ 31 w 144"/>
              <a:gd name="T39" fmla="*/ 97 h 144"/>
              <a:gd name="T40" fmla="*/ 32 w 144"/>
              <a:gd name="T41" fmla="*/ 97 h 144"/>
              <a:gd name="T42" fmla="*/ 84 w 144"/>
              <a:gd name="T43" fmla="*/ 45 h 144"/>
              <a:gd name="T44" fmla="*/ 84 w 144"/>
              <a:gd name="T45" fmla="*/ 44 h 144"/>
              <a:gd name="T46" fmla="*/ 144 w 144"/>
              <a:gd name="T47" fmla="*/ 35 h 144"/>
              <a:gd name="T48" fmla="*/ 140 w 144"/>
              <a:gd name="T49" fmla="*/ 43 h 144"/>
              <a:gd name="T50" fmla="*/ 125 w 144"/>
              <a:gd name="T51" fmla="*/ 59 h 144"/>
              <a:gd name="T52" fmla="*/ 85 w 144"/>
              <a:gd name="T53" fmla="*/ 20 h 144"/>
              <a:gd name="T54" fmla="*/ 101 w 144"/>
              <a:gd name="T55" fmla="*/ 4 h 144"/>
              <a:gd name="T56" fmla="*/ 109 w 144"/>
              <a:gd name="T57" fmla="*/ 0 h 144"/>
              <a:gd name="T58" fmla="*/ 118 w 144"/>
              <a:gd name="T59" fmla="*/ 4 h 144"/>
              <a:gd name="T60" fmla="*/ 140 w 144"/>
              <a:gd name="T61" fmla="*/ 26 h 144"/>
              <a:gd name="T62" fmla="*/ 144 w 144"/>
              <a:gd name="T63" fmla="*/ 35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4" h="144">
                <a:moveTo>
                  <a:pt x="79" y="26"/>
                </a:moveTo>
                <a:cubicBezTo>
                  <a:pt x="118" y="65"/>
                  <a:pt x="118" y="65"/>
                  <a:pt x="118" y="65"/>
                </a:cubicBezTo>
                <a:cubicBezTo>
                  <a:pt x="40" y="144"/>
                  <a:pt x="40" y="144"/>
                  <a:pt x="4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04"/>
                  <a:pt x="0" y="104"/>
                  <a:pt x="0" y="104"/>
                </a:cubicBezTo>
                <a:lnTo>
                  <a:pt x="79" y="26"/>
                </a:lnTo>
                <a:close/>
                <a:moveTo>
                  <a:pt x="35" y="131"/>
                </a:moveTo>
                <a:cubicBezTo>
                  <a:pt x="43" y="123"/>
                  <a:pt x="43" y="123"/>
                  <a:pt x="43" y="123"/>
                </a:cubicBezTo>
                <a:cubicBezTo>
                  <a:pt x="21" y="101"/>
                  <a:pt x="21" y="101"/>
                  <a:pt x="21" y="101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19"/>
                  <a:pt x="13" y="119"/>
                  <a:pt x="13" y="119"/>
                </a:cubicBezTo>
                <a:cubicBezTo>
                  <a:pt x="25" y="119"/>
                  <a:pt x="25" y="119"/>
                  <a:pt x="25" y="119"/>
                </a:cubicBezTo>
                <a:cubicBezTo>
                  <a:pt x="25" y="131"/>
                  <a:pt x="25" y="131"/>
                  <a:pt x="25" y="131"/>
                </a:cubicBezTo>
                <a:lnTo>
                  <a:pt x="35" y="131"/>
                </a:lnTo>
                <a:close/>
                <a:moveTo>
                  <a:pt x="84" y="44"/>
                </a:moveTo>
                <a:cubicBezTo>
                  <a:pt x="84" y="42"/>
                  <a:pt x="84" y="42"/>
                  <a:pt x="82" y="42"/>
                </a:cubicBezTo>
                <a:cubicBezTo>
                  <a:pt x="82" y="42"/>
                  <a:pt x="81" y="42"/>
                  <a:pt x="81" y="42"/>
                </a:cubicBezTo>
                <a:cubicBezTo>
                  <a:pt x="29" y="94"/>
                  <a:pt x="29" y="94"/>
                  <a:pt x="29" y="94"/>
                </a:cubicBezTo>
                <a:cubicBezTo>
                  <a:pt x="29" y="94"/>
                  <a:pt x="29" y="95"/>
                  <a:pt x="29" y="95"/>
                </a:cubicBezTo>
                <a:cubicBezTo>
                  <a:pt x="29" y="97"/>
                  <a:pt x="29" y="97"/>
                  <a:pt x="31" y="97"/>
                </a:cubicBezTo>
                <a:cubicBezTo>
                  <a:pt x="31" y="97"/>
                  <a:pt x="32" y="97"/>
                  <a:pt x="32" y="97"/>
                </a:cubicBezTo>
                <a:cubicBezTo>
                  <a:pt x="84" y="45"/>
                  <a:pt x="84" y="45"/>
                  <a:pt x="84" y="45"/>
                </a:cubicBezTo>
                <a:cubicBezTo>
                  <a:pt x="84" y="45"/>
                  <a:pt x="84" y="44"/>
                  <a:pt x="84" y="44"/>
                </a:cubicBezTo>
                <a:close/>
                <a:moveTo>
                  <a:pt x="144" y="35"/>
                </a:moveTo>
                <a:cubicBezTo>
                  <a:pt x="144" y="38"/>
                  <a:pt x="143" y="41"/>
                  <a:pt x="140" y="43"/>
                </a:cubicBezTo>
                <a:cubicBezTo>
                  <a:pt x="125" y="59"/>
                  <a:pt x="125" y="59"/>
                  <a:pt x="125" y="59"/>
                </a:cubicBezTo>
                <a:cubicBezTo>
                  <a:pt x="85" y="20"/>
                  <a:pt x="85" y="20"/>
                  <a:pt x="85" y="20"/>
                </a:cubicBezTo>
                <a:cubicBezTo>
                  <a:pt x="101" y="4"/>
                  <a:pt x="101" y="4"/>
                  <a:pt x="101" y="4"/>
                </a:cubicBezTo>
                <a:cubicBezTo>
                  <a:pt x="103" y="2"/>
                  <a:pt x="106" y="0"/>
                  <a:pt x="109" y="0"/>
                </a:cubicBezTo>
                <a:cubicBezTo>
                  <a:pt x="113" y="0"/>
                  <a:pt x="116" y="2"/>
                  <a:pt x="118" y="4"/>
                </a:cubicBezTo>
                <a:cubicBezTo>
                  <a:pt x="140" y="26"/>
                  <a:pt x="140" y="26"/>
                  <a:pt x="140" y="26"/>
                </a:cubicBezTo>
                <a:cubicBezTo>
                  <a:pt x="143" y="29"/>
                  <a:pt x="144" y="31"/>
                  <a:pt x="144" y="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6" name="Freeform 66"/>
          <p:cNvSpPr>
            <a:spLocks noChangeAspect="1" noEditPoints="1"/>
          </p:cNvSpPr>
          <p:nvPr/>
        </p:nvSpPr>
        <p:spPr bwMode="auto">
          <a:xfrm>
            <a:off x="5530630" y="1866240"/>
            <a:ext cx="101485" cy="151447"/>
          </a:xfrm>
          <a:custGeom>
            <a:avLst/>
            <a:gdLst>
              <a:gd name="T0" fmla="*/ 97 w 97"/>
              <a:gd name="T1" fmla="*/ 49 h 146"/>
              <a:gd name="T2" fmla="*/ 94 w 97"/>
              <a:gd name="T3" fmla="*/ 66 h 146"/>
              <a:gd name="T4" fmla="*/ 59 w 97"/>
              <a:gd name="T5" fmla="*/ 139 h 146"/>
              <a:gd name="T6" fmla="*/ 55 w 97"/>
              <a:gd name="T7" fmla="*/ 144 h 146"/>
              <a:gd name="T8" fmla="*/ 48 w 97"/>
              <a:gd name="T9" fmla="*/ 146 h 146"/>
              <a:gd name="T10" fmla="*/ 42 w 97"/>
              <a:gd name="T11" fmla="*/ 144 h 146"/>
              <a:gd name="T12" fmla="*/ 38 w 97"/>
              <a:gd name="T13" fmla="*/ 139 h 146"/>
              <a:gd name="T14" fmla="*/ 3 w 97"/>
              <a:gd name="T15" fmla="*/ 66 h 146"/>
              <a:gd name="T16" fmla="*/ 0 w 97"/>
              <a:gd name="T17" fmla="*/ 49 h 146"/>
              <a:gd name="T18" fmla="*/ 14 w 97"/>
              <a:gd name="T19" fmla="*/ 15 h 146"/>
              <a:gd name="T20" fmla="*/ 48 w 97"/>
              <a:gd name="T21" fmla="*/ 0 h 146"/>
              <a:gd name="T22" fmla="*/ 83 w 97"/>
              <a:gd name="T23" fmla="*/ 15 h 146"/>
              <a:gd name="T24" fmla="*/ 97 w 97"/>
              <a:gd name="T25" fmla="*/ 49 h 146"/>
              <a:gd name="T26" fmla="*/ 66 w 97"/>
              <a:gd name="T27" fmla="*/ 66 h 146"/>
              <a:gd name="T28" fmla="*/ 73 w 97"/>
              <a:gd name="T29" fmla="*/ 49 h 146"/>
              <a:gd name="T30" fmla="*/ 66 w 97"/>
              <a:gd name="T31" fmla="*/ 32 h 146"/>
              <a:gd name="T32" fmla="*/ 48 w 97"/>
              <a:gd name="T33" fmla="*/ 25 h 146"/>
              <a:gd name="T34" fmla="*/ 31 w 97"/>
              <a:gd name="T35" fmla="*/ 32 h 146"/>
              <a:gd name="T36" fmla="*/ 24 w 97"/>
              <a:gd name="T37" fmla="*/ 49 h 146"/>
              <a:gd name="T38" fmla="*/ 31 w 97"/>
              <a:gd name="T39" fmla="*/ 66 h 146"/>
              <a:gd name="T40" fmla="*/ 48 w 97"/>
              <a:gd name="T41" fmla="*/ 73 h 146"/>
              <a:gd name="T42" fmla="*/ 66 w 97"/>
              <a:gd name="T43" fmla="*/ 6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7" h="146">
                <a:moveTo>
                  <a:pt x="97" y="49"/>
                </a:moveTo>
                <a:cubicBezTo>
                  <a:pt x="97" y="56"/>
                  <a:pt x="96" y="61"/>
                  <a:pt x="94" y="66"/>
                </a:cubicBezTo>
                <a:cubicBezTo>
                  <a:pt x="59" y="139"/>
                  <a:pt x="59" y="139"/>
                  <a:pt x="59" y="139"/>
                </a:cubicBezTo>
                <a:cubicBezTo>
                  <a:pt x="58" y="141"/>
                  <a:pt x="57" y="143"/>
                  <a:pt x="55" y="144"/>
                </a:cubicBezTo>
                <a:cubicBezTo>
                  <a:pt x="53" y="145"/>
                  <a:pt x="51" y="146"/>
                  <a:pt x="48" y="146"/>
                </a:cubicBezTo>
                <a:cubicBezTo>
                  <a:pt x="46" y="146"/>
                  <a:pt x="44" y="145"/>
                  <a:pt x="42" y="144"/>
                </a:cubicBezTo>
                <a:cubicBezTo>
                  <a:pt x="40" y="143"/>
                  <a:pt x="39" y="141"/>
                  <a:pt x="38" y="139"/>
                </a:cubicBezTo>
                <a:cubicBezTo>
                  <a:pt x="3" y="66"/>
                  <a:pt x="3" y="66"/>
                  <a:pt x="3" y="66"/>
                </a:cubicBezTo>
                <a:cubicBezTo>
                  <a:pt x="1" y="61"/>
                  <a:pt x="0" y="56"/>
                  <a:pt x="0" y="49"/>
                </a:cubicBezTo>
                <a:cubicBezTo>
                  <a:pt x="0" y="35"/>
                  <a:pt x="5" y="24"/>
                  <a:pt x="14" y="15"/>
                </a:cubicBezTo>
                <a:cubicBezTo>
                  <a:pt x="24" y="5"/>
                  <a:pt x="35" y="0"/>
                  <a:pt x="48" y="0"/>
                </a:cubicBezTo>
                <a:cubicBezTo>
                  <a:pt x="62" y="0"/>
                  <a:pt x="73" y="5"/>
                  <a:pt x="83" y="15"/>
                </a:cubicBezTo>
                <a:cubicBezTo>
                  <a:pt x="92" y="24"/>
                  <a:pt x="97" y="35"/>
                  <a:pt x="97" y="49"/>
                </a:cubicBezTo>
                <a:close/>
                <a:moveTo>
                  <a:pt x="66" y="66"/>
                </a:moveTo>
                <a:cubicBezTo>
                  <a:pt x="70" y="61"/>
                  <a:pt x="73" y="55"/>
                  <a:pt x="73" y="49"/>
                </a:cubicBezTo>
                <a:cubicBezTo>
                  <a:pt x="73" y="42"/>
                  <a:pt x="70" y="36"/>
                  <a:pt x="66" y="32"/>
                </a:cubicBezTo>
                <a:cubicBezTo>
                  <a:pt x="61" y="27"/>
                  <a:pt x="55" y="25"/>
                  <a:pt x="48" y="25"/>
                </a:cubicBezTo>
                <a:cubicBezTo>
                  <a:pt x="42" y="25"/>
                  <a:pt x="36" y="27"/>
                  <a:pt x="31" y="32"/>
                </a:cubicBezTo>
                <a:cubicBezTo>
                  <a:pt x="27" y="36"/>
                  <a:pt x="24" y="42"/>
                  <a:pt x="24" y="49"/>
                </a:cubicBezTo>
                <a:cubicBezTo>
                  <a:pt x="24" y="55"/>
                  <a:pt x="27" y="61"/>
                  <a:pt x="31" y="66"/>
                </a:cubicBezTo>
                <a:cubicBezTo>
                  <a:pt x="36" y="71"/>
                  <a:pt x="42" y="73"/>
                  <a:pt x="48" y="73"/>
                </a:cubicBezTo>
                <a:cubicBezTo>
                  <a:pt x="55" y="73"/>
                  <a:pt x="61" y="71"/>
                  <a:pt x="66" y="6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7" name="Freeform 67"/>
          <p:cNvSpPr>
            <a:spLocks noChangeAspect="1" noEditPoints="1"/>
          </p:cNvSpPr>
          <p:nvPr/>
        </p:nvSpPr>
        <p:spPr bwMode="auto">
          <a:xfrm>
            <a:off x="5675831" y="1866240"/>
            <a:ext cx="149885" cy="151447"/>
          </a:xfrm>
          <a:custGeom>
            <a:avLst/>
            <a:gdLst>
              <a:gd name="T0" fmla="*/ 136 w 145"/>
              <a:gd name="T1" fmla="*/ 37 h 146"/>
              <a:gd name="T2" fmla="*/ 145 w 145"/>
              <a:gd name="T3" fmla="*/ 73 h 146"/>
              <a:gd name="T4" fmla="*/ 136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6 w 145"/>
              <a:gd name="T25" fmla="*/ 37 h 146"/>
              <a:gd name="T26" fmla="*/ 73 w 145"/>
              <a:gd name="T27" fmla="*/ 124 h 146"/>
              <a:gd name="T28" fmla="*/ 73 w 145"/>
              <a:gd name="T29" fmla="*/ 22 h 146"/>
              <a:gd name="T30" fmla="*/ 47 w 145"/>
              <a:gd name="T31" fmla="*/ 28 h 146"/>
              <a:gd name="T32" fmla="*/ 28 w 145"/>
              <a:gd name="T33" fmla="*/ 47 h 146"/>
              <a:gd name="T34" fmla="*/ 21 w 145"/>
              <a:gd name="T35" fmla="*/ 73 h 146"/>
              <a:gd name="T36" fmla="*/ 28 w 145"/>
              <a:gd name="T37" fmla="*/ 99 h 146"/>
              <a:gd name="T38" fmla="*/ 47 w 145"/>
              <a:gd name="T39" fmla="*/ 117 h 146"/>
              <a:gd name="T40" fmla="*/ 73 w 145"/>
              <a:gd name="T41" fmla="*/ 12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5" h="146">
                <a:moveTo>
                  <a:pt x="136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7"/>
                </a:cubicBezTo>
                <a:close/>
                <a:moveTo>
                  <a:pt x="73" y="124"/>
                </a:moveTo>
                <a:cubicBezTo>
                  <a:pt x="73" y="22"/>
                  <a:pt x="73" y="22"/>
                  <a:pt x="73" y="22"/>
                </a:cubicBezTo>
                <a:cubicBezTo>
                  <a:pt x="63" y="22"/>
                  <a:pt x="55" y="24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4" y="55"/>
                  <a:pt x="21" y="64"/>
                  <a:pt x="21" y="73"/>
                </a:cubicBezTo>
                <a:cubicBezTo>
                  <a:pt x="21" y="82"/>
                  <a:pt x="24" y="91"/>
                  <a:pt x="28" y="99"/>
                </a:cubicBezTo>
                <a:cubicBezTo>
                  <a:pt x="33" y="107"/>
                  <a:pt x="39" y="113"/>
                  <a:pt x="47" y="117"/>
                </a:cubicBezTo>
                <a:cubicBezTo>
                  <a:pt x="55" y="122"/>
                  <a:pt x="63" y="124"/>
                  <a:pt x="73" y="1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8" name="Freeform 68"/>
          <p:cNvSpPr>
            <a:spLocks noChangeAspect="1" noEditPoints="1"/>
          </p:cNvSpPr>
          <p:nvPr/>
        </p:nvSpPr>
        <p:spPr bwMode="auto">
          <a:xfrm>
            <a:off x="5872556" y="1859995"/>
            <a:ext cx="99924" cy="143640"/>
          </a:xfrm>
          <a:custGeom>
            <a:avLst/>
            <a:gdLst>
              <a:gd name="T0" fmla="*/ 97 w 97"/>
              <a:gd name="T1" fmla="*/ 91 h 139"/>
              <a:gd name="T2" fmla="*/ 82 w 97"/>
              <a:gd name="T3" fmla="*/ 125 h 139"/>
              <a:gd name="T4" fmla="*/ 48 w 97"/>
              <a:gd name="T5" fmla="*/ 139 h 139"/>
              <a:gd name="T6" fmla="*/ 14 w 97"/>
              <a:gd name="T7" fmla="*/ 125 h 139"/>
              <a:gd name="T8" fmla="*/ 0 w 97"/>
              <a:gd name="T9" fmla="*/ 91 h 139"/>
              <a:gd name="T10" fmla="*/ 7 w 97"/>
              <a:gd name="T11" fmla="*/ 65 h 139"/>
              <a:gd name="T12" fmla="*/ 13 w 97"/>
              <a:gd name="T13" fmla="*/ 57 h 139"/>
              <a:gd name="T14" fmla="*/ 23 w 97"/>
              <a:gd name="T15" fmla="*/ 42 h 139"/>
              <a:gd name="T16" fmla="*/ 32 w 97"/>
              <a:gd name="T17" fmla="*/ 25 h 139"/>
              <a:gd name="T18" fmla="*/ 40 w 97"/>
              <a:gd name="T19" fmla="*/ 6 h 139"/>
              <a:gd name="T20" fmla="*/ 43 w 97"/>
              <a:gd name="T21" fmla="*/ 2 h 139"/>
              <a:gd name="T22" fmla="*/ 48 w 97"/>
              <a:gd name="T23" fmla="*/ 0 h 139"/>
              <a:gd name="T24" fmla="*/ 53 w 97"/>
              <a:gd name="T25" fmla="*/ 2 h 139"/>
              <a:gd name="T26" fmla="*/ 56 w 97"/>
              <a:gd name="T27" fmla="*/ 6 h 139"/>
              <a:gd name="T28" fmla="*/ 64 w 97"/>
              <a:gd name="T29" fmla="*/ 25 h 139"/>
              <a:gd name="T30" fmla="*/ 73 w 97"/>
              <a:gd name="T31" fmla="*/ 42 h 139"/>
              <a:gd name="T32" fmla="*/ 83 w 97"/>
              <a:gd name="T33" fmla="*/ 57 h 139"/>
              <a:gd name="T34" fmla="*/ 89 w 97"/>
              <a:gd name="T35" fmla="*/ 65 h 139"/>
              <a:gd name="T36" fmla="*/ 97 w 97"/>
              <a:gd name="T37" fmla="*/ 91 h 139"/>
              <a:gd name="T38" fmla="*/ 48 w 97"/>
              <a:gd name="T39" fmla="*/ 103 h 139"/>
              <a:gd name="T40" fmla="*/ 46 w 97"/>
              <a:gd name="T41" fmla="*/ 97 h 139"/>
              <a:gd name="T42" fmla="*/ 45 w 97"/>
              <a:gd name="T43" fmla="*/ 95 h 139"/>
              <a:gd name="T44" fmla="*/ 42 w 97"/>
              <a:gd name="T45" fmla="*/ 91 h 139"/>
              <a:gd name="T46" fmla="*/ 40 w 97"/>
              <a:gd name="T47" fmla="*/ 87 h 139"/>
              <a:gd name="T48" fmla="*/ 38 w 97"/>
              <a:gd name="T49" fmla="*/ 82 h 139"/>
              <a:gd name="T50" fmla="*/ 36 w 97"/>
              <a:gd name="T51" fmla="*/ 80 h 139"/>
              <a:gd name="T52" fmla="*/ 34 w 97"/>
              <a:gd name="T53" fmla="*/ 82 h 139"/>
              <a:gd name="T54" fmla="*/ 32 w 97"/>
              <a:gd name="T55" fmla="*/ 87 h 139"/>
              <a:gd name="T56" fmla="*/ 30 w 97"/>
              <a:gd name="T57" fmla="*/ 91 h 139"/>
              <a:gd name="T58" fmla="*/ 27 w 97"/>
              <a:gd name="T59" fmla="*/ 95 h 139"/>
              <a:gd name="T60" fmla="*/ 26 w 97"/>
              <a:gd name="T61" fmla="*/ 97 h 139"/>
              <a:gd name="T62" fmla="*/ 24 w 97"/>
              <a:gd name="T63" fmla="*/ 103 h 139"/>
              <a:gd name="T64" fmla="*/ 27 w 97"/>
              <a:gd name="T65" fmla="*/ 112 h 139"/>
              <a:gd name="T66" fmla="*/ 36 w 97"/>
              <a:gd name="T67" fmla="*/ 115 h 139"/>
              <a:gd name="T68" fmla="*/ 45 w 97"/>
              <a:gd name="T69" fmla="*/ 112 h 139"/>
              <a:gd name="T70" fmla="*/ 48 w 97"/>
              <a:gd name="T71" fmla="*/ 103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7" h="139">
                <a:moveTo>
                  <a:pt x="97" y="91"/>
                </a:moveTo>
                <a:cubicBezTo>
                  <a:pt x="97" y="104"/>
                  <a:pt x="92" y="116"/>
                  <a:pt x="82" y="125"/>
                </a:cubicBezTo>
                <a:cubicBezTo>
                  <a:pt x="73" y="135"/>
                  <a:pt x="61" y="139"/>
                  <a:pt x="48" y="139"/>
                </a:cubicBezTo>
                <a:cubicBezTo>
                  <a:pt x="35" y="139"/>
                  <a:pt x="23" y="135"/>
                  <a:pt x="14" y="125"/>
                </a:cubicBezTo>
                <a:cubicBezTo>
                  <a:pt x="4" y="116"/>
                  <a:pt x="0" y="104"/>
                  <a:pt x="0" y="91"/>
                </a:cubicBezTo>
                <a:cubicBezTo>
                  <a:pt x="0" y="82"/>
                  <a:pt x="2" y="73"/>
                  <a:pt x="7" y="65"/>
                </a:cubicBezTo>
                <a:cubicBezTo>
                  <a:pt x="8" y="64"/>
                  <a:pt x="10" y="62"/>
                  <a:pt x="13" y="57"/>
                </a:cubicBezTo>
                <a:cubicBezTo>
                  <a:pt x="17" y="51"/>
                  <a:pt x="20" y="47"/>
                  <a:pt x="23" y="42"/>
                </a:cubicBezTo>
                <a:cubicBezTo>
                  <a:pt x="26" y="38"/>
                  <a:pt x="29" y="32"/>
                  <a:pt x="32" y="25"/>
                </a:cubicBezTo>
                <a:cubicBezTo>
                  <a:pt x="36" y="19"/>
                  <a:pt x="38" y="12"/>
                  <a:pt x="40" y="6"/>
                </a:cubicBezTo>
                <a:cubicBezTo>
                  <a:pt x="41" y="4"/>
                  <a:pt x="42" y="3"/>
                  <a:pt x="43" y="2"/>
                </a:cubicBezTo>
                <a:cubicBezTo>
                  <a:pt x="45" y="1"/>
                  <a:pt x="46" y="0"/>
                  <a:pt x="48" y="0"/>
                </a:cubicBezTo>
                <a:cubicBezTo>
                  <a:pt x="50" y="0"/>
                  <a:pt x="51" y="1"/>
                  <a:pt x="53" y="2"/>
                </a:cubicBezTo>
                <a:cubicBezTo>
                  <a:pt x="55" y="3"/>
                  <a:pt x="56" y="4"/>
                  <a:pt x="56" y="6"/>
                </a:cubicBezTo>
                <a:cubicBezTo>
                  <a:pt x="58" y="12"/>
                  <a:pt x="61" y="19"/>
                  <a:pt x="64" y="25"/>
                </a:cubicBezTo>
                <a:cubicBezTo>
                  <a:pt x="67" y="32"/>
                  <a:pt x="71" y="38"/>
                  <a:pt x="73" y="42"/>
                </a:cubicBezTo>
                <a:cubicBezTo>
                  <a:pt x="76" y="47"/>
                  <a:pt x="79" y="51"/>
                  <a:pt x="83" y="57"/>
                </a:cubicBezTo>
                <a:cubicBezTo>
                  <a:pt x="87" y="62"/>
                  <a:pt x="88" y="64"/>
                  <a:pt x="89" y="65"/>
                </a:cubicBezTo>
                <a:cubicBezTo>
                  <a:pt x="94" y="73"/>
                  <a:pt x="97" y="82"/>
                  <a:pt x="97" y="91"/>
                </a:cubicBezTo>
                <a:close/>
                <a:moveTo>
                  <a:pt x="48" y="103"/>
                </a:moveTo>
                <a:cubicBezTo>
                  <a:pt x="48" y="101"/>
                  <a:pt x="47" y="99"/>
                  <a:pt x="46" y="97"/>
                </a:cubicBezTo>
                <a:cubicBezTo>
                  <a:pt x="46" y="97"/>
                  <a:pt x="46" y="96"/>
                  <a:pt x="45" y="95"/>
                </a:cubicBezTo>
                <a:cubicBezTo>
                  <a:pt x="44" y="93"/>
                  <a:pt x="43" y="92"/>
                  <a:pt x="42" y="91"/>
                </a:cubicBezTo>
                <a:cubicBezTo>
                  <a:pt x="42" y="90"/>
                  <a:pt x="41" y="88"/>
                  <a:pt x="40" y="87"/>
                </a:cubicBezTo>
                <a:cubicBezTo>
                  <a:pt x="39" y="85"/>
                  <a:pt x="38" y="83"/>
                  <a:pt x="38" y="82"/>
                </a:cubicBezTo>
                <a:cubicBezTo>
                  <a:pt x="38" y="81"/>
                  <a:pt x="37" y="80"/>
                  <a:pt x="36" y="80"/>
                </a:cubicBezTo>
                <a:cubicBezTo>
                  <a:pt x="35" y="80"/>
                  <a:pt x="34" y="81"/>
                  <a:pt x="34" y="82"/>
                </a:cubicBezTo>
                <a:cubicBezTo>
                  <a:pt x="34" y="83"/>
                  <a:pt x="33" y="85"/>
                  <a:pt x="32" y="87"/>
                </a:cubicBezTo>
                <a:cubicBezTo>
                  <a:pt x="31" y="88"/>
                  <a:pt x="30" y="90"/>
                  <a:pt x="30" y="91"/>
                </a:cubicBezTo>
                <a:cubicBezTo>
                  <a:pt x="29" y="92"/>
                  <a:pt x="28" y="93"/>
                  <a:pt x="27" y="95"/>
                </a:cubicBezTo>
                <a:cubicBezTo>
                  <a:pt x="26" y="96"/>
                  <a:pt x="26" y="97"/>
                  <a:pt x="26" y="97"/>
                </a:cubicBezTo>
                <a:cubicBezTo>
                  <a:pt x="25" y="99"/>
                  <a:pt x="24" y="101"/>
                  <a:pt x="24" y="103"/>
                </a:cubicBezTo>
                <a:cubicBezTo>
                  <a:pt x="24" y="107"/>
                  <a:pt x="25" y="109"/>
                  <a:pt x="27" y="112"/>
                </a:cubicBezTo>
                <a:cubicBezTo>
                  <a:pt x="30" y="114"/>
                  <a:pt x="33" y="115"/>
                  <a:pt x="36" y="115"/>
                </a:cubicBezTo>
                <a:cubicBezTo>
                  <a:pt x="39" y="115"/>
                  <a:pt x="42" y="114"/>
                  <a:pt x="45" y="112"/>
                </a:cubicBezTo>
                <a:cubicBezTo>
                  <a:pt x="47" y="109"/>
                  <a:pt x="48" y="107"/>
                  <a:pt x="48" y="1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9" name="Freeform 69"/>
          <p:cNvSpPr>
            <a:spLocks noChangeAspect="1" noEditPoints="1"/>
          </p:cNvSpPr>
          <p:nvPr/>
        </p:nvSpPr>
        <p:spPr bwMode="auto">
          <a:xfrm>
            <a:off x="6016196" y="1866240"/>
            <a:ext cx="176428" cy="137395"/>
          </a:xfrm>
          <a:custGeom>
            <a:avLst/>
            <a:gdLst>
              <a:gd name="T0" fmla="*/ 133 w 169"/>
              <a:gd name="T1" fmla="*/ 88 h 133"/>
              <a:gd name="T2" fmla="*/ 133 w 169"/>
              <a:gd name="T3" fmla="*/ 106 h 133"/>
              <a:gd name="T4" fmla="*/ 125 w 169"/>
              <a:gd name="T5" fmla="*/ 125 h 133"/>
              <a:gd name="T6" fmla="*/ 106 w 169"/>
              <a:gd name="T7" fmla="*/ 133 h 133"/>
              <a:gd name="T8" fmla="*/ 27 w 169"/>
              <a:gd name="T9" fmla="*/ 133 h 133"/>
              <a:gd name="T10" fmla="*/ 8 w 169"/>
              <a:gd name="T11" fmla="*/ 125 h 133"/>
              <a:gd name="T12" fmla="*/ 0 w 169"/>
              <a:gd name="T13" fmla="*/ 106 h 133"/>
              <a:gd name="T14" fmla="*/ 0 w 169"/>
              <a:gd name="T15" fmla="*/ 28 h 133"/>
              <a:gd name="T16" fmla="*/ 8 w 169"/>
              <a:gd name="T17" fmla="*/ 8 h 133"/>
              <a:gd name="T18" fmla="*/ 27 w 169"/>
              <a:gd name="T19" fmla="*/ 0 h 133"/>
              <a:gd name="T20" fmla="*/ 106 w 169"/>
              <a:gd name="T21" fmla="*/ 0 h 133"/>
              <a:gd name="T22" fmla="*/ 117 w 169"/>
              <a:gd name="T23" fmla="*/ 3 h 133"/>
              <a:gd name="T24" fmla="*/ 118 w 169"/>
              <a:gd name="T25" fmla="*/ 5 h 133"/>
              <a:gd name="T26" fmla="*/ 118 w 169"/>
              <a:gd name="T27" fmla="*/ 8 h 133"/>
              <a:gd name="T28" fmla="*/ 113 w 169"/>
              <a:gd name="T29" fmla="*/ 12 h 133"/>
              <a:gd name="T30" fmla="*/ 110 w 169"/>
              <a:gd name="T31" fmla="*/ 13 h 133"/>
              <a:gd name="T32" fmla="*/ 106 w 169"/>
              <a:gd name="T33" fmla="*/ 12 h 133"/>
              <a:gd name="T34" fmla="*/ 27 w 169"/>
              <a:gd name="T35" fmla="*/ 12 h 133"/>
              <a:gd name="T36" fmla="*/ 16 w 169"/>
              <a:gd name="T37" fmla="*/ 17 h 133"/>
              <a:gd name="T38" fmla="*/ 12 w 169"/>
              <a:gd name="T39" fmla="*/ 28 h 133"/>
              <a:gd name="T40" fmla="*/ 12 w 169"/>
              <a:gd name="T41" fmla="*/ 106 h 133"/>
              <a:gd name="T42" fmla="*/ 16 w 169"/>
              <a:gd name="T43" fmla="*/ 117 h 133"/>
              <a:gd name="T44" fmla="*/ 27 w 169"/>
              <a:gd name="T45" fmla="*/ 121 h 133"/>
              <a:gd name="T46" fmla="*/ 106 w 169"/>
              <a:gd name="T47" fmla="*/ 121 h 133"/>
              <a:gd name="T48" fmla="*/ 116 w 169"/>
              <a:gd name="T49" fmla="*/ 117 h 133"/>
              <a:gd name="T50" fmla="*/ 121 w 169"/>
              <a:gd name="T51" fmla="*/ 106 h 133"/>
              <a:gd name="T52" fmla="*/ 121 w 169"/>
              <a:gd name="T53" fmla="*/ 94 h 133"/>
              <a:gd name="T54" fmla="*/ 122 w 169"/>
              <a:gd name="T55" fmla="*/ 92 h 133"/>
              <a:gd name="T56" fmla="*/ 128 w 169"/>
              <a:gd name="T57" fmla="*/ 86 h 133"/>
              <a:gd name="T58" fmla="*/ 131 w 169"/>
              <a:gd name="T59" fmla="*/ 86 h 133"/>
              <a:gd name="T60" fmla="*/ 133 w 169"/>
              <a:gd name="T61" fmla="*/ 88 h 133"/>
              <a:gd name="T62" fmla="*/ 124 w 169"/>
              <a:gd name="T63" fmla="*/ 19 h 133"/>
              <a:gd name="T64" fmla="*/ 151 w 169"/>
              <a:gd name="T65" fmla="*/ 46 h 133"/>
              <a:gd name="T66" fmla="*/ 88 w 169"/>
              <a:gd name="T67" fmla="*/ 109 h 133"/>
              <a:gd name="T68" fmla="*/ 60 w 169"/>
              <a:gd name="T69" fmla="*/ 109 h 133"/>
              <a:gd name="T70" fmla="*/ 60 w 169"/>
              <a:gd name="T71" fmla="*/ 82 h 133"/>
              <a:gd name="T72" fmla="*/ 124 w 169"/>
              <a:gd name="T73" fmla="*/ 19 h 133"/>
              <a:gd name="T74" fmla="*/ 84 w 169"/>
              <a:gd name="T75" fmla="*/ 100 h 133"/>
              <a:gd name="T76" fmla="*/ 95 w 169"/>
              <a:gd name="T77" fmla="*/ 89 h 133"/>
              <a:gd name="T78" fmla="*/ 80 w 169"/>
              <a:gd name="T79" fmla="*/ 75 h 133"/>
              <a:gd name="T80" fmla="*/ 69 w 169"/>
              <a:gd name="T81" fmla="*/ 86 h 133"/>
              <a:gd name="T82" fmla="*/ 69 w 169"/>
              <a:gd name="T83" fmla="*/ 91 h 133"/>
              <a:gd name="T84" fmla="*/ 78 w 169"/>
              <a:gd name="T85" fmla="*/ 91 h 133"/>
              <a:gd name="T86" fmla="*/ 78 w 169"/>
              <a:gd name="T87" fmla="*/ 100 h 133"/>
              <a:gd name="T88" fmla="*/ 84 w 169"/>
              <a:gd name="T89" fmla="*/ 100 h 133"/>
              <a:gd name="T90" fmla="*/ 125 w 169"/>
              <a:gd name="T91" fmla="*/ 32 h 133"/>
              <a:gd name="T92" fmla="*/ 122 w 169"/>
              <a:gd name="T93" fmla="*/ 32 h 133"/>
              <a:gd name="T94" fmla="*/ 89 w 169"/>
              <a:gd name="T95" fmla="*/ 65 h 133"/>
              <a:gd name="T96" fmla="*/ 89 w 169"/>
              <a:gd name="T97" fmla="*/ 68 h 133"/>
              <a:gd name="T98" fmla="*/ 92 w 169"/>
              <a:gd name="T99" fmla="*/ 68 h 133"/>
              <a:gd name="T100" fmla="*/ 125 w 169"/>
              <a:gd name="T101" fmla="*/ 35 h 133"/>
              <a:gd name="T102" fmla="*/ 125 w 169"/>
              <a:gd name="T103" fmla="*/ 32 h 133"/>
              <a:gd name="T104" fmla="*/ 166 w 169"/>
              <a:gd name="T105" fmla="*/ 31 h 133"/>
              <a:gd name="T106" fmla="*/ 157 w 169"/>
              <a:gd name="T107" fmla="*/ 40 h 133"/>
              <a:gd name="T108" fmla="*/ 130 w 169"/>
              <a:gd name="T109" fmla="*/ 12 h 133"/>
              <a:gd name="T110" fmla="*/ 139 w 169"/>
              <a:gd name="T111" fmla="*/ 4 h 133"/>
              <a:gd name="T112" fmla="*/ 145 w 169"/>
              <a:gd name="T113" fmla="*/ 1 h 133"/>
              <a:gd name="T114" fmla="*/ 151 w 169"/>
              <a:gd name="T115" fmla="*/ 4 h 133"/>
              <a:gd name="T116" fmla="*/ 166 w 169"/>
              <a:gd name="T117" fmla="*/ 18 h 133"/>
              <a:gd name="T118" fmla="*/ 169 w 169"/>
              <a:gd name="T119" fmla="*/ 25 h 133"/>
              <a:gd name="T120" fmla="*/ 166 w 169"/>
              <a:gd name="T121" fmla="*/ 31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9" h="133">
                <a:moveTo>
                  <a:pt x="133" y="88"/>
                </a:moveTo>
                <a:cubicBezTo>
                  <a:pt x="133" y="106"/>
                  <a:pt x="133" y="106"/>
                  <a:pt x="133" y="106"/>
                </a:cubicBezTo>
                <a:cubicBezTo>
                  <a:pt x="133" y="114"/>
                  <a:pt x="130" y="120"/>
                  <a:pt x="125" y="125"/>
                </a:cubicBezTo>
                <a:cubicBezTo>
                  <a:pt x="120" y="131"/>
                  <a:pt x="113" y="133"/>
                  <a:pt x="106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0" y="133"/>
                  <a:pt x="13" y="131"/>
                  <a:pt x="8" y="125"/>
                </a:cubicBezTo>
                <a:cubicBezTo>
                  <a:pt x="3" y="120"/>
                  <a:pt x="0" y="114"/>
                  <a:pt x="0" y="10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3" y="1"/>
                  <a:pt x="117" y="3"/>
                </a:cubicBezTo>
                <a:cubicBezTo>
                  <a:pt x="118" y="3"/>
                  <a:pt x="118" y="4"/>
                  <a:pt x="118" y="5"/>
                </a:cubicBezTo>
                <a:cubicBezTo>
                  <a:pt x="119" y="6"/>
                  <a:pt x="118" y="7"/>
                  <a:pt x="118" y="8"/>
                </a:cubicBezTo>
                <a:cubicBezTo>
                  <a:pt x="113" y="12"/>
                  <a:pt x="113" y="12"/>
                  <a:pt x="113" y="12"/>
                </a:cubicBezTo>
                <a:cubicBezTo>
                  <a:pt x="112" y="13"/>
                  <a:pt x="111" y="13"/>
                  <a:pt x="110" y="13"/>
                </a:cubicBezTo>
                <a:cubicBezTo>
                  <a:pt x="109" y="13"/>
                  <a:pt x="107" y="12"/>
                  <a:pt x="106" y="12"/>
                </a:cubicBezTo>
                <a:cubicBezTo>
                  <a:pt x="27" y="12"/>
                  <a:pt x="27" y="12"/>
                  <a:pt x="27" y="12"/>
                </a:cubicBezTo>
                <a:cubicBezTo>
                  <a:pt x="23" y="12"/>
                  <a:pt x="19" y="14"/>
                  <a:pt x="16" y="17"/>
                </a:cubicBezTo>
                <a:cubicBezTo>
                  <a:pt x="13" y="20"/>
                  <a:pt x="12" y="23"/>
                  <a:pt x="12" y="28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10"/>
                  <a:pt x="13" y="114"/>
                  <a:pt x="16" y="117"/>
                </a:cubicBezTo>
                <a:cubicBezTo>
                  <a:pt x="19" y="120"/>
                  <a:pt x="23" y="121"/>
                  <a:pt x="27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10" y="121"/>
                  <a:pt x="113" y="120"/>
                  <a:pt x="116" y="117"/>
                </a:cubicBezTo>
                <a:cubicBezTo>
                  <a:pt x="119" y="114"/>
                  <a:pt x="121" y="110"/>
                  <a:pt x="121" y="106"/>
                </a:cubicBezTo>
                <a:cubicBezTo>
                  <a:pt x="121" y="94"/>
                  <a:pt x="121" y="94"/>
                  <a:pt x="121" y="94"/>
                </a:cubicBezTo>
                <a:cubicBezTo>
                  <a:pt x="121" y="94"/>
                  <a:pt x="121" y="93"/>
                  <a:pt x="122" y="92"/>
                </a:cubicBezTo>
                <a:cubicBezTo>
                  <a:pt x="128" y="86"/>
                  <a:pt x="128" y="86"/>
                  <a:pt x="128" y="86"/>
                </a:cubicBezTo>
                <a:cubicBezTo>
                  <a:pt x="129" y="85"/>
                  <a:pt x="130" y="85"/>
                  <a:pt x="131" y="86"/>
                </a:cubicBezTo>
                <a:cubicBezTo>
                  <a:pt x="132" y="86"/>
                  <a:pt x="133" y="87"/>
                  <a:pt x="133" y="88"/>
                </a:cubicBezTo>
                <a:close/>
                <a:moveTo>
                  <a:pt x="124" y="19"/>
                </a:moveTo>
                <a:cubicBezTo>
                  <a:pt x="151" y="46"/>
                  <a:pt x="151" y="46"/>
                  <a:pt x="151" y="46"/>
                </a:cubicBezTo>
                <a:cubicBezTo>
                  <a:pt x="88" y="109"/>
                  <a:pt x="88" y="109"/>
                  <a:pt x="88" y="109"/>
                </a:cubicBezTo>
                <a:cubicBezTo>
                  <a:pt x="60" y="109"/>
                  <a:pt x="60" y="109"/>
                  <a:pt x="60" y="109"/>
                </a:cubicBezTo>
                <a:cubicBezTo>
                  <a:pt x="60" y="82"/>
                  <a:pt x="60" y="82"/>
                  <a:pt x="60" y="82"/>
                </a:cubicBezTo>
                <a:lnTo>
                  <a:pt x="124" y="19"/>
                </a:lnTo>
                <a:close/>
                <a:moveTo>
                  <a:pt x="84" y="100"/>
                </a:moveTo>
                <a:cubicBezTo>
                  <a:pt x="95" y="89"/>
                  <a:pt x="95" y="89"/>
                  <a:pt x="95" y="89"/>
                </a:cubicBezTo>
                <a:cubicBezTo>
                  <a:pt x="80" y="75"/>
                  <a:pt x="80" y="75"/>
                  <a:pt x="80" y="75"/>
                </a:cubicBezTo>
                <a:cubicBezTo>
                  <a:pt x="69" y="86"/>
                  <a:pt x="69" y="86"/>
                  <a:pt x="69" y="86"/>
                </a:cubicBezTo>
                <a:cubicBezTo>
                  <a:pt x="69" y="91"/>
                  <a:pt x="69" y="91"/>
                  <a:pt x="69" y="91"/>
                </a:cubicBezTo>
                <a:cubicBezTo>
                  <a:pt x="78" y="91"/>
                  <a:pt x="78" y="91"/>
                  <a:pt x="78" y="91"/>
                </a:cubicBezTo>
                <a:cubicBezTo>
                  <a:pt x="78" y="100"/>
                  <a:pt x="78" y="100"/>
                  <a:pt x="78" y="100"/>
                </a:cubicBezTo>
                <a:lnTo>
                  <a:pt x="84" y="100"/>
                </a:lnTo>
                <a:close/>
                <a:moveTo>
                  <a:pt x="125" y="32"/>
                </a:moveTo>
                <a:cubicBezTo>
                  <a:pt x="124" y="31"/>
                  <a:pt x="123" y="31"/>
                  <a:pt x="122" y="32"/>
                </a:cubicBezTo>
                <a:cubicBezTo>
                  <a:pt x="89" y="65"/>
                  <a:pt x="89" y="65"/>
                  <a:pt x="89" y="65"/>
                </a:cubicBezTo>
                <a:cubicBezTo>
                  <a:pt x="88" y="66"/>
                  <a:pt x="88" y="67"/>
                  <a:pt x="89" y="68"/>
                </a:cubicBezTo>
                <a:cubicBezTo>
                  <a:pt x="90" y="69"/>
                  <a:pt x="91" y="69"/>
                  <a:pt x="92" y="68"/>
                </a:cubicBezTo>
                <a:cubicBezTo>
                  <a:pt x="125" y="35"/>
                  <a:pt x="125" y="35"/>
                  <a:pt x="125" y="35"/>
                </a:cubicBezTo>
                <a:cubicBezTo>
                  <a:pt x="126" y="34"/>
                  <a:pt x="126" y="33"/>
                  <a:pt x="125" y="32"/>
                </a:cubicBezTo>
                <a:close/>
                <a:moveTo>
                  <a:pt x="166" y="31"/>
                </a:moveTo>
                <a:cubicBezTo>
                  <a:pt x="157" y="40"/>
                  <a:pt x="157" y="40"/>
                  <a:pt x="157" y="40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39" y="4"/>
                  <a:pt x="139" y="4"/>
                  <a:pt x="139" y="4"/>
                </a:cubicBezTo>
                <a:cubicBezTo>
                  <a:pt x="140" y="2"/>
                  <a:pt x="143" y="1"/>
                  <a:pt x="145" y="1"/>
                </a:cubicBezTo>
                <a:cubicBezTo>
                  <a:pt x="148" y="1"/>
                  <a:pt x="150" y="2"/>
                  <a:pt x="151" y="4"/>
                </a:cubicBezTo>
                <a:cubicBezTo>
                  <a:pt x="166" y="18"/>
                  <a:pt x="166" y="18"/>
                  <a:pt x="166" y="18"/>
                </a:cubicBezTo>
                <a:cubicBezTo>
                  <a:pt x="168" y="20"/>
                  <a:pt x="169" y="22"/>
                  <a:pt x="169" y="25"/>
                </a:cubicBezTo>
                <a:cubicBezTo>
                  <a:pt x="169" y="27"/>
                  <a:pt x="168" y="29"/>
                  <a:pt x="166" y="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0" name="Freeform 70"/>
          <p:cNvSpPr>
            <a:spLocks noChangeAspect="1" noEditPoints="1"/>
          </p:cNvSpPr>
          <p:nvPr/>
        </p:nvSpPr>
        <p:spPr bwMode="auto">
          <a:xfrm>
            <a:off x="6237902" y="1853750"/>
            <a:ext cx="162376" cy="149885"/>
          </a:xfrm>
          <a:custGeom>
            <a:avLst/>
            <a:gdLst>
              <a:gd name="T0" fmla="*/ 133 w 157"/>
              <a:gd name="T1" fmla="*/ 118 h 145"/>
              <a:gd name="T2" fmla="*/ 105 w 157"/>
              <a:gd name="T3" fmla="*/ 145 h 145"/>
              <a:gd name="T4" fmla="*/ 8 w 157"/>
              <a:gd name="T5" fmla="*/ 137 h 145"/>
              <a:gd name="T6" fmla="*/ 0 w 157"/>
              <a:gd name="T7" fmla="*/ 40 h 145"/>
              <a:gd name="T8" fmla="*/ 27 w 157"/>
              <a:gd name="T9" fmla="*/ 12 h 145"/>
              <a:gd name="T10" fmla="*/ 53 w 157"/>
              <a:gd name="T11" fmla="*/ 13 h 145"/>
              <a:gd name="T12" fmla="*/ 51 w 157"/>
              <a:gd name="T13" fmla="*/ 18 h 145"/>
              <a:gd name="T14" fmla="*/ 37 w 157"/>
              <a:gd name="T15" fmla="*/ 24 h 145"/>
              <a:gd name="T16" fmla="*/ 16 w 157"/>
              <a:gd name="T17" fmla="*/ 29 h 145"/>
              <a:gd name="T18" fmla="*/ 12 w 157"/>
              <a:gd name="T19" fmla="*/ 118 h 145"/>
              <a:gd name="T20" fmla="*/ 27 w 157"/>
              <a:gd name="T21" fmla="*/ 133 h 145"/>
              <a:gd name="T22" fmla="*/ 116 w 157"/>
              <a:gd name="T23" fmla="*/ 129 h 145"/>
              <a:gd name="T24" fmla="*/ 121 w 157"/>
              <a:gd name="T25" fmla="*/ 98 h 145"/>
              <a:gd name="T26" fmla="*/ 127 w 157"/>
              <a:gd name="T27" fmla="*/ 92 h 145"/>
              <a:gd name="T28" fmla="*/ 133 w 157"/>
              <a:gd name="T29" fmla="*/ 94 h 145"/>
              <a:gd name="T30" fmla="*/ 119 w 157"/>
              <a:gd name="T31" fmla="*/ 83 h 145"/>
              <a:gd name="T32" fmla="*/ 112 w 157"/>
              <a:gd name="T33" fmla="*/ 84 h 145"/>
              <a:gd name="T34" fmla="*/ 109 w 157"/>
              <a:gd name="T35" fmla="*/ 61 h 145"/>
              <a:gd name="T36" fmla="*/ 52 w 157"/>
              <a:gd name="T37" fmla="*/ 73 h 145"/>
              <a:gd name="T38" fmla="*/ 43 w 157"/>
              <a:gd name="T39" fmla="*/ 121 h 145"/>
              <a:gd name="T40" fmla="*/ 39 w 157"/>
              <a:gd name="T41" fmla="*/ 120 h 145"/>
              <a:gd name="T42" fmla="*/ 34 w 157"/>
              <a:gd name="T43" fmla="*/ 111 h 145"/>
              <a:gd name="T44" fmla="*/ 25 w 157"/>
              <a:gd name="T45" fmla="*/ 90 h 145"/>
              <a:gd name="T46" fmla="*/ 24 w 157"/>
              <a:gd name="T47" fmla="*/ 70 h 145"/>
              <a:gd name="T48" fmla="*/ 28 w 157"/>
              <a:gd name="T49" fmla="*/ 53 h 145"/>
              <a:gd name="T50" fmla="*/ 39 w 157"/>
              <a:gd name="T51" fmla="*/ 39 h 145"/>
              <a:gd name="T52" fmla="*/ 60 w 157"/>
              <a:gd name="T53" fmla="*/ 28 h 145"/>
              <a:gd name="T54" fmla="*/ 93 w 157"/>
              <a:gd name="T55" fmla="*/ 24 h 145"/>
              <a:gd name="T56" fmla="*/ 109 w 157"/>
              <a:gd name="T57" fmla="*/ 6 h 145"/>
              <a:gd name="T58" fmla="*/ 115 w 157"/>
              <a:gd name="T59" fmla="*/ 0 h 145"/>
              <a:gd name="T60" fmla="*/ 155 w 157"/>
              <a:gd name="T61" fmla="*/ 38 h 145"/>
              <a:gd name="T62" fmla="*/ 155 w 157"/>
              <a:gd name="T63" fmla="*/ 47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7" h="145">
                <a:moveTo>
                  <a:pt x="133" y="94"/>
                </a:moveTo>
                <a:cubicBezTo>
                  <a:pt x="133" y="118"/>
                  <a:pt x="133" y="118"/>
                  <a:pt x="133" y="118"/>
                </a:cubicBezTo>
                <a:cubicBezTo>
                  <a:pt x="133" y="126"/>
                  <a:pt x="130" y="132"/>
                  <a:pt x="125" y="137"/>
                </a:cubicBezTo>
                <a:cubicBezTo>
                  <a:pt x="119" y="143"/>
                  <a:pt x="113" y="145"/>
                  <a:pt x="105" y="145"/>
                </a:cubicBezTo>
                <a:cubicBezTo>
                  <a:pt x="27" y="145"/>
                  <a:pt x="27" y="145"/>
                  <a:pt x="27" y="145"/>
                </a:cubicBezTo>
                <a:cubicBezTo>
                  <a:pt x="19" y="145"/>
                  <a:pt x="13" y="143"/>
                  <a:pt x="8" y="137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2"/>
                  <a:pt x="2" y="26"/>
                  <a:pt x="8" y="20"/>
                </a:cubicBezTo>
                <a:cubicBezTo>
                  <a:pt x="13" y="15"/>
                  <a:pt x="19" y="12"/>
                  <a:pt x="27" y="12"/>
                </a:cubicBezTo>
                <a:cubicBezTo>
                  <a:pt x="51" y="12"/>
                  <a:pt x="51" y="12"/>
                  <a:pt x="51" y="12"/>
                </a:cubicBezTo>
                <a:cubicBezTo>
                  <a:pt x="52" y="12"/>
                  <a:pt x="52" y="13"/>
                  <a:pt x="53" y="13"/>
                </a:cubicBezTo>
                <a:cubicBezTo>
                  <a:pt x="54" y="14"/>
                  <a:pt x="54" y="15"/>
                  <a:pt x="54" y="15"/>
                </a:cubicBezTo>
                <a:cubicBezTo>
                  <a:pt x="54" y="17"/>
                  <a:pt x="53" y="18"/>
                  <a:pt x="51" y="18"/>
                </a:cubicBezTo>
                <a:cubicBezTo>
                  <a:pt x="47" y="20"/>
                  <a:pt x="42" y="22"/>
                  <a:pt x="39" y="24"/>
                </a:cubicBezTo>
                <a:cubicBezTo>
                  <a:pt x="38" y="24"/>
                  <a:pt x="38" y="24"/>
                  <a:pt x="37" y="24"/>
                </a:cubicBezTo>
                <a:cubicBezTo>
                  <a:pt x="27" y="24"/>
                  <a:pt x="27" y="24"/>
                  <a:pt x="27" y="24"/>
                </a:cubicBezTo>
                <a:cubicBezTo>
                  <a:pt x="23" y="24"/>
                  <a:pt x="19" y="26"/>
                  <a:pt x="16" y="29"/>
                </a:cubicBezTo>
                <a:cubicBezTo>
                  <a:pt x="13" y="32"/>
                  <a:pt x="12" y="35"/>
                  <a:pt x="12" y="40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22"/>
                  <a:pt x="13" y="126"/>
                  <a:pt x="16" y="129"/>
                </a:cubicBezTo>
                <a:cubicBezTo>
                  <a:pt x="19" y="132"/>
                  <a:pt x="23" y="133"/>
                  <a:pt x="27" y="133"/>
                </a:cubicBezTo>
                <a:cubicBezTo>
                  <a:pt x="105" y="133"/>
                  <a:pt x="105" y="133"/>
                  <a:pt x="105" y="133"/>
                </a:cubicBezTo>
                <a:cubicBezTo>
                  <a:pt x="110" y="133"/>
                  <a:pt x="113" y="132"/>
                  <a:pt x="116" y="129"/>
                </a:cubicBezTo>
                <a:cubicBezTo>
                  <a:pt x="119" y="126"/>
                  <a:pt x="121" y="122"/>
                  <a:pt x="121" y="118"/>
                </a:cubicBezTo>
                <a:cubicBezTo>
                  <a:pt x="121" y="98"/>
                  <a:pt x="121" y="98"/>
                  <a:pt x="121" y="98"/>
                </a:cubicBezTo>
                <a:cubicBezTo>
                  <a:pt x="121" y="97"/>
                  <a:pt x="121" y="96"/>
                  <a:pt x="122" y="95"/>
                </a:cubicBezTo>
                <a:cubicBezTo>
                  <a:pt x="124" y="94"/>
                  <a:pt x="126" y="93"/>
                  <a:pt x="127" y="92"/>
                </a:cubicBezTo>
                <a:cubicBezTo>
                  <a:pt x="128" y="91"/>
                  <a:pt x="130" y="91"/>
                  <a:pt x="131" y="91"/>
                </a:cubicBezTo>
                <a:cubicBezTo>
                  <a:pt x="132" y="92"/>
                  <a:pt x="133" y="92"/>
                  <a:pt x="133" y="94"/>
                </a:cubicBezTo>
                <a:close/>
                <a:moveTo>
                  <a:pt x="155" y="47"/>
                </a:moveTo>
                <a:cubicBezTo>
                  <a:pt x="119" y="83"/>
                  <a:pt x="119" y="83"/>
                  <a:pt x="119" y="83"/>
                </a:cubicBezTo>
                <a:cubicBezTo>
                  <a:pt x="118" y="84"/>
                  <a:pt x="116" y="85"/>
                  <a:pt x="115" y="85"/>
                </a:cubicBezTo>
                <a:cubicBezTo>
                  <a:pt x="114" y="85"/>
                  <a:pt x="113" y="85"/>
                  <a:pt x="112" y="84"/>
                </a:cubicBezTo>
                <a:cubicBezTo>
                  <a:pt x="110" y="83"/>
                  <a:pt x="109" y="82"/>
                  <a:pt x="109" y="79"/>
                </a:cubicBezTo>
                <a:cubicBezTo>
                  <a:pt x="109" y="61"/>
                  <a:pt x="109" y="61"/>
                  <a:pt x="109" y="61"/>
                </a:cubicBezTo>
                <a:cubicBezTo>
                  <a:pt x="93" y="61"/>
                  <a:pt x="93" y="61"/>
                  <a:pt x="93" y="61"/>
                </a:cubicBezTo>
                <a:cubicBezTo>
                  <a:pt x="73" y="61"/>
                  <a:pt x="59" y="65"/>
                  <a:pt x="52" y="73"/>
                </a:cubicBezTo>
                <a:cubicBezTo>
                  <a:pt x="44" y="82"/>
                  <a:pt x="42" y="97"/>
                  <a:pt x="45" y="118"/>
                </a:cubicBezTo>
                <a:cubicBezTo>
                  <a:pt x="45" y="119"/>
                  <a:pt x="45" y="120"/>
                  <a:pt x="43" y="121"/>
                </a:cubicBezTo>
                <a:cubicBezTo>
                  <a:pt x="43" y="121"/>
                  <a:pt x="42" y="121"/>
                  <a:pt x="42" y="121"/>
                </a:cubicBezTo>
                <a:cubicBezTo>
                  <a:pt x="41" y="121"/>
                  <a:pt x="40" y="121"/>
                  <a:pt x="39" y="120"/>
                </a:cubicBezTo>
                <a:cubicBezTo>
                  <a:pt x="39" y="119"/>
                  <a:pt x="38" y="118"/>
                  <a:pt x="37" y="117"/>
                </a:cubicBezTo>
                <a:cubicBezTo>
                  <a:pt x="37" y="116"/>
                  <a:pt x="36" y="114"/>
                  <a:pt x="34" y="111"/>
                </a:cubicBezTo>
                <a:cubicBezTo>
                  <a:pt x="32" y="107"/>
                  <a:pt x="30" y="104"/>
                  <a:pt x="29" y="101"/>
                </a:cubicBezTo>
                <a:cubicBezTo>
                  <a:pt x="28" y="98"/>
                  <a:pt x="27" y="95"/>
                  <a:pt x="25" y="90"/>
                </a:cubicBezTo>
                <a:cubicBezTo>
                  <a:pt x="24" y="86"/>
                  <a:pt x="24" y="82"/>
                  <a:pt x="24" y="79"/>
                </a:cubicBezTo>
                <a:cubicBezTo>
                  <a:pt x="24" y="76"/>
                  <a:pt x="24" y="73"/>
                  <a:pt x="24" y="70"/>
                </a:cubicBezTo>
                <a:cubicBezTo>
                  <a:pt x="24" y="68"/>
                  <a:pt x="25" y="65"/>
                  <a:pt x="25" y="62"/>
                </a:cubicBezTo>
                <a:cubicBezTo>
                  <a:pt x="26" y="59"/>
                  <a:pt x="27" y="56"/>
                  <a:pt x="28" y="53"/>
                </a:cubicBezTo>
                <a:cubicBezTo>
                  <a:pt x="29" y="51"/>
                  <a:pt x="31" y="48"/>
                  <a:pt x="33" y="46"/>
                </a:cubicBezTo>
                <a:cubicBezTo>
                  <a:pt x="34" y="43"/>
                  <a:pt x="37" y="41"/>
                  <a:pt x="39" y="39"/>
                </a:cubicBezTo>
                <a:cubicBezTo>
                  <a:pt x="41" y="37"/>
                  <a:pt x="44" y="35"/>
                  <a:pt x="48" y="33"/>
                </a:cubicBezTo>
                <a:cubicBezTo>
                  <a:pt x="51" y="31"/>
                  <a:pt x="55" y="30"/>
                  <a:pt x="60" y="28"/>
                </a:cubicBezTo>
                <a:cubicBezTo>
                  <a:pt x="64" y="27"/>
                  <a:pt x="69" y="26"/>
                  <a:pt x="75" y="25"/>
                </a:cubicBezTo>
                <a:cubicBezTo>
                  <a:pt x="81" y="25"/>
                  <a:pt x="87" y="24"/>
                  <a:pt x="93" y="24"/>
                </a:cubicBezTo>
                <a:cubicBezTo>
                  <a:pt x="109" y="24"/>
                  <a:pt x="109" y="24"/>
                  <a:pt x="109" y="24"/>
                </a:cubicBezTo>
                <a:cubicBezTo>
                  <a:pt x="109" y="6"/>
                  <a:pt x="109" y="6"/>
                  <a:pt x="109" y="6"/>
                </a:cubicBezTo>
                <a:cubicBezTo>
                  <a:pt x="109" y="4"/>
                  <a:pt x="110" y="2"/>
                  <a:pt x="112" y="1"/>
                </a:cubicBezTo>
                <a:cubicBezTo>
                  <a:pt x="113" y="0"/>
                  <a:pt x="114" y="0"/>
                  <a:pt x="115" y="0"/>
                </a:cubicBezTo>
                <a:cubicBezTo>
                  <a:pt x="116" y="0"/>
                  <a:pt x="118" y="1"/>
                  <a:pt x="119" y="2"/>
                </a:cubicBezTo>
                <a:cubicBezTo>
                  <a:pt x="155" y="38"/>
                  <a:pt x="155" y="38"/>
                  <a:pt x="155" y="38"/>
                </a:cubicBezTo>
                <a:cubicBezTo>
                  <a:pt x="156" y="40"/>
                  <a:pt x="157" y="41"/>
                  <a:pt x="157" y="43"/>
                </a:cubicBezTo>
                <a:cubicBezTo>
                  <a:pt x="157" y="44"/>
                  <a:pt x="156" y="46"/>
                  <a:pt x="155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1" name="Freeform 71"/>
          <p:cNvSpPr>
            <a:spLocks noChangeAspect="1" noEditPoints="1"/>
          </p:cNvSpPr>
          <p:nvPr/>
        </p:nvSpPr>
        <p:spPr bwMode="auto">
          <a:xfrm>
            <a:off x="6443994" y="1866240"/>
            <a:ext cx="162376" cy="137395"/>
          </a:xfrm>
          <a:custGeom>
            <a:avLst/>
            <a:gdLst>
              <a:gd name="T0" fmla="*/ 133 w 157"/>
              <a:gd name="T1" fmla="*/ 76 h 133"/>
              <a:gd name="T2" fmla="*/ 133 w 157"/>
              <a:gd name="T3" fmla="*/ 106 h 133"/>
              <a:gd name="T4" fmla="*/ 125 w 157"/>
              <a:gd name="T5" fmla="*/ 125 h 133"/>
              <a:gd name="T6" fmla="*/ 106 w 157"/>
              <a:gd name="T7" fmla="*/ 133 h 133"/>
              <a:gd name="T8" fmla="*/ 27 w 157"/>
              <a:gd name="T9" fmla="*/ 133 h 133"/>
              <a:gd name="T10" fmla="*/ 8 w 157"/>
              <a:gd name="T11" fmla="*/ 125 h 133"/>
              <a:gd name="T12" fmla="*/ 0 w 157"/>
              <a:gd name="T13" fmla="*/ 106 h 133"/>
              <a:gd name="T14" fmla="*/ 0 w 157"/>
              <a:gd name="T15" fmla="*/ 28 h 133"/>
              <a:gd name="T16" fmla="*/ 8 w 157"/>
              <a:gd name="T17" fmla="*/ 8 h 133"/>
              <a:gd name="T18" fmla="*/ 27 w 157"/>
              <a:gd name="T19" fmla="*/ 0 h 133"/>
              <a:gd name="T20" fmla="*/ 106 w 157"/>
              <a:gd name="T21" fmla="*/ 0 h 133"/>
              <a:gd name="T22" fmla="*/ 117 w 157"/>
              <a:gd name="T23" fmla="*/ 3 h 133"/>
              <a:gd name="T24" fmla="*/ 119 w 157"/>
              <a:gd name="T25" fmla="*/ 5 h 133"/>
              <a:gd name="T26" fmla="*/ 118 w 157"/>
              <a:gd name="T27" fmla="*/ 8 h 133"/>
              <a:gd name="T28" fmla="*/ 113 w 157"/>
              <a:gd name="T29" fmla="*/ 12 h 133"/>
              <a:gd name="T30" fmla="*/ 111 w 157"/>
              <a:gd name="T31" fmla="*/ 13 h 133"/>
              <a:gd name="T32" fmla="*/ 110 w 157"/>
              <a:gd name="T33" fmla="*/ 13 h 133"/>
              <a:gd name="T34" fmla="*/ 106 w 157"/>
              <a:gd name="T35" fmla="*/ 12 h 133"/>
              <a:gd name="T36" fmla="*/ 27 w 157"/>
              <a:gd name="T37" fmla="*/ 12 h 133"/>
              <a:gd name="T38" fmla="*/ 17 w 157"/>
              <a:gd name="T39" fmla="*/ 17 h 133"/>
              <a:gd name="T40" fmla="*/ 12 w 157"/>
              <a:gd name="T41" fmla="*/ 28 h 133"/>
              <a:gd name="T42" fmla="*/ 12 w 157"/>
              <a:gd name="T43" fmla="*/ 106 h 133"/>
              <a:gd name="T44" fmla="*/ 17 w 157"/>
              <a:gd name="T45" fmla="*/ 117 h 133"/>
              <a:gd name="T46" fmla="*/ 27 w 157"/>
              <a:gd name="T47" fmla="*/ 121 h 133"/>
              <a:gd name="T48" fmla="*/ 106 w 157"/>
              <a:gd name="T49" fmla="*/ 121 h 133"/>
              <a:gd name="T50" fmla="*/ 117 w 157"/>
              <a:gd name="T51" fmla="*/ 117 h 133"/>
              <a:gd name="T52" fmla="*/ 121 w 157"/>
              <a:gd name="T53" fmla="*/ 106 h 133"/>
              <a:gd name="T54" fmla="*/ 121 w 157"/>
              <a:gd name="T55" fmla="*/ 82 h 133"/>
              <a:gd name="T56" fmla="*/ 122 w 157"/>
              <a:gd name="T57" fmla="*/ 80 h 133"/>
              <a:gd name="T58" fmla="*/ 128 w 157"/>
              <a:gd name="T59" fmla="*/ 74 h 133"/>
              <a:gd name="T60" fmla="*/ 130 w 157"/>
              <a:gd name="T61" fmla="*/ 73 h 133"/>
              <a:gd name="T62" fmla="*/ 131 w 157"/>
              <a:gd name="T63" fmla="*/ 73 h 133"/>
              <a:gd name="T64" fmla="*/ 133 w 157"/>
              <a:gd name="T65" fmla="*/ 76 h 133"/>
              <a:gd name="T66" fmla="*/ 155 w 157"/>
              <a:gd name="T67" fmla="*/ 30 h 133"/>
              <a:gd name="T68" fmla="*/ 78 w 157"/>
              <a:gd name="T69" fmla="*/ 107 h 133"/>
              <a:gd name="T70" fmla="*/ 73 w 157"/>
              <a:gd name="T71" fmla="*/ 109 h 133"/>
              <a:gd name="T72" fmla="*/ 67 w 157"/>
              <a:gd name="T73" fmla="*/ 107 h 133"/>
              <a:gd name="T74" fmla="*/ 27 w 157"/>
              <a:gd name="T75" fmla="*/ 66 h 133"/>
              <a:gd name="T76" fmla="*/ 25 w 157"/>
              <a:gd name="T77" fmla="*/ 61 h 133"/>
              <a:gd name="T78" fmla="*/ 27 w 157"/>
              <a:gd name="T79" fmla="*/ 55 h 133"/>
              <a:gd name="T80" fmla="*/ 37 w 157"/>
              <a:gd name="T81" fmla="*/ 45 h 133"/>
              <a:gd name="T82" fmla="*/ 43 w 157"/>
              <a:gd name="T83" fmla="*/ 43 h 133"/>
              <a:gd name="T84" fmla="*/ 48 w 157"/>
              <a:gd name="T85" fmla="*/ 45 h 133"/>
              <a:gd name="T86" fmla="*/ 73 w 157"/>
              <a:gd name="T87" fmla="*/ 70 h 133"/>
              <a:gd name="T88" fmla="*/ 134 w 157"/>
              <a:gd name="T89" fmla="*/ 9 h 133"/>
              <a:gd name="T90" fmla="*/ 139 w 157"/>
              <a:gd name="T91" fmla="*/ 6 h 133"/>
              <a:gd name="T92" fmla="*/ 145 w 157"/>
              <a:gd name="T93" fmla="*/ 9 h 133"/>
              <a:gd name="T94" fmla="*/ 155 w 157"/>
              <a:gd name="T95" fmla="*/ 19 h 133"/>
              <a:gd name="T96" fmla="*/ 157 w 157"/>
              <a:gd name="T97" fmla="*/ 25 h 133"/>
              <a:gd name="T98" fmla="*/ 155 w 157"/>
              <a:gd name="T99" fmla="*/ 3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7" h="133">
                <a:moveTo>
                  <a:pt x="133" y="76"/>
                </a:moveTo>
                <a:cubicBezTo>
                  <a:pt x="133" y="106"/>
                  <a:pt x="133" y="106"/>
                  <a:pt x="133" y="106"/>
                </a:cubicBezTo>
                <a:cubicBezTo>
                  <a:pt x="133" y="114"/>
                  <a:pt x="131" y="120"/>
                  <a:pt x="125" y="125"/>
                </a:cubicBezTo>
                <a:cubicBezTo>
                  <a:pt x="120" y="131"/>
                  <a:pt x="114" y="133"/>
                  <a:pt x="106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0" y="133"/>
                  <a:pt x="14" y="131"/>
                  <a:pt x="8" y="125"/>
                </a:cubicBezTo>
                <a:cubicBezTo>
                  <a:pt x="3" y="120"/>
                  <a:pt x="0" y="114"/>
                  <a:pt x="0" y="10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7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4" y="1"/>
                  <a:pt x="117" y="3"/>
                </a:cubicBezTo>
                <a:cubicBezTo>
                  <a:pt x="118" y="3"/>
                  <a:pt x="119" y="4"/>
                  <a:pt x="119" y="5"/>
                </a:cubicBezTo>
                <a:cubicBezTo>
                  <a:pt x="119" y="6"/>
                  <a:pt x="119" y="7"/>
                  <a:pt x="118" y="8"/>
                </a:cubicBezTo>
                <a:cubicBezTo>
                  <a:pt x="113" y="12"/>
                  <a:pt x="113" y="12"/>
                  <a:pt x="113" y="12"/>
                </a:cubicBezTo>
                <a:cubicBezTo>
                  <a:pt x="113" y="13"/>
                  <a:pt x="112" y="13"/>
                  <a:pt x="111" y="13"/>
                </a:cubicBezTo>
                <a:cubicBezTo>
                  <a:pt x="111" y="13"/>
                  <a:pt x="111" y="13"/>
                  <a:pt x="110" y="13"/>
                </a:cubicBezTo>
                <a:cubicBezTo>
                  <a:pt x="109" y="13"/>
                  <a:pt x="108" y="12"/>
                  <a:pt x="106" y="12"/>
                </a:cubicBezTo>
                <a:cubicBezTo>
                  <a:pt x="27" y="12"/>
                  <a:pt x="27" y="12"/>
                  <a:pt x="27" y="12"/>
                </a:cubicBezTo>
                <a:cubicBezTo>
                  <a:pt x="23" y="12"/>
                  <a:pt x="20" y="14"/>
                  <a:pt x="17" y="17"/>
                </a:cubicBezTo>
                <a:cubicBezTo>
                  <a:pt x="14" y="20"/>
                  <a:pt x="12" y="23"/>
                  <a:pt x="12" y="28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10"/>
                  <a:pt x="14" y="114"/>
                  <a:pt x="17" y="117"/>
                </a:cubicBezTo>
                <a:cubicBezTo>
                  <a:pt x="20" y="120"/>
                  <a:pt x="23" y="121"/>
                  <a:pt x="27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10" y="121"/>
                  <a:pt x="114" y="120"/>
                  <a:pt x="117" y="117"/>
                </a:cubicBezTo>
                <a:cubicBezTo>
                  <a:pt x="120" y="114"/>
                  <a:pt x="121" y="110"/>
                  <a:pt x="121" y="106"/>
                </a:cubicBezTo>
                <a:cubicBezTo>
                  <a:pt x="121" y="82"/>
                  <a:pt x="121" y="82"/>
                  <a:pt x="121" y="82"/>
                </a:cubicBezTo>
                <a:cubicBezTo>
                  <a:pt x="121" y="81"/>
                  <a:pt x="122" y="81"/>
                  <a:pt x="122" y="80"/>
                </a:cubicBezTo>
                <a:cubicBezTo>
                  <a:pt x="128" y="74"/>
                  <a:pt x="128" y="74"/>
                  <a:pt x="128" y="74"/>
                </a:cubicBezTo>
                <a:cubicBezTo>
                  <a:pt x="129" y="73"/>
                  <a:pt x="130" y="73"/>
                  <a:pt x="130" y="73"/>
                </a:cubicBezTo>
                <a:cubicBezTo>
                  <a:pt x="131" y="73"/>
                  <a:pt x="131" y="73"/>
                  <a:pt x="131" y="73"/>
                </a:cubicBezTo>
                <a:cubicBezTo>
                  <a:pt x="133" y="74"/>
                  <a:pt x="133" y="75"/>
                  <a:pt x="133" y="76"/>
                </a:cubicBezTo>
                <a:close/>
                <a:moveTo>
                  <a:pt x="155" y="30"/>
                </a:moveTo>
                <a:cubicBezTo>
                  <a:pt x="78" y="107"/>
                  <a:pt x="78" y="107"/>
                  <a:pt x="78" y="107"/>
                </a:cubicBezTo>
                <a:cubicBezTo>
                  <a:pt x="77" y="108"/>
                  <a:pt x="75" y="109"/>
                  <a:pt x="73" y="109"/>
                </a:cubicBezTo>
                <a:cubicBezTo>
                  <a:pt x="71" y="109"/>
                  <a:pt x="69" y="108"/>
                  <a:pt x="67" y="107"/>
                </a:cubicBezTo>
                <a:cubicBezTo>
                  <a:pt x="27" y="66"/>
                  <a:pt x="27" y="66"/>
                  <a:pt x="27" y="66"/>
                </a:cubicBezTo>
                <a:cubicBezTo>
                  <a:pt x="25" y="65"/>
                  <a:pt x="25" y="63"/>
                  <a:pt x="25" y="61"/>
                </a:cubicBezTo>
                <a:cubicBezTo>
                  <a:pt x="25" y="59"/>
                  <a:pt x="25" y="57"/>
                  <a:pt x="27" y="55"/>
                </a:cubicBezTo>
                <a:cubicBezTo>
                  <a:pt x="37" y="45"/>
                  <a:pt x="37" y="45"/>
                  <a:pt x="37" y="45"/>
                </a:cubicBezTo>
                <a:cubicBezTo>
                  <a:pt x="39" y="44"/>
                  <a:pt x="41" y="43"/>
                  <a:pt x="43" y="43"/>
                </a:cubicBezTo>
                <a:cubicBezTo>
                  <a:pt x="45" y="43"/>
                  <a:pt x="46" y="44"/>
                  <a:pt x="48" y="45"/>
                </a:cubicBezTo>
                <a:cubicBezTo>
                  <a:pt x="73" y="70"/>
                  <a:pt x="73" y="70"/>
                  <a:pt x="73" y="70"/>
                </a:cubicBezTo>
                <a:cubicBezTo>
                  <a:pt x="134" y="9"/>
                  <a:pt x="134" y="9"/>
                  <a:pt x="134" y="9"/>
                </a:cubicBezTo>
                <a:cubicBezTo>
                  <a:pt x="136" y="7"/>
                  <a:pt x="137" y="6"/>
                  <a:pt x="139" y="6"/>
                </a:cubicBezTo>
                <a:cubicBezTo>
                  <a:pt x="141" y="6"/>
                  <a:pt x="143" y="7"/>
                  <a:pt x="145" y="9"/>
                </a:cubicBezTo>
                <a:cubicBezTo>
                  <a:pt x="155" y="19"/>
                  <a:pt x="155" y="19"/>
                  <a:pt x="155" y="19"/>
                </a:cubicBezTo>
                <a:cubicBezTo>
                  <a:pt x="157" y="21"/>
                  <a:pt x="157" y="22"/>
                  <a:pt x="157" y="25"/>
                </a:cubicBezTo>
                <a:cubicBezTo>
                  <a:pt x="157" y="27"/>
                  <a:pt x="157" y="28"/>
                  <a:pt x="155" y="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2" name="Freeform 72"/>
          <p:cNvSpPr>
            <a:spLocks noChangeAspect="1"/>
          </p:cNvSpPr>
          <p:nvPr/>
        </p:nvSpPr>
        <p:spPr bwMode="auto">
          <a:xfrm>
            <a:off x="6653209" y="1853750"/>
            <a:ext cx="174866" cy="176428"/>
          </a:xfrm>
          <a:custGeom>
            <a:avLst/>
            <a:gdLst>
              <a:gd name="T0" fmla="*/ 169 w 169"/>
              <a:gd name="T1" fmla="*/ 85 h 170"/>
              <a:gd name="T2" fmla="*/ 168 w 169"/>
              <a:gd name="T3" fmla="*/ 89 h 170"/>
              <a:gd name="T4" fmla="*/ 143 w 169"/>
              <a:gd name="T5" fmla="*/ 113 h 170"/>
              <a:gd name="T6" fmla="*/ 139 w 169"/>
              <a:gd name="T7" fmla="*/ 115 h 170"/>
              <a:gd name="T8" fmla="*/ 135 w 169"/>
              <a:gd name="T9" fmla="*/ 113 h 170"/>
              <a:gd name="T10" fmla="*/ 133 w 169"/>
              <a:gd name="T11" fmla="*/ 109 h 170"/>
              <a:gd name="T12" fmla="*/ 133 w 169"/>
              <a:gd name="T13" fmla="*/ 97 h 170"/>
              <a:gd name="T14" fmla="*/ 97 w 169"/>
              <a:gd name="T15" fmla="*/ 97 h 170"/>
              <a:gd name="T16" fmla="*/ 97 w 169"/>
              <a:gd name="T17" fmla="*/ 133 h 170"/>
              <a:gd name="T18" fmla="*/ 109 w 169"/>
              <a:gd name="T19" fmla="*/ 133 h 170"/>
              <a:gd name="T20" fmla="*/ 113 w 169"/>
              <a:gd name="T21" fmla="*/ 135 h 170"/>
              <a:gd name="T22" fmla="*/ 115 w 169"/>
              <a:gd name="T23" fmla="*/ 139 h 170"/>
              <a:gd name="T24" fmla="*/ 113 w 169"/>
              <a:gd name="T25" fmla="*/ 144 h 170"/>
              <a:gd name="T26" fmla="*/ 89 w 169"/>
              <a:gd name="T27" fmla="*/ 168 h 170"/>
              <a:gd name="T28" fmla="*/ 85 w 169"/>
              <a:gd name="T29" fmla="*/ 170 h 170"/>
              <a:gd name="T30" fmla="*/ 80 w 169"/>
              <a:gd name="T31" fmla="*/ 168 h 170"/>
              <a:gd name="T32" fmla="*/ 56 w 169"/>
              <a:gd name="T33" fmla="*/ 144 h 170"/>
              <a:gd name="T34" fmla="*/ 54 w 169"/>
              <a:gd name="T35" fmla="*/ 139 h 170"/>
              <a:gd name="T36" fmla="*/ 56 w 169"/>
              <a:gd name="T37" fmla="*/ 135 h 170"/>
              <a:gd name="T38" fmla="*/ 60 w 169"/>
              <a:gd name="T39" fmla="*/ 133 h 170"/>
              <a:gd name="T40" fmla="*/ 73 w 169"/>
              <a:gd name="T41" fmla="*/ 133 h 170"/>
              <a:gd name="T42" fmla="*/ 73 w 169"/>
              <a:gd name="T43" fmla="*/ 97 h 170"/>
              <a:gd name="T44" fmla="*/ 36 w 169"/>
              <a:gd name="T45" fmla="*/ 97 h 170"/>
              <a:gd name="T46" fmla="*/ 36 w 169"/>
              <a:gd name="T47" fmla="*/ 109 h 170"/>
              <a:gd name="T48" fmla="*/ 34 w 169"/>
              <a:gd name="T49" fmla="*/ 113 h 170"/>
              <a:gd name="T50" fmla="*/ 30 w 169"/>
              <a:gd name="T51" fmla="*/ 115 h 170"/>
              <a:gd name="T52" fmla="*/ 26 w 169"/>
              <a:gd name="T53" fmla="*/ 113 h 170"/>
              <a:gd name="T54" fmla="*/ 2 w 169"/>
              <a:gd name="T55" fmla="*/ 89 h 170"/>
              <a:gd name="T56" fmla="*/ 0 w 169"/>
              <a:gd name="T57" fmla="*/ 85 h 170"/>
              <a:gd name="T58" fmla="*/ 2 w 169"/>
              <a:gd name="T59" fmla="*/ 81 h 170"/>
              <a:gd name="T60" fmla="*/ 26 w 169"/>
              <a:gd name="T61" fmla="*/ 57 h 170"/>
              <a:gd name="T62" fmla="*/ 30 w 169"/>
              <a:gd name="T63" fmla="*/ 55 h 170"/>
              <a:gd name="T64" fmla="*/ 34 w 169"/>
              <a:gd name="T65" fmla="*/ 57 h 170"/>
              <a:gd name="T66" fmla="*/ 36 w 169"/>
              <a:gd name="T67" fmla="*/ 61 h 170"/>
              <a:gd name="T68" fmla="*/ 36 w 169"/>
              <a:gd name="T69" fmla="*/ 73 h 170"/>
              <a:gd name="T70" fmla="*/ 73 w 169"/>
              <a:gd name="T71" fmla="*/ 73 h 170"/>
              <a:gd name="T72" fmla="*/ 73 w 169"/>
              <a:gd name="T73" fmla="*/ 37 h 170"/>
              <a:gd name="T74" fmla="*/ 60 w 169"/>
              <a:gd name="T75" fmla="*/ 37 h 170"/>
              <a:gd name="T76" fmla="*/ 56 w 169"/>
              <a:gd name="T77" fmla="*/ 35 h 170"/>
              <a:gd name="T78" fmla="*/ 54 w 169"/>
              <a:gd name="T79" fmla="*/ 31 h 170"/>
              <a:gd name="T80" fmla="*/ 56 w 169"/>
              <a:gd name="T81" fmla="*/ 26 h 170"/>
              <a:gd name="T82" fmla="*/ 80 w 169"/>
              <a:gd name="T83" fmla="*/ 2 h 170"/>
              <a:gd name="T84" fmla="*/ 85 w 169"/>
              <a:gd name="T85" fmla="*/ 0 h 170"/>
              <a:gd name="T86" fmla="*/ 89 w 169"/>
              <a:gd name="T87" fmla="*/ 2 h 170"/>
              <a:gd name="T88" fmla="*/ 113 w 169"/>
              <a:gd name="T89" fmla="*/ 26 h 170"/>
              <a:gd name="T90" fmla="*/ 115 w 169"/>
              <a:gd name="T91" fmla="*/ 31 h 170"/>
              <a:gd name="T92" fmla="*/ 113 w 169"/>
              <a:gd name="T93" fmla="*/ 35 h 170"/>
              <a:gd name="T94" fmla="*/ 109 w 169"/>
              <a:gd name="T95" fmla="*/ 37 h 170"/>
              <a:gd name="T96" fmla="*/ 97 w 169"/>
              <a:gd name="T97" fmla="*/ 37 h 170"/>
              <a:gd name="T98" fmla="*/ 97 w 169"/>
              <a:gd name="T99" fmla="*/ 73 h 170"/>
              <a:gd name="T100" fmla="*/ 133 w 169"/>
              <a:gd name="T101" fmla="*/ 73 h 170"/>
              <a:gd name="T102" fmla="*/ 133 w 169"/>
              <a:gd name="T103" fmla="*/ 61 h 170"/>
              <a:gd name="T104" fmla="*/ 135 w 169"/>
              <a:gd name="T105" fmla="*/ 57 h 170"/>
              <a:gd name="T106" fmla="*/ 139 w 169"/>
              <a:gd name="T107" fmla="*/ 55 h 170"/>
              <a:gd name="T108" fmla="*/ 143 w 169"/>
              <a:gd name="T109" fmla="*/ 57 h 170"/>
              <a:gd name="T110" fmla="*/ 168 w 169"/>
              <a:gd name="T111" fmla="*/ 81 h 170"/>
              <a:gd name="T112" fmla="*/ 169 w 169"/>
              <a:gd name="T113" fmla="*/ 85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9" h="170">
                <a:moveTo>
                  <a:pt x="169" y="85"/>
                </a:moveTo>
                <a:cubicBezTo>
                  <a:pt x="169" y="87"/>
                  <a:pt x="169" y="88"/>
                  <a:pt x="168" y="89"/>
                </a:cubicBezTo>
                <a:cubicBezTo>
                  <a:pt x="143" y="113"/>
                  <a:pt x="143" y="113"/>
                  <a:pt x="143" y="113"/>
                </a:cubicBezTo>
                <a:cubicBezTo>
                  <a:pt x="142" y="115"/>
                  <a:pt x="141" y="115"/>
                  <a:pt x="139" y="115"/>
                </a:cubicBezTo>
                <a:cubicBezTo>
                  <a:pt x="137" y="115"/>
                  <a:pt x="136" y="115"/>
                  <a:pt x="135" y="113"/>
                </a:cubicBezTo>
                <a:cubicBezTo>
                  <a:pt x="134" y="112"/>
                  <a:pt x="133" y="111"/>
                  <a:pt x="133" y="109"/>
                </a:cubicBezTo>
                <a:cubicBezTo>
                  <a:pt x="133" y="97"/>
                  <a:pt x="133" y="97"/>
                  <a:pt x="133" y="97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133"/>
                  <a:pt x="97" y="133"/>
                  <a:pt x="97" y="133"/>
                </a:cubicBezTo>
                <a:cubicBezTo>
                  <a:pt x="109" y="133"/>
                  <a:pt x="109" y="133"/>
                  <a:pt x="109" y="133"/>
                </a:cubicBezTo>
                <a:cubicBezTo>
                  <a:pt x="110" y="133"/>
                  <a:pt x="112" y="134"/>
                  <a:pt x="113" y="135"/>
                </a:cubicBezTo>
                <a:cubicBezTo>
                  <a:pt x="114" y="136"/>
                  <a:pt x="115" y="138"/>
                  <a:pt x="115" y="139"/>
                </a:cubicBezTo>
                <a:cubicBezTo>
                  <a:pt x="115" y="141"/>
                  <a:pt x="114" y="142"/>
                  <a:pt x="113" y="144"/>
                </a:cubicBezTo>
                <a:cubicBezTo>
                  <a:pt x="89" y="168"/>
                  <a:pt x="89" y="168"/>
                  <a:pt x="89" y="168"/>
                </a:cubicBezTo>
                <a:cubicBezTo>
                  <a:pt x="88" y="169"/>
                  <a:pt x="86" y="170"/>
                  <a:pt x="85" y="170"/>
                </a:cubicBezTo>
                <a:cubicBezTo>
                  <a:pt x="83" y="170"/>
                  <a:pt x="82" y="169"/>
                  <a:pt x="80" y="168"/>
                </a:cubicBezTo>
                <a:cubicBezTo>
                  <a:pt x="56" y="144"/>
                  <a:pt x="56" y="144"/>
                  <a:pt x="56" y="144"/>
                </a:cubicBezTo>
                <a:cubicBezTo>
                  <a:pt x="55" y="142"/>
                  <a:pt x="54" y="141"/>
                  <a:pt x="54" y="139"/>
                </a:cubicBezTo>
                <a:cubicBezTo>
                  <a:pt x="54" y="138"/>
                  <a:pt x="55" y="136"/>
                  <a:pt x="56" y="135"/>
                </a:cubicBezTo>
                <a:cubicBezTo>
                  <a:pt x="57" y="134"/>
                  <a:pt x="59" y="133"/>
                  <a:pt x="60" y="13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97"/>
                  <a:pt x="73" y="97"/>
                  <a:pt x="73" y="97"/>
                </a:cubicBezTo>
                <a:cubicBezTo>
                  <a:pt x="36" y="97"/>
                  <a:pt x="36" y="97"/>
                  <a:pt x="36" y="97"/>
                </a:cubicBezTo>
                <a:cubicBezTo>
                  <a:pt x="36" y="109"/>
                  <a:pt x="36" y="109"/>
                  <a:pt x="36" y="109"/>
                </a:cubicBezTo>
                <a:cubicBezTo>
                  <a:pt x="36" y="111"/>
                  <a:pt x="36" y="112"/>
                  <a:pt x="34" y="113"/>
                </a:cubicBezTo>
                <a:cubicBezTo>
                  <a:pt x="33" y="115"/>
                  <a:pt x="32" y="115"/>
                  <a:pt x="30" y="115"/>
                </a:cubicBezTo>
                <a:cubicBezTo>
                  <a:pt x="28" y="115"/>
                  <a:pt x="27" y="115"/>
                  <a:pt x="26" y="113"/>
                </a:cubicBezTo>
                <a:cubicBezTo>
                  <a:pt x="2" y="89"/>
                  <a:pt x="2" y="89"/>
                  <a:pt x="2" y="89"/>
                </a:cubicBezTo>
                <a:cubicBezTo>
                  <a:pt x="0" y="88"/>
                  <a:pt x="0" y="87"/>
                  <a:pt x="0" y="85"/>
                </a:cubicBezTo>
                <a:cubicBezTo>
                  <a:pt x="0" y="83"/>
                  <a:pt x="0" y="82"/>
                  <a:pt x="2" y="81"/>
                </a:cubicBezTo>
                <a:cubicBezTo>
                  <a:pt x="26" y="57"/>
                  <a:pt x="26" y="57"/>
                  <a:pt x="26" y="57"/>
                </a:cubicBezTo>
                <a:cubicBezTo>
                  <a:pt x="27" y="55"/>
                  <a:pt x="28" y="55"/>
                  <a:pt x="30" y="55"/>
                </a:cubicBezTo>
                <a:cubicBezTo>
                  <a:pt x="32" y="55"/>
                  <a:pt x="33" y="55"/>
                  <a:pt x="34" y="57"/>
                </a:cubicBezTo>
                <a:cubicBezTo>
                  <a:pt x="36" y="58"/>
                  <a:pt x="36" y="59"/>
                  <a:pt x="36" y="61"/>
                </a:cubicBezTo>
                <a:cubicBezTo>
                  <a:pt x="36" y="73"/>
                  <a:pt x="36" y="73"/>
                  <a:pt x="36" y="73"/>
                </a:cubicBezTo>
                <a:cubicBezTo>
                  <a:pt x="73" y="73"/>
                  <a:pt x="73" y="73"/>
                  <a:pt x="73" y="73"/>
                </a:cubicBezTo>
                <a:cubicBezTo>
                  <a:pt x="73" y="37"/>
                  <a:pt x="73" y="37"/>
                  <a:pt x="73" y="37"/>
                </a:cubicBezTo>
                <a:cubicBezTo>
                  <a:pt x="60" y="37"/>
                  <a:pt x="60" y="37"/>
                  <a:pt x="60" y="37"/>
                </a:cubicBezTo>
                <a:cubicBezTo>
                  <a:pt x="59" y="37"/>
                  <a:pt x="57" y="36"/>
                  <a:pt x="56" y="35"/>
                </a:cubicBezTo>
                <a:cubicBezTo>
                  <a:pt x="55" y="34"/>
                  <a:pt x="54" y="32"/>
                  <a:pt x="54" y="31"/>
                </a:cubicBezTo>
                <a:cubicBezTo>
                  <a:pt x="54" y="29"/>
                  <a:pt x="55" y="27"/>
                  <a:pt x="56" y="26"/>
                </a:cubicBezTo>
                <a:cubicBezTo>
                  <a:pt x="80" y="2"/>
                  <a:pt x="80" y="2"/>
                  <a:pt x="80" y="2"/>
                </a:cubicBezTo>
                <a:cubicBezTo>
                  <a:pt x="82" y="1"/>
                  <a:pt x="83" y="0"/>
                  <a:pt x="85" y="0"/>
                </a:cubicBezTo>
                <a:cubicBezTo>
                  <a:pt x="86" y="0"/>
                  <a:pt x="88" y="1"/>
                  <a:pt x="89" y="2"/>
                </a:cubicBezTo>
                <a:cubicBezTo>
                  <a:pt x="113" y="26"/>
                  <a:pt x="113" y="26"/>
                  <a:pt x="113" y="26"/>
                </a:cubicBezTo>
                <a:cubicBezTo>
                  <a:pt x="114" y="27"/>
                  <a:pt x="115" y="29"/>
                  <a:pt x="115" y="31"/>
                </a:cubicBezTo>
                <a:cubicBezTo>
                  <a:pt x="115" y="32"/>
                  <a:pt x="114" y="34"/>
                  <a:pt x="113" y="35"/>
                </a:cubicBezTo>
                <a:cubicBezTo>
                  <a:pt x="112" y="36"/>
                  <a:pt x="110" y="37"/>
                  <a:pt x="109" y="37"/>
                </a:cubicBezTo>
                <a:cubicBezTo>
                  <a:pt x="97" y="37"/>
                  <a:pt x="97" y="37"/>
                  <a:pt x="97" y="37"/>
                </a:cubicBezTo>
                <a:cubicBezTo>
                  <a:pt x="97" y="73"/>
                  <a:pt x="97" y="73"/>
                  <a:pt x="97" y="73"/>
                </a:cubicBezTo>
                <a:cubicBezTo>
                  <a:pt x="133" y="73"/>
                  <a:pt x="133" y="73"/>
                  <a:pt x="133" y="73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33" y="59"/>
                  <a:pt x="134" y="58"/>
                  <a:pt x="135" y="57"/>
                </a:cubicBezTo>
                <a:cubicBezTo>
                  <a:pt x="136" y="55"/>
                  <a:pt x="137" y="55"/>
                  <a:pt x="139" y="55"/>
                </a:cubicBezTo>
                <a:cubicBezTo>
                  <a:pt x="141" y="55"/>
                  <a:pt x="142" y="55"/>
                  <a:pt x="143" y="57"/>
                </a:cubicBezTo>
                <a:cubicBezTo>
                  <a:pt x="168" y="81"/>
                  <a:pt x="168" y="81"/>
                  <a:pt x="168" y="81"/>
                </a:cubicBezTo>
                <a:cubicBezTo>
                  <a:pt x="169" y="82"/>
                  <a:pt x="169" y="83"/>
                  <a:pt x="169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3" name="Freeform 73"/>
          <p:cNvSpPr>
            <a:spLocks noChangeAspect="1"/>
          </p:cNvSpPr>
          <p:nvPr/>
        </p:nvSpPr>
        <p:spPr bwMode="auto">
          <a:xfrm>
            <a:off x="6873354" y="1866240"/>
            <a:ext cx="99924" cy="151447"/>
          </a:xfrm>
          <a:custGeom>
            <a:avLst/>
            <a:gdLst>
              <a:gd name="T0" fmla="*/ 92 w 96"/>
              <a:gd name="T1" fmla="*/ 2 h 146"/>
              <a:gd name="T2" fmla="*/ 95 w 96"/>
              <a:gd name="T3" fmla="*/ 0 h 146"/>
              <a:gd name="T4" fmla="*/ 96 w 96"/>
              <a:gd name="T5" fmla="*/ 3 h 146"/>
              <a:gd name="T6" fmla="*/ 96 w 96"/>
              <a:gd name="T7" fmla="*/ 143 h 146"/>
              <a:gd name="T8" fmla="*/ 95 w 96"/>
              <a:gd name="T9" fmla="*/ 146 h 146"/>
              <a:gd name="T10" fmla="*/ 92 w 96"/>
              <a:gd name="T11" fmla="*/ 144 h 146"/>
              <a:gd name="T12" fmla="*/ 25 w 96"/>
              <a:gd name="T13" fmla="*/ 77 h 146"/>
              <a:gd name="T14" fmla="*/ 24 w 96"/>
              <a:gd name="T15" fmla="*/ 75 h 146"/>
              <a:gd name="T16" fmla="*/ 24 w 96"/>
              <a:gd name="T17" fmla="*/ 140 h 146"/>
              <a:gd name="T18" fmla="*/ 22 w 96"/>
              <a:gd name="T19" fmla="*/ 144 h 146"/>
              <a:gd name="T20" fmla="*/ 18 w 96"/>
              <a:gd name="T21" fmla="*/ 146 h 146"/>
              <a:gd name="T22" fmla="*/ 6 w 96"/>
              <a:gd name="T23" fmla="*/ 146 h 146"/>
              <a:gd name="T24" fmla="*/ 1 w 96"/>
              <a:gd name="T25" fmla="*/ 144 h 146"/>
              <a:gd name="T26" fmla="*/ 0 w 96"/>
              <a:gd name="T27" fmla="*/ 140 h 146"/>
              <a:gd name="T28" fmla="*/ 0 w 96"/>
              <a:gd name="T29" fmla="*/ 6 h 146"/>
              <a:gd name="T30" fmla="*/ 1 w 96"/>
              <a:gd name="T31" fmla="*/ 2 h 146"/>
              <a:gd name="T32" fmla="*/ 6 w 96"/>
              <a:gd name="T33" fmla="*/ 0 h 146"/>
              <a:gd name="T34" fmla="*/ 18 w 96"/>
              <a:gd name="T35" fmla="*/ 0 h 146"/>
              <a:gd name="T36" fmla="*/ 22 w 96"/>
              <a:gd name="T37" fmla="*/ 2 h 146"/>
              <a:gd name="T38" fmla="*/ 24 w 96"/>
              <a:gd name="T39" fmla="*/ 6 h 146"/>
              <a:gd name="T40" fmla="*/ 24 w 96"/>
              <a:gd name="T41" fmla="*/ 71 h 146"/>
              <a:gd name="T42" fmla="*/ 25 w 96"/>
              <a:gd name="T43" fmla="*/ 69 h 146"/>
              <a:gd name="T44" fmla="*/ 92 w 96"/>
              <a:gd name="T45" fmla="*/ 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146">
                <a:moveTo>
                  <a:pt x="92" y="2"/>
                </a:moveTo>
                <a:cubicBezTo>
                  <a:pt x="93" y="0"/>
                  <a:pt x="94" y="0"/>
                  <a:pt x="95" y="0"/>
                </a:cubicBezTo>
                <a:cubicBezTo>
                  <a:pt x="96" y="1"/>
                  <a:pt x="96" y="2"/>
                  <a:pt x="96" y="3"/>
                </a:cubicBezTo>
                <a:cubicBezTo>
                  <a:pt x="96" y="143"/>
                  <a:pt x="96" y="143"/>
                  <a:pt x="96" y="143"/>
                </a:cubicBezTo>
                <a:cubicBezTo>
                  <a:pt x="96" y="144"/>
                  <a:pt x="96" y="145"/>
                  <a:pt x="95" y="146"/>
                </a:cubicBezTo>
                <a:cubicBezTo>
                  <a:pt x="94" y="146"/>
                  <a:pt x="93" y="146"/>
                  <a:pt x="92" y="144"/>
                </a:cubicBezTo>
                <a:cubicBezTo>
                  <a:pt x="25" y="77"/>
                  <a:pt x="25" y="77"/>
                  <a:pt x="25" y="77"/>
                </a:cubicBezTo>
                <a:cubicBezTo>
                  <a:pt x="25" y="77"/>
                  <a:pt x="24" y="76"/>
                  <a:pt x="24" y="75"/>
                </a:cubicBezTo>
                <a:cubicBezTo>
                  <a:pt x="24" y="140"/>
                  <a:pt x="24" y="140"/>
                  <a:pt x="24" y="140"/>
                </a:cubicBezTo>
                <a:cubicBezTo>
                  <a:pt x="24" y="141"/>
                  <a:pt x="23" y="143"/>
                  <a:pt x="22" y="144"/>
                </a:cubicBezTo>
                <a:cubicBezTo>
                  <a:pt x="21" y="145"/>
                  <a:pt x="19" y="146"/>
                  <a:pt x="18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4" y="146"/>
                  <a:pt x="3" y="145"/>
                  <a:pt x="1" y="144"/>
                </a:cubicBezTo>
                <a:cubicBezTo>
                  <a:pt x="0" y="143"/>
                  <a:pt x="0" y="141"/>
                  <a:pt x="0" y="14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9" y="0"/>
                  <a:pt x="21" y="1"/>
                  <a:pt x="22" y="2"/>
                </a:cubicBezTo>
                <a:cubicBezTo>
                  <a:pt x="23" y="3"/>
                  <a:pt x="24" y="5"/>
                  <a:pt x="24" y="6"/>
                </a:cubicBezTo>
                <a:cubicBezTo>
                  <a:pt x="24" y="71"/>
                  <a:pt x="24" y="71"/>
                  <a:pt x="24" y="71"/>
                </a:cubicBezTo>
                <a:cubicBezTo>
                  <a:pt x="24" y="70"/>
                  <a:pt x="25" y="69"/>
                  <a:pt x="25" y="69"/>
                </a:cubicBezTo>
                <a:lnTo>
                  <a:pt x="92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4" name="Freeform 74"/>
          <p:cNvSpPr>
            <a:spLocks noChangeAspect="1"/>
          </p:cNvSpPr>
          <p:nvPr/>
        </p:nvSpPr>
        <p:spPr bwMode="auto">
          <a:xfrm>
            <a:off x="7018555" y="1866240"/>
            <a:ext cx="174866" cy="151447"/>
          </a:xfrm>
          <a:custGeom>
            <a:avLst/>
            <a:gdLst>
              <a:gd name="T0" fmla="*/ 165 w 169"/>
              <a:gd name="T1" fmla="*/ 2 h 146"/>
              <a:gd name="T2" fmla="*/ 168 w 169"/>
              <a:gd name="T3" fmla="*/ 0 h 146"/>
              <a:gd name="T4" fmla="*/ 169 w 169"/>
              <a:gd name="T5" fmla="*/ 3 h 146"/>
              <a:gd name="T6" fmla="*/ 169 w 169"/>
              <a:gd name="T7" fmla="*/ 143 h 146"/>
              <a:gd name="T8" fmla="*/ 168 w 169"/>
              <a:gd name="T9" fmla="*/ 146 h 146"/>
              <a:gd name="T10" fmla="*/ 165 w 169"/>
              <a:gd name="T11" fmla="*/ 144 h 146"/>
              <a:gd name="T12" fmla="*/ 98 w 169"/>
              <a:gd name="T13" fmla="*/ 77 h 146"/>
              <a:gd name="T14" fmla="*/ 97 w 169"/>
              <a:gd name="T15" fmla="*/ 75 h 146"/>
              <a:gd name="T16" fmla="*/ 97 w 169"/>
              <a:gd name="T17" fmla="*/ 143 h 146"/>
              <a:gd name="T18" fmla="*/ 95 w 169"/>
              <a:gd name="T19" fmla="*/ 146 h 146"/>
              <a:gd name="T20" fmla="*/ 92 w 169"/>
              <a:gd name="T21" fmla="*/ 144 h 146"/>
              <a:gd name="T22" fmla="*/ 25 w 169"/>
              <a:gd name="T23" fmla="*/ 77 h 146"/>
              <a:gd name="T24" fmla="*/ 24 w 169"/>
              <a:gd name="T25" fmla="*/ 75 h 146"/>
              <a:gd name="T26" fmla="*/ 24 w 169"/>
              <a:gd name="T27" fmla="*/ 140 h 146"/>
              <a:gd name="T28" fmla="*/ 22 w 169"/>
              <a:gd name="T29" fmla="*/ 144 h 146"/>
              <a:gd name="T30" fmla="*/ 18 w 169"/>
              <a:gd name="T31" fmla="*/ 146 h 146"/>
              <a:gd name="T32" fmla="*/ 6 w 169"/>
              <a:gd name="T33" fmla="*/ 146 h 146"/>
              <a:gd name="T34" fmla="*/ 2 w 169"/>
              <a:gd name="T35" fmla="*/ 144 h 146"/>
              <a:gd name="T36" fmla="*/ 0 w 169"/>
              <a:gd name="T37" fmla="*/ 140 h 146"/>
              <a:gd name="T38" fmla="*/ 0 w 169"/>
              <a:gd name="T39" fmla="*/ 6 h 146"/>
              <a:gd name="T40" fmla="*/ 2 w 169"/>
              <a:gd name="T41" fmla="*/ 2 h 146"/>
              <a:gd name="T42" fmla="*/ 6 w 169"/>
              <a:gd name="T43" fmla="*/ 0 h 146"/>
              <a:gd name="T44" fmla="*/ 18 w 169"/>
              <a:gd name="T45" fmla="*/ 0 h 146"/>
              <a:gd name="T46" fmla="*/ 22 w 169"/>
              <a:gd name="T47" fmla="*/ 2 h 146"/>
              <a:gd name="T48" fmla="*/ 24 w 169"/>
              <a:gd name="T49" fmla="*/ 6 h 146"/>
              <a:gd name="T50" fmla="*/ 24 w 169"/>
              <a:gd name="T51" fmla="*/ 71 h 146"/>
              <a:gd name="T52" fmla="*/ 25 w 169"/>
              <a:gd name="T53" fmla="*/ 69 h 146"/>
              <a:gd name="T54" fmla="*/ 92 w 169"/>
              <a:gd name="T55" fmla="*/ 2 h 146"/>
              <a:gd name="T56" fmla="*/ 95 w 169"/>
              <a:gd name="T57" fmla="*/ 0 h 146"/>
              <a:gd name="T58" fmla="*/ 97 w 169"/>
              <a:gd name="T59" fmla="*/ 3 h 146"/>
              <a:gd name="T60" fmla="*/ 97 w 169"/>
              <a:gd name="T61" fmla="*/ 71 h 146"/>
              <a:gd name="T62" fmla="*/ 98 w 169"/>
              <a:gd name="T63" fmla="*/ 69 h 146"/>
              <a:gd name="T64" fmla="*/ 165 w 169"/>
              <a:gd name="T65" fmla="*/ 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9" h="146">
                <a:moveTo>
                  <a:pt x="165" y="2"/>
                </a:moveTo>
                <a:cubicBezTo>
                  <a:pt x="166" y="0"/>
                  <a:pt x="167" y="0"/>
                  <a:pt x="168" y="0"/>
                </a:cubicBezTo>
                <a:cubicBezTo>
                  <a:pt x="169" y="1"/>
                  <a:pt x="169" y="2"/>
                  <a:pt x="169" y="3"/>
                </a:cubicBezTo>
                <a:cubicBezTo>
                  <a:pt x="169" y="143"/>
                  <a:pt x="169" y="143"/>
                  <a:pt x="169" y="143"/>
                </a:cubicBezTo>
                <a:cubicBezTo>
                  <a:pt x="169" y="144"/>
                  <a:pt x="169" y="145"/>
                  <a:pt x="168" y="146"/>
                </a:cubicBezTo>
                <a:cubicBezTo>
                  <a:pt x="167" y="146"/>
                  <a:pt x="166" y="146"/>
                  <a:pt x="165" y="144"/>
                </a:cubicBezTo>
                <a:cubicBezTo>
                  <a:pt x="98" y="77"/>
                  <a:pt x="98" y="77"/>
                  <a:pt x="98" y="77"/>
                </a:cubicBezTo>
                <a:cubicBezTo>
                  <a:pt x="97" y="77"/>
                  <a:pt x="97" y="76"/>
                  <a:pt x="97" y="75"/>
                </a:cubicBezTo>
                <a:cubicBezTo>
                  <a:pt x="97" y="143"/>
                  <a:pt x="97" y="143"/>
                  <a:pt x="97" y="143"/>
                </a:cubicBezTo>
                <a:cubicBezTo>
                  <a:pt x="97" y="144"/>
                  <a:pt x="96" y="145"/>
                  <a:pt x="95" y="146"/>
                </a:cubicBezTo>
                <a:cubicBezTo>
                  <a:pt x="95" y="146"/>
                  <a:pt x="94" y="146"/>
                  <a:pt x="92" y="144"/>
                </a:cubicBezTo>
                <a:cubicBezTo>
                  <a:pt x="25" y="77"/>
                  <a:pt x="25" y="77"/>
                  <a:pt x="25" y="77"/>
                </a:cubicBezTo>
                <a:cubicBezTo>
                  <a:pt x="25" y="77"/>
                  <a:pt x="24" y="76"/>
                  <a:pt x="24" y="75"/>
                </a:cubicBezTo>
                <a:cubicBezTo>
                  <a:pt x="24" y="140"/>
                  <a:pt x="24" y="140"/>
                  <a:pt x="24" y="140"/>
                </a:cubicBezTo>
                <a:cubicBezTo>
                  <a:pt x="24" y="141"/>
                  <a:pt x="23" y="143"/>
                  <a:pt x="22" y="144"/>
                </a:cubicBezTo>
                <a:cubicBezTo>
                  <a:pt x="21" y="145"/>
                  <a:pt x="20" y="146"/>
                  <a:pt x="18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4" y="146"/>
                  <a:pt x="3" y="145"/>
                  <a:pt x="2" y="144"/>
                </a:cubicBezTo>
                <a:cubicBezTo>
                  <a:pt x="0" y="143"/>
                  <a:pt x="0" y="141"/>
                  <a:pt x="0" y="14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20" y="0"/>
                  <a:pt x="21" y="1"/>
                  <a:pt x="22" y="2"/>
                </a:cubicBezTo>
                <a:cubicBezTo>
                  <a:pt x="23" y="3"/>
                  <a:pt x="24" y="5"/>
                  <a:pt x="24" y="6"/>
                </a:cubicBezTo>
                <a:cubicBezTo>
                  <a:pt x="24" y="71"/>
                  <a:pt x="24" y="71"/>
                  <a:pt x="24" y="71"/>
                </a:cubicBezTo>
                <a:cubicBezTo>
                  <a:pt x="24" y="70"/>
                  <a:pt x="25" y="69"/>
                  <a:pt x="25" y="69"/>
                </a:cubicBezTo>
                <a:cubicBezTo>
                  <a:pt x="92" y="2"/>
                  <a:pt x="92" y="2"/>
                  <a:pt x="92" y="2"/>
                </a:cubicBezTo>
                <a:cubicBezTo>
                  <a:pt x="94" y="0"/>
                  <a:pt x="95" y="0"/>
                  <a:pt x="95" y="0"/>
                </a:cubicBezTo>
                <a:cubicBezTo>
                  <a:pt x="96" y="1"/>
                  <a:pt x="97" y="2"/>
                  <a:pt x="97" y="3"/>
                </a:cubicBezTo>
                <a:cubicBezTo>
                  <a:pt x="97" y="71"/>
                  <a:pt x="97" y="71"/>
                  <a:pt x="97" y="71"/>
                </a:cubicBezTo>
                <a:cubicBezTo>
                  <a:pt x="97" y="70"/>
                  <a:pt x="97" y="69"/>
                  <a:pt x="98" y="69"/>
                </a:cubicBezTo>
                <a:lnTo>
                  <a:pt x="165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5" name="Freeform 75"/>
          <p:cNvSpPr>
            <a:spLocks noChangeAspect="1"/>
          </p:cNvSpPr>
          <p:nvPr/>
        </p:nvSpPr>
        <p:spPr bwMode="auto">
          <a:xfrm>
            <a:off x="7249629" y="1866240"/>
            <a:ext cx="151447" cy="151447"/>
          </a:xfrm>
          <a:custGeom>
            <a:avLst/>
            <a:gdLst>
              <a:gd name="T0" fmla="*/ 142 w 146"/>
              <a:gd name="T1" fmla="*/ 2 h 146"/>
              <a:gd name="T2" fmla="*/ 145 w 146"/>
              <a:gd name="T3" fmla="*/ 0 h 146"/>
              <a:gd name="T4" fmla="*/ 146 w 146"/>
              <a:gd name="T5" fmla="*/ 3 h 146"/>
              <a:gd name="T6" fmla="*/ 146 w 146"/>
              <a:gd name="T7" fmla="*/ 143 h 146"/>
              <a:gd name="T8" fmla="*/ 145 w 146"/>
              <a:gd name="T9" fmla="*/ 146 h 146"/>
              <a:gd name="T10" fmla="*/ 142 w 146"/>
              <a:gd name="T11" fmla="*/ 144 h 146"/>
              <a:gd name="T12" fmla="*/ 74 w 146"/>
              <a:gd name="T13" fmla="*/ 77 h 146"/>
              <a:gd name="T14" fmla="*/ 73 w 146"/>
              <a:gd name="T15" fmla="*/ 75 h 146"/>
              <a:gd name="T16" fmla="*/ 73 w 146"/>
              <a:gd name="T17" fmla="*/ 143 h 146"/>
              <a:gd name="T18" fmla="*/ 72 w 146"/>
              <a:gd name="T19" fmla="*/ 146 h 146"/>
              <a:gd name="T20" fmla="*/ 69 w 146"/>
              <a:gd name="T21" fmla="*/ 144 h 146"/>
              <a:gd name="T22" fmla="*/ 2 w 146"/>
              <a:gd name="T23" fmla="*/ 77 h 146"/>
              <a:gd name="T24" fmla="*/ 0 w 146"/>
              <a:gd name="T25" fmla="*/ 73 h 146"/>
              <a:gd name="T26" fmla="*/ 2 w 146"/>
              <a:gd name="T27" fmla="*/ 69 h 146"/>
              <a:gd name="T28" fmla="*/ 69 w 146"/>
              <a:gd name="T29" fmla="*/ 2 h 146"/>
              <a:gd name="T30" fmla="*/ 72 w 146"/>
              <a:gd name="T31" fmla="*/ 0 h 146"/>
              <a:gd name="T32" fmla="*/ 73 w 146"/>
              <a:gd name="T33" fmla="*/ 3 h 146"/>
              <a:gd name="T34" fmla="*/ 73 w 146"/>
              <a:gd name="T35" fmla="*/ 71 h 146"/>
              <a:gd name="T36" fmla="*/ 74 w 146"/>
              <a:gd name="T37" fmla="*/ 69 h 146"/>
              <a:gd name="T38" fmla="*/ 142 w 146"/>
              <a:gd name="T39" fmla="*/ 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6" h="146">
                <a:moveTo>
                  <a:pt x="142" y="2"/>
                </a:moveTo>
                <a:cubicBezTo>
                  <a:pt x="143" y="0"/>
                  <a:pt x="144" y="0"/>
                  <a:pt x="145" y="0"/>
                </a:cubicBezTo>
                <a:cubicBezTo>
                  <a:pt x="145" y="1"/>
                  <a:pt x="146" y="2"/>
                  <a:pt x="146" y="3"/>
                </a:cubicBezTo>
                <a:cubicBezTo>
                  <a:pt x="146" y="143"/>
                  <a:pt x="146" y="143"/>
                  <a:pt x="146" y="143"/>
                </a:cubicBezTo>
                <a:cubicBezTo>
                  <a:pt x="146" y="144"/>
                  <a:pt x="145" y="145"/>
                  <a:pt x="145" y="146"/>
                </a:cubicBezTo>
                <a:cubicBezTo>
                  <a:pt x="144" y="146"/>
                  <a:pt x="143" y="146"/>
                  <a:pt x="142" y="144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77"/>
                  <a:pt x="74" y="76"/>
                  <a:pt x="73" y="75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44"/>
                  <a:pt x="73" y="145"/>
                  <a:pt x="72" y="146"/>
                </a:cubicBezTo>
                <a:cubicBezTo>
                  <a:pt x="71" y="146"/>
                  <a:pt x="70" y="146"/>
                  <a:pt x="69" y="144"/>
                </a:cubicBezTo>
                <a:cubicBezTo>
                  <a:pt x="2" y="77"/>
                  <a:pt x="2" y="77"/>
                  <a:pt x="2" y="77"/>
                </a:cubicBezTo>
                <a:cubicBezTo>
                  <a:pt x="1" y="76"/>
                  <a:pt x="0" y="75"/>
                  <a:pt x="0" y="73"/>
                </a:cubicBezTo>
                <a:cubicBezTo>
                  <a:pt x="0" y="71"/>
                  <a:pt x="1" y="70"/>
                  <a:pt x="2" y="69"/>
                </a:cubicBezTo>
                <a:cubicBezTo>
                  <a:pt x="69" y="2"/>
                  <a:pt x="69" y="2"/>
                  <a:pt x="69" y="2"/>
                </a:cubicBezTo>
                <a:cubicBezTo>
                  <a:pt x="70" y="0"/>
                  <a:pt x="71" y="0"/>
                  <a:pt x="72" y="0"/>
                </a:cubicBezTo>
                <a:cubicBezTo>
                  <a:pt x="73" y="1"/>
                  <a:pt x="73" y="2"/>
                  <a:pt x="73" y="3"/>
                </a:cubicBezTo>
                <a:cubicBezTo>
                  <a:pt x="73" y="71"/>
                  <a:pt x="73" y="71"/>
                  <a:pt x="73" y="71"/>
                </a:cubicBezTo>
                <a:cubicBezTo>
                  <a:pt x="74" y="70"/>
                  <a:pt x="74" y="69"/>
                  <a:pt x="74" y="69"/>
                </a:cubicBezTo>
                <a:lnTo>
                  <a:pt x="142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6" name="Freeform 76"/>
          <p:cNvSpPr>
            <a:spLocks noChangeAspect="1"/>
          </p:cNvSpPr>
          <p:nvPr/>
        </p:nvSpPr>
        <p:spPr bwMode="auto">
          <a:xfrm>
            <a:off x="7446353" y="1864679"/>
            <a:ext cx="137395" cy="153008"/>
          </a:xfrm>
          <a:custGeom>
            <a:avLst/>
            <a:gdLst>
              <a:gd name="T0" fmla="*/ 131 w 133"/>
              <a:gd name="T1" fmla="*/ 77 h 148"/>
              <a:gd name="T2" fmla="*/ 5 w 133"/>
              <a:gd name="T3" fmla="*/ 147 h 148"/>
              <a:gd name="T4" fmla="*/ 2 w 133"/>
              <a:gd name="T5" fmla="*/ 147 h 148"/>
              <a:gd name="T6" fmla="*/ 0 w 133"/>
              <a:gd name="T7" fmla="*/ 144 h 148"/>
              <a:gd name="T8" fmla="*/ 0 w 133"/>
              <a:gd name="T9" fmla="*/ 4 h 148"/>
              <a:gd name="T10" fmla="*/ 2 w 133"/>
              <a:gd name="T11" fmla="*/ 1 h 148"/>
              <a:gd name="T12" fmla="*/ 5 w 133"/>
              <a:gd name="T13" fmla="*/ 1 h 148"/>
              <a:gd name="T14" fmla="*/ 131 w 133"/>
              <a:gd name="T15" fmla="*/ 71 h 148"/>
              <a:gd name="T16" fmla="*/ 133 w 133"/>
              <a:gd name="T17" fmla="*/ 74 h 148"/>
              <a:gd name="T18" fmla="*/ 131 w 133"/>
              <a:gd name="T19" fmla="*/ 77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3" h="148">
                <a:moveTo>
                  <a:pt x="131" y="77"/>
                </a:moveTo>
                <a:cubicBezTo>
                  <a:pt x="5" y="147"/>
                  <a:pt x="5" y="147"/>
                  <a:pt x="5" y="147"/>
                </a:cubicBezTo>
                <a:cubicBezTo>
                  <a:pt x="4" y="147"/>
                  <a:pt x="3" y="148"/>
                  <a:pt x="2" y="147"/>
                </a:cubicBezTo>
                <a:cubicBezTo>
                  <a:pt x="1" y="146"/>
                  <a:pt x="0" y="145"/>
                  <a:pt x="0" y="144"/>
                </a:cubicBezTo>
                <a:cubicBezTo>
                  <a:pt x="0" y="4"/>
                  <a:pt x="0" y="4"/>
                  <a:pt x="0" y="4"/>
                </a:cubicBezTo>
                <a:cubicBezTo>
                  <a:pt x="0" y="3"/>
                  <a:pt x="1" y="2"/>
                  <a:pt x="2" y="1"/>
                </a:cubicBezTo>
                <a:cubicBezTo>
                  <a:pt x="3" y="0"/>
                  <a:pt x="4" y="0"/>
                  <a:pt x="5" y="1"/>
                </a:cubicBezTo>
                <a:cubicBezTo>
                  <a:pt x="131" y="71"/>
                  <a:pt x="131" y="71"/>
                  <a:pt x="131" y="71"/>
                </a:cubicBezTo>
                <a:cubicBezTo>
                  <a:pt x="132" y="72"/>
                  <a:pt x="133" y="73"/>
                  <a:pt x="133" y="74"/>
                </a:cubicBezTo>
                <a:cubicBezTo>
                  <a:pt x="133" y="75"/>
                  <a:pt x="132" y="76"/>
                  <a:pt x="131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7" name="Freeform 77"/>
          <p:cNvSpPr>
            <a:spLocks noChangeAspect="1" noEditPoints="1"/>
          </p:cNvSpPr>
          <p:nvPr/>
        </p:nvSpPr>
        <p:spPr bwMode="auto">
          <a:xfrm>
            <a:off x="7629026" y="1866240"/>
            <a:ext cx="149885" cy="151447"/>
          </a:xfrm>
          <a:custGeom>
            <a:avLst/>
            <a:gdLst>
              <a:gd name="T0" fmla="*/ 60 w 145"/>
              <a:gd name="T1" fmla="*/ 6 h 146"/>
              <a:gd name="T2" fmla="*/ 60 w 145"/>
              <a:gd name="T3" fmla="*/ 140 h 146"/>
              <a:gd name="T4" fmla="*/ 58 w 145"/>
              <a:gd name="T5" fmla="*/ 144 h 146"/>
              <a:gd name="T6" fmla="*/ 54 w 145"/>
              <a:gd name="T7" fmla="*/ 146 h 146"/>
              <a:gd name="T8" fmla="*/ 6 w 145"/>
              <a:gd name="T9" fmla="*/ 146 h 146"/>
              <a:gd name="T10" fmla="*/ 1 w 145"/>
              <a:gd name="T11" fmla="*/ 144 h 146"/>
              <a:gd name="T12" fmla="*/ 0 w 145"/>
              <a:gd name="T13" fmla="*/ 140 h 146"/>
              <a:gd name="T14" fmla="*/ 0 w 145"/>
              <a:gd name="T15" fmla="*/ 6 h 146"/>
              <a:gd name="T16" fmla="*/ 1 w 145"/>
              <a:gd name="T17" fmla="*/ 2 h 146"/>
              <a:gd name="T18" fmla="*/ 6 w 145"/>
              <a:gd name="T19" fmla="*/ 0 h 146"/>
              <a:gd name="T20" fmla="*/ 54 w 145"/>
              <a:gd name="T21" fmla="*/ 0 h 146"/>
              <a:gd name="T22" fmla="*/ 58 w 145"/>
              <a:gd name="T23" fmla="*/ 2 h 146"/>
              <a:gd name="T24" fmla="*/ 60 w 145"/>
              <a:gd name="T25" fmla="*/ 6 h 146"/>
              <a:gd name="T26" fmla="*/ 145 w 145"/>
              <a:gd name="T27" fmla="*/ 6 h 146"/>
              <a:gd name="T28" fmla="*/ 145 w 145"/>
              <a:gd name="T29" fmla="*/ 140 h 146"/>
              <a:gd name="T30" fmla="*/ 143 w 145"/>
              <a:gd name="T31" fmla="*/ 144 h 146"/>
              <a:gd name="T32" fmla="*/ 139 w 145"/>
              <a:gd name="T33" fmla="*/ 146 h 146"/>
              <a:gd name="T34" fmla="*/ 90 w 145"/>
              <a:gd name="T35" fmla="*/ 146 h 146"/>
              <a:gd name="T36" fmla="*/ 86 w 145"/>
              <a:gd name="T37" fmla="*/ 144 h 146"/>
              <a:gd name="T38" fmla="*/ 84 w 145"/>
              <a:gd name="T39" fmla="*/ 140 h 146"/>
              <a:gd name="T40" fmla="*/ 84 w 145"/>
              <a:gd name="T41" fmla="*/ 6 h 146"/>
              <a:gd name="T42" fmla="*/ 86 w 145"/>
              <a:gd name="T43" fmla="*/ 2 h 146"/>
              <a:gd name="T44" fmla="*/ 90 w 145"/>
              <a:gd name="T45" fmla="*/ 0 h 146"/>
              <a:gd name="T46" fmla="*/ 139 w 145"/>
              <a:gd name="T47" fmla="*/ 0 h 146"/>
              <a:gd name="T48" fmla="*/ 143 w 145"/>
              <a:gd name="T49" fmla="*/ 2 h 146"/>
              <a:gd name="T50" fmla="*/ 145 w 145"/>
              <a:gd name="T51" fmla="*/ 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5" h="146">
                <a:moveTo>
                  <a:pt x="60" y="6"/>
                </a:moveTo>
                <a:cubicBezTo>
                  <a:pt x="60" y="140"/>
                  <a:pt x="60" y="140"/>
                  <a:pt x="60" y="140"/>
                </a:cubicBezTo>
                <a:cubicBezTo>
                  <a:pt x="60" y="141"/>
                  <a:pt x="60" y="143"/>
                  <a:pt x="58" y="144"/>
                </a:cubicBezTo>
                <a:cubicBezTo>
                  <a:pt x="57" y="145"/>
                  <a:pt x="56" y="146"/>
                  <a:pt x="54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4" y="146"/>
                  <a:pt x="3" y="145"/>
                  <a:pt x="1" y="144"/>
                </a:cubicBezTo>
                <a:cubicBezTo>
                  <a:pt x="0" y="143"/>
                  <a:pt x="0" y="141"/>
                  <a:pt x="0" y="14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60" y="3"/>
                  <a:pt x="60" y="5"/>
                  <a:pt x="60" y="6"/>
                </a:cubicBezTo>
                <a:close/>
                <a:moveTo>
                  <a:pt x="145" y="6"/>
                </a:moveTo>
                <a:cubicBezTo>
                  <a:pt x="145" y="140"/>
                  <a:pt x="145" y="140"/>
                  <a:pt x="145" y="140"/>
                </a:cubicBezTo>
                <a:cubicBezTo>
                  <a:pt x="145" y="141"/>
                  <a:pt x="144" y="143"/>
                  <a:pt x="143" y="144"/>
                </a:cubicBezTo>
                <a:cubicBezTo>
                  <a:pt x="142" y="145"/>
                  <a:pt x="140" y="146"/>
                  <a:pt x="139" y="146"/>
                </a:cubicBezTo>
                <a:cubicBezTo>
                  <a:pt x="90" y="146"/>
                  <a:pt x="90" y="146"/>
                  <a:pt x="90" y="146"/>
                </a:cubicBezTo>
                <a:cubicBezTo>
                  <a:pt x="89" y="146"/>
                  <a:pt x="87" y="145"/>
                  <a:pt x="86" y="144"/>
                </a:cubicBezTo>
                <a:cubicBezTo>
                  <a:pt x="85" y="143"/>
                  <a:pt x="84" y="141"/>
                  <a:pt x="84" y="140"/>
                </a:cubicBezTo>
                <a:cubicBezTo>
                  <a:pt x="84" y="6"/>
                  <a:pt x="84" y="6"/>
                  <a:pt x="84" y="6"/>
                </a:cubicBezTo>
                <a:cubicBezTo>
                  <a:pt x="84" y="5"/>
                  <a:pt x="85" y="3"/>
                  <a:pt x="86" y="2"/>
                </a:cubicBezTo>
                <a:cubicBezTo>
                  <a:pt x="87" y="1"/>
                  <a:pt x="89" y="0"/>
                  <a:pt x="90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0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8" name="Freeform 78"/>
          <p:cNvSpPr>
            <a:spLocks noChangeAspect="1"/>
          </p:cNvSpPr>
          <p:nvPr/>
        </p:nvSpPr>
        <p:spPr bwMode="auto">
          <a:xfrm>
            <a:off x="7824190" y="1866240"/>
            <a:ext cx="149885" cy="151447"/>
          </a:xfrm>
          <a:custGeom>
            <a:avLst/>
            <a:gdLst>
              <a:gd name="T0" fmla="*/ 145 w 145"/>
              <a:gd name="T1" fmla="*/ 6 h 146"/>
              <a:gd name="T2" fmla="*/ 145 w 145"/>
              <a:gd name="T3" fmla="*/ 140 h 146"/>
              <a:gd name="T4" fmla="*/ 144 w 145"/>
              <a:gd name="T5" fmla="*/ 144 h 146"/>
              <a:gd name="T6" fmla="*/ 139 w 145"/>
              <a:gd name="T7" fmla="*/ 146 h 146"/>
              <a:gd name="T8" fmla="*/ 6 w 145"/>
              <a:gd name="T9" fmla="*/ 146 h 146"/>
              <a:gd name="T10" fmla="*/ 2 w 145"/>
              <a:gd name="T11" fmla="*/ 144 h 146"/>
              <a:gd name="T12" fmla="*/ 0 w 145"/>
              <a:gd name="T13" fmla="*/ 140 h 146"/>
              <a:gd name="T14" fmla="*/ 0 w 145"/>
              <a:gd name="T15" fmla="*/ 6 h 146"/>
              <a:gd name="T16" fmla="*/ 2 w 145"/>
              <a:gd name="T17" fmla="*/ 2 h 146"/>
              <a:gd name="T18" fmla="*/ 6 w 145"/>
              <a:gd name="T19" fmla="*/ 0 h 146"/>
              <a:gd name="T20" fmla="*/ 139 w 145"/>
              <a:gd name="T21" fmla="*/ 0 h 146"/>
              <a:gd name="T22" fmla="*/ 144 w 145"/>
              <a:gd name="T23" fmla="*/ 2 h 146"/>
              <a:gd name="T24" fmla="*/ 145 w 145"/>
              <a:gd name="T25" fmla="*/ 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5" h="146">
                <a:moveTo>
                  <a:pt x="145" y="6"/>
                </a:moveTo>
                <a:cubicBezTo>
                  <a:pt x="145" y="140"/>
                  <a:pt x="145" y="140"/>
                  <a:pt x="145" y="140"/>
                </a:cubicBezTo>
                <a:cubicBezTo>
                  <a:pt x="145" y="141"/>
                  <a:pt x="145" y="143"/>
                  <a:pt x="144" y="144"/>
                </a:cubicBezTo>
                <a:cubicBezTo>
                  <a:pt x="142" y="145"/>
                  <a:pt x="141" y="146"/>
                  <a:pt x="139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5" y="146"/>
                  <a:pt x="3" y="145"/>
                  <a:pt x="2" y="144"/>
                </a:cubicBezTo>
                <a:cubicBezTo>
                  <a:pt x="1" y="143"/>
                  <a:pt x="0" y="141"/>
                  <a:pt x="0" y="14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1" y="0"/>
                  <a:pt x="142" y="1"/>
                  <a:pt x="144" y="2"/>
                </a:cubicBezTo>
                <a:cubicBezTo>
                  <a:pt x="145" y="3"/>
                  <a:pt x="145" y="5"/>
                  <a:pt x="145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9" name="Freeform 79"/>
          <p:cNvSpPr>
            <a:spLocks noChangeAspect="1"/>
          </p:cNvSpPr>
          <p:nvPr/>
        </p:nvSpPr>
        <p:spPr bwMode="auto">
          <a:xfrm>
            <a:off x="8019353" y="1866240"/>
            <a:ext cx="151447" cy="151447"/>
          </a:xfrm>
          <a:custGeom>
            <a:avLst/>
            <a:gdLst>
              <a:gd name="T0" fmla="*/ 4 w 146"/>
              <a:gd name="T1" fmla="*/ 144 h 146"/>
              <a:gd name="T2" fmla="*/ 1 w 146"/>
              <a:gd name="T3" fmla="*/ 146 h 146"/>
              <a:gd name="T4" fmla="*/ 0 w 146"/>
              <a:gd name="T5" fmla="*/ 143 h 146"/>
              <a:gd name="T6" fmla="*/ 0 w 146"/>
              <a:gd name="T7" fmla="*/ 3 h 146"/>
              <a:gd name="T8" fmla="*/ 1 w 146"/>
              <a:gd name="T9" fmla="*/ 0 h 146"/>
              <a:gd name="T10" fmla="*/ 4 w 146"/>
              <a:gd name="T11" fmla="*/ 2 h 146"/>
              <a:gd name="T12" fmla="*/ 71 w 146"/>
              <a:gd name="T13" fmla="*/ 69 h 146"/>
              <a:gd name="T14" fmla="*/ 72 w 146"/>
              <a:gd name="T15" fmla="*/ 71 h 146"/>
              <a:gd name="T16" fmla="*/ 72 w 146"/>
              <a:gd name="T17" fmla="*/ 3 h 146"/>
              <a:gd name="T18" fmla="*/ 74 w 146"/>
              <a:gd name="T19" fmla="*/ 0 h 146"/>
              <a:gd name="T20" fmla="*/ 77 w 146"/>
              <a:gd name="T21" fmla="*/ 2 h 146"/>
              <a:gd name="T22" fmla="*/ 144 w 146"/>
              <a:gd name="T23" fmla="*/ 69 h 146"/>
              <a:gd name="T24" fmla="*/ 146 w 146"/>
              <a:gd name="T25" fmla="*/ 73 h 146"/>
              <a:gd name="T26" fmla="*/ 144 w 146"/>
              <a:gd name="T27" fmla="*/ 77 h 146"/>
              <a:gd name="T28" fmla="*/ 77 w 146"/>
              <a:gd name="T29" fmla="*/ 144 h 146"/>
              <a:gd name="T30" fmla="*/ 74 w 146"/>
              <a:gd name="T31" fmla="*/ 146 h 146"/>
              <a:gd name="T32" fmla="*/ 72 w 146"/>
              <a:gd name="T33" fmla="*/ 143 h 146"/>
              <a:gd name="T34" fmla="*/ 72 w 146"/>
              <a:gd name="T35" fmla="*/ 75 h 146"/>
              <a:gd name="T36" fmla="*/ 71 w 146"/>
              <a:gd name="T37" fmla="*/ 77 h 146"/>
              <a:gd name="T38" fmla="*/ 4 w 146"/>
              <a:gd name="T39" fmla="*/ 14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6" h="146">
                <a:moveTo>
                  <a:pt x="4" y="144"/>
                </a:moveTo>
                <a:cubicBezTo>
                  <a:pt x="3" y="146"/>
                  <a:pt x="2" y="146"/>
                  <a:pt x="1" y="146"/>
                </a:cubicBezTo>
                <a:cubicBezTo>
                  <a:pt x="0" y="145"/>
                  <a:pt x="0" y="144"/>
                  <a:pt x="0" y="143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0" y="1"/>
                  <a:pt x="1" y="0"/>
                </a:cubicBezTo>
                <a:cubicBezTo>
                  <a:pt x="2" y="0"/>
                  <a:pt x="3" y="0"/>
                  <a:pt x="4" y="2"/>
                </a:cubicBezTo>
                <a:cubicBezTo>
                  <a:pt x="71" y="69"/>
                  <a:pt x="71" y="69"/>
                  <a:pt x="71" y="69"/>
                </a:cubicBezTo>
                <a:cubicBezTo>
                  <a:pt x="72" y="69"/>
                  <a:pt x="72" y="70"/>
                  <a:pt x="72" y="71"/>
                </a:cubicBezTo>
                <a:cubicBezTo>
                  <a:pt x="72" y="3"/>
                  <a:pt x="72" y="3"/>
                  <a:pt x="72" y="3"/>
                </a:cubicBezTo>
                <a:cubicBezTo>
                  <a:pt x="72" y="2"/>
                  <a:pt x="73" y="1"/>
                  <a:pt x="74" y="0"/>
                </a:cubicBezTo>
                <a:cubicBezTo>
                  <a:pt x="74" y="0"/>
                  <a:pt x="75" y="0"/>
                  <a:pt x="77" y="2"/>
                </a:cubicBezTo>
                <a:cubicBezTo>
                  <a:pt x="144" y="69"/>
                  <a:pt x="144" y="69"/>
                  <a:pt x="144" y="69"/>
                </a:cubicBezTo>
                <a:cubicBezTo>
                  <a:pt x="145" y="70"/>
                  <a:pt x="146" y="71"/>
                  <a:pt x="146" y="73"/>
                </a:cubicBezTo>
                <a:cubicBezTo>
                  <a:pt x="146" y="75"/>
                  <a:pt x="145" y="76"/>
                  <a:pt x="144" y="77"/>
                </a:cubicBezTo>
                <a:cubicBezTo>
                  <a:pt x="77" y="144"/>
                  <a:pt x="77" y="144"/>
                  <a:pt x="77" y="144"/>
                </a:cubicBezTo>
                <a:cubicBezTo>
                  <a:pt x="75" y="146"/>
                  <a:pt x="74" y="146"/>
                  <a:pt x="74" y="146"/>
                </a:cubicBezTo>
                <a:cubicBezTo>
                  <a:pt x="73" y="145"/>
                  <a:pt x="72" y="144"/>
                  <a:pt x="72" y="143"/>
                </a:cubicBezTo>
                <a:cubicBezTo>
                  <a:pt x="72" y="75"/>
                  <a:pt x="72" y="75"/>
                  <a:pt x="72" y="75"/>
                </a:cubicBezTo>
                <a:cubicBezTo>
                  <a:pt x="72" y="76"/>
                  <a:pt x="72" y="77"/>
                  <a:pt x="71" y="77"/>
                </a:cubicBezTo>
                <a:lnTo>
                  <a:pt x="4" y="1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0" name="Freeform 80"/>
          <p:cNvSpPr>
            <a:spLocks noChangeAspect="1"/>
          </p:cNvSpPr>
          <p:nvPr/>
        </p:nvSpPr>
        <p:spPr bwMode="auto">
          <a:xfrm>
            <a:off x="8227007" y="1866240"/>
            <a:ext cx="174866" cy="151447"/>
          </a:xfrm>
          <a:custGeom>
            <a:avLst/>
            <a:gdLst>
              <a:gd name="T0" fmla="*/ 5 w 170"/>
              <a:gd name="T1" fmla="*/ 144 h 146"/>
              <a:gd name="T2" fmla="*/ 2 w 170"/>
              <a:gd name="T3" fmla="*/ 146 h 146"/>
              <a:gd name="T4" fmla="*/ 0 w 170"/>
              <a:gd name="T5" fmla="*/ 143 h 146"/>
              <a:gd name="T6" fmla="*/ 0 w 170"/>
              <a:gd name="T7" fmla="*/ 3 h 146"/>
              <a:gd name="T8" fmla="*/ 2 w 170"/>
              <a:gd name="T9" fmla="*/ 0 h 146"/>
              <a:gd name="T10" fmla="*/ 5 w 170"/>
              <a:gd name="T11" fmla="*/ 2 h 146"/>
              <a:gd name="T12" fmla="*/ 72 w 170"/>
              <a:gd name="T13" fmla="*/ 69 h 146"/>
              <a:gd name="T14" fmla="*/ 73 w 170"/>
              <a:gd name="T15" fmla="*/ 71 h 146"/>
              <a:gd name="T16" fmla="*/ 73 w 170"/>
              <a:gd name="T17" fmla="*/ 3 h 146"/>
              <a:gd name="T18" fmla="*/ 74 w 170"/>
              <a:gd name="T19" fmla="*/ 0 h 146"/>
              <a:gd name="T20" fmla="*/ 77 w 170"/>
              <a:gd name="T21" fmla="*/ 2 h 146"/>
              <a:gd name="T22" fmla="*/ 144 w 170"/>
              <a:gd name="T23" fmla="*/ 69 h 146"/>
              <a:gd name="T24" fmla="*/ 146 w 170"/>
              <a:gd name="T25" fmla="*/ 71 h 146"/>
              <a:gd name="T26" fmla="*/ 146 w 170"/>
              <a:gd name="T27" fmla="*/ 6 h 146"/>
              <a:gd name="T28" fmla="*/ 147 w 170"/>
              <a:gd name="T29" fmla="*/ 2 h 146"/>
              <a:gd name="T30" fmla="*/ 152 w 170"/>
              <a:gd name="T31" fmla="*/ 0 h 146"/>
              <a:gd name="T32" fmla="*/ 164 w 170"/>
              <a:gd name="T33" fmla="*/ 0 h 146"/>
              <a:gd name="T34" fmla="*/ 168 w 170"/>
              <a:gd name="T35" fmla="*/ 2 h 146"/>
              <a:gd name="T36" fmla="*/ 170 w 170"/>
              <a:gd name="T37" fmla="*/ 6 h 146"/>
              <a:gd name="T38" fmla="*/ 170 w 170"/>
              <a:gd name="T39" fmla="*/ 140 h 146"/>
              <a:gd name="T40" fmla="*/ 168 w 170"/>
              <a:gd name="T41" fmla="*/ 144 h 146"/>
              <a:gd name="T42" fmla="*/ 164 w 170"/>
              <a:gd name="T43" fmla="*/ 146 h 146"/>
              <a:gd name="T44" fmla="*/ 152 w 170"/>
              <a:gd name="T45" fmla="*/ 146 h 146"/>
              <a:gd name="T46" fmla="*/ 147 w 170"/>
              <a:gd name="T47" fmla="*/ 144 h 146"/>
              <a:gd name="T48" fmla="*/ 146 w 170"/>
              <a:gd name="T49" fmla="*/ 140 h 146"/>
              <a:gd name="T50" fmla="*/ 146 w 170"/>
              <a:gd name="T51" fmla="*/ 75 h 146"/>
              <a:gd name="T52" fmla="*/ 144 w 170"/>
              <a:gd name="T53" fmla="*/ 77 h 146"/>
              <a:gd name="T54" fmla="*/ 77 w 170"/>
              <a:gd name="T55" fmla="*/ 144 h 146"/>
              <a:gd name="T56" fmla="*/ 74 w 170"/>
              <a:gd name="T57" fmla="*/ 146 h 146"/>
              <a:gd name="T58" fmla="*/ 73 w 170"/>
              <a:gd name="T59" fmla="*/ 143 h 146"/>
              <a:gd name="T60" fmla="*/ 73 w 170"/>
              <a:gd name="T61" fmla="*/ 75 h 146"/>
              <a:gd name="T62" fmla="*/ 72 w 170"/>
              <a:gd name="T63" fmla="*/ 77 h 146"/>
              <a:gd name="T64" fmla="*/ 5 w 170"/>
              <a:gd name="T65" fmla="*/ 14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0" h="146">
                <a:moveTo>
                  <a:pt x="5" y="144"/>
                </a:moveTo>
                <a:cubicBezTo>
                  <a:pt x="3" y="146"/>
                  <a:pt x="2" y="146"/>
                  <a:pt x="2" y="146"/>
                </a:cubicBezTo>
                <a:cubicBezTo>
                  <a:pt x="1" y="145"/>
                  <a:pt x="0" y="144"/>
                  <a:pt x="0" y="143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1"/>
                  <a:pt x="2" y="0"/>
                </a:cubicBezTo>
                <a:cubicBezTo>
                  <a:pt x="2" y="0"/>
                  <a:pt x="3" y="0"/>
                  <a:pt x="5" y="2"/>
                </a:cubicBezTo>
                <a:cubicBezTo>
                  <a:pt x="72" y="69"/>
                  <a:pt x="72" y="69"/>
                  <a:pt x="72" y="69"/>
                </a:cubicBezTo>
                <a:cubicBezTo>
                  <a:pt x="72" y="69"/>
                  <a:pt x="73" y="70"/>
                  <a:pt x="73" y="71"/>
                </a:cubicBezTo>
                <a:cubicBezTo>
                  <a:pt x="73" y="3"/>
                  <a:pt x="73" y="3"/>
                  <a:pt x="73" y="3"/>
                </a:cubicBezTo>
                <a:cubicBezTo>
                  <a:pt x="73" y="2"/>
                  <a:pt x="73" y="1"/>
                  <a:pt x="74" y="0"/>
                </a:cubicBezTo>
                <a:cubicBezTo>
                  <a:pt x="75" y="0"/>
                  <a:pt x="76" y="0"/>
                  <a:pt x="77" y="2"/>
                </a:cubicBezTo>
                <a:cubicBezTo>
                  <a:pt x="144" y="69"/>
                  <a:pt x="144" y="69"/>
                  <a:pt x="144" y="69"/>
                </a:cubicBezTo>
                <a:cubicBezTo>
                  <a:pt x="145" y="69"/>
                  <a:pt x="145" y="70"/>
                  <a:pt x="146" y="71"/>
                </a:cubicBezTo>
                <a:cubicBezTo>
                  <a:pt x="146" y="6"/>
                  <a:pt x="146" y="6"/>
                  <a:pt x="146" y="6"/>
                </a:cubicBezTo>
                <a:cubicBezTo>
                  <a:pt x="146" y="5"/>
                  <a:pt x="146" y="3"/>
                  <a:pt x="147" y="2"/>
                </a:cubicBezTo>
                <a:cubicBezTo>
                  <a:pt x="149" y="1"/>
                  <a:pt x="150" y="0"/>
                  <a:pt x="152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65" y="0"/>
                  <a:pt x="167" y="1"/>
                  <a:pt x="168" y="2"/>
                </a:cubicBezTo>
                <a:cubicBezTo>
                  <a:pt x="169" y="3"/>
                  <a:pt x="170" y="5"/>
                  <a:pt x="170" y="6"/>
                </a:cubicBezTo>
                <a:cubicBezTo>
                  <a:pt x="170" y="140"/>
                  <a:pt x="170" y="140"/>
                  <a:pt x="170" y="140"/>
                </a:cubicBezTo>
                <a:cubicBezTo>
                  <a:pt x="170" y="141"/>
                  <a:pt x="169" y="143"/>
                  <a:pt x="168" y="144"/>
                </a:cubicBezTo>
                <a:cubicBezTo>
                  <a:pt x="167" y="145"/>
                  <a:pt x="165" y="146"/>
                  <a:pt x="164" y="146"/>
                </a:cubicBezTo>
                <a:cubicBezTo>
                  <a:pt x="152" y="146"/>
                  <a:pt x="152" y="146"/>
                  <a:pt x="152" y="146"/>
                </a:cubicBezTo>
                <a:cubicBezTo>
                  <a:pt x="150" y="146"/>
                  <a:pt x="149" y="145"/>
                  <a:pt x="147" y="144"/>
                </a:cubicBezTo>
                <a:cubicBezTo>
                  <a:pt x="146" y="143"/>
                  <a:pt x="146" y="141"/>
                  <a:pt x="146" y="140"/>
                </a:cubicBezTo>
                <a:cubicBezTo>
                  <a:pt x="146" y="75"/>
                  <a:pt x="146" y="75"/>
                  <a:pt x="146" y="75"/>
                </a:cubicBezTo>
                <a:cubicBezTo>
                  <a:pt x="145" y="76"/>
                  <a:pt x="145" y="77"/>
                  <a:pt x="144" y="77"/>
                </a:cubicBezTo>
                <a:cubicBezTo>
                  <a:pt x="77" y="144"/>
                  <a:pt x="77" y="144"/>
                  <a:pt x="77" y="144"/>
                </a:cubicBezTo>
                <a:cubicBezTo>
                  <a:pt x="76" y="146"/>
                  <a:pt x="75" y="146"/>
                  <a:pt x="74" y="146"/>
                </a:cubicBezTo>
                <a:cubicBezTo>
                  <a:pt x="73" y="145"/>
                  <a:pt x="73" y="144"/>
                  <a:pt x="73" y="143"/>
                </a:cubicBezTo>
                <a:cubicBezTo>
                  <a:pt x="73" y="75"/>
                  <a:pt x="73" y="75"/>
                  <a:pt x="73" y="75"/>
                </a:cubicBezTo>
                <a:cubicBezTo>
                  <a:pt x="73" y="76"/>
                  <a:pt x="72" y="77"/>
                  <a:pt x="72" y="77"/>
                </a:cubicBezTo>
                <a:lnTo>
                  <a:pt x="5" y="1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1" name="Freeform 81"/>
          <p:cNvSpPr>
            <a:spLocks noChangeAspect="1"/>
          </p:cNvSpPr>
          <p:nvPr/>
        </p:nvSpPr>
        <p:spPr bwMode="auto">
          <a:xfrm>
            <a:off x="740541" y="2175379"/>
            <a:ext cx="99924" cy="151447"/>
          </a:xfrm>
          <a:custGeom>
            <a:avLst/>
            <a:gdLst>
              <a:gd name="T0" fmla="*/ 4 w 97"/>
              <a:gd name="T1" fmla="*/ 144 h 146"/>
              <a:gd name="T2" fmla="*/ 1 w 97"/>
              <a:gd name="T3" fmla="*/ 146 h 146"/>
              <a:gd name="T4" fmla="*/ 0 w 97"/>
              <a:gd name="T5" fmla="*/ 143 h 146"/>
              <a:gd name="T6" fmla="*/ 0 w 97"/>
              <a:gd name="T7" fmla="*/ 3 h 146"/>
              <a:gd name="T8" fmla="*/ 1 w 97"/>
              <a:gd name="T9" fmla="*/ 0 h 146"/>
              <a:gd name="T10" fmla="*/ 4 w 97"/>
              <a:gd name="T11" fmla="*/ 2 h 146"/>
              <a:gd name="T12" fmla="*/ 71 w 97"/>
              <a:gd name="T13" fmla="*/ 69 h 146"/>
              <a:gd name="T14" fmla="*/ 73 w 97"/>
              <a:gd name="T15" fmla="*/ 70 h 146"/>
              <a:gd name="T16" fmla="*/ 73 w 97"/>
              <a:gd name="T17" fmla="*/ 6 h 146"/>
              <a:gd name="T18" fmla="*/ 74 w 97"/>
              <a:gd name="T19" fmla="*/ 2 h 146"/>
              <a:gd name="T20" fmla="*/ 79 w 97"/>
              <a:gd name="T21" fmla="*/ 0 h 146"/>
              <a:gd name="T22" fmla="*/ 91 w 97"/>
              <a:gd name="T23" fmla="*/ 0 h 146"/>
              <a:gd name="T24" fmla="*/ 95 w 97"/>
              <a:gd name="T25" fmla="*/ 2 h 146"/>
              <a:gd name="T26" fmla="*/ 97 w 97"/>
              <a:gd name="T27" fmla="*/ 6 h 146"/>
              <a:gd name="T28" fmla="*/ 97 w 97"/>
              <a:gd name="T29" fmla="*/ 140 h 146"/>
              <a:gd name="T30" fmla="*/ 95 w 97"/>
              <a:gd name="T31" fmla="*/ 144 h 146"/>
              <a:gd name="T32" fmla="*/ 91 w 97"/>
              <a:gd name="T33" fmla="*/ 146 h 146"/>
              <a:gd name="T34" fmla="*/ 79 w 97"/>
              <a:gd name="T35" fmla="*/ 146 h 146"/>
              <a:gd name="T36" fmla="*/ 74 w 97"/>
              <a:gd name="T37" fmla="*/ 144 h 146"/>
              <a:gd name="T38" fmla="*/ 73 w 97"/>
              <a:gd name="T39" fmla="*/ 140 h 146"/>
              <a:gd name="T40" fmla="*/ 73 w 97"/>
              <a:gd name="T41" fmla="*/ 75 h 146"/>
              <a:gd name="T42" fmla="*/ 71 w 97"/>
              <a:gd name="T43" fmla="*/ 77 h 146"/>
              <a:gd name="T44" fmla="*/ 4 w 97"/>
              <a:gd name="T45" fmla="*/ 14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7" h="146">
                <a:moveTo>
                  <a:pt x="4" y="144"/>
                </a:moveTo>
                <a:cubicBezTo>
                  <a:pt x="3" y="146"/>
                  <a:pt x="2" y="146"/>
                  <a:pt x="1" y="146"/>
                </a:cubicBezTo>
                <a:cubicBezTo>
                  <a:pt x="0" y="145"/>
                  <a:pt x="0" y="144"/>
                  <a:pt x="0" y="143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0" y="1"/>
                  <a:pt x="1" y="0"/>
                </a:cubicBezTo>
                <a:cubicBezTo>
                  <a:pt x="2" y="0"/>
                  <a:pt x="3" y="0"/>
                  <a:pt x="4" y="2"/>
                </a:cubicBezTo>
                <a:cubicBezTo>
                  <a:pt x="71" y="69"/>
                  <a:pt x="71" y="69"/>
                  <a:pt x="71" y="69"/>
                </a:cubicBezTo>
                <a:cubicBezTo>
                  <a:pt x="72" y="69"/>
                  <a:pt x="72" y="70"/>
                  <a:pt x="73" y="70"/>
                </a:cubicBezTo>
                <a:cubicBezTo>
                  <a:pt x="73" y="6"/>
                  <a:pt x="73" y="6"/>
                  <a:pt x="73" y="6"/>
                </a:cubicBezTo>
                <a:cubicBezTo>
                  <a:pt x="73" y="5"/>
                  <a:pt x="73" y="3"/>
                  <a:pt x="74" y="2"/>
                </a:cubicBezTo>
                <a:cubicBezTo>
                  <a:pt x="76" y="1"/>
                  <a:pt x="77" y="0"/>
                  <a:pt x="79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92" y="0"/>
                  <a:pt x="94" y="1"/>
                  <a:pt x="95" y="2"/>
                </a:cubicBezTo>
                <a:cubicBezTo>
                  <a:pt x="96" y="3"/>
                  <a:pt x="97" y="5"/>
                  <a:pt x="97" y="6"/>
                </a:cubicBezTo>
                <a:cubicBezTo>
                  <a:pt x="97" y="140"/>
                  <a:pt x="97" y="140"/>
                  <a:pt x="97" y="140"/>
                </a:cubicBezTo>
                <a:cubicBezTo>
                  <a:pt x="97" y="141"/>
                  <a:pt x="96" y="143"/>
                  <a:pt x="95" y="144"/>
                </a:cubicBezTo>
                <a:cubicBezTo>
                  <a:pt x="94" y="145"/>
                  <a:pt x="92" y="146"/>
                  <a:pt x="91" y="146"/>
                </a:cubicBezTo>
                <a:cubicBezTo>
                  <a:pt x="79" y="146"/>
                  <a:pt x="79" y="146"/>
                  <a:pt x="79" y="146"/>
                </a:cubicBezTo>
                <a:cubicBezTo>
                  <a:pt x="77" y="146"/>
                  <a:pt x="76" y="145"/>
                  <a:pt x="74" y="144"/>
                </a:cubicBezTo>
                <a:cubicBezTo>
                  <a:pt x="73" y="143"/>
                  <a:pt x="73" y="141"/>
                  <a:pt x="73" y="140"/>
                </a:cubicBezTo>
                <a:cubicBezTo>
                  <a:pt x="73" y="75"/>
                  <a:pt x="73" y="75"/>
                  <a:pt x="73" y="75"/>
                </a:cubicBezTo>
                <a:cubicBezTo>
                  <a:pt x="72" y="76"/>
                  <a:pt x="72" y="77"/>
                  <a:pt x="71" y="77"/>
                </a:cubicBezTo>
                <a:lnTo>
                  <a:pt x="4" y="1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2" name="Freeform 82"/>
          <p:cNvSpPr>
            <a:spLocks noChangeAspect="1" noEditPoints="1"/>
          </p:cNvSpPr>
          <p:nvPr/>
        </p:nvSpPr>
        <p:spPr bwMode="auto">
          <a:xfrm>
            <a:off x="884181" y="2187869"/>
            <a:ext cx="149885" cy="124904"/>
          </a:xfrm>
          <a:custGeom>
            <a:avLst/>
            <a:gdLst>
              <a:gd name="T0" fmla="*/ 2 w 146"/>
              <a:gd name="T1" fmla="*/ 69 h 121"/>
              <a:gd name="T2" fmla="*/ 69 w 146"/>
              <a:gd name="T3" fmla="*/ 2 h 121"/>
              <a:gd name="T4" fmla="*/ 73 w 146"/>
              <a:gd name="T5" fmla="*/ 0 h 121"/>
              <a:gd name="T6" fmla="*/ 77 w 146"/>
              <a:gd name="T7" fmla="*/ 2 h 121"/>
              <a:gd name="T8" fmla="*/ 144 w 146"/>
              <a:gd name="T9" fmla="*/ 69 h 121"/>
              <a:gd name="T10" fmla="*/ 146 w 146"/>
              <a:gd name="T11" fmla="*/ 72 h 121"/>
              <a:gd name="T12" fmla="*/ 143 w 146"/>
              <a:gd name="T13" fmla="*/ 73 h 121"/>
              <a:gd name="T14" fmla="*/ 3 w 146"/>
              <a:gd name="T15" fmla="*/ 73 h 121"/>
              <a:gd name="T16" fmla="*/ 0 w 146"/>
              <a:gd name="T17" fmla="*/ 72 h 121"/>
              <a:gd name="T18" fmla="*/ 2 w 146"/>
              <a:gd name="T19" fmla="*/ 69 h 121"/>
              <a:gd name="T20" fmla="*/ 140 w 146"/>
              <a:gd name="T21" fmla="*/ 121 h 121"/>
              <a:gd name="T22" fmla="*/ 6 w 146"/>
              <a:gd name="T23" fmla="*/ 121 h 121"/>
              <a:gd name="T24" fmla="*/ 2 w 146"/>
              <a:gd name="T25" fmla="*/ 120 h 121"/>
              <a:gd name="T26" fmla="*/ 0 w 146"/>
              <a:gd name="T27" fmla="*/ 115 h 121"/>
              <a:gd name="T28" fmla="*/ 0 w 146"/>
              <a:gd name="T29" fmla="*/ 91 h 121"/>
              <a:gd name="T30" fmla="*/ 2 w 146"/>
              <a:gd name="T31" fmla="*/ 87 h 121"/>
              <a:gd name="T32" fmla="*/ 6 w 146"/>
              <a:gd name="T33" fmla="*/ 85 h 121"/>
              <a:gd name="T34" fmla="*/ 140 w 146"/>
              <a:gd name="T35" fmla="*/ 85 h 121"/>
              <a:gd name="T36" fmla="*/ 144 w 146"/>
              <a:gd name="T37" fmla="*/ 87 h 121"/>
              <a:gd name="T38" fmla="*/ 146 w 146"/>
              <a:gd name="T39" fmla="*/ 91 h 121"/>
              <a:gd name="T40" fmla="*/ 146 w 146"/>
              <a:gd name="T41" fmla="*/ 115 h 121"/>
              <a:gd name="T42" fmla="*/ 144 w 146"/>
              <a:gd name="T43" fmla="*/ 120 h 121"/>
              <a:gd name="T44" fmla="*/ 140 w 146"/>
              <a:gd name="T45" fmla="*/ 12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46" h="121">
                <a:moveTo>
                  <a:pt x="2" y="69"/>
                </a:moveTo>
                <a:cubicBezTo>
                  <a:pt x="69" y="2"/>
                  <a:pt x="69" y="2"/>
                  <a:pt x="69" y="2"/>
                </a:cubicBezTo>
                <a:cubicBezTo>
                  <a:pt x="70" y="0"/>
                  <a:pt x="71" y="0"/>
                  <a:pt x="73" y="0"/>
                </a:cubicBezTo>
                <a:cubicBezTo>
                  <a:pt x="75" y="0"/>
                  <a:pt x="76" y="0"/>
                  <a:pt x="77" y="2"/>
                </a:cubicBezTo>
                <a:cubicBezTo>
                  <a:pt x="144" y="69"/>
                  <a:pt x="144" y="69"/>
                  <a:pt x="144" y="69"/>
                </a:cubicBezTo>
                <a:cubicBezTo>
                  <a:pt x="146" y="70"/>
                  <a:pt x="146" y="71"/>
                  <a:pt x="146" y="72"/>
                </a:cubicBezTo>
                <a:cubicBezTo>
                  <a:pt x="145" y="73"/>
                  <a:pt x="144" y="73"/>
                  <a:pt x="143" y="73"/>
                </a:cubicBezTo>
                <a:cubicBezTo>
                  <a:pt x="3" y="73"/>
                  <a:pt x="3" y="73"/>
                  <a:pt x="3" y="73"/>
                </a:cubicBezTo>
                <a:cubicBezTo>
                  <a:pt x="2" y="73"/>
                  <a:pt x="1" y="73"/>
                  <a:pt x="0" y="72"/>
                </a:cubicBezTo>
                <a:cubicBezTo>
                  <a:pt x="0" y="71"/>
                  <a:pt x="0" y="70"/>
                  <a:pt x="2" y="69"/>
                </a:cubicBezTo>
                <a:close/>
                <a:moveTo>
                  <a:pt x="140" y="121"/>
                </a:moveTo>
                <a:cubicBezTo>
                  <a:pt x="6" y="121"/>
                  <a:pt x="6" y="121"/>
                  <a:pt x="6" y="121"/>
                </a:cubicBezTo>
                <a:cubicBezTo>
                  <a:pt x="5" y="121"/>
                  <a:pt x="3" y="121"/>
                  <a:pt x="2" y="120"/>
                </a:cubicBezTo>
                <a:cubicBezTo>
                  <a:pt x="1" y="118"/>
                  <a:pt x="0" y="117"/>
                  <a:pt x="0" y="115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0"/>
                  <a:pt x="1" y="88"/>
                  <a:pt x="2" y="87"/>
                </a:cubicBezTo>
                <a:cubicBezTo>
                  <a:pt x="3" y="86"/>
                  <a:pt x="5" y="85"/>
                  <a:pt x="6" y="85"/>
                </a:cubicBezTo>
                <a:cubicBezTo>
                  <a:pt x="140" y="85"/>
                  <a:pt x="140" y="85"/>
                  <a:pt x="140" y="85"/>
                </a:cubicBezTo>
                <a:cubicBezTo>
                  <a:pt x="141" y="85"/>
                  <a:pt x="143" y="86"/>
                  <a:pt x="144" y="87"/>
                </a:cubicBezTo>
                <a:cubicBezTo>
                  <a:pt x="145" y="88"/>
                  <a:pt x="146" y="90"/>
                  <a:pt x="146" y="91"/>
                </a:cubicBezTo>
                <a:cubicBezTo>
                  <a:pt x="146" y="115"/>
                  <a:pt x="146" y="115"/>
                  <a:pt x="146" y="115"/>
                </a:cubicBezTo>
                <a:cubicBezTo>
                  <a:pt x="146" y="117"/>
                  <a:pt x="145" y="118"/>
                  <a:pt x="144" y="120"/>
                </a:cubicBezTo>
                <a:cubicBezTo>
                  <a:pt x="143" y="121"/>
                  <a:pt x="141" y="121"/>
                  <a:pt x="140" y="1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3" name="Freeform 83"/>
          <p:cNvSpPr>
            <a:spLocks noChangeAspect="1"/>
          </p:cNvSpPr>
          <p:nvPr/>
        </p:nvSpPr>
        <p:spPr bwMode="auto">
          <a:xfrm>
            <a:off x="1091835" y="2166011"/>
            <a:ext cx="101485" cy="157692"/>
          </a:xfrm>
          <a:custGeom>
            <a:avLst/>
            <a:gdLst>
              <a:gd name="T0" fmla="*/ 96 w 98"/>
              <a:gd name="T1" fmla="*/ 26 h 152"/>
              <a:gd name="T2" fmla="*/ 46 w 98"/>
              <a:gd name="T3" fmla="*/ 76 h 152"/>
              <a:gd name="T4" fmla="*/ 96 w 98"/>
              <a:gd name="T5" fmla="*/ 126 h 152"/>
              <a:gd name="T6" fmla="*/ 98 w 98"/>
              <a:gd name="T7" fmla="*/ 130 h 152"/>
              <a:gd name="T8" fmla="*/ 96 w 98"/>
              <a:gd name="T9" fmla="*/ 135 h 152"/>
              <a:gd name="T10" fmla="*/ 80 w 98"/>
              <a:gd name="T11" fmla="*/ 150 h 152"/>
              <a:gd name="T12" fmla="*/ 76 w 98"/>
              <a:gd name="T13" fmla="*/ 152 h 152"/>
              <a:gd name="T14" fmla="*/ 72 w 98"/>
              <a:gd name="T15" fmla="*/ 150 h 152"/>
              <a:gd name="T16" fmla="*/ 2 w 98"/>
              <a:gd name="T17" fmla="*/ 80 h 152"/>
              <a:gd name="T18" fmla="*/ 0 w 98"/>
              <a:gd name="T19" fmla="*/ 76 h 152"/>
              <a:gd name="T20" fmla="*/ 2 w 98"/>
              <a:gd name="T21" fmla="*/ 72 h 152"/>
              <a:gd name="T22" fmla="*/ 72 w 98"/>
              <a:gd name="T23" fmla="*/ 1 h 152"/>
              <a:gd name="T24" fmla="*/ 76 w 98"/>
              <a:gd name="T25" fmla="*/ 0 h 152"/>
              <a:gd name="T26" fmla="*/ 80 w 98"/>
              <a:gd name="T27" fmla="*/ 1 h 152"/>
              <a:gd name="T28" fmla="*/ 96 w 98"/>
              <a:gd name="T29" fmla="*/ 17 h 152"/>
              <a:gd name="T30" fmla="*/ 98 w 98"/>
              <a:gd name="T31" fmla="*/ 21 h 152"/>
              <a:gd name="T32" fmla="*/ 96 w 98"/>
              <a:gd name="T33" fmla="*/ 26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8" h="152">
                <a:moveTo>
                  <a:pt x="96" y="26"/>
                </a:moveTo>
                <a:cubicBezTo>
                  <a:pt x="46" y="76"/>
                  <a:pt x="46" y="76"/>
                  <a:pt x="46" y="76"/>
                </a:cubicBezTo>
                <a:cubicBezTo>
                  <a:pt x="96" y="126"/>
                  <a:pt x="96" y="126"/>
                  <a:pt x="96" y="126"/>
                </a:cubicBezTo>
                <a:cubicBezTo>
                  <a:pt x="97" y="127"/>
                  <a:pt x="98" y="129"/>
                  <a:pt x="98" y="130"/>
                </a:cubicBezTo>
                <a:cubicBezTo>
                  <a:pt x="98" y="132"/>
                  <a:pt x="97" y="133"/>
                  <a:pt x="96" y="135"/>
                </a:cubicBezTo>
                <a:cubicBezTo>
                  <a:pt x="80" y="150"/>
                  <a:pt x="80" y="150"/>
                  <a:pt x="80" y="150"/>
                </a:cubicBezTo>
                <a:cubicBezTo>
                  <a:pt x="79" y="152"/>
                  <a:pt x="78" y="152"/>
                  <a:pt x="76" y="152"/>
                </a:cubicBezTo>
                <a:cubicBezTo>
                  <a:pt x="74" y="152"/>
                  <a:pt x="73" y="152"/>
                  <a:pt x="72" y="150"/>
                </a:cubicBezTo>
                <a:cubicBezTo>
                  <a:pt x="2" y="80"/>
                  <a:pt x="2" y="80"/>
                  <a:pt x="2" y="80"/>
                </a:cubicBezTo>
                <a:cubicBezTo>
                  <a:pt x="0" y="79"/>
                  <a:pt x="0" y="78"/>
                  <a:pt x="0" y="76"/>
                </a:cubicBezTo>
                <a:cubicBezTo>
                  <a:pt x="0" y="74"/>
                  <a:pt x="0" y="73"/>
                  <a:pt x="2" y="72"/>
                </a:cubicBezTo>
                <a:cubicBezTo>
                  <a:pt x="72" y="1"/>
                  <a:pt x="72" y="1"/>
                  <a:pt x="72" y="1"/>
                </a:cubicBezTo>
                <a:cubicBezTo>
                  <a:pt x="73" y="0"/>
                  <a:pt x="74" y="0"/>
                  <a:pt x="76" y="0"/>
                </a:cubicBezTo>
                <a:cubicBezTo>
                  <a:pt x="78" y="0"/>
                  <a:pt x="79" y="0"/>
                  <a:pt x="80" y="1"/>
                </a:cubicBezTo>
                <a:cubicBezTo>
                  <a:pt x="96" y="17"/>
                  <a:pt x="96" y="17"/>
                  <a:pt x="96" y="17"/>
                </a:cubicBezTo>
                <a:cubicBezTo>
                  <a:pt x="97" y="18"/>
                  <a:pt x="98" y="20"/>
                  <a:pt x="98" y="21"/>
                </a:cubicBezTo>
                <a:cubicBezTo>
                  <a:pt x="98" y="23"/>
                  <a:pt x="97" y="25"/>
                  <a:pt x="96" y="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4" name="Freeform 84"/>
          <p:cNvSpPr>
            <a:spLocks noChangeAspect="1"/>
          </p:cNvSpPr>
          <p:nvPr/>
        </p:nvSpPr>
        <p:spPr bwMode="auto">
          <a:xfrm>
            <a:off x="1254211" y="2166011"/>
            <a:ext cx="101485" cy="157692"/>
          </a:xfrm>
          <a:custGeom>
            <a:avLst/>
            <a:gdLst>
              <a:gd name="T0" fmla="*/ 96 w 98"/>
              <a:gd name="T1" fmla="*/ 80 h 152"/>
              <a:gd name="T2" fmla="*/ 26 w 98"/>
              <a:gd name="T3" fmla="*/ 150 h 152"/>
              <a:gd name="T4" fmla="*/ 22 w 98"/>
              <a:gd name="T5" fmla="*/ 152 h 152"/>
              <a:gd name="T6" fmla="*/ 18 w 98"/>
              <a:gd name="T7" fmla="*/ 150 h 152"/>
              <a:gd name="T8" fmla="*/ 2 w 98"/>
              <a:gd name="T9" fmla="*/ 135 h 152"/>
              <a:gd name="T10" fmla="*/ 0 w 98"/>
              <a:gd name="T11" fmla="*/ 130 h 152"/>
              <a:gd name="T12" fmla="*/ 2 w 98"/>
              <a:gd name="T13" fmla="*/ 126 h 152"/>
              <a:gd name="T14" fmla="*/ 52 w 98"/>
              <a:gd name="T15" fmla="*/ 76 h 152"/>
              <a:gd name="T16" fmla="*/ 2 w 98"/>
              <a:gd name="T17" fmla="*/ 26 h 152"/>
              <a:gd name="T18" fmla="*/ 0 w 98"/>
              <a:gd name="T19" fmla="*/ 21 h 152"/>
              <a:gd name="T20" fmla="*/ 2 w 98"/>
              <a:gd name="T21" fmla="*/ 17 h 152"/>
              <a:gd name="T22" fmla="*/ 18 w 98"/>
              <a:gd name="T23" fmla="*/ 1 h 152"/>
              <a:gd name="T24" fmla="*/ 22 w 98"/>
              <a:gd name="T25" fmla="*/ 0 h 152"/>
              <a:gd name="T26" fmla="*/ 26 w 98"/>
              <a:gd name="T27" fmla="*/ 1 h 152"/>
              <a:gd name="T28" fmla="*/ 96 w 98"/>
              <a:gd name="T29" fmla="*/ 72 h 152"/>
              <a:gd name="T30" fmla="*/ 98 w 98"/>
              <a:gd name="T31" fmla="*/ 76 h 152"/>
              <a:gd name="T32" fmla="*/ 96 w 98"/>
              <a:gd name="T33" fmla="*/ 80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8" h="152">
                <a:moveTo>
                  <a:pt x="96" y="80"/>
                </a:moveTo>
                <a:cubicBezTo>
                  <a:pt x="26" y="150"/>
                  <a:pt x="26" y="150"/>
                  <a:pt x="26" y="150"/>
                </a:cubicBezTo>
                <a:cubicBezTo>
                  <a:pt x="25" y="152"/>
                  <a:pt x="24" y="152"/>
                  <a:pt x="22" y="152"/>
                </a:cubicBezTo>
                <a:cubicBezTo>
                  <a:pt x="20" y="152"/>
                  <a:pt x="19" y="152"/>
                  <a:pt x="18" y="150"/>
                </a:cubicBezTo>
                <a:cubicBezTo>
                  <a:pt x="2" y="135"/>
                  <a:pt x="2" y="135"/>
                  <a:pt x="2" y="135"/>
                </a:cubicBezTo>
                <a:cubicBezTo>
                  <a:pt x="1" y="133"/>
                  <a:pt x="0" y="132"/>
                  <a:pt x="0" y="130"/>
                </a:cubicBezTo>
                <a:cubicBezTo>
                  <a:pt x="0" y="129"/>
                  <a:pt x="1" y="127"/>
                  <a:pt x="2" y="126"/>
                </a:cubicBezTo>
                <a:cubicBezTo>
                  <a:pt x="52" y="76"/>
                  <a:pt x="52" y="76"/>
                  <a:pt x="52" y="76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5"/>
                  <a:pt x="0" y="23"/>
                  <a:pt x="0" y="21"/>
                </a:cubicBezTo>
                <a:cubicBezTo>
                  <a:pt x="0" y="20"/>
                  <a:pt x="1" y="18"/>
                  <a:pt x="2" y="17"/>
                </a:cubicBezTo>
                <a:cubicBezTo>
                  <a:pt x="18" y="1"/>
                  <a:pt x="18" y="1"/>
                  <a:pt x="18" y="1"/>
                </a:cubicBezTo>
                <a:cubicBezTo>
                  <a:pt x="19" y="0"/>
                  <a:pt x="20" y="0"/>
                  <a:pt x="22" y="0"/>
                </a:cubicBezTo>
                <a:cubicBezTo>
                  <a:pt x="24" y="0"/>
                  <a:pt x="25" y="0"/>
                  <a:pt x="26" y="1"/>
                </a:cubicBezTo>
                <a:cubicBezTo>
                  <a:pt x="96" y="72"/>
                  <a:pt x="96" y="72"/>
                  <a:pt x="96" y="72"/>
                </a:cubicBezTo>
                <a:cubicBezTo>
                  <a:pt x="98" y="73"/>
                  <a:pt x="98" y="74"/>
                  <a:pt x="98" y="76"/>
                </a:cubicBezTo>
                <a:cubicBezTo>
                  <a:pt x="98" y="78"/>
                  <a:pt x="98" y="79"/>
                  <a:pt x="96" y="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5" name="Freeform 85"/>
          <p:cNvSpPr>
            <a:spLocks noChangeAspect="1" noEditPoints="1"/>
          </p:cNvSpPr>
          <p:nvPr/>
        </p:nvSpPr>
        <p:spPr bwMode="auto">
          <a:xfrm>
            <a:off x="1413464" y="2175379"/>
            <a:ext cx="151447" cy="151447"/>
          </a:xfrm>
          <a:custGeom>
            <a:avLst/>
            <a:gdLst>
              <a:gd name="T0" fmla="*/ 136 w 146"/>
              <a:gd name="T1" fmla="*/ 37 h 146"/>
              <a:gd name="T2" fmla="*/ 146 w 146"/>
              <a:gd name="T3" fmla="*/ 73 h 146"/>
              <a:gd name="T4" fmla="*/ 136 w 146"/>
              <a:gd name="T5" fmla="*/ 109 h 146"/>
              <a:gd name="T6" fmla="*/ 109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7 h 146"/>
              <a:gd name="T18" fmla="*/ 37 w 146"/>
              <a:gd name="T19" fmla="*/ 10 h 146"/>
              <a:gd name="T20" fmla="*/ 73 w 146"/>
              <a:gd name="T21" fmla="*/ 0 h 146"/>
              <a:gd name="T22" fmla="*/ 109 w 146"/>
              <a:gd name="T23" fmla="*/ 10 h 146"/>
              <a:gd name="T24" fmla="*/ 136 w 146"/>
              <a:gd name="T25" fmla="*/ 37 h 146"/>
              <a:gd name="T26" fmla="*/ 115 w 146"/>
              <a:gd name="T27" fmla="*/ 79 h 146"/>
              <a:gd name="T28" fmla="*/ 115 w 146"/>
              <a:gd name="T29" fmla="*/ 67 h 146"/>
              <a:gd name="T30" fmla="*/ 114 w 146"/>
              <a:gd name="T31" fmla="*/ 63 h 146"/>
              <a:gd name="T32" fmla="*/ 109 w 146"/>
              <a:gd name="T33" fmla="*/ 61 h 146"/>
              <a:gd name="T34" fmla="*/ 85 w 146"/>
              <a:gd name="T35" fmla="*/ 61 h 146"/>
              <a:gd name="T36" fmla="*/ 85 w 146"/>
              <a:gd name="T37" fmla="*/ 37 h 146"/>
              <a:gd name="T38" fmla="*/ 83 w 146"/>
              <a:gd name="T39" fmla="*/ 32 h 146"/>
              <a:gd name="T40" fmla="*/ 79 w 146"/>
              <a:gd name="T41" fmla="*/ 31 h 146"/>
              <a:gd name="T42" fmla="*/ 67 w 146"/>
              <a:gd name="T43" fmla="*/ 31 h 146"/>
              <a:gd name="T44" fmla="*/ 63 w 146"/>
              <a:gd name="T45" fmla="*/ 32 h 146"/>
              <a:gd name="T46" fmla="*/ 61 w 146"/>
              <a:gd name="T47" fmla="*/ 37 h 146"/>
              <a:gd name="T48" fmla="*/ 61 w 146"/>
              <a:gd name="T49" fmla="*/ 61 h 146"/>
              <a:gd name="T50" fmla="*/ 37 w 146"/>
              <a:gd name="T51" fmla="*/ 61 h 146"/>
              <a:gd name="T52" fmla="*/ 32 w 146"/>
              <a:gd name="T53" fmla="*/ 63 h 146"/>
              <a:gd name="T54" fmla="*/ 31 w 146"/>
              <a:gd name="T55" fmla="*/ 67 h 146"/>
              <a:gd name="T56" fmla="*/ 31 w 146"/>
              <a:gd name="T57" fmla="*/ 79 h 146"/>
              <a:gd name="T58" fmla="*/ 32 w 146"/>
              <a:gd name="T59" fmla="*/ 83 h 146"/>
              <a:gd name="T60" fmla="*/ 37 w 146"/>
              <a:gd name="T61" fmla="*/ 85 h 146"/>
              <a:gd name="T62" fmla="*/ 61 w 146"/>
              <a:gd name="T63" fmla="*/ 85 h 146"/>
              <a:gd name="T64" fmla="*/ 61 w 146"/>
              <a:gd name="T65" fmla="*/ 109 h 146"/>
              <a:gd name="T66" fmla="*/ 63 w 146"/>
              <a:gd name="T67" fmla="*/ 114 h 146"/>
              <a:gd name="T68" fmla="*/ 67 w 146"/>
              <a:gd name="T69" fmla="*/ 115 h 146"/>
              <a:gd name="T70" fmla="*/ 79 w 146"/>
              <a:gd name="T71" fmla="*/ 115 h 146"/>
              <a:gd name="T72" fmla="*/ 83 w 146"/>
              <a:gd name="T73" fmla="*/ 114 h 146"/>
              <a:gd name="T74" fmla="*/ 85 w 146"/>
              <a:gd name="T75" fmla="*/ 109 h 146"/>
              <a:gd name="T76" fmla="*/ 85 w 146"/>
              <a:gd name="T77" fmla="*/ 85 h 146"/>
              <a:gd name="T78" fmla="*/ 109 w 146"/>
              <a:gd name="T79" fmla="*/ 85 h 146"/>
              <a:gd name="T80" fmla="*/ 114 w 146"/>
              <a:gd name="T81" fmla="*/ 83 h 146"/>
              <a:gd name="T82" fmla="*/ 115 w 146"/>
              <a:gd name="T83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6" h="146">
                <a:moveTo>
                  <a:pt x="136" y="37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7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7"/>
                </a:cubicBezTo>
                <a:close/>
                <a:moveTo>
                  <a:pt x="115" y="79"/>
                </a:moveTo>
                <a:cubicBezTo>
                  <a:pt x="115" y="67"/>
                  <a:pt x="115" y="67"/>
                  <a:pt x="115" y="67"/>
                </a:cubicBezTo>
                <a:cubicBezTo>
                  <a:pt x="115" y="65"/>
                  <a:pt x="115" y="64"/>
                  <a:pt x="114" y="63"/>
                </a:cubicBezTo>
                <a:cubicBezTo>
                  <a:pt x="112" y="61"/>
                  <a:pt x="111" y="61"/>
                  <a:pt x="109" y="61"/>
                </a:cubicBezTo>
                <a:cubicBezTo>
                  <a:pt x="85" y="61"/>
                  <a:pt x="85" y="61"/>
                  <a:pt x="85" y="61"/>
                </a:cubicBezTo>
                <a:cubicBezTo>
                  <a:pt x="85" y="37"/>
                  <a:pt x="85" y="37"/>
                  <a:pt x="85" y="37"/>
                </a:cubicBezTo>
                <a:cubicBezTo>
                  <a:pt x="85" y="35"/>
                  <a:pt x="85" y="34"/>
                  <a:pt x="83" y="32"/>
                </a:cubicBezTo>
                <a:cubicBezTo>
                  <a:pt x="82" y="31"/>
                  <a:pt x="81" y="31"/>
                  <a:pt x="79" y="31"/>
                </a:cubicBezTo>
                <a:cubicBezTo>
                  <a:pt x="67" y="31"/>
                  <a:pt x="67" y="31"/>
                  <a:pt x="67" y="31"/>
                </a:cubicBezTo>
                <a:cubicBezTo>
                  <a:pt x="65" y="31"/>
                  <a:pt x="64" y="31"/>
                  <a:pt x="63" y="32"/>
                </a:cubicBezTo>
                <a:cubicBezTo>
                  <a:pt x="61" y="34"/>
                  <a:pt x="61" y="35"/>
                  <a:pt x="61" y="37"/>
                </a:cubicBezTo>
                <a:cubicBezTo>
                  <a:pt x="61" y="61"/>
                  <a:pt x="61" y="61"/>
                  <a:pt x="61" y="61"/>
                </a:cubicBezTo>
                <a:cubicBezTo>
                  <a:pt x="37" y="61"/>
                  <a:pt x="37" y="61"/>
                  <a:pt x="37" y="61"/>
                </a:cubicBezTo>
                <a:cubicBezTo>
                  <a:pt x="35" y="61"/>
                  <a:pt x="34" y="61"/>
                  <a:pt x="32" y="63"/>
                </a:cubicBezTo>
                <a:cubicBezTo>
                  <a:pt x="31" y="64"/>
                  <a:pt x="31" y="65"/>
                  <a:pt x="31" y="67"/>
                </a:cubicBezTo>
                <a:cubicBezTo>
                  <a:pt x="31" y="79"/>
                  <a:pt x="31" y="79"/>
                  <a:pt x="31" y="79"/>
                </a:cubicBezTo>
                <a:cubicBezTo>
                  <a:pt x="31" y="81"/>
                  <a:pt x="31" y="82"/>
                  <a:pt x="32" y="83"/>
                </a:cubicBezTo>
                <a:cubicBezTo>
                  <a:pt x="34" y="84"/>
                  <a:pt x="35" y="85"/>
                  <a:pt x="37" y="85"/>
                </a:cubicBezTo>
                <a:cubicBezTo>
                  <a:pt x="61" y="85"/>
                  <a:pt x="61" y="85"/>
                  <a:pt x="61" y="85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1" y="111"/>
                  <a:pt x="61" y="112"/>
                  <a:pt x="63" y="114"/>
                </a:cubicBezTo>
                <a:cubicBezTo>
                  <a:pt x="64" y="115"/>
                  <a:pt x="65" y="115"/>
                  <a:pt x="67" y="115"/>
                </a:cubicBezTo>
                <a:cubicBezTo>
                  <a:pt x="79" y="115"/>
                  <a:pt x="79" y="115"/>
                  <a:pt x="79" y="115"/>
                </a:cubicBezTo>
                <a:cubicBezTo>
                  <a:pt x="81" y="115"/>
                  <a:pt x="82" y="115"/>
                  <a:pt x="83" y="114"/>
                </a:cubicBezTo>
                <a:cubicBezTo>
                  <a:pt x="85" y="112"/>
                  <a:pt x="85" y="111"/>
                  <a:pt x="85" y="109"/>
                </a:cubicBezTo>
                <a:cubicBezTo>
                  <a:pt x="85" y="85"/>
                  <a:pt x="85" y="85"/>
                  <a:pt x="85" y="85"/>
                </a:cubicBezTo>
                <a:cubicBezTo>
                  <a:pt x="109" y="85"/>
                  <a:pt x="109" y="85"/>
                  <a:pt x="109" y="85"/>
                </a:cubicBezTo>
                <a:cubicBezTo>
                  <a:pt x="111" y="85"/>
                  <a:pt x="112" y="84"/>
                  <a:pt x="114" y="83"/>
                </a:cubicBezTo>
                <a:cubicBezTo>
                  <a:pt x="115" y="82"/>
                  <a:pt x="115" y="81"/>
                  <a:pt x="115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6" name="Freeform 86"/>
          <p:cNvSpPr>
            <a:spLocks noChangeAspect="1" noEditPoints="1"/>
          </p:cNvSpPr>
          <p:nvPr/>
        </p:nvSpPr>
        <p:spPr bwMode="auto">
          <a:xfrm>
            <a:off x="1607066" y="2175379"/>
            <a:ext cx="149885" cy="151447"/>
          </a:xfrm>
          <a:custGeom>
            <a:avLst/>
            <a:gdLst>
              <a:gd name="T0" fmla="*/ 136 w 145"/>
              <a:gd name="T1" fmla="*/ 37 h 146"/>
              <a:gd name="T2" fmla="*/ 145 w 145"/>
              <a:gd name="T3" fmla="*/ 73 h 146"/>
              <a:gd name="T4" fmla="*/ 136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6 w 145"/>
              <a:gd name="T25" fmla="*/ 37 h 146"/>
              <a:gd name="T26" fmla="*/ 115 w 145"/>
              <a:gd name="T27" fmla="*/ 79 h 146"/>
              <a:gd name="T28" fmla="*/ 115 w 145"/>
              <a:gd name="T29" fmla="*/ 67 h 146"/>
              <a:gd name="T30" fmla="*/ 113 w 145"/>
              <a:gd name="T31" fmla="*/ 63 h 146"/>
              <a:gd name="T32" fmla="*/ 109 w 145"/>
              <a:gd name="T33" fmla="*/ 61 h 146"/>
              <a:gd name="T34" fmla="*/ 36 w 145"/>
              <a:gd name="T35" fmla="*/ 61 h 146"/>
              <a:gd name="T36" fmla="*/ 32 w 145"/>
              <a:gd name="T37" fmla="*/ 63 h 146"/>
              <a:gd name="T38" fmla="*/ 30 w 145"/>
              <a:gd name="T39" fmla="*/ 67 h 146"/>
              <a:gd name="T40" fmla="*/ 30 w 145"/>
              <a:gd name="T41" fmla="*/ 79 h 146"/>
              <a:gd name="T42" fmla="*/ 32 w 145"/>
              <a:gd name="T43" fmla="*/ 83 h 146"/>
              <a:gd name="T44" fmla="*/ 36 w 145"/>
              <a:gd name="T45" fmla="*/ 85 h 146"/>
              <a:gd name="T46" fmla="*/ 109 w 145"/>
              <a:gd name="T47" fmla="*/ 85 h 146"/>
              <a:gd name="T48" fmla="*/ 113 w 145"/>
              <a:gd name="T49" fmla="*/ 83 h 146"/>
              <a:gd name="T50" fmla="*/ 115 w 145"/>
              <a:gd name="T51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5" h="146">
                <a:moveTo>
                  <a:pt x="136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7"/>
                </a:cubicBezTo>
                <a:close/>
                <a:moveTo>
                  <a:pt x="115" y="79"/>
                </a:moveTo>
                <a:cubicBezTo>
                  <a:pt x="115" y="67"/>
                  <a:pt x="115" y="67"/>
                  <a:pt x="115" y="67"/>
                </a:cubicBezTo>
                <a:cubicBezTo>
                  <a:pt x="115" y="65"/>
                  <a:pt x="115" y="64"/>
                  <a:pt x="113" y="63"/>
                </a:cubicBezTo>
                <a:cubicBezTo>
                  <a:pt x="112" y="61"/>
                  <a:pt x="111" y="61"/>
                  <a:pt x="109" y="61"/>
                </a:cubicBezTo>
                <a:cubicBezTo>
                  <a:pt x="36" y="61"/>
                  <a:pt x="36" y="61"/>
                  <a:pt x="36" y="61"/>
                </a:cubicBezTo>
                <a:cubicBezTo>
                  <a:pt x="35" y="61"/>
                  <a:pt x="33" y="61"/>
                  <a:pt x="32" y="63"/>
                </a:cubicBezTo>
                <a:cubicBezTo>
                  <a:pt x="31" y="64"/>
                  <a:pt x="30" y="65"/>
                  <a:pt x="30" y="67"/>
                </a:cubicBezTo>
                <a:cubicBezTo>
                  <a:pt x="30" y="79"/>
                  <a:pt x="30" y="79"/>
                  <a:pt x="30" y="79"/>
                </a:cubicBezTo>
                <a:cubicBezTo>
                  <a:pt x="30" y="81"/>
                  <a:pt x="31" y="82"/>
                  <a:pt x="32" y="83"/>
                </a:cubicBezTo>
                <a:cubicBezTo>
                  <a:pt x="33" y="84"/>
                  <a:pt x="35" y="85"/>
                  <a:pt x="36" y="85"/>
                </a:cubicBezTo>
                <a:cubicBezTo>
                  <a:pt x="109" y="85"/>
                  <a:pt x="109" y="85"/>
                  <a:pt x="109" y="85"/>
                </a:cubicBezTo>
                <a:cubicBezTo>
                  <a:pt x="111" y="85"/>
                  <a:pt x="112" y="84"/>
                  <a:pt x="113" y="83"/>
                </a:cubicBezTo>
                <a:cubicBezTo>
                  <a:pt x="115" y="82"/>
                  <a:pt x="115" y="81"/>
                  <a:pt x="115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7" name="Freeform 87"/>
          <p:cNvSpPr>
            <a:spLocks noChangeAspect="1" noEditPoints="1"/>
          </p:cNvSpPr>
          <p:nvPr/>
        </p:nvSpPr>
        <p:spPr bwMode="auto">
          <a:xfrm>
            <a:off x="1800668" y="2175379"/>
            <a:ext cx="149885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09 w 145"/>
              <a:gd name="T27" fmla="*/ 94 h 146"/>
              <a:gd name="T28" fmla="*/ 107 w 145"/>
              <a:gd name="T29" fmla="*/ 90 h 146"/>
              <a:gd name="T30" fmla="*/ 90 w 145"/>
              <a:gd name="T31" fmla="*/ 73 h 146"/>
              <a:gd name="T32" fmla="*/ 107 w 145"/>
              <a:gd name="T33" fmla="*/ 56 h 146"/>
              <a:gd name="T34" fmla="*/ 109 w 145"/>
              <a:gd name="T35" fmla="*/ 52 h 146"/>
              <a:gd name="T36" fmla="*/ 107 w 145"/>
              <a:gd name="T37" fmla="*/ 47 h 146"/>
              <a:gd name="T38" fmla="*/ 98 w 145"/>
              <a:gd name="T39" fmla="*/ 39 h 146"/>
              <a:gd name="T40" fmla="*/ 94 w 145"/>
              <a:gd name="T41" fmla="*/ 37 h 146"/>
              <a:gd name="T42" fmla="*/ 90 w 145"/>
              <a:gd name="T43" fmla="*/ 39 h 146"/>
              <a:gd name="T44" fmla="*/ 73 w 145"/>
              <a:gd name="T45" fmla="*/ 56 h 146"/>
              <a:gd name="T46" fmla="*/ 55 w 145"/>
              <a:gd name="T47" fmla="*/ 39 h 146"/>
              <a:gd name="T48" fmla="*/ 51 w 145"/>
              <a:gd name="T49" fmla="*/ 37 h 146"/>
              <a:gd name="T50" fmla="*/ 47 w 145"/>
              <a:gd name="T51" fmla="*/ 39 h 146"/>
              <a:gd name="T52" fmla="*/ 38 w 145"/>
              <a:gd name="T53" fmla="*/ 47 h 146"/>
              <a:gd name="T54" fmla="*/ 37 w 145"/>
              <a:gd name="T55" fmla="*/ 52 h 146"/>
              <a:gd name="T56" fmla="*/ 38 w 145"/>
              <a:gd name="T57" fmla="*/ 56 h 146"/>
              <a:gd name="T58" fmla="*/ 55 w 145"/>
              <a:gd name="T59" fmla="*/ 73 h 146"/>
              <a:gd name="T60" fmla="*/ 38 w 145"/>
              <a:gd name="T61" fmla="*/ 90 h 146"/>
              <a:gd name="T62" fmla="*/ 37 w 145"/>
              <a:gd name="T63" fmla="*/ 94 h 146"/>
              <a:gd name="T64" fmla="*/ 38 w 145"/>
              <a:gd name="T65" fmla="*/ 99 h 146"/>
              <a:gd name="T66" fmla="*/ 47 w 145"/>
              <a:gd name="T67" fmla="*/ 107 h 146"/>
              <a:gd name="T68" fmla="*/ 51 w 145"/>
              <a:gd name="T69" fmla="*/ 109 h 146"/>
              <a:gd name="T70" fmla="*/ 55 w 145"/>
              <a:gd name="T71" fmla="*/ 107 h 146"/>
              <a:gd name="T72" fmla="*/ 73 w 145"/>
              <a:gd name="T73" fmla="*/ 90 h 146"/>
              <a:gd name="T74" fmla="*/ 90 w 145"/>
              <a:gd name="T75" fmla="*/ 107 h 146"/>
              <a:gd name="T76" fmla="*/ 94 w 145"/>
              <a:gd name="T77" fmla="*/ 109 h 146"/>
              <a:gd name="T78" fmla="*/ 98 w 145"/>
              <a:gd name="T79" fmla="*/ 107 h 146"/>
              <a:gd name="T80" fmla="*/ 107 w 145"/>
              <a:gd name="T81" fmla="*/ 99 h 146"/>
              <a:gd name="T82" fmla="*/ 109 w 145"/>
              <a:gd name="T83" fmla="*/ 9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09" y="94"/>
                </a:moveTo>
                <a:cubicBezTo>
                  <a:pt x="109" y="93"/>
                  <a:pt x="108" y="91"/>
                  <a:pt x="107" y="90"/>
                </a:cubicBezTo>
                <a:cubicBezTo>
                  <a:pt x="90" y="73"/>
                  <a:pt x="90" y="73"/>
                  <a:pt x="90" y="73"/>
                </a:cubicBezTo>
                <a:cubicBezTo>
                  <a:pt x="107" y="56"/>
                  <a:pt x="107" y="56"/>
                  <a:pt x="107" y="56"/>
                </a:cubicBezTo>
                <a:cubicBezTo>
                  <a:pt x="108" y="55"/>
                  <a:pt x="109" y="53"/>
                  <a:pt x="109" y="52"/>
                </a:cubicBezTo>
                <a:cubicBezTo>
                  <a:pt x="109" y="50"/>
                  <a:pt x="108" y="48"/>
                  <a:pt x="107" y="47"/>
                </a:cubicBezTo>
                <a:cubicBezTo>
                  <a:pt x="98" y="39"/>
                  <a:pt x="98" y="39"/>
                  <a:pt x="98" y="39"/>
                </a:cubicBezTo>
                <a:cubicBezTo>
                  <a:pt x="97" y="38"/>
                  <a:pt x="96" y="37"/>
                  <a:pt x="94" y="37"/>
                </a:cubicBezTo>
                <a:cubicBezTo>
                  <a:pt x="92" y="37"/>
                  <a:pt x="91" y="38"/>
                  <a:pt x="90" y="39"/>
                </a:cubicBezTo>
                <a:cubicBezTo>
                  <a:pt x="73" y="56"/>
                  <a:pt x="73" y="56"/>
                  <a:pt x="73" y="56"/>
                </a:cubicBezTo>
                <a:cubicBezTo>
                  <a:pt x="55" y="39"/>
                  <a:pt x="55" y="39"/>
                  <a:pt x="55" y="39"/>
                </a:cubicBezTo>
                <a:cubicBezTo>
                  <a:pt x="54" y="38"/>
                  <a:pt x="53" y="37"/>
                  <a:pt x="51" y="37"/>
                </a:cubicBezTo>
                <a:cubicBezTo>
                  <a:pt x="49" y="37"/>
                  <a:pt x="48" y="38"/>
                  <a:pt x="47" y="39"/>
                </a:cubicBezTo>
                <a:cubicBezTo>
                  <a:pt x="38" y="47"/>
                  <a:pt x="38" y="47"/>
                  <a:pt x="38" y="47"/>
                </a:cubicBezTo>
                <a:cubicBezTo>
                  <a:pt x="37" y="48"/>
                  <a:pt x="37" y="50"/>
                  <a:pt x="37" y="52"/>
                </a:cubicBezTo>
                <a:cubicBezTo>
                  <a:pt x="37" y="53"/>
                  <a:pt x="37" y="55"/>
                  <a:pt x="38" y="56"/>
                </a:cubicBezTo>
                <a:cubicBezTo>
                  <a:pt x="55" y="73"/>
                  <a:pt x="55" y="73"/>
                  <a:pt x="55" y="73"/>
                </a:cubicBezTo>
                <a:cubicBezTo>
                  <a:pt x="38" y="90"/>
                  <a:pt x="38" y="90"/>
                  <a:pt x="38" y="90"/>
                </a:cubicBezTo>
                <a:cubicBezTo>
                  <a:pt x="37" y="91"/>
                  <a:pt x="37" y="93"/>
                  <a:pt x="37" y="94"/>
                </a:cubicBezTo>
                <a:cubicBezTo>
                  <a:pt x="37" y="96"/>
                  <a:pt x="37" y="97"/>
                  <a:pt x="38" y="99"/>
                </a:cubicBezTo>
                <a:cubicBezTo>
                  <a:pt x="47" y="107"/>
                  <a:pt x="47" y="107"/>
                  <a:pt x="47" y="107"/>
                </a:cubicBezTo>
                <a:cubicBezTo>
                  <a:pt x="48" y="108"/>
                  <a:pt x="49" y="109"/>
                  <a:pt x="51" y="109"/>
                </a:cubicBezTo>
                <a:cubicBezTo>
                  <a:pt x="53" y="109"/>
                  <a:pt x="54" y="108"/>
                  <a:pt x="55" y="107"/>
                </a:cubicBezTo>
                <a:cubicBezTo>
                  <a:pt x="73" y="90"/>
                  <a:pt x="73" y="90"/>
                  <a:pt x="73" y="90"/>
                </a:cubicBezTo>
                <a:cubicBezTo>
                  <a:pt x="90" y="107"/>
                  <a:pt x="90" y="107"/>
                  <a:pt x="90" y="107"/>
                </a:cubicBezTo>
                <a:cubicBezTo>
                  <a:pt x="91" y="108"/>
                  <a:pt x="92" y="109"/>
                  <a:pt x="94" y="109"/>
                </a:cubicBezTo>
                <a:cubicBezTo>
                  <a:pt x="96" y="109"/>
                  <a:pt x="97" y="108"/>
                  <a:pt x="98" y="107"/>
                </a:cubicBezTo>
                <a:cubicBezTo>
                  <a:pt x="107" y="99"/>
                  <a:pt x="107" y="99"/>
                  <a:pt x="107" y="99"/>
                </a:cubicBezTo>
                <a:cubicBezTo>
                  <a:pt x="108" y="97"/>
                  <a:pt x="109" y="96"/>
                  <a:pt x="109" y="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8" name="Freeform 88"/>
          <p:cNvSpPr>
            <a:spLocks noChangeAspect="1" noEditPoints="1"/>
          </p:cNvSpPr>
          <p:nvPr/>
        </p:nvSpPr>
        <p:spPr bwMode="auto">
          <a:xfrm>
            <a:off x="1994270" y="2175379"/>
            <a:ext cx="149885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7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21 w 145"/>
              <a:gd name="T27" fmla="*/ 58 h 146"/>
              <a:gd name="T28" fmla="*/ 119 w 145"/>
              <a:gd name="T29" fmla="*/ 53 h 146"/>
              <a:gd name="T30" fmla="*/ 111 w 145"/>
              <a:gd name="T31" fmla="*/ 45 h 146"/>
              <a:gd name="T32" fmla="*/ 107 w 145"/>
              <a:gd name="T33" fmla="*/ 43 h 146"/>
              <a:gd name="T34" fmla="*/ 102 w 145"/>
              <a:gd name="T35" fmla="*/ 45 h 146"/>
              <a:gd name="T36" fmla="*/ 64 w 145"/>
              <a:gd name="T37" fmla="*/ 83 h 146"/>
              <a:gd name="T38" fmla="*/ 42 w 145"/>
              <a:gd name="T39" fmla="*/ 62 h 146"/>
              <a:gd name="T40" fmla="*/ 38 w 145"/>
              <a:gd name="T41" fmla="*/ 60 h 146"/>
              <a:gd name="T42" fmla="*/ 34 w 145"/>
              <a:gd name="T43" fmla="*/ 62 h 146"/>
              <a:gd name="T44" fmla="*/ 25 w 145"/>
              <a:gd name="T45" fmla="*/ 70 h 146"/>
              <a:gd name="T46" fmla="*/ 24 w 145"/>
              <a:gd name="T47" fmla="*/ 75 h 146"/>
              <a:gd name="T48" fmla="*/ 25 w 145"/>
              <a:gd name="T49" fmla="*/ 79 h 146"/>
              <a:gd name="T50" fmla="*/ 59 w 145"/>
              <a:gd name="T51" fmla="*/ 113 h 146"/>
              <a:gd name="T52" fmla="*/ 64 w 145"/>
              <a:gd name="T53" fmla="*/ 115 h 146"/>
              <a:gd name="T54" fmla="*/ 68 w 145"/>
              <a:gd name="T55" fmla="*/ 113 h 146"/>
              <a:gd name="T56" fmla="*/ 119 w 145"/>
              <a:gd name="T57" fmla="*/ 62 h 146"/>
              <a:gd name="T58" fmla="*/ 121 w 145"/>
              <a:gd name="T59" fmla="*/ 5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5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5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21" y="58"/>
                </a:moveTo>
                <a:cubicBezTo>
                  <a:pt x="121" y="56"/>
                  <a:pt x="121" y="54"/>
                  <a:pt x="119" y="53"/>
                </a:cubicBezTo>
                <a:cubicBezTo>
                  <a:pt x="111" y="45"/>
                  <a:pt x="111" y="45"/>
                  <a:pt x="111" y="45"/>
                </a:cubicBezTo>
                <a:cubicBezTo>
                  <a:pt x="110" y="44"/>
                  <a:pt x="108" y="43"/>
                  <a:pt x="107" y="43"/>
                </a:cubicBezTo>
                <a:cubicBezTo>
                  <a:pt x="105" y="43"/>
                  <a:pt x="103" y="44"/>
                  <a:pt x="102" y="45"/>
                </a:cubicBezTo>
                <a:cubicBezTo>
                  <a:pt x="64" y="83"/>
                  <a:pt x="64" y="83"/>
                  <a:pt x="64" y="83"/>
                </a:cubicBezTo>
                <a:cubicBezTo>
                  <a:pt x="42" y="62"/>
                  <a:pt x="42" y="62"/>
                  <a:pt x="42" y="62"/>
                </a:cubicBezTo>
                <a:cubicBezTo>
                  <a:pt x="41" y="61"/>
                  <a:pt x="40" y="60"/>
                  <a:pt x="38" y="60"/>
                </a:cubicBezTo>
                <a:cubicBezTo>
                  <a:pt x="36" y="60"/>
                  <a:pt x="35" y="61"/>
                  <a:pt x="34" y="62"/>
                </a:cubicBezTo>
                <a:cubicBezTo>
                  <a:pt x="25" y="70"/>
                  <a:pt x="25" y="70"/>
                  <a:pt x="25" y="70"/>
                </a:cubicBezTo>
                <a:cubicBezTo>
                  <a:pt x="24" y="72"/>
                  <a:pt x="24" y="73"/>
                  <a:pt x="24" y="75"/>
                </a:cubicBezTo>
                <a:cubicBezTo>
                  <a:pt x="24" y="76"/>
                  <a:pt x="24" y="78"/>
                  <a:pt x="25" y="7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61" y="114"/>
                  <a:pt x="62" y="115"/>
                  <a:pt x="64" y="115"/>
                </a:cubicBezTo>
                <a:cubicBezTo>
                  <a:pt x="65" y="115"/>
                  <a:pt x="67" y="114"/>
                  <a:pt x="68" y="113"/>
                </a:cubicBezTo>
                <a:cubicBezTo>
                  <a:pt x="119" y="62"/>
                  <a:pt x="119" y="62"/>
                  <a:pt x="119" y="62"/>
                </a:cubicBezTo>
                <a:cubicBezTo>
                  <a:pt x="121" y="61"/>
                  <a:pt x="121" y="59"/>
                  <a:pt x="121" y="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9" name="Freeform 89"/>
          <p:cNvSpPr>
            <a:spLocks noChangeAspect="1" noEditPoints="1"/>
          </p:cNvSpPr>
          <p:nvPr/>
        </p:nvSpPr>
        <p:spPr bwMode="auto">
          <a:xfrm>
            <a:off x="2186311" y="2175379"/>
            <a:ext cx="151447" cy="151447"/>
          </a:xfrm>
          <a:custGeom>
            <a:avLst/>
            <a:gdLst>
              <a:gd name="T0" fmla="*/ 136 w 146"/>
              <a:gd name="T1" fmla="*/ 37 h 146"/>
              <a:gd name="T2" fmla="*/ 146 w 146"/>
              <a:gd name="T3" fmla="*/ 73 h 146"/>
              <a:gd name="T4" fmla="*/ 136 w 146"/>
              <a:gd name="T5" fmla="*/ 109 h 146"/>
              <a:gd name="T6" fmla="*/ 110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7 h 146"/>
              <a:gd name="T18" fmla="*/ 37 w 146"/>
              <a:gd name="T19" fmla="*/ 10 h 146"/>
              <a:gd name="T20" fmla="*/ 73 w 146"/>
              <a:gd name="T21" fmla="*/ 0 h 146"/>
              <a:gd name="T22" fmla="*/ 110 w 146"/>
              <a:gd name="T23" fmla="*/ 10 h 146"/>
              <a:gd name="T24" fmla="*/ 136 w 146"/>
              <a:gd name="T25" fmla="*/ 37 h 146"/>
              <a:gd name="T26" fmla="*/ 109 w 146"/>
              <a:gd name="T27" fmla="*/ 55 h 146"/>
              <a:gd name="T28" fmla="*/ 104 w 146"/>
              <a:gd name="T29" fmla="*/ 39 h 146"/>
              <a:gd name="T30" fmla="*/ 91 w 146"/>
              <a:gd name="T31" fmla="*/ 28 h 146"/>
              <a:gd name="T32" fmla="*/ 75 w 146"/>
              <a:gd name="T33" fmla="*/ 25 h 146"/>
              <a:gd name="T34" fmla="*/ 40 w 146"/>
              <a:gd name="T35" fmla="*/ 45 h 146"/>
              <a:gd name="T36" fmla="*/ 41 w 146"/>
              <a:gd name="T37" fmla="*/ 49 h 146"/>
              <a:gd name="T38" fmla="*/ 53 w 146"/>
              <a:gd name="T39" fmla="*/ 58 h 146"/>
              <a:gd name="T40" fmla="*/ 55 w 146"/>
              <a:gd name="T41" fmla="*/ 59 h 146"/>
              <a:gd name="T42" fmla="*/ 57 w 146"/>
              <a:gd name="T43" fmla="*/ 58 h 146"/>
              <a:gd name="T44" fmla="*/ 65 w 146"/>
              <a:gd name="T45" fmla="*/ 49 h 146"/>
              <a:gd name="T46" fmla="*/ 74 w 146"/>
              <a:gd name="T47" fmla="*/ 47 h 146"/>
              <a:gd name="T48" fmla="*/ 82 w 146"/>
              <a:gd name="T49" fmla="*/ 49 h 146"/>
              <a:gd name="T50" fmla="*/ 85 w 146"/>
              <a:gd name="T51" fmla="*/ 55 h 146"/>
              <a:gd name="T52" fmla="*/ 83 w 146"/>
              <a:gd name="T53" fmla="*/ 60 h 146"/>
              <a:gd name="T54" fmla="*/ 77 w 146"/>
              <a:gd name="T55" fmla="*/ 65 h 146"/>
              <a:gd name="T56" fmla="*/ 66 w 146"/>
              <a:gd name="T57" fmla="*/ 73 h 146"/>
              <a:gd name="T58" fmla="*/ 61 w 146"/>
              <a:gd name="T59" fmla="*/ 85 h 146"/>
              <a:gd name="T60" fmla="*/ 61 w 146"/>
              <a:gd name="T61" fmla="*/ 88 h 146"/>
              <a:gd name="T62" fmla="*/ 62 w 146"/>
              <a:gd name="T63" fmla="*/ 90 h 146"/>
              <a:gd name="T64" fmla="*/ 64 w 146"/>
              <a:gd name="T65" fmla="*/ 91 h 146"/>
              <a:gd name="T66" fmla="*/ 82 w 146"/>
              <a:gd name="T67" fmla="*/ 91 h 146"/>
              <a:gd name="T68" fmla="*/ 84 w 146"/>
              <a:gd name="T69" fmla="*/ 90 h 146"/>
              <a:gd name="T70" fmla="*/ 85 w 146"/>
              <a:gd name="T71" fmla="*/ 88 h 146"/>
              <a:gd name="T72" fmla="*/ 87 w 146"/>
              <a:gd name="T73" fmla="*/ 83 h 146"/>
              <a:gd name="T74" fmla="*/ 92 w 146"/>
              <a:gd name="T75" fmla="*/ 79 h 146"/>
              <a:gd name="T76" fmla="*/ 97 w 146"/>
              <a:gd name="T77" fmla="*/ 76 h 146"/>
              <a:gd name="T78" fmla="*/ 101 w 146"/>
              <a:gd name="T79" fmla="*/ 73 h 146"/>
              <a:gd name="T80" fmla="*/ 106 w 146"/>
              <a:gd name="T81" fmla="*/ 68 h 146"/>
              <a:gd name="T82" fmla="*/ 108 w 146"/>
              <a:gd name="T83" fmla="*/ 62 h 146"/>
              <a:gd name="T84" fmla="*/ 109 w 146"/>
              <a:gd name="T85" fmla="*/ 55 h 146"/>
              <a:gd name="T86" fmla="*/ 85 w 146"/>
              <a:gd name="T87" fmla="*/ 118 h 146"/>
              <a:gd name="T88" fmla="*/ 85 w 146"/>
              <a:gd name="T89" fmla="*/ 100 h 146"/>
              <a:gd name="T90" fmla="*/ 84 w 146"/>
              <a:gd name="T91" fmla="*/ 98 h 146"/>
              <a:gd name="T92" fmla="*/ 82 w 146"/>
              <a:gd name="T93" fmla="*/ 97 h 146"/>
              <a:gd name="T94" fmla="*/ 64 w 146"/>
              <a:gd name="T95" fmla="*/ 97 h 146"/>
              <a:gd name="T96" fmla="*/ 62 w 146"/>
              <a:gd name="T97" fmla="*/ 98 h 146"/>
              <a:gd name="T98" fmla="*/ 61 w 146"/>
              <a:gd name="T99" fmla="*/ 100 h 146"/>
              <a:gd name="T100" fmla="*/ 61 w 146"/>
              <a:gd name="T101" fmla="*/ 118 h 146"/>
              <a:gd name="T102" fmla="*/ 62 w 146"/>
              <a:gd name="T103" fmla="*/ 121 h 146"/>
              <a:gd name="T104" fmla="*/ 64 w 146"/>
              <a:gd name="T105" fmla="*/ 121 h 146"/>
              <a:gd name="T106" fmla="*/ 82 w 146"/>
              <a:gd name="T107" fmla="*/ 121 h 146"/>
              <a:gd name="T108" fmla="*/ 84 w 146"/>
              <a:gd name="T109" fmla="*/ 121 h 146"/>
              <a:gd name="T110" fmla="*/ 85 w 146"/>
              <a:gd name="T111" fmla="*/ 11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6" h="146">
                <a:moveTo>
                  <a:pt x="136" y="37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10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7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7"/>
                </a:cubicBezTo>
                <a:close/>
                <a:moveTo>
                  <a:pt x="109" y="55"/>
                </a:moveTo>
                <a:cubicBezTo>
                  <a:pt x="109" y="49"/>
                  <a:pt x="108" y="44"/>
                  <a:pt x="104" y="39"/>
                </a:cubicBezTo>
                <a:cubicBezTo>
                  <a:pt x="101" y="35"/>
                  <a:pt x="96" y="31"/>
                  <a:pt x="91" y="28"/>
                </a:cubicBezTo>
                <a:cubicBezTo>
                  <a:pt x="86" y="26"/>
                  <a:pt x="80" y="25"/>
                  <a:pt x="75" y="25"/>
                </a:cubicBezTo>
                <a:cubicBezTo>
                  <a:pt x="60" y="25"/>
                  <a:pt x="48" y="31"/>
                  <a:pt x="40" y="45"/>
                </a:cubicBezTo>
                <a:cubicBezTo>
                  <a:pt x="39" y="46"/>
                  <a:pt x="39" y="48"/>
                  <a:pt x="41" y="49"/>
                </a:cubicBezTo>
                <a:cubicBezTo>
                  <a:pt x="53" y="58"/>
                  <a:pt x="53" y="58"/>
                  <a:pt x="53" y="58"/>
                </a:cubicBezTo>
                <a:cubicBezTo>
                  <a:pt x="54" y="58"/>
                  <a:pt x="54" y="59"/>
                  <a:pt x="55" y="59"/>
                </a:cubicBezTo>
                <a:cubicBezTo>
                  <a:pt x="56" y="59"/>
                  <a:pt x="57" y="58"/>
                  <a:pt x="57" y="58"/>
                </a:cubicBezTo>
                <a:cubicBezTo>
                  <a:pt x="61" y="53"/>
                  <a:pt x="63" y="50"/>
                  <a:pt x="65" y="49"/>
                </a:cubicBezTo>
                <a:cubicBezTo>
                  <a:pt x="68" y="47"/>
                  <a:pt x="70" y="47"/>
                  <a:pt x="74" y="47"/>
                </a:cubicBezTo>
                <a:cubicBezTo>
                  <a:pt x="77" y="47"/>
                  <a:pt x="79" y="47"/>
                  <a:pt x="82" y="49"/>
                </a:cubicBezTo>
                <a:cubicBezTo>
                  <a:pt x="84" y="51"/>
                  <a:pt x="85" y="53"/>
                  <a:pt x="85" y="55"/>
                </a:cubicBezTo>
                <a:cubicBezTo>
                  <a:pt x="85" y="57"/>
                  <a:pt x="85" y="59"/>
                  <a:pt x="83" y="60"/>
                </a:cubicBezTo>
                <a:cubicBezTo>
                  <a:pt x="82" y="62"/>
                  <a:pt x="80" y="63"/>
                  <a:pt x="77" y="65"/>
                </a:cubicBezTo>
                <a:cubicBezTo>
                  <a:pt x="73" y="66"/>
                  <a:pt x="69" y="69"/>
                  <a:pt x="66" y="73"/>
                </a:cubicBezTo>
                <a:cubicBezTo>
                  <a:pt x="63" y="76"/>
                  <a:pt x="61" y="80"/>
                  <a:pt x="61" y="85"/>
                </a:cubicBezTo>
                <a:cubicBezTo>
                  <a:pt x="61" y="88"/>
                  <a:pt x="61" y="88"/>
                  <a:pt x="61" y="88"/>
                </a:cubicBezTo>
                <a:cubicBezTo>
                  <a:pt x="61" y="89"/>
                  <a:pt x="61" y="90"/>
                  <a:pt x="62" y="90"/>
                </a:cubicBezTo>
                <a:cubicBezTo>
                  <a:pt x="62" y="91"/>
                  <a:pt x="63" y="91"/>
                  <a:pt x="64" y="91"/>
                </a:cubicBezTo>
                <a:cubicBezTo>
                  <a:pt x="82" y="91"/>
                  <a:pt x="82" y="91"/>
                  <a:pt x="82" y="91"/>
                </a:cubicBezTo>
                <a:cubicBezTo>
                  <a:pt x="83" y="91"/>
                  <a:pt x="84" y="91"/>
                  <a:pt x="84" y="90"/>
                </a:cubicBezTo>
                <a:cubicBezTo>
                  <a:pt x="85" y="90"/>
                  <a:pt x="85" y="89"/>
                  <a:pt x="85" y="88"/>
                </a:cubicBezTo>
                <a:cubicBezTo>
                  <a:pt x="85" y="87"/>
                  <a:pt x="86" y="85"/>
                  <a:pt x="87" y="83"/>
                </a:cubicBezTo>
                <a:cubicBezTo>
                  <a:pt x="89" y="81"/>
                  <a:pt x="90" y="80"/>
                  <a:pt x="92" y="79"/>
                </a:cubicBezTo>
                <a:cubicBezTo>
                  <a:pt x="94" y="78"/>
                  <a:pt x="96" y="77"/>
                  <a:pt x="97" y="76"/>
                </a:cubicBezTo>
                <a:cubicBezTo>
                  <a:pt x="98" y="75"/>
                  <a:pt x="100" y="74"/>
                  <a:pt x="101" y="73"/>
                </a:cubicBezTo>
                <a:cubicBezTo>
                  <a:pt x="103" y="71"/>
                  <a:pt x="105" y="70"/>
                  <a:pt x="106" y="68"/>
                </a:cubicBezTo>
                <a:cubicBezTo>
                  <a:pt x="107" y="67"/>
                  <a:pt x="107" y="65"/>
                  <a:pt x="108" y="62"/>
                </a:cubicBezTo>
                <a:cubicBezTo>
                  <a:pt x="109" y="60"/>
                  <a:pt x="109" y="58"/>
                  <a:pt x="109" y="55"/>
                </a:cubicBezTo>
                <a:close/>
                <a:moveTo>
                  <a:pt x="85" y="118"/>
                </a:moveTo>
                <a:cubicBezTo>
                  <a:pt x="85" y="100"/>
                  <a:pt x="85" y="100"/>
                  <a:pt x="85" y="100"/>
                </a:cubicBezTo>
                <a:cubicBezTo>
                  <a:pt x="85" y="99"/>
                  <a:pt x="85" y="99"/>
                  <a:pt x="84" y="98"/>
                </a:cubicBezTo>
                <a:cubicBezTo>
                  <a:pt x="84" y="97"/>
                  <a:pt x="83" y="97"/>
                  <a:pt x="82" y="97"/>
                </a:cubicBezTo>
                <a:cubicBezTo>
                  <a:pt x="64" y="97"/>
                  <a:pt x="64" y="97"/>
                  <a:pt x="64" y="97"/>
                </a:cubicBezTo>
                <a:cubicBezTo>
                  <a:pt x="63" y="97"/>
                  <a:pt x="62" y="97"/>
                  <a:pt x="62" y="98"/>
                </a:cubicBezTo>
                <a:cubicBezTo>
                  <a:pt x="61" y="99"/>
                  <a:pt x="61" y="99"/>
                  <a:pt x="61" y="100"/>
                </a:cubicBezTo>
                <a:cubicBezTo>
                  <a:pt x="61" y="118"/>
                  <a:pt x="61" y="118"/>
                  <a:pt x="61" y="118"/>
                </a:cubicBezTo>
                <a:cubicBezTo>
                  <a:pt x="61" y="119"/>
                  <a:pt x="61" y="120"/>
                  <a:pt x="62" y="121"/>
                </a:cubicBezTo>
                <a:cubicBezTo>
                  <a:pt x="62" y="121"/>
                  <a:pt x="63" y="121"/>
                  <a:pt x="64" y="121"/>
                </a:cubicBezTo>
                <a:cubicBezTo>
                  <a:pt x="82" y="121"/>
                  <a:pt x="82" y="121"/>
                  <a:pt x="82" y="121"/>
                </a:cubicBezTo>
                <a:cubicBezTo>
                  <a:pt x="83" y="121"/>
                  <a:pt x="84" y="121"/>
                  <a:pt x="84" y="121"/>
                </a:cubicBezTo>
                <a:cubicBezTo>
                  <a:pt x="85" y="120"/>
                  <a:pt x="85" y="119"/>
                  <a:pt x="85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0" name="Freeform 90"/>
          <p:cNvSpPr>
            <a:spLocks noChangeAspect="1" noEditPoints="1"/>
          </p:cNvSpPr>
          <p:nvPr/>
        </p:nvSpPr>
        <p:spPr bwMode="auto">
          <a:xfrm>
            <a:off x="2379913" y="2175379"/>
            <a:ext cx="151447" cy="151447"/>
          </a:xfrm>
          <a:custGeom>
            <a:avLst/>
            <a:gdLst>
              <a:gd name="T0" fmla="*/ 136 w 145"/>
              <a:gd name="T1" fmla="*/ 37 h 146"/>
              <a:gd name="T2" fmla="*/ 145 w 145"/>
              <a:gd name="T3" fmla="*/ 73 h 146"/>
              <a:gd name="T4" fmla="*/ 136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6 w 145"/>
              <a:gd name="T25" fmla="*/ 37 h 146"/>
              <a:gd name="T26" fmla="*/ 97 w 145"/>
              <a:gd name="T27" fmla="*/ 118 h 146"/>
              <a:gd name="T28" fmla="*/ 97 w 145"/>
              <a:gd name="T29" fmla="*/ 103 h 146"/>
              <a:gd name="T30" fmla="*/ 96 w 145"/>
              <a:gd name="T31" fmla="*/ 101 h 146"/>
              <a:gd name="T32" fmla="*/ 94 w 145"/>
              <a:gd name="T33" fmla="*/ 100 h 146"/>
              <a:gd name="T34" fmla="*/ 85 w 145"/>
              <a:gd name="T35" fmla="*/ 100 h 146"/>
              <a:gd name="T36" fmla="*/ 85 w 145"/>
              <a:gd name="T37" fmla="*/ 52 h 146"/>
              <a:gd name="T38" fmla="*/ 84 w 145"/>
              <a:gd name="T39" fmla="*/ 50 h 146"/>
              <a:gd name="T40" fmla="*/ 82 w 145"/>
              <a:gd name="T41" fmla="*/ 49 h 146"/>
              <a:gd name="T42" fmla="*/ 52 w 145"/>
              <a:gd name="T43" fmla="*/ 49 h 146"/>
              <a:gd name="T44" fmla="*/ 49 w 145"/>
              <a:gd name="T45" fmla="*/ 50 h 146"/>
              <a:gd name="T46" fmla="*/ 49 w 145"/>
              <a:gd name="T47" fmla="*/ 52 h 146"/>
              <a:gd name="T48" fmla="*/ 49 w 145"/>
              <a:gd name="T49" fmla="*/ 67 h 146"/>
              <a:gd name="T50" fmla="*/ 49 w 145"/>
              <a:gd name="T51" fmla="*/ 69 h 146"/>
              <a:gd name="T52" fmla="*/ 52 w 145"/>
              <a:gd name="T53" fmla="*/ 70 h 146"/>
              <a:gd name="T54" fmla="*/ 61 w 145"/>
              <a:gd name="T55" fmla="*/ 70 h 146"/>
              <a:gd name="T56" fmla="*/ 61 w 145"/>
              <a:gd name="T57" fmla="*/ 100 h 146"/>
              <a:gd name="T58" fmla="*/ 52 w 145"/>
              <a:gd name="T59" fmla="*/ 100 h 146"/>
              <a:gd name="T60" fmla="*/ 49 w 145"/>
              <a:gd name="T61" fmla="*/ 101 h 146"/>
              <a:gd name="T62" fmla="*/ 49 w 145"/>
              <a:gd name="T63" fmla="*/ 103 h 146"/>
              <a:gd name="T64" fmla="*/ 49 w 145"/>
              <a:gd name="T65" fmla="*/ 118 h 146"/>
              <a:gd name="T66" fmla="*/ 49 w 145"/>
              <a:gd name="T67" fmla="*/ 121 h 146"/>
              <a:gd name="T68" fmla="*/ 52 w 145"/>
              <a:gd name="T69" fmla="*/ 121 h 146"/>
              <a:gd name="T70" fmla="*/ 94 w 145"/>
              <a:gd name="T71" fmla="*/ 121 h 146"/>
              <a:gd name="T72" fmla="*/ 96 w 145"/>
              <a:gd name="T73" fmla="*/ 121 h 146"/>
              <a:gd name="T74" fmla="*/ 97 w 145"/>
              <a:gd name="T75" fmla="*/ 118 h 146"/>
              <a:gd name="T76" fmla="*/ 85 w 145"/>
              <a:gd name="T77" fmla="*/ 34 h 146"/>
              <a:gd name="T78" fmla="*/ 85 w 145"/>
              <a:gd name="T79" fmla="*/ 18 h 146"/>
              <a:gd name="T80" fmla="*/ 84 w 145"/>
              <a:gd name="T81" fmla="*/ 16 h 146"/>
              <a:gd name="T82" fmla="*/ 82 w 145"/>
              <a:gd name="T83" fmla="*/ 15 h 146"/>
              <a:gd name="T84" fmla="*/ 64 w 145"/>
              <a:gd name="T85" fmla="*/ 15 h 146"/>
              <a:gd name="T86" fmla="*/ 62 w 145"/>
              <a:gd name="T87" fmla="*/ 16 h 146"/>
              <a:gd name="T88" fmla="*/ 61 w 145"/>
              <a:gd name="T89" fmla="*/ 18 h 146"/>
              <a:gd name="T90" fmla="*/ 61 w 145"/>
              <a:gd name="T91" fmla="*/ 34 h 146"/>
              <a:gd name="T92" fmla="*/ 62 w 145"/>
              <a:gd name="T93" fmla="*/ 36 h 146"/>
              <a:gd name="T94" fmla="*/ 64 w 145"/>
              <a:gd name="T95" fmla="*/ 37 h 146"/>
              <a:gd name="T96" fmla="*/ 82 w 145"/>
              <a:gd name="T97" fmla="*/ 37 h 146"/>
              <a:gd name="T98" fmla="*/ 84 w 145"/>
              <a:gd name="T99" fmla="*/ 36 h 146"/>
              <a:gd name="T100" fmla="*/ 85 w 145"/>
              <a:gd name="T101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5" h="146">
                <a:moveTo>
                  <a:pt x="136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7"/>
                </a:cubicBezTo>
                <a:close/>
                <a:moveTo>
                  <a:pt x="97" y="118"/>
                </a:moveTo>
                <a:cubicBezTo>
                  <a:pt x="97" y="103"/>
                  <a:pt x="97" y="103"/>
                  <a:pt x="97" y="103"/>
                </a:cubicBezTo>
                <a:cubicBezTo>
                  <a:pt x="97" y="102"/>
                  <a:pt x="97" y="102"/>
                  <a:pt x="96" y="101"/>
                </a:cubicBezTo>
                <a:cubicBezTo>
                  <a:pt x="96" y="100"/>
                  <a:pt x="95" y="100"/>
                  <a:pt x="94" y="100"/>
                </a:cubicBezTo>
                <a:cubicBezTo>
                  <a:pt x="85" y="100"/>
                  <a:pt x="85" y="100"/>
                  <a:pt x="85" y="100"/>
                </a:cubicBezTo>
                <a:cubicBezTo>
                  <a:pt x="85" y="52"/>
                  <a:pt x="85" y="52"/>
                  <a:pt x="85" y="52"/>
                </a:cubicBezTo>
                <a:cubicBezTo>
                  <a:pt x="85" y="51"/>
                  <a:pt x="85" y="50"/>
                  <a:pt x="84" y="50"/>
                </a:cubicBezTo>
                <a:cubicBezTo>
                  <a:pt x="84" y="49"/>
                  <a:pt x="83" y="49"/>
                  <a:pt x="82" y="49"/>
                </a:cubicBezTo>
                <a:cubicBezTo>
                  <a:pt x="52" y="49"/>
                  <a:pt x="52" y="49"/>
                  <a:pt x="52" y="49"/>
                </a:cubicBezTo>
                <a:cubicBezTo>
                  <a:pt x="51" y="49"/>
                  <a:pt x="50" y="49"/>
                  <a:pt x="49" y="50"/>
                </a:cubicBezTo>
                <a:cubicBezTo>
                  <a:pt x="49" y="50"/>
                  <a:pt x="49" y="51"/>
                  <a:pt x="49" y="52"/>
                </a:cubicBezTo>
                <a:cubicBezTo>
                  <a:pt x="49" y="67"/>
                  <a:pt x="49" y="67"/>
                  <a:pt x="49" y="67"/>
                </a:cubicBezTo>
                <a:cubicBezTo>
                  <a:pt x="49" y="68"/>
                  <a:pt x="49" y="69"/>
                  <a:pt x="49" y="69"/>
                </a:cubicBezTo>
                <a:cubicBezTo>
                  <a:pt x="50" y="70"/>
                  <a:pt x="51" y="70"/>
                  <a:pt x="52" y="70"/>
                </a:cubicBezTo>
                <a:cubicBezTo>
                  <a:pt x="61" y="70"/>
                  <a:pt x="61" y="70"/>
                  <a:pt x="61" y="70"/>
                </a:cubicBezTo>
                <a:cubicBezTo>
                  <a:pt x="61" y="100"/>
                  <a:pt x="61" y="100"/>
                  <a:pt x="61" y="100"/>
                </a:cubicBezTo>
                <a:cubicBezTo>
                  <a:pt x="52" y="100"/>
                  <a:pt x="52" y="100"/>
                  <a:pt x="52" y="100"/>
                </a:cubicBezTo>
                <a:cubicBezTo>
                  <a:pt x="51" y="100"/>
                  <a:pt x="50" y="100"/>
                  <a:pt x="49" y="101"/>
                </a:cubicBezTo>
                <a:cubicBezTo>
                  <a:pt x="49" y="102"/>
                  <a:pt x="49" y="102"/>
                  <a:pt x="49" y="103"/>
                </a:cubicBezTo>
                <a:cubicBezTo>
                  <a:pt x="49" y="118"/>
                  <a:pt x="49" y="118"/>
                  <a:pt x="49" y="118"/>
                </a:cubicBezTo>
                <a:cubicBezTo>
                  <a:pt x="49" y="119"/>
                  <a:pt x="49" y="120"/>
                  <a:pt x="49" y="121"/>
                </a:cubicBezTo>
                <a:cubicBezTo>
                  <a:pt x="50" y="121"/>
                  <a:pt x="51" y="121"/>
                  <a:pt x="52" y="121"/>
                </a:cubicBezTo>
                <a:cubicBezTo>
                  <a:pt x="94" y="121"/>
                  <a:pt x="94" y="121"/>
                  <a:pt x="94" y="121"/>
                </a:cubicBezTo>
                <a:cubicBezTo>
                  <a:pt x="95" y="121"/>
                  <a:pt x="96" y="121"/>
                  <a:pt x="96" y="121"/>
                </a:cubicBezTo>
                <a:cubicBezTo>
                  <a:pt x="97" y="120"/>
                  <a:pt x="97" y="119"/>
                  <a:pt x="97" y="118"/>
                </a:cubicBezTo>
                <a:close/>
                <a:moveTo>
                  <a:pt x="85" y="34"/>
                </a:moveTo>
                <a:cubicBezTo>
                  <a:pt x="85" y="18"/>
                  <a:pt x="85" y="18"/>
                  <a:pt x="85" y="18"/>
                </a:cubicBezTo>
                <a:cubicBezTo>
                  <a:pt x="85" y="18"/>
                  <a:pt x="85" y="17"/>
                  <a:pt x="84" y="16"/>
                </a:cubicBezTo>
                <a:cubicBezTo>
                  <a:pt x="84" y="16"/>
                  <a:pt x="83" y="15"/>
                  <a:pt x="82" y="15"/>
                </a:cubicBezTo>
                <a:cubicBezTo>
                  <a:pt x="64" y="15"/>
                  <a:pt x="64" y="15"/>
                  <a:pt x="64" y="15"/>
                </a:cubicBezTo>
                <a:cubicBezTo>
                  <a:pt x="63" y="15"/>
                  <a:pt x="62" y="16"/>
                  <a:pt x="62" y="16"/>
                </a:cubicBezTo>
                <a:cubicBezTo>
                  <a:pt x="61" y="17"/>
                  <a:pt x="61" y="18"/>
                  <a:pt x="61" y="18"/>
                </a:cubicBezTo>
                <a:cubicBezTo>
                  <a:pt x="61" y="34"/>
                  <a:pt x="61" y="34"/>
                  <a:pt x="61" y="34"/>
                </a:cubicBezTo>
                <a:cubicBezTo>
                  <a:pt x="61" y="35"/>
                  <a:pt x="61" y="35"/>
                  <a:pt x="62" y="36"/>
                </a:cubicBezTo>
                <a:cubicBezTo>
                  <a:pt x="62" y="36"/>
                  <a:pt x="63" y="37"/>
                  <a:pt x="64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3" y="37"/>
                  <a:pt x="84" y="36"/>
                  <a:pt x="84" y="36"/>
                </a:cubicBezTo>
                <a:cubicBezTo>
                  <a:pt x="85" y="35"/>
                  <a:pt x="85" y="35"/>
                  <a:pt x="85" y="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1" name="Freeform 91"/>
          <p:cNvSpPr>
            <a:spLocks noChangeAspect="1" noEditPoints="1"/>
          </p:cNvSpPr>
          <p:nvPr/>
        </p:nvSpPr>
        <p:spPr bwMode="auto">
          <a:xfrm>
            <a:off x="2573515" y="2175379"/>
            <a:ext cx="151447" cy="151447"/>
          </a:xfrm>
          <a:custGeom>
            <a:avLst/>
            <a:gdLst>
              <a:gd name="T0" fmla="*/ 145 w 145"/>
              <a:gd name="T1" fmla="*/ 79 h 146"/>
              <a:gd name="T2" fmla="*/ 139 w 145"/>
              <a:gd name="T3" fmla="*/ 85 h 146"/>
              <a:gd name="T4" fmla="*/ 111 w 145"/>
              <a:gd name="T5" fmla="*/ 111 h 146"/>
              <a:gd name="T6" fmla="*/ 85 w 145"/>
              <a:gd name="T7" fmla="*/ 140 h 146"/>
              <a:gd name="T8" fmla="*/ 79 w 145"/>
              <a:gd name="T9" fmla="*/ 146 h 146"/>
              <a:gd name="T10" fmla="*/ 62 w 145"/>
              <a:gd name="T11" fmla="*/ 144 h 146"/>
              <a:gd name="T12" fmla="*/ 60 w 145"/>
              <a:gd name="T13" fmla="*/ 126 h 146"/>
              <a:gd name="T14" fmla="*/ 20 w 145"/>
              <a:gd name="T15" fmla="*/ 85 h 146"/>
              <a:gd name="T16" fmla="*/ 2 w 145"/>
              <a:gd name="T17" fmla="*/ 83 h 146"/>
              <a:gd name="T18" fmla="*/ 0 w 145"/>
              <a:gd name="T19" fmla="*/ 67 h 146"/>
              <a:gd name="T20" fmla="*/ 6 w 145"/>
              <a:gd name="T21" fmla="*/ 61 h 146"/>
              <a:gd name="T22" fmla="*/ 34 w 145"/>
              <a:gd name="T23" fmla="*/ 35 h 146"/>
              <a:gd name="T24" fmla="*/ 60 w 145"/>
              <a:gd name="T25" fmla="*/ 6 h 146"/>
              <a:gd name="T26" fmla="*/ 67 w 145"/>
              <a:gd name="T27" fmla="*/ 0 h 146"/>
              <a:gd name="T28" fmla="*/ 83 w 145"/>
              <a:gd name="T29" fmla="*/ 2 h 146"/>
              <a:gd name="T30" fmla="*/ 85 w 145"/>
              <a:gd name="T31" fmla="*/ 20 h 146"/>
              <a:gd name="T32" fmla="*/ 126 w 145"/>
              <a:gd name="T33" fmla="*/ 61 h 146"/>
              <a:gd name="T34" fmla="*/ 143 w 145"/>
              <a:gd name="T35" fmla="*/ 63 h 146"/>
              <a:gd name="T36" fmla="*/ 113 w 145"/>
              <a:gd name="T37" fmla="*/ 85 h 146"/>
              <a:gd name="T38" fmla="*/ 99 w 145"/>
              <a:gd name="T39" fmla="*/ 83 h 146"/>
              <a:gd name="T40" fmla="*/ 97 w 145"/>
              <a:gd name="T41" fmla="*/ 67 h 146"/>
              <a:gd name="T42" fmla="*/ 103 w 145"/>
              <a:gd name="T43" fmla="*/ 61 h 146"/>
              <a:gd name="T44" fmla="*/ 103 w 145"/>
              <a:gd name="T45" fmla="*/ 43 h 146"/>
              <a:gd name="T46" fmla="*/ 85 w 145"/>
              <a:gd name="T47" fmla="*/ 43 h 146"/>
              <a:gd name="T48" fmla="*/ 79 w 145"/>
              <a:gd name="T49" fmla="*/ 49 h 146"/>
              <a:gd name="T50" fmla="*/ 62 w 145"/>
              <a:gd name="T51" fmla="*/ 47 h 146"/>
              <a:gd name="T52" fmla="*/ 60 w 145"/>
              <a:gd name="T53" fmla="*/ 32 h 146"/>
              <a:gd name="T54" fmla="*/ 32 w 145"/>
              <a:gd name="T55" fmla="*/ 61 h 146"/>
              <a:gd name="T56" fmla="*/ 47 w 145"/>
              <a:gd name="T57" fmla="*/ 63 h 146"/>
              <a:gd name="T58" fmla="*/ 48 w 145"/>
              <a:gd name="T59" fmla="*/ 79 h 146"/>
              <a:gd name="T60" fmla="*/ 42 w 145"/>
              <a:gd name="T61" fmla="*/ 85 h 146"/>
              <a:gd name="T62" fmla="*/ 43 w 145"/>
              <a:gd name="T63" fmla="*/ 103 h 146"/>
              <a:gd name="T64" fmla="*/ 60 w 145"/>
              <a:gd name="T65" fmla="*/ 103 h 146"/>
              <a:gd name="T66" fmla="*/ 67 w 145"/>
              <a:gd name="T67" fmla="*/ 97 h 146"/>
              <a:gd name="T68" fmla="*/ 83 w 145"/>
              <a:gd name="T69" fmla="*/ 99 h 146"/>
              <a:gd name="T70" fmla="*/ 85 w 145"/>
              <a:gd name="T71" fmla="*/ 114 h 146"/>
              <a:gd name="T72" fmla="*/ 113 w 145"/>
              <a:gd name="T73" fmla="*/ 8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7"/>
                </a:moveTo>
                <a:cubicBezTo>
                  <a:pt x="145" y="79"/>
                  <a:pt x="145" y="79"/>
                  <a:pt x="145" y="79"/>
                </a:cubicBezTo>
                <a:cubicBezTo>
                  <a:pt x="145" y="81"/>
                  <a:pt x="145" y="82"/>
                  <a:pt x="143" y="83"/>
                </a:cubicBezTo>
                <a:cubicBezTo>
                  <a:pt x="142" y="84"/>
                  <a:pt x="141" y="85"/>
                  <a:pt x="139" y="85"/>
                </a:cubicBezTo>
                <a:cubicBezTo>
                  <a:pt x="126" y="85"/>
                  <a:pt x="126" y="85"/>
                  <a:pt x="126" y="85"/>
                </a:cubicBezTo>
                <a:cubicBezTo>
                  <a:pt x="123" y="95"/>
                  <a:pt x="118" y="104"/>
                  <a:pt x="111" y="111"/>
                </a:cubicBezTo>
                <a:cubicBezTo>
                  <a:pt x="104" y="119"/>
                  <a:pt x="95" y="124"/>
                  <a:pt x="85" y="126"/>
                </a:cubicBezTo>
                <a:cubicBezTo>
                  <a:pt x="85" y="140"/>
                  <a:pt x="85" y="140"/>
                  <a:pt x="85" y="140"/>
                </a:cubicBezTo>
                <a:cubicBezTo>
                  <a:pt x="85" y="141"/>
                  <a:pt x="84" y="143"/>
                  <a:pt x="83" y="144"/>
                </a:cubicBezTo>
                <a:cubicBezTo>
                  <a:pt x="82" y="145"/>
                  <a:pt x="80" y="146"/>
                  <a:pt x="79" y="146"/>
                </a:cubicBezTo>
                <a:cubicBezTo>
                  <a:pt x="67" y="146"/>
                  <a:pt x="67" y="146"/>
                  <a:pt x="67" y="146"/>
                </a:cubicBezTo>
                <a:cubicBezTo>
                  <a:pt x="65" y="146"/>
                  <a:pt x="63" y="145"/>
                  <a:pt x="62" y="144"/>
                </a:cubicBezTo>
                <a:cubicBezTo>
                  <a:pt x="61" y="143"/>
                  <a:pt x="60" y="141"/>
                  <a:pt x="60" y="140"/>
                </a:cubicBezTo>
                <a:cubicBezTo>
                  <a:pt x="60" y="126"/>
                  <a:pt x="60" y="126"/>
                  <a:pt x="60" y="126"/>
                </a:cubicBezTo>
                <a:cubicBezTo>
                  <a:pt x="50" y="124"/>
                  <a:pt x="42" y="119"/>
                  <a:pt x="34" y="111"/>
                </a:cubicBezTo>
                <a:cubicBezTo>
                  <a:pt x="27" y="104"/>
                  <a:pt x="22" y="95"/>
                  <a:pt x="20" y="85"/>
                </a:cubicBezTo>
                <a:cubicBezTo>
                  <a:pt x="6" y="85"/>
                  <a:pt x="6" y="85"/>
                  <a:pt x="6" y="85"/>
                </a:cubicBezTo>
                <a:cubicBezTo>
                  <a:pt x="4" y="85"/>
                  <a:pt x="3" y="84"/>
                  <a:pt x="2" y="83"/>
                </a:cubicBezTo>
                <a:cubicBezTo>
                  <a:pt x="1" y="82"/>
                  <a:pt x="0" y="81"/>
                  <a:pt x="0" y="79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65"/>
                  <a:pt x="1" y="64"/>
                  <a:pt x="2" y="63"/>
                </a:cubicBezTo>
                <a:cubicBezTo>
                  <a:pt x="3" y="61"/>
                  <a:pt x="4" y="61"/>
                  <a:pt x="6" y="61"/>
                </a:cubicBezTo>
                <a:cubicBezTo>
                  <a:pt x="20" y="61"/>
                  <a:pt x="20" y="61"/>
                  <a:pt x="20" y="61"/>
                </a:cubicBezTo>
                <a:cubicBezTo>
                  <a:pt x="22" y="51"/>
                  <a:pt x="27" y="42"/>
                  <a:pt x="34" y="35"/>
                </a:cubicBezTo>
                <a:cubicBezTo>
                  <a:pt x="42" y="27"/>
                  <a:pt x="50" y="22"/>
                  <a:pt x="60" y="20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5"/>
                  <a:pt x="61" y="3"/>
                  <a:pt x="62" y="2"/>
                </a:cubicBezTo>
                <a:cubicBezTo>
                  <a:pt x="63" y="1"/>
                  <a:pt x="65" y="0"/>
                  <a:pt x="67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80" y="0"/>
                  <a:pt x="82" y="1"/>
                  <a:pt x="83" y="2"/>
                </a:cubicBezTo>
                <a:cubicBezTo>
                  <a:pt x="84" y="3"/>
                  <a:pt x="85" y="5"/>
                  <a:pt x="85" y="6"/>
                </a:cubicBezTo>
                <a:cubicBezTo>
                  <a:pt x="85" y="20"/>
                  <a:pt x="85" y="20"/>
                  <a:pt x="85" y="20"/>
                </a:cubicBezTo>
                <a:cubicBezTo>
                  <a:pt x="95" y="22"/>
                  <a:pt x="104" y="27"/>
                  <a:pt x="111" y="35"/>
                </a:cubicBezTo>
                <a:cubicBezTo>
                  <a:pt x="118" y="42"/>
                  <a:pt x="123" y="51"/>
                  <a:pt x="126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1" y="61"/>
                  <a:pt x="142" y="61"/>
                  <a:pt x="143" y="63"/>
                </a:cubicBezTo>
                <a:cubicBezTo>
                  <a:pt x="145" y="64"/>
                  <a:pt x="145" y="65"/>
                  <a:pt x="145" y="67"/>
                </a:cubicBezTo>
                <a:close/>
                <a:moveTo>
                  <a:pt x="113" y="85"/>
                </a:moveTo>
                <a:cubicBezTo>
                  <a:pt x="103" y="85"/>
                  <a:pt x="103" y="85"/>
                  <a:pt x="103" y="85"/>
                </a:cubicBezTo>
                <a:cubicBezTo>
                  <a:pt x="101" y="85"/>
                  <a:pt x="100" y="84"/>
                  <a:pt x="99" y="83"/>
                </a:cubicBezTo>
                <a:cubicBezTo>
                  <a:pt x="97" y="82"/>
                  <a:pt x="97" y="81"/>
                  <a:pt x="97" y="79"/>
                </a:cubicBezTo>
                <a:cubicBezTo>
                  <a:pt x="97" y="67"/>
                  <a:pt x="97" y="67"/>
                  <a:pt x="97" y="67"/>
                </a:cubicBezTo>
                <a:cubicBezTo>
                  <a:pt x="97" y="65"/>
                  <a:pt x="97" y="64"/>
                  <a:pt x="99" y="63"/>
                </a:cubicBezTo>
                <a:cubicBezTo>
                  <a:pt x="100" y="61"/>
                  <a:pt x="101" y="61"/>
                  <a:pt x="103" y="61"/>
                </a:cubicBezTo>
                <a:cubicBezTo>
                  <a:pt x="113" y="61"/>
                  <a:pt x="113" y="61"/>
                  <a:pt x="113" y="61"/>
                </a:cubicBezTo>
                <a:cubicBezTo>
                  <a:pt x="111" y="54"/>
                  <a:pt x="108" y="48"/>
                  <a:pt x="103" y="43"/>
                </a:cubicBezTo>
                <a:cubicBezTo>
                  <a:pt x="97" y="38"/>
                  <a:pt x="91" y="34"/>
                  <a:pt x="85" y="32"/>
                </a:cubicBezTo>
                <a:cubicBezTo>
                  <a:pt x="85" y="43"/>
                  <a:pt x="85" y="43"/>
                  <a:pt x="85" y="43"/>
                </a:cubicBezTo>
                <a:cubicBezTo>
                  <a:pt x="85" y="44"/>
                  <a:pt x="84" y="46"/>
                  <a:pt x="83" y="47"/>
                </a:cubicBezTo>
                <a:cubicBezTo>
                  <a:pt x="82" y="48"/>
                  <a:pt x="80" y="49"/>
                  <a:pt x="79" y="49"/>
                </a:cubicBezTo>
                <a:cubicBezTo>
                  <a:pt x="67" y="49"/>
                  <a:pt x="67" y="49"/>
                  <a:pt x="67" y="49"/>
                </a:cubicBezTo>
                <a:cubicBezTo>
                  <a:pt x="65" y="49"/>
                  <a:pt x="63" y="48"/>
                  <a:pt x="62" y="47"/>
                </a:cubicBezTo>
                <a:cubicBezTo>
                  <a:pt x="61" y="46"/>
                  <a:pt x="60" y="44"/>
                  <a:pt x="60" y="43"/>
                </a:cubicBezTo>
                <a:cubicBezTo>
                  <a:pt x="60" y="32"/>
                  <a:pt x="60" y="32"/>
                  <a:pt x="60" y="32"/>
                </a:cubicBezTo>
                <a:cubicBezTo>
                  <a:pt x="54" y="34"/>
                  <a:pt x="48" y="38"/>
                  <a:pt x="43" y="43"/>
                </a:cubicBezTo>
                <a:cubicBezTo>
                  <a:pt x="38" y="48"/>
                  <a:pt x="34" y="54"/>
                  <a:pt x="32" y="61"/>
                </a:cubicBezTo>
                <a:cubicBezTo>
                  <a:pt x="42" y="61"/>
                  <a:pt x="42" y="61"/>
                  <a:pt x="42" y="61"/>
                </a:cubicBezTo>
                <a:cubicBezTo>
                  <a:pt x="44" y="61"/>
                  <a:pt x="45" y="61"/>
                  <a:pt x="47" y="63"/>
                </a:cubicBezTo>
                <a:cubicBezTo>
                  <a:pt x="48" y="64"/>
                  <a:pt x="48" y="65"/>
                  <a:pt x="48" y="67"/>
                </a:cubicBezTo>
                <a:cubicBezTo>
                  <a:pt x="48" y="79"/>
                  <a:pt x="48" y="79"/>
                  <a:pt x="48" y="79"/>
                </a:cubicBezTo>
                <a:cubicBezTo>
                  <a:pt x="48" y="81"/>
                  <a:pt x="48" y="82"/>
                  <a:pt x="47" y="83"/>
                </a:cubicBezTo>
                <a:cubicBezTo>
                  <a:pt x="45" y="84"/>
                  <a:pt x="44" y="85"/>
                  <a:pt x="42" y="85"/>
                </a:cubicBezTo>
                <a:cubicBezTo>
                  <a:pt x="32" y="85"/>
                  <a:pt x="32" y="85"/>
                  <a:pt x="32" y="85"/>
                </a:cubicBezTo>
                <a:cubicBezTo>
                  <a:pt x="34" y="92"/>
                  <a:pt x="38" y="98"/>
                  <a:pt x="43" y="103"/>
                </a:cubicBezTo>
                <a:cubicBezTo>
                  <a:pt x="48" y="108"/>
                  <a:pt x="54" y="111"/>
                  <a:pt x="60" y="114"/>
                </a:cubicBezTo>
                <a:cubicBezTo>
                  <a:pt x="60" y="103"/>
                  <a:pt x="60" y="103"/>
                  <a:pt x="60" y="103"/>
                </a:cubicBezTo>
                <a:cubicBezTo>
                  <a:pt x="60" y="102"/>
                  <a:pt x="61" y="100"/>
                  <a:pt x="62" y="99"/>
                </a:cubicBezTo>
                <a:cubicBezTo>
                  <a:pt x="63" y="98"/>
                  <a:pt x="65" y="97"/>
                  <a:pt x="67" y="97"/>
                </a:cubicBezTo>
                <a:cubicBezTo>
                  <a:pt x="79" y="97"/>
                  <a:pt x="79" y="97"/>
                  <a:pt x="79" y="97"/>
                </a:cubicBezTo>
                <a:cubicBezTo>
                  <a:pt x="80" y="97"/>
                  <a:pt x="82" y="98"/>
                  <a:pt x="83" y="99"/>
                </a:cubicBezTo>
                <a:cubicBezTo>
                  <a:pt x="84" y="100"/>
                  <a:pt x="85" y="102"/>
                  <a:pt x="85" y="103"/>
                </a:cubicBezTo>
                <a:cubicBezTo>
                  <a:pt x="85" y="114"/>
                  <a:pt x="85" y="114"/>
                  <a:pt x="85" y="114"/>
                </a:cubicBezTo>
                <a:cubicBezTo>
                  <a:pt x="91" y="111"/>
                  <a:pt x="97" y="108"/>
                  <a:pt x="103" y="103"/>
                </a:cubicBezTo>
                <a:cubicBezTo>
                  <a:pt x="108" y="98"/>
                  <a:pt x="111" y="92"/>
                  <a:pt x="113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2" name="Freeform 92"/>
          <p:cNvSpPr>
            <a:spLocks noChangeAspect="1" noEditPoints="1"/>
          </p:cNvSpPr>
          <p:nvPr/>
        </p:nvSpPr>
        <p:spPr bwMode="auto">
          <a:xfrm>
            <a:off x="2767117" y="2175379"/>
            <a:ext cx="151447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7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17 w 145"/>
              <a:gd name="T27" fmla="*/ 99 h 146"/>
              <a:gd name="T28" fmla="*/ 124 w 145"/>
              <a:gd name="T29" fmla="*/ 73 h 146"/>
              <a:gd name="T30" fmla="*/ 117 w 145"/>
              <a:gd name="T31" fmla="*/ 47 h 146"/>
              <a:gd name="T32" fmla="*/ 98 w 145"/>
              <a:gd name="T33" fmla="*/ 28 h 146"/>
              <a:gd name="T34" fmla="*/ 72 w 145"/>
              <a:gd name="T35" fmla="*/ 22 h 146"/>
              <a:gd name="T36" fmla="*/ 47 w 145"/>
              <a:gd name="T37" fmla="*/ 28 h 146"/>
              <a:gd name="T38" fmla="*/ 28 w 145"/>
              <a:gd name="T39" fmla="*/ 47 h 146"/>
              <a:gd name="T40" fmla="*/ 21 w 145"/>
              <a:gd name="T41" fmla="*/ 73 h 146"/>
              <a:gd name="T42" fmla="*/ 28 w 145"/>
              <a:gd name="T43" fmla="*/ 99 h 146"/>
              <a:gd name="T44" fmla="*/ 47 w 145"/>
              <a:gd name="T45" fmla="*/ 117 h 146"/>
              <a:gd name="T46" fmla="*/ 72 w 145"/>
              <a:gd name="T47" fmla="*/ 124 h 146"/>
              <a:gd name="T48" fmla="*/ 98 w 145"/>
              <a:gd name="T49" fmla="*/ 117 h 146"/>
              <a:gd name="T50" fmla="*/ 117 w 145"/>
              <a:gd name="T51" fmla="*/ 99 h 146"/>
              <a:gd name="T52" fmla="*/ 103 w 145"/>
              <a:gd name="T53" fmla="*/ 90 h 146"/>
              <a:gd name="T54" fmla="*/ 90 w 145"/>
              <a:gd name="T55" fmla="*/ 104 h 146"/>
              <a:gd name="T56" fmla="*/ 87 w 145"/>
              <a:gd name="T57" fmla="*/ 105 h 146"/>
              <a:gd name="T58" fmla="*/ 85 w 145"/>
              <a:gd name="T59" fmla="*/ 104 h 146"/>
              <a:gd name="T60" fmla="*/ 72 w 145"/>
              <a:gd name="T61" fmla="*/ 91 h 146"/>
              <a:gd name="T62" fmla="*/ 59 w 145"/>
              <a:gd name="T63" fmla="*/ 104 h 146"/>
              <a:gd name="T64" fmla="*/ 57 w 145"/>
              <a:gd name="T65" fmla="*/ 105 h 146"/>
              <a:gd name="T66" fmla="*/ 55 w 145"/>
              <a:gd name="T67" fmla="*/ 104 h 146"/>
              <a:gd name="T68" fmla="*/ 41 w 145"/>
              <a:gd name="T69" fmla="*/ 90 h 146"/>
              <a:gd name="T70" fmla="*/ 40 w 145"/>
              <a:gd name="T71" fmla="*/ 88 h 146"/>
              <a:gd name="T72" fmla="*/ 41 w 145"/>
              <a:gd name="T73" fmla="*/ 86 h 146"/>
              <a:gd name="T74" fmla="*/ 54 w 145"/>
              <a:gd name="T75" fmla="*/ 73 h 146"/>
              <a:gd name="T76" fmla="*/ 41 w 145"/>
              <a:gd name="T77" fmla="*/ 60 h 146"/>
              <a:gd name="T78" fmla="*/ 40 w 145"/>
              <a:gd name="T79" fmla="*/ 58 h 146"/>
              <a:gd name="T80" fmla="*/ 41 w 145"/>
              <a:gd name="T81" fmla="*/ 56 h 146"/>
              <a:gd name="T82" fmla="*/ 55 w 145"/>
              <a:gd name="T83" fmla="*/ 42 h 146"/>
              <a:gd name="T84" fmla="*/ 57 w 145"/>
              <a:gd name="T85" fmla="*/ 41 h 146"/>
              <a:gd name="T86" fmla="*/ 59 w 145"/>
              <a:gd name="T87" fmla="*/ 42 h 146"/>
              <a:gd name="T88" fmla="*/ 72 w 145"/>
              <a:gd name="T89" fmla="*/ 55 h 146"/>
              <a:gd name="T90" fmla="*/ 85 w 145"/>
              <a:gd name="T91" fmla="*/ 42 h 146"/>
              <a:gd name="T92" fmla="*/ 87 w 145"/>
              <a:gd name="T93" fmla="*/ 41 h 146"/>
              <a:gd name="T94" fmla="*/ 90 w 145"/>
              <a:gd name="T95" fmla="*/ 42 h 146"/>
              <a:gd name="T96" fmla="*/ 103 w 145"/>
              <a:gd name="T97" fmla="*/ 56 h 146"/>
              <a:gd name="T98" fmla="*/ 104 w 145"/>
              <a:gd name="T99" fmla="*/ 58 h 146"/>
              <a:gd name="T100" fmla="*/ 103 w 145"/>
              <a:gd name="T101" fmla="*/ 60 h 146"/>
              <a:gd name="T102" fmla="*/ 91 w 145"/>
              <a:gd name="T103" fmla="*/ 73 h 146"/>
              <a:gd name="T104" fmla="*/ 103 w 145"/>
              <a:gd name="T105" fmla="*/ 86 h 146"/>
              <a:gd name="T106" fmla="*/ 104 w 145"/>
              <a:gd name="T107" fmla="*/ 88 h 146"/>
              <a:gd name="T108" fmla="*/ 103 w 145"/>
              <a:gd name="T109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17" y="99"/>
                </a:moveTo>
                <a:cubicBezTo>
                  <a:pt x="121" y="91"/>
                  <a:pt x="124" y="82"/>
                  <a:pt x="124" y="73"/>
                </a:cubicBezTo>
                <a:cubicBezTo>
                  <a:pt x="124" y="64"/>
                  <a:pt x="121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ubicBezTo>
                  <a:pt x="90" y="24"/>
                  <a:pt x="82" y="22"/>
                  <a:pt x="72" y="22"/>
                </a:cubicBezTo>
                <a:cubicBezTo>
                  <a:pt x="63" y="22"/>
                  <a:pt x="54" y="24"/>
                  <a:pt x="47" y="28"/>
                </a:cubicBezTo>
                <a:cubicBezTo>
                  <a:pt x="39" y="33"/>
                  <a:pt x="32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2" y="107"/>
                  <a:pt x="39" y="113"/>
                  <a:pt x="47" y="117"/>
                </a:cubicBezTo>
                <a:cubicBezTo>
                  <a:pt x="54" y="122"/>
                  <a:pt x="63" y="124"/>
                  <a:pt x="72" y="124"/>
                </a:cubicBezTo>
                <a:cubicBezTo>
                  <a:pt x="82" y="124"/>
                  <a:pt x="90" y="122"/>
                  <a:pt x="98" y="117"/>
                </a:cubicBezTo>
                <a:cubicBezTo>
                  <a:pt x="106" y="113"/>
                  <a:pt x="112" y="107"/>
                  <a:pt x="117" y="99"/>
                </a:cubicBezTo>
                <a:close/>
                <a:moveTo>
                  <a:pt x="103" y="90"/>
                </a:moveTo>
                <a:cubicBezTo>
                  <a:pt x="90" y="104"/>
                  <a:pt x="90" y="104"/>
                  <a:pt x="90" y="104"/>
                </a:cubicBezTo>
                <a:cubicBezTo>
                  <a:pt x="89" y="105"/>
                  <a:pt x="88" y="105"/>
                  <a:pt x="87" y="105"/>
                </a:cubicBezTo>
                <a:cubicBezTo>
                  <a:pt x="87" y="105"/>
                  <a:pt x="86" y="105"/>
                  <a:pt x="85" y="104"/>
                </a:cubicBezTo>
                <a:cubicBezTo>
                  <a:pt x="72" y="91"/>
                  <a:pt x="72" y="91"/>
                  <a:pt x="72" y="91"/>
                </a:cubicBezTo>
                <a:cubicBezTo>
                  <a:pt x="59" y="104"/>
                  <a:pt x="59" y="104"/>
                  <a:pt x="59" y="104"/>
                </a:cubicBezTo>
                <a:cubicBezTo>
                  <a:pt x="59" y="105"/>
                  <a:pt x="58" y="105"/>
                  <a:pt x="57" y="105"/>
                </a:cubicBezTo>
                <a:cubicBezTo>
                  <a:pt x="56" y="105"/>
                  <a:pt x="56" y="105"/>
                  <a:pt x="55" y="104"/>
                </a:cubicBezTo>
                <a:cubicBezTo>
                  <a:pt x="41" y="90"/>
                  <a:pt x="41" y="90"/>
                  <a:pt x="41" y="90"/>
                </a:cubicBezTo>
                <a:cubicBezTo>
                  <a:pt x="41" y="90"/>
                  <a:pt x="40" y="89"/>
                  <a:pt x="40" y="88"/>
                </a:cubicBezTo>
                <a:cubicBezTo>
                  <a:pt x="40" y="87"/>
                  <a:pt x="41" y="87"/>
                  <a:pt x="41" y="86"/>
                </a:cubicBezTo>
                <a:cubicBezTo>
                  <a:pt x="54" y="73"/>
                  <a:pt x="54" y="73"/>
                  <a:pt x="54" y="73"/>
                </a:cubicBezTo>
                <a:cubicBezTo>
                  <a:pt x="41" y="60"/>
                  <a:pt x="41" y="60"/>
                  <a:pt x="41" y="60"/>
                </a:cubicBezTo>
                <a:cubicBezTo>
                  <a:pt x="41" y="59"/>
                  <a:pt x="40" y="59"/>
                  <a:pt x="40" y="58"/>
                </a:cubicBezTo>
                <a:cubicBezTo>
                  <a:pt x="40" y="57"/>
                  <a:pt x="41" y="56"/>
                  <a:pt x="41" y="56"/>
                </a:cubicBezTo>
                <a:cubicBezTo>
                  <a:pt x="55" y="42"/>
                  <a:pt x="55" y="42"/>
                  <a:pt x="55" y="42"/>
                </a:cubicBezTo>
                <a:cubicBezTo>
                  <a:pt x="56" y="41"/>
                  <a:pt x="56" y="41"/>
                  <a:pt x="57" y="41"/>
                </a:cubicBezTo>
                <a:cubicBezTo>
                  <a:pt x="58" y="41"/>
                  <a:pt x="59" y="41"/>
                  <a:pt x="59" y="42"/>
                </a:cubicBezTo>
                <a:cubicBezTo>
                  <a:pt x="72" y="55"/>
                  <a:pt x="72" y="55"/>
                  <a:pt x="72" y="55"/>
                </a:cubicBezTo>
                <a:cubicBezTo>
                  <a:pt x="85" y="42"/>
                  <a:pt x="85" y="42"/>
                  <a:pt x="85" y="42"/>
                </a:cubicBezTo>
                <a:cubicBezTo>
                  <a:pt x="86" y="41"/>
                  <a:pt x="87" y="41"/>
                  <a:pt x="87" y="41"/>
                </a:cubicBezTo>
                <a:cubicBezTo>
                  <a:pt x="88" y="41"/>
                  <a:pt x="89" y="41"/>
                  <a:pt x="90" y="42"/>
                </a:cubicBezTo>
                <a:cubicBezTo>
                  <a:pt x="103" y="56"/>
                  <a:pt x="103" y="56"/>
                  <a:pt x="103" y="56"/>
                </a:cubicBezTo>
                <a:cubicBezTo>
                  <a:pt x="104" y="56"/>
                  <a:pt x="104" y="57"/>
                  <a:pt x="104" y="58"/>
                </a:cubicBezTo>
                <a:cubicBezTo>
                  <a:pt x="104" y="59"/>
                  <a:pt x="104" y="59"/>
                  <a:pt x="103" y="60"/>
                </a:cubicBezTo>
                <a:cubicBezTo>
                  <a:pt x="91" y="73"/>
                  <a:pt x="91" y="73"/>
                  <a:pt x="91" y="73"/>
                </a:cubicBezTo>
                <a:cubicBezTo>
                  <a:pt x="103" y="86"/>
                  <a:pt x="103" y="86"/>
                  <a:pt x="103" y="86"/>
                </a:cubicBezTo>
                <a:cubicBezTo>
                  <a:pt x="104" y="87"/>
                  <a:pt x="104" y="87"/>
                  <a:pt x="104" y="88"/>
                </a:cubicBezTo>
                <a:cubicBezTo>
                  <a:pt x="104" y="89"/>
                  <a:pt x="104" y="90"/>
                  <a:pt x="103" y="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3" name="Freeform 93"/>
          <p:cNvSpPr>
            <a:spLocks noChangeAspect="1" noEditPoints="1"/>
          </p:cNvSpPr>
          <p:nvPr/>
        </p:nvSpPr>
        <p:spPr bwMode="auto">
          <a:xfrm>
            <a:off x="2960719" y="2175379"/>
            <a:ext cx="151447" cy="151447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7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17 w 145"/>
              <a:gd name="T27" fmla="*/ 99 h 146"/>
              <a:gd name="T28" fmla="*/ 124 w 145"/>
              <a:gd name="T29" fmla="*/ 73 h 146"/>
              <a:gd name="T30" fmla="*/ 117 w 145"/>
              <a:gd name="T31" fmla="*/ 47 h 146"/>
              <a:gd name="T32" fmla="*/ 98 w 145"/>
              <a:gd name="T33" fmla="*/ 28 h 146"/>
              <a:gd name="T34" fmla="*/ 72 w 145"/>
              <a:gd name="T35" fmla="*/ 22 h 146"/>
              <a:gd name="T36" fmla="*/ 46 w 145"/>
              <a:gd name="T37" fmla="*/ 28 h 146"/>
              <a:gd name="T38" fmla="*/ 28 w 145"/>
              <a:gd name="T39" fmla="*/ 47 h 146"/>
              <a:gd name="T40" fmla="*/ 21 w 145"/>
              <a:gd name="T41" fmla="*/ 73 h 146"/>
              <a:gd name="T42" fmla="*/ 28 w 145"/>
              <a:gd name="T43" fmla="*/ 99 h 146"/>
              <a:gd name="T44" fmla="*/ 46 w 145"/>
              <a:gd name="T45" fmla="*/ 117 h 146"/>
              <a:gd name="T46" fmla="*/ 72 w 145"/>
              <a:gd name="T47" fmla="*/ 124 h 146"/>
              <a:gd name="T48" fmla="*/ 98 w 145"/>
              <a:gd name="T49" fmla="*/ 117 h 146"/>
              <a:gd name="T50" fmla="*/ 117 w 145"/>
              <a:gd name="T51" fmla="*/ 99 h 146"/>
              <a:gd name="T52" fmla="*/ 110 w 145"/>
              <a:gd name="T53" fmla="*/ 65 h 146"/>
              <a:gd name="T54" fmla="*/ 70 w 145"/>
              <a:gd name="T55" fmla="*/ 105 h 146"/>
              <a:gd name="T56" fmla="*/ 66 w 145"/>
              <a:gd name="T57" fmla="*/ 107 h 146"/>
              <a:gd name="T58" fmla="*/ 62 w 145"/>
              <a:gd name="T59" fmla="*/ 105 h 146"/>
              <a:gd name="T60" fmla="*/ 34 w 145"/>
              <a:gd name="T61" fmla="*/ 77 h 146"/>
              <a:gd name="T62" fmla="*/ 32 w 145"/>
              <a:gd name="T63" fmla="*/ 73 h 146"/>
              <a:gd name="T64" fmla="*/ 34 w 145"/>
              <a:gd name="T65" fmla="*/ 69 h 146"/>
              <a:gd name="T66" fmla="*/ 44 w 145"/>
              <a:gd name="T67" fmla="*/ 59 h 146"/>
              <a:gd name="T68" fmla="*/ 48 w 145"/>
              <a:gd name="T69" fmla="*/ 57 h 146"/>
              <a:gd name="T70" fmla="*/ 52 w 145"/>
              <a:gd name="T71" fmla="*/ 59 h 146"/>
              <a:gd name="T72" fmla="*/ 66 w 145"/>
              <a:gd name="T73" fmla="*/ 73 h 146"/>
              <a:gd name="T74" fmla="*/ 92 w 145"/>
              <a:gd name="T75" fmla="*/ 47 h 146"/>
              <a:gd name="T76" fmla="*/ 96 w 145"/>
              <a:gd name="T77" fmla="*/ 45 h 146"/>
              <a:gd name="T78" fmla="*/ 101 w 145"/>
              <a:gd name="T79" fmla="*/ 47 h 146"/>
              <a:gd name="T80" fmla="*/ 110 w 145"/>
              <a:gd name="T81" fmla="*/ 57 h 146"/>
              <a:gd name="T82" fmla="*/ 112 w 145"/>
              <a:gd name="T83" fmla="*/ 61 h 146"/>
              <a:gd name="T84" fmla="*/ 110 w 145"/>
              <a:gd name="T85" fmla="*/ 6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1" y="48"/>
                  <a:pt x="145" y="60"/>
                  <a:pt x="145" y="73"/>
                </a:cubicBezTo>
                <a:cubicBezTo>
                  <a:pt x="145" y="86"/>
                  <a:pt x="141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7" y="142"/>
                  <a:pt x="85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5" y="0"/>
                  <a:pt x="97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17" y="99"/>
                </a:moveTo>
                <a:cubicBezTo>
                  <a:pt x="121" y="91"/>
                  <a:pt x="124" y="82"/>
                  <a:pt x="124" y="73"/>
                </a:cubicBezTo>
                <a:cubicBezTo>
                  <a:pt x="124" y="64"/>
                  <a:pt x="121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ubicBezTo>
                  <a:pt x="90" y="24"/>
                  <a:pt x="81" y="22"/>
                  <a:pt x="72" y="22"/>
                </a:cubicBezTo>
                <a:cubicBezTo>
                  <a:pt x="63" y="22"/>
                  <a:pt x="54" y="24"/>
                  <a:pt x="46" y="28"/>
                </a:cubicBezTo>
                <a:cubicBezTo>
                  <a:pt x="38" y="33"/>
                  <a:pt x="32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2" y="107"/>
                  <a:pt x="38" y="113"/>
                  <a:pt x="46" y="117"/>
                </a:cubicBezTo>
                <a:cubicBezTo>
                  <a:pt x="54" y="122"/>
                  <a:pt x="63" y="124"/>
                  <a:pt x="72" y="124"/>
                </a:cubicBezTo>
                <a:cubicBezTo>
                  <a:pt x="81" y="124"/>
                  <a:pt x="90" y="122"/>
                  <a:pt x="98" y="117"/>
                </a:cubicBezTo>
                <a:cubicBezTo>
                  <a:pt x="106" y="113"/>
                  <a:pt x="112" y="107"/>
                  <a:pt x="117" y="99"/>
                </a:cubicBezTo>
                <a:close/>
                <a:moveTo>
                  <a:pt x="110" y="65"/>
                </a:moveTo>
                <a:cubicBezTo>
                  <a:pt x="70" y="105"/>
                  <a:pt x="70" y="105"/>
                  <a:pt x="70" y="105"/>
                </a:cubicBezTo>
                <a:cubicBezTo>
                  <a:pt x="69" y="106"/>
                  <a:pt x="68" y="107"/>
                  <a:pt x="66" y="107"/>
                </a:cubicBezTo>
                <a:cubicBezTo>
                  <a:pt x="64" y="107"/>
                  <a:pt x="63" y="106"/>
                  <a:pt x="62" y="105"/>
                </a:cubicBezTo>
                <a:cubicBezTo>
                  <a:pt x="34" y="77"/>
                  <a:pt x="34" y="77"/>
                  <a:pt x="34" y="77"/>
                </a:cubicBezTo>
                <a:cubicBezTo>
                  <a:pt x="33" y="76"/>
                  <a:pt x="32" y="75"/>
                  <a:pt x="32" y="73"/>
                </a:cubicBezTo>
                <a:cubicBezTo>
                  <a:pt x="32" y="71"/>
                  <a:pt x="33" y="70"/>
                  <a:pt x="34" y="69"/>
                </a:cubicBezTo>
                <a:cubicBezTo>
                  <a:pt x="44" y="59"/>
                  <a:pt x="44" y="59"/>
                  <a:pt x="44" y="59"/>
                </a:cubicBezTo>
                <a:cubicBezTo>
                  <a:pt x="45" y="58"/>
                  <a:pt x="46" y="57"/>
                  <a:pt x="48" y="57"/>
                </a:cubicBezTo>
                <a:cubicBezTo>
                  <a:pt x="50" y="57"/>
                  <a:pt x="51" y="58"/>
                  <a:pt x="52" y="59"/>
                </a:cubicBezTo>
                <a:cubicBezTo>
                  <a:pt x="66" y="73"/>
                  <a:pt x="66" y="73"/>
                  <a:pt x="66" y="73"/>
                </a:cubicBezTo>
                <a:cubicBezTo>
                  <a:pt x="92" y="47"/>
                  <a:pt x="92" y="47"/>
                  <a:pt x="92" y="47"/>
                </a:cubicBezTo>
                <a:cubicBezTo>
                  <a:pt x="93" y="46"/>
                  <a:pt x="95" y="45"/>
                  <a:pt x="96" y="45"/>
                </a:cubicBezTo>
                <a:cubicBezTo>
                  <a:pt x="98" y="45"/>
                  <a:pt x="99" y="46"/>
                  <a:pt x="101" y="47"/>
                </a:cubicBezTo>
                <a:cubicBezTo>
                  <a:pt x="110" y="57"/>
                  <a:pt x="110" y="57"/>
                  <a:pt x="110" y="57"/>
                </a:cubicBezTo>
                <a:cubicBezTo>
                  <a:pt x="111" y="58"/>
                  <a:pt x="112" y="59"/>
                  <a:pt x="112" y="61"/>
                </a:cubicBezTo>
                <a:cubicBezTo>
                  <a:pt x="112" y="62"/>
                  <a:pt x="111" y="64"/>
                  <a:pt x="110" y="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4" name="Freeform 94"/>
          <p:cNvSpPr>
            <a:spLocks noChangeAspect="1" noEditPoints="1"/>
          </p:cNvSpPr>
          <p:nvPr/>
        </p:nvSpPr>
        <p:spPr bwMode="auto">
          <a:xfrm>
            <a:off x="3154321" y="2175379"/>
            <a:ext cx="151447" cy="151447"/>
          </a:xfrm>
          <a:custGeom>
            <a:avLst/>
            <a:gdLst>
              <a:gd name="T0" fmla="*/ 140 w 146"/>
              <a:gd name="T1" fmla="*/ 44 h 146"/>
              <a:gd name="T2" fmla="*/ 146 w 146"/>
              <a:gd name="T3" fmla="*/ 73 h 146"/>
              <a:gd name="T4" fmla="*/ 140 w 146"/>
              <a:gd name="T5" fmla="*/ 101 h 146"/>
              <a:gd name="T6" fmla="*/ 124 w 146"/>
              <a:gd name="T7" fmla="*/ 124 h 146"/>
              <a:gd name="T8" fmla="*/ 101 w 146"/>
              <a:gd name="T9" fmla="*/ 140 h 146"/>
              <a:gd name="T10" fmla="*/ 73 w 146"/>
              <a:gd name="T11" fmla="*/ 146 h 146"/>
              <a:gd name="T12" fmla="*/ 45 w 146"/>
              <a:gd name="T13" fmla="*/ 140 h 146"/>
              <a:gd name="T14" fmla="*/ 22 w 146"/>
              <a:gd name="T15" fmla="*/ 124 h 146"/>
              <a:gd name="T16" fmla="*/ 6 w 146"/>
              <a:gd name="T17" fmla="*/ 101 h 146"/>
              <a:gd name="T18" fmla="*/ 0 w 146"/>
              <a:gd name="T19" fmla="*/ 73 h 146"/>
              <a:gd name="T20" fmla="*/ 6 w 146"/>
              <a:gd name="T21" fmla="*/ 44 h 146"/>
              <a:gd name="T22" fmla="*/ 22 w 146"/>
              <a:gd name="T23" fmla="*/ 21 h 146"/>
              <a:gd name="T24" fmla="*/ 45 w 146"/>
              <a:gd name="T25" fmla="*/ 6 h 146"/>
              <a:gd name="T26" fmla="*/ 73 w 146"/>
              <a:gd name="T27" fmla="*/ 0 h 146"/>
              <a:gd name="T28" fmla="*/ 101 w 146"/>
              <a:gd name="T29" fmla="*/ 6 h 146"/>
              <a:gd name="T30" fmla="*/ 124 w 146"/>
              <a:gd name="T31" fmla="*/ 21 h 146"/>
              <a:gd name="T32" fmla="*/ 140 w 146"/>
              <a:gd name="T33" fmla="*/ 44 h 146"/>
              <a:gd name="T34" fmla="*/ 30 w 146"/>
              <a:gd name="T35" fmla="*/ 101 h 146"/>
              <a:gd name="T36" fmla="*/ 101 w 146"/>
              <a:gd name="T37" fmla="*/ 30 h 146"/>
              <a:gd name="T38" fmla="*/ 73 w 146"/>
              <a:gd name="T39" fmla="*/ 21 h 146"/>
              <a:gd name="T40" fmla="*/ 47 w 146"/>
              <a:gd name="T41" fmla="*/ 28 h 146"/>
              <a:gd name="T42" fmla="*/ 28 w 146"/>
              <a:gd name="T43" fmla="*/ 47 h 146"/>
              <a:gd name="T44" fmla="*/ 21 w 146"/>
              <a:gd name="T45" fmla="*/ 73 h 146"/>
              <a:gd name="T46" fmla="*/ 30 w 146"/>
              <a:gd name="T47" fmla="*/ 101 h 146"/>
              <a:gd name="T48" fmla="*/ 124 w 146"/>
              <a:gd name="T49" fmla="*/ 73 h 146"/>
              <a:gd name="T50" fmla="*/ 116 w 146"/>
              <a:gd name="T51" fmla="*/ 45 h 146"/>
              <a:gd name="T52" fmla="*/ 45 w 146"/>
              <a:gd name="T53" fmla="*/ 116 h 146"/>
              <a:gd name="T54" fmla="*/ 73 w 146"/>
              <a:gd name="T55" fmla="*/ 124 h 146"/>
              <a:gd name="T56" fmla="*/ 93 w 146"/>
              <a:gd name="T57" fmla="*/ 120 h 146"/>
              <a:gd name="T58" fmla="*/ 109 w 146"/>
              <a:gd name="T59" fmla="*/ 109 h 146"/>
              <a:gd name="T60" fmla="*/ 120 w 146"/>
              <a:gd name="T61" fmla="*/ 93 h 146"/>
              <a:gd name="T62" fmla="*/ 124 w 146"/>
              <a:gd name="T63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146">
                <a:moveTo>
                  <a:pt x="140" y="44"/>
                </a:moveTo>
                <a:cubicBezTo>
                  <a:pt x="144" y="53"/>
                  <a:pt x="146" y="63"/>
                  <a:pt x="146" y="73"/>
                </a:cubicBezTo>
                <a:cubicBezTo>
                  <a:pt x="146" y="83"/>
                  <a:pt x="144" y="92"/>
                  <a:pt x="140" y="101"/>
                </a:cubicBezTo>
                <a:cubicBezTo>
                  <a:pt x="136" y="110"/>
                  <a:pt x="131" y="118"/>
                  <a:pt x="124" y="124"/>
                </a:cubicBezTo>
                <a:cubicBezTo>
                  <a:pt x="118" y="131"/>
                  <a:pt x="110" y="136"/>
                  <a:pt x="101" y="140"/>
                </a:cubicBezTo>
                <a:cubicBezTo>
                  <a:pt x="92" y="144"/>
                  <a:pt x="83" y="146"/>
                  <a:pt x="73" y="146"/>
                </a:cubicBezTo>
                <a:cubicBezTo>
                  <a:pt x="63" y="146"/>
                  <a:pt x="54" y="144"/>
                  <a:pt x="45" y="140"/>
                </a:cubicBezTo>
                <a:cubicBezTo>
                  <a:pt x="36" y="136"/>
                  <a:pt x="28" y="131"/>
                  <a:pt x="22" y="124"/>
                </a:cubicBezTo>
                <a:cubicBezTo>
                  <a:pt x="15" y="118"/>
                  <a:pt x="10" y="110"/>
                  <a:pt x="6" y="101"/>
                </a:cubicBezTo>
                <a:cubicBezTo>
                  <a:pt x="2" y="92"/>
                  <a:pt x="0" y="83"/>
                  <a:pt x="0" y="73"/>
                </a:cubicBezTo>
                <a:cubicBezTo>
                  <a:pt x="0" y="63"/>
                  <a:pt x="2" y="53"/>
                  <a:pt x="6" y="44"/>
                </a:cubicBezTo>
                <a:cubicBezTo>
                  <a:pt x="10" y="35"/>
                  <a:pt x="15" y="28"/>
                  <a:pt x="22" y="21"/>
                </a:cubicBezTo>
                <a:cubicBezTo>
                  <a:pt x="28" y="15"/>
                  <a:pt x="36" y="9"/>
                  <a:pt x="45" y="6"/>
                </a:cubicBezTo>
                <a:cubicBezTo>
                  <a:pt x="54" y="2"/>
                  <a:pt x="63" y="0"/>
                  <a:pt x="73" y="0"/>
                </a:cubicBezTo>
                <a:cubicBezTo>
                  <a:pt x="83" y="0"/>
                  <a:pt x="92" y="2"/>
                  <a:pt x="101" y="6"/>
                </a:cubicBezTo>
                <a:cubicBezTo>
                  <a:pt x="110" y="9"/>
                  <a:pt x="118" y="15"/>
                  <a:pt x="124" y="21"/>
                </a:cubicBezTo>
                <a:cubicBezTo>
                  <a:pt x="131" y="28"/>
                  <a:pt x="136" y="35"/>
                  <a:pt x="140" y="44"/>
                </a:cubicBezTo>
                <a:close/>
                <a:moveTo>
                  <a:pt x="30" y="101"/>
                </a:moveTo>
                <a:cubicBezTo>
                  <a:pt x="101" y="30"/>
                  <a:pt x="101" y="30"/>
                  <a:pt x="101" y="30"/>
                </a:cubicBezTo>
                <a:cubicBezTo>
                  <a:pt x="93" y="24"/>
                  <a:pt x="83" y="21"/>
                  <a:pt x="73" y="21"/>
                </a:cubicBezTo>
                <a:cubicBezTo>
                  <a:pt x="64" y="21"/>
                  <a:pt x="55" y="23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4" y="55"/>
                  <a:pt x="21" y="63"/>
                  <a:pt x="21" y="73"/>
                </a:cubicBezTo>
                <a:cubicBezTo>
                  <a:pt x="21" y="83"/>
                  <a:pt x="24" y="92"/>
                  <a:pt x="30" y="101"/>
                </a:cubicBezTo>
                <a:close/>
                <a:moveTo>
                  <a:pt x="124" y="73"/>
                </a:moveTo>
                <a:cubicBezTo>
                  <a:pt x="124" y="63"/>
                  <a:pt x="122" y="53"/>
                  <a:pt x="116" y="45"/>
                </a:cubicBezTo>
                <a:cubicBezTo>
                  <a:pt x="45" y="116"/>
                  <a:pt x="45" y="116"/>
                  <a:pt x="45" y="116"/>
                </a:cubicBezTo>
                <a:cubicBezTo>
                  <a:pt x="53" y="122"/>
                  <a:pt x="63" y="124"/>
                  <a:pt x="73" y="124"/>
                </a:cubicBezTo>
                <a:cubicBezTo>
                  <a:pt x="80" y="124"/>
                  <a:pt x="87" y="123"/>
                  <a:pt x="93" y="120"/>
                </a:cubicBezTo>
                <a:cubicBezTo>
                  <a:pt x="99" y="118"/>
                  <a:pt x="105" y="114"/>
                  <a:pt x="109" y="109"/>
                </a:cubicBezTo>
                <a:cubicBezTo>
                  <a:pt x="114" y="105"/>
                  <a:pt x="118" y="99"/>
                  <a:pt x="120" y="93"/>
                </a:cubicBezTo>
                <a:cubicBezTo>
                  <a:pt x="123" y="86"/>
                  <a:pt x="124" y="80"/>
                  <a:pt x="124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5" name="Freeform 95"/>
          <p:cNvSpPr>
            <a:spLocks noChangeAspect="1"/>
          </p:cNvSpPr>
          <p:nvPr/>
        </p:nvSpPr>
        <p:spPr bwMode="auto">
          <a:xfrm>
            <a:off x="3354168" y="2180063"/>
            <a:ext cx="143640" cy="154569"/>
          </a:xfrm>
          <a:custGeom>
            <a:avLst/>
            <a:gdLst>
              <a:gd name="T0" fmla="*/ 139 w 139"/>
              <a:gd name="T1" fmla="*/ 68 h 148"/>
              <a:gd name="T2" fmla="*/ 139 w 139"/>
              <a:gd name="T3" fmla="*/ 80 h 148"/>
              <a:gd name="T4" fmla="*/ 136 w 139"/>
              <a:gd name="T5" fmla="*/ 89 h 148"/>
              <a:gd name="T6" fmla="*/ 128 w 139"/>
              <a:gd name="T7" fmla="*/ 92 h 148"/>
              <a:gd name="T8" fmla="*/ 62 w 139"/>
              <a:gd name="T9" fmla="*/ 92 h 148"/>
              <a:gd name="T10" fmla="*/ 89 w 139"/>
              <a:gd name="T11" fmla="*/ 120 h 148"/>
              <a:gd name="T12" fmla="*/ 93 w 139"/>
              <a:gd name="T13" fmla="*/ 128 h 148"/>
              <a:gd name="T14" fmla="*/ 89 w 139"/>
              <a:gd name="T15" fmla="*/ 137 h 148"/>
              <a:gd name="T16" fmla="*/ 82 w 139"/>
              <a:gd name="T17" fmla="*/ 144 h 148"/>
              <a:gd name="T18" fmla="*/ 74 w 139"/>
              <a:gd name="T19" fmla="*/ 148 h 148"/>
              <a:gd name="T20" fmla="*/ 65 w 139"/>
              <a:gd name="T21" fmla="*/ 144 h 148"/>
              <a:gd name="T22" fmla="*/ 4 w 139"/>
              <a:gd name="T23" fmla="*/ 83 h 148"/>
              <a:gd name="T24" fmla="*/ 0 w 139"/>
              <a:gd name="T25" fmla="*/ 74 h 148"/>
              <a:gd name="T26" fmla="*/ 4 w 139"/>
              <a:gd name="T27" fmla="*/ 65 h 148"/>
              <a:gd name="T28" fmla="*/ 65 w 139"/>
              <a:gd name="T29" fmla="*/ 4 h 148"/>
              <a:gd name="T30" fmla="*/ 74 w 139"/>
              <a:gd name="T31" fmla="*/ 0 h 148"/>
              <a:gd name="T32" fmla="*/ 82 w 139"/>
              <a:gd name="T33" fmla="*/ 4 h 148"/>
              <a:gd name="T34" fmla="*/ 89 w 139"/>
              <a:gd name="T35" fmla="*/ 11 h 148"/>
              <a:gd name="T36" fmla="*/ 93 w 139"/>
              <a:gd name="T37" fmla="*/ 20 h 148"/>
              <a:gd name="T38" fmla="*/ 89 w 139"/>
              <a:gd name="T39" fmla="*/ 28 h 148"/>
              <a:gd name="T40" fmla="*/ 62 w 139"/>
              <a:gd name="T41" fmla="*/ 56 h 148"/>
              <a:gd name="T42" fmla="*/ 128 w 139"/>
              <a:gd name="T43" fmla="*/ 56 h 148"/>
              <a:gd name="T44" fmla="*/ 136 w 139"/>
              <a:gd name="T45" fmla="*/ 59 h 148"/>
              <a:gd name="T46" fmla="*/ 139 w 139"/>
              <a:gd name="T47" fmla="*/ 6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39" h="148">
                <a:moveTo>
                  <a:pt x="139" y="68"/>
                </a:moveTo>
                <a:cubicBezTo>
                  <a:pt x="139" y="80"/>
                  <a:pt x="139" y="80"/>
                  <a:pt x="139" y="80"/>
                </a:cubicBezTo>
                <a:cubicBezTo>
                  <a:pt x="139" y="83"/>
                  <a:pt x="138" y="86"/>
                  <a:pt x="136" y="89"/>
                </a:cubicBezTo>
                <a:cubicBezTo>
                  <a:pt x="134" y="91"/>
                  <a:pt x="131" y="92"/>
                  <a:pt x="128" y="92"/>
                </a:cubicBezTo>
                <a:cubicBezTo>
                  <a:pt x="62" y="92"/>
                  <a:pt x="62" y="92"/>
                  <a:pt x="62" y="92"/>
                </a:cubicBezTo>
                <a:cubicBezTo>
                  <a:pt x="89" y="120"/>
                  <a:pt x="89" y="120"/>
                  <a:pt x="89" y="120"/>
                </a:cubicBezTo>
                <a:cubicBezTo>
                  <a:pt x="92" y="122"/>
                  <a:pt x="93" y="125"/>
                  <a:pt x="93" y="128"/>
                </a:cubicBezTo>
                <a:cubicBezTo>
                  <a:pt x="93" y="132"/>
                  <a:pt x="92" y="135"/>
                  <a:pt x="89" y="137"/>
                </a:cubicBezTo>
                <a:cubicBezTo>
                  <a:pt x="82" y="144"/>
                  <a:pt x="82" y="144"/>
                  <a:pt x="82" y="144"/>
                </a:cubicBezTo>
                <a:cubicBezTo>
                  <a:pt x="80" y="146"/>
                  <a:pt x="77" y="148"/>
                  <a:pt x="74" y="148"/>
                </a:cubicBezTo>
                <a:cubicBezTo>
                  <a:pt x="70" y="148"/>
                  <a:pt x="68" y="146"/>
                  <a:pt x="65" y="144"/>
                </a:cubicBezTo>
                <a:cubicBezTo>
                  <a:pt x="4" y="83"/>
                  <a:pt x="4" y="83"/>
                  <a:pt x="4" y="83"/>
                </a:cubicBezTo>
                <a:cubicBezTo>
                  <a:pt x="1" y="80"/>
                  <a:pt x="0" y="77"/>
                  <a:pt x="0" y="74"/>
                </a:cubicBezTo>
                <a:cubicBezTo>
                  <a:pt x="0" y="71"/>
                  <a:pt x="1" y="68"/>
                  <a:pt x="4" y="65"/>
                </a:cubicBezTo>
                <a:cubicBezTo>
                  <a:pt x="65" y="4"/>
                  <a:pt x="65" y="4"/>
                  <a:pt x="65" y="4"/>
                </a:cubicBezTo>
                <a:cubicBezTo>
                  <a:pt x="68" y="2"/>
                  <a:pt x="70" y="0"/>
                  <a:pt x="74" y="0"/>
                </a:cubicBezTo>
                <a:cubicBezTo>
                  <a:pt x="77" y="0"/>
                  <a:pt x="80" y="2"/>
                  <a:pt x="82" y="4"/>
                </a:cubicBezTo>
                <a:cubicBezTo>
                  <a:pt x="89" y="11"/>
                  <a:pt x="89" y="11"/>
                  <a:pt x="89" y="11"/>
                </a:cubicBezTo>
                <a:cubicBezTo>
                  <a:pt x="92" y="13"/>
                  <a:pt x="93" y="16"/>
                  <a:pt x="93" y="20"/>
                </a:cubicBezTo>
                <a:cubicBezTo>
                  <a:pt x="93" y="23"/>
                  <a:pt x="92" y="26"/>
                  <a:pt x="89" y="28"/>
                </a:cubicBezTo>
                <a:cubicBezTo>
                  <a:pt x="62" y="56"/>
                  <a:pt x="62" y="56"/>
                  <a:pt x="62" y="56"/>
                </a:cubicBezTo>
                <a:cubicBezTo>
                  <a:pt x="128" y="56"/>
                  <a:pt x="128" y="56"/>
                  <a:pt x="128" y="56"/>
                </a:cubicBezTo>
                <a:cubicBezTo>
                  <a:pt x="131" y="56"/>
                  <a:pt x="134" y="57"/>
                  <a:pt x="136" y="59"/>
                </a:cubicBezTo>
                <a:cubicBezTo>
                  <a:pt x="138" y="62"/>
                  <a:pt x="139" y="65"/>
                  <a:pt x="139" y="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6" name="Freeform 96"/>
          <p:cNvSpPr>
            <a:spLocks noChangeAspect="1"/>
          </p:cNvSpPr>
          <p:nvPr/>
        </p:nvSpPr>
        <p:spPr bwMode="auto">
          <a:xfrm>
            <a:off x="3541525" y="2180063"/>
            <a:ext cx="143640" cy="154569"/>
          </a:xfrm>
          <a:custGeom>
            <a:avLst/>
            <a:gdLst>
              <a:gd name="T0" fmla="*/ 139 w 139"/>
              <a:gd name="T1" fmla="*/ 74 h 148"/>
              <a:gd name="T2" fmla="*/ 135 w 139"/>
              <a:gd name="T3" fmla="*/ 83 h 148"/>
              <a:gd name="T4" fmla="*/ 74 w 139"/>
              <a:gd name="T5" fmla="*/ 144 h 148"/>
              <a:gd name="T6" fmla="*/ 65 w 139"/>
              <a:gd name="T7" fmla="*/ 148 h 148"/>
              <a:gd name="T8" fmla="*/ 57 w 139"/>
              <a:gd name="T9" fmla="*/ 144 h 148"/>
              <a:gd name="T10" fmla="*/ 50 w 139"/>
              <a:gd name="T11" fmla="*/ 137 h 148"/>
              <a:gd name="T12" fmla="*/ 46 w 139"/>
              <a:gd name="T13" fmla="*/ 128 h 148"/>
              <a:gd name="T14" fmla="*/ 50 w 139"/>
              <a:gd name="T15" fmla="*/ 120 h 148"/>
              <a:gd name="T16" fmla="*/ 77 w 139"/>
              <a:gd name="T17" fmla="*/ 92 h 148"/>
              <a:gd name="T18" fmla="*/ 11 w 139"/>
              <a:gd name="T19" fmla="*/ 92 h 148"/>
              <a:gd name="T20" fmla="*/ 3 w 139"/>
              <a:gd name="T21" fmla="*/ 89 h 148"/>
              <a:gd name="T22" fmla="*/ 0 w 139"/>
              <a:gd name="T23" fmla="*/ 80 h 148"/>
              <a:gd name="T24" fmla="*/ 0 w 139"/>
              <a:gd name="T25" fmla="*/ 68 h 148"/>
              <a:gd name="T26" fmla="*/ 3 w 139"/>
              <a:gd name="T27" fmla="*/ 59 h 148"/>
              <a:gd name="T28" fmla="*/ 11 w 139"/>
              <a:gd name="T29" fmla="*/ 56 h 148"/>
              <a:gd name="T30" fmla="*/ 77 w 139"/>
              <a:gd name="T31" fmla="*/ 56 h 148"/>
              <a:gd name="T32" fmla="*/ 50 w 139"/>
              <a:gd name="T33" fmla="*/ 28 h 148"/>
              <a:gd name="T34" fmla="*/ 46 w 139"/>
              <a:gd name="T35" fmla="*/ 20 h 148"/>
              <a:gd name="T36" fmla="*/ 50 w 139"/>
              <a:gd name="T37" fmla="*/ 11 h 148"/>
              <a:gd name="T38" fmla="*/ 57 w 139"/>
              <a:gd name="T39" fmla="*/ 4 h 148"/>
              <a:gd name="T40" fmla="*/ 65 w 139"/>
              <a:gd name="T41" fmla="*/ 0 h 148"/>
              <a:gd name="T42" fmla="*/ 74 w 139"/>
              <a:gd name="T43" fmla="*/ 4 h 148"/>
              <a:gd name="T44" fmla="*/ 135 w 139"/>
              <a:gd name="T45" fmla="*/ 65 h 148"/>
              <a:gd name="T46" fmla="*/ 139 w 139"/>
              <a:gd name="T47" fmla="*/ 74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39" h="148">
                <a:moveTo>
                  <a:pt x="139" y="74"/>
                </a:moveTo>
                <a:cubicBezTo>
                  <a:pt x="139" y="77"/>
                  <a:pt x="138" y="80"/>
                  <a:pt x="135" y="83"/>
                </a:cubicBezTo>
                <a:cubicBezTo>
                  <a:pt x="74" y="144"/>
                  <a:pt x="74" y="144"/>
                  <a:pt x="74" y="144"/>
                </a:cubicBezTo>
                <a:cubicBezTo>
                  <a:pt x="71" y="146"/>
                  <a:pt x="69" y="148"/>
                  <a:pt x="65" y="148"/>
                </a:cubicBezTo>
                <a:cubicBezTo>
                  <a:pt x="62" y="148"/>
                  <a:pt x="59" y="146"/>
                  <a:pt x="57" y="144"/>
                </a:cubicBezTo>
                <a:cubicBezTo>
                  <a:pt x="50" y="137"/>
                  <a:pt x="50" y="137"/>
                  <a:pt x="50" y="137"/>
                </a:cubicBezTo>
                <a:cubicBezTo>
                  <a:pt x="47" y="135"/>
                  <a:pt x="46" y="132"/>
                  <a:pt x="46" y="128"/>
                </a:cubicBezTo>
                <a:cubicBezTo>
                  <a:pt x="46" y="125"/>
                  <a:pt x="47" y="122"/>
                  <a:pt x="50" y="120"/>
                </a:cubicBezTo>
                <a:cubicBezTo>
                  <a:pt x="77" y="92"/>
                  <a:pt x="77" y="92"/>
                  <a:pt x="77" y="92"/>
                </a:cubicBezTo>
                <a:cubicBezTo>
                  <a:pt x="11" y="92"/>
                  <a:pt x="11" y="92"/>
                  <a:pt x="11" y="92"/>
                </a:cubicBezTo>
                <a:cubicBezTo>
                  <a:pt x="8" y="92"/>
                  <a:pt x="5" y="91"/>
                  <a:pt x="3" y="89"/>
                </a:cubicBezTo>
                <a:cubicBezTo>
                  <a:pt x="1" y="86"/>
                  <a:pt x="0" y="83"/>
                  <a:pt x="0" y="80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65"/>
                  <a:pt x="1" y="62"/>
                  <a:pt x="3" y="59"/>
                </a:cubicBezTo>
                <a:cubicBezTo>
                  <a:pt x="5" y="57"/>
                  <a:pt x="8" y="56"/>
                  <a:pt x="11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50" y="28"/>
                  <a:pt x="50" y="28"/>
                  <a:pt x="50" y="28"/>
                </a:cubicBezTo>
                <a:cubicBezTo>
                  <a:pt x="47" y="26"/>
                  <a:pt x="46" y="23"/>
                  <a:pt x="46" y="20"/>
                </a:cubicBezTo>
                <a:cubicBezTo>
                  <a:pt x="46" y="16"/>
                  <a:pt x="47" y="13"/>
                  <a:pt x="50" y="11"/>
                </a:cubicBezTo>
                <a:cubicBezTo>
                  <a:pt x="57" y="4"/>
                  <a:pt x="57" y="4"/>
                  <a:pt x="57" y="4"/>
                </a:cubicBezTo>
                <a:cubicBezTo>
                  <a:pt x="59" y="2"/>
                  <a:pt x="62" y="0"/>
                  <a:pt x="65" y="0"/>
                </a:cubicBezTo>
                <a:cubicBezTo>
                  <a:pt x="69" y="0"/>
                  <a:pt x="72" y="2"/>
                  <a:pt x="74" y="4"/>
                </a:cubicBezTo>
                <a:cubicBezTo>
                  <a:pt x="135" y="65"/>
                  <a:pt x="135" y="65"/>
                  <a:pt x="135" y="65"/>
                </a:cubicBezTo>
                <a:cubicBezTo>
                  <a:pt x="138" y="68"/>
                  <a:pt x="139" y="71"/>
                  <a:pt x="139" y="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7" name="Freeform 97"/>
          <p:cNvSpPr>
            <a:spLocks noChangeAspect="1"/>
          </p:cNvSpPr>
          <p:nvPr/>
        </p:nvSpPr>
        <p:spPr bwMode="auto">
          <a:xfrm>
            <a:off x="3739811" y="2181624"/>
            <a:ext cx="153008" cy="145201"/>
          </a:xfrm>
          <a:custGeom>
            <a:avLst/>
            <a:gdLst>
              <a:gd name="T0" fmla="*/ 147 w 147"/>
              <a:gd name="T1" fmla="*/ 74 h 140"/>
              <a:gd name="T2" fmla="*/ 143 w 147"/>
              <a:gd name="T3" fmla="*/ 83 h 140"/>
              <a:gd name="T4" fmla="*/ 136 w 147"/>
              <a:gd name="T5" fmla="*/ 90 h 140"/>
              <a:gd name="T6" fmla="*/ 128 w 147"/>
              <a:gd name="T7" fmla="*/ 93 h 140"/>
              <a:gd name="T8" fmla="*/ 119 w 147"/>
              <a:gd name="T9" fmla="*/ 90 h 140"/>
              <a:gd name="T10" fmla="*/ 91 w 147"/>
              <a:gd name="T11" fmla="*/ 62 h 140"/>
              <a:gd name="T12" fmla="*/ 91 w 147"/>
              <a:gd name="T13" fmla="*/ 129 h 140"/>
              <a:gd name="T14" fmla="*/ 88 w 147"/>
              <a:gd name="T15" fmla="*/ 136 h 140"/>
              <a:gd name="T16" fmla="*/ 79 w 147"/>
              <a:gd name="T17" fmla="*/ 140 h 140"/>
              <a:gd name="T18" fmla="*/ 67 w 147"/>
              <a:gd name="T19" fmla="*/ 140 h 140"/>
              <a:gd name="T20" fmla="*/ 59 w 147"/>
              <a:gd name="T21" fmla="*/ 136 h 140"/>
              <a:gd name="T22" fmla="*/ 55 w 147"/>
              <a:gd name="T23" fmla="*/ 129 h 140"/>
              <a:gd name="T24" fmla="*/ 55 w 147"/>
              <a:gd name="T25" fmla="*/ 62 h 140"/>
              <a:gd name="T26" fmla="*/ 27 w 147"/>
              <a:gd name="T27" fmla="*/ 90 h 140"/>
              <a:gd name="T28" fmla="*/ 19 w 147"/>
              <a:gd name="T29" fmla="*/ 93 h 140"/>
              <a:gd name="T30" fmla="*/ 10 w 147"/>
              <a:gd name="T31" fmla="*/ 90 h 140"/>
              <a:gd name="T32" fmla="*/ 3 w 147"/>
              <a:gd name="T33" fmla="*/ 83 h 140"/>
              <a:gd name="T34" fmla="*/ 0 w 147"/>
              <a:gd name="T35" fmla="*/ 74 h 140"/>
              <a:gd name="T36" fmla="*/ 3 w 147"/>
              <a:gd name="T37" fmla="*/ 65 h 140"/>
              <a:gd name="T38" fmla="*/ 65 w 147"/>
              <a:gd name="T39" fmla="*/ 4 h 140"/>
              <a:gd name="T40" fmla="*/ 73 w 147"/>
              <a:gd name="T41" fmla="*/ 0 h 140"/>
              <a:gd name="T42" fmla="*/ 82 w 147"/>
              <a:gd name="T43" fmla="*/ 4 h 140"/>
              <a:gd name="T44" fmla="*/ 143 w 147"/>
              <a:gd name="T45" fmla="*/ 65 h 140"/>
              <a:gd name="T46" fmla="*/ 147 w 147"/>
              <a:gd name="T47" fmla="*/ 74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7" h="140">
                <a:moveTo>
                  <a:pt x="147" y="74"/>
                </a:moveTo>
                <a:cubicBezTo>
                  <a:pt x="147" y="77"/>
                  <a:pt x="146" y="80"/>
                  <a:pt x="143" y="83"/>
                </a:cubicBezTo>
                <a:cubicBezTo>
                  <a:pt x="136" y="90"/>
                  <a:pt x="136" y="90"/>
                  <a:pt x="136" y="90"/>
                </a:cubicBezTo>
                <a:cubicBezTo>
                  <a:pt x="134" y="92"/>
                  <a:pt x="131" y="93"/>
                  <a:pt x="128" y="93"/>
                </a:cubicBezTo>
                <a:cubicBezTo>
                  <a:pt x="124" y="93"/>
                  <a:pt x="121" y="92"/>
                  <a:pt x="119" y="90"/>
                </a:cubicBezTo>
                <a:cubicBezTo>
                  <a:pt x="91" y="62"/>
                  <a:pt x="91" y="62"/>
                  <a:pt x="91" y="62"/>
                </a:cubicBezTo>
                <a:cubicBezTo>
                  <a:pt x="91" y="129"/>
                  <a:pt x="91" y="129"/>
                  <a:pt x="91" y="129"/>
                </a:cubicBezTo>
                <a:cubicBezTo>
                  <a:pt x="91" y="132"/>
                  <a:pt x="90" y="134"/>
                  <a:pt x="88" y="136"/>
                </a:cubicBezTo>
                <a:cubicBezTo>
                  <a:pt x="85" y="139"/>
                  <a:pt x="83" y="140"/>
                  <a:pt x="79" y="140"/>
                </a:cubicBezTo>
                <a:cubicBezTo>
                  <a:pt x="67" y="140"/>
                  <a:pt x="67" y="140"/>
                  <a:pt x="67" y="140"/>
                </a:cubicBezTo>
                <a:cubicBezTo>
                  <a:pt x="64" y="140"/>
                  <a:pt x="61" y="139"/>
                  <a:pt x="59" y="136"/>
                </a:cubicBezTo>
                <a:cubicBezTo>
                  <a:pt x="56" y="134"/>
                  <a:pt x="55" y="132"/>
                  <a:pt x="55" y="129"/>
                </a:cubicBezTo>
                <a:cubicBezTo>
                  <a:pt x="55" y="62"/>
                  <a:pt x="55" y="62"/>
                  <a:pt x="55" y="62"/>
                </a:cubicBezTo>
                <a:cubicBezTo>
                  <a:pt x="27" y="90"/>
                  <a:pt x="27" y="90"/>
                  <a:pt x="27" y="90"/>
                </a:cubicBezTo>
                <a:cubicBezTo>
                  <a:pt x="25" y="92"/>
                  <a:pt x="22" y="93"/>
                  <a:pt x="19" y="93"/>
                </a:cubicBezTo>
                <a:cubicBezTo>
                  <a:pt x="15" y="93"/>
                  <a:pt x="13" y="92"/>
                  <a:pt x="10" y="90"/>
                </a:cubicBezTo>
                <a:cubicBezTo>
                  <a:pt x="3" y="83"/>
                  <a:pt x="3" y="83"/>
                  <a:pt x="3" y="83"/>
                </a:cubicBezTo>
                <a:cubicBezTo>
                  <a:pt x="1" y="80"/>
                  <a:pt x="0" y="77"/>
                  <a:pt x="0" y="74"/>
                </a:cubicBezTo>
                <a:cubicBezTo>
                  <a:pt x="0" y="71"/>
                  <a:pt x="1" y="68"/>
                  <a:pt x="3" y="65"/>
                </a:cubicBezTo>
                <a:cubicBezTo>
                  <a:pt x="65" y="4"/>
                  <a:pt x="65" y="4"/>
                  <a:pt x="65" y="4"/>
                </a:cubicBezTo>
                <a:cubicBezTo>
                  <a:pt x="67" y="2"/>
                  <a:pt x="70" y="0"/>
                  <a:pt x="73" y="0"/>
                </a:cubicBezTo>
                <a:cubicBezTo>
                  <a:pt x="77" y="0"/>
                  <a:pt x="80" y="2"/>
                  <a:pt x="82" y="4"/>
                </a:cubicBezTo>
                <a:cubicBezTo>
                  <a:pt x="143" y="65"/>
                  <a:pt x="143" y="65"/>
                  <a:pt x="143" y="65"/>
                </a:cubicBezTo>
                <a:cubicBezTo>
                  <a:pt x="146" y="68"/>
                  <a:pt x="147" y="71"/>
                  <a:pt x="147" y="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8" name="Freeform 98"/>
          <p:cNvSpPr>
            <a:spLocks noChangeAspect="1"/>
          </p:cNvSpPr>
          <p:nvPr/>
        </p:nvSpPr>
        <p:spPr bwMode="auto">
          <a:xfrm>
            <a:off x="3944342" y="2175379"/>
            <a:ext cx="154569" cy="146763"/>
          </a:xfrm>
          <a:custGeom>
            <a:avLst/>
            <a:gdLst>
              <a:gd name="T0" fmla="*/ 148 w 148"/>
              <a:gd name="T1" fmla="*/ 67 h 141"/>
              <a:gd name="T2" fmla="*/ 144 w 148"/>
              <a:gd name="T3" fmla="*/ 75 h 141"/>
              <a:gd name="T4" fmla="*/ 83 w 148"/>
              <a:gd name="T5" fmla="*/ 137 h 141"/>
              <a:gd name="T6" fmla="*/ 74 w 148"/>
              <a:gd name="T7" fmla="*/ 141 h 141"/>
              <a:gd name="T8" fmla="*/ 66 w 148"/>
              <a:gd name="T9" fmla="*/ 137 h 141"/>
              <a:gd name="T10" fmla="*/ 4 w 148"/>
              <a:gd name="T11" fmla="*/ 75 h 141"/>
              <a:gd name="T12" fmla="*/ 0 w 148"/>
              <a:gd name="T13" fmla="*/ 67 h 141"/>
              <a:gd name="T14" fmla="*/ 4 w 148"/>
              <a:gd name="T15" fmla="*/ 58 h 141"/>
              <a:gd name="T16" fmla="*/ 11 w 148"/>
              <a:gd name="T17" fmla="*/ 51 h 141"/>
              <a:gd name="T18" fmla="*/ 20 w 148"/>
              <a:gd name="T19" fmla="*/ 48 h 141"/>
              <a:gd name="T20" fmla="*/ 28 w 148"/>
              <a:gd name="T21" fmla="*/ 51 h 141"/>
              <a:gd name="T22" fmla="*/ 56 w 148"/>
              <a:gd name="T23" fmla="*/ 79 h 141"/>
              <a:gd name="T24" fmla="*/ 56 w 148"/>
              <a:gd name="T25" fmla="*/ 12 h 141"/>
              <a:gd name="T26" fmla="*/ 60 w 148"/>
              <a:gd name="T27" fmla="*/ 4 h 141"/>
              <a:gd name="T28" fmla="*/ 68 w 148"/>
              <a:gd name="T29" fmla="*/ 0 h 141"/>
              <a:gd name="T30" fmla="*/ 80 w 148"/>
              <a:gd name="T31" fmla="*/ 0 h 141"/>
              <a:gd name="T32" fmla="*/ 89 w 148"/>
              <a:gd name="T33" fmla="*/ 4 h 141"/>
              <a:gd name="T34" fmla="*/ 92 w 148"/>
              <a:gd name="T35" fmla="*/ 12 h 141"/>
              <a:gd name="T36" fmla="*/ 92 w 148"/>
              <a:gd name="T37" fmla="*/ 79 h 141"/>
              <a:gd name="T38" fmla="*/ 120 w 148"/>
              <a:gd name="T39" fmla="*/ 51 h 141"/>
              <a:gd name="T40" fmla="*/ 129 w 148"/>
              <a:gd name="T41" fmla="*/ 48 h 141"/>
              <a:gd name="T42" fmla="*/ 137 w 148"/>
              <a:gd name="T43" fmla="*/ 51 h 141"/>
              <a:gd name="T44" fmla="*/ 144 w 148"/>
              <a:gd name="T45" fmla="*/ 58 h 141"/>
              <a:gd name="T46" fmla="*/ 148 w 148"/>
              <a:gd name="T47" fmla="*/ 67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8" h="141">
                <a:moveTo>
                  <a:pt x="148" y="67"/>
                </a:moveTo>
                <a:cubicBezTo>
                  <a:pt x="148" y="70"/>
                  <a:pt x="147" y="73"/>
                  <a:pt x="144" y="75"/>
                </a:cubicBezTo>
                <a:cubicBezTo>
                  <a:pt x="83" y="137"/>
                  <a:pt x="83" y="137"/>
                  <a:pt x="83" y="137"/>
                </a:cubicBezTo>
                <a:cubicBezTo>
                  <a:pt x="80" y="139"/>
                  <a:pt x="77" y="141"/>
                  <a:pt x="74" y="141"/>
                </a:cubicBezTo>
                <a:cubicBezTo>
                  <a:pt x="71" y="141"/>
                  <a:pt x="68" y="139"/>
                  <a:pt x="66" y="137"/>
                </a:cubicBezTo>
                <a:cubicBezTo>
                  <a:pt x="4" y="75"/>
                  <a:pt x="4" y="75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1"/>
                  <a:pt x="4" y="58"/>
                </a:cubicBezTo>
                <a:cubicBezTo>
                  <a:pt x="11" y="51"/>
                  <a:pt x="11" y="51"/>
                  <a:pt x="11" y="51"/>
                </a:cubicBezTo>
                <a:cubicBezTo>
                  <a:pt x="14" y="49"/>
                  <a:pt x="16" y="48"/>
                  <a:pt x="20" y="48"/>
                </a:cubicBezTo>
                <a:cubicBezTo>
                  <a:pt x="23" y="48"/>
                  <a:pt x="26" y="49"/>
                  <a:pt x="28" y="51"/>
                </a:cubicBezTo>
                <a:cubicBezTo>
                  <a:pt x="56" y="79"/>
                  <a:pt x="56" y="79"/>
                  <a:pt x="56" y="79"/>
                </a:cubicBezTo>
                <a:cubicBezTo>
                  <a:pt x="56" y="12"/>
                  <a:pt x="56" y="12"/>
                  <a:pt x="56" y="12"/>
                </a:cubicBezTo>
                <a:cubicBezTo>
                  <a:pt x="56" y="9"/>
                  <a:pt x="57" y="6"/>
                  <a:pt x="60" y="4"/>
                </a:cubicBezTo>
                <a:cubicBezTo>
                  <a:pt x="62" y="2"/>
                  <a:pt x="65" y="0"/>
                  <a:pt x="68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83" y="0"/>
                  <a:pt x="86" y="2"/>
                  <a:pt x="89" y="4"/>
                </a:cubicBezTo>
                <a:cubicBezTo>
                  <a:pt x="91" y="6"/>
                  <a:pt x="92" y="9"/>
                  <a:pt x="92" y="12"/>
                </a:cubicBezTo>
                <a:cubicBezTo>
                  <a:pt x="92" y="79"/>
                  <a:pt x="92" y="79"/>
                  <a:pt x="92" y="79"/>
                </a:cubicBezTo>
                <a:cubicBezTo>
                  <a:pt x="120" y="51"/>
                  <a:pt x="120" y="51"/>
                  <a:pt x="120" y="51"/>
                </a:cubicBezTo>
                <a:cubicBezTo>
                  <a:pt x="122" y="49"/>
                  <a:pt x="125" y="48"/>
                  <a:pt x="129" y="48"/>
                </a:cubicBezTo>
                <a:cubicBezTo>
                  <a:pt x="132" y="48"/>
                  <a:pt x="135" y="49"/>
                  <a:pt x="137" y="51"/>
                </a:cubicBezTo>
                <a:cubicBezTo>
                  <a:pt x="144" y="58"/>
                  <a:pt x="144" y="58"/>
                  <a:pt x="144" y="58"/>
                </a:cubicBezTo>
                <a:cubicBezTo>
                  <a:pt x="147" y="61"/>
                  <a:pt x="148" y="64"/>
                  <a:pt x="148" y="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99" name="Freeform 99"/>
          <p:cNvSpPr>
            <a:spLocks noChangeAspect="1"/>
          </p:cNvSpPr>
          <p:nvPr/>
        </p:nvSpPr>
        <p:spPr bwMode="auto">
          <a:xfrm>
            <a:off x="4145751" y="2169134"/>
            <a:ext cx="176428" cy="157692"/>
          </a:xfrm>
          <a:custGeom>
            <a:avLst/>
            <a:gdLst>
              <a:gd name="T0" fmla="*/ 170 w 170"/>
              <a:gd name="T1" fmla="*/ 55 h 152"/>
              <a:gd name="T2" fmla="*/ 168 w 170"/>
              <a:gd name="T3" fmla="*/ 59 h 152"/>
              <a:gd name="T4" fmla="*/ 120 w 170"/>
              <a:gd name="T5" fmla="*/ 107 h 152"/>
              <a:gd name="T6" fmla="*/ 115 w 170"/>
              <a:gd name="T7" fmla="*/ 109 h 152"/>
              <a:gd name="T8" fmla="*/ 111 w 170"/>
              <a:gd name="T9" fmla="*/ 107 h 152"/>
              <a:gd name="T10" fmla="*/ 109 w 170"/>
              <a:gd name="T11" fmla="*/ 103 h 152"/>
              <a:gd name="T12" fmla="*/ 109 w 170"/>
              <a:gd name="T13" fmla="*/ 79 h 152"/>
              <a:gd name="T14" fmla="*/ 88 w 170"/>
              <a:gd name="T15" fmla="*/ 79 h 152"/>
              <a:gd name="T16" fmla="*/ 71 w 170"/>
              <a:gd name="T17" fmla="*/ 80 h 152"/>
              <a:gd name="T18" fmla="*/ 57 w 170"/>
              <a:gd name="T19" fmla="*/ 82 h 152"/>
              <a:gd name="T20" fmla="*/ 44 w 170"/>
              <a:gd name="T21" fmla="*/ 86 h 152"/>
              <a:gd name="T22" fmla="*/ 34 w 170"/>
              <a:gd name="T23" fmla="*/ 92 h 152"/>
              <a:gd name="T24" fmla="*/ 27 w 170"/>
              <a:gd name="T25" fmla="*/ 102 h 152"/>
              <a:gd name="T26" fmla="*/ 22 w 170"/>
              <a:gd name="T27" fmla="*/ 115 h 152"/>
              <a:gd name="T28" fmla="*/ 21 w 170"/>
              <a:gd name="T29" fmla="*/ 132 h 152"/>
              <a:gd name="T30" fmla="*/ 21 w 170"/>
              <a:gd name="T31" fmla="*/ 144 h 152"/>
              <a:gd name="T32" fmla="*/ 21 w 170"/>
              <a:gd name="T33" fmla="*/ 146 h 152"/>
              <a:gd name="T34" fmla="*/ 21 w 170"/>
              <a:gd name="T35" fmla="*/ 148 h 152"/>
              <a:gd name="T36" fmla="*/ 21 w 170"/>
              <a:gd name="T37" fmla="*/ 151 h 152"/>
              <a:gd name="T38" fmla="*/ 18 w 170"/>
              <a:gd name="T39" fmla="*/ 152 h 152"/>
              <a:gd name="T40" fmla="*/ 16 w 170"/>
              <a:gd name="T41" fmla="*/ 150 h 152"/>
              <a:gd name="T42" fmla="*/ 15 w 170"/>
              <a:gd name="T43" fmla="*/ 148 h 152"/>
              <a:gd name="T44" fmla="*/ 13 w 170"/>
              <a:gd name="T45" fmla="*/ 145 h 152"/>
              <a:gd name="T46" fmla="*/ 12 w 170"/>
              <a:gd name="T47" fmla="*/ 143 h 152"/>
              <a:gd name="T48" fmla="*/ 0 w 170"/>
              <a:gd name="T49" fmla="*/ 100 h 152"/>
              <a:gd name="T50" fmla="*/ 5 w 170"/>
              <a:gd name="T51" fmla="*/ 69 h 152"/>
              <a:gd name="T52" fmla="*/ 88 w 170"/>
              <a:gd name="T53" fmla="*/ 31 h 152"/>
              <a:gd name="T54" fmla="*/ 109 w 170"/>
              <a:gd name="T55" fmla="*/ 31 h 152"/>
              <a:gd name="T56" fmla="*/ 109 w 170"/>
              <a:gd name="T57" fmla="*/ 6 h 152"/>
              <a:gd name="T58" fmla="*/ 111 w 170"/>
              <a:gd name="T59" fmla="*/ 2 h 152"/>
              <a:gd name="T60" fmla="*/ 115 w 170"/>
              <a:gd name="T61" fmla="*/ 0 h 152"/>
              <a:gd name="T62" fmla="*/ 120 w 170"/>
              <a:gd name="T63" fmla="*/ 2 h 152"/>
              <a:gd name="T64" fmla="*/ 168 w 170"/>
              <a:gd name="T65" fmla="*/ 50 h 152"/>
              <a:gd name="T66" fmla="*/ 170 w 170"/>
              <a:gd name="T67" fmla="*/ 55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152">
                <a:moveTo>
                  <a:pt x="170" y="55"/>
                </a:moveTo>
                <a:cubicBezTo>
                  <a:pt x="170" y="56"/>
                  <a:pt x="169" y="58"/>
                  <a:pt x="168" y="59"/>
                </a:cubicBezTo>
                <a:cubicBezTo>
                  <a:pt x="120" y="107"/>
                  <a:pt x="120" y="107"/>
                  <a:pt x="120" y="107"/>
                </a:cubicBezTo>
                <a:cubicBezTo>
                  <a:pt x="118" y="109"/>
                  <a:pt x="117" y="109"/>
                  <a:pt x="115" y="109"/>
                </a:cubicBezTo>
                <a:cubicBezTo>
                  <a:pt x="114" y="109"/>
                  <a:pt x="112" y="109"/>
                  <a:pt x="111" y="107"/>
                </a:cubicBezTo>
                <a:cubicBezTo>
                  <a:pt x="110" y="106"/>
                  <a:pt x="109" y="105"/>
                  <a:pt x="109" y="103"/>
                </a:cubicBezTo>
                <a:cubicBezTo>
                  <a:pt x="109" y="79"/>
                  <a:pt x="109" y="79"/>
                  <a:pt x="109" y="79"/>
                </a:cubicBezTo>
                <a:cubicBezTo>
                  <a:pt x="88" y="79"/>
                  <a:pt x="88" y="79"/>
                  <a:pt x="88" y="79"/>
                </a:cubicBezTo>
                <a:cubicBezTo>
                  <a:pt x="82" y="79"/>
                  <a:pt x="76" y="79"/>
                  <a:pt x="71" y="80"/>
                </a:cubicBezTo>
                <a:cubicBezTo>
                  <a:pt x="67" y="80"/>
                  <a:pt x="62" y="81"/>
                  <a:pt x="57" y="82"/>
                </a:cubicBezTo>
                <a:cubicBezTo>
                  <a:pt x="52" y="83"/>
                  <a:pt x="48" y="84"/>
                  <a:pt x="44" y="86"/>
                </a:cubicBezTo>
                <a:cubicBezTo>
                  <a:pt x="41" y="87"/>
                  <a:pt x="37" y="89"/>
                  <a:pt x="34" y="92"/>
                </a:cubicBezTo>
                <a:cubicBezTo>
                  <a:pt x="31" y="95"/>
                  <a:pt x="29" y="98"/>
                  <a:pt x="27" y="102"/>
                </a:cubicBezTo>
                <a:cubicBezTo>
                  <a:pt x="25" y="105"/>
                  <a:pt x="23" y="110"/>
                  <a:pt x="22" y="115"/>
                </a:cubicBezTo>
                <a:cubicBezTo>
                  <a:pt x="21" y="120"/>
                  <a:pt x="21" y="126"/>
                  <a:pt x="21" y="132"/>
                </a:cubicBezTo>
                <a:cubicBezTo>
                  <a:pt x="21" y="135"/>
                  <a:pt x="21" y="139"/>
                  <a:pt x="21" y="144"/>
                </a:cubicBezTo>
                <a:cubicBezTo>
                  <a:pt x="21" y="144"/>
                  <a:pt x="21" y="145"/>
                  <a:pt x="21" y="146"/>
                </a:cubicBezTo>
                <a:cubicBezTo>
                  <a:pt x="21" y="147"/>
                  <a:pt x="21" y="148"/>
                  <a:pt x="21" y="148"/>
                </a:cubicBezTo>
                <a:cubicBezTo>
                  <a:pt x="21" y="149"/>
                  <a:pt x="21" y="150"/>
                  <a:pt x="21" y="151"/>
                </a:cubicBezTo>
                <a:cubicBezTo>
                  <a:pt x="20" y="151"/>
                  <a:pt x="19" y="152"/>
                  <a:pt x="18" y="152"/>
                </a:cubicBezTo>
                <a:cubicBezTo>
                  <a:pt x="17" y="152"/>
                  <a:pt x="17" y="151"/>
                  <a:pt x="16" y="150"/>
                </a:cubicBezTo>
                <a:cubicBezTo>
                  <a:pt x="15" y="149"/>
                  <a:pt x="15" y="149"/>
                  <a:pt x="15" y="148"/>
                </a:cubicBezTo>
                <a:cubicBezTo>
                  <a:pt x="14" y="147"/>
                  <a:pt x="14" y="146"/>
                  <a:pt x="13" y="145"/>
                </a:cubicBezTo>
                <a:cubicBezTo>
                  <a:pt x="13" y="144"/>
                  <a:pt x="13" y="143"/>
                  <a:pt x="12" y="143"/>
                </a:cubicBezTo>
                <a:cubicBezTo>
                  <a:pt x="4" y="125"/>
                  <a:pt x="0" y="111"/>
                  <a:pt x="0" y="100"/>
                </a:cubicBezTo>
                <a:cubicBezTo>
                  <a:pt x="0" y="88"/>
                  <a:pt x="2" y="77"/>
                  <a:pt x="5" y="69"/>
                </a:cubicBezTo>
                <a:cubicBezTo>
                  <a:pt x="16" y="43"/>
                  <a:pt x="43" y="31"/>
                  <a:pt x="88" y="31"/>
                </a:cubicBezTo>
                <a:cubicBezTo>
                  <a:pt x="109" y="31"/>
                  <a:pt x="109" y="31"/>
                  <a:pt x="109" y="31"/>
                </a:cubicBezTo>
                <a:cubicBezTo>
                  <a:pt x="109" y="6"/>
                  <a:pt x="109" y="6"/>
                  <a:pt x="109" y="6"/>
                </a:cubicBezTo>
                <a:cubicBezTo>
                  <a:pt x="109" y="5"/>
                  <a:pt x="110" y="3"/>
                  <a:pt x="111" y="2"/>
                </a:cubicBezTo>
                <a:cubicBezTo>
                  <a:pt x="112" y="1"/>
                  <a:pt x="114" y="0"/>
                  <a:pt x="115" y="0"/>
                </a:cubicBezTo>
                <a:cubicBezTo>
                  <a:pt x="117" y="0"/>
                  <a:pt x="118" y="1"/>
                  <a:pt x="120" y="2"/>
                </a:cubicBezTo>
                <a:cubicBezTo>
                  <a:pt x="168" y="50"/>
                  <a:pt x="168" y="50"/>
                  <a:pt x="168" y="50"/>
                </a:cubicBezTo>
                <a:cubicBezTo>
                  <a:pt x="169" y="52"/>
                  <a:pt x="170" y="53"/>
                  <a:pt x="170" y="5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0" name="Freeform 100"/>
          <p:cNvSpPr>
            <a:spLocks noChangeAspect="1" noEditPoints="1"/>
          </p:cNvSpPr>
          <p:nvPr/>
        </p:nvSpPr>
        <p:spPr bwMode="auto">
          <a:xfrm>
            <a:off x="4364334" y="2175379"/>
            <a:ext cx="151447" cy="151447"/>
          </a:xfrm>
          <a:custGeom>
            <a:avLst/>
            <a:gdLst>
              <a:gd name="T0" fmla="*/ 72 w 146"/>
              <a:gd name="T1" fmla="*/ 88 h 146"/>
              <a:gd name="T2" fmla="*/ 71 w 146"/>
              <a:gd name="T3" fmla="*/ 90 h 146"/>
              <a:gd name="T4" fmla="*/ 39 w 146"/>
              <a:gd name="T5" fmla="*/ 122 h 146"/>
              <a:gd name="T6" fmla="*/ 53 w 146"/>
              <a:gd name="T7" fmla="*/ 135 h 146"/>
              <a:gd name="T8" fmla="*/ 55 w 146"/>
              <a:gd name="T9" fmla="*/ 140 h 146"/>
              <a:gd name="T10" fmla="*/ 53 w 146"/>
              <a:gd name="T11" fmla="*/ 144 h 146"/>
              <a:gd name="T12" fmla="*/ 49 w 146"/>
              <a:gd name="T13" fmla="*/ 146 h 146"/>
              <a:gd name="T14" fmla="*/ 6 w 146"/>
              <a:gd name="T15" fmla="*/ 146 h 146"/>
              <a:gd name="T16" fmla="*/ 2 w 146"/>
              <a:gd name="T17" fmla="*/ 144 h 146"/>
              <a:gd name="T18" fmla="*/ 0 w 146"/>
              <a:gd name="T19" fmla="*/ 140 h 146"/>
              <a:gd name="T20" fmla="*/ 0 w 146"/>
              <a:gd name="T21" fmla="*/ 97 h 146"/>
              <a:gd name="T22" fmla="*/ 2 w 146"/>
              <a:gd name="T23" fmla="*/ 93 h 146"/>
              <a:gd name="T24" fmla="*/ 6 w 146"/>
              <a:gd name="T25" fmla="*/ 91 h 146"/>
              <a:gd name="T26" fmla="*/ 11 w 146"/>
              <a:gd name="T27" fmla="*/ 93 h 146"/>
              <a:gd name="T28" fmla="*/ 24 w 146"/>
              <a:gd name="T29" fmla="*/ 107 h 146"/>
              <a:gd name="T30" fmla="*/ 56 w 146"/>
              <a:gd name="T31" fmla="*/ 75 h 146"/>
              <a:gd name="T32" fmla="*/ 58 w 146"/>
              <a:gd name="T33" fmla="*/ 74 h 146"/>
              <a:gd name="T34" fmla="*/ 60 w 146"/>
              <a:gd name="T35" fmla="*/ 75 h 146"/>
              <a:gd name="T36" fmla="*/ 71 w 146"/>
              <a:gd name="T37" fmla="*/ 86 h 146"/>
              <a:gd name="T38" fmla="*/ 72 w 146"/>
              <a:gd name="T39" fmla="*/ 88 h 146"/>
              <a:gd name="T40" fmla="*/ 146 w 146"/>
              <a:gd name="T41" fmla="*/ 6 h 146"/>
              <a:gd name="T42" fmla="*/ 146 w 146"/>
              <a:gd name="T43" fmla="*/ 49 h 146"/>
              <a:gd name="T44" fmla="*/ 144 w 146"/>
              <a:gd name="T45" fmla="*/ 53 h 146"/>
              <a:gd name="T46" fmla="*/ 139 w 146"/>
              <a:gd name="T47" fmla="*/ 55 h 146"/>
              <a:gd name="T48" fmla="*/ 135 w 146"/>
              <a:gd name="T49" fmla="*/ 53 h 146"/>
              <a:gd name="T50" fmla="*/ 122 w 146"/>
              <a:gd name="T51" fmla="*/ 39 h 146"/>
              <a:gd name="T52" fmla="*/ 90 w 146"/>
              <a:gd name="T53" fmla="*/ 71 h 146"/>
              <a:gd name="T54" fmla="*/ 88 w 146"/>
              <a:gd name="T55" fmla="*/ 72 h 146"/>
              <a:gd name="T56" fmla="*/ 86 w 146"/>
              <a:gd name="T57" fmla="*/ 71 h 146"/>
              <a:gd name="T58" fmla="*/ 75 w 146"/>
              <a:gd name="T59" fmla="*/ 60 h 146"/>
              <a:gd name="T60" fmla="*/ 74 w 146"/>
              <a:gd name="T61" fmla="*/ 58 h 146"/>
              <a:gd name="T62" fmla="*/ 75 w 146"/>
              <a:gd name="T63" fmla="*/ 56 h 146"/>
              <a:gd name="T64" fmla="*/ 106 w 146"/>
              <a:gd name="T65" fmla="*/ 24 h 146"/>
              <a:gd name="T66" fmla="*/ 93 w 146"/>
              <a:gd name="T67" fmla="*/ 11 h 146"/>
              <a:gd name="T68" fmla="*/ 91 w 146"/>
              <a:gd name="T69" fmla="*/ 6 h 146"/>
              <a:gd name="T70" fmla="*/ 93 w 146"/>
              <a:gd name="T71" fmla="*/ 2 h 146"/>
              <a:gd name="T72" fmla="*/ 97 w 146"/>
              <a:gd name="T73" fmla="*/ 0 h 146"/>
              <a:gd name="T74" fmla="*/ 139 w 146"/>
              <a:gd name="T75" fmla="*/ 0 h 146"/>
              <a:gd name="T76" fmla="*/ 144 w 146"/>
              <a:gd name="T77" fmla="*/ 2 h 146"/>
              <a:gd name="T78" fmla="*/ 146 w 146"/>
              <a:gd name="T79" fmla="*/ 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46" h="146">
                <a:moveTo>
                  <a:pt x="72" y="88"/>
                </a:moveTo>
                <a:cubicBezTo>
                  <a:pt x="72" y="89"/>
                  <a:pt x="71" y="90"/>
                  <a:pt x="71" y="90"/>
                </a:cubicBezTo>
                <a:cubicBezTo>
                  <a:pt x="39" y="122"/>
                  <a:pt x="39" y="122"/>
                  <a:pt x="39" y="122"/>
                </a:cubicBezTo>
                <a:cubicBezTo>
                  <a:pt x="53" y="135"/>
                  <a:pt x="53" y="135"/>
                  <a:pt x="53" y="135"/>
                </a:cubicBezTo>
                <a:cubicBezTo>
                  <a:pt x="54" y="136"/>
                  <a:pt x="55" y="138"/>
                  <a:pt x="55" y="140"/>
                </a:cubicBezTo>
                <a:cubicBezTo>
                  <a:pt x="55" y="141"/>
                  <a:pt x="54" y="143"/>
                  <a:pt x="53" y="144"/>
                </a:cubicBezTo>
                <a:cubicBezTo>
                  <a:pt x="52" y="145"/>
                  <a:pt x="50" y="146"/>
                  <a:pt x="49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5" y="146"/>
                  <a:pt x="3" y="145"/>
                  <a:pt x="2" y="144"/>
                </a:cubicBezTo>
                <a:cubicBezTo>
                  <a:pt x="1" y="143"/>
                  <a:pt x="0" y="141"/>
                  <a:pt x="0" y="140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6"/>
                  <a:pt x="1" y="94"/>
                  <a:pt x="2" y="93"/>
                </a:cubicBezTo>
                <a:cubicBezTo>
                  <a:pt x="3" y="92"/>
                  <a:pt x="5" y="91"/>
                  <a:pt x="6" y="91"/>
                </a:cubicBezTo>
                <a:cubicBezTo>
                  <a:pt x="8" y="91"/>
                  <a:pt x="9" y="92"/>
                  <a:pt x="11" y="93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56" y="75"/>
                  <a:pt x="56" y="75"/>
                  <a:pt x="56" y="75"/>
                </a:cubicBezTo>
                <a:cubicBezTo>
                  <a:pt x="56" y="74"/>
                  <a:pt x="57" y="74"/>
                  <a:pt x="58" y="74"/>
                </a:cubicBezTo>
                <a:cubicBezTo>
                  <a:pt x="59" y="74"/>
                  <a:pt x="59" y="74"/>
                  <a:pt x="60" y="75"/>
                </a:cubicBezTo>
                <a:cubicBezTo>
                  <a:pt x="71" y="86"/>
                  <a:pt x="71" y="86"/>
                  <a:pt x="71" y="86"/>
                </a:cubicBezTo>
                <a:cubicBezTo>
                  <a:pt x="71" y="87"/>
                  <a:pt x="72" y="87"/>
                  <a:pt x="72" y="88"/>
                </a:cubicBezTo>
                <a:close/>
                <a:moveTo>
                  <a:pt x="146" y="6"/>
                </a:moveTo>
                <a:cubicBezTo>
                  <a:pt x="146" y="49"/>
                  <a:pt x="146" y="49"/>
                  <a:pt x="146" y="49"/>
                </a:cubicBezTo>
                <a:cubicBezTo>
                  <a:pt x="146" y="50"/>
                  <a:pt x="145" y="52"/>
                  <a:pt x="144" y="53"/>
                </a:cubicBezTo>
                <a:cubicBezTo>
                  <a:pt x="143" y="54"/>
                  <a:pt x="141" y="55"/>
                  <a:pt x="139" y="55"/>
                </a:cubicBezTo>
                <a:cubicBezTo>
                  <a:pt x="138" y="55"/>
                  <a:pt x="136" y="54"/>
                  <a:pt x="135" y="53"/>
                </a:cubicBezTo>
                <a:cubicBezTo>
                  <a:pt x="122" y="39"/>
                  <a:pt x="122" y="39"/>
                  <a:pt x="122" y="39"/>
                </a:cubicBezTo>
                <a:cubicBezTo>
                  <a:pt x="90" y="71"/>
                  <a:pt x="90" y="71"/>
                  <a:pt x="90" y="71"/>
                </a:cubicBezTo>
                <a:cubicBezTo>
                  <a:pt x="90" y="71"/>
                  <a:pt x="89" y="72"/>
                  <a:pt x="88" y="72"/>
                </a:cubicBezTo>
                <a:cubicBezTo>
                  <a:pt x="87" y="72"/>
                  <a:pt x="86" y="71"/>
                  <a:pt x="86" y="71"/>
                </a:cubicBezTo>
                <a:cubicBezTo>
                  <a:pt x="75" y="60"/>
                  <a:pt x="75" y="60"/>
                  <a:pt x="75" y="60"/>
                </a:cubicBezTo>
                <a:cubicBezTo>
                  <a:pt x="74" y="59"/>
                  <a:pt x="74" y="59"/>
                  <a:pt x="74" y="58"/>
                </a:cubicBezTo>
                <a:cubicBezTo>
                  <a:pt x="74" y="57"/>
                  <a:pt x="74" y="56"/>
                  <a:pt x="75" y="56"/>
                </a:cubicBezTo>
                <a:cubicBezTo>
                  <a:pt x="106" y="24"/>
                  <a:pt x="106" y="24"/>
                  <a:pt x="106" y="24"/>
                </a:cubicBezTo>
                <a:cubicBezTo>
                  <a:pt x="93" y="11"/>
                  <a:pt x="93" y="11"/>
                  <a:pt x="93" y="11"/>
                </a:cubicBezTo>
                <a:cubicBezTo>
                  <a:pt x="92" y="9"/>
                  <a:pt x="91" y="8"/>
                  <a:pt x="91" y="6"/>
                </a:cubicBezTo>
                <a:cubicBezTo>
                  <a:pt x="91" y="5"/>
                  <a:pt x="92" y="3"/>
                  <a:pt x="93" y="2"/>
                </a:cubicBezTo>
                <a:cubicBezTo>
                  <a:pt x="94" y="1"/>
                  <a:pt x="95" y="0"/>
                  <a:pt x="97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1" y="0"/>
                  <a:pt x="143" y="1"/>
                  <a:pt x="144" y="2"/>
                </a:cubicBezTo>
                <a:cubicBezTo>
                  <a:pt x="145" y="3"/>
                  <a:pt x="146" y="5"/>
                  <a:pt x="146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1" name="Freeform 101"/>
          <p:cNvSpPr>
            <a:spLocks noChangeAspect="1" noEditPoints="1"/>
          </p:cNvSpPr>
          <p:nvPr/>
        </p:nvSpPr>
        <p:spPr bwMode="auto">
          <a:xfrm>
            <a:off x="4559497" y="2176940"/>
            <a:ext cx="148324" cy="148324"/>
          </a:xfrm>
          <a:custGeom>
            <a:avLst/>
            <a:gdLst>
              <a:gd name="T0" fmla="*/ 72 w 143"/>
              <a:gd name="T1" fmla="*/ 77 h 142"/>
              <a:gd name="T2" fmla="*/ 72 w 143"/>
              <a:gd name="T3" fmla="*/ 119 h 142"/>
              <a:gd name="T4" fmla="*/ 70 w 143"/>
              <a:gd name="T5" fmla="*/ 124 h 142"/>
              <a:gd name="T6" fmla="*/ 66 w 143"/>
              <a:gd name="T7" fmla="*/ 125 h 142"/>
              <a:gd name="T8" fmla="*/ 61 w 143"/>
              <a:gd name="T9" fmla="*/ 124 h 142"/>
              <a:gd name="T10" fmla="*/ 48 w 143"/>
              <a:gd name="T11" fmla="*/ 110 h 142"/>
              <a:gd name="T12" fmla="*/ 16 w 143"/>
              <a:gd name="T13" fmla="*/ 141 h 142"/>
              <a:gd name="T14" fmla="*/ 14 w 143"/>
              <a:gd name="T15" fmla="*/ 142 h 142"/>
              <a:gd name="T16" fmla="*/ 12 w 143"/>
              <a:gd name="T17" fmla="*/ 141 h 142"/>
              <a:gd name="T18" fmla="*/ 1 w 143"/>
              <a:gd name="T19" fmla="*/ 131 h 142"/>
              <a:gd name="T20" fmla="*/ 0 w 143"/>
              <a:gd name="T21" fmla="*/ 128 h 142"/>
              <a:gd name="T22" fmla="*/ 1 w 143"/>
              <a:gd name="T23" fmla="*/ 126 h 142"/>
              <a:gd name="T24" fmla="*/ 33 w 143"/>
              <a:gd name="T25" fmla="*/ 95 h 142"/>
              <a:gd name="T26" fmla="*/ 19 w 143"/>
              <a:gd name="T27" fmla="*/ 81 h 142"/>
              <a:gd name="T28" fmla="*/ 17 w 143"/>
              <a:gd name="T29" fmla="*/ 77 h 142"/>
              <a:gd name="T30" fmla="*/ 19 w 143"/>
              <a:gd name="T31" fmla="*/ 73 h 142"/>
              <a:gd name="T32" fmla="*/ 23 w 143"/>
              <a:gd name="T33" fmla="*/ 71 h 142"/>
              <a:gd name="T34" fmla="*/ 66 w 143"/>
              <a:gd name="T35" fmla="*/ 71 h 142"/>
              <a:gd name="T36" fmla="*/ 70 w 143"/>
              <a:gd name="T37" fmla="*/ 73 h 142"/>
              <a:gd name="T38" fmla="*/ 72 w 143"/>
              <a:gd name="T39" fmla="*/ 77 h 142"/>
              <a:gd name="T40" fmla="*/ 143 w 143"/>
              <a:gd name="T41" fmla="*/ 13 h 142"/>
              <a:gd name="T42" fmla="*/ 142 w 143"/>
              <a:gd name="T43" fmla="*/ 16 h 142"/>
              <a:gd name="T44" fmla="*/ 111 w 143"/>
              <a:gd name="T45" fmla="*/ 47 h 142"/>
              <a:gd name="T46" fmla="*/ 124 w 143"/>
              <a:gd name="T47" fmla="*/ 61 h 142"/>
              <a:gd name="T48" fmla="*/ 126 w 143"/>
              <a:gd name="T49" fmla="*/ 65 h 142"/>
              <a:gd name="T50" fmla="*/ 124 w 143"/>
              <a:gd name="T51" fmla="*/ 69 h 142"/>
              <a:gd name="T52" fmla="*/ 120 w 143"/>
              <a:gd name="T53" fmla="*/ 71 h 142"/>
              <a:gd name="T54" fmla="*/ 78 w 143"/>
              <a:gd name="T55" fmla="*/ 71 h 142"/>
              <a:gd name="T56" fmla="*/ 73 w 143"/>
              <a:gd name="T57" fmla="*/ 69 h 142"/>
              <a:gd name="T58" fmla="*/ 72 w 143"/>
              <a:gd name="T59" fmla="*/ 65 h 142"/>
              <a:gd name="T60" fmla="*/ 72 w 143"/>
              <a:gd name="T61" fmla="*/ 23 h 142"/>
              <a:gd name="T62" fmla="*/ 73 w 143"/>
              <a:gd name="T63" fmla="*/ 18 h 142"/>
              <a:gd name="T64" fmla="*/ 78 w 143"/>
              <a:gd name="T65" fmla="*/ 16 h 142"/>
              <a:gd name="T66" fmla="*/ 82 w 143"/>
              <a:gd name="T67" fmla="*/ 18 h 142"/>
              <a:gd name="T68" fmla="*/ 96 w 143"/>
              <a:gd name="T69" fmla="*/ 32 h 142"/>
              <a:gd name="T70" fmla="*/ 127 w 143"/>
              <a:gd name="T71" fmla="*/ 1 h 142"/>
              <a:gd name="T72" fmla="*/ 129 w 143"/>
              <a:gd name="T73" fmla="*/ 0 h 142"/>
              <a:gd name="T74" fmla="*/ 131 w 143"/>
              <a:gd name="T75" fmla="*/ 1 h 142"/>
              <a:gd name="T76" fmla="*/ 142 w 143"/>
              <a:gd name="T77" fmla="*/ 11 h 142"/>
              <a:gd name="T78" fmla="*/ 143 w 143"/>
              <a:gd name="T79" fmla="*/ 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43" h="142">
                <a:moveTo>
                  <a:pt x="72" y="77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21"/>
                  <a:pt x="71" y="122"/>
                  <a:pt x="70" y="124"/>
                </a:cubicBezTo>
                <a:cubicBezTo>
                  <a:pt x="69" y="125"/>
                  <a:pt x="67" y="125"/>
                  <a:pt x="66" y="125"/>
                </a:cubicBezTo>
                <a:cubicBezTo>
                  <a:pt x="64" y="125"/>
                  <a:pt x="63" y="125"/>
                  <a:pt x="61" y="124"/>
                </a:cubicBezTo>
                <a:cubicBezTo>
                  <a:pt x="48" y="110"/>
                  <a:pt x="48" y="110"/>
                  <a:pt x="48" y="110"/>
                </a:cubicBezTo>
                <a:cubicBezTo>
                  <a:pt x="16" y="141"/>
                  <a:pt x="16" y="141"/>
                  <a:pt x="16" y="141"/>
                </a:cubicBezTo>
                <a:cubicBezTo>
                  <a:pt x="16" y="142"/>
                  <a:pt x="15" y="142"/>
                  <a:pt x="14" y="142"/>
                </a:cubicBezTo>
                <a:cubicBezTo>
                  <a:pt x="13" y="142"/>
                  <a:pt x="13" y="142"/>
                  <a:pt x="12" y="141"/>
                </a:cubicBezTo>
                <a:cubicBezTo>
                  <a:pt x="1" y="131"/>
                  <a:pt x="1" y="131"/>
                  <a:pt x="1" y="131"/>
                </a:cubicBezTo>
                <a:cubicBezTo>
                  <a:pt x="1" y="130"/>
                  <a:pt x="0" y="129"/>
                  <a:pt x="0" y="128"/>
                </a:cubicBezTo>
                <a:cubicBezTo>
                  <a:pt x="0" y="128"/>
                  <a:pt x="1" y="127"/>
                  <a:pt x="1" y="126"/>
                </a:cubicBezTo>
                <a:cubicBezTo>
                  <a:pt x="33" y="95"/>
                  <a:pt x="33" y="95"/>
                  <a:pt x="33" y="95"/>
                </a:cubicBezTo>
                <a:cubicBezTo>
                  <a:pt x="19" y="81"/>
                  <a:pt x="19" y="81"/>
                  <a:pt x="19" y="81"/>
                </a:cubicBezTo>
                <a:cubicBezTo>
                  <a:pt x="18" y="80"/>
                  <a:pt x="17" y="79"/>
                  <a:pt x="17" y="77"/>
                </a:cubicBezTo>
                <a:cubicBezTo>
                  <a:pt x="17" y="75"/>
                  <a:pt x="18" y="74"/>
                  <a:pt x="19" y="73"/>
                </a:cubicBezTo>
                <a:cubicBezTo>
                  <a:pt x="20" y="72"/>
                  <a:pt x="22" y="71"/>
                  <a:pt x="23" y="71"/>
                </a:cubicBezTo>
                <a:cubicBezTo>
                  <a:pt x="66" y="71"/>
                  <a:pt x="66" y="71"/>
                  <a:pt x="66" y="71"/>
                </a:cubicBezTo>
                <a:cubicBezTo>
                  <a:pt x="67" y="71"/>
                  <a:pt x="69" y="72"/>
                  <a:pt x="70" y="73"/>
                </a:cubicBezTo>
                <a:cubicBezTo>
                  <a:pt x="71" y="74"/>
                  <a:pt x="72" y="75"/>
                  <a:pt x="72" y="77"/>
                </a:cubicBezTo>
                <a:close/>
                <a:moveTo>
                  <a:pt x="143" y="13"/>
                </a:moveTo>
                <a:cubicBezTo>
                  <a:pt x="143" y="14"/>
                  <a:pt x="143" y="15"/>
                  <a:pt x="142" y="16"/>
                </a:cubicBezTo>
                <a:cubicBezTo>
                  <a:pt x="111" y="47"/>
                  <a:pt x="111" y="47"/>
                  <a:pt x="111" y="47"/>
                </a:cubicBezTo>
                <a:cubicBezTo>
                  <a:pt x="124" y="61"/>
                  <a:pt x="124" y="61"/>
                  <a:pt x="124" y="61"/>
                </a:cubicBezTo>
                <a:cubicBezTo>
                  <a:pt x="126" y="62"/>
                  <a:pt x="126" y="63"/>
                  <a:pt x="126" y="65"/>
                </a:cubicBezTo>
                <a:cubicBezTo>
                  <a:pt x="126" y="67"/>
                  <a:pt x="126" y="68"/>
                  <a:pt x="124" y="69"/>
                </a:cubicBezTo>
                <a:cubicBezTo>
                  <a:pt x="123" y="70"/>
                  <a:pt x="122" y="71"/>
                  <a:pt x="120" y="71"/>
                </a:cubicBezTo>
                <a:cubicBezTo>
                  <a:pt x="78" y="71"/>
                  <a:pt x="78" y="71"/>
                  <a:pt x="78" y="71"/>
                </a:cubicBezTo>
                <a:cubicBezTo>
                  <a:pt x="76" y="71"/>
                  <a:pt x="75" y="70"/>
                  <a:pt x="73" y="69"/>
                </a:cubicBezTo>
                <a:cubicBezTo>
                  <a:pt x="72" y="68"/>
                  <a:pt x="72" y="67"/>
                  <a:pt x="72" y="65"/>
                </a:cubicBezTo>
                <a:cubicBezTo>
                  <a:pt x="72" y="23"/>
                  <a:pt x="72" y="23"/>
                  <a:pt x="72" y="23"/>
                </a:cubicBezTo>
                <a:cubicBezTo>
                  <a:pt x="72" y="21"/>
                  <a:pt x="72" y="19"/>
                  <a:pt x="73" y="18"/>
                </a:cubicBezTo>
                <a:cubicBezTo>
                  <a:pt x="75" y="17"/>
                  <a:pt x="76" y="16"/>
                  <a:pt x="78" y="16"/>
                </a:cubicBezTo>
                <a:cubicBezTo>
                  <a:pt x="79" y="16"/>
                  <a:pt x="81" y="17"/>
                  <a:pt x="82" y="18"/>
                </a:cubicBezTo>
                <a:cubicBezTo>
                  <a:pt x="96" y="32"/>
                  <a:pt x="96" y="32"/>
                  <a:pt x="96" y="32"/>
                </a:cubicBezTo>
                <a:cubicBezTo>
                  <a:pt x="127" y="1"/>
                  <a:pt x="127" y="1"/>
                  <a:pt x="127" y="1"/>
                </a:cubicBezTo>
                <a:cubicBezTo>
                  <a:pt x="128" y="0"/>
                  <a:pt x="128" y="0"/>
                  <a:pt x="129" y="0"/>
                </a:cubicBezTo>
                <a:cubicBezTo>
                  <a:pt x="130" y="0"/>
                  <a:pt x="131" y="0"/>
                  <a:pt x="131" y="1"/>
                </a:cubicBezTo>
                <a:cubicBezTo>
                  <a:pt x="142" y="11"/>
                  <a:pt x="142" y="11"/>
                  <a:pt x="142" y="11"/>
                </a:cubicBezTo>
                <a:cubicBezTo>
                  <a:pt x="143" y="12"/>
                  <a:pt x="143" y="13"/>
                  <a:pt x="143" y="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2" name="Freeform 102"/>
          <p:cNvSpPr>
            <a:spLocks noChangeAspect="1"/>
          </p:cNvSpPr>
          <p:nvPr/>
        </p:nvSpPr>
        <p:spPr bwMode="auto">
          <a:xfrm>
            <a:off x="4751538" y="2175379"/>
            <a:ext cx="137395" cy="137395"/>
          </a:xfrm>
          <a:custGeom>
            <a:avLst/>
            <a:gdLst>
              <a:gd name="T0" fmla="*/ 133 w 133"/>
              <a:gd name="T1" fmla="*/ 58 h 133"/>
              <a:gd name="T2" fmla="*/ 133 w 133"/>
              <a:gd name="T3" fmla="*/ 76 h 133"/>
              <a:gd name="T4" fmla="*/ 130 w 133"/>
              <a:gd name="T5" fmla="*/ 82 h 133"/>
              <a:gd name="T6" fmla="*/ 124 w 133"/>
              <a:gd name="T7" fmla="*/ 85 h 133"/>
              <a:gd name="T8" fmla="*/ 85 w 133"/>
              <a:gd name="T9" fmla="*/ 85 h 133"/>
              <a:gd name="T10" fmla="*/ 85 w 133"/>
              <a:gd name="T11" fmla="*/ 124 h 133"/>
              <a:gd name="T12" fmla="*/ 82 w 133"/>
              <a:gd name="T13" fmla="*/ 131 h 133"/>
              <a:gd name="T14" fmla="*/ 75 w 133"/>
              <a:gd name="T15" fmla="*/ 133 h 133"/>
              <a:gd name="T16" fmla="*/ 57 w 133"/>
              <a:gd name="T17" fmla="*/ 133 h 133"/>
              <a:gd name="T18" fmla="*/ 51 w 133"/>
              <a:gd name="T19" fmla="*/ 131 h 133"/>
              <a:gd name="T20" fmla="*/ 48 w 133"/>
              <a:gd name="T21" fmla="*/ 124 h 133"/>
              <a:gd name="T22" fmla="*/ 48 w 133"/>
              <a:gd name="T23" fmla="*/ 85 h 133"/>
              <a:gd name="T24" fmla="*/ 9 w 133"/>
              <a:gd name="T25" fmla="*/ 85 h 133"/>
              <a:gd name="T26" fmla="*/ 2 w 133"/>
              <a:gd name="T27" fmla="*/ 82 h 133"/>
              <a:gd name="T28" fmla="*/ 0 w 133"/>
              <a:gd name="T29" fmla="*/ 76 h 133"/>
              <a:gd name="T30" fmla="*/ 0 w 133"/>
              <a:gd name="T31" fmla="*/ 58 h 133"/>
              <a:gd name="T32" fmla="*/ 2 w 133"/>
              <a:gd name="T33" fmla="*/ 51 h 133"/>
              <a:gd name="T34" fmla="*/ 9 w 133"/>
              <a:gd name="T35" fmla="*/ 49 h 133"/>
              <a:gd name="T36" fmla="*/ 48 w 133"/>
              <a:gd name="T37" fmla="*/ 49 h 133"/>
              <a:gd name="T38" fmla="*/ 48 w 133"/>
              <a:gd name="T39" fmla="*/ 9 h 133"/>
              <a:gd name="T40" fmla="*/ 51 w 133"/>
              <a:gd name="T41" fmla="*/ 3 h 133"/>
              <a:gd name="T42" fmla="*/ 57 w 133"/>
              <a:gd name="T43" fmla="*/ 0 h 133"/>
              <a:gd name="T44" fmla="*/ 75 w 133"/>
              <a:gd name="T45" fmla="*/ 0 h 133"/>
              <a:gd name="T46" fmla="*/ 82 w 133"/>
              <a:gd name="T47" fmla="*/ 3 h 133"/>
              <a:gd name="T48" fmla="*/ 85 w 133"/>
              <a:gd name="T49" fmla="*/ 9 h 133"/>
              <a:gd name="T50" fmla="*/ 85 w 133"/>
              <a:gd name="T51" fmla="*/ 49 h 133"/>
              <a:gd name="T52" fmla="*/ 124 w 133"/>
              <a:gd name="T53" fmla="*/ 49 h 133"/>
              <a:gd name="T54" fmla="*/ 130 w 133"/>
              <a:gd name="T55" fmla="*/ 51 h 133"/>
              <a:gd name="T56" fmla="*/ 133 w 133"/>
              <a:gd name="T57" fmla="*/ 58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33" h="133">
                <a:moveTo>
                  <a:pt x="133" y="58"/>
                </a:moveTo>
                <a:cubicBezTo>
                  <a:pt x="133" y="76"/>
                  <a:pt x="133" y="76"/>
                  <a:pt x="133" y="76"/>
                </a:cubicBezTo>
                <a:cubicBezTo>
                  <a:pt x="133" y="79"/>
                  <a:pt x="132" y="81"/>
                  <a:pt x="130" y="82"/>
                </a:cubicBezTo>
                <a:cubicBezTo>
                  <a:pt x="129" y="84"/>
                  <a:pt x="126" y="85"/>
                  <a:pt x="124" y="85"/>
                </a:cubicBezTo>
                <a:cubicBezTo>
                  <a:pt x="85" y="85"/>
                  <a:pt x="85" y="85"/>
                  <a:pt x="85" y="85"/>
                </a:cubicBezTo>
                <a:cubicBezTo>
                  <a:pt x="85" y="124"/>
                  <a:pt x="85" y="124"/>
                  <a:pt x="85" y="124"/>
                </a:cubicBezTo>
                <a:cubicBezTo>
                  <a:pt x="85" y="127"/>
                  <a:pt x="84" y="129"/>
                  <a:pt x="82" y="131"/>
                </a:cubicBezTo>
                <a:cubicBezTo>
                  <a:pt x="80" y="133"/>
                  <a:pt x="78" y="133"/>
                  <a:pt x="75" y="133"/>
                </a:cubicBezTo>
                <a:cubicBezTo>
                  <a:pt x="57" y="133"/>
                  <a:pt x="57" y="133"/>
                  <a:pt x="57" y="133"/>
                </a:cubicBezTo>
                <a:cubicBezTo>
                  <a:pt x="55" y="133"/>
                  <a:pt x="53" y="133"/>
                  <a:pt x="51" y="131"/>
                </a:cubicBezTo>
                <a:cubicBezTo>
                  <a:pt x="49" y="129"/>
                  <a:pt x="48" y="127"/>
                  <a:pt x="48" y="124"/>
                </a:cubicBezTo>
                <a:cubicBezTo>
                  <a:pt x="48" y="85"/>
                  <a:pt x="48" y="85"/>
                  <a:pt x="48" y="85"/>
                </a:cubicBezTo>
                <a:cubicBezTo>
                  <a:pt x="9" y="85"/>
                  <a:pt x="9" y="85"/>
                  <a:pt x="9" y="85"/>
                </a:cubicBezTo>
                <a:cubicBezTo>
                  <a:pt x="6" y="85"/>
                  <a:pt x="4" y="84"/>
                  <a:pt x="2" y="82"/>
                </a:cubicBezTo>
                <a:cubicBezTo>
                  <a:pt x="1" y="81"/>
                  <a:pt x="0" y="79"/>
                  <a:pt x="0" y="76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5"/>
                  <a:pt x="1" y="53"/>
                  <a:pt x="2" y="51"/>
                </a:cubicBezTo>
                <a:cubicBezTo>
                  <a:pt x="4" y="50"/>
                  <a:pt x="6" y="49"/>
                  <a:pt x="9" y="49"/>
                </a:cubicBezTo>
                <a:cubicBezTo>
                  <a:pt x="48" y="49"/>
                  <a:pt x="48" y="49"/>
                  <a:pt x="48" y="49"/>
                </a:cubicBezTo>
                <a:cubicBezTo>
                  <a:pt x="48" y="9"/>
                  <a:pt x="48" y="9"/>
                  <a:pt x="48" y="9"/>
                </a:cubicBezTo>
                <a:cubicBezTo>
                  <a:pt x="48" y="7"/>
                  <a:pt x="49" y="5"/>
                  <a:pt x="51" y="3"/>
                </a:cubicBezTo>
                <a:cubicBezTo>
                  <a:pt x="53" y="1"/>
                  <a:pt x="55" y="0"/>
                  <a:pt x="57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8" y="0"/>
                  <a:pt x="80" y="1"/>
                  <a:pt x="82" y="3"/>
                </a:cubicBezTo>
                <a:cubicBezTo>
                  <a:pt x="84" y="5"/>
                  <a:pt x="85" y="7"/>
                  <a:pt x="85" y="9"/>
                </a:cubicBezTo>
                <a:cubicBezTo>
                  <a:pt x="85" y="49"/>
                  <a:pt x="85" y="49"/>
                  <a:pt x="85" y="49"/>
                </a:cubicBezTo>
                <a:cubicBezTo>
                  <a:pt x="124" y="49"/>
                  <a:pt x="124" y="49"/>
                  <a:pt x="124" y="49"/>
                </a:cubicBezTo>
                <a:cubicBezTo>
                  <a:pt x="126" y="49"/>
                  <a:pt x="129" y="50"/>
                  <a:pt x="130" y="51"/>
                </a:cubicBezTo>
                <a:cubicBezTo>
                  <a:pt x="132" y="53"/>
                  <a:pt x="133" y="55"/>
                  <a:pt x="133" y="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3" name="Freeform 103"/>
          <p:cNvSpPr>
            <a:spLocks noChangeAspect="1"/>
          </p:cNvSpPr>
          <p:nvPr/>
        </p:nvSpPr>
        <p:spPr bwMode="auto">
          <a:xfrm>
            <a:off x="4931088" y="2226902"/>
            <a:ext cx="138956" cy="35910"/>
          </a:xfrm>
          <a:custGeom>
            <a:avLst/>
            <a:gdLst>
              <a:gd name="T0" fmla="*/ 134 w 134"/>
              <a:gd name="T1" fmla="*/ 9 h 36"/>
              <a:gd name="T2" fmla="*/ 134 w 134"/>
              <a:gd name="T3" fmla="*/ 27 h 36"/>
              <a:gd name="T4" fmla="*/ 131 w 134"/>
              <a:gd name="T5" fmla="*/ 33 h 36"/>
              <a:gd name="T6" fmla="*/ 125 w 134"/>
              <a:gd name="T7" fmla="*/ 36 h 36"/>
              <a:gd name="T8" fmla="*/ 10 w 134"/>
              <a:gd name="T9" fmla="*/ 36 h 36"/>
              <a:gd name="T10" fmla="*/ 3 w 134"/>
              <a:gd name="T11" fmla="*/ 33 h 36"/>
              <a:gd name="T12" fmla="*/ 0 w 134"/>
              <a:gd name="T13" fmla="*/ 27 h 36"/>
              <a:gd name="T14" fmla="*/ 0 w 134"/>
              <a:gd name="T15" fmla="*/ 9 h 36"/>
              <a:gd name="T16" fmla="*/ 3 w 134"/>
              <a:gd name="T17" fmla="*/ 2 h 36"/>
              <a:gd name="T18" fmla="*/ 10 w 134"/>
              <a:gd name="T19" fmla="*/ 0 h 36"/>
              <a:gd name="T20" fmla="*/ 125 w 134"/>
              <a:gd name="T21" fmla="*/ 0 h 36"/>
              <a:gd name="T22" fmla="*/ 131 w 134"/>
              <a:gd name="T23" fmla="*/ 2 h 36"/>
              <a:gd name="T24" fmla="*/ 134 w 134"/>
              <a:gd name="T25" fmla="*/ 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4" h="36">
                <a:moveTo>
                  <a:pt x="134" y="9"/>
                </a:moveTo>
                <a:cubicBezTo>
                  <a:pt x="134" y="27"/>
                  <a:pt x="134" y="27"/>
                  <a:pt x="134" y="27"/>
                </a:cubicBezTo>
                <a:cubicBezTo>
                  <a:pt x="134" y="30"/>
                  <a:pt x="133" y="32"/>
                  <a:pt x="131" y="33"/>
                </a:cubicBezTo>
                <a:cubicBezTo>
                  <a:pt x="129" y="35"/>
                  <a:pt x="127" y="36"/>
                  <a:pt x="125" y="36"/>
                </a:cubicBezTo>
                <a:cubicBezTo>
                  <a:pt x="10" y="36"/>
                  <a:pt x="10" y="36"/>
                  <a:pt x="10" y="36"/>
                </a:cubicBezTo>
                <a:cubicBezTo>
                  <a:pt x="7" y="36"/>
                  <a:pt x="5" y="35"/>
                  <a:pt x="3" y="33"/>
                </a:cubicBezTo>
                <a:cubicBezTo>
                  <a:pt x="1" y="32"/>
                  <a:pt x="0" y="30"/>
                  <a:pt x="0" y="27"/>
                </a:cubicBezTo>
                <a:cubicBezTo>
                  <a:pt x="0" y="9"/>
                  <a:pt x="0" y="9"/>
                  <a:pt x="0" y="9"/>
                </a:cubicBezTo>
                <a:cubicBezTo>
                  <a:pt x="0" y="6"/>
                  <a:pt x="1" y="4"/>
                  <a:pt x="3" y="2"/>
                </a:cubicBezTo>
                <a:cubicBezTo>
                  <a:pt x="5" y="1"/>
                  <a:pt x="7" y="0"/>
                  <a:pt x="10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7" y="0"/>
                  <a:pt x="129" y="1"/>
                  <a:pt x="131" y="2"/>
                </a:cubicBezTo>
                <a:cubicBezTo>
                  <a:pt x="133" y="4"/>
                  <a:pt x="134" y="6"/>
                  <a:pt x="134" y="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4" name="Freeform 104"/>
          <p:cNvSpPr>
            <a:spLocks noChangeAspect="1"/>
          </p:cNvSpPr>
          <p:nvPr/>
        </p:nvSpPr>
        <p:spPr bwMode="auto">
          <a:xfrm>
            <a:off x="5124690" y="2175379"/>
            <a:ext cx="140518" cy="151447"/>
          </a:xfrm>
          <a:custGeom>
            <a:avLst/>
            <a:gdLst>
              <a:gd name="T0" fmla="*/ 129 w 136"/>
              <a:gd name="T1" fmla="*/ 88 h 146"/>
              <a:gd name="T2" fmla="*/ 135 w 136"/>
              <a:gd name="T3" fmla="*/ 95 h 146"/>
              <a:gd name="T4" fmla="*/ 134 w 136"/>
              <a:gd name="T5" fmla="*/ 104 h 146"/>
              <a:gd name="T6" fmla="*/ 128 w 136"/>
              <a:gd name="T7" fmla="*/ 114 h 146"/>
              <a:gd name="T8" fmla="*/ 120 w 136"/>
              <a:gd name="T9" fmla="*/ 120 h 146"/>
              <a:gd name="T10" fmla="*/ 111 w 136"/>
              <a:gd name="T11" fmla="*/ 119 h 146"/>
              <a:gd name="T12" fmla="*/ 86 w 136"/>
              <a:gd name="T13" fmla="*/ 104 h 146"/>
              <a:gd name="T14" fmla="*/ 86 w 136"/>
              <a:gd name="T15" fmla="*/ 133 h 146"/>
              <a:gd name="T16" fmla="*/ 82 w 136"/>
              <a:gd name="T17" fmla="*/ 142 h 146"/>
              <a:gd name="T18" fmla="*/ 74 w 136"/>
              <a:gd name="T19" fmla="*/ 146 h 146"/>
              <a:gd name="T20" fmla="*/ 62 w 136"/>
              <a:gd name="T21" fmla="*/ 146 h 146"/>
              <a:gd name="T22" fmla="*/ 53 w 136"/>
              <a:gd name="T23" fmla="*/ 142 h 146"/>
              <a:gd name="T24" fmla="*/ 50 w 136"/>
              <a:gd name="T25" fmla="*/ 133 h 146"/>
              <a:gd name="T26" fmla="*/ 50 w 136"/>
              <a:gd name="T27" fmla="*/ 104 h 146"/>
              <a:gd name="T28" fmla="*/ 25 w 136"/>
              <a:gd name="T29" fmla="*/ 119 h 146"/>
              <a:gd name="T30" fmla="*/ 15 w 136"/>
              <a:gd name="T31" fmla="*/ 120 h 146"/>
              <a:gd name="T32" fmla="*/ 8 w 136"/>
              <a:gd name="T33" fmla="*/ 114 h 146"/>
              <a:gd name="T34" fmla="*/ 2 w 136"/>
              <a:gd name="T35" fmla="*/ 104 h 146"/>
              <a:gd name="T36" fmla="*/ 1 w 136"/>
              <a:gd name="T37" fmla="*/ 95 h 146"/>
              <a:gd name="T38" fmla="*/ 6 w 136"/>
              <a:gd name="T39" fmla="*/ 88 h 146"/>
              <a:gd name="T40" fmla="*/ 32 w 136"/>
              <a:gd name="T41" fmla="*/ 73 h 146"/>
              <a:gd name="T42" fmla="*/ 6 w 136"/>
              <a:gd name="T43" fmla="*/ 58 h 146"/>
              <a:gd name="T44" fmla="*/ 1 w 136"/>
              <a:gd name="T45" fmla="*/ 51 h 146"/>
              <a:gd name="T46" fmla="*/ 2 w 136"/>
              <a:gd name="T47" fmla="*/ 42 h 146"/>
              <a:gd name="T48" fmla="*/ 8 w 136"/>
              <a:gd name="T49" fmla="*/ 31 h 146"/>
              <a:gd name="T50" fmla="*/ 15 w 136"/>
              <a:gd name="T51" fmla="*/ 26 h 146"/>
              <a:gd name="T52" fmla="*/ 25 w 136"/>
              <a:gd name="T53" fmla="*/ 27 h 146"/>
              <a:gd name="T54" fmla="*/ 50 w 136"/>
              <a:gd name="T55" fmla="*/ 41 h 146"/>
              <a:gd name="T56" fmla="*/ 50 w 136"/>
              <a:gd name="T57" fmla="*/ 12 h 146"/>
              <a:gd name="T58" fmla="*/ 53 w 136"/>
              <a:gd name="T59" fmla="*/ 4 h 146"/>
              <a:gd name="T60" fmla="*/ 62 w 136"/>
              <a:gd name="T61" fmla="*/ 0 h 146"/>
              <a:gd name="T62" fmla="*/ 74 w 136"/>
              <a:gd name="T63" fmla="*/ 0 h 146"/>
              <a:gd name="T64" fmla="*/ 82 w 136"/>
              <a:gd name="T65" fmla="*/ 4 h 146"/>
              <a:gd name="T66" fmla="*/ 86 w 136"/>
              <a:gd name="T67" fmla="*/ 12 h 146"/>
              <a:gd name="T68" fmla="*/ 86 w 136"/>
              <a:gd name="T69" fmla="*/ 41 h 146"/>
              <a:gd name="T70" fmla="*/ 111 w 136"/>
              <a:gd name="T71" fmla="*/ 27 h 146"/>
              <a:gd name="T72" fmla="*/ 120 w 136"/>
              <a:gd name="T73" fmla="*/ 26 h 146"/>
              <a:gd name="T74" fmla="*/ 128 w 136"/>
              <a:gd name="T75" fmla="*/ 31 h 146"/>
              <a:gd name="T76" fmla="*/ 134 w 136"/>
              <a:gd name="T77" fmla="*/ 42 h 146"/>
              <a:gd name="T78" fmla="*/ 135 w 136"/>
              <a:gd name="T79" fmla="*/ 51 h 146"/>
              <a:gd name="T80" fmla="*/ 129 w 136"/>
              <a:gd name="T81" fmla="*/ 58 h 146"/>
              <a:gd name="T82" fmla="*/ 104 w 136"/>
              <a:gd name="T83" fmla="*/ 73 h 146"/>
              <a:gd name="T84" fmla="*/ 129 w 136"/>
              <a:gd name="T85" fmla="*/ 8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6" h="146">
                <a:moveTo>
                  <a:pt x="129" y="88"/>
                </a:moveTo>
                <a:cubicBezTo>
                  <a:pt x="132" y="89"/>
                  <a:pt x="134" y="92"/>
                  <a:pt x="135" y="95"/>
                </a:cubicBezTo>
                <a:cubicBezTo>
                  <a:pt x="136" y="98"/>
                  <a:pt x="135" y="101"/>
                  <a:pt x="134" y="104"/>
                </a:cubicBezTo>
                <a:cubicBezTo>
                  <a:pt x="128" y="114"/>
                  <a:pt x="128" y="114"/>
                  <a:pt x="128" y="114"/>
                </a:cubicBezTo>
                <a:cubicBezTo>
                  <a:pt x="126" y="117"/>
                  <a:pt x="124" y="119"/>
                  <a:pt x="120" y="120"/>
                </a:cubicBezTo>
                <a:cubicBezTo>
                  <a:pt x="117" y="121"/>
                  <a:pt x="114" y="121"/>
                  <a:pt x="111" y="119"/>
                </a:cubicBezTo>
                <a:cubicBezTo>
                  <a:pt x="86" y="104"/>
                  <a:pt x="86" y="104"/>
                  <a:pt x="86" y="104"/>
                </a:cubicBezTo>
                <a:cubicBezTo>
                  <a:pt x="86" y="133"/>
                  <a:pt x="86" y="133"/>
                  <a:pt x="86" y="133"/>
                </a:cubicBezTo>
                <a:cubicBezTo>
                  <a:pt x="86" y="137"/>
                  <a:pt x="85" y="140"/>
                  <a:pt x="82" y="142"/>
                </a:cubicBezTo>
                <a:cubicBezTo>
                  <a:pt x="80" y="144"/>
                  <a:pt x="77" y="146"/>
                  <a:pt x="74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58" y="146"/>
                  <a:pt x="56" y="144"/>
                  <a:pt x="53" y="142"/>
                </a:cubicBezTo>
                <a:cubicBezTo>
                  <a:pt x="51" y="140"/>
                  <a:pt x="50" y="137"/>
                  <a:pt x="50" y="133"/>
                </a:cubicBezTo>
                <a:cubicBezTo>
                  <a:pt x="50" y="104"/>
                  <a:pt x="50" y="104"/>
                  <a:pt x="50" y="104"/>
                </a:cubicBezTo>
                <a:cubicBezTo>
                  <a:pt x="25" y="119"/>
                  <a:pt x="25" y="119"/>
                  <a:pt x="25" y="119"/>
                </a:cubicBezTo>
                <a:cubicBezTo>
                  <a:pt x="22" y="121"/>
                  <a:pt x="19" y="121"/>
                  <a:pt x="15" y="120"/>
                </a:cubicBezTo>
                <a:cubicBezTo>
                  <a:pt x="12" y="119"/>
                  <a:pt x="10" y="117"/>
                  <a:pt x="8" y="114"/>
                </a:cubicBezTo>
                <a:cubicBezTo>
                  <a:pt x="2" y="104"/>
                  <a:pt x="2" y="104"/>
                  <a:pt x="2" y="104"/>
                </a:cubicBezTo>
                <a:cubicBezTo>
                  <a:pt x="0" y="101"/>
                  <a:pt x="0" y="98"/>
                  <a:pt x="1" y="95"/>
                </a:cubicBezTo>
                <a:cubicBezTo>
                  <a:pt x="2" y="92"/>
                  <a:pt x="3" y="89"/>
                  <a:pt x="6" y="88"/>
                </a:cubicBezTo>
                <a:cubicBezTo>
                  <a:pt x="32" y="73"/>
                  <a:pt x="32" y="73"/>
                  <a:pt x="32" y="73"/>
                </a:cubicBezTo>
                <a:cubicBezTo>
                  <a:pt x="6" y="58"/>
                  <a:pt x="6" y="58"/>
                  <a:pt x="6" y="58"/>
                </a:cubicBezTo>
                <a:cubicBezTo>
                  <a:pt x="3" y="57"/>
                  <a:pt x="2" y="54"/>
                  <a:pt x="1" y="51"/>
                </a:cubicBezTo>
                <a:cubicBezTo>
                  <a:pt x="0" y="48"/>
                  <a:pt x="0" y="45"/>
                  <a:pt x="2" y="42"/>
                </a:cubicBezTo>
                <a:cubicBezTo>
                  <a:pt x="8" y="31"/>
                  <a:pt x="8" y="31"/>
                  <a:pt x="8" y="31"/>
                </a:cubicBezTo>
                <a:cubicBezTo>
                  <a:pt x="10" y="29"/>
                  <a:pt x="12" y="27"/>
                  <a:pt x="15" y="26"/>
                </a:cubicBezTo>
                <a:cubicBezTo>
                  <a:pt x="19" y="25"/>
                  <a:pt x="22" y="25"/>
                  <a:pt x="25" y="27"/>
                </a:cubicBezTo>
                <a:cubicBezTo>
                  <a:pt x="50" y="41"/>
                  <a:pt x="50" y="41"/>
                  <a:pt x="50" y="41"/>
                </a:cubicBezTo>
                <a:cubicBezTo>
                  <a:pt x="50" y="12"/>
                  <a:pt x="50" y="12"/>
                  <a:pt x="50" y="12"/>
                </a:cubicBezTo>
                <a:cubicBezTo>
                  <a:pt x="50" y="9"/>
                  <a:pt x="51" y="6"/>
                  <a:pt x="53" y="4"/>
                </a:cubicBezTo>
                <a:cubicBezTo>
                  <a:pt x="56" y="2"/>
                  <a:pt x="58" y="0"/>
                  <a:pt x="62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7" y="0"/>
                  <a:pt x="80" y="2"/>
                  <a:pt x="82" y="4"/>
                </a:cubicBezTo>
                <a:cubicBezTo>
                  <a:pt x="85" y="6"/>
                  <a:pt x="86" y="9"/>
                  <a:pt x="86" y="12"/>
                </a:cubicBezTo>
                <a:cubicBezTo>
                  <a:pt x="86" y="41"/>
                  <a:pt x="86" y="41"/>
                  <a:pt x="86" y="41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14" y="25"/>
                  <a:pt x="117" y="25"/>
                  <a:pt x="120" y="26"/>
                </a:cubicBezTo>
                <a:cubicBezTo>
                  <a:pt x="124" y="27"/>
                  <a:pt x="126" y="29"/>
                  <a:pt x="128" y="31"/>
                </a:cubicBezTo>
                <a:cubicBezTo>
                  <a:pt x="134" y="42"/>
                  <a:pt x="134" y="42"/>
                  <a:pt x="134" y="42"/>
                </a:cubicBezTo>
                <a:cubicBezTo>
                  <a:pt x="135" y="45"/>
                  <a:pt x="136" y="48"/>
                  <a:pt x="135" y="51"/>
                </a:cubicBezTo>
                <a:cubicBezTo>
                  <a:pt x="134" y="54"/>
                  <a:pt x="132" y="57"/>
                  <a:pt x="129" y="58"/>
                </a:cubicBezTo>
                <a:cubicBezTo>
                  <a:pt x="104" y="73"/>
                  <a:pt x="104" y="73"/>
                  <a:pt x="104" y="73"/>
                </a:cubicBezTo>
                <a:lnTo>
                  <a:pt x="129" y="8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5" name="Freeform 105"/>
          <p:cNvSpPr>
            <a:spLocks noChangeAspect="1" noEditPoints="1"/>
          </p:cNvSpPr>
          <p:nvPr/>
        </p:nvSpPr>
        <p:spPr bwMode="auto">
          <a:xfrm>
            <a:off x="5318292" y="2175379"/>
            <a:ext cx="151447" cy="151447"/>
          </a:xfrm>
          <a:custGeom>
            <a:avLst/>
            <a:gdLst>
              <a:gd name="T0" fmla="*/ 36 w 145"/>
              <a:gd name="T1" fmla="*/ 10 h 146"/>
              <a:gd name="T2" fmla="*/ 73 w 145"/>
              <a:gd name="T3" fmla="*/ 0 h 146"/>
              <a:gd name="T4" fmla="*/ 109 w 145"/>
              <a:gd name="T5" fmla="*/ 10 h 146"/>
              <a:gd name="T6" fmla="*/ 136 w 145"/>
              <a:gd name="T7" fmla="*/ 37 h 146"/>
              <a:gd name="T8" fmla="*/ 145 w 145"/>
              <a:gd name="T9" fmla="*/ 73 h 146"/>
              <a:gd name="T10" fmla="*/ 136 w 145"/>
              <a:gd name="T11" fmla="*/ 109 h 146"/>
              <a:gd name="T12" fmla="*/ 109 w 145"/>
              <a:gd name="T13" fmla="*/ 136 h 146"/>
              <a:gd name="T14" fmla="*/ 73 w 145"/>
              <a:gd name="T15" fmla="*/ 146 h 146"/>
              <a:gd name="T16" fmla="*/ 36 w 145"/>
              <a:gd name="T17" fmla="*/ 136 h 146"/>
              <a:gd name="T18" fmla="*/ 10 w 145"/>
              <a:gd name="T19" fmla="*/ 109 h 146"/>
              <a:gd name="T20" fmla="*/ 0 w 145"/>
              <a:gd name="T21" fmla="*/ 73 h 146"/>
              <a:gd name="T22" fmla="*/ 10 w 145"/>
              <a:gd name="T23" fmla="*/ 37 h 146"/>
              <a:gd name="T24" fmla="*/ 36 w 145"/>
              <a:gd name="T25" fmla="*/ 10 h 146"/>
              <a:gd name="T26" fmla="*/ 85 w 145"/>
              <a:gd name="T27" fmla="*/ 86 h 146"/>
              <a:gd name="T28" fmla="*/ 86 w 145"/>
              <a:gd name="T29" fmla="*/ 27 h 146"/>
              <a:gd name="T30" fmla="*/ 85 w 145"/>
              <a:gd name="T31" fmla="*/ 25 h 146"/>
              <a:gd name="T32" fmla="*/ 83 w 145"/>
              <a:gd name="T33" fmla="*/ 25 h 146"/>
              <a:gd name="T34" fmla="*/ 62 w 145"/>
              <a:gd name="T35" fmla="*/ 25 h 146"/>
              <a:gd name="T36" fmla="*/ 60 w 145"/>
              <a:gd name="T37" fmla="*/ 25 h 146"/>
              <a:gd name="T38" fmla="*/ 59 w 145"/>
              <a:gd name="T39" fmla="*/ 27 h 146"/>
              <a:gd name="T40" fmla="*/ 61 w 145"/>
              <a:gd name="T41" fmla="*/ 86 h 146"/>
              <a:gd name="T42" fmla="*/ 62 w 145"/>
              <a:gd name="T43" fmla="*/ 87 h 146"/>
              <a:gd name="T44" fmla="*/ 64 w 145"/>
              <a:gd name="T45" fmla="*/ 88 h 146"/>
              <a:gd name="T46" fmla="*/ 81 w 145"/>
              <a:gd name="T47" fmla="*/ 88 h 146"/>
              <a:gd name="T48" fmla="*/ 84 w 145"/>
              <a:gd name="T49" fmla="*/ 87 h 146"/>
              <a:gd name="T50" fmla="*/ 85 w 145"/>
              <a:gd name="T51" fmla="*/ 86 h 146"/>
              <a:gd name="T52" fmla="*/ 85 w 145"/>
              <a:gd name="T53" fmla="*/ 118 h 146"/>
              <a:gd name="T54" fmla="*/ 85 w 145"/>
              <a:gd name="T55" fmla="*/ 100 h 146"/>
              <a:gd name="T56" fmla="*/ 84 w 145"/>
              <a:gd name="T57" fmla="*/ 98 h 146"/>
              <a:gd name="T58" fmla="*/ 82 w 145"/>
              <a:gd name="T59" fmla="*/ 97 h 146"/>
              <a:gd name="T60" fmla="*/ 64 w 145"/>
              <a:gd name="T61" fmla="*/ 97 h 146"/>
              <a:gd name="T62" fmla="*/ 61 w 145"/>
              <a:gd name="T63" fmla="*/ 98 h 146"/>
              <a:gd name="T64" fmla="*/ 61 w 145"/>
              <a:gd name="T65" fmla="*/ 100 h 146"/>
              <a:gd name="T66" fmla="*/ 61 w 145"/>
              <a:gd name="T67" fmla="*/ 118 h 146"/>
              <a:gd name="T68" fmla="*/ 61 w 145"/>
              <a:gd name="T69" fmla="*/ 120 h 146"/>
              <a:gd name="T70" fmla="*/ 64 w 145"/>
              <a:gd name="T71" fmla="*/ 121 h 146"/>
              <a:gd name="T72" fmla="*/ 82 w 145"/>
              <a:gd name="T73" fmla="*/ 121 h 146"/>
              <a:gd name="T74" fmla="*/ 84 w 145"/>
              <a:gd name="T75" fmla="*/ 120 h 146"/>
              <a:gd name="T76" fmla="*/ 85 w 145"/>
              <a:gd name="T77" fmla="*/ 11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46">
                <a:moveTo>
                  <a:pt x="36" y="10"/>
                </a:move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7"/>
                </a:cubicBez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lose/>
                <a:moveTo>
                  <a:pt x="85" y="86"/>
                </a:moveTo>
                <a:cubicBezTo>
                  <a:pt x="86" y="27"/>
                  <a:pt x="86" y="27"/>
                  <a:pt x="86" y="27"/>
                </a:cubicBezTo>
                <a:cubicBezTo>
                  <a:pt x="86" y="26"/>
                  <a:pt x="86" y="26"/>
                  <a:pt x="85" y="25"/>
                </a:cubicBezTo>
                <a:cubicBezTo>
                  <a:pt x="85" y="25"/>
                  <a:pt x="84" y="25"/>
                  <a:pt x="83" y="25"/>
                </a:cubicBezTo>
                <a:cubicBezTo>
                  <a:pt x="62" y="25"/>
                  <a:pt x="62" y="25"/>
                  <a:pt x="62" y="25"/>
                </a:cubicBezTo>
                <a:cubicBezTo>
                  <a:pt x="61" y="25"/>
                  <a:pt x="61" y="25"/>
                  <a:pt x="60" y="25"/>
                </a:cubicBezTo>
                <a:cubicBezTo>
                  <a:pt x="59" y="26"/>
                  <a:pt x="59" y="26"/>
                  <a:pt x="59" y="27"/>
                </a:cubicBezTo>
                <a:cubicBezTo>
                  <a:pt x="61" y="86"/>
                  <a:pt x="61" y="86"/>
                  <a:pt x="61" y="86"/>
                </a:cubicBezTo>
                <a:cubicBezTo>
                  <a:pt x="61" y="86"/>
                  <a:pt x="61" y="87"/>
                  <a:pt x="62" y="87"/>
                </a:cubicBezTo>
                <a:cubicBezTo>
                  <a:pt x="62" y="88"/>
                  <a:pt x="63" y="88"/>
                  <a:pt x="64" y="88"/>
                </a:cubicBezTo>
                <a:cubicBezTo>
                  <a:pt x="81" y="88"/>
                  <a:pt x="81" y="88"/>
                  <a:pt x="81" y="88"/>
                </a:cubicBezTo>
                <a:cubicBezTo>
                  <a:pt x="82" y="88"/>
                  <a:pt x="83" y="88"/>
                  <a:pt x="84" y="87"/>
                </a:cubicBezTo>
                <a:cubicBezTo>
                  <a:pt x="84" y="87"/>
                  <a:pt x="84" y="86"/>
                  <a:pt x="85" y="86"/>
                </a:cubicBezTo>
                <a:close/>
                <a:moveTo>
                  <a:pt x="85" y="118"/>
                </a:moveTo>
                <a:cubicBezTo>
                  <a:pt x="85" y="100"/>
                  <a:pt x="85" y="100"/>
                  <a:pt x="85" y="100"/>
                </a:cubicBezTo>
                <a:cubicBezTo>
                  <a:pt x="85" y="99"/>
                  <a:pt x="84" y="99"/>
                  <a:pt x="84" y="98"/>
                </a:cubicBezTo>
                <a:cubicBezTo>
                  <a:pt x="83" y="97"/>
                  <a:pt x="83" y="97"/>
                  <a:pt x="82" y="97"/>
                </a:cubicBezTo>
                <a:cubicBezTo>
                  <a:pt x="64" y="97"/>
                  <a:pt x="64" y="97"/>
                  <a:pt x="64" y="97"/>
                </a:cubicBezTo>
                <a:cubicBezTo>
                  <a:pt x="63" y="97"/>
                  <a:pt x="62" y="97"/>
                  <a:pt x="61" y="98"/>
                </a:cubicBezTo>
                <a:cubicBezTo>
                  <a:pt x="61" y="99"/>
                  <a:pt x="61" y="99"/>
                  <a:pt x="61" y="100"/>
                </a:cubicBezTo>
                <a:cubicBezTo>
                  <a:pt x="61" y="118"/>
                  <a:pt x="61" y="118"/>
                  <a:pt x="61" y="118"/>
                </a:cubicBezTo>
                <a:cubicBezTo>
                  <a:pt x="61" y="119"/>
                  <a:pt x="61" y="120"/>
                  <a:pt x="61" y="120"/>
                </a:cubicBezTo>
                <a:cubicBezTo>
                  <a:pt x="62" y="121"/>
                  <a:pt x="63" y="121"/>
                  <a:pt x="64" y="121"/>
                </a:cubicBezTo>
                <a:cubicBezTo>
                  <a:pt x="82" y="121"/>
                  <a:pt x="82" y="121"/>
                  <a:pt x="82" y="121"/>
                </a:cubicBezTo>
                <a:cubicBezTo>
                  <a:pt x="83" y="121"/>
                  <a:pt x="83" y="121"/>
                  <a:pt x="84" y="120"/>
                </a:cubicBezTo>
                <a:cubicBezTo>
                  <a:pt x="84" y="120"/>
                  <a:pt x="85" y="119"/>
                  <a:pt x="85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6" name="Freeform 106"/>
          <p:cNvSpPr>
            <a:spLocks noChangeAspect="1" noEditPoints="1"/>
          </p:cNvSpPr>
          <p:nvPr/>
        </p:nvSpPr>
        <p:spPr bwMode="auto">
          <a:xfrm>
            <a:off x="5511894" y="2181624"/>
            <a:ext cx="151447" cy="131150"/>
          </a:xfrm>
          <a:custGeom>
            <a:avLst/>
            <a:gdLst>
              <a:gd name="T0" fmla="*/ 145 w 145"/>
              <a:gd name="T1" fmla="*/ 46 h 127"/>
              <a:gd name="T2" fmla="*/ 145 w 145"/>
              <a:gd name="T3" fmla="*/ 76 h 127"/>
              <a:gd name="T4" fmla="*/ 144 w 145"/>
              <a:gd name="T5" fmla="*/ 78 h 127"/>
              <a:gd name="T6" fmla="*/ 142 w 145"/>
              <a:gd name="T7" fmla="*/ 79 h 127"/>
              <a:gd name="T8" fmla="*/ 133 w 145"/>
              <a:gd name="T9" fmla="*/ 79 h 127"/>
              <a:gd name="T10" fmla="*/ 133 w 145"/>
              <a:gd name="T11" fmla="*/ 118 h 127"/>
              <a:gd name="T12" fmla="*/ 130 w 145"/>
              <a:gd name="T13" fmla="*/ 125 h 127"/>
              <a:gd name="T14" fmla="*/ 124 w 145"/>
              <a:gd name="T15" fmla="*/ 127 h 127"/>
              <a:gd name="T16" fmla="*/ 21 w 145"/>
              <a:gd name="T17" fmla="*/ 127 h 127"/>
              <a:gd name="T18" fmla="*/ 15 w 145"/>
              <a:gd name="T19" fmla="*/ 125 h 127"/>
              <a:gd name="T20" fmla="*/ 12 w 145"/>
              <a:gd name="T21" fmla="*/ 118 h 127"/>
              <a:gd name="T22" fmla="*/ 12 w 145"/>
              <a:gd name="T23" fmla="*/ 79 h 127"/>
              <a:gd name="T24" fmla="*/ 3 w 145"/>
              <a:gd name="T25" fmla="*/ 79 h 127"/>
              <a:gd name="T26" fmla="*/ 1 w 145"/>
              <a:gd name="T27" fmla="*/ 78 h 127"/>
              <a:gd name="T28" fmla="*/ 0 w 145"/>
              <a:gd name="T29" fmla="*/ 76 h 127"/>
              <a:gd name="T30" fmla="*/ 0 w 145"/>
              <a:gd name="T31" fmla="*/ 46 h 127"/>
              <a:gd name="T32" fmla="*/ 1 w 145"/>
              <a:gd name="T33" fmla="*/ 44 h 127"/>
              <a:gd name="T34" fmla="*/ 3 w 145"/>
              <a:gd name="T35" fmla="*/ 43 h 127"/>
              <a:gd name="T36" fmla="*/ 44 w 145"/>
              <a:gd name="T37" fmla="*/ 43 h 127"/>
              <a:gd name="T38" fmla="*/ 29 w 145"/>
              <a:gd name="T39" fmla="*/ 37 h 127"/>
              <a:gd name="T40" fmla="*/ 23 w 145"/>
              <a:gd name="T41" fmla="*/ 22 h 127"/>
              <a:gd name="T42" fmla="*/ 29 w 145"/>
              <a:gd name="T43" fmla="*/ 7 h 127"/>
              <a:gd name="T44" fmla="*/ 44 w 145"/>
              <a:gd name="T45" fmla="*/ 0 h 127"/>
              <a:gd name="T46" fmla="*/ 60 w 145"/>
              <a:gd name="T47" fmla="*/ 8 h 127"/>
              <a:gd name="T48" fmla="*/ 72 w 145"/>
              <a:gd name="T49" fmla="*/ 23 h 127"/>
              <a:gd name="T50" fmla="*/ 85 w 145"/>
              <a:gd name="T51" fmla="*/ 8 h 127"/>
              <a:gd name="T52" fmla="*/ 100 w 145"/>
              <a:gd name="T53" fmla="*/ 0 h 127"/>
              <a:gd name="T54" fmla="*/ 115 w 145"/>
              <a:gd name="T55" fmla="*/ 7 h 127"/>
              <a:gd name="T56" fmla="*/ 122 w 145"/>
              <a:gd name="T57" fmla="*/ 22 h 127"/>
              <a:gd name="T58" fmla="*/ 115 w 145"/>
              <a:gd name="T59" fmla="*/ 37 h 127"/>
              <a:gd name="T60" fmla="*/ 100 w 145"/>
              <a:gd name="T61" fmla="*/ 43 h 127"/>
              <a:gd name="T62" fmla="*/ 142 w 145"/>
              <a:gd name="T63" fmla="*/ 43 h 127"/>
              <a:gd name="T64" fmla="*/ 144 w 145"/>
              <a:gd name="T65" fmla="*/ 44 h 127"/>
              <a:gd name="T66" fmla="*/ 145 w 145"/>
              <a:gd name="T67" fmla="*/ 46 h 127"/>
              <a:gd name="T68" fmla="*/ 44 w 145"/>
              <a:gd name="T69" fmla="*/ 31 h 127"/>
              <a:gd name="T70" fmla="*/ 63 w 145"/>
              <a:gd name="T71" fmla="*/ 31 h 127"/>
              <a:gd name="T72" fmla="*/ 51 w 145"/>
              <a:gd name="T73" fmla="*/ 15 h 127"/>
              <a:gd name="T74" fmla="*/ 44 w 145"/>
              <a:gd name="T75" fmla="*/ 12 h 127"/>
              <a:gd name="T76" fmla="*/ 38 w 145"/>
              <a:gd name="T77" fmla="*/ 15 h 127"/>
              <a:gd name="T78" fmla="*/ 35 w 145"/>
              <a:gd name="T79" fmla="*/ 22 h 127"/>
              <a:gd name="T80" fmla="*/ 38 w 145"/>
              <a:gd name="T81" fmla="*/ 28 h 127"/>
              <a:gd name="T82" fmla="*/ 44 w 145"/>
              <a:gd name="T83" fmla="*/ 31 h 127"/>
              <a:gd name="T84" fmla="*/ 88 w 145"/>
              <a:gd name="T85" fmla="*/ 110 h 127"/>
              <a:gd name="T86" fmla="*/ 88 w 145"/>
              <a:gd name="T87" fmla="*/ 105 h 127"/>
              <a:gd name="T88" fmla="*/ 88 w 145"/>
              <a:gd name="T89" fmla="*/ 61 h 127"/>
              <a:gd name="T90" fmla="*/ 88 w 145"/>
              <a:gd name="T91" fmla="*/ 43 h 127"/>
              <a:gd name="T92" fmla="*/ 57 w 145"/>
              <a:gd name="T93" fmla="*/ 43 h 127"/>
              <a:gd name="T94" fmla="*/ 57 w 145"/>
              <a:gd name="T95" fmla="*/ 61 h 127"/>
              <a:gd name="T96" fmla="*/ 57 w 145"/>
              <a:gd name="T97" fmla="*/ 105 h 127"/>
              <a:gd name="T98" fmla="*/ 57 w 145"/>
              <a:gd name="T99" fmla="*/ 110 h 127"/>
              <a:gd name="T100" fmla="*/ 59 w 145"/>
              <a:gd name="T101" fmla="*/ 114 h 127"/>
              <a:gd name="T102" fmla="*/ 63 w 145"/>
              <a:gd name="T103" fmla="*/ 115 h 127"/>
              <a:gd name="T104" fmla="*/ 81 w 145"/>
              <a:gd name="T105" fmla="*/ 115 h 127"/>
              <a:gd name="T106" fmla="*/ 86 w 145"/>
              <a:gd name="T107" fmla="*/ 114 h 127"/>
              <a:gd name="T108" fmla="*/ 88 w 145"/>
              <a:gd name="T109" fmla="*/ 110 h 127"/>
              <a:gd name="T110" fmla="*/ 107 w 145"/>
              <a:gd name="T111" fmla="*/ 28 h 127"/>
              <a:gd name="T112" fmla="*/ 109 w 145"/>
              <a:gd name="T113" fmla="*/ 22 h 127"/>
              <a:gd name="T114" fmla="*/ 107 w 145"/>
              <a:gd name="T115" fmla="*/ 15 h 127"/>
              <a:gd name="T116" fmla="*/ 100 w 145"/>
              <a:gd name="T117" fmla="*/ 12 h 127"/>
              <a:gd name="T118" fmla="*/ 94 w 145"/>
              <a:gd name="T119" fmla="*/ 15 h 127"/>
              <a:gd name="T120" fmla="*/ 82 w 145"/>
              <a:gd name="T121" fmla="*/ 31 h 127"/>
              <a:gd name="T122" fmla="*/ 100 w 145"/>
              <a:gd name="T123" fmla="*/ 31 h 127"/>
              <a:gd name="T124" fmla="*/ 107 w 145"/>
              <a:gd name="T125" fmla="*/ 28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" h="127">
                <a:moveTo>
                  <a:pt x="145" y="46"/>
                </a:moveTo>
                <a:cubicBezTo>
                  <a:pt x="145" y="76"/>
                  <a:pt x="145" y="76"/>
                  <a:pt x="145" y="76"/>
                </a:cubicBezTo>
                <a:cubicBezTo>
                  <a:pt x="145" y="77"/>
                  <a:pt x="145" y="78"/>
                  <a:pt x="144" y="78"/>
                </a:cubicBezTo>
                <a:cubicBezTo>
                  <a:pt x="144" y="79"/>
                  <a:pt x="143" y="79"/>
                  <a:pt x="142" y="79"/>
                </a:cubicBezTo>
                <a:cubicBezTo>
                  <a:pt x="133" y="79"/>
                  <a:pt x="133" y="79"/>
                  <a:pt x="133" y="79"/>
                </a:cubicBezTo>
                <a:cubicBezTo>
                  <a:pt x="133" y="118"/>
                  <a:pt x="133" y="118"/>
                  <a:pt x="133" y="118"/>
                </a:cubicBezTo>
                <a:cubicBezTo>
                  <a:pt x="133" y="121"/>
                  <a:pt x="132" y="123"/>
                  <a:pt x="130" y="125"/>
                </a:cubicBezTo>
                <a:cubicBezTo>
                  <a:pt x="128" y="127"/>
                  <a:pt x="126" y="127"/>
                  <a:pt x="12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18" y="127"/>
                  <a:pt x="16" y="127"/>
                  <a:pt x="15" y="125"/>
                </a:cubicBezTo>
                <a:cubicBezTo>
                  <a:pt x="13" y="123"/>
                  <a:pt x="12" y="121"/>
                  <a:pt x="12" y="118"/>
                </a:cubicBezTo>
                <a:cubicBezTo>
                  <a:pt x="12" y="79"/>
                  <a:pt x="12" y="79"/>
                  <a:pt x="12" y="79"/>
                </a:cubicBezTo>
                <a:cubicBezTo>
                  <a:pt x="3" y="79"/>
                  <a:pt x="3" y="79"/>
                  <a:pt x="3" y="79"/>
                </a:cubicBezTo>
                <a:cubicBezTo>
                  <a:pt x="2" y="79"/>
                  <a:pt x="1" y="79"/>
                  <a:pt x="1" y="78"/>
                </a:cubicBezTo>
                <a:cubicBezTo>
                  <a:pt x="0" y="78"/>
                  <a:pt x="0" y="77"/>
                  <a:pt x="0" y="7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5"/>
                  <a:pt x="0" y="44"/>
                  <a:pt x="1" y="44"/>
                </a:cubicBezTo>
                <a:cubicBezTo>
                  <a:pt x="1" y="43"/>
                  <a:pt x="2" y="43"/>
                  <a:pt x="3" y="43"/>
                </a:cubicBezTo>
                <a:cubicBezTo>
                  <a:pt x="44" y="43"/>
                  <a:pt x="44" y="43"/>
                  <a:pt x="44" y="43"/>
                </a:cubicBezTo>
                <a:cubicBezTo>
                  <a:pt x="39" y="43"/>
                  <a:pt x="34" y="41"/>
                  <a:pt x="29" y="37"/>
                </a:cubicBezTo>
                <a:cubicBezTo>
                  <a:pt x="25" y="32"/>
                  <a:pt x="23" y="27"/>
                  <a:pt x="23" y="22"/>
                </a:cubicBezTo>
                <a:cubicBezTo>
                  <a:pt x="23" y="16"/>
                  <a:pt x="25" y="11"/>
                  <a:pt x="29" y="7"/>
                </a:cubicBezTo>
                <a:cubicBezTo>
                  <a:pt x="34" y="2"/>
                  <a:pt x="39" y="0"/>
                  <a:pt x="44" y="0"/>
                </a:cubicBezTo>
                <a:cubicBezTo>
                  <a:pt x="51" y="0"/>
                  <a:pt x="56" y="3"/>
                  <a:pt x="60" y="8"/>
                </a:cubicBezTo>
                <a:cubicBezTo>
                  <a:pt x="72" y="23"/>
                  <a:pt x="72" y="23"/>
                  <a:pt x="72" y="23"/>
                </a:cubicBezTo>
                <a:cubicBezTo>
                  <a:pt x="85" y="8"/>
                  <a:pt x="85" y="8"/>
                  <a:pt x="85" y="8"/>
                </a:cubicBezTo>
                <a:cubicBezTo>
                  <a:pt x="88" y="3"/>
                  <a:pt x="94" y="0"/>
                  <a:pt x="100" y="0"/>
                </a:cubicBezTo>
                <a:cubicBezTo>
                  <a:pt x="106" y="0"/>
                  <a:pt x="111" y="2"/>
                  <a:pt x="115" y="7"/>
                </a:cubicBezTo>
                <a:cubicBezTo>
                  <a:pt x="120" y="11"/>
                  <a:pt x="122" y="16"/>
                  <a:pt x="122" y="22"/>
                </a:cubicBezTo>
                <a:cubicBezTo>
                  <a:pt x="122" y="27"/>
                  <a:pt x="120" y="32"/>
                  <a:pt x="115" y="37"/>
                </a:cubicBezTo>
                <a:cubicBezTo>
                  <a:pt x="111" y="41"/>
                  <a:pt x="106" y="43"/>
                  <a:pt x="100" y="43"/>
                </a:cubicBezTo>
                <a:cubicBezTo>
                  <a:pt x="142" y="43"/>
                  <a:pt x="142" y="43"/>
                  <a:pt x="142" y="43"/>
                </a:cubicBezTo>
                <a:cubicBezTo>
                  <a:pt x="143" y="43"/>
                  <a:pt x="144" y="43"/>
                  <a:pt x="144" y="44"/>
                </a:cubicBezTo>
                <a:cubicBezTo>
                  <a:pt x="145" y="44"/>
                  <a:pt x="145" y="45"/>
                  <a:pt x="145" y="46"/>
                </a:cubicBezTo>
                <a:close/>
                <a:moveTo>
                  <a:pt x="44" y="31"/>
                </a:moveTo>
                <a:cubicBezTo>
                  <a:pt x="63" y="31"/>
                  <a:pt x="63" y="31"/>
                  <a:pt x="63" y="31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13"/>
                  <a:pt x="47" y="12"/>
                  <a:pt x="44" y="12"/>
                </a:cubicBezTo>
                <a:cubicBezTo>
                  <a:pt x="42" y="12"/>
                  <a:pt x="40" y="13"/>
                  <a:pt x="38" y="15"/>
                </a:cubicBezTo>
                <a:cubicBezTo>
                  <a:pt x="36" y="17"/>
                  <a:pt x="35" y="19"/>
                  <a:pt x="35" y="22"/>
                </a:cubicBezTo>
                <a:cubicBezTo>
                  <a:pt x="35" y="24"/>
                  <a:pt x="36" y="26"/>
                  <a:pt x="38" y="28"/>
                </a:cubicBezTo>
                <a:cubicBezTo>
                  <a:pt x="40" y="30"/>
                  <a:pt x="42" y="31"/>
                  <a:pt x="44" y="31"/>
                </a:cubicBezTo>
                <a:close/>
                <a:moveTo>
                  <a:pt x="88" y="110"/>
                </a:moveTo>
                <a:cubicBezTo>
                  <a:pt x="88" y="105"/>
                  <a:pt x="88" y="105"/>
                  <a:pt x="88" y="105"/>
                </a:cubicBezTo>
                <a:cubicBezTo>
                  <a:pt x="88" y="61"/>
                  <a:pt x="88" y="61"/>
                  <a:pt x="88" y="61"/>
                </a:cubicBezTo>
                <a:cubicBezTo>
                  <a:pt x="88" y="43"/>
                  <a:pt x="88" y="43"/>
                  <a:pt x="88" y="43"/>
                </a:cubicBezTo>
                <a:cubicBezTo>
                  <a:pt x="57" y="43"/>
                  <a:pt x="57" y="43"/>
                  <a:pt x="57" y="43"/>
                </a:cubicBezTo>
                <a:cubicBezTo>
                  <a:pt x="57" y="61"/>
                  <a:pt x="57" y="61"/>
                  <a:pt x="57" y="61"/>
                </a:cubicBezTo>
                <a:cubicBezTo>
                  <a:pt x="57" y="105"/>
                  <a:pt x="57" y="105"/>
                  <a:pt x="57" y="105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57" y="112"/>
                  <a:pt x="58" y="113"/>
                  <a:pt x="59" y="114"/>
                </a:cubicBezTo>
                <a:cubicBezTo>
                  <a:pt x="60" y="115"/>
                  <a:pt x="62" y="115"/>
                  <a:pt x="63" y="115"/>
                </a:cubicBezTo>
                <a:cubicBezTo>
                  <a:pt x="81" y="115"/>
                  <a:pt x="81" y="115"/>
                  <a:pt x="81" y="115"/>
                </a:cubicBezTo>
                <a:cubicBezTo>
                  <a:pt x="83" y="115"/>
                  <a:pt x="85" y="115"/>
                  <a:pt x="86" y="114"/>
                </a:cubicBezTo>
                <a:cubicBezTo>
                  <a:pt x="87" y="113"/>
                  <a:pt x="88" y="112"/>
                  <a:pt x="88" y="110"/>
                </a:cubicBezTo>
                <a:close/>
                <a:moveTo>
                  <a:pt x="107" y="28"/>
                </a:moveTo>
                <a:cubicBezTo>
                  <a:pt x="109" y="26"/>
                  <a:pt x="109" y="24"/>
                  <a:pt x="109" y="22"/>
                </a:cubicBezTo>
                <a:cubicBezTo>
                  <a:pt x="109" y="19"/>
                  <a:pt x="109" y="17"/>
                  <a:pt x="107" y="15"/>
                </a:cubicBezTo>
                <a:cubicBezTo>
                  <a:pt x="105" y="13"/>
                  <a:pt x="103" y="12"/>
                  <a:pt x="100" y="12"/>
                </a:cubicBezTo>
                <a:cubicBezTo>
                  <a:pt x="98" y="12"/>
                  <a:pt x="96" y="13"/>
                  <a:pt x="94" y="15"/>
                </a:cubicBezTo>
                <a:cubicBezTo>
                  <a:pt x="82" y="31"/>
                  <a:pt x="82" y="31"/>
                  <a:pt x="82" y="31"/>
                </a:cubicBezTo>
                <a:cubicBezTo>
                  <a:pt x="100" y="31"/>
                  <a:pt x="100" y="31"/>
                  <a:pt x="100" y="31"/>
                </a:cubicBezTo>
                <a:cubicBezTo>
                  <a:pt x="103" y="31"/>
                  <a:pt x="105" y="30"/>
                  <a:pt x="107" y="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7" name="Freeform 107"/>
          <p:cNvSpPr>
            <a:spLocks noChangeAspect="1" noEditPoints="1"/>
          </p:cNvSpPr>
          <p:nvPr/>
        </p:nvSpPr>
        <p:spPr bwMode="auto">
          <a:xfrm>
            <a:off x="5705496" y="2175379"/>
            <a:ext cx="176428" cy="137395"/>
          </a:xfrm>
          <a:custGeom>
            <a:avLst/>
            <a:gdLst>
              <a:gd name="T0" fmla="*/ 169 w 169"/>
              <a:gd name="T1" fmla="*/ 36 h 133"/>
              <a:gd name="T2" fmla="*/ 167 w 169"/>
              <a:gd name="T3" fmla="*/ 54 h 133"/>
              <a:gd name="T4" fmla="*/ 150 w 169"/>
              <a:gd name="T5" fmla="*/ 91 h 133"/>
              <a:gd name="T6" fmla="*/ 116 w 169"/>
              <a:gd name="T7" fmla="*/ 116 h 133"/>
              <a:gd name="T8" fmla="*/ 74 w 169"/>
              <a:gd name="T9" fmla="*/ 126 h 133"/>
              <a:gd name="T10" fmla="*/ 47 w 169"/>
              <a:gd name="T11" fmla="*/ 122 h 133"/>
              <a:gd name="T12" fmla="*/ 39 w 169"/>
              <a:gd name="T13" fmla="*/ 118 h 133"/>
              <a:gd name="T14" fmla="*/ 30 w 169"/>
              <a:gd name="T15" fmla="*/ 114 h 133"/>
              <a:gd name="T16" fmla="*/ 26 w 169"/>
              <a:gd name="T17" fmla="*/ 117 h 133"/>
              <a:gd name="T18" fmla="*/ 22 w 169"/>
              <a:gd name="T19" fmla="*/ 124 h 133"/>
              <a:gd name="T20" fmla="*/ 17 w 169"/>
              <a:gd name="T21" fmla="*/ 130 h 133"/>
              <a:gd name="T22" fmla="*/ 11 w 169"/>
              <a:gd name="T23" fmla="*/ 133 h 133"/>
              <a:gd name="T24" fmla="*/ 7 w 169"/>
              <a:gd name="T25" fmla="*/ 132 h 133"/>
              <a:gd name="T26" fmla="*/ 4 w 169"/>
              <a:gd name="T27" fmla="*/ 130 h 133"/>
              <a:gd name="T28" fmla="*/ 1 w 169"/>
              <a:gd name="T29" fmla="*/ 126 h 133"/>
              <a:gd name="T30" fmla="*/ 0 w 169"/>
              <a:gd name="T31" fmla="*/ 125 h 133"/>
              <a:gd name="T32" fmla="*/ 0 w 169"/>
              <a:gd name="T33" fmla="*/ 124 h 133"/>
              <a:gd name="T34" fmla="*/ 0 w 169"/>
              <a:gd name="T35" fmla="*/ 123 h 133"/>
              <a:gd name="T36" fmla="*/ 0 w 169"/>
              <a:gd name="T37" fmla="*/ 122 h 133"/>
              <a:gd name="T38" fmla="*/ 2 w 169"/>
              <a:gd name="T39" fmla="*/ 115 h 133"/>
              <a:gd name="T40" fmla="*/ 9 w 169"/>
              <a:gd name="T41" fmla="*/ 109 h 133"/>
              <a:gd name="T42" fmla="*/ 15 w 169"/>
              <a:gd name="T43" fmla="*/ 104 h 133"/>
              <a:gd name="T44" fmla="*/ 18 w 169"/>
              <a:gd name="T45" fmla="*/ 99 h 133"/>
              <a:gd name="T46" fmla="*/ 17 w 169"/>
              <a:gd name="T47" fmla="*/ 95 h 133"/>
              <a:gd name="T48" fmla="*/ 15 w 169"/>
              <a:gd name="T49" fmla="*/ 91 h 133"/>
              <a:gd name="T50" fmla="*/ 15 w 169"/>
              <a:gd name="T51" fmla="*/ 81 h 133"/>
              <a:gd name="T52" fmla="*/ 19 w 169"/>
              <a:gd name="T53" fmla="*/ 61 h 133"/>
              <a:gd name="T54" fmla="*/ 30 w 169"/>
              <a:gd name="T55" fmla="*/ 43 h 133"/>
              <a:gd name="T56" fmla="*/ 46 w 169"/>
              <a:gd name="T57" fmla="*/ 30 h 133"/>
              <a:gd name="T58" fmla="*/ 65 w 169"/>
              <a:gd name="T59" fmla="*/ 21 h 133"/>
              <a:gd name="T60" fmla="*/ 79 w 169"/>
              <a:gd name="T61" fmla="*/ 19 h 133"/>
              <a:gd name="T62" fmla="*/ 96 w 169"/>
              <a:gd name="T63" fmla="*/ 18 h 133"/>
              <a:gd name="T64" fmla="*/ 113 w 169"/>
              <a:gd name="T65" fmla="*/ 17 h 133"/>
              <a:gd name="T66" fmla="*/ 128 w 169"/>
              <a:gd name="T67" fmla="*/ 15 h 133"/>
              <a:gd name="T68" fmla="*/ 139 w 169"/>
              <a:gd name="T69" fmla="*/ 10 h 133"/>
              <a:gd name="T70" fmla="*/ 142 w 169"/>
              <a:gd name="T71" fmla="*/ 7 h 133"/>
              <a:gd name="T72" fmla="*/ 145 w 169"/>
              <a:gd name="T73" fmla="*/ 4 h 133"/>
              <a:gd name="T74" fmla="*/ 147 w 169"/>
              <a:gd name="T75" fmla="*/ 2 h 133"/>
              <a:gd name="T76" fmla="*/ 151 w 169"/>
              <a:gd name="T77" fmla="*/ 1 h 133"/>
              <a:gd name="T78" fmla="*/ 155 w 169"/>
              <a:gd name="T79" fmla="*/ 0 h 133"/>
              <a:gd name="T80" fmla="*/ 161 w 169"/>
              <a:gd name="T81" fmla="*/ 5 h 133"/>
              <a:gd name="T82" fmla="*/ 166 w 169"/>
              <a:gd name="T83" fmla="*/ 15 h 133"/>
              <a:gd name="T84" fmla="*/ 168 w 169"/>
              <a:gd name="T85" fmla="*/ 27 h 133"/>
              <a:gd name="T86" fmla="*/ 169 w 169"/>
              <a:gd name="T87" fmla="*/ 36 h 133"/>
              <a:gd name="T88" fmla="*/ 119 w 169"/>
              <a:gd name="T89" fmla="*/ 59 h 133"/>
              <a:gd name="T90" fmla="*/ 121 w 169"/>
              <a:gd name="T91" fmla="*/ 55 h 133"/>
              <a:gd name="T92" fmla="*/ 119 w 169"/>
              <a:gd name="T93" fmla="*/ 51 h 133"/>
              <a:gd name="T94" fmla="*/ 115 w 169"/>
              <a:gd name="T95" fmla="*/ 49 h 133"/>
              <a:gd name="T96" fmla="*/ 84 w 169"/>
              <a:gd name="T97" fmla="*/ 53 h 133"/>
              <a:gd name="T98" fmla="*/ 60 w 169"/>
              <a:gd name="T99" fmla="*/ 66 h 133"/>
              <a:gd name="T100" fmla="*/ 38 w 169"/>
              <a:gd name="T101" fmla="*/ 87 h 133"/>
              <a:gd name="T102" fmla="*/ 36 w 169"/>
              <a:gd name="T103" fmla="*/ 91 h 133"/>
              <a:gd name="T104" fmla="*/ 38 w 169"/>
              <a:gd name="T105" fmla="*/ 95 h 133"/>
              <a:gd name="T106" fmla="*/ 42 w 169"/>
              <a:gd name="T107" fmla="*/ 97 h 133"/>
              <a:gd name="T108" fmla="*/ 46 w 169"/>
              <a:gd name="T109" fmla="*/ 95 h 133"/>
              <a:gd name="T110" fmla="*/ 53 w 169"/>
              <a:gd name="T111" fmla="*/ 89 h 133"/>
              <a:gd name="T112" fmla="*/ 59 w 169"/>
              <a:gd name="T113" fmla="*/ 82 h 133"/>
              <a:gd name="T114" fmla="*/ 85 w 169"/>
              <a:gd name="T115" fmla="*/ 66 h 133"/>
              <a:gd name="T116" fmla="*/ 115 w 169"/>
              <a:gd name="T117" fmla="*/ 61 h 133"/>
              <a:gd name="T118" fmla="*/ 119 w 169"/>
              <a:gd name="T119" fmla="*/ 5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9" h="133">
                <a:moveTo>
                  <a:pt x="169" y="36"/>
                </a:moveTo>
                <a:cubicBezTo>
                  <a:pt x="169" y="42"/>
                  <a:pt x="168" y="48"/>
                  <a:pt x="167" y="54"/>
                </a:cubicBezTo>
                <a:cubicBezTo>
                  <a:pt x="164" y="68"/>
                  <a:pt x="158" y="81"/>
                  <a:pt x="150" y="91"/>
                </a:cubicBezTo>
                <a:cubicBezTo>
                  <a:pt x="141" y="101"/>
                  <a:pt x="130" y="109"/>
                  <a:pt x="116" y="116"/>
                </a:cubicBezTo>
                <a:cubicBezTo>
                  <a:pt x="102" y="123"/>
                  <a:pt x="89" y="126"/>
                  <a:pt x="74" y="126"/>
                </a:cubicBezTo>
                <a:cubicBezTo>
                  <a:pt x="65" y="126"/>
                  <a:pt x="56" y="125"/>
                  <a:pt x="47" y="122"/>
                </a:cubicBezTo>
                <a:cubicBezTo>
                  <a:pt x="46" y="121"/>
                  <a:pt x="44" y="120"/>
                  <a:pt x="39" y="118"/>
                </a:cubicBezTo>
                <a:cubicBezTo>
                  <a:pt x="34" y="115"/>
                  <a:pt x="31" y="114"/>
                  <a:pt x="30" y="114"/>
                </a:cubicBezTo>
                <a:cubicBezTo>
                  <a:pt x="29" y="114"/>
                  <a:pt x="28" y="115"/>
                  <a:pt x="26" y="117"/>
                </a:cubicBezTo>
                <a:cubicBezTo>
                  <a:pt x="25" y="119"/>
                  <a:pt x="23" y="121"/>
                  <a:pt x="22" y="124"/>
                </a:cubicBezTo>
                <a:cubicBezTo>
                  <a:pt x="21" y="126"/>
                  <a:pt x="19" y="128"/>
                  <a:pt x="17" y="130"/>
                </a:cubicBezTo>
                <a:cubicBezTo>
                  <a:pt x="15" y="132"/>
                  <a:pt x="13" y="133"/>
                  <a:pt x="11" y="133"/>
                </a:cubicBezTo>
                <a:cubicBezTo>
                  <a:pt x="9" y="133"/>
                  <a:pt x="8" y="133"/>
                  <a:pt x="7" y="132"/>
                </a:cubicBezTo>
                <a:cubicBezTo>
                  <a:pt x="5" y="132"/>
                  <a:pt x="4" y="131"/>
                  <a:pt x="4" y="130"/>
                </a:cubicBezTo>
                <a:cubicBezTo>
                  <a:pt x="3" y="129"/>
                  <a:pt x="2" y="128"/>
                  <a:pt x="1" y="126"/>
                </a:cubicBezTo>
                <a:cubicBezTo>
                  <a:pt x="1" y="126"/>
                  <a:pt x="1" y="126"/>
                  <a:pt x="0" y="125"/>
                </a:cubicBezTo>
                <a:cubicBezTo>
                  <a:pt x="0" y="125"/>
                  <a:pt x="0" y="124"/>
                  <a:pt x="0" y="124"/>
                </a:cubicBezTo>
                <a:cubicBezTo>
                  <a:pt x="0" y="124"/>
                  <a:pt x="0" y="124"/>
                  <a:pt x="0" y="123"/>
                </a:cubicBezTo>
                <a:cubicBezTo>
                  <a:pt x="0" y="123"/>
                  <a:pt x="0" y="122"/>
                  <a:pt x="0" y="122"/>
                </a:cubicBezTo>
                <a:cubicBezTo>
                  <a:pt x="0" y="120"/>
                  <a:pt x="1" y="118"/>
                  <a:pt x="2" y="115"/>
                </a:cubicBezTo>
                <a:cubicBezTo>
                  <a:pt x="4" y="113"/>
                  <a:pt x="7" y="111"/>
                  <a:pt x="9" y="109"/>
                </a:cubicBezTo>
                <a:cubicBezTo>
                  <a:pt x="11" y="107"/>
                  <a:pt x="13" y="105"/>
                  <a:pt x="15" y="104"/>
                </a:cubicBezTo>
                <a:cubicBezTo>
                  <a:pt x="17" y="102"/>
                  <a:pt x="18" y="100"/>
                  <a:pt x="18" y="99"/>
                </a:cubicBezTo>
                <a:cubicBezTo>
                  <a:pt x="18" y="99"/>
                  <a:pt x="18" y="98"/>
                  <a:pt x="17" y="95"/>
                </a:cubicBezTo>
                <a:cubicBezTo>
                  <a:pt x="16" y="93"/>
                  <a:pt x="16" y="92"/>
                  <a:pt x="15" y="91"/>
                </a:cubicBezTo>
                <a:cubicBezTo>
                  <a:pt x="15" y="88"/>
                  <a:pt x="15" y="85"/>
                  <a:pt x="15" y="81"/>
                </a:cubicBezTo>
                <a:cubicBezTo>
                  <a:pt x="15" y="74"/>
                  <a:pt x="16" y="67"/>
                  <a:pt x="19" y="61"/>
                </a:cubicBezTo>
                <a:cubicBezTo>
                  <a:pt x="21" y="54"/>
                  <a:pt x="25" y="48"/>
                  <a:pt x="30" y="43"/>
                </a:cubicBezTo>
                <a:cubicBezTo>
                  <a:pt x="35" y="38"/>
                  <a:pt x="40" y="34"/>
                  <a:pt x="46" y="30"/>
                </a:cubicBezTo>
                <a:cubicBezTo>
                  <a:pt x="52" y="26"/>
                  <a:pt x="58" y="23"/>
                  <a:pt x="65" y="21"/>
                </a:cubicBezTo>
                <a:cubicBezTo>
                  <a:pt x="69" y="20"/>
                  <a:pt x="73" y="19"/>
                  <a:pt x="79" y="19"/>
                </a:cubicBezTo>
                <a:cubicBezTo>
                  <a:pt x="85" y="18"/>
                  <a:pt x="90" y="18"/>
                  <a:pt x="96" y="18"/>
                </a:cubicBezTo>
                <a:cubicBezTo>
                  <a:pt x="102" y="18"/>
                  <a:pt x="107" y="18"/>
                  <a:pt x="113" y="17"/>
                </a:cubicBezTo>
                <a:cubicBezTo>
                  <a:pt x="119" y="17"/>
                  <a:pt x="124" y="16"/>
                  <a:pt x="128" y="15"/>
                </a:cubicBezTo>
                <a:cubicBezTo>
                  <a:pt x="133" y="14"/>
                  <a:pt x="137" y="12"/>
                  <a:pt x="139" y="10"/>
                </a:cubicBezTo>
                <a:cubicBezTo>
                  <a:pt x="140" y="9"/>
                  <a:pt x="141" y="8"/>
                  <a:pt x="142" y="7"/>
                </a:cubicBezTo>
                <a:cubicBezTo>
                  <a:pt x="143" y="6"/>
                  <a:pt x="144" y="5"/>
                  <a:pt x="145" y="4"/>
                </a:cubicBezTo>
                <a:cubicBezTo>
                  <a:pt x="145" y="4"/>
                  <a:pt x="146" y="3"/>
                  <a:pt x="147" y="2"/>
                </a:cubicBezTo>
                <a:cubicBezTo>
                  <a:pt x="148" y="2"/>
                  <a:pt x="149" y="1"/>
                  <a:pt x="151" y="1"/>
                </a:cubicBezTo>
                <a:cubicBezTo>
                  <a:pt x="152" y="0"/>
                  <a:pt x="153" y="0"/>
                  <a:pt x="155" y="0"/>
                </a:cubicBezTo>
                <a:cubicBezTo>
                  <a:pt x="157" y="0"/>
                  <a:pt x="159" y="2"/>
                  <a:pt x="161" y="5"/>
                </a:cubicBezTo>
                <a:cubicBezTo>
                  <a:pt x="163" y="8"/>
                  <a:pt x="165" y="11"/>
                  <a:pt x="166" y="15"/>
                </a:cubicBezTo>
                <a:cubicBezTo>
                  <a:pt x="167" y="19"/>
                  <a:pt x="168" y="23"/>
                  <a:pt x="168" y="27"/>
                </a:cubicBezTo>
                <a:cubicBezTo>
                  <a:pt x="169" y="31"/>
                  <a:pt x="169" y="34"/>
                  <a:pt x="169" y="36"/>
                </a:cubicBezTo>
                <a:close/>
                <a:moveTo>
                  <a:pt x="119" y="59"/>
                </a:moveTo>
                <a:cubicBezTo>
                  <a:pt x="120" y="58"/>
                  <a:pt x="121" y="56"/>
                  <a:pt x="121" y="55"/>
                </a:cubicBezTo>
                <a:cubicBezTo>
                  <a:pt x="121" y="53"/>
                  <a:pt x="120" y="52"/>
                  <a:pt x="119" y="51"/>
                </a:cubicBezTo>
                <a:cubicBezTo>
                  <a:pt x="118" y="49"/>
                  <a:pt x="116" y="49"/>
                  <a:pt x="115" y="49"/>
                </a:cubicBezTo>
                <a:cubicBezTo>
                  <a:pt x="104" y="49"/>
                  <a:pt x="94" y="50"/>
                  <a:pt x="84" y="53"/>
                </a:cubicBezTo>
                <a:cubicBezTo>
                  <a:pt x="75" y="57"/>
                  <a:pt x="67" y="61"/>
                  <a:pt x="60" y="66"/>
                </a:cubicBezTo>
                <a:cubicBezTo>
                  <a:pt x="53" y="71"/>
                  <a:pt x="45" y="78"/>
                  <a:pt x="38" y="87"/>
                </a:cubicBezTo>
                <a:cubicBezTo>
                  <a:pt x="36" y="88"/>
                  <a:pt x="36" y="90"/>
                  <a:pt x="36" y="91"/>
                </a:cubicBezTo>
                <a:cubicBezTo>
                  <a:pt x="36" y="93"/>
                  <a:pt x="36" y="94"/>
                  <a:pt x="38" y="95"/>
                </a:cubicBezTo>
                <a:cubicBezTo>
                  <a:pt x="39" y="97"/>
                  <a:pt x="40" y="97"/>
                  <a:pt x="42" y="97"/>
                </a:cubicBezTo>
                <a:cubicBezTo>
                  <a:pt x="43" y="97"/>
                  <a:pt x="45" y="97"/>
                  <a:pt x="46" y="95"/>
                </a:cubicBezTo>
                <a:cubicBezTo>
                  <a:pt x="48" y="94"/>
                  <a:pt x="50" y="92"/>
                  <a:pt x="53" y="89"/>
                </a:cubicBezTo>
                <a:cubicBezTo>
                  <a:pt x="56" y="86"/>
                  <a:pt x="58" y="84"/>
                  <a:pt x="59" y="82"/>
                </a:cubicBezTo>
                <a:cubicBezTo>
                  <a:pt x="68" y="75"/>
                  <a:pt x="77" y="69"/>
                  <a:pt x="85" y="66"/>
                </a:cubicBezTo>
                <a:cubicBezTo>
                  <a:pt x="93" y="62"/>
                  <a:pt x="103" y="61"/>
                  <a:pt x="115" y="61"/>
                </a:cubicBezTo>
                <a:cubicBezTo>
                  <a:pt x="116" y="61"/>
                  <a:pt x="118" y="60"/>
                  <a:pt x="119" y="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8" name="Freeform 108"/>
          <p:cNvSpPr>
            <a:spLocks noChangeAspect="1" noEditPoints="1"/>
          </p:cNvSpPr>
          <p:nvPr/>
        </p:nvSpPr>
        <p:spPr bwMode="auto">
          <a:xfrm>
            <a:off x="5924079" y="2162889"/>
            <a:ext cx="138956" cy="176428"/>
          </a:xfrm>
          <a:custGeom>
            <a:avLst/>
            <a:gdLst>
              <a:gd name="T0" fmla="*/ 133 w 133"/>
              <a:gd name="T1" fmla="*/ 161 h 170"/>
              <a:gd name="T2" fmla="*/ 133 w 133"/>
              <a:gd name="T3" fmla="*/ 167 h 170"/>
              <a:gd name="T4" fmla="*/ 132 w 133"/>
              <a:gd name="T5" fmla="*/ 169 h 170"/>
              <a:gd name="T6" fmla="*/ 130 w 133"/>
              <a:gd name="T7" fmla="*/ 170 h 170"/>
              <a:gd name="T8" fmla="*/ 3 w 133"/>
              <a:gd name="T9" fmla="*/ 170 h 170"/>
              <a:gd name="T10" fmla="*/ 0 w 133"/>
              <a:gd name="T11" fmla="*/ 169 h 170"/>
              <a:gd name="T12" fmla="*/ 0 w 133"/>
              <a:gd name="T13" fmla="*/ 167 h 170"/>
              <a:gd name="T14" fmla="*/ 0 w 133"/>
              <a:gd name="T15" fmla="*/ 161 h 170"/>
              <a:gd name="T16" fmla="*/ 0 w 133"/>
              <a:gd name="T17" fmla="*/ 158 h 170"/>
              <a:gd name="T18" fmla="*/ 3 w 133"/>
              <a:gd name="T19" fmla="*/ 158 h 170"/>
              <a:gd name="T20" fmla="*/ 130 w 133"/>
              <a:gd name="T21" fmla="*/ 158 h 170"/>
              <a:gd name="T22" fmla="*/ 132 w 133"/>
              <a:gd name="T23" fmla="*/ 158 h 170"/>
              <a:gd name="T24" fmla="*/ 133 w 133"/>
              <a:gd name="T25" fmla="*/ 161 h 170"/>
              <a:gd name="T26" fmla="*/ 108 w 133"/>
              <a:gd name="T27" fmla="*/ 61 h 170"/>
              <a:gd name="T28" fmla="*/ 106 w 133"/>
              <a:gd name="T29" fmla="*/ 74 h 170"/>
              <a:gd name="T30" fmla="*/ 100 w 133"/>
              <a:gd name="T31" fmla="*/ 85 h 170"/>
              <a:gd name="T32" fmla="*/ 92 w 133"/>
              <a:gd name="T33" fmla="*/ 93 h 170"/>
              <a:gd name="T34" fmla="*/ 83 w 133"/>
              <a:gd name="T35" fmla="*/ 101 h 170"/>
              <a:gd name="T36" fmla="*/ 74 w 133"/>
              <a:gd name="T37" fmla="*/ 107 h 170"/>
              <a:gd name="T38" fmla="*/ 68 w 133"/>
              <a:gd name="T39" fmla="*/ 115 h 170"/>
              <a:gd name="T40" fmla="*/ 66 w 133"/>
              <a:gd name="T41" fmla="*/ 124 h 170"/>
              <a:gd name="T42" fmla="*/ 72 w 133"/>
              <a:gd name="T43" fmla="*/ 145 h 170"/>
              <a:gd name="T44" fmla="*/ 72 w 133"/>
              <a:gd name="T45" fmla="*/ 145 h 170"/>
              <a:gd name="T46" fmla="*/ 72 w 133"/>
              <a:gd name="T47" fmla="*/ 145 h 170"/>
              <a:gd name="T48" fmla="*/ 57 w 133"/>
              <a:gd name="T49" fmla="*/ 138 h 170"/>
              <a:gd name="T50" fmla="*/ 44 w 133"/>
              <a:gd name="T51" fmla="*/ 128 h 170"/>
              <a:gd name="T52" fmla="*/ 33 w 133"/>
              <a:gd name="T53" fmla="*/ 117 h 170"/>
              <a:gd name="T54" fmla="*/ 26 w 133"/>
              <a:gd name="T55" fmla="*/ 102 h 170"/>
              <a:gd name="T56" fmla="*/ 24 w 133"/>
              <a:gd name="T57" fmla="*/ 85 h 170"/>
              <a:gd name="T58" fmla="*/ 26 w 133"/>
              <a:gd name="T59" fmla="*/ 71 h 170"/>
              <a:gd name="T60" fmla="*/ 32 w 133"/>
              <a:gd name="T61" fmla="*/ 61 h 170"/>
              <a:gd name="T62" fmla="*/ 40 w 133"/>
              <a:gd name="T63" fmla="*/ 52 h 170"/>
              <a:gd name="T64" fmla="*/ 49 w 133"/>
              <a:gd name="T65" fmla="*/ 45 h 170"/>
              <a:gd name="T66" fmla="*/ 58 w 133"/>
              <a:gd name="T67" fmla="*/ 38 h 170"/>
              <a:gd name="T68" fmla="*/ 64 w 133"/>
              <a:gd name="T69" fmla="*/ 31 h 170"/>
              <a:gd name="T70" fmla="*/ 66 w 133"/>
              <a:gd name="T71" fmla="*/ 21 h 170"/>
              <a:gd name="T72" fmla="*/ 60 w 133"/>
              <a:gd name="T73" fmla="*/ 0 h 170"/>
              <a:gd name="T74" fmla="*/ 60 w 133"/>
              <a:gd name="T75" fmla="*/ 0 h 170"/>
              <a:gd name="T76" fmla="*/ 60 w 133"/>
              <a:gd name="T77" fmla="*/ 0 h 170"/>
              <a:gd name="T78" fmla="*/ 75 w 133"/>
              <a:gd name="T79" fmla="*/ 8 h 170"/>
              <a:gd name="T80" fmla="*/ 88 w 133"/>
              <a:gd name="T81" fmla="*/ 18 h 170"/>
              <a:gd name="T82" fmla="*/ 99 w 133"/>
              <a:gd name="T83" fmla="*/ 29 h 170"/>
              <a:gd name="T84" fmla="*/ 106 w 133"/>
              <a:gd name="T85" fmla="*/ 43 h 170"/>
              <a:gd name="T86" fmla="*/ 108 w 133"/>
              <a:gd name="T87" fmla="*/ 6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3" h="170">
                <a:moveTo>
                  <a:pt x="133" y="161"/>
                </a:moveTo>
                <a:cubicBezTo>
                  <a:pt x="133" y="167"/>
                  <a:pt x="133" y="167"/>
                  <a:pt x="133" y="167"/>
                </a:cubicBezTo>
                <a:cubicBezTo>
                  <a:pt x="133" y="167"/>
                  <a:pt x="132" y="168"/>
                  <a:pt x="132" y="169"/>
                </a:cubicBezTo>
                <a:cubicBezTo>
                  <a:pt x="131" y="169"/>
                  <a:pt x="130" y="170"/>
                  <a:pt x="130" y="170"/>
                </a:cubicBezTo>
                <a:cubicBezTo>
                  <a:pt x="3" y="170"/>
                  <a:pt x="3" y="170"/>
                  <a:pt x="3" y="170"/>
                </a:cubicBezTo>
                <a:cubicBezTo>
                  <a:pt x="2" y="170"/>
                  <a:pt x="1" y="169"/>
                  <a:pt x="0" y="169"/>
                </a:cubicBezTo>
                <a:cubicBezTo>
                  <a:pt x="0" y="168"/>
                  <a:pt x="0" y="167"/>
                  <a:pt x="0" y="167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0"/>
                  <a:pt x="0" y="159"/>
                  <a:pt x="0" y="158"/>
                </a:cubicBezTo>
                <a:cubicBezTo>
                  <a:pt x="1" y="158"/>
                  <a:pt x="2" y="158"/>
                  <a:pt x="3" y="158"/>
                </a:cubicBezTo>
                <a:cubicBezTo>
                  <a:pt x="130" y="158"/>
                  <a:pt x="130" y="158"/>
                  <a:pt x="130" y="158"/>
                </a:cubicBezTo>
                <a:cubicBezTo>
                  <a:pt x="130" y="158"/>
                  <a:pt x="131" y="158"/>
                  <a:pt x="132" y="158"/>
                </a:cubicBezTo>
                <a:cubicBezTo>
                  <a:pt x="132" y="159"/>
                  <a:pt x="133" y="160"/>
                  <a:pt x="133" y="161"/>
                </a:cubicBezTo>
                <a:close/>
                <a:moveTo>
                  <a:pt x="108" y="61"/>
                </a:moveTo>
                <a:cubicBezTo>
                  <a:pt x="108" y="66"/>
                  <a:pt x="108" y="70"/>
                  <a:pt x="106" y="74"/>
                </a:cubicBezTo>
                <a:cubicBezTo>
                  <a:pt x="105" y="79"/>
                  <a:pt x="103" y="82"/>
                  <a:pt x="100" y="85"/>
                </a:cubicBezTo>
                <a:cubicBezTo>
                  <a:pt x="98" y="88"/>
                  <a:pt x="95" y="91"/>
                  <a:pt x="92" y="93"/>
                </a:cubicBezTo>
                <a:cubicBezTo>
                  <a:pt x="89" y="96"/>
                  <a:pt x="86" y="98"/>
                  <a:pt x="83" y="101"/>
                </a:cubicBezTo>
                <a:cubicBezTo>
                  <a:pt x="80" y="103"/>
                  <a:pt x="77" y="105"/>
                  <a:pt x="74" y="107"/>
                </a:cubicBezTo>
                <a:cubicBezTo>
                  <a:pt x="72" y="110"/>
                  <a:pt x="70" y="112"/>
                  <a:pt x="68" y="115"/>
                </a:cubicBezTo>
                <a:cubicBezTo>
                  <a:pt x="67" y="118"/>
                  <a:pt x="66" y="121"/>
                  <a:pt x="66" y="124"/>
                </a:cubicBezTo>
                <a:cubicBezTo>
                  <a:pt x="66" y="130"/>
                  <a:pt x="68" y="137"/>
                  <a:pt x="72" y="145"/>
                </a:cubicBezTo>
                <a:cubicBezTo>
                  <a:pt x="72" y="145"/>
                  <a:pt x="72" y="145"/>
                  <a:pt x="72" y="145"/>
                </a:cubicBezTo>
                <a:cubicBezTo>
                  <a:pt x="72" y="145"/>
                  <a:pt x="72" y="145"/>
                  <a:pt x="72" y="145"/>
                </a:cubicBezTo>
                <a:cubicBezTo>
                  <a:pt x="66" y="143"/>
                  <a:pt x="61" y="140"/>
                  <a:pt x="57" y="138"/>
                </a:cubicBezTo>
                <a:cubicBezTo>
                  <a:pt x="53" y="135"/>
                  <a:pt x="48" y="132"/>
                  <a:pt x="44" y="128"/>
                </a:cubicBezTo>
                <a:cubicBezTo>
                  <a:pt x="40" y="125"/>
                  <a:pt x="36" y="121"/>
                  <a:pt x="33" y="117"/>
                </a:cubicBezTo>
                <a:cubicBezTo>
                  <a:pt x="30" y="113"/>
                  <a:pt x="28" y="108"/>
                  <a:pt x="26" y="102"/>
                </a:cubicBezTo>
                <a:cubicBezTo>
                  <a:pt x="25" y="97"/>
                  <a:pt x="24" y="91"/>
                  <a:pt x="24" y="85"/>
                </a:cubicBezTo>
                <a:cubicBezTo>
                  <a:pt x="24" y="80"/>
                  <a:pt x="24" y="76"/>
                  <a:pt x="26" y="71"/>
                </a:cubicBezTo>
                <a:cubicBezTo>
                  <a:pt x="28" y="67"/>
                  <a:pt x="30" y="64"/>
                  <a:pt x="32" y="61"/>
                </a:cubicBezTo>
                <a:cubicBezTo>
                  <a:pt x="35" y="58"/>
                  <a:pt x="37" y="55"/>
                  <a:pt x="40" y="52"/>
                </a:cubicBezTo>
                <a:cubicBezTo>
                  <a:pt x="43" y="50"/>
                  <a:pt x="46" y="47"/>
                  <a:pt x="49" y="45"/>
                </a:cubicBezTo>
                <a:cubicBezTo>
                  <a:pt x="52" y="43"/>
                  <a:pt x="55" y="41"/>
                  <a:pt x="58" y="38"/>
                </a:cubicBezTo>
                <a:cubicBezTo>
                  <a:pt x="60" y="36"/>
                  <a:pt x="62" y="33"/>
                  <a:pt x="64" y="31"/>
                </a:cubicBezTo>
                <a:cubicBezTo>
                  <a:pt x="65" y="28"/>
                  <a:pt x="66" y="25"/>
                  <a:pt x="66" y="21"/>
                </a:cubicBezTo>
                <a:cubicBezTo>
                  <a:pt x="66" y="15"/>
                  <a:pt x="64" y="8"/>
                  <a:pt x="6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6" y="3"/>
                  <a:pt x="71" y="5"/>
                  <a:pt x="75" y="8"/>
                </a:cubicBezTo>
                <a:cubicBezTo>
                  <a:pt x="80" y="11"/>
                  <a:pt x="84" y="14"/>
                  <a:pt x="88" y="18"/>
                </a:cubicBezTo>
                <a:cubicBezTo>
                  <a:pt x="93" y="21"/>
                  <a:pt x="96" y="25"/>
                  <a:pt x="99" y="29"/>
                </a:cubicBezTo>
                <a:cubicBezTo>
                  <a:pt x="102" y="33"/>
                  <a:pt x="104" y="38"/>
                  <a:pt x="106" y="43"/>
                </a:cubicBezTo>
                <a:cubicBezTo>
                  <a:pt x="108" y="49"/>
                  <a:pt x="108" y="55"/>
                  <a:pt x="108" y="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09" name="Freeform 109"/>
          <p:cNvSpPr>
            <a:spLocks noChangeAspect="1" noEditPoints="1"/>
          </p:cNvSpPr>
          <p:nvPr/>
        </p:nvSpPr>
        <p:spPr bwMode="auto">
          <a:xfrm>
            <a:off x="6105191" y="2201921"/>
            <a:ext cx="176428" cy="110853"/>
          </a:xfrm>
          <a:custGeom>
            <a:avLst/>
            <a:gdLst>
              <a:gd name="T0" fmla="*/ 170 w 170"/>
              <a:gd name="T1" fmla="*/ 54 h 108"/>
              <a:gd name="T2" fmla="*/ 168 w 170"/>
              <a:gd name="T3" fmla="*/ 61 h 108"/>
              <a:gd name="T4" fmla="*/ 132 w 170"/>
              <a:gd name="T5" fmla="*/ 95 h 108"/>
              <a:gd name="T6" fmla="*/ 85 w 170"/>
              <a:gd name="T7" fmla="*/ 108 h 108"/>
              <a:gd name="T8" fmla="*/ 38 w 170"/>
              <a:gd name="T9" fmla="*/ 95 h 108"/>
              <a:gd name="T10" fmla="*/ 2 w 170"/>
              <a:gd name="T11" fmla="*/ 61 h 108"/>
              <a:gd name="T12" fmla="*/ 0 w 170"/>
              <a:gd name="T13" fmla="*/ 54 h 108"/>
              <a:gd name="T14" fmla="*/ 2 w 170"/>
              <a:gd name="T15" fmla="*/ 47 h 108"/>
              <a:gd name="T16" fmla="*/ 38 w 170"/>
              <a:gd name="T17" fmla="*/ 13 h 108"/>
              <a:gd name="T18" fmla="*/ 85 w 170"/>
              <a:gd name="T19" fmla="*/ 0 h 108"/>
              <a:gd name="T20" fmla="*/ 132 w 170"/>
              <a:gd name="T21" fmla="*/ 13 h 108"/>
              <a:gd name="T22" fmla="*/ 168 w 170"/>
              <a:gd name="T23" fmla="*/ 47 h 108"/>
              <a:gd name="T24" fmla="*/ 170 w 170"/>
              <a:gd name="T25" fmla="*/ 54 h 108"/>
              <a:gd name="T26" fmla="*/ 158 w 170"/>
              <a:gd name="T27" fmla="*/ 54 h 108"/>
              <a:gd name="T28" fmla="*/ 121 w 170"/>
              <a:gd name="T29" fmla="*/ 21 h 108"/>
              <a:gd name="T30" fmla="*/ 127 w 170"/>
              <a:gd name="T31" fmla="*/ 42 h 108"/>
              <a:gd name="T32" fmla="*/ 115 w 170"/>
              <a:gd name="T33" fmla="*/ 72 h 108"/>
              <a:gd name="T34" fmla="*/ 85 w 170"/>
              <a:gd name="T35" fmla="*/ 84 h 108"/>
              <a:gd name="T36" fmla="*/ 55 w 170"/>
              <a:gd name="T37" fmla="*/ 72 h 108"/>
              <a:gd name="T38" fmla="*/ 43 w 170"/>
              <a:gd name="T39" fmla="*/ 42 h 108"/>
              <a:gd name="T40" fmla="*/ 48 w 170"/>
              <a:gd name="T41" fmla="*/ 21 h 108"/>
              <a:gd name="T42" fmla="*/ 12 w 170"/>
              <a:gd name="T43" fmla="*/ 54 h 108"/>
              <a:gd name="T44" fmla="*/ 44 w 170"/>
              <a:gd name="T45" fmla="*/ 85 h 108"/>
              <a:gd name="T46" fmla="*/ 85 w 170"/>
              <a:gd name="T47" fmla="*/ 96 h 108"/>
              <a:gd name="T48" fmla="*/ 126 w 170"/>
              <a:gd name="T49" fmla="*/ 85 h 108"/>
              <a:gd name="T50" fmla="*/ 158 w 170"/>
              <a:gd name="T51" fmla="*/ 54 h 108"/>
              <a:gd name="T52" fmla="*/ 88 w 170"/>
              <a:gd name="T53" fmla="*/ 21 h 108"/>
              <a:gd name="T54" fmla="*/ 89 w 170"/>
              <a:gd name="T55" fmla="*/ 18 h 108"/>
              <a:gd name="T56" fmla="*/ 88 w 170"/>
              <a:gd name="T57" fmla="*/ 14 h 108"/>
              <a:gd name="T58" fmla="*/ 85 w 170"/>
              <a:gd name="T59" fmla="*/ 13 h 108"/>
              <a:gd name="T60" fmla="*/ 65 w 170"/>
              <a:gd name="T61" fmla="*/ 22 h 108"/>
              <a:gd name="T62" fmla="*/ 56 w 170"/>
              <a:gd name="T63" fmla="*/ 42 h 108"/>
              <a:gd name="T64" fmla="*/ 57 w 170"/>
              <a:gd name="T65" fmla="*/ 45 h 108"/>
              <a:gd name="T66" fmla="*/ 61 w 170"/>
              <a:gd name="T67" fmla="*/ 46 h 108"/>
              <a:gd name="T68" fmla="*/ 64 w 170"/>
              <a:gd name="T69" fmla="*/ 45 h 108"/>
              <a:gd name="T70" fmla="*/ 65 w 170"/>
              <a:gd name="T71" fmla="*/ 42 h 108"/>
              <a:gd name="T72" fmla="*/ 71 w 170"/>
              <a:gd name="T73" fmla="*/ 28 h 108"/>
              <a:gd name="T74" fmla="*/ 85 w 170"/>
              <a:gd name="T75" fmla="*/ 22 h 108"/>
              <a:gd name="T76" fmla="*/ 88 w 170"/>
              <a:gd name="T77" fmla="*/ 21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0" h="108">
                <a:moveTo>
                  <a:pt x="170" y="54"/>
                </a:moveTo>
                <a:cubicBezTo>
                  <a:pt x="170" y="56"/>
                  <a:pt x="169" y="58"/>
                  <a:pt x="168" y="61"/>
                </a:cubicBezTo>
                <a:cubicBezTo>
                  <a:pt x="159" y="75"/>
                  <a:pt x="147" y="87"/>
                  <a:pt x="132" y="95"/>
                </a:cubicBezTo>
                <a:cubicBezTo>
                  <a:pt x="117" y="104"/>
                  <a:pt x="101" y="108"/>
                  <a:pt x="85" y="108"/>
                </a:cubicBezTo>
                <a:cubicBezTo>
                  <a:pt x="68" y="108"/>
                  <a:pt x="53" y="104"/>
                  <a:pt x="38" y="95"/>
                </a:cubicBezTo>
                <a:cubicBezTo>
                  <a:pt x="23" y="87"/>
                  <a:pt x="11" y="75"/>
                  <a:pt x="2" y="61"/>
                </a:cubicBezTo>
                <a:cubicBezTo>
                  <a:pt x="1" y="58"/>
                  <a:pt x="0" y="56"/>
                  <a:pt x="0" y="54"/>
                </a:cubicBezTo>
                <a:cubicBezTo>
                  <a:pt x="0" y="52"/>
                  <a:pt x="1" y="50"/>
                  <a:pt x="2" y="47"/>
                </a:cubicBezTo>
                <a:cubicBezTo>
                  <a:pt x="11" y="33"/>
                  <a:pt x="23" y="21"/>
                  <a:pt x="38" y="13"/>
                </a:cubicBezTo>
                <a:cubicBezTo>
                  <a:pt x="53" y="4"/>
                  <a:pt x="68" y="0"/>
                  <a:pt x="85" y="0"/>
                </a:cubicBezTo>
                <a:cubicBezTo>
                  <a:pt x="101" y="0"/>
                  <a:pt x="117" y="4"/>
                  <a:pt x="132" y="13"/>
                </a:cubicBezTo>
                <a:cubicBezTo>
                  <a:pt x="147" y="21"/>
                  <a:pt x="159" y="33"/>
                  <a:pt x="168" y="47"/>
                </a:cubicBezTo>
                <a:cubicBezTo>
                  <a:pt x="169" y="50"/>
                  <a:pt x="170" y="52"/>
                  <a:pt x="170" y="54"/>
                </a:cubicBezTo>
                <a:close/>
                <a:moveTo>
                  <a:pt x="158" y="54"/>
                </a:moveTo>
                <a:cubicBezTo>
                  <a:pt x="148" y="39"/>
                  <a:pt x="136" y="28"/>
                  <a:pt x="121" y="21"/>
                </a:cubicBezTo>
                <a:cubicBezTo>
                  <a:pt x="125" y="27"/>
                  <a:pt x="127" y="34"/>
                  <a:pt x="127" y="42"/>
                </a:cubicBezTo>
                <a:cubicBezTo>
                  <a:pt x="127" y="54"/>
                  <a:pt x="123" y="64"/>
                  <a:pt x="115" y="72"/>
                </a:cubicBezTo>
                <a:cubicBezTo>
                  <a:pt x="107" y="80"/>
                  <a:pt x="97" y="84"/>
                  <a:pt x="85" y="84"/>
                </a:cubicBezTo>
                <a:cubicBezTo>
                  <a:pt x="73" y="84"/>
                  <a:pt x="63" y="80"/>
                  <a:pt x="55" y="72"/>
                </a:cubicBezTo>
                <a:cubicBezTo>
                  <a:pt x="47" y="64"/>
                  <a:pt x="43" y="54"/>
                  <a:pt x="43" y="42"/>
                </a:cubicBezTo>
                <a:cubicBezTo>
                  <a:pt x="43" y="34"/>
                  <a:pt x="44" y="27"/>
                  <a:pt x="48" y="21"/>
                </a:cubicBezTo>
                <a:cubicBezTo>
                  <a:pt x="34" y="28"/>
                  <a:pt x="22" y="39"/>
                  <a:pt x="12" y="54"/>
                </a:cubicBezTo>
                <a:cubicBezTo>
                  <a:pt x="21" y="67"/>
                  <a:pt x="31" y="77"/>
                  <a:pt x="44" y="85"/>
                </a:cubicBezTo>
                <a:cubicBezTo>
                  <a:pt x="56" y="93"/>
                  <a:pt x="70" y="96"/>
                  <a:pt x="85" y="96"/>
                </a:cubicBezTo>
                <a:cubicBezTo>
                  <a:pt x="100" y="96"/>
                  <a:pt x="113" y="93"/>
                  <a:pt x="126" y="85"/>
                </a:cubicBezTo>
                <a:cubicBezTo>
                  <a:pt x="139" y="77"/>
                  <a:pt x="149" y="67"/>
                  <a:pt x="158" y="54"/>
                </a:cubicBezTo>
                <a:close/>
                <a:moveTo>
                  <a:pt x="88" y="21"/>
                </a:moveTo>
                <a:cubicBezTo>
                  <a:pt x="89" y="20"/>
                  <a:pt x="89" y="19"/>
                  <a:pt x="89" y="18"/>
                </a:cubicBezTo>
                <a:cubicBezTo>
                  <a:pt x="89" y="16"/>
                  <a:pt x="89" y="15"/>
                  <a:pt x="88" y="14"/>
                </a:cubicBezTo>
                <a:cubicBezTo>
                  <a:pt x="87" y="14"/>
                  <a:pt x="86" y="13"/>
                  <a:pt x="85" y="13"/>
                </a:cubicBezTo>
                <a:cubicBezTo>
                  <a:pt x="77" y="13"/>
                  <a:pt x="70" y="16"/>
                  <a:pt x="65" y="22"/>
                </a:cubicBezTo>
                <a:cubicBezTo>
                  <a:pt x="59" y="27"/>
                  <a:pt x="56" y="34"/>
                  <a:pt x="56" y="42"/>
                </a:cubicBezTo>
                <a:cubicBezTo>
                  <a:pt x="56" y="43"/>
                  <a:pt x="57" y="44"/>
                  <a:pt x="57" y="45"/>
                </a:cubicBezTo>
                <a:cubicBezTo>
                  <a:pt x="58" y="46"/>
                  <a:pt x="59" y="46"/>
                  <a:pt x="61" y="46"/>
                </a:cubicBezTo>
                <a:cubicBezTo>
                  <a:pt x="62" y="46"/>
                  <a:pt x="63" y="46"/>
                  <a:pt x="64" y="45"/>
                </a:cubicBezTo>
                <a:cubicBezTo>
                  <a:pt x="65" y="44"/>
                  <a:pt x="65" y="43"/>
                  <a:pt x="65" y="42"/>
                </a:cubicBezTo>
                <a:cubicBezTo>
                  <a:pt x="65" y="36"/>
                  <a:pt x="67" y="32"/>
                  <a:pt x="71" y="28"/>
                </a:cubicBezTo>
                <a:cubicBezTo>
                  <a:pt x="75" y="24"/>
                  <a:pt x="79" y="22"/>
                  <a:pt x="85" y="22"/>
                </a:cubicBezTo>
                <a:cubicBezTo>
                  <a:pt x="86" y="22"/>
                  <a:pt x="87" y="22"/>
                  <a:pt x="88" y="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0" name="Freeform 110"/>
          <p:cNvSpPr>
            <a:spLocks noChangeAspect="1" noEditPoints="1"/>
          </p:cNvSpPr>
          <p:nvPr/>
        </p:nvSpPr>
        <p:spPr bwMode="auto">
          <a:xfrm>
            <a:off x="6323774" y="2190992"/>
            <a:ext cx="174866" cy="132711"/>
          </a:xfrm>
          <a:custGeom>
            <a:avLst/>
            <a:gdLst>
              <a:gd name="T0" fmla="*/ 124 w 170"/>
              <a:gd name="T1" fmla="*/ 10 h 128"/>
              <a:gd name="T2" fmla="*/ 124 w 170"/>
              <a:gd name="T3" fmla="*/ 10 h 128"/>
              <a:gd name="T4" fmla="*/ 94 w 170"/>
              <a:gd name="T5" fmla="*/ 64 h 128"/>
              <a:gd name="T6" fmla="*/ 64 w 170"/>
              <a:gd name="T7" fmla="*/ 118 h 128"/>
              <a:gd name="T8" fmla="*/ 59 w 170"/>
              <a:gd name="T9" fmla="*/ 126 h 128"/>
              <a:gd name="T10" fmla="*/ 57 w 170"/>
              <a:gd name="T11" fmla="*/ 128 h 128"/>
              <a:gd name="T12" fmla="*/ 44 w 170"/>
              <a:gd name="T13" fmla="*/ 121 h 128"/>
              <a:gd name="T14" fmla="*/ 43 w 170"/>
              <a:gd name="T15" fmla="*/ 118 h 128"/>
              <a:gd name="T16" fmla="*/ 47 w 170"/>
              <a:gd name="T17" fmla="*/ 110 h 128"/>
              <a:gd name="T18" fmla="*/ 22 w 170"/>
              <a:gd name="T19" fmla="*/ 94 h 128"/>
              <a:gd name="T20" fmla="*/ 2 w 170"/>
              <a:gd name="T21" fmla="*/ 71 h 128"/>
              <a:gd name="T22" fmla="*/ 0 w 170"/>
              <a:gd name="T23" fmla="*/ 64 h 128"/>
              <a:gd name="T24" fmla="*/ 2 w 170"/>
              <a:gd name="T25" fmla="*/ 57 h 128"/>
              <a:gd name="T26" fmla="*/ 38 w 170"/>
              <a:gd name="T27" fmla="*/ 22 h 128"/>
              <a:gd name="T28" fmla="*/ 85 w 170"/>
              <a:gd name="T29" fmla="*/ 10 h 128"/>
              <a:gd name="T30" fmla="*/ 102 w 170"/>
              <a:gd name="T31" fmla="*/ 11 h 128"/>
              <a:gd name="T32" fmla="*/ 107 w 170"/>
              <a:gd name="T33" fmla="*/ 2 h 128"/>
              <a:gd name="T34" fmla="*/ 110 w 170"/>
              <a:gd name="T35" fmla="*/ 0 h 128"/>
              <a:gd name="T36" fmla="*/ 111 w 170"/>
              <a:gd name="T37" fmla="*/ 1 h 128"/>
              <a:gd name="T38" fmla="*/ 114 w 170"/>
              <a:gd name="T39" fmla="*/ 3 h 128"/>
              <a:gd name="T40" fmla="*/ 117 w 170"/>
              <a:gd name="T41" fmla="*/ 4 h 128"/>
              <a:gd name="T42" fmla="*/ 120 w 170"/>
              <a:gd name="T43" fmla="*/ 6 h 128"/>
              <a:gd name="T44" fmla="*/ 122 w 170"/>
              <a:gd name="T45" fmla="*/ 7 h 128"/>
              <a:gd name="T46" fmla="*/ 124 w 170"/>
              <a:gd name="T47" fmla="*/ 10 h 128"/>
              <a:gd name="T48" fmla="*/ 53 w 170"/>
              <a:gd name="T49" fmla="*/ 99 h 128"/>
              <a:gd name="T50" fmla="*/ 60 w 170"/>
              <a:gd name="T51" fmla="*/ 86 h 128"/>
              <a:gd name="T52" fmla="*/ 47 w 170"/>
              <a:gd name="T53" fmla="*/ 71 h 128"/>
              <a:gd name="T54" fmla="*/ 43 w 170"/>
              <a:gd name="T55" fmla="*/ 52 h 128"/>
              <a:gd name="T56" fmla="*/ 48 w 170"/>
              <a:gd name="T57" fmla="*/ 31 h 128"/>
              <a:gd name="T58" fmla="*/ 12 w 170"/>
              <a:gd name="T59" fmla="*/ 64 h 128"/>
              <a:gd name="T60" fmla="*/ 53 w 170"/>
              <a:gd name="T61" fmla="*/ 99 h 128"/>
              <a:gd name="T62" fmla="*/ 88 w 170"/>
              <a:gd name="T63" fmla="*/ 31 h 128"/>
              <a:gd name="T64" fmla="*/ 89 w 170"/>
              <a:gd name="T65" fmla="*/ 28 h 128"/>
              <a:gd name="T66" fmla="*/ 88 w 170"/>
              <a:gd name="T67" fmla="*/ 24 h 128"/>
              <a:gd name="T68" fmla="*/ 85 w 170"/>
              <a:gd name="T69" fmla="*/ 23 h 128"/>
              <a:gd name="T70" fmla="*/ 65 w 170"/>
              <a:gd name="T71" fmla="*/ 32 h 128"/>
              <a:gd name="T72" fmla="*/ 56 w 170"/>
              <a:gd name="T73" fmla="*/ 52 h 128"/>
              <a:gd name="T74" fmla="*/ 57 w 170"/>
              <a:gd name="T75" fmla="*/ 55 h 128"/>
              <a:gd name="T76" fmla="*/ 61 w 170"/>
              <a:gd name="T77" fmla="*/ 56 h 128"/>
              <a:gd name="T78" fmla="*/ 64 w 170"/>
              <a:gd name="T79" fmla="*/ 55 h 128"/>
              <a:gd name="T80" fmla="*/ 65 w 170"/>
              <a:gd name="T81" fmla="*/ 52 h 128"/>
              <a:gd name="T82" fmla="*/ 71 w 170"/>
              <a:gd name="T83" fmla="*/ 38 h 128"/>
              <a:gd name="T84" fmla="*/ 85 w 170"/>
              <a:gd name="T85" fmla="*/ 32 h 128"/>
              <a:gd name="T86" fmla="*/ 88 w 170"/>
              <a:gd name="T87" fmla="*/ 31 h 128"/>
              <a:gd name="T88" fmla="*/ 170 w 170"/>
              <a:gd name="T89" fmla="*/ 64 h 128"/>
              <a:gd name="T90" fmla="*/ 168 w 170"/>
              <a:gd name="T91" fmla="*/ 71 h 128"/>
              <a:gd name="T92" fmla="*/ 157 w 170"/>
              <a:gd name="T93" fmla="*/ 84 h 128"/>
              <a:gd name="T94" fmla="*/ 125 w 170"/>
              <a:gd name="T95" fmla="*/ 109 h 128"/>
              <a:gd name="T96" fmla="*/ 85 w 170"/>
              <a:gd name="T97" fmla="*/ 118 h 128"/>
              <a:gd name="T98" fmla="*/ 92 w 170"/>
              <a:gd name="T99" fmla="*/ 106 h 128"/>
              <a:gd name="T100" fmla="*/ 129 w 170"/>
              <a:gd name="T101" fmla="*/ 93 h 128"/>
              <a:gd name="T102" fmla="*/ 157 w 170"/>
              <a:gd name="T103" fmla="*/ 64 h 128"/>
              <a:gd name="T104" fmla="*/ 131 w 170"/>
              <a:gd name="T105" fmla="*/ 36 h 128"/>
              <a:gd name="T106" fmla="*/ 137 w 170"/>
              <a:gd name="T107" fmla="*/ 26 h 128"/>
              <a:gd name="T108" fmla="*/ 154 w 170"/>
              <a:gd name="T109" fmla="*/ 40 h 128"/>
              <a:gd name="T110" fmla="*/ 168 w 170"/>
              <a:gd name="T111" fmla="*/ 57 h 128"/>
              <a:gd name="T112" fmla="*/ 170 w 170"/>
              <a:gd name="T113" fmla="*/ 64 h 128"/>
              <a:gd name="T114" fmla="*/ 127 w 170"/>
              <a:gd name="T115" fmla="*/ 52 h 128"/>
              <a:gd name="T116" fmla="*/ 120 w 170"/>
              <a:gd name="T117" fmla="*/ 76 h 128"/>
              <a:gd name="T118" fmla="*/ 100 w 170"/>
              <a:gd name="T119" fmla="*/ 91 h 128"/>
              <a:gd name="T120" fmla="*/ 126 w 170"/>
              <a:gd name="T121" fmla="*/ 44 h 128"/>
              <a:gd name="T122" fmla="*/ 127 w 170"/>
              <a:gd name="T123" fmla="*/ 52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" h="128">
                <a:moveTo>
                  <a:pt x="124" y="10"/>
                </a:moveTo>
                <a:cubicBezTo>
                  <a:pt x="124" y="10"/>
                  <a:pt x="124" y="10"/>
                  <a:pt x="124" y="10"/>
                </a:cubicBezTo>
                <a:cubicBezTo>
                  <a:pt x="117" y="22"/>
                  <a:pt x="107" y="40"/>
                  <a:pt x="94" y="64"/>
                </a:cubicBezTo>
                <a:cubicBezTo>
                  <a:pt x="81" y="88"/>
                  <a:pt x="71" y="106"/>
                  <a:pt x="64" y="118"/>
                </a:cubicBezTo>
                <a:cubicBezTo>
                  <a:pt x="59" y="126"/>
                  <a:pt x="59" y="126"/>
                  <a:pt x="59" y="126"/>
                </a:cubicBezTo>
                <a:cubicBezTo>
                  <a:pt x="59" y="127"/>
                  <a:pt x="58" y="128"/>
                  <a:pt x="57" y="128"/>
                </a:cubicBezTo>
                <a:cubicBezTo>
                  <a:pt x="56" y="128"/>
                  <a:pt x="52" y="125"/>
                  <a:pt x="44" y="121"/>
                </a:cubicBezTo>
                <a:cubicBezTo>
                  <a:pt x="43" y="120"/>
                  <a:pt x="43" y="119"/>
                  <a:pt x="43" y="118"/>
                </a:cubicBezTo>
                <a:cubicBezTo>
                  <a:pt x="43" y="118"/>
                  <a:pt x="44" y="115"/>
                  <a:pt x="47" y="110"/>
                </a:cubicBezTo>
                <a:cubicBezTo>
                  <a:pt x="38" y="106"/>
                  <a:pt x="29" y="101"/>
                  <a:pt x="22" y="94"/>
                </a:cubicBezTo>
                <a:cubicBezTo>
                  <a:pt x="14" y="87"/>
                  <a:pt x="8" y="79"/>
                  <a:pt x="2" y="71"/>
                </a:cubicBezTo>
                <a:cubicBezTo>
                  <a:pt x="1" y="69"/>
                  <a:pt x="0" y="66"/>
                  <a:pt x="0" y="64"/>
                </a:cubicBezTo>
                <a:cubicBezTo>
                  <a:pt x="0" y="62"/>
                  <a:pt x="1" y="59"/>
                  <a:pt x="2" y="57"/>
                </a:cubicBezTo>
                <a:cubicBezTo>
                  <a:pt x="12" y="43"/>
                  <a:pt x="24" y="31"/>
                  <a:pt x="38" y="22"/>
                </a:cubicBezTo>
                <a:cubicBezTo>
                  <a:pt x="52" y="14"/>
                  <a:pt x="68" y="10"/>
                  <a:pt x="85" y="10"/>
                </a:cubicBezTo>
                <a:cubicBezTo>
                  <a:pt x="90" y="10"/>
                  <a:pt x="96" y="10"/>
                  <a:pt x="102" y="11"/>
                </a:cubicBezTo>
                <a:cubicBezTo>
                  <a:pt x="107" y="2"/>
                  <a:pt x="107" y="2"/>
                  <a:pt x="107" y="2"/>
                </a:cubicBezTo>
                <a:cubicBezTo>
                  <a:pt x="108" y="1"/>
                  <a:pt x="109" y="0"/>
                  <a:pt x="110" y="0"/>
                </a:cubicBezTo>
                <a:cubicBezTo>
                  <a:pt x="110" y="0"/>
                  <a:pt x="111" y="1"/>
                  <a:pt x="111" y="1"/>
                </a:cubicBezTo>
                <a:cubicBezTo>
                  <a:pt x="112" y="1"/>
                  <a:pt x="113" y="2"/>
                  <a:pt x="114" y="3"/>
                </a:cubicBezTo>
                <a:cubicBezTo>
                  <a:pt x="115" y="3"/>
                  <a:pt x="116" y="4"/>
                  <a:pt x="117" y="4"/>
                </a:cubicBezTo>
                <a:cubicBezTo>
                  <a:pt x="118" y="5"/>
                  <a:pt x="119" y="5"/>
                  <a:pt x="120" y="6"/>
                </a:cubicBezTo>
                <a:cubicBezTo>
                  <a:pt x="121" y="7"/>
                  <a:pt x="122" y="7"/>
                  <a:pt x="122" y="7"/>
                </a:cubicBezTo>
                <a:cubicBezTo>
                  <a:pt x="123" y="8"/>
                  <a:pt x="124" y="9"/>
                  <a:pt x="124" y="10"/>
                </a:cubicBezTo>
                <a:close/>
                <a:moveTo>
                  <a:pt x="53" y="99"/>
                </a:moveTo>
                <a:cubicBezTo>
                  <a:pt x="60" y="86"/>
                  <a:pt x="60" y="86"/>
                  <a:pt x="60" y="86"/>
                </a:cubicBezTo>
                <a:cubicBezTo>
                  <a:pt x="55" y="82"/>
                  <a:pt x="50" y="77"/>
                  <a:pt x="47" y="71"/>
                </a:cubicBezTo>
                <a:cubicBezTo>
                  <a:pt x="44" y="65"/>
                  <a:pt x="43" y="59"/>
                  <a:pt x="43" y="52"/>
                </a:cubicBezTo>
                <a:cubicBezTo>
                  <a:pt x="43" y="44"/>
                  <a:pt x="44" y="37"/>
                  <a:pt x="48" y="31"/>
                </a:cubicBezTo>
                <a:cubicBezTo>
                  <a:pt x="34" y="38"/>
                  <a:pt x="22" y="49"/>
                  <a:pt x="12" y="64"/>
                </a:cubicBezTo>
                <a:cubicBezTo>
                  <a:pt x="23" y="80"/>
                  <a:pt x="36" y="92"/>
                  <a:pt x="53" y="99"/>
                </a:cubicBezTo>
                <a:close/>
                <a:moveTo>
                  <a:pt x="88" y="31"/>
                </a:moveTo>
                <a:cubicBezTo>
                  <a:pt x="89" y="30"/>
                  <a:pt x="89" y="29"/>
                  <a:pt x="89" y="28"/>
                </a:cubicBezTo>
                <a:cubicBezTo>
                  <a:pt x="89" y="26"/>
                  <a:pt x="89" y="25"/>
                  <a:pt x="88" y="24"/>
                </a:cubicBezTo>
                <a:cubicBezTo>
                  <a:pt x="87" y="24"/>
                  <a:pt x="86" y="23"/>
                  <a:pt x="85" y="23"/>
                </a:cubicBezTo>
                <a:cubicBezTo>
                  <a:pt x="77" y="23"/>
                  <a:pt x="70" y="26"/>
                  <a:pt x="65" y="32"/>
                </a:cubicBezTo>
                <a:cubicBezTo>
                  <a:pt x="59" y="37"/>
                  <a:pt x="56" y="44"/>
                  <a:pt x="56" y="52"/>
                </a:cubicBezTo>
                <a:cubicBezTo>
                  <a:pt x="56" y="53"/>
                  <a:pt x="57" y="54"/>
                  <a:pt x="57" y="55"/>
                </a:cubicBezTo>
                <a:cubicBezTo>
                  <a:pt x="58" y="56"/>
                  <a:pt x="59" y="56"/>
                  <a:pt x="61" y="56"/>
                </a:cubicBezTo>
                <a:cubicBezTo>
                  <a:pt x="62" y="56"/>
                  <a:pt x="63" y="56"/>
                  <a:pt x="64" y="55"/>
                </a:cubicBezTo>
                <a:cubicBezTo>
                  <a:pt x="65" y="54"/>
                  <a:pt x="65" y="53"/>
                  <a:pt x="65" y="52"/>
                </a:cubicBezTo>
                <a:cubicBezTo>
                  <a:pt x="65" y="46"/>
                  <a:pt x="67" y="42"/>
                  <a:pt x="71" y="38"/>
                </a:cubicBezTo>
                <a:cubicBezTo>
                  <a:pt x="75" y="34"/>
                  <a:pt x="79" y="32"/>
                  <a:pt x="85" y="32"/>
                </a:cubicBezTo>
                <a:cubicBezTo>
                  <a:pt x="86" y="32"/>
                  <a:pt x="87" y="32"/>
                  <a:pt x="88" y="31"/>
                </a:cubicBezTo>
                <a:close/>
                <a:moveTo>
                  <a:pt x="170" y="64"/>
                </a:moveTo>
                <a:cubicBezTo>
                  <a:pt x="170" y="66"/>
                  <a:pt x="169" y="68"/>
                  <a:pt x="168" y="71"/>
                </a:cubicBezTo>
                <a:cubicBezTo>
                  <a:pt x="165" y="75"/>
                  <a:pt x="162" y="79"/>
                  <a:pt x="157" y="84"/>
                </a:cubicBezTo>
                <a:cubicBezTo>
                  <a:pt x="148" y="95"/>
                  <a:pt x="137" y="103"/>
                  <a:pt x="125" y="109"/>
                </a:cubicBezTo>
                <a:cubicBezTo>
                  <a:pt x="112" y="115"/>
                  <a:pt x="99" y="118"/>
                  <a:pt x="85" y="118"/>
                </a:cubicBezTo>
                <a:cubicBezTo>
                  <a:pt x="92" y="106"/>
                  <a:pt x="92" y="106"/>
                  <a:pt x="92" y="106"/>
                </a:cubicBezTo>
                <a:cubicBezTo>
                  <a:pt x="105" y="105"/>
                  <a:pt x="118" y="101"/>
                  <a:pt x="129" y="93"/>
                </a:cubicBezTo>
                <a:cubicBezTo>
                  <a:pt x="140" y="86"/>
                  <a:pt x="150" y="76"/>
                  <a:pt x="157" y="64"/>
                </a:cubicBezTo>
                <a:cubicBezTo>
                  <a:pt x="150" y="53"/>
                  <a:pt x="141" y="43"/>
                  <a:pt x="131" y="36"/>
                </a:cubicBezTo>
                <a:cubicBezTo>
                  <a:pt x="137" y="26"/>
                  <a:pt x="137" y="26"/>
                  <a:pt x="137" y="26"/>
                </a:cubicBezTo>
                <a:cubicBezTo>
                  <a:pt x="143" y="30"/>
                  <a:pt x="149" y="34"/>
                  <a:pt x="154" y="40"/>
                </a:cubicBezTo>
                <a:cubicBezTo>
                  <a:pt x="160" y="46"/>
                  <a:pt x="164" y="51"/>
                  <a:pt x="168" y="57"/>
                </a:cubicBezTo>
                <a:cubicBezTo>
                  <a:pt x="169" y="60"/>
                  <a:pt x="170" y="62"/>
                  <a:pt x="170" y="64"/>
                </a:cubicBezTo>
                <a:close/>
                <a:moveTo>
                  <a:pt x="127" y="52"/>
                </a:moveTo>
                <a:cubicBezTo>
                  <a:pt x="127" y="61"/>
                  <a:pt x="125" y="69"/>
                  <a:pt x="120" y="76"/>
                </a:cubicBezTo>
                <a:cubicBezTo>
                  <a:pt x="115" y="83"/>
                  <a:pt x="108" y="88"/>
                  <a:pt x="100" y="91"/>
                </a:cubicBezTo>
                <a:cubicBezTo>
                  <a:pt x="126" y="44"/>
                  <a:pt x="126" y="44"/>
                  <a:pt x="126" y="44"/>
                </a:cubicBezTo>
                <a:cubicBezTo>
                  <a:pt x="127" y="47"/>
                  <a:pt x="127" y="49"/>
                  <a:pt x="127" y="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1" name="Freeform 111"/>
          <p:cNvSpPr>
            <a:spLocks noChangeAspect="1" noEditPoints="1"/>
          </p:cNvSpPr>
          <p:nvPr/>
        </p:nvSpPr>
        <p:spPr bwMode="auto">
          <a:xfrm>
            <a:off x="6540795" y="2162889"/>
            <a:ext cx="176428" cy="163937"/>
          </a:xfrm>
          <a:custGeom>
            <a:avLst/>
            <a:gdLst>
              <a:gd name="T0" fmla="*/ 96 w 171"/>
              <a:gd name="T1" fmla="*/ 7 h 158"/>
              <a:gd name="T2" fmla="*/ 169 w 171"/>
              <a:gd name="T3" fmla="*/ 140 h 158"/>
              <a:gd name="T4" fmla="*/ 169 w 171"/>
              <a:gd name="T5" fmla="*/ 152 h 158"/>
              <a:gd name="T6" fmla="*/ 164 w 171"/>
              <a:gd name="T7" fmla="*/ 156 h 158"/>
              <a:gd name="T8" fmla="*/ 158 w 171"/>
              <a:gd name="T9" fmla="*/ 158 h 158"/>
              <a:gd name="T10" fmla="*/ 13 w 171"/>
              <a:gd name="T11" fmla="*/ 158 h 158"/>
              <a:gd name="T12" fmla="*/ 7 w 171"/>
              <a:gd name="T13" fmla="*/ 156 h 158"/>
              <a:gd name="T14" fmla="*/ 3 w 171"/>
              <a:gd name="T15" fmla="*/ 152 h 158"/>
              <a:gd name="T16" fmla="*/ 3 w 171"/>
              <a:gd name="T17" fmla="*/ 140 h 158"/>
              <a:gd name="T18" fmla="*/ 75 w 171"/>
              <a:gd name="T19" fmla="*/ 7 h 158"/>
              <a:gd name="T20" fmla="*/ 80 w 171"/>
              <a:gd name="T21" fmla="*/ 2 h 158"/>
              <a:gd name="T22" fmla="*/ 86 w 171"/>
              <a:gd name="T23" fmla="*/ 0 h 158"/>
              <a:gd name="T24" fmla="*/ 92 w 171"/>
              <a:gd name="T25" fmla="*/ 2 h 158"/>
              <a:gd name="T26" fmla="*/ 96 w 171"/>
              <a:gd name="T27" fmla="*/ 7 h 158"/>
              <a:gd name="T28" fmla="*/ 98 w 171"/>
              <a:gd name="T29" fmla="*/ 95 h 158"/>
              <a:gd name="T30" fmla="*/ 99 w 171"/>
              <a:gd name="T31" fmla="*/ 51 h 158"/>
              <a:gd name="T32" fmla="*/ 99 w 171"/>
              <a:gd name="T33" fmla="*/ 50 h 158"/>
              <a:gd name="T34" fmla="*/ 96 w 171"/>
              <a:gd name="T35" fmla="*/ 49 h 158"/>
              <a:gd name="T36" fmla="*/ 75 w 171"/>
              <a:gd name="T37" fmla="*/ 49 h 158"/>
              <a:gd name="T38" fmla="*/ 73 w 171"/>
              <a:gd name="T39" fmla="*/ 50 h 158"/>
              <a:gd name="T40" fmla="*/ 72 w 171"/>
              <a:gd name="T41" fmla="*/ 52 h 158"/>
              <a:gd name="T42" fmla="*/ 74 w 171"/>
              <a:gd name="T43" fmla="*/ 95 h 158"/>
              <a:gd name="T44" fmla="*/ 75 w 171"/>
              <a:gd name="T45" fmla="*/ 96 h 158"/>
              <a:gd name="T46" fmla="*/ 77 w 171"/>
              <a:gd name="T47" fmla="*/ 97 h 158"/>
              <a:gd name="T48" fmla="*/ 95 w 171"/>
              <a:gd name="T49" fmla="*/ 97 h 158"/>
              <a:gd name="T50" fmla="*/ 97 w 171"/>
              <a:gd name="T51" fmla="*/ 96 h 158"/>
              <a:gd name="T52" fmla="*/ 98 w 171"/>
              <a:gd name="T53" fmla="*/ 95 h 158"/>
              <a:gd name="T54" fmla="*/ 98 w 171"/>
              <a:gd name="T55" fmla="*/ 130 h 158"/>
              <a:gd name="T56" fmla="*/ 98 w 171"/>
              <a:gd name="T57" fmla="*/ 112 h 158"/>
              <a:gd name="T58" fmla="*/ 97 w 171"/>
              <a:gd name="T59" fmla="*/ 110 h 158"/>
              <a:gd name="T60" fmla="*/ 95 w 171"/>
              <a:gd name="T61" fmla="*/ 109 h 158"/>
              <a:gd name="T62" fmla="*/ 77 w 171"/>
              <a:gd name="T63" fmla="*/ 109 h 158"/>
              <a:gd name="T64" fmla="*/ 75 w 171"/>
              <a:gd name="T65" fmla="*/ 110 h 158"/>
              <a:gd name="T66" fmla="*/ 74 w 171"/>
              <a:gd name="T67" fmla="*/ 112 h 158"/>
              <a:gd name="T68" fmla="*/ 74 w 171"/>
              <a:gd name="T69" fmla="*/ 130 h 158"/>
              <a:gd name="T70" fmla="*/ 75 w 171"/>
              <a:gd name="T71" fmla="*/ 132 h 158"/>
              <a:gd name="T72" fmla="*/ 77 w 171"/>
              <a:gd name="T73" fmla="*/ 133 h 158"/>
              <a:gd name="T74" fmla="*/ 95 w 171"/>
              <a:gd name="T75" fmla="*/ 133 h 158"/>
              <a:gd name="T76" fmla="*/ 97 w 171"/>
              <a:gd name="T77" fmla="*/ 132 h 158"/>
              <a:gd name="T78" fmla="*/ 98 w 171"/>
              <a:gd name="T79" fmla="*/ 13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1" h="158">
                <a:moveTo>
                  <a:pt x="96" y="7"/>
                </a:moveTo>
                <a:cubicBezTo>
                  <a:pt x="169" y="140"/>
                  <a:pt x="169" y="140"/>
                  <a:pt x="169" y="140"/>
                </a:cubicBezTo>
                <a:cubicBezTo>
                  <a:pt x="171" y="144"/>
                  <a:pt x="171" y="148"/>
                  <a:pt x="169" y="152"/>
                </a:cubicBezTo>
                <a:cubicBezTo>
                  <a:pt x="168" y="153"/>
                  <a:pt x="166" y="155"/>
                  <a:pt x="164" y="156"/>
                </a:cubicBezTo>
                <a:cubicBezTo>
                  <a:pt x="163" y="157"/>
                  <a:pt x="161" y="158"/>
                  <a:pt x="158" y="158"/>
                </a:cubicBezTo>
                <a:cubicBezTo>
                  <a:pt x="13" y="158"/>
                  <a:pt x="13" y="158"/>
                  <a:pt x="13" y="158"/>
                </a:cubicBezTo>
                <a:cubicBezTo>
                  <a:pt x="11" y="158"/>
                  <a:pt x="9" y="157"/>
                  <a:pt x="7" y="156"/>
                </a:cubicBezTo>
                <a:cubicBezTo>
                  <a:pt x="5" y="155"/>
                  <a:pt x="4" y="153"/>
                  <a:pt x="3" y="152"/>
                </a:cubicBezTo>
                <a:cubicBezTo>
                  <a:pt x="1" y="148"/>
                  <a:pt x="0" y="144"/>
                  <a:pt x="3" y="140"/>
                </a:cubicBezTo>
                <a:cubicBezTo>
                  <a:pt x="75" y="7"/>
                  <a:pt x="75" y="7"/>
                  <a:pt x="75" y="7"/>
                </a:cubicBezTo>
                <a:cubicBezTo>
                  <a:pt x="76" y="5"/>
                  <a:pt x="78" y="3"/>
                  <a:pt x="80" y="2"/>
                </a:cubicBezTo>
                <a:cubicBezTo>
                  <a:pt x="82" y="1"/>
                  <a:pt x="84" y="0"/>
                  <a:pt x="86" y="0"/>
                </a:cubicBezTo>
                <a:cubicBezTo>
                  <a:pt x="88" y="0"/>
                  <a:pt x="90" y="1"/>
                  <a:pt x="92" y="2"/>
                </a:cubicBezTo>
                <a:cubicBezTo>
                  <a:pt x="94" y="3"/>
                  <a:pt x="95" y="5"/>
                  <a:pt x="96" y="7"/>
                </a:cubicBezTo>
                <a:close/>
                <a:moveTo>
                  <a:pt x="98" y="95"/>
                </a:moveTo>
                <a:cubicBezTo>
                  <a:pt x="99" y="51"/>
                  <a:pt x="99" y="51"/>
                  <a:pt x="99" y="51"/>
                </a:cubicBezTo>
                <a:cubicBezTo>
                  <a:pt x="99" y="51"/>
                  <a:pt x="99" y="50"/>
                  <a:pt x="99" y="50"/>
                </a:cubicBezTo>
                <a:cubicBezTo>
                  <a:pt x="98" y="49"/>
                  <a:pt x="97" y="49"/>
                  <a:pt x="96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5" y="49"/>
                  <a:pt x="74" y="49"/>
                  <a:pt x="73" y="50"/>
                </a:cubicBezTo>
                <a:cubicBezTo>
                  <a:pt x="73" y="50"/>
                  <a:pt x="72" y="51"/>
                  <a:pt x="72" y="52"/>
                </a:cubicBezTo>
                <a:cubicBezTo>
                  <a:pt x="74" y="95"/>
                  <a:pt x="74" y="95"/>
                  <a:pt x="74" y="95"/>
                </a:cubicBezTo>
                <a:cubicBezTo>
                  <a:pt x="74" y="96"/>
                  <a:pt x="74" y="96"/>
                  <a:pt x="75" y="96"/>
                </a:cubicBezTo>
                <a:cubicBezTo>
                  <a:pt x="75" y="97"/>
                  <a:pt x="76" y="97"/>
                  <a:pt x="77" y="97"/>
                </a:cubicBezTo>
                <a:cubicBezTo>
                  <a:pt x="95" y="97"/>
                  <a:pt x="95" y="97"/>
                  <a:pt x="95" y="97"/>
                </a:cubicBezTo>
                <a:cubicBezTo>
                  <a:pt x="95" y="97"/>
                  <a:pt x="96" y="97"/>
                  <a:pt x="97" y="96"/>
                </a:cubicBezTo>
                <a:cubicBezTo>
                  <a:pt x="97" y="96"/>
                  <a:pt x="98" y="96"/>
                  <a:pt x="98" y="95"/>
                </a:cubicBezTo>
                <a:close/>
                <a:moveTo>
                  <a:pt x="98" y="130"/>
                </a:moveTo>
                <a:cubicBezTo>
                  <a:pt x="98" y="112"/>
                  <a:pt x="98" y="112"/>
                  <a:pt x="98" y="112"/>
                </a:cubicBezTo>
                <a:cubicBezTo>
                  <a:pt x="98" y="111"/>
                  <a:pt x="98" y="111"/>
                  <a:pt x="97" y="110"/>
                </a:cubicBezTo>
                <a:cubicBezTo>
                  <a:pt x="96" y="109"/>
                  <a:pt x="96" y="109"/>
                  <a:pt x="95" y="109"/>
                </a:cubicBezTo>
                <a:cubicBezTo>
                  <a:pt x="77" y="109"/>
                  <a:pt x="77" y="109"/>
                  <a:pt x="77" y="109"/>
                </a:cubicBezTo>
                <a:cubicBezTo>
                  <a:pt x="76" y="109"/>
                  <a:pt x="75" y="109"/>
                  <a:pt x="75" y="110"/>
                </a:cubicBezTo>
                <a:cubicBezTo>
                  <a:pt x="74" y="111"/>
                  <a:pt x="74" y="111"/>
                  <a:pt x="74" y="112"/>
                </a:cubicBezTo>
                <a:cubicBezTo>
                  <a:pt x="74" y="130"/>
                  <a:pt x="74" y="130"/>
                  <a:pt x="74" y="130"/>
                </a:cubicBezTo>
                <a:cubicBezTo>
                  <a:pt x="74" y="131"/>
                  <a:pt x="74" y="132"/>
                  <a:pt x="75" y="132"/>
                </a:cubicBezTo>
                <a:cubicBezTo>
                  <a:pt x="75" y="133"/>
                  <a:pt x="76" y="133"/>
                  <a:pt x="77" y="133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6" y="133"/>
                  <a:pt x="96" y="133"/>
                  <a:pt x="97" y="132"/>
                </a:cubicBezTo>
                <a:cubicBezTo>
                  <a:pt x="98" y="132"/>
                  <a:pt x="98" y="131"/>
                  <a:pt x="98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2" name="Freeform 112"/>
          <p:cNvSpPr>
            <a:spLocks noChangeAspect="1"/>
          </p:cNvSpPr>
          <p:nvPr/>
        </p:nvSpPr>
        <p:spPr bwMode="auto">
          <a:xfrm>
            <a:off x="6760940" y="2175379"/>
            <a:ext cx="137395" cy="137395"/>
          </a:xfrm>
          <a:custGeom>
            <a:avLst/>
            <a:gdLst>
              <a:gd name="T0" fmla="*/ 130 w 133"/>
              <a:gd name="T1" fmla="*/ 3 h 133"/>
              <a:gd name="T2" fmla="*/ 131 w 133"/>
              <a:gd name="T3" fmla="*/ 17 h 133"/>
              <a:gd name="T4" fmla="*/ 121 w 133"/>
              <a:gd name="T5" fmla="*/ 34 h 133"/>
              <a:gd name="T6" fmla="*/ 106 w 133"/>
              <a:gd name="T7" fmla="*/ 49 h 133"/>
              <a:gd name="T8" fmla="*/ 121 w 133"/>
              <a:gd name="T9" fmla="*/ 115 h 133"/>
              <a:gd name="T10" fmla="*/ 120 w 133"/>
              <a:gd name="T11" fmla="*/ 118 h 133"/>
              <a:gd name="T12" fmla="*/ 108 w 133"/>
              <a:gd name="T13" fmla="*/ 127 h 133"/>
              <a:gd name="T14" fmla="*/ 106 w 133"/>
              <a:gd name="T15" fmla="*/ 127 h 133"/>
              <a:gd name="T16" fmla="*/ 105 w 133"/>
              <a:gd name="T17" fmla="*/ 127 h 133"/>
              <a:gd name="T18" fmla="*/ 103 w 133"/>
              <a:gd name="T19" fmla="*/ 126 h 133"/>
              <a:gd name="T20" fmla="*/ 77 w 133"/>
              <a:gd name="T21" fmla="*/ 78 h 133"/>
              <a:gd name="T22" fmla="*/ 52 w 133"/>
              <a:gd name="T23" fmla="*/ 102 h 133"/>
              <a:gd name="T24" fmla="*/ 57 w 133"/>
              <a:gd name="T25" fmla="*/ 121 h 133"/>
              <a:gd name="T26" fmla="*/ 57 w 133"/>
              <a:gd name="T27" fmla="*/ 124 h 133"/>
              <a:gd name="T28" fmla="*/ 48 w 133"/>
              <a:gd name="T29" fmla="*/ 133 h 133"/>
              <a:gd name="T30" fmla="*/ 45 w 133"/>
              <a:gd name="T31" fmla="*/ 133 h 133"/>
              <a:gd name="T32" fmla="*/ 45 w 133"/>
              <a:gd name="T33" fmla="*/ 133 h 133"/>
              <a:gd name="T34" fmla="*/ 43 w 133"/>
              <a:gd name="T35" fmla="*/ 132 h 133"/>
              <a:gd name="T36" fmla="*/ 25 w 133"/>
              <a:gd name="T37" fmla="*/ 108 h 133"/>
              <a:gd name="T38" fmla="*/ 1 w 133"/>
              <a:gd name="T39" fmla="*/ 91 h 133"/>
              <a:gd name="T40" fmla="*/ 0 w 133"/>
              <a:gd name="T41" fmla="*/ 88 h 133"/>
              <a:gd name="T42" fmla="*/ 1 w 133"/>
              <a:gd name="T43" fmla="*/ 86 h 133"/>
              <a:gd name="T44" fmla="*/ 10 w 133"/>
              <a:gd name="T45" fmla="*/ 77 h 133"/>
              <a:gd name="T46" fmla="*/ 12 w 133"/>
              <a:gd name="T47" fmla="*/ 76 h 133"/>
              <a:gd name="T48" fmla="*/ 13 w 133"/>
              <a:gd name="T49" fmla="*/ 76 h 133"/>
              <a:gd name="T50" fmla="*/ 31 w 133"/>
              <a:gd name="T51" fmla="*/ 81 h 133"/>
              <a:gd name="T52" fmla="*/ 56 w 133"/>
              <a:gd name="T53" fmla="*/ 57 h 133"/>
              <a:gd name="T54" fmla="*/ 8 w 133"/>
              <a:gd name="T55" fmla="*/ 30 h 133"/>
              <a:gd name="T56" fmla="*/ 6 w 133"/>
              <a:gd name="T57" fmla="*/ 28 h 133"/>
              <a:gd name="T58" fmla="*/ 7 w 133"/>
              <a:gd name="T59" fmla="*/ 25 h 133"/>
              <a:gd name="T60" fmla="*/ 19 w 133"/>
              <a:gd name="T61" fmla="*/ 13 h 133"/>
              <a:gd name="T62" fmla="*/ 22 w 133"/>
              <a:gd name="T63" fmla="*/ 13 h 133"/>
              <a:gd name="T64" fmla="*/ 85 w 133"/>
              <a:gd name="T65" fmla="*/ 28 h 133"/>
              <a:gd name="T66" fmla="*/ 100 w 133"/>
              <a:gd name="T67" fmla="*/ 12 h 133"/>
              <a:gd name="T68" fmla="*/ 116 w 133"/>
              <a:gd name="T69" fmla="*/ 2 h 133"/>
              <a:gd name="T70" fmla="*/ 130 w 133"/>
              <a:gd name="T71" fmla="*/ 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33" h="133">
                <a:moveTo>
                  <a:pt x="130" y="3"/>
                </a:moveTo>
                <a:cubicBezTo>
                  <a:pt x="133" y="7"/>
                  <a:pt x="133" y="11"/>
                  <a:pt x="131" y="17"/>
                </a:cubicBezTo>
                <a:cubicBezTo>
                  <a:pt x="129" y="23"/>
                  <a:pt x="126" y="29"/>
                  <a:pt x="121" y="34"/>
                </a:cubicBezTo>
                <a:cubicBezTo>
                  <a:pt x="106" y="49"/>
                  <a:pt x="106" y="49"/>
                  <a:pt x="106" y="49"/>
                </a:cubicBezTo>
                <a:cubicBezTo>
                  <a:pt x="121" y="115"/>
                  <a:pt x="121" y="115"/>
                  <a:pt x="121" y="115"/>
                </a:cubicBezTo>
                <a:cubicBezTo>
                  <a:pt x="121" y="116"/>
                  <a:pt x="121" y="117"/>
                  <a:pt x="120" y="118"/>
                </a:cubicBezTo>
                <a:cubicBezTo>
                  <a:pt x="108" y="127"/>
                  <a:pt x="108" y="127"/>
                  <a:pt x="108" y="127"/>
                </a:cubicBezTo>
                <a:cubicBezTo>
                  <a:pt x="107" y="127"/>
                  <a:pt x="107" y="127"/>
                  <a:pt x="106" y="127"/>
                </a:cubicBezTo>
                <a:cubicBezTo>
                  <a:pt x="106" y="127"/>
                  <a:pt x="106" y="127"/>
                  <a:pt x="105" y="127"/>
                </a:cubicBezTo>
                <a:cubicBezTo>
                  <a:pt x="104" y="127"/>
                  <a:pt x="104" y="127"/>
                  <a:pt x="103" y="126"/>
                </a:cubicBezTo>
                <a:cubicBezTo>
                  <a:pt x="77" y="78"/>
                  <a:pt x="77" y="78"/>
                  <a:pt x="77" y="78"/>
                </a:cubicBezTo>
                <a:cubicBezTo>
                  <a:pt x="52" y="102"/>
                  <a:pt x="52" y="102"/>
                  <a:pt x="52" y="102"/>
                </a:cubicBezTo>
                <a:cubicBezTo>
                  <a:pt x="57" y="121"/>
                  <a:pt x="57" y="121"/>
                  <a:pt x="57" y="121"/>
                </a:cubicBezTo>
                <a:cubicBezTo>
                  <a:pt x="58" y="122"/>
                  <a:pt x="58" y="123"/>
                  <a:pt x="57" y="124"/>
                </a:cubicBezTo>
                <a:cubicBezTo>
                  <a:pt x="48" y="133"/>
                  <a:pt x="48" y="133"/>
                  <a:pt x="48" y="133"/>
                </a:cubicBezTo>
                <a:cubicBezTo>
                  <a:pt x="47" y="133"/>
                  <a:pt x="46" y="133"/>
                  <a:pt x="45" y="133"/>
                </a:cubicBezTo>
                <a:cubicBezTo>
                  <a:pt x="45" y="133"/>
                  <a:pt x="45" y="133"/>
                  <a:pt x="45" y="133"/>
                </a:cubicBezTo>
                <a:cubicBezTo>
                  <a:pt x="44" y="133"/>
                  <a:pt x="44" y="133"/>
                  <a:pt x="43" y="132"/>
                </a:cubicBezTo>
                <a:cubicBezTo>
                  <a:pt x="25" y="108"/>
                  <a:pt x="25" y="108"/>
                  <a:pt x="25" y="108"/>
                </a:cubicBezTo>
                <a:cubicBezTo>
                  <a:pt x="1" y="91"/>
                  <a:pt x="1" y="91"/>
                  <a:pt x="1" y="91"/>
                </a:cubicBezTo>
                <a:cubicBezTo>
                  <a:pt x="1" y="90"/>
                  <a:pt x="0" y="89"/>
                  <a:pt x="0" y="88"/>
                </a:cubicBezTo>
                <a:cubicBezTo>
                  <a:pt x="0" y="88"/>
                  <a:pt x="0" y="87"/>
                  <a:pt x="1" y="86"/>
                </a:cubicBezTo>
                <a:cubicBezTo>
                  <a:pt x="10" y="77"/>
                  <a:pt x="10" y="77"/>
                  <a:pt x="10" y="77"/>
                </a:cubicBezTo>
                <a:cubicBezTo>
                  <a:pt x="11" y="76"/>
                  <a:pt x="11" y="76"/>
                  <a:pt x="12" y="76"/>
                </a:cubicBezTo>
                <a:cubicBezTo>
                  <a:pt x="13" y="76"/>
                  <a:pt x="13" y="76"/>
                  <a:pt x="13" y="76"/>
                </a:cubicBezTo>
                <a:cubicBezTo>
                  <a:pt x="31" y="81"/>
                  <a:pt x="31" y="81"/>
                  <a:pt x="31" y="81"/>
                </a:cubicBezTo>
                <a:cubicBezTo>
                  <a:pt x="56" y="57"/>
                  <a:pt x="56" y="57"/>
                  <a:pt x="56" y="57"/>
                </a:cubicBezTo>
                <a:cubicBezTo>
                  <a:pt x="8" y="30"/>
                  <a:pt x="8" y="30"/>
                  <a:pt x="8" y="30"/>
                </a:cubicBezTo>
                <a:cubicBezTo>
                  <a:pt x="7" y="30"/>
                  <a:pt x="6" y="29"/>
                  <a:pt x="6" y="28"/>
                </a:cubicBezTo>
                <a:cubicBezTo>
                  <a:pt x="6" y="27"/>
                  <a:pt x="6" y="26"/>
                  <a:pt x="7" y="25"/>
                </a:cubicBezTo>
                <a:cubicBezTo>
                  <a:pt x="19" y="13"/>
                  <a:pt x="19" y="13"/>
                  <a:pt x="19" y="13"/>
                </a:cubicBezTo>
                <a:cubicBezTo>
                  <a:pt x="20" y="12"/>
                  <a:pt x="21" y="12"/>
                  <a:pt x="22" y="13"/>
                </a:cubicBezTo>
                <a:cubicBezTo>
                  <a:pt x="85" y="28"/>
                  <a:pt x="85" y="28"/>
                  <a:pt x="85" y="28"/>
                </a:cubicBezTo>
                <a:cubicBezTo>
                  <a:pt x="100" y="12"/>
                  <a:pt x="100" y="12"/>
                  <a:pt x="100" y="12"/>
                </a:cubicBezTo>
                <a:cubicBezTo>
                  <a:pt x="105" y="8"/>
                  <a:pt x="110" y="4"/>
                  <a:pt x="116" y="2"/>
                </a:cubicBezTo>
                <a:cubicBezTo>
                  <a:pt x="122" y="0"/>
                  <a:pt x="127" y="1"/>
                  <a:pt x="130" y="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3" name="Freeform 113"/>
          <p:cNvSpPr>
            <a:spLocks noChangeAspect="1" noEditPoints="1"/>
          </p:cNvSpPr>
          <p:nvPr/>
        </p:nvSpPr>
        <p:spPr bwMode="auto">
          <a:xfrm>
            <a:off x="6942051" y="2162889"/>
            <a:ext cx="162376" cy="176428"/>
          </a:xfrm>
          <a:custGeom>
            <a:avLst/>
            <a:gdLst>
              <a:gd name="T0" fmla="*/ 157 w 157"/>
              <a:gd name="T1" fmla="*/ 158 h 170"/>
              <a:gd name="T2" fmla="*/ 145 w 157"/>
              <a:gd name="T3" fmla="*/ 170 h 170"/>
              <a:gd name="T4" fmla="*/ 3 w 157"/>
              <a:gd name="T5" fmla="*/ 166 h 170"/>
              <a:gd name="T6" fmla="*/ 0 w 157"/>
              <a:gd name="T7" fmla="*/ 37 h 170"/>
              <a:gd name="T8" fmla="*/ 12 w 157"/>
              <a:gd name="T9" fmla="*/ 24 h 170"/>
              <a:gd name="T10" fmla="*/ 24 w 157"/>
              <a:gd name="T11" fmla="*/ 15 h 170"/>
              <a:gd name="T12" fmla="*/ 39 w 157"/>
              <a:gd name="T13" fmla="*/ 0 h 170"/>
              <a:gd name="T14" fmla="*/ 56 w 157"/>
              <a:gd name="T15" fmla="*/ 5 h 170"/>
              <a:gd name="T16" fmla="*/ 60 w 157"/>
              <a:gd name="T17" fmla="*/ 24 h 170"/>
              <a:gd name="T18" fmla="*/ 97 w 157"/>
              <a:gd name="T19" fmla="*/ 15 h 170"/>
              <a:gd name="T20" fmla="*/ 112 w 157"/>
              <a:gd name="T21" fmla="*/ 0 h 170"/>
              <a:gd name="T22" fmla="*/ 128 w 157"/>
              <a:gd name="T23" fmla="*/ 5 h 170"/>
              <a:gd name="T24" fmla="*/ 133 w 157"/>
              <a:gd name="T25" fmla="*/ 24 h 170"/>
              <a:gd name="T26" fmla="*/ 154 w 157"/>
              <a:gd name="T27" fmla="*/ 28 h 170"/>
              <a:gd name="T28" fmla="*/ 12 w 157"/>
              <a:gd name="T29" fmla="*/ 88 h 170"/>
              <a:gd name="T30" fmla="*/ 39 w 157"/>
              <a:gd name="T31" fmla="*/ 61 h 170"/>
              <a:gd name="T32" fmla="*/ 12 w 157"/>
              <a:gd name="T33" fmla="*/ 88 h 170"/>
              <a:gd name="T34" fmla="*/ 39 w 157"/>
              <a:gd name="T35" fmla="*/ 124 h 170"/>
              <a:gd name="T36" fmla="*/ 12 w 157"/>
              <a:gd name="T37" fmla="*/ 94 h 170"/>
              <a:gd name="T38" fmla="*/ 12 w 157"/>
              <a:gd name="T39" fmla="*/ 158 h 170"/>
              <a:gd name="T40" fmla="*/ 39 w 157"/>
              <a:gd name="T41" fmla="*/ 130 h 170"/>
              <a:gd name="T42" fmla="*/ 12 w 157"/>
              <a:gd name="T43" fmla="*/ 158 h 170"/>
              <a:gd name="T44" fmla="*/ 48 w 157"/>
              <a:gd name="T45" fmla="*/ 15 h 170"/>
              <a:gd name="T46" fmla="*/ 45 w 157"/>
              <a:gd name="T47" fmla="*/ 12 h 170"/>
              <a:gd name="T48" fmla="*/ 37 w 157"/>
              <a:gd name="T49" fmla="*/ 13 h 170"/>
              <a:gd name="T50" fmla="*/ 36 w 157"/>
              <a:gd name="T51" fmla="*/ 43 h 170"/>
              <a:gd name="T52" fmla="*/ 39 w 157"/>
              <a:gd name="T53" fmla="*/ 46 h 170"/>
              <a:gd name="T54" fmla="*/ 47 w 157"/>
              <a:gd name="T55" fmla="*/ 45 h 170"/>
              <a:gd name="T56" fmla="*/ 45 w 157"/>
              <a:gd name="T57" fmla="*/ 88 h 170"/>
              <a:gd name="T58" fmla="*/ 75 w 157"/>
              <a:gd name="T59" fmla="*/ 61 h 170"/>
              <a:gd name="T60" fmla="*/ 45 w 157"/>
              <a:gd name="T61" fmla="*/ 88 h 170"/>
              <a:gd name="T62" fmla="*/ 75 w 157"/>
              <a:gd name="T63" fmla="*/ 124 h 170"/>
              <a:gd name="T64" fmla="*/ 45 w 157"/>
              <a:gd name="T65" fmla="*/ 94 h 170"/>
              <a:gd name="T66" fmla="*/ 45 w 157"/>
              <a:gd name="T67" fmla="*/ 158 h 170"/>
              <a:gd name="T68" fmla="*/ 75 w 157"/>
              <a:gd name="T69" fmla="*/ 130 h 170"/>
              <a:gd name="T70" fmla="*/ 45 w 157"/>
              <a:gd name="T71" fmla="*/ 158 h 170"/>
              <a:gd name="T72" fmla="*/ 112 w 157"/>
              <a:gd name="T73" fmla="*/ 88 h 170"/>
              <a:gd name="T74" fmla="*/ 81 w 157"/>
              <a:gd name="T75" fmla="*/ 61 h 170"/>
              <a:gd name="T76" fmla="*/ 81 w 157"/>
              <a:gd name="T77" fmla="*/ 124 h 170"/>
              <a:gd name="T78" fmla="*/ 112 w 157"/>
              <a:gd name="T79" fmla="*/ 94 h 170"/>
              <a:gd name="T80" fmla="*/ 81 w 157"/>
              <a:gd name="T81" fmla="*/ 124 h 170"/>
              <a:gd name="T82" fmla="*/ 112 w 157"/>
              <a:gd name="T83" fmla="*/ 158 h 170"/>
              <a:gd name="T84" fmla="*/ 81 w 157"/>
              <a:gd name="T85" fmla="*/ 130 h 170"/>
              <a:gd name="T86" fmla="*/ 121 w 157"/>
              <a:gd name="T87" fmla="*/ 43 h 170"/>
              <a:gd name="T88" fmla="*/ 120 w 157"/>
              <a:gd name="T89" fmla="*/ 13 h 170"/>
              <a:gd name="T90" fmla="*/ 112 w 157"/>
              <a:gd name="T91" fmla="*/ 12 h 170"/>
              <a:gd name="T92" fmla="*/ 109 w 157"/>
              <a:gd name="T93" fmla="*/ 15 h 170"/>
              <a:gd name="T94" fmla="*/ 110 w 157"/>
              <a:gd name="T95" fmla="*/ 45 h 170"/>
              <a:gd name="T96" fmla="*/ 118 w 157"/>
              <a:gd name="T97" fmla="*/ 46 h 170"/>
              <a:gd name="T98" fmla="*/ 121 w 157"/>
              <a:gd name="T99" fmla="*/ 43 h 170"/>
              <a:gd name="T100" fmla="*/ 145 w 157"/>
              <a:gd name="T101" fmla="*/ 88 h 170"/>
              <a:gd name="T102" fmla="*/ 118 w 157"/>
              <a:gd name="T103" fmla="*/ 61 h 170"/>
              <a:gd name="T104" fmla="*/ 118 w 157"/>
              <a:gd name="T105" fmla="*/ 124 h 170"/>
              <a:gd name="T106" fmla="*/ 145 w 157"/>
              <a:gd name="T107" fmla="*/ 94 h 170"/>
              <a:gd name="T108" fmla="*/ 118 w 157"/>
              <a:gd name="T109" fmla="*/ 124 h 170"/>
              <a:gd name="T110" fmla="*/ 145 w 157"/>
              <a:gd name="T111" fmla="*/ 158 h 170"/>
              <a:gd name="T112" fmla="*/ 118 w 157"/>
              <a:gd name="T113" fmla="*/ 1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" h="170">
                <a:moveTo>
                  <a:pt x="157" y="37"/>
                </a:moveTo>
                <a:cubicBezTo>
                  <a:pt x="157" y="158"/>
                  <a:pt x="157" y="158"/>
                  <a:pt x="157" y="158"/>
                </a:cubicBezTo>
                <a:cubicBezTo>
                  <a:pt x="157" y="161"/>
                  <a:pt x="156" y="164"/>
                  <a:pt x="154" y="166"/>
                </a:cubicBezTo>
                <a:cubicBezTo>
                  <a:pt x="151" y="168"/>
                  <a:pt x="148" y="170"/>
                  <a:pt x="145" y="170"/>
                </a:cubicBezTo>
                <a:cubicBezTo>
                  <a:pt x="12" y="170"/>
                  <a:pt x="12" y="170"/>
                  <a:pt x="12" y="170"/>
                </a:cubicBezTo>
                <a:cubicBezTo>
                  <a:pt x="9" y="170"/>
                  <a:pt x="6" y="168"/>
                  <a:pt x="3" y="166"/>
                </a:cubicBezTo>
                <a:cubicBezTo>
                  <a:pt x="1" y="164"/>
                  <a:pt x="0" y="161"/>
                  <a:pt x="0" y="15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3"/>
                  <a:pt x="1" y="30"/>
                  <a:pt x="3" y="28"/>
                </a:cubicBezTo>
                <a:cubicBezTo>
                  <a:pt x="6" y="26"/>
                  <a:pt x="9" y="24"/>
                  <a:pt x="12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15"/>
                  <a:pt x="24" y="15"/>
                  <a:pt x="24" y="15"/>
                </a:cubicBezTo>
                <a:cubicBezTo>
                  <a:pt x="24" y="11"/>
                  <a:pt x="25" y="8"/>
                  <a:pt x="28" y="5"/>
                </a:cubicBezTo>
                <a:cubicBezTo>
                  <a:pt x="31" y="2"/>
                  <a:pt x="35" y="0"/>
                  <a:pt x="3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3" y="2"/>
                  <a:pt x="56" y="5"/>
                </a:cubicBezTo>
                <a:cubicBezTo>
                  <a:pt x="59" y="8"/>
                  <a:pt x="60" y="11"/>
                  <a:pt x="60" y="15"/>
                </a:cubicBezTo>
                <a:cubicBezTo>
                  <a:pt x="60" y="24"/>
                  <a:pt x="60" y="24"/>
                  <a:pt x="60" y="24"/>
                </a:cubicBezTo>
                <a:cubicBezTo>
                  <a:pt x="97" y="24"/>
                  <a:pt x="97" y="24"/>
                  <a:pt x="97" y="24"/>
                </a:cubicBezTo>
                <a:cubicBezTo>
                  <a:pt x="97" y="15"/>
                  <a:pt x="97" y="15"/>
                  <a:pt x="97" y="15"/>
                </a:cubicBezTo>
                <a:cubicBezTo>
                  <a:pt x="97" y="11"/>
                  <a:pt x="98" y="8"/>
                  <a:pt x="101" y="5"/>
                </a:cubicBezTo>
                <a:cubicBezTo>
                  <a:pt x="104" y="2"/>
                  <a:pt x="108" y="0"/>
                  <a:pt x="112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2" y="0"/>
                  <a:pt x="125" y="2"/>
                  <a:pt x="128" y="5"/>
                </a:cubicBezTo>
                <a:cubicBezTo>
                  <a:pt x="131" y="8"/>
                  <a:pt x="133" y="11"/>
                  <a:pt x="133" y="15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145" y="24"/>
                  <a:pt x="145" y="24"/>
                  <a:pt x="145" y="24"/>
                </a:cubicBezTo>
                <a:cubicBezTo>
                  <a:pt x="148" y="24"/>
                  <a:pt x="151" y="26"/>
                  <a:pt x="154" y="28"/>
                </a:cubicBezTo>
                <a:cubicBezTo>
                  <a:pt x="156" y="30"/>
                  <a:pt x="157" y="33"/>
                  <a:pt x="157" y="37"/>
                </a:cubicBezTo>
                <a:close/>
                <a:moveTo>
                  <a:pt x="12" y="88"/>
                </a:moveTo>
                <a:cubicBezTo>
                  <a:pt x="39" y="88"/>
                  <a:pt x="39" y="88"/>
                  <a:pt x="39" y="88"/>
                </a:cubicBezTo>
                <a:cubicBezTo>
                  <a:pt x="39" y="61"/>
                  <a:pt x="39" y="61"/>
                  <a:pt x="39" y="61"/>
                </a:cubicBezTo>
                <a:cubicBezTo>
                  <a:pt x="12" y="61"/>
                  <a:pt x="12" y="61"/>
                  <a:pt x="12" y="61"/>
                </a:cubicBezTo>
                <a:lnTo>
                  <a:pt x="12" y="88"/>
                </a:lnTo>
                <a:close/>
                <a:moveTo>
                  <a:pt x="12" y="124"/>
                </a:moveTo>
                <a:cubicBezTo>
                  <a:pt x="39" y="124"/>
                  <a:pt x="39" y="124"/>
                  <a:pt x="39" y="124"/>
                </a:cubicBezTo>
                <a:cubicBezTo>
                  <a:pt x="39" y="94"/>
                  <a:pt x="39" y="94"/>
                  <a:pt x="39" y="94"/>
                </a:cubicBezTo>
                <a:cubicBezTo>
                  <a:pt x="12" y="94"/>
                  <a:pt x="12" y="94"/>
                  <a:pt x="12" y="94"/>
                </a:cubicBezTo>
                <a:lnTo>
                  <a:pt x="12" y="124"/>
                </a:lnTo>
                <a:close/>
                <a:moveTo>
                  <a:pt x="12" y="158"/>
                </a:moveTo>
                <a:cubicBezTo>
                  <a:pt x="39" y="158"/>
                  <a:pt x="39" y="158"/>
                  <a:pt x="39" y="158"/>
                </a:cubicBezTo>
                <a:cubicBezTo>
                  <a:pt x="39" y="130"/>
                  <a:pt x="39" y="130"/>
                  <a:pt x="39" y="130"/>
                </a:cubicBezTo>
                <a:cubicBezTo>
                  <a:pt x="12" y="130"/>
                  <a:pt x="12" y="130"/>
                  <a:pt x="12" y="130"/>
                </a:cubicBezTo>
                <a:lnTo>
                  <a:pt x="12" y="158"/>
                </a:lnTo>
                <a:close/>
                <a:moveTo>
                  <a:pt x="48" y="43"/>
                </a:moveTo>
                <a:cubicBezTo>
                  <a:pt x="48" y="15"/>
                  <a:pt x="48" y="15"/>
                  <a:pt x="48" y="15"/>
                </a:cubicBezTo>
                <a:cubicBezTo>
                  <a:pt x="48" y="15"/>
                  <a:pt x="48" y="14"/>
                  <a:pt x="47" y="13"/>
                </a:cubicBezTo>
                <a:cubicBezTo>
                  <a:pt x="47" y="13"/>
                  <a:pt x="46" y="12"/>
                  <a:pt x="45" y="12"/>
                </a:cubicBezTo>
                <a:cubicBezTo>
                  <a:pt x="39" y="12"/>
                  <a:pt x="39" y="12"/>
                  <a:pt x="39" y="12"/>
                </a:cubicBezTo>
                <a:cubicBezTo>
                  <a:pt x="38" y="12"/>
                  <a:pt x="38" y="13"/>
                  <a:pt x="37" y="13"/>
                </a:cubicBezTo>
                <a:cubicBezTo>
                  <a:pt x="36" y="14"/>
                  <a:pt x="36" y="15"/>
                  <a:pt x="36" y="15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6" y="44"/>
                  <a:pt x="37" y="45"/>
                </a:cubicBezTo>
                <a:cubicBezTo>
                  <a:pt x="38" y="45"/>
                  <a:pt x="38" y="46"/>
                  <a:pt x="39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6" y="46"/>
                  <a:pt x="47" y="45"/>
                  <a:pt x="47" y="45"/>
                </a:cubicBezTo>
                <a:cubicBezTo>
                  <a:pt x="48" y="44"/>
                  <a:pt x="48" y="43"/>
                  <a:pt x="48" y="43"/>
                </a:cubicBezTo>
                <a:close/>
                <a:moveTo>
                  <a:pt x="45" y="88"/>
                </a:moveTo>
                <a:cubicBezTo>
                  <a:pt x="75" y="88"/>
                  <a:pt x="75" y="88"/>
                  <a:pt x="75" y="88"/>
                </a:cubicBezTo>
                <a:cubicBezTo>
                  <a:pt x="75" y="61"/>
                  <a:pt x="75" y="61"/>
                  <a:pt x="75" y="61"/>
                </a:cubicBezTo>
                <a:cubicBezTo>
                  <a:pt x="45" y="61"/>
                  <a:pt x="45" y="61"/>
                  <a:pt x="45" y="61"/>
                </a:cubicBezTo>
                <a:lnTo>
                  <a:pt x="45" y="88"/>
                </a:lnTo>
                <a:close/>
                <a:moveTo>
                  <a:pt x="45" y="124"/>
                </a:moveTo>
                <a:cubicBezTo>
                  <a:pt x="75" y="124"/>
                  <a:pt x="75" y="124"/>
                  <a:pt x="75" y="124"/>
                </a:cubicBezTo>
                <a:cubicBezTo>
                  <a:pt x="75" y="94"/>
                  <a:pt x="75" y="94"/>
                  <a:pt x="75" y="94"/>
                </a:cubicBezTo>
                <a:cubicBezTo>
                  <a:pt x="45" y="94"/>
                  <a:pt x="45" y="94"/>
                  <a:pt x="45" y="94"/>
                </a:cubicBezTo>
                <a:lnTo>
                  <a:pt x="45" y="124"/>
                </a:lnTo>
                <a:close/>
                <a:moveTo>
                  <a:pt x="45" y="158"/>
                </a:moveTo>
                <a:cubicBezTo>
                  <a:pt x="75" y="158"/>
                  <a:pt x="75" y="158"/>
                  <a:pt x="75" y="158"/>
                </a:cubicBezTo>
                <a:cubicBezTo>
                  <a:pt x="75" y="130"/>
                  <a:pt x="75" y="130"/>
                  <a:pt x="75" y="130"/>
                </a:cubicBezTo>
                <a:cubicBezTo>
                  <a:pt x="45" y="130"/>
                  <a:pt x="45" y="130"/>
                  <a:pt x="45" y="130"/>
                </a:cubicBezTo>
                <a:lnTo>
                  <a:pt x="45" y="158"/>
                </a:lnTo>
                <a:close/>
                <a:moveTo>
                  <a:pt x="81" y="88"/>
                </a:moveTo>
                <a:cubicBezTo>
                  <a:pt x="112" y="88"/>
                  <a:pt x="112" y="88"/>
                  <a:pt x="112" y="88"/>
                </a:cubicBezTo>
                <a:cubicBezTo>
                  <a:pt x="112" y="61"/>
                  <a:pt x="112" y="61"/>
                  <a:pt x="112" y="61"/>
                </a:cubicBezTo>
                <a:cubicBezTo>
                  <a:pt x="81" y="61"/>
                  <a:pt x="81" y="61"/>
                  <a:pt x="81" y="61"/>
                </a:cubicBezTo>
                <a:lnTo>
                  <a:pt x="81" y="88"/>
                </a:lnTo>
                <a:close/>
                <a:moveTo>
                  <a:pt x="81" y="124"/>
                </a:moveTo>
                <a:cubicBezTo>
                  <a:pt x="112" y="124"/>
                  <a:pt x="112" y="124"/>
                  <a:pt x="112" y="124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81" y="94"/>
                  <a:pt x="81" y="94"/>
                  <a:pt x="81" y="94"/>
                </a:cubicBezTo>
                <a:lnTo>
                  <a:pt x="81" y="124"/>
                </a:lnTo>
                <a:close/>
                <a:moveTo>
                  <a:pt x="81" y="158"/>
                </a:moveTo>
                <a:cubicBezTo>
                  <a:pt x="112" y="158"/>
                  <a:pt x="112" y="158"/>
                  <a:pt x="112" y="158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81" y="130"/>
                  <a:pt x="81" y="130"/>
                  <a:pt x="81" y="130"/>
                </a:cubicBezTo>
                <a:lnTo>
                  <a:pt x="81" y="158"/>
                </a:lnTo>
                <a:close/>
                <a:moveTo>
                  <a:pt x="121" y="43"/>
                </a:moveTo>
                <a:cubicBezTo>
                  <a:pt x="121" y="15"/>
                  <a:pt x="121" y="15"/>
                  <a:pt x="121" y="15"/>
                </a:cubicBezTo>
                <a:cubicBezTo>
                  <a:pt x="121" y="15"/>
                  <a:pt x="120" y="14"/>
                  <a:pt x="120" y="13"/>
                </a:cubicBezTo>
                <a:cubicBezTo>
                  <a:pt x="119" y="13"/>
                  <a:pt x="119" y="12"/>
                  <a:pt x="118" y="12"/>
                </a:cubicBezTo>
                <a:cubicBezTo>
                  <a:pt x="112" y="12"/>
                  <a:pt x="112" y="12"/>
                  <a:pt x="112" y="12"/>
                </a:cubicBezTo>
                <a:cubicBezTo>
                  <a:pt x="111" y="12"/>
                  <a:pt x="110" y="13"/>
                  <a:pt x="110" y="13"/>
                </a:cubicBezTo>
                <a:cubicBezTo>
                  <a:pt x="109" y="14"/>
                  <a:pt x="109" y="15"/>
                  <a:pt x="109" y="15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09" y="43"/>
                  <a:pt x="109" y="44"/>
                  <a:pt x="110" y="45"/>
                </a:cubicBezTo>
                <a:cubicBezTo>
                  <a:pt x="110" y="45"/>
                  <a:pt x="111" y="46"/>
                  <a:pt x="112" y="46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9" y="46"/>
                  <a:pt x="119" y="45"/>
                  <a:pt x="120" y="45"/>
                </a:cubicBezTo>
                <a:cubicBezTo>
                  <a:pt x="120" y="44"/>
                  <a:pt x="121" y="43"/>
                  <a:pt x="121" y="43"/>
                </a:cubicBezTo>
                <a:close/>
                <a:moveTo>
                  <a:pt x="118" y="88"/>
                </a:moveTo>
                <a:cubicBezTo>
                  <a:pt x="145" y="88"/>
                  <a:pt x="145" y="88"/>
                  <a:pt x="145" y="88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18" y="61"/>
                  <a:pt x="118" y="61"/>
                  <a:pt x="118" y="61"/>
                </a:cubicBezTo>
                <a:lnTo>
                  <a:pt x="118" y="88"/>
                </a:lnTo>
                <a:close/>
                <a:moveTo>
                  <a:pt x="118" y="124"/>
                </a:moveTo>
                <a:cubicBezTo>
                  <a:pt x="145" y="124"/>
                  <a:pt x="145" y="124"/>
                  <a:pt x="145" y="124"/>
                </a:cubicBezTo>
                <a:cubicBezTo>
                  <a:pt x="145" y="94"/>
                  <a:pt x="145" y="94"/>
                  <a:pt x="145" y="94"/>
                </a:cubicBezTo>
                <a:cubicBezTo>
                  <a:pt x="118" y="94"/>
                  <a:pt x="118" y="94"/>
                  <a:pt x="118" y="94"/>
                </a:cubicBezTo>
                <a:lnTo>
                  <a:pt x="118" y="124"/>
                </a:lnTo>
                <a:close/>
                <a:moveTo>
                  <a:pt x="118" y="158"/>
                </a:moveTo>
                <a:cubicBezTo>
                  <a:pt x="145" y="158"/>
                  <a:pt x="145" y="158"/>
                  <a:pt x="145" y="158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18" y="130"/>
                  <a:pt x="118" y="130"/>
                  <a:pt x="118" y="130"/>
                </a:cubicBezTo>
                <a:lnTo>
                  <a:pt x="118" y="1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4" name="Freeform 114"/>
          <p:cNvSpPr>
            <a:spLocks noChangeAspect="1" noEditPoints="1"/>
          </p:cNvSpPr>
          <p:nvPr/>
        </p:nvSpPr>
        <p:spPr bwMode="auto">
          <a:xfrm>
            <a:off x="7148144" y="2166011"/>
            <a:ext cx="174866" cy="157692"/>
          </a:xfrm>
          <a:custGeom>
            <a:avLst/>
            <a:gdLst>
              <a:gd name="T0" fmla="*/ 168 w 169"/>
              <a:gd name="T1" fmla="*/ 36 h 152"/>
              <a:gd name="T2" fmla="*/ 136 w 169"/>
              <a:gd name="T3" fmla="*/ 67 h 152"/>
              <a:gd name="T4" fmla="*/ 133 w 169"/>
              <a:gd name="T5" fmla="*/ 64 h 152"/>
              <a:gd name="T6" fmla="*/ 109 w 169"/>
              <a:gd name="T7" fmla="*/ 46 h 152"/>
              <a:gd name="T8" fmla="*/ 94 w 169"/>
              <a:gd name="T9" fmla="*/ 51 h 152"/>
              <a:gd name="T10" fmla="*/ 85 w 169"/>
              <a:gd name="T11" fmla="*/ 64 h 152"/>
              <a:gd name="T12" fmla="*/ 73 w 169"/>
              <a:gd name="T13" fmla="*/ 91 h 152"/>
              <a:gd name="T14" fmla="*/ 62 w 169"/>
              <a:gd name="T15" fmla="*/ 111 h 152"/>
              <a:gd name="T16" fmla="*/ 46 w 169"/>
              <a:gd name="T17" fmla="*/ 125 h 152"/>
              <a:gd name="T18" fmla="*/ 24 w 169"/>
              <a:gd name="T19" fmla="*/ 130 h 152"/>
              <a:gd name="T20" fmla="*/ 0 w 169"/>
              <a:gd name="T21" fmla="*/ 130 h 152"/>
              <a:gd name="T22" fmla="*/ 0 w 169"/>
              <a:gd name="T23" fmla="*/ 109 h 152"/>
              <a:gd name="T24" fmla="*/ 3 w 169"/>
              <a:gd name="T25" fmla="*/ 106 h 152"/>
              <a:gd name="T26" fmla="*/ 32 w 169"/>
              <a:gd name="T27" fmla="*/ 105 h 152"/>
              <a:gd name="T28" fmla="*/ 43 w 169"/>
              <a:gd name="T29" fmla="*/ 95 h 152"/>
              <a:gd name="T30" fmla="*/ 55 w 169"/>
              <a:gd name="T31" fmla="*/ 71 h 152"/>
              <a:gd name="T32" fmla="*/ 65 w 169"/>
              <a:gd name="T33" fmla="*/ 51 h 152"/>
              <a:gd name="T34" fmla="*/ 78 w 169"/>
              <a:gd name="T35" fmla="*/ 33 h 152"/>
              <a:gd name="T36" fmla="*/ 96 w 169"/>
              <a:gd name="T37" fmla="*/ 23 h 152"/>
              <a:gd name="T38" fmla="*/ 133 w 169"/>
              <a:gd name="T39" fmla="*/ 21 h 152"/>
              <a:gd name="T40" fmla="*/ 134 w 169"/>
              <a:gd name="T41" fmla="*/ 1 h 152"/>
              <a:gd name="T42" fmla="*/ 138 w 169"/>
              <a:gd name="T43" fmla="*/ 1 h 152"/>
              <a:gd name="T44" fmla="*/ 169 w 169"/>
              <a:gd name="T45" fmla="*/ 34 h 152"/>
              <a:gd name="T46" fmla="*/ 50 w 169"/>
              <a:gd name="T47" fmla="*/ 69 h 152"/>
              <a:gd name="T48" fmla="*/ 42 w 169"/>
              <a:gd name="T49" fmla="*/ 56 h 152"/>
              <a:gd name="T50" fmla="*/ 32 w 169"/>
              <a:gd name="T51" fmla="*/ 47 h 152"/>
              <a:gd name="T52" fmla="*/ 3 w 169"/>
              <a:gd name="T53" fmla="*/ 46 h 152"/>
              <a:gd name="T54" fmla="*/ 0 w 169"/>
              <a:gd name="T55" fmla="*/ 43 h 152"/>
              <a:gd name="T56" fmla="*/ 0 w 169"/>
              <a:gd name="T57" fmla="*/ 22 h 152"/>
              <a:gd name="T58" fmla="*/ 24 w 169"/>
              <a:gd name="T59" fmla="*/ 21 h 152"/>
              <a:gd name="T60" fmla="*/ 169 w 169"/>
              <a:gd name="T61" fmla="*/ 118 h 152"/>
              <a:gd name="T62" fmla="*/ 138 w 169"/>
              <a:gd name="T63" fmla="*/ 151 h 152"/>
              <a:gd name="T64" fmla="*/ 134 w 169"/>
              <a:gd name="T65" fmla="*/ 151 h 152"/>
              <a:gd name="T66" fmla="*/ 133 w 169"/>
              <a:gd name="T67" fmla="*/ 130 h 152"/>
              <a:gd name="T68" fmla="*/ 117 w 169"/>
              <a:gd name="T69" fmla="*/ 131 h 152"/>
              <a:gd name="T70" fmla="*/ 103 w 169"/>
              <a:gd name="T71" fmla="*/ 130 h 152"/>
              <a:gd name="T72" fmla="*/ 91 w 169"/>
              <a:gd name="T73" fmla="*/ 127 h 152"/>
              <a:gd name="T74" fmla="*/ 80 w 169"/>
              <a:gd name="T75" fmla="*/ 121 h 152"/>
              <a:gd name="T76" fmla="*/ 70 w 169"/>
              <a:gd name="T77" fmla="*/ 109 h 152"/>
              <a:gd name="T78" fmla="*/ 86 w 169"/>
              <a:gd name="T79" fmla="*/ 90 h 152"/>
              <a:gd name="T80" fmla="*/ 95 w 169"/>
              <a:gd name="T81" fmla="*/ 101 h 152"/>
              <a:gd name="T82" fmla="*/ 109 w 169"/>
              <a:gd name="T83" fmla="*/ 106 h 152"/>
              <a:gd name="T84" fmla="*/ 133 w 169"/>
              <a:gd name="T85" fmla="*/ 88 h 152"/>
              <a:gd name="T86" fmla="*/ 136 w 169"/>
              <a:gd name="T87" fmla="*/ 85 h 152"/>
              <a:gd name="T88" fmla="*/ 168 w 169"/>
              <a:gd name="T89" fmla="*/ 116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9" h="152">
                <a:moveTo>
                  <a:pt x="169" y="34"/>
                </a:moveTo>
                <a:cubicBezTo>
                  <a:pt x="169" y="34"/>
                  <a:pt x="169" y="35"/>
                  <a:pt x="168" y="36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37" y="67"/>
                  <a:pt x="137" y="67"/>
                  <a:pt x="136" y="67"/>
                </a:cubicBezTo>
                <a:cubicBezTo>
                  <a:pt x="135" y="67"/>
                  <a:pt x="134" y="67"/>
                  <a:pt x="134" y="66"/>
                </a:cubicBezTo>
                <a:cubicBezTo>
                  <a:pt x="133" y="65"/>
                  <a:pt x="133" y="65"/>
                  <a:pt x="133" y="64"/>
                </a:cubicBezTo>
                <a:cubicBezTo>
                  <a:pt x="133" y="46"/>
                  <a:pt x="133" y="46"/>
                  <a:pt x="133" y="46"/>
                </a:cubicBezTo>
                <a:cubicBezTo>
                  <a:pt x="109" y="46"/>
                  <a:pt x="109" y="46"/>
                  <a:pt x="109" y="46"/>
                </a:cubicBezTo>
                <a:cubicBezTo>
                  <a:pt x="106" y="46"/>
                  <a:pt x="103" y="46"/>
                  <a:pt x="100" y="47"/>
                </a:cubicBezTo>
                <a:cubicBezTo>
                  <a:pt x="98" y="48"/>
                  <a:pt x="96" y="49"/>
                  <a:pt x="94" y="51"/>
                </a:cubicBezTo>
                <a:cubicBezTo>
                  <a:pt x="92" y="53"/>
                  <a:pt x="90" y="55"/>
                  <a:pt x="89" y="57"/>
                </a:cubicBezTo>
                <a:cubicBezTo>
                  <a:pt x="88" y="59"/>
                  <a:pt x="86" y="62"/>
                  <a:pt x="85" y="64"/>
                </a:cubicBezTo>
                <a:cubicBezTo>
                  <a:pt x="83" y="68"/>
                  <a:pt x="80" y="74"/>
                  <a:pt x="77" y="81"/>
                </a:cubicBezTo>
                <a:cubicBezTo>
                  <a:pt x="76" y="85"/>
                  <a:pt x="74" y="88"/>
                  <a:pt x="73" y="91"/>
                </a:cubicBezTo>
                <a:cubicBezTo>
                  <a:pt x="71" y="94"/>
                  <a:pt x="70" y="97"/>
                  <a:pt x="68" y="101"/>
                </a:cubicBezTo>
                <a:cubicBezTo>
                  <a:pt x="65" y="105"/>
                  <a:pt x="63" y="108"/>
                  <a:pt x="62" y="111"/>
                </a:cubicBezTo>
                <a:cubicBezTo>
                  <a:pt x="60" y="113"/>
                  <a:pt x="57" y="116"/>
                  <a:pt x="55" y="118"/>
                </a:cubicBezTo>
                <a:cubicBezTo>
                  <a:pt x="52" y="121"/>
                  <a:pt x="49" y="123"/>
                  <a:pt x="46" y="125"/>
                </a:cubicBezTo>
                <a:cubicBezTo>
                  <a:pt x="43" y="126"/>
                  <a:pt x="40" y="128"/>
                  <a:pt x="36" y="129"/>
                </a:cubicBezTo>
                <a:cubicBezTo>
                  <a:pt x="32" y="130"/>
                  <a:pt x="28" y="130"/>
                  <a:pt x="24" y="130"/>
                </a:cubicBezTo>
                <a:cubicBezTo>
                  <a:pt x="3" y="130"/>
                  <a:pt x="3" y="130"/>
                  <a:pt x="3" y="130"/>
                </a:cubicBezTo>
                <a:cubicBezTo>
                  <a:pt x="2" y="130"/>
                  <a:pt x="1" y="130"/>
                  <a:pt x="0" y="130"/>
                </a:cubicBezTo>
                <a:cubicBezTo>
                  <a:pt x="0" y="129"/>
                  <a:pt x="0" y="128"/>
                  <a:pt x="0" y="127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108"/>
                  <a:pt x="0" y="108"/>
                  <a:pt x="0" y="107"/>
                </a:cubicBezTo>
                <a:cubicBezTo>
                  <a:pt x="1" y="106"/>
                  <a:pt x="2" y="106"/>
                  <a:pt x="3" y="106"/>
                </a:cubicBezTo>
                <a:cubicBezTo>
                  <a:pt x="24" y="106"/>
                  <a:pt x="24" y="106"/>
                  <a:pt x="24" y="106"/>
                </a:cubicBezTo>
                <a:cubicBezTo>
                  <a:pt x="27" y="106"/>
                  <a:pt x="30" y="106"/>
                  <a:pt x="32" y="105"/>
                </a:cubicBezTo>
                <a:cubicBezTo>
                  <a:pt x="35" y="104"/>
                  <a:pt x="37" y="102"/>
                  <a:pt x="39" y="100"/>
                </a:cubicBezTo>
                <a:cubicBezTo>
                  <a:pt x="40" y="99"/>
                  <a:pt x="42" y="97"/>
                  <a:pt x="43" y="95"/>
                </a:cubicBezTo>
                <a:cubicBezTo>
                  <a:pt x="45" y="93"/>
                  <a:pt x="46" y="90"/>
                  <a:pt x="48" y="87"/>
                </a:cubicBezTo>
                <a:cubicBezTo>
                  <a:pt x="50" y="83"/>
                  <a:pt x="52" y="78"/>
                  <a:pt x="55" y="71"/>
                </a:cubicBezTo>
                <a:cubicBezTo>
                  <a:pt x="57" y="67"/>
                  <a:pt x="58" y="64"/>
                  <a:pt x="60" y="61"/>
                </a:cubicBezTo>
                <a:cubicBezTo>
                  <a:pt x="61" y="58"/>
                  <a:pt x="63" y="55"/>
                  <a:pt x="65" y="51"/>
                </a:cubicBezTo>
                <a:cubicBezTo>
                  <a:pt x="67" y="47"/>
                  <a:pt x="69" y="44"/>
                  <a:pt x="71" y="41"/>
                </a:cubicBezTo>
                <a:cubicBezTo>
                  <a:pt x="73" y="39"/>
                  <a:pt x="75" y="36"/>
                  <a:pt x="78" y="33"/>
                </a:cubicBezTo>
                <a:cubicBezTo>
                  <a:pt x="81" y="31"/>
                  <a:pt x="83" y="29"/>
                  <a:pt x="86" y="27"/>
                </a:cubicBezTo>
                <a:cubicBezTo>
                  <a:pt x="89" y="25"/>
                  <a:pt x="93" y="24"/>
                  <a:pt x="96" y="23"/>
                </a:cubicBezTo>
                <a:cubicBezTo>
                  <a:pt x="100" y="22"/>
                  <a:pt x="104" y="21"/>
                  <a:pt x="109" y="21"/>
                </a:cubicBezTo>
                <a:cubicBezTo>
                  <a:pt x="133" y="21"/>
                  <a:pt x="133" y="21"/>
                  <a:pt x="133" y="21"/>
                </a:cubicBezTo>
                <a:cubicBezTo>
                  <a:pt x="133" y="3"/>
                  <a:pt x="133" y="3"/>
                  <a:pt x="133" y="3"/>
                </a:cubicBezTo>
                <a:cubicBezTo>
                  <a:pt x="133" y="2"/>
                  <a:pt x="133" y="2"/>
                  <a:pt x="134" y="1"/>
                </a:cubicBezTo>
                <a:cubicBezTo>
                  <a:pt x="134" y="1"/>
                  <a:pt x="135" y="0"/>
                  <a:pt x="136" y="0"/>
                </a:cubicBezTo>
                <a:cubicBezTo>
                  <a:pt x="137" y="0"/>
                  <a:pt x="137" y="1"/>
                  <a:pt x="138" y="1"/>
                </a:cubicBezTo>
                <a:cubicBezTo>
                  <a:pt x="168" y="31"/>
                  <a:pt x="168" y="31"/>
                  <a:pt x="168" y="31"/>
                </a:cubicBezTo>
                <a:cubicBezTo>
                  <a:pt x="169" y="32"/>
                  <a:pt x="169" y="33"/>
                  <a:pt x="169" y="34"/>
                </a:cubicBezTo>
                <a:close/>
                <a:moveTo>
                  <a:pt x="63" y="43"/>
                </a:moveTo>
                <a:cubicBezTo>
                  <a:pt x="59" y="49"/>
                  <a:pt x="54" y="57"/>
                  <a:pt x="50" y="69"/>
                </a:cubicBezTo>
                <a:cubicBezTo>
                  <a:pt x="48" y="66"/>
                  <a:pt x="47" y="63"/>
                  <a:pt x="46" y="62"/>
                </a:cubicBezTo>
                <a:cubicBezTo>
                  <a:pt x="45" y="60"/>
                  <a:pt x="44" y="58"/>
                  <a:pt x="42" y="56"/>
                </a:cubicBezTo>
                <a:cubicBezTo>
                  <a:pt x="41" y="53"/>
                  <a:pt x="39" y="52"/>
                  <a:pt x="38" y="50"/>
                </a:cubicBezTo>
                <a:cubicBezTo>
                  <a:pt x="36" y="49"/>
                  <a:pt x="34" y="48"/>
                  <a:pt x="32" y="47"/>
                </a:cubicBezTo>
                <a:cubicBezTo>
                  <a:pt x="29" y="46"/>
                  <a:pt x="27" y="46"/>
                  <a:pt x="24" y="46"/>
                </a:cubicBezTo>
                <a:cubicBezTo>
                  <a:pt x="3" y="46"/>
                  <a:pt x="3" y="46"/>
                  <a:pt x="3" y="46"/>
                </a:cubicBezTo>
                <a:cubicBezTo>
                  <a:pt x="2" y="46"/>
                  <a:pt x="1" y="45"/>
                  <a:pt x="0" y="45"/>
                </a:cubicBezTo>
                <a:cubicBezTo>
                  <a:pt x="0" y="44"/>
                  <a:pt x="0" y="44"/>
                  <a:pt x="0" y="43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3"/>
                  <a:pt x="0" y="22"/>
                </a:cubicBezTo>
                <a:cubicBezTo>
                  <a:pt x="1" y="22"/>
                  <a:pt x="2" y="21"/>
                  <a:pt x="3" y="21"/>
                </a:cubicBezTo>
                <a:cubicBezTo>
                  <a:pt x="24" y="21"/>
                  <a:pt x="24" y="21"/>
                  <a:pt x="24" y="21"/>
                </a:cubicBezTo>
                <a:cubicBezTo>
                  <a:pt x="40" y="21"/>
                  <a:pt x="53" y="29"/>
                  <a:pt x="63" y="43"/>
                </a:cubicBezTo>
                <a:close/>
                <a:moveTo>
                  <a:pt x="169" y="118"/>
                </a:moveTo>
                <a:cubicBezTo>
                  <a:pt x="169" y="119"/>
                  <a:pt x="169" y="120"/>
                  <a:pt x="168" y="120"/>
                </a:cubicBezTo>
                <a:cubicBezTo>
                  <a:pt x="138" y="151"/>
                  <a:pt x="138" y="151"/>
                  <a:pt x="138" y="151"/>
                </a:cubicBezTo>
                <a:cubicBezTo>
                  <a:pt x="137" y="151"/>
                  <a:pt x="137" y="152"/>
                  <a:pt x="136" y="152"/>
                </a:cubicBezTo>
                <a:cubicBezTo>
                  <a:pt x="135" y="152"/>
                  <a:pt x="134" y="151"/>
                  <a:pt x="134" y="151"/>
                </a:cubicBezTo>
                <a:cubicBezTo>
                  <a:pt x="133" y="150"/>
                  <a:pt x="133" y="149"/>
                  <a:pt x="133" y="149"/>
                </a:cubicBezTo>
                <a:cubicBezTo>
                  <a:pt x="133" y="130"/>
                  <a:pt x="133" y="130"/>
                  <a:pt x="133" y="130"/>
                </a:cubicBezTo>
                <a:cubicBezTo>
                  <a:pt x="131" y="130"/>
                  <a:pt x="128" y="130"/>
                  <a:pt x="125" y="130"/>
                </a:cubicBezTo>
                <a:cubicBezTo>
                  <a:pt x="121" y="130"/>
                  <a:pt x="119" y="130"/>
                  <a:pt x="117" y="131"/>
                </a:cubicBezTo>
                <a:cubicBezTo>
                  <a:pt x="115" y="131"/>
                  <a:pt x="113" y="131"/>
                  <a:pt x="110" y="130"/>
                </a:cubicBezTo>
                <a:cubicBezTo>
                  <a:pt x="107" y="130"/>
                  <a:pt x="105" y="130"/>
                  <a:pt x="103" y="130"/>
                </a:cubicBezTo>
                <a:cubicBezTo>
                  <a:pt x="102" y="130"/>
                  <a:pt x="100" y="129"/>
                  <a:pt x="97" y="129"/>
                </a:cubicBezTo>
                <a:cubicBezTo>
                  <a:pt x="95" y="129"/>
                  <a:pt x="93" y="128"/>
                  <a:pt x="91" y="127"/>
                </a:cubicBezTo>
                <a:cubicBezTo>
                  <a:pt x="90" y="126"/>
                  <a:pt x="88" y="126"/>
                  <a:pt x="86" y="125"/>
                </a:cubicBezTo>
                <a:cubicBezTo>
                  <a:pt x="84" y="123"/>
                  <a:pt x="82" y="122"/>
                  <a:pt x="80" y="121"/>
                </a:cubicBezTo>
                <a:cubicBezTo>
                  <a:pt x="79" y="119"/>
                  <a:pt x="77" y="118"/>
                  <a:pt x="75" y="116"/>
                </a:cubicBezTo>
                <a:cubicBezTo>
                  <a:pt x="73" y="114"/>
                  <a:pt x="72" y="112"/>
                  <a:pt x="70" y="109"/>
                </a:cubicBezTo>
                <a:cubicBezTo>
                  <a:pt x="74" y="103"/>
                  <a:pt x="78" y="95"/>
                  <a:pt x="83" y="83"/>
                </a:cubicBezTo>
                <a:cubicBezTo>
                  <a:pt x="84" y="86"/>
                  <a:pt x="85" y="88"/>
                  <a:pt x="86" y="90"/>
                </a:cubicBezTo>
                <a:cubicBezTo>
                  <a:pt x="87" y="92"/>
                  <a:pt x="88" y="94"/>
                  <a:pt x="90" y="96"/>
                </a:cubicBezTo>
                <a:cubicBezTo>
                  <a:pt x="92" y="98"/>
                  <a:pt x="93" y="100"/>
                  <a:pt x="95" y="101"/>
                </a:cubicBezTo>
                <a:cubicBezTo>
                  <a:pt x="96" y="103"/>
                  <a:pt x="98" y="104"/>
                  <a:pt x="101" y="105"/>
                </a:cubicBezTo>
                <a:cubicBezTo>
                  <a:pt x="103" y="106"/>
                  <a:pt x="106" y="106"/>
                  <a:pt x="109" y="106"/>
                </a:cubicBezTo>
                <a:cubicBezTo>
                  <a:pt x="133" y="106"/>
                  <a:pt x="133" y="106"/>
                  <a:pt x="133" y="106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3" y="87"/>
                  <a:pt x="133" y="86"/>
                  <a:pt x="134" y="86"/>
                </a:cubicBezTo>
                <a:cubicBezTo>
                  <a:pt x="134" y="85"/>
                  <a:pt x="135" y="85"/>
                  <a:pt x="136" y="85"/>
                </a:cubicBezTo>
                <a:cubicBezTo>
                  <a:pt x="137" y="85"/>
                  <a:pt x="137" y="85"/>
                  <a:pt x="138" y="86"/>
                </a:cubicBezTo>
                <a:cubicBezTo>
                  <a:pt x="168" y="116"/>
                  <a:pt x="168" y="116"/>
                  <a:pt x="168" y="116"/>
                </a:cubicBezTo>
                <a:cubicBezTo>
                  <a:pt x="169" y="117"/>
                  <a:pt x="169" y="117"/>
                  <a:pt x="169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5" name="Freeform 115"/>
          <p:cNvSpPr>
            <a:spLocks noChangeAspect="1"/>
          </p:cNvSpPr>
          <p:nvPr/>
        </p:nvSpPr>
        <p:spPr bwMode="auto">
          <a:xfrm>
            <a:off x="7366727" y="2187869"/>
            <a:ext cx="174866" cy="151447"/>
          </a:xfrm>
          <a:custGeom>
            <a:avLst/>
            <a:gdLst>
              <a:gd name="T0" fmla="*/ 158 w 169"/>
              <a:gd name="T1" fmla="*/ 31 h 146"/>
              <a:gd name="T2" fmla="*/ 169 w 169"/>
              <a:gd name="T3" fmla="*/ 61 h 146"/>
              <a:gd name="T4" fmla="*/ 158 w 169"/>
              <a:gd name="T5" fmla="*/ 91 h 146"/>
              <a:gd name="T6" fmla="*/ 127 w 169"/>
              <a:gd name="T7" fmla="*/ 113 h 146"/>
              <a:gd name="T8" fmla="*/ 84 w 169"/>
              <a:gd name="T9" fmla="*/ 121 h 146"/>
              <a:gd name="T10" fmla="*/ 71 w 169"/>
              <a:gd name="T11" fmla="*/ 121 h 146"/>
              <a:gd name="T12" fmla="*/ 27 w 169"/>
              <a:gd name="T13" fmla="*/ 144 h 146"/>
              <a:gd name="T14" fmla="*/ 16 w 169"/>
              <a:gd name="T15" fmla="*/ 146 h 146"/>
              <a:gd name="T16" fmla="*/ 13 w 169"/>
              <a:gd name="T17" fmla="*/ 145 h 146"/>
              <a:gd name="T18" fmla="*/ 12 w 169"/>
              <a:gd name="T19" fmla="*/ 142 h 146"/>
              <a:gd name="T20" fmla="*/ 12 w 169"/>
              <a:gd name="T21" fmla="*/ 142 h 146"/>
              <a:gd name="T22" fmla="*/ 12 w 169"/>
              <a:gd name="T23" fmla="*/ 141 h 146"/>
              <a:gd name="T24" fmla="*/ 12 w 169"/>
              <a:gd name="T25" fmla="*/ 140 h 146"/>
              <a:gd name="T26" fmla="*/ 12 w 169"/>
              <a:gd name="T27" fmla="*/ 139 h 146"/>
              <a:gd name="T28" fmla="*/ 13 w 169"/>
              <a:gd name="T29" fmla="*/ 138 h 146"/>
              <a:gd name="T30" fmla="*/ 14 w 169"/>
              <a:gd name="T31" fmla="*/ 137 h 146"/>
              <a:gd name="T32" fmla="*/ 14 w 169"/>
              <a:gd name="T33" fmla="*/ 136 h 146"/>
              <a:gd name="T34" fmla="*/ 17 w 169"/>
              <a:gd name="T35" fmla="*/ 133 h 146"/>
              <a:gd name="T36" fmla="*/ 21 w 169"/>
              <a:gd name="T37" fmla="*/ 130 h 146"/>
              <a:gd name="T38" fmla="*/ 23 w 169"/>
              <a:gd name="T39" fmla="*/ 126 h 146"/>
              <a:gd name="T40" fmla="*/ 27 w 169"/>
              <a:gd name="T41" fmla="*/ 121 h 146"/>
              <a:gd name="T42" fmla="*/ 29 w 169"/>
              <a:gd name="T43" fmla="*/ 116 h 146"/>
              <a:gd name="T44" fmla="*/ 32 w 169"/>
              <a:gd name="T45" fmla="*/ 108 h 146"/>
              <a:gd name="T46" fmla="*/ 8 w 169"/>
              <a:gd name="T47" fmla="*/ 88 h 146"/>
              <a:gd name="T48" fmla="*/ 0 w 169"/>
              <a:gd name="T49" fmla="*/ 61 h 146"/>
              <a:gd name="T50" fmla="*/ 6 w 169"/>
              <a:gd name="T51" fmla="*/ 37 h 146"/>
              <a:gd name="T52" fmla="*/ 24 w 169"/>
              <a:gd name="T53" fmla="*/ 18 h 146"/>
              <a:gd name="T54" fmla="*/ 51 w 169"/>
              <a:gd name="T55" fmla="*/ 5 h 146"/>
              <a:gd name="T56" fmla="*/ 84 w 169"/>
              <a:gd name="T57" fmla="*/ 0 h 146"/>
              <a:gd name="T58" fmla="*/ 127 w 169"/>
              <a:gd name="T59" fmla="*/ 9 h 146"/>
              <a:gd name="T60" fmla="*/ 158 w 169"/>
              <a:gd name="T61" fmla="*/ 3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9" h="146">
                <a:moveTo>
                  <a:pt x="158" y="31"/>
                </a:moveTo>
                <a:cubicBezTo>
                  <a:pt x="165" y="40"/>
                  <a:pt x="169" y="50"/>
                  <a:pt x="169" y="61"/>
                </a:cubicBezTo>
                <a:cubicBezTo>
                  <a:pt x="169" y="72"/>
                  <a:pt x="165" y="82"/>
                  <a:pt x="158" y="91"/>
                </a:cubicBezTo>
                <a:cubicBezTo>
                  <a:pt x="150" y="101"/>
                  <a:pt x="140" y="108"/>
                  <a:pt x="127" y="113"/>
                </a:cubicBezTo>
                <a:cubicBezTo>
                  <a:pt x="114" y="119"/>
                  <a:pt x="100" y="121"/>
                  <a:pt x="84" y="121"/>
                </a:cubicBezTo>
                <a:cubicBezTo>
                  <a:pt x="80" y="121"/>
                  <a:pt x="75" y="121"/>
                  <a:pt x="71" y="121"/>
                </a:cubicBezTo>
                <a:cubicBezTo>
                  <a:pt x="58" y="132"/>
                  <a:pt x="44" y="139"/>
                  <a:pt x="27" y="144"/>
                </a:cubicBezTo>
                <a:cubicBezTo>
                  <a:pt x="24" y="144"/>
                  <a:pt x="20" y="145"/>
                  <a:pt x="16" y="146"/>
                </a:cubicBezTo>
                <a:cubicBezTo>
                  <a:pt x="15" y="146"/>
                  <a:pt x="14" y="146"/>
                  <a:pt x="13" y="145"/>
                </a:cubicBezTo>
                <a:cubicBezTo>
                  <a:pt x="13" y="144"/>
                  <a:pt x="12" y="143"/>
                  <a:pt x="12" y="142"/>
                </a:cubicBezTo>
                <a:cubicBezTo>
                  <a:pt x="12" y="142"/>
                  <a:pt x="12" y="142"/>
                  <a:pt x="12" y="142"/>
                </a:cubicBezTo>
                <a:cubicBezTo>
                  <a:pt x="12" y="142"/>
                  <a:pt x="12" y="141"/>
                  <a:pt x="12" y="141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2" y="140"/>
                  <a:pt x="12" y="139"/>
                  <a:pt x="12" y="139"/>
                </a:cubicBezTo>
                <a:cubicBezTo>
                  <a:pt x="13" y="139"/>
                  <a:pt x="13" y="138"/>
                  <a:pt x="13" y="138"/>
                </a:cubicBezTo>
                <a:cubicBezTo>
                  <a:pt x="13" y="138"/>
                  <a:pt x="13" y="138"/>
                  <a:pt x="14" y="137"/>
                </a:cubicBezTo>
                <a:cubicBezTo>
                  <a:pt x="14" y="137"/>
                  <a:pt x="14" y="137"/>
                  <a:pt x="14" y="136"/>
                </a:cubicBezTo>
                <a:cubicBezTo>
                  <a:pt x="15" y="136"/>
                  <a:pt x="16" y="135"/>
                  <a:pt x="17" y="133"/>
                </a:cubicBezTo>
                <a:cubicBezTo>
                  <a:pt x="19" y="132"/>
                  <a:pt x="20" y="130"/>
                  <a:pt x="21" y="130"/>
                </a:cubicBezTo>
                <a:cubicBezTo>
                  <a:pt x="21" y="129"/>
                  <a:pt x="22" y="128"/>
                  <a:pt x="23" y="126"/>
                </a:cubicBezTo>
                <a:cubicBezTo>
                  <a:pt x="25" y="124"/>
                  <a:pt x="26" y="123"/>
                  <a:pt x="27" y="121"/>
                </a:cubicBezTo>
                <a:cubicBezTo>
                  <a:pt x="27" y="120"/>
                  <a:pt x="28" y="118"/>
                  <a:pt x="29" y="116"/>
                </a:cubicBezTo>
                <a:cubicBezTo>
                  <a:pt x="30" y="113"/>
                  <a:pt x="31" y="111"/>
                  <a:pt x="32" y="108"/>
                </a:cubicBezTo>
                <a:cubicBezTo>
                  <a:pt x="22" y="103"/>
                  <a:pt x="14" y="96"/>
                  <a:pt x="8" y="88"/>
                </a:cubicBezTo>
                <a:cubicBezTo>
                  <a:pt x="2" y="79"/>
                  <a:pt x="0" y="70"/>
                  <a:pt x="0" y="61"/>
                </a:cubicBezTo>
                <a:cubicBezTo>
                  <a:pt x="0" y="53"/>
                  <a:pt x="2" y="45"/>
                  <a:pt x="6" y="37"/>
                </a:cubicBezTo>
                <a:cubicBezTo>
                  <a:pt x="11" y="30"/>
                  <a:pt x="17" y="24"/>
                  <a:pt x="24" y="18"/>
                </a:cubicBezTo>
                <a:cubicBezTo>
                  <a:pt x="32" y="13"/>
                  <a:pt x="41" y="8"/>
                  <a:pt x="51" y="5"/>
                </a:cubicBezTo>
                <a:cubicBezTo>
                  <a:pt x="62" y="2"/>
                  <a:pt x="73" y="0"/>
                  <a:pt x="84" y="0"/>
                </a:cubicBezTo>
                <a:cubicBezTo>
                  <a:pt x="100" y="0"/>
                  <a:pt x="114" y="3"/>
                  <a:pt x="127" y="9"/>
                </a:cubicBezTo>
                <a:cubicBezTo>
                  <a:pt x="140" y="14"/>
                  <a:pt x="150" y="21"/>
                  <a:pt x="158" y="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6" name="Freeform 116"/>
          <p:cNvSpPr>
            <a:spLocks noChangeAspect="1" noEditPoints="1"/>
          </p:cNvSpPr>
          <p:nvPr/>
        </p:nvSpPr>
        <p:spPr bwMode="auto">
          <a:xfrm>
            <a:off x="7583748" y="2175379"/>
            <a:ext cx="151447" cy="151447"/>
          </a:xfrm>
          <a:custGeom>
            <a:avLst/>
            <a:gdLst>
              <a:gd name="T0" fmla="*/ 48 w 145"/>
              <a:gd name="T1" fmla="*/ 6 h 146"/>
              <a:gd name="T2" fmla="*/ 48 w 145"/>
              <a:gd name="T3" fmla="*/ 43 h 146"/>
              <a:gd name="T4" fmla="*/ 46 w 145"/>
              <a:gd name="T5" fmla="*/ 47 h 146"/>
              <a:gd name="T6" fmla="*/ 42 w 145"/>
              <a:gd name="T7" fmla="*/ 49 h 146"/>
              <a:gd name="T8" fmla="*/ 6 w 145"/>
              <a:gd name="T9" fmla="*/ 49 h 146"/>
              <a:gd name="T10" fmla="*/ 1 w 145"/>
              <a:gd name="T11" fmla="*/ 47 h 146"/>
              <a:gd name="T12" fmla="*/ 0 w 145"/>
              <a:gd name="T13" fmla="*/ 43 h 146"/>
              <a:gd name="T14" fmla="*/ 0 w 145"/>
              <a:gd name="T15" fmla="*/ 6 h 146"/>
              <a:gd name="T16" fmla="*/ 1 w 145"/>
              <a:gd name="T17" fmla="*/ 2 h 146"/>
              <a:gd name="T18" fmla="*/ 6 w 145"/>
              <a:gd name="T19" fmla="*/ 0 h 146"/>
              <a:gd name="T20" fmla="*/ 42 w 145"/>
              <a:gd name="T21" fmla="*/ 0 h 146"/>
              <a:gd name="T22" fmla="*/ 46 w 145"/>
              <a:gd name="T23" fmla="*/ 2 h 146"/>
              <a:gd name="T24" fmla="*/ 48 w 145"/>
              <a:gd name="T25" fmla="*/ 6 h 146"/>
              <a:gd name="T26" fmla="*/ 145 w 145"/>
              <a:gd name="T27" fmla="*/ 67 h 146"/>
              <a:gd name="T28" fmla="*/ 145 w 145"/>
              <a:gd name="T29" fmla="*/ 79 h 146"/>
              <a:gd name="T30" fmla="*/ 135 w 145"/>
              <a:gd name="T31" fmla="*/ 113 h 146"/>
              <a:gd name="T32" fmla="*/ 110 w 145"/>
              <a:gd name="T33" fmla="*/ 137 h 146"/>
              <a:gd name="T34" fmla="*/ 72 w 145"/>
              <a:gd name="T35" fmla="*/ 146 h 146"/>
              <a:gd name="T36" fmla="*/ 35 w 145"/>
              <a:gd name="T37" fmla="*/ 137 h 146"/>
              <a:gd name="T38" fmla="*/ 9 w 145"/>
              <a:gd name="T39" fmla="*/ 113 h 146"/>
              <a:gd name="T40" fmla="*/ 0 w 145"/>
              <a:gd name="T41" fmla="*/ 79 h 146"/>
              <a:gd name="T42" fmla="*/ 0 w 145"/>
              <a:gd name="T43" fmla="*/ 67 h 146"/>
              <a:gd name="T44" fmla="*/ 1 w 145"/>
              <a:gd name="T45" fmla="*/ 63 h 146"/>
              <a:gd name="T46" fmla="*/ 6 w 145"/>
              <a:gd name="T47" fmla="*/ 61 h 146"/>
              <a:gd name="T48" fmla="*/ 42 w 145"/>
              <a:gd name="T49" fmla="*/ 61 h 146"/>
              <a:gd name="T50" fmla="*/ 46 w 145"/>
              <a:gd name="T51" fmla="*/ 63 h 146"/>
              <a:gd name="T52" fmla="*/ 48 w 145"/>
              <a:gd name="T53" fmla="*/ 67 h 146"/>
              <a:gd name="T54" fmla="*/ 48 w 145"/>
              <a:gd name="T55" fmla="*/ 79 h 146"/>
              <a:gd name="T56" fmla="*/ 50 w 145"/>
              <a:gd name="T57" fmla="*/ 88 h 146"/>
              <a:gd name="T58" fmla="*/ 55 w 145"/>
              <a:gd name="T59" fmla="*/ 93 h 146"/>
              <a:gd name="T60" fmla="*/ 62 w 145"/>
              <a:gd name="T61" fmla="*/ 96 h 146"/>
              <a:gd name="T62" fmla="*/ 68 w 145"/>
              <a:gd name="T63" fmla="*/ 97 h 146"/>
              <a:gd name="T64" fmla="*/ 72 w 145"/>
              <a:gd name="T65" fmla="*/ 97 h 146"/>
              <a:gd name="T66" fmla="*/ 76 w 145"/>
              <a:gd name="T67" fmla="*/ 97 h 146"/>
              <a:gd name="T68" fmla="*/ 82 w 145"/>
              <a:gd name="T69" fmla="*/ 96 h 146"/>
              <a:gd name="T70" fmla="*/ 89 w 145"/>
              <a:gd name="T71" fmla="*/ 93 h 146"/>
              <a:gd name="T72" fmla="*/ 94 w 145"/>
              <a:gd name="T73" fmla="*/ 88 h 146"/>
              <a:gd name="T74" fmla="*/ 96 w 145"/>
              <a:gd name="T75" fmla="*/ 79 h 146"/>
              <a:gd name="T76" fmla="*/ 96 w 145"/>
              <a:gd name="T77" fmla="*/ 67 h 146"/>
              <a:gd name="T78" fmla="*/ 98 w 145"/>
              <a:gd name="T79" fmla="*/ 63 h 146"/>
              <a:gd name="T80" fmla="*/ 102 w 145"/>
              <a:gd name="T81" fmla="*/ 61 h 146"/>
              <a:gd name="T82" fmla="*/ 139 w 145"/>
              <a:gd name="T83" fmla="*/ 61 h 146"/>
              <a:gd name="T84" fmla="*/ 143 w 145"/>
              <a:gd name="T85" fmla="*/ 63 h 146"/>
              <a:gd name="T86" fmla="*/ 145 w 145"/>
              <a:gd name="T87" fmla="*/ 67 h 146"/>
              <a:gd name="T88" fmla="*/ 145 w 145"/>
              <a:gd name="T89" fmla="*/ 6 h 146"/>
              <a:gd name="T90" fmla="*/ 145 w 145"/>
              <a:gd name="T91" fmla="*/ 43 h 146"/>
              <a:gd name="T92" fmla="*/ 143 w 145"/>
              <a:gd name="T93" fmla="*/ 47 h 146"/>
              <a:gd name="T94" fmla="*/ 139 w 145"/>
              <a:gd name="T95" fmla="*/ 49 h 146"/>
              <a:gd name="T96" fmla="*/ 102 w 145"/>
              <a:gd name="T97" fmla="*/ 49 h 146"/>
              <a:gd name="T98" fmla="*/ 98 w 145"/>
              <a:gd name="T99" fmla="*/ 47 h 146"/>
              <a:gd name="T100" fmla="*/ 96 w 145"/>
              <a:gd name="T101" fmla="*/ 43 h 146"/>
              <a:gd name="T102" fmla="*/ 96 w 145"/>
              <a:gd name="T103" fmla="*/ 6 h 146"/>
              <a:gd name="T104" fmla="*/ 98 w 145"/>
              <a:gd name="T105" fmla="*/ 2 h 146"/>
              <a:gd name="T106" fmla="*/ 102 w 145"/>
              <a:gd name="T107" fmla="*/ 0 h 146"/>
              <a:gd name="T108" fmla="*/ 139 w 145"/>
              <a:gd name="T109" fmla="*/ 0 h 146"/>
              <a:gd name="T110" fmla="*/ 143 w 145"/>
              <a:gd name="T111" fmla="*/ 2 h 146"/>
              <a:gd name="T112" fmla="*/ 145 w 145"/>
              <a:gd name="T113" fmla="*/ 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5" h="146">
                <a:moveTo>
                  <a:pt x="48" y="6"/>
                </a:moveTo>
                <a:cubicBezTo>
                  <a:pt x="48" y="43"/>
                  <a:pt x="48" y="43"/>
                  <a:pt x="48" y="43"/>
                </a:cubicBezTo>
                <a:cubicBezTo>
                  <a:pt x="48" y="44"/>
                  <a:pt x="47" y="46"/>
                  <a:pt x="46" y="47"/>
                </a:cubicBezTo>
                <a:cubicBezTo>
                  <a:pt x="45" y="48"/>
                  <a:pt x="44" y="49"/>
                  <a:pt x="42" y="49"/>
                </a:cubicBezTo>
                <a:cubicBezTo>
                  <a:pt x="6" y="49"/>
                  <a:pt x="6" y="49"/>
                  <a:pt x="6" y="49"/>
                </a:cubicBezTo>
                <a:cubicBezTo>
                  <a:pt x="4" y="49"/>
                  <a:pt x="3" y="48"/>
                  <a:pt x="1" y="47"/>
                </a:cubicBezTo>
                <a:cubicBezTo>
                  <a:pt x="0" y="46"/>
                  <a:pt x="0" y="44"/>
                  <a:pt x="0" y="43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4" y="0"/>
                  <a:pt x="45" y="1"/>
                  <a:pt x="46" y="2"/>
                </a:cubicBezTo>
                <a:cubicBezTo>
                  <a:pt x="47" y="3"/>
                  <a:pt x="48" y="5"/>
                  <a:pt x="48" y="6"/>
                </a:cubicBezTo>
                <a:close/>
                <a:moveTo>
                  <a:pt x="145" y="67"/>
                </a:moveTo>
                <a:cubicBezTo>
                  <a:pt x="145" y="79"/>
                  <a:pt x="145" y="79"/>
                  <a:pt x="145" y="79"/>
                </a:cubicBezTo>
                <a:cubicBezTo>
                  <a:pt x="145" y="92"/>
                  <a:pt x="142" y="103"/>
                  <a:pt x="135" y="113"/>
                </a:cubicBezTo>
                <a:cubicBezTo>
                  <a:pt x="129" y="123"/>
                  <a:pt x="121" y="131"/>
                  <a:pt x="110" y="137"/>
                </a:cubicBezTo>
                <a:cubicBezTo>
                  <a:pt x="99" y="143"/>
                  <a:pt x="86" y="146"/>
                  <a:pt x="72" y="146"/>
                </a:cubicBezTo>
                <a:cubicBezTo>
                  <a:pt x="58" y="146"/>
                  <a:pt x="46" y="143"/>
                  <a:pt x="35" y="137"/>
                </a:cubicBezTo>
                <a:cubicBezTo>
                  <a:pt x="24" y="131"/>
                  <a:pt x="15" y="123"/>
                  <a:pt x="9" y="113"/>
                </a:cubicBezTo>
                <a:cubicBezTo>
                  <a:pt x="3" y="103"/>
                  <a:pt x="0" y="92"/>
                  <a:pt x="0" y="79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65"/>
                  <a:pt x="0" y="64"/>
                  <a:pt x="1" y="63"/>
                </a:cubicBezTo>
                <a:cubicBezTo>
                  <a:pt x="3" y="61"/>
                  <a:pt x="4" y="61"/>
                  <a:pt x="6" y="61"/>
                </a:cubicBezTo>
                <a:cubicBezTo>
                  <a:pt x="42" y="61"/>
                  <a:pt x="42" y="61"/>
                  <a:pt x="42" y="61"/>
                </a:cubicBezTo>
                <a:cubicBezTo>
                  <a:pt x="44" y="61"/>
                  <a:pt x="45" y="61"/>
                  <a:pt x="46" y="63"/>
                </a:cubicBezTo>
                <a:cubicBezTo>
                  <a:pt x="47" y="64"/>
                  <a:pt x="48" y="65"/>
                  <a:pt x="48" y="67"/>
                </a:cubicBezTo>
                <a:cubicBezTo>
                  <a:pt x="48" y="79"/>
                  <a:pt x="48" y="79"/>
                  <a:pt x="48" y="79"/>
                </a:cubicBezTo>
                <a:cubicBezTo>
                  <a:pt x="48" y="82"/>
                  <a:pt x="49" y="85"/>
                  <a:pt x="50" y="88"/>
                </a:cubicBezTo>
                <a:cubicBezTo>
                  <a:pt x="52" y="90"/>
                  <a:pt x="53" y="92"/>
                  <a:pt x="55" y="93"/>
                </a:cubicBezTo>
                <a:cubicBezTo>
                  <a:pt x="57" y="94"/>
                  <a:pt x="59" y="95"/>
                  <a:pt x="62" y="96"/>
                </a:cubicBezTo>
                <a:cubicBezTo>
                  <a:pt x="65" y="96"/>
                  <a:pt x="67" y="97"/>
                  <a:pt x="68" y="97"/>
                </a:cubicBezTo>
                <a:cubicBezTo>
                  <a:pt x="69" y="97"/>
                  <a:pt x="71" y="97"/>
                  <a:pt x="72" y="97"/>
                </a:cubicBezTo>
                <a:cubicBezTo>
                  <a:pt x="74" y="97"/>
                  <a:pt x="75" y="97"/>
                  <a:pt x="76" y="97"/>
                </a:cubicBezTo>
                <a:cubicBezTo>
                  <a:pt x="78" y="97"/>
                  <a:pt x="80" y="96"/>
                  <a:pt x="82" y="96"/>
                </a:cubicBezTo>
                <a:cubicBezTo>
                  <a:pt x="85" y="95"/>
                  <a:pt x="87" y="94"/>
                  <a:pt x="89" y="93"/>
                </a:cubicBezTo>
                <a:cubicBezTo>
                  <a:pt x="91" y="92"/>
                  <a:pt x="93" y="90"/>
                  <a:pt x="94" y="88"/>
                </a:cubicBezTo>
                <a:cubicBezTo>
                  <a:pt x="96" y="85"/>
                  <a:pt x="96" y="82"/>
                  <a:pt x="96" y="79"/>
                </a:cubicBezTo>
                <a:cubicBezTo>
                  <a:pt x="96" y="67"/>
                  <a:pt x="96" y="67"/>
                  <a:pt x="96" y="67"/>
                </a:cubicBezTo>
                <a:cubicBezTo>
                  <a:pt x="96" y="65"/>
                  <a:pt x="97" y="64"/>
                  <a:pt x="98" y="63"/>
                </a:cubicBezTo>
                <a:cubicBezTo>
                  <a:pt x="99" y="61"/>
                  <a:pt x="101" y="61"/>
                  <a:pt x="102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0" y="61"/>
                  <a:pt x="142" y="61"/>
                  <a:pt x="143" y="63"/>
                </a:cubicBezTo>
                <a:cubicBezTo>
                  <a:pt x="144" y="64"/>
                  <a:pt x="145" y="65"/>
                  <a:pt x="145" y="67"/>
                </a:cubicBezTo>
                <a:close/>
                <a:moveTo>
                  <a:pt x="145" y="6"/>
                </a:moveTo>
                <a:cubicBezTo>
                  <a:pt x="145" y="43"/>
                  <a:pt x="145" y="43"/>
                  <a:pt x="145" y="43"/>
                </a:cubicBezTo>
                <a:cubicBezTo>
                  <a:pt x="145" y="44"/>
                  <a:pt x="144" y="46"/>
                  <a:pt x="143" y="47"/>
                </a:cubicBezTo>
                <a:cubicBezTo>
                  <a:pt x="142" y="48"/>
                  <a:pt x="140" y="49"/>
                  <a:pt x="139" y="49"/>
                </a:cubicBezTo>
                <a:cubicBezTo>
                  <a:pt x="102" y="49"/>
                  <a:pt x="102" y="49"/>
                  <a:pt x="102" y="49"/>
                </a:cubicBezTo>
                <a:cubicBezTo>
                  <a:pt x="101" y="49"/>
                  <a:pt x="99" y="48"/>
                  <a:pt x="98" y="47"/>
                </a:cubicBezTo>
                <a:cubicBezTo>
                  <a:pt x="97" y="46"/>
                  <a:pt x="96" y="44"/>
                  <a:pt x="96" y="43"/>
                </a:cubicBezTo>
                <a:cubicBezTo>
                  <a:pt x="96" y="6"/>
                  <a:pt x="96" y="6"/>
                  <a:pt x="96" y="6"/>
                </a:cubicBezTo>
                <a:cubicBezTo>
                  <a:pt x="96" y="5"/>
                  <a:pt x="97" y="3"/>
                  <a:pt x="98" y="2"/>
                </a:cubicBezTo>
                <a:cubicBezTo>
                  <a:pt x="99" y="1"/>
                  <a:pt x="101" y="0"/>
                  <a:pt x="102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0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7" name="Freeform 117"/>
          <p:cNvSpPr>
            <a:spLocks noChangeAspect="1"/>
          </p:cNvSpPr>
          <p:nvPr/>
        </p:nvSpPr>
        <p:spPr bwMode="auto">
          <a:xfrm>
            <a:off x="7786718" y="2211289"/>
            <a:ext cx="157692" cy="99924"/>
          </a:xfrm>
          <a:custGeom>
            <a:avLst/>
            <a:gdLst>
              <a:gd name="T0" fmla="*/ 150 w 152"/>
              <a:gd name="T1" fmla="*/ 80 h 97"/>
              <a:gd name="T2" fmla="*/ 135 w 152"/>
              <a:gd name="T3" fmla="*/ 96 h 97"/>
              <a:gd name="T4" fmla="*/ 131 w 152"/>
              <a:gd name="T5" fmla="*/ 97 h 97"/>
              <a:gd name="T6" fmla="*/ 126 w 152"/>
              <a:gd name="T7" fmla="*/ 96 h 97"/>
              <a:gd name="T8" fmla="*/ 76 w 152"/>
              <a:gd name="T9" fmla="*/ 45 h 97"/>
              <a:gd name="T10" fmla="*/ 26 w 152"/>
              <a:gd name="T11" fmla="*/ 96 h 97"/>
              <a:gd name="T12" fmla="*/ 22 w 152"/>
              <a:gd name="T13" fmla="*/ 97 h 97"/>
              <a:gd name="T14" fmla="*/ 17 w 152"/>
              <a:gd name="T15" fmla="*/ 96 h 97"/>
              <a:gd name="T16" fmla="*/ 2 w 152"/>
              <a:gd name="T17" fmla="*/ 80 h 97"/>
              <a:gd name="T18" fmla="*/ 0 w 152"/>
              <a:gd name="T19" fmla="*/ 76 h 97"/>
              <a:gd name="T20" fmla="*/ 2 w 152"/>
              <a:gd name="T21" fmla="*/ 71 h 97"/>
              <a:gd name="T22" fmla="*/ 72 w 152"/>
              <a:gd name="T23" fmla="*/ 1 h 97"/>
              <a:gd name="T24" fmla="*/ 76 w 152"/>
              <a:gd name="T25" fmla="*/ 0 h 97"/>
              <a:gd name="T26" fmla="*/ 80 w 152"/>
              <a:gd name="T27" fmla="*/ 1 h 97"/>
              <a:gd name="T28" fmla="*/ 150 w 152"/>
              <a:gd name="T29" fmla="*/ 71 h 97"/>
              <a:gd name="T30" fmla="*/ 152 w 152"/>
              <a:gd name="T31" fmla="*/ 76 h 97"/>
              <a:gd name="T32" fmla="*/ 150 w 152"/>
              <a:gd name="T33" fmla="*/ 8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2" h="97">
                <a:moveTo>
                  <a:pt x="150" y="80"/>
                </a:moveTo>
                <a:cubicBezTo>
                  <a:pt x="135" y="96"/>
                  <a:pt x="135" y="96"/>
                  <a:pt x="135" y="96"/>
                </a:cubicBezTo>
                <a:cubicBezTo>
                  <a:pt x="134" y="97"/>
                  <a:pt x="132" y="97"/>
                  <a:pt x="131" y="97"/>
                </a:cubicBezTo>
                <a:cubicBezTo>
                  <a:pt x="129" y="97"/>
                  <a:pt x="127" y="97"/>
                  <a:pt x="126" y="96"/>
                </a:cubicBezTo>
                <a:cubicBezTo>
                  <a:pt x="76" y="45"/>
                  <a:pt x="76" y="45"/>
                  <a:pt x="76" y="45"/>
                </a:cubicBezTo>
                <a:cubicBezTo>
                  <a:pt x="26" y="96"/>
                  <a:pt x="26" y="96"/>
                  <a:pt x="26" y="96"/>
                </a:cubicBezTo>
                <a:cubicBezTo>
                  <a:pt x="25" y="97"/>
                  <a:pt x="23" y="97"/>
                  <a:pt x="22" y="97"/>
                </a:cubicBezTo>
                <a:cubicBezTo>
                  <a:pt x="20" y="97"/>
                  <a:pt x="19" y="97"/>
                  <a:pt x="17" y="96"/>
                </a:cubicBezTo>
                <a:cubicBezTo>
                  <a:pt x="2" y="80"/>
                  <a:pt x="2" y="80"/>
                  <a:pt x="2" y="80"/>
                </a:cubicBezTo>
                <a:cubicBezTo>
                  <a:pt x="0" y="79"/>
                  <a:pt x="0" y="77"/>
                  <a:pt x="0" y="76"/>
                </a:cubicBezTo>
                <a:cubicBezTo>
                  <a:pt x="0" y="74"/>
                  <a:pt x="0" y="73"/>
                  <a:pt x="2" y="71"/>
                </a:cubicBezTo>
                <a:cubicBezTo>
                  <a:pt x="72" y="1"/>
                  <a:pt x="72" y="1"/>
                  <a:pt x="72" y="1"/>
                </a:cubicBezTo>
                <a:cubicBezTo>
                  <a:pt x="73" y="0"/>
                  <a:pt x="74" y="0"/>
                  <a:pt x="76" y="0"/>
                </a:cubicBezTo>
                <a:cubicBezTo>
                  <a:pt x="78" y="0"/>
                  <a:pt x="79" y="0"/>
                  <a:pt x="80" y="1"/>
                </a:cubicBezTo>
                <a:cubicBezTo>
                  <a:pt x="150" y="71"/>
                  <a:pt x="150" y="71"/>
                  <a:pt x="150" y="71"/>
                </a:cubicBezTo>
                <a:cubicBezTo>
                  <a:pt x="152" y="73"/>
                  <a:pt x="152" y="74"/>
                  <a:pt x="152" y="76"/>
                </a:cubicBezTo>
                <a:cubicBezTo>
                  <a:pt x="152" y="77"/>
                  <a:pt x="152" y="79"/>
                  <a:pt x="150" y="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8" name="Freeform 118"/>
          <p:cNvSpPr>
            <a:spLocks noChangeAspect="1"/>
          </p:cNvSpPr>
          <p:nvPr/>
        </p:nvSpPr>
        <p:spPr bwMode="auto">
          <a:xfrm>
            <a:off x="8005301" y="2215973"/>
            <a:ext cx="156131" cy="99924"/>
          </a:xfrm>
          <a:custGeom>
            <a:avLst/>
            <a:gdLst>
              <a:gd name="T0" fmla="*/ 150 w 152"/>
              <a:gd name="T1" fmla="*/ 26 h 97"/>
              <a:gd name="T2" fmla="*/ 80 w 152"/>
              <a:gd name="T3" fmla="*/ 96 h 97"/>
              <a:gd name="T4" fmla="*/ 76 w 152"/>
              <a:gd name="T5" fmla="*/ 97 h 97"/>
              <a:gd name="T6" fmla="*/ 72 w 152"/>
              <a:gd name="T7" fmla="*/ 96 h 97"/>
              <a:gd name="T8" fmla="*/ 2 w 152"/>
              <a:gd name="T9" fmla="*/ 26 h 97"/>
              <a:gd name="T10" fmla="*/ 0 w 152"/>
              <a:gd name="T11" fmla="*/ 21 h 97"/>
              <a:gd name="T12" fmla="*/ 2 w 152"/>
              <a:gd name="T13" fmla="*/ 17 h 97"/>
              <a:gd name="T14" fmla="*/ 17 w 152"/>
              <a:gd name="T15" fmla="*/ 1 h 97"/>
              <a:gd name="T16" fmla="*/ 22 w 152"/>
              <a:gd name="T17" fmla="*/ 0 h 97"/>
              <a:gd name="T18" fmla="*/ 26 w 152"/>
              <a:gd name="T19" fmla="*/ 1 h 97"/>
              <a:gd name="T20" fmla="*/ 76 w 152"/>
              <a:gd name="T21" fmla="*/ 52 h 97"/>
              <a:gd name="T22" fmla="*/ 126 w 152"/>
              <a:gd name="T23" fmla="*/ 1 h 97"/>
              <a:gd name="T24" fmla="*/ 130 w 152"/>
              <a:gd name="T25" fmla="*/ 0 h 97"/>
              <a:gd name="T26" fmla="*/ 135 w 152"/>
              <a:gd name="T27" fmla="*/ 1 h 97"/>
              <a:gd name="T28" fmla="*/ 150 w 152"/>
              <a:gd name="T29" fmla="*/ 17 h 97"/>
              <a:gd name="T30" fmla="*/ 152 w 152"/>
              <a:gd name="T31" fmla="*/ 21 h 97"/>
              <a:gd name="T32" fmla="*/ 150 w 152"/>
              <a:gd name="T33" fmla="*/ 26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2" h="97">
                <a:moveTo>
                  <a:pt x="150" y="26"/>
                </a:moveTo>
                <a:cubicBezTo>
                  <a:pt x="80" y="96"/>
                  <a:pt x="80" y="96"/>
                  <a:pt x="80" y="96"/>
                </a:cubicBezTo>
                <a:cubicBezTo>
                  <a:pt x="79" y="97"/>
                  <a:pt x="78" y="97"/>
                  <a:pt x="76" y="97"/>
                </a:cubicBezTo>
                <a:cubicBezTo>
                  <a:pt x="74" y="97"/>
                  <a:pt x="73" y="97"/>
                  <a:pt x="72" y="96"/>
                </a:cubicBezTo>
                <a:cubicBezTo>
                  <a:pt x="2" y="26"/>
                  <a:pt x="2" y="26"/>
                  <a:pt x="2" y="26"/>
                </a:cubicBezTo>
                <a:cubicBezTo>
                  <a:pt x="0" y="24"/>
                  <a:pt x="0" y="23"/>
                  <a:pt x="0" y="21"/>
                </a:cubicBezTo>
                <a:cubicBezTo>
                  <a:pt x="0" y="20"/>
                  <a:pt x="0" y="18"/>
                  <a:pt x="2" y="17"/>
                </a:cubicBezTo>
                <a:cubicBezTo>
                  <a:pt x="17" y="1"/>
                  <a:pt x="17" y="1"/>
                  <a:pt x="17" y="1"/>
                </a:cubicBezTo>
                <a:cubicBezTo>
                  <a:pt x="19" y="0"/>
                  <a:pt x="20" y="0"/>
                  <a:pt x="22" y="0"/>
                </a:cubicBezTo>
                <a:cubicBezTo>
                  <a:pt x="23" y="0"/>
                  <a:pt x="25" y="0"/>
                  <a:pt x="26" y="1"/>
                </a:cubicBezTo>
                <a:cubicBezTo>
                  <a:pt x="76" y="52"/>
                  <a:pt x="76" y="52"/>
                  <a:pt x="76" y="52"/>
                </a:cubicBezTo>
                <a:cubicBezTo>
                  <a:pt x="126" y="1"/>
                  <a:pt x="126" y="1"/>
                  <a:pt x="126" y="1"/>
                </a:cubicBezTo>
                <a:cubicBezTo>
                  <a:pt x="127" y="0"/>
                  <a:pt x="129" y="0"/>
                  <a:pt x="130" y="0"/>
                </a:cubicBezTo>
                <a:cubicBezTo>
                  <a:pt x="132" y="0"/>
                  <a:pt x="134" y="0"/>
                  <a:pt x="135" y="1"/>
                </a:cubicBezTo>
                <a:cubicBezTo>
                  <a:pt x="150" y="17"/>
                  <a:pt x="150" y="17"/>
                  <a:pt x="150" y="17"/>
                </a:cubicBezTo>
                <a:cubicBezTo>
                  <a:pt x="152" y="18"/>
                  <a:pt x="152" y="20"/>
                  <a:pt x="152" y="21"/>
                </a:cubicBezTo>
                <a:cubicBezTo>
                  <a:pt x="152" y="23"/>
                  <a:pt x="152" y="24"/>
                  <a:pt x="150" y="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19" name="Freeform 119"/>
          <p:cNvSpPr>
            <a:spLocks noChangeAspect="1" noEditPoints="1"/>
          </p:cNvSpPr>
          <p:nvPr/>
        </p:nvSpPr>
        <p:spPr bwMode="auto">
          <a:xfrm>
            <a:off x="8214516" y="2201921"/>
            <a:ext cx="187357" cy="110853"/>
          </a:xfrm>
          <a:custGeom>
            <a:avLst/>
            <a:gdLst>
              <a:gd name="T0" fmla="*/ 121 w 182"/>
              <a:gd name="T1" fmla="*/ 105 h 108"/>
              <a:gd name="T2" fmla="*/ 120 w 182"/>
              <a:gd name="T3" fmla="*/ 108 h 108"/>
              <a:gd name="T4" fmla="*/ 118 w 182"/>
              <a:gd name="T5" fmla="*/ 108 h 108"/>
              <a:gd name="T6" fmla="*/ 28 w 182"/>
              <a:gd name="T7" fmla="*/ 108 h 108"/>
              <a:gd name="T8" fmla="*/ 26 w 182"/>
              <a:gd name="T9" fmla="*/ 108 h 108"/>
              <a:gd name="T10" fmla="*/ 25 w 182"/>
              <a:gd name="T11" fmla="*/ 108 h 108"/>
              <a:gd name="T12" fmla="*/ 25 w 182"/>
              <a:gd name="T13" fmla="*/ 107 h 108"/>
              <a:gd name="T14" fmla="*/ 25 w 182"/>
              <a:gd name="T15" fmla="*/ 106 h 108"/>
              <a:gd name="T16" fmla="*/ 24 w 182"/>
              <a:gd name="T17" fmla="*/ 105 h 108"/>
              <a:gd name="T18" fmla="*/ 24 w 182"/>
              <a:gd name="T19" fmla="*/ 103 h 108"/>
              <a:gd name="T20" fmla="*/ 24 w 182"/>
              <a:gd name="T21" fmla="*/ 102 h 108"/>
              <a:gd name="T22" fmla="*/ 24 w 182"/>
              <a:gd name="T23" fmla="*/ 87 h 108"/>
              <a:gd name="T24" fmla="*/ 24 w 182"/>
              <a:gd name="T25" fmla="*/ 48 h 108"/>
              <a:gd name="T26" fmla="*/ 6 w 182"/>
              <a:gd name="T27" fmla="*/ 48 h 108"/>
              <a:gd name="T28" fmla="*/ 2 w 182"/>
              <a:gd name="T29" fmla="*/ 46 h 108"/>
              <a:gd name="T30" fmla="*/ 0 w 182"/>
              <a:gd name="T31" fmla="*/ 42 h 108"/>
              <a:gd name="T32" fmla="*/ 2 w 182"/>
              <a:gd name="T33" fmla="*/ 38 h 108"/>
              <a:gd name="T34" fmla="*/ 32 w 182"/>
              <a:gd name="T35" fmla="*/ 2 h 108"/>
              <a:gd name="T36" fmla="*/ 37 w 182"/>
              <a:gd name="T37" fmla="*/ 0 h 108"/>
              <a:gd name="T38" fmla="*/ 41 w 182"/>
              <a:gd name="T39" fmla="*/ 2 h 108"/>
              <a:gd name="T40" fmla="*/ 71 w 182"/>
              <a:gd name="T41" fmla="*/ 38 h 108"/>
              <a:gd name="T42" fmla="*/ 73 w 182"/>
              <a:gd name="T43" fmla="*/ 42 h 108"/>
              <a:gd name="T44" fmla="*/ 71 w 182"/>
              <a:gd name="T45" fmla="*/ 46 h 108"/>
              <a:gd name="T46" fmla="*/ 67 w 182"/>
              <a:gd name="T47" fmla="*/ 48 h 108"/>
              <a:gd name="T48" fmla="*/ 49 w 182"/>
              <a:gd name="T49" fmla="*/ 48 h 108"/>
              <a:gd name="T50" fmla="*/ 49 w 182"/>
              <a:gd name="T51" fmla="*/ 84 h 108"/>
              <a:gd name="T52" fmla="*/ 103 w 182"/>
              <a:gd name="T53" fmla="*/ 84 h 108"/>
              <a:gd name="T54" fmla="*/ 106 w 182"/>
              <a:gd name="T55" fmla="*/ 85 h 108"/>
              <a:gd name="T56" fmla="*/ 121 w 182"/>
              <a:gd name="T57" fmla="*/ 103 h 108"/>
              <a:gd name="T58" fmla="*/ 121 w 182"/>
              <a:gd name="T59" fmla="*/ 105 h 108"/>
              <a:gd name="T60" fmla="*/ 182 w 182"/>
              <a:gd name="T61" fmla="*/ 66 h 108"/>
              <a:gd name="T62" fmla="*/ 180 w 182"/>
              <a:gd name="T63" fmla="*/ 70 h 108"/>
              <a:gd name="T64" fmla="*/ 150 w 182"/>
              <a:gd name="T65" fmla="*/ 106 h 108"/>
              <a:gd name="T66" fmla="*/ 146 w 182"/>
              <a:gd name="T67" fmla="*/ 108 h 108"/>
              <a:gd name="T68" fmla="*/ 141 w 182"/>
              <a:gd name="T69" fmla="*/ 106 h 108"/>
              <a:gd name="T70" fmla="*/ 111 w 182"/>
              <a:gd name="T71" fmla="*/ 70 h 108"/>
              <a:gd name="T72" fmla="*/ 109 w 182"/>
              <a:gd name="T73" fmla="*/ 66 h 108"/>
              <a:gd name="T74" fmla="*/ 111 w 182"/>
              <a:gd name="T75" fmla="*/ 62 h 108"/>
              <a:gd name="T76" fmla="*/ 115 w 182"/>
              <a:gd name="T77" fmla="*/ 60 h 108"/>
              <a:gd name="T78" fmla="*/ 133 w 182"/>
              <a:gd name="T79" fmla="*/ 60 h 108"/>
              <a:gd name="T80" fmla="*/ 133 w 182"/>
              <a:gd name="T81" fmla="*/ 24 h 108"/>
              <a:gd name="T82" fmla="*/ 79 w 182"/>
              <a:gd name="T83" fmla="*/ 24 h 108"/>
              <a:gd name="T84" fmla="*/ 77 w 182"/>
              <a:gd name="T85" fmla="*/ 23 h 108"/>
              <a:gd name="T86" fmla="*/ 61 w 182"/>
              <a:gd name="T87" fmla="*/ 4 h 108"/>
              <a:gd name="T88" fmla="*/ 61 w 182"/>
              <a:gd name="T89" fmla="*/ 3 h 108"/>
              <a:gd name="T90" fmla="*/ 62 w 182"/>
              <a:gd name="T91" fmla="*/ 0 h 108"/>
              <a:gd name="T92" fmla="*/ 64 w 182"/>
              <a:gd name="T93" fmla="*/ 0 h 108"/>
              <a:gd name="T94" fmla="*/ 155 w 182"/>
              <a:gd name="T95" fmla="*/ 0 h 108"/>
              <a:gd name="T96" fmla="*/ 156 w 182"/>
              <a:gd name="T97" fmla="*/ 0 h 108"/>
              <a:gd name="T98" fmla="*/ 157 w 182"/>
              <a:gd name="T99" fmla="*/ 0 h 108"/>
              <a:gd name="T100" fmla="*/ 157 w 182"/>
              <a:gd name="T101" fmla="*/ 1 h 108"/>
              <a:gd name="T102" fmla="*/ 158 w 182"/>
              <a:gd name="T103" fmla="*/ 2 h 108"/>
              <a:gd name="T104" fmla="*/ 158 w 182"/>
              <a:gd name="T105" fmla="*/ 3 h 108"/>
              <a:gd name="T106" fmla="*/ 158 w 182"/>
              <a:gd name="T107" fmla="*/ 5 h 108"/>
              <a:gd name="T108" fmla="*/ 158 w 182"/>
              <a:gd name="T109" fmla="*/ 6 h 108"/>
              <a:gd name="T110" fmla="*/ 158 w 182"/>
              <a:gd name="T111" fmla="*/ 21 h 108"/>
              <a:gd name="T112" fmla="*/ 158 w 182"/>
              <a:gd name="T113" fmla="*/ 60 h 108"/>
              <a:gd name="T114" fmla="*/ 176 w 182"/>
              <a:gd name="T115" fmla="*/ 60 h 108"/>
              <a:gd name="T116" fmla="*/ 180 w 182"/>
              <a:gd name="T117" fmla="*/ 62 h 108"/>
              <a:gd name="T118" fmla="*/ 182 w 182"/>
              <a:gd name="T119" fmla="*/ 6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2" h="108">
                <a:moveTo>
                  <a:pt x="121" y="105"/>
                </a:moveTo>
                <a:cubicBezTo>
                  <a:pt x="121" y="106"/>
                  <a:pt x="121" y="107"/>
                  <a:pt x="120" y="108"/>
                </a:cubicBezTo>
                <a:cubicBezTo>
                  <a:pt x="120" y="108"/>
                  <a:pt x="119" y="108"/>
                  <a:pt x="118" y="108"/>
                </a:cubicBezTo>
                <a:cubicBezTo>
                  <a:pt x="28" y="108"/>
                  <a:pt x="28" y="108"/>
                  <a:pt x="28" y="108"/>
                </a:cubicBezTo>
                <a:cubicBezTo>
                  <a:pt x="27" y="108"/>
                  <a:pt x="27" y="108"/>
                  <a:pt x="26" y="108"/>
                </a:cubicBezTo>
                <a:cubicBezTo>
                  <a:pt x="26" y="108"/>
                  <a:pt x="26" y="108"/>
                  <a:pt x="25" y="108"/>
                </a:cubicBezTo>
                <a:cubicBezTo>
                  <a:pt x="25" y="107"/>
                  <a:pt x="25" y="107"/>
                  <a:pt x="25" y="107"/>
                </a:cubicBezTo>
                <a:cubicBezTo>
                  <a:pt x="25" y="107"/>
                  <a:pt x="25" y="106"/>
                  <a:pt x="25" y="106"/>
                </a:cubicBezTo>
                <a:cubicBezTo>
                  <a:pt x="25" y="105"/>
                  <a:pt x="24" y="105"/>
                  <a:pt x="24" y="105"/>
                </a:cubicBezTo>
                <a:cubicBezTo>
                  <a:pt x="24" y="104"/>
                  <a:pt x="24" y="104"/>
                  <a:pt x="24" y="103"/>
                </a:cubicBezTo>
                <a:cubicBezTo>
                  <a:pt x="24" y="103"/>
                  <a:pt x="24" y="102"/>
                  <a:pt x="24" y="102"/>
                </a:cubicBezTo>
                <a:cubicBezTo>
                  <a:pt x="24" y="87"/>
                  <a:pt x="24" y="87"/>
                  <a:pt x="24" y="87"/>
                </a:cubicBezTo>
                <a:cubicBezTo>
                  <a:pt x="24" y="48"/>
                  <a:pt x="24" y="48"/>
                  <a:pt x="24" y="48"/>
                </a:cubicBezTo>
                <a:cubicBezTo>
                  <a:pt x="6" y="48"/>
                  <a:pt x="6" y="48"/>
                  <a:pt x="6" y="48"/>
                </a:cubicBezTo>
                <a:cubicBezTo>
                  <a:pt x="5" y="48"/>
                  <a:pt x="3" y="47"/>
                  <a:pt x="2" y="46"/>
                </a:cubicBezTo>
                <a:cubicBezTo>
                  <a:pt x="1" y="45"/>
                  <a:pt x="0" y="44"/>
                  <a:pt x="0" y="42"/>
                </a:cubicBezTo>
                <a:cubicBezTo>
                  <a:pt x="0" y="40"/>
                  <a:pt x="1" y="39"/>
                  <a:pt x="2" y="38"/>
                </a:cubicBezTo>
                <a:cubicBezTo>
                  <a:pt x="32" y="2"/>
                  <a:pt x="32" y="2"/>
                  <a:pt x="32" y="2"/>
                </a:cubicBezTo>
                <a:cubicBezTo>
                  <a:pt x="33" y="0"/>
                  <a:pt x="35" y="0"/>
                  <a:pt x="37" y="0"/>
                </a:cubicBezTo>
                <a:cubicBezTo>
                  <a:pt x="38" y="0"/>
                  <a:pt x="40" y="0"/>
                  <a:pt x="41" y="2"/>
                </a:cubicBezTo>
                <a:cubicBezTo>
                  <a:pt x="71" y="38"/>
                  <a:pt x="71" y="38"/>
                  <a:pt x="71" y="38"/>
                </a:cubicBezTo>
                <a:cubicBezTo>
                  <a:pt x="72" y="39"/>
                  <a:pt x="73" y="40"/>
                  <a:pt x="73" y="42"/>
                </a:cubicBezTo>
                <a:cubicBezTo>
                  <a:pt x="73" y="44"/>
                  <a:pt x="72" y="45"/>
                  <a:pt x="71" y="46"/>
                </a:cubicBezTo>
                <a:cubicBezTo>
                  <a:pt x="70" y="47"/>
                  <a:pt x="68" y="48"/>
                  <a:pt x="67" y="48"/>
                </a:cubicBezTo>
                <a:cubicBezTo>
                  <a:pt x="49" y="48"/>
                  <a:pt x="49" y="48"/>
                  <a:pt x="49" y="48"/>
                </a:cubicBezTo>
                <a:cubicBezTo>
                  <a:pt x="49" y="84"/>
                  <a:pt x="49" y="84"/>
                  <a:pt x="49" y="84"/>
                </a:cubicBezTo>
                <a:cubicBezTo>
                  <a:pt x="103" y="84"/>
                  <a:pt x="103" y="84"/>
                  <a:pt x="103" y="84"/>
                </a:cubicBezTo>
                <a:cubicBezTo>
                  <a:pt x="104" y="84"/>
                  <a:pt x="105" y="85"/>
                  <a:pt x="106" y="85"/>
                </a:cubicBezTo>
                <a:cubicBezTo>
                  <a:pt x="121" y="103"/>
                  <a:pt x="121" y="103"/>
                  <a:pt x="121" y="103"/>
                </a:cubicBezTo>
                <a:cubicBezTo>
                  <a:pt x="121" y="104"/>
                  <a:pt x="121" y="105"/>
                  <a:pt x="121" y="105"/>
                </a:cubicBezTo>
                <a:close/>
                <a:moveTo>
                  <a:pt x="182" y="66"/>
                </a:moveTo>
                <a:cubicBezTo>
                  <a:pt x="182" y="68"/>
                  <a:pt x="181" y="69"/>
                  <a:pt x="180" y="70"/>
                </a:cubicBezTo>
                <a:cubicBezTo>
                  <a:pt x="150" y="106"/>
                  <a:pt x="150" y="106"/>
                  <a:pt x="150" y="106"/>
                </a:cubicBezTo>
                <a:cubicBezTo>
                  <a:pt x="149" y="108"/>
                  <a:pt x="147" y="108"/>
                  <a:pt x="146" y="108"/>
                </a:cubicBezTo>
                <a:cubicBezTo>
                  <a:pt x="144" y="108"/>
                  <a:pt x="142" y="108"/>
                  <a:pt x="141" y="106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10" y="69"/>
                  <a:pt x="109" y="68"/>
                  <a:pt x="109" y="66"/>
                </a:cubicBezTo>
                <a:cubicBezTo>
                  <a:pt x="109" y="64"/>
                  <a:pt x="110" y="63"/>
                  <a:pt x="111" y="62"/>
                </a:cubicBezTo>
                <a:cubicBezTo>
                  <a:pt x="112" y="61"/>
                  <a:pt x="114" y="60"/>
                  <a:pt x="115" y="60"/>
                </a:cubicBezTo>
                <a:cubicBezTo>
                  <a:pt x="133" y="60"/>
                  <a:pt x="133" y="60"/>
                  <a:pt x="133" y="60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79" y="24"/>
                  <a:pt x="79" y="24"/>
                  <a:pt x="79" y="24"/>
                </a:cubicBezTo>
                <a:cubicBezTo>
                  <a:pt x="78" y="24"/>
                  <a:pt x="77" y="23"/>
                  <a:pt x="77" y="23"/>
                </a:cubicBezTo>
                <a:cubicBezTo>
                  <a:pt x="61" y="4"/>
                  <a:pt x="61" y="4"/>
                  <a:pt x="61" y="4"/>
                </a:cubicBezTo>
                <a:cubicBezTo>
                  <a:pt x="61" y="4"/>
                  <a:pt x="61" y="3"/>
                  <a:pt x="61" y="3"/>
                </a:cubicBezTo>
                <a:cubicBezTo>
                  <a:pt x="61" y="2"/>
                  <a:pt x="61" y="1"/>
                  <a:pt x="62" y="0"/>
                </a:cubicBezTo>
                <a:cubicBezTo>
                  <a:pt x="62" y="0"/>
                  <a:pt x="63" y="0"/>
                  <a:pt x="64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0"/>
                  <a:pt x="156" y="0"/>
                  <a:pt x="156" y="0"/>
                </a:cubicBezTo>
                <a:cubicBezTo>
                  <a:pt x="156" y="0"/>
                  <a:pt x="157" y="0"/>
                  <a:pt x="157" y="0"/>
                </a:cubicBezTo>
                <a:cubicBezTo>
                  <a:pt x="157" y="1"/>
                  <a:pt x="157" y="1"/>
                  <a:pt x="157" y="1"/>
                </a:cubicBezTo>
                <a:cubicBezTo>
                  <a:pt x="157" y="1"/>
                  <a:pt x="157" y="2"/>
                  <a:pt x="158" y="2"/>
                </a:cubicBezTo>
                <a:cubicBezTo>
                  <a:pt x="158" y="3"/>
                  <a:pt x="158" y="3"/>
                  <a:pt x="158" y="3"/>
                </a:cubicBezTo>
                <a:cubicBezTo>
                  <a:pt x="158" y="4"/>
                  <a:pt x="158" y="4"/>
                  <a:pt x="158" y="5"/>
                </a:cubicBezTo>
                <a:cubicBezTo>
                  <a:pt x="158" y="5"/>
                  <a:pt x="158" y="6"/>
                  <a:pt x="158" y="6"/>
                </a:cubicBezTo>
                <a:cubicBezTo>
                  <a:pt x="158" y="21"/>
                  <a:pt x="158" y="21"/>
                  <a:pt x="158" y="21"/>
                </a:cubicBezTo>
                <a:cubicBezTo>
                  <a:pt x="158" y="60"/>
                  <a:pt x="158" y="60"/>
                  <a:pt x="158" y="60"/>
                </a:cubicBezTo>
                <a:cubicBezTo>
                  <a:pt x="176" y="60"/>
                  <a:pt x="176" y="60"/>
                  <a:pt x="176" y="60"/>
                </a:cubicBezTo>
                <a:cubicBezTo>
                  <a:pt x="177" y="60"/>
                  <a:pt x="179" y="61"/>
                  <a:pt x="180" y="62"/>
                </a:cubicBezTo>
                <a:cubicBezTo>
                  <a:pt x="181" y="63"/>
                  <a:pt x="182" y="64"/>
                  <a:pt x="182" y="6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0" name="Freeform 120"/>
          <p:cNvSpPr>
            <a:spLocks noChangeAspect="1" noEditPoints="1"/>
          </p:cNvSpPr>
          <p:nvPr/>
        </p:nvSpPr>
        <p:spPr bwMode="auto">
          <a:xfrm>
            <a:off x="740541" y="2497008"/>
            <a:ext cx="162376" cy="138956"/>
          </a:xfrm>
          <a:custGeom>
            <a:avLst/>
            <a:gdLst>
              <a:gd name="T0" fmla="*/ 157 w 157"/>
              <a:gd name="T1" fmla="*/ 19 h 134"/>
              <a:gd name="T2" fmla="*/ 157 w 157"/>
              <a:gd name="T3" fmla="*/ 67 h 134"/>
              <a:gd name="T4" fmla="*/ 156 w 157"/>
              <a:gd name="T5" fmla="*/ 71 h 134"/>
              <a:gd name="T6" fmla="*/ 152 w 157"/>
              <a:gd name="T7" fmla="*/ 73 h 134"/>
              <a:gd name="T8" fmla="*/ 53 w 157"/>
              <a:gd name="T9" fmla="*/ 85 h 134"/>
              <a:gd name="T10" fmla="*/ 54 w 157"/>
              <a:gd name="T11" fmla="*/ 87 h 134"/>
              <a:gd name="T12" fmla="*/ 54 w 157"/>
              <a:gd name="T13" fmla="*/ 89 h 134"/>
              <a:gd name="T14" fmla="*/ 54 w 157"/>
              <a:gd name="T15" fmla="*/ 91 h 134"/>
              <a:gd name="T16" fmla="*/ 52 w 157"/>
              <a:gd name="T17" fmla="*/ 97 h 134"/>
              <a:gd name="T18" fmla="*/ 139 w 157"/>
              <a:gd name="T19" fmla="*/ 97 h 134"/>
              <a:gd name="T20" fmla="*/ 143 w 157"/>
              <a:gd name="T21" fmla="*/ 99 h 134"/>
              <a:gd name="T22" fmla="*/ 145 w 157"/>
              <a:gd name="T23" fmla="*/ 103 h 134"/>
              <a:gd name="T24" fmla="*/ 143 w 157"/>
              <a:gd name="T25" fmla="*/ 108 h 134"/>
              <a:gd name="T26" fmla="*/ 139 w 157"/>
              <a:gd name="T27" fmla="*/ 109 h 134"/>
              <a:gd name="T28" fmla="*/ 42 w 157"/>
              <a:gd name="T29" fmla="*/ 109 h 134"/>
              <a:gd name="T30" fmla="*/ 38 w 157"/>
              <a:gd name="T31" fmla="*/ 108 h 134"/>
              <a:gd name="T32" fmla="*/ 36 w 157"/>
              <a:gd name="T33" fmla="*/ 103 h 134"/>
              <a:gd name="T34" fmla="*/ 37 w 157"/>
              <a:gd name="T35" fmla="*/ 100 h 134"/>
              <a:gd name="T36" fmla="*/ 40 w 157"/>
              <a:gd name="T37" fmla="*/ 94 h 134"/>
              <a:gd name="T38" fmla="*/ 42 w 157"/>
              <a:gd name="T39" fmla="*/ 90 h 134"/>
              <a:gd name="T40" fmla="*/ 25 w 157"/>
              <a:gd name="T41" fmla="*/ 13 h 134"/>
              <a:gd name="T42" fmla="*/ 6 w 157"/>
              <a:gd name="T43" fmla="*/ 13 h 134"/>
              <a:gd name="T44" fmla="*/ 2 w 157"/>
              <a:gd name="T45" fmla="*/ 11 h 134"/>
              <a:gd name="T46" fmla="*/ 0 w 157"/>
              <a:gd name="T47" fmla="*/ 6 h 134"/>
              <a:gd name="T48" fmla="*/ 2 w 157"/>
              <a:gd name="T49" fmla="*/ 2 h 134"/>
              <a:gd name="T50" fmla="*/ 6 w 157"/>
              <a:gd name="T51" fmla="*/ 0 h 134"/>
              <a:gd name="T52" fmla="*/ 30 w 157"/>
              <a:gd name="T53" fmla="*/ 0 h 134"/>
              <a:gd name="T54" fmla="*/ 33 w 157"/>
              <a:gd name="T55" fmla="*/ 1 h 134"/>
              <a:gd name="T56" fmla="*/ 35 w 157"/>
              <a:gd name="T57" fmla="*/ 3 h 134"/>
              <a:gd name="T58" fmla="*/ 36 w 157"/>
              <a:gd name="T59" fmla="*/ 5 h 134"/>
              <a:gd name="T60" fmla="*/ 37 w 157"/>
              <a:gd name="T61" fmla="*/ 7 h 134"/>
              <a:gd name="T62" fmla="*/ 37 w 157"/>
              <a:gd name="T63" fmla="*/ 10 h 134"/>
              <a:gd name="T64" fmla="*/ 38 w 157"/>
              <a:gd name="T65" fmla="*/ 13 h 134"/>
              <a:gd name="T66" fmla="*/ 151 w 157"/>
              <a:gd name="T67" fmla="*/ 13 h 134"/>
              <a:gd name="T68" fmla="*/ 155 w 157"/>
              <a:gd name="T69" fmla="*/ 14 h 134"/>
              <a:gd name="T70" fmla="*/ 157 w 157"/>
              <a:gd name="T71" fmla="*/ 19 h 134"/>
              <a:gd name="T72" fmla="*/ 57 w 157"/>
              <a:gd name="T73" fmla="*/ 113 h 134"/>
              <a:gd name="T74" fmla="*/ 60 w 157"/>
              <a:gd name="T75" fmla="*/ 121 h 134"/>
              <a:gd name="T76" fmla="*/ 57 w 157"/>
              <a:gd name="T77" fmla="*/ 130 h 134"/>
              <a:gd name="T78" fmla="*/ 48 w 157"/>
              <a:gd name="T79" fmla="*/ 134 h 134"/>
              <a:gd name="T80" fmla="*/ 40 w 157"/>
              <a:gd name="T81" fmla="*/ 130 h 134"/>
              <a:gd name="T82" fmla="*/ 36 w 157"/>
              <a:gd name="T83" fmla="*/ 121 h 134"/>
              <a:gd name="T84" fmla="*/ 40 w 157"/>
              <a:gd name="T85" fmla="*/ 113 h 134"/>
              <a:gd name="T86" fmla="*/ 48 w 157"/>
              <a:gd name="T87" fmla="*/ 109 h 134"/>
              <a:gd name="T88" fmla="*/ 57 w 157"/>
              <a:gd name="T89" fmla="*/ 113 h 134"/>
              <a:gd name="T90" fmla="*/ 142 w 157"/>
              <a:gd name="T91" fmla="*/ 113 h 134"/>
              <a:gd name="T92" fmla="*/ 145 w 157"/>
              <a:gd name="T93" fmla="*/ 121 h 134"/>
              <a:gd name="T94" fmla="*/ 142 w 157"/>
              <a:gd name="T95" fmla="*/ 130 h 134"/>
              <a:gd name="T96" fmla="*/ 133 w 157"/>
              <a:gd name="T97" fmla="*/ 134 h 134"/>
              <a:gd name="T98" fmla="*/ 125 w 157"/>
              <a:gd name="T99" fmla="*/ 130 h 134"/>
              <a:gd name="T100" fmla="*/ 121 w 157"/>
              <a:gd name="T101" fmla="*/ 121 h 134"/>
              <a:gd name="T102" fmla="*/ 125 w 157"/>
              <a:gd name="T103" fmla="*/ 113 h 134"/>
              <a:gd name="T104" fmla="*/ 133 w 157"/>
              <a:gd name="T105" fmla="*/ 109 h 134"/>
              <a:gd name="T106" fmla="*/ 142 w 157"/>
              <a:gd name="T107" fmla="*/ 11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4">
                <a:moveTo>
                  <a:pt x="157" y="19"/>
                </a:moveTo>
                <a:cubicBezTo>
                  <a:pt x="157" y="67"/>
                  <a:pt x="157" y="67"/>
                  <a:pt x="157" y="67"/>
                </a:cubicBezTo>
                <a:cubicBezTo>
                  <a:pt x="157" y="69"/>
                  <a:pt x="157" y="70"/>
                  <a:pt x="156" y="71"/>
                </a:cubicBezTo>
                <a:cubicBezTo>
                  <a:pt x="155" y="72"/>
                  <a:pt x="153" y="73"/>
                  <a:pt x="152" y="73"/>
                </a:cubicBezTo>
                <a:cubicBezTo>
                  <a:pt x="53" y="85"/>
                  <a:pt x="53" y="85"/>
                  <a:pt x="53" y="85"/>
                </a:cubicBezTo>
                <a:cubicBezTo>
                  <a:pt x="53" y="85"/>
                  <a:pt x="53" y="86"/>
                  <a:pt x="54" y="87"/>
                </a:cubicBezTo>
                <a:cubicBezTo>
                  <a:pt x="54" y="88"/>
                  <a:pt x="54" y="88"/>
                  <a:pt x="54" y="89"/>
                </a:cubicBezTo>
                <a:cubicBezTo>
                  <a:pt x="54" y="90"/>
                  <a:pt x="54" y="91"/>
                  <a:pt x="54" y="91"/>
                </a:cubicBezTo>
                <a:cubicBezTo>
                  <a:pt x="54" y="92"/>
                  <a:pt x="54" y="94"/>
                  <a:pt x="52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3" y="99"/>
                </a:cubicBezTo>
                <a:cubicBezTo>
                  <a:pt x="145" y="100"/>
                  <a:pt x="145" y="102"/>
                  <a:pt x="145" y="103"/>
                </a:cubicBezTo>
                <a:cubicBezTo>
                  <a:pt x="145" y="105"/>
                  <a:pt x="145" y="106"/>
                  <a:pt x="143" y="108"/>
                </a:cubicBezTo>
                <a:cubicBezTo>
                  <a:pt x="142" y="109"/>
                  <a:pt x="141" y="109"/>
                  <a:pt x="139" y="109"/>
                </a:cubicBezTo>
                <a:cubicBezTo>
                  <a:pt x="42" y="109"/>
                  <a:pt x="42" y="109"/>
                  <a:pt x="42" y="109"/>
                </a:cubicBezTo>
                <a:cubicBezTo>
                  <a:pt x="41" y="109"/>
                  <a:pt x="39" y="109"/>
                  <a:pt x="38" y="108"/>
                </a:cubicBezTo>
                <a:cubicBezTo>
                  <a:pt x="37" y="106"/>
                  <a:pt x="36" y="105"/>
                  <a:pt x="36" y="103"/>
                </a:cubicBezTo>
                <a:cubicBezTo>
                  <a:pt x="36" y="102"/>
                  <a:pt x="37" y="101"/>
                  <a:pt x="37" y="100"/>
                </a:cubicBezTo>
                <a:cubicBezTo>
                  <a:pt x="38" y="98"/>
                  <a:pt x="39" y="96"/>
                  <a:pt x="40" y="94"/>
                </a:cubicBezTo>
                <a:cubicBezTo>
                  <a:pt x="41" y="92"/>
                  <a:pt x="42" y="91"/>
                  <a:pt x="42" y="90"/>
                </a:cubicBezTo>
                <a:cubicBezTo>
                  <a:pt x="25" y="13"/>
                  <a:pt x="25" y="13"/>
                  <a:pt x="25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4" y="13"/>
                  <a:pt x="3" y="12"/>
                  <a:pt x="2" y="11"/>
                </a:cubicBezTo>
                <a:cubicBezTo>
                  <a:pt x="1" y="10"/>
                  <a:pt x="0" y="8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2" y="1"/>
                  <a:pt x="33" y="1"/>
                </a:cubicBezTo>
                <a:cubicBezTo>
                  <a:pt x="34" y="1"/>
                  <a:pt x="34" y="2"/>
                  <a:pt x="35" y="3"/>
                </a:cubicBezTo>
                <a:cubicBezTo>
                  <a:pt x="35" y="3"/>
                  <a:pt x="36" y="4"/>
                  <a:pt x="36" y="5"/>
                </a:cubicBezTo>
                <a:cubicBezTo>
                  <a:pt x="36" y="6"/>
                  <a:pt x="37" y="7"/>
                  <a:pt x="37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1"/>
                  <a:pt x="38" y="12"/>
                  <a:pt x="38" y="13"/>
                </a:cubicBezTo>
                <a:cubicBezTo>
                  <a:pt x="151" y="13"/>
                  <a:pt x="151" y="13"/>
                  <a:pt x="151" y="13"/>
                </a:cubicBezTo>
                <a:cubicBezTo>
                  <a:pt x="153" y="13"/>
                  <a:pt x="154" y="13"/>
                  <a:pt x="155" y="14"/>
                </a:cubicBezTo>
                <a:cubicBezTo>
                  <a:pt x="157" y="16"/>
                  <a:pt x="157" y="17"/>
                  <a:pt x="157" y="19"/>
                </a:cubicBezTo>
                <a:close/>
                <a:moveTo>
                  <a:pt x="57" y="113"/>
                </a:moveTo>
                <a:cubicBezTo>
                  <a:pt x="59" y="115"/>
                  <a:pt x="60" y="118"/>
                  <a:pt x="60" y="121"/>
                </a:cubicBezTo>
                <a:cubicBezTo>
                  <a:pt x="60" y="125"/>
                  <a:pt x="59" y="128"/>
                  <a:pt x="57" y="130"/>
                </a:cubicBezTo>
                <a:cubicBezTo>
                  <a:pt x="55" y="132"/>
                  <a:pt x="52" y="134"/>
                  <a:pt x="48" y="134"/>
                </a:cubicBezTo>
                <a:cubicBezTo>
                  <a:pt x="45" y="134"/>
                  <a:pt x="42" y="132"/>
                  <a:pt x="40" y="130"/>
                </a:cubicBezTo>
                <a:cubicBezTo>
                  <a:pt x="37" y="128"/>
                  <a:pt x="36" y="125"/>
                  <a:pt x="36" y="121"/>
                </a:cubicBezTo>
                <a:cubicBezTo>
                  <a:pt x="36" y="118"/>
                  <a:pt x="37" y="115"/>
                  <a:pt x="40" y="113"/>
                </a:cubicBezTo>
                <a:cubicBezTo>
                  <a:pt x="42" y="111"/>
                  <a:pt x="45" y="109"/>
                  <a:pt x="48" y="109"/>
                </a:cubicBezTo>
                <a:cubicBezTo>
                  <a:pt x="52" y="109"/>
                  <a:pt x="55" y="111"/>
                  <a:pt x="57" y="113"/>
                </a:cubicBezTo>
                <a:close/>
                <a:moveTo>
                  <a:pt x="142" y="113"/>
                </a:moveTo>
                <a:cubicBezTo>
                  <a:pt x="144" y="115"/>
                  <a:pt x="145" y="118"/>
                  <a:pt x="145" y="121"/>
                </a:cubicBezTo>
                <a:cubicBezTo>
                  <a:pt x="145" y="125"/>
                  <a:pt x="144" y="128"/>
                  <a:pt x="142" y="130"/>
                </a:cubicBezTo>
                <a:cubicBezTo>
                  <a:pt x="139" y="132"/>
                  <a:pt x="136" y="134"/>
                  <a:pt x="133" y="134"/>
                </a:cubicBezTo>
                <a:cubicBezTo>
                  <a:pt x="130" y="134"/>
                  <a:pt x="127" y="132"/>
                  <a:pt x="125" y="130"/>
                </a:cubicBezTo>
                <a:cubicBezTo>
                  <a:pt x="122" y="128"/>
                  <a:pt x="121" y="125"/>
                  <a:pt x="121" y="121"/>
                </a:cubicBezTo>
                <a:cubicBezTo>
                  <a:pt x="121" y="118"/>
                  <a:pt x="122" y="115"/>
                  <a:pt x="125" y="113"/>
                </a:cubicBezTo>
                <a:cubicBezTo>
                  <a:pt x="127" y="111"/>
                  <a:pt x="130" y="109"/>
                  <a:pt x="133" y="109"/>
                </a:cubicBezTo>
                <a:cubicBezTo>
                  <a:pt x="136" y="109"/>
                  <a:pt x="139" y="111"/>
                  <a:pt x="142" y="1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1" name="Freeform 121"/>
          <p:cNvSpPr>
            <a:spLocks noChangeAspect="1"/>
          </p:cNvSpPr>
          <p:nvPr/>
        </p:nvSpPr>
        <p:spPr bwMode="auto">
          <a:xfrm>
            <a:off x="946633" y="2484518"/>
            <a:ext cx="162376" cy="138956"/>
          </a:xfrm>
          <a:custGeom>
            <a:avLst/>
            <a:gdLst>
              <a:gd name="T0" fmla="*/ 157 w 157"/>
              <a:gd name="T1" fmla="*/ 46 h 133"/>
              <a:gd name="T2" fmla="*/ 157 w 157"/>
              <a:gd name="T3" fmla="*/ 112 h 133"/>
              <a:gd name="T4" fmla="*/ 151 w 157"/>
              <a:gd name="T5" fmla="*/ 127 h 133"/>
              <a:gd name="T6" fmla="*/ 136 w 157"/>
              <a:gd name="T7" fmla="*/ 133 h 133"/>
              <a:gd name="T8" fmla="*/ 21 w 157"/>
              <a:gd name="T9" fmla="*/ 133 h 133"/>
              <a:gd name="T10" fmla="*/ 6 w 157"/>
              <a:gd name="T11" fmla="*/ 127 h 133"/>
              <a:gd name="T12" fmla="*/ 0 w 157"/>
              <a:gd name="T13" fmla="*/ 112 h 133"/>
              <a:gd name="T14" fmla="*/ 0 w 157"/>
              <a:gd name="T15" fmla="*/ 22 h 133"/>
              <a:gd name="T16" fmla="*/ 6 w 157"/>
              <a:gd name="T17" fmla="*/ 7 h 133"/>
              <a:gd name="T18" fmla="*/ 21 w 157"/>
              <a:gd name="T19" fmla="*/ 0 h 133"/>
              <a:gd name="T20" fmla="*/ 51 w 157"/>
              <a:gd name="T21" fmla="*/ 0 h 133"/>
              <a:gd name="T22" fmla="*/ 66 w 157"/>
              <a:gd name="T23" fmla="*/ 7 h 133"/>
              <a:gd name="T24" fmla="*/ 72 w 157"/>
              <a:gd name="T25" fmla="*/ 22 h 133"/>
              <a:gd name="T26" fmla="*/ 72 w 157"/>
              <a:gd name="T27" fmla="*/ 25 h 133"/>
              <a:gd name="T28" fmla="*/ 136 w 157"/>
              <a:gd name="T29" fmla="*/ 25 h 133"/>
              <a:gd name="T30" fmla="*/ 151 w 157"/>
              <a:gd name="T31" fmla="*/ 31 h 133"/>
              <a:gd name="T32" fmla="*/ 157 w 157"/>
              <a:gd name="T33" fmla="*/ 4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7" h="133">
                <a:moveTo>
                  <a:pt x="157" y="46"/>
                </a:moveTo>
                <a:cubicBezTo>
                  <a:pt x="157" y="112"/>
                  <a:pt x="157" y="112"/>
                  <a:pt x="157" y="112"/>
                </a:cubicBezTo>
                <a:cubicBezTo>
                  <a:pt x="157" y="118"/>
                  <a:pt x="155" y="123"/>
                  <a:pt x="151" y="127"/>
                </a:cubicBezTo>
                <a:cubicBezTo>
                  <a:pt x="147" y="131"/>
                  <a:pt x="142" y="133"/>
                  <a:pt x="136" y="133"/>
                </a:cubicBezTo>
                <a:cubicBezTo>
                  <a:pt x="21" y="133"/>
                  <a:pt x="21" y="133"/>
                  <a:pt x="21" y="133"/>
                </a:cubicBezTo>
                <a:cubicBezTo>
                  <a:pt x="15" y="133"/>
                  <a:pt x="10" y="131"/>
                  <a:pt x="6" y="127"/>
                </a:cubicBezTo>
                <a:cubicBezTo>
                  <a:pt x="2" y="123"/>
                  <a:pt x="0" y="118"/>
                  <a:pt x="0" y="11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6"/>
                  <a:pt x="2" y="11"/>
                  <a:pt x="6" y="7"/>
                </a:cubicBezTo>
                <a:cubicBezTo>
                  <a:pt x="10" y="2"/>
                  <a:pt x="15" y="0"/>
                  <a:pt x="2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7" y="0"/>
                  <a:pt x="62" y="2"/>
                  <a:pt x="66" y="7"/>
                </a:cubicBezTo>
                <a:cubicBezTo>
                  <a:pt x="70" y="11"/>
                  <a:pt x="72" y="16"/>
                  <a:pt x="72" y="22"/>
                </a:cubicBezTo>
                <a:cubicBezTo>
                  <a:pt x="72" y="25"/>
                  <a:pt x="72" y="25"/>
                  <a:pt x="72" y="25"/>
                </a:cubicBezTo>
                <a:cubicBezTo>
                  <a:pt x="136" y="25"/>
                  <a:pt x="136" y="25"/>
                  <a:pt x="136" y="25"/>
                </a:cubicBezTo>
                <a:cubicBezTo>
                  <a:pt x="142" y="25"/>
                  <a:pt x="147" y="27"/>
                  <a:pt x="151" y="31"/>
                </a:cubicBezTo>
                <a:cubicBezTo>
                  <a:pt x="155" y="35"/>
                  <a:pt x="157" y="40"/>
                  <a:pt x="157" y="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2" name="Freeform 122"/>
          <p:cNvSpPr>
            <a:spLocks noChangeAspect="1" noEditPoints="1"/>
          </p:cNvSpPr>
          <p:nvPr/>
        </p:nvSpPr>
        <p:spPr bwMode="auto">
          <a:xfrm>
            <a:off x="1152726" y="2484518"/>
            <a:ext cx="182673" cy="138956"/>
          </a:xfrm>
          <a:custGeom>
            <a:avLst/>
            <a:gdLst>
              <a:gd name="T0" fmla="*/ 145 w 177"/>
              <a:gd name="T1" fmla="*/ 46 h 133"/>
              <a:gd name="T2" fmla="*/ 145 w 177"/>
              <a:gd name="T3" fmla="*/ 61 h 133"/>
              <a:gd name="T4" fmla="*/ 66 w 177"/>
              <a:gd name="T5" fmla="*/ 61 h 133"/>
              <a:gd name="T6" fmla="*/ 48 w 177"/>
              <a:gd name="T7" fmla="*/ 65 h 133"/>
              <a:gd name="T8" fmla="*/ 32 w 177"/>
              <a:gd name="T9" fmla="*/ 77 h 133"/>
              <a:gd name="T10" fmla="*/ 0 w 177"/>
              <a:gd name="T11" fmla="*/ 114 h 133"/>
              <a:gd name="T12" fmla="*/ 0 w 177"/>
              <a:gd name="T13" fmla="*/ 115 h 133"/>
              <a:gd name="T14" fmla="*/ 0 w 177"/>
              <a:gd name="T15" fmla="*/ 113 h 133"/>
              <a:gd name="T16" fmla="*/ 0 w 177"/>
              <a:gd name="T17" fmla="*/ 112 h 133"/>
              <a:gd name="T18" fmla="*/ 0 w 177"/>
              <a:gd name="T19" fmla="*/ 22 h 133"/>
              <a:gd name="T20" fmla="*/ 6 w 177"/>
              <a:gd name="T21" fmla="*/ 7 h 133"/>
              <a:gd name="T22" fmla="*/ 21 w 177"/>
              <a:gd name="T23" fmla="*/ 0 h 133"/>
              <a:gd name="T24" fmla="*/ 51 w 177"/>
              <a:gd name="T25" fmla="*/ 0 h 133"/>
              <a:gd name="T26" fmla="*/ 66 w 177"/>
              <a:gd name="T27" fmla="*/ 7 h 133"/>
              <a:gd name="T28" fmla="*/ 72 w 177"/>
              <a:gd name="T29" fmla="*/ 22 h 133"/>
              <a:gd name="T30" fmla="*/ 72 w 177"/>
              <a:gd name="T31" fmla="*/ 25 h 133"/>
              <a:gd name="T32" fmla="*/ 124 w 177"/>
              <a:gd name="T33" fmla="*/ 25 h 133"/>
              <a:gd name="T34" fmla="*/ 139 w 177"/>
              <a:gd name="T35" fmla="*/ 31 h 133"/>
              <a:gd name="T36" fmla="*/ 145 w 177"/>
              <a:gd name="T37" fmla="*/ 46 h 133"/>
              <a:gd name="T38" fmla="*/ 177 w 177"/>
              <a:gd name="T39" fmla="*/ 78 h 133"/>
              <a:gd name="T40" fmla="*/ 174 w 177"/>
              <a:gd name="T41" fmla="*/ 84 h 133"/>
              <a:gd name="T42" fmla="*/ 143 w 177"/>
              <a:gd name="T43" fmla="*/ 122 h 133"/>
              <a:gd name="T44" fmla="*/ 131 w 177"/>
              <a:gd name="T45" fmla="*/ 130 h 133"/>
              <a:gd name="T46" fmla="*/ 118 w 177"/>
              <a:gd name="T47" fmla="*/ 133 h 133"/>
              <a:gd name="T48" fmla="*/ 15 w 177"/>
              <a:gd name="T49" fmla="*/ 133 h 133"/>
              <a:gd name="T50" fmla="*/ 9 w 177"/>
              <a:gd name="T51" fmla="*/ 132 h 133"/>
              <a:gd name="T52" fmla="*/ 7 w 177"/>
              <a:gd name="T53" fmla="*/ 128 h 133"/>
              <a:gd name="T54" fmla="*/ 10 w 177"/>
              <a:gd name="T55" fmla="*/ 122 h 133"/>
              <a:gd name="T56" fmla="*/ 41 w 177"/>
              <a:gd name="T57" fmla="*/ 84 h 133"/>
              <a:gd name="T58" fmla="*/ 53 w 177"/>
              <a:gd name="T59" fmla="*/ 76 h 133"/>
              <a:gd name="T60" fmla="*/ 66 w 177"/>
              <a:gd name="T61" fmla="*/ 73 h 133"/>
              <a:gd name="T62" fmla="*/ 169 w 177"/>
              <a:gd name="T63" fmla="*/ 73 h 133"/>
              <a:gd name="T64" fmla="*/ 175 w 177"/>
              <a:gd name="T65" fmla="*/ 74 h 133"/>
              <a:gd name="T66" fmla="*/ 177 w 177"/>
              <a:gd name="T67" fmla="*/ 78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7" h="133">
                <a:moveTo>
                  <a:pt x="145" y="46"/>
                </a:moveTo>
                <a:cubicBezTo>
                  <a:pt x="145" y="61"/>
                  <a:pt x="145" y="61"/>
                  <a:pt x="145" y="61"/>
                </a:cubicBezTo>
                <a:cubicBezTo>
                  <a:pt x="66" y="61"/>
                  <a:pt x="66" y="61"/>
                  <a:pt x="66" y="61"/>
                </a:cubicBezTo>
                <a:cubicBezTo>
                  <a:pt x="60" y="61"/>
                  <a:pt x="54" y="62"/>
                  <a:pt x="48" y="65"/>
                </a:cubicBezTo>
                <a:cubicBezTo>
                  <a:pt x="41" y="68"/>
                  <a:pt x="36" y="72"/>
                  <a:pt x="32" y="77"/>
                </a:cubicBezTo>
                <a:cubicBezTo>
                  <a:pt x="0" y="114"/>
                  <a:pt x="0" y="114"/>
                  <a:pt x="0" y="114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4"/>
                  <a:pt x="0" y="114"/>
                  <a:pt x="0" y="113"/>
                </a:cubicBezTo>
                <a:cubicBezTo>
                  <a:pt x="0" y="113"/>
                  <a:pt x="0" y="113"/>
                  <a:pt x="0" y="11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6"/>
                  <a:pt x="2" y="11"/>
                  <a:pt x="6" y="7"/>
                </a:cubicBezTo>
                <a:cubicBezTo>
                  <a:pt x="10" y="2"/>
                  <a:pt x="15" y="0"/>
                  <a:pt x="2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7" y="0"/>
                  <a:pt x="62" y="2"/>
                  <a:pt x="66" y="7"/>
                </a:cubicBezTo>
                <a:cubicBezTo>
                  <a:pt x="70" y="11"/>
                  <a:pt x="72" y="16"/>
                  <a:pt x="72" y="22"/>
                </a:cubicBezTo>
                <a:cubicBezTo>
                  <a:pt x="72" y="25"/>
                  <a:pt x="72" y="25"/>
                  <a:pt x="72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30" y="25"/>
                  <a:pt x="135" y="27"/>
                  <a:pt x="139" y="31"/>
                </a:cubicBezTo>
                <a:cubicBezTo>
                  <a:pt x="143" y="35"/>
                  <a:pt x="145" y="40"/>
                  <a:pt x="145" y="46"/>
                </a:cubicBezTo>
                <a:close/>
                <a:moveTo>
                  <a:pt x="177" y="78"/>
                </a:moveTo>
                <a:cubicBezTo>
                  <a:pt x="177" y="80"/>
                  <a:pt x="176" y="82"/>
                  <a:pt x="174" y="84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0" y="125"/>
                  <a:pt x="136" y="128"/>
                  <a:pt x="131" y="130"/>
                </a:cubicBezTo>
                <a:cubicBezTo>
                  <a:pt x="126" y="132"/>
                  <a:pt x="122" y="133"/>
                  <a:pt x="118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3" y="133"/>
                  <a:pt x="11" y="133"/>
                  <a:pt x="9" y="132"/>
                </a:cubicBezTo>
                <a:cubicBezTo>
                  <a:pt x="7" y="131"/>
                  <a:pt x="7" y="130"/>
                  <a:pt x="7" y="128"/>
                </a:cubicBezTo>
                <a:cubicBezTo>
                  <a:pt x="7" y="126"/>
                  <a:pt x="8" y="124"/>
                  <a:pt x="10" y="122"/>
                </a:cubicBezTo>
                <a:cubicBezTo>
                  <a:pt x="41" y="84"/>
                  <a:pt x="41" y="84"/>
                  <a:pt x="41" y="84"/>
                </a:cubicBezTo>
                <a:cubicBezTo>
                  <a:pt x="44" y="81"/>
                  <a:pt x="48" y="79"/>
                  <a:pt x="53" y="76"/>
                </a:cubicBezTo>
                <a:cubicBezTo>
                  <a:pt x="58" y="74"/>
                  <a:pt x="62" y="73"/>
                  <a:pt x="66" y="73"/>
                </a:cubicBezTo>
                <a:cubicBezTo>
                  <a:pt x="169" y="73"/>
                  <a:pt x="169" y="73"/>
                  <a:pt x="169" y="73"/>
                </a:cubicBezTo>
                <a:cubicBezTo>
                  <a:pt x="171" y="73"/>
                  <a:pt x="173" y="73"/>
                  <a:pt x="175" y="74"/>
                </a:cubicBezTo>
                <a:cubicBezTo>
                  <a:pt x="177" y="75"/>
                  <a:pt x="177" y="76"/>
                  <a:pt x="177" y="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3" name="Freeform 123"/>
          <p:cNvSpPr>
            <a:spLocks noChangeAspect="1"/>
          </p:cNvSpPr>
          <p:nvPr/>
        </p:nvSpPr>
        <p:spPr bwMode="auto">
          <a:xfrm>
            <a:off x="1390045" y="2473588"/>
            <a:ext cx="62452" cy="174866"/>
          </a:xfrm>
          <a:custGeom>
            <a:avLst/>
            <a:gdLst>
              <a:gd name="T0" fmla="*/ 60 w 60"/>
              <a:gd name="T1" fmla="*/ 30 h 170"/>
              <a:gd name="T2" fmla="*/ 59 w 60"/>
              <a:gd name="T3" fmla="*/ 35 h 170"/>
              <a:gd name="T4" fmla="*/ 54 w 60"/>
              <a:gd name="T5" fmla="*/ 37 h 170"/>
              <a:gd name="T6" fmla="*/ 42 w 60"/>
              <a:gd name="T7" fmla="*/ 37 h 170"/>
              <a:gd name="T8" fmla="*/ 42 w 60"/>
              <a:gd name="T9" fmla="*/ 133 h 170"/>
              <a:gd name="T10" fmla="*/ 54 w 60"/>
              <a:gd name="T11" fmla="*/ 133 h 170"/>
              <a:gd name="T12" fmla="*/ 59 w 60"/>
              <a:gd name="T13" fmla="*/ 135 h 170"/>
              <a:gd name="T14" fmla="*/ 60 w 60"/>
              <a:gd name="T15" fmla="*/ 139 h 170"/>
              <a:gd name="T16" fmla="*/ 59 w 60"/>
              <a:gd name="T17" fmla="*/ 144 h 170"/>
              <a:gd name="T18" fmla="*/ 34 w 60"/>
              <a:gd name="T19" fmla="*/ 168 h 170"/>
              <a:gd name="T20" fmla="*/ 30 w 60"/>
              <a:gd name="T21" fmla="*/ 170 h 170"/>
              <a:gd name="T22" fmla="*/ 26 w 60"/>
              <a:gd name="T23" fmla="*/ 168 h 170"/>
              <a:gd name="T24" fmla="*/ 2 w 60"/>
              <a:gd name="T25" fmla="*/ 144 h 170"/>
              <a:gd name="T26" fmla="*/ 0 w 60"/>
              <a:gd name="T27" fmla="*/ 139 h 170"/>
              <a:gd name="T28" fmla="*/ 2 w 60"/>
              <a:gd name="T29" fmla="*/ 135 h 170"/>
              <a:gd name="T30" fmla="*/ 6 w 60"/>
              <a:gd name="T31" fmla="*/ 133 h 170"/>
              <a:gd name="T32" fmla="*/ 18 w 60"/>
              <a:gd name="T33" fmla="*/ 133 h 170"/>
              <a:gd name="T34" fmla="*/ 18 w 60"/>
              <a:gd name="T35" fmla="*/ 37 h 170"/>
              <a:gd name="T36" fmla="*/ 6 w 60"/>
              <a:gd name="T37" fmla="*/ 37 h 170"/>
              <a:gd name="T38" fmla="*/ 2 w 60"/>
              <a:gd name="T39" fmla="*/ 35 h 170"/>
              <a:gd name="T40" fmla="*/ 0 w 60"/>
              <a:gd name="T41" fmla="*/ 30 h 170"/>
              <a:gd name="T42" fmla="*/ 2 w 60"/>
              <a:gd name="T43" fmla="*/ 26 h 170"/>
              <a:gd name="T44" fmla="*/ 26 w 60"/>
              <a:gd name="T45" fmla="*/ 2 h 170"/>
              <a:gd name="T46" fmla="*/ 30 w 60"/>
              <a:gd name="T47" fmla="*/ 0 h 170"/>
              <a:gd name="T48" fmla="*/ 34 w 60"/>
              <a:gd name="T49" fmla="*/ 2 h 170"/>
              <a:gd name="T50" fmla="*/ 59 w 60"/>
              <a:gd name="T51" fmla="*/ 26 h 170"/>
              <a:gd name="T52" fmla="*/ 60 w 60"/>
              <a:gd name="T53" fmla="*/ 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" h="170">
                <a:moveTo>
                  <a:pt x="60" y="30"/>
                </a:moveTo>
                <a:cubicBezTo>
                  <a:pt x="60" y="32"/>
                  <a:pt x="60" y="34"/>
                  <a:pt x="59" y="35"/>
                </a:cubicBezTo>
                <a:cubicBezTo>
                  <a:pt x="57" y="36"/>
                  <a:pt x="56" y="37"/>
                  <a:pt x="54" y="37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133"/>
                  <a:pt x="42" y="133"/>
                  <a:pt x="42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6" y="133"/>
                  <a:pt x="57" y="134"/>
                  <a:pt x="59" y="135"/>
                </a:cubicBezTo>
                <a:cubicBezTo>
                  <a:pt x="60" y="136"/>
                  <a:pt x="60" y="138"/>
                  <a:pt x="60" y="139"/>
                </a:cubicBezTo>
                <a:cubicBezTo>
                  <a:pt x="60" y="141"/>
                  <a:pt x="60" y="142"/>
                  <a:pt x="59" y="144"/>
                </a:cubicBezTo>
                <a:cubicBezTo>
                  <a:pt x="34" y="168"/>
                  <a:pt x="34" y="168"/>
                  <a:pt x="34" y="168"/>
                </a:cubicBezTo>
                <a:cubicBezTo>
                  <a:pt x="33" y="169"/>
                  <a:pt x="32" y="170"/>
                  <a:pt x="30" y="170"/>
                </a:cubicBezTo>
                <a:cubicBezTo>
                  <a:pt x="28" y="170"/>
                  <a:pt x="27" y="169"/>
                  <a:pt x="26" y="168"/>
                </a:cubicBezTo>
                <a:cubicBezTo>
                  <a:pt x="2" y="144"/>
                  <a:pt x="2" y="144"/>
                  <a:pt x="2" y="144"/>
                </a:cubicBezTo>
                <a:cubicBezTo>
                  <a:pt x="0" y="142"/>
                  <a:pt x="0" y="141"/>
                  <a:pt x="0" y="139"/>
                </a:cubicBezTo>
                <a:cubicBezTo>
                  <a:pt x="0" y="138"/>
                  <a:pt x="0" y="136"/>
                  <a:pt x="2" y="135"/>
                </a:cubicBezTo>
                <a:cubicBezTo>
                  <a:pt x="3" y="134"/>
                  <a:pt x="4" y="133"/>
                  <a:pt x="6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8" y="37"/>
                  <a:pt x="18" y="37"/>
                  <a:pt x="18" y="37"/>
                </a:cubicBezTo>
                <a:cubicBezTo>
                  <a:pt x="6" y="37"/>
                  <a:pt x="6" y="37"/>
                  <a:pt x="6" y="37"/>
                </a:cubicBezTo>
                <a:cubicBezTo>
                  <a:pt x="4" y="37"/>
                  <a:pt x="3" y="36"/>
                  <a:pt x="2" y="35"/>
                </a:cubicBezTo>
                <a:cubicBezTo>
                  <a:pt x="0" y="34"/>
                  <a:pt x="0" y="32"/>
                  <a:pt x="0" y="30"/>
                </a:cubicBezTo>
                <a:cubicBezTo>
                  <a:pt x="0" y="29"/>
                  <a:pt x="0" y="27"/>
                  <a:pt x="2" y="26"/>
                </a:cubicBezTo>
                <a:cubicBezTo>
                  <a:pt x="26" y="2"/>
                  <a:pt x="26" y="2"/>
                  <a:pt x="26" y="2"/>
                </a:cubicBezTo>
                <a:cubicBezTo>
                  <a:pt x="27" y="1"/>
                  <a:pt x="28" y="0"/>
                  <a:pt x="30" y="0"/>
                </a:cubicBezTo>
                <a:cubicBezTo>
                  <a:pt x="32" y="0"/>
                  <a:pt x="33" y="1"/>
                  <a:pt x="34" y="2"/>
                </a:cubicBezTo>
                <a:cubicBezTo>
                  <a:pt x="59" y="26"/>
                  <a:pt x="59" y="26"/>
                  <a:pt x="59" y="26"/>
                </a:cubicBezTo>
                <a:cubicBezTo>
                  <a:pt x="60" y="27"/>
                  <a:pt x="60" y="29"/>
                  <a:pt x="60" y="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4" name="Freeform 124"/>
          <p:cNvSpPr>
            <a:spLocks noChangeAspect="1"/>
          </p:cNvSpPr>
          <p:nvPr/>
        </p:nvSpPr>
        <p:spPr bwMode="auto">
          <a:xfrm>
            <a:off x="1500897" y="2529795"/>
            <a:ext cx="176428" cy="62452"/>
          </a:xfrm>
          <a:custGeom>
            <a:avLst/>
            <a:gdLst>
              <a:gd name="T0" fmla="*/ 169 w 169"/>
              <a:gd name="T1" fmla="*/ 30 h 60"/>
              <a:gd name="T2" fmla="*/ 168 w 169"/>
              <a:gd name="T3" fmla="*/ 34 h 60"/>
              <a:gd name="T4" fmla="*/ 143 w 169"/>
              <a:gd name="T5" fmla="*/ 58 h 60"/>
              <a:gd name="T6" fmla="*/ 139 w 169"/>
              <a:gd name="T7" fmla="*/ 60 h 60"/>
              <a:gd name="T8" fmla="*/ 135 w 169"/>
              <a:gd name="T9" fmla="*/ 58 h 60"/>
              <a:gd name="T10" fmla="*/ 133 w 169"/>
              <a:gd name="T11" fmla="*/ 54 h 60"/>
              <a:gd name="T12" fmla="*/ 133 w 169"/>
              <a:gd name="T13" fmla="*/ 42 h 60"/>
              <a:gd name="T14" fmla="*/ 36 w 169"/>
              <a:gd name="T15" fmla="*/ 42 h 60"/>
              <a:gd name="T16" fmla="*/ 36 w 169"/>
              <a:gd name="T17" fmla="*/ 54 h 60"/>
              <a:gd name="T18" fmla="*/ 34 w 169"/>
              <a:gd name="T19" fmla="*/ 58 h 60"/>
              <a:gd name="T20" fmla="*/ 30 w 169"/>
              <a:gd name="T21" fmla="*/ 60 h 60"/>
              <a:gd name="T22" fmla="*/ 26 w 169"/>
              <a:gd name="T23" fmla="*/ 58 h 60"/>
              <a:gd name="T24" fmla="*/ 2 w 169"/>
              <a:gd name="T25" fmla="*/ 34 h 60"/>
              <a:gd name="T26" fmla="*/ 0 w 169"/>
              <a:gd name="T27" fmla="*/ 30 h 60"/>
              <a:gd name="T28" fmla="*/ 2 w 169"/>
              <a:gd name="T29" fmla="*/ 26 h 60"/>
              <a:gd name="T30" fmla="*/ 26 w 169"/>
              <a:gd name="T31" fmla="*/ 1 h 60"/>
              <a:gd name="T32" fmla="*/ 30 w 169"/>
              <a:gd name="T33" fmla="*/ 0 h 60"/>
              <a:gd name="T34" fmla="*/ 34 w 169"/>
              <a:gd name="T35" fmla="*/ 1 h 60"/>
              <a:gd name="T36" fmla="*/ 36 w 169"/>
              <a:gd name="T37" fmla="*/ 6 h 60"/>
              <a:gd name="T38" fmla="*/ 36 w 169"/>
              <a:gd name="T39" fmla="*/ 18 h 60"/>
              <a:gd name="T40" fmla="*/ 133 w 169"/>
              <a:gd name="T41" fmla="*/ 18 h 60"/>
              <a:gd name="T42" fmla="*/ 133 w 169"/>
              <a:gd name="T43" fmla="*/ 6 h 60"/>
              <a:gd name="T44" fmla="*/ 135 w 169"/>
              <a:gd name="T45" fmla="*/ 1 h 60"/>
              <a:gd name="T46" fmla="*/ 139 w 169"/>
              <a:gd name="T47" fmla="*/ 0 h 60"/>
              <a:gd name="T48" fmla="*/ 143 w 169"/>
              <a:gd name="T49" fmla="*/ 1 h 60"/>
              <a:gd name="T50" fmla="*/ 168 w 169"/>
              <a:gd name="T51" fmla="*/ 26 h 60"/>
              <a:gd name="T52" fmla="*/ 169 w 169"/>
              <a:gd name="T53" fmla="*/ 3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9" h="60">
                <a:moveTo>
                  <a:pt x="169" y="30"/>
                </a:moveTo>
                <a:cubicBezTo>
                  <a:pt x="169" y="32"/>
                  <a:pt x="169" y="33"/>
                  <a:pt x="168" y="34"/>
                </a:cubicBezTo>
                <a:cubicBezTo>
                  <a:pt x="143" y="58"/>
                  <a:pt x="143" y="58"/>
                  <a:pt x="143" y="58"/>
                </a:cubicBezTo>
                <a:cubicBezTo>
                  <a:pt x="142" y="60"/>
                  <a:pt x="141" y="60"/>
                  <a:pt x="139" y="60"/>
                </a:cubicBezTo>
                <a:cubicBezTo>
                  <a:pt x="137" y="60"/>
                  <a:pt x="136" y="60"/>
                  <a:pt x="135" y="58"/>
                </a:cubicBezTo>
                <a:cubicBezTo>
                  <a:pt x="134" y="57"/>
                  <a:pt x="133" y="56"/>
                  <a:pt x="133" y="54"/>
                </a:cubicBezTo>
                <a:cubicBezTo>
                  <a:pt x="133" y="42"/>
                  <a:pt x="133" y="42"/>
                  <a:pt x="133" y="42"/>
                </a:cubicBezTo>
                <a:cubicBezTo>
                  <a:pt x="36" y="42"/>
                  <a:pt x="36" y="42"/>
                  <a:pt x="36" y="42"/>
                </a:cubicBezTo>
                <a:cubicBezTo>
                  <a:pt x="36" y="54"/>
                  <a:pt x="36" y="54"/>
                  <a:pt x="36" y="54"/>
                </a:cubicBezTo>
                <a:cubicBezTo>
                  <a:pt x="36" y="56"/>
                  <a:pt x="36" y="57"/>
                  <a:pt x="34" y="58"/>
                </a:cubicBezTo>
                <a:cubicBezTo>
                  <a:pt x="33" y="60"/>
                  <a:pt x="32" y="60"/>
                  <a:pt x="30" y="60"/>
                </a:cubicBezTo>
                <a:cubicBezTo>
                  <a:pt x="29" y="60"/>
                  <a:pt x="27" y="60"/>
                  <a:pt x="26" y="58"/>
                </a:cubicBezTo>
                <a:cubicBezTo>
                  <a:pt x="2" y="34"/>
                  <a:pt x="2" y="34"/>
                  <a:pt x="2" y="34"/>
                </a:cubicBezTo>
                <a:cubicBezTo>
                  <a:pt x="1" y="33"/>
                  <a:pt x="0" y="32"/>
                  <a:pt x="0" y="30"/>
                </a:cubicBezTo>
                <a:cubicBezTo>
                  <a:pt x="0" y="28"/>
                  <a:pt x="1" y="27"/>
                  <a:pt x="2" y="26"/>
                </a:cubicBezTo>
                <a:cubicBezTo>
                  <a:pt x="26" y="1"/>
                  <a:pt x="26" y="1"/>
                  <a:pt x="26" y="1"/>
                </a:cubicBezTo>
                <a:cubicBezTo>
                  <a:pt x="27" y="0"/>
                  <a:pt x="29" y="0"/>
                  <a:pt x="30" y="0"/>
                </a:cubicBezTo>
                <a:cubicBezTo>
                  <a:pt x="32" y="0"/>
                  <a:pt x="33" y="0"/>
                  <a:pt x="34" y="1"/>
                </a:cubicBezTo>
                <a:cubicBezTo>
                  <a:pt x="36" y="3"/>
                  <a:pt x="36" y="4"/>
                  <a:pt x="36" y="6"/>
                </a:cubicBezTo>
                <a:cubicBezTo>
                  <a:pt x="36" y="18"/>
                  <a:pt x="36" y="18"/>
                  <a:pt x="36" y="18"/>
                </a:cubicBezTo>
                <a:cubicBezTo>
                  <a:pt x="133" y="18"/>
                  <a:pt x="133" y="18"/>
                  <a:pt x="133" y="18"/>
                </a:cubicBezTo>
                <a:cubicBezTo>
                  <a:pt x="133" y="6"/>
                  <a:pt x="133" y="6"/>
                  <a:pt x="133" y="6"/>
                </a:cubicBezTo>
                <a:cubicBezTo>
                  <a:pt x="133" y="4"/>
                  <a:pt x="134" y="3"/>
                  <a:pt x="135" y="1"/>
                </a:cubicBezTo>
                <a:cubicBezTo>
                  <a:pt x="136" y="0"/>
                  <a:pt x="137" y="0"/>
                  <a:pt x="139" y="0"/>
                </a:cubicBezTo>
                <a:cubicBezTo>
                  <a:pt x="141" y="0"/>
                  <a:pt x="142" y="0"/>
                  <a:pt x="143" y="1"/>
                </a:cubicBezTo>
                <a:cubicBezTo>
                  <a:pt x="168" y="26"/>
                  <a:pt x="168" y="26"/>
                  <a:pt x="168" y="26"/>
                </a:cubicBezTo>
                <a:cubicBezTo>
                  <a:pt x="169" y="27"/>
                  <a:pt x="169" y="28"/>
                  <a:pt x="169" y="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5" name="Freeform 125"/>
          <p:cNvSpPr>
            <a:spLocks noChangeAspect="1" noEditPoints="1"/>
          </p:cNvSpPr>
          <p:nvPr/>
        </p:nvSpPr>
        <p:spPr bwMode="auto">
          <a:xfrm>
            <a:off x="1719480" y="2484518"/>
            <a:ext cx="201409" cy="151447"/>
          </a:xfrm>
          <a:custGeom>
            <a:avLst/>
            <a:gdLst>
              <a:gd name="T0" fmla="*/ 129 w 129"/>
              <a:gd name="T1" fmla="*/ 89 h 97"/>
              <a:gd name="T2" fmla="*/ 129 w 129"/>
              <a:gd name="T3" fmla="*/ 97 h 97"/>
              <a:gd name="T4" fmla="*/ 0 w 129"/>
              <a:gd name="T5" fmla="*/ 97 h 97"/>
              <a:gd name="T6" fmla="*/ 0 w 129"/>
              <a:gd name="T7" fmla="*/ 0 h 97"/>
              <a:gd name="T8" fmla="*/ 8 w 129"/>
              <a:gd name="T9" fmla="*/ 0 h 97"/>
              <a:gd name="T10" fmla="*/ 8 w 129"/>
              <a:gd name="T11" fmla="*/ 89 h 97"/>
              <a:gd name="T12" fmla="*/ 129 w 129"/>
              <a:gd name="T13" fmla="*/ 89 h 97"/>
              <a:gd name="T14" fmla="*/ 40 w 129"/>
              <a:gd name="T15" fmla="*/ 49 h 97"/>
              <a:gd name="T16" fmla="*/ 40 w 129"/>
              <a:gd name="T17" fmla="*/ 81 h 97"/>
              <a:gd name="T18" fmla="*/ 24 w 129"/>
              <a:gd name="T19" fmla="*/ 81 h 97"/>
              <a:gd name="T20" fmla="*/ 24 w 129"/>
              <a:gd name="T21" fmla="*/ 49 h 97"/>
              <a:gd name="T22" fmla="*/ 40 w 129"/>
              <a:gd name="T23" fmla="*/ 49 h 97"/>
              <a:gd name="T24" fmla="*/ 65 w 129"/>
              <a:gd name="T25" fmla="*/ 17 h 97"/>
              <a:gd name="T26" fmla="*/ 65 w 129"/>
              <a:gd name="T27" fmla="*/ 81 h 97"/>
              <a:gd name="T28" fmla="*/ 49 w 129"/>
              <a:gd name="T29" fmla="*/ 81 h 97"/>
              <a:gd name="T30" fmla="*/ 49 w 129"/>
              <a:gd name="T31" fmla="*/ 17 h 97"/>
              <a:gd name="T32" fmla="*/ 65 w 129"/>
              <a:gd name="T33" fmla="*/ 17 h 97"/>
              <a:gd name="T34" fmla="*/ 89 w 129"/>
              <a:gd name="T35" fmla="*/ 33 h 97"/>
              <a:gd name="T36" fmla="*/ 89 w 129"/>
              <a:gd name="T37" fmla="*/ 81 h 97"/>
              <a:gd name="T38" fmla="*/ 73 w 129"/>
              <a:gd name="T39" fmla="*/ 81 h 97"/>
              <a:gd name="T40" fmla="*/ 73 w 129"/>
              <a:gd name="T41" fmla="*/ 33 h 97"/>
              <a:gd name="T42" fmla="*/ 89 w 129"/>
              <a:gd name="T43" fmla="*/ 33 h 97"/>
              <a:gd name="T44" fmla="*/ 112 w 129"/>
              <a:gd name="T45" fmla="*/ 8 h 97"/>
              <a:gd name="T46" fmla="*/ 112 w 129"/>
              <a:gd name="T47" fmla="*/ 81 h 97"/>
              <a:gd name="T48" fmla="*/ 97 w 129"/>
              <a:gd name="T49" fmla="*/ 81 h 97"/>
              <a:gd name="T50" fmla="*/ 97 w 129"/>
              <a:gd name="T51" fmla="*/ 8 h 97"/>
              <a:gd name="T52" fmla="*/ 112 w 129"/>
              <a:gd name="T53" fmla="*/ 8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9" h="97">
                <a:moveTo>
                  <a:pt x="129" y="89"/>
                </a:moveTo>
                <a:lnTo>
                  <a:pt x="129" y="97"/>
                </a:lnTo>
                <a:lnTo>
                  <a:pt x="0" y="97"/>
                </a:lnTo>
                <a:lnTo>
                  <a:pt x="0" y="0"/>
                </a:lnTo>
                <a:lnTo>
                  <a:pt x="8" y="0"/>
                </a:lnTo>
                <a:lnTo>
                  <a:pt x="8" y="89"/>
                </a:lnTo>
                <a:lnTo>
                  <a:pt x="129" y="89"/>
                </a:lnTo>
                <a:close/>
                <a:moveTo>
                  <a:pt x="40" y="49"/>
                </a:moveTo>
                <a:lnTo>
                  <a:pt x="40" y="81"/>
                </a:lnTo>
                <a:lnTo>
                  <a:pt x="24" y="81"/>
                </a:lnTo>
                <a:lnTo>
                  <a:pt x="24" y="49"/>
                </a:lnTo>
                <a:lnTo>
                  <a:pt x="40" y="49"/>
                </a:lnTo>
                <a:close/>
                <a:moveTo>
                  <a:pt x="65" y="17"/>
                </a:moveTo>
                <a:lnTo>
                  <a:pt x="65" y="81"/>
                </a:lnTo>
                <a:lnTo>
                  <a:pt x="49" y="81"/>
                </a:lnTo>
                <a:lnTo>
                  <a:pt x="49" y="17"/>
                </a:lnTo>
                <a:lnTo>
                  <a:pt x="65" y="17"/>
                </a:lnTo>
                <a:close/>
                <a:moveTo>
                  <a:pt x="89" y="33"/>
                </a:moveTo>
                <a:lnTo>
                  <a:pt x="89" y="81"/>
                </a:lnTo>
                <a:lnTo>
                  <a:pt x="73" y="81"/>
                </a:lnTo>
                <a:lnTo>
                  <a:pt x="73" y="33"/>
                </a:lnTo>
                <a:lnTo>
                  <a:pt x="89" y="33"/>
                </a:lnTo>
                <a:close/>
                <a:moveTo>
                  <a:pt x="112" y="8"/>
                </a:moveTo>
                <a:lnTo>
                  <a:pt x="112" y="81"/>
                </a:lnTo>
                <a:lnTo>
                  <a:pt x="97" y="81"/>
                </a:lnTo>
                <a:lnTo>
                  <a:pt x="97" y="8"/>
                </a:lnTo>
                <a:lnTo>
                  <a:pt x="112" y="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6" name="Freeform 126"/>
          <p:cNvSpPr>
            <a:spLocks noChangeAspect="1" noEditPoints="1"/>
          </p:cNvSpPr>
          <p:nvPr/>
        </p:nvSpPr>
        <p:spPr bwMode="auto">
          <a:xfrm>
            <a:off x="1963044" y="2484518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46 h 146"/>
              <a:gd name="T28" fmla="*/ 110 w 145"/>
              <a:gd name="T29" fmla="*/ 49 h 146"/>
              <a:gd name="T30" fmla="*/ 118 w 145"/>
              <a:gd name="T31" fmla="*/ 38 h 146"/>
              <a:gd name="T32" fmla="*/ 106 w 145"/>
              <a:gd name="T33" fmla="*/ 43 h 146"/>
              <a:gd name="T34" fmla="*/ 91 w 145"/>
              <a:gd name="T35" fmla="*/ 37 h 146"/>
              <a:gd name="T36" fmla="*/ 77 w 145"/>
              <a:gd name="T37" fmla="*/ 42 h 146"/>
              <a:gd name="T38" fmla="*/ 71 w 145"/>
              <a:gd name="T39" fmla="*/ 56 h 146"/>
              <a:gd name="T40" fmla="*/ 72 w 145"/>
              <a:gd name="T41" fmla="*/ 61 h 146"/>
              <a:gd name="T42" fmla="*/ 49 w 145"/>
              <a:gd name="T43" fmla="*/ 55 h 146"/>
              <a:gd name="T44" fmla="*/ 31 w 145"/>
              <a:gd name="T45" fmla="*/ 40 h 146"/>
              <a:gd name="T46" fmla="*/ 28 w 145"/>
              <a:gd name="T47" fmla="*/ 50 h 146"/>
              <a:gd name="T48" fmla="*/ 37 w 145"/>
              <a:gd name="T49" fmla="*/ 67 h 146"/>
              <a:gd name="T50" fmla="*/ 27 w 145"/>
              <a:gd name="T51" fmla="*/ 64 h 146"/>
              <a:gd name="T52" fmla="*/ 27 w 145"/>
              <a:gd name="T53" fmla="*/ 65 h 146"/>
              <a:gd name="T54" fmla="*/ 32 w 145"/>
              <a:gd name="T55" fmla="*/ 77 h 146"/>
              <a:gd name="T56" fmla="*/ 44 w 145"/>
              <a:gd name="T57" fmla="*/ 84 h 146"/>
              <a:gd name="T58" fmla="*/ 39 w 145"/>
              <a:gd name="T59" fmla="*/ 85 h 146"/>
              <a:gd name="T60" fmla="*/ 35 w 145"/>
              <a:gd name="T61" fmla="*/ 84 h 146"/>
              <a:gd name="T62" fmla="*/ 42 w 145"/>
              <a:gd name="T63" fmla="*/ 94 h 146"/>
              <a:gd name="T64" fmla="*/ 54 w 145"/>
              <a:gd name="T65" fmla="*/ 98 h 146"/>
              <a:gd name="T66" fmla="*/ 29 w 145"/>
              <a:gd name="T67" fmla="*/ 107 h 146"/>
              <a:gd name="T68" fmla="*/ 24 w 145"/>
              <a:gd name="T69" fmla="*/ 106 h 146"/>
              <a:gd name="T70" fmla="*/ 55 w 145"/>
              <a:gd name="T71" fmla="*/ 115 h 146"/>
              <a:gd name="T72" fmla="*/ 75 w 145"/>
              <a:gd name="T73" fmla="*/ 112 h 146"/>
              <a:gd name="T74" fmla="*/ 90 w 145"/>
              <a:gd name="T75" fmla="*/ 103 h 146"/>
              <a:gd name="T76" fmla="*/ 102 w 145"/>
              <a:gd name="T77" fmla="*/ 90 h 146"/>
              <a:gd name="T78" fmla="*/ 109 w 145"/>
              <a:gd name="T79" fmla="*/ 75 h 146"/>
              <a:gd name="T80" fmla="*/ 111 w 145"/>
              <a:gd name="T81" fmla="*/ 59 h 146"/>
              <a:gd name="T82" fmla="*/ 111 w 145"/>
              <a:gd name="T83" fmla="*/ 56 h 146"/>
              <a:gd name="T84" fmla="*/ 121 w 145"/>
              <a:gd name="T85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121" y="46"/>
                </a:moveTo>
                <a:cubicBezTo>
                  <a:pt x="118" y="47"/>
                  <a:pt x="114" y="49"/>
                  <a:pt x="110" y="49"/>
                </a:cubicBezTo>
                <a:cubicBezTo>
                  <a:pt x="114" y="47"/>
                  <a:pt x="117" y="43"/>
                  <a:pt x="118" y="38"/>
                </a:cubicBezTo>
                <a:cubicBezTo>
                  <a:pt x="114" y="40"/>
                  <a:pt x="110" y="42"/>
                  <a:pt x="106" y="43"/>
                </a:cubicBezTo>
                <a:cubicBezTo>
                  <a:pt x="102" y="39"/>
                  <a:pt x="97" y="37"/>
                  <a:pt x="91" y="37"/>
                </a:cubicBezTo>
                <a:cubicBezTo>
                  <a:pt x="86" y="37"/>
                  <a:pt x="81" y="39"/>
                  <a:pt x="77" y="42"/>
                </a:cubicBezTo>
                <a:cubicBezTo>
                  <a:pt x="73" y="46"/>
                  <a:pt x="71" y="51"/>
                  <a:pt x="71" y="56"/>
                </a:cubicBezTo>
                <a:cubicBezTo>
                  <a:pt x="71" y="58"/>
                  <a:pt x="72" y="60"/>
                  <a:pt x="72" y="61"/>
                </a:cubicBezTo>
                <a:cubicBezTo>
                  <a:pt x="64" y="61"/>
                  <a:pt x="56" y="59"/>
                  <a:pt x="49" y="55"/>
                </a:cubicBezTo>
                <a:cubicBezTo>
                  <a:pt x="42" y="51"/>
                  <a:pt x="36" y="46"/>
                  <a:pt x="31" y="40"/>
                </a:cubicBezTo>
                <a:cubicBezTo>
                  <a:pt x="29" y="43"/>
                  <a:pt x="28" y="47"/>
                  <a:pt x="28" y="50"/>
                </a:cubicBezTo>
                <a:cubicBezTo>
                  <a:pt x="28" y="57"/>
                  <a:pt x="31" y="63"/>
                  <a:pt x="37" y="67"/>
                </a:cubicBezTo>
                <a:cubicBezTo>
                  <a:pt x="34" y="67"/>
                  <a:pt x="31" y="66"/>
                  <a:pt x="27" y="64"/>
                </a:cubicBezTo>
                <a:cubicBezTo>
                  <a:pt x="27" y="65"/>
                  <a:pt x="27" y="65"/>
                  <a:pt x="27" y="65"/>
                </a:cubicBezTo>
                <a:cubicBezTo>
                  <a:pt x="27" y="69"/>
                  <a:pt x="29" y="73"/>
                  <a:pt x="32" y="77"/>
                </a:cubicBezTo>
                <a:cubicBezTo>
                  <a:pt x="35" y="81"/>
                  <a:pt x="39" y="83"/>
                  <a:pt x="44" y="84"/>
                </a:cubicBezTo>
                <a:cubicBezTo>
                  <a:pt x="42" y="85"/>
                  <a:pt x="40" y="85"/>
                  <a:pt x="39" y="85"/>
                </a:cubicBezTo>
                <a:cubicBezTo>
                  <a:pt x="38" y="85"/>
                  <a:pt x="37" y="85"/>
                  <a:pt x="35" y="84"/>
                </a:cubicBezTo>
                <a:cubicBezTo>
                  <a:pt x="36" y="88"/>
                  <a:pt x="39" y="92"/>
                  <a:pt x="42" y="94"/>
                </a:cubicBezTo>
                <a:cubicBezTo>
                  <a:pt x="46" y="97"/>
                  <a:pt x="49" y="98"/>
                  <a:pt x="54" y="98"/>
                </a:cubicBezTo>
                <a:cubicBezTo>
                  <a:pt x="46" y="104"/>
                  <a:pt x="38" y="107"/>
                  <a:pt x="29" y="107"/>
                </a:cubicBezTo>
                <a:cubicBezTo>
                  <a:pt x="27" y="107"/>
                  <a:pt x="26" y="107"/>
                  <a:pt x="24" y="106"/>
                </a:cubicBezTo>
                <a:cubicBezTo>
                  <a:pt x="34" y="112"/>
                  <a:pt x="44" y="115"/>
                  <a:pt x="55" y="115"/>
                </a:cubicBezTo>
                <a:cubicBezTo>
                  <a:pt x="62" y="115"/>
                  <a:pt x="68" y="114"/>
                  <a:pt x="75" y="112"/>
                </a:cubicBezTo>
                <a:cubicBezTo>
                  <a:pt x="81" y="110"/>
                  <a:pt x="86" y="107"/>
                  <a:pt x="90" y="103"/>
                </a:cubicBezTo>
                <a:cubicBezTo>
                  <a:pt x="95" y="99"/>
                  <a:pt x="99" y="95"/>
                  <a:pt x="102" y="90"/>
                </a:cubicBezTo>
                <a:cubicBezTo>
                  <a:pt x="105" y="85"/>
                  <a:pt x="107" y="80"/>
                  <a:pt x="109" y="75"/>
                </a:cubicBezTo>
                <a:cubicBezTo>
                  <a:pt x="111" y="69"/>
                  <a:pt x="111" y="64"/>
                  <a:pt x="111" y="59"/>
                </a:cubicBezTo>
                <a:cubicBezTo>
                  <a:pt x="111" y="58"/>
                  <a:pt x="111" y="57"/>
                  <a:pt x="111" y="56"/>
                </a:cubicBezTo>
                <a:cubicBezTo>
                  <a:pt x="115" y="53"/>
                  <a:pt x="118" y="50"/>
                  <a:pt x="121" y="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7" name="Freeform 127"/>
          <p:cNvSpPr>
            <a:spLocks noChangeAspect="1"/>
          </p:cNvSpPr>
          <p:nvPr/>
        </p:nvSpPr>
        <p:spPr bwMode="auto">
          <a:xfrm>
            <a:off x="2156646" y="2484518"/>
            <a:ext cx="149885" cy="151447"/>
          </a:xfrm>
          <a:custGeom>
            <a:avLst/>
            <a:gdLst>
              <a:gd name="T0" fmla="*/ 145 w 145"/>
              <a:gd name="T1" fmla="*/ 118 h 146"/>
              <a:gd name="T2" fmla="*/ 137 w 145"/>
              <a:gd name="T3" fmla="*/ 138 h 146"/>
              <a:gd name="T4" fmla="*/ 118 w 145"/>
              <a:gd name="T5" fmla="*/ 146 h 146"/>
              <a:gd name="T6" fmla="*/ 100 w 145"/>
              <a:gd name="T7" fmla="*/ 146 h 146"/>
              <a:gd name="T8" fmla="*/ 100 w 145"/>
              <a:gd name="T9" fmla="*/ 88 h 146"/>
              <a:gd name="T10" fmla="*/ 119 w 145"/>
              <a:gd name="T11" fmla="*/ 88 h 146"/>
              <a:gd name="T12" fmla="*/ 122 w 145"/>
              <a:gd name="T13" fmla="*/ 67 h 146"/>
              <a:gd name="T14" fmla="*/ 100 w 145"/>
              <a:gd name="T15" fmla="*/ 67 h 146"/>
              <a:gd name="T16" fmla="*/ 100 w 145"/>
              <a:gd name="T17" fmla="*/ 53 h 146"/>
              <a:gd name="T18" fmla="*/ 102 w 145"/>
              <a:gd name="T19" fmla="*/ 46 h 146"/>
              <a:gd name="T20" fmla="*/ 111 w 145"/>
              <a:gd name="T21" fmla="*/ 43 h 146"/>
              <a:gd name="T22" fmla="*/ 124 w 145"/>
              <a:gd name="T23" fmla="*/ 43 h 146"/>
              <a:gd name="T24" fmla="*/ 124 w 145"/>
              <a:gd name="T25" fmla="*/ 23 h 146"/>
              <a:gd name="T26" fmla="*/ 107 w 145"/>
              <a:gd name="T27" fmla="*/ 22 h 146"/>
              <a:gd name="T28" fmla="*/ 86 w 145"/>
              <a:gd name="T29" fmla="*/ 30 h 146"/>
              <a:gd name="T30" fmla="*/ 79 w 145"/>
              <a:gd name="T31" fmla="*/ 51 h 146"/>
              <a:gd name="T32" fmla="*/ 79 w 145"/>
              <a:gd name="T33" fmla="*/ 67 h 146"/>
              <a:gd name="T34" fmla="*/ 57 w 145"/>
              <a:gd name="T35" fmla="*/ 67 h 146"/>
              <a:gd name="T36" fmla="*/ 57 w 145"/>
              <a:gd name="T37" fmla="*/ 88 h 146"/>
              <a:gd name="T38" fmla="*/ 79 w 145"/>
              <a:gd name="T39" fmla="*/ 88 h 146"/>
              <a:gd name="T40" fmla="*/ 79 w 145"/>
              <a:gd name="T41" fmla="*/ 146 h 146"/>
              <a:gd name="T42" fmla="*/ 27 w 145"/>
              <a:gd name="T43" fmla="*/ 146 h 146"/>
              <a:gd name="T44" fmla="*/ 8 w 145"/>
              <a:gd name="T45" fmla="*/ 138 h 146"/>
              <a:gd name="T46" fmla="*/ 0 w 145"/>
              <a:gd name="T47" fmla="*/ 118 h 146"/>
              <a:gd name="T48" fmla="*/ 0 w 145"/>
              <a:gd name="T49" fmla="*/ 28 h 146"/>
              <a:gd name="T50" fmla="*/ 8 w 145"/>
              <a:gd name="T51" fmla="*/ 8 h 146"/>
              <a:gd name="T52" fmla="*/ 27 w 145"/>
              <a:gd name="T53" fmla="*/ 0 h 146"/>
              <a:gd name="T54" fmla="*/ 118 w 145"/>
              <a:gd name="T55" fmla="*/ 0 h 146"/>
              <a:gd name="T56" fmla="*/ 137 w 145"/>
              <a:gd name="T57" fmla="*/ 8 h 146"/>
              <a:gd name="T58" fmla="*/ 145 w 145"/>
              <a:gd name="T59" fmla="*/ 28 h 146"/>
              <a:gd name="T60" fmla="*/ 145 w 145"/>
              <a:gd name="T61" fmla="*/ 11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5" h="146">
                <a:moveTo>
                  <a:pt x="145" y="118"/>
                </a:move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100" y="146"/>
                  <a:pt x="100" y="146"/>
                  <a:pt x="100" y="146"/>
                </a:cubicBezTo>
                <a:cubicBezTo>
                  <a:pt x="100" y="88"/>
                  <a:pt x="100" y="88"/>
                  <a:pt x="100" y="88"/>
                </a:cubicBezTo>
                <a:cubicBezTo>
                  <a:pt x="119" y="88"/>
                  <a:pt x="119" y="88"/>
                  <a:pt x="119" y="88"/>
                </a:cubicBezTo>
                <a:cubicBezTo>
                  <a:pt x="122" y="67"/>
                  <a:pt x="122" y="67"/>
                  <a:pt x="122" y="67"/>
                </a:cubicBezTo>
                <a:cubicBezTo>
                  <a:pt x="100" y="67"/>
                  <a:pt x="100" y="67"/>
                  <a:pt x="100" y="67"/>
                </a:cubicBezTo>
                <a:cubicBezTo>
                  <a:pt x="100" y="53"/>
                  <a:pt x="100" y="53"/>
                  <a:pt x="100" y="53"/>
                </a:cubicBezTo>
                <a:cubicBezTo>
                  <a:pt x="100" y="50"/>
                  <a:pt x="101" y="47"/>
                  <a:pt x="102" y="46"/>
                </a:cubicBezTo>
                <a:cubicBezTo>
                  <a:pt x="104" y="44"/>
                  <a:pt x="107" y="43"/>
                  <a:pt x="111" y="43"/>
                </a:cubicBezTo>
                <a:cubicBezTo>
                  <a:pt x="124" y="43"/>
                  <a:pt x="124" y="43"/>
                  <a:pt x="124" y="43"/>
                </a:cubicBezTo>
                <a:cubicBezTo>
                  <a:pt x="124" y="23"/>
                  <a:pt x="124" y="23"/>
                  <a:pt x="124" y="23"/>
                </a:cubicBezTo>
                <a:cubicBezTo>
                  <a:pt x="118" y="23"/>
                  <a:pt x="112" y="22"/>
                  <a:pt x="107" y="22"/>
                </a:cubicBezTo>
                <a:cubicBezTo>
                  <a:pt x="98" y="22"/>
                  <a:pt x="91" y="25"/>
                  <a:pt x="86" y="30"/>
                </a:cubicBezTo>
                <a:cubicBezTo>
                  <a:pt x="81" y="35"/>
                  <a:pt x="79" y="42"/>
                  <a:pt x="79" y="51"/>
                </a:cubicBezTo>
                <a:cubicBezTo>
                  <a:pt x="79" y="67"/>
                  <a:pt x="79" y="67"/>
                  <a:pt x="79" y="67"/>
                </a:cubicBezTo>
                <a:cubicBezTo>
                  <a:pt x="57" y="67"/>
                  <a:pt x="57" y="67"/>
                  <a:pt x="57" y="67"/>
                </a:cubicBezTo>
                <a:cubicBezTo>
                  <a:pt x="57" y="88"/>
                  <a:pt x="57" y="88"/>
                  <a:pt x="57" y="88"/>
                </a:cubicBezTo>
                <a:cubicBezTo>
                  <a:pt x="79" y="88"/>
                  <a:pt x="79" y="88"/>
                  <a:pt x="79" y="88"/>
                </a:cubicBezTo>
                <a:cubicBezTo>
                  <a:pt x="79" y="146"/>
                  <a:pt x="79" y="146"/>
                  <a:pt x="79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lnTo>
                  <a:pt x="145" y="11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8" name="Freeform 128"/>
          <p:cNvSpPr>
            <a:spLocks noChangeAspect="1" noEditPoints="1"/>
          </p:cNvSpPr>
          <p:nvPr/>
        </p:nvSpPr>
        <p:spPr bwMode="auto">
          <a:xfrm>
            <a:off x="2350248" y="2484518"/>
            <a:ext cx="174866" cy="151447"/>
          </a:xfrm>
          <a:custGeom>
            <a:avLst/>
            <a:gdLst>
              <a:gd name="T0" fmla="*/ 169 w 169"/>
              <a:gd name="T1" fmla="*/ 12 h 146"/>
              <a:gd name="T2" fmla="*/ 169 w 169"/>
              <a:gd name="T3" fmla="*/ 133 h 146"/>
              <a:gd name="T4" fmla="*/ 166 w 169"/>
              <a:gd name="T5" fmla="*/ 142 h 146"/>
              <a:gd name="T6" fmla="*/ 157 w 169"/>
              <a:gd name="T7" fmla="*/ 146 h 146"/>
              <a:gd name="T8" fmla="*/ 12 w 169"/>
              <a:gd name="T9" fmla="*/ 146 h 146"/>
              <a:gd name="T10" fmla="*/ 3 w 169"/>
              <a:gd name="T11" fmla="*/ 142 h 146"/>
              <a:gd name="T12" fmla="*/ 0 w 169"/>
              <a:gd name="T13" fmla="*/ 133 h 146"/>
              <a:gd name="T14" fmla="*/ 0 w 169"/>
              <a:gd name="T15" fmla="*/ 12 h 146"/>
              <a:gd name="T16" fmla="*/ 3 w 169"/>
              <a:gd name="T17" fmla="*/ 4 h 146"/>
              <a:gd name="T18" fmla="*/ 12 w 169"/>
              <a:gd name="T19" fmla="*/ 0 h 146"/>
              <a:gd name="T20" fmla="*/ 157 w 169"/>
              <a:gd name="T21" fmla="*/ 0 h 146"/>
              <a:gd name="T22" fmla="*/ 166 w 169"/>
              <a:gd name="T23" fmla="*/ 4 h 146"/>
              <a:gd name="T24" fmla="*/ 169 w 169"/>
              <a:gd name="T25" fmla="*/ 12 h 146"/>
              <a:gd name="T26" fmla="*/ 12 w 169"/>
              <a:gd name="T27" fmla="*/ 37 h 146"/>
              <a:gd name="T28" fmla="*/ 157 w 169"/>
              <a:gd name="T29" fmla="*/ 37 h 146"/>
              <a:gd name="T30" fmla="*/ 157 w 169"/>
              <a:gd name="T31" fmla="*/ 25 h 146"/>
              <a:gd name="T32" fmla="*/ 157 w 169"/>
              <a:gd name="T33" fmla="*/ 12 h 146"/>
              <a:gd name="T34" fmla="*/ 79 w 169"/>
              <a:gd name="T35" fmla="*/ 12 h 146"/>
              <a:gd name="T36" fmla="*/ 73 w 169"/>
              <a:gd name="T37" fmla="*/ 25 h 146"/>
              <a:gd name="T38" fmla="*/ 12 w 169"/>
              <a:gd name="T39" fmla="*/ 25 h 146"/>
              <a:gd name="T40" fmla="*/ 12 w 169"/>
              <a:gd name="T41" fmla="*/ 37 h 146"/>
              <a:gd name="T42" fmla="*/ 12 w 169"/>
              <a:gd name="T43" fmla="*/ 133 h 146"/>
              <a:gd name="T44" fmla="*/ 157 w 169"/>
              <a:gd name="T45" fmla="*/ 133 h 146"/>
              <a:gd name="T46" fmla="*/ 157 w 169"/>
              <a:gd name="T47" fmla="*/ 121 h 146"/>
              <a:gd name="T48" fmla="*/ 12 w 169"/>
              <a:gd name="T49" fmla="*/ 121 h 146"/>
              <a:gd name="T50" fmla="*/ 12 w 169"/>
              <a:gd name="T51" fmla="*/ 133 h 146"/>
              <a:gd name="T52" fmla="*/ 24 w 169"/>
              <a:gd name="T53" fmla="*/ 18 h 146"/>
              <a:gd name="T54" fmla="*/ 60 w 169"/>
              <a:gd name="T55" fmla="*/ 18 h 146"/>
              <a:gd name="T56" fmla="*/ 60 w 169"/>
              <a:gd name="T57" fmla="*/ 6 h 146"/>
              <a:gd name="T58" fmla="*/ 24 w 169"/>
              <a:gd name="T59" fmla="*/ 6 h 146"/>
              <a:gd name="T60" fmla="*/ 24 w 169"/>
              <a:gd name="T61" fmla="*/ 18 h 146"/>
              <a:gd name="T62" fmla="*/ 110 w 169"/>
              <a:gd name="T63" fmla="*/ 105 h 146"/>
              <a:gd name="T64" fmla="*/ 121 w 169"/>
              <a:gd name="T65" fmla="*/ 79 h 146"/>
              <a:gd name="T66" fmla="*/ 110 w 169"/>
              <a:gd name="T67" fmla="*/ 54 h 146"/>
              <a:gd name="T68" fmla="*/ 84 w 169"/>
              <a:gd name="T69" fmla="*/ 43 h 146"/>
              <a:gd name="T70" fmla="*/ 59 w 169"/>
              <a:gd name="T71" fmla="*/ 54 h 146"/>
              <a:gd name="T72" fmla="*/ 48 w 169"/>
              <a:gd name="T73" fmla="*/ 79 h 146"/>
              <a:gd name="T74" fmla="*/ 59 w 169"/>
              <a:gd name="T75" fmla="*/ 105 h 146"/>
              <a:gd name="T76" fmla="*/ 84 w 169"/>
              <a:gd name="T77" fmla="*/ 115 h 146"/>
              <a:gd name="T78" fmla="*/ 110 w 169"/>
              <a:gd name="T79" fmla="*/ 105 h 146"/>
              <a:gd name="T80" fmla="*/ 101 w 169"/>
              <a:gd name="T81" fmla="*/ 62 h 146"/>
              <a:gd name="T82" fmla="*/ 109 w 169"/>
              <a:gd name="T83" fmla="*/ 79 h 146"/>
              <a:gd name="T84" fmla="*/ 101 w 169"/>
              <a:gd name="T85" fmla="*/ 96 h 146"/>
              <a:gd name="T86" fmla="*/ 84 w 169"/>
              <a:gd name="T87" fmla="*/ 103 h 146"/>
              <a:gd name="T88" fmla="*/ 67 w 169"/>
              <a:gd name="T89" fmla="*/ 96 h 146"/>
              <a:gd name="T90" fmla="*/ 60 w 169"/>
              <a:gd name="T91" fmla="*/ 79 h 146"/>
              <a:gd name="T92" fmla="*/ 67 w 169"/>
              <a:gd name="T93" fmla="*/ 62 h 146"/>
              <a:gd name="T94" fmla="*/ 84 w 169"/>
              <a:gd name="T95" fmla="*/ 55 h 146"/>
              <a:gd name="T96" fmla="*/ 101 w 169"/>
              <a:gd name="T97" fmla="*/ 62 h 146"/>
              <a:gd name="T98" fmla="*/ 87 w 169"/>
              <a:gd name="T99" fmla="*/ 69 h 146"/>
              <a:gd name="T100" fmla="*/ 87 w 169"/>
              <a:gd name="T101" fmla="*/ 67 h 146"/>
              <a:gd name="T102" fmla="*/ 87 w 169"/>
              <a:gd name="T103" fmla="*/ 65 h 146"/>
              <a:gd name="T104" fmla="*/ 84 w 169"/>
              <a:gd name="T105" fmla="*/ 64 h 146"/>
              <a:gd name="T106" fmla="*/ 74 w 169"/>
              <a:gd name="T107" fmla="*/ 68 h 146"/>
              <a:gd name="T108" fmla="*/ 69 w 169"/>
              <a:gd name="T109" fmla="*/ 79 h 146"/>
              <a:gd name="T110" fmla="*/ 70 w 169"/>
              <a:gd name="T111" fmla="*/ 81 h 146"/>
              <a:gd name="T112" fmla="*/ 72 w 169"/>
              <a:gd name="T113" fmla="*/ 82 h 146"/>
              <a:gd name="T114" fmla="*/ 74 w 169"/>
              <a:gd name="T115" fmla="*/ 81 h 146"/>
              <a:gd name="T116" fmla="*/ 75 w 169"/>
              <a:gd name="T117" fmla="*/ 79 h 146"/>
              <a:gd name="T118" fmla="*/ 78 w 169"/>
              <a:gd name="T119" fmla="*/ 73 h 146"/>
              <a:gd name="T120" fmla="*/ 84 w 169"/>
              <a:gd name="T121" fmla="*/ 70 h 146"/>
              <a:gd name="T122" fmla="*/ 87 w 169"/>
              <a:gd name="T123" fmla="*/ 6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9" h="146">
                <a:moveTo>
                  <a:pt x="169" y="12"/>
                </a:moveTo>
                <a:cubicBezTo>
                  <a:pt x="169" y="133"/>
                  <a:pt x="169" y="133"/>
                  <a:pt x="169" y="133"/>
                </a:cubicBezTo>
                <a:cubicBezTo>
                  <a:pt x="169" y="137"/>
                  <a:pt x="168" y="140"/>
                  <a:pt x="166" y="142"/>
                </a:cubicBezTo>
                <a:cubicBezTo>
                  <a:pt x="163" y="144"/>
                  <a:pt x="160" y="146"/>
                  <a:pt x="157" y="146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8" y="146"/>
                  <a:pt x="6" y="144"/>
                  <a:pt x="3" y="142"/>
                </a:cubicBezTo>
                <a:cubicBezTo>
                  <a:pt x="1" y="140"/>
                  <a:pt x="0" y="137"/>
                  <a:pt x="0" y="133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8" y="0"/>
                  <a:pt x="12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60" y="0"/>
                  <a:pt x="163" y="2"/>
                  <a:pt x="166" y="4"/>
                </a:cubicBezTo>
                <a:cubicBezTo>
                  <a:pt x="168" y="6"/>
                  <a:pt x="169" y="9"/>
                  <a:pt x="169" y="12"/>
                </a:cubicBezTo>
                <a:close/>
                <a:moveTo>
                  <a:pt x="12" y="37"/>
                </a:moveTo>
                <a:cubicBezTo>
                  <a:pt x="157" y="37"/>
                  <a:pt x="157" y="37"/>
                  <a:pt x="157" y="37"/>
                </a:cubicBezTo>
                <a:cubicBezTo>
                  <a:pt x="157" y="25"/>
                  <a:pt x="157" y="25"/>
                  <a:pt x="157" y="25"/>
                </a:cubicBezTo>
                <a:cubicBezTo>
                  <a:pt x="157" y="12"/>
                  <a:pt x="157" y="12"/>
                  <a:pt x="157" y="12"/>
                </a:cubicBezTo>
                <a:cubicBezTo>
                  <a:pt x="79" y="12"/>
                  <a:pt x="79" y="12"/>
                  <a:pt x="79" y="12"/>
                </a:cubicBezTo>
                <a:cubicBezTo>
                  <a:pt x="73" y="25"/>
                  <a:pt x="73" y="25"/>
                  <a:pt x="73" y="25"/>
                </a:cubicBezTo>
                <a:cubicBezTo>
                  <a:pt x="12" y="25"/>
                  <a:pt x="12" y="25"/>
                  <a:pt x="12" y="25"/>
                </a:cubicBezTo>
                <a:lnTo>
                  <a:pt x="12" y="37"/>
                </a:lnTo>
                <a:close/>
                <a:moveTo>
                  <a:pt x="12" y="133"/>
                </a:moveTo>
                <a:cubicBezTo>
                  <a:pt x="157" y="133"/>
                  <a:pt x="157" y="133"/>
                  <a:pt x="157" y="13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2" y="121"/>
                  <a:pt x="12" y="121"/>
                  <a:pt x="12" y="121"/>
                </a:cubicBezTo>
                <a:lnTo>
                  <a:pt x="12" y="133"/>
                </a:lnTo>
                <a:close/>
                <a:moveTo>
                  <a:pt x="24" y="18"/>
                </a:moveTo>
                <a:cubicBezTo>
                  <a:pt x="60" y="18"/>
                  <a:pt x="60" y="18"/>
                  <a:pt x="60" y="18"/>
                </a:cubicBezTo>
                <a:cubicBezTo>
                  <a:pt x="60" y="6"/>
                  <a:pt x="60" y="6"/>
                  <a:pt x="60" y="6"/>
                </a:cubicBezTo>
                <a:cubicBezTo>
                  <a:pt x="24" y="6"/>
                  <a:pt x="24" y="6"/>
                  <a:pt x="24" y="6"/>
                </a:cubicBezTo>
                <a:lnTo>
                  <a:pt x="24" y="18"/>
                </a:lnTo>
                <a:close/>
                <a:moveTo>
                  <a:pt x="110" y="105"/>
                </a:moveTo>
                <a:cubicBezTo>
                  <a:pt x="117" y="98"/>
                  <a:pt x="121" y="89"/>
                  <a:pt x="121" y="79"/>
                </a:cubicBezTo>
                <a:cubicBezTo>
                  <a:pt x="121" y="69"/>
                  <a:pt x="117" y="61"/>
                  <a:pt x="110" y="54"/>
                </a:cubicBezTo>
                <a:cubicBezTo>
                  <a:pt x="103" y="46"/>
                  <a:pt x="94" y="43"/>
                  <a:pt x="84" y="43"/>
                </a:cubicBezTo>
                <a:cubicBezTo>
                  <a:pt x="74" y="43"/>
                  <a:pt x="66" y="46"/>
                  <a:pt x="59" y="54"/>
                </a:cubicBezTo>
                <a:cubicBezTo>
                  <a:pt x="52" y="61"/>
                  <a:pt x="48" y="69"/>
                  <a:pt x="48" y="79"/>
                </a:cubicBezTo>
                <a:cubicBezTo>
                  <a:pt x="48" y="89"/>
                  <a:pt x="52" y="98"/>
                  <a:pt x="59" y="105"/>
                </a:cubicBezTo>
                <a:cubicBezTo>
                  <a:pt x="66" y="112"/>
                  <a:pt x="74" y="115"/>
                  <a:pt x="84" y="115"/>
                </a:cubicBezTo>
                <a:cubicBezTo>
                  <a:pt x="94" y="115"/>
                  <a:pt x="103" y="112"/>
                  <a:pt x="110" y="105"/>
                </a:cubicBezTo>
                <a:close/>
                <a:moveTo>
                  <a:pt x="101" y="62"/>
                </a:moveTo>
                <a:cubicBezTo>
                  <a:pt x="106" y="67"/>
                  <a:pt x="109" y="73"/>
                  <a:pt x="109" y="79"/>
                </a:cubicBezTo>
                <a:cubicBezTo>
                  <a:pt x="109" y="86"/>
                  <a:pt x="106" y="92"/>
                  <a:pt x="101" y="96"/>
                </a:cubicBezTo>
                <a:cubicBezTo>
                  <a:pt x="97" y="101"/>
                  <a:pt x="91" y="103"/>
                  <a:pt x="84" y="103"/>
                </a:cubicBezTo>
                <a:cubicBezTo>
                  <a:pt x="78" y="103"/>
                  <a:pt x="72" y="101"/>
                  <a:pt x="67" y="96"/>
                </a:cubicBezTo>
                <a:cubicBezTo>
                  <a:pt x="63" y="92"/>
                  <a:pt x="60" y="86"/>
                  <a:pt x="60" y="79"/>
                </a:cubicBezTo>
                <a:cubicBezTo>
                  <a:pt x="60" y="73"/>
                  <a:pt x="63" y="67"/>
                  <a:pt x="67" y="62"/>
                </a:cubicBezTo>
                <a:cubicBezTo>
                  <a:pt x="72" y="57"/>
                  <a:pt x="78" y="55"/>
                  <a:pt x="84" y="55"/>
                </a:cubicBezTo>
                <a:cubicBezTo>
                  <a:pt x="91" y="55"/>
                  <a:pt x="97" y="57"/>
                  <a:pt x="101" y="62"/>
                </a:cubicBezTo>
                <a:close/>
                <a:moveTo>
                  <a:pt x="87" y="69"/>
                </a:moveTo>
                <a:cubicBezTo>
                  <a:pt x="87" y="69"/>
                  <a:pt x="87" y="68"/>
                  <a:pt x="87" y="67"/>
                </a:cubicBezTo>
                <a:cubicBezTo>
                  <a:pt x="87" y="66"/>
                  <a:pt x="87" y="65"/>
                  <a:pt x="87" y="65"/>
                </a:cubicBezTo>
                <a:cubicBezTo>
                  <a:pt x="86" y="64"/>
                  <a:pt x="85" y="64"/>
                  <a:pt x="84" y="64"/>
                </a:cubicBezTo>
                <a:cubicBezTo>
                  <a:pt x="80" y="64"/>
                  <a:pt x="77" y="65"/>
                  <a:pt x="74" y="68"/>
                </a:cubicBezTo>
                <a:cubicBezTo>
                  <a:pt x="71" y="71"/>
                  <a:pt x="69" y="75"/>
                  <a:pt x="69" y="79"/>
                </a:cubicBezTo>
                <a:cubicBezTo>
                  <a:pt x="69" y="80"/>
                  <a:pt x="70" y="81"/>
                  <a:pt x="70" y="81"/>
                </a:cubicBezTo>
                <a:cubicBezTo>
                  <a:pt x="71" y="82"/>
                  <a:pt x="71" y="82"/>
                  <a:pt x="72" y="82"/>
                </a:cubicBezTo>
                <a:cubicBezTo>
                  <a:pt x="73" y="82"/>
                  <a:pt x="74" y="82"/>
                  <a:pt x="74" y="81"/>
                </a:cubicBezTo>
                <a:cubicBezTo>
                  <a:pt x="75" y="81"/>
                  <a:pt x="75" y="80"/>
                  <a:pt x="75" y="79"/>
                </a:cubicBezTo>
                <a:cubicBezTo>
                  <a:pt x="75" y="76"/>
                  <a:pt x="76" y="74"/>
                  <a:pt x="78" y="73"/>
                </a:cubicBezTo>
                <a:cubicBezTo>
                  <a:pt x="80" y="71"/>
                  <a:pt x="82" y="70"/>
                  <a:pt x="84" y="70"/>
                </a:cubicBezTo>
                <a:cubicBezTo>
                  <a:pt x="85" y="70"/>
                  <a:pt x="86" y="70"/>
                  <a:pt x="87" y="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9" name="Freeform 129"/>
          <p:cNvSpPr>
            <a:spLocks noChangeAspect="1" noEditPoints="1"/>
          </p:cNvSpPr>
          <p:nvPr/>
        </p:nvSpPr>
        <p:spPr bwMode="auto">
          <a:xfrm>
            <a:off x="2568831" y="2484518"/>
            <a:ext cx="165499" cy="157692"/>
          </a:xfrm>
          <a:custGeom>
            <a:avLst/>
            <a:gdLst>
              <a:gd name="T0" fmla="*/ 159 w 159"/>
              <a:gd name="T1" fmla="*/ 103 h 151"/>
              <a:gd name="T2" fmla="*/ 154 w 159"/>
              <a:gd name="T3" fmla="*/ 109 h 151"/>
              <a:gd name="T4" fmla="*/ 148 w 159"/>
              <a:gd name="T5" fmla="*/ 114 h 151"/>
              <a:gd name="T6" fmla="*/ 145 w 159"/>
              <a:gd name="T7" fmla="*/ 113 h 151"/>
              <a:gd name="T8" fmla="*/ 142 w 159"/>
              <a:gd name="T9" fmla="*/ 109 h 151"/>
              <a:gd name="T10" fmla="*/ 138 w 159"/>
              <a:gd name="T11" fmla="*/ 106 h 151"/>
              <a:gd name="T12" fmla="*/ 136 w 159"/>
              <a:gd name="T13" fmla="*/ 103 h 151"/>
              <a:gd name="T14" fmla="*/ 127 w 159"/>
              <a:gd name="T15" fmla="*/ 112 h 151"/>
              <a:gd name="T16" fmla="*/ 147 w 159"/>
              <a:gd name="T17" fmla="*/ 133 h 151"/>
              <a:gd name="T18" fmla="*/ 150 w 159"/>
              <a:gd name="T19" fmla="*/ 140 h 151"/>
              <a:gd name="T20" fmla="*/ 146 w 159"/>
              <a:gd name="T21" fmla="*/ 147 h 151"/>
              <a:gd name="T22" fmla="*/ 139 w 159"/>
              <a:gd name="T23" fmla="*/ 151 h 151"/>
              <a:gd name="T24" fmla="*/ 132 w 159"/>
              <a:gd name="T25" fmla="*/ 148 h 151"/>
              <a:gd name="T26" fmla="*/ 69 w 159"/>
              <a:gd name="T27" fmla="*/ 85 h 151"/>
              <a:gd name="T28" fmla="*/ 34 w 159"/>
              <a:gd name="T29" fmla="*/ 97 h 151"/>
              <a:gd name="T30" fmla="*/ 9 w 159"/>
              <a:gd name="T31" fmla="*/ 87 h 151"/>
              <a:gd name="T32" fmla="*/ 0 w 159"/>
              <a:gd name="T33" fmla="*/ 62 h 151"/>
              <a:gd name="T34" fmla="*/ 9 w 159"/>
              <a:gd name="T35" fmla="*/ 33 h 151"/>
              <a:gd name="T36" fmla="*/ 32 w 159"/>
              <a:gd name="T37" fmla="*/ 9 h 151"/>
              <a:gd name="T38" fmla="*/ 62 w 159"/>
              <a:gd name="T39" fmla="*/ 0 h 151"/>
              <a:gd name="T40" fmla="*/ 87 w 159"/>
              <a:gd name="T41" fmla="*/ 10 h 151"/>
              <a:gd name="T42" fmla="*/ 96 w 159"/>
              <a:gd name="T43" fmla="*/ 35 h 151"/>
              <a:gd name="T44" fmla="*/ 84 w 159"/>
              <a:gd name="T45" fmla="*/ 70 h 151"/>
              <a:gd name="T46" fmla="*/ 118 w 159"/>
              <a:gd name="T47" fmla="*/ 103 h 151"/>
              <a:gd name="T48" fmla="*/ 127 w 159"/>
              <a:gd name="T49" fmla="*/ 94 h 151"/>
              <a:gd name="T50" fmla="*/ 124 w 159"/>
              <a:gd name="T51" fmla="*/ 92 h 151"/>
              <a:gd name="T52" fmla="*/ 120 w 159"/>
              <a:gd name="T53" fmla="*/ 88 h 151"/>
              <a:gd name="T54" fmla="*/ 117 w 159"/>
              <a:gd name="T55" fmla="*/ 85 h 151"/>
              <a:gd name="T56" fmla="*/ 116 w 159"/>
              <a:gd name="T57" fmla="*/ 82 h 151"/>
              <a:gd name="T58" fmla="*/ 120 w 159"/>
              <a:gd name="T59" fmla="*/ 76 h 151"/>
              <a:gd name="T60" fmla="*/ 127 w 159"/>
              <a:gd name="T61" fmla="*/ 71 h 151"/>
              <a:gd name="T62" fmla="*/ 129 w 159"/>
              <a:gd name="T63" fmla="*/ 72 h 151"/>
              <a:gd name="T64" fmla="*/ 133 w 159"/>
              <a:gd name="T65" fmla="*/ 76 h 151"/>
              <a:gd name="T66" fmla="*/ 141 w 159"/>
              <a:gd name="T67" fmla="*/ 84 h 151"/>
              <a:gd name="T68" fmla="*/ 149 w 159"/>
              <a:gd name="T69" fmla="*/ 92 h 151"/>
              <a:gd name="T70" fmla="*/ 156 w 159"/>
              <a:gd name="T71" fmla="*/ 99 h 151"/>
              <a:gd name="T72" fmla="*/ 159 w 159"/>
              <a:gd name="T73" fmla="*/ 103 h 151"/>
              <a:gd name="T74" fmla="*/ 73 w 159"/>
              <a:gd name="T75" fmla="*/ 49 h 151"/>
              <a:gd name="T76" fmla="*/ 78 w 159"/>
              <a:gd name="T77" fmla="*/ 37 h 151"/>
              <a:gd name="T78" fmla="*/ 73 w 159"/>
              <a:gd name="T79" fmla="*/ 24 h 151"/>
              <a:gd name="T80" fmla="*/ 60 w 159"/>
              <a:gd name="T81" fmla="*/ 18 h 151"/>
              <a:gd name="T82" fmla="*/ 47 w 159"/>
              <a:gd name="T83" fmla="*/ 24 h 151"/>
              <a:gd name="T84" fmla="*/ 42 w 159"/>
              <a:gd name="T85" fmla="*/ 37 h 151"/>
              <a:gd name="T86" fmla="*/ 44 w 159"/>
              <a:gd name="T87" fmla="*/ 44 h 151"/>
              <a:gd name="T88" fmla="*/ 36 w 159"/>
              <a:gd name="T89" fmla="*/ 43 h 151"/>
              <a:gd name="T90" fmla="*/ 23 w 159"/>
              <a:gd name="T91" fmla="*/ 48 h 151"/>
              <a:gd name="T92" fmla="*/ 18 w 159"/>
              <a:gd name="T93" fmla="*/ 61 h 151"/>
              <a:gd name="T94" fmla="*/ 23 w 159"/>
              <a:gd name="T95" fmla="*/ 74 h 151"/>
              <a:gd name="T96" fmla="*/ 36 w 159"/>
              <a:gd name="T97" fmla="*/ 79 h 151"/>
              <a:gd name="T98" fmla="*/ 49 w 159"/>
              <a:gd name="T99" fmla="*/ 74 h 151"/>
              <a:gd name="T100" fmla="*/ 54 w 159"/>
              <a:gd name="T101" fmla="*/ 61 h 151"/>
              <a:gd name="T102" fmla="*/ 52 w 159"/>
              <a:gd name="T103" fmla="*/ 53 h 151"/>
              <a:gd name="T104" fmla="*/ 60 w 159"/>
              <a:gd name="T105" fmla="*/ 55 h 151"/>
              <a:gd name="T106" fmla="*/ 73 w 159"/>
              <a:gd name="T107" fmla="*/ 4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9" h="151">
                <a:moveTo>
                  <a:pt x="159" y="103"/>
                </a:moveTo>
                <a:cubicBezTo>
                  <a:pt x="159" y="104"/>
                  <a:pt x="157" y="106"/>
                  <a:pt x="154" y="109"/>
                </a:cubicBezTo>
                <a:cubicBezTo>
                  <a:pt x="151" y="113"/>
                  <a:pt x="149" y="114"/>
                  <a:pt x="148" y="114"/>
                </a:cubicBezTo>
                <a:cubicBezTo>
                  <a:pt x="147" y="114"/>
                  <a:pt x="146" y="114"/>
                  <a:pt x="145" y="113"/>
                </a:cubicBezTo>
                <a:cubicBezTo>
                  <a:pt x="144" y="112"/>
                  <a:pt x="143" y="111"/>
                  <a:pt x="142" y="109"/>
                </a:cubicBezTo>
                <a:cubicBezTo>
                  <a:pt x="141" y="108"/>
                  <a:pt x="139" y="107"/>
                  <a:pt x="138" y="106"/>
                </a:cubicBezTo>
                <a:cubicBezTo>
                  <a:pt x="137" y="104"/>
                  <a:pt x="136" y="103"/>
                  <a:pt x="136" y="103"/>
                </a:cubicBezTo>
                <a:cubicBezTo>
                  <a:pt x="127" y="112"/>
                  <a:pt x="127" y="112"/>
                  <a:pt x="127" y="112"/>
                </a:cubicBezTo>
                <a:cubicBezTo>
                  <a:pt x="147" y="133"/>
                  <a:pt x="147" y="133"/>
                  <a:pt x="147" y="133"/>
                </a:cubicBezTo>
                <a:cubicBezTo>
                  <a:pt x="149" y="135"/>
                  <a:pt x="150" y="137"/>
                  <a:pt x="150" y="140"/>
                </a:cubicBezTo>
                <a:cubicBezTo>
                  <a:pt x="150" y="142"/>
                  <a:pt x="149" y="145"/>
                  <a:pt x="146" y="147"/>
                </a:cubicBezTo>
                <a:cubicBezTo>
                  <a:pt x="144" y="150"/>
                  <a:pt x="141" y="151"/>
                  <a:pt x="139" y="151"/>
                </a:cubicBezTo>
                <a:cubicBezTo>
                  <a:pt x="136" y="151"/>
                  <a:pt x="134" y="150"/>
                  <a:pt x="132" y="148"/>
                </a:cubicBezTo>
                <a:cubicBezTo>
                  <a:pt x="69" y="85"/>
                  <a:pt x="69" y="85"/>
                  <a:pt x="69" y="85"/>
                </a:cubicBezTo>
                <a:cubicBezTo>
                  <a:pt x="58" y="93"/>
                  <a:pt x="46" y="97"/>
                  <a:pt x="34" y="97"/>
                </a:cubicBezTo>
                <a:cubicBezTo>
                  <a:pt x="24" y="97"/>
                  <a:pt x="16" y="94"/>
                  <a:pt x="9" y="87"/>
                </a:cubicBezTo>
                <a:cubicBezTo>
                  <a:pt x="3" y="81"/>
                  <a:pt x="0" y="73"/>
                  <a:pt x="0" y="62"/>
                </a:cubicBezTo>
                <a:cubicBezTo>
                  <a:pt x="0" y="52"/>
                  <a:pt x="3" y="42"/>
                  <a:pt x="9" y="33"/>
                </a:cubicBezTo>
                <a:cubicBezTo>
                  <a:pt x="15" y="23"/>
                  <a:pt x="22" y="15"/>
                  <a:pt x="32" y="9"/>
                </a:cubicBezTo>
                <a:cubicBezTo>
                  <a:pt x="42" y="3"/>
                  <a:pt x="52" y="0"/>
                  <a:pt x="62" y="0"/>
                </a:cubicBezTo>
                <a:cubicBezTo>
                  <a:pt x="72" y="0"/>
                  <a:pt x="80" y="4"/>
                  <a:pt x="87" y="10"/>
                </a:cubicBezTo>
                <a:cubicBezTo>
                  <a:pt x="93" y="16"/>
                  <a:pt x="96" y="25"/>
                  <a:pt x="96" y="35"/>
                </a:cubicBezTo>
                <a:cubicBezTo>
                  <a:pt x="96" y="47"/>
                  <a:pt x="92" y="59"/>
                  <a:pt x="84" y="70"/>
                </a:cubicBezTo>
                <a:cubicBezTo>
                  <a:pt x="118" y="103"/>
                  <a:pt x="118" y="103"/>
                  <a:pt x="118" y="103"/>
                </a:cubicBezTo>
                <a:cubicBezTo>
                  <a:pt x="127" y="94"/>
                  <a:pt x="127" y="94"/>
                  <a:pt x="127" y="94"/>
                </a:cubicBezTo>
                <a:cubicBezTo>
                  <a:pt x="126" y="94"/>
                  <a:pt x="126" y="93"/>
                  <a:pt x="124" y="92"/>
                </a:cubicBezTo>
                <a:cubicBezTo>
                  <a:pt x="123" y="90"/>
                  <a:pt x="122" y="89"/>
                  <a:pt x="120" y="88"/>
                </a:cubicBezTo>
                <a:cubicBezTo>
                  <a:pt x="119" y="87"/>
                  <a:pt x="118" y="86"/>
                  <a:pt x="117" y="85"/>
                </a:cubicBezTo>
                <a:cubicBezTo>
                  <a:pt x="116" y="83"/>
                  <a:pt x="116" y="83"/>
                  <a:pt x="116" y="82"/>
                </a:cubicBezTo>
                <a:cubicBezTo>
                  <a:pt x="116" y="81"/>
                  <a:pt x="117" y="79"/>
                  <a:pt x="120" y="76"/>
                </a:cubicBezTo>
                <a:cubicBezTo>
                  <a:pt x="124" y="73"/>
                  <a:pt x="126" y="71"/>
                  <a:pt x="127" y="71"/>
                </a:cubicBezTo>
                <a:cubicBezTo>
                  <a:pt x="127" y="71"/>
                  <a:pt x="128" y="71"/>
                  <a:pt x="129" y="72"/>
                </a:cubicBezTo>
                <a:cubicBezTo>
                  <a:pt x="129" y="72"/>
                  <a:pt x="131" y="74"/>
                  <a:pt x="133" y="76"/>
                </a:cubicBezTo>
                <a:cubicBezTo>
                  <a:pt x="136" y="79"/>
                  <a:pt x="138" y="81"/>
                  <a:pt x="141" y="84"/>
                </a:cubicBezTo>
                <a:cubicBezTo>
                  <a:pt x="144" y="86"/>
                  <a:pt x="146" y="89"/>
                  <a:pt x="149" y="92"/>
                </a:cubicBezTo>
                <a:cubicBezTo>
                  <a:pt x="152" y="95"/>
                  <a:pt x="154" y="97"/>
                  <a:pt x="156" y="99"/>
                </a:cubicBezTo>
                <a:cubicBezTo>
                  <a:pt x="158" y="101"/>
                  <a:pt x="159" y="103"/>
                  <a:pt x="159" y="103"/>
                </a:cubicBezTo>
                <a:close/>
                <a:moveTo>
                  <a:pt x="73" y="49"/>
                </a:moveTo>
                <a:cubicBezTo>
                  <a:pt x="77" y="46"/>
                  <a:pt x="78" y="42"/>
                  <a:pt x="78" y="37"/>
                </a:cubicBezTo>
                <a:cubicBezTo>
                  <a:pt x="78" y="32"/>
                  <a:pt x="77" y="27"/>
                  <a:pt x="73" y="24"/>
                </a:cubicBezTo>
                <a:cubicBezTo>
                  <a:pt x="69" y="20"/>
                  <a:pt x="65" y="18"/>
                  <a:pt x="60" y="18"/>
                </a:cubicBezTo>
                <a:cubicBezTo>
                  <a:pt x="55" y="18"/>
                  <a:pt x="51" y="20"/>
                  <a:pt x="47" y="24"/>
                </a:cubicBezTo>
                <a:cubicBezTo>
                  <a:pt x="44" y="27"/>
                  <a:pt x="42" y="32"/>
                  <a:pt x="42" y="37"/>
                </a:cubicBezTo>
                <a:cubicBezTo>
                  <a:pt x="42" y="39"/>
                  <a:pt x="43" y="42"/>
                  <a:pt x="44" y="44"/>
                </a:cubicBezTo>
                <a:cubicBezTo>
                  <a:pt x="41" y="43"/>
                  <a:pt x="39" y="43"/>
                  <a:pt x="36" y="43"/>
                </a:cubicBezTo>
                <a:cubicBezTo>
                  <a:pt x="31" y="43"/>
                  <a:pt x="27" y="44"/>
                  <a:pt x="23" y="48"/>
                </a:cubicBezTo>
                <a:cubicBezTo>
                  <a:pt x="20" y="52"/>
                  <a:pt x="18" y="56"/>
                  <a:pt x="18" y="61"/>
                </a:cubicBezTo>
                <a:cubicBezTo>
                  <a:pt x="18" y="66"/>
                  <a:pt x="20" y="70"/>
                  <a:pt x="23" y="74"/>
                </a:cubicBezTo>
                <a:cubicBezTo>
                  <a:pt x="27" y="77"/>
                  <a:pt x="31" y="79"/>
                  <a:pt x="36" y="79"/>
                </a:cubicBezTo>
                <a:cubicBezTo>
                  <a:pt x="41" y="79"/>
                  <a:pt x="45" y="77"/>
                  <a:pt x="49" y="74"/>
                </a:cubicBezTo>
                <a:cubicBezTo>
                  <a:pt x="52" y="70"/>
                  <a:pt x="54" y="66"/>
                  <a:pt x="54" y="61"/>
                </a:cubicBezTo>
                <a:cubicBezTo>
                  <a:pt x="54" y="58"/>
                  <a:pt x="53" y="56"/>
                  <a:pt x="52" y="53"/>
                </a:cubicBezTo>
                <a:cubicBezTo>
                  <a:pt x="55" y="54"/>
                  <a:pt x="57" y="55"/>
                  <a:pt x="60" y="55"/>
                </a:cubicBezTo>
                <a:cubicBezTo>
                  <a:pt x="65" y="55"/>
                  <a:pt x="69" y="53"/>
                  <a:pt x="73" y="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0" name="Freeform 130"/>
          <p:cNvSpPr>
            <a:spLocks noChangeAspect="1" noEditPoints="1"/>
          </p:cNvSpPr>
          <p:nvPr/>
        </p:nvSpPr>
        <p:spPr bwMode="auto">
          <a:xfrm>
            <a:off x="2787414" y="2475150"/>
            <a:ext cx="187357" cy="171744"/>
          </a:xfrm>
          <a:custGeom>
            <a:avLst/>
            <a:gdLst>
              <a:gd name="T0" fmla="*/ 120 w 181"/>
              <a:gd name="T1" fmla="*/ 94 h 166"/>
              <a:gd name="T2" fmla="*/ 101 w 181"/>
              <a:gd name="T3" fmla="*/ 104 h 166"/>
              <a:gd name="T4" fmla="*/ 109 w 181"/>
              <a:gd name="T5" fmla="*/ 119 h 166"/>
              <a:gd name="T6" fmla="*/ 92 w 181"/>
              <a:gd name="T7" fmla="*/ 132 h 166"/>
              <a:gd name="T8" fmla="*/ 72 w 181"/>
              <a:gd name="T9" fmla="*/ 141 h 166"/>
              <a:gd name="T10" fmla="*/ 49 w 181"/>
              <a:gd name="T11" fmla="*/ 143 h 166"/>
              <a:gd name="T12" fmla="*/ 39 w 181"/>
              <a:gd name="T13" fmla="*/ 124 h 166"/>
              <a:gd name="T14" fmla="*/ 24 w 181"/>
              <a:gd name="T15" fmla="*/ 132 h 166"/>
              <a:gd name="T16" fmla="*/ 15 w 181"/>
              <a:gd name="T17" fmla="*/ 110 h 166"/>
              <a:gd name="T18" fmla="*/ 2 w 181"/>
              <a:gd name="T19" fmla="*/ 94 h 166"/>
              <a:gd name="T20" fmla="*/ 0 w 181"/>
              <a:gd name="T21" fmla="*/ 74 h 166"/>
              <a:gd name="T22" fmla="*/ 16 w 181"/>
              <a:gd name="T23" fmla="*/ 69 h 166"/>
              <a:gd name="T24" fmla="*/ 10 w 181"/>
              <a:gd name="T25" fmla="*/ 49 h 166"/>
              <a:gd name="T26" fmla="*/ 26 w 181"/>
              <a:gd name="T27" fmla="*/ 33 h 166"/>
              <a:gd name="T28" fmla="*/ 46 w 181"/>
              <a:gd name="T29" fmla="*/ 39 h 166"/>
              <a:gd name="T30" fmla="*/ 69 w 181"/>
              <a:gd name="T31" fmla="*/ 22 h 166"/>
              <a:gd name="T32" fmla="*/ 74 w 181"/>
              <a:gd name="T33" fmla="*/ 39 h 166"/>
              <a:gd name="T34" fmla="*/ 94 w 181"/>
              <a:gd name="T35" fmla="*/ 33 h 166"/>
              <a:gd name="T36" fmla="*/ 109 w 181"/>
              <a:gd name="T37" fmla="*/ 51 h 166"/>
              <a:gd name="T38" fmla="*/ 104 w 181"/>
              <a:gd name="T39" fmla="*/ 69 h 166"/>
              <a:gd name="T40" fmla="*/ 121 w 181"/>
              <a:gd name="T41" fmla="*/ 74 h 166"/>
              <a:gd name="T42" fmla="*/ 77 w 181"/>
              <a:gd name="T43" fmla="*/ 66 h 166"/>
              <a:gd name="T44" fmla="*/ 36 w 181"/>
              <a:gd name="T45" fmla="*/ 83 h 166"/>
              <a:gd name="T46" fmla="*/ 77 w 181"/>
              <a:gd name="T47" fmla="*/ 100 h 166"/>
              <a:gd name="T48" fmla="*/ 167 w 181"/>
              <a:gd name="T49" fmla="*/ 44 h 166"/>
              <a:gd name="T50" fmla="*/ 169 w 181"/>
              <a:gd name="T51" fmla="*/ 63 h 166"/>
              <a:gd name="T52" fmla="*/ 148 w 181"/>
              <a:gd name="T53" fmla="*/ 59 h 166"/>
              <a:gd name="T54" fmla="*/ 137 w 181"/>
              <a:gd name="T55" fmla="*/ 65 h 166"/>
              <a:gd name="T56" fmla="*/ 121 w 181"/>
              <a:gd name="T57" fmla="*/ 62 h 166"/>
              <a:gd name="T58" fmla="*/ 109 w 181"/>
              <a:gd name="T59" fmla="*/ 41 h 166"/>
              <a:gd name="T60" fmla="*/ 125 w 181"/>
              <a:gd name="T61" fmla="*/ 20 h 166"/>
              <a:gd name="T62" fmla="*/ 124 w 181"/>
              <a:gd name="T63" fmla="*/ 4 h 166"/>
              <a:gd name="T64" fmla="*/ 137 w 181"/>
              <a:gd name="T65" fmla="*/ 4 h 166"/>
              <a:gd name="T66" fmla="*/ 148 w 181"/>
              <a:gd name="T67" fmla="*/ 11 h 166"/>
              <a:gd name="T68" fmla="*/ 169 w 181"/>
              <a:gd name="T69" fmla="*/ 6 h 166"/>
              <a:gd name="T70" fmla="*/ 167 w 181"/>
              <a:gd name="T71" fmla="*/ 25 h 166"/>
              <a:gd name="T72" fmla="*/ 181 w 181"/>
              <a:gd name="T73" fmla="*/ 138 h 166"/>
              <a:gd name="T74" fmla="*/ 169 w 181"/>
              <a:gd name="T75" fmla="*/ 159 h 166"/>
              <a:gd name="T76" fmla="*/ 153 w 181"/>
              <a:gd name="T77" fmla="*/ 162 h 166"/>
              <a:gd name="T78" fmla="*/ 142 w 181"/>
              <a:gd name="T79" fmla="*/ 155 h 166"/>
              <a:gd name="T80" fmla="*/ 121 w 181"/>
              <a:gd name="T81" fmla="*/ 160 h 166"/>
              <a:gd name="T82" fmla="*/ 123 w 181"/>
              <a:gd name="T83" fmla="*/ 141 h 166"/>
              <a:gd name="T84" fmla="*/ 123 w 181"/>
              <a:gd name="T85" fmla="*/ 122 h 166"/>
              <a:gd name="T86" fmla="*/ 121 w 181"/>
              <a:gd name="T87" fmla="*/ 103 h 166"/>
              <a:gd name="T88" fmla="*/ 133 w 181"/>
              <a:gd name="T89" fmla="*/ 97 h 166"/>
              <a:gd name="T90" fmla="*/ 145 w 181"/>
              <a:gd name="T91" fmla="*/ 107 h 166"/>
              <a:gd name="T92" fmla="*/ 157 w 181"/>
              <a:gd name="T93" fmla="*/ 97 h 166"/>
              <a:gd name="T94" fmla="*/ 164 w 181"/>
              <a:gd name="T95" fmla="*/ 117 h 166"/>
              <a:gd name="T96" fmla="*/ 157 w 181"/>
              <a:gd name="T97" fmla="*/ 35 h 166"/>
              <a:gd name="T98" fmla="*/ 136 w 181"/>
              <a:gd name="T99" fmla="*/ 26 h 166"/>
              <a:gd name="T100" fmla="*/ 145 w 181"/>
              <a:gd name="T101" fmla="*/ 47 h 166"/>
              <a:gd name="T102" fmla="*/ 157 w 181"/>
              <a:gd name="T103" fmla="*/ 131 h 166"/>
              <a:gd name="T104" fmla="*/ 136 w 181"/>
              <a:gd name="T105" fmla="*/ 123 h 166"/>
              <a:gd name="T106" fmla="*/ 145 w 181"/>
              <a:gd name="T107" fmla="*/ 143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1" h="166">
                <a:moveTo>
                  <a:pt x="121" y="74"/>
                </a:moveTo>
                <a:cubicBezTo>
                  <a:pt x="121" y="92"/>
                  <a:pt x="121" y="92"/>
                  <a:pt x="121" y="92"/>
                </a:cubicBezTo>
                <a:cubicBezTo>
                  <a:pt x="121" y="92"/>
                  <a:pt x="120" y="93"/>
                  <a:pt x="120" y="94"/>
                </a:cubicBezTo>
                <a:cubicBezTo>
                  <a:pt x="120" y="94"/>
                  <a:pt x="119" y="95"/>
                  <a:pt x="118" y="95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103" y="99"/>
                  <a:pt x="102" y="102"/>
                  <a:pt x="101" y="104"/>
                </a:cubicBezTo>
                <a:cubicBezTo>
                  <a:pt x="103" y="107"/>
                  <a:pt x="106" y="111"/>
                  <a:pt x="109" y="115"/>
                </a:cubicBezTo>
                <a:cubicBezTo>
                  <a:pt x="110" y="116"/>
                  <a:pt x="110" y="116"/>
                  <a:pt x="110" y="117"/>
                </a:cubicBezTo>
                <a:cubicBezTo>
                  <a:pt x="110" y="118"/>
                  <a:pt x="110" y="118"/>
                  <a:pt x="109" y="119"/>
                </a:cubicBezTo>
                <a:cubicBezTo>
                  <a:pt x="108" y="121"/>
                  <a:pt x="105" y="123"/>
                  <a:pt x="101" y="127"/>
                </a:cubicBezTo>
                <a:cubicBezTo>
                  <a:pt x="98" y="131"/>
                  <a:pt x="95" y="133"/>
                  <a:pt x="94" y="133"/>
                </a:cubicBezTo>
                <a:cubicBezTo>
                  <a:pt x="93" y="133"/>
                  <a:pt x="93" y="133"/>
                  <a:pt x="92" y="132"/>
                </a:cubicBezTo>
                <a:cubicBezTo>
                  <a:pt x="81" y="124"/>
                  <a:pt x="81" y="124"/>
                  <a:pt x="81" y="124"/>
                </a:cubicBezTo>
                <a:cubicBezTo>
                  <a:pt x="79" y="125"/>
                  <a:pt x="76" y="126"/>
                  <a:pt x="74" y="127"/>
                </a:cubicBezTo>
                <a:cubicBezTo>
                  <a:pt x="73" y="133"/>
                  <a:pt x="72" y="138"/>
                  <a:pt x="72" y="141"/>
                </a:cubicBezTo>
                <a:cubicBezTo>
                  <a:pt x="71" y="143"/>
                  <a:pt x="70" y="143"/>
                  <a:pt x="69" y="143"/>
                </a:cubicBezTo>
                <a:cubicBezTo>
                  <a:pt x="51" y="143"/>
                  <a:pt x="51" y="143"/>
                  <a:pt x="51" y="143"/>
                </a:cubicBezTo>
                <a:cubicBezTo>
                  <a:pt x="51" y="143"/>
                  <a:pt x="50" y="143"/>
                  <a:pt x="49" y="143"/>
                </a:cubicBezTo>
                <a:cubicBezTo>
                  <a:pt x="49" y="142"/>
                  <a:pt x="49" y="142"/>
                  <a:pt x="48" y="141"/>
                </a:cubicBezTo>
                <a:cubicBezTo>
                  <a:pt x="46" y="127"/>
                  <a:pt x="46" y="127"/>
                  <a:pt x="46" y="127"/>
                </a:cubicBezTo>
                <a:cubicBezTo>
                  <a:pt x="44" y="126"/>
                  <a:pt x="42" y="125"/>
                  <a:pt x="39" y="124"/>
                </a:cubicBezTo>
                <a:cubicBezTo>
                  <a:pt x="28" y="132"/>
                  <a:pt x="28" y="132"/>
                  <a:pt x="28" y="132"/>
                </a:cubicBezTo>
                <a:cubicBezTo>
                  <a:pt x="28" y="133"/>
                  <a:pt x="27" y="133"/>
                  <a:pt x="26" y="133"/>
                </a:cubicBezTo>
                <a:cubicBezTo>
                  <a:pt x="25" y="133"/>
                  <a:pt x="25" y="133"/>
                  <a:pt x="24" y="132"/>
                </a:cubicBezTo>
                <a:cubicBezTo>
                  <a:pt x="15" y="124"/>
                  <a:pt x="11" y="119"/>
                  <a:pt x="11" y="117"/>
                </a:cubicBezTo>
                <a:cubicBezTo>
                  <a:pt x="11" y="116"/>
                  <a:pt x="11" y="116"/>
                  <a:pt x="11" y="115"/>
                </a:cubicBezTo>
                <a:cubicBezTo>
                  <a:pt x="12" y="114"/>
                  <a:pt x="13" y="113"/>
                  <a:pt x="15" y="110"/>
                </a:cubicBezTo>
                <a:cubicBezTo>
                  <a:pt x="17" y="108"/>
                  <a:pt x="19" y="106"/>
                  <a:pt x="20" y="104"/>
                </a:cubicBezTo>
                <a:cubicBezTo>
                  <a:pt x="18" y="102"/>
                  <a:pt x="17" y="99"/>
                  <a:pt x="16" y="97"/>
                </a:cubicBezTo>
                <a:cubicBezTo>
                  <a:pt x="2" y="94"/>
                  <a:pt x="2" y="94"/>
                  <a:pt x="2" y="94"/>
                </a:cubicBezTo>
                <a:cubicBezTo>
                  <a:pt x="1" y="94"/>
                  <a:pt x="1" y="94"/>
                  <a:pt x="0" y="93"/>
                </a:cubicBezTo>
                <a:cubicBezTo>
                  <a:pt x="0" y="93"/>
                  <a:pt x="0" y="92"/>
                  <a:pt x="0" y="92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3"/>
                  <a:pt x="0" y="72"/>
                </a:cubicBezTo>
                <a:cubicBezTo>
                  <a:pt x="1" y="72"/>
                  <a:pt x="1" y="71"/>
                  <a:pt x="2" y="71"/>
                </a:cubicBezTo>
                <a:cubicBezTo>
                  <a:pt x="16" y="69"/>
                  <a:pt x="16" y="69"/>
                  <a:pt x="16" y="69"/>
                </a:cubicBezTo>
                <a:cubicBezTo>
                  <a:pt x="17" y="67"/>
                  <a:pt x="18" y="64"/>
                  <a:pt x="19" y="62"/>
                </a:cubicBezTo>
                <a:cubicBezTo>
                  <a:pt x="17" y="59"/>
                  <a:pt x="14" y="55"/>
                  <a:pt x="11" y="51"/>
                </a:cubicBezTo>
                <a:cubicBezTo>
                  <a:pt x="10" y="50"/>
                  <a:pt x="10" y="50"/>
                  <a:pt x="10" y="49"/>
                </a:cubicBezTo>
                <a:cubicBezTo>
                  <a:pt x="10" y="48"/>
                  <a:pt x="10" y="48"/>
                  <a:pt x="11" y="47"/>
                </a:cubicBezTo>
                <a:cubicBezTo>
                  <a:pt x="12" y="45"/>
                  <a:pt x="15" y="42"/>
                  <a:pt x="19" y="39"/>
                </a:cubicBezTo>
                <a:cubicBezTo>
                  <a:pt x="22" y="35"/>
                  <a:pt x="25" y="33"/>
                  <a:pt x="26" y="33"/>
                </a:cubicBezTo>
                <a:cubicBezTo>
                  <a:pt x="27" y="33"/>
                  <a:pt x="28" y="33"/>
                  <a:pt x="28" y="34"/>
                </a:cubicBezTo>
                <a:cubicBezTo>
                  <a:pt x="39" y="42"/>
                  <a:pt x="39" y="42"/>
                  <a:pt x="39" y="42"/>
                </a:cubicBezTo>
                <a:cubicBezTo>
                  <a:pt x="41" y="41"/>
                  <a:pt x="44" y="40"/>
                  <a:pt x="46" y="39"/>
                </a:cubicBezTo>
                <a:cubicBezTo>
                  <a:pt x="47" y="32"/>
                  <a:pt x="48" y="28"/>
                  <a:pt x="48" y="25"/>
                </a:cubicBezTo>
                <a:cubicBezTo>
                  <a:pt x="49" y="23"/>
                  <a:pt x="50" y="22"/>
                  <a:pt x="51" y="22"/>
                </a:cubicBezTo>
                <a:cubicBezTo>
                  <a:pt x="69" y="22"/>
                  <a:pt x="69" y="22"/>
                  <a:pt x="69" y="22"/>
                </a:cubicBezTo>
                <a:cubicBezTo>
                  <a:pt x="70" y="22"/>
                  <a:pt x="70" y="23"/>
                  <a:pt x="71" y="23"/>
                </a:cubicBezTo>
                <a:cubicBezTo>
                  <a:pt x="71" y="24"/>
                  <a:pt x="72" y="24"/>
                  <a:pt x="72" y="25"/>
                </a:cubicBezTo>
                <a:cubicBezTo>
                  <a:pt x="74" y="39"/>
                  <a:pt x="74" y="39"/>
                  <a:pt x="74" y="39"/>
                </a:cubicBezTo>
                <a:cubicBezTo>
                  <a:pt x="76" y="40"/>
                  <a:pt x="78" y="41"/>
                  <a:pt x="81" y="42"/>
                </a:cubicBezTo>
                <a:cubicBezTo>
                  <a:pt x="92" y="34"/>
                  <a:pt x="92" y="34"/>
                  <a:pt x="92" y="34"/>
                </a:cubicBezTo>
                <a:cubicBezTo>
                  <a:pt x="93" y="33"/>
                  <a:pt x="93" y="33"/>
                  <a:pt x="94" y="33"/>
                </a:cubicBezTo>
                <a:cubicBezTo>
                  <a:pt x="95" y="33"/>
                  <a:pt x="95" y="33"/>
                  <a:pt x="96" y="34"/>
                </a:cubicBezTo>
                <a:cubicBezTo>
                  <a:pt x="105" y="42"/>
                  <a:pt x="110" y="47"/>
                  <a:pt x="110" y="49"/>
                </a:cubicBezTo>
                <a:cubicBezTo>
                  <a:pt x="110" y="50"/>
                  <a:pt x="109" y="50"/>
                  <a:pt x="109" y="51"/>
                </a:cubicBezTo>
                <a:cubicBezTo>
                  <a:pt x="108" y="52"/>
                  <a:pt x="107" y="54"/>
                  <a:pt x="105" y="56"/>
                </a:cubicBezTo>
                <a:cubicBezTo>
                  <a:pt x="103" y="58"/>
                  <a:pt x="102" y="60"/>
                  <a:pt x="101" y="62"/>
                </a:cubicBezTo>
                <a:cubicBezTo>
                  <a:pt x="102" y="65"/>
                  <a:pt x="103" y="67"/>
                  <a:pt x="104" y="69"/>
                </a:cubicBezTo>
                <a:cubicBezTo>
                  <a:pt x="118" y="72"/>
                  <a:pt x="118" y="72"/>
                  <a:pt x="118" y="72"/>
                </a:cubicBezTo>
                <a:cubicBezTo>
                  <a:pt x="119" y="72"/>
                  <a:pt x="120" y="72"/>
                  <a:pt x="120" y="73"/>
                </a:cubicBezTo>
                <a:cubicBezTo>
                  <a:pt x="120" y="73"/>
                  <a:pt x="121" y="74"/>
                  <a:pt x="121" y="74"/>
                </a:cubicBezTo>
                <a:close/>
                <a:moveTo>
                  <a:pt x="77" y="100"/>
                </a:moveTo>
                <a:cubicBezTo>
                  <a:pt x="82" y="95"/>
                  <a:pt x="84" y="90"/>
                  <a:pt x="84" y="83"/>
                </a:cubicBezTo>
                <a:cubicBezTo>
                  <a:pt x="84" y="76"/>
                  <a:pt x="82" y="71"/>
                  <a:pt x="77" y="66"/>
                </a:cubicBezTo>
                <a:cubicBezTo>
                  <a:pt x="72" y="61"/>
                  <a:pt x="67" y="59"/>
                  <a:pt x="60" y="59"/>
                </a:cubicBezTo>
                <a:cubicBezTo>
                  <a:pt x="53" y="59"/>
                  <a:pt x="48" y="61"/>
                  <a:pt x="43" y="66"/>
                </a:cubicBezTo>
                <a:cubicBezTo>
                  <a:pt x="38" y="71"/>
                  <a:pt x="36" y="76"/>
                  <a:pt x="36" y="83"/>
                </a:cubicBezTo>
                <a:cubicBezTo>
                  <a:pt x="36" y="90"/>
                  <a:pt x="38" y="95"/>
                  <a:pt x="43" y="100"/>
                </a:cubicBezTo>
                <a:cubicBezTo>
                  <a:pt x="48" y="105"/>
                  <a:pt x="53" y="107"/>
                  <a:pt x="60" y="107"/>
                </a:cubicBezTo>
                <a:cubicBezTo>
                  <a:pt x="67" y="107"/>
                  <a:pt x="72" y="105"/>
                  <a:pt x="77" y="100"/>
                </a:cubicBezTo>
                <a:close/>
                <a:moveTo>
                  <a:pt x="181" y="28"/>
                </a:moveTo>
                <a:cubicBezTo>
                  <a:pt x="181" y="41"/>
                  <a:pt x="181" y="41"/>
                  <a:pt x="181" y="41"/>
                </a:cubicBezTo>
                <a:cubicBezTo>
                  <a:pt x="181" y="42"/>
                  <a:pt x="176" y="43"/>
                  <a:pt x="167" y="44"/>
                </a:cubicBezTo>
                <a:cubicBezTo>
                  <a:pt x="166" y="46"/>
                  <a:pt x="165" y="47"/>
                  <a:pt x="164" y="49"/>
                </a:cubicBezTo>
                <a:cubicBezTo>
                  <a:pt x="167" y="56"/>
                  <a:pt x="169" y="60"/>
                  <a:pt x="169" y="62"/>
                </a:cubicBezTo>
                <a:cubicBezTo>
                  <a:pt x="169" y="62"/>
                  <a:pt x="169" y="63"/>
                  <a:pt x="169" y="63"/>
                </a:cubicBezTo>
                <a:cubicBezTo>
                  <a:pt x="161" y="67"/>
                  <a:pt x="157" y="69"/>
                  <a:pt x="157" y="69"/>
                </a:cubicBezTo>
                <a:cubicBezTo>
                  <a:pt x="156" y="69"/>
                  <a:pt x="155" y="68"/>
                  <a:pt x="153" y="65"/>
                </a:cubicBezTo>
                <a:cubicBezTo>
                  <a:pt x="150" y="62"/>
                  <a:pt x="149" y="60"/>
                  <a:pt x="148" y="59"/>
                </a:cubicBezTo>
                <a:cubicBezTo>
                  <a:pt x="146" y="59"/>
                  <a:pt x="145" y="59"/>
                  <a:pt x="145" y="59"/>
                </a:cubicBezTo>
                <a:cubicBezTo>
                  <a:pt x="144" y="59"/>
                  <a:pt x="143" y="59"/>
                  <a:pt x="142" y="59"/>
                </a:cubicBezTo>
                <a:cubicBezTo>
                  <a:pt x="141" y="60"/>
                  <a:pt x="139" y="62"/>
                  <a:pt x="137" y="65"/>
                </a:cubicBezTo>
                <a:cubicBezTo>
                  <a:pt x="135" y="68"/>
                  <a:pt x="133" y="69"/>
                  <a:pt x="133" y="69"/>
                </a:cubicBezTo>
                <a:cubicBezTo>
                  <a:pt x="133" y="69"/>
                  <a:pt x="129" y="67"/>
                  <a:pt x="121" y="63"/>
                </a:cubicBezTo>
                <a:cubicBezTo>
                  <a:pt x="121" y="63"/>
                  <a:pt x="121" y="62"/>
                  <a:pt x="121" y="62"/>
                </a:cubicBezTo>
                <a:cubicBezTo>
                  <a:pt x="121" y="60"/>
                  <a:pt x="122" y="56"/>
                  <a:pt x="125" y="49"/>
                </a:cubicBezTo>
                <a:cubicBezTo>
                  <a:pt x="124" y="47"/>
                  <a:pt x="123" y="46"/>
                  <a:pt x="123" y="44"/>
                </a:cubicBezTo>
                <a:cubicBezTo>
                  <a:pt x="113" y="43"/>
                  <a:pt x="109" y="42"/>
                  <a:pt x="109" y="41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109" y="27"/>
                  <a:pt x="113" y="26"/>
                  <a:pt x="123" y="25"/>
                </a:cubicBezTo>
                <a:cubicBezTo>
                  <a:pt x="123" y="23"/>
                  <a:pt x="124" y="22"/>
                  <a:pt x="125" y="20"/>
                </a:cubicBezTo>
                <a:cubicBezTo>
                  <a:pt x="122" y="13"/>
                  <a:pt x="121" y="9"/>
                  <a:pt x="121" y="7"/>
                </a:cubicBezTo>
                <a:cubicBezTo>
                  <a:pt x="121" y="7"/>
                  <a:pt x="121" y="7"/>
                  <a:pt x="121" y="6"/>
                </a:cubicBezTo>
                <a:cubicBezTo>
                  <a:pt x="121" y="6"/>
                  <a:pt x="122" y="6"/>
                  <a:pt x="124" y="4"/>
                </a:cubicBezTo>
                <a:cubicBezTo>
                  <a:pt x="126" y="3"/>
                  <a:pt x="128" y="2"/>
                  <a:pt x="130" y="1"/>
                </a:cubicBezTo>
                <a:cubicBezTo>
                  <a:pt x="132" y="0"/>
                  <a:pt x="133" y="0"/>
                  <a:pt x="133" y="0"/>
                </a:cubicBezTo>
                <a:cubicBezTo>
                  <a:pt x="133" y="0"/>
                  <a:pt x="135" y="1"/>
                  <a:pt x="137" y="4"/>
                </a:cubicBezTo>
                <a:cubicBezTo>
                  <a:pt x="139" y="7"/>
                  <a:pt x="141" y="9"/>
                  <a:pt x="142" y="11"/>
                </a:cubicBezTo>
                <a:cubicBezTo>
                  <a:pt x="143" y="10"/>
                  <a:pt x="144" y="10"/>
                  <a:pt x="145" y="10"/>
                </a:cubicBezTo>
                <a:cubicBezTo>
                  <a:pt x="145" y="10"/>
                  <a:pt x="146" y="10"/>
                  <a:pt x="148" y="11"/>
                </a:cubicBezTo>
                <a:cubicBezTo>
                  <a:pt x="151" y="6"/>
                  <a:pt x="154" y="3"/>
                  <a:pt x="156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7" y="0"/>
                  <a:pt x="161" y="2"/>
                  <a:pt x="169" y="6"/>
                </a:cubicBezTo>
                <a:cubicBezTo>
                  <a:pt x="169" y="7"/>
                  <a:pt x="169" y="7"/>
                  <a:pt x="169" y="7"/>
                </a:cubicBezTo>
                <a:cubicBezTo>
                  <a:pt x="169" y="9"/>
                  <a:pt x="167" y="13"/>
                  <a:pt x="164" y="20"/>
                </a:cubicBezTo>
                <a:cubicBezTo>
                  <a:pt x="165" y="22"/>
                  <a:pt x="166" y="23"/>
                  <a:pt x="167" y="25"/>
                </a:cubicBezTo>
                <a:cubicBezTo>
                  <a:pt x="176" y="26"/>
                  <a:pt x="181" y="27"/>
                  <a:pt x="181" y="28"/>
                </a:cubicBezTo>
                <a:close/>
                <a:moveTo>
                  <a:pt x="181" y="125"/>
                </a:moveTo>
                <a:cubicBezTo>
                  <a:pt x="181" y="138"/>
                  <a:pt x="181" y="138"/>
                  <a:pt x="181" y="138"/>
                </a:cubicBezTo>
                <a:cubicBezTo>
                  <a:pt x="181" y="139"/>
                  <a:pt x="176" y="140"/>
                  <a:pt x="167" y="141"/>
                </a:cubicBezTo>
                <a:cubicBezTo>
                  <a:pt x="166" y="143"/>
                  <a:pt x="165" y="144"/>
                  <a:pt x="164" y="146"/>
                </a:cubicBezTo>
                <a:cubicBezTo>
                  <a:pt x="167" y="153"/>
                  <a:pt x="169" y="157"/>
                  <a:pt x="169" y="159"/>
                </a:cubicBezTo>
                <a:cubicBezTo>
                  <a:pt x="169" y="159"/>
                  <a:pt x="169" y="159"/>
                  <a:pt x="169" y="160"/>
                </a:cubicBezTo>
                <a:cubicBezTo>
                  <a:pt x="161" y="164"/>
                  <a:pt x="157" y="166"/>
                  <a:pt x="157" y="166"/>
                </a:cubicBezTo>
                <a:cubicBezTo>
                  <a:pt x="156" y="166"/>
                  <a:pt x="155" y="165"/>
                  <a:pt x="153" y="162"/>
                </a:cubicBezTo>
                <a:cubicBezTo>
                  <a:pt x="150" y="159"/>
                  <a:pt x="149" y="157"/>
                  <a:pt x="148" y="155"/>
                </a:cubicBezTo>
                <a:cubicBezTo>
                  <a:pt x="146" y="155"/>
                  <a:pt x="145" y="156"/>
                  <a:pt x="145" y="156"/>
                </a:cubicBezTo>
                <a:cubicBezTo>
                  <a:pt x="144" y="156"/>
                  <a:pt x="143" y="155"/>
                  <a:pt x="142" y="155"/>
                </a:cubicBezTo>
                <a:cubicBezTo>
                  <a:pt x="141" y="157"/>
                  <a:pt x="139" y="159"/>
                  <a:pt x="137" y="162"/>
                </a:cubicBezTo>
                <a:cubicBezTo>
                  <a:pt x="135" y="165"/>
                  <a:pt x="133" y="166"/>
                  <a:pt x="133" y="166"/>
                </a:cubicBezTo>
                <a:cubicBezTo>
                  <a:pt x="133" y="166"/>
                  <a:pt x="129" y="164"/>
                  <a:pt x="121" y="160"/>
                </a:cubicBezTo>
                <a:cubicBezTo>
                  <a:pt x="121" y="159"/>
                  <a:pt x="121" y="159"/>
                  <a:pt x="121" y="159"/>
                </a:cubicBezTo>
                <a:cubicBezTo>
                  <a:pt x="121" y="157"/>
                  <a:pt x="122" y="153"/>
                  <a:pt x="125" y="146"/>
                </a:cubicBezTo>
                <a:cubicBezTo>
                  <a:pt x="124" y="144"/>
                  <a:pt x="123" y="143"/>
                  <a:pt x="123" y="141"/>
                </a:cubicBezTo>
                <a:cubicBezTo>
                  <a:pt x="113" y="140"/>
                  <a:pt x="109" y="139"/>
                  <a:pt x="109" y="138"/>
                </a:cubicBezTo>
                <a:cubicBezTo>
                  <a:pt x="109" y="125"/>
                  <a:pt x="109" y="125"/>
                  <a:pt x="109" y="125"/>
                </a:cubicBezTo>
                <a:cubicBezTo>
                  <a:pt x="109" y="124"/>
                  <a:pt x="113" y="123"/>
                  <a:pt x="123" y="122"/>
                </a:cubicBezTo>
                <a:cubicBezTo>
                  <a:pt x="123" y="120"/>
                  <a:pt x="124" y="118"/>
                  <a:pt x="125" y="117"/>
                </a:cubicBezTo>
                <a:cubicBezTo>
                  <a:pt x="122" y="110"/>
                  <a:pt x="121" y="105"/>
                  <a:pt x="121" y="104"/>
                </a:cubicBezTo>
                <a:cubicBezTo>
                  <a:pt x="121" y="104"/>
                  <a:pt x="121" y="103"/>
                  <a:pt x="121" y="103"/>
                </a:cubicBezTo>
                <a:cubicBezTo>
                  <a:pt x="121" y="103"/>
                  <a:pt x="122" y="102"/>
                  <a:pt x="124" y="101"/>
                </a:cubicBezTo>
                <a:cubicBezTo>
                  <a:pt x="126" y="100"/>
                  <a:pt x="128" y="99"/>
                  <a:pt x="130" y="98"/>
                </a:cubicBezTo>
                <a:cubicBezTo>
                  <a:pt x="132" y="97"/>
                  <a:pt x="133" y="97"/>
                  <a:pt x="133" y="97"/>
                </a:cubicBezTo>
                <a:cubicBezTo>
                  <a:pt x="133" y="97"/>
                  <a:pt x="135" y="98"/>
                  <a:pt x="137" y="101"/>
                </a:cubicBezTo>
                <a:cubicBezTo>
                  <a:pt x="139" y="104"/>
                  <a:pt x="141" y="106"/>
                  <a:pt x="142" y="107"/>
                </a:cubicBezTo>
                <a:cubicBezTo>
                  <a:pt x="143" y="107"/>
                  <a:pt x="144" y="107"/>
                  <a:pt x="145" y="107"/>
                </a:cubicBezTo>
                <a:cubicBezTo>
                  <a:pt x="145" y="107"/>
                  <a:pt x="146" y="107"/>
                  <a:pt x="148" y="107"/>
                </a:cubicBezTo>
                <a:cubicBezTo>
                  <a:pt x="151" y="103"/>
                  <a:pt x="154" y="99"/>
                  <a:pt x="156" y="97"/>
                </a:cubicBezTo>
                <a:cubicBezTo>
                  <a:pt x="157" y="97"/>
                  <a:pt x="157" y="97"/>
                  <a:pt x="157" y="97"/>
                </a:cubicBezTo>
                <a:cubicBezTo>
                  <a:pt x="157" y="97"/>
                  <a:pt x="161" y="99"/>
                  <a:pt x="169" y="103"/>
                </a:cubicBezTo>
                <a:cubicBezTo>
                  <a:pt x="169" y="103"/>
                  <a:pt x="169" y="104"/>
                  <a:pt x="169" y="104"/>
                </a:cubicBezTo>
                <a:cubicBezTo>
                  <a:pt x="169" y="105"/>
                  <a:pt x="167" y="110"/>
                  <a:pt x="164" y="117"/>
                </a:cubicBezTo>
                <a:cubicBezTo>
                  <a:pt x="165" y="118"/>
                  <a:pt x="166" y="120"/>
                  <a:pt x="167" y="122"/>
                </a:cubicBezTo>
                <a:cubicBezTo>
                  <a:pt x="176" y="123"/>
                  <a:pt x="181" y="124"/>
                  <a:pt x="181" y="125"/>
                </a:cubicBezTo>
                <a:close/>
                <a:moveTo>
                  <a:pt x="157" y="35"/>
                </a:moveTo>
                <a:cubicBezTo>
                  <a:pt x="157" y="31"/>
                  <a:pt x="156" y="28"/>
                  <a:pt x="153" y="26"/>
                </a:cubicBezTo>
                <a:cubicBezTo>
                  <a:pt x="151" y="24"/>
                  <a:pt x="148" y="22"/>
                  <a:pt x="145" y="22"/>
                </a:cubicBezTo>
                <a:cubicBezTo>
                  <a:pt x="142" y="22"/>
                  <a:pt x="139" y="24"/>
                  <a:pt x="136" y="26"/>
                </a:cubicBezTo>
                <a:cubicBezTo>
                  <a:pt x="134" y="28"/>
                  <a:pt x="133" y="31"/>
                  <a:pt x="133" y="35"/>
                </a:cubicBezTo>
                <a:cubicBezTo>
                  <a:pt x="133" y="38"/>
                  <a:pt x="134" y="41"/>
                  <a:pt x="136" y="43"/>
                </a:cubicBezTo>
                <a:cubicBezTo>
                  <a:pt x="139" y="45"/>
                  <a:pt x="141" y="47"/>
                  <a:pt x="145" y="47"/>
                </a:cubicBezTo>
                <a:cubicBezTo>
                  <a:pt x="148" y="47"/>
                  <a:pt x="151" y="45"/>
                  <a:pt x="153" y="43"/>
                </a:cubicBezTo>
                <a:cubicBezTo>
                  <a:pt x="156" y="41"/>
                  <a:pt x="157" y="38"/>
                  <a:pt x="157" y="35"/>
                </a:cubicBezTo>
                <a:close/>
                <a:moveTo>
                  <a:pt x="157" y="131"/>
                </a:moveTo>
                <a:cubicBezTo>
                  <a:pt x="157" y="128"/>
                  <a:pt x="156" y="125"/>
                  <a:pt x="153" y="123"/>
                </a:cubicBezTo>
                <a:cubicBezTo>
                  <a:pt x="151" y="120"/>
                  <a:pt x="148" y="119"/>
                  <a:pt x="145" y="119"/>
                </a:cubicBezTo>
                <a:cubicBezTo>
                  <a:pt x="142" y="119"/>
                  <a:pt x="139" y="120"/>
                  <a:pt x="136" y="123"/>
                </a:cubicBezTo>
                <a:cubicBezTo>
                  <a:pt x="134" y="125"/>
                  <a:pt x="133" y="128"/>
                  <a:pt x="133" y="131"/>
                </a:cubicBezTo>
                <a:cubicBezTo>
                  <a:pt x="133" y="135"/>
                  <a:pt x="134" y="138"/>
                  <a:pt x="136" y="140"/>
                </a:cubicBezTo>
                <a:cubicBezTo>
                  <a:pt x="139" y="142"/>
                  <a:pt x="141" y="143"/>
                  <a:pt x="145" y="143"/>
                </a:cubicBezTo>
                <a:cubicBezTo>
                  <a:pt x="148" y="143"/>
                  <a:pt x="151" y="142"/>
                  <a:pt x="153" y="140"/>
                </a:cubicBezTo>
                <a:cubicBezTo>
                  <a:pt x="156" y="138"/>
                  <a:pt x="157" y="135"/>
                  <a:pt x="157" y="1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1" name="Freeform 131"/>
          <p:cNvSpPr>
            <a:spLocks noChangeAspect="1" noEditPoints="1"/>
          </p:cNvSpPr>
          <p:nvPr/>
        </p:nvSpPr>
        <p:spPr bwMode="auto">
          <a:xfrm>
            <a:off x="3018487" y="2497008"/>
            <a:ext cx="174866" cy="138956"/>
          </a:xfrm>
          <a:custGeom>
            <a:avLst/>
            <a:gdLst>
              <a:gd name="T0" fmla="*/ 124 w 169"/>
              <a:gd name="T1" fmla="*/ 25 h 134"/>
              <a:gd name="T2" fmla="*/ 133 w 169"/>
              <a:gd name="T3" fmla="*/ 49 h 134"/>
              <a:gd name="T4" fmla="*/ 124 w 169"/>
              <a:gd name="T5" fmla="*/ 73 h 134"/>
              <a:gd name="T6" fmla="*/ 100 w 169"/>
              <a:gd name="T7" fmla="*/ 91 h 134"/>
              <a:gd name="T8" fmla="*/ 66 w 169"/>
              <a:gd name="T9" fmla="*/ 97 h 134"/>
              <a:gd name="T10" fmla="*/ 50 w 169"/>
              <a:gd name="T11" fmla="*/ 96 h 134"/>
              <a:gd name="T12" fmla="*/ 23 w 169"/>
              <a:gd name="T13" fmla="*/ 108 h 134"/>
              <a:gd name="T14" fmla="*/ 15 w 169"/>
              <a:gd name="T15" fmla="*/ 109 h 134"/>
              <a:gd name="T16" fmla="*/ 15 w 169"/>
              <a:gd name="T17" fmla="*/ 109 h 134"/>
              <a:gd name="T18" fmla="*/ 13 w 169"/>
              <a:gd name="T19" fmla="*/ 109 h 134"/>
              <a:gd name="T20" fmla="*/ 12 w 169"/>
              <a:gd name="T21" fmla="*/ 107 h 134"/>
              <a:gd name="T22" fmla="*/ 12 w 169"/>
              <a:gd name="T23" fmla="*/ 106 h 134"/>
              <a:gd name="T24" fmla="*/ 12 w 169"/>
              <a:gd name="T25" fmla="*/ 105 h 134"/>
              <a:gd name="T26" fmla="*/ 12 w 169"/>
              <a:gd name="T27" fmla="*/ 105 h 134"/>
              <a:gd name="T28" fmla="*/ 12 w 169"/>
              <a:gd name="T29" fmla="*/ 104 h 134"/>
              <a:gd name="T30" fmla="*/ 13 w 169"/>
              <a:gd name="T31" fmla="*/ 104 h 134"/>
              <a:gd name="T32" fmla="*/ 13 w 169"/>
              <a:gd name="T33" fmla="*/ 103 h 134"/>
              <a:gd name="T34" fmla="*/ 13 w 169"/>
              <a:gd name="T35" fmla="*/ 103 h 134"/>
              <a:gd name="T36" fmla="*/ 14 w 169"/>
              <a:gd name="T37" fmla="*/ 102 h 134"/>
              <a:gd name="T38" fmla="*/ 16 w 169"/>
              <a:gd name="T39" fmla="*/ 100 h 134"/>
              <a:gd name="T40" fmla="*/ 18 w 169"/>
              <a:gd name="T41" fmla="*/ 97 h 134"/>
              <a:gd name="T42" fmla="*/ 21 w 169"/>
              <a:gd name="T43" fmla="*/ 95 h 134"/>
              <a:gd name="T44" fmla="*/ 23 w 169"/>
              <a:gd name="T45" fmla="*/ 91 h 134"/>
              <a:gd name="T46" fmla="*/ 25 w 169"/>
              <a:gd name="T47" fmla="*/ 87 h 134"/>
              <a:gd name="T48" fmla="*/ 6 w 169"/>
              <a:gd name="T49" fmla="*/ 70 h 134"/>
              <a:gd name="T50" fmla="*/ 0 w 169"/>
              <a:gd name="T51" fmla="*/ 49 h 134"/>
              <a:gd name="T52" fmla="*/ 9 w 169"/>
              <a:gd name="T53" fmla="*/ 25 h 134"/>
              <a:gd name="T54" fmla="*/ 33 w 169"/>
              <a:gd name="T55" fmla="*/ 7 h 134"/>
              <a:gd name="T56" fmla="*/ 66 w 169"/>
              <a:gd name="T57" fmla="*/ 0 h 134"/>
              <a:gd name="T58" fmla="*/ 100 w 169"/>
              <a:gd name="T59" fmla="*/ 7 h 134"/>
              <a:gd name="T60" fmla="*/ 124 w 169"/>
              <a:gd name="T61" fmla="*/ 25 h 134"/>
              <a:gd name="T62" fmla="*/ 169 w 169"/>
              <a:gd name="T63" fmla="*/ 73 h 134"/>
              <a:gd name="T64" fmla="*/ 162 w 169"/>
              <a:gd name="T65" fmla="*/ 94 h 134"/>
              <a:gd name="T66" fmla="*/ 144 w 169"/>
              <a:gd name="T67" fmla="*/ 111 h 134"/>
              <a:gd name="T68" fmla="*/ 146 w 169"/>
              <a:gd name="T69" fmla="*/ 115 h 134"/>
              <a:gd name="T70" fmla="*/ 148 w 169"/>
              <a:gd name="T71" fmla="*/ 119 h 134"/>
              <a:gd name="T72" fmla="*/ 150 w 169"/>
              <a:gd name="T73" fmla="*/ 122 h 134"/>
              <a:gd name="T74" fmla="*/ 153 w 169"/>
              <a:gd name="T75" fmla="*/ 124 h 134"/>
              <a:gd name="T76" fmla="*/ 155 w 169"/>
              <a:gd name="T77" fmla="*/ 127 h 134"/>
              <a:gd name="T78" fmla="*/ 155 w 169"/>
              <a:gd name="T79" fmla="*/ 127 h 134"/>
              <a:gd name="T80" fmla="*/ 156 w 169"/>
              <a:gd name="T81" fmla="*/ 128 h 134"/>
              <a:gd name="T82" fmla="*/ 156 w 169"/>
              <a:gd name="T83" fmla="*/ 128 h 134"/>
              <a:gd name="T84" fmla="*/ 157 w 169"/>
              <a:gd name="T85" fmla="*/ 129 h 134"/>
              <a:gd name="T86" fmla="*/ 157 w 169"/>
              <a:gd name="T87" fmla="*/ 129 h 134"/>
              <a:gd name="T88" fmla="*/ 157 w 169"/>
              <a:gd name="T89" fmla="*/ 130 h 134"/>
              <a:gd name="T90" fmla="*/ 157 w 169"/>
              <a:gd name="T91" fmla="*/ 130 h 134"/>
              <a:gd name="T92" fmla="*/ 157 w 169"/>
              <a:gd name="T93" fmla="*/ 131 h 134"/>
              <a:gd name="T94" fmla="*/ 156 w 169"/>
              <a:gd name="T95" fmla="*/ 133 h 134"/>
              <a:gd name="T96" fmla="*/ 154 w 169"/>
              <a:gd name="T97" fmla="*/ 134 h 134"/>
              <a:gd name="T98" fmla="*/ 145 w 169"/>
              <a:gd name="T99" fmla="*/ 132 h 134"/>
              <a:gd name="T100" fmla="*/ 119 w 169"/>
              <a:gd name="T101" fmla="*/ 120 h 134"/>
              <a:gd name="T102" fmla="*/ 103 w 169"/>
              <a:gd name="T103" fmla="*/ 121 h 134"/>
              <a:gd name="T104" fmla="*/ 58 w 169"/>
              <a:gd name="T105" fmla="*/ 109 h 134"/>
              <a:gd name="T106" fmla="*/ 66 w 169"/>
              <a:gd name="T107" fmla="*/ 109 h 134"/>
              <a:gd name="T108" fmla="*/ 95 w 169"/>
              <a:gd name="T109" fmla="*/ 105 h 134"/>
              <a:gd name="T110" fmla="*/ 120 w 169"/>
              <a:gd name="T111" fmla="*/ 93 h 134"/>
              <a:gd name="T112" fmla="*/ 139 w 169"/>
              <a:gd name="T113" fmla="*/ 73 h 134"/>
              <a:gd name="T114" fmla="*/ 145 w 169"/>
              <a:gd name="T115" fmla="*/ 49 h 134"/>
              <a:gd name="T116" fmla="*/ 143 w 169"/>
              <a:gd name="T117" fmla="*/ 34 h 134"/>
              <a:gd name="T118" fmla="*/ 162 w 169"/>
              <a:gd name="T119" fmla="*/ 51 h 134"/>
              <a:gd name="T120" fmla="*/ 169 w 169"/>
              <a:gd name="T121" fmla="*/ 7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9" h="134">
                <a:moveTo>
                  <a:pt x="124" y="25"/>
                </a:moveTo>
                <a:cubicBezTo>
                  <a:pt x="130" y="32"/>
                  <a:pt x="133" y="40"/>
                  <a:pt x="133" y="49"/>
                </a:cubicBezTo>
                <a:cubicBezTo>
                  <a:pt x="133" y="58"/>
                  <a:pt x="130" y="66"/>
                  <a:pt x="124" y="73"/>
                </a:cubicBezTo>
                <a:cubicBezTo>
                  <a:pt x="118" y="81"/>
                  <a:pt x="110" y="86"/>
                  <a:pt x="100" y="91"/>
                </a:cubicBezTo>
                <a:cubicBezTo>
                  <a:pt x="89" y="95"/>
                  <a:pt x="78" y="97"/>
                  <a:pt x="66" y="97"/>
                </a:cubicBezTo>
                <a:cubicBezTo>
                  <a:pt x="61" y="97"/>
                  <a:pt x="55" y="97"/>
                  <a:pt x="50" y="96"/>
                </a:cubicBezTo>
                <a:cubicBezTo>
                  <a:pt x="42" y="101"/>
                  <a:pt x="33" y="105"/>
                  <a:pt x="23" y="108"/>
                </a:cubicBezTo>
                <a:cubicBezTo>
                  <a:pt x="21" y="108"/>
                  <a:pt x="18" y="109"/>
                  <a:pt x="15" y="109"/>
                </a:cubicBezTo>
                <a:cubicBezTo>
                  <a:pt x="15" y="109"/>
                  <a:pt x="15" y="109"/>
                  <a:pt x="15" y="109"/>
                </a:cubicBezTo>
                <a:cubicBezTo>
                  <a:pt x="14" y="109"/>
                  <a:pt x="14" y="109"/>
                  <a:pt x="13" y="109"/>
                </a:cubicBezTo>
                <a:cubicBezTo>
                  <a:pt x="12" y="108"/>
                  <a:pt x="12" y="107"/>
                  <a:pt x="12" y="107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06"/>
                  <a:pt x="12" y="106"/>
                  <a:pt x="12" y="105"/>
                </a:cubicBezTo>
                <a:cubicBezTo>
                  <a:pt x="12" y="105"/>
                  <a:pt x="12" y="105"/>
                  <a:pt x="12" y="105"/>
                </a:cubicBezTo>
                <a:cubicBezTo>
                  <a:pt x="12" y="105"/>
                  <a:pt x="12" y="104"/>
                  <a:pt x="12" y="104"/>
                </a:cubicBezTo>
                <a:cubicBezTo>
                  <a:pt x="12" y="104"/>
                  <a:pt x="12" y="104"/>
                  <a:pt x="13" y="104"/>
                </a:cubicBezTo>
                <a:cubicBezTo>
                  <a:pt x="13" y="104"/>
                  <a:pt x="13" y="103"/>
                  <a:pt x="13" y="103"/>
                </a:cubicBezTo>
                <a:cubicBezTo>
                  <a:pt x="13" y="103"/>
                  <a:pt x="13" y="103"/>
                  <a:pt x="13" y="103"/>
                </a:cubicBezTo>
                <a:cubicBezTo>
                  <a:pt x="14" y="103"/>
                  <a:pt x="14" y="103"/>
                  <a:pt x="14" y="102"/>
                </a:cubicBezTo>
                <a:cubicBezTo>
                  <a:pt x="14" y="102"/>
                  <a:pt x="15" y="101"/>
                  <a:pt x="16" y="100"/>
                </a:cubicBezTo>
                <a:cubicBezTo>
                  <a:pt x="17" y="99"/>
                  <a:pt x="18" y="98"/>
                  <a:pt x="18" y="97"/>
                </a:cubicBezTo>
                <a:cubicBezTo>
                  <a:pt x="19" y="97"/>
                  <a:pt x="20" y="96"/>
                  <a:pt x="21" y="95"/>
                </a:cubicBezTo>
                <a:cubicBezTo>
                  <a:pt x="21" y="93"/>
                  <a:pt x="22" y="92"/>
                  <a:pt x="23" y="91"/>
                </a:cubicBezTo>
                <a:cubicBezTo>
                  <a:pt x="24" y="90"/>
                  <a:pt x="24" y="88"/>
                  <a:pt x="25" y="87"/>
                </a:cubicBezTo>
                <a:cubicBezTo>
                  <a:pt x="17" y="82"/>
                  <a:pt x="11" y="77"/>
                  <a:pt x="6" y="70"/>
                </a:cubicBezTo>
                <a:cubicBezTo>
                  <a:pt x="2" y="63"/>
                  <a:pt x="0" y="56"/>
                  <a:pt x="0" y="49"/>
                </a:cubicBezTo>
                <a:cubicBezTo>
                  <a:pt x="0" y="40"/>
                  <a:pt x="3" y="32"/>
                  <a:pt x="9" y="25"/>
                </a:cubicBezTo>
                <a:cubicBezTo>
                  <a:pt x="14" y="17"/>
                  <a:pt x="23" y="11"/>
                  <a:pt x="33" y="7"/>
                </a:cubicBezTo>
                <a:cubicBezTo>
                  <a:pt x="43" y="3"/>
                  <a:pt x="54" y="0"/>
                  <a:pt x="66" y="0"/>
                </a:cubicBezTo>
                <a:cubicBezTo>
                  <a:pt x="78" y="0"/>
                  <a:pt x="89" y="3"/>
                  <a:pt x="100" y="7"/>
                </a:cubicBezTo>
                <a:cubicBezTo>
                  <a:pt x="110" y="11"/>
                  <a:pt x="118" y="17"/>
                  <a:pt x="124" y="25"/>
                </a:cubicBezTo>
                <a:close/>
                <a:moveTo>
                  <a:pt x="169" y="73"/>
                </a:moveTo>
                <a:cubicBezTo>
                  <a:pt x="169" y="81"/>
                  <a:pt x="167" y="88"/>
                  <a:pt x="162" y="94"/>
                </a:cubicBezTo>
                <a:cubicBezTo>
                  <a:pt x="158" y="101"/>
                  <a:pt x="152" y="106"/>
                  <a:pt x="144" y="111"/>
                </a:cubicBezTo>
                <a:cubicBezTo>
                  <a:pt x="145" y="112"/>
                  <a:pt x="145" y="114"/>
                  <a:pt x="146" y="115"/>
                </a:cubicBezTo>
                <a:cubicBezTo>
                  <a:pt x="147" y="116"/>
                  <a:pt x="147" y="118"/>
                  <a:pt x="148" y="119"/>
                </a:cubicBezTo>
                <a:cubicBezTo>
                  <a:pt x="149" y="120"/>
                  <a:pt x="150" y="121"/>
                  <a:pt x="150" y="122"/>
                </a:cubicBezTo>
                <a:cubicBezTo>
                  <a:pt x="151" y="122"/>
                  <a:pt x="152" y="123"/>
                  <a:pt x="153" y="124"/>
                </a:cubicBezTo>
                <a:cubicBezTo>
                  <a:pt x="154" y="125"/>
                  <a:pt x="155" y="126"/>
                  <a:pt x="155" y="127"/>
                </a:cubicBezTo>
                <a:cubicBezTo>
                  <a:pt x="155" y="127"/>
                  <a:pt x="155" y="127"/>
                  <a:pt x="155" y="127"/>
                </a:cubicBezTo>
                <a:cubicBezTo>
                  <a:pt x="156" y="127"/>
                  <a:pt x="156" y="127"/>
                  <a:pt x="156" y="128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6" y="128"/>
                  <a:pt x="156" y="128"/>
                  <a:pt x="157" y="129"/>
                </a:cubicBezTo>
                <a:cubicBezTo>
                  <a:pt x="157" y="129"/>
                  <a:pt x="157" y="129"/>
                  <a:pt x="157" y="129"/>
                </a:cubicBezTo>
                <a:cubicBezTo>
                  <a:pt x="157" y="129"/>
                  <a:pt x="157" y="129"/>
                  <a:pt x="157" y="130"/>
                </a:cubicBezTo>
                <a:cubicBezTo>
                  <a:pt x="157" y="130"/>
                  <a:pt x="157" y="130"/>
                  <a:pt x="157" y="130"/>
                </a:cubicBezTo>
                <a:cubicBezTo>
                  <a:pt x="157" y="130"/>
                  <a:pt x="157" y="131"/>
                  <a:pt x="157" y="131"/>
                </a:cubicBezTo>
                <a:cubicBezTo>
                  <a:pt x="157" y="132"/>
                  <a:pt x="156" y="132"/>
                  <a:pt x="156" y="133"/>
                </a:cubicBezTo>
                <a:cubicBezTo>
                  <a:pt x="155" y="133"/>
                  <a:pt x="154" y="134"/>
                  <a:pt x="154" y="134"/>
                </a:cubicBezTo>
                <a:cubicBezTo>
                  <a:pt x="150" y="133"/>
                  <a:pt x="148" y="133"/>
                  <a:pt x="145" y="132"/>
                </a:cubicBezTo>
                <a:cubicBezTo>
                  <a:pt x="136" y="130"/>
                  <a:pt x="127" y="125"/>
                  <a:pt x="119" y="120"/>
                </a:cubicBezTo>
                <a:cubicBezTo>
                  <a:pt x="114" y="121"/>
                  <a:pt x="108" y="121"/>
                  <a:pt x="103" y="121"/>
                </a:cubicBezTo>
                <a:cubicBezTo>
                  <a:pt x="85" y="121"/>
                  <a:pt x="71" y="117"/>
                  <a:pt x="58" y="109"/>
                </a:cubicBezTo>
                <a:cubicBezTo>
                  <a:pt x="62" y="109"/>
                  <a:pt x="64" y="109"/>
                  <a:pt x="66" y="109"/>
                </a:cubicBezTo>
                <a:cubicBezTo>
                  <a:pt x="76" y="109"/>
                  <a:pt x="86" y="108"/>
                  <a:pt x="95" y="105"/>
                </a:cubicBezTo>
                <a:cubicBezTo>
                  <a:pt x="105" y="102"/>
                  <a:pt x="113" y="98"/>
                  <a:pt x="120" y="93"/>
                </a:cubicBezTo>
                <a:cubicBezTo>
                  <a:pt x="128" y="87"/>
                  <a:pt x="134" y="80"/>
                  <a:pt x="139" y="73"/>
                </a:cubicBezTo>
                <a:cubicBezTo>
                  <a:pt x="143" y="65"/>
                  <a:pt x="145" y="57"/>
                  <a:pt x="145" y="49"/>
                </a:cubicBezTo>
                <a:cubicBezTo>
                  <a:pt x="145" y="44"/>
                  <a:pt x="144" y="39"/>
                  <a:pt x="143" y="34"/>
                </a:cubicBezTo>
                <a:cubicBezTo>
                  <a:pt x="151" y="39"/>
                  <a:pt x="157" y="45"/>
                  <a:pt x="162" y="51"/>
                </a:cubicBezTo>
                <a:cubicBezTo>
                  <a:pt x="167" y="58"/>
                  <a:pt x="169" y="65"/>
                  <a:pt x="169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2" name="Freeform 132"/>
          <p:cNvSpPr>
            <a:spLocks noChangeAspect="1" noEditPoints="1"/>
          </p:cNvSpPr>
          <p:nvPr/>
        </p:nvSpPr>
        <p:spPr bwMode="auto">
          <a:xfrm>
            <a:off x="3237070" y="2473588"/>
            <a:ext cx="149885" cy="162376"/>
          </a:xfrm>
          <a:custGeom>
            <a:avLst/>
            <a:gdLst>
              <a:gd name="T0" fmla="*/ 140 w 145"/>
              <a:gd name="T1" fmla="*/ 88 h 158"/>
              <a:gd name="T2" fmla="*/ 137 w 145"/>
              <a:gd name="T3" fmla="*/ 108 h 158"/>
              <a:gd name="T4" fmla="*/ 132 w 145"/>
              <a:gd name="T5" fmla="*/ 129 h 158"/>
              <a:gd name="T6" fmla="*/ 103 w 145"/>
              <a:gd name="T7" fmla="*/ 158 h 158"/>
              <a:gd name="T8" fmla="*/ 90 w 145"/>
              <a:gd name="T9" fmla="*/ 158 h 158"/>
              <a:gd name="T10" fmla="*/ 52 w 145"/>
              <a:gd name="T11" fmla="*/ 149 h 158"/>
              <a:gd name="T12" fmla="*/ 12 w 145"/>
              <a:gd name="T13" fmla="*/ 145 h 158"/>
              <a:gd name="T14" fmla="*/ 0 w 145"/>
              <a:gd name="T15" fmla="*/ 133 h 158"/>
              <a:gd name="T16" fmla="*/ 3 w 145"/>
              <a:gd name="T17" fmla="*/ 64 h 158"/>
              <a:gd name="T18" fmla="*/ 38 w 145"/>
              <a:gd name="T19" fmla="*/ 61 h 158"/>
              <a:gd name="T20" fmla="*/ 61 w 145"/>
              <a:gd name="T21" fmla="*/ 34 h 158"/>
              <a:gd name="T22" fmla="*/ 67 w 145"/>
              <a:gd name="T23" fmla="*/ 14 h 158"/>
              <a:gd name="T24" fmla="*/ 81 w 145"/>
              <a:gd name="T25" fmla="*/ 0 h 158"/>
              <a:gd name="T26" fmla="*/ 105 w 145"/>
              <a:gd name="T27" fmla="*/ 13 h 158"/>
              <a:gd name="T28" fmla="*/ 104 w 145"/>
              <a:gd name="T29" fmla="*/ 49 h 158"/>
              <a:gd name="T30" fmla="*/ 138 w 145"/>
              <a:gd name="T31" fmla="*/ 56 h 158"/>
              <a:gd name="T32" fmla="*/ 22 w 145"/>
              <a:gd name="T33" fmla="*/ 132 h 158"/>
              <a:gd name="T34" fmla="*/ 22 w 145"/>
              <a:gd name="T35" fmla="*/ 123 h 158"/>
              <a:gd name="T36" fmla="*/ 14 w 145"/>
              <a:gd name="T37" fmla="*/ 123 h 158"/>
              <a:gd name="T38" fmla="*/ 14 w 145"/>
              <a:gd name="T39" fmla="*/ 132 h 158"/>
              <a:gd name="T40" fmla="*/ 22 w 145"/>
              <a:gd name="T41" fmla="*/ 132 h 158"/>
              <a:gd name="T42" fmla="*/ 129 w 145"/>
              <a:gd name="T43" fmla="*/ 64 h 158"/>
              <a:gd name="T44" fmla="*/ 87 w 145"/>
              <a:gd name="T45" fmla="*/ 61 h 158"/>
              <a:gd name="T46" fmla="*/ 96 w 145"/>
              <a:gd name="T47" fmla="*/ 30 h 158"/>
              <a:gd name="T48" fmla="*/ 81 w 145"/>
              <a:gd name="T49" fmla="*/ 12 h 158"/>
              <a:gd name="T50" fmla="*/ 75 w 145"/>
              <a:gd name="T51" fmla="*/ 32 h 158"/>
              <a:gd name="T52" fmla="*/ 62 w 145"/>
              <a:gd name="T53" fmla="*/ 51 h 158"/>
              <a:gd name="T54" fmla="*/ 57 w 145"/>
              <a:gd name="T55" fmla="*/ 58 h 158"/>
              <a:gd name="T56" fmla="*/ 50 w 145"/>
              <a:gd name="T57" fmla="*/ 66 h 158"/>
              <a:gd name="T58" fmla="*/ 42 w 145"/>
              <a:gd name="T59" fmla="*/ 72 h 158"/>
              <a:gd name="T60" fmla="*/ 36 w 145"/>
              <a:gd name="T61" fmla="*/ 73 h 158"/>
              <a:gd name="T62" fmla="*/ 39 w 145"/>
              <a:gd name="T63" fmla="*/ 133 h 158"/>
              <a:gd name="T64" fmla="*/ 45 w 145"/>
              <a:gd name="T65" fmla="*/ 134 h 158"/>
              <a:gd name="T66" fmla="*/ 52 w 145"/>
              <a:gd name="T67" fmla="*/ 136 h 158"/>
              <a:gd name="T68" fmla="*/ 58 w 145"/>
              <a:gd name="T69" fmla="*/ 139 h 158"/>
              <a:gd name="T70" fmla="*/ 102 w 145"/>
              <a:gd name="T71" fmla="*/ 145 h 158"/>
              <a:gd name="T72" fmla="*/ 120 w 145"/>
              <a:gd name="T73" fmla="*/ 124 h 158"/>
              <a:gd name="T74" fmla="*/ 126 w 145"/>
              <a:gd name="T75" fmla="*/ 112 h 158"/>
              <a:gd name="T76" fmla="*/ 129 w 145"/>
              <a:gd name="T77" fmla="*/ 95 h 158"/>
              <a:gd name="T78" fmla="*/ 126 w 145"/>
              <a:gd name="T79" fmla="*/ 85 h 158"/>
              <a:gd name="T80" fmla="*/ 133 w 145"/>
              <a:gd name="T81" fmla="*/ 73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5" h="158">
                <a:moveTo>
                  <a:pt x="145" y="73"/>
                </a:moveTo>
                <a:cubicBezTo>
                  <a:pt x="145" y="78"/>
                  <a:pt x="143" y="83"/>
                  <a:pt x="140" y="88"/>
                </a:cubicBezTo>
                <a:cubicBezTo>
                  <a:pt x="141" y="90"/>
                  <a:pt x="141" y="92"/>
                  <a:pt x="141" y="95"/>
                </a:cubicBezTo>
                <a:cubicBezTo>
                  <a:pt x="141" y="100"/>
                  <a:pt x="140" y="104"/>
                  <a:pt x="137" y="108"/>
                </a:cubicBezTo>
                <a:cubicBezTo>
                  <a:pt x="138" y="110"/>
                  <a:pt x="138" y="111"/>
                  <a:pt x="138" y="112"/>
                </a:cubicBezTo>
                <a:cubicBezTo>
                  <a:pt x="138" y="119"/>
                  <a:pt x="136" y="124"/>
                  <a:pt x="132" y="129"/>
                </a:cubicBezTo>
                <a:cubicBezTo>
                  <a:pt x="132" y="138"/>
                  <a:pt x="129" y="145"/>
                  <a:pt x="124" y="150"/>
                </a:cubicBezTo>
                <a:cubicBezTo>
                  <a:pt x="119" y="155"/>
                  <a:pt x="111" y="158"/>
                  <a:pt x="103" y="158"/>
                </a:cubicBezTo>
                <a:cubicBezTo>
                  <a:pt x="99" y="158"/>
                  <a:pt x="99" y="158"/>
                  <a:pt x="99" y="158"/>
                </a:cubicBezTo>
                <a:cubicBezTo>
                  <a:pt x="90" y="158"/>
                  <a:pt x="90" y="158"/>
                  <a:pt x="90" y="158"/>
                </a:cubicBezTo>
                <a:cubicBezTo>
                  <a:pt x="84" y="158"/>
                  <a:pt x="78" y="157"/>
                  <a:pt x="72" y="155"/>
                </a:cubicBezTo>
                <a:cubicBezTo>
                  <a:pt x="67" y="154"/>
                  <a:pt x="60" y="152"/>
                  <a:pt x="52" y="149"/>
                </a:cubicBezTo>
                <a:cubicBezTo>
                  <a:pt x="45" y="147"/>
                  <a:pt x="40" y="145"/>
                  <a:pt x="39" y="145"/>
                </a:cubicBezTo>
                <a:cubicBezTo>
                  <a:pt x="12" y="145"/>
                  <a:pt x="12" y="145"/>
                  <a:pt x="12" y="145"/>
                </a:cubicBezTo>
                <a:cubicBezTo>
                  <a:pt x="8" y="145"/>
                  <a:pt x="6" y="144"/>
                  <a:pt x="3" y="142"/>
                </a:cubicBezTo>
                <a:cubicBezTo>
                  <a:pt x="1" y="140"/>
                  <a:pt x="0" y="137"/>
                  <a:pt x="0" y="13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0"/>
                  <a:pt x="1" y="67"/>
                  <a:pt x="3" y="64"/>
                </a:cubicBezTo>
                <a:cubicBezTo>
                  <a:pt x="6" y="62"/>
                  <a:pt x="8" y="61"/>
                  <a:pt x="12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40" y="59"/>
                  <a:pt x="44" y="54"/>
                  <a:pt x="51" y="46"/>
                </a:cubicBezTo>
                <a:cubicBezTo>
                  <a:pt x="54" y="41"/>
                  <a:pt x="58" y="37"/>
                  <a:pt x="61" y="34"/>
                </a:cubicBezTo>
                <a:cubicBezTo>
                  <a:pt x="62" y="32"/>
                  <a:pt x="63" y="30"/>
                  <a:pt x="64" y="26"/>
                </a:cubicBezTo>
                <a:cubicBezTo>
                  <a:pt x="65" y="22"/>
                  <a:pt x="66" y="18"/>
                  <a:pt x="67" y="14"/>
                </a:cubicBezTo>
                <a:cubicBezTo>
                  <a:pt x="68" y="10"/>
                  <a:pt x="70" y="6"/>
                  <a:pt x="73" y="4"/>
                </a:cubicBezTo>
                <a:cubicBezTo>
                  <a:pt x="75" y="1"/>
                  <a:pt x="78" y="0"/>
                  <a:pt x="81" y="0"/>
                </a:cubicBezTo>
                <a:cubicBezTo>
                  <a:pt x="87" y="0"/>
                  <a:pt x="91" y="1"/>
                  <a:pt x="96" y="3"/>
                </a:cubicBezTo>
                <a:cubicBezTo>
                  <a:pt x="100" y="5"/>
                  <a:pt x="103" y="9"/>
                  <a:pt x="105" y="13"/>
                </a:cubicBezTo>
                <a:cubicBezTo>
                  <a:pt x="107" y="17"/>
                  <a:pt x="109" y="23"/>
                  <a:pt x="109" y="30"/>
                </a:cubicBezTo>
                <a:cubicBezTo>
                  <a:pt x="109" y="36"/>
                  <a:pt x="107" y="42"/>
                  <a:pt x="104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27" y="49"/>
                  <a:pt x="133" y="51"/>
                  <a:pt x="138" y="56"/>
                </a:cubicBezTo>
                <a:cubicBezTo>
                  <a:pt x="142" y="61"/>
                  <a:pt x="145" y="66"/>
                  <a:pt x="145" y="73"/>
                </a:cubicBezTo>
                <a:close/>
                <a:moveTo>
                  <a:pt x="22" y="132"/>
                </a:moveTo>
                <a:cubicBezTo>
                  <a:pt x="23" y="130"/>
                  <a:pt x="24" y="129"/>
                  <a:pt x="24" y="127"/>
                </a:cubicBezTo>
                <a:cubicBezTo>
                  <a:pt x="24" y="126"/>
                  <a:pt x="23" y="124"/>
                  <a:pt x="22" y="123"/>
                </a:cubicBezTo>
                <a:cubicBezTo>
                  <a:pt x="21" y="122"/>
                  <a:pt x="19" y="121"/>
                  <a:pt x="18" y="121"/>
                </a:cubicBezTo>
                <a:cubicBezTo>
                  <a:pt x="16" y="121"/>
                  <a:pt x="15" y="122"/>
                  <a:pt x="14" y="123"/>
                </a:cubicBezTo>
                <a:cubicBezTo>
                  <a:pt x="12" y="124"/>
                  <a:pt x="12" y="126"/>
                  <a:pt x="12" y="127"/>
                </a:cubicBezTo>
                <a:cubicBezTo>
                  <a:pt x="12" y="129"/>
                  <a:pt x="12" y="130"/>
                  <a:pt x="14" y="132"/>
                </a:cubicBezTo>
                <a:cubicBezTo>
                  <a:pt x="15" y="133"/>
                  <a:pt x="16" y="133"/>
                  <a:pt x="18" y="133"/>
                </a:cubicBezTo>
                <a:cubicBezTo>
                  <a:pt x="19" y="133"/>
                  <a:pt x="21" y="133"/>
                  <a:pt x="22" y="132"/>
                </a:cubicBezTo>
                <a:close/>
                <a:moveTo>
                  <a:pt x="133" y="73"/>
                </a:moveTo>
                <a:cubicBezTo>
                  <a:pt x="133" y="70"/>
                  <a:pt x="132" y="67"/>
                  <a:pt x="129" y="64"/>
                </a:cubicBezTo>
                <a:cubicBezTo>
                  <a:pt x="127" y="62"/>
                  <a:pt x="124" y="61"/>
                  <a:pt x="121" y="61"/>
                </a:cubicBezTo>
                <a:cubicBezTo>
                  <a:pt x="87" y="61"/>
                  <a:pt x="87" y="61"/>
                  <a:pt x="87" y="61"/>
                </a:cubicBezTo>
                <a:cubicBezTo>
                  <a:pt x="87" y="57"/>
                  <a:pt x="89" y="52"/>
                  <a:pt x="92" y="46"/>
                </a:cubicBezTo>
                <a:cubicBezTo>
                  <a:pt x="95" y="39"/>
                  <a:pt x="96" y="34"/>
                  <a:pt x="96" y="30"/>
                </a:cubicBezTo>
                <a:cubicBezTo>
                  <a:pt x="96" y="24"/>
                  <a:pt x="95" y="20"/>
                  <a:pt x="93" y="17"/>
                </a:cubicBezTo>
                <a:cubicBezTo>
                  <a:pt x="91" y="14"/>
                  <a:pt x="87" y="12"/>
                  <a:pt x="81" y="12"/>
                </a:cubicBezTo>
                <a:cubicBezTo>
                  <a:pt x="80" y="14"/>
                  <a:pt x="78" y="17"/>
                  <a:pt x="78" y="20"/>
                </a:cubicBezTo>
                <a:cubicBezTo>
                  <a:pt x="77" y="24"/>
                  <a:pt x="76" y="28"/>
                  <a:pt x="75" y="32"/>
                </a:cubicBezTo>
                <a:cubicBezTo>
                  <a:pt x="74" y="36"/>
                  <a:pt x="72" y="40"/>
                  <a:pt x="69" y="43"/>
                </a:cubicBezTo>
                <a:cubicBezTo>
                  <a:pt x="68" y="44"/>
                  <a:pt x="65" y="47"/>
                  <a:pt x="62" y="51"/>
                </a:cubicBezTo>
                <a:cubicBezTo>
                  <a:pt x="62" y="52"/>
                  <a:pt x="61" y="52"/>
                  <a:pt x="60" y="54"/>
                </a:cubicBezTo>
                <a:cubicBezTo>
                  <a:pt x="59" y="56"/>
                  <a:pt x="58" y="57"/>
                  <a:pt x="57" y="58"/>
                </a:cubicBezTo>
                <a:cubicBezTo>
                  <a:pt x="56" y="59"/>
                  <a:pt x="55" y="60"/>
                  <a:pt x="54" y="62"/>
                </a:cubicBezTo>
                <a:cubicBezTo>
                  <a:pt x="52" y="64"/>
                  <a:pt x="51" y="65"/>
                  <a:pt x="50" y="66"/>
                </a:cubicBezTo>
                <a:cubicBezTo>
                  <a:pt x="49" y="67"/>
                  <a:pt x="47" y="68"/>
                  <a:pt x="46" y="69"/>
                </a:cubicBezTo>
                <a:cubicBezTo>
                  <a:pt x="45" y="71"/>
                  <a:pt x="44" y="71"/>
                  <a:pt x="42" y="72"/>
                </a:cubicBezTo>
                <a:cubicBezTo>
                  <a:pt x="41" y="73"/>
                  <a:pt x="40" y="73"/>
                  <a:pt x="39" y="73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133"/>
                  <a:pt x="36" y="133"/>
                  <a:pt x="36" y="133"/>
                </a:cubicBezTo>
                <a:cubicBezTo>
                  <a:pt x="39" y="133"/>
                  <a:pt x="39" y="133"/>
                  <a:pt x="39" y="133"/>
                </a:cubicBezTo>
                <a:cubicBezTo>
                  <a:pt x="40" y="133"/>
                  <a:pt x="41" y="133"/>
                  <a:pt x="42" y="134"/>
                </a:cubicBezTo>
                <a:cubicBezTo>
                  <a:pt x="43" y="134"/>
                  <a:pt x="44" y="134"/>
                  <a:pt x="45" y="134"/>
                </a:cubicBezTo>
                <a:cubicBezTo>
                  <a:pt x="46" y="134"/>
                  <a:pt x="47" y="135"/>
                  <a:pt x="49" y="135"/>
                </a:cubicBezTo>
                <a:cubicBezTo>
                  <a:pt x="50" y="136"/>
                  <a:pt x="51" y="136"/>
                  <a:pt x="52" y="136"/>
                </a:cubicBezTo>
                <a:cubicBezTo>
                  <a:pt x="53" y="137"/>
                  <a:pt x="54" y="137"/>
                  <a:pt x="55" y="138"/>
                </a:cubicBezTo>
                <a:cubicBezTo>
                  <a:pt x="57" y="138"/>
                  <a:pt x="58" y="138"/>
                  <a:pt x="58" y="139"/>
                </a:cubicBezTo>
                <a:cubicBezTo>
                  <a:pt x="71" y="143"/>
                  <a:pt x="82" y="145"/>
                  <a:pt x="90" y="145"/>
                </a:cubicBezTo>
                <a:cubicBezTo>
                  <a:pt x="102" y="145"/>
                  <a:pt x="102" y="145"/>
                  <a:pt x="102" y="145"/>
                </a:cubicBezTo>
                <a:cubicBezTo>
                  <a:pt x="114" y="145"/>
                  <a:pt x="120" y="140"/>
                  <a:pt x="120" y="130"/>
                </a:cubicBezTo>
                <a:cubicBezTo>
                  <a:pt x="120" y="128"/>
                  <a:pt x="120" y="126"/>
                  <a:pt x="120" y="124"/>
                </a:cubicBezTo>
                <a:cubicBezTo>
                  <a:pt x="121" y="123"/>
                  <a:pt x="123" y="122"/>
                  <a:pt x="124" y="119"/>
                </a:cubicBezTo>
                <a:cubicBezTo>
                  <a:pt x="125" y="117"/>
                  <a:pt x="126" y="115"/>
                  <a:pt x="126" y="112"/>
                </a:cubicBezTo>
                <a:cubicBezTo>
                  <a:pt x="126" y="110"/>
                  <a:pt x="125" y="108"/>
                  <a:pt x="124" y="106"/>
                </a:cubicBezTo>
                <a:cubicBezTo>
                  <a:pt x="127" y="103"/>
                  <a:pt x="129" y="99"/>
                  <a:pt x="129" y="95"/>
                </a:cubicBezTo>
                <a:cubicBezTo>
                  <a:pt x="129" y="93"/>
                  <a:pt x="129" y="91"/>
                  <a:pt x="128" y="89"/>
                </a:cubicBezTo>
                <a:cubicBezTo>
                  <a:pt x="127" y="88"/>
                  <a:pt x="127" y="86"/>
                  <a:pt x="126" y="85"/>
                </a:cubicBezTo>
                <a:cubicBezTo>
                  <a:pt x="128" y="85"/>
                  <a:pt x="129" y="83"/>
                  <a:pt x="131" y="81"/>
                </a:cubicBezTo>
                <a:cubicBezTo>
                  <a:pt x="132" y="78"/>
                  <a:pt x="133" y="75"/>
                  <a:pt x="133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3" name="Freeform 133"/>
          <p:cNvSpPr>
            <a:spLocks noChangeAspect="1" noEditPoints="1"/>
          </p:cNvSpPr>
          <p:nvPr/>
        </p:nvSpPr>
        <p:spPr bwMode="auto">
          <a:xfrm>
            <a:off x="3429111" y="2484518"/>
            <a:ext cx="151447" cy="163937"/>
          </a:xfrm>
          <a:custGeom>
            <a:avLst/>
            <a:gdLst>
              <a:gd name="T0" fmla="*/ 138 w 146"/>
              <a:gd name="T1" fmla="*/ 102 h 158"/>
              <a:gd name="T2" fmla="*/ 105 w 146"/>
              <a:gd name="T3" fmla="*/ 109 h 158"/>
              <a:gd name="T4" fmla="*/ 106 w 146"/>
              <a:gd name="T5" fmla="*/ 145 h 158"/>
              <a:gd name="T6" fmla="*/ 82 w 146"/>
              <a:gd name="T7" fmla="*/ 158 h 158"/>
              <a:gd name="T8" fmla="*/ 68 w 146"/>
              <a:gd name="T9" fmla="*/ 146 h 158"/>
              <a:gd name="T10" fmla="*/ 64 w 146"/>
              <a:gd name="T11" fmla="*/ 130 h 158"/>
              <a:gd name="T12" fmla="*/ 51 w 146"/>
              <a:gd name="T13" fmla="*/ 112 h 158"/>
              <a:gd name="T14" fmla="*/ 13 w 146"/>
              <a:gd name="T15" fmla="*/ 97 h 158"/>
              <a:gd name="T16" fmla="*/ 0 w 146"/>
              <a:gd name="T17" fmla="*/ 85 h 158"/>
              <a:gd name="T18" fmla="*/ 4 w 146"/>
              <a:gd name="T19" fmla="*/ 16 h 158"/>
              <a:gd name="T20" fmla="*/ 40 w 146"/>
              <a:gd name="T21" fmla="*/ 12 h 158"/>
              <a:gd name="T22" fmla="*/ 74 w 146"/>
              <a:gd name="T23" fmla="*/ 2 h 158"/>
              <a:gd name="T24" fmla="*/ 103 w 146"/>
              <a:gd name="T25" fmla="*/ 0 h 158"/>
              <a:gd name="T26" fmla="*/ 133 w 146"/>
              <a:gd name="T27" fmla="*/ 28 h 158"/>
              <a:gd name="T28" fmla="*/ 139 w 146"/>
              <a:gd name="T29" fmla="*/ 46 h 158"/>
              <a:gd name="T30" fmla="*/ 142 w 146"/>
              <a:gd name="T31" fmla="*/ 63 h 158"/>
              <a:gd name="T32" fmla="*/ 146 w 146"/>
              <a:gd name="T33" fmla="*/ 85 h 158"/>
              <a:gd name="T34" fmla="*/ 25 w 146"/>
              <a:gd name="T35" fmla="*/ 31 h 158"/>
              <a:gd name="T36" fmla="*/ 19 w 146"/>
              <a:gd name="T37" fmla="*/ 25 h 158"/>
              <a:gd name="T38" fmla="*/ 13 w 146"/>
              <a:gd name="T39" fmla="*/ 31 h 158"/>
              <a:gd name="T40" fmla="*/ 19 w 146"/>
              <a:gd name="T41" fmla="*/ 37 h 158"/>
              <a:gd name="T42" fmla="*/ 134 w 146"/>
              <a:gd name="T43" fmla="*/ 85 h 158"/>
              <a:gd name="T44" fmla="*/ 126 w 146"/>
              <a:gd name="T45" fmla="*/ 73 h 158"/>
              <a:gd name="T46" fmla="*/ 130 w 146"/>
              <a:gd name="T47" fmla="*/ 63 h 158"/>
              <a:gd name="T48" fmla="*/ 126 w 146"/>
              <a:gd name="T49" fmla="*/ 45 h 158"/>
              <a:gd name="T50" fmla="*/ 120 w 146"/>
              <a:gd name="T51" fmla="*/ 34 h 158"/>
              <a:gd name="T52" fmla="*/ 116 w 146"/>
              <a:gd name="T53" fmla="*/ 16 h 158"/>
              <a:gd name="T54" fmla="*/ 91 w 146"/>
              <a:gd name="T55" fmla="*/ 12 h 158"/>
              <a:gd name="T56" fmla="*/ 56 w 146"/>
              <a:gd name="T57" fmla="*/ 20 h 158"/>
              <a:gd name="T58" fmla="*/ 49 w 146"/>
              <a:gd name="T59" fmla="*/ 23 h 158"/>
              <a:gd name="T60" fmla="*/ 43 w 146"/>
              <a:gd name="T61" fmla="*/ 24 h 158"/>
              <a:gd name="T62" fmla="*/ 37 w 146"/>
              <a:gd name="T63" fmla="*/ 25 h 158"/>
              <a:gd name="T64" fmla="*/ 40 w 146"/>
              <a:gd name="T65" fmla="*/ 85 h 158"/>
              <a:gd name="T66" fmla="*/ 47 w 146"/>
              <a:gd name="T67" fmla="*/ 88 h 158"/>
              <a:gd name="T68" fmla="*/ 54 w 146"/>
              <a:gd name="T69" fmla="*/ 96 h 158"/>
              <a:gd name="T70" fmla="*/ 61 w 146"/>
              <a:gd name="T71" fmla="*/ 104 h 158"/>
              <a:gd name="T72" fmla="*/ 70 w 146"/>
              <a:gd name="T73" fmla="*/ 115 h 158"/>
              <a:gd name="T74" fmla="*/ 79 w 146"/>
              <a:gd name="T75" fmla="*/ 138 h 158"/>
              <a:gd name="T76" fmla="*/ 94 w 146"/>
              <a:gd name="T77" fmla="*/ 141 h 158"/>
              <a:gd name="T78" fmla="*/ 93 w 146"/>
              <a:gd name="T79" fmla="*/ 112 h 158"/>
              <a:gd name="T80" fmla="*/ 121 w 146"/>
              <a:gd name="T81" fmla="*/ 97 h 158"/>
              <a:gd name="T82" fmla="*/ 134 w 146"/>
              <a:gd name="T83" fmla="*/ 85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6" h="158">
                <a:moveTo>
                  <a:pt x="146" y="85"/>
                </a:moveTo>
                <a:cubicBezTo>
                  <a:pt x="146" y="92"/>
                  <a:pt x="143" y="97"/>
                  <a:pt x="138" y="102"/>
                </a:cubicBezTo>
                <a:cubicBezTo>
                  <a:pt x="134" y="107"/>
                  <a:pt x="128" y="109"/>
                  <a:pt x="121" y="109"/>
                </a:cubicBezTo>
                <a:cubicBezTo>
                  <a:pt x="105" y="109"/>
                  <a:pt x="105" y="109"/>
                  <a:pt x="105" y="109"/>
                </a:cubicBezTo>
                <a:cubicBezTo>
                  <a:pt x="108" y="115"/>
                  <a:pt x="109" y="122"/>
                  <a:pt x="109" y="127"/>
                </a:cubicBezTo>
                <a:cubicBezTo>
                  <a:pt x="109" y="135"/>
                  <a:pt x="108" y="141"/>
                  <a:pt x="106" y="145"/>
                </a:cubicBezTo>
                <a:cubicBezTo>
                  <a:pt x="104" y="149"/>
                  <a:pt x="101" y="153"/>
                  <a:pt x="96" y="155"/>
                </a:cubicBezTo>
                <a:cubicBezTo>
                  <a:pt x="92" y="157"/>
                  <a:pt x="87" y="158"/>
                  <a:pt x="82" y="158"/>
                </a:cubicBezTo>
                <a:cubicBezTo>
                  <a:pt x="79" y="158"/>
                  <a:pt x="76" y="156"/>
                  <a:pt x="74" y="154"/>
                </a:cubicBezTo>
                <a:cubicBezTo>
                  <a:pt x="71" y="152"/>
                  <a:pt x="70" y="149"/>
                  <a:pt x="68" y="146"/>
                </a:cubicBezTo>
                <a:cubicBezTo>
                  <a:pt x="67" y="143"/>
                  <a:pt x="66" y="140"/>
                  <a:pt x="66" y="138"/>
                </a:cubicBezTo>
                <a:cubicBezTo>
                  <a:pt x="66" y="135"/>
                  <a:pt x="65" y="133"/>
                  <a:pt x="64" y="130"/>
                </a:cubicBezTo>
                <a:cubicBezTo>
                  <a:pt x="64" y="127"/>
                  <a:pt x="63" y="125"/>
                  <a:pt x="61" y="124"/>
                </a:cubicBezTo>
                <a:cubicBezTo>
                  <a:pt x="58" y="121"/>
                  <a:pt x="55" y="117"/>
                  <a:pt x="51" y="112"/>
                </a:cubicBezTo>
                <a:cubicBezTo>
                  <a:pt x="45" y="104"/>
                  <a:pt x="41" y="99"/>
                  <a:pt x="38" y="97"/>
                </a:cubicBezTo>
                <a:cubicBezTo>
                  <a:pt x="13" y="97"/>
                  <a:pt x="13" y="97"/>
                  <a:pt x="13" y="97"/>
                </a:cubicBezTo>
                <a:cubicBezTo>
                  <a:pt x="9" y="97"/>
                  <a:pt x="6" y="96"/>
                  <a:pt x="4" y="94"/>
                </a:cubicBezTo>
                <a:cubicBezTo>
                  <a:pt x="2" y="91"/>
                  <a:pt x="0" y="88"/>
                  <a:pt x="0" y="8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1"/>
                  <a:pt x="2" y="18"/>
                  <a:pt x="4" y="16"/>
                </a:cubicBezTo>
                <a:cubicBezTo>
                  <a:pt x="6" y="14"/>
                  <a:pt x="9" y="12"/>
                  <a:pt x="13" y="12"/>
                </a:cubicBezTo>
                <a:cubicBezTo>
                  <a:pt x="40" y="12"/>
                  <a:pt x="40" y="12"/>
                  <a:pt x="40" y="12"/>
                </a:cubicBezTo>
                <a:cubicBezTo>
                  <a:pt x="41" y="12"/>
                  <a:pt x="45" y="11"/>
                  <a:pt x="53" y="9"/>
                </a:cubicBezTo>
                <a:cubicBezTo>
                  <a:pt x="61" y="6"/>
                  <a:pt x="68" y="4"/>
                  <a:pt x="74" y="2"/>
                </a:cubicBezTo>
                <a:cubicBezTo>
                  <a:pt x="80" y="1"/>
                  <a:pt x="86" y="0"/>
                  <a:pt x="9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12" y="0"/>
                  <a:pt x="119" y="3"/>
                  <a:pt x="125" y="8"/>
                </a:cubicBezTo>
                <a:cubicBezTo>
                  <a:pt x="130" y="13"/>
                  <a:pt x="133" y="20"/>
                  <a:pt x="133" y="28"/>
                </a:cubicBezTo>
                <a:cubicBezTo>
                  <a:pt x="133" y="29"/>
                  <a:pt x="133" y="29"/>
                  <a:pt x="133" y="29"/>
                </a:cubicBezTo>
                <a:cubicBezTo>
                  <a:pt x="137" y="34"/>
                  <a:pt x="139" y="39"/>
                  <a:pt x="139" y="46"/>
                </a:cubicBezTo>
                <a:cubicBezTo>
                  <a:pt x="139" y="47"/>
                  <a:pt x="138" y="48"/>
                  <a:pt x="138" y="50"/>
                </a:cubicBezTo>
                <a:cubicBezTo>
                  <a:pt x="141" y="54"/>
                  <a:pt x="142" y="58"/>
                  <a:pt x="142" y="63"/>
                </a:cubicBezTo>
                <a:cubicBezTo>
                  <a:pt x="142" y="65"/>
                  <a:pt x="142" y="68"/>
                  <a:pt x="141" y="70"/>
                </a:cubicBezTo>
                <a:cubicBezTo>
                  <a:pt x="144" y="74"/>
                  <a:pt x="146" y="80"/>
                  <a:pt x="146" y="85"/>
                </a:cubicBezTo>
                <a:close/>
                <a:moveTo>
                  <a:pt x="23" y="35"/>
                </a:moveTo>
                <a:cubicBezTo>
                  <a:pt x="24" y="34"/>
                  <a:pt x="25" y="32"/>
                  <a:pt x="25" y="31"/>
                </a:cubicBezTo>
                <a:cubicBezTo>
                  <a:pt x="25" y="29"/>
                  <a:pt x="24" y="28"/>
                  <a:pt x="23" y="26"/>
                </a:cubicBezTo>
                <a:cubicBezTo>
                  <a:pt x="22" y="25"/>
                  <a:pt x="20" y="25"/>
                  <a:pt x="19" y="25"/>
                </a:cubicBezTo>
                <a:cubicBezTo>
                  <a:pt x="17" y="25"/>
                  <a:pt x="16" y="25"/>
                  <a:pt x="14" y="26"/>
                </a:cubicBezTo>
                <a:cubicBezTo>
                  <a:pt x="13" y="28"/>
                  <a:pt x="13" y="29"/>
                  <a:pt x="13" y="31"/>
                </a:cubicBezTo>
                <a:cubicBezTo>
                  <a:pt x="13" y="32"/>
                  <a:pt x="13" y="34"/>
                  <a:pt x="14" y="35"/>
                </a:cubicBezTo>
                <a:cubicBezTo>
                  <a:pt x="16" y="36"/>
                  <a:pt x="17" y="37"/>
                  <a:pt x="19" y="37"/>
                </a:cubicBezTo>
                <a:cubicBezTo>
                  <a:pt x="20" y="37"/>
                  <a:pt x="22" y="36"/>
                  <a:pt x="23" y="35"/>
                </a:cubicBezTo>
                <a:close/>
                <a:moveTo>
                  <a:pt x="134" y="85"/>
                </a:moveTo>
                <a:cubicBezTo>
                  <a:pt x="134" y="83"/>
                  <a:pt x="133" y="80"/>
                  <a:pt x="132" y="77"/>
                </a:cubicBezTo>
                <a:cubicBezTo>
                  <a:pt x="130" y="74"/>
                  <a:pt x="128" y="73"/>
                  <a:pt x="126" y="73"/>
                </a:cubicBezTo>
                <a:cubicBezTo>
                  <a:pt x="127" y="72"/>
                  <a:pt x="128" y="70"/>
                  <a:pt x="129" y="68"/>
                </a:cubicBezTo>
                <a:cubicBezTo>
                  <a:pt x="129" y="67"/>
                  <a:pt x="130" y="65"/>
                  <a:pt x="130" y="63"/>
                </a:cubicBezTo>
                <a:cubicBezTo>
                  <a:pt x="130" y="59"/>
                  <a:pt x="128" y="55"/>
                  <a:pt x="125" y="52"/>
                </a:cubicBezTo>
                <a:cubicBezTo>
                  <a:pt x="126" y="50"/>
                  <a:pt x="126" y="48"/>
                  <a:pt x="126" y="45"/>
                </a:cubicBezTo>
                <a:cubicBezTo>
                  <a:pt x="126" y="43"/>
                  <a:pt x="126" y="41"/>
                  <a:pt x="125" y="38"/>
                </a:cubicBezTo>
                <a:cubicBezTo>
                  <a:pt x="124" y="36"/>
                  <a:pt x="122" y="35"/>
                  <a:pt x="120" y="34"/>
                </a:cubicBezTo>
                <a:cubicBezTo>
                  <a:pt x="121" y="32"/>
                  <a:pt x="121" y="30"/>
                  <a:pt x="121" y="28"/>
                </a:cubicBezTo>
                <a:cubicBezTo>
                  <a:pt x="121" y="23"/>
                  <a:pt x="119" y="19"/>
                  <a:pt x="116" y="16"/>
                </a:cubicBezTo>
                <a:cubicBezTo>
                  <a:pt x="113" y="14"/>
                  <a:pt x="109" y="12"/>
                  <a:pt x="103" y="12"/>
                </a:cubicBezTo>
                <a:cubicBezTo>
                  <a:pt x="91" y="12"/>
                  <a:pt x="91" y="12"/>
                  <a:pt x="91" y="12"/>
                </a:cubicBezTo>
                <a:cubicBezTo>
                  <a:pt x="83" y="12"/>
                  <a:pt x="72" y="15"/>
                  <a:pt x="59" y="19"/>
                </a:cubicBezTo>
                <a:cubicBezTo>
                  <a:pt x="59" y="19"/>
                  <a:pt x="58" y="20"/>
                  <a:pt x="56" y="20"/>
                </a:cubicBezTo>
                <a:cubicBezTo>
                  <a:pt x="55" y="21"/>
                  <a:pt x="53" y="21"/>
                  <a:pt x="53" y="22"/>
                </a:cubicBezTo>
                <a:cubicBezTo>
                  <a:pt x="52" y="22"/>
                  <a:pt x="51" y="22"/>
                  <a:pt x="49" y="23"/>
                </a:cubicBezTo>
                <a:cubicBezTo>
                  <a:pt x="48" y="23"/>
                  <a:pt x="47" y="23"/>
                  <a:pt x="46" y="24"/>
                </a:cubicBezTo>
                <a:cubicBezTo>
                  <a:pt x="45" y="24"/>
                  <a:pt x="44" y="24"/>
                  <a:pt x="43" y="24"/>
                </a:cubicBezTo>
                <a:cubicBezTo>
                  <a:pt x="42" y="24"/>
                  <a:pt x="41" y="25"/>
                  <a:pt x="40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85"/>
                  <a:pt x="37" y="85"/>
                  <a:pt x="37" y="85"/>
                </a:cubicBezTo>
                <a:cubicBezTo>
                  <a:pt x="40" y="85"/>
                  <a:pt x="40" y="85"/>
                  <a:pt x="40" y="85"/>
                </a:cubicBezTo>
                <a:cubicBezTo>
                  <a:pt x="41" y="85"/>
                  <a:pt x="42" y="85"/>
                  <a:pt x="43" y="86"/>
                </a:cubicBezTo>
                <a:cubicBezTo>
                  <a:pt x="44" y="86"/>
                  <a:pt x="46" y="87"/>
                  <a:pt x="47" y="88"/>
                </a:cubicBezTo>
                <a:cubicBezTo>
                  <a:pt x="48" y="90"/>
                  <a:pt x="49" y="91"/>
                  <a:pt x="51" y="92"/>
                </a:cubicBezTo>
                <a:cubicBezTo>
                  <a:pt x="52" y="93"/>
                  <a:pt x="53" y="94"/>
                  <a:pt x="54" y="96"/>
                </a:cubicBezTo>
                <a:cubicBezTo>
                  <a:pt x="56" y="98"/>
                  <a:pt x="57" y="99"/>
                  <a:pt x="58" y="100"/>
                </a:cubicBezTo>
                <a:cubicBezTo>
                  <a:pt x="58" y="101"/>
                  <a:pt x="59" y="102"/>
                  <a:pt x="61" y="104"/>
                </a:cubicBezTo>
                <a:cubicBezTo>
                  <a:pt x="62" y="105"/>
                  <a:pt x="62" y="106"/>
                  <a:pt x="63" y="107"/>
                </a:cubicBezTo>
                <a:cubicBezTo>
                  <a:pt x="66" y="111"/>
                  <a:pt x="69" y="114"/>
                  <a:pt x="70" y="115"/>
                </a:cubicBezTo>
                <a:cubicBezTo>
                  <a:pt x="73" y="118"/>
                  <a:pt x="74" y="121"/>
                  <a:pt x="76" y="126"/>
                </a:cubicBezTo>
                <a:cubicBezTo>
                  <a:pt x="77" y="130"/>
                  <a:pt x="78" y="134"/>
                  <a:pt x="79" y="138"/>
                </a:cubicBezTo>
                <a:cubicBezTo>
                  <a:pt x="79" y="141"/>
                  <a:pt x="80" y="144"/>
                  <a:pt x="82" y="146"/>
                </a:cubicBezTo>
                <a:cubicBezTo>
                  <a:pt x="88" y="146"/>
                  <a:pt x="92" y="144"/>
                  <a:pt x="94" y="141"/>
                </a:cubicBezTo>
                <a:cubicBezTo>
                  <a:pt x="96" y="138"/>
                  <a:pt x="97" y="134"/>
                  <a:pt x="97" y="127"/>
                </a:cubicBezTo>
                <a:cubicBezTo>
                  <a:pt x="97" y="124"/>
                  <a:pt x="96" y="119"/>
                  <a:pt x="93" y="112"/>
                </a:cubicBezTo>
                <a:cubicBezTo>
                  <a:pt x="90" y="106"/>
                  <a:pt x="88" y="101"/>
                  <a:pt x="88" y="97"/>
                </a:cubicBezTo>
                <a:cubicBezTo>
                  <a:pt x="121" y="97"/>
                  <a:pt x="121" y="97"/>
                  <a:pt x="121" y="97"/>
                </a:cubicBezTo>
                <a:cubicBezTo>
                  <a:pt x="125" y="97"/>
                  <a:pt x="127" y="96"/>
                  <a:pt x="130" y="94"/>
                </a:cubicBezTo>
                <a:cubicBezTo>
                  <a:pt x="132" y="91"/>
                  <a:pt x="134" y="88"/>
                  <a:pt x="134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4" name="Freeform 134"/>
          <p:cNvSpPr>
            <a:spLocks noChangeAspect="1"/>
          </p:cNvSpPr>
          <p:nvPr/>
        </p:nvSpPr>
        <p:spPr bwMode="auto">
          <a:xfrm>
            <a:off x="3622713" y="2476711"/>
            <a:ext cx="82749" cy="154569"/>
          </a:xfrm>
          <a:custGeom>
            <a:avLst/>
            <a:gdLst>
              <a:gd name="T0" fmla="*/ 79 w 79"/>
              <a:gd name="T1" fmla="*/ 0 h 150"/>
              <a:gd name="T2" fmla="*/ 79 w 79"/>
              <a:gd name="T3" fmla="*/ 127 h 150"/>
              <a:gd name="T4" fmla="*/ 36 w 79"/>
              <a:gd name="T5" fmla="*/ 149 h 150"/>
              <a:gd name="T6" fmla="*/ 33 w 79"/>
              <a:gd name="T7" fmla="*/ 150 h 150"/>
              <a:gd name="T8" fmla="*/ 30 w 79"/>
              <a:gd name="T9" fmla="*/ 149 h 150"/>
              <a:gd name="T10" fmla="*/ 29 w 79"/>
              <a:gd name="T11" fmla="*/ 146 h 150"/>
              <a:gd name="T12" fmla="*/ 29 w 79"/>
              <a:gd name="T13" fmla="*/ 144 h 150"/>
              <a:gd name="T14" fmla="*/ 37 w 79"/>
              <a:gd name="T15" fmla="*/ 96 h 150"/>
              <a:gd name="T16" fmla="*/ 3 w 79"/>
              <a:gd name="T17" fmla="*/ 63 h 150"/>
              <a:gd name="T18" fmla="*/ 0 w 79"/>
              <a:gd name="T19" fmla="*/ 58 h 150"/>
              <a:gd name="T20" fmla="*/ 5 w 79"/>
              <a:gd name="T21" fmla="*/ 54 h 150"/>
              <a:gd name="T22" fmla="*/ 53 w 79"/>
              <a:gd name="T23" fmla="*/ 47 h 150"/>
              <a:gd name="T24" fmla="*/ 74 w 79"/>
              <a:gd name="T25" fmla="*/ 4 h 150"/>
              <a:gd name="T26" fmla="*/ 79 w 79"/>
              <a:gd name="T2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9" h="150">
                <a:moveTo>
                  <a:pt x="79" y="0"/>
                </a:moveTo>
                <a:cubicBezTo>
                  <a:pt x="79" y="127"/>
                  <a:pt x="79" y="127"/>
                  <a:pt x="79" y="127"/>
                </a:cubicBezTo>
                <a:cubicBezTo>
                  <a:pt x="36" y="149"/>
                  <a:pt x="36" y="149"/>
                  <a:pt x="36" y="149"/>
                </a:cubicBezTo>
                <a:cubicBezTo>
                  <a:pt x="35" y="150"/>
                  <a:pt x="34" y="150"/>
                  <a:pt x="33" y="150"/>
                </a:cubicBezTo>
                <a:cubicBezTo>
                  <a:pt x="31" y="150"/>
                  <a:pt x="30" y="150"/>
                  <a:pt x="30" y="149"/>
                </a:cubicBezTo>
                <a:cubicBezTo>
                  <a:pt x="29" y="148"/>
                  <a:pt x="29" y="147"/>
                  <a:pt x="29" y="146"/>
                </a:cubicBezTo>
                <a:cubicBezTo>
                  <a:pt x="29" y="145"/>
                  <a:pt x="29" y="145"/>
                  <a:pt x="29" y="144"/>
                </a:cubicBezTo>
                <a:cubicBezTo>
                  <a:pt x="37" y="96"/>
                  <a:pt x="37" y="96"/>
                  <a:pt x="37" y="96"/>
                </a:cubicBezTo>
                <a:cubicBezTo>
                  <a:pt x="3" y="63"/>
                  <a:pt x="3" y="63"/>
                  <a:pt x="3" y="63"/>
                </a:cubicBezTo>
                <a:cubicBezTo>
                  <a:pt x="1" y="61"/>
                  <a:pt x="0" y="60"/>
                  <a:pt x="0" y="58"/>
                </a:cubicBezTo>
                <a:cubicBezTo>
                  <a:pt x="0" y="56"/>
                  <a:pt x="2" y="55"/>
                  <a:pt x="5" y="54"/>
                </a:cubicBezTo>
                <a:cubicBezTo>
                  <a:pt x="53" y="47"/>
                  <a:pt x="53" y="47"/>
                  <a:pt x="53" y="47"/>
                </a:cubicBezTo>
                <a:cubicBezTo>
                  <a:pt x="74" y="4"/>
                  <a:pt x="74" y="4"/>
                  <a:pt x="74" y="4"/>
                </a:cubicBezTo>
                <a:cubicBezTo>
                  <a:pt x="75" y="2"/>
                  <a:pt x="77" y="0"/>
                  <a:pt x="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5" name="Freeform 135"/>
          <p:cNvSpPr>
            <a:spLocks noChangeAspect="1" noEditPoints="1"/>
          </p:cNvSpPr>
          <p:nvPr/>
        </p:nvSpPr>
        <p:spPr bwMode="auto">
          <a:xfrm>
            <a:off x="3753863" y="2484518"/>
            <a:ext cx="176428" cy="151447"/>
          </a:xfrm>
          <a:custGeom>
            <a:avLst/>
            <a:gdLst>
              <a:gd name="T0" fmla="*/ 170 w 170"/>
              <a:gd name="T1" fmla="*/ 45 h 146"/>
              <a:gd name="T2" fmla="*/ 148 w 170"/>
              <a:gd name="T3" fmla="*/ 87 h 146"/>
              <a:gd name="T4" fmla="*/ 89 w 170"/>
              <a:gd name="T5" fmla="*/ 144 h 146"/>
              <a:gd name="T6" fmla="*/ 85 w 170"/>
              <a:gd name="T7" fmla="*/ 146 h 146"/>
              <a:gd name="T8" fmla="*/ 81 w 170"/>
              <a:gd name="T9" fmla="*/ 144 h 146"/>
              <a:gd name="T10" fmla="*/ 22 w 170"/>
              <a:gd name="T11" fmla="*/ 87 h 146"/>
              <a:gd name="T12" fmla="*/ 19 w 170"/>
              <a:gd name="T13" fmla="*/ 84 h 146"/>
              <a:gd name="T14" fmla="*/ 14 w 170"/>
              <a:gd name="T15" fmla="*/ 78 h 146"/>
              <a:gd name="T16" fmla="*/ 8 w 170"/>
              <a:gd name="T17" fmla="*/ 69 h 146"/>
              <a:gd name="T18" fmla="*/ 3 w 170"/>
              <a:gd name="T19" fmla="*/ 58 h 146"/>
              <a:gd name="T20" fmla="*/ 0 w 170"/>
              <a:gd name="T21" fmla="*/ 45 h 146"/>
              <a:gd name="T22" fmla="*/ 12 w 170"/>
              <a:gd name="T23" fmla="*/ 12 h 146"/>
              <a:gd name="T24" fmla="*/ 46 w 170"/>
              <a:gd name="T25" fmla="*/ 0 h 146"/>
              <a:gd name="T26" fmla="*/ 58 w 170"/>
              <a:gd name="T27" fmla="*/ 2 h 146"/>
              <a:gd name="T28" fmla="*/ 69 w 170"/>
              <a:gd name="T29" fmla="*/ 8 h 146"/>
              <a:gd name="T30" fmla="*/ 78 w 170"/>
              <a:gd name="T31" fmla="*/ 14 h 146"/>
              <a:gd name="T32" fmla="*/ 85 w 170"/>
              <a:gd name="T33" fmla="*/ 21 h 146"/>
              <a:gd name="T34" fmla="*/ 92 w 170"/>
              <a:gd name="T35" fmla="*/ 14 h 146"/>
              <a:gd name="T36" fmla="*/ 101 w 170"/>
              <a:gd name="T37" fmla="*/ 8 h 146"/>
              <a:gd name="T38" fmla="*/ 113 w 170"/>
              <a:gd name="T39" fmla="*/ 2 h 146"/>
              <a:gd name="T40" fmla="*/ 125 w 170"/>
              <a:gd name="T41" fmla="*/ 0 h 146"/>
              <a:gd name="T42" fmla="*/ 158 w 170"/>
              <a:gd name="T43" fmla="*/ 12 h 146"/>
              <a:gd name="T44" fmla="*/ 170 w 170"/>
              <a:gd name="T45" fmla="*/ 45 h 146"/>
              <a:gd name="T46" fmla="*/ 158 w 170"/>
              <a:gd name="T47" fmla="*/ 45 h 146"/>
              <a:gd name="T48" fmla="*/ 156 w 170"/>
              <a:gd name="T49" fmla="*/ 31 h 146"/>
              <a:gd name="T50" fmla="*/ 151 w 170"/>
              <a:gd name="T51" fmla="*/ 22 h 146"/>
              <a:gd name="T52" fmla="*/ 143 w 170"/>
              <a:gd name="T53" fmla="*/ 16 h 146"/>
              <a:gd name="T54" fmla="*/ 134 w 170"/>
              <a:gd name="T55" fmla="*/ 13 h 146"/>
              <a:gd name="T56" fmla="*/ 125 w 170"/>
              <a:gd name="T57" fmla="*/ 12 h 146"/>
              <a:gd name="T58" fmla="*/ 114 w 170"/>
              <a:gd name="T59" fmla="*/ 15 h 146"/>
              <a:gd name="T60" fmla="*/ 104 w 170"/>
              <a:gd name="T61" fmla="*/ 21 h 146"/>
              <a:gd name="T62" fmla="*/ 95 w 170"/>
              <a:gd name="T63" fmla="*/ 28 h 146"/>
              <a:gd name="T64" fmla="*/ 90 w 170"/>
              <a:gd name="T65" fmla="*/ 34 h 146"/>
              <a:gd name="T66" fmla="*/ 85 w 170"/>
              <a:gd name="T67" fmla="*/ 36 h 146"/>
              <a:gd name="T68" fmla="*/ 81 w 170"/>
              <a:gd name="T69" fmla="*/ 34 h 146"/>
              <a:gd name="T70" fmla="*/ 75 w 170"/>
              <a:gd name="T71" fmla="*/ 28 h 146"/>
              <a:gd name="T72" fmla="*/ 67 w 170"/>
              <a:gd name="T73" fmla="*/ 21 h 146"/>
              <a:gd name="T74" fmla="*/ 56 w 170"/>
              <a:gd name="T75" fmla="*/ 15 h 146"/>
              <a:gd name="T76" fmla="*/ 46 w 170"/>
              <a:gd name="T77" fmla="*/ 12 h 146"/>
              <a:gd name="T78" fmla="*/ 36 w 170"/>
              <a:gd name="T79" fmla="*/ 13 h 146"/>
              <a:gd name="T80" fmla="*/ 27 w 170"/>
              <a:gd name="T81" fmla="*/ 16 h 146"/>
              <a:gd name="T82" fmla="*/ 20 w 170"/>
              <a:gd name="T83" fmla="*/ 22 h 146"/>
              <a:gd name="T84" fmla="*/ 15 w 170"/>
              <a:gd name="T85" fmla="*/ 31 h 146"/>
              <a:gd name="T86" fmla="*/ 13 w 170"/>
              <a:gd name="T87" fmla="*/ 45 h 146"/>
              <a:gd name="T88" fmla="*/ 30 w 170"/>
              <a:gd name="T89" fmla="*/ 78 h 146"/>
              <a:gd name="T90" fmla="*/ 85 w 170"/>
              <a:gd name="T91" fmla="*/ 131 h 146"/>
              <a:gd name="T92" fmla="*/ 140 w 170"/>
              <a:gd name="T93" fmla="*/ 78 h 146"/>
              <a:gd name="T94" fmla="*/ 158 w 170"/>
              <a:gd name="T95" fmla="*/ 4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" h="146">
                <a:moveTo>
                  <a:pt x="170" y="45"/>
                </a:moveTo>
                <a:cubicBezTo>
                  <a:pt x="170" y="59"/>
                  <a:pt x="163" y="73"/>
                  <a:pt x="148" y="87"/>
                </a:cubicBezTo>
                <a:cubicBezTo>
                  <a:pt x="89" y="144"/>
                  <a:pt x="89" y="144"/>
                  <a:pt x="89" y="144"/>
                </a:cubicBezTo>
                <a:cubicBezTo>
                  <a:pt x="88" y="145"/>
                  <a:pt x="87" y="146"/>
                  <a:pt x="85" y="146"/>
                </a:cubicBezTo>
                <a:cubicBezTo>
                  <a:pt x="84" y="146"/>
                  <a:pt x="82" y="145"/>
                  <a:pt x="81" y="144"/>
                </a:cubicBezTo>
                <a:cubicBezTo>
                  <a:pt x="22" y="87"/>
                  <a:pt x="22" y="87"/>
                  <a:pt x="22" y="87"/>
                </a:cubicBezTo>
                <a:cubicBezTo>
                  <a:pt x="21" y="86"/>
                  <a:pt x="21" y="86"/>
                  <a:pt x="19" y="84"/>
                </a:cubicBezTo>
                <a:cubicBezTo>
                  <a:pt x="18" y="83"/>
                  <a:pt x="17" y="81"/>
                  <a:pt x="14" y="78"/>
                </a:cubicBezTo>
                <a:cubicBezTo>
                  <a:pt x="12" y="75"/>
                  <a:pt x="10" y="72"/>
                  <a:pt x="8" y="69"/>
                </a:cubicBezTo>
                <a:cubicBezTo>
                  <a:pt x="6" y="66"/>
                  <a:pt x="4" y="62"/>
                  <a:pt x="3" y="58"/>
                </a:cubicBezTo>
                <a:cubicBezTo>
                  <a:pt x="1" y="53"/>
                  <a:pt x="0" y="49"/>
                  <a:pt x="0" y="45"/>
                </a:cubicBezTo>
                <a:cubicBezTo>
                  <a:pt x="0" y="31"/>
                  <a:pt x="4" y="20"/>
                  <a:pt x="12" y="12"/>
                </a:cubicBezTo>
                <a:cubicBezTo>
                  <a:pt x="20" y="4"/>
                  <a:pt x="32" y="0"/>
                  <a:pt x="46" y="0"/>
                </a:cubicBezTo>
                <a:cubicBezTo>
                  <a:pt x="50" y="0"/>
                  <a:pt x="54" y="1"/>
                  <a:pt x="58" y="2"/>
                </a:cubicBezTo>
                <a:cubicBezTo>
                  <a:pt x="62" y="4"/>
                  <a:pt x="65" y="6"/>
                  <a:pt x="69" y="8"/>
                </a:cubicBezTo>
                <a:cubicBezTo>
                  <a:pt x="72" y="10"/>
                  <a:pt x="75" y="12"/>
                  <a:pt x="78" y="14"/>
                </a:cubicBezTo>
                <a:cubicBezTo>
                  <a:pt x="80" y="16"/>
                  <a:pt x="83" y="18"/>
                  <a:pt x="85" y="21"/>
                </a:cubicBezTo>
                <a:cubicBezTo>
                  <a:pt x="87" y="18"/>
                  <a:pt x="90" y="16"/>
                  <a:pt x="92" y="14"/>
                </a:cubicBezTo>
                <a:cubicBezTo>
                  <a:pt x="95" y="12"/>
                  <a:pt x="98" y="10"/>
                  <a:pt x="101" y="8"/>
                </a:cubicBezTo>
                <a:cubicBezTo>
                  <a:pt x="105" y="6"/>
                  <a:pt x="109" y="4"/>
                  <a:pt x="113" y="2"/>
                </a:cubicBezTo>
                <a:cubicBezTo>
                  <a:pt x="117" y="1"/>
                  <a:pt x="121" y="0"/>
                  <a:pt x="125" y="0"/>
                </a:cubicBezTo>
                <a:cubicBezTo>
                  <a:pt x="139" y="0"/>
                  <a:pt x="150" y="4"/>
                  <a:pt x="158" y="12"/>
                </a:cubicBezTo>
                <a:cubicBezTo>
                  <a:pt x="166" y="20"/>
                  <a:pt x="170" y="31"/>
                  <a:pt x="170" y="45"/>
                </a:cubicBezTo>
                <a:close/>
                <a:moveTo>
                  <a:pt x="158" y="45"/>
                </a:moveTo>
                <a:cubicBezTo>
                  <a:pt x="158" y="39"/>
                  <a:pt x="157" y="35"/>
                  <a:pt x="156" y="31"/>
                </a:cubicBezTo>
                <a:cubicBezTo>
                  <a:pt x="154" y="27"/>
                  <a:pt x="153" y="24"/>
                  <a:pt x="151" y="22"/>
                </a:cubicBezTo>
                <a:cubicBezTo>
                  <a:pt x="148" y="19"/>
                  <a:pt x="146" y="18"/>
                  <a:pt x="143" y="16"/>
                </a:cubicBezTo>
                <a:cubicBezTo>
                  <a:pt x="140" y="15"/>
                  <a:pt x="137" y="14"/>
                  <a:pt x="134" y="13"/>
                </a:cubicBezTo>
                <a:cubicBezTo>
                  <a:pt x="131" y="13"/>
                  <a:pt x="128" y="12"/>
                  <a:pt x="125" y="12"/>
                </a:cubicBezTo>
                <a:cubicBezTo>
                  <a:pt x="121" y="12"/>
                  <a:pt x="118" y="13"/>
                  <a:pt x="114" y="15"/>
                </a:cubicBezTo>
                <a:cubicBezTo>
                  <a:pt x="110" y="16"/>
                  <a:pt x="107" y="18"/>
                  <a:pt x="104" y="21"/>
                </a:cubicBezTo>
                <a:cubicBezTo>
                  <a:pt x="100" y="23"/>
                  <a:pt x="98" y="26"/>
                  <a:pt x="95" y="28"/>
                </a:cubicBezTo>
                <a:cubicBezTo>
                  <a:pt x="93" y="30"/>
                  <a:pt x="91" y="32"/>
                  <a:pt x="90" y="34"/>
                </a:cubicBezTo>
                <a:cubicBezTo>
                  <a:pt x="89" y="35"/>
                  <a:pt x="87" y="36"/>
                  <a:pt x="85" y="36"/>
                </a:cubicBezTo>
                <a:cubicBezTo>
                  <a:pt x="83" y="36"/>
                  <a:pt x="82" y="35"/>
                  <a:pt x="81" y="34"/>
                </a:cubicBezTo>
                <a:cubicBezTo>
                  <a:pt x="79" y="32"/>
                  <a:pt x="77" y="30"/>
                  <a:pt x="75" y="28"/>
                </a:cubicBezTo>
                <a:cubicBezTo>
                  <a:pt x="73" y="26"/>
                  <a:pt x="70" y="23"/>
                  <a:pt x="67" y="21"/>
                </a:cubicBezTo>
                <a:cubicBezTo>
                  <a:pt x="63" y="18"/>
                  <a:pt x="60" y="16"/>
                  <a:pt x="56" y="15"/>
                </a:cubicBezTo>
                <a:cubicBezTo>
                  <a:pt x="52" y="13"/>
                  <a:pt x="49" y="12"/>
                  <a:pt x="46" y="12"/>
                </a:cubicBezTo>
                <a:cubicBezTo>
                  <a:pt x="42" y="12"/>
                  <a:pt x="39" y="13"/>
                  <a:pt x="36" y="13"/>
                </a:cubicBezTo>
                <a:cubicBezTo>
                  <a:pt x="33" y="14"/>
                  <a:pt x="31" y="15"/>
                  <a:pt x="27" y="16"/>
                </a:cubicBezTo>
                <a:cubicBezTo>
                  <a:pt x="24" y="18"/>
                  <a:pt x="22" y="19"/>
                  <a:pt x="20" y="22"/>
                </a:cubicBezTo>
                <a:cubicBezTo>
                  <a:pt x="18" y="24"/>
                  <a:pt x="16" y="27"/>
                  <a:pt x="15" y="31"/>
                </a:cubicBezTo>
                <a:cubicBezTo>
                  <a:pt x="13" y="35"/>
                  <a:pt x="13" y="39"/>
                  <a:pt x="13" y="45"/>
                </a:cubicBezTo>
                <a:cubicBezTo>
                  <a:pt x="13" y="55"/>
                  <a:pt x="18" y="66"/>
                  <a:pt x="30" y="78"/>
                </a:cubicBezTo>
                <a:cubicBezTo>
                  <a:pt x="85" y="131"/>
                  <a:pt x="85" y="131"/>
                  <a:pt x="85" y="131"/>
                </a:cubicBezTo>
                <a:cubicBezTo>
                  <a:pt x="140" y="78"/>
                  <a:pt x="140" y="78"/>
                  <a:pt x="140" y="78"/>
                </a:cubicBezTo>
                <a:cubicBezTo>
                  <a:pt x="152" y="66"/>
                  <a:pt x="158" y="55"/>
                  <a:pt x="158" y="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6" name="Freeform 136"/>
          <p:cNvSpPr>
            <a:spLocks noChangeAspect="1" noEditPoints="1"/>
          </p:cNvSpPr>
          <p:nvPr/>
        </p:nvSpPr>
        <p:spPr bwMode="auto">
          <a:xfrm>
            <a:off x="3972446" y="2497008"/>
            <a:ext cx="154569" cy="126466"/>
          </a:xfrm>
          <a:custGeom>
            <a:avLst/>
            <a:gdLst>
              <a:gd name="T0" fmla="*/ 61 w 149"/>
              <a:gd name="T1" fmla="*/ 112 h 121"/>
              <a:gd name="T2" fmla="*/ 61 w 149"/>
              <a:gd name="T3" fmla="*/ 114 h 121"/>
              <a:gd name="T4" fmla="*/ 61 w 149"/>
              <a:gd name="T5" fmla="*/ 117 h 121"/>
              <a:gd name="T6" fmla="*/ 61 w 149"/>
              <a:gd name="T7" fmla="*/ 119 h 121"/>
              <a:gd name="T8" fmla="*/ 60 w 149"/>
              <a:gd name="T9" fmla="*/ 121 h 121"/>
              <a:gd name="T10" fmla="*/ 58 w 149"/>
              <a:gd name="T11" fmla="*/ 121 h 121"/>
              <a:gd name="T12" fmla="*/ 28 w 149"/>
              <a:gd name="T13" fmla="*/ 121 h 121"/>
              <a:gd name="T14" fmla="*/ 8 w 149"/>
              <a:gd name="T15" fmla="*/ 113 h 121"/>
              <a:gd name="T16" fmla="*/ 0 w 149"/>
              <a:gd name="T17" fmla="*/ 94 h 121"/>
              <a:gd name="T18" fmla="*/ 0 w 149"/>
              <a:gd name="T19" fmla="*/ 28 h 121"/>
              <a:gd name="T20" fmla="*/ 8 w 149"/>
              <a:gd name="T21" fmla="*/ 8 h 121"/>
              <a:gd name="T22" fmla="*/ 28 w 149"/>
              <a:gd name="T23" fmla="*/ 0 h 121"/>
              <a:gd name="T24" fmla="*/ 58 w 149"/>
              <a:gd name="T25" fmla="*/ 0 h 121"/>
              <a:gd name="T26" fmla="*/ 60 w 149"/>
              <a:gd name="T27" fmla="*/ 1 h 121"/>
              <a:gd name="T28" fmla="*/ 61 w 149"/>
              <a:gd name="T29" fmla="*/ 3 h 121"/>
              <a:gd name="T30" fmla="*/ 61 w 149"/>
              <a:gd name="T31" fmla="*/ 5 h 121"/>
              <a:gd name="T32" fmla="*/ 61 w 149"/>
              <a:gd name="T33" fmla="*/ 8 h 121"/>
              <a:gd name="T34" fmla="*/ 61 w 149"/>
              <a:gd name="T35" fmla="*/ 10 h 121"/>
              <a:gd name="T36" fmla="*/ 60 w 149"/>
              <a:gd name="T37" fmla="*/ 12 h 121"/>
              <a:gd name="T38" fmla="*/ 58 w 149"/>
              <a:gd name="T39" fmla="*/ 13 h 121"/>
              <a:gd name="T40" fmla="*/ 28 w 149"/>
              <a:gd name="T41" fmla="*/ 13 h 121"/>
              <a:gd name="T42" fmla="*/ 17 w 149"/>
              <a:gd name="T43" fmla="*/ 17 h 121"/>
              <a:gd name="T44" fmla="*/ 13 w 149"/>
              <a:gd name="T45" fmla="*/ 28 h 121"/>
              <a:gd name="T46" fmla="*/ 13 w 149"/>
              <a:gd name="T47" fmla="*/ 94 h 121"/>
              <a:gd name="T48" fmla="*/ 17 w 149"/>
              <a:gd name="T49" fmla="*/ 105 h 121"/>
              <a:gd name="T50" fmla="*/ 28 w 149"/>
              <a:gd name="T51" fmla="*/ 109 h 121"/>
              <a:gd name="T52" fmla="*/ 55 w 149"/>
              <a:gd name="T53" fmla="*/ 109 h 121"/>
              <a:gd name="T54" fmla="*/ 56 w 149"/>
              <a:gd name="T55" fmla="*/ 109 h 121"/>
              <a:gd name="T56" fmla="*/ 57 w 149"/>
              <a:gd name="T57" fmla="*/ 109 h 121"/>
              <a:gd name="T58" fmla="*/ 58 w 149"/>
              <a:gd name="T59" fmla="*/ 109 h 121"/>
              <a:gd name="T60" fmla="*/ 59 w 149"/>
              <a:gd name="T61" fmla="*/ 110 h 121"/>
              <a:gd name="T62" fmla="*/ 60 w 149"/>
              <a:gd name="T63" fmla="*/ 110 h 121"/>
              <a:gd name="T64" fmla="*/ 61 w 149"/>
              <a:gd name="T65" fmla="*/ 111 h 121"/>
              <a:gd name="T66" fmla="*/ 61 w 149"/>
              <a:gd name="T67" fmla="*/ 112 h 121"/>
              <a:gd name="T68" fmla="*/ 149 w 149"/>
              <a:gd name="T69" fmla="*/ 61 h 121"/>
              <a:gd name="T70" fmla="*/ 147 w 149"/>
              <a:gd name="T71" fmla="*/ 65 h 121"/>
              <a:gd name="T72" fmla="*/ 95 w 149"/>
              <a:gd name="T73" fmla="*/ 117 h 121"/>
              <a:gd name="T74" fmla="*/ 91 w 149"/>
              <a:gd name="T75" fmla="*/ 118 h 121"/>
              <a:gd name="T76" fmla="*/ 87 w 149"/>
              <a:gd name="T77" fmla="*/ 117 h 121"/>
              <a:gd name="T78" fmla="*/ 85 w 149"/>
              <a:gd name="T79" fmla="*/ 112 h 121"/>
              <a:gd name="T80" fmla="*/ 85 w 149"/>
              <a:gd name="T81" fmla="*/ 85 h 121"/>
              <a:gd name="T82" fmla="*/ 43 w 149"/>
              <a:gd name="T83" fmla="*/ 85 h 121"/>
              <a:gd name="T84" fmla="*/ 39 w 149"/>
              <a:gd name="T85" fmla="*/ 83 h 121"/>
              <a:gd name="T86" fmla="*/ 37 w 149"/>
              <a:gd name="T87" fmla="*/ 79 h 121"/>
              <a:gd name="T88" fmla="*/ 37 w 149"/>
              <a:gd name="T89" fmla="*/ 43 h 121"/>
              <a:gd name="T90" fmla="*/ 39 w 149"/>
              <a:gd name="T91" fmla="*/ 39 h 121"/>
              <a:gd name="T92" fmla="*/ 43 w 149"/>
              <a:gd name="T93" fmla="*/ 37 h 121"/>
              <a:gd name="T94" fmla="*/ 85 w 149"/>
              <a:gd name="T95" fmla="*/ 37 h 121"/>
              <a:gd name="T96" fmla="*/ 85 w 149"/>
              <a:gd name="T97" fmla="*/ 10 h 121"/>
              <a:gd name="T98" fmla="*/ 87 w 149"/>
              <a:gd name="T99" fmla="*/ 5 h 121"/>
              <a:gd name="T100" fmla="*/ 91 w 149"/>
              <a:gd name="T101" fmla="*/ 3 h 121"/>
              <a:gd name="T102" fmla="*/ 95 w 149"/>
              <a:gd name="T103" fmla="*/ 5 h 121"/>
              <a:gd name="T104" fmla="*/ 147 w 149"/>
              <a:gd name="T105" fmla="*/ 57 h 121"/>
              <a:gd name="T106" fmla="*/ 149 w 149"/>
              <a:gd name="T107" fmla="*/ 6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9" h="121">
                <a:moveTo>
                  <a:pt x="61" y="112"/>
                </a:moveTo>
                <a:cubicBezTo>
                  <a:pt x="61" y="113"/>
                  <a:pt x="61" y="113"/>
                  <a:pt x="61" y="114"/>
                </a:cubicBezTo>
                <a:cubicBezTo>
                  <a:pt x="61" y="115"/>
                  <a:pt x="61" y="116"/>
                  <a:pt x="61" y="117"/>
                </a:cubicBezTo>
                <a:cubicBezTo>
                  <a:pt x="61" y="117"/>
                  <a:pt x="61" y="118"/>
                  <a:pt x="61" y="119"/>
                </a:cubicBezTo>
                <a:cubicBezTo>
                  <a:pt x="61" y="120"/>
                  <a:pt x="60" y="120"/>
                  <a:pt x="60" y="121"/>
                </a:cubicBezTo>
                <a:cubicBezTo>
                  <a:pt x="59" y="121"/>
                  <a:pt x="59" y="121"/>
                  <a:pt x="58" y="121"/>
                </a:cubicBezTo>
                <a:cubicBezTo>
                  <a:pt x="28" y="121"/>
                  <a:pt x="28" y="121"/>
                  <a:pt x="28" y="121"/>
                </a:cubicBezTo>
                <a:cubicBezTo>
                  <a:pt x="20" y="121"/>
                  <a:pt x="14" y="119"/>
                  <a:pt x="8" y="113"/>
                </a:cubicBezTo>
                <a:cubicBezTo>
                  <a:pt x="3" y="108"/>
                  <a:pt x="0" y="102"/>
                  <a:pt x="0" y="9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9" y="0"/>
                  <a:pt x="59" y="1"/>
                  <a:pt x="60" y="1"/>
                </a:cubicBezTo>
                <a:cubicBezTo>
                  <a:pt x="61" y="2"/>
                  <a:pt x="61" y="3"/>
                  <a:pt x="61" y="3"/>
                </a:cubicBezTo>
                <a:cubicBezTo>
                  <a:pt x="61" y="4"/>
                  <a:pt x="61" y="4"/>
                  <a:pt x="61" y="5"/>
                </a:cubicBezTo>
                <a:cubicBezTo>
                  <a:pt x="61" y="6"/>
                  <a:pt x="61" y="7"/>
                  <a:pt x="61" y="8"/>
                </a:cubicBezTo>
                <a:cubicBezTo>
                  <a:pt x="61" y="9"/>
                  <a:pt x="61" y="9"/>
                  <a:pt x="61" y="10"/>
                </a:cubicBezTo>
                <a:cubicBezTo>
                  <a:pt x="61" y="11"/>
                  <a:pt x="60" y="12"/>
                  <a:pt x="60" y="12"/>
                </a:cubicBezTo>
                <a:cubicBezTo>
                  <a:pt x="59" y="12"/>
                  <a:pt x="59" y="13"/>
                  <a:pt x="58" y="13"/>
                </a:cubicBezTo>
                <a:cubicBezTo>
                  <a:pt x="28" y="13"/>
                  <a:pt x="28" y="13"/>
                  <a:pt x="28" y="13"/>
                </a:cubicBezTo>
                <a:cubicBezTo>
                  <a:pt x="23" y="13"/>
                  <a:pt x="20" y="14"/>
                  <a:pt x="17" y="17"/>
                </a:cubicBezTo>
                <a:cubicBezTo>
                  <a:pt x="14" y="20"/>
                  <a:pt x="13" y="24"/>
                  <a:pt x="13" y="28"/>
                </a:cubicBezTo>
                <a:cubicBezTo>
                  <a:pt x="13" y="94"/>
                  <a:pt x="13" y="94"/>
                  <a:pt x="13" y="94"/>
                </a:cubicBezTo>
                <a:cubicBezTo>
                  <a:pt x="13" y="98"/>
                  <a:pt x="14" y="102"/>
                  <a:pt x="17" y="105"/>
                </a:cubicBezTo>
                <a:cubicBezTo>
                  <a:pt x="20" y="108"/>
                  <a:pt x="23" y="109"/>
                  <a:pt x="28" y="109"/>
                </a:cubicBezTo>
                <a:cubicBezTo>
                  <a:pt x="55" y="109"/>
                  <a:pt x="55" y="109"/>
                  <a:pt x="55" y="109"/>
                </a:cubicBezTo>
                <a:cubicBezTo>
                  <a:pt x="55" y="109"/>
                  <a:pt x="55" y="109"/>
                  <a:pt x="56" y="109"/>
                </a:cubicBezTo>
                <a:cubicBezTo>
                  <a:pt x="57" y="109"/>
                  <a:pt x="57" y="109"/>
                  <a:pt x="57" y="109"/>
                </a:cubicBezTo>
                <a:cubicBezTo>
                  <a:pt x="57" y="109"/>
                  <a:pt x="58" y="109"/>
                  <a:pt x="58" y="109"/>
                </a:cubicBezTo>
                <a:cubicBezTo>
                  <a:pt x="59" y="110"/>
                  <a:pt x="59" y="110"/>
                  <a:pt x="59" y="110"/>
                </a:cubicBezTo>
                <a:cubicBezTo>
                  <a:pt x="60" y="110"/>
                  <a:pt x="60" y="110"/>
                  <a:pt x="60" y="110"/>
                </a:cubicBezTo>
                <a:cubicBezTo>
                  <a:pt x="60" y="110"/>
                  <a:pt x="61" y="111"/>
                  <a:pt x="61" y="111"/>
                </a:cubicBezTo>
                <a:cubicBezTo>
                  <a:pt x="61" y="111"/>
                  <a:pt x="61" y="112"/>
                  <a:pt x="61" y="112"/>
                </a:cubicBezTo>
                <a:close/>
                <a:moveTo>
                  <a:pt x="149" y="61"/>
                </a:moveTo>
                <a:cubicBezTo>
                  <a:pt x="149" y="63"/>
                  <a:pt x="148" y="64"/>
                  <a:pt x="147" y="65"/>
                </a:cubicBezTo>
                <a:cubicBezTo>
                  <a:pt x="95" y="117"/>
                  <a:pt x="95" y="117"/>
                  <a:pt x="95" y="117"/>
                </a:cubicBezTo>
                <a:cubicBezTo>
                  <a:pt x="94" y="118"/>
                  <a:pt x="93" y="118"/>
                  <a:pt x="91" y="118"/>
                </a:cubicBezTo>
                <a:cubicBezTo>
                  <a:pt x="90" y="118"/>
                  <a:pt x="88" y="118"/>
                  <a:pt x="87" y="117"/>
                </a:cubicBezTo>
                <a:cubicBezTo>
                  <a:pt x="86" y="115"/>
                  <a:pt x="85" y="114"/>
                  <a:pt x="85" y="112"/>
                </a:cubicBezTo>
                <a:cubicBezTo>
                  <a:pt x="85" y="85"/>
                  <a:pt x="85" y="85"/>
                  <a:pt x="85" y="85"/>
                </a:cubicBezTo>
                <a:cubicBezTo>
                  <a:pt x="43" y="85"/>
                  <a:pt x="43" y="85"/>
                  <a:pt x="43" y="85"/>
                </a:cubicBezTo>
                <a:cubicBezTo>
                  <a:pt x="41" y="85"/>
                  <a:pt x="40" y="85"/>
                  <a:pt x="39" y="83"/>
                </a:cubicBezTo>
                <a:cubicBezTo>
                  <a:pt x="37" y="82"/>
                  <a:pt x="37" y="81"/>
                  <a:pt x="37" y="79"/>
                </a:cubicBezTo>
                <a:cubicBezTo>
                  <a:pt x="37" y="43"/>
                  <a:pt x="37" y="43"/>
                  <a:pt x="37" y="43"/>
                </a:cubicBezTo>
                <a:cubicBezTo>
                  <a:pt x="37" y="41"/>
                  <a:pt x="37" y="40"/>
                  <a:pt x="39" y="39"/>
                </a:cubicBezTo>
                <a:cubicBezTo>
                  <a:pt x="40" y="37"/>
                  <a:pt x="41" y="37"/>
                  <a:pt x="43" y="37"/>
                </a:cubicBezTo>
                <a:cubicBezTo>
                  <a:pt x="85" y="37"/>
                  <a:pt x="85" y="37"/>
                  <a:pt x="85" y="37"/>
                </a:cubicBezTo>
                <a:cubicBezTo>
                  <a:pt x="85" y="10"/>
                  <a:pt x="85" y="10"/>
                  <a:pt x="85" y="10"/>
                </a:cubicBezTo>
                <a:cubicBezTo>
                  <a:pt x="85" y="8"/>
                  <a:pt x="86" y="6"/>
                  <a:pt x="87" y="5"/>
                </a:cubicBezTo>
                <a:cubicBezTo>
                  <a:pt x="88" y="4"/>
                  <a:pt x="90" y="3"/>
                  <a:pt x="91" y="3"/>
                </a:cubicBezTo>
                <a:cubicBezTo>
                  <a:pt x="93" y="3"/>
                  <a:pt x="94" y="4"/>
                  <a:pt x="95" y="5"/>
                </a:cubicBezTo>
                <a:cubicBezTo>
                  <a:pt x="147" y="57"/>
                  <a:pt x="147" y="57"/>
                  <a:pt x="147" y="57"/>
                </a:cubicBezTo>
                <a:cubicBezTo>
                  <a:pt x="148" y="58"/>
                  <a:pt x="149" y="59"/>
                  <a:pt x="149" y="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7" name="Freeform 137"/>
          <p:cNvSpPr>
            <a:spLocks noChangeAspect="1" noEditPoints="1"/>
          </p:cNvSpPr>
          <p:nvPr/>
        </p:nvSpPr>
        <p:spPr bwMode="auto">
          <a:xfrm>
            <a:off x="4178538" y="2484518"/>
            <a:ext cx="151447" cy="151447"/>
          </a:xfrm>
          <a:custGeom>
            <a:avLst/>
            <a:gdLst>
              <a:gd name="T0" fmla="*/ 146 w 146"/>
              <a:gd name="T1" fmla="*/ 28 h 146"/>
              <a:gd name="T2" fmla="*/ 146 w 146"/>
              <a:gd name="T3" fmla="*/ 118 h 146"/>
              <a:gd name="T4" fmla="*/ 138 w 146"/>
              <a:gd name="T5" fmla="*/ 138 h 146"/>
              <a:gd name="T6" fmla="*/ 118 w 146"/>
              <a:gd name="T7" fmla="*/ 146 h 146"/>
              <a:gd name="T8" fmla="*/ 28 w 146"/>
              <a:gd name="T9" fmla="*/ 146 h 146"/>
              <a:gd name="T10" fmla="*/ 8 w 146"/>
              <a:gd name="T11" fmla="*/ 138 h 146"/>
              <a:gd name="T12" fmla="*/ 0 w 146"/>
              <a:gd name="T13" fmla="*/ 118 h 146"/>
              <a:gd name="T14" fmla="*/ 0 w 146"/>
              <a:gd name="T15" fmla="*/ 28 h 146"/>
              <a:gd name="T16" fmla="*/ 8 w 146"/>
              <a:gd name="T17" fmla="*/ 8 h 146"/>
              <a:gd name="T18" fmla="*/ 28 w 146"/>
              <a:gd name="T19" fmla="*/ 0 h 146"/>
              <a:gd name="T20" fmla="*/ 118 w 146"/>
              <a:gd name="T21" fmla="*/ 0 h 146"/>
              <a:gd name="T22" fmla="*/ 138 w 146"/>
              <a:gd name="T23" fmla="*/ 8 h 146"/>
              <a:gd name="T24" fmla="*/ 146 w 146"/>
              <a:gd name="T25" fmla="*/ 28 h 146"/>
              <a:gd name="T26" fmla="*/ 46 w 146"/>
              <a:gd name="T27" fmla="*/ 36 h 146"/>
              <a:gd name="T28" fmla="*/ 43 w 146"/>
              <a:gd name="T29" fmla="*/ 28 h 146"/>
              <a:gd name="T30" fmla="*/ 34 w 146"/>
              <a:gd name="T31" fmla="*/ 25 h 146"/>
              <a:gd name="T32" fmla="*/ 25 w 146"/>
              <a:gd name="T33" fmla="*/ 28 h 146"/>
              <a:gd name="T34" fmla="*/ 21 w 146"/>
              <a:gd name="T35" fmla="*/ 36 h 146"/>
              <a:gd name="T36" fmla="*/ 25 w 146"/>
              <a:gd name="T37" fmla="*/ 44 h 146"/>
              <a:gd name="T38" fmla="*/ 33 w 146"/>
              <a:gd name="T39" fmla="*/ 47 h 146"/>
              <a:gd name="T40" fmla="*/ 34 w 146"/>
              <a:gd name="T41" fmla="*/ 47 h 146"/>
              <a:gd name="T42" fmla="*/ 43 w 146"/>
              <a:gd name="T43" fmla="*/ 44 h 146"/>
              <a:gd name="T44" fmla="*/ 46 w 146"/>
              <a:gd name="T45" fmla="*/ 36 h 146"/>
              <a:gd name="T46" fmla="*/ 23 w 146"/>
              <a:gd name="T47" fmla="*/ 122 h 146"/>
              <a:gd name="T48" fmla="*/ 45 w 146"/>
              <a:gd name="T49" fmla="*/ 122 h 146"/>
              <a:gd name="T50" fmla="*/ 45 w 146"/>
              <a:gd name="T51" fmla="*/ 56 h 146"/>
              <a:gd name="T52" fmla="*/ 23 w 146"/>
              <a:gd name="T53" fmla="*/ 56 h 146"/>
              <a:gd name="T54" fmla="*/ 23 w 146"/>
              <a:gd name="T55" fmla="*/ 122 h 146"/>
              <a:gd name="T56" fmla="*/ 101 w 146"/>
              <a:gd name="T57" fmla="*/ 122 h 146"/>
              <a:gd name="T58" fmla="*/ 123 w 146"/>
              <a:gd name="T59" fmla="*/ 122 h 146"/>
              <a:gd name="T60" fmla="*/ 123 w 146"/>
              <a:gd name="T61" fmla="*/ 84 h 146"/>
              <a:gd name="T62" fmla="*/ 116 w 146"/>
              <a:gd name="T63" fmla="*/ 62 h 146"/>
              <a:gd name="T64" fmla="*/ 98 w 146"/>
              <a:gd name="T65" fmla="*/ 55 h 146"/>
              <a:gd name="T66" fmla="*/ 78 w 146"/>
              <a:gd name="T67" fmla="*/ 66 h 146"/>
              <a:gd name="T68" fmla="*/ 78 w 146"/>
              <a:gd name="T69" fmla="*/ 66 h 146"/>
              <a:gd name="T70" fmla="*/ 78 w 146"/>
              <a:gd name="T71" fmla="*/ 56 h 146"/>
              <a:gd name="T72" fmla="*/ 57 w 146"/>
              <a:gd name="T73" fmla="*/ 56 h 146"/>
              <a:gd name="T74" fmla="*/ 57 w 146"/>
              <a:gd name="T75" fmla="*/ 122 h 146"/>
              <a:gd name="T76" fmla="*/ 78 w 146"/>
              <a:gd name="T77" fmla="*/ 122 h 146"/>
              <a:gd name="T78" fmla="*/ 78 w 146"/>
              <a:gd name="T79" fmla="*/ 85 h 146"/>
              <a:gd name="T80" fmla="*/ 79 w 146"/>
              <a:gd name="T81" fmla="*/ 80 h 146"/>
              <a:gd name="T82" fmla="*/ 83 w 146"/>
              <a:gd name="T83" fmla="*/ 74 h 146"/>
              <a:gd name="T84" fmla="*/ 90 w 146"/>
              <a:gd name="T85" fmla="*/ 72 h 146"/>
              <a:gd name="T86" fmla="*/ 101 w 146"/>
              <a:gd name="T87" fmla="*/ 87 h 146"/>
              <a:gd name="T88" fmla="*/ 101 w 146"/>
              <a:gd name="T89" fmla="*/ 12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6" h="146">
                <a:moveTo>
                  <a:pt x="146" y="28"/>
                </a:moveTo>
                <a:cubicBezTo>
                  <a:pt x="146" y="118"/>
                  <a:pt x="146" y="118"/>
                  <a:pt x="146" y="118"/>
                </a:cubicBezTo>
                <a:cubicBezTo>
                  <a:pt x="146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6" y="20"/>
                  <a:pt x="146" y="28"/>
                </a:cubicBezTo>
                <a:close/>
                <a:moveTo>
                  <a:pt x="46" y="36"/>
                </a:moveTo>
                <a:cubicBezTo>
                  <a:pt x="46" y="33"/>
                  <a:pt x="45" y="30"/>
                  <a:pt x="43" y="28"/>
                </a:cubicBezTo>
                <a:cubicBezTo>
                  <a:pt x="40" y="26"/>
                  <a:pt x="37" y="25"/>
                  <a:pt x="34" y="25"/>
                </a:cubicBezTo>
                <a:cubicBezTo>
                  <a:pt x="30" y="25"/>
                  <a:pt x="27" y="26"/>
                  <a:pt x="25" y="28"/>
                </a:cubicBezTo>
                <a:cubicBezTo>
                  <a:pt x="23" y="30"/>
                  <a:pt x="21" y="33"/>
                  <a:pt x="21" y="36"/>
                </a:cubicBezTo>
                <a:cubicBezTo>
                  <a:pt x="21" y="39"/>
                  <a:pt x="22" y="42"/>
                  <a:pt x="25" y="44"/>
                </a:cubicBezTo>
                <a:cubicBezTo>
                  <a:pt x="27" y="46"/>
                  <a:pt x="30" y="47"/>
                  <a:pt x="33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7" y="47"/>
                  <a:pt x="40" y="46"/>
                  <a:pt x="43" y="44"/>
                </a:cubicBezTo>
                <a:cubicBezTo>
                  <a:pt x="45" y="42"/>
                  <a:pt x="46" y="39"/>
                  <a:pt x="46" y="36"/>
                </a:cubicBezTo>
                <a:close/>
                <a:moveTo>
                  <a:pt x="23" y="122"/>
                </a:moveTo>
                <a:cubicBezTo>
                  <a:pt x="45" y="122"/>
                  <a:pt x="45" y="122"/>
                  <a:pt x="45" y="122"/>
                </a:cubicBezTo>
                <a:cubicBezTo>
                  <a:pt x="45" y="56"/>
                  <a:pt x="45" y="56"/>
                  <a:pt x="45" y="56"/>
                </a:cubicBezTo>
                <a:cubicBezTo>
                  <a:pt x="23" y="56"/>
                  <a:pt x="23" y="56"/>
                  <a:pt x="23" y="56"/>
                </a:cubicBezTo>
                <a:lnTo>
                  <a:pt x="23" y="122"/>
                </a:lnTo>
                <a:close/>
                <a:moveTo>
                  <a:pt x="101" y="122"/>
                </a:moveTo>
                <a:cubicBezTo>
                  <a:pt x="123" y="122"/>
                  <a:pt x="123" y="122"/>
                  <a:pt x="123" y="122"/>
                </a:cubicBezTo>
                <a:cubicBezTo>
                  <a:pt x="123" y="84"/>
                  <a:pt x="123" y="84"/>
                  <a:pt x="123" y="84"/>
                </a:cubicBezTo>
                <a:cubicBezTo>
                  <a:pt x="123" y="75"/>
                  <a:pt x="121" y="67"/>
                  <a:pt x="116" y="62"/>
                </a:cubicBezTo>
                <a:cubicBezTo>
                  <a:pt x="112" y="57"/>
                  <a:pt x="106" y="55"/>
                  <a:pt x="98" y="55"/>
                </a:cubicBezTo>
                <a:cubicBezTo>
                  <a:pt x="89" y="55"/>
                  <a:pt x="83" y="58"/>
                  <a:pt x="78" y="66"/>
                </a:cubicBezTo>
                <a:cubicBezTo>
                  <a:pt x="78" y="66"/>
                  <a:pt x="78" y="66"/>
                  <a:pt x="78" y="66"/>
                </a:cubicBezTo>
                <a:cubicBezTo>
                  <a:pt x="78" y="56"/>
                  <a:pt x="78" y="56"/>
                  <a:pt x="78" y="56"/>
                </a:cubicBezTo>
                <a:cubicBezTo>
                  <a:pt x="57" y="56"/>
                  <a:pt x="57" y="56"/>
                  <a:pt x="57" y="56"/>
                </a:cubicBezTo>
                <a:cubicBezTo>
                  <a:pt x="57" y="60"/>
                  <a:pt x="57" y="82"/>
                  <a:pt x="57" y="122"/>
                </a:cubicBezTo>
                <a:cubicBezTo>
                  <a:pt x="78" y="122"/>
                  <a:pt x="78" y="122"/>
                  <a:pt x="78" y="122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83"/>
                  <a:pt x="79" y="81"/>
                  <a:pt x="79" y="80"/>
                </a:cubicBezTo>
                <a:cubicBezTo>
                  <a:pt x="80" y="78"/>
                  <a:pt x="81" y="76"/>
                  <a:pt x="83" y="74"/>
                </a:cubicBezTo>
                <a:cubicBezTo>
                  <a:pt x="85" y="73"/>
                  <a:pt x="88" y="72"/>
                  <a:pt x="90" y="72"/>
                </a:cubicBezTo>
                <a:cubicBezTo>
                  <a:pt x="98" y="72"/>
                  <a:pt x="101" y="77"/>
                  <a:pt x="101" y="87"/>
                </a:cubicBezTo>
                <a:lnTo>
                  <a:pt x="101" y="1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8" name="Freeform 138"/>
          <p:cNvSpPr>
            <a:spLocks noChangeAspect="1" noEditPoints="1"/>
          </p:cNvSpPr>
          <p:nvPr/>
        </p:nvSpPr>
        <p:spPr bwMode="auto">
          <a:xfrm>
            <a:off x="4372140" y="2484518"/>
            <a:ext cx="112414" cy="163937"/>
          </a:xfrm>
          <a:custGeom>
            <a:avLst/>
            <a:gdLst>
              <a:gd name="T0" fmla="*/ 109 w 109"/>
              <a:gd name="T1" fmla="*/ 103 h 158"/>
              <a:gd name="T2" fmla="*/ 107 w 109"/>
              <a:gd name="T3" fmla="*/ 107 h 158"/>
              <a:gd name="T4" fmla="*/ 103 w 109"/>
              <a:gd name="T5" fmla="*/ 109 h 158"/>
              <a:gd name="T6" fmla="*/ 62 w 109"/>
              <a:gd name="T7" fmla="*/ 109 h 158"/>
              <a:gd name="T8" fmla="*/ 58 w 109"/>
              <a:gd name="T9" fmla="*/ 155 h 158"/>
              <a:gd name="T10" fmla="*/ 57 w 109"/>
              <a:gd name="T11" fmla="*/ 157 h 158"/>
              <a:gd name="T12" fmla="*/ 55 w 109"/>
              <a:gd name="T13" fmla="*/ 158 h 158"/>
              <a:gd name="T14" fmla="*/ 55 w 109"/>
              <a:gd name="T15" fmla="*/ 158 h 158"/>
              <a:gd name="T16" fmla="*/ 52 w 109"/>
              <a:gd name="T17" fmla="*/ 155 h 158"/>
              <a:gd name="T18" fmla="*/ 44 w 109"/>
              <a:gd name="T19" fmla="*/ 109 h 158"/>
              <a:gd name="T20" fmla="*/ 6 w 109"/>
              <a:gd name="T21" fmla="*/ 109 h 158"/>
              <a:gd name="T22" fmla="*/ 2 w 109"/>
              <a:gd name="T23" fmla="*/ 107 h 158"/>
              <a:gd name="T24" fmla="*/ 0 w 109"/>
              <a:gd name="T25" fmla="*/ 103 h 158"/>
              <a:gd name="T26" fmla="*/ 7 w 109"/>
              <a:gd name="T27" fmla="*/ 82 h 158"/>
              <a:gd name="T28" fmla="*/ 24 w 109"/>
              <a:gd name="T29" fmla="*/ 73 h 158"/>
              <a:gd name="T30" fmla="*/ 24 w 109"/>
              <a:gd name="T31" fmla="*/ 25 h 158"/>
              <a:gd name="T32" fmla="*/ 16 w 109"/>
              <a:gd name="T33" fmla="*/ 21 h 158"/>
              <a:gd name="T34" fmla="*/ 12 w 109"/>
              <a:gd name="T35" fmla="*/ 12 h 158"/>
              <a:gd name="T36" fmla="*/ 16 w 109"/>
              <a:gd name="T37" fmla="*/ 4 h 158"/>
              <a:gd name="T38" fmla="*/ 24 w 109"/>
              <a:gd name="T39" fmla="*/ 0 h 158"/>
              <a:gd name="T40" fmla="*/ 85 w 109"/>
              <a:gd name="T41" fmla="*/ 0 h 158"/>
              <a:gd name="T42" fmla="*/ 93 w 109"/>
              <a:gd name="T43" fmla="*/ 4 h 158"/>
              <a:gd name="T44" fmla="*/ 97 w 109"/>
              <a:gd name="T45" fmla="*/ 12 h 158"/>
              <a:gd name="T46" fmla="*/ 93 w 109"/>
              <a:gd name="T47" fmla="*/ 21 h 158"/>
              <a:gd name="T48" fmla="*/ 85 w 109"/>
              <a:gd name="T49" fmla="*/ 25 h 158"/>
              <a:gd name="T50" fmla="*/ 85 w 109"/>
              <a:gd name="T51" fmla="*/ 73 h 158"/>
              <a:gd name="T52" fmla="*/ 102 w 109"/>
              <a:gd name="T53" fmla="*/ 82 h 158"/>
              <a:gd name="T54" fmla="*/ 109 w 109"/>
              <a:gd name="T55" fmla="*/ 103 h 158"/>
              <a:gd name="T56" fmla="*/ 45 w 109"/>
              <a:gd name="T57" fmla="*/ 70 h 158"/>
              <a:gd name="T58" fmla="*/ 45 w 109"/>
              <a:gd name="T59" fmla="*/ 28 h 158"/>
              <a:gd name="T60" fmla="*/ 45 w 109"/>
              <a:gd name="T61" fmla="*/ 25 h 158"/>
              <a:gd name="T62" fmla="*/ 42 w 109"/>
              <a:gd name="T63" fmla="*/ 25 h 158"/>
              <a:gd name="T64" fmla="*/ 40 w 109"/>
              <a:gd name="T65" fmla="*/ 25 h 158"/>
              <a:gd name="T66" fmla="*/ 39 w 109"/>
              <a:gd name="T67" fmla="*/ 28 h 158"/>
              <a:gd name="T68" fmla="*/ 39 w 109"/>
              <a:gd name="T69" fmla="*/ 70 h 158"/>
              <a:gd name="T70" fmla="*/ 40 w 109"/>
              <a:gd name="T71" fmla="*/ 72 h 158"/>
              <a:gd name="T72" fmla="*/ 42 w 109"/>
              <a:gd name="T73" fmla="*/ 73 h 158"/>
              <a:gd name="T74" fmla="*/ 45 w 109"/>
              <a:gd name="T75" fmla="*/ 72 h 158"/>
              <a:gd name="T76" fmla="*/ 45 w 109"/>
              <a:gd name="T77" fmla="*/ 7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09" h="158">
                <a:moveTo>
                  <a:pt x="109" y="103"/>
                </a:moveTo>
                <a:cubicBezTo>
                  <a:pt x="109" y="105"/>
                  <a:pt x="108" y="106"/>
                  <a:pt x="107" y="107"/>
                </a:cubicBezTo>
                <a:cubicBezTo>
                  <a:pt x="106" y="109"/>
                  <a:pt x="105" y="109"/>
                  <a:pt x="103" y="109"/>
                </a:cubicBezTo>
                <a:cubicBezTo>
                  <a:pt x="62" y="109"/>
                  <a:pt x="62" y="109"/>
                  <a:pt x="62" y="109"/>
                </a:cubicBezTo>
                <a:cubicBezTo>
                  <a:pt x="58" y="155"/>
                  <a:pt x="58" y="155"/>
                  <a:pt x="58" y="155"/>
                </a:cubicBezTo>
                <a:cubicBezTo>
                  <a:pt x="57" y="156"/>
                  <a:pt x="57" y="156"/>
                  <a:pt x="57" y="157"/>
                </a:cubicBezTo>
                <a:cubicBezTo>
                  <a:pt x="56" y="157"/>
                  <a:pt x="55" y="158"/>
                  <a:pt x="55" y="158"/>
                </a:cubicBezTo>
                <a:cubicBezTo>
                  <a:pt x="55" y="158"/>
                  <a:pt x="55" y="158"/>
                  <a:pt x="55" y="158"/>
                </a:cubicBezTo>
                <a:cubicBezTo>
                  <a:pt x="53" y="158"/>
                  <a:pt x="52" y="157"/>
                  <a:pt x="52" y="155"/>
                </a:cubicBezTo>
                <a:cubicBezTo>
                  <a:pt x="44" y="109"/>
                  <a:pt x="44" y="109"/>
                  <a:pt x="44" y="109"/>
                </a:cubicBezTo>
                <a:cubicBezTo>
                  <a:pt x="6" y="109"/>
                  <a:pt x="6" y="109"/>
                  <a:pt x="6" y="109"/>
                </a:cubicBezTo>
                <a:cubicBezTo>
                  <a:pt x="4" y="109"/>
                  <a:pt x="3" y="109"/>
                  <a:pt x="2" y="107"/>
                </a:cubicBezTo>
                <a:cubicBezTo>
                  <a:pt x="1" y="106"/>
                  <a:pt x="0" y="105"/>
                  <a:pt x="0" y="103"/>
                </a:cubicBezTo>
                <a:cubicBezTo>
                  <a:pt x="0" y="95"/>
                  <a:pt x="3" y="88"/>
                  <a:pt x="7" y="82"/>
                </a:cubicBezTo>
                <a:cubicBezTo>
                  <a:pt x="12" y="76"/>
                  <a:pt x="18" y="73"/>
                  <a:pt x="24" y="73"/>
                </a:cubicBezTo>
                <a:cubicBezTo>
                  <a:pt x="24" y="25"/>
                  <a:pt x="24" y="25"/>
                  <a:pt x="24" y="25"/>
                </a:cubicBezTo>
                <a:cubicBezTo>
                  <a:pt x="21" y="25"/>
                  <a:pt x="18" y="23"/>
                  <a:pt x="16" y="21"/>
                </a:cubicBezTo>
                <a:cubicBezTo>
                  <a:pt x="13" y="19"/>
                  <a:pt x="12" y="16"/>
                  <a:pt x="12" y="12"/>
                </a:cubicBezTo>
                <a:cubicBezTo>
                  <a:pt x="12" y="9"/>
                  <a:pt x="13" y="6"/>
                  <a:pt x="16" y="4"/>
                </a:cubicBezTo>
                <a:cubicBezTo>
                  <a:pt x="18" y="2"/>
                  <a:pt x="21" y="0"/>
                  <a:pt x="24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88" y="0"/>
                  <a:pt x="91" y="2"/>
                  <a:pt x="93" y="4"/>
                </a:cubicBezTo>
                <a:cubicBezTo>
                  <a:pt x="96" y="6"/>
                  <a:pt x="97" y="9"/>
                  <a:pt x="97" y="12"/>
                </a:cubicBezTo>
                <a:cubicBezTo>
                  <a:pt x="97" y="16"/>
                  <a:pt x="96" y="19"/>
                  <a:pt x="93" y="21"/>
                </a:cubicBezTo>
                <a:cubicBezTo>
                  <a:pt x="91" y="23"/>
                  <a:pt x="88" y="25"/>
                  <a:pt x="85" y="25"/>
                </a:cubicBezTo>
                <a:cubicBezTo>
                  <a:pt x="85" y="73"/>
                  <a:pt x="85" y="73"/>
                  <a:pt x="85" y="73"/>
                </a:cubicBezTo>
                <a:cubicBezTo>
                  <a:pt x="91" y="73"/>
                  <a:pt x="97" y="76"/>
                  <a:pt x="102" y="82"/>
                </a:cubicBezTo>
                <a:cubicBezTo>
                  <a:pt x="107" y="88"/>
                  <a:pt x="109" y="95"/>
                  <a:pt x="109" y="103"/>
                </a:cubicBezTo>
                <a:close/>
                <a:moveTo>
                  <a:pt x="45" y="70"/>
                </a:moveTo>
                <a:cubicBezTo>
                  <a:pt x="45" y="28"/>
                  <a:pt x="45" y="28"/>
                  <a:pt x="45" y="28"/>
                </a:cubicBezTo>
                <a:cubicBezTo>
                  <a:pt x="45" y="27"/>
                  <a:pt x="45" y="26"/>
                  <a:pt x="45" y="25"/>
                </a:cubicBezTo>
                <a:cubicBezTo>
                  <a:pt x="44" y="25"/>
                  <a:pt x="43" y="25"/>
                  <a:pt x="42" y="25"/>
                </a:cubicBezTo>
                <a:cubicBezTo>
                  <a:pt x="42" y="25"/>
                  <a:pt x="41" y="25"/>
                  <a:pt x="40" y="25"/>
                </a:cubicBezTo>
                <a:cubicBezTo>
                  <a:pt x="40" y="26"/>
                  <a:pt x="39" y="27"/>
                  <a:pt x="39" y="28"/>
                </a:cubicBezTo>
                <a:cubicBezTo>
                  <a:pt x="39" y="70"/>
                  <a:pt x="39" y="70"/>
                  <a:pt x="39" y="70"/>
                </a:cubicBezTo>
                <a:cubicBezTo>
                  <a:pt x="39" y="71"/>
                  <a:pt x="40" y="72"/>
                  <a:pt x="40" y="72"/>
                </a:cubicBezTo>
                <a:cubicBezTo>
                  <a:pt x="41" y="73"/>
                  <a:pt x="42" y="73"/>
                  <a:pt x="42" y="73"/>
                </a:cubicBezTo>
                <a:cubicBezTo>
                  <a:pt x="43" y="73"/>
                  <a:pt x="44" y="73"/>
                  <a:pt x="45" y="72"/>
                </a:cubicBezTo>
                <a:cubicBezTo>
                  <a:pt x="45" y="72"/>
                  <a:pt x="45" y="71"/>
                  <a:pt x="45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39" name="Freeform 139"/>
          <p:cNvSpPr>
            <a:spLocks noChangeAspect="1" noEditPoints="1"/>
          </p:cNvSpPr>
          <p:nvPr/>
        </p:nvSpPr>
        <p:spPr bwMode="auto">
          <a:xfrm>
            <a:off x="4528271" y="2473588"/>
            <a:ext cx="174866" cy="149885"/>
          </a:xfrm>
          <a:custGeom>
            <a:avLst/>
            <a:gdLst>
              <a:gd name="T0" fmla="*/ 133 w 169"/>
              <a:gd name="T1" fmla="*/ 88 h 145"/>
              <a:gd name="T2" fmla="*/ 133 w 169"/>
              <a:gd name="T3" fmla="*/ 118 h 145"/>
              <a:gd name="T4" fmla="*/ 125 w 169"/>
              <a:gd name="T5" fmla="*/ 137 h 145"/>
              <a:gd name="T6" fmla="*/ 105 w 169"/>
              <a:gd name="T7" fmla="*/ 145 h 145"/>
              <a:gd name="T8" fmla="*/ 27 w 169"/>
              <a:gd name="T9" fmla="*/ 145 h 145"/>
              <a:gd name="T10" fmla="*/ 8 w 169"/>
              <a:gd name="T11" fmla="*/ 137 h 145"/>
              <a:gd name="T12" fmla="*/ 0 w 169"/>
              <a:gd name="T13" fmla="*/ 118 h 145"/>
              <a:gd name="T14" fmla="*/ 0 w 169"/>
              <a:gd name="T15" fmla="*/ 40 h 145"/>
              <a:gd name="T16" fmla="*/ 8 w 169"/>
              <a:gd name="T17" fmla="*/ 20 h 145"/>
              <a:gd name="T18" fmla="*/ 27 w 169"/>
              <a:gd name="T19" fmla="*/ 12 h 145"/>
              <a:gd name="T20" fmla="*/ 93 w 169"/>
              <a:gd name="T21" fmla="*/ 12 h 145"/>
              <a:gd name="T22" fmla="*/ 96 w 169"/>
              <a:gd name="T23" fmla="*/ 13 h 145"/>
              <a:gd name="T24" fmla="*/ 96 w 169"/>
              <a:gd name="T25" fmla="*/ 15 h 145"/>
              <a:gd name="T26" fmla="*/ 96 w 169"/>
              <a:gd name="T27" fmla="*/ 21 h 145"/>
              <a:gd name="T28" fmla="*/ 96 w 169"/>
              <a:gd name="T29" fmla="*/ 24 h 145"/>
              <a:gd name="T30" fmla="*/ 93 w 169"/>
              <a:gd name="T31" fmla="*/ 24 h 145"/>
              <a:gd name="T32" fmla="*/ 27 w 169"/>
              <a:gd name="T33" fmla="*/ 24 h 145"/>
              <a:gd name="T34" fmla="*/ 16 w 169"/>
              <a:gd name="T35" fmla="*/ 29 h 145"/>
              <a:gd name="T36" fmla="*/ 12 w 169"/>
              <a:gd name="T37" fmla="*/ 40 h 145"/>
              <a:gd name="T38" fmla="*/ 12 w 169"/>
              <a:gd name="T39" fmla="*/ 118 h 145"/>
              <a:gd name="T40" fmla="*/ 16 w 169"/>
              <a:gd name="T41" fmla="*/ 129 h 145"/>
              <a:gd name="T42" fmla="*/ 27 w 169"/>
              <a:gd name="T43" fmla="*/ 133 h 145"/>
              <a:gd name="T44" fmla="*/ 105 w 169"/>
              <a:gd name="T45" fmla="*/ 133 h 145"/>
              <a:gd name="T46" fmla="*/ 116 w 169"/>
              <a:gd name="T47" fmla="*/ 129 h 145"/>
              <a:gd name="T48" fmla="*/ 121 w 169"/>
              <a:gd name="T49" fmla="*/ 118 h 145"/>
              <a:gd name="T50" fmla="*/ 121 w 169"/>
              <a:gd name="T51" fmla="*/ 88 h 145"/>
              <a:gd name="T52" fmla="*/ 121 w 169"/>
              <a:gd name="T53" fmla="*/ 86 h 145"/>
              <a:gd name="T54" fmla="*/ 124 w 169"/>
              <a:gd name="T55" fmla="*/ 85 h 145"/>
              <a:gd name="T56" fmla="*/ 130 w 169"/>
              <a:gd name="T57" fmla="*/ 85 h 145"/>
              <a:gd name="T58" fmla="*/ 132 w 169"/>
              <a:gd name="T59" fmla="*/ 86 h 145"/>
              <a:gd name="T60" fmla="*/ 133 w 169"/>
              <a:gd name="T61" fmla="*/ 88 h 145"/>
              <a:gd name="T62" fmla="*/ 169 w 169"/>
              <a:gd name="T63" fmla="*/ 6 h 145"/>
              <a:gd name="T64" fmla="*/ 169 w 169"/>
              <a:gd name="T65" fmla="*/ 55 h 145"/>
              <a:gd name="T66" fmla="*/ 167 w 169"/>
              <a:gd name="T67" fmla="*/ 59 h 145"/>
              <a:gd name="T68" fmla="*/ 163 w 169"/>
              <a:gd name="T69" fmla="*/ 61 h 145"/>
              <a:gd name="T70" fmla="*/ 159 w 169"/>
              <a:gd name="T71" fmla="*/ 59 h 145"/>
              <a:gd name="T72" fmla="*/ 142 w 169"/>
              <a:gd name="T73" fmla="*/ 42 h 145"/>
              <a:gd name="T74" fmla="*/ 80 w 169"/>
              <a:gd name="T75" fmla="*/ 104 h 145"/>
              <a:gd name="T76" fmla="*/ 78 w 169"/>
              <a:gd name="T77" fmla="*/ 105 h 145"/>
              <a:gd name="T78" fmla="*/ 76 w 169"/>
              <a:gd name="T79" fmla="*/ 104 h 145"/>
              <a:gd name="T80" fmla="*/ 65 w 169"/>
              <a:gd name="T81" fmla="*/ 93 h 145"/>
              <a:gd name="T82" fmla="*/ 64 w 169"/>
              <a:gd name="T83" fmla="*/ 91 h 145"/>
              <a:gd name="T84" fmla="*/ 65 w 169"/>
              <a:gd name="T85" fmla="*/ 89 h 145"/>
              <a:gd name="T86" fmla="*/ 127 w 169"/>
              <a:gd name="T87" fmla="*/ 27 h 145"/>
              <a:gd name="T88" fmla="*/ 110 w 169"/>
              <a:gd name="T89" fmla="*/ 11 h 145"/>
              <a:gd name="T90" fmla="*/ 108 w 169"/>
              <a:gd name="T91" fmla="*/ 6 h 145"/>
              <a:gd name="T92" fmla="*/ 110 w 169"/>
              <a:gd name="T93" fmla="*/ 2 h 145"/>
              <a:gd name="T94" fmla="*/ 115 w 169"/>
              <a:gd name="T95" fmla="*/ 0 h 145"/>
              <a:gd name="T96" fmla="*/ 163 w 169"/>
              <a:gd name="T97" fmla="*/ 0 h 145"/>
              <a:gd name="T98" fmla="*/ 167 w 169"/>
              <a:gd name="T99" fmla="*/ 2 h 145"/>
              <a:gd name="T100" fmla="*/ 169 w 169"/>
              <a:gd name="T101" fmla="*/ 6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9" h="145">
                <a:moveTo>
                  <a:pt x="133" y="88"/>
                </a:moveTo>
                <a:cubicBezTo>
                  <a:pt x="133" y="118"/>
                  <a:pt x="133" y="118"/>
                  <a:pt x="133" y="118"/>
                </a:cubicBezTo>
                <a:cubicBezTo>
                  <a:pt x="133" y="126"/>
                  <a:pt x="130" y="132"/>
                  <a:pt x="125" y="137"/>
                </a:cubicBezTo>
                <a:cubicBezTo>
                  <a:pt x="119" y="143"/>
                  <a:pt x="113" y="145"/>
                  <a:pt x="105" y="145"/>
                </a:cubicBezTo>
                <a:cubicBezTo>
                  <a:pt x="27" y="145"/>
                  <a:pt x="27" y="145"/>
                  <a:pt x="27" y="145"/>
                </a:cubicBezTo>
                <a:cubicBezTo>
                  <a:pt x="19" y="145"/>
                  <a:pt x="13" y="143"/>
                  <a:pt x="8" y="137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2"/>
                  <a:pt x="2" y="26"/>
                  <a:pt x="8" y="20"/>
                </a:cubicBezTo>
                <a:cubicBezTo>
                  <a:pt x="13" y="15"/>
                  <a:pt x="19" y="12"/>
                  <a:pt x="27" y="12"/>
                </a:cubicBezTo>
                <a:cubicBezTo>
                  <a:pt x="93" y="12"/>
                  <a:pt x="93" y="12"/>
                  <a:pt x="93" y="12"/>
                </a:cubicBezTo>
                <a:cubicBezTo>
                  <a:pt x="94" y="12"/>
                  <a:pt x="95" y="13"/>
                  <a:pt x="96" y="13"/>
                </a:cubicBezTo>
                <a:cubicBezTo>
                  <a:pt x="96" y="14"/>
                  <a:pt x="96" y="14"/>
                  <a:pt x="96" y="15"/>
                </a:cubicBezTo>
                <a:cubicBezTo>
                  <a:pt x="96" y="21"/>
                  <a:pt x="96" y="21"/>
                  <a:pt x="96" y="21"/>
                </a:cubicBezTo>
                <a:cubicBezTo>
                  <a:pt x="96" y="22"/>
                  <a:pt x="96" y="23"/>
                  <a:pt x="96" y="24"/>
                </a:cubicBezTo>
                <a:cubicBezTo>
                  <a:pt x="95" y="24"/>
                  <a:pt x="94" y="24"/>
                  <a:pt x="93" y="24"/>
                </a:cubicBezTo>
                <a:cubicBezTo>
                  <a:pt x="27" y="24"/>
                  <a:pt x="27" y="24"/>
                  <a:pt x="27" y="24"/>
                </a:cubicBezTo>
                <a:cubicBezTo>
                  <a:pt x="23" y="24"/>
                  <a:pt x="19" y="26"/>
                  <a:pt x="16" y="29"/>
                </a:cubicBezTo>
                <a:cubicBezTo>
                  <a:pt x="13" y="32"/>
                  <a:pt x="12" y="35"/>
                  <a:pt x="12" y="40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22"/>
                  <a:pt x="13" y="126"/>
                  <a:pt x="16" y="129"/>
                </a:cubicBezTo>
                <a:cubicBezTo>
                  <a:pt x="19" y="132"/>
                  <a:pt x="23" y="133"/>
                  <a:pt x="27" y="133"/>
                </a:cubicBezTo>
                <a:cubicBezTo>
                  <a:pt x="105" y="133"/>
                  <a:pt x="105" y="133"/>
                  <a:pt x="105" y="133"/>
                </a:cubicBezTo>
                <a:cubicBezTo>
                  <a:pt x="110" y="133"/>
                  <a:pt x="113" y="132"/>
                  <a:pt x="116" y="129"/>
                </a:cubicBezTo>
                <a:cubicBezTo>
                  <a:pt x="119" y="126"/>
                  <a:pt x="121" y="122"/>
                  <a:pt x="121" y="118"/>
                </a:cubicBezTo>
                <a:cubicBezTo>
                  <a:pt x="121" y="88"/>
                  <a:pt x="121" y="88"/>
                  <a:pt x="121" y="88"/>
                </a:cubicBezTo>
                <a:cubicBezTo>
                  <a:pt x="121" y="87"/>
                  <a:pt x="121" y="86"/>
                  <a:pt x="121" y="86"/>
                </a:cubicBezTo>
                <a:cubicBezTo>
                  <a:pt x="122" y="85"/>
                  <a:pt x="123" y="85"/>
                  <a:pt x="124" y="85"/>
                </a:cubicBezTo>
                <a:cubicBezTo>
                  <a:pt x="130" y="85"/>
                  <a:pt x="130" y="85"/>
                  <a:pt x="130" y="85"/>
                </a:cubicBezTo>
                <a:cubicBezTo>
                  <a:pt x="131" y="85"/>
                  <a:pt x="131" y="85"/>
                  <a:pt x="132" y="86"/>
                </a:cubicBezTo>
                <a:cubicBezTo>
                  <a:pt x="132" y="86"/>
                  <a:pt x="133" y="87"/>
                  <a:pt x="133" y="88"/>
                </a:cubicBezTo>
                <a:close/>
                <a:moveTo>
                  <a:pt x="169" y="6"/>
                </a:moveTo>
                <a:cubicBezTo>
                  <a:pt x="169" y="55"/>
                  <a:pt x="169" y="55"/>
                  <a:pt x="169" y="55"/>
                </a:cubicBezTo>
                <a:cubicBezTo>
                  <a:pt x="169" y="56"/>
                  <a:pt x="168" y="58"/>
                  <a:pt x="167" y="59"/>
                </a:cubicBezTo>
                <a:cubicBezTo>
                  <a:pt x="166" y="60"/>
                  <a:pt x="165" y="61"/>
                  <a:pt x="163" y="61"/>
                </a:cubicBezTo>
                <a:cubicBezTo>
                  <a:pt x="161" y="61"/>
                  <a:pt x="160" y="60"/>
                  <a:pt x="159" y="59"/>
                </a:cubicBezTo>
                <a:cubicBezTo>
                  <a:pt x="142" y="42"/>
                  <a:pt x="142" y="42"/>
                  <a:pt x="142" y="42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80" y="105"/>
                  <a:pt x="79" y="105"/>
                  <a:pt x="78" y="105"/>
                </a:cubicBezTo>
                <a:cubicBezTo>
                  <a:pt x="77" y="105"/>
                  <a:pt x="77" y="105"/>
                  <a:pt x="76" y="104"/>
                </a:cubicBezTo>
                <a:cubicBezTo>
                  <a:pt x="65" y="93"/>
                  <a:pt x="65" y="93"/>
                  <a:pt x="65" y="93"/>
                </a:cubicBezTo>
                <a:cubicBezTo>
                  <a:pt x="65" y="93"/>
                  <a:pt x="64" y="92"/>
                  <a:pt x="64" y="91"/>
                </a:cubicBezTo>
                <a:cubicBezTo>
                  <a:pt x="64" y="90"/>
                  <a:pt x="65" y="89"/>
                  <a:pt x="65" y="89"/>
                </a:cubicBezTo>
                <a:cubicBezTo>
                  <a:pt x="127" y="27"/>
                  <a:pt x="127" y="27"/>
                  <a:pt x="127" y="27"/>
                </a:cubicBezTo>
                <a:cubicBezTo>
                  <a:pt x="110" y="11"/>
                  <a:pt x="110" y="11"/>
                  <a:pt x="110" y="11"/>
                </a:cubicBezTo>
                <a:cubicBezTo>
                  <a:pt x="109" y="9"/>
                  <a:pt x="108" y="8"/>
                  <a:pt x="108" y="6"/>
                </a:cubicBezTo>
                <a:cubicBezTo>
                  <a:pt x="108" y="5"/>
                  <a:pt x="109" y="3"/>
                  <a:pt x="110" y="2"/>
                </a:cubicBezTo>
                <a:cubicBezTo>
                  <a:pt x="111" y="1"/>
                  <a:pt x="113" y="0"/>
                  <a:pt x="115" y="0"/>
                </a:cubicBezTo>
                <a:cubicBezTo>
                  <a:pt x="163" y="0"/>
                  <a:pt x="163" y="0"/>
                  <a:pt x="163" y="0"/>
                </a:cubicBezTo>
                <a:cubicBezTo>
                  <a:pt x="165" y="0"/>
                  <a:pt x="166" y="1"/>
                  <a:pt x="167" y="2"/>
                </a:cubicBezTo>
                <a:cubicBezTo>
                  <a:pt x="168" y="3"/>
                  <a:pt x="169" y="5"/>
                  <a:pt x="169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0" name="Freeform 140"/>
          <p:cNvSpPr>
            <a:spLocks noChangeAspect="1" noEditPoints="1"/>
          </p:cNvSpPr>
          <p:nvPr/>
        </p:nvSpPr>
        <p:spPr bwMode="auto">
          <a:xfrm>
            <a:off x="4746854" y="2497008"/>
            <a:ext cx="149885" cy="126466"/>
          </a:xfrm>
          <a:custGeom>
            <a:avLst/>
            <a:gdLst>
              <a:gd name="T0" fmla="*/ 111 w 145"/>
              <a:gd name="T1" fmla="*/ 61 h 121"/>
              <a:gd name="T2" fmla="*/ 110 w 145"/>
              <a:gd name="T3" fmla="*/ 65 h 121"/>
              <a:gd name="T4" fmla="*/ 58 w 145"/>
              <a:gd name="T5" fmla="*/ 117 h 121"/>
              <a:gd name="T6" fmla="*/ 54 w 145"/>
              <a:gd name="T7" fmla="*/ 118 h 121"/>
              <a:gd name="T8" fmla="*/ 50 w 145"/>
              <a:gd name="T9" fmla="*/ 117 h 121"/>
              <a:gd name="T10" fmla="*/ 48 w 145"/>
              <a:gd name="T11" fmla="*/ 112 h 121"/>
              <a:gd name="T12" fmla="*/ 48 w 145"/>
              <a:gd name="T13" fmla="*/ 85 h 121"/>
              <a:gd name="T14" fmla="*/ 6 w 145"/>
              <a:gd name="T15" fmla="*/ 85 h 121"/>
              <a:gd name="T16" fmla="*/ 1 w 145"/>
              <a:gd name="T17" fmla="*/ 83 h 121"/>
              <a:gd name="T18" fmla="*/ 0 w 145"/>
              <a:gd name="T19" fmla="*/ 79 h 121"/>
              <a:gd name="T20" fmla="*/ 0 w 145"/>
              <a:gd name="T21" fmla="*/ 43 h 121"/>
              <a:gd name="T22" fmla="*/ 1 w 145"/>
              <a:gd name="T23" fmla="*/ 39 h 121"/>
              <a:gd name="T24" fmla="*/ 6 w 145"/>
              <a:gd name="T25" fmla="*/ 37 h 121"/>
              <a:gd name="T26" fmla="*/ 48 w 145"/>
              <a:gd name="T27" fmla="*/ 37 h 121"/>
              <a:gd name="T28" fmla="*/ 48 w 145"/>
              <a:gd name="T29" fmla="*/ 10 h 121"/>
              <a:gd name="T30" fmla="*/ 50 w 145"/>
              <a:gd name="T31" fmla="*/ 5 h 121"/>
              <a:gd name="T32" fmla="*/ 54 w 145"/>
              <a:gd name="T33" fmla="*/ 3 h 121"/>
              <a:gd name="T34" fmla="*/ 58 w 145"/>
              <a:gd name="T35" fmla="*/ 5 h 121"/>
              <a:gd name="T36" fmla="*/ 110 w 145"/>
              <a:gd name="T37" fmla="*/ 57 h 121"/>
              <a:gd name="T38" fmla="*/ 111 w 145"/>
              <a:gd name="T39" fmla="*/ 61 h 121"/>
              <a:gd name="T40" fmla="*/ 145 w 145"/>
              <a:gd name="T41" fmla="*/ 28 h 121"/>
              <a:gd name="T42" fmla="*/ 145 w 145"/>
              <a:gd name="T43" fmla="*/ 94 h 121"/>
              <a:gd name="T44" fmla="*/ 137 w 145"/>
              <a:gd name="T45" fmla="*/ 113 h 121"/>
              <a:gd name="T46" fmla="*/ 118 w 145"/>
              <a:gd name="T47" fmla="*/ 121 h 121"/>
              <a:gd name="T48" fmla="*/ 87 w 145"/>
              <a:gd name="T49" fmla="*/ 121 h 121"/>
              <a:gd name="T50" fmla="*/ 85 w 145"/>
              <a:gd name="T51" fmla="*/ 121 h 121"/>
              <a:gd name="T52" fmla="*/ 84 w 145"/>
              <a:gd name="T53" fmla="*/ 118 h 121"/>
              <a:gd name="T54" fmla="*/ 84 w 145"/>
              <a:gd name="T55" fmla="*/ 117 h 121"/>
              <a:gd name="T56" fmla="*/ 84 w 145"/>
              <a:gd name="T57" fmla="*/ 114 h 121"/>
              <a:gd name="T58" fmla="*/ 84 w 145"/>
              <a:gd name="T59" fmla="*/ 112 h 121"/>
              <a:gd name="T60" fmla="*/ 85 w 145"/>
              <a:gd name="T61" fmla="*/ 110 h 121"/>
              <a:gd name="T62" fmla="*/ 87 w 145"/>
              <a:gd name="T63" fmla="*/ 109 h 121"/>
              <a:gd name="T64" fmla="*/ 118 w 145"/>
              <a:gd name="T65" fmla="*/ 109 h 121"/>
              <a:gd name="T66" fmla="*/ 128 w 145"/>
              <a:gd name="T67" fmla="*/ 105 h 121"/>
              <a:gd name="T68" fmla="*/ 133 w 145"/>
              <a:gd name="T69" fmla="*/ 94 h 121"/>
              <a:gd name="T70" fmla="*/ 133 w 145"/>
              <a:gd name="T71" fmla="*/ 28 h 121"/>
              <a:gd name="T72" fmla="*/ 128 w 145"/>
              <a:gd name="T73" fmla="*/ 17 h 121"/>
              <a:gd name="T74" fmla="*/ 118 w 145"/>
              <a:gd name="T75" fmla="*/ 13 h 121"/>
              <a:gd name="T76" fmla="*/ 90 w 145"/>
              <a:gd name="T77" fmla="*/ 13 h 121"/>
              <a:gd name="T78" fmla="*/ 89 w 145"/>
              <a:gd name="T79" fmla="*/ 13 h 121"/>
              <a:gd name="T80" fmla="*/ 88 w 145"/>
              <a:gd name="T81" fmla="*/ 13 h 121"/>
              <a:gd name="T82" fmla="*/ 87 w 145"/>
              <a:gd name="T83" fmla="*/ 12 h 121"/>
              <a:gd name="T84" fmla="*/ 86 w 145"/>
              <a:gd name="T85" fmla="*/ 12 h 121"/>
              <a:gd name="T86" fmla="*/ 85 w 145"/>
              <a:gd name="T87" fmla="*/ 12 h 121"/>
              <a:gd name="T88" fmla="*/ 84 w 145"/>
              <a:gd name="T89" fmla="*/ 11 h 121"/>
              <a:gd name="T90" fmla="*/ 84 w 145"/>
              <a:gd name="T91" fmla="*/ 10 h 121"/>
              <a:gd name="T92" fmla="*/ 84 w 145"/>
              <a:gd name="T93" fmla="*/ 8 h 121"/>
              <a:gd name="T94" fmla="*/ 84 w 145"/>
              <a:gd name="T95" fmla="*/ 5 h 121"/>
              <a:gd name="T96" fmla="*/ 84 w 145"/>
              <a:gd name="T97" fmla="*/ 3 h 121"/>
              <a:gd name="T98" fmla="*/ 85 w 145"/>
              <a:gd name="T99" fmla="*/ 1 h 121"/>
              <a:gd name="T100" fmla="*/ 87 w 145"/>
              <a:gd name="T101" fmla="*/ 0 h 121"/>
              <a:gd name="T102" fmla="*/ 118 w 145"/>
              <a:gd name="T103" fmla="*/ 0 h 121"/>
              <a:gd name="T104" fmla="*/ 137 w 145"/>
              <a:gd name="T105" fmla="*/ 8 h 121"/>
              <a:gd name="T106" fmla="*/ 145 w 145"/>
              <a:gd name="T107" fmla="*/ 2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5" h="121">
                <a:moveTo>
                  <a:pt x="111" y="61"/>
                </a:moveTo>
                <a:cubicBezTo>
                  <a:pt x="111" y="63"/>
                  <a:pt x="111" y="64"/>
                  <a:pt x="110" y="65"/>
                </a:cubicBezTo>
                <a:cubicBezTo>
                  <a:pt x="58" y="117"/>
                  <a:pt x="58" y="117"/>
                  <a:pt x="58" y="117"/>
                </a:cubicBezTo>
                <a:cubicBezTo>
                  <a:pt x="57" y="118"/>
                  <a:pt x="56" y="118"/>
                  <a:pt x="54" y="118"/>
                </a:cubicBezTo>
                <a:cubicBezTo>
                  <a:pt x="52" y="118"/>
                  <a:pt x="51" y="118"/>
                  <a:pt x="50" y="117"/>
                </a:cubicBezTo>
                <a:cubicBezTo>
                  <a:pt x="49" y="115"/>
                  <a:pt x="48" y="114"/>
                  <a:pt x="48" y="112"/>
                </a:cubicBezTo>
                <a:cubicBezTo>
                  <a:pt x="48" y="85"/>
                  <a:pt x="48" y="85"/>
                  <a:pt x="48" y="85"/>
                </a:cubicBezTo>
                <a:cubicBezTo>
                  <a:pt x="6" y="85"/>
                  <a:pt x="6" y="85"/>
                  <a:pt x="6" y="85"/>
                </a:cubicBezTo>
                <a:cubicBezTo>
                  <a:pt x="4" y="85"/>
                  <a:pt x="3" y="85"/>
                  <a:pt x="1" y="83"/>
                </a:cubicBezTo>
                <a:cubicBezTo>
                  <a:pt x="0" y="82"/>
                  <a:pt x="0" y="81"/>
                  <a:pt x="0" y="79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1"/>
                  <a:pt x="0" y="40"/>
                  <a:pt x="1" y="39"/>
                </a:cubicBezTo>
                <a:cubicBezTo>
                  <a:pt x="3" y="37"/>
                  <a:pt x="4" y="37"/>
                  <a:pt x="6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10"/>
                  <a:pt x="48" y="10"/>
                  <a:pt x="48" y="10"/>
                </a:cubicBezTo>
                <a:cubicBezTo>
                  <a:pt x="48" y="8"/>
                  <a:pt x="49" y="6"/>
                  <a:pt x="50" y="5"/>
                </a:cubicBezTo>
                <a:cubicBezTo>
                  <a:pt x="51" y="4"/>
                  <a:pt x="52" y="3"/>
                  <a:pt x="54" y="3"/>
                </a:cubicBezTo>
                <a:cubicBezTo>
                  <a:pt x="56" y="3"/>
                  <a:pt x="57" y="4"/>
                  <a:pt x="58" y="5"/>
                </a:cubicBezTo>
                <a:cubicBezTo>
                  <a:pt x="110" y="57"/>
                  <a:pt x="110" y="57"/>
                  <a:pt x="110" y="57"/>
                </a:cubicBezTo>
                <a:cubicBezTo>
                  <a:pt x="111" y="58"/>
                  <a:pt x="111" y="59"/>
                  <a:pt x="111" y="61"/>
                </a:cubicBezTo>
                <a:close/>
                <a:moveTo>
                  <a:pt x="145" y="28"/>
                </a:moveTo>
                <a:cubicBezTo>
                  <a:pt x="145" y="94"/>
                  <a:pt x="145" y="94"/>
                  <a:pt x="145" y="94"/>
                </a:cubicBezTo>
                <a:cubicBezTo>
                  <a:pt x="145" y="102"/>
                  <a:pt x="142" y="108"/>
                  <a:pt x="137" y="113"/>
                </a:cubicBezTo>
                <a:cubicBezTo>
                  <a:pt x="131" y="119"/>
                  <a:pt x="125" y="121"/>
                  <a:pt x="118" y="121"/>
                </a:cubicBezTo>
                <a:cubicBezTo>
                  <a:pt x="87" y="121"/>
                  <a:pt x="87" y="121"/>
                  <a:pt x="87" y="121"/>
                </a:cubicBezTo>
                <a:cubicBezTo>
                  <a:pt x="86" y="121"/>
                  <a:pt x="86" y="121"/>
                  <a:pt x="85" y="121"/>
                </a:cubicBezTo>
                <a:cubicBezTo>
                  <a:pt x="85" y="120"/>
                  <a:pt x="84" y="119"/>
                  <a:pt x="84" y="118"/>
                </a:cubicBezTo>
                <a:cubicBezTo>
                  <a:pt x="84" y="118"/>
                  <a:pt x="84" y="118"/>
                  <a:pt x="84" y="117"/>
                </a:cubicBezTo>
                <a:cubicBezTo>
                  <a:pt x="84" y="116"/>
                  <a:pt x="84" y="115"/>
                  <a:pt x="84" y="114"/>
                </a:cubicBezTo>
                <a:cubicBezTo>
                  <a:pt x="84" y="113"/>
                  <a:pt x="84" y="113"/>
                  <a:pt x="84" y="112"/>
                </a:cubicBezTo>
                <a:cubicBezTo>
                  <a:pt x="85" y="111"/>
                  <a:pt x="85" y="110"/>
                  <a:pt x="85" y="110"/>
                </a:cubicBezTo>
                <a:cubicBezTo>
                  <a:pt x="86" y="110"/>
                  <a:pt x="86" y="109"/>
                  <a:pt x="87" y="109"/>
                </a:cubicBezTo>
                <a:cubicBezTo>
                  <a:pt x="118" y="109"/>
                  <a:pt x="118" y="109"/>
                  <a:pt x="118" y="109"/>
                </a:cubicBezTo>
                <a:cubicBezTo>
                  <a:pt x="122" y="109"/>
                  <a:pt x="125" y="108"/>
                  <a:pt x="128" y="105"/>
                </a:cubicBezTo>
                <a:cubicBezTo>
                  <a:pt x="131" y="102"/>
                  <a:pt x="133" y="98"/>
                  <a:pt x="133" y="94"/>
                </a:cubicBezTo>
                <a:cubicBezTo>
                  <a:pt x="133" y="28"/>
                  <a:pt x="133" y="28"/>
                  <a:pt x="133" y="28"/>
                </a:cubicBezTo>
                <a:cubicBezTo>
                  <a:pt x="133" y="24"/>
                  <a:pt x="131" y="20"/>
                  <a:pt x="128" y="17"/>
                </a:cubicBezTo>
                <a:cubicBezTo>
                  <a:pt x="125" y="14"/>
                  <a:pt x="122" y="13"/>
                  <a:pt x="118" y="13"/>
                </a:cubicBezTo>
                <a:cubicBezTo>
                  <a:pt x="90" y="13"/>
                  <a:pt x="90" y="13"/>
                  <a:pt x="90" y="13"/>
                </a:cubicBezTo>
                <a:cubicBezTo>
                  <a:pt x="90" y="13"/>
                  <a:pt x="90" y="13"/>
                  <a:pt x="89" y="13"/>
                </a:cubicBezTo>
                <a:cubicBezTo>
                  <a:pt x="89" y="13"/>
                  <a:pt x="88" y="13"/>
                  <a:pt x="88" y="13"/>
                </a:cubicBezTo>
                <a:cubicBezTo>
                  <a:pt x="88" y="13"/>
                  <a:pt x="87" y="13"/>
                  <a:pt x="87" y="12"/>
                </a:cubicBezTo>
                <a:cubicBezTo>
                  <a:pt x="86" y="12"/>
                  <a:pt x="86" y="12"/>
                  <a:pt x="86" y="12"/>
                </a:cubicBezTo>
                <a:cubicBezTo>
                  <a:pt x="86" y="12"/>
                  <a:pt x="85" y="12"/>
                  <a:pt x="85" y="12"/>
                </a:cubicBezTo>
                <a:cubicBezTo>
                  <a:pt x="85" y="11"/>
                  <a:pt x="85" y="11"/>
                  <a:pt x="84" y="11"/>
                </a:cubicBezTo>
                <a:cubicBezTo>
                  <a:pt x="84" y="10"/>
                  <a:pt x="84" y="10"/>
                  <a:pt x="84" y="10"/>
                </a:cubicBezTo>
                <a:cubicBezTo>
                  <a:pt x="84" y="9"/>
                  <a:pt x="84" y="9"/>
                  <a:pt x="84" y="8"/>
                </a:cubicBezTo>
                <a:cubicBezTo>
                  <a:pt x="84" y="7"/>
                  <a:pt x="84" y="6"/>
                  <a:pt x="84" y="5"/>
                </a:cubicBezTo>
                <a:cubicBezTo>
                  <a:pt x="84" y="4"/>
                  <a:pt x="84" y="4"/>
                  <a:pt x="84" y="3"/>
                </a:cubicBezTo>
                <a:cubicBezTo>
                  <a:pt x="85" y="2"/>
                  <a:pt x="85" y="1"/>
                  <a:pt x="85" y="1"/>
                </a:cubicBezTo>
                <a:cubicBezTo>
                  <a:pt x="86" y="1"/>
                  <a:pt x="86" y="0"/>
                  <a:pt x="8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1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1" name="Freeform 141"/>
          <p:cNvSpPr>
            <a:spLocks noChangeAspect="1" noEditPoints="1"/>
          </p:cNvSpPr>
          <p:nvPr/>
        </p:nvSpPr>
        <p:spPr bwMode="auto">
          <a:xfrm>
            <a:off x="4938895" y="2484518"/>
            <a:ext cx="163937" cy="151447"/>
          </a:xfrm>
          <a:custGeom>
            <a:avLst/>
            <a:gdLst>
              <a:gd name="T0" fmla="*/ 158 w 158"/>
              <a:gd name="T1" fmla="*/ 34 h 146"/>
              <a:gd name="T2" fmla="*/ 158 w 158"/>
              <a:gd name="T3" fmla="*/ 46 h 146"/>
              <a:gd name="T4" fmla="*/ 154 w 158"/>
              <a:gd name="T5" fmla="*/ 59 h 146"/>
              <a:gd name="T6" fmla="*/ 143 w 158"/>
              <a:gd name="T7" fmla="*/ 72 h 146"/>
              <a:gd name="T8" fmla="*/ 127 w 158"/>
              <a:gd name="T9" fmla="*/ 81 h 146"/>
              <a:gd name="T10" fmla="*/ 106 w 158"/>
              <a:gd name="T11" fmla="*/ 85 h 146"/>
              <a:gd name="T12" fmla="*/ 97 w 158"/>
              <a:gd name="T13" fmla="*/ 94 h 146"/>
              <a:gd name="T14" fmla="*/ 92 w 158"/>
              <a:gd name="T15" fmla="*/ 101 h 146"/>
              <a:gd name="T16" fmla="*/ 91 w 158"/>
              <a:gd name="T17" fmla="*/ 109 h 146"/>
              <a:gd name="T18" fmla="*/ 94 w 158"/>
              <a:gd name="T19" fmla="*/ 118 h 146"/>
              <a:gd name="T20" fmla="*/ 103 w 158"/>
              <a:gd name="T21" fmla="*/ 121 h 146"/>
              <a:gd name="T22" fmla="*/ 116 w 158"/>
              <a:gd name="T23" fmla="*/ 126 h 146"/>
              <a:gd name="T24" fmla="*/ 121 w 158"/>
              <a:gd name="T25" fmla="*/ 136 h 146"/>
              <a:gd name="T26" fmla="*/ 121 w 158"/>
              <a:gd name="T27" fmla="*/ 143 h 146"/>
              <a:gd name="T28" fmla="*/ 120 w 158"/>
              <a:gd name="T29" fmla="*/ 145 h 146"/>
              <a:gd name="T30" fmla="*/ 118 w 158"/>
              <a:gd name="T31" fmla="*/ 146 h 146"/>
              <a:gd name="T32" fmla="*/ 40 w 158"/>
              <a:gd name="T33" fmla="*/ 146 h 146"/>
              <a:gd name="T34" fmla="*/ 37 w 158"/>
              <a:gd name="T35" fmla="*/ 145 h 146"/>
              <a:gd name="T36" fmla="*/ 37 w 158"/>
              <a:gd name="T37" fmla="*/ 143 h 146"/>
              <a:gd name="T38" fmla="*/ 37 w 158"/>
              <a:gd name="T39" fmla="*/ 136 h 146"/>
              <a:gd name="T40" fmla="*/ 42 w 158"/>
              <a:gd name="T41" fmla="*/ 126 h 146"/>
              <a:gd name="T42" fmla="*/ 55 w 158"/>
              <a:gd name="T43" fmla="*/ 121 h 146"/>
              <a:gd name="T44" fmla="*/ 64 w 158"/>
              <a:gd name="T45" fmla="*/ 118 h 146"/>
              <a:gd name="T46" fmla="*/ 67 w 158"/>
              <a:gd name="T47" fmla="*/ 109 h 146"/>
              <a:gd name="T48" fmla="*/ 65 w 158"/>
              <a:gd name="T49" fmla="*/ 101 h 146"/>
              <a:gd name="T50" fmla="*/ 61 w 158"/>
              <a:gd name="T51" fmla="*/ 94 h 146"/>
              <a:gd name="T52" fmla="*/ 52 w 158"/>
              <a:gd name="T53" fmla="*/ 85 h 146"/>
              <a:gd name="T54" fmla="*/ 31 w 158"/>
              <a:gd name="T55" fmla="*/ 81 h 146"/>
              <a:gd name="T56" fmla="*/ 15 w 158"/>
              <a:gd name="T57" fmla="*/ 72 h 146"/>
              <a:gd name="T58" fmla="*/ 4 w 158"/>
              <a:gd name="T59" fmla="*/ 59 h 146"/>
              <a:gd name="T60" fmla="*/ 0 w 158"/>
              <a:gd name="T61" fmla="*/ 46 h 146"/>
              <a:gd name="T62" fmla="*/ 0 w 158"/>
              <a:gd name="T63" fmla="*/ 34 h 146"/>
              <a:gd name="T64" fmla="*/ 3 w 158"/>
              <a:gd name="T65" fmla="*/ 27 h 146"/>
              <a:gd name="T66" fmla="*/ 9 w 158"/>
              <a:gd name="T67" fmla="*/ 25 h 146"/>
              <a:gd name="T68" fmla="*/ 37 w 158"/>
              <a:gd name="T69" fmla="*/ 25 h 146"/>
              <a:gd name="T70" fmla="*/ 37 w 158"/>
              <a:gd name="T71" fmla="*/ 15 h 146"/>
              <a:gd name="T72" fmla="*/ 41 w 158"/>
              <a:gd name="T73" fmla="*/ 5 h 146"/>
              <a:gd name="T74" fmla="*/ 52 w 158"/>
              <a:gd name="T75" fmla="*/ 0 h 146"/>
              <a:gd name="T76" fmla="*/ 106 w 158"/>
              <a:gd name="T77" fmla="*/ 0 h 146"/>
              <a:gd name="T78" fmla="*/ 117 w 158"/>
              <a:gd name="T79" fmla="*/ 5 h 146"/>
              <a:gd name="T80" fmla="*/ 121 w 158"/>
              <a:gd name="T81" fmla="*/ 15 h 146"/>
              <a:gd name="T82" fmla="*/ 121 w 158"/>
              <a:gd name="T83" fmla="*/ 25 h 146"/>
              <a:gd name="T84" fmla="*/ 149 w 158"/>
              <a:gd name="T85" fmla="*/ 25 h 146"/>
              <a:gd name="T86" fmla="*/ 155 w 158"/>
              <a:gd name="T87" fmla="*/ 27 h 146"/>
              <a:gd name="T88" fmla="*/ 158 w 158"/>
              <a:gd name="T89" fmla="*/ 34 h 146"/>
              <a:gd name="T90" fmla="*/ 44 w 158"/>
              <a:gd name="T91" fmla="*/ 72 h 146"/>
              <a:gd name="T92" fmla="*/ 37 w 158"/>
              <a:gd name="T93" fmla="*/ 37 h 146"/>
              <a:gd name="T94" fmla="*/ 12 w 158"/>
              <a:gd name="T95" fmla="*/ 37 h 146"/>
              <a:gd name="T96" fmla="*/ 12 w 158"/>
              <a:gd name="T97" fmla="*/ 46 h 146"/>
              <a:gd name="T98" fmla="*/ 21 w 158"/>
              <a:gd name="T99" fmla="*/ 61 h 146"/>
              <a:gd name="T100" fmla="*/ 44 w 158"/>
              <a:gd name="T101" fmla="*/ 72 h 146"/>
              <a:gd name="T102" fmla="*/ 146 w 158"/>
              <a:gd name="T103" fmla="*/ 46 h 146"/>
              <a:gd name="T104" fmla="*/ 146 w 158"/>
              <a:gd name="T105" fmla="*/ 37 h 146"/>
              <a:gd name="T106" fmla="*/ 121 w 158"/>
              <a:gd name="T107" fmla="*/ 37 h 146"/>
              <a:gd name="T108" fmla="*/ 114 w 158"/>
              <a:gd name="T109" fmla="*/ 72 h 146"/>
              <a:gd name="T110" fmla="*/ 137 w 158"/>
              <a:gd name="T111" fmla="*/ 61 h 146"/>
              <a:gd name="T112" fmla="*/ 146 w 158"/>
              <a:gd name="T113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8" h="146">
                <a:moveTo>
                  <a:pt x="158" y="34"/>
                </a:moveTo>
                <a:cubicBezTo>
                  <a:pt x="158" y="46"/>
                  <a:pt x="158" y="46"/>
                  <a:pt x="158" y="46"/>
                </a:cubicBezTo>
                <a:cubicBezTo>
                  <a:pt x="158" y="50"/>
                  <a:pt x="156" y="55"/>
                  <a:pt x="154" y="59"/>
                </a:cubicBezTo>
                <a:cubicBezTo>
                  <a:pt x="151" y="64"/>
                  <a:pt x="148" y="68"/>
                  <a:pt x="143" y="72"/>
                </a:cubicBezTo>
                <a:cubicBezTo>
                  <a:pt x="139" y="75"/>
                  <a:pt x="133" y="78"/>
                  <a:pt x="127" y="81"/>
                </a:cubicBezTo>
                <a:cubicBezTo>
                  <a:pt x="120" y="83"/>
                  <a:pt x="113" y="85"/>
                  <a:pt x="106" y="85"/>
                </a:cubicBezTo>
                <a:cubicBezTo>
                  <a:pt x="104" y="88"/>
                  <a:pt x="101" y="91"/>
                  <a:pt x="97" y="94"/>
                </a:cubicBezTo>
                <a:cubicBezTo>
                  <a:pt x="95" y="96"/>
                  <a:pt x="93" y="98"/>
                  <a:pt x="92" y="101"/>
                </a:cubicBezTo>
                <a:cubicBezTo>
                  <a:pt x="92" y="103"/>
                  <a:pt x="91" y="106"/>
                  <a:pt x="91" y="109"/>
                </a:cubicBezTo>
                <a:cubicBezTo>
                  <a:pt x="91" y="113"/>
                  <a:pt x="92" y="116"/>
                  <a:pt x="94" y="118"/>
                </a:cubicBezTo>
                <a:cubicBezTo>
                  <a:pt x="96" y="120"/>
                  <a:pt x="99" y="121"/>
                  <a:pt x="103" y="121"/>
                </a:cubicBezTo>
                <a:cubicBezTo>
                  <a:pt x="108" y="121"/>
                  <a:pt x="112" y="123"/>
                  <a:pt x="116" y="126"/>
                </a:cubicBezTo>
                <a:cubicBezTo>
                  <a:pt x="119" y="129"/>
                  <a:pt x="121" y="132"/>
                  <a:pt x="121" y="136"/>
                </a:cubicBezTo>
                <a:cubicBezTo>
                  <a:pt x="121" y="143"/>
                  <a:pt x="121" y="143"/>
                  <a:pt x="121" y="143"/>
                </a:cubicBezTo>
                <a:cubicBezTo>
                  <a:pt x="121" y="143"/>
                  <a:pt x="121" y="144"/>
                  <a:pt x="120" y="145"/>
                </a:cubicBezTo>
                <a:cubicBezTo>
                  <a:pt x="120" y="145"/>
                  <a:pt x="119" y="146"/>
                  <a:pt x="118" y="146"/>
                </a:cubicBezTo>
                <a:cubicBezTo>
                  <a:pt x="40" y="146"/>
                  <a:pt x="40" y="146"/>
                  <a:pt x="40" y="146"/>
                </a:cubicBezTo>
                <a:cubicBezTo>
                  <a:pt x="39" y="146"/>
                  <a:pt x="38" y="145"/>
                  <a:pt x="37" y="145"/>
                </a:cubicBezTo>
                <a:cubicBezTo>
                  <a:pt x="37" y="144"/>
                  <a:pt x="37" y="143"/>
                  <a:pt x="37" y="143"/>
                </a:cubicBezTo>
                <a:cubicBezTo>
                  <a:pt x="37" y="136"/>
                  <a:pt x="37" y="136"/>
                  <a:pt x="37" y="136"/>
                </a:cubicBezTo>
                <a:cubicBezTo>
                  <a:pt x="37" y="132"/>
                  <a:pt x="38" y="129"/>
                  <a:pt x="42" y="126"/>
                </a:cubicBezTo>
                <a:cubicBezTo>
                  <a:pt x="46" y="123"/>
                  <a:pt x="50" y="121"/>
                  <a:pt x="55" y="121"/>
                </a:cubicBezTo>
                <a:cubicBezTo>
                  <a:pt x="59" y="121"/>
                  <a:pt x="62" y="120"/>
                  <a:pt x="64" y="118"/>
                </a:cubicBezTo>
                <a:cubicBezTo>
                  <a:pt x="66" y="116"/>
                  <a:pt x="67" y="113"/>
                  <a:pt x="67" y="109"/>
                </a:cubicBezTo>
                <a:cubicBezTo>
                  <a:pt x="67" y="106"/>
                  <a:pt x="66" y="103"/>
                  <a:pt x="65" y="101"/>
                </a:cubicBezTo>
                <a:cubicBezTo>
                  <a:pt x="65" y="98"/>
                  <a:pt x="63" y="96"/>
                  <a:pt x="61" y="94"/>
                </a:cubicBezTo>
                <a:cubicBezTo>
                  <a:pt x="57" y="91"/>
                  <a:pt x="54" y="88"/>
                  <a:pt x="52" y="85"/>
                </a:cubicBezTo>
                <a:cubicBezTo>
                  <a:pt x="44" y="85"/>
                  <a:pt x="38" y="83"/>
                  <a:pt x="31" y="81"/>
                </a:cubicBezTo>
                <a:cubicBezTo>
                  <a:pt x="25" y="78"/>
                  <a:pt x="19" y="75"/>
                  <a:pt x="15" y="72"/>
                </a:cubicBezTo>
                <a:cubicBezTo>
                  <a:pt x="10" y="68"/>
                  <a:pt x="7" y="64"/>
                  <a:pt x="4" y="59"/>
                </a:cubicBezTo>
                <a:cubicBezTo>
                  <a:pt x="2" y="55"/>
                  <a:pt x="0" y="50"/>
                  <a:pt x="0" y="46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1"/>
                  <a:pt x="1" y="29"/>
                  <a:pt x="3" y="27"/>
                </a:cubicBezTo>
                <a:cubicBezTo>
                  <a:pt x="5" y="25"/>
                  <a:pt x="7" y="25"/>
                  <a:pt x="9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15"/>
                  <a:pt x="37" y="15"/>
                  <a:pt x="37" y="15"/>
                </a:cubicBezTo>
                <a:cubicBezTo>
                  <a:pt x="37" y="11"/>
                  <a:pt x="38" y="8"/>
                  <a:pt x="41" y="5"/>
                </a:cubicBezTo>
                <a:cubicBezTo>
                  <a:pt x="44" y="2"/>
                  <a:pt x="48" y="0"/>
                  <a:pt x="52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4" y="2"/>
                  <a:pt x="117" y="5"/>
                </a:cubicBezTo>
                <a:cubicBezTo>
                  <a:pt x="120" y="8"/>
                  <a:pt x="121" y="11"/>
                  <a:pt x="121" y="15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49" y="25"/>
                  <a:pt x="149" y="25"/>
                  <a:pt x="149" y="25"/>
                </a:cubicBezTo>
                <a:cubicBezTo>
                  <a:pt x="151" y="25"/>
                  <a:pt x="153" y="25"/>
                  <a:pt x="155" y="27"/>
                </a:cubicBezTo>
                <a:cubicBezTo>
                  <a:pt x="157" y="29"/>
                  <a:pt x="158" y="31"/>
                  <a:pt x="158" y="34"/>
                </a:cubicBezTo>
                <a:close/>
                <a:moveTo>
                  <a:pt x="44" y="72"/>
                </a:moveTo>
                <a:cubicBezTo>
                  <a:pt x="39" y="62"/>
                  <a:pt x="37" y="50"/>
                  <a:pt x="37" y="37"/>
                </a:cubicBezTo>
                <a:cubicBezTo>
                  <a:pt x="12" y="37"/>
                  <a:pt x="12" y="37"/>
                  <a:pt x="12" y="37"/>
                </a:cubicBezTo>
                <a:cubicBezTo>
                  <a:pt x="12" y="46"/>
                  <a:pt x="12" y="46"/>
                  <a:pt x="12" y="46"/>
                </a:cubicBezTo>
                <a:cubicBezTo>
                  <a:pt x="12" y="51"/>
                  <a:pt x="15" y="56"/>
                  <a:pt x="21" y="61"/>
                </a:cubicBezTo>
                <a:cubicBezTo>
                  <a:pt x="27" y="66"/>
                  <a:pt x="35" y="70"/>
                  <a:pt x="44" y="72"/>
                </a:cubicBezTo>
                <a:close/>
                <a:moveTo>
                  <a:pt x="146" y="46"/>
                </a:moveTo>
                <a:cubicBezTo>
                  <a:pt x="146" y="37"/>
                  <a:pt x="146" y="37"/>
                  <a:pt x="146" y="37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121" y="50"/>
                  <a:pt x="119" y="62"/>
                  <a:pt x="114" y="72"/>
                </a:cubicBezTo>
                <a:cubicBezTo>
                  <a:pt x="123" y="70"/>
                  <a:pt x="131" y="66"/>
                  <a:pt x="137" y="61"/>
                </a:cubicBezTo>
                <a:cubicBezTo>
                  <a:pt x="143" y="56"/>
                  <a:pt x="146" y="51"/>
                  <a:pt x="146" y="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2" name="Freeform 142"/>
          <p:cNvSpPr>
            <a:spLocks noChangeAspect="1" noEditPoints="1"/>
          </p:cNvSpPr>
          <p:nvPr/>
        </p:nvSpPr>
        <p:spPr bwMode="auto">
          <a:xfrm>
            <a:off x="5144987" y="2484518"/>
            <a:ext cx="149885" cy="151447"/>
          </a:xfrm>
          <a:custGeom>
            <a:avLst/>
            <a:gdLst>
              <a:gd name="T0" fmla="*/ 145 w 145"/>
              <a:gd name="T1" fmla="*/ 118 h 146"/>
              <a:gd name="T2" fmla="*/ 118 w 145"/>
              <a:gd name="T3" fmla="*/ 146 h 146"/>
              <a:gd name="T4" fmla="*/ 95 w 145"/>
              <a:gd name="T5" fmla="*/ 145 h 146"/>
              <a:gd name="T6" fmla="*/ 91 w 145"/>
              <a:gd name="T7" fmla="*/ 144 h 146"/>
              <a:gd name="T8" fmla="*/ 91 w 145"/>
              <a:gd name="T9" fmla="*/ 118 h 146"/>
              <a:gd name="T10" fmla="*/ 96 w 145"/>
              <a:gd name="T11" fmla="*/ 103 h 146"/>
              <a:gd name="T12" fmla="*/ 112 w 145"/>
              <a:gd name="T13" fmla="*/ 93 h 146"/>
              <a:gd name="T14" fmla="*/ 119 w 145"/>
              <a:gd name="T15" fmla="*/ 69 h 146"/>
              <a:gd name="T16" fmla="*/ 111 w 145"/>
              <a:gd name="T17" fmla="*/ 30 h 146"/>
              <a:gd name="T18" fmla="*/ 95 w 145"/>
              <a:gd name="T19" fmla="*/ 36 h 146"/>
              <a:gd name="T20" fmla="*/ 73 w 145"/>
              <a:gd name="T21" fmla="*/ 35 h 146"/>
              <a:gd name="T22" fmla="*/ 51 w 145"/>
              <a:gd name="T23" fmla="*/ 35 h 146"/>
              <a:gd name="T24" fmla="*/ 35 w 145"/>
              <a:gd name="T25" fmla="*/ 30 h 146"/>
              <a:gd name="T26" fmla="*/ 26 w 145"/>
              <a:gd name="T27" fmla="*/ 69 h 146"/>
              <a:gd name="T28" fmla="*/ 33 w 145"/>
              <a:gd name="T29" fmla="*/ 93 h 146"/>
              <a:gd name="T30" fmla="*/ 50 w 145"/>
              <a:gd name="T31" fmla="*/ 103 h 146"/>
              <a:gd name="T32" fmla="*/ 55 w 145"/>
              <a:gd name="T33" fmla="*/ 115 h 146"/>
              <a:gd name="T34" fmla="*/ 45 w 145"/>
              <a:gd name="T35" fmla="*/ 117 h 146"/>
              <a:gd name="T36" fmla="*/ 34 w 145"/>
              <a:gd name="T37" fmla="*/ 109 h 146"/>
              <a:gd name="T38" fmla="*/ 25 w 145"/>
              <a:gd name="T39" fmla="*/ 102 h 146"/>
              <a:gd name="T40" fmla="*/ 20 w 145"/>
              <a:gd name="T41" fmla="*/ 102 h 146"/>
              <a:gd name="T42" fmla="*/ 20 w 145"/>
              <a:gd name="T43" fmla="*/ 104 h 146"/>
              <a:gd name="T44" fmla="*/ 22 w 145"/>
              <a:gd name="T45" fmla="*/ 106 h 146"/>
              <a:gd name="T46" fmla="*/ 29 w 145"/>
              <a:gd name="T47" fmla="*/ 114 h 146"/>
              <a:gd name="T48" fmla="*/ 34 w 145"/>
              <a:gd name="T49" fmla="*/ 122 h 146"/>
              <a:gd name="T50" fmla="*/ 47 w 145"/>
              <a:gd name="T51" fmla="*/ 126 h 146"/>
              <a:gd name="T52" fmla="*/ 55 w 145"/>
              <a:gd name="T53" fmla="*/ 125 h 146"/>
              <a:gd name="T54" fmla="*/ 55 w 145"/>
              <a:gd name="T55" fmla="*/ 141 h 146"/>
              <a:gd name="T56" fmla="*/ 52 w 145"/>
              <a:gd name="T57" fmla="*/ 145 h 146"/>
              <a:gd name="T58" fmla="*/ 27 w 145"/>
              <a:gd name="T59" fmla="*/ 146 h 146"/>
              <a:gd name="T60" fmla="*/ 0 w 145"/>
              <a:gd name="T61" fmla="*/ 118 h 146"/>
              <a:gd name="T62" fmla="*/ 8 w 145"/>
              <a:gd name="T63" fmla="*/ 8 h 146"/>
              <a:gd name="T64" fmla="*/ 118 w 145"/>
              <a:gd name="T65" fmla="*/ 0 h 146"/>
              <a:gd name="T66" fmla="*/ 145 w 145"/>
              <a:gd name="T67" fmla="*/ 28 h 146"/>
              <a:gd name="T68" fmla="*/ 26 w 145"/>
              <a:gd name="T69" fmla="*/ 105 h 146"/>
              <a:gd name="T70" fmla="*/ 27 w 145"/>
              <a:gd name="T71" fmla="*/ 103 h 146"/>
              <a:gd name="T72" fmla="*/ 31 w 145"/>
              <a:gd name="T73" fmla="*/ 108 h 146"/>
              <a:gd name="T74" fmla="*/ 29 w 145"/>
              <a:gd name="T75" fmla="*/ 106 h 146"/>
              <a:gd name="T76" fmla="*/ 31 w 145"/>
              <a:gd name="T77" fmla="*/ 108 h 146"/>
              <a:gd name="T78" fmla="*/ 33 w 145"/>
              <a:gd name="T79" fmla="*/ 112 h 146"/>
              <a:gd name="T80" fmla="*/ 32 w 145"/>
              <a:gd name="T81" fmla="*/ 110 h 146"/>
              <a:gd name="T82" fmla="*/ 37 w 145"/>
              <a:gd name="T83" fmla="*/ 116 h 146"/>
              <a:gd name="T84" fmla="*/ 35 w 145"/>
              <a:gd name="T85" fmla="*/ 114 h 146"/>
              <a:gd name="T86" fmla="*/ 37 w 145"/>
              <a:gd name="T87" fmla="*/ 116 h 146"/>
              <a:gd name="T88" fmla="*/ 41 w 145"/>
              <a:gd name="T89" fmla="*/ 119 h 146"/>
              <a:gd name="T90" fmla="*/ 42 w 145"/>
              <a:gd name="T91" fmla="*/ 117 h 146"/>
              <a:gd name="T92" fmla="*/ 49 w 145"/>
              <a:gd name="T93" fmla="*/ 119 h 146"/>
              <a:gd name="T94" fmla="*/ 46 w 145"/>
              <a:gd name="T95" fmla="*/ 119 h 146"/>
              <a:gd name="T96" fmla="*/ 49 w 145"/>
              <a:gd name="T97" fmla="*/ 119 h 146"/>
              <a:gd name="T98" fmla="*/ 53 w 145"/>
              <a:gd name="T99" fmla="*/ 119 h 146"/>
              <a:gd name="T100" fmla="*/ 53 w 145"/>
              <a:gd name="T101" fmla="*/ 11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97" y="146"/>
                  <a:pt x="97" y="146"/>
                  <a:pt x="97" y="146"/>
                </a:cubicBezTo>
                <a:cubicBezTo>
                  <a:pt x="96" y="146"/>
                  <a:pt x="95" y="146"/>
                  <a:pt x="95" y="145"/>
                </a:cubicBezTo>
                <a:cubicBezTo>
                  <a:pt x="94" y="145"/>
                  <a:pt x="93" y="145"/>
                  <a:pt x="93" y="145"/>
                </a:cubicBezTo>
                <a:cubicBezTo>
                  <a:pt x="92" y="145"/>
                  <a:pt x="92" y="144"/>
                  <a:pt x="91" y="144"/>
                </a:cubicBezTo>
                <a:cubicBezTo>
                  <a:pt x="91" y="143"/>
                  <a:pt x="91" y="142"/>
                  <a:pt x="91" y="141"/>
                </a:cubicBezTo>
                <a:cubicBezTo>
                  <a:pt x="91" y="118"/>
                  <a:pt x="91" y="118"/>
                  <a:pt x="91" y="118"/>
                </a:cubicBezTo>
                <a:cubicBezTo>
                  <a:pt x="91" y="112"/>
                  <a:pt x="89" y="108"/>
                  <a:pt x="86" y="105"/>
                </a:cubicBezTo>
                <a:cubicBezTo>
                  <a:pt x="89" y="105"/>
                  <a:pt x="93" y="104"/>
                  <a:pt x="96" y="103"/>
                </a:cubicBezTo>
                <a:cubicBezTo>
                  <a:pt x="98" y="103"/>
                  <a:pt x="101" y="101"/>
                  <a:pt x="104" y="100"/>
                </a:cubicBezTo>
                <a:cubicBezTo>
                  <a:pt x="108" y="98"/>
                  <a:pt x="110" y="96"/>
                  <a:pt x="112" y="93"/>
                </a:cubicBezTo>
                <a:cubicBezTo>
                  <a:pt x="114" y="91"/>
                  <a:pt x="116" y="88"/>
                  <a:pt x="117" y="83"/>
                </a:cubicBezTo>
                <a:cubicBezTo>
                  <a:pt x="118" y="79"/>
                  <a:pt x="119" y="75"/>
                  <a:pt x="119" y="69"/>
                </a:cubicBezTo>
                <a:cubicBezTo>
                  <a:pt x="119" y="62"/>
                  <a:pt x="117" y="55"/>
                  <a:pt x="112" y="50"/>
                </a:cubicBezTo>
                <a:cubicBezTo>
                  <a:pt x="114" y="44"/>
                  <a:pt x="114" y="38"/>
                  <a:pt x="111" y="30"/>
                </a:cubicBezTo>
                <a:cubicBezTo>
                  <a:pt x="109" y="30"/>
                  <a:pt x="107" y="30"/>
                  <a:pt x="103" y="31"/>
                </a:cubicBezTo>
                <a:cubicBezTo>
                  <a:pt x="100" y="33"/>
                  <a:pt x="97" y="34"/>
                  <a:pt x="95" y="36"/>
                </a:cubicBezTo>
                <a:cubicBezTo>
                  <a:pt x="91" y="38"/>
                  <a:pt x="91" y="38"/>
                  <a:pt x="91" y="38"/>
                </a:cubicBezTo>
                <a:cubicBezTo>
                  <a:pt x="85" y="36"/>
                  <a:pt x="79" y="35"/>
                  <a:pt x="73" y="35"/>
                </a:cubicBezTo>
                <a:cubicBezTo>
                  <a:pt x="67" y="35"/>
                  <a:pt x="60" y="36"/>
                  <a:pt x="55" y="38"/>
                </a:cubicBezTo>
                <a:cubicBezTo>
                  <a:pt x="54" y="37"/>
                  <a:pt x="52" y="36"/>
                  <a:pt x="51" y="35"/>
                </a:cubicBezTo>
                <a:cubicBezTo>
                  <a:pt x="49" y="34"/>
                  <a:pt x="46" y="33"/>
                  <a:pt x="43" y="32"/>
                </a:cubicBezTo>
                <a:cubicBezTo>
                  <a:pt x="39" y="30"/>
                  <a:pt x="36" y="30"/>
                  <a:pt x="35" y="30"/>
                </a:cubicBezTo>
                <a:cubicBezTo>
                  <a:pt x="32" y="38"/>
                  <a:pt x="32" y="44"/>
                  <a:pt x="34" y="50"/>
                </a:cubicBezTo>
                <a:cubicBezTo>
                  <a:pt x="29" y="55"/>
                  <a:pt x="26" y="62"/>
                  <a:pt x="26" y="69"/>
                </a:cubicBezTo>
                <a:cubicBezTo>
                  <a:pt x="26" y="75"/>
                  <a:pt x="27" y="79"/>
                  <a:pt x="28" y="83"/>
                </a:cubicBezTo>
                <a:cubicBezTo>
                  <a:pt x="30" y="87"/>
                  <a:pt x="31" y="91"/>
                  <a:pt x="33" y="93"/>
                </a:cubicBezTo>
                <a:cubicBezTo>
                  <a:pt x="35" y="96"/>
                  <a:pt x="38" y="98"/>
                  <a:pt x="41" y="100"/>
                </a:cubicBezTo>
                <a:cubicBezTo>
                  <a:pt x="44" y="101"/>
                  <a:pt x="47" y="103"/>
                  <a:pt x="50" y="103"/>
                </a:cubicBezTo>
                <a:cubicBezTo>
                  <a:pt x="53" y="104"/>
                  <a:pt x="56" y="105"/>
                  <a:pt x="60" y="105"/>
                </a:cubicBezTo>
                <a:cubicBezTo>
                  <a:pt x="57" y="107"/>
                  <a:pt x="55" y="111"/>
                  <a:pt x="55" y="115"/>
                </a:cubicBezTo>
                <a:cubicBezTo>
                  <a:pt x="54" y="115"/>
                  <a:pt x="52" y="116"/>
                  <a:pt x="51" y="116"/>
                </a:cubicBezTo>
                <a:cubicBezTo>
                  <a:pt x="49" y="116"/>
                  <a:pt x="47" y="117"/>
                  <a:pt x="45" y="117"/>
                </a:cubicBezTo>
                <a:cubicBezTo>
                  <a:pt x="43" y="117"/>
                  <a:pt x="41" y="116"/>
                  <a:pt x="39" y="115"/>
                </a:cubicBezTo>
                <a:cubicBezTo>
                  <a:pt x="37" y="113"/>
                  <a:pt x="35" y="111"/>
                  <a:pt x="34" y="109"/>
                </a:cubicBezTo>
                <a:cubicBezTo>
                  <a:pt x="33" y="107"/>
                  <a:pt x="31" y="105"/>
                  <a:pt x="29" y="104"/>
                </a:cubicBezTo>
                <a:cubicBezTo>
                  <a:pt x="27" y="103"/>
                  <a:pt x="26" y="102"/>
                  <a:pt x="25" y="102"/>
                </a:cubicBezTo>
                <a:cubicBezTo>
                  <a:pt x="23" y="101"/>
                  <a:pt x="23" y="101"/>
                  <a:pt x="23" y="101"/>
                </a:cubicBezTo>
                <a:cubicBezTo>
                  <a:pt x="21" y="101"/>
                  <a:pt x="20" y="101"/>
                  <a:pt x="20" y="102"/>
                </a:cubicBezTo>
                <a:cubicBezTo>
                  <a:pt x="19" y="102"/>
                  <a:pt x="19" y="102"/>
                  <a:pt x="19" y="103"/>
                </a:cubicBezTo>
                <a:cubicBezTo>
                  <a:pt x="20" y="103"/>
                  <a:pt x="20" y="104"/>
                  <a:pt x="20" y="104"/>
                </a:cubicBezTo>
                <a:cubicBezTo>
                  <a:pt x="21" y="104"/>
                  <a:pt x="21" y="105"/>
                  <a:pt x="22" y="105"/>
                </a:cubicBezTo>
                <a:cubicBezTo>
                  <a:pt x="22" y="106"/>
                  <a:pt x="22" y="106"/>
                  <a:pt x="22" y="106"/>
                </a:cubicBezTo>
                <a:cubicBezTo>
                  <a:pt x="24" y="106"/>
                  <a:pt x="25" y="107"/>
                  <a:pt x="26" y="109"/>
                </a:cubicBezTo>
                <a:cubicBezTo>
                  <a:pt x="28" y="111"/>
                  <a:pt x="29" y="113"/>
                  <a:pt x="29" y="114"/>
                </a:cubicBezTo>
                <a:cubicBezTo>
                  <a:pt x="30" y="116"/>
                  <a:pt x="30" y="116"/>
                  <a:pt x="30" y="116"/>
                </a:cubicBezTo>
                <a:cubicBezTo>
                  <a:pt x="31" y="119"/>
                  <a:pt x="32" y="121"/>
                  <a:pt x="34" y="122"/>
                </a:cubicBezTo>
                <a:cubicBezTo>
                  <a:pt x="36" y="124"/>
                  <a:pt x="38" y="124"/>
                  <a:pt x="41" y="125"/>
                </a:cubicBezTo>
                <a:cubicBezTo>
                  <a:pt x="43" y="125"/>
                  <a:pt x="45" y="126"/>
                  <a:pt x="47" y="126"/>
                </a:cubicBezTo>
                <a:cubicBezTo>
                  <a:pt x="49" y="126"/>
                  <a:pt x="51" y="125"/>
                  <a:pt x="53" y="125"/>
                </a:cubicBezTo>
                <a:cubicBezTo>
                  <a:pt x="55" y="125"/>
                  <a:pt x="55" y="125"/>
                  <a:pt x="55" y="125"/>
                </a:cubicBezTo>
                <a:cubicBezTo>
                  <a:pt x="55" y="127"/>
                  <a:pt x="55" y="130"/>
                  <a:pt x="55" y="135"/>
                </a:cubicBezTo>
                <a:cubicBezTo>
                  <a:pt x="55" y="139"/>
                  <a:pt x="55" y="141"/>
                  <a:pt x="55" y="141"/>
                </a:cubicBezTo>
                <a:cubicBezTo>
                  <a:pt x="55" y="142"/>
                  <a:pt x="54" y="143"/>
                  <a:pt x="54" y="144"/>
                </a:cubicBezTo>
                <a:cubicBezTo>
                  <a:pt x="53" y="145"/>
                  <a:pt x="52" y="145"/>
                  <a:pt x="52" y="145"/>
                </a:cubicBezTo>
                <a:cubicBezTo>
                  <a:pt x="51" y="146"/>
                  <a:pt x="50" y="146"/>
                  <a:pt x="49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28" y="105"/>
                </a:moveTo>
                <a:cubicBezTo>
                  <a:pt x="27" y="105"/>
                  <a:pt x="27" y="105"/>
                  <a:pt x="26" y="105"/>
                </a:cubicBezTo>
                <a:cubicBezTo>
                  <a:pt x="26" y="104"/>
                  <a:pt x="26" y="104"/>
                  <a:pt x="26" y="104"/>
                </a:cubicBezTo>
                <a:cubicBezTo>
                  <a:pt x="26" y="103"/>
                  <a:pt x="26" y="103"/>
                  <a:pt x="27" y="103"/>
                </a:cubicBezTo>
                <a:cubicBezTo>
                  <a:pt x="28" y="104"/>
                  <a:pt x="28" y="104"/>
                  <a:pt x="28" y="105"/>
                </a:cubicBezTo>
                <a:close/>
                <a:moveTo>
                  <a:pt x="31" y="108"/>
                </a:moveTo>
                <a:cubicBezTo>
                  <a:pt x="30" y="108"/>
                  <a:pt x="30" y="108"/>
                  <a:pt x="29" y="108"/>
                </a:cubicBezTo>
                <a:cubicBezTo>
                  <a:pt x="29" y="107"/>
                  <a:pt x="28" y="106"/>
                  <a:pt x="29" y="106"/>
                </a:cubicBezTo>
                <a:cubicBezTo>
                  <a:pt x="29" y="106"/>
                  <a:pt x="30" y="106"/>
                  <a:pt x="30" y="106"/>
                </a:cubicBezTo>
                <a:cubicBezTo>
                  <a:pt x="31" y="107"/>
                  <a:pt x="31" y="108"/>
                  <a:pt x="31" y="108"/>
                </a:cubicBezTo>
                <a:close/>
                <a:moveTo>
                  <a:pt x="33" y="110"/>
                </a:moveTo>
                <a:cubicBezTo>
                  <a:pt x="34" y="111"/>
                  <a:pt x="34" y="112"/>
                  <a:pt x="33" y="112"/>
                </a:cubicBezTo>
                <a:cubicBezTo>
                  <a:pt x="33" y="112"/>
                  <a:pt x="32" y="112"/>
                  <a:pt x="32" y="111"/>
                </a:cubicBezTo>
                <a:cubicBezTo>
                  <a:pt x="31" y="111"/>
                  <a:pt x="31" y="110"/>
                  <a:pt x="32" y="110"/>
                </a:cubicBezTo>
                <a:cubicBezTo>
                  <a:pt x="32" y="109"/>
                  <a:pt x="33" y="109"/>
                  <a:pt x="33" y="110"/>
                </a:cubicBezTo>
                <a:close/>
                <a:moveTo>
                  <a:pt x="37" y="116"/>
                </a:moveTo>
                <a:cubicBezTo>
                  <a:pt x="37" y="117"/>
                  <a:pt x="36" y="117"/>
                  <a:pt x="36" y="116"/>
                </a:cubicBezTo>
                <a:cubicBezTo>
                  <a:pt x="35" y="115"/>
                  <a:pt x="35" y="114"/>
                  <a:pt x="35" y="114"/>
                </a:cubicBezTo>
                <a:cubicBezTo>
                  <a:pt x="36" y="113"/>
                  <a:pt x="36" y="114"/>
                  <a:pt x="37" y="114"/>
                </a:cubicBezTo>
                <a:cubicBezTo>
                  <a:pt x="38" y="115"/>
                  <a:pt x="38" y="116"/>
                  <a:pt x="37" y="116"/>
                </a:cubicBezTo>
                <a:close/>
                <a:moveTo>
                  <a:pt x="43" y="118"/>
                </a:moveTo>
                <a:cubicBezTo>
                  <a:pt x="43" y="119"/>
                  <a:pt x="42" y="119"/>
                  <a:pt x="41" y="119"/>
                </a:cubicBezTo>
                <a:cubicBezTo>
                  <a:pt x="40" y="119"/>
                  <a:pt x="40" y="118"/>
                  <a:pt x="40" y="118"/>
                </a:cubicBezTo>
                <a:cubicBezTo>
                  <a:pt x="40" y="117"/>
                  <a:pt x="41" y="117"/>
                  <a:pt x="42" y="117"/>
                </a:cubicBezTo>
                <a:cubicBezTo>
                  <a:pt x="43" y="117"/>
                  <a:pt x="43" y="118"/>
                  <a:pt x="43" y="118"/>
                </a:cubicBezTo>
                <a:close/>
                <a:moveTo>
                  <a:pt x="49" y="119"/>
                </a:moveTo>
                <a:cubicBezTo>
                  <a:pt x="49" y="120"/>
                  <a:pt x="48" y="120"/>
                  <a:pt x="47" y="120"/>
                </a:cubicBezTo>
                <a:cubicBezTo>
                  <a:pt x="46" y="120"/>
                  <a:pt x="46" y="120"/>
                  <a:pt x="46" y="119"/>
                </a:cubicBezTo>
                <a:cubicBezTo>
                  <a:pt x="46" y="118"/>
                  <a:pt x="46" y="118"/>
                  <a:pt x="47" y="118"/>
                </a:cubicBezTo>
                <a:cubicBezTo>
                  <a:pt x="48" y="118"/>
                  <a:pt x="49" y="118"/>
                  <a:pt x="49" y="119"/>
                </a:cubicBezTo>
                <a:close/>
                <a:moveTo>
                  <a:pt x="54" y="118"/>
                </a:moveTo>
                <a:cubicBezTo>
                  <a:pt x="54" y="119"/>
                  <a:pt x="54" y="119"/>
                  <a:pt x="53" y="119"/>
                </a:cubicBezTo>
                <a:cubicBezTo>
                  <a:pt x="52" y="120"/>
                  <a:pt x="51" y="119"/>
                  <a:pt x="51" y="119"/>
                </a:cubicBezTo>
                <a:cubicBezTo>
                  <a:pt x="51" y="118"/>
                  <a:pt x="52" y="117"/>
                  <a:pt x="53" y="117"/>
                </a:cubicBezTo>
                <a:cubicBezTo>
                  <a:pt x="54" y="117"/>
                  <a:pt x="54" y="117"/>
                  <a:pt x="54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3" name="Freeform 143"/>
          <p:cNvSpPr>
            <a:spLocks noChangeAspect="1" noEditPoints="1"/>
          </p:cNvSpPr>
          <p:nvPr/>
        </p:nvSpPr>
        <p:spPr bwMode="auto">
          <a:xfrm>
            <a:off x="5338589" y="2479834"/>
            <a:ext cx="162376" cy="156131"/>
          </a:xfrm>
          <a:custGeom>
            <a:avLst/>
            <a:gdLst>
              <a:gd name="T0" fmla="*/ 157 w 157"/>
              <a:gd name="T1" fmla="*/ 112 h 152"/>
              <a:gd name="T2" fmla="*/ 157 w 157"/>
              <a:gd name="T3" fmla="*/ 142 h 152"/>
              <a:gd name="T4" fmla="*/ 155 w 157"/>
              <a:gd name="T5" fmla="*/ 149 h 152"/>
              <a:gd name="T6" fmla="*/ 148 w 157"/>
              <a:gd name="T7" fmla="*/ 152 h 152"/>
              <a:gd name="T8" fmla="*/ 9 w 157"/>
              <a:gd name="T9" fmla="*/ 152 h 152"/>
              <a:gd name="T10" fmla="*/ 3 w 157"/>
              <a:gd name="T11" fmla="*/ 149 h 152"/>
              <a:gd name="T12" fmla="*/ 0 w 157"/>
              <a:gd name="T13" fmla="*/ 142 h 152"/>
              <a:gd name="T14" fmla="*/ 0 w 157"/>
              <a:gd name="T15" fmla="*/ 112 h 152"/>
              <a:gd name="T16" fmla="*/ 3 w 157"/>
              <a:gd name="T17" fmla="*/ 106 h 152"/>
              <a:gd name="T18" fmla="*/ 9 w 157"/>
              <a:gd name="T19" fmla="*/ 103 h 152"/>
              <a:gd name="T20" fmla="*/ 49 w 157"/>
              <a:gd name="T21" fmla="*/ 103 h 152"/>
              <a:gd name="T22" fmla="*/ 56 w 157"/>
              <a:gd name="T23" fmla="*/ 112 h 152"/>
              <a:gd name="T24" fmla="*/ 66 w 157"/>
              <a:gd name="T25" fmla="*/ 115 h 152"/>
              <a:gd name="T26" fmla="*/ 91 w 157"/>
              <a:gd name="T27" fmla="*/ 115 h 152"/>
              <a:gd name="T28" fmla="*/ 101 w 157"/>
              <a:gd name="T29" fmla="*/ 112 h 152"/>
              <a:gd name="T30" fmla="*/ 108 w 157"/>
              <a:gd name="T31" fmla="*/ 103 h 152"/>
              <a:gd name="T32" fmla="*/ 148 w 157"/>
              <a:gd name="T33" fmla="*/ 103 h 152"/>
              <a:gd name="T34" fmla="*/ 155 w 157"/>
              <a:gd name="T35" fmla="*/ 106 h 152"/>
              <a:gd name="T36" fmla="*/ 157 w 157"/>
              <a:gd name="T37" fmla="*/ 112 h 152"/>
              <a:gd name="T38" fmla="*/ 127 w 157"/>
              <a:gd name="T39" fmla="*/ 51 h 152"/>
              <a:gd name="T40" fmla="*/ 121 w 157"/>
              <a:gd name="T41" fmla="*/ 55 h 152"/>
              <a:gd name="T42" fmla="*/ 97 w 157"/>
              <a:gd name="T43" fmla="*/ 55 h 152"/>
              <a:gd name="T44" fmla="*/ 97 w 157"/>
              <a:gd name="T45" fmla="*/ 97 h 152"/>
              <a:gd name="T46" fmla="*/ 95 w 157"/>
              <a:gd name="T47" fmla="*/ 101 h 152"/>
              <a:gd name="T48" fmla="*/ 91 w 157"/>
              <a:gd name="T49" fmla="*/ 103 h 152"/>
              <a:gd name="T50" fmla="*/ 66 w 157"/>
              <a:gd name="T51" fmla="*/ 103 h 152"/>
              <a:gd name="T52" fmla="*/ 62 w 157"/>
              <a:gd name="T53" fmla="*/ 101 h 152"/>
              <a:gd name="T54" fmla="*/ 60 w 157"/>
              <a:gd name="T55" fmla="*/ 97 h 152"/>
              <a:gd name="T56" fmla="*/ 60 w 157"/>
              <a:gd name="T57" fmla="*/ 55 h 152"/>
              <a:gd name="T58" fmla="*/ 36 w 157"/>
              <a:gd name="T59" fmla="*/ 55 h 152"/>
              <a:gd name="T60" fmla="*/ 31 w 157"/>
              <a:gd name="T61" fmla="*/ 51 h 152"/>
              <a:gd name="T62" fmla="*/ 32 w 157"/>
              <a:gd name="T63" fmla="*/ 44 h 152"/>
              <a:gd name="T64" fmla="*/ 74 w 157"/>
              <a:gd name="T65" fmla="*/ 2 h 152"/>
              <a:gd name="T66" fmla="*/ 79 w 157"/>
              <a:gd name="T67" fmla="*/ 0 h 152"/>
              <a:gd name="T68" fmla="*/ 83 w 157"/>
              <a:gd name="T69" fmla="*/ 2 h 152"/>
              <a:gd name="T70" fmla="*/ 125 w 157"/>
              <a:gd name="T71" fmla="*/ 44 h 152"/>
              <a:gd name="T72" fmla="*/ 127 w 157"/>
              <a:gd name="T73" fmla="*/ 51 h 152"/>
              <a:gd name="T74" fmla="*/ 119 w 157"/>
              <a:gd name="T75" fmla="*/ 138 h 152"/>
              <a:gd name="T76" fmla="*/ 121 w 157"/>
              <a:gd name="T77" fmla="*/ 133 h 152"/>
              <a:gd name="T78" fmla="*/ 119 w 157"/>
              <a:gd name="T79" fmla="*/ 129 h 152"/>
              <a:gd name="T80" fmla="*/ 115 w 157"/>
              <a:gd name="T81" fmla="*/ 127 h 152"/>
              <a:gd name="T82" fmla="*/ 111 w 157"/>
              <a:gd name="T83" fmla="*/ 129 h 152"/>
              <a:gd name="T84" fmla="*/ 109 w 157"/>
              <a:gd name="T85" fmla="*/ 133 h 152"/>
              <a:gd name="T86" fmla="*/ 111 w 157"/>
              <a:gd name="T87" fmla="*/ 138 h 152"/>
              <a:gd name="T88" fmla="*/ 115 w 157"/>
              <a:gd name="T89" fmla="*/ 139 h 152"/>
              <a:gd name="T90" fmla="*/ 119 w 157"/>
              <a:gd name="T91" fmla="*/ 138 h 152"/>
              <a:gd name="T92" fmla="*/ 143 w 157"/>
              <a:gd name="T93" fmla="*/ 138 h 152"/>
              <a:gd name="T94" fmla="*/ 145 w 157"/>
              <a:gd name="T95" fmla="*/ 133 h 152"/>
              <a:gd name="T96" fmla="*/ 143 w 157"/>
              <a:gd name="T97" fmla="*/ 129 h 152"/>
              <a:gd name="T98" fmla="*/ 139 w 157"/>
              <a:gd name="T99" fmla="*/ 127 h 152"/>
              <a:gd name="T100" fmla="*/ 135 w 157"/>
              <a:gd name="T101" fmla="*/ 129 h 152"/>
              <a:gd name="T102" fmla="*/ 133 w 157"/>
              <a:gd name="T103" fmla="*/ 133 h 152"/>
              <a:gd name="T104" fmla="*/ 135 w 157"/>
              <a:gd name="T105" fmla="*/ 138 h 152"/>
              <a:gd name="T106" fmla="*/ 139 w 157"/>
              <a:gd name="T107" fmla="*/ 139 h 152"/>
              <a:gd name="T108" fmla="*/ 143 w 157"/>
              <a:gd name="T109" fmla="*/ 138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7" h="152">
                <a:moveTo>
                  <a:pt x="157" y="112"/>
                </a:moveTo>
                <a:cubicBezTo>
                  <a:pt x="157" y="142"/>
                  <a:pt x="157" y="142"/>
                  <a:pt x="157" y="142"/>
                </a:cubicBezTo>
                <a:cubicBezTo>
                  <a:pt x="157" y="145"/>
                  <a:pt x="156" y="147"/>
                  <a:pt x="155" y="149"/>
                </a:cubicBezTo>
                <a:cubicBezTo>
                  <a:pt x="153" y="151"/>
                  <a:pt x="151" y="152"/>
                  <a:pt x="148" y="152"/>
                </a:cubicBezTo>
                <a:cubicBezTo>
                  <a:pt x="9" y="152"/>
                  <a:pt x="9" y="152"/>
                  <a:pt x="9" y="152"/>
                </a:cubicBezTo>
                <a:cubicBezTo>
                  <a:pt x="6" y="152"/>
                  <a:pt x="4" y="151"/>
                  <a:pt x="3" y="149"/>
                </a:cubicBezTo>
                <a:cubicBezTo>
                  <a:pt x="1" y="147"/>
                  <a:pt x="0" y="145"/>
                  <a:pt x="0" y="14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0"/>
                  <a:pt x="1" y="108"/>
                  <a:pt x="3" y="106"/>
                </a:cubicBezTo>
                <a:cubicBezTo>
                  <a:pt x="4" y="104"/>
                  <a:pt x="6" y="103"/>
                  <a:pt x="9" y="103"/>
                </a:cubicBezTo>
                <a:cubicBezTo>
                  <a:pt x="49" y="103"/>
                  <a:pt x="49" y="103"/>
                  <a:pt x="49" y="103"/>
                </a:cubicBezTo>
                <a:cubicBezTo>
                  <a:pt x="51" y="107"/>
                  <a:pt x="53" y="110"/>
                  <a:pt x="56" y="112"/>
                </a:cubicBezTo>
                <a:cubicBezTo>
                  <a:pt x="59" y="114"/>
                  <a:pt x="63" y="115"/>
                  <a:pt x="66" y="115"/>
                </a:cubicBezTo>
                <a:cubicBezTo>
                  <a:pt x="91" y="115"/>
                  <a:pt x="91" y="115"/>
                  <a:pt x="91" y="115"/>
                </a:cubicBezTo>
                <a:cubicBezTo>
                  <a:pt x="95" y="115"/>
                  <a:pt x="98" y="114"/>
                  <a:pt x="101" y="112"/>
                </a:cubicBezTo>
                <a:cubicBezTo>
                  <a:pt x="104" y="110"/>
                  <a:pt x="106" y="107"/>
                  <a:pt x="108" y="103"/>
                </a:cubicBezTo>
                <a:cubicBezTo>
                  <a:pt x="148" y="103"/>
                  <a:pt x="148" y="103"/>
                  <a:pt x="148" y="103"/>
                </a:cubicBezTo>
                <a:cubicBezTo>
                  <a:pt x="151" y="103"/>
                  <a:pt x="153" y="104"/>
                  <a:pt x="155" y="106"/>
                </a:cubicBezTo>
                <a:cubicBezTo>
                  <a:pt x="156" y="108"/>
                  <a:pt x="157" y="110"/>
                  <a:pt x="157" y="112"/>
                </a:cubicBezTo>
                <a:close/>
                <a:moveTo>
                  <a:pt x="127" y="51"/>
                </a:moveTo>
                <a:cubicBezTo>
                  <a:pt x="125" y="53"/>
                  <a:pt x="124" y="55"/>
                  <a:pt x="121" y="55"/>
                </a:cubicBezTo>
                <a:cubicBezTo>
                  <a:pt x="97" y="55"/>
                  <a:pt x="97" y="55"/>
                  <a:pt x="97" y="55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99"/>
                  <a:pt x="96" y="100"/>
                  <a:pt x="95" y="101"/>
                </a:cubicBezTo>
                <a:cubicBezTo>
                  <a:pt x="94" y="103"/>
                  <a:pt x="92" y="103"/>
                  <a:pt x="91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5" y="103"/>
                  <a:pt x="63" y="103"/>
                  <a:pt x="62" y="101"/>
                </a:cubicBezTo>
                <a:cubicBezTo>
                  <a:pt x="61" y="100"/>
                  <a:pt x="60" y="99"/>
                  <a:pt x="60" y="97"/>
                </a:cubicBezTo>
                <a:cubicBezTo>
                  <a:pt x="60" y="55"/>
                  <a:pt x="60" y="55"/>
                  <a:pt x="60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4" y="55"/>
                  <a:pt x="32" y="53"/>
                  <a:pt x="31" y="51"/>
                </a:cubicBezTo>
                <a:cubicBezTo>
                  <a:pt x="30" y="49"/>
                  <a:pt x="30" y="46"/>
                  <a:pt x="32" y="44"/>
                </a:cubicBezTo>
                <a:cubicBezTo>
                  <a:pt x="74" y="2"/>
                  <a:pt x="74" y="2"/>
                  <a:pt x="74" y="2"/>
                </a:cubicBezTo>
                <a:cubicBezTo>
                  <a:pt x="75" y="1"/>
                  <a:pt x="77" y="0"/>
                  <a:pt x="79" y="0"/>
                </a:cubicBezTo>
                <a:cubicBezTo>
                  <a:pt x="80" y="0"/>
                  <a:pt x="82" y="1"/>
                  <a:pt x="83" y="2"/>
                </a:cubicBezTo>
                <a:cubicBezTo>
                  <a:pt x="125" y="44"/>
                  <a:pt x="125" y="44"/>
                  <a:pt x="125" y="44"/>
                </a:cubicBezTo>
                <a:cubicBezTo>
                  <a:pt x="127" y="46"/>
                  <a:pt x="128" y="49"/>
                  <a:pt x="127" y="51"/>
                </a:cubicBezTo>
                <a:close/>
                <a:moveTo>
                  <a:pt x="119" y="138"/>
                </a:moveTo>
                <a:cubicBezTo>
                  <a:pt x="120" y="136"/>
                  <a:pt x="121" y="135"/>
                  <a:pt x="121" y="133"/>
                </a:cubicBezTo>
                <a:cubicBezTo>
                  <a:pt x="121" y="132"/>
                  <a:pt x="120" y="130"/>
                  <a:pt x="119" y="129"/>
                </a:cubicBezTo>
                <a:cubicBezTo>
                  <a:pt x="118" y="128"/>
                  <a:pt x="117" y="127"/>
                  <a:pt x="115" y="127"/>
                </a:cubicBezTo>
                <a:cubicBezTo>
                  <a:pt x="113" y="127"/>
                  <a:pt x="112" y="128"/>
                  <a:pt x="111" y="129"/>
                </a:cubicBezTo>
                <a:cubicBezTo>
                  <a:pt x="109" y="130"/>
                  <a:pt x="109" y="132"/>
                  <a:pt x="109" y="133"/>
                </a:cubicBezTo>
                <a:cubicBezTo>
                  <a:pt x="109" y="135"/>
                  <a:pt x="109" y="136"/>
                  <a:pt x="111" y="138"/>
                </a:cubicBezTo>
                <a:cubicBezTo>
                  <a:pt x="112" y="139"/>
                  <a:pt x="113" y="139"/>
                  <a:pt x="115" y="139"/>
                </a:cubicBezTo>
                <a:cubicBezTo>
                  <a:pt x="117" y="139"/>
                  <a:pt x="118" y="139"/>
                  <a:pt x="119" y="138"/>
                </a:cubicBezTo>
                <a:close/>
                <a:moveTo>
                  <a:pt x="143" y="138"/>
                </a:moveTo>
                <a:cubicBezTo>
                  <a:pt x="145" y="136"/>
                  <a:pt x="145" y="135"/>
                  <a:pt x="145" y="133"/>
                </a:cubicBezTo>
                <a:cubicBezTo>
                  <a:pt x="145" y="132"/>
                  <a:pt x="145" y="130"/>
                  <a:pt x="143" y="129"/>
                </a:cubicBezTo>
                <a:cubicBezTo>
                  <a:pt x="142" y="128"/>
                  <a:pt x="141" y="127"/>
                  <a:pt x="139" y="127"/>
                </a:cubicBezTo>
                <a:cubicBezTo>
                  <a:pt x="137" y="127"/>
                  <a:pt x="136" y="128"/>
                  <a:pt x="135" y="129"/>
                </a:cubicBezTo>
                <a:cubicBezTo>
                  <a:pt x="134" y="130"/>
                  <a:pt x="133" y="132"/>
                  <a:pt x="133" y="133"/>
                </a:cubicBezTo>
                <a:cubicBezTo>
                  <a:pt x="133" y="135"/>
                  <a:pt x="134" y="136"/>
                  <a:pt x="135" y="138"/>
                </a:cubicBezTo>
                <a:cubicBezTo>
                  <a:pt x="136" y="139"/>
                  <a:pt x="137" y="139"/>
                  <a:pt x="139" y="139"/>
                </a:cubicBezTo>
                <a:cubicBezTo>
                  <a:pt x="141" y="139"/>
                  <a:pt x="142" y="139"/>
                  <a:pt x="143" y="13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4" name="Freeform 144"/>
          <p:cNvSpPr>
            <a:spLocks noChangeAspect="1" noEditPoints="1"/>
          </p:cNvSpPr>
          <p:nvPr/>
        </p:nvSpPr>
        <p:spPr bwMode="auto">
          <a:xfrm>
            <a:off x="5544682" y="2484518"/>
            <a:ext cx="149885" cy="151447"/>
          </a:xfrm>
          <a:custGeom>
            <a:avLst/>
            <a:gdLst>
              <a:gd name="T0" fmla="*/ 138 w 145"/>
              <a:gd name="T1" fmla="*/ 97 h 146"/>
              <a:gd name="T2" fmla="*/ 93 w 145"/>
              <a:gd name="T3" fmla="*/ 141 h 146"/>
              <a:gd name="T4" fmla="*/ 46 w 145"/>
              <a:gd name="T5" fmla="*/ 144 h 146"/>
              <a:gd name="T6" fmla="*/ 23 w 145"/>
              <a:gd name="T7" fmla="*/ 144 h 146"/>
              <a:gd name="T8" fmla="*/ 5 w 145"/>
              <a:gd name="T9" fmla="*/ 140 h 146"/>
              <a:gd name="T10" fmla="*/ 1 w 145"/>
              <a:gd name="T11" fmla="*/ 122 h 146"/>
              <a:gd name="T12" fmla="*/ 1 w 145"/>
              <a:gd name="T13" fmla="*/ 104 h 146"/>
              <a:gd name="T14" fmla="*/ 1 w 145"/>
              <a:gd name="T15" fmla="*/ 72 h 146"/>
              <a:gd name="T16" fmla="*/ 16 w 145"/>
              <a:gd name="T17" fmla="*/ 34 h 146"/>
              <a:gd name="T18" fmla="*/ 52 w 145"/>
              <a:gd name="T19" fmla="*/ 8 h 146"/>
              <a:gd name="T20" fmla="*/ 99 w 145"/>
              <a:gd name="T21" fmla="*/ 3 h 146"/>
              <a:gd name="T22" fmla="*/ 121 w 145"/>
              <a:gd name="T23" fmla="*/ 4 h 146"/>
              <a:gd name="T24" fmla="*/ 137 w 145"/>
              <a:gd name="T25" fmla="*/ 9 h 146"/>
              <a:gd name="T26" fmla="*/ 140 w 145"/>
              <a:gd name="T27" fmla="*/ 28 h 146"/>
              <a:gd name="T28" fmla="*/ 140 w 145"/>
              <a:gd name="T29" fmla="*/ 36 h 146"/>
              <a:gd name="T30" fmla="*/ 140 w 145"/>
              <a:gd name="T31" fmla="*/ 39 h 146"/>
              <a:gd name="T32" fmla="*/ 142 w 145"/>
              <a:gd name="T33" fmla="*/ 42 h 146"/>
              <a:gd name="T34" fmla="*/ 145 w 145"/>
              <a:gd name="T35" fmla="*/ 66 h 146"/>
              <a:gd name="T36" fmla="*/ 132 w 145"/>
              <a:gd name="T37" fmla="*/ 56 h 146"/>
              <a:gd name="T38" fmla="*/ 129 w 145"/>
              <a:gd name="T39" fmla="*/ 42 h 146"/>
              <a:gd name="T40" fmla="*/ 128 w 145"/>
              <a:gd name="T41" fmla="*/ 34 h 146"/>
              <a:gd name="T42" fmla="*/ 129 w 145"/>
              <a:gd name="T43" fmla="*/ 21 h 146"/>
              <a:gd name="T44" fmla="*/ 126 w 145"/>
              <a:gd name="T45" fmla="*/ 16 h 146"/>
              <a:gd name="T46" fmla="*/ 115 w 145"/>
              <a:gd name="T47" fmla="*/ 17 h 146"/>
              <a:gd name="T48" fmla="*/ 82 w 145"/>
              <a:gd name="T49" fmla="*/ 12 h 146"/>
              <a:gd name="T50" fmla="*/ 65 w 145"/>
              <a:gd name="T51" fmla="*/ 16 h 146"/>
              <a:gd name="T52" fmla="*/ 38 w 145"/>
              <a:gd name="T53" fmla="*/ 29 h 146"/>
              <a:gd name="T54" fmla="*/ 14 w 145"/>
              <a:gd name="T55" fmla="*/ 69 h 146"/>
              <a:gd name="T56" fmla="*/ 13 w 145"/>
              <a:gd name="T57" fmla="*/ 104 h 146"/>
              <a:gd name="T58" fmla="*/ 13 w 145"/>
              <a:gd name="T59" fmla="*/ 121 h 146"/>
              <a:gd name="T60" fmla="*/ 13 w 145"/>
              <a:gd name="T61" fmla="*/ 131 h 146"/>
              <a:gd name="T62" fmla="*/ 23 w 145"/>
              <a:gd name="T63" fmla="*/ 131 h 146"/>
              <a:gd name="T64" fmla="*/ 46 w 145"/>
              <a:gd name="T65" fmla="*/ 132 h 146"/>
              <a:gd name="T66" fmla="*/ 89 w 145"/>
              <a:gd name="T67" fmla="*/ 130 h 146"/>
              <a:gd name="T68" fmla="*/ 127 w 145"/>
              <a:gd name="T69" fmla="*/ 9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45" h="146">
                <a:moveTo>
                  <a:pt x="145" y="66"/>
                </a:moveTo>
                <a:cubicBezTo>
                  <a:pt x="145" y="77"/>
                  <a:pt x="143" y="87"/>
                  <a:pt x="138" y="97"/>
                </a:cubicBezTo>
                <a:cubicBezTo>
                  <a:pt x="134" y="107"/>
                  <a:pt x="128" y="116"/>
                  <a:pt x="120" y="124"/>
                </a:cubicBezTo>
                <a:cubicBezTo>
                  <a:pt x="112" y="132"/>
                  <a:pt x="103" y="138"/>
                  <a:pt x="93" y="141"/>
                </a:cubicBezTo>
                <a:cubicBezTo>
                  <a:pt x="85" y="144"/>
                  <a:pt x="75" y="146"/>
                  <a:pt x="62" y="146"/>
                </a:cubicBezTo>
                <a:cubicBezTo>
                  <a:pt x="59" y="146"/>
                  <a:pt x="53" y="145"/>
                  <a:pt x="46" y="144"/>
                </a:cubicBezTo>
                <a:cubicBezTo>
                  <a:pt x="39" y="143"/>
                  <a:pt x="34" y="143"/>
                  <a:pt x="30" y="143"/>
                </a:cubicBezTo>
                <a:cubicBezTo>
                  <a:pt x="29" y="143"/>
                  <a:pt x="27" y="143"/>
                  <a:pt x="23" y="144"/>
                </a:cubicBezTo>
                <a:cubicBezTo>
                  <a:pt x="20" y="145"/>
                  <a:pt x="18" y="146"/>
                  <a:pt x="17" y="146"/>
                </a:cubicBezTo>
                <a:cubicBezTo>
                  <a:pt x="12" y="146"/>
                  <a:pt x="8" y="144"/>
                  <a:pt x="5" y="140"/>
                </a:cubicBezTo>
                <a:cubicBezTo>
                  <a:pt x="2" y="137"/>
                  <a:pt x="0" y="133"/>
                  <a:pt x="0" y="128"/>
                </a:cubicBezTo>
                <a:cubicBezTo>
                  <a:pt x="0" y="127"/>
                  <a:pt x="0" y="125"/>
                  <a:pt x="1" y="122"/>
                </a:cubicBezTo>
                <a:cubicBezTo>
                  <a:pt x="2" y="119"/>
                  <a:pt x="2" y="117"/>
                  <a:pt x="2" y="115"/>
                </a:cubicBezTo>
                <a:cubicBezTo>
                  <a:pt x="2" y="113"/>
                  <a:pt x="2" y="109"/>
                  <a:pt x="1" y="104"/>
                </a:cubicBezTo>
                <a:cubicBezTo>
                  <a:pt x="0" y="99"/>
                  <a:pt x="0" y="95"/>
                  <a:pt x="0" y="93"/>
                </a:cubicBezTo>
                <a:cubicBezTo>
                  <a:pt x="0" y="86"/>
                  <a:pt x="0" y="79"/>
                  <a:pt x="1" y="72"/>
                </a:cubicBezTo>
                <a:cubicBezTo>
                  <a:pt x="3" y="65"/>
                  <a:pt x="4" y="59"/>
                  <a:pt x="7" y="52"/>
                </a:cubicBezTo>
                <a:cubicBezTo>
                  <a:pt x="9" y="46"/>
                  <a:pt x="12" y="40"/>
                  <a:pt x="16" y="34"/>
                </a:cubicBezTo>
                <a:cubicBezTo>
                  <a:pt x="20" y="28"/>
                  <a:pt x="25" y="23"/>
                  <a:pt x="30" y="19"/>
                </a:cubicBezTo>
                <a:cubicBezTo>
                  <a:pt x="35" y="15"/>
                  <a:pt x="43" y="12"/>
                  <a:pt x="52" y="8"/>
                </a:cubicBezTo>
                <a:cubicBezTo>
                  <a:pt x="65" y="3"/>
                  <a:pt x="74" y="0"/>
                  <a:pt x="82" y="0"/>
                </a:cubicBezTo>
                <a:cubicBezTo>
                  <a:pt x="86" y="0"/>
                  <a:pt x="91" y="1"/>
                  <a:pt x="99" y="3"/>
                </a:cubicBezTo>
                <a:cubicBezTo>
                  <a:pt x="106" y="4"/>
                  <a:pt x="111" y="5"/>
                  <a:pt x="115" y="5"/>
                </a:cubicBezTo>
                <a:cubicBezTo>
                  <a:pt x="116" y="5"/>
                  <a:pt x="118" y="5"/>
                  <a:pt x="121" y="4"/>
                </a:cubicBezTo>
                <a:cubicBezTo>
                  <a:pt x="123" y="4"/>
                  <a:pt x="125" y="4"/>
                  <a:pt x="126" y="4"/>
                </a:cubicBezTo>
                <a:cubicBezTo>
                  <a:pt x="131" y="4"/>
                  <a:pt x="135" y="6"/>
                  <a:pt x="137" y="9"/>
                </a:cubicBezTo>
                <a:cubicBezTo>
                  <a:pt x="140" y="12"/>
                  <a:pt x="141" y="16"/>
                  <a:pt x="141" y="21"/>
                </a:cubicBezTo>
                <a:cubicBezTo>
                  <a:pt x="141" y="23"/>
                  <a:pt x="141" y="25"/>
                  <a:pt x="140" y="28"/>
                </a:cubicBezTo>
                <a:cubicBezTo>
                  <a:pt x="140" y="31"/>
                  <a:pt x="140" y="33"/>
                  <a:pt x="140" y="34"/>
                </a:cubicBezTo>
                <a:cubicBezTo>
                  <a:pt x="140" y="35"/>
                  <a:pt x="140" y="35"/>
                  <a:pt x="140" y="36"/>
                </a:cubicBezTo>
                <a:cubicBezTo>
                  <a:pt x="140" y="37"/>
                  <a:pt x="140" y="37"/>
                  <a:pt x="140" y="38"/>
                </a:cubicBezTo>
                <a:cubicBezTo>
                  <a:pt x="140" y="38"/>
                  <a:pt x="140" y="39"/>
                  <a:pt x="140" y="39"/>
                </a:cubicBezTo>
                <a:cubicBezTo>
                  <a:pt x="141" y="39"/>
                  <a:pt x="141" y="40"/>
                  <a:pt x="141" y="40"/>
                </a:cubicBezTo>
                <a:cubicBezTo>
                  <a:pt x="141" y="41"/>
                  <a:pt x="142" y="42"/>
                  <a:pt x="142" y="42"/>
                </a:cubicBezTo>
                <a:cubicBezTo>
                  <a:pt x="143" y="45"/>
                  <a:pt x="144" y="48"/>
                  <a:pt x="144" y="53"/>
                </a:cubicBezTo>
                <a:cubicBezTo>
                  <a:pt x="145" y="58"/>
                  <a:pt x="145" y="62"/>
                  <a:pt x="145" y="66"/>
                </a:cubicBezTo>
                <a:close/>
                <a:moveTo>
                  <a:pt x="133" y="66"/>
                </a:moveTo>
                <a:cubicBezTo>
                  <a:pt x="133" y="64"/>
                  <a:pt x="133" y="60"/>
                  <a:pt x="132" y="56"/>
                </a:cubicBezTo>
                <a:cubicBezTo>
                  <a:pt x="132" y="51"/>
                  <a:pt x="131" y="48"/>
                  <a:pt x="130" y="46"/>
                </a:cubicBezTo>
                <a:cubicBezTo>
                  <a:pt x="130" y="45"/>
                  <a:pt x="129" y="43"/>
                  <a:pt x="129" y="42"/>
                </a:cubicBezTo>
                <a:cubicBezTo>
                  <a:pt x="129" y="41"/>
                  <a:pt x="128" y="40"/>
                  <a:pt x="128" y="39"/>
                </a:cubicBezTo>
                <a:cubicBezTo>
                  <a:pt x="128" y="37"/>
                  <a:pt x="128" y="36"/>
                  <a:pt x="128" y="34"/>
                </a:cubicBezTo>
                <a:cubicBezTo>
                  <a:pt x="128" y="33"/>
                  <a:pt x="128" y="31"/>
                  <a:pt x="128" y="28"/>
                </a:cubicBezTo>
                <a:cubicBezTo>
                  <a:pt x="128" y="25"/>
                  <a:pt x="129" y="23"/>
                  <a:pt x="129" y="21"/>
                </a:cubicBezTo>
                <a:cubicBezTo>
                  <a:pt x="129" y="19"/>
                  <a:pt x="128" y="17"/>
                  <a:pt x="128" y="16"/>
                </a:cubicBezTo>
                <a:cubicBezTo>
                  <a:pt x="127" y="16"/>
                  <a:pt x="127" y="16"/>
                  <a:pt x="126" y="16"/>
                </a:cubicBezTo>
                <a:cubicBezTo>
                  <a:pt x="125" y="16"/>
                  <a:pt x="123" y="16"/>
                  <a:pt x="121" y="17"/>
                </a:cubicBezTo>
                <a:cubicBezTo>
                  <a:pt x="118" y="17"/>
                  <a:pt x="117" y="17"/>
                  <a:pt x="115" y="17"/>
                </a:cubicBezTo>
                <a:cubicBezTo>
                  <a:pt x="112" y="17"/>
                  <a:pt x="106" y="16"/>
                  <a:pt x="99" y="15"/>
                </a:cubicBezTo>
                <a:cubicBezTo>
                  <a:pt x="91" y="13"/>
                  <a:pt x="86" y="12"/>
                  <a:pt x="82" y="12"/>
                </a:cubicBezTo>
                <a:cubicBezTo>
                  <a:pt x="79" y="12"/>
                  <a:pt x="76" y="13"/>
                  <a:pt x="73" y="14"/>
                </a:cubicBezTo>
                <a:cubicBezTo>
                  <a:pt x="70" y="14"/>
                  <a:pt x="67" y="15"/>
                  <a:pt x="65" y="16"/>
                </a:cubicBezTo>
                <a:cubicBezTo>
                  <a:pt x="63" y="17"/>
                  <a:pt x="60" y="18"/>
                  <a:pt x="57" y="19"/>
                </a:cubicBezTo>
                <a:cubicBezTo>
                  <a:pt x="48" y="22"/>
                  <a:pt x="42" y="26"/>
                  <a:pt x="38" y="29"/>
                </a:cubicBezTo>
                <a:cubicBezTo>
                  <a:pt x="32" y="33"/>
                  <a:pt x="27" y="39"/>
                  <a:pt x="23" y="47"/>
                </a:cubicBezTo>
                <a:cubicBezTo>
                  <a:pt x="19" y="54"/>
                  <a:pt x="16" y="61"/>
                  <a:pt x="14" y="69"/>
                </a:cubicBezTo>
                <a:cubicBezTo>
                  <a:pt x="13" y="76"/>
                  <a:pt x="12" y="84"/>
                  <a:pt x="12" y="92"/>
                </a:cubicBezTo>
                <a:cubicBezTo>
                  <a:pt x="12" y="95"/>
                  <a:pt x="12" y="99"/>
                  <a:pt x="13" y="104"/>
                </a:cubicBezTo>
                <a:cubicBezTo>
                  <a:pt x="14" y="109"/>
                  <a:pt x="14" y="113"/>
                  <a:pt x="14" y="115"/>
                </a:cubicBezTo>
                <a:cubicBezTo>
                  <a:pt x="14" y="117"/>
                  <a:pt x="14" y="119"/>
                  <a:pt x="13" y="121"/>
                </a:cubicBezTo>
                <a:cubicBezTo>
                  <a:pt x="13" y="124"/>
                  <a:pt x="12" y="126"/>
                  <a:pt x="12" y="128"/>
                </a:cubicBezTo>
                <a:cubicBezTo>
                  <a:pt x="12" y="129"/>
                  <a:pt x="13" y="130"/>
                  <a:pt x="13" y="131"/>
                </a:cubicBezTo>
                <a:cubicBezTo>
                  <a:pt x="14" y="132"/>
                  <a:pt x="15" y="133"/>
                  <a:pt x="17" y="133"/>
                </a:cubicBezTo>
                <a:cubicBezTo>
                  <a:pt x="18" y="133"/>
                  <a:pt x="20" y="132"/>
                  <a:pt x="23" y="131"/>
                </a:cubicBezTo>
                <a:cubicBezTo>
                  <a:pt x="26" y="131"/>
                  <a:pt x="29" y="130"/>
                  <a:pt x="30" y="130"/>
                </a:cubicBezTo>
                <a:cubicBezTo>
                  <a:pt x="34" y="130"/>
                  <a:pt x="39" y="131"/>
                  <a:pt x="46" y="132"/>
                </a:cubicBezTo>
                <a:cubicBezTo>
                  <a:pt x="53" y="133"/>
                  <a:pt x="59" y="133"/>
                  <a:pt x="62" y="133"/>
                </a:cubicBezTo>
                <a:cubicBezTo>
                  <a:pt x="74" y="133"/>
                  <a:pt x="83" y="132"/>
                  <a:pt x="89" y="130"/>
                </a:cubicBezTo>
                <a:cubicBezTo>
                  <a:pt x="97" y="127"/>
                  <a:pt x="105" y="122"/>
                  <a:pt x="112" y="116"/>
                </a:cubicBezTo>
                <a:cubicBezTo>
                  <a:pt x="118" y="109"/>
                  <a:pt x="123" y="101"/>
                  <a:pt x="127" y="92"/>
                </a:cubicBezTo>
                <a:cubicBezTo>
                  <a:pt x="131" y="84"/>
                  <a:pt x="133" y="75"/>
                  <a:pt x="133" y="6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5" name="Freeform 145"/>
          <p:cNvSpPr>
            <a:spLocks noChangeAspect="1"/>
          </p:cNvSpPr>
          <p:nvPr/>
        </p:nvSpPr>
        <p:spPr bwMode="auto">
          <a:xfrm>
            <a:off x="5738284" y="2484518"/>
            <a:ext cx="137395" cy="138956"/>
          </a:xfrm>
          <a:custGeom>
            <a:avLst/>
            <a:gdLst>
              <a:gd name="T0" fmla="*/ 133 w 133"/>
              <a:gd name="T1" fmla="*/ 105 h 133"/>
              <a:gd name="T2" fmla="*/ 132 w 133"/>
              <a:gd name="T3" fmla="*/ 112 h 133"/>
              <a:gd name="T4" fmla="*/ 130 w 133"/>
              <a:gd name="T5" fmla="*/ 119 h 133"/>
              <a:gd name="T6" fmla="*/ 118 w 133"/>
              <a:gd name="T7" fmla="*/ 129 h 133"/>
              <a:gd name="T8" fmla="*/ 101 w 133"/>
              <a:gd name="T9" fmla="*/ 133 h 133"/>
              <a:gd name="T10" fmla="*/ 96 w 133"/>
              <a:gd name="T11" fmla="*/ 133 h 133"/>
              <a:gd name="T12" fmla="*/ 90 w 133"/>
              <a:gd name="T13" fmla="*/ 132 h 133"/>
              <a:gd name="T14" fmla="*/ 86 w 133"/>
              <a:gd name="T15" fmla="*/ 131 h 133"/>
              <a:gd name="T16" fmla="*/ 80 w 133"/>
              <a:gd name="T17" fmla="*/ 129 h 133"/>
              <a:gd name="T18" fmla="*/ 76 w 133"/>
              <a:gd name="T19" fmla="*/ 127 h 133"/>
              <a:gd name="T20" fmla="*/ 59 w 133"/>
              <a:gd name="T21" fmla="*/ 119 h 133"/>
              <a:gd name="T22" fmla="*/ 34 w 133"/>
              <a:gd name="T23" fmla="*/ 99 h 133"/>
              <a:gd name="T24" fmla="*/ 14 w 133"/>
              <a:gd name="T25" fmla="*/ 74 h 133"/>
              <a:gd name="T26" fmla="*/ 6 w 133"/>
              <a:gd name="T27" fmla="*/ 57 h 133"/>
              <a:gd name="T28" fmla="*/ 4 w 133"/>
              <a:gd name="T29" fmla="*/ 53 h 133"/>
              <a:gd name="T30" fmla="*/ 2 w 133"/>
              <a:gd name="T31" fmla="*/ 47 h 133"/>
              <a:gd name="T32" fmla="*/ 1 w 133"/>
              <a:gd name="T33" fmla="*/ 43 h 133"/>
              <a:gd name="T34" fmla="*/ 0 w 133"/>
              <a:gd name="T35" fmla="*/ 37 h 133"/>
              <a:gd name="T36" fmla="*/ 0 w 133"/>
              <a:gd name="T37" fmla="*/ 32 h 133"/>
              <a:gd name="T38" fmla="*/ 4 w 133"/>
              <a:gd name="T39" fmla="*/ 15 h 133"/>
              <a:gd name="T40" fmla="*/ 14 w 133"/>
              <a:gd name="T41" fmla="*/ 3 h 133"/>
              <a:gd name="T42" fmla="*/ 21 w 133"/>
              <a:gd name="T43" fmla="*/ 1 h 133"/>
              <a:gd name="T44" fmla="*/ 28 w 133"/>
              <a:gd name="T45" fmla="*/ 0 h 133"/>
              <a:gd name="T46" fmla="*/ 30 w 133"/>
              <a:gd name="T47" fmla="*/ 1 h 133"/>
              <a:gd name="T48" fmla="*/ 35 w 133"/>
              <a:gd name="T49" fmla="*/ 8 h 133"/>
              <a:gd name="T50" fmla="*/ 37 w 133"/>
              <a:gd name="T51" fmla="*/ 13 h 133"/>
              <a:gd name="T52" fmla="*/ 41 w 133"/>
              <a:gd name="T53" fmla="*/ 19 h 133"/>
              <a:gd name="T54" fmla="*/ 44 w 133"/>
              <a:gd name="T55" fmla="*/ 24 h 133"/>
              <a:gd name="T56" fmla="*/ 45 w 133"/>
              <a:gd name="T57" fmla="*/ 26 h 133"/>
              <a:gd name="T58" fmla="*/ 47 w 133"/>
              <a:gd name="T59" fmla="*/ 30 h 133"/>
              <a:gd name="T60" fmla="*/ 48 w 133"/>
              <a:gd name="T61" fmla="*/ 32 h 133"/>
              <a:gd name="T62" fmla="*/ 45 w 133"/>
              <a:gd name="T63" fmla="*/ 37 h 133"/>
              <a:gd name="T64" fmla="*/ 39 w 133"/>
              <a:gd name="T65" fmla="*/ 42 h 133"/>
              <a:gd name="T66" fmla="*/ 34 w 133"/>
              <a:gd name="T67" fmla="*/ 47 h 133"/>
              <a:gd name="T68" fmla="*/ 31 w 133"/>
              <a:gd name="T69" fmla="*/ 52 h 133"/>
              <a:gd name="T70" fmla="*/ 31 w 133"/>
              <a:gd name="T71" fmla="*/ 54 h 133"/>
              <a:gd name="T72" fmla="*/ 32 w 133"/>
              <a:gd name="T73" fmla="*/ 56 h 133"/>
              <a:gd name="T74" fmla="*/ 33 w 133"/>
              <a:gd name="T75" fmla="*/ 58 h 133"/>
              <a:gd name="T76" fmla="*/ 35 w 133"/>
              <a:gd name="T77" fmla="*/ 60 h 133"/>
              <a:gd name="T78" fmla="*/ 51 w 133"/>
              <a:gd name="T79" fmla="*/ 82 h 133"/>
              <a:gd name="T80" fmla="*/ 73 w 133"/>
              <a:gd name="T81" fmla="*/ 98 h 133"/>
              <a:gd name="T82" fmla="*/ 75 w 133"/>
              <a:gd name="T83" fmla="*/ 100 h 133"/>
              <a:gd name="T84" fmla="*/ 77 w 133"/>
              <a:gd name="T85" fmla="*/ 101 h 133"/>
              <a:gd name="T86" fmla="*/ 79 w 133"/>
              <a:gd name="T87" fmla="*/ 102 h 133"/>
              <a:gd name="T88" fmla="*/ 81 w 133"/>
              <a:gd name="T89" fmla="*/ 102 h 133"/>
              <a:gd name="T90" fmla="*/ 86 w 133"/>
              <a:gd name="T91" fmla="*/ 99 h 133"/>
              <a:gd name="T92" fmla="*/ 91 w 133"/>
              <a:gd name="T93" fmla="*/ 94 h 133"/>
              <a:gd name="T94" fmla="*/ 96 w 133"/>
              <a:gd name="T95" fmla="*/ 88 h 133"/>
              <a:gd name="T96" fmla="*/ 101 w 133"/>
              <a:gd name="T97" fmla="*/ 85 h 133"/>
              <a:gd name="T98" fmla="*/ 103 w 133"/>
              <a:gd name="T99" fmla="*/ 86 h 133"/>
              <a:gd name="T100" fmla="*/ 107 w 133"/>
              <a:gd name="T101" fmla="*/ 88 h 133"/>
              <a:gd name="T102" fmla="*/ 109 w 133"/>
              <a:gd name="T103" fmla="*/ 89 h 133"/>
              <a:gd name="T104" fmla="*/ 114 w 133"/>
              <a:gd name="T105" fmla="*/ 92 h 133"/>
              <a:gd name="T106" fmla="*/ 120 w 133"/>
              <a:gd name="T107" fmla="*/ 96 h 133"/>
              <a:gd name="T108" fmla="*/ 125 w 133"/>
              <a:gd name="T109" fmla="*/ 98 h 133"/>
              <a:gd name="T110" fmla="*/ 132 w 133"/>
              <a:gd name="T111" fmla="*/ 103 h 133"/>
              <a:gd name="T112" fmla="*/ 133 w 133"/>
              <a:gd name="T113" fmla="*/ 10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3" h="133">
                <a:moveTo>
                  <a:pt x="133" y="105"/>
                </a:moveTo>
                <a:cubicBezTo>
                  <a:pt x="133" y="107"/>
                  <a:pt x="132" y="109"/>
                  <a:pt x="132" y="112"/>
                </a:cubicBezTo>
                <a:cubicBezTo>
                  <a:pt x="131" y="115"/>
                  <a:pt x="130" y="117"/>
                  <a:pt x="130" y="119"/>
                </a:cubicBezTo>
                <a:cubicBezTo>
                  <a:pt x="128" y="122"/>
                  <a:pt x="125" y="125"/>
                  <a:pt x="118" y="129"/>
                </a:cubicBezTo>
                <a:cubicBezTo>
                  <a:pt x="112" y="132"/>
                  <a:pt x="106" y="133"/>
                  <a:pt x="101" y="133"/>
                </a:cubicBezTo>
                <a:cubicBezTo>
                  <a:pt x="99" y="133"/>
                  <a:pt x="97" y="133"/>
                  <a:pt x="96" y="133"/>
                </a:cubicBezTo>
                <a:cubicBezTo>
                  <a:pt x="94" y="133"/>
                  <a:pt x="92" y="133"/>
                  <a:pt x="90" y="132"/>
                </a:cubicBezTo>
                <a:cubicBezTo>
                  <a:pt x="88" y="131"/>
                  <a:pt x="87" y="131"/>
                  <a:pt x="86" y="131"/>
                </a:cubicBezTo>
                <a:cubicBezTo>
                  <a:pt x="85" y="130"/>
                  <a:pt x="83" y="130"/>
                  <a:pt x="80" y="129"/>
                </a:cubicBezTo>
                <a:cubicBezTo>
                  <a:pt x="78" y="128"/>
                  <a:pt x="76" y="127"/>
                  <a:pt x="76" y="127"/>
                </a:cubicBezTo>
                <a:cubicBezTo>
                  <a:pt x="70" y="125"/>
                  <a:pt x="64" y="122"/>
                  <a:pt x="59" y="119"/>
                </a:cubicBezTo>
                <a:cubicBezTo>
                  <a:pt x="51" y="114"/>
                  <a:pt x="43" y="107"/>
                  <a:pt x="34" y="99"/>
                </a:cubicBezTo>
                <a:cubicBezTo>
                  <a:pt x="26" y="90"/>
                  <a:pt x="19" y="82"/>
                  <a:pt x="14" y="74"/>
                </a:cubicBezTo>
                <a:cubicBezTo>
                  <a:pt x="11" y="69"/>
                  <a:pt x="8" y="63"/>
                  <a:pt x="6" y="57"/>
                </a:cubicBezTo>
                <a:cubicBezTo>
                  <a:pt x="6" y="57"/>
                  <a:pt x="5" y="55"/>
                  <a:pt x="4" y="53"/>
                </a:cubicBezTo>
                <a:cubicBezTo>
                  <a:pt x="3" y="50"/>
                  <a:pt x="3" y="48"/>
                  <a:pt x="2" y="47"/>
                </a:cubicBezTo>
                <a:cubicBezTo>
                  <a:pt x="2" y="46"/>
                  <a:pt x="2" y="45"/>
                  <a:pt x="1" y="43"/>
                </a:cubicBezTo>
                <a:cubicBezTo>
                  <a:pt x="1" y="41"/>
                  <a:pt x="0" y="39"/>
                  <a:pt x="0" y="37"/>
                </a:cubicBezTo>
                <a:cubicBezTo>
                  <a:pt x="0" y="36"/>
                  <a:pt x="0" y="34"/>
                  <a:pt x="0" y="32"/>
                </a:cubicBezTo>
                <a:cubicBezTo>
                  <a:pt x="0" y="27"/>
                  <a:pt x="1" y="21"/>
                  <a:pt x="4" y="15"/>
                </a:cubicBezTo>
                <a:cubicBezTo>
                  <a:pt x="8" y="8"/>
                  <a:pt x="11" y="5"/>
                  <a:pt x="14" y="3"/>
                </a:cubicBezTo>
                <a:cubicBezTo>
                  <a:pt x="16" y="3"/>
                  <a:pt x="18" y="2"/>
                  <a:pt x="21" y="1"/>
                </a:cubicBezTo>
                <a:cubicBezTo>
                  <a:pt x="24" y="1"/>
                  <a:pt x="26" y="0"/>
                  <a:pt x="28" y="0"/>
                </a:cubicBezTo>
                <a:cubicBezTo>
                  <a:pt x="28" y="0"/>
                  <a:pt x="29" y="0"/>
                  <a:pt x="30" y="1"/>
                </a:cubicBezTo>
                <a:cubicBezTo>
                  <a:pt x="31" y="1"/>
                  <a:pt x="32" y="3"/>
                  <a:pt x="35" y="8"/>
                </a:cubicBezTo>
                <a:cubicBezTo>
                  <a:pt x="35" y="9"/>
                  <a:pt x="36" y="11"/>
                  <a:pt x="37" y="13"/>
                </a:cubicBezTo>
                <a:cubicBezTo>
                  <a:pt x="39" y="15"/>
                  <a:pt x="40" y="17"/>
                  <a:pt x="41" y="19"/>
                </a:cubicBezTo>
                <a:cubicBezTo>
                  <a:pt x="42" y="21"/>
                  <a:pt x="43" y="22"/>
                  <a:pt x="44" y="24"/>
                </a:cubicBezTo>
                <a:cubicBezTo>
                  <a:pt x="44" y="24"/>
                  <a:pt x="44" y="25"/>
                  <a:pt x="45" y="26"/>
                </a:cubicBezTo>
                <a:cubicBezTo>
                  <a:pt x="46" y="28"/>
                  <a:pt x="47" y="29"/>
                  <a:pt x="47" y="30"/>
                </a:cubicBezTo>
                <a:cubicBezTo>
                  <a:pt x="48" y="31"/>
                  <a:pt x="48" y="32"/>
                  <a:pt x="48" y="32"/>
                </a:cubicBezTo>
                <a:cubicBezTo>
                  <a:pt x="48" y="34"/>
                  <a:pt x="47" y="35"/>
                  <a:pt x="45" y="37"/>
                </a:cubicBezTo>
                <a:cubicBezTo>
                  <a:pt x="43" y="39"/>
                  <a:pt x="42" y="41"/>
                  <a:pt x="39" y="42"/>
                </a:cubicBezTo>
                <a:cubicBezTo>
                  <a:pt x="37" y="44"/>
                  <a:pt x="35" y="46"/>
                  <a:pt x="34" y="47"/>
                </a:cubicBezTo>
                <a:cubicBezTo>
                  <a:pt x="32" y="49"/>
                  <a:pt x="31" y="51"/>
                  <a:pt x="31" y="52"/>
                </a:cubicBezTo>
                <a:cubicBezTo>
                  <a:pt x="31" y="52"/>
                  <a:pt x="31" y="53"/>
                  <a:pt x="31" y="54"/>
                </a:cubicBezTo>
                <a:cubicBezTo>
                  <a:pt x="32" y="55"/>
                  <a:pt x="32" y="55"/>
                  <a:pt x="32" y="56"/>
                </a:cubicBezTo>
                <a:cubicBezTo>
                  <a:pt x="32" y="56"/>
                  <a:pt x="33" y="57"/>
                  <a:pt x="33" y="58"/>
                </a:cubicBezTo>
                <a:cubicBezTo>
                  <a:pt x="34" y="59"/>
                  <a:pt x="34" y="60"/>
                  <a:pt x="35" y="60"/>
                </a:cubicBezTo>
                <a:cubicBezTo>
                  <a:pt x="39" y="68"/>
                  <a:pt x="45" y="76"/>
                  <a:pt x="51" y="82"/>
                </a:cubicBezTo>
                <a:cubicBezTo>
                  <a:pt x="57" y="88"/>
                  <a:pt x="65" y="94"/>
                  <a:pt x="73" y="98"/>
                </a:cubicBezTo>
                <a:cubicBezTo>
                  <a:pt x="73" y="99"/>
                  <a:pt x="74" y="99"/>
                  <a:pt x="75" y="100"/>
                </a:cubicBezTo>
                <a:cubicBezTo>
                  <a:pt x="76" y="100"/>
                  <a:pt x="77" y="101"/>
                  <a:pt x="77" y="101"/>
                </a:cubicBezTo>
                <a:cubicBezTo>
                  <a:pt x="78" y="101"/>
                  <a:pt x="78" y="101"/>
                  <a:pt x="79" y="102"/>
                </a:cubicBezTo>
                <a:cubicBezTo>
                  <a:pt x="80" y="102"/>
                  <a:pt x="81" y="102"/>
                  <a:pt x="81" y="102"/>
                </a:cubicBezTo>
                <a:cubicBezTo>
                  <a:pt x="82" y="102"/>
                  <a:pt x="84" y="101"/>
                  <a:pt x="86" y="99"/>
                </a:cubicBezTo>
                <a:cubicBezTo>
                  <a:pt x="87" y="98"/>
                  <a:pt x="89" y="96"/>
                  <a:pt x="91" y="94"/>
                </a:cubicBezTo>
                <a:cubicBezTo>
                  <a:pt x="92" y="91"/>
                  <a:pt x="94" y="90"/>
                  <a:pt x="96" y="88"/>
                </a:cubicBezTo>
                <a:cubicBezTo>
                  <a:pt x="98" y="86"/>
                  <a:pt x="99" y="85"/>
                  <a:pt x="101" y="85"/>
                </a:cubicBezTo>
                <a:cubicBezTo>
                  <a:pt x="102" y="85"/>
                  <a:pt x="102" y="85"/>
                  <a:pt x="103" y="86"/>
                </a:cubicBezTo>
                <a:cubicBezTo>
                  <a:pt x="104" y="86"/>
                  <a:pt x="105" y="87"/>
                  <a:pt x="107" y="88"/>
                </a:cubicBezTo>
                <a:cubicBezTo>
                  <a:pt x="108" y="89"/>
                  <a:pt x="109" y="89"/>
                  <a:pt x="109" y="89"/>
                </a:cubicBezTo>
                <a:cubicBezTo>
                  <a:pt x="111" y="90"/>
                  <a:pt x="112" y="91"/>
                  <a:pt x="114" y="92"/>
                </a:cubicBezTo>
                <a:cubicBezTo>
                  <a:pt x="116" y="93"/>
                  <a:pt x="118" y="94"/>
                  <a:pt x="120" y="96"/>
                </a:cubicBezTo>
                <a:cubicBezTo>
                  <a:pt x="122" y="97"/>
                  <a:pt x="124" y="98"/>
                  <a:pt x="125" y="98"/>
                </a:cubicBezTo>
                <a:cubicBezTo>
                  <a:pt x="130" y="101"/>
                  <a:pt x="132" y="102"/>
                  <a:pt x="132" y="103"/>
                </a:cubicBezTo>
                <a:cubicBezTo>
                  <a:pt x="133" y="104"/>
                  <a:pt x="133" y="105"/>
                  <a:pt x="133" y="10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6" name="Freeform 146"/>
          <p:cNvSpPr>
            <a:spLocks noChangeAspect="1" noEditPoints="1"/>
          </p:cNvSpPr>
          <p:nvPr/>
        </p:nvSpPr>
        <p:spPr bwMode="auto">
          <a:xfrm>
            <a:off x="5917834" y="2484518"/>
            <a:ext cx="138956" cy="138956"/>
          </a:xfrm>
          <a:custGeom>
            <a:avLst/>
            <a:gdLst>
              <a:gd name="T0" fmla="*/ 133 w 133"/>
              <a:gd name="T1" fmla="*/ 28 h 133"/>
              <a:gd name="T2" fmla="*/ 133 w 133"/>
              <a:gd name="T3" fmla="*/ 106 h 133"/>
              <a:gd name="T4" fmla="*/ 125 w 133"/>
              <a:gd name="T5" fmla="*/ 125 h 133"/>
              <a:gd name="T6" fmla="*/ 106 w 133"/>
              <a:gd name="T7" fmla="*/ 133 h 133"/>
              <a:gd name="T8" fmla="*/ 27 w 133"/>
              <a:gd name="T9" fmla="*/ 133 h 133"/>
              <a:gd name="T10" fmla="*/ 8 w 133"/>
              <a:gd name="T11" fmla="*/ 125 h 133"/>
              <a:gd name="T12" fmla="*/ 0 w 133"/>
              <a:gd name="T13" fmla="*/ 106 h 133"/>
              <a:gd name="T14" fmla="*/ 0 w 133"/>
              <a:gd name="T15" fmla="*/ 28 h 133"/>
              <a:gd name="T16" fmla="*/ 8 w 133"/>
              <a:gd name="T17" fmla="*/ 8 h 133"/>
              <a:gd name="T18" fmla="*/ 27 w 133"/>
              <a:gd name="T19" fmla="*/ 0 h 133"/>
              <a:gd name="T20" fmla="*/ 106 w 133"/>
              <a:gd name="T21" fmla="*/ 0 h 133"/>
              <a:gd name="T22" fmla="*/ 125 w 133"/>
              <a:gd name="T23" fmla="*/ 8 h 133"/>
              <a:gd name="T24" fmla="*/ 133 w 133"/>
              <a:gd name="T25" fmla="*/ 28 h 133"/>
              <a:gd name="T26" fmla="*/ 106 w 133"/>
              <a:gd name="T27" fmla="*/ 12 h 133"/>
              <a:gd name="T28" fmla="*/ 27 w 133"/>
              <a:gd name="T29" fmla="*/ 12 h 133"/>
              <a:gd name="T30" fmla="*/ 17 w 133"/>
              <a:gd name="T31" fmla="*/ 17 h 133"/>
              <a:gd name="T32" fmla="*/ 12 w 133"/>
              <a:gd name="T33" fmla="*/ 28 h 133"/>
              <a:gd name="T34" fmla="*/ 12 w 133"/>
              <a:gd name="T35" fmla="*/ 106 h 133"/>
              <a:gd name="T36" fmla="*/ 17 w 133"/>
              <a:gd name="T37" fmla="*/ 117 h 133"/>
              <a:gd name="T38" fmla="*/ 27 w 133"/>
              <a:gd name="T39" fmla="*/ 121 h 133"/>
              <a:gd name="T40" fmla="*/ 106 w 133"/>
              <a:gd name="T41" fmla="*/ 121 h 133"/>
              <a:gd name="T42" fmla="*/ 117 w 133"/>
              <a:gd name="T43" fmla="*/ 117 h 133"/>
              <a:gd name="T44" fmla="*/ 121 w 133"/>
              <a:gd name="T45" fmla="*/ 106 h 133"/>
              <a:gd name="T46" fmla="*/ 121 w 133"/>
              <a:gd name="T47" fmla="*/ 28 h 133"/>
              <a:gd name="T48" fmla="*/ 117 w 133"/>
              <a:gd name="T49" fmla="*/ 17 h 133"/>
              <a:gd name="T50" fmla="*/ 106 w 133"/>
              <a:gd name="T51" fmla="*/ 1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33">
                <a:moveTo>
                  <a:pt x="133" y="28"/>
                </a:moveTo>
                <a:cubicBezTo>
                  <a:pt x="133" y="106"/>
                  <a:pt x="133" y="106"/>
                  <a:pt x="133" y="106"/>
                </a:cubicBezTo>
                <a:cubicBezTo>
                  <a:pt x="133" y="114"/>
                  <a:pt x="131" y="120"/>
                  <a:pt x="125" y="125"/>
                </a:cubicBezTo>
                <a:cubicBezTo>
                  <a:pt x="120" y="131"/>
                  <a:pt x="114" y="133"/>
                  <a:pt x="106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0" y="133"/>
                  <a:pt x="14" y="131"/>
                  <a:pt x="8" y="125"/>
                </a:cubicBezTo>
                <a:cubicBezTo>
                  <a:pt x="3" y="120"/>
                  <a:pt x="0" y="114"/>
                  <a:pt x="0" y="10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7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4" y="0"/>
                  <a:pt x="120" y="3"/>
                  <a:pt x="125" y="8"/>
                </a:cubicBezTo>
                <a:cubicBezTo>
                  <a:pt x="131" y="14"/>
                  <a:pt x="133" y="20"/>
                  <a:pt x="133" y="28"/>
                </a:cubicBezTo>
                <a:close/>
                <a:moveTo>
                  <a:pt x="106" y="12"/>
                </a:moveTo>
                <a:cubicBezTo>
                  <a:pt x="27" y="12"/>
                  <a:pt x="27" y="12"/>
                  <a:pt x="27" y="12"/>
                </a:cubicBezTo>
                <a:cubicBezTo>
                  <a:pt x="23" y="12"/>
                  <a:pt x="20" y="14"/>
                  <a:pt x="17" y="17"/>
                </a:cubicBezTo>
                <a:cubicBezTo>
                  <a:pt x="14" y="20"/>
                  <a:pt x="12" y="23"/>
                  <a:pt x="12" y="28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10"/>
                  <a:pt x="14" y="114"/>
                  <a:pt x="17" y="117"/>
                </a:cubicBezTo>
                <a:cubicBezTo>
                  <a:pt x="20" y="120"/>
                  <a:pt x="23" y="121"/>
                  <a:pt x="27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10" y="121"/>
                  <a:pt x="114" y="120"/>
                  <a:pt x="117" y="117"/>
                </a:cubicBezTo>
                <a:cubicBezTo>
                  <a:pt x="120" y="114"/>
                  <a:pt x="121" y="110"/>
                  <a:pt x="121" y="106"/>
                </a:cubicBezTo>
                <a:cubicBezTo>
                  <a:pt x="121" y="28"/>
                  <a:pt x="121" y="28"/>
                  <a:pt x="121" y="28"/>
                </a:cubicBezTo>
                <a:cubicBezTo>
                  <a:pt x="121" y="23"/>
                  <a:pt x="120" y="20"/>
                  <a:pt x="117" y="17"/>
                </a:cubicBezTo>
                <a:cubicBezTo>
                  <a:pt x="114" y="14"/>
                  <a:pt x="110" y="12"/>
                  <a:pt x="106" y="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7" name="Freeform 147"/>
          <p:cNvSpPr>
            <a:spLocks noChangeAspect="1" noEditPoints="1"/>
          </p:cNvSpPr>
          <p:nvPr/>
        </p:nvSpPr>
        <p:spPr bwMode="auto">
          <a:xfrm>
            <a:off x="6098946" y="2484518"/>
            <a:ext cx="126466" cy="148324"/>
          </a:xfrm>
          <a:custGeom>
            <a:avLst/>
            <a:gdLst>
              <a:gd name="T0" fmla="*/ 110 w 121"/>
              <a:gd name="T1" fmla="*/ 0 h 143"/>
              <a:gd name="T2" fmla="*/ 114 w 121"/>
              <a:gd name="T3" fmla="*/ 1 h 143"/>
              <a:gd name="T4" fmla="*/ 119 w 121"/>
              <a:gd name="T5" fmla="*/ 5 h 143"/>
              <a:gd name="T6" fmla="*/ 121 w 121"/>
              <a:gd name="T7" fmla="*/ 11 h 143"/>
              <a:gd name="T8" fmla="*/ 121 w 121"/>
              <a:gd name="T9" fmla="*/ 133 h 143"/>
              <a:gd name="T10" fmla="*/ 119 w 121"/>
              <a:gd name="T11" fmla="*/ 139 h 143"/>
              <a:gd name="T12" fmla="*/ 114 w 121"/>
              <a:gd name="T13" fmla="*/ 143 h 143"/>
              <a:gd name="T14" fmla="*/ 110 w 121"/>
              <a:gd name="T15" fmla="*/ 143 h 143"/>
              <a:gd name="T16" fmla="*/ 102 w 121"/>
              <a:gd name="T17" fmla="*/ 140 h 143"/>
              <a:gd name="T18" fmla="*/ 60 w 121"/>
              <a:gd name="T19" fmla="*/ 100 h 143"/>
              <a:gd name="T20" fmla="*/ 19 w 121"/>
              <a:gd name="T21" fmla="*/ 140 h 143"/>
              <a:gd name="T22" fmla="*/ 11 w 121"/>
              <a:gd name="T23" fmla="*/ 143 h 143"/>
              <a:gd name="T24" fmla="*/ 7 w 121"/>
              <a:gd name="T25" fmla="*/ 143 h 143"/>
              <a:gd name="T26" fmla="*/ 2 w 121"/>
              <a:gd name="T27" fmla="*/ 139 h 143"/>
              <a:gd name="T28" fmla="*/ 0 w 121"/>
              <a:gd name="T29" fmla="*/ 133 h 143"/>
              <a:gd name="T30" fmla="*/ 0 w 121"/>
              <a:gd name="T31" fmla="*/ 11 h 143"/>
              <a:gd name="T32" fmla="*/ 2 w 121"/>
              <a:gd name="T33" fmla="*/ 5 h 143"/>
              <a:gd name="T34" fmla="*/ 7 w 121"/>
              <a:gd name="T35" fmla="*/ 1 h 143"/>
              <a:gd name="T36" fmla="*/ 11 w 121"/>
              <a:gd name="T37" fmla="*/ 0 h 143"/>
              <a:gd name="T38" fmla="*/ 110 w 121"/>
              <a:gd name="T39" fmla="*/ 0 h 143"/>
              <a:gd name="T40" fmla="*/ 109 w 121"/>
              <a:gd name="T41" fmla="*/ 12 h 143"/>
              <a:gd name="T42" fmla="*/ 12 w 121"/>
              <a:gd name="T43" fmla="*/ 12 h 143"/>
              <a:gd name="T44" fmla="*/ 12 w 121"/>
              <a:gd name="T45" fmla="*/ 130 h 143"/>
              <a:gd name="T46" fmla="*/ 52 w 121"/>
              <a:gd name="T47" fmla="*/ 91 h 143"/>
              <a:gd name="T48" fmla="*/ 60 w 121"/>
              <a:gd name="T49" fmla="*/ 83 h 143"/>
              <a:gd name="T50" fmla="*/ 69 w 121"/>
              <a:gd name="T51" fmla="*/ 91 h 143"/>
              <a:gd name="T52" fmla="*/ 109 w 121"/>
              <a:gd name="T53" fmla="*/ 130 h 143"/>
              <a:gd name="T54" fmla="*/ 109 w 121"/>
              <a:gd name="T55" fmla="*/ 1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1" h="143">
                <a:moveTo>
                  <a:pt x="110" y="0"/>
                </a:moveTo>
                <a:cubicBezTo>
                  <a:pt x="111" y="0"/>
                  <a:pt x="113" y="1"/>
                  <a:pt x="114" y="1"/>
                </a:cubicBezTo>
                <a:cubicBezTo>
                  <a:pt x="116" y="2"/>
                  <a:pt x="118" y="3"/>
                  <a:pt x="119" y="5"/>
                </a:cubicBezTo>
                <a:cubicBezTo>
                  <a:pt x="120" y="7"/>
                  <a:pt x="121" y="9"/>
                  <a:pt x="121" y="11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21" y="135"/>
                  <a:pt x="120" y="137"/>
                  <a:pt x="119" y="139"/>
                </a:cubicBezTo>
                <a:cubicBezTo>
                  <a:pt x="118" y="140"/>
                  <a:pt x="116" y="142"/>
                  <a:pt x="114" y="143"/>
                </a:cubicBezTo>
                <a:cubicBezTo>
                  <a:pt x="113" y="143"/>
                  <a:pt x="112" y="143"/>
                  <a:pt x="110" y="143"/>
                </a:cubicBezTo>
                <a:cubicBezTo>
                  <a:pt x="107" y="143"/>
                  <a:pt x="104" y="142"/>
                  <a:pt x="102" y="140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6" y="142"/>
                  <a:pt x="14" y="143"/>
                  <a:pt x="11" y="143"/>
                </a:cubicBezTo>
                <a:cubicBezTo>
                  <a:pt x="9" y="143"/>
                  <a:pt x="8" y="143"/>
                  <a:pt x="7" y="143"/>
                </a:cubicBezTo>
                <a:cubicBezTo>
                  <a:pt x="5" y="142"/>
                  <a:pt x="3" y="140"/>
                  <a:pt x="2" y="139"/>
                </a:cubicBezTo>
                <a:cubicBezTo>
                  <a:pt x="1" y="137"/>
                  <a:pt x="0" y="135"/>
                  <a:pt x="0" y="133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9"/>
                  <a:pt x="1" y="7"/>
                  <a:pt x="2" y="5"/>
                </a:cubicBezTo>
                <a:cubicBezTo>
                  <a:pt x="3" y="3"/>
                  <a:pt x="5" y="2"/>
                  <a:pt x="7" y="1"/>
                </a:cubicBezTo>
                <a:cubicBezTo>
                  <a:pt x="8" y="1"/>
                  <a:pt x="9" y="0"/>
                  <a:pt x="11" y="0"/>
                </a:cubicBezTo>
                <a:lnTo>
                  <a:pt x="110" y="0"/>
                </a:lnTo>
                <a:close/>
                <a:moveTo>
                  <a:pt x="109" y="12"/>
                </a:moveTo>
                <a:cubicBezTo>
                  <a:pt x="12" y="12"/>
                  <a:pt x="12" y="12"/>
                  <a:pt x="12" y="12"/>
                </a:cubicBezTo>
                <a:cubicBezTo>
                  <a:pt x="12" y="130"/>
                  <a:pt x="12" y="130"/>
                  <a:pt x="12" y="130"/>
                </a:cubicBezTo>
                <a:cubicBezTo>
                  <a:pt x="52" y="91"/>
                  <a:pt x="52" y="91"/>
                  <a:pt x="52" y="91"/>
                </a:cubicBezTo>
                <a:cubicBezTo>
                  <a:pt x="60" y="83"/>
                  <a:pt x="60" y="83"/>
                  <a:pt x="60" y="83"/>
                </a:cubicBezTo>
                <a:cubicBezTo>
                  <a:pt x="69" y="91"/>
                  <a:pt x="69" y="91"/>
                  <a:pt x="69" y="91"/>
                </a:cubicBezTo>
                <a:cubicBezTo>
                  <a:pt x="109" y="130"/>
                  <a:pt x="109" y="130"/>
                  <a:pt x="109" y="130"/>
                </a:cubicBezTo>
                <a:lnTo>
                  <a:pt x="109" y="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8" name="Freeform 148"/>
          <p:cNvSpPr>
            <a:spLocks noChangeAspect="1" noEditPoints="1"/>
          </p:cNvSpPr>
          <p:nvPr/>
        </p:nvSpPr>
        <p:spPr bwMode="auto">
          <a:xfrm>
            <a:off x="6267567" y="2484518"/>
            <a:ext cx="151447" cy="151447"/>
          </a:xfrm>
          <a:custGeom>
            <a:avLst/>
            <a:gdLst>
              <a:gd name="T0" fmla="*/ 146 w 146"/>
              <a:gd name="T1" fmla="*/ 118 h 146"/>
              <a:gd name="T2" fmla="*/ 118 w 146"/>
              <a:gd name="T3" fmla="*/ 146 h 146"/>
              <a:gd name="T4" fmla="*/ 8 w 146"/>
              <a:gd name="T5" fmla="*/ 138 h 146"/>
              <a:gd name="T6" fmla="*/ 0 w 146"/>
              <a:gd name="T7" fmla="*/ 28 h 146"/>
              <a:gd name="T8" fmla="*/ 28 w 146"/>
              <a:gd name="T9" fmla="*/ 0 h 146"/>
              <a:gd name="T10" fmla="*/ 138 w 146"/>
              <a:gd name="T11" fmla="*/ 8 h 146"/>
              <a:gd name="T12" fmla="*/ 121 w 146"/>
              <a:gd name="T13" fmla="*/ 101 h 146"/>
              <a:gd name="T14" fmla="*/ 118 w 146"/>
              <a:gd name="T15" fmla="*/ 97 h 146"/>
              <a:gd name="T16" fmla="*/ 104 w 146"/>
              <a:gd name="T17" fmla="*/ 89 h 146"/>
              <a:gd name="T18" fmla="*/ 100 w 146"/>
              <a:gd name="T19" fmla="*/ 87 h 146"/>
              <a:gd name="T20" fmla="*/ 94 w 146"/>
              <a:gd name="T21" fmla="*/ 89 h 146"/>
              <a:gd name="T22" fmla="*/ 84 w 146"/>
              <a:gd name="T23" fmla="*/ 99 h 146"/>
              <a:gd name="T24" fmla="*/ 81 w 146"/>
              <a:gd name="T25" fmla="*/ 98 h 146"/>
              <a:gd name="T26" fmla="*/ 78 w 146"/>
              <a:gd name="T27" fmla="*/ 96 h 146"/>
              <a:gd name="T28" fmla="*/ 50 w 146"/>
              <a:gd name="T29" fmla="*/ 68 h 146"/>
              <a:gd name="T30" fmla="*/ 48 w 146"/>
              <a:gd name="T31" fmla="*/ 65 h 146"/>
              <a:gd name="T32" fmla="*/ 47 w 146"/>
              <a:gd name="T33" fmla="*/ 62 h 146"/>
              <a:gd name="T34" fmla="*/ 54 w 146"/>
              <a:gd name="T35" fmla="*/ 55 h 146"/>
              <a:gd name="T36" fmla="*/ 60 w 146"/>
              <a:gd name="T37" fmla="*/ 48 h 146"/>
              <a:gd name="T38" fmla="*/ 58 w 146"/>
              <a:gd name="T39" fmla="*/ 44 h 146"/>
              <a:gd name="T40" fmla="*/ 55 w 146"/>
              <a:gd name="T41" fmla="*/ 39 h 146"/>
              <a:gd name="T42" fmla="*/ 50 w 146"/>
              <a:gd name="T43" fmla="*/ 30 h 146"/>
              <a:gd name="T44" fmla="*/ 47 w 146"/>
              <a:gd name="T45" fmla="*/ 25 h 146"/>
              <a:gd name="T46" fmla="*/ 35 w 146"/>
              <a:gd name="T47" fmla="*/ 27 h 146"/>
              <a:gd name="T48" fmla="*/ 25 w 146"/>
              <a:gd name="T49" fmla="*/ 48 h 146"/>
              <a:gd name="T50" fmla="*/ 25 w 146"/>
              <a:gd name="T51" fmla="*/ 54 h 146"/>
              <a:gd name="T52" fmla="*/ 27 w 146"/>
              <a:gd name="T53" fmla="*/ 60 h 146"/>
              <a:gd name="T54" fmla="*/ 29 w 146"/>
              <a:gd name="T55" fmla="*/ 66 h 146"/>
              <a:gd name="T56" fmla="*/ 80 w 146"/>
              <a:gd name="T57" fmla="*/ 117 h 146"/>
              <a:gd name="T58" fmla="*/ 86 w 146"/>
              <a:gd name="T59" fmla="*/ 119 h 146"/>
              <a:gd name="T60" fmla="*/ 92 w 146"/>
              <a:gd name="T61" fmla="*/ 121 h 146"/>
              <a:gd name="T62" fmla="*/ 98 w 146"/>
              <a:gd name="T63" fmla="*/ 121 h 146"/>
              <a:gd name="T64" fmla="*/ 119 w 146"/>
              <a:gd name="T65" fmla="*/ 1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146">
                <a:moveTo>
                  <a:pt x="146" y="28"/>
                </a:moveTo>
                <a:cubicBezTo>
                  <a:pt x="146" y="118"/>
                  <a:pt x="146" y="118"/>
                  <a:pt x="146" y="118"/>
                </a:cubicBezTo>
                <a:cubicBezTo>
                  <a:pt x="146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6" y="20"/>
                  <a:pt x="146" y="28"/>
                </a:cubicBezTo>
                <a:close/>
                <a:moveTo>
                  <a:pt x="121" y="101"/>
                </a:moveTo>
                <a:cubicBezTo>
                  <a:pt x="121" y="100"/>
                  <a:pt x="121" y="100"/>
                  <a:pt x="121" y="100"/>
                </a:cubicBezTo>
                <a:cubicBezTo>
                  <a:pt x="121" y="99"/>
                  <a:pt x="120" y="98"/>
                  <a:pt x="118" y="97"/>
                </a:cubicBezTo>
                <a:cubicBezTo>
                  <a:pt x="115" y="95"/>
                  <a:pt x="113" y="94"/>
                  <a:pt x="109" y="92"/>
                </a:cubicBezTo>
                <a:cubicBezTo>
                  <a:pt x="104" y="89"/>
                  <a:pt x="104" y="89"/>
                  <a:pt x="104" y="89"/>
                </a:cubicBezTo>
                <a:cubicBezTo>
                  <a:pt x="104" y="89"/>
                  <a:pt x="103" y="89"/>
                  <a:pt x="102" y="88"/>
                </a:cubicBezTo>
                <a:cubicBezTo>
                  <a:pt x="102" y="87"/>
                  <a:pt x="101" y="87"/>
                  <a:pt x="100" y="87"/>
                </a:cubicBezTo>
                <a:cubicBezTo>
                  <a:pt x="99" y="86"/>
                  <a:pt x="99" y="86"/>
                  <a:pt x="98" y="86"/>
                </a:cubicBezTo>
                <a:cubicBezTo>
                  <a:pt x="97" y="86"/>
                  <a:pt x="96" y="87"/>
                  <a:pt x="94" y="89"/>
                </a:cubicBezTo>
                <a:cubicBezTo>
                  <a:pt x="92" y="91"/>
                  <a:pt x="90" y="93"/>
                  <a:pt x="88" y="95"/>
                </a:cubicBezTo>
                <a:cubicBezTo>
                  <a:pt x="87" y="98"/>
                  <a:pt x="85" y="99"/>
                  <a:pt x="84" y="99"/>
                </a:cubicBezTo>
                <a:cubicBezTo>
                  <a:pt x="84" y="99"/>
                  <a:pt x="83" y="98"/>
                  <a:pt x="83" y="98"/>
                </a:cubicBezTo>
                <a:cubicBezTo>
                  <a:pt x="82" y="98"/>
                  <a:pt x="82" y="98"/>
                  <a:pt x="81" y="98"/>
                </a:cubicBezTo>
                <a:cubicBezTo>
                  <a:pt x="81" y="97"/>
                  <a:pt x="80" y="97"/>
                  <a:pt x="80" y="97"/>
                </a:cubicBezTo>
                <a:cubicBezTo>
                  <a:pt x="79" y="96"/>
                  <a:pt x="78" y="96"/>
                  <a:pt x="78" y="96"/>
                </a:cubicBezTo>
                <a:cubicBezTo>
                  <a:pt x="72" y="92"/>
                  <a:pt x="67" y="88"/>
                  <a:pt x="62" y="84"/>
                </a:cubicBezTo>
                <a:cubicBezTo>
                  <a:pt x="58" y="79"/>
                  <a:pt x="54" y="74"/>
                  <a:pt x="50" y="68"/>
                </a:cubicBezTo>
                <a:cubicBezTo>
                  <a:pt x="50" y="68"/>
                  <a:pt x="50" y="67"/>
                  <a:pt x="49" y="67"/>
                </a:cubicBezTo>
                <a:cubicBezTo>
                  <a:pt x="49" y="66"/>
                  <a:pt x="49" y="65"/>
                  <a:pt x="48" y="65"/>
                </a:cubicBezTo>
                <a:cubicBezTo>
                  <a:pt x="48" y="65"/>
                  <a:pt x="48" y="64"/>
                  <a:pt x="48" y="63"/>
                </a:cubicBezTo>
                <a:cubicBezTo>
                  <a:pt x="48" y="63"/>
                  <a:pt x="47" y="62"/>
                  <a:pt x="47" y="62"/>
                </a:cubicBezTo>
                <a:cubicBezTo>
                  <a:pt x="47" y="61"/>
                  <a:pt x="48" y="60"/>
                  <a:pt x="49" y="59"/>
                </a:cubicBezTo>
                <a:cubicBezTo>
                  <a:pt x="51" y="57"/>
                  <a:pt x="52" y="56"/>
                  <a:pt x="54" y="55"/>
                </a:cubicBezTo>
                <a:cubicBezTo>
                  <a:pt x="55" y="54"/>
                  <a:pt x="57" y="53"/>
                  <a:pt x="58" y="51"/>
                </a:cubicBezTo>
                <a:cubicBezTo>
                  <a:pt x="59" y="50"/>
                  <a:pt x="60" y="49"/>
                  <a:pt x="60" y="48"/>
                </a:cubicBezTo>
                <a:cubicBezTo>
                  <a:pt x="60" y="47"/>
                  <a:pt x="60" y="47"/>
                  <a:pt x="59" y="46"/>
                </a:cubicBezTo>
                <a:cubicBezTo>
                  <a:pt x="59" y="45"/>
                  <a:pt x="59" y="44"/>
                  <a:pt x="58" y="44"/>
                </a:cubicBezTo>
                <a:cubicBezTo>
                  <a:pt x="57" y="43"/>
                  <a:pt x="57" y="42"/>
                  <a:pt x="57" y="42"/>
                </a:cubicBezTo>
                <a:cubicBezTo>
                  <a:pt x="57" y="41"/>
                  <a:pt x="56" y="40"/>
                  <a:pt x="55" y="39"/>
                </a:cubicBezTo>
                <a:cubicBezTo>
                  <a:pt x="55" y="38"/>
                  <a:pt x="54" y="36"/>
                  <a:pt x="53" y="35"/>
                </a:cubicBezTo>
                <a:cubicBezTo>
                  <a:pt x="52" y="33"/>
                  <a:pt x="51" y="32"/>
                  <a:pt x="50" y="30"/>
                </a:cubicBezTo>
                <a:cubicBezTo>
                  <a:pt x="50" y="29"/>
                  <a:pt x="49" y="27"/>
                  <a:pt x="48" y="26"/>
                </a:cubicBezTo>
                <a:cubicBezTo>
                  <a:pt x="47" y="25"/>
                  <a:pt x="47" y="25"/>
                  <a:pt x="47" y="25"/>
                </a:cubicBezTo>
                <a:cubicBezTo>
                  <a:pt x="46" y="25"/>
                  <a:pt x="46" y="25"/>
                  <a:pt x="45" y="25"/>
                </a:cubicBezTo>
                <a:cubicBezTo>
                  <a:pt x="42" y="25"/>
                  <a:pt x="39" y="25"/>
                  <a:pt x="35" y="27"/>
                </a:cubicBezTo>
                <a:cubicBezTo>
                  <a:pt x="33" y="28"/>
                  <a:pt x="30" y="31"/>
                  <a:pt x="28" y="36"/>
                </a:cubicBezTo>
                <a:cubicBezTo>
                  <a:pt x="26" y="40"/>
                  <a:pt x="25" y="44"/>
                  <a:pt x="25" y="48"/>
                </a:cubicBezTo>
                <a:cubicBezTo>
                  <a:pt x="25" y="49"/>
                  <a:pt x="25" y="50"/>
                  <a:pt x="25" y="51"/>
                </a:cubicBezTo>
                <a:cubicBezTo>
                  <a:pt x="25" y="52"/>
                  <a:pt x="25" y="53"/>
                  <a:pt x="25" y="54"/>
                </a:cubicBezTo>
                <a:cubicBezTo>
                  <a:pt x="26" y="55"/>
                  <a:pt x="26" y="56"/>
                  <a:pt x="26" y="57"/>
                </a:cubicBezTo>
                <a:cubicBezTo>
                  <a:pt x="27" y="58"/>
                  <a:pt x="27" y="59"/>
                  <a:pt x="27" y="60"/>
                </a:cubicBezTo>
                <a:cubicBezTo>
                  <a:pt x="27" y="60"/>
                  <a:pt x="28" y="62"/>
                  <a:pt x="28" y="63"/>
                </a:cubicBezTo>
                <a:cubicBezTo>
                  <a:pt x="29" y="65"/>
                  <a:pt x="29" y="65"/>
                  <a:pt x="29" y="66"/>
                </a:cubicBezTo>
                <a:cubicBezTo>
                  <a:pt x="33" y="76"/>
                  <a:pt x="40" y="86"/>
                  <a:pt x="50" y="96"/>
                </a:cubicBezTo>
                <a:cubicBezTo>
                  <a:pt x="60" y="106"/>
                  <a:pt x="70" y="113"/>
                  <a:pt x="80" y="117"/>
                </a:cubicBezTo>
                <a:cubicBezTo>
                  <a:pt x="81" y="117"/>
                  <a:pt x="82" y="117"/>
                  <a:pt x="83" y="118"/>
                </a:cubicBezTo>
                <a:cubicBezTo>
                  <a:pt x="85" y="118"/>
                  <a:pt x="86" y="119"/>
                  <a:pt x="86" y="119"/>
                </a:cubicBezTo>
                <a:cubicBezTo>
                  <a:pt x="87" y="119"/>
                  <a:pt x="88" y="119"/>
                  <a:pt x="89" y="120"/>
                </a:cubicBezTo>
                <a:cubicBezTo>
                  <a:pt x="90" y="120"/>
                  <a:pt x="91" y="120"/>
                  <a:pt x="92" y="121"/>
                </a:cubicBezTo>
                <a:cubicBezTo>
                  <a:pt x="93" y="121"/>
                  <a:pt x="94" y="121"/>
                  <a:pt x="95" y="121"/>
                </a:cubicBezTo>
                <a:cubicBezTo>
                  <a:pt x="96" y="121"/>
                  <a:pt x="97" y="121"/>
                  <a:pt x="98" y="121"/>
                </a:cubicBezTo>
                <a:cubicBezTo>
                  <a:pt x="102" y="121"/>
                  <a:pt x="106" y="120"/>
                  <a:pt x="110" y="118"/>
                </a:cubicBezTo>
                <a:cubicBezTo>
                  <a:pt x="115" y="116"/>
                  <a:pt x="118" y="113"/>
                  <a:pt x="119" y="111"/>
                </a:cubicBezTo>
                <a:cubicBezTo>
                  <a:pt x="121" y="107"/>
                  <a:pt x="121" y="104"/>
                  <a:pt x="121" y="1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49" name="Freeform 149"/>
          <p:cNvSpPr>
            <a:spLocks noChangeAspect="1"/>
          </p:cNvSpPr>
          <p:nvPr/>
        </p:nvSpPr>
        <p:spPr bwMode="auto">
          <a:xfrm>
            <a:off x="6465853" y="2497008"/>
            <a:ext cx="153008" cy="126466"/>
          </a:xfrm>
          <a:custGeom>
            <a:avLst/>
            <a:gdLst>
              <a:gd name="T0" fmla="*/ 149 w 149"/>
              <a:gd name="T1" fmla="*/ 15 h 121"/>
              <a:gd name="T2" fmla="*/ 134 w 149"/>
              <a:gd name="T3" fmla="*/ 31 h 121"/>
              <a:gd name="T4" fmla="*/ 134 w 149"/>
              <a:gd name="T5" fmla="*/ 35 h 121"/>
              <a:gd name="T6" fmla="*/ 131 w 149"/>
              <a:gd name="T7" fmla="*/ 59 h 121"/>
              <a:gd name="T8" fmla="*/ 120 w 149"/>
              <a:gd name="T9" fmla="*/ 83 h 121"/>
              <a:gd name="T10" fmla="*/ 102 w 149"/>
              <a:gd name="T11" fmla="*/ 103 h 121"/>
              <a:gd name="T12" fmla="*/ 78 w 149"/>
              <a:gd name="T13" fmla="*/ 116 h 121"/>
              <a:gd name="T14" fmla="*/ 47 w 149"/>
              <a:gd name="T15" fmla="*/ 121 h 121"/>
              <a:gd name="T16" fmla="*/ 0 w 149"/>
              <a:gd name="T17" fmla="*/ 108 h 121"/>
              <a:gd name="T18" fmla="*/ 8 w 149"/>
              <a:gd name="T19" fmla="*/ 108 h 121"/>
              <a:gd name="T20" fmla="*/ 46 w 149"/>
              <a:gd name="T21" fmla="*/ 95 h 121"/>
              <a:gd name="T22" fmla="*/ 28 w 149"/>
              <a:gd name="T23" fmla="*/ 89 h 121"/>
              <a:gd name="T24" fmla="*/ 17 w 149"/>
              <a:gd name="T25" fmla="*/ 74 h 121"/>
              <a:gd name="T26" fmla="*/ 23 w 149"/>
              <a:gd name="T27" fmla="*/ 74 h 121"/>
              <a:gd name="T28" fmla="*/ 31 w 149"/>
              <a:gd name="T29" fmla="*/ 73 h 121"/>
              <a:gd name="T30" fmla="*/ 13 w 149"/>
              <a:gd name="T31" fmla="*/ 63 h 121"/>
              <a:gd name="T32" fmla="*/ 6 w 149"/>
              <a:gd name="T33" fmla="*/ 43 h 121"/>
              <a:gd name="T34" fmla="*/ 6 w 149"/>
              <a:gd name="T35" fmla="*/ 43 h 121"/>
              <a:gd name="T36" fmla="*/ 20 w 149"/>
              <a:gd name="T37" fmla="*/ 47 h 121"/>
              <a:gd name="T38" fmla="*/ 10 w 149"/>
              <a:gd name="T39" fmla="*/ 36 h 121"/>
              <a:gd name="T40" fmla="*/ 7 w 149"/>
              <a:gd name="T41" fmla="*/ 21 h 121"/>
              <a:gd name="T42" fmla="*/ 11 w 149"/>
              <a:gd name="T43" fmla="*/ 6 h 121"/>
              <a:gd name="T44" fmla="*/ 39 w 149"/>
              <a:gd name="T45" fmla="*/ 29 h 121"/>
              <a:gd name="T46" fmla="*/ 74 w 149"/>
              <a:gd name="T47" fmla="*/ 38 h 121"/>
              <a:gd name="T48" fmla="*/ 73 w 149"/>
              <a:gd name="T49" fmla="*/ 31 h 121"/>
              <a:gd name="T50" fmla="*/ 82 w 149"/>
              <a:gd name="T51" fmla="*/ 9 h 121"/>
              <a:gd name="T52" fmla="*/ 104 w 149"/>
              <a:gd name="T53" fmla="*/ 0 h 121"/>
              <a:gd name="T54" fmla="*/ 126 w 149"/>
              <a:gd name="T55" fmla="*/ 10 h 121"/>
              <a:gd name="T56" fmla="*/ 145 w 149"/>
              <a:gd name="T57" fmla="*/ 3 h 121"/>
              <a:gd name="T58" fmla="*/ 132 w 149"/>
              <a:gd name="T59" fmla="*/ 20 h 121"/>
              <a:gd name="T60" fmla="*/ 149 w 149"/>
              <a:gd name="T61" fmla="*/ 1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9" h="121">
                <a:moveTo>
                  <a:pt x="149" y="15"/>
                </a:moveTo>
                <a:cubicBezTo>
                  <a:pt x="145" y="21"/>
                  <a:pt x="140" y="26"/>
                  <a:pt x="134" y="31"/>
                </a:cubicBezTo>
                <a:cubicBezTo>
                  <a:pt x="134" y="31"/>
                  <a:pt x="134" y="33"/>
                  <a:pt x="134" y="35"/>
                </a:cubicBezTo>
                <a:cubicBezTo>
                  <a:pt x="134" y="43"/>
                  <a:pt x="133" y="51"/>
                  <a:pt x="131" y="59"/>
                </a:cubicBezTo>
                <a:cubicBezTo>
                  <a:pt x="128" y="67"/>
                  <a:pt x="125" y="75"/>
                  <a:pt x="120" y="83"/>
                </a:cubicBezTo>
                <a:cubicBezTo>
                  <a:pt x="115" y="90"/>
                  <a:pt x="109" y="97"/>
                  <a:pt x="102" y="103"/>
                </a:cubicBezTo>
                <a:cubicBezTo>
                  <a:pt x="95" y="108"/>
                  <a:pt x="87" y="113"/>
                  <a:pt x="78" y="116"/>
                </a:cubicBezTo>
                <a:cubicBezTo>
                  <a:pt x="68" y="120"/>
                  <a:pt x="58" y="121"/>
                  <a:pt x="47" y="121"/>
                </a:cubicBezTo>
                <a:cubicBezTo>
                  <a:pt x="30" y="121"/>
                  <a:pt x="15" y="117"/>
                  <a:pt x="0" y="108"/>
                </a:cubicBezTo>
                <a:cubicBezTo>
                  <a:pt x="3" y="108"/>
                  <a:pt x="5" y="108"/>
                  <a:pt x="8" y="108"/>
                </a:cubicBezTo>
                <a:cubicBezTo>
                  <a:pt x="22" y="108"/>
                  <a:pt x="35" y="104"/>
                  <a:pt x="46" y="95"/>
                </a:cubicBezTo>
                <a:cubicBezTo>
                  <a:pt x="39" y="95"/>
                  <a:pt x="33" y="93"/>
                  <a:pt x="28" y="89"/>
                </a:cubicBezTo>
                <a:cubicBezTo>
                  <a:pt x="23" y="85"/>
                  <a:pt x="19" y="80"/>
                  <a:pt x="17" y="74"/>
                </a:cubicBezTo>
                <a:cubicBezTo>
                  <a:pt x="19" y="74"/>
                  <a:pt x="21" y="74"/>
                  <a:pt x="23" y="74"/>
                </a:cubicBezTo>
                <a:cubicBezTo>
                  <a:pt x="26" y="74"/>
                  <a:pt x="28" y="74"/>
                  <a:pt x="31" y="73"/>
                </a:cubicBezTo>
                <a:cubicBezTo>
                  <a:pt x="24" y="72"/>
                  <a:pt x="18" y="68"/>
                  <a:pt x="13" y="63"/>
                </a:cubicBezTo>
                <a:cubicBezTo>
                  <a:pt x="9" y="57"/>
                  <a:pt x="6" y="51"/>
                  <a:pt x="6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11" y="45"/>
                  <a:pt x="15" y="47"/>
                  <a:pt x="20" y="47"/>
                </a:cubicBezTo>
                <a:cubicBezTo>
                  <a:pt x="16" y="44"/>
                  <a:pt x="13" y="40"/>
                  <a:pt x="10" y="36"/>
                </a:cubicBezTo>
                <a:cubicBezTo>
                  <a:pt x="8" y="32"/>
                  <a:pt x="7" y="27"/>
                  <a:pt x="7" y="21"/>
                </a:cubicBezTo>
                <a:cubicBezTo>
                  <a:pt x="7" y="16"/>
                  <a:pt x="8" y="11"/>
                  <a:pt x="11" y="6"/>
                </a:cubicBezTo>
                <a:cubicBezTo>
                  <a:pt x="18" y="15"/>
                  <a:pt x="28" y="23"/>
                  <a:pt x="39" y="29"/>
                </a:cubicBezTo>
                <a:cubicBezTo>
                  <a:pt x="50" y="34"/>
                  <a:pt x="61" y="37"/>
                  <a:pt x="74" y="38"/>
                </a:cubicBezTo>
                <a:cubicBezTo>
                  <a:pt x="73" y="36"/>
                  <a:pt x="73" y="33"/>
                  <a:pt x="73" y="31"/>
                </a:cubicBezTo>
                <a:cubicBezTo>
                  <a:pt x="73" y="23"/>
                  <a:pt x="76" y="15"/>
                  <a:pt x="82" y="9"/>
                </a:cubicBezTo>
                <a:cubicBezTo>
                  <a:pt x="88" y="3"/>
                  <a:pt x="95" y="0"/>
                  <a:pt x="104" y="0"/>
                </a:cubicBezTo>
                <a:cubicBezTo>
                  <a:pt x="112" y="0"/>
                  <a:pt x="120" y="4"/>
                  <a:pt x="126" y="10"/>
                </a:cubicBezTo>
                <a:cubicBezTo>
                  <a:pt x="133" y="9"/>
                  <a:pt x="139" y="6"/>
                  <a:pt x="145" y="3"/>
                </a:cubicBezTo>
                <a:cubicBezTo>
                  <a:pt x="143" y="10"/>
                  <a:pt x="138" y="16"/>
                  <a:pt x="132" y="20"/>
                </a:cubicBezTo>
                <a:cubicBezTo>
                  <a:pt x="138" y="19"/>
                  <a:pt x="144" y="17"/>
                  <a:pt x="149" y="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0" name="Freeform 150"/>
          <p:cNvSpPr>
            <a:spLocks noChangeAspect="1"/>
          </p:cNvSpPr>
          <p:nvPr/>
        </p:nvSpPr>
        <p:spPr bwMode="auto">
          <a:xfrm>
            <a:off x="6676629" y="2473588"/>
            <a:ext cx="84311" cy="162376"/>
          </a:xfrm>
          <a:custGeom>
            <a:avLst/>
            <a:gdLst>
              <a:gd name="T0" fmla="*/ 82 w 82"/>
              <a:gd name="T1" fmla="*/ 1 h 158"/>
              <a:gd name="T2" fmla="*/ 82 w 82"/>
              <a:gd name="T3" fmla="*/ 26 h 158"/>
              <a:gd name="T4" fmla="*/ 67 w 82"/>
              <a:gd name="T5" fmla="*/ 26 h 158"/>
              <a:gd name="T6" fmla="*/ 56 w 82"/>
              <a:gd name="T7" fmla="*/ 30 h 158"/>
              <a:gd name="T8" fmla="*/ 53 w 82"/>
              <a:gd name="T9" fmla="*/ 40 h 158"/>
              <a:gd name="T10" fmla="*/ 53 w 82"/>
              <a:gd name="T11" fmla="*/ 58 h 158"/>
              <a:gd name="T12" fmla="*/ 81 w 82"/>
              <a:gd name="T13" fmla="*/ 58 h 158"/>
              <a:gd name="T14" fmla="*/ 77 w 82"/>
              <a:gd name="T15" fmla="*/ 86 h 158"/>
              <a:gd name="T16" fmla="*/ 53 w 82"/>
              <a:gd name="T17" fmla="*/ 86 h 158"/>
              <a:gd name="T18" fmla="*/ 53 w 82"/>
              <a:gd name="T19" fmla="*/ 158 h 158"/>
              <a:gd name="T20" fmla="*/ 24 w 82"/>
              <a:gd name="T21" fmla="*/ 158 h 158"/>
              <a:gd name="T22" fmla="*/ 24 w 82"/>
              <a:gd name="T23" fmla="*/ 86 h 158"/>
              <a:gd name="T24" fmla="*/ 0 w 82"/>
              <a:gd name="T25" fmla="*/ 86 h 158"/>
              <a:gd name="T26" fmla="*/ 0 w 82"/>
              <a:gd name="T27" fmla="*/ 58 h 158"/>
              <a:gd name="T28" fmla="*/ 24 w 82"/>
              <a:gd name="T29" fmla="*/ 58 h 158"/>
              <a:gd name="T30" fmla="*/ 24 w 82"/>
              <a:gd name="T31" fmla="*/ 37 h 158"/>
              <a:gd name="T32" fmla="*/ 34 w 82"/>
              <a:gd name="T33" fmla="*/ 10 h 158"/>
              <a:gd name="T34" fmla="*/ 60 w 82"/>
              <a:gd name="T35" fmla="*/ 0 h 158"/>
              <a:gd name="T36" fmla="*/ 82 w 82"/>
              <a:gd name="T37" fmla="*/ 1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2" h="158">
                <a:moveTo>
                  <a:pt x="82" y="1"/>
                </a:moveTo>
                <a:cubicBezTo>
                  <a:pt x="82" y="26"/>
                  <a:pt x="82" y="26"/>
                  <a:pt x="82" y="26"/>
                </a:cubicBezTo>
                <a:cubicBezTo>
                  <a:pt x="67" y="26"/>
                  <a:pt x="67" y="26"/>
                  <a:pt x="67" y="26"/>
                </a:cubicBezTo>
                <a:cubicBezTo>
                  <a:pt x="62" y="26"/>
                  <a:pt x="58" y="27"/>
                  <a:pt x="56" y="30"/>
                </a:cubicBezTo>
                <a:cubicBezTo>
                  <a:pt x="54" y="32"/>
                  <a:pt x="53" y="35"/>
                  <a:pt x="53" y="40"/>
                </a:cubicBezTo>
                <a:cubicBezTo>
                  <a:pt x="53" y="58"/>
                  <a:pt x="53" y="58"/>
                  <a:pt x="53" y="58"/>
                </a:cubicBezTo>
                <a:cubicBezTo>
                  <a:pt x="81" y="58"/>
                  <a:pt x="81" y="58"/>
                  <a:pt x="81" y="58"/>
                </a:cubicBezTo>
                <a:cubicBezTo>
                  <a:pt x="77" y="86"/>
                  <a:pt x="77" y="86"/>
                  <a:pt x="77" y="86"/>
                </a:cubicBezTo>
                <a:cubicBezTo>
                  <a:pt x="53" y="86"/>
                  <a:pt x="53" y="86"/>
                  <a:pt x="53" y="86"/>
                </a:cubicBezTo>
                <a:cubicBezTo>
                  <a:pt x="53" y="158"/>
                  <a:pt x="53" y="158"/>
                  <a:pt x="53" y="158"/>
                </a:cubicBezTo>
                <a:cubicBezTo>
                  <a:pt x="24" y="158"/>
                  <a:pt x="24" y="158"/>
                  <a:pt x="24" y="158"/>
                </a:cubicBezTo>
                <a:cubicBezTo>
                  <a:pt x="24" y="86"/>
                  <a:pt x="24" y="86"/>
                  <a:pt x="24" y="86"/>
                </a:cubicBezTo>
                <a:cubicBezTo>
                  <a:pt x="0" y="86"/>
                  <a:pt x="0" y="86"/>
                  <a:pt x="0" y="86"/>
                </a:cubicBezTo>
                <a:cubicBezTo>
                  <a:pt x="0" y="58"/>
                  <a:pt x="0" y="58"/>
                  <a:pt x="0" y="58"/>
                </a:cubicBezTo>
                <a:cubicBezTo>
                  <a:pt x="24" y="58"/>
                  <a:pt x="24" y="58"/>
                  <a:pt x="24" y="58"/>
                </a:cubicBezTo>
                <a:cubicBezTo>
                  <a:pt x="24" y="37"/>
                  <a:pt x="24" y="37"/>
                  <a:pt x="24" y="37"/>
                </a:cubicBezTo>
                <a:cubicBezTo>
                  <a:pt x="24" y="25"/>
                  <a:pt x="27" y="16"/>
                  <a:pt x="34" y="10"/>
                </a:cubicBezTo>
                <a:cubicBezTo>
                  <a:pt x="41" y="3"/>
                  <a:pt x="49" y="0"/>
                  <a:pt x="60" y="0"/>
                </a:cubicBezTo>
                <a:cubicBezTo>
                  <a:pt x="69" y="0"/>
                  <a:pt x="77" y="1"/>
                  <a:pt x="82" y="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1" name="Freeform 151"/>
          <p:cNvSpPr>
            <a:spLocks noChangeAspect="1"/>
          </p:cNvSpPr>
          <p:nvPr/>
        </p:nvSpPr>
        <p:spPr bwMode="auto">
          <a:xfrm>
            <a:off x="6809340" y="2484518"/>
            <a:ext cx="151447" cy="148324"/>
          </a:xfrm>
          <a:custGeom>
            <a:avLst/>
            <a:gdLst>
              <a:gd name="T0" fmla="*/ 146 w 146"/>
              <a:gd name="T1" fmla="*/ 73 h 142"/>
              <a:gd name="T2" fmla="*/ 132 w 146"/>
              <a:gd name="T3" fmla="*/ 116 h 142"/>
              <a:gd name="T4" fmla="*/ 96 w 146"/>
              <a:gd name="T5" fmla="*/ 142 h 142"/>
              <a:gd name="T6" fmla="*/ 92 w 146"/>
              <a:gd name="T7" fmla="*/ 141 h 142"/>
              <a:gd name="T8" fmla="*/ 91 w 146"/>
              <a:gd name="T9" fmla="*/ 138 h 142"/>
              <a:gd name="T10" fmla="*/ 91 w 146"/>
              <a:gd name="T11" fmla="*/ 118 h 142"/>
              <a:gd name="T12" fmla="*/ 86 w 146"/>
              <a:gd name="T13" fmla="*/ 105 h 142"/>
              <a:gd name="T14" fmla="*/ 96 w 146"/>
              <a:gd name="T15" fmla="*/ 103 h 142"/>
              <a:gd name="T16" fmla="*/ 105 w 146"/>
              <a:gd name="T17" fmla="*/ 100 h 142"/>
              <a:gd name="T18" fmla="*/ 112 w 146"/>
              <a:gd name="T19" fmla="*/ 93 h 142"/>
              <a:gd name="T20" fmla="*/ 117 w 146"/>
              <a:gd name="T21" fmla="*/ 83 h 142"/>
              <a:gd name="T22" fmla="*/ 119 w 146"/>
              <a:gd name="T23" fmla="*/ 69 h 142"/>
              <a:gd name="T24" fmla="*/ 112 w 146"/>
              <a:gd name="T25" fmla="*/ 50 h 142"/>
              <a:gd name="T26" fmla="*/ 111 w 146"/>
              <a:gd name="T27" fmla="*/ 30 h 142"/>
              <a:gd name="T28" fmla="*/ 104 w 146"/>
              <a:gd name="T29" fmla="*/ 31 h 142"/>
              <a:gd name="T30" fmla="*/ 95 w 146"/>
              <a:gd name="T31" fmla="*/ 36 h 142"/>
              <a:gd name="T32" fmla="*/ 91 w 146"/>
              <a:gd name="T33" fmla="*/ 38 h 142"/>
              <a:gd name="T34" fmla="*/ 73 w 146"/>
              <a:gd name="T35" fmla="*/ 35 h 142"/>
              <a:gd name="T36" fmla="*/ 55 w 146"/>
              <a:gd name="T37" fmla="*/ 38 h 142"/>
              <a:gd name="T38" fmla="*/ 51 w 146"/>
              <a:gd name="T39" fmla="*/ 35 h 142"/>
              <a:gd name="T40" fmla="*/ 43 w 146"/>
              <a:gd name="T41" fmla="*/ 32 h 142"/>
              <a:gd name="T42" fmla="*/ 35 w 146"/>
              <a:gd name="T43" fmla="*/ 30 h 142"/>
              <a:gd name="T44" fmla="*/ 34 w 146"/>
              <a:gd name="T45" fmla="*/ 50 h 142"/>
              <a:gd name="T46" fmla="*/ 27 w 146"/>
              <a:gd name="T47" fmla="*/ 69 h 142"/>
              <a:gd name="T48" fmla="*/ 29 w 146"/>
              <a:gd name="T49" fmla="*/ 83 h 142"/>
              <a:gd name="T50" fmla="*/ 34 w 146"/>
              <a:gd name="T51" fmla="*/ 93 h 142"/>
              <a:gd name="T52" fmla="*/ 41 w 146"/>
              <a:gd name="T53" fmla="*/ 100 h 142"/>
              <a:gd name="T54" fmla="*/ 50 w 146"/>
              <a:gd name="T55" fmla="*/ 103 h 142"/>
              <a:gd name="T56" fmla="*/ 60 w 146"/>
              <a:gd name="T57" fmla="*/ 105 h 142"/>
              <a:gd name="T58" fmla="*/ 55 w 146"/>
              <a:gd name="T59" fmla="*/ 115 h 142"/>
              <a:gd name="T60" fmla="*/ 51 w 146"/>
              <a:gd name="T61" fmla="*/ 116 h 142"/>
              <a:gd name="T62" fmla="*/ 46 w 146"/>
              <a:gd name="T63" fmla="*/ 117 h 142"/>
              <a:gd name="T64" fmla="*/ 39 w 146"/>
              <a:gd name="T65" fmla="*/ 115 h 142"/>
              <a:gd name="T66" fmla="*/ 34 w 146"/>
              <a:gd name="T67" fmla="*/ 109 h 142"/>
              <a:gd name="T68" fmla="*/ 30 w 146"/>
              <a:gd name="T69" fmla="*/ 104 h 142"/>
              <a:gd name="T70" fmla="*/ 25 w 146"/>
              <a:gd name="T71" fmla="*/ 102 h 142"/>
              <a:gd name="T72" fmla="*/ 23 w 146"/>
              <a:gd name="T73" fmla="*/ 101 h 142"/>
              <a:gd name="T74" fmla="*/ 20 w 146"/>
              <a:gd name="T75" fmla="*/ 102 h 142"/>
              <a:gd name="T76" fmla="*/ 20 w 146"/>
              <a:gd name="T77" fmla="*/ 103 h 142"/>
              <a:gd name="T78" fmla="*/ 21 w 146"/>
              <a:gd name="T79" fmla="*/ 104 h 142"/>
              <a:gd name="T80" fmla="*/ 22 w 146"/>
              <a:gd name="T81" fmla="*/ 105 h 142"/>
              <a:gd name="T82" fmla="*/ 23 w 146"/>
              <a:gd name="T83" fmla="*/ 106 h 142"/>
              <a:gd name="T84" fmla="*/ 27 w 146"/>
              <a:gd name="T85" fmla="*/ 109 h 142"/>
              <a:gd name="T86" fmla="*/ 30 w 146"/>
              <a:gd name="T87" fmla="*/ 114 h 142"/>
              <a:gd name="T88" fmla="*/ 31 w 146"/>
              <a:gd name="T89" fmla="*/ 116 h 142"/>
              <a:gd name="T90" fmla="*/ 35 w 146"/>
              <a:gd name="T91" fmla="*/ 122 h 142"/>
              <a:gd name="T92" fmla="*/ 41 w 146"/>
              <a:gd name="T93" fmla="*/ 125 h 142"/>
              <a:gd name="T94" fmla="*/ 48 w 146"/>
              <a:gd name="T95" fmla="*/ 126 h 142"/>
              <a:gd name="T96" fmla="*/ 53 w 146"/>
              <a:gd name="T97" fmla="*/ 125 h 142"/>
              <a:gd name="T98" fmla="*/ 55 w 146"/>
              <a:gd name="T99" fmla="*/ 125 h 142"/>
              <a:gd name="T100" fmla="*/ 55 w 146"/>
              <a:gd name="T101" fmla="*/ 133 h 142"/>
              <a:gd name="T102" fmla="*/ 55 w 146"/>
              <a:gd name="T103" fmla="*/ 138 h 142"/>
              <a:gd name="T104" fmla="*/ 54 w 146"/>
              <a:gd name="T105" fmla="*/ 141 h 142"/>
              <a:gd name="T106" fmla="*/ 50 w 146"/>
              <a:gd name="T107" fmla="*/ 142 h 142"/>
              <a:gd name="T108" fmla="*/ 14 w 146"/>
              <a:gd name="T109" fmla="*/ 116 h 142"/>
              <a:gd name="T110" fmla="*/ 0 w 146"/>
              <a:gd name="T111" fmla="*/ 73 h 142"/>
              <a:gd name="T112" fmla="*/ 10 w 146"/>
              <a:gd name="T113" fmla="*/ 36 h 142"/>
              <a:gd name="T114" fmla="*/ 37 w 146"/>
              <a:gd name="T115" fmla="*/ 10 h 142"/>
              <a:gd name="T116" fmla="*/ 73 w 146"/>
              <a:gd name="T117" fmla="*/ 0 h 142"/>
              <a:gd name="T118" fmla="*/ 110 w 146"/>
              <a:gd name="T119" fmla="*/ 10 h 142"/>
              <a:gd name="T120" fmla="*/ 136 w 146"/>
              <a:gd name="T121" fmla="*/ 36 h 142"/>
              <a:gd name="T122" fmla="*/ 146 w 146"/>
              <a:gd name="T123" fmla="*/ 7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6" h="142">
                <a:moveTo>
                  <a:pt x="146" y="73"/>
                </a:moveTo>
                <a:cubicBezTo>
                  <a:pt x="146" y="89"/>
                  <a:pt x="141" y="103"/>
                  <a:pt x="132" y="116"/>
                </a:cubicBezTo>
                <a:cubicBezTo>
                  <a:pt x="123" y="128"/>
                  <a:pt x="111" y="137"/>
                  <a:pt x="96" y="142"/>
                </a:cubicBezTo>
                <a:cubicBezTo>
                  <a:pt x="94" y="142"/>
                  <a:pt x="93" y="142"/>
                  <a:pt x="92" y="141"/>
                </a:cubicBezTo>
                <a:cubicBezTo>
                  <a:pt x="92" y="140"/>
                  <a:pt x="91" y="140"/>
                  <a:pt x="91" y="138"/>
                </a:cubicBezTo>
                <a:cubicBezTo>
                  <a:pt x="91" y="118"/>
                  <a:pt x="91" y="118"/>
                  <a:pt x="91" y="118"/>
                </a:cubicBezTo>
                <a:cubicBezTo>
                  <a:pt x="91" y="112"/>
                  <a:pt x="90" y="108"/>
                  <a:pt x="86" y="105"/>
                </a:cubicBezTo>
                <a:cubicBezTo>
                  <a:pt x="90" y="105"/>
                  <a:pt x="93" y="104"/>
                  <a:pt x="96" y="103"/>
                </a:cubicBezTo>
                <a:cubicBezTo>
                  <a:pt x="99" y="103"/>
                  <a:pt x="102" y="101"/>
                  <a:pt x="105" y="100"/>
                </a:cubicBezTo>
                <a:cubicBezTo>
                  <a:pt x="108" y="98"/>
                  <a:pt x="110" y="96"/>
                  <a:pt x="112" y="93"/>
                </a:cubicBezTo>
                <a:cubicBezTo>
                  <a:pt x="115" y="91"/>
                  <a:pt x="116" y="88"/>
                  <a:pt x="117" y="83"/>
                </a:cubicBezTo>
                <a:cubicBezTo>
                  <a:pt x="119" y="79"/>
                  <a:pt x="119" y="75"/>
                  <a:pt x="119" y="69"/>
                </a:cubicBezTo>
                <a:cubicBezTo>
                  <a:pt x="119" y="62"/>
                  <a:pt x="117" y="55"/>
                  <a:pt x="112" y="50"/>
                </a:cubicBezTo>
                <a:cubicBezTo>
                  <a:pt x="114" y="44"/>
                  <a:pt x="114" y="38"/>
                  <a:pt x="111" y="30"/>
                </a:cubicBezTo>
                <a:cubicBezTo>
                  <a:pt x="109" y="30"/>
                  <a:pt x="107" y="30"/>
                  <a:pt x="104" y="31"/>
                </a:cubicBezTo>
                <a:cubicBezTo>
                  <a:pt x="100" y="33"/>
                  <a:pt x="97" y="34"/>
                  <a:pt x="95" y="36"/>
                </a:cubicBezTo>
                <a:cubicBezTo>
                  <a:pt x="91" y="38"/>
                  <a:pt x="91" y="38"/>
                  <a:pt x="91" y="38"/>
                </a:cubicBezTo>
                <a:cubicBezTo>
                  <a:pt x="85" y="36"/>
                  <a:pt x="79" y="35"/>
                  <a:pt x="73" y="35"/>
                </a:cubicBezTo>
                <a:cubicBezTo>
                  <a:pt x="67" y="35"/>
                  <a:pt x="61" y="36"/>
                  <a:pt x="55" y="38"/>
                </a:cubicBezTo>
                <a:cubicBezTo>
                  <a:pt x="54" y="37"/>
                  <a:pt x="53" y="36"/>
                  <a:pt x="51" y="35"/>
                </a:cubicBezTo>
                <a:cubicBezTo>
                  <a:pt x="49" y="34"/>
                  <a:pt x="47" y="33"/>
                  <a:pt x="43" y="32"/>
                </a:cubicBezTo>
                <a:cubicBezTo>
                  <a:pt x="39" y="30"/>
                  <a:pt x="37" y="30"/>
                  <a:pt x="35" y="30"/>
                </a:cubicBezTo>
                <a:cubicBezTo>
                  <a:pt x="32" y="38"/>
                  <a:pt x="32" y="44"/>
                  <a:pt x="34" y="50"/>
                </a:cubicBezTo>
                <a:cubicBezTo>
                  <a:pt x="29" y="55"/>
                  <a:pt x="27" y="62"/>
                  <a:pt x="27" y="69"/>
                </a:cubicBezTo>
                <a:cubicBezTo>
                  <a:pt x="27" y="75"/>
                  <a:pt x="27" y="79"/>
                  <a:pt x="29" y="83"/>
                </a:cubicBezTo>
                <a:cubicBezTo>
                  <a:pt x="30" y="87"/>
                  <a:pt x="32" y="91"/>
                  <a:pt x="34" y="93"/>
                </a:cubicBezTo>
                <a:cubicBezTo>
                  <a:pt x="36" y="96"/>
                  <a:pt x="38" y="98"/>
                  <a:pt x="41" y="100"/>
                </a:cubicBezTo>
                <a:cubicBezTo>
                  <a:pt x="44" y="101"/>
                  <a:pt x="47" y="103"/>
                  <a:pt x="50" y="103"/>
                </a:cubicBezTo>
                <a:cubicBezTo>
                  <a:pt x="53" y="104"/>
                  <a:pt x="56" y="105"/>
                  <a:pt x="60" y="105"/>
                </a:cubicBezTo>
                <a:cubicBezTo>
                  <a:pt x="57" y="107"/>
                  <a:pt x="56" y="111"/>
                  <a:pt x="55" y="115"/>
                </a:cubicBezTo>
                <a:cubicBezTo>
                  <a:pt x="54" y="115"/>
                  <a:pt x="52" y="116"/>
                  <a:pt x="51" y="116"/>
                </a:cubicBezTo>
                <a:cubicBezTo>
                  <a:pt x="49" y="116"/>
                  <a:pt x="48" y="117"/>
                  <a:pt x="46" y="117"/>
                </a:cubicBezTo>
                <a:cubicBezTo>
                  <a:pt x="43" y="117"/>
                  <a:pt x="41" y="116"/>
                  <a:pt x="39" y="115"/>
                </a:cubicBezTo>
                <a:cubicBezTo>
                  <a:pt x="37" y="113"/>
                  <a:pt x="36" y="111"/>
                  <a:pt x="34" y="109"/>
                </a:cubicBezTo>
                <a:cubicBezTo>
                  <a:pt x="33" y="107"/>
                  <a:pt x="31" y="105"/>
                  <a:pt x="30" y="104"/>
                </a:cubicBezTo>
                <a:cubicBezTo>
                  <a:pt x="28" y="103"/>
                  <a:pt x="26" y="102"/>
                  <a:pt x="25" y="102"/>
                </a:cubicBezTo>
                <a:cubicBezTo>
                  <a:pt x="23" y="101"/>
                  <a:pt x="23" y="101"/>
                  <a:pt x="23" y="101"/>
                </a:cubicBezTo>
                <a:cubicBezTo>
                  <a:pt x="22" y="101"/>
                  <a:pt x="21" y="101"/>
                  <a:pt x="20" y="102"/>
                </a:cubicBezTo>
                <a:cubicBezTo>
                  <a:pt x="20" y="102"/>
                  <a:pt x="20" y="102"/>
                  <a:pt x="20" y="103"/>
                </a:cubicBezTo>
                <a:cubicBezTo>
                  <a:pt x="20" y="103"/>
                  <a:pt x="20" y="104"/>
                  <a:pt x="21" y="104"/>
                </a:cubicBezTo>
                <a:cubicBezTo>
                  <a:pt x="21" y="104"/>
                  <a:pt x="21" y="105"/>
                  <a:pt x="22" y="105"/>
                </a:cubicBezTo>
                <a:cubicBezTo>
                  <a:pt x="23" y="106"/>
                  <a:pt x="23" y="106"/>
                  <a:pt x="23" y="106"/>
                </a:cubicBezTo>
                <a:cubicBezTo>
                  <a:pt x="24" y="106"/>
                  <a:pt x="25" y="107"/>
                  <a:pt x="27" y="109"/>
                </a:cubicBezTo>
                <a:cubicBezTo>
                  <a:pt x="28" y="111"/>
                  <a:pt x="29" y="113"/>
                  <a:pt x="30" y="114"/>
                </a:cubicBezTo>
                <a:cubicBezTo>
                  <a:pt x="31" y="116"/>
                  <a:pt x="31" y="116"/>
                  <a:pt x="31" y="116"/>
                </a:cubicBezTo>
                <a:cubicBezTo>
                  <a:pt x="31" y="119"/>
                  <a:pt x="33" y="121"/>
                  <a:pt x="35" y="122"/>
                </a:cubicBezTo>
                <a:cubicBezTo>
                  <a:pt x="37" y="124"/>
                  <a:pt x="39" y="124"/>
                  <a:pt x="41" y="125"/>
                </a:cubicBezTo>
                <a:cubicBezTo>
                  <a:pt x="43" y="125"/>
                  <a:pt x="46" y="126"/>
                  <a:pt x="48" y="126"/>
                </a:cubicBezTo>
                <a:cubicBezTo>
                  <a:pt x="50" y="126"/>
                  <a:pt x="51" y="125"/>
                  <a:pt x="53" y="125"/>
                </a:cubicBezTo>
                <a:cubicBezTo>
                  <a:pt x="55" y="125"/>
                  <a:pt x="55" y="125"/>
                  <a:pt x="55" y="125"/>
                </a:cubicBezTo>
                <a:cubicBezTo>
                  <a:pt x="55" y="127"/>
                  <a:pt x="55" y="130"/>
                  <a:pt x="55" y="133"/>
                </a:cubicBezTo>
                <a:cubicBezTo>
                  <a:pt x="55" y="136"/>
                  <a:pt x="55" y="138"/>
                  <a:pt x="55" y="138"/>
                </a:cubicBezTo>
                <a:cubicBezTo>
                  <a:pt x="55" y="140"/>
                  <a:pt x="55" y="140"/>
                  <a:pt x="54" y="141"/>
                </a:cubicBezTo>
                <a:cubicBezTo>
                  <a:pt x="53" y="142"/>
                  <a:pt x="52" y="142"/>
                  <a:pt x="50" y="142"/>
                </a:cubicBezTo>
                <a:cubicBezTo>
                  <a:pt x="35" y="137"/>
                  <a:pt x="24" y="128"/>
                  <a:pt x="14" y="116"/>
                </a:cubicBezTo>
                <a:cubicBezTo>
                  <a:pt x="5" y="103"/>
                  <a:pt x="0" y="89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6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6"/>
                </a:cubicBezTo>
                <a:cubicBezTo>
                  <a:pt x="142" y="48"/>
                  <a:pt x="146" y="60"/>
                  <a:pt x="146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2" name="Freeform 152"/>
          <p:cNvSpPr>
            <a:spLocks noChangeAspect="1"/>
          </p:cNvSpPr>
          <p:nvPr/>
        </p:nvSpPr>
        <p:spPr bwMode="auto">
          <a:xfrm>
            <a:off x="7002942" y="2484518"/>
            <a:ext cx="163937" cy="138956"/>
          </a:xfrm>
          <a:custGeom>
            <a:avLst/>
            <a:gdLst>
              <a:gd name="T0" fmla="*/ 158 w 158"/>
              <a:gd name="T1" fmla="*/ 43 h 133"/>
              <a:gd name="T2" fmla="*/ 158 w 158"/>
              <a:gd name="T3" fmla="*/ 67 h 133"/>
              <a:gd name="T4" fmla="*/ 156 w 158"/>
              <a:gd name="T5" fmla="*/ 71 h 133"/>
              <a:gd name="T6" fmla="*/ 152 w 158"/>
              <a:gd name="T7" fmla="*/ 73 h 133"/>
              <a:gd name="T8" fmla="*/ 145 w 158"/>
              <a:gd name="T9" fmla="*/ 73 h 133"/>
              <a:gd name="T10" fmla="*/ 141 w 158"/>
              <a:gd name="T11" fmla="*/ 71 h 133"/>
              <a:gd name="T12" fmla="*/ 139 w 158"/>
              <a:gd name="T13" fmla="*/ 67 h 133"/>
              <a:gd name="T14" fmla="*/ 139 w 158"/>
              <a:gd name="T15" fmla="*/ 43 h 133"/>
              <a:gd name="T16" fmla="*/ 132 w 158"/>
              <a:gd name="T17" fmla="*/ 26 h 133"/>
              <a:gd name="T18" fmla="*/ 115 w 158"/>
              <a:gd name="T19" fmla="*/ 18 h 133"/>
              <a:gd name="T20" fmla="*/ 98 w 158"/>
              <a:gd name="T21" fmla="*/ 26 h 133"/>
              <a:gd name="T22" fmla="*/ 91 w 158"/>
              <a:gd name="T23" fmla="*/ 43 h 133"/>
              <a:gd name="T24" fmla="*/ 91 w 158"/>
              <a:gd name="T25" fmla="*/ 61 h 133"/>
              <a:gd name="T26" fmla="*/ 100 w 158"/>
              <a:gd name="T27" fmla="*/ 61 h 133"/>
              <a:gd name="T28" fmla="*/ 107 w 158"/>
              <a:gd name="T29" fmla="*/ 63 h 133"/>
              <a:gd name="T30" fmla="*/ 109 w 158"/>
              <a:gd name="T31" fmla="*/ 70 h 133"/>
              <a:gd name="T32" fmla="*/ 109 w 158"/>
              <a:gd name="T33" fmla="*/ 124 h 133"/>
              <a:gd name="T34" fmla="*/ 107 w 158"/>
              <a:gd name="T35" fmla="*/ 131 h 133"/>
              <a:gd name="T36" fmla="*/ 100 w 158"/>
              <a:gd name="T37" fmla="*/ 133 h 133"/>
              <a:gd name="T38" fmla="*/ 9 w 158"/>
              <a:gd name="T39" fmla="*/ 133 h 133"/>
              <a:gd name="T40" fmla="*/ 3 w 158"/>
              <a:gd name="T41" fmla="*/ 131 h 133"/>
              <a:gd name="T42" fmla="*/ 0 w 158"/>
              <a:gd name="T43" fmla="*/ 124 h 133"/>
              <a:gd name="T44" fmla="*/ 0 w 158"/>
              <a:gd name="T45" fmla="*/ 70 h 133"/>
              <a:gd name="T46" fmla="*/ 3 w 158"/>
              <a:gd name="T47" fmla="*/ 63 h 133"/>
              <a:gd name="T48" fmla="*/ 9 w 158"/>
              <a:gd name="T49" fmla="*/ 61 h 133"/>
              <a:gd name="T50" fmla="*/ 73 w 158"/>
              <a:gd name="T51" fmla="*/ 61 h 133"/>
              <a:gd name="T52" fmla="*/ 73 w 158"/>
              <a:gd name="T53" fmla="*/ 43 h 133"/>
              <a:gd name="T54" fmla="*/ 85 w 158"/>
              <a:gd name="T55" fmla="*/ 13 h 133"/>
              <a:gd name="T56" fmla="*/ 115 w 158"/>
              <a:gd name="T57" fmla="*/ 0 h 133"/>
              <a:gd name="T58" fmla="*/ 145 w 158"/>
              <a:gd name="T59" fmla="*/ 13 h 133"/>
              <a:gd name="T60" fmla="*/ 158 w 158"/>
              <a:gd name="T61" fmla="*/ 4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58" h="133">
                <a:moveTo>
                  <a:pt x="158" y="43"/>
                </a:moveTo>
                <a:cubicBezTo>
                  <a:pt x="158" y="67"/>
                  <a:pt x="158" y="67"/>
                  <a:pt x="158" y="67"/>
                </a:cubicBezTo>
                <a:cubicBezTo>
                  <a:pt x="158" y="69"/>
                  <a:pt x="157" y="70"/>
                  <a:pt x="156" y="71"/>
                </a:cubicBezTo>
                <a:cubicBezTo>
                  <a:pt x="155" y="72"/>
                  <a:pt x="153" y="73"/>
                  <a:pt x="152" y="73"/>
                </a:cubicBezTo>
                <a:cubicBezTo>
                  <a:pt x="145" y="73"/>
                  <a:pt x="145" y="73"/>
                  <a:pt x="145" y="73"/>
                </a:cubicBezTo>
                <a:cubicBezTo>
                  <a:pt x="144" y="73"/>
                  <a:pt x="142" y="72"/>
                  <a:pt x="141" y="71"/>
                </a:cubicBezTo>
                <a:cubicBezTo>
                  <a:pt x="140" y="70"/>
                  <a:pt x="139" y="69"/>
                  <a:pt x="139" y="67"/>
                </a:cubicBezTo>
                <a:cubicBezTo>
                  <a:pt x="139" y="43"/>
                  <a:pt x="139" y="43"/>
                  <a:pt x="139" y="43"/>
                </a:cubicBezTo>
                <a:cubicBezTo>
                  <a:pt x="139" y="36"/>
                  <a:pt x="137" y="30"/>
                  <a:pt x="132" y="26"/>
                </a:cubicBezTo>
                <a:cubicBezTo>
                  <a:pt x="128" y="21"/>
                  <a:pt x="122" y="18"/>
                  <a:pt x="115" y="18"/>
                </a:cubicBezTo>
                <a:cubicBezTo>
                  <a:pt x="109" y="18"/>
                  <a:pt x="103" y="21"/>
                  <a:pt x="98" y="26"/>
                </a:cubicBezTo>
                <a:cubicBezTo>
                  <a:pt x="93" y="30"/>
                  <a:pt x="91" y="36"/>
                  <a:pt x="91" y="43"/>
                </a:cubicBezTo>
                <a:cubicBezTo>
                  <a:pt x="91" y="61"/>
                  <a:pt x="91" y="61"/>
                  <a:pt x="91" y="61"/>
                </a:cubicBezTo>
                <a:cubicBezTo>
                  <a:pt x="100" y="61"/>
                  <a:pt x="100" y="61"/>
                  <a:pt x="100" y="61"/>
                </a:cubicBezTo>
                <a:cubicBezTo>
                  <a:pt x="103" y="61"/>
                  <a:pt x="105" y="62"/>
                  <a:pt x="107" y="63"/>
                </a:cubicBezTo>
                <a:cubicBezTo>
                  <a:pt x="108" y="65"/>
                  <a:pt x="109" y="67"/>
                  <a:pt x="109" y="70"/>
                </a:cubicBezTo>
                <a:cubicBezTo>
                  <a:pt x="109" y="124"/>
                  <a:pt x="109" y="124"/>
                  <a:pt x="109" y="124"/>
                </a:cubicBezTo>
                <a:cubicBezTo>
                  <a:pt x="109" y="127"/>
                  <a:pt x="108" y="129"/>
                  <a:pt x="107" y="131"/>
                </a:cubicBezTo>
                <a:cubicBezTo>
                  <a:pt x="105" y="133"/>
                  <a:pt x="103" y="133"/>
                  <a:pt x="100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3"/>
                  <a:pt x="5" y="133"/>
                  <a:pt x="3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67"/>
                  <a:pt x="1" y="65"/>
                  <a:pt x="3" y="63"/>
                </a:cubicBezTo>
                <a:cubicBezTo>
                  <a:pt x="5" y="62"/>
                  <a:pt x="7" y="61"/>
                  <a:pt x="9" y="61"/>
                </a:cubicBezTo>
                <a:cubicBezTo>
                  <a:pt x="73" y="61"/>
                  <a:pt x="73" y="61"/>
                  <a:pt x="73" y="61"/>
                </a:cubicBezTo>
                <a:cubicBezTo>
                  <a:pt x="73" y="43"/>
                  <a:pt x="73" y="43"/>
                  <a:pt x="73" y="43"/>
                </a:cubicBezTo>
                <a:cubicBezTo>
                  <a:pt x="73" y="31"/>
                  <a:pt x="77" y="21"/>
                  <a:pt x="85" y="13"/>
                </a:cubicBezTo>
                <a:cubicBezTo>
                  <a:pt x="94" y="4"/>
                  <a:pt x="104" y="0"/>
                  <a:pt x="115" y="0"/>
                </a:cubicBezTo>
                <a:cubicBezTo>
                  <a:pt x="127" y="0"/>
                  <a:pt x="137" y="4"/>
                  <a:pt x="145" y="13"/>
                </a:cubicBezTo>
                <a:cubicBezTo>
                  <a:pt x="153" y="21"/>
                  <a:pt x="158" y="31"/>
                  <a:pt x="158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3" name="Freeform 153"/>
          <p:cNvSpPr>
            <a:spLocks noChangeAspect="1" noEditPoints="1"/>
          </p:cNvSpPr>
          <p:nvPr/>
        </p:nvSpPr>
        <p:spPr bwMode="auto">
          <a:xfrm>
            <a:off x="7209035" y="2484518"/>
            <a:ext cx="188918" cy="151447"/>
          </a:xfrm>
          <a:custGeom>
            <a:avLst/>
            <a:gdLst>
              <a:gd name="T0" fmla="*/ 167 w 182"/>
              <a:gd name="T1" fmla="*/ 0 h 146"/>
              <a:gd name="T2" fmla="*/ 177 w 182"/>
              <a:gd name="T3" fmla="*/ 5 h 146"/>
              <a:gd name="T4" fmla="*/ 182 w 182"/>
              <a:gd name="T5" fmla="*/ 15 h 146"/>
              <a:gd name="T6" fmla="*/ 182 w 182"/>
              <a:gd name="T7" fmla="*/ 130 h 146"/>
              <a:gd name="T8" fmla="*/ 177 w 182"/>
              <a:gd name="T9" fmla="*/ 141 h 146"/>
              <a:gd name="T10" fmla="*/ 167 w 182"/>
              <a:gd name="T11" fmla="*/ 146 h 146"/>
              <a:gd name="T12" fmla="*/ 15 w 182"/>
              <a:gd name="T13" fmla="*/ 146 h 146"/>
              <a:gd name="T14" fmla="*/ 5 w 182"/>
              <a:gd name="T15" fmla="*/ 141 h 146"/>
              <a:gd name="T16" fmla="*/ 0 w 182"/>
              <a:gd name="T17" fmla="*/ 130 h 146"/>
              <a:gd name="T18" fmla="*/ 0 w 182"/>
              <a:gd name="T19" fmla="*/ 15 h 146"/>
              <a:gd name="T20" fmla="*/ 5 w 182"/>
              <a:gd name="T21" fmla="*/ 5 h 146"/>
              <a:gd name="T22" fmla="*/ 15 w 182"/>
              <a:gd name="T23" fmla="*/ 0 h 146"/>
              <a:gd name="T24" fmla="*/ 167 w 182"/>
              <a:gd name="T25" fmla="*/ 0 h 146"/>
              <a:gd name="T26" fmla="*/ 15 w 182"/>
              <a:gd name="T27" fmla="*/ 12 h 146"/>
              <a:gd name="T28" fmla="*/ 13 w 182"/>
              <a:gd name="T29" fmla="*/ 13 h 146"/>
              <a:gd name="T30" fmla="*/ 12 w 182"/>
              <a:gd name="T31" fmla="*/ 15 h 146"/>
              <a:gd name="T32" fmla="*/ 12 w 182"/>
              <a:gd name="T33" fmla="*/ 37 h 146"/>
              <a:gd name="T34" fmla="*/ 170 w 182"/>
              <a:gd name="T35" fmla="*/ 37 h 146"/>
              <a:gd name="T36" fmla="*/ 170 w 182"/>
              <a:gd name="T37" fmla="*/ 15 h 146"/>
              <a:gd name="T38" fmla="*/ 169 w 182"/>
              <a:gd name="T39" fmla="*/ 13 h 146"/>
              <a:gd name="T40" fmla="*/ 167 w 182"/>
              <a:gd name="T41" fmla="*/ 12 h 146"/>
              <a:gd name="T42" fmla="*/ 15 w 182"/>
              <a:gd name="T43" fmla="*/ 12 h 146"/>
              <a:gd name="T44" fmla="*/ 167 w 182"/>
              <a:gd name="T45" fmla="*/ 133 h 146"/>
              <a:gd name="T46" fmla="*/ 169 w 182"/>
              <a:gd name="T47" fmla="*/ 133 h 146"/>
              <a:gd name="T48" fmla="*/ 170 w 182"/>
              <a:gd name="T49" fmla="*/ 130 h 146"/>
              <a:gd name="T50" fmla="*/ 170 w 182"/>
              <a:gd name="T51" fmla="*/ 73 h 146"/>
              <a:gd name="T52" fmla="*/ 12 w 182"/>
              <a:gd name="T53" fmla="*/ 73 h 146"/>
              <a:gd name="T54" fmla="*/ 12 w 182"/>
              <a:gd name="T55" fmla="*/ 130 h 146"/>
              <a:gd name="T56" fmla="*/ 13 w 182"/>
              <a:gd name="T57" fmla="*/ 133 h 146"/>
              <a:gd name="T58" fmla="*/ 15 w 182"/>
              <a:gd name="T59" fmla="*/ 133 h 146"/>
              <a:gd name="T60" fmla="*/ 167 w 182"/>
              <a:gd name="T61" fmla="*/ 133 h 146"/>
              <a:gd name="T62" fmla="*/ 24 w 182"/>
              <a:gd name="T63" fmla="*/ 121 h 146"/>
              <a:gd name="T64" fmla="*/ 24 w 182"/>
              <a:gd name="T65" fmla="*/ 109 h 146"/>
              <a:gd name="T66" fmla="*/ 49 w 182"/>
              <a:gd name="T67" fmla="*/ 109 h 146"/>
              <a:gd name="T68" fmla="*/ 49 w 182"/>
              <a:gd name="T69" fmla="*/ 121 h 146"/>
              <a:gd name="T70" fmla="*/ 24 w 182"/>
              <a:gd name="T71" fmla="*/ 121 h 146"/>
              <a:gd name="T72" fmla="*/ 61 w 182"/>
              <a:gd name="T73" fmla="*/ 121 h 146"/>
              <a:gd name="T74" fmla="*/ 61 w 182"/>
              <a:gd name="T75" fmla="*/ 109 h 146"/>
              <a:gd name="T76" fmla="*/ 97 w 182"/>
              <a:gd name="T77" fmla="*/ 109 h 146"/>
              <a:gd name="T78" fmla="*/ 97 w 182"/>
              <a:gd name="T79" fmla="*/ 121 h 146"/>
              <a:gd name="T80" fmla="*/ 61 w 182"/>
              <a:gd name="T81" fmla="*/ 12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82" h="146">
                <a:moveTo>
                  <a:pt x="167" y="0"/>
                </a:move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2" y="11"/>
                  <a:pt x="182" y="15"/>
                </a:cubicBezTo>
                <a:cubicBezTo>
                  <a:pt x="182" y="130"/>
                  <a:pt x="182" y="130"/>
                  <a:pt x="182" y="130"/>
                </a:cubicBezTo>
                <a:cubicBezTo>
                  <a:pt x="182" y="135"/>
                  <a:pt x="180" y="138"/>
                  <a:pt x="177" y="141"/>
                </a:cubicBezTo>
                <a:cubicBezTo>
                  <a:pt x="174" y="144"/>
                  <a:pt x="171" y="146"/>
                  <a:pt x="167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11" y="146"/>
                  <a:pt x="8" y="144"/>
                  <a:pt x="5" y="141"/>
                </a:cubicBezTo>
                <a:cubicBezTo>
                  <a:pt x="2" y="138"/>
                  <a:pt x="0" y="135"/>
                  <a:pt x="0" y="13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2" y="8"/>
                  <a:pt x="5" y="5"/>
                </a:cubicBezTo>
                <a:cubicBezTo>
                  <a:pt x="8" y="2"/>
                  <a:pt x="11" y="0"/>
                  <a:pt x="15" y="0"/>
                </a:cubicBezTo>
                <a:lnTo>
                  <a:pt x="167" y="0"/>
                </a:lnTo>
                <a:close/>
                <a:moveTo>
                  <a:pt x="15" y="12"/>
                </a:moveTo>
                <a:cubicBezTo>
                  <a:pt x="14" y="12"/>
                  <a:pt x="14" y="13"/>
                  <a:pt x="13" y="13"/>
                </a:cubicBezTo>
                <a:cubicBezTo>
                  <a:pt x="13" y="14"/>
                  <a:pt x="12" y="15"/>
                  <a:pt x="12" y="15"/>
                </a:cubicBezTo>
                <a:cubicBezTo>
                  <a:pt x="12" y="37"/>
                  <a:pt x="12" y="37"/>
                  <a:pt x="12" y="37"/>
                </a:cubicBezTo>
                <a:cubicBezTo>
                  <a:pt x="170" y="37"/>
                  <a:pt x="170" y="37"/>
                  <a:pt x="170" y="37"/>
                </a:cubicBezTo>
                <a:cubicBezTo>
                  <a:pt x="170" y="15"/>
                  <a:pt x="170" y="15"/>
                  <a:pt x="170" y="15"/>
                </a:cubicBezTo>
                <a:cubicBezTo>
                  <a:pt x="170" y="15"/>
                  <a:pt x="169" y="14"/>
                  <a:pt x="169" y="13"/>
                </a:cubicBezTo>
                <a:cubicBezTo>
                  <a:pt x="168" y="13"/>
                  <a:pt x="167" y="12"/>
                  <a:pt x="167" y="12"/>
                </a:cubicBezTo>
                <a:lnTo>
                  <a:pt x="15" y="12"/>
                </a:lnTo>
                <a:close/>
                <a:moveTo>
                  <a:pt x="167" y="133"/>
                </a:moveTo>
                <a:cubicBezTo>
                  <a:pt x="167" y="133"/>
                  <a:pt x="168" y="133"/>
                  <a:pt x="169" y="133"/>
                </a:cubicBezTo>
                <a:cubicBezTo>
                  <a:pt x="169" y="132"/>
                  <a:pt x="170" y="131"/>
                  <a:pt x="170" y="130"/>
                </a:cubicBezTo>
                <a:cubicBezTo>
                  <a:pt x="170" y="73"/>
                  <a:pt x="170" y="73"/>
                  <a:pt x="170" y="73"/>
                </a:cubicBezTo>
                <a:cubicBezTo>
                  <a:pt x="12" y="73"/>
                  <a:pt x="12" y="73"/>
                  <a:pt x="12" y="73"/>
                </a:cubicBezTo>
                <a:cubicBezTo>
                  <a:pt x="12" y="130"/>
                  <a:pt x="12" y="130"/>
                  <a:pt x="12" y="130"/>
                </a:cubicBezTo>
                <a:cubicBezTo>
                  <a:pt x="12" y="131"/>
                  <a:pt x="13" y="132"/>
                  <a:pt x="13" y="133"/>
                </a:cubicBezTo>
                <a:cubicBezTo>
                  <a:pt x="14" y="133"/>
                  <a:pt x="14" y="133"/>
                  <a:pt x="15" y="133"/>
                </a:cubicBezTo>
                <a:lnTo>
                  <a:pt x="167" y="133"/>
                </a:lnTo>
                <a:close/>
                <a:moveTo>
                  <a:pt x="24" y="121"/>
                </a:moveTo>
                <a:cubicBezTo>
                  <a:pt x="24" y="109"/>
                  <a:pt x="24" y="109"/>
                  <a:pt x="24" y="109"/>
                </a:cubicBezTo>
                <a:cubicBezTo>
                  <a:pt x="49" y="109"/>
                  <a:pt x="49" y="109"/>
                  <a:pt x="49" y="109"/>
                </a:cubicBezTo>
                <a:cubicBezTo>
                  <a:pt x="49" y="121"/>
                  <a:pt x="49" y="121"/>
                  <a:pt x="49" y="121"/>
                </a:cubicBezTo>
                <a:lnTo>
                  <a:pt x="24" y="121"/>
                </a:lnTo>
                <a:close/>
                <a:moveTo>
                  <a:pt x="61" y="121"/>
                </a:moveTo>
                <a:cubicBezTo>
                  <a:pt x="61" y="109"/>
                  <a:pt x="61" y="109"/>
                  <a:pt x="61" y="109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97" y="121"/>
                  <a:pt x="97" y="121"/>
                  <a:pt x="97" y="121"/>
                </a:cubicBezTo>
                <a:lnTo>
                  <a:pt x="61" y="1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4" name="Freeform 154"/>
          <p:cNvSpPr>
            <a:spLocks noChangeAspect="1" noEditPoints="1"/>
          </p:cNvSpPr>
          <p:nvPr/>
        </p:nvSpPr>
        <p:spPr bwMode="auto">
          <a:xfrm>
            <a:off x="7440108" y="2484518"/>
            <a:ext cx="137395" cy="138956"/>
          </a:xfrm>
          <a:custGeom>
            <a:avLst/>
            <a:gdLst>
              <a:gd name="T0" fmla="*/ 133 w 133"/>
              <a:gd name="T1" fmla="*/ 127 h 133"/>
              <a:gd name="T2" fmla="*/ 132 w 133"/>
              <a:gd name="T3" fmla="*/ 132 h 133"/>
              <a:gd name="T4" fmla="*/ 127 w 133"/>
              <a:gd name="T5" fmla="*/ 133 h 133"/>
              <a:gd name="T6" fmla="*/ 114 w 133"/>
              <a:gd name="T7" fmla="*/ 133 h 133"/>
              <a:gd name="T8" fmla="*/ 110 w 133"/>
              <a:gd name="T9" fmla="*/ 132 h 133"/>
              <a:gd name="T10" fmla="*/ 108 w 133"/>
              <a:gd name="T11" fmla="*/ 128 h 133"/>
              <a:gd name="T12" fmla="*/ 98 w 133"/>
              <a:gd name="T13" fmla="*/ 89 h 133"/>
              <a:gd name="T14" fmla="*/ 76 w 133"/>
              <a:gd name="T15" fmla="*/ 57 h 133"/>
              <a:gd name="T16" fmla="*/ 44 w 133"/>
              <a:gd name="T17" fmla="*/ 36 h 133"/>
              <a:gd name="T18" fmla="*/ 6 w 133"/>
              <a:gd name="T19" fmla="*/ 26 h 133"/>
              <a:gd name="T20" fmla="*/ 2 w 133"/>
              <a:gd name="T21" fmla="*/ 24 h 133"/>
              <a:gd name="T22" fmla="*/ 0 w 133"/>
              <a:gd name="T23" fmla="*/ 20 h 133"/>
              <a:gd name="T24" fmla="*/ 0 w 133"/>
              <a:gd name="T25" fmla="*/ 6 h 133"/>
              <a:gd name="T26" fmla="*/ 2 w 133"/>
              <a:gd name="T27" fmla="*/ 2 h 133"/>
              <a:gd name="T28" fmla="*/ 6 w 133"/>
              <a:gd name="T29" fmla="*/ 0 h 133"/>
              <a:gd name="T30" fmla="*/ 7 w 133"/>
              <a:gd name="T31" fmla="*/ 0 h 133"/>
              <a:gd name="T32" fmla="*/ 54 w 133"/>
              <a:gd name="T33" fmla="*/ 12 h 133"/>
              <a:gd name="T34" fmla="*/ 94 w 133"/>
              <a:gd name="T35" fmla="*/ 39 h 133"/>
              <a:gd name="T36" fmla="*/ 122 w 133"/>
              <a:gd name="T37" fmla="*/ 80 h 133"/>
              <a:gd name="T38" fmla="*/ 133 w 133"/>
              <a:gd name="T39" fmla="*/ 127 h 133"/>
              <a:gd name="T40" fmla="*/ 85 w 133"/>
              <a:gd name="T41" fmla="*/ 127 h 133"/>
              <a:gd name="T42" fmla="*/ 83 w 133"/>
              <a:gd name="T43" fmla="*/ 131 h 133"/>
              <a:gd name="T44" fmla="*/ 79 w 133"/>
              <a:gd name="T45" fmla="*/ 133 h 133"/>
              <a:gd name="T46" fmla="*/ 66 w 133"/>
              <a:gd name="T47" fmla="*/ 133 h 133"/>
              <a:gd name="T48" fmla="*/ 62 w 133"/>
              <a:gd name="T49" fmla="*/ 132 h 133"/>
              <a:gd name="T50" fmla="*/ 60 w 133"/>
              <a:gd name="T51" fmla="*/ 128 h 133"/>
              <a:gd name="T52" fmla="*/ 43 w 133"/>
              <a:gd name="T53" fmla="*/ 91 h 133"/>
              <a:gd name="T54" fmla="*/ 6 w 133"/>
              <a:gd name="T55" fmla="*/ 74 h 133"/>
              <a:gd name="T56" fmla="*/ 2 w 133"/>
              <a:gd name="T57" fmla="*/ 72 h 133"/>
              <a:gd name="T58" fmla="*/ 0 w 133"/>
              <a:gd name="T59" fmla="*/ 68 h 133"/>
              <a:gd name="T60" fmla="*/ 0 w 133"/>
              <a:gd name="T61" fmla="*/ 55 h 133"/>
              <a:gd name="T62" fmla="*/ 2 w 133"/>
              <a:gd name="T63" fmla="*/ 50 h 133"/>
              <a:gd name="T64" fmla="*/ 6 w 133"/>
              <a:gd name="T65" fmla="*/ 49 h 133"/>
              <a:gd name="T66" fmla="*/ 7 w 133"/>
              <a:gd name="T67" fmla="*/ 49 h 133"/>
              <a:gd name="T68" fmla="*/ 36 w 133"/>
              <a:gd name="T69" fmla="*/ 56 h 133"/>
              <a:gd name="T70" fmla="*/ 60 w 133"/>
              <a:gd name="T71" fmla="*/ 74 h 133"/>
              <a:gd name="T72" fmla="*/ 77 w 133"/>
              <a:gd name="T73" fmla="*/ 98 h 133"/>
              <a:gd name="T74" fmla="*/ 85 w 133"/>
              <a:gd name="T75" fmla="*/ 127 h 133"/>
              <a:gd name="T76" fmla="*/ 31 w 133"/>
              <a:gd name="T77" fmla="*/ 102 h 133"/>
              <a:gd name="T78" fmla="*/ 36 w 133"/>
              <a:gd name="T79" fmla="*/ 115 h 133"/>
              <a:gd name="T80" fmla="*/ 31 w 133"/>
              <a:gd name="T81" fmla="*/ 128 h 133"/>
              <a:gd name="T82" fmla="*/ 18 w 133"/>
              <a:gd name="T83" fmla="*/ 133 h 133"/>
              <a:gd name="T84" fmla="*/ 5 w 133"/>
              <a:gd name="T85" fmla="*/ 128 h 133"/>
              <a:gd name="T86" fmla="*/ 0 w 133"/>
              <a:gd name="T87" fmla="*/ 115 h 133"/>
              <a:gd name="T88" fmla="*/ 5 w 133"/>
              <a:gd name="T89" fmla="*/ 102 h 133"/>
              <a:gd name="T90" fmla="*/ 18 w 133"/>
              <a:gd name="T91" fmla="*/ 97 h 133"/>
              <a:gd name="T92" fmla="*/ 31 w 133"/>
              <a:gd name="T93" fmla="*/ 10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3" h="133">
                <a:moveTo>
                  <a:pt x="133" y="127"/>
                </a:moveTo>
                <a:cubicBezTo>
                  <a:pt x="133" y="129"/>
                  <a:pt x="133" y="130"/>
                  <a:pt x="132" y="132"/>
                </a:cubicBezTo>
                <a:cubicBezTo>
                  <a:pt x="130" y="133"/>
                  <a:pt x="129" y="133"/>
                  <a:pt x="127" y="133"/>
                </a:cubicBezTo>
                <a:cubicBezTo>
                  <a:pt x="114" y="133"/>
                  <a:pt x="114" y="133"/>
                  <a:pt x="114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108" y="131"/>
                  <a:pt x="108" y="129"/>
                  <a:pt x="108" y="128"/>
                </a:cubicBezTo>
                <a:cubicBezTo>
                  <a:pt x="107" y="114"/>
                  <a:pt x="104" y="101"/>
                  <a:pt x="98" y="89"/>
                </a:cubicBezTo>
                <a:cubicBezTo>
                  <a:pt x="93" y="77"/>
                  <a:pt x="85" y="66"/>
                  <a:pt x="76" y="57"/>
                </a:cubicBezTo>
                <a:cubicBezTo>
                  <a:pt x="67" y="48"/>
                  <a:pt x="57" y="41"/>
                  <a:pt x="44" y="36"/>
                </a:cubicBezTo>
                <a:cubicBezTo>
                  <a:pt x="32" y="30"/>
                  <a:pt x="19" y="27"/>
                  <a:pt x="6" y="26"/>
                </a:cubicBezTo>
                <a:cubicBezTo>
                  <a:pt x="4" y="26"/>
                  <a:pt x="3" y="25"/>
                  <a:pt x="2" y="24"/>
                </a:cubicBezTo>
                <a:cubicBezTo>
                  <a:pt x="1" y="23"/>
                  <a:pt x="0" y="21"/>
                  <a:pt x="0" y="2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7" y="0"/>
                  <a:pt x="7" y="0"/>
                  <a:pt x="7" y="0"/>
                </a:cubicBezTo>
                <a:cubicBezTo>
                  <a:pt x="23" y="1"/>
                  <a:pt x="39" y="5"/>
                  <a:pt x="54" y="12"/>
                </a:cubicBezTo>
                <a:cubicBezTo>
                  <a:pt x="69" y="18"/>
                  <a:pt x="82" y="28"/>
                  <a:pt x="94" y="39"/>
                </a:cubicBezTo>
                <a:cubicBezTo>
                  <a:pt x="106" y="51"/>
                  <a:pt x="115" y="65"/>
                  <a:pt x="122" y="80"/>
                </a:cubicBezTo>
                <a:cubicBezTo>
                  <a:pt x="129" y="95"/>
                  <a:pt x="132" y="111"/>
                  <a:pt x="133" y="127"/>
                </a:cubicBezTo>
                <a:close/>
                <a:moveTo>
                  <a:pt x="85" y="127"/>
                </a:moveTo>
                <a:cubicBezTo>
                  <a:pt x="85" y="129"/>
                  <a:pt x="84" y="130"/>
                  <a:pt x="83" y="131"/>
                </a:cubicBezTo>
                <a:cubicBezTo>
                  <a:pt x="82" y="133"/>
                  <a:pt x="81" y="133"/>
                  <a:pt x="79" y="133"/>
                </a:cubicBezTo>
                <a:cubicBezTo>
                  <a:pt x="66" y="133"/>
                  <a:pt x="66" y="133"/>
                  <a:pt x="66" y="133"/>
                </a:cubicBezTo>
                <a:cubicBezTo>
                  <a:pt x="65" y="133"/>
                  <a:pt x="63" y="133"/>
                  <a:pt x="62" y="132"/>
                </a:cubicBezTo>
                <a:cubicBezTo>
                  <a:pt x="61" y="131"/>
                  <a:pt x="60" y="130"/>
                  <a:pt x="60" y="128"/>
                </a:cubicBezTo>
                <a:cubicBezTo>
                  <a:pt x="59" y="114"/>
                  <a:pt x="53" y="101"/>
                  <a:pt x="43" y="91"/>
                </a:cubicBezTo>
                <a:cubicBezTo>
                  <a:pt x="32" y="81"/>
                  <a:pt x="20" y="75"/>
                  <a:pt x="6" y="74"/>
                </a:cubicBezTo>
                <a:cubicBezTo>
                  <a:pt x="4" y="73"/>
                  <a:pt x="3" y="73"/>
                  <a:pt x="2" y="72"/>
                </a:cubicBezTo>
                <a:cubicBezTo>
                  <a:pt x="1" y="70"/>
                  <a:pt x="0" y="69"/>
                  <a:pt x="0" y="68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1" y="51"/>
                  <a:pt x="2" y="50"/>
                </a:cubicBezTo>
                <a:cubicBezTo>
                  <a:pt x="3" y="49"/>
                  <a:pt x="5" y="49"/>
                  <a:pt x="6" y="49"/>
                </a:cubicBezTo>
                <a:cubicBezTo>
                  <a:pt x="7" y="49"/>
                  <a:pt x="7" y="49"/>
                  <a:pt x="7" y="49"/>
                </a:cubicBezTo>
                <a:cubicBezTo>
                  <a:pt x="17" y="50"/>
                  <a:pt x="26" y="52"/>
                  <a:pt x="36" y="56"/>
                </a:cubicBezTo>
                <a:cubicBezTo>
                  <a:pt x="45" y="61"/>
                  <a:pt x="53" y="66"/>
                  <a:pt x="60" y="74"/>
                </a:cubicBezTo>
                <a:cubicBezTo>
                  <a:pt x="67" y="81"/>
                  <a:pt x="73" y="89"/>
                  <a:pt x="77" y="98"/>
                </a:cubicBezTo>
                <a:cubicBezTo>
                  <a:pt x="82" y="107"/>
                  <a:pt x="84" y="117"/>
                  <a:pt x="85" y="127"/>
                </a:cubicBezTo>
                <a:close/>
                <a:moveTo>
                  <a:pt x="31" y="102"/>
                </a:moveTo>
                <a:cubicBezTo>
                  <a:pt x="35" y="106"/>
                  <a:pt x="36" y="110"/>
                  <a:pt x="36" y="115"/>
                </a:cubicBezTo>
                <a:cubicBezTo>
                  <a:pt x="36" y="120"/>
                  <a:pt x="35" y="125"/>
                  <a:pt x="31" y="128"/>
                </a:cubicBezTo>
                <a:cubicBezTo>
                  <a:pt x="28" y="132"/>
                  <a:pt x="23" y="133"/>
                  <a:pt x="18" y="133"/>
                </a:cubicBezTo>
                <a:cubicBezTo>
                  <a:pt x="13" y="133"/>
                  <a:pt x="9" y="132"/>
                  <a:pt x="5" y="128"/>
                </a:cubicBezTo>
                <a:cubicBezTo>
                  <a:pt x="2" y="125"/>
                  <a:pt x="0" y="120"/>
                  <a:pt x="0" y="115"/>
                </a:cubicBezTo>
                <a:cubicBezTo>
                  <a:pt x="0" y="110"/>
                  <a:pt x="2" y="106"/>
                  <a:pt x="5" y="102"/>
                </a:cubicBezTo>
                <a:cubicBezTo>
                  <a:pt x="9" y="99"/>
                  <a:pt x="13" y="97"/>
                  <a:pt x="18" y="97"/>
                </a:cubicBezTo>
                <a:cubicBezTo>
                  <a:pt x="23" y="97"/>
                  <a:pt x="28" y="99"/>
                  <a:pt x="31" y="1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5" name="Freeform 155"/>
          <p:cNvSpPr>
            <a:spLocks noChangeAspect="1" noEditPoints="1"/>
          </p:cNvSpPr>
          <p:nvPr/>
        </p:nvSpPr>
        <p:spPr bwMode="auto">
          <a:xfrm>
            <a:off x="7621220" y="2497008"/>
            <a:ext cx="149885" cy="126466"/>
          </a:xfrm>
          <a:custGeom>
            <a:avLst/>
            <a:gdLst>
              <a:gd name="T0" fmla="*/ 145 w 145"/>
              <a:gd name="T1" fmla="*/ 76 h 121"/>
              <a:gd name="T2" fmla="*/ 145 w 145"/>
              <a:gd name="T3" fmla="*/ 106 h 121"/>
              <a:gd name="T4" fmla="*/ 141 w 145"/>
              <a:gd name="T5" fmla="*/ 117 h 121"/>
              <a:gd name="T6" fmla="*/ 130 w 145"/>
              <a:gd name="T7" fmla="*/ 121 h 121"/>
              <a:gd name="T8" fmla="*/ 15 w 145"/>
              <a:gd name="T9" fmla="*/ 121 h 121"/>
              <a:gd name="T10" fmla="*/ 4 w 145"/>
              <a:gd name="T11" fmla="*/ 117 h 121"/>
              <a:gd name="T12" fmla="*/ 0 w 145"/>
              <a:gd name="T13" fmla="*/ 106 h 121"/>
              <a:gd name="T14" fmla="*/ 0 w 145"/>
              <a:gd name="T15" fmla="*/ 76 h 121"/>
              <a:gd name="T16" fmla="*/ 1 w 145"/>
              <a:gd name="T17" fmla="*/ 69 h 121"/>
              <a:gd name="T18" fmla="*/ 20 w 145"/>
              <a:gd name="T19" fmla="*/ 12 h 121"/>
              <a:gd name="T20" fmla="*/ 26 w 145"/>
              <a:gd name="T21" fmla="*/ 4 h 121"/>
              <a:gd name="T22" fmla="*/ 36 w 145"/>
              <a:gd name="T23" fmla="*/ 0 h 121"/>
              <a:gd name="T24" fmla="*/ 109 w 145"/>
              <a:gd name="T25" fmla="*/ 0 h 121"/>
              <a:gd name="T26" fmla="*/ 119 w 145"/>
              <a:gd name="T27" fmla="*/ 4 h 121"/>
              <a:gd name="T28" fmla="*/ 125 w 145"/>
              <a:gd name="T29" fmla="*/ 12 h 121"/>
              <a:gd name="T30" fmla="*/ 144 w 145"/>
              <a:gd name="T31" fmla="*/ 69 h 121"/>
              <a:gd name="T32" fmla="*/ 145 w 145"/>
              <a:gd name="T33" fmla="*/ 76 h 121"/>
              <a:gd name="T34" fmla="*/ 133 w 145"/>
              <a:gd name="T35" fmla="*/ 106 h 121"/>
              <a:gd name="T36" fmla="*/ 133 w 145"/>
              <a:gd name="T37" fmla="*/ 76 h 121"/>
              <a:gd name="T38" fmla="*/ 132 w 145"/>
              <a:gd name="T39" fmla="*/ 74 h 121"/>
              <a:gd name="T40" fmla="*/ 130 w 145"/>
              <a:gd name="T41" fmla="*/ 73 h 121"/>
              <a:gd name="T42" fmla="*/ 15 w 145"/>
              <a:gd name="T43" fmla="*/ 73 h 121"/>
              <a:gd name="T44" fmla="*/ 13 w 145"/>
              <a:gd name="T45" fmla="*/ 74 h 121"/>
              <a:gd name="T46" fmla="*/ 12 w 145"/>
              <a:gd name="T47" fmla="*/ 76 h 121"/>
              <a:gd name="T48" fmla="*/ 12 w 145"/>
              <a:gd name="T49" fmla="*/ 106 h 121"/>
              <a:gd name="T50" fmla="*/ 13 w 145"/>
              <a:gd name="T51" fmla="*/ 108 h 121"/>
              <a:gd name="T52" fmla="*/ 15 w 145"/>
              <a:gd name="T53" fmla="*/ 109 h 121"/>
              <a:gd name="T54" fmla="*/ 130 w 145"/>
              <a:gd name="T55" fmla="*/ 109 h 121"/>
              <a:gd name="T56" fmla="*/ 132 w 145"/>
              <a:gd name="T57" fmla="*/ 108 h 121"/>
              <a:gd name="T58" fmla="*/ 133 w 145"/>
              <a:gd name="T59" fmla="*/ 106 h 121"/>
              <a:gd name="T60" fmla="*/ 17 w 145"/>
              <a:gd name="T61" fmla="*/ 61 h 121"/>
              <a:gd name="T62" fmla="*/ 128 w 145"/>
              <a:gd name="T63" fmla="*/ 61 h 121"/>
              <a:gd name="T64" fmla="*/ 113 w 145"/>
              <a:gd name="T65" fmla="*/ 15 h 121"/>
              <a:gd name="T66" fmla="*/ 112 w 145"/>
              <a:gd name="T67" fmla="*/ 13 h 121"/>
              <a:gd name="T68" fmla="*/ 109 w 145"/>
              <a:gd name="T69" fmla="*/ 13 h 121"/>
              <a:gd name="T70" fmla="*/ 36 w 145"/>
              <a:gd name="T71" fmla="*/ 13 h 121"/>
              <a:gd name="T72" fmla="*/ 33 w 145"/>
              <a:gd name="T73" fmla="*/ 13 h 121"/>
              <a:gd name="T74" fmla="*/ 32 w 145"/>
              <a:gd name="T75" fmla="*/ 15 h 121"/>
              <a:gd name="T76" fmla="*/ 17 w 145"/>
              <a:gd name="T77" fmla="*/ 61 h 121"/>
              <a:gd name="T78" fmla="*/ 96 w 145"/>
              <a:gd name="T79" fmla="*/ 86 h 121"/>
              <a:gd name="T80" fmla="*/ 98 w 145"/>
              <a:gd name="T81" fmla="*/ 91 h 121"/>
              <a:gd name="T82" fmla="*/ 96 w 145"/>
              <a:gd name="T83" fmla="*/ 97 h 121"/>
              <a:gd name="T84" fmla="*/ 91 w 145"/>
              <a:gd name="T85" fmla="*/ 99 h 121"/>
              <a:gd name="T86" fmla="*/ 85 w 145"/>
              <a:gd name="T87" fmla="*/ 97 h 121"/>
              <a:gd name="T88" fmla="*/ 83 w 145"/>
              <a:gd name="T89" fmla="*/ 91 h 121"/>
              <a:gd name="T90" fmla="*/ 85 w 145"/>
              <a:gd name="T91" fmla="*/ 86 h 121"/>
              <a:gd name="T92" fmla="*/ 91 w 145"/>
              <a:gd name="T93" fmla="*/ 84 h 121"/>
              <a:gd name="T94" fmla="*/ 96 w 145"/>
              <a:gd name="T95" fmla="*/ 86 h 121"/>
              <a:gd name="T96" fmla="*/ 120 w 145"/>
              <a:gd name="T97" fmla="*/ 86 h 121"/>
              <a:gd name="T98" fmla="*/ 122 w 145"/>
              <a:gd name="T99" fmla="*/ 91 h 121"/>
              <a:gd name="T100" fmla="*/ 120 w 145"/>
              <a:gd name="T101" fmla="*/ 97 h 121"/>
              <a:gd name="T102" fmla="*/ 115 w 145"/>
              <a:gd name="T103" fmla="*/ 99 h 121"/>
              <a:gd name="T104" fmla="*/ 109 w 145"/>
              <a:gd name="T105" fmla="*/ 97 h 121"/>
              <a:gd name="T106" fmla="*/ 107 w 145"/>
              <a:gd name="T107" fmla="*/ 91 h 121"/>
              <a:gd name="T108" fmla="*/ 109 w 145"/>
              <a:gd name="T109" fmla="*/ 86 h 121"/>
              <a:gd name="T110" fmla="*/ 115 w 145"/>
              <a:gd name="T111" fmla="*/ 84 h 121"/>
              <a:gd name="T112" fmla="*/ 120 w 145"/>
              <a:gd name="T113" fmla="*/ 86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5" h="121">
                <a:moveTo>
                  <a:pt x="145" y="76"/>
                </a:moveTo>
                <a:cubicBezTo>
                  <a:pt x="145" y="106"/>
                  <a:pt x="145" y="106"/>
                  <a:pt x="145" y="106"/>
                </a:cubicBezTo>
                <a:cubicBezTo>
                  <a:pt x="145" y="110"/>
                  <a:pt x="144" y="114"/>
                  <a:pt x="141" y="117"/>
                </a:cubicBezTo>
                <a:cubicBezTo>
                  <a:pt x="138" y="120"/>
                  <a:pt x="134" y="121"/>
                  <a:pt x="130" y="121"/>
                </a:cubicBezTo>
                <a:cubicBezTo>
                  <a:pt x="15" y="121"/>
                  <a:pt x="15" y="121"/>
                  <a:pt x="15" y="121"/>
                </a:cubicBezTo>
                <a:cubicBezTo>
                  <a:pt x="11" y="121"/>
                  <a:pt x="7" y="120"/>
                  <a:pt x="4" y="117"/>
                </a:cubicBezTo>
                <a:cubicBezTo>
                  <a:pt x="1" y="114"/>
                  <a:pt x="0" y="110"/>
                  <a:pt x="0" y="106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5"/>
                  <a:pt x="0" y="72"/>
                  <a:pt x="1" y="69"/>
                </a:cubicBezTo>
                <a:cubicBezTo>
                  <a:pt x="20" y="12"/>
                  <a:pt x="20" y="12"/>
                  <a:pt x="20" y="12"/>
                </a:cubicBezTo>
                <a:cubicBezTo>
                  <a:pt x="21" y="8"/>
                  <a:pt x="23" y="6"/>
                  <a:pt x="26" y="4"/>
                </a:cubicBezTo>
                <a:cubicBezTo>
                  <a:pt x="29" y="1"/>
                  <a:pt x="32" y="0"/>
                  <a:pt x="36" y="0"/>
                </a:cubicBezTo>
                <a:cubicBezTo>
                  <a:pt x="109" y="0"/>
                  <a:pt x="109" y="0"/>
                  <a:pt x="109" y="0"/>
                </a:cubicBezTo>
                <a:cubicBezTo>
                  <a:pt x="113" y="0"/>
                  <a:pt x="116" y="1"/>
                  <a:pt x="119" y="4"/>
                </a:cubicBezTo>
                <a:cubicBezTo>
                  <a:pt x="122" y="6"/>
                  <a:pt x="124" y="8"/>
                  <a:pt x="125" y="12"/>
                </a:cubicBezTo>
                <a:cubicBezTo>
                  <a:pt x="144" y="69"/>
                  <a:pt x="144" y="69"/>
                  <a:pt x="144" y="69"/>
                </a:cubicBezTo>
                <a:cubicBezTo>
                  <a:pt x="145" y="72"/>
                  <a:pt x="145" y="75"/>
                  <a:pt x="145" y="76"/>
                </a:cubicBezTo>
                <a:close/>
                <a:moveTo>
                  <a:pt x="133" y="106"/>
                </a:moveTo>
                <a:cubicBezTo>
                  <a:pt x="133" y="76"/>
                  <a:pt x="133" y="76"/>
                  <a:pt x="133" y="76"/>
                </a:cubicBezTo>
                <a:cubicBezTo>
                  <a:pt x="133" y="75"/>
                  <a:pt x="133" y="75"/>
                  <a:pt x="132" y="74"/>
                </a:cubicBezTo>
                <a:cubicBezTo>
                  <a:pt x="131" y="73"/>
                  <a:pt x="131" y="73"/>
                  <a:pt x="130" y="73"/>
                </a:cubicBezTo>
                <a:cubicBezTo>
                  <a:pt x="15" y="73"/>
                  <a:pt x="15" y="73"/>
                  <a:pt x="15" y="73"/>
                </a:cubicBezTo>
                <a:cubicBezTo>
                  <a:pt x="14" y="73"/>
                  <a:pt x="13" y="73"/>
                  <a:pt x="13" y="74"/>
                </a:cubicBezTo>
                <a:cubicBezTo>
                  <a:pt x="12" y="75"/>
                  <a:pt x="12" y="75"/>
                  <a:pt x="12" y="76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07"/>
                  <a:pt x="12" y="108"/>
                  <a:pt x="13" y="108"/>
                </a:cubicBezTo>
                <a:cubicBezTo>
                  <a:pt x="13" y="109"/>
                  <a:pt x="14" y="109"/>
                  <a:pt x="15" y="109"/>
                </a:cubicBezTo>
                <a:cubicBezTo>
                  <a:pt x="130" y="109"/>
                  <a:pt x="130" y="109"/>
                  <a:pt x="130" y="109"/>
                </a:cubicBezTo>
                <a:cubicBezTo>
                  <a:pt x="131" y="109"/>
                  <a:pt x="131" y="109"/>
                  <a:pt x="132" y="108"/>
                </a:cubicBezTo>
                <a:cubicBezTo>
                  <a:pt x="133" y="108"/>
                  <a:pt x="133" y="107"/>
                  <a:pt x="133" y="106"/>
                </a:cubicBezTo>
                <a:close/>
                <a:moveTo>
                  <a:pt x="17" y="61"/>
                </a:moveTo>
                <a:cubicBezTo>
                  <a:pt x="128" y="61"/>
                  <a:pt x="128" y="61"/>
                  <a:pt x="128" y="61"/>
                </a:cubicBezTo>
                <a:cubicBezTo>
                  <a:pt x="113" y="15"/>
                  <a:pt x="113" y="15"/>
                  <a:pt x="113" y="15"/>
                </a:cubicBezTo>
                <a:cubicBezTo>
                  <a:pt x="113" y="15"/>
                  <a:pt x="113" y="14"/>
                  <a:pt x="112" y="13"/>
                </a:cubicBezTo>
                <a:cubicBezTo>
                  <a:pt x="111" y="13"/>
                  <a:pt x="110" y="13"/>
                  <a:pt x="109" y="13"/>
                </a:cubicBezTo>
                <a:cubicBezTo>
                  <a:pt x="36" y="13"/>
                  <a:pt x="36" y="13"/>
                  <a:pt x="36" y="13"/>
                </a:cubicBezTo>
                <a:cubicBezTo>
                  <a:pt x="35" y="13"/>
                  <a:pt x="34" y="13"/>
                  <a:pt x="33" y="13"/>
                </a:cubicBezTo>
                <a:cubicBezTo>
                  <a:pt x="32" y="14"/>
                  <a:pt x="32" y="15"/>
                  <a:pt x="32" y="15"/>
                </a:cubicBezTo>
                <a:lnTo>
                  <a:pt x="17" y="61"/>
                </a:lnTo>
                <a:close/>
                <a:moveTo>
                  <a:pt x="96" y="86"/>
                </a:moveTo>
                <a:cubicBezTo>
                  <a:pt x="97" y="87"/>
                  <a:pt x="98" y="89"/>
                  <a:pt x="98" y="91"/>
                </a:cubicBezTo>
                <a:cubicBezTo>
                  <a:pt x="98" y="93"/>
                  <a:pt x="97" y="95"/>
                  <a:pt x="96" y="97"/>
                </a:cubicBezTo>
                <a:cubicBezTo>
                  <a:pt x="94" y="98"/>
                  <a:pt x="93" y="99"/>
                  <a:pt x="91" y="99"/>
                </a:cubicBezTo>
                <a:cubicBezTo>
                  <a:pt x="89" y="99"/>
                  <a:pt x="87" y="98"/>
                  <a:pt x="85" y="97"/>
                </a:cubicBezTo>
                <a:cubicBezTo>
                  <a:pt x="84" y="95"/>
                  <a:pt x="83" y="93"/>
                  <a:pt x="83" y="91"/>
                </a:cubicBezTo>
                <a:cubicBezTo>
                  <a:pt x="83" y="89"/>
                  <a:pt x="84" y="87"/>
                  <a:pt x="85" y="86"/>
                </a:cubicBezTo>
                <a:cubicBezTo>
                  <a:pt x="87" y="84"/>
                  <a:pt x="89" y="84"/>
                  <a:pt x="91" y="84"/>
                </a:cubicBezTo>
                <a:cubicBezTo>
                  <a:pt x="93" y="84"/>
                  <a:pt x="94" y="84"/>
                  <a:pt x="96" y="86"/>
                </a:cubicBezTo>
                <a:close/>
                <a:moveTo>
                  <a:pt x="120" y="86"/>
                </a:moveTo>
                <a:cubicBezTo>
                  <a:pt x="122" y="87"/>
                  <a:pt x="122" y="89"/>
                  <a:pt x="122" y="91"/>
                </a:cubicBezTo>
                <a:cubicBezTo>
                  <a:pt x="122" y="93"/>
                  <a:pt x="122" y="95"/>
                  <a:pt x="120" y="97"/>
                </a:cubicBezTo>
                <a:cubicBezTo>
                  <a:pt x="119" y="98"/>
                  <a:pt x="117" y="99"/>
                  <a:pt x="115" y="99"/>
                </a:cubicBezTo>
                <a:cubicBezTo>
                  <a:pt x="113" y="99"/>
                  <a:pt x="111" y="98"/>
                  <a:pt x="109" y="97"/>
                </a:cubicBezTo>
                <a:cubicBezTo>
                  <a:pt x="108" y="95"/>
                  <a:pt x="107" y="93"/>
                  <a:pt x="107" y="91"/>
                </a:cubicBezTo>
                <a:cubicBezTo>
                  <a:pt x="107" y="89"/>
                  <a:pt x="108" y="87"/>
                  <a:pt x="109" y="86"/>
                </a:cubicBezTo>
                <a:cubicBezTo>
                  <a:pt x="111" y="84"/>
                  <a:pt x="113" y="84"/>
                  <a:pt x="115" y="84"/>
                </a:cubicBezTo>
                <a:cubicBezTo>
                  <a:pt x="117" y="84"/>
                  <a:pt x="119" y="84"/>
                  <a:pt x="120" y="8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6" name="Freeform 156"/>
          <p:cNvSpPr>
            <a:spLocks noChangeAspect="1" noEditPoints="1"/>
          </p:cNvSpPr>
          <p:nvPr/>
        </p:nvSpPr>
        <p:spPr bwMode="auto">
          <a:xfrm>
            <a:off x="7814822" y="2484518"/>
            <a:ext cx="174866" cy="151447"/>
          </a:xfrm>
          <a:custGeom>
            <a:avLst/>
            <a:gdLst>
              <a:gd name="T0" fmla="*/ 157 w 169"/>
              <a:gd name="T1" fmla="*/ 49 h 146"/>
              <a:gd name="T2" fmla="*/ 166 w 169"/>
              <a:gd name="T3" fmla="*/ 52 h 146"/>
              <a:gd name="T4" fmla="*/ 169 w 169"/>
              <a:gd name="T5" fmla="*/ 61 h 146"/>
              <a:gd name="T6" fmla="*/ 166 w 169"/>
              <a:gd name="T7" fmla="*/ 69 h 146"/>
              <a:gd name="T8" fmla="*/ 157 w 169"/>
              <a:gd name="T9" fmla="*/ 73 h 146"/>
              <a:gd name="T10" fmla="*/ 157 w 169"/>
              <a:gd name="T11" fmla="*/ 109 h 146"/>
              <a:gd name="T12" fmla="*/ 153 w 169"/>
              <a:gd name="T13" fmla="*/ 118 h 146"/>
              <a:gd name="T14" fmla="*/ 145 w 169"/>
              <a:gd name="T15" fmla="*/ 121 h 146"/>
              <a:gd name="T16" fmla="*/ 68 w 169"/>
              <a:gd name="T17" fmla="*/ 85 h 146"/>
              <a:gd name="T18" fmla="*/ 59 w 169"/>
              <a:gd name="T19" fmla="*/ 92 h 146"/>
              <a:gd name="T20" fmla="*/ 57 w 169"/>
              <a:gd name="T21" fmla="*/ 101 h 146"/>
              <a:gd name="T22" fmla="*/ 60 w 169"/>
              <a:gd name="T23" fmla="*/ 110 h 146"/>
              <a:gd name="T24" fmla="*/ 58 w 169"/>
              <a:gd name="T25" fmla="*/ 116 h 146"/>
              <a:gd name="T26" fmla="*/ 59 w 169"/>
              <a:gd name="T27" fmla="*/ 122 h 146"/>
              <a:gd name="T28" fmla="*/ 62 w 169"/>
              <a:gd name="T29" fmla="*/ 127 h 146"/>
              <a:gd name="T30" fmla="*/ 66 w 169"/>
              <a:gd name="T31" fmla="*/ 132 h 146"/>
              <a:gd name="T32" fmla="*/ 72 w 169"/>
              <a:gd name="T33" fmla="*/ 136 h 146"/>
              <a:gd name="T34" fmla="*/ 62 w 169"/>
              <a:gd name="T35" fmla="*/ 144 h 146"/>
              <a:gd name="T36" fmla="*/ 46 w 169"/>
              <a:gd name="T37" fmla="*/ 145 h 146"/>
              <a:gd name="T38" fmla="*/ 33 w 169"/>
              <a:gd name="T39" fmla="*/ 140 h 146"/>
              <a:gd name="T40" fmla="*/ 31 w 169"/>
              <a:gd name="T41" fmla="*/ 132 h 146"/>
              <a:gd name="T42" fmla="*/ 27 w 169"/>
              <a:gd name="T43" fmla="*/ 123 h 146"/>
              <a:gd name="T44" fmla="*/ 25 w 169"/>
              <a:gd name="T45" fmla="*/ 114 h 146"/>
              <a:gd name="T46" fmla="*/ 24 w 169"/>
              <a:gd name="T47" fmla="*/ 105 h 146"/>
              <a:gd name="T48" fmla="*/ 24 w 169"/>
              <a:gd name="T49" fmla="*/ 95 h 146"/>
              <a:gd name="T50" fmla="*/ 26 w 169"/>
              <a:gd name="T51" fmla="*/ 85 h 146"/>
              <a:gd name="T52" fmla="*/ 15 w 169"/>
              <a:gd name="T53" fmla="*/ 85 h 146"/>
              <a:gd name="T54" fmla="*/ 4 w 169"/>
              <a:gd name="T55" fmla="*/ 81 h 146"/>
              <a:gd name="T56" fmla="*/ 0 w 169"/>
              <a:gd name="T57" fmla="*/ 70 h 146"/>
              <a:gd name="T58" fmla="*/ 0 w 169"/>
              <a:gd name="T59" fmla="*/ 52 h 146"/>
              <a:gd name="T60" fmla="*/ 4 w 169"/>
              <a:gd name="T61" fmla="*/ 41 h 146"/>
              <a:gd name="T62" fmla="*/ 15 w 169"/>
              <a:gd name="T63" fmla="*/ 37 h 146"/>
              <a:gd name="T64" fmla="*/ 60 w 169"/>
              <a:gd name="T65" fmla="*/ 37 h 146"/>
              <a:gd name="T66" fmla="*/ 145 w 169"/>
              <a:gd name="T67" fmla="*/ 0 h 146"/>
              <a:gd name="T68" fmla="*/ 153 w 169"/>
              <a:gd name="T69" fmla="*/ 4 h 146"/>
              <a:gd name="T70" fmla="*/ 157 w 169"/>
              <a:gd name="T71" fmla="*/ 12 h 146"/>
              <a:gd name="T72" fmla="*/ 157 w 169"/>
              <a:gd name="T73" fmla="*/ 49 h 146"/>
              <a:gd name="T74" fmla="*/ 145 w 169"/>
              <a:gd name="T75" fmla="*/ 106 h 146"/>
              <a:gd name="T76" fmla="*/ 145 w 169"/>
              <a:gd name="T77" fmla="*/ 16 h 146"/>
              <a:gd name="T78" fmla="*/ 72 w 169"/>
              <a:gd name="T79" fmla="*/ 48 h 146"/>
              <a:gd name="T80" fmla="*/ 72 w 169"/>
              <a:gd name="T81" fmla="*/ 74 h 146"/>
              <a:gd name="T82" fmla="*/ 145 w 169"/>
              <a:gd name="T83" fmla="*/ 10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9" h="146">
                <a:moveTo>
                  <a:pt x="157" y="49"/>
                </a:moveTo>
                <a:cubicBezTo>
                  <a:pt x="160" y="49"/>
                  <a:pt x="163" y="50"/>
                  <a:pt x="166" y="52"/>
                </a:cubicBezTo>
                <a:cubicBezTo>
                  <a:pt x="168" y="55"/>
                  <a:pt x="169" y="58"/>
                  <a:pt x="169" y="61"/>
                </a:cubicBezTo>
                <a:cubicBezTo>
                  <a:pt x="169" y="64"/>
                  <a:pt x="168" y="67"/>
                  <a:pt x="166" y="69"/>
                </a:cubicBezTo>
                <a:cubicBezTo>
                  <a:pt x="163" y="72"/>
                  <a:pt x="160" y="73"/>
                  <a:pt x="157" y="73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57" y="113"/>
                  <a:pt x="156" y="115"/>
                  <a:pt x="153" y="118"/>
                </a:cubicBezTo>
                <a:cubicBezTo>
                  <a:pt x="151" y="120"/>
                  <a:pt x="148" y="121"/>
                  <a:pt x="145" y="121"/>
                </a:cubicBezTo>
                <a:cubicBezTo>
                  <a:pt x="119" y="99"/>
                  <a:pt x="93" y="88"/>
                  <a:pt x="68" y="85"/>
                </a:cubicBezTo>
                <a:cubicBezTo>
                  <a:pt x="64" y="87"/>
                  <a:pt x="62" y="89"/>
                  <a:pt x="59" y="92"/>
                </a:cubicBezTo>
                <a:cubicBezTo>
                  <a:pt x="57" y="95"/>
                  <a:pt x="56" y="98"/>
                  <a:pt x="57" y="101"/>
                </a:cubicBezTo>
                <a:cubicBezTo>
                  <a:pt x="57" y="105"/>
                  <a:pt x="58" y="107"/>
                  <a:pt x="60" y="110"/>
                </a:cubicBezTo>
                <a:cubicBezTo>
                  <a:pt x="59" y="112"/>
                  <a:pt x="58" y="114"/>
                  <a:pt x="58" y="116"/>
                </a:cubicBezTo>
                <a:cubicBezTo>
                  <a:pt x="58" y="118"/>
                  <a:pt x="58" y="120"/>
                  <a:pt x="59" y="122"/>
                </a:cubicBezTo>
                <a:cubicBezTo>
                  <a:pt x="59" y="123"/>
                  <a:pt x="60" y="125"/>
                  <a:pt x="62" y="127"/>
                </a:cubicBezTo>
                <a:cubicBezTo>
                  <a:pt x="63" y="129"/>
                  <a:pt x="65" y="130"/>
                  <a:pt x="66" y="132"/>
                </a:cubicBezTo>
                <a:cubicBezTo>
                  <a:pt x="68" y="133"/>
                  <a:pt x="70" y="134"/>
                  <a:pt x="72" y="136"/>
                </a:cubicBezTo>
                <a:cubicBezTo>
                  <a:pt x="70" y="140"/>
                  <a:pt x="67" y="143"/>
                  <a:pt x="62" y="144"/>
                </a:cubicBezTo>
                <a:cubicBezTo>
                  <a:pt x="57" y="146"/>
                  <a:pt x="51" y="146"/>
                  <a:pt x="46" y="145"/>
                </a:cubicBezTo>
                <a:cubicBezTo>
                  <a:pt x="40" y="144"/>
                  <a:pt x="36" y="143"/>
                  <a:pt x="33" y="140"/>
                </a:cubicBezTo>
                <a:cubicBezTo>
                  <a:pt x="33" y="139"/>
                  <a:pt x="32" y="136"/>
                  <a:pt x="31" y="132"/>
                </a:cubicBezTo>
                <a:cubicBezTo>
                  <a:pt x="29" y="128"/>
                  <a:pt x="28" y="125"/>
                  <a:pt x="27" y="123"/>
                </a:cubicBezTo>
                <a:cubicBezTo>
                  <a:pt x="27" y="121"/>
                  <a:pt x="26" y="118"/>
                  <a:pt x="25" y="114"/>
                </a:cubicBezTo>
                <a:cubicBezTo>
                  <a:pt x="24" y="111"/>
                  <a:pt x="24" y="107"/>
                  <a:pt x="24" y="105"/>
                </a:cubicBezTo>
                <a:cubicBezTo>
                  <a:pt x="24" y="102"/>
                  <a:pt x="24" y="99"/>
                  <a:pt x="24" y="95"/>
                </a:cubicBezTo>
                <a:cubicBezTo>
                  <a:pt x="25" y="92"/>
                  <a:pt x="25" y="88"/>
                  <a:pt x="26" y="85"/>
                </a:cubicBezTo>
                <a:cubicBezTo>
                  <a:pt x="15" y="85"/>
                  <a:pt x="15" y="85"/>
                  <a:pt x="15" y="85"/>
                </a:cubicBezTo>
                <a:cubicBezTo>
                  <a:pt x="11" y="85"/>
                  <a:pt x="7" y="84"/>
                  <a:pt x="4" y="81"/>
                </a:cubicBezTo>
                <a:cubicBezTo>
                  <a:pt x="1" y="78"/>
                  <a:pt x="0" y="74"/>
                  <a:pt x="0" y="70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48"/>
                  <a:pt x="1" y="44"/>
                  <a:pt x="4" y="41"/>
                </a:cubicBezTo>
                <a:cubicBezTo>
                  <a:pt x="7" y="38"/>
                  <a:pt x="11" y="37"/>
                  <a:pt x="15" y="37"/>
                </a:cubicBezTo>
                <a:cubicBezTo>
                  <a:pt x="60" y="37"/>
                  <a:pt x="60" y="37"/>
                  <a:pt x="60" y="37"/>
                </a:cubicBezTo>
                <a:cubicBezTo>
                  <a:pt x="88" y="37"/>
                  <a:pt x="116" y="25"/>
                  <a:pt x="145" y="0"/>
                </a:cubicBezTo>
                <a:cubicBezTo>
                  <a:pt x="148" y="0"/>
                  <a:pt x="151" y="2"/>
                  <a:pt x="153" y="4"/>
                </a:cubicBezTo>
                <a:cubicBezTo>
                  <a:pt x="156" y="6"/>
                  <a:pt x="157" y="9"/>
                  <a:pt x="157" y="12"/>
                </a:cubicBezTo>
                <a:lnTo>
                  <a:pt x="157" y="49"/>
                </a:lnTo>
                <a:close/>
                <a:moveTo>
                  <a:pt x="145" y="106"/>
                </a:moveTo>
                <a:cubicBezTo>
                  <a:pt x="145" y="16"/>
                  <a:pt x="145" y="16"/>
                  <a:pt x="145" y="16"/>
                </a:cubicBezTo>
                <a:cubicBezTo>
                  <a:pt x="120" y="35"/>
                  <a:pt x="96" y="45"/>
                  <a:pt x="72" y="48"/>
                </a:cubicBezTo>
                <a:cubicBezTo>
                  <a:pt x="72" y="74"/>
                  <a:pt x="72" y="74"/>
                  <a:pt x="72" y="74"/>
                </a:cubicBezTo>
                <a:cubicBezTo>
                  <a:pt x="96" y="76"/>
                  <a:pt x="120" y="87"/>
                  <a:pt x="145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7" name="Freeform 157"/>
          <p:cNvSpPr>
            <a:spLocks noChangeAspect="1" noEditPoints="1"/>
          </p:cNvSpPr>
          <p:nvPr/>
        </p:nvSpPr>
        <p:spPr bwMode="auto">
          <a:xfrm>
            <a:off x="8039650" y="2473588"/>
            <a:ext cx="162376" cy="174866"/>
          </a:xfrm>
          <a:custGeom>
            <a:avLst/>
            <a:gdLst>
              <a:gd name="T0" fmla="*/ 157 w 157"/>
              <a:gd name="T1" fmla="*/ 133 h 170"/>
              <a:gd name="T2" fmla="*/ 153 w 157"/>
              <a:gd name="T3" fmla="*/ 142 h 170"/>
              <a:gd name="T4" fmla="*/ 145 w 157"/>
              <a:gd name="T5" fmla="*/ 145 h 170"/>
              <a:gd name="T6" fmla="*/ 103 w 157"/>
              <a:gd name="T7" fmla="*/ 145 h 170"/>
              <a:gd name="T8" fmla="*/ 95 w 157"/>
              <a:gd name="T9" fmla="*/ 163 h 170"/>
              <a:gd name="T10" fmla="*/ 78 w 157"/>
              <a:gd name="T11" fmla="*/ 170 h 170"/>
              <a:gd name="T12" fmla="*/ 61 w 157"/>
              <a:gd name="T13" fmla="*/ 163 h 170"/>
              <a:gd name="T14" fmla="*/ 54 w 157"/>
              <a:gd name="T15" fmla="*/ 145 h 170"/>
              <a:gd name="T16" fmla="*/ 12 w 157"/>
              <a:gd name="T17" fmla="*/ 145 h 170"/>
              <a:gd name="T18" fmla="*/ 3 w 157"/>
              <a:gd name="T19" fmla="*/ 142 h 170"/>
              <a:gd name="T20" fmla="*/ 0 w 157"/>
              <a:gd name="T21" fmla="*/ 133 h 170"/>
              <a:gd name="T22" fmla="*/ 8 w 157"/>
              <a:gd name="T23" fmla="*/ 125 h 170"/>
              <a:gd name="T24" fmla="*/ 16 w 157"/>
              <a:gd name="T25" fmla="*/ 114 h 170"/>
              <a:gd name="T26" fmla="*/ 23 w 157"/>
              <a:gd name="T27" fmla="*/ 99 h 170"/>
              <a:gd name="T28" fmla="*/ 28 w 157"/>
              <a:gd name="T29" fmla="*/ 79 h 170"/>
              <a:gd name="T30" fmla="*/ 30 w 157"/>
              <a:gd name="T31" fmla="*/ 55 h 170"/>
              <a:gd name="T32" fmla="*/ 41 w 157"/>
              <a:gd name="T33" fmla="*/ 28 h 170"/>
              <a:gd name="T34" fmla="*/ 70 w 157"/>
              <a:gd name="T35" fmla="*/ 13 h 170"/>
              <a:gd name="T36" fmla="*/ 69 w 157"/>
              <a:gd name="T37" fmla="*/ 9 h 170"/>
              <a:gd name="T38" fmla="*/ 72 w 157"/>
              <a:gd name="T39" fmla="*/ 3 h 170"/>
              <a:gd name="T40" fmla="*/ 78 w 157"/>
              <a:gd name="T41" fmla="*/ 0 h 170"/>
              <a:gd name="T42" fmla="*/ 85 w 157"/>
              <a:gd name="T43" fmla="*/ 3 h 170"/>
              <a:gd name="T44" fmla="*/ 87 w 157"/>
              <a:gd name="T45" fmla="*/ 9 h 170"/>
              <a:gd name="T46" fmla="*/ 87 w 157"/>
              <a:gd name="T47" fmla="*/ 13 h 170"/>
              <a:gd name="T48" fmla="*/ 116 w 157"/>
              <a:gd name="T49" fmla="*/ 28 h 170"/>
              <a:gd name="T50" fmla="*/ 127 w 157"/>
              <a:gd name="T51" fmla="*/ 55 h 170"/>
              <a:gd name="T52" fmla="*/ 129 w 157"/>
              <a:gd name="T53" fmla="*/ 79 h 170"/>
              <a:gd name="T54" fmla="*/ 133 w 157"/>
              <a:gd name="T55" fmla="*/ 99 h 170"/>
              <a:gd name="T56" fmla="*/ 140 w 157"/>
              <a:gd name="T57" fmla="*/ 114 h 170"/>
              <a:gd name="T58" fmla="*/ 148 w 157"/>
              <a:gd name="T59" fmla="*/ 125 h 170"/>
              <a:gd name="T60" fmla="*/ 157 w 157"/>
              <a:gd name="T61" fmla="*/ 133 h 170"/>
              <a:gd name="T62" fmla="*/ 80 w 157"/>
              <a:gd name="T63" fmla="*/ 161 h 170"/>
              <a:gd name="T64" fmla="*/ 78 w 157"/>
              <a:gd name="T65" fmla="*/ 159 h 170"/>
              <a:gd name="T66" fmla="*/ 69 w 157"/>
              <a:gd name="T67" fmla="*/ 155 h 170"/>
              <a:gd name="T68" fmla="*/ 65 w 157"/>
              <a:gd name="T69" fmla="*/ 145 h 170"/>
              <a:gd name="T70" fmla="*/ 63 w 157"/>
              <a:gd name="T71" fmla="*/ 144 h 170"/>
              <a:gd name="T72" fmla="*/ 62 w 157"/>
              <a:gd name="T73" fmla="*/ 145 h 170"/>
              <a:gd name="T74" fmla="*/ 67 w 157"/>
              <a:gd name="T75" fmla="*/ 157 h 170"/>
              <a:gd name="T76" fmla="*/ 78 w 157"/>
              <a:gd name="T77" fmla="*/ 162 h 170"/>
              <a:gd name="T78" fmla="*/ 80 w 157"/>
              <a:gd name="T79" fmla="*/ 16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7" h="170">
                <a:moveTo>
                  <a:pt x="157" y="133"/>
                </a:moveTo>
                <a:cubicBezTo>
                  <a:pt x="157" y="137"/>
                  <a:pt x="156" y="139"/>
                  <a:pt x="153" y="142"/>
                </a:cubicBezTo>
                <a:cubicBezTo>
                  <a:pt x="151" y="144"/>
                  <a:pt x="148" y="145"/>
                  <a:pt x="145" y="145"/>
                </a:cubicBezTo>
                <a:cubicBezTo>
                  <a:pt x="103" y="145"/>
                  <a:pt x="103" y="145"/>
                  <a:pt x="103" y="145"/>
                </a:cubicBezTo>
                <a:cubicBezTo>
                  <a:pt x="103" y="152"/>
                  <a:pt x="100" y="158"/>
                  <a:pt x="95" y="163"/>
                </a:cubicBezTo>
                <a:cubicBezTo>
                  <a:pt x="91" y="167"/>
                  <a:pt x="85" y="170"/>
                  <a:pt x="78" y="170"/>
                </a:cubicBezTo>
                <a:cubicBezTo>
                  <a:pt x="72" y="170"/>
                  <a:pt x="66" y="167"/>
                  <a:pt x="61" y="163"/>
                </a:cubicBezTo>
                <a:cubicBezTo>
                  <a:pt x="56" y="158"/>
                  <a:pt x="54" y="152"/>
                  <a:pt x="54" y="145"/>
                </a:cubicBezTo>
                <a:cubicBezTo>
                  <a:pt x="12" y="145"/>
                  <a:pt x="12" y="145"/>
                  <a:pt x="12" y="145"/>
                </a:cubicBezTo>
                <a:cubicBezTo>
                  <a:pt x="8" y="145"/>
                  <a:pt x="6" y="144"/>
                  <a:pt x="3" y="142"/>
                </a:cubicBezTo>
                <a:cubicBezTo>
                  <a:pt x="1" y="139"/>
                  <a:pt x="0" y="137"/>
                  <a:pt x="0" y="133"/>
                </a:cubicBezTo>
                <a:cubicBezTo>
                  <a:pt x="3" y="131"/>
                  <a:pt x="6" y="128"/>
                  <a:pt x="8" y="125"/>
                </a:cubicBezTo>
                <a:cubicBezTo>
                  <a:pt x="11" y="122"/>
                  <a:pt x="14" y="118"/>
                  <a:pt x="16" y="114"/>
                </a:cubicBezTo>
                <a:cubicBezTo>
                  <a:pt x="19" y="109"/>
                  <a:pt x="21" y="104"/>
                  <a:pt x="23" y="99"/>
                </a:cubicBezTo>
                <a:cubicBezTo>
                  <a:pt x="25" y="93"/>
                  <a:pt x="27" y="87"/>
                  <a:pt x="28" y="79"/>
                </a:cubicBezTo>
                <a:cubicBezTo>
                  <a:pt x="29" y="72"/>
                  <a:pt x="30" y="63"/>
                  <a:pt x="30" y="55"/>
                </a:cubicBezTo>
                <a:cubicBezTo>
                  <a:pt x="30" y="45"/>
                  <a:pt x="34" y="36"/>
                  <a:pt x="41" y="28"/>
                </a:cubicBezTo>
                <a:cubicBezTo>
                  <a:pt x="48" y="20"/>
                  <a:pt x="58" y="15"/>
                  <a:pt x="70" y="13"/>
                </a:cubicBezTo>
                <a:cubicBezTo>
                  <a:pt x="70" y="12"/>
                  <a:pt x="69" y="11"/>
                  <a:pt x="69" y="9"/>
                </a:cubicBezTo>
                <a:cubicBezTo>
                  <a:pt x="69" y="7"/>
                  <a:pt x="70" y="5"/>
                  <a:pt x="72" y="3"/>
                </a:cubicBezTo>
                <a:cubicBezTo>
                  <a:pt x="74" y="1"/>
                  <a:pt x="76" y="0"/>
                  <a:pt x="78" y="0"/>
                </a:cubicBezTo>
                <a:cubicBezTo>
                  <a:pt x="81" y="0"/>
                  <a:pt x="83" y="1"/>
                  <a:pt x="85" y="3"/>
                </a:cubicBezTo>
                <a:cubicBezTo>
                  <a:pt x="87" y="5"/>
                  <a:pt x="87" y="7"/>
                  <a:pt x="87" y="9"/>
                </a:cubicBezTo>
                <a:cubicBezTo>
                  <a:pt x="87" y="11"/>
                  <a:pt x="87" y="12"/>
                  <a:pt x="87" y="13"/>
                </a:cubicBezTo>
                <a:cubicBezTo>
                  <a:pt x="99" y="15"/>
                  <a:pt x="108" y="20"/>
                  <a:pt x="116" y="28"/>
                </a:cubicBezTo>
                <a:cubicBezTo>
                  <a:pt x="123" y="36"/>
                  <a:pt x="127" y="45"/>
                  <a:pt x="127" y="55"/>
                </a:cubicBezTo>
                <a:cubicBezTo>
                  <a:pt x="127" y="63"/>
                  <a:pt x="127" y="72"/>
                  <a:pt x="129" y="79"/>
                </a:cubicBezTo>
                <a:cubicBezTo>
                  <a:pt x="130" y="87"/>
                  <a:pt x="131" y="93"/>
                  <a:pt x="133" y="99"/>
                </a:cubicBezTo>
                <a:cubicBezTo>
                  <a:pt x="135" y="104"/>
                  <a:pt x="138" y="109"/>
                  <a:pt x="140" y="114"/>
                </a:cubicBezTo>
                <a:cubicBezTo>
                  <a:pt x="143" y="118"/>
                  <a:pt x="146" y="122"/>
                  <a:pt x="148" y="125"/>
                </a:cubicBezTo>
                <a:cubicBezTo>
                  <a:pt x="151" y="128"/>
                  <a:pt x="154" y="131"/>
                  <a:pt x="157" y="133"/>
                </a:cubicBezTo>
                <a:close/>
                <a:moveTo>
                  <a:pt x="80" y="161"/>
                </a:moveTo>
                <a:cubicBezTo>
                  <a:pt x="80" y="160"/>
                  <a:pt x="79" y="159"/>
                  <a:pt x="78" y="159"/>
                </a:cubicBezTo>
                <a:cubicBezTo>
                  <a:pt x="75" y="159"/>
                  <a:pt x="71" y="158"/>
                  <a:pt x="69" y="155"/>
                </a:cubicBezTo>
                <a:cubicBezTo>
                  <a:pt x="66" y="152"/>
                  <a:pt x="65" y="149"/>
                  <a:pt x="65" y="145"/>
                </a:cubicBezTo>
                <a:cubicBezTo>
                  <a:pt x="65" y="144"/>
                  <a:pt x="64" y="144"/>
                  <a:pt x="63" y="144"/>
                </a:cubicBezTo>
                <a:cubicBezTo>
                  <a:pt x="62" y="144"/>
                  <a:pt x="62" y="144"/>
                  <a:pt x="62" y="145"/>
                </a:cubicBezTo>
                <a:cubicBezTo>
                  <a:pt x="62" y="150"/>
                  <a:pt x="63" y="154"/>
                  <a:pt x="67" y="157"/>
                </a:cubicBezTo>
                <a:cubicBezTo>
                  <a:pt x="70" y="160"/>
                  <a:pt x="74" y="162"/>
                  <a:pt x="78" y="162"/>
                </a:cubicBezTo>
                <a:cubicBezTo>
                  <a:pt x="79" y="162"/>
                  <a:pt x="80" y="162"/>
                  <a:pt x="80" y="1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8" name="Freeform 158"/>
          <p:cNvSpPr>
            <a:spLocks noChangeAspect="1"/>
          </p:cNvSpPr>
          <p:nvPr/>
        </p:nvSpPr>
        <p:spPr bwMode="auto">
          <a:xfrm>
            <a:off x="8251988" y="2484518"/>
            <a:ext cx="149885" cy="151447"/>
          </a:xfrm>
          <a:custGeom>
            <a:avLst/>
            <a:gdLst>
              <a:gd name="T0" fmla="*/ 131 w 146"/>
              <a:gd name="T1" fmla="*/ 73 h 146"/>
              <a:gd name="T2" fmla="*/ 144 w 146"/>
              <a:gd name="T3" fmla="*/ 86 h 146"/>
              <a:gd name="T4" fmla="*/ 146 w 146"/>
              <a:gd name="T5" fmla="*/ 92 h 146"/>
              <a:gd name="T6" fmla="*/ 141 w 146"/>
              <a:gd name="T7" fmla="*/ 97 h 146"/>
              <a:gd name="T8" fmla="*/ 123 w 146"/>
              <a:gd name="T9" fmla="*/ 102 h 146"/>
              <a:gd name="T10" fmla="*/ 128 w 146"/>
              <a:gd name="T11" fmla="*/ 119 h 146"/>
              <a:gd name="T12" fmla="*/ 126 w 146"/>
              <a:gd name="T13" fmla="*/ 126 h 146"/>
              <a:gd name="T14" fmla="*/ 120 w 146"/>
              <a:gd name="T15" fmla="*/ 128 h 146"/>
              <a:gd name="T16" fmla="*/ 102 w 146"/>
              <a:gd name="T17" fmla="*/ 123 h 146"/>
              <a:gd name="T18" fmla="*/ 97 w 146"/>
              <a:gd name="T19" fmla="*/ 140 h 146"/>
              <a:gd name="T20" fmla="*/ 93 w 146"/>
              <a:gd name="T21" fmla="*/ 145 h 146"/>
              <a:gd name="T22" fmla="*/ 91 w 146"/>
              <a:gd name="T23" fmla="*/ 146 h 146"/>
              <a:gd name="T24" fmla="*/ 86 w 146"/>
              <a:gd name="T25" fmla="*/ 143 h 146"/>
              <a:gd name="T26" fmla="*/ 73 w 146"/>
              <a:gd name="T27" fmla="*/ 130 h 146"/>
              <a:gd name="T28" fmla="*/ 60 w 146"/>
              <a:gd name="T29" fmla="*/ 143 h 146"/>
              <a:gd name="T30" fmla="*/ 54 w 146"/>
              <a:gd name="T31" fmla="*/ 145 h 146"/>
              <a:gd name="T32" fmla="*/ 49 w 146"/>
              <a:gd name="T33" fmla="*/ 140 h 146"/>
              <a:gd name="T34" fmla="*/ 44 w 146"/>
              <a:gd name="T35" fmla="*/ 123 h 146"/>
              <a:gd name="T36" fmla="*/ 27 w 146"/>
              <a:gd name="T37" fmla="*/ 128 h 146"/>
              <a:gd name="T38" fmla="*/ 20 w 146"/>
              <a:gd name="T39" fmla="*/ 126 h 146"/>
              <a:gd name="T40" fmla="*/ 18 w 146"/>
              <a:gd name="T41" fmla="*/ 119 h 146"/>
              <a:gd name="T42" fmla="*/ 23 w 146"/>
              <a:gd name="T43" fmla="*/ 102 h 146"/>
              <a:gd name="T44" fmla="*/ 6 w 146"/>
              <a:gd name="T45" fmla="*/ 97 h 146"/>
              <a:gd name="T46" fmla="*/ 1 w 146"/>
              <a:gd name="T47" fmla="*/ 92 h 146"/>
              <a:gd name="T48" fmla="*/ 3 w 146"/>
              <a:gd name="T49" fmla="*/ 86 h 146"/>
              <a:gd name="T50" fmla="*/ 16 w 146"/>
              <a:gd name="T51" fmla="*/ 73 h 146"/>
              <a:gd name="T52" fmla="*/ 3 w 146"/>
              <a:gd name="T53" fmla="*/ 60 h 146"/>
              <a:gd name="T54" fmla="*/ 1 w 146"/>
              <a:gd name="T55" fmla="*/ 54 h 146"/>
              <a:gd name="T56" fmla="*/ 6 w 146"/>
              <a:gd name="T57" fmla="*/ 49 h 146"/>
              <a:gd name="T58" fmla="*/ 23 w 146"/>
              <a:gd name="T59" fmla="*/ 44 h 146"/>
              <a:gd name="T60" fmla="*/ 18 w 146"/>
              <a:gd name="T61" fmla="*/ 27 h 146"/>
              <a:gd name="T62" fmla="*/ 20 w 146"/>
              <a:gd name="T63" fmla="*/ 20 h 146"/>
              <a:gd name="T64" fmla="*/ 27 w 146"/>
              <a:gd name="T65" fmla="*/ 18 h 146"/>
              <a:gd name="T66" fmla="*/ 44 w 146"/>
              <a:gd name="T67" fmla="*/ 23 h 146"/>
              <a:gd name="T68" fmla="*/ 49 w 146"/>
              <a:gd name="T69" fmla="*/ 5 h 146"/>
              <a:gd name="T70" fmla="*/ 54 w 146"/>
              <a:gd name="T71" fmla="*/ 1 h 146"/>
              <a:gd name="T72" fmla="*/ 60 w 146"/>
              <a:gd name="T73" fmla="*/ 2 h 146"/>
              <a:gd name="T74" fmla="*/ 73 w 146"/>
              <a:gd name="T75" fmla="*/ 16 h 146"/>
              <a:gd name="T76" fmla="*/ 86 w 146"/>
              <a:gd name="T77" fmla="*/ 2 h 146"/>
              <a:gd name="T78" fmla="*/ 93 w 146"/>
              <a:gd name="T79" fmla="*/ 1 h 146"/>
              <a:gd name="T80" fmla="*/ 97 w 146"/>
              <a:gd name="T81" fmla="*/ 5 h 146"/>
              <a:gd name="T82" fmla="*/ 102 w 146"/>
              <a:gd name="T83" fmla="*/ 23 h 146"/>
              <a:gd name="T84" fmla="*/ 120 w 146"/>
              <a:gd name="T85" fmla="*/ 18 h 146"/>
              <a:gd name="T86" fmla="*/ 126 w 146"/>
              <a:gd name="T87" fmla="*/ 20 h 146"/>
              <a:gd name="T88" fmla="*/ 128 w 146"/>
              <a:gd name="T89" fmla="*/ 27 h 146"/>
              <a:gd name="T90" fmla="*/ 123 w 146"/>
              <a:gd name="T91" fmla="*/ 44 h 146"/>
              <a:gd name="T92" fmla="*/ 141 w 146"/>
              <a:gd name="T93" fmla="*/ 49 h 146"/>
              <a:gd name="T94" fmla="*/ 146 w 146"/>
              <a:gd name="T95" fmla="*/ 54 h 146"/>
              <a:gd name="T96" fmla="*/ 144 w 146"/>
              <a:gd name="T97" fmla="*/ 60 h 146"/>
              <a:gd name="T98" fmla="*/ 131 w 146"/>
              <a:gd name="T99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6" h="146">
                <a:moveTo>
                  <a:pt x="131" y="73"/>
                </a:moveTo>
                <a:cubicBezTo>
                  <a:pt x="144" y="86"/>
                  <a:pt x="144" y="86"/>
                  <a:pt x="144" y="86"/>
                </a:cubicBezTo>
                <a:cubicBezTo>
                  <a:pt x="146" y="87"/>
                  <a:pt x="146" y="90"/>
                  <a:pt x="146" y="92"/>
                </a:cubicBezTo>
                <a:cubicBezTo>
                  <a:pt x="145" y="95"/>
                  <a:pt x="143" y="97"/>
                  <a:pt x="141" y="97"/>
                </a:cubicBezTo>
                <a:cubicBezTo>
                  <a:pt x="123" y="102"/>
                  <a:pt x="123" y="102"/>
                  <a:pt x="123" y="102"/>
                </a:cubicBezTo>
                <a:cubicBezTo>
                  <a:pt x="128" y="119"/>
                  <a:pt x="128" y="119"/>
                  <a:pt x="128" y="119"/>
                </a:cubicBezTo>
                <a:cubicBezTo>
                  <a:pt x="129" y="122"/>
                  <a:pt x="128" y="124"/>
                  <a:pt x="126" y="126"/>
                </a:cubicBezTo>
                <a:cubicBezTo>
                  <a:pt x="124" y="128"/>
                  <a:pt x="122" y="128"/>
                  <a:pt x="120" y="128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97" y="140"/>
                  <a:pt x="97" y="140"/>
                  <a:pt x="97" y="140"/>
                </a:cubicBezTo>
                <a:cubicBezTo>
                  <a:pt x="97" y="143"/>
                  <a:pt x="95" y="145"/>
                  <a:pt x="93" y="145"/>
                </a:cubicBezTo>
                <a:cubicBezTo>
                  <a:pt x="92" y="145"/>
                  <a:pt x="91" y="146"/>
                  <a:pt x="91" y="146"/>
                </a:cubicBezTo>
                <a:cubicBezTo>
                  <a:pt x="89" y="146"/>
                  <a:pt x="87" y="145"/>
                  <a:pt x="86" y="143"/>
                </a:cubicBezTo>
                <a:cubicBezTo>
                  <a:pt x="73" y="130"/>
                  <a:pt x="73" y="130"/>
                  <a:pt x="73" y="130"/>
                </a:cubicBezTo>
                <a:cubicBezTo>
                  <a:pt x="60" y="143"/>
                  <a:pt x="60" y="143"/>
                  <a:pt x="60" y="143"/>
                </a:cubicBezTo>
                <a:cubicBezTo>
                  <a:pt x="59" y="145"/>
                  <a:pt x="56" y="146"/>
                  <a:pt x="54" y="145"/>
                </a:cubicBezTo>
                <a:cubicBezTo>
                  <a:pt x="51" y="145"/>
                  <a:pt x="50" y="143"/>
                  <a:pt x="49" y="140"/>
                </a:cubicBezTo>
                <a:cubicBezTo>
                  <a:pt x="44" y="123"/>
                  <a:pt x="44" y="123"/>
                  <a:pt x="44" y="123"/>
                </a:cubicBezTo>
                <a:cubicBezTo>
                  <a:pt x="27" y="128"/>
                  <a:pt x="27" y="128"/>
                  <a:pt x="27" y="128"/>
                </a:cubicBezTo>
                <a:cubicBezTo>
                  <a:pt x="24" y="128"/>
                  <a:pt x="22" y="128"/>
                  <a:pt x="20" y="126"/>
                </a:cubicBezTo>
                <a:cubicBezTo>
                  <a:pt x="18" y="124"/>
                  <a:pt x="18" y="122"/>
                  <a:pt x="18" y="119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6" y="97"/>
                  <a:pt x="6" y="97"/>
                  <a:pt x="6" y="97"/>
                </a:cubicBezTo>
                <a:cubicBezTo>
                  <a:pt x="3" y="97"/>
                  <a:pt x="2" y="95"/>
                  <a:pt x="1" y="92"/>
                </a:cubicBezTo>
                <a:cubicBezTo>
                  <a:pt x="0" y="90"/>
                  <a:pt x="1" y="87"/>
                  <a:pt x="3" y="86"/>
                </a:cubicBezTo>
                <a:cubicBezTo>
                  <a:pt x="16" y="73"/>
                  <a:pt x="16" y="73"/>
                  <a:pt x="16" y="73"/>
                </a:cubicBezTo>
                <a:cubicBezTo>
                  <a:pt x="3" y="60"/>
                  <a:pt x="3" y="60"/>
                  <a:pt x="3" y="60"/>
                </a:cubicBezTo>
                <a:cubicBezTo>
                  <a:pt x="1" y="58"/>
                  <a:pt x="0" y="56"/>
                  <a:pt x="1" y="54"/>
                </a:cubicBezTo>
                <a:cubicBezTo>
                  <a:pt x="2" y="51"/>
                  <a:pt x="3" y="49"/>
                  <a:pt x="6" y="49"/>
                </a:cubicBezTo>
                <a:cubicBezTo>
                  <a:pt x="23" y="44"/>
                  <a:pt x="23" y="44"/>
                  <a:pt x="23" y="44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24"/>
                  <a:pt x="18" y="22"/>
                  <a:pt x="20" y="20"/>
                </a:cubicBezTo>
                <a:cubicBezTo>
                  <a:pt x="22" y="18"/>
                  <a:pt x="24" y="17"/>
                  <a:pt x="27" y="18"/>
                </a:cubicBezTo>
                <a:cubicBezTo>
                  <a:pt x="44" y="23"/>
                  <a:pt x="44" y="23"/>
                  <a:pt x="44" y="23"/>
                </a:cubicBezTo>
                <a:cubicBezTo>
                  <a:pt x="49" y="5"/>
                  <a:pt x="49" y="5"/>
                  <a:pt x="49" y="5"/>
                </a:cubicBezTo>
                <a:cubicBezTo>
                  <a:pt x="50" y="3"/>
                  <a:pt x="51" y="1"/>
                  <a:pt x="54" y="1"/>
                </a:cubicBezTo>
                <a:cubicBezTo>
                  <a:pt x="56" y="0"/>
                  <a:pt x="59" y="0"/>
                  <a:pt x="60" y="2"/>
                </a:cubicBezTo>
                <a:cubicBezTo>
                  <a:pt x="73" y="16"/>
                  <a:pt x="73" y="16"/>
                  <a:pt x="73" y="16"/>
                </a:cubicBezTo>
                <a:cubicBezTo>
                  <a:pt x="86" y="2"/>
                  <a:pt x="86" y="2"/>
                  <a:pt x="86" y="2"/>
                </a:cubicBezTo>
                <a:cubicBezTo>
                  <a:pt x="88" y="1"/>
                  <a:pt x="90" y="0"/>
                  <a:pt x="93" y="1"/>
                </a:cubicBezTo>
                <a:cubicBezTo>
                  <a:pt x="95" y="1"/>
                  <a:pt x="97" y="3"/>
                  <a:pt x="97" y="5"/>
                </a:cubicBezTo>
                <a:cubicBezTo>
                  <a:pt x="102" y="23"/>
                  <a:pt x="102" y="23"/>
                  <a:pt x="102" y="23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22" y="17"/>
                  <a:pt x="124" y="18"/>
                  <a:pt x="126" y="20"/>
                </a:cubicBezTo>
                <a:cubicBezTo>
                  <a:pt x="128" y="22"/>
                  <a:pt x="129" y="24"/>
                  <a:pt x="128" y="27"/>
                </a:cubicBezTo>
                <a:cubicBezTo>
                  <a:pt x="123" y="44"/>
                  <a:pt x="123" y="44"/>
                  <a:pt x="123" y="44"/>
                </a:cubicBezTo>
                <a:cubicBezTo>
                  <a:pt x="141" y="49"/>
                  <a:pt x="141" y="49"/>
                  <a:pt x="141" y="49"/>
                </a:cubicBezTo>
                <a:cubicBezTo>
                  <a:pt x="143" y="49"/>
                  <a:pt x="145" y="51"/>
                  <a:pt x="146" y="54"/>
                </a:cubicBezTo>
                <a:cubicBezTo>
                  <a:pt x="146" y="56"/>
                  <a:pt x="146" y="58"/>
                  <a:pt x="144" y="60"/>
                </a:cubicBezTo>
                <a:lnTo>
                  <a:pt x="131" y="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59" name="Freeform 159"/>
          <p:cNvSpPr>
            <a:spLocks noChangeAspect="1" noEditPoints="1"/>
          </p:cNvSpPr>
          <p:nvPr/>
        </p:nvSpPr>
        <p:spPr bwMode="auto">
          <a:xfrm>
            <a:off x="740541" y="2795218"/>
            <a:ext cx="174866" cy="151447"/>
          </a:xfrm>
          <a:custGeom>
            <a:avLst/>
            <a:gdLst>
              <a:gd name="T0" fmla="*/ 162 w 169"/>
              <a:gd name="T1" fmla="*/ 78 h 146"/>
              <a:gd name="T2" fmla="*/ 129 w 169"/>
              <a:gd name="T3" fmla="*/ 85 h 146"/>
              <a:gd name="T4" fmla="*/ 126 w 169"/>
              <a:gd name="T5" fmla="*/ 100 h 146"/>
              <a:gd name="T6" fmla="*/ 112 w 169"/>
              <a:gd name="T7" fmla="*/ 138 h 146"/>
              <a:gd name="T8" fmla="*/ 60 w 169"/>
              <a:gd name="T9" fmla="*/ 139 h 146"/>
              <a:gd name="T10" fmla="*/ 12 w 169"/>
              <a:gd name="T11" fmla="*/ 133 h 146"/>
              <a:gd name="T12" fmla="*/ 0 w 169"/>
              <a:gd name="T13" fmla="*/ 121 h 146"/>
              <a:gd name="T14" fmla="*/ 3 w 169"/>
              <a:gd name="T15" fmla="*/ 52 h 146"/>
              <a:gd name="T16" fmla="*/ 39 w 169"/>
              <a:gd name="T17" fmla="*/ 49 h 146"/>
              <a:gd name="T18" fmla="*/ 44 w 169"/>
              <a:gd name="T19" fmla="*/ 47 h 146"/>
              <a:gd name="T20" fmla="*/ 48 w 169"/>
              <a:gd name="T21" fmla="*/ 43 h 146"/>
              <a:gd name="T22" fmla="*/ 52 w 169"/>
              <a:gd name="T23" fmla="*/ 39 h 146"/>
              <a:gd name="T24" fmla="*/ 62 w 169"/>
              <a:gd name="T25" fmla="*/ 25 h 146"/>
              <a:gd name="T26" fmla="*/ 69 w 169"/>
              <a:gd name="T27" fmla="*/ 13 h 146"/>
              <a:gd name="T28" fmla="*/ 78 w 169"/>
              <a:gd name="T29" fmla="*/ 2 h 146"/>
              <a:gd name="T30" fmla="*/ 104 w 169"/>
              <a:gd name="T31" fmla="*/ 7 h 146"/>
              <a:gd name="T32" fmla="*/ 110 w 169"/>
              <a:gd name="T33" fmla="*/ 37 h 146"/>
              <a:gd name="T34" fmla="*/ 162 w 169"/>
              <a:gd name="T35" fmla="*/ 44 h 146"/>
              <a:gd name="T36" fmla="*/ 22 w 169"/>
              <a:gd name="T37" fmla="*/ 120 h 146"/>
              <a:gd name="T38" fmla="*/ 22 w 169"/>
              <a:gd name="T39" fmla="*/ 111 h 146"/>
              <a:gd name="T40" fmla="*/ 14 w 169"/>
              <a:gd name="T41" fmla="*/ 111 h 146"/>
              <a:gd name="T42" fmla="*/ 14 w 169"/>
              <a:gd name="T43" fmla="*/ 120 h 146"/>
              <a:gd name="T44" fmla="*/ 22 w 169"/>
              <a:gd name="T45" fmla="*/ 120 h 146"/>
              <a:gd name="T46" fmla="*/ 154 w 169"/>
              <a:gd name="T47" fmla="*/ 52 h 146"/>
              <a:gd name="T48" fmla="*/ 91 w 169"/>
              <a:gd name="T49" fmla="*/ 49 h 146"/>
              <a:gd name="T50" fmla="*/ 95 w 169"/>
              <a:gd name="T51" fmla="*/ 39 h 146"/>
              <a:gd name="T52" fmla="*/ 100 w 169"/>
              <a:gd name="T53" fmla="*/ 25 h 146"/>
              <a:gd name="T54" fmla="*/ 85 w 169"/>
              <a:gd name="T55" fmla="*/ 12 h 146"/>
              <a:gd name="T56" fmla="*/ 73 w 169"/>
              <a:gd name="T57" fmla="*/ 32 h 146"/>
              <a:gd name="T58" fmla="*/ 53 w 169"/>
              <a:gd name="T59" fmla="*/ 55 h 146"/>
              <a:gd name="T60" fmla="*/ 36 w 169"/>
              <a:gd name="T61" fmla="*/ 61 h 146"/>
              <a:gd name="T62" fmla="*/ 39 w 169"/>
              <a:gd name="T63" fmla="*/ 121 h 146"/>
              <a:gd name="T64" fmla="*/ 73 w 169"/>
              <a:gd name="T65" fmla="*/ 130 h 146"/>
              <a:gd name="T66" fmla="*/ 108 w 169"/>
              <a:gd name="T67" fmla="*/ 118 h 146"/>
              <a:gd name="T68" fmla="*/ 112 w 169"/>
              <a:gd name="T69" fmla="*/ 107 h 146"/>
              <a:gd name="T70" fmla="*/ 112 w 169"/>
              <a:gd name="T71" fmla="*/ 94 h 146"/>
              <a:gd name="T72" fmla="*/ 116 w 169"/>
              <a:gd name="T73" fmla="*/ 77 h 146"/>
              <a:gd name="T74" fmla="*/ 145 w 169"/>
              <a:gd name="T75" fmla="*/ 73 h 146"/>
              <a:gd name="T76" fmla="*/ 157 w 169"/>
              <a:gd name="T77" fmla="*/ 6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" h="146">
                <a:moveTo>
                  <a:pt x="169" y="61"/>
                </a:moveTo>
                <a:cubicBezTo>
                  <a:pt x="169" y="67"/>
                  <a:pt x="167" y="73"/>
                  <a:pt x="162" y="78"/>
                </a:cubicBezTo>
                <a:cubicBezTo>
                  <a:pt x="157" y="83"/>
                  <a:pt x="152" y="85"/>
                  <a:pt x="145" y="85"/>
                </a:cubicBezTo>
                <a:cubicBezTo>
                  <a:pt x="129" y="85"/>
                  <a:pt x="129" y="85"/>
                  <a:pt x="129" y="85"/>
                </a:cubicBezTo>
                <a:cubicBezTo>
                  <a:pt x="129" y="89"/>
                  <a:pt x="128" y="93"/>
                  <a:pt x="126" y="96"/>
                </a:cubicBezTo>
                <a:cubicBezTo>
                  <a:pt x="126" y="98"/>
                  <a:pt x="126" y="99"/>
                  <a:pt x="126" y="100"/>
                </a:cubicBezTo>
                <a:cubicBezTo>
                  <a:pt x="126" y="107"/>
                  <a:pt x="124" y="112"/>
                  <a:pt x="120" y="117"/>
                </a:cubicBezTo>
                <a:cubicBezTo>
                  <a:pt x="120" y="126"/>
                  <a:pt x="118" y="133"/>
                  <a:pt x="112" y="138"/>
                </a:cubicBezTo>
                <a:cubicBezTo>
                  <a:pt x="107" y="143"/>
                  <a:pt x="100" y="146"/>
                  <a:pt x="91" y="146"/>
                </a:cubicBezTo>
                <a:cubicBezTo>
                  <a:pt x="82" y="146"/>
                  <a:pt x="72" y="143"/>
                  <a:pt x="60" y="139"/>
                </a:cubicBezTo>
                <a:cubicBezTo>
                  <a:pt x="50" y="135"/>
                  <a:pt x="43" y="133"/>
                  <a:pt x="39" y="133"/>
                </a:cubicBezTo>
                <a:cubicBezTo>
                  <a:pt x="12" y="133"/>
                  <a:pt x="12" y="133"/>
                  <a:pt x="12" y="133"/>
                </a:cubicBezTo>
                <a:cubicBezTo>
                  <a:pt x="9" y="133"/>
                  <a:pt x="6" y="132"/>
                  <a:pt x="3" y="130"/>
                </a:cubicBezTo>
                <a:cubicBezTo>
                  <a:pt x="1" y="128"/>
                  <a:pt x="0" y="125"/>
                  <a:pt x="0" y="121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57"/>
                  <a:pt x="1" y="55"/>
                  <a:pt x="3" y="52"/>
                </a:cubicBezTo>
                <a:cubicBezTo>
                  <a:pt x="6" y="50"/>
                  <a:pt x="9" y="49"/>
                  <a:pt x="12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40" y="49"/>
                  <a:pt x="41" y="49"/>
                  <a:pt x="41" y="48"/>
                </a:cubicBezTo>
                <a:cubicBezTo>
                  <a:pt x="42" y="48"/>
                  <a:pt x="43" y="48"/>
                  <a:pt x="44" y="47"/>
                </a:cubicBezTo>
                <a:cubicBezTo>
                  <a:pt x="44" y="46"/>
                  <a:pt x="45" y="46"/>
                  <a:pt x="46" y="45"/>
                </a:cubicBezTo>
                <a:cubicBezTo>
                  <a:pt x="46" y="45"/>
                  <a:pt x="47" y="44"/>
                  <a:pt x="48" y="43"/>
                </a:cubicBezTo>
                <a:cubicBezTo>
                  <a:pt x="49" y="42"/>
                  <a:pt x="49" y="42"/>
                  <a:pt x="50" y="41"/>
                </a:cubicBezTo>
                <a:cubicBezTo>
                  <a:pt x="50" y="41"/>
                  <a:pt x="51" y="40"/>
                  <a:pt x="52" y="39"/>
                </a:cubicBezTo>
                <a:cubicBezTo>
                  <a:pt x="52" y="38"/>
                  <a:pt x="53" y="38"/>
                  <a:pt x="53" y="37"/>
                </a:cubicBezTo>
                <a:cubicBezTo>
                  <a:pt x="57" y="33"/>
                  <a:pt x="60" y="29"/>
                  <a:pt x="62" y="25"/>
                </a:cubicBezTo>
                <a:cubicBezTo>
                  <a:pt x="63" y="24"/>
                  <a:pt x="64" y="22"/>
                  <a:pt x="66" y="19"/>
                </a:cubicBezTo>
                <a:cubicBezTo>
                  <a:pt x="67" y="17"/>
                  <a:pt x="68" y="15"/>
                  <a:pt x="69" y="13"/>
                </a:cubicBezTo>
                <a:cubicBezTo>
                  <a:pt x="70" y="11"/>
                  <a:pt x="71" y="9"/>
                  <a:pt x="73" y="7"/>
                </a:cubicBezTo>
                <a:cubicBezTo>
                  <a:pt x="74" y="5"/>
                  <a:pt x="76" y="3"/>
                  <a:pt x="78" y="2"/>
                </a:cubicBezTo>
                <a:cubicBezTo>
                  <a:pt x="80" y="1"/>
                  <a:pt x="82" y="0"/>
                  <a:pt x="85" y="0"/>
                </a:cubicBezTo>
                <a:cubicBezTo>
                  <a:pt x="93" y="0"/>
                  <a:pt x="99" y="2"/>
                  <a:pt x="104" y="7"/>
                </a:cubicBezTo>
                <a:cubicBezTo>
                  <a:pt x="109" y="11"/>
                  <a:pt x="112" y="17"/>
                  <a:pt x="112" y="25"/>
                </a:cubicBezTo>
                <a:cubicBezTo>
                  <a:pt x="112" y="29"/>
                  <a:pt x="111" y="33"/>
                  <a:pt x="110" y="37"/>
                </a:cubicBezTo>
                <a:cubicBezTo>
                  <a:pt x="145" y="37"/>
                  <a:pt x="145" y="37"/>
                  <a:pt x="145" y="37"/>
                </a:cubicBezTo>
                <a:cubicBezTo>
                  <a:pt x="152" y="37"/>
                  <a:pt x="157" y="39"/>
                  <a:pt x="162" y="44"/>
                </a:cubicBezTo>
                <a:cubicBezTo>
                  <a:pt x="167" y="49"/>
                  <a:pt x="169" y="54"/>
                  <a:pt x="169" y="61"/>
                </a:cubicBezTo>
                <a:close/>
                <a:moveTo>
                  <a:pt x="22" y="120"/>
                </a:moveTo>
                <a:cubicBezTo>
                  <a:pt x="24" y="118"/>
                  <a:pt x="24" y="117"/>
                  <a:pt x="24" y="115"/>
                </a:cubicBezTo>
                <a:cubicBezTo>
                  <a:pt x="24" y="114"/>
                  <a:pt x="24" y="112"/>
                  <a:pt x="22" y="111"/>
                </a:cubicBezTo>
                <a:cubicBezTo>
                  <a:pt x="21" y="110"/>
                  <a:pt x="20" y="109"/>
                  <a:pt x="18" y="109"/>
                </a:cubicBezTo>
                <a:cubicBezTo>
                  <a:pt x="16" y="109"/>
                  <a:pt x="15" y="110"/>
                  <a:pt x="14" y="111"/>
                </a:cubicBezTo>
                <a:cubicBezTo>
                  <a:pt x="13" y="112"/>
                  <a:pt x="12" y="114"/>
                  <a:pt x="12" y="115"/>
                </a:cubicBezTo>
                <a:cubicBezTo>
                  <a:pt x="12" y="117"/>
                  <a:pt x="13" y="118"/>
                  <a:pt x="14" y="120"/>
                </a:cubicBezTo>
                <a:cubicBezTo>
                  <a:pt x="15" y="121"/>
                  <a:pt x="16" y="121"/>
                  <a:pt x="18" y="121"/>
                </a:cubicBezTo>
                <a:cubicBezTo>
                  <a:pt x="20" y="121"/>
                  <a:pt x="21" y="121"/>
                  <a:pt x="22" y="120"/>
                </a:cubicBezTo>
                <a:close/>
                <a:moveTo>
                  <a:pt x="157" y="61"/>
                </a:moveTo>
                <a:cubicBezTo>
                  <a:pt x="157" y="58"/>
                  <a:pt x="156" y="55"/>
                  <a:pt x="154" y="52"/>
                </a:cubicBezTo>
                <a:cubicBezTo>
                  <a:pt x="151" y="50"/>
                  <a:pt x="148" y="49"/>
                  <a:pt x="145" y="49"/>
                </a:cubicBezTo>
                <a:cubicBezTo>
                  <a:pt x="91" y="49"/>
                  <a:pt x="91" y="49"/>
                  <a:pt x="91" y="49"/>
                </a:cubicBezTo>
                <a:cubicBezTo>
                  <a:pt x="91" y="47"/>
                  <a:pt x="91" y="46"/>
                  <a:pt x="92" y="44"/>
                </a:cubicBezTo>
                <a:cubicBezTo>
                  <a:pt x="93" y="42"/>
                  <a:pt x="94" y="41"/>
                  <a:pt x="95" y="39"/>
                </a:cubicBezTo>
                <a:cubicBezTo>
                  <a:pt x="96" y="37"/>
                  <a:pt x="97" y="35"/>
                  <a:pt x="98" y="33"/>
                </a:cubicBezTo>
                <a:cubicBezTo>
                  <a:pt x="99" y="30"/>
                  <a:pt x="100" y="27"/>
                  <a:pt x="100" y="25"/>
                </a:cubicBezTo>
                <a:cubicBezTo>
                  <a:pt x="100" y="20"/>
                  <a:pt x="98" y="17"/>
                  <a:pt x="96" y="15"/>
                </a:cubicBezTo>
                <a:cubicBezTo>
                  <a:pt x="93" y="13"/>
                  <a:pt x="89" y="12"/>
                  <a:pt x="85" y="12"/>
                </a:cubicBezTo>
                <a:cubicBezTo>
                  <a:pt x="83" y="12"/>
                  <a:pt x="80" y="17"/>
                  <a:pt x="76" y="26"/>
                </a:cubicBezTo>
                <a:cubicBezTo>
                  <a:pt x="75" y="28"/>
                  <a:pt x="73" y="30"/>
                  <a:pt x="73" y="32"/>
                </a:cubicBezTo>
                <a:cubicBezTo>
                  <a:pt x="70" y="36"/>
                  <a:pt x="67" y="40"/>
                  <a:pt x="62" y="45"/>
                </a:cubicBezTo>
                <a:cubicBezTo>
                  <a:pt x="58" y="51"/>
                  <a:pt x="54" y="54"/>
                  <a:pt x="53" y="55"/>
                </a:cubicBezTo>
                <a:cubicBezTo>
                  <a:pt x="48" y="59"/>
                  <a:pt x="44" y="61"/>
                  <a:pt x="39" y="61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121"/>
                  <a:pt x="36" y="121"/>
                  <a:pt x="36" y="121"/>
                </a:cubicBezTo>
                <a:cubicBezTo>
                  <a:pt x="39" y="121"/>
                  <a:pt x="39" y="121"/>
                  <a:pt x="39" y="121"/>
                </a:cubicBezTo>
                <a:cubicBezTo>
                  <a:pt x="44" y="121"/>
                  <a:pt x="49" y="122"/>
                  <a:pt x="55" y="124"/>
                </a:cubicBezTo>
                <a:cubicBezTo>
                  <a:pt x="61" y="126"/>
                  <a:pt x="67" y="128"/>
                  <a:pt x="73" y="130"/>
                </a:cubicBezTo>
                <a:cubicBezTo>
                  <a:pt x="80" y="132"/>
                  <a:pt x="85" y="133"/>
                  <a:pt x="90" y="133"/>
                </a:cubicBezTo>
                <a:cubicBezTo>
                  <a:pt x="102" y="133"/>
                  <a:pt x="108" y="128"/>
                  <a:pt x="108" y="118"/>
                </a:cubicBezTo>
                <a:cubicBezTo>
                  <a:pt x="108" y="116"/>
                  <a:pt x="108" y="114"/>
                  <a:pt x="108" y="112"/>
                </a:cubicBezTo>
                <a:cubicBezTo>
                  <a:pt x="110" y="111"/>
                  <a:pt x="111" y="110"/>
                  <a:pt x="112" y="107"/>
                </a:cubicBezTo>
                <a:cubicBezTo>
                  <a:pt x="113" y="105"/>
                  <a:pt x="114" y="103"/>
                  <a:pt x="114" y="100"/>
                </a:cubicBezTo>
                <a:cubicBezTo>
                  <a:pt x="114" y="98"/>
                  <a:pt x="113" y="96"/>
                  <a:pt x="112" y="94"/>
                </a:cubicBezTo>
                <a:cubicBezTo>
                  <a:pt x="116" y="91"/>
                  <a:pt x="117" y="87"/>
                  <a:pt x="117" y="83"/>
                </a:cubicBezTo>
                <a:cubicBezTo>
                  <a:pt x="117" y="81"/>
                  <a:pt x="117" y="79"/>
                  <a:pt x="116" y="77"/>
                </a:cubicBezTo>
                <a:cubicBezTo>
                  <a:pt x="116" y="76"/>
                  <a:pt x="115" y="74"/>
                  <a:pt x="114" y="73"/>
                </a:cubicBezTo>
                <a:cubicBezTo>
                  <a:pt x="145" y="73"/>
                  <a:pt x="145" y="73"/>
                  <a:pt x="145" y="73"/>
                </a:cubicBezTo>
                <a:cubicBezTo>
                  <a:pt x="148" y="73"/>
                  <a:pt x="151" y="72"/>
                  <a:pt x="154" y="69"/>
                </a:cubicBezTo>
                <a:cubicBezTo>
                  <a:pt x="156" y="67"/>
                  <a:pt x="157" y="64"/>
                  <a:pt x="157" y="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0" name="Freeform 160"/>
          <p:cNvSpPr>
            <a:spLocks noChangeAspect="1" noEditPoints="1"/>
          </p:cNvSpPr>
          <p:nvPr/>
        </p:nvSpPr>
        <p:spPr bwMode="auto">
          <a:xfrm>
            <a:off x="957563" y="2795218"/>
            <a:ext cx="176428" cy="151447"/>
          </a:xfrm>
          <a:custGeom>
            <a:avLst/>
            <a:gdLst>
              <a:gd name="T0" fmla="*/ 170 w 170"/>
              <a:gd name="T1" fmla="*/ 121 h 146"/>
              <a:gd name="T2" fmla="*/ 157 w 170"/>
              <a:gd name="T3" fmla="*/ 133 h 146"/>
              <a:gd name="T4" fmla="*/ 109 w 170"/>
              <a:gd name="T5" fmla="*/ 139 h 146"/>
              <a:gd name="T6" fmla="*/ 57 w 170"/>
              <a:gd name="T7" fmla="*/ 138 h 146"/>
              <a:gd name="T8" fmla="*/ 49 w 170"/>
              <a:gd name="T9" fmla="*/ 117 h 146"/>
              <a:gd name="T10" fmla="*/ 44 w 170"/>
              <a:gd name="T11" fmla="*/ 96 h 146"/>
              <a:gd name="T12" fmla="*/ 24 w 170"/>
              <a:gd name="T13" fmla="*/ 85 h 146"/>
              <a:gd name="T14" fmla="*/ 0 w 170"/>
              <a:gd name="T15" fmla="*/ 61 h 146"/>
              <a:gd name="T16" fmla="*/ 24 w 170"/>
              <a:gd name="T17" fmla="*/ 37 h 146"/>
              <a:gd name="T18" fmla="*/ 58 w 170"/>
              <a:gd name="T19" fmla="*/ 25 h 146"/>
              <a:gd name="T20" fmla="*/ 85 w 170"/>
              <a:gd name="T21" fmla="*/ 0 h 146"/>
              <a:gd name="T22" fmla="*/ 97 w 170"/>
              <a:gd name="T23" fmla="*/ 7 h 146"/>
              <a:gd name="T24" fmla="*/ 104 w 170"/>
              <a:gd name="T25" fmla="*/ 19 h 146"/>
              <a:gd name="T26" fmla="*/ 117 w 170"/>
              <a:gd name="T27" fmla="*/ 37 h 146"/>
              <a:gd name="T28" fmla="*/ 120 w 170"/>
              <a:gd name="T29" fmla="*/ 41 h 146"/>
              <a:gd name="T30" fmla="*/ 124 w 170"/>
              <a:gd name="T31" fmla="*/ 45 h 146"/>
              <a:gd name="T32" fmla="*/ 128 w 170"/>
              <a:gd name="T33" fmla="*/ 48 h 146"/>
              <a:gd name="T34" fmla="*/ 157 w 170"/>
              <a:gd name="T35" fmla="*/ 49 h 146"/>
              <a:gd name="T36" fmla="*/ 170 w 170"/>
              <a:gd name="T37" fmla="*/ 61 h 146"/>
              <a:gd name="T38" fmla="*/ 133 w 170"/>
              <a:gd name="T39" fmla="*/ 121 h 146"/>
              <a:gd name="T40" fmla="*/ 130 w 170"/>
              <a:gd name="T41" fmla="*/ 61 h 146"/>
              <a:gd name="T42" fmla="*/ 118 w 170"/>
              <a:gd name="T43" fmla="*/ 56 h 146"/>
              <a:gd name="T44" fmla="*/ 109 w 170"/>
              <a:gd name="T45" fmla="*/ 47 h 146"/>
              <a:gd name="T46" fmla="*/ 108 w 170"/>
              <a:gd name="T47" fmla="*/ 46 h 146"/>
              <a:gd name="T48" fmla="*/ 97 w 170"/>
              <a:gd name="T49" fmla="*/ 32 h 146"/>
              <a:gd name="T50" fmla="*/ 92 w 170"/>
              <a:gd name="T51" fmla="*/ 23 h 146"/>
              <a:gd name="T52" fmla="*/ 89 w 170"/>
              <a:gd name="T53" fmla="*/ 16 h 146"/>
              <a:gd name="T54" fmla="*/ 85 w 170"/>
              <a:gd name="T55" fmla="*/ 12 h 146"/>
              <a:gd name="T56" fmla="*/ 70 w 170"/>
              <a:gd name="T57" fmla="*/ 25 h 146"/>
              <a:gd name="T58" fmla="*/ 74 w 170"/>
              <a:gd name="T59" fmla="*/ 39 h 146"/>
              <a:gd name="T60" fmla="*/ 79 w 170"/>
              <a:gd name="T61" fmla="*/ 49 h 146"/>
              <a:gd name="T62" fmla="*/ 16 w 170"/>
              <a:gd name="T63" fmla="*/ 52 h 146"/>
              <a:gd name="T64" fmla="*/ 16 w 170"/>
              <a:gd name="T65" fmla="*/ 69 h 146"/>
              <a:gd name="T66" fmla="*/ 56 w 170"/>
              <a:gd name="T67" fmla="*/ 73 h 146"/>
              <a:gd name="T68" fmla="*/ 52 w 170"/>
              <a:gd name="T69" fmla="*/ 83 h 146"/>
              <a:gd name="T70" fmla="*/ 56 w 170"/>
              <a:gd name="T71" fmla="*/ 100 h 146"/>
              <a:gd name="T72" fmla="*/ 62 w 170"/>
              <a:gd name="T73" fmla="*/ 112 h 146"/>
              <a:gd name="T74" fmla="*/ 66 w 170"/>
              <a:gd name="T75" fmla="*/ 130 h 146"/>
              <a:gd name="T76" fmla="*/ 96 w 170"/>
              <a:gd name="T77" fmla="*/ 130 h 146"/>
              <a:gd name="T78" fmla="*/ 130 w 170"/>
              <a:gd name="T79" fmla="*/ 121 h 146"/>
              <a:gd name="T80" fmla="*/ 157 w 170"/>
              <a:gd name="T81" fmla="*/ 115 h 146"/>
              <a:gd name="T82" fmla="*/ 151 w 170"/>
              <a:gd name="T83" fmla="*/ 109 h 146"/>
              <a:gd name="T84" fmla="*/ 145 w 170"/>
              <a:gd name="T85" fmla="*/ 115 h 146"/>
              <a:gd name="T86" fmla="*/ 151 w 170"/>
              <a:gd name="T87" fmla="*/ 12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70" h="146">
                <a:moveTo>
                  <a:pt x="170" y="61"/>
                </a:moveTo>
                <a:cubicBezTo>
                  <a:pt x="170" y="121"/>
                  <a:pt x="170" y="121"/>
                  <a:pt x="170" y="121"/>
                </a:cubicBezTo>
                <a:cubicBezTo>
                  <a:pt x="170" y="125"/>
                  <a:pt x="168" y="128"/>
                  <a:pt x="166" y="130"/>
                </a:cubicBezTo>
                <a:cubicBezTo>
                  <a:pt x="164" y="132"/>
                  <a:pt x="161" y="133"/>
                  <a:pt x="157" y="133"/>
                </a:cubicBezTo>
                <a:cubicBezTo>
                  <a:pt x="130" y="133"/>
                  <a:pt x="130" y="133"/>
                  <a:pt x="130" y="133"/>
                </a:cubicBezTo>
                <a:cubicBezTo>
                  <a:pt x="127" y="133"/>
                  <a:pt x="120" y="135"/>
                  <a:pt x="109" y="139"/>
                </a:cubicBezTo>
                <a:cubicBezTo>
                  <a:pt x="97" y="143"/>
                  <a:pt x="87" y="146"/>
                  <a:pt x="79" y="146"/>
                </a:cubicBezTo>
                <a:cubicBezTo>
                  <a:pt x="70" y="146"/>
                  <a:pt x="63" y="143"/>
                  <a:pt x="57" y="138"/>
                </a:cubicBezTo>
                <a:cubicBezTo>
                  <a:pt x="52" y="133"/>
                  <a:pt x="49" y="126"/>
                  <a:pt x="49" y="118"/>
                </a:cubicBezTo>
                <a:cubicBezTo>
                  <a:pt x="49" y="117"/>
                  <a:pt x="49" y="117"/>
                  <a:pt x="49" y="117"/>
                </a:cubicBezTo>
                <a:cubicBezTo>
                  <a:pt x="45" y="112"/>
                  <a:pt x="44" y="107"/>
                  <a:pt x="44" y="100"/>
                </a:cubicBezTo>
                <a:cubicBezTo>
                  <a:pt x="44" y="99"/>
                  <a:pt x="44" y="98"/>
                  <a:pt x="44" y="96"/>
                </a:cubicBezTo>
                <a:cubicBezTo>
                  <a:pt x="42" y="93"/>
                  <a:pt x="41" y="89"/>
                  <a:pt x="40" y="85"/>
                </a:cubicBezTo>
                <a:cubicBezTo>
                  <a:pt x="24" y="85"/>
                  <a:pt x="24" y="85"/>
                  <a:pt x="24" y="85"/>
                </a:cubicBezTo>
                <a:cubicBezTo>
                  <a:pt x="18" y="85"/>
                  <a:pt x="12" y="83"/>
                  <a:pt x="7" y="78"/>
                </a:cubicBezTo>
                <a:cubicBezTo>
                  <a:pt x="3" y="73"/>
                  <a:pt x="0" y="67"/>
                  <a:pt x="0" y="61"/>
                </a:cubicBezTo>
                <a:cubicBezTo>
                  <a:pt x="0" y="54"/>
                  <a:pt x="3" y="49"/>
                  <a:pt x="7" y="44"/>
                </a:cubicBezTo>
                <a:cubicBezTo>
                  <a:pt x="12" y="39"/>
                  <a:pt x="18" y="37"/>
                  <a:pt x="24" y="37"/>
                </a:cubicBezTo>
                <a:cubicBezTo>
                  <a:pt x="60" y="37"/>
                  <a:pt x="60" y="37"/>
                  <a:pt x="60" y="37"/>
                </a:cubicBezTo>
                <a:cubicBezTo>
                  <a:pt x="58" y="33"/>
                  <a:pt x="58" y="29"/>
                  <a:pt x="58" y="25"/>
                </a:cubicBezTo>
                <a:cubicBezTo>
                  <a:pt x="58" y="17"/>
                  <a:pt x="60" y="11"/>
                  <a:pt x="65" y="7"/>
                </a:cubicBezTo>
                <a:cubicBezTo>
                  <a:pt x="70" y="2"/>
                  <a:pt x="77" y="0"/>
                  <a:pt x="85" y="0"/>
                </a:cubicBezTo>
                <a:cubicBezTo>
                  <a:pt x="87" y="0"/>
                  <a:pt x="89" y="1"/>
                  <a:pt x="91" y="2"/>
                </a:cubicBezTo>
                <a:cubicBezTo>
                  <a:pt x="93" y="3"/>
                  <a:pt x="95" y="5"/>
                  <a:pt x="97" y="7"/>
                </a:cubicBezTo>
                <a:cubicBezTo>
                  <a:pt x="98" y="9"/>
                  <a:pt x="99" y="11"/>
                  <a:pt x="100" y="13"/>
                </a:cubicBezTo>
                <a:cubicBezTo>
                  <a:pt x="102" y="15"/>
                  <a:pt x="103" y="17"/>
                  <a:pt x="104" y="19"/>
                </a:cubicBezTo>
                <a:cubicBezTo>
                  <a:pt x="105" y="22"/>
                  <a:pt x="106" y="24"/>
                  <a:pt x="107" y="25"/>
                </a:cubicBezTo>
                <a:cubicBezTo>
                  <a:pt x="109" y="29"/>
                  <a:pt x="112" y="33"/>
                  <a:pt x="117" y="37"/>
                </a:cubicBezTo>
                <a:cubicBezTo>
                  <a:pt x="117" y="38"/>
                  <a:pt x="117" y="38"/>
                  <a:pt x="118" y="39"/>
                </a:cubicBezTo>
                <a:cubicBezTo>
                  <a:pt x="119" y="40"/>
                  <a:pt x="119" y="41"/>
                  <a:pt x="120" y="41"/>
                </a:cubicBezTo>
                <a:cubicBezTo>
                  <a:pt x="120" y="42"/>
                  <a:pt x="121" y="42"/>
                  <a:pt x="122" y="43"/>
                </a:cubicBezTo>
                <a:cubicBezTo>
                  <a:pt x="122" y="44"/>
                  <a:pt x="123" y="45"/>
                  <a:pt x="124" y="45"/>
                </a:cubicBezTo>
                <a:cubicBezTo>
                  <a:pt x="125" y="46"/>
                  <a:pt x="125" y="46"/>
                  <a:pt x="126" y="47"/>
                </a:cubicBezTo>
                <a:cubicBezTo>
                  <a:pt x="127" y="48"/>
                  <a:pt x="128" y="48"/>
                  <a:pt x="128" y="48"/>
                </a:cubicBezTo>
                <a:cubicBezTo>
                  <a:pt x="129" y="49"/>
                  <a:pt x="130" y="49"/>
                  <a:pt x="130" y="49"/>
                </a:cubicBezTo>
                <a:cubicBezTo>
                  <a:pt x="157" y="49"/>
                  <a:pt x="157" y="49"/>
                  <a:pt x="157" y="49"/>
                </a:cubicBezTo>
                <a:cubicBezTo>
                  <a:pt x="161" y="49"/>
                  <a:pt x="164" y="50"/>
                  <a:pt x="166" y="52"/>
                </a:cubicBezTo>
                <a:cubicBezTo>
                  <a:pt x="168" y="55"/>
                  <a:pt x="170" y="57"/>
                  <a:pt x="170" y="61"/>
                </a:cubicBezTo>
                <a:close/>
                <a:moveTo>
                  <a:pt x="130" y="121"/>
                </a:moveTo>
                <a:cubicBezTo>
                  <a:pt x="133" y="121"/>
                  <a:pt x="133" y="121"/>
                  <a:pt x="133" y="121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30" y="61"/>
                  <a:pt x="130" y="61"/>
                  <a:pt x="130" y="61"/>
                </a:cubicBezTo>
                <a:cubicBezTo>
                  <a:pt x="128" y="61"/>
                  <a:pt x="126" y="60"/>
                  <a:pt x="124" y="60"/>
                </a:cubicBezTo>
                <a:cubicBezTo>
                  <a:pt x="122" y="59"/>
                  <a:pt x="120" y="58"/>
                  <a:pt x="118" y="56"/>
                </a:cubicBezTo>
                <a:cubicBezTo>
                  <a:pt x="116" y="55"/>
                  <a:pt x="115" y="53"/>
                  <a:pt x="113" y="52"/>
                </a:cubicBezTo>
                <a:cubicBezTo>
                  <a:pt x="112" y="51"/>
                  <a:pt x="110" y="49"/>
                  <a:pt x="109" y="47"/>
                </a:cubicBezTo>
                <a:cubicBezTo>
                  <a:pt x="108" y="47"/>
                  <a:pt x="108" y="46"/>
                  <a:pt x="108" y="46"/>
                </a:cubicBezTo>
                <a:cubicBezTo>
                  <a:pt x="108" y="46"/>
                  <a:pt x="108" y="46"/>
                  <a:pt x="108" y="46"/>
                </a:cubicBezTo>
                <a:cubicBezTo>
                  <a:pt x="108" y="46"/>
                  <a:pt x="108" y="46"/>
                  <a:pt x="107" y="45"/>
                </a:cubicBezTo>
                <a:cubicBezTo>
                  <a:pt x="103" y="40"/>
                  <a:pt x="99" y="36"/>
                  <a:pt x="97" y="32"/>
                </a:cubicBezTo>
                <a:cubicBezTo>
                  <a:pt x="96" y="30"/>
                  <a:pt x="95" y="28"/>
                  <a:pt x="93" y="25"/>
                </a:cubicBezTo>
                <a:cubicBezTo>
                  <a:pt x="93" y="25"/>
                  <a:pt x="93" y="24"/>
                  <a:pt x="92" y="23"/>
                </a:cubicBezTo>
                <a:cubicBezTo>
                  <a:pt x="92" y="22"/>
                  <a:pt x="91" y="21"/>
                  <a:pt x="91" y="20"/>
                </a:cubicBezTo>
                <a:cubicBezTo>
                  <a:pt x="90" y="19"/>
                  <a:pt x="89" y="18"/>
                  <a:pt x="89" y="16"/>
                </a:cubicBezTo>
                <a:cubicBezTo>
                  <a:pt x="88" y="15"/>
                  <a:pt x="87" y="14"/>
                  <a:pt x="87" y="14"/>
                </a:cubicBezTo>
                <a:cubicBezTo>
                  <a:pt x="86" y="13"/>
                  <a:pt x="85" y="12"/>
                  <a:pt x="85" y="12"/>
                </a:cubicBezTo>
                <a:cubicBezTo>
                  <a:pt x="80" y="12"/>
                  <a:pt x="77" y="13"/>
                  <a:pt x="74" y="15"/>
                </a:cubicBezTo>
                <a:cubicBezTo>
                  <a:pt x="71" y="17"/>
                  <a:pt x="70" y="20"/>
                  <a:pt x="70" y="25"/>
                </a:cubicBezTo>
                <a:cubicBezTo>
                  <a:pt x="70" y="27"/>
                  <a:pt x="70" y="30"/>
                  <a:pt x="71" y="33"/>
                </a:cubicBezTo>
                <a:cubicBezTo>
                  <a:pt x="72" y="35"/>
                  <a:pt x="73" y="37"/>
                  <a:pt x="74" y="39"/>
                </a:cubicBezTo>
                <a:cubicBezTo>
                  <a:pt x="75" y="41"/>
                  <a:pt x="76" y="42"/>
                  <a:pt x="77" y="44"/>
                </a:cubicBezTo>
                <a:cubicBezTo>
                  <a:pt x="78" y="46"/>
                  <a:pt x="79" y="47"/>
                  <a:pt x="79" y="49"/>
                </a:cubicBezTo>
                <a:cubicBezTo>
                  <a:pt x="24" y="49"/>
                  <a:pt x="24" y="49"/>
                  <a:pt x="24" y="49"/>
                </a:cubicBezTo>
                <a:cubicBezTo>
                  <a:pt x="21" y="49"/>
                  <a:pt x="18" y="50"/>
                  <a:pt x="16" y="52"/>
                </a:cubicBezTo>
                <a:cubicBezTo>
                  <a:pt x="13" y="55"/>
                  <a:pt x="12" y="58"/>
                  <a:pt x="12" y="61"/>
                </a:cubicBezTo>
                <a:cubicBezTo>
                  <a:pt x="12" y="64"/>
                  <a:pt x="13" y="67"/>
                  <a:pt x="16" y="69"/>
                </a:cubicBezTo>
                <a:cubicBezTo>
                  <a:pt x="18" y="72"/>
                  <a:pt x="21" y="73"/>
                  <a:pt x="24" y="73"/>
                </a:cubicBezTo>
                <a:cubicBezTo>
                  <a:pt x="56" y="73"/>
                  <a:pt x="56" y="73"/>
                  <a:pt x="56" y="73"/>
                </a:cubicBezTo>
                <a:cubicBezTo>
                  <a:pt x="55" y="74"/>
                  <a:pt x="54" y="76"/>
                  <a:pt x="53" y="77"/>
                </a:cubicBezTo>
                <a:cubicBezTo>
                  <a:pt x="53" y="79"/>
                  <a:pt x="52" y="81"/>
                  <a:pt x="52" y="83"/>
                </a:cubicBezTo>
                <a:cubicBezTo>
                  <a:pt x="52" y="87"/>
                  <a:pt x="54" y="91"/>
                  <a:pt x="57" y="94"/>
                </a:cubicBezTo>
                <a:cubicBezTo>
                  <a:pt x="56" y="96"/>
                  <a:pt x="56" y="98"/>
                  <a:pt x="56" y="100"/>
                </a:cubicBezTo>
                <a:cubicBezTo>
                  <a:pt x="56" y="103"/>
                  <a:pt x="56" y="105"/>
                  <a:pt x="57" y="107"/>
                </a:cubicBezTo>
                <a:cubicBezTo>
                  <a:pt x="58" y="110"/>
                  <a:pt x="60" y="111"/>
                  <a:pt x="62" y="112"/>
                </a:cubicBezTo>
                <a:cubicBezTo>
                  <a:pt x="62" y="114"/>
                  <a:pt x="61" y="116"/>
                  <a:pt x="61" y="118"/>
                </a:cubicBezTo>
                <a:cubicBezTo>
                  <a:pt x="61" y="123"/>
                  <a:pt x="63" y="127"/>
                  <a:pt x="66" y="130"/>
                </a:cubicBezTo>
                <a:cubicBezTo>
                  <a:pt x="69" y="132"/>
                  <a:pt x="73" y="133"/>
                  <a:pt x="79" y="133"/>
                </a:cubicBezTo>
                <a:cubicBezTo>
                  <a:pt x="84" y="133"/>
                  <a:pt x="90" y="132"/>
                  <a:pt x="96" y="130"/>
                </a:cubicBezTo>
                <a:cubicBezTo>
                  <a:pt x="102" y="128"/>
                  <a:pt x="108" y="126"/>
                  <a:pt x="114" y="124"/>
                </a:cubicBezTo>
                <a:cubicBezTo>
                  <a:pt x="120" y="122"/>
                  <a:pt x="126" y="121"/>
                  <a:pt x="130" y="121"/>
                </a:cubicBezTo>
                <a:close/>
                <a:moveTo>
                  <a:pt x="156" y="120"/>
                </a:moveTo>
                <a:cubicBezTo>
                  <a:pt x="157" y="118"/>
                  <a:pt x="157" y="117"/>
                  <a:pt x="157" y="115"/>
                </a:cubicBezTo>
                <a:cubicBezTo>
                  <a:pt x="157" y="114"/>
                  <a:pt x="157" y="112"/>
                  <a:pt x="156" y="111"/>
                </a:cubicBezTo>
                <a:cubicBezTo>
                  <a:pt x="155" y="110"/>
                  <a:pt x="153" y="109"/>
                  <a:pt x="151" y="109"/>
                </a:cubicBezTo>
                <a:cubicBezTo>
                  <a:pt x="150" y="109"/>
                  <a:pt x="148" y="110"/>
                  <a:pt x="147" y="111"/>
                </a:cubicBezTo>
                <a:cubicBezTo>
                  <a:pt x="146" y="112"/>
                  <a:pt x="145" y="114"/>
                  <a:pt x="145" y="115"/>
                </a:cubicBezTo>
                <a:cubicBezTo>
                  <a:pt x="145" y="117"/>
                  <a:pt x="146" y="118"/>
                  <a:pt x="147" y="120"/>
                </a:cubicBezTo>
                <a:cubicBezTo>
                  <a:pt x="148" y="121"/>
                  <a:pt x="150" y="121"/>
                  <a:pt x="151" y="121"/>
                </a:cubicBezTo>
                <a:cubicBezTo>
                  <a:pt x="153" y="121"/>
                  <a:pt x="155" y="121"/>
                  <a:pt x="156" y="1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1" name="Freeform 161"/>
          <p:cNvSpPr>
            <a:spLocks noChangeAspect="1" noEditPoints="1"/>
          </p:cNvSpPr>
          <p:nvPr/>
        </p:nvSpPr>
        <p:spPr bwMode="auto">
          <a:xfrm>
            <a:off x="1176146" y="2782727"/>
            <a:ext cx="149885" cy="176428"/>
          </a:xfrm>
          <a:custGeom>
            <a:avLst/>
            <a:gdLst>
              <a:gd name="T0" fmla="*/ 139 w 146"/>
              <a:gd name="T1" fmla="*/ 109 h 170"/>
              <a:gd name="T2" fmla="*/ 134 w 146"/>
              <a:gd name="T3" fmla="*/ 158 h 170"/>
              <a:gd name="T4" fmla="*/ 121 w 146"/>
              <a:gd name="T5" fmla="*/ 170 h 170"/>
              <a:gd name="T6" fmla="*/ 52 w 146"/>
              <a:gd name="T7" fmla="*/ 166 h 170"/>
              <a:gd name="T8" fmla="*/ 49 w 146"/>
              <a:gd name="T9" fmla="*/ 130 h 170"/>
              <a:gd name="T10" fmla="*/ 47 w 146"/>
              <a:gd name="T11" fmla="*/ 126 h 170"/>
              <a:gd name="T12" fmla="*/ 43 w 146"/>
              <a:gd name="T13" fmla="*/ 122 h 170"/>
              <a:gd name="T14" fmla="*/ 39 w 146"/>
              <a:gd name="T15" fmla="*/ 118 h 170"/>
              <a:gd name="T16" fmla="*/ 25 w 146"/>
              <a:gd name="T17" fmla="*/ 107 h 170"/>
              <a:gd name="T18" fmla="*/ 13 w 146"/>
              <a:gd name="T19" fmla="*/ 101 h 170"/>
              <a:gd name="T20" fmla="*/ 2 w 146"/>
              <a:gd name="T21" fmla="*/ 92 h 170"/>
              <a:gd name="T22" fmla="*/ 7 w 146"/>
              <a:gd name="T23" fmla="*/ 65 h 170"/>
              <a:gd name="T24" fmla="*/ 37 w 146"/>
              <a:gd name="T25" fmla="*/ 60 h 170"/>
              <a:gd name="T26" fmla="*/ 44 w 146"/>
              <a:gd name="T27" fmla="*/ 7 h 170"/>
              <a:gd name="T28" fmla="*/ 78 w 146"/>
              <a:gd name="T29" fmla="*/ 7 h 170"/>
              <a:gd name="T30" fmla="*/ 85 w 146"/>
              <a:gd name="T31" fmla="*/ 40 h 170"/>
              <a:gd name="T32" fmla="*/ 100 w 146"/>
              <a:gd name="T33" fmla="*/ 44 h 170"/>
              <a:gd name="T34" fmla="*/ 138 w 146"/>
              <a:gd name="T35" fmla="*/ 57 h 170"/>
              <a:gd name="T36" fmla="*/ 134 w 146"/>
              <a:gd name="T37" fmla="*/ 79 h 170"/>
              <a:gd name="T38" fmla="*/ 112 w 146"/>
              <a:gd name="T39" fmla="*/ 62 h 170"/>
              <a:gd name="T40" fmla="*/ 101 w 146"/>
              <a:gd name="T41" fmla="*/ 56 h 170"/>
              <a:gd name="T42" fmla="*/ 83 w 146"/>
              <a:gd name="T43" fmla="*/ 52 h 170"/>
              <a:gd name="T44" fmla="*/ 73 w 146"/>
              <a:gd name="T45" fmla="*/ 56 h 170"/>
              <a:gd name="T46" fmla="*/ 69 w 146"/>
              <a:gd name="T47" fmla="*/ 16 h 170"/>
              <a:gd name="T48" fmla="*/ 52 w 146"/>
              <a:gd name="T49" fmla="*/ 16 h 170"/>
              <a:gd name="T50" fmla="*/ 49 w 146"/>
              <a:gd name="T51" fmla="*/ 79 h 170"/>
              <a:gd name="T52" fmla="*/ 39 w 146"/>
              <a:gd name="T53" fmla="*/ 74 h 170"/>
              <a:gd name="T54" fmla="*/ 25 w 146"/>
              <a:gd name="T55" fmla="*/ 70 h 170"/>
              <a:gd name="T56" fmla="*/ 12 w 146"/>
              <a:gd name="T57" fmla="*/ 85 h 170"/>
              <a:gd name="T58" fmla="*/ 32 w 146"/>
              <a:gd name="T59" fmla="*/ 97 h 170"/>
              <a:gd name="T60" fmla="*/ 56 w 146"/>
              <a:gd name="T61" fmla="*/ 117 h 170"/>
              <a:gd name="T62" fmla="*/ 61 w 146"/>
              <a:gd name="T63" fmla="*/ 133 h 170"/>
              <a:gd name="T64" fmla="*/ 121 w 146"/>
              <a:gd name="T65" fmla="*/ 130 h 170"/>
              <a:gd name="T66" fmla="*/ 130 w 146"/>
              <a:gd name="T67" fmla="*/ 96 h 170"/>
              <a:gd name="T68" fmla="*/ 120 w 146"/>
              <a:gd name="T69" fmla="*/ 156 h 170"/>
              <a:gd name="T70" fmla="*/ 120 w 146"/>
              <a:gd name="T71" fmla="*/ 147 h 170"/>
              <a:gd name="T72" fmla="*/ 111 w 146"/>
              <a:gd name="T73" fmla="*/ 147 h 170"/>
              <a:gd name="T74" fmla="*/ 111 w 146"/>
              <a:gd name="T75" fmla="*/ 156 h 170"/>
              <a:gd name="T76" fmla="*/ 120 w 146"/>
              <a:gd name="T77" fmla="*/ 15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6" h="170">
                <a:moveTo>
                  <a:pt x="146" y="79"/>
                </a:moveTo>
                <a:cubicBezTo>
                  <a:pt x="146" y="87"/>
                  <a:pt x="143" y="97"/>
                  <a:pt x="139" y="109"/>
                </a:cubicBezTo>
                <a:cubicBezTo>
                  <a:pt x="135" y="120"/>
                  <a:pt x="134" y="127"/>
                  <a:pt x="134" y="130"/>
                </a:cubicBezTo>
                <a:cubicBezTo>
                  <a:pt x="134" y="158"/>
                  <a:pt x="134" y="158"/>
                  <a:pt x="134" y="158"/>
                </a:cubicBezTo>
                <a:cubicBezTo>
                  <a:pt x="134" y="161"/>
                  <a:pt x="132" y="164"/>
                  <a:pt x="130" y="166"/>
                </a:cubicBezTo>
                <a:cubicBezTo>
                  <a:pt x="128" y="168"/>
                  <a:pt x="125" y="170"/>
                  <a:pt x="121" y="170"/>
                </a:cubicBezTo>
                <a:cubicBezTo>
                  <a:pt x="61" y="170"/>
                  <a:pt x="61" y="170"/>
                  <a:pt x="61" y="170"/>
                </a:cubicBezTo>
                <a:cubicBezTo>
                  <a:pt x="58" y="170"/>
                  <a:pt x="55" y="168"/>
                  <a:pt x="52" y="166"/>
                </a:cubicBezTo>
                <a:cubicBezTo>
                  <a:pt x="50" y="164"/>
                  <a:pt x="49" y="161"/>
                  <a:pt x="49" y="158"/>
                </a:cubicBezTo>
                <a:cubicBezTo>
                  <a:pt x="49" y="130"/>
                  <a:pt x="49" y="130"/>
                  <a:pt x="49" y="130"/>
                </a:cubicBezTo>
                <a:cubicBezTo>
                  <a:pt x="49" y="130"/>
                  <a:pt x="49" y="129"/>
                  <a:pt x="48" y="128"/>
                </a:cubicBezTo>
                <a:cubicBezTo>
                  <a:pt x="48" y="128"/>
                  <a:pt x="48" y="127"/>
                  <a:pt x="47" y="126"/>
                </a:cubicBezTo>
                <a:cubicBezTo>
                  <a:pt x="46" y="125"/>
                  <a:pt x="46" y="125"/>
                  <a:pt x="45" y="124"/>
                </a:cubicBezTo>
                <a:cubicBezTo>
                  <a:pt x="45" y="123"/>
                  <a:pt x="44" y="123"/>
                  <a:pt x="43" y="122"/>
                </a:cubicBezTo>
                <a:cubicBezTo>
                  <a:pt x="42" y="121"/>
                  <a:pt x="42" y="120"/>
                  <a:pt x="41" y="120"/>
                </a:cubicBezTo>
                <a:cubicBezTo>
                  <a:pt x="41" y="119"/>
                  <a:pt x="40" y="119"/>
                  <a:pt x="39" y="118"/>
                </a:cubicBezTo>
                <a:cubicBezTo>
                  <a:pt x="38" y="117"/>
                  <a:pt x="38" y="117"/>
                  <a:pt x="38" y="117"/>
                </a:cubicBezTo>
                <a:cubicBezTo>
                  <a:pt x="33" y="113"/>
                  <a:pt x="29" y="109"/>
                  <a:pt x="25" y="107"/>
                </a:cubicBezTo>
                <a:cubicBezTo>
                  <a:pt x="24" y="106"/>
                  <a:pt x="22" y="105"/>
                  <a:pt x="19" y="104"/>
                </a:cubicBezTo>
                <a:cubicBezTo>
                  <a:pt x="17" y="103"/>
                  <a:pt x="15" y="102"/>
                  <a:pt x="13" y="101"/>
                </a:cubicBezTo>
                <a:cubicBezTo>
                  <a:pt x="11" y="99"/>
                  <a:pt x="9" y="98"/>
                  <a:pt x="7" y="97"/>
                </a:cubicBezTo>
                <a:cubicBezTo>
                  <a:pt x="5" y="95"/>
                  <a:pt x="3" y="93"/>
                  <a:pt x="2" y="92"/>
                </a:cubicBezTo>
                <a:cubicBezTo>
                  <a:pt x="1" y="90"/>
                  <a:pt x="0" y="87"/>
                  <a:pt x="0" y="85"/>
                </a:cubicBezTo>
                <a:cubicBezTo>
                  <a:pt x="0" y="77"/>
                  <a:pt x="3" y="71"/>
                  <a:pt x="7" y="65"/>
                </a:cubicBezTo>
                <a:cubicBezTo>
                  <a:pt x="11" y="60"/>
                  <a:pt x="17" y="58"/>
                  <a:pt x="25" y="58"/>
                </a:cubicBezTo>
                <a:cubicBezTo>
                  <a:pt x="29" y="58"/>
                  <a:pt x="33" y="58"/>
                  <a:pt x="37" y="60"/>
                </a:cubicBezTo>
                <a:cubicBezTo>
                  <a:pt x="37" y="24"/>
                  <a:pt x="37" y="24"/>
                  <a:pt x="37" y="24"/>
                </a:cubicBezTo>
                <a:cubicBezTo>
                  <a:pt x="37" y="18"/>
                  <a:pt x="39" y="12"/>
                  <a:pt x="44" y="7"/>
                </a:cubicBezTo>
                <a:cubicBezTo>
                  <a:pt x="49" y="3"/>
                  <a:pt x="54" y="0"/>
                  <a:pt x="61" y="0"/>
                </a:cubicBezTo>
                <a:cubicBezTo>
                  <a:pt x="67" y="0"/>
                  <a:pt x="73" y="3"/>
                  <a:pt x="78" y="7"/>
                </a:cubicBezTo>
                <a:cubicBezTo>
                  <a:pt x="83" y="12"/>
                  <a:pt x="85" y="18"/>
                  <a:pt x="85" y="24"/>
                </a:cubicBezTo>
                <a:cubicBezTo>
                  <a:pt x="85" y="40"/>
                  <a:pt x="85" y="40"/>
                  <a:pt x="85" y="40"/>
                </a:cubicBezTo>
                <a:cubicBezTo>
                  <a:pt x="89" y="41"/>
                  <a:pt x="93" y="42"/>
                  <a:pt x="96" y="44"/>
                </a:cubicBezTo>
                <a:cubicBezTo>
                  <a:pt x="98" y="44"/>
                  <a:pt x="99" y="44"/>
                  <a:pt x="100" y="44"/>
                </a:cubicBezTo>
                <a:cubicBezTo>
                  <a:pt x="107" y="44"/>
                  <a:pt x="112" y="46"/>
                  <a:pt x="117" y="49"/>
                </a:cubicBezTo>
                <a:cubicBezTo>
                  <a:pt x="126" y="49"/>
                  <a:pt x="133" y="52"/>
                  <a:pt x="138" y="57"/>
                </a:cubicBezTo>
                <a:cubicBezTo>
                  <a:pt x="143" y="63"/>
                  <a:pt x="146" y="70"/>
                  <a:pt x="146" y="79"/>
                </a:cubicBezTo>
                <a:close/>
                <a:moveTo>
                  <a:pt x="134" y="79"/>
                </a:moveTo>
                <a:cubicBezTo>
                  <a:pt x="134" y="67"/>
                  <a:pt x="128" y="61"/>
                  <a:pt x="118" y="61"/>
                </a:cubicBezTo>
                <a:cubicBezTo>
                  <a:pt x="116" y="61"/>
                  <a:pt x="114" y="62"/>
                  <a:pt x="112" y="62"/>
                </a:cubicBezTo>
                <a:cubicBezTo>
                  <a:pt x="111" y="60"/>
                  <a:pt x="110" y="58"/>
                  <a:pt x="107" y="57"/>
                </a:cubicBezTo>
                <a:cubicBezTo>
                  <a:pt x="105" y="56"/>
                  <a:pt x="103" y="56"/>
                  <a:pt x="101" y="56"/>
                </a:cubicBezTo>
                <a:cubicBezTo>
                  <a:pt x="98" y="56"/>
                  <a:pt x="96" y="56"/>
                  <a:pt x="94" y="57"/>
                </a:cubicBezTo>
                <a:cubicBezTo>
                  <a:pt x="91" y="54"/>
                  <a:pt x="87" y="52"/>
                  <a:pt x="83" y="52"/>
                </a:cubicBezTo>
                <a:cubicBezTo>
                  <a:pt x="81" y="52"/>
                  <a:pt x="79" y="53"/>
                  <a:pt x="77" y="53"/>
                </a:cubicBezTo>
                <a:cubicBezTo>
                  <a:pt x="76" y="54"/>
                  <a:pt x="74" y="55"/>
                  <a:pt x="73" y="56"/>
                </a:cubicBezTo>
                <a:cubicBezTo>
                  <a:pt x="73" y="24"/>
                  <a:pt x="73" y="24"/>
                  <a:pt x="73" y="24"/>
                </a:cubicBezTo>
                <a:cubicBezTo>
                  <a:pt x="73" y="21"/>
                  <a:pt x="72" y="18"/>
                  <a:pt x="69" y="16"/>
                </a:cubicBezTo>
                <a:cubicBezTo>
                  <a:pt x="67" y="14"/>
                  <a:pt x="64" y="12"/>
                  <a:pt x="61" y="12"/>
                </a:cubicBezTo>
                <a:cubicBezTo>
                  <a:pt x="58" y="12"/>
                  <a:pt x="55" y="14"/>
                  <a:pt x="52" y="16"/>
                </a:cubicBezTo>
                <a:cubicBezTo>
                  <a:pt x="50" y="18"/>
                  <a:pt x="49" y="21"/>
                  <a:pt x="49" y="24"/>
                </a:cubicBezTo>
                <a:cubicBezTo>
                  <a:pt x="49" y="79"/>
                  <a:pt x="49" y="79"/>
                  <a:pt x="49" y="79"/>
                </a:cubicBezTo>
                <a:cubicBezTo>
                  <a:pt x="48" y="79"/>
                  <a:pt x="46" y="78"/>
                  <a:pt x="44" y="77"/>
                </a:cubicBezTo>
                <a:cubicBezTo>
                  <a:pt x="42" y="77"/>
                  <a:pt x="41" y="75"/>
                  <a:pt x="39" y="74"/>
                </a:cubicBezTo>
                <a:cubicBezTo>
                  <a:pt x="37" y="73"/>
                  <a:pt x="35" y="72"/>
                  <a:pt x="33" y="71"/>
                </a:cubicBezTo>
                <a:cubicBezTo>
                  <a:pt x="30" y="70"/>
                  <a:pt x="27" y="70"/>
                  <a:pt x="25" y="70"/>
                </a:cubicBezTo>
                <a:cubicBezTo>
                  <a:pt x="20" y="70"/>
                  <a:pt x="17" y="71"/>
                  <a:pt x="15" y="74"/>
                </a:cubicBezTo>
                <a:cubicBezTo>
                  <a:pt x="13" y="77"/>
                  <a:pt x="12" y="80"/>
                  <a:pt x="12" y="85"/>
                </a:cubicBezTo>
                <a:cubicBezTo>
                  <a:pt x="12" y="86"/>
                  <a:pt x="17" y="89"/>
                  <a:pt x="26" y="93"/>
                </a:cubicBezTo>
                <a:cubicBezTo>
                  <a:pt x="28" y="95"/>
                  <a:pt x="30" y="96"/>
                  <a:pt x="32" y="97"/>
                </a:cubicBezTo>
                <a:cubicBezTo>
                  <a:pt x="36" y="99"/>
                  <a:pt x="40" y="103"/>
                  <a:pt x="45" y="108"/>
                </a:cubicBezTo>
                <a:cubicBezTo>
                  <a:pt x="51" y="112"/>
                  <a:pt x="54" y="115"/>
                  <a:pt x="56" y="117"/>
                </a:cubicBezTo>
                <a:cubicBezTo>
                  <a:pt x="59" y="121"/>
                  <a:pt x="61" y="126"/>
                  <a:pt x="61" y="130"/>
                </a:cubicBezTo>
                <a:cubicBezTo>
                  <a:pt x="61" y="133"/>
                  <a:pt x="61" y="133"/>
                  <a:pt x="61" y="133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21" y="130"/>
                  <a:pt x="121" y="130"/>
                  <a:pt x="121" y="130"/>
                </a:cubicBezTo>
                <a:cubicBezTo>
                  <a:pt x="121" y="126"/>
                  <a:pt x="122" y="121"/>
                  <a:pt x="124" y="115"/>
                </a:cubicBezTo>
                <a:cubicBezTo>
                  <a:pt x="126" y="109"/>
                  <a:pt x="128" y="102"/>
                  <a:pt x="130" y="96"/>
                </a:cubicBezTo>
                <a:cubicBezTo>
                  <a:pt x="133" y="90"/>
                  <a:pt x="134" y="84"/>
                  <a:pt x="134" y="79"/>
                </a:cubicBezTo>
                <a:close/>
                <a:moveTo>
                  <a:pt x="120" y="156"/>
                </a:moveTo>
                <a:cubicBezTo>
                  <a:pt x="121" y="155"/>
                  <a:pt x="121" y="153"/>
                  <a:pt x="121" y="152"/>
                </a:cubicBezTo>
                <a:cubicBezTo>
                  <a:pt x="121" y="150"/>
                  <a:pt x="121" y="148"/>
                  <a:pt x="120" y="147"/>
                </a:cubicBezTo>
                <a:cubicBezTo>
                  <a:pt x="118" y="146"/>
                  <a:pt x="117" y="145"/>
                  <a:pt x="115" y="145"/>
                </a:cubicBezTo>
                <a:cubicBezTo>
                  <a:pt x="114" y="145"/>
                  <a:pt x="112" y="146"/>
                  <a:pt x="111" y="147"/>
                </a:cubicBezTo>
                <a:cubicBezTo>
                  <a:pt x="110" y="148"/>
                  <a:pt x="109" y="150"/>
                  <a:pt x="109" y="152"/>
                </a:cubicBezTo>
                <a:cubicBezTo>
                  <a:pt x="109" y="153"/>
                  <a:pt x="110" y="155"/>
                  <a:pt x="111" y="156"/>
                </a:cubicBezTo>
                <a:cubicBezTo>
                  <a:pt x="112" y="157"/>
                  <a:pt x="114" y="158"/>
                  <a:pt x="115" y="158"/>
                </a:cubicBezTo>
                <a:cubicBezTo>
                  <a:pt x="117" y="158"/>
                  <a:pt x="118" y="157"/>
                  <a:pt x="120" y="1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2" name="Freeform 162"/>
          <p:cNvSpPr>
            <a:spLocks noChangeAspect="1" noEditPoints="1"/>
          </p:cNvSpPr>
          <p:nvPr/>
        </p:nvSpPr>
        <p:spPr bwMode="auto">
          <a:xfrm>
            <a:off x="1368186" y="2782727"/>
            <a:ext cx="151447" cy="176428"/>
          </a:xfrm>
          <a:custGeom>
            <a:avLst/>
            <a:gdLst>
              <a:gd name="T0" fmla="*/ 138 w 146"/>
              <a:gd name="T1" fmla="*/ 112 h 170"/>
              <a:gd name="T2" fmla="*/ 117 w 146"/>
              <a:gd name="T3" fmla="*/ 120 h 170"/>
              <a:gd name="T4" fmla="*/ 96 w 146"/>
              <a:gd name="T5" fmla="*/ 126 h 170"/>
              <a:gd name="T6" fmla="*/ 85 w 146"/>
              <a:gd name="T7" fmla="*/ 145 h 170"/>
              <a:gd name="T8" fmla="*/ 61 w 146"/>
              <a:gd name="T9" fmla="*/ 170 h 170"/>
              <a:gd name="T10" fmla="*/ 37 w 146"/>
              <a:gd name="T11" fmla="*/ 145 h 170"/>
              <a:gd name="T12" fmla="*/ 25 w 146"/>
              <a:gd name="T13" fmla="*/ 112 h 170"/>
              <a:gd name="T14" fmla="*/ 0 w 146"/>
              <a:gd name="T15" fmla="*/ 85 h 170"/>
              <a:gd name="T16" fmla="*/ 7 w 146"/>
              <a:gd name="T17" fmla="*/ 73 h 170"/>
              <a:gd name="T18" fmla="*/ 20 w 146"/>
              <a:gd name="T19" fmla="*/ 66 h 170"/>
              <a:gd name="T20" fmla="*/ 38 w 146"/>
              <a:gd name="T21" fmla="*/ 53 h 170"/>
              <a:gd name="T22" fmla="*/ 41 w 146"/>
              <a:gd name="T23" fmla="*/ 50 h 170"/>
              <a:gd name="T24" fmla="*/ 45 w 146"/>
              <a:gd name="T25" fmla="*/ 46 h 170"/>
              <a:gd name="T26" fmla="*/ 48 w 146"/>
              <a:gd name="T27" fmla="*/ 42 h 170"/>
              <a:gd name="T28" fmla="*/ 49 w 146"/>
              <a:gd name="T29" fmla="*/ 12 h 170"/>
              <a:gd name="T30" fmla="*/ 61 w 146"/>
              <a:gd name="T31" fmla="*/ 0 h 170"/>
              <a:gd name="T32" fmla="*/ 130 w 146"/>
              <a:gd name="T33" fmla="*/ 4 h 170"/>
              <a:gd name="T34" fmla="*/ 134 w 146"/>
              <a:gd name="T35" fmla="*/ 40 h 170"/>
              <a:gd name="T36" fmla="*/ 146 w 146"/>
              <a:gd name="T37" fmla="*/ 91 h 170"/>
              <a:gd name="T38" fmla="*/ 131 w 146"/>
              <a:gd name="T39" fmla="*/ 74 h 170"/>
              <a:gd name="T40" fmla="*/ 121 w 146"/>
              <a:gd name="T41" fmla="*/ 40 h 170"/>
              <a:gd name="T42" fmla="*/ 61 w 146"/>
              <a:gd name="T43" fmla="*/ 37 h 170"/>
              <a:gd name="T44" fmla="*/ 60 w 146"/>
              <a:gd name="T45" fmla="*/ 46 h 170"/>
              <a:gd name="T46" fmla="*/ 52 w 146"/>
              <a:gd name="T47" fmla="*/ 57 h 170"/>
              <a:gd name="T48" fmla="*/ 46 w 146"/>
              <a:gd name="T49" fmla="*/ 62 h 170"/>
              <a:gd name="T50" fmla="*/ 25 w 146"/>
              <a:gd name="T51" fmla="*/ 77 h 170"/>
              <a:gd name="T52" fmla="*/ 20 w 146"/>
              <a:gd name="T53" fmla="*/ 79 h 170"/>
              <a:gd name="T54" fmla="*/ 14 w 146"/>
              <a:gd name="T55" fmla="*/ 83 h 170"/>
              <a:gd name="T56" fmla="*/ 15 w 146"/>
              <a:gd name="T57" fmla="*/ 96 h 170"/>
              <a:gd name="T58" fmla="*/ 33 w 146"/>
              <a:gd name="T59" fmla="*/ 99 h 170"/>
              <a:gd name="T60" fmla="*/ 44 w 146"/>
              <a:gd name="T61" fmla="*/ 92 h 170"/>
              <a:gd name="T62" fmla="*/ 49 w 146"/>
              <a:gd name="T63" fmla="*/ 145 h 170"/>
              <a:gd name="T64" fmla="*/ 61 w 146"/>
              <a:gd name="T65" fmla="*/ 158 h 170"/>
              <a:gd name="T66" fmla="*/ 73 w 146"/>
              <a:gd name="T67" fmla="*/ 145 h 170"/>
              <a:gd name="T68" fmla="*/ 83 w 146"/>
              <a:gd name="T69" fmla="*/ 117 h 170"/>
              <a:gd name="T70" fmla="*/ 101 w 146"/>
              <a:gd name="T71" fmla="*/ 114 h 170"/>
              <a:gd name="T72" fmla="*/ 112 w 146"/>
              <a:gd name="T73" fmla="*/ 108 h 170"/>
              <a:gd name="T74" fmla="*/ 130 w 146"/>
              <a:gd name="T75" fmla="*/ 104 h 170"/>
              <a:gd name="T76" fmla="*/ 120 w 146"/>
              <a:gd name="T77" fmla="*/ 23 h 170"/>
              <a:gd name="T78" fmla="*/ 120 w 146"/>
              <a:gd name="T79" fmla="*/ 14 h 170"/>
              <a:gd name="T80" fmla="*/ 111 w 146"/>
              <a:gd name="T81" fmla="*/ 14 h 170"/>
              <a:gd name="T82" fmla="*/ 111 w 146"/>
              <a:gd name="T83" fmla="*/ 23 h 170"/>
              <a:gd name="T84" fmla="*/ 120 w 146"/>
              <a:gd name="T85" fmla="*/ 2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6" h="170">
                <a:moveTo>
                  <a:pt x="146" y="91"/>
                </a:moveTo>
                <a:cubicBezTo>
                  <a:pt x="146" y="100"/>
                  <a:pt x="143" y="107"/>
                  <a:pt x="138" y="112"/>
                </a:cubicBezTo>
                <a:cubicBezTo>
                  <a:pt x="133" y="118"/>
                  <a:pt x="127" y="121"/>
                  <a:pt x="118" y="121"/>
                </a:cubicBezTo>
                <a:cubicBezTo>
                  <a:pt x="117" y="120"/>
                  <a:pt x="117" y="120"/>
                  <a:pt x="117" y="120"/>
                </a:cubicBezTo>
                <a:cubicBezTo>
                  <a:pt x="112" y="124"/>
                  <a:pt x="107" y="126"/>
                  <a:pt x="100" y="126"/>
                </a:cubicBezTo>
                <a:cubicBezTo>
                  <a:pt x="99" y="126"/>
                  <a:pt x="98" y="126"/>
                  <a:pt x="96" y="126"/>
                </a:cubicBezTo>
                <a:cubicBezTo>
                  <a:pt x="93" y="128"/>
                  <a:pt x="89" y="129"/>
                  <a:pt x="85" y="129"/>
                </a:cubicBezTo>
                <a:cubicBezTo>
                  <a:pt x="85" y="145"/>
                  <a:pt x="85" y="145"/>
                  <a:pt x="85" y="145"/>
                </a:cubicBezTo>
                <a:cubicBezTo>
                  <a:pt x="85" y="152"/>
                  <a:pt x="83" y="158"/>
                  <a:pt x="78" y="163"/>
                </a:cubicBezTo>
                <a:cubicBezTo>
                  <a:pt x="73" y="167"/>
                  <a:pt x="67" y="170"/>
                  <a:pt x="61" y="170"/>
                </a:cubicBezTo>
                <a:cubicBezTo>
                  <a:pt x="54" y="170"/>
                  <a:pt x="49" y="167"/>
                  <a:pt x="44" y="162"/>
                </a:cubicBezTo>
                <a:cubicBezTo>
                  <a:pt x="39" y="158"/>
                  <a:pt x="37" y="152"/>
                  <a:pt x="37" y="145"/>
                </a:cubicBezTo>
                <a:cubicBezTo>
                  <a:pt x="37" y="110"/>
                  <a:pt x="37" y="110"/>
                  <a:pt x="37" y="110"/>
                </a:cubicBezTo>
                <a:cubicBezTo>
                  <a:pt x="33" y="111"/>
                  <a:pt x="29" y="112"/>
                  <a:pt x="25" y="112"/>
                </a:cubicBezTo>
                <a:cubicBezTo>
                  <a:pt x="17" y="112"/>
                  <a:pt x="11" y="110"/>
                  <a:pt x="7" y="104"/>
                </a:cubicBezTo>
                <a:cubicBezTo>
                  <a:pt x="3" y="99"/>
                  <a:pt x="0" y="93"/>
                  <a:pt x="0" y="85"/>
                </a:cubicBezTo>
                <a:cubicBezTo>
                  <a:pt x="0" y="83"/>
                  <a:pt x="1" y="80"/>
                  <a:pt x="2" y="78"/>
                </a:cubicBezTo>
                <a:cubicBezTo>
                  <a:pt x="3" y="76"/>
                  <a:pt x="5" y="75"/>
                  <a:pt x="7" y="73"/>
                </a:cubicBezTo>
                <a:cubicBezTo>
                  <a:pt x="9" y="72"/>
                  <a:pt x="11" y="70"/>
                  <a:pt x="13" y="69"/>
                </a:cubicBezTo>
                <a:cubicBezTo>
                  <a:pt x="15" y="68"/>
                  <a:pt x="17" y="67"/>
                  <a:pt x="20" y="66"/>
                </a:cubicBezTo>
                <a:cubicBezTo>
                  <a:pt x="22" y="65"/>
                  <a:pt x="24" y="64"/>
                  <a:pt x="25" y="63"/>
                </a:cubicBezTo>
                <a:cubicBezTo>
                  <a:pt x="29" y="61"/>
                  <a:pt x="33" y="57"/>
                  <a:pt x="38" y="53"/>
                </a:cubicBezTo>
                <a:cubicBezTo>
                  <a:pt x="38" y="53"/>
                  <a:pt x="38" y="53"/>
                  <a:pt x="39" y="52"/>
                </a:cubicBezTo>
                <a:cubicBezTo>
                  <a:pt x="40" y="51"/>
                  <a:pt x="41" y="51"/>
                  <a:pt x="41" y="50"/>
                </a:cubicBezTo>
                <a:cubicBezTo>
                  <a:pt x="42" y="50"/>
                  <a:pt x="42" y="49"/>
                  <a:pt x="43" y="48"/>
                </a:cubicBezTo>
                <a:cubicBezTo>
                  <a:pt x="44" y="47"/>
                  <a:pt x="45" y="47"/>
                  <a:pt x="45" y="46"/>
                </a:cubicBezTo>
                <a:cubicBezTo>
                  <a:pt x="46" y="45"/>
                  <a:pt x="46" y="45"/>
                  <a:pt x="47" y="44"/>
                </a:cubicBezTo>
                <a:cubicBezTo>
                  <a:pt x="48" y="43"/>
                  <a:pt x="48" y="42"/>
                  <a:pt x="48" y="42"/>
                </a:cubicBezTo>
                <a:cubicBezTo>
                  <a:pt x="49" y="41"/>
                  <a:pt x="49" y="40"/>
                  <a:pt x="49" y="40"/>
                </a:cubicBezTo>
                <a:cubicBezTo>
                  <a:pt x="49" y="12"/>
                  <a:pt x="49" y="12"/>
                  <a:pt x="49" y="12"/>
                </a:cubicBezTo>
                <a:cubicBezTo>
                  <a:pt x="49" y="9"/>
                  <a:pt x="50" y="6"/>
                  <a:pt x="52" y="4"/>
                </a:cubicBezTo>
                <a:cubicBezTo>
                  <a:pt x="55" y="1"/>
                  <a:pt x="58" y="0"/>
                  <a:pt x="6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5" y="0"/>
                  <a:pt x="128" y="1"/>
                  <a:pt x="130" y="4"/>
                </a:cubicBezTo>
                <a:cubicBezTo>
                  <a:pt x="132" y="6"/>
                  <a:pt x="134" y="9"/>
                  <a:pt x="134" y="12"/>
                </a:cubicBezTo>
                <a:cubicBezTo>
                  <a:pt x="134" y="40"/>
                  <a:pt x="134" y="40"/>
                  <a:pt x="134" y="40"/>
                </a:cubicBezTo>
                <a:cubicBezTo>
                  <a:pt x="134" y="43"/>
                  <a:pt x="135" y="50"/>
                  <a:pt x="139" y="61"/>
                </a:cubicBezTo>
                <a:cubicBezTo>
                  <a:pt x="143" y="73"/>
                  <a:pt x="146" y="83"/>
                  <a:pt x="146" y="91"/>
                </a:cubicBezTo>
                <a:close/>
                <a:moveTo>
                  <a:pt x="134" y="91"/>
                </a:moveTo>
                <a:cubicBezTo>
                  <a:pt x="134" y="86"/>
                  <a:pt x="133" y="80"/>
                  <a:pt x="131" y="74"/>
                </a:cubicBezTo>
                <a:cubicBezTo>
                  <a:pt x="128" y="67"/>
                  <a:pt x="126" y="61"/>
                  <a:pt x="124" y="55"/>
                </a:cubicBezTo>
                <a:cubicBezTo>
                  <a:pt x="122" y="49"/>
                  <a:pt x="121" y="44"/>
                  <a:pt x="121" y="40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61" y="37"/>
                  <a:pt x="61" y="37"/>
                  <a:pt x="61" y="37"/>
                </a:cubicBezTo>
                <a:cubicBezTo>
                  <a:pt x="61" y="40"/>
                  <a:pt x="61" y="40"/>
                  <a:pt x="61" y="40"/>
                </a:cubicBezTo>
                <a:cubicBezTo>
                  <a:pt x="61" y="42"/>
                  <a:pt x="61" y="44"/>
                  <a:pt x="60" y="46"/>
                </a:cubicBezTo>
                <a:cubicBezTo>
                  <a:pt x="59" y="48"/>
                  <a:pt x="58" y="50"/>
                  <a:pt x="56" y="52"/>
                </a:cubicBezTo>
                <a:cubicBezTo>
                  <a:pt x="55" y="54"/>
                  <a:pt x="53" y="55"/>
                  <a:pt x="52" y="57"/>
                </a:cubicBezTo>
                <a:cubicBezTo>
                  <a:pt x="51" y="58"/>
                  <a:pt x="49" y="59"/>
                  <a:pt x="47" y="61"/>
                </a:cubicBezTo>
                <a:cubicBezTo>
                  <a:pt x="46" y="62"/>
                  <a:pt x="46" y="62"/>
                  <a:pt x="46" y="62"/>
                </a:cubicBezTo>
                <a:cubicBezTo>
                  <a:pt x="40" y="67"/>
                  <a:pt x="36" y="70"/>
                  <a:pt x="32" y="73"/>
                </a:cubicBezTo>
                <a:cubicBezTo>
                  <a:pt x="30" y="74"/>
                  <a:pt x="28" y="75"/>
                  <a:pt x="25" y="77"/>
                </a:cubicBezTo>
                <a:cubicBezTo>
                  <a:pt x="25" y="77"/>
                  <a:pt x="24" y="77"/>
                  <a:pt x="23" y="78"/>
                </a:cubicBezTo>
                <a:cubicBezTo>
                  <a:pt x="22" y="78"/>
                  <a:pt x="21" y="79"/>
                  <a:pt x="20" y="79"/>
                </a:cubicBezTo>
                <a:cubicBezTo>
                  <a:pt x="19" y="80"/>
                  <a:pt x="18" y="80"/>
                  <a:pt x="16" y="81"/>
                </a:cubicBezTo>
                <a:cubicBezTo>
                  <a:pt x="15" y="82"/>
                  <a:pt x="14" y="83"/>
                  <a:pt x="14" y="83"/>
                </a:cubicBezTo>
                <a:cubicBezTo>
                  <a:pt x="13" y="84"/>
                  <a:pt x="13" y="84"/>
                  <a:pt x="13" y="85"/>
                </a:cubicBezTo>
                <a:cubicBezTo>
                  <a:pt x="13" y="89"/>
                  <a:pt x="13" y="93"/>
                  <a:pt x="15" y="96"/>
                </a:cubicBezTo>
                <a:cubicBezTo>
                  <a:pt x="17" y="99"/>
                  <a:pt x="20" y="100"/>
                  <a:pt x="25" y="100"/>
                </a:cubicBezTo>
                <a:cubicBezTo>
                  <a:pt x="27" y="100"/>
                  <a:pt x="30" y="100"/>
                  <a:pt x="33" y="99"/>
                </a:cubicBezTo>
                <a:cubicBezTo>
                  <a:pt x="35" y="98"/>
                  <a:pt x="37" y="97"/>
                  <a:pt x="39" y="96"/>
                </a:cubicBezTo>
                <a:cubicBezTo>
                  <a:pt x="41" y="94"/>
                  <a:pt x="42" y="93"/>
                  <a:pt x="44" y="92"/>
                </a:cubicBezTo>
                <a:cubicBezTo>
                  <a:pt x="46" y="91"/>
                  <a:pt x="48" y="91"/>
                  <a:pt x="49" y="91"/>
                </a:cubicBezTo>
                <a:cubicBezTo>
                  <a:pt x="49" y="145"/>
                  <a:pt x="49" y="145"/>
                  <a:pt x="49" y="145"/>
                </a:cubicBezTo>
                <a:cubicBezTo>
                  <a:pt x="49" y="149"/>
                  <a:pt x="50" y="151"/>
                  <a:pt x="52" y="154"/>
                </a:cubicBezTo>
                <a:cubicBezTo>
                  <a:pt x="55" y="156"/>
                  <a:pt x="58" y="158"/>
                  <a:pt x="61" y="158"/>
                </a:cubicBezTo>
                <a:cubicBezTo>
                  <a:pt x="64" y="158"/>
                  <a:pt x="67" y="156"/>
                  <a:pt x="69" y="154"/>
                </a:cubicBezTo>
                <a:cubicBezTo>
                  <a:pt x="72" y="152"/>
                  <a:pt x="73" y="149"/>
                  <a:pt x="73" y="145"/>
                </a:cubicBezTo>
                <a:cubicBezTo>
                  <a:pt x="73" y="114"/>
                  <a:pt x="73" y="114"/>
                  <a:pt x="73" y="114"/>
                </a:cubicBezTo>
                <a:cubicBezTo>
                  <a:pt x="76" y="116"/>
                  <a:pt x="79" y="117"/>
                  <a:pt x="83" y="117"/>
                </a:cubicBezTo>
                <a:cubicBezTo>
                  <a:pt x="87" y="117"/>
                  <a:pt x="91" y="116"/>
                  <a:pt x="94" y="112"/>
                </a:cubicBezTo>
                <a:cubicBezTo>
                  <a:pt x="96" y="114"/>
                  <a:pt x="98" y="114"/>
                  <a:pt x="101" y="114"/>
                </a:cubicBezTo>
                <a:cubicBezTo>
                  <a:pt x="103" y="114"/>
                  <a:pt x="105" y="114"/>
                  <a:pt x="107" y="113"/>
                </a:cubicBezTo>
                <a:cubicBezTo>
                  <a:pt x="110" y="111"/>
                  <a:pt x="111" y="110"/>
                  <a:pt x="112" y="108"/>
                </a:cubicBezTo>
                <a:cubicBezTo>
                  <a:pt x="114" y="108"/>
                  <a:pt x="116" y="108"/>
                  <a:pt x="118" y="108"/>
                </a:cubicBezTo>
                <a:cubicBezTo>
                  <a:pt x="123" y="108"/>
                  <a:pt x="127" y="107"/>
                  <a:pt x="130" y="104"/>
                </a:cubicBezTo>
                <a:cubicBezTo>
                  <a:pt x="132" y="101"/>
                  <a:pt x="134" y="96"/>
                  <a:pt x="134" y="91"/>
                </a:cubicBezTo>
                <a:close/>
                <a:moveTo>
                  <a:pt x="120" y="23"/>
                </a:moveTo>
                <a:cubicBezTo>
                  <a:pt x="121" y="21"/>
                  <a:pt x="121" y="20"/>
                  <a:pt x="121" y="18"/>
                </a:cubicBezTo>
                <a:cubicBezTo>
                  <a:pt x="121" y="17"/>
                  <a:pt x="121" y="15"/>
                  <a:pt x="120" y="14"/>
                </a:cubicBezTo>
                <a:cubicBezTo>
                  <a:pt x="118" y="13"/>
                  <a:pt x="117" y="12"/>
                  <a:pt x="115" y="12"/>
                </a:cubicBezTo>
                <a:cubicBezTo>
                  <a:pt x="114" y="12"/>
                  <a:pt x="112" y="13"/>
                  <a:pt x="111" y="14"/>
                </a:cubicBezTo>
                <a:cubicBezTo>
                  <a:pt x="110" y="15"/>
                  <a:pt x="109" y="17"/>
                  <a:pt x="109" y="18"/>
                </a:cubicBezTo>
                <a:cubicBezTo>
                  <a:pt x="109" y="20"/>
                  <a:pt x="110" y="21"/>
                  <a:pt x="111" y="23"/>
                </a:cubicBezTo>
                <a:cubicBezTo>
                  <a:pt x="112" y="24"/>
                  <a:pt x="114" y="24"/>
                  <a:pt x="115" y="24"/>
                </a:cubicBezTo>
                <a:cubicBezTo>
                  <a:pt x="117" y="24"/>
                  <a:pt x="118" y="24"/>
                  <a:pt x="120" y="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3" name="Freeform 163"/>
          <p:cNvSpPr>
            <a:spLocks noChangeAspect="1" noEditPoints="1"/>
          </p:cNvSpPr>
          <p:nvPr/>
        </p:nvSpPr>
        <p:spPr bwMode="auto">
          <a:xfrm>
            <a:off x="1560227" y="2795218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09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09 w 146"/>
              <a:gd name="T23" fmla="*/ 10 h 146"/>
              <a:gd name="T24" fmla="*/ 136 w 146"/>
              <a:gd name="T25" fmla="*/ 36 h 146"/>
              <a:gd name="T26" fmla="*/ 121 w 146"/>
              <a:gd name="T27" fmla="*/ 79 h 146"/>
              <a:gd name="T28" fmla="*/ 121 w 146"/>
              <a:gd name="T29" fmla="*/ 67 h 146"/>
              <a:gd name="T30" fmla="*/ 120 w 146"/>
              <a:gd name="T31" fmla="*/ 63 h 146"/>
              <a:gd name="T32" fmla="*/ 115 w 146"/>
              <a:gd name="T33" fmla="*/ 61 h 146"/>
              <a:gd name="T34" fmla="*/ 68 w 146"/>
              <a:gd name="T35" fmla="*/ 61 h 146"/>
              <a:gd name="T36" fmla="*/ 86 w 146"/>
              <a:gd name="T37" fmla="*/ 43 h 146"/>
              <a:gd name="T38" fmla="*/ 88 w 146"/>
              <a:gd name="T39" fmla="*/ 39 h 146"/>
              <a:gd name="T40" fmla="*/ 86 w 146"/>
              <a:gd name="T41" fmla="*/ 34 h 146"/>
              <a:gd name="T42" fmla="*/ 77 w 146"/>
              <a:gd name="T43" fmla="*/ 26 h 146"/>
              <a:gd name="T44" fmla="*/ 73 w 146"/>
              <a:gd name="T45" fmla="*/ 24 h 146"/>
              <a:gd name="T46" fmla="*/ 69 w 146"/>
              <a:gd name="T47" fmla="*/ 26 h 146"/>
              <a:gd name="T48" fmla="*/ 34 w 146"/>
              <a:gd name="T49" fmla="*/ 60 h 146"/>
              <a:gd name="T50" fmla="*/ 26 w 146"/>
              <a:gd name="T51" fmla="*/ 69 h 146"/>
              <a:gd name="T52" fmla="*/ 24 w 146"/>
              <a:gd name="T53" fmla="*/ 73 h 146"/>
              <a:gd name="T54" fmla="*/ 26 w 146"/>
              <a:gd name="T55" fmla="*/ 77 h 146"/>
              <a:gd name="T56" fmla="*/ 34 w 146"/>
              <a:gd name="T57" fmla="*/ 86 h 146"/>
              <a:gd name="T58" fmla="*/ 69 w 146"/>
              <a:gd name="T59" fmla="*/ 120 h 146"/>
              <a:gd name="T60" fmla="*/ 73 w 146"/>
              <a:gd name="T61" fmla="*/ 122 h 146"/>
              <a:gd name="T62" fmla="*/ 77 w 146"/>
              <a:gd name="T63" fmla="*/ 120 h 146"/>
              <a:gd name="T64" fmla="*/ 86 w 146"/>
              <a:gd name="T65" fmla="*/ 111 h 146"/>
              <a:gd name="T66" fmla="*/ 88 w 146"/>
              <a:gd name="T67" fmla="*/ 107 h 146"/>
              <a:gd name="T68" fmla="*/ 86 w 146"/>
              <a:gd name="T69" fmla="*/ 103 h 146"/>
              <a:gd name="T70" fmla="*/ 68 w 146"/>
              <a:gd name="T71" fmla="*/ 85 h 146"/>
              <a:gd name="T72" fmla="*/ 115 w 146"/>
              <a:gd name="T73" fmla="*/ 85 h 146"/>
              <a:gd name="T74" fmla="*/ 120 w 146"/>
              <a:gd name="T75" fmla="*/ 83 h 146"/>
              <a:gd name="T76" fmla="*/ 121 w 146"/>
              <a:gd name="T77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121" y="79"/>
                </a:moveTo>
                <a:cubicBezTo>
                  <a:pt x="121" y="67"/>
                  <a:pt x="121" y="67"/>
                  <a:pt x="121" y="67"/>
                </a:cubicBezTo>
                <a:cubicBezTo>
                  <a:pt x="121" y="65"/>
                  <a:pt x="121" y="64"/>
                  <a:pt x="120" y="63"/>
                </a:cubicBezTo>
                <a:cubicBezTo>
                  <a:pt x="118" y="61"/>
                  <a:pt x="117" y="61"/>
                  <a:pt x="115" y="61"/>
                </a:cubicBezTo>
                <a:cubicBezTo>
                  <a:pt x="68" y="61"/>
                  <a:pt x="68" y="61"/>
                  <a:pt x="68" y="61"/>
                </a:cubicBezTo>
                <a:cubicBezTo>
                  <a:pt x="86" y="43"/>
                  <a:pt x="86" y="43"/>
                  <a:pt x="86" y="43"/>
                </a:cubicBezTo>
                <a:cubicBezTo>
                  <a:pt x="87" y="42"/>
                  <a:pt x="88" y="40"/>
                  <a:pt x="88" y="39"/>
                </a:cubicBezTo>
                <a:cubicBezTo>
                  <a:pt x="88" y="37"/>
                  <a:pt x="87" y="36"/>
                  <a:pt x="86" y="34"/>
                </a:cubicBezTo>
                <a:cubicBezTo>
                  <a:pt x="77" y="26"/>
                  <a:pt x="77" y="26"/>
                  <a:pt x="77" y="26"/>
                </a:cubicBezTo>
                <a:cubicBezTo>
                  <a:pt x="76" y="25"/>
                  <a:pt x="75" y="24"/>
                  <a:pt x="73" y="24"/>
                </a:cubicBezTo>
                <a:cubicBezTo>
                  <a:pt x="71" y="24"/>
                  <a:pt x="70" y="25"/>
                  <a:pt x="69" y="26"/>
                </a:cubicBezTo>
                <a:cubicBezTo>
                  <a:pt x="34" y="60"/>
                  <a:pt x="34" y="60"/>
                  <a:pt x="34" y="60"/>
                </a:cubicBezTo>
                <a:cubicBezTo>
                  <a:pt x="26" y="69"/>
                  <a:pt x="26" y="69"/>
                  <a:pt x="26" y="69"/>
                </a:cubicBezTo>
                <a:cubicBezTo>
                  <a:pt x="25" y="70"/>
                  <a:pt x="24" y="71"/>
                  <a:pt x="24" y="73"/>
                </a:cubicBezTo>
                <a:cubicBezTo>
                  <a:pt x="24" y="75"/>
                  <a:pt x="25" y="76"/>
                  <a:pt x="26" y="77"/>
                </a:cubicBezTo>
                <a:cubicBezTo>
                  <a:pt x="34" y="86"/>
                  <a:pt x="34" y="86"/>
                  <a:pt x="34" y="86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0" y="121"/>
                  <a:pt x="71" y="122"/>
                  <a:pt x="73" y="122"/>
                </a:cubicBezTo>
                <a:cubicBezTo>
                  <a:pt x="75" y="122"/>
                  <a:pt x="76" y="121"/>
                  <a:pt x="77" y="120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7" y="110"/>
                  <a:pt x="88" y="109"/>
                  <a:pt x="88" y="107"/>
                </a:cubicBezTo>
                <a:cubicBezTo>
                  <a:pt x="88" y="105"/>
                  <a:pt x="87" y="104"/>
                  <a:pt x="86" y="103"/>
                </a:cubicBezTo>
                <a:cubicBezTo>
                  <a:pt x="68" y="85"/>
                  <a:pt x="68" y="85"/>
                  <a:pt x="68" y="85"/>
                </a:cubicBezTo>
                <a:cubicBezTo>
                  <a:pt x="115" y="85"/>
                  <a:pt x="115" y="85"/>
                  <a:pt x="115" y="85"/>
                </a:cubicBezTo>
                <a:cubicBezTo>
                  <a:pt x="117" y="85"/>
                  <a:pt x="118" y="84"/>
                  <a:pt x="120" y="83"/>
                </a:cubicBezTo>
                <a:cubicBezTo>
                  <a:pt x="121" y="82"/>
                  <a:pt x="121" y="81"/>
                  <a:pt x="121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4" name="Freeform 164"/>
          <p:cNvSpPr>
            <a:spLocks noChangeAspect="1" noEditPoints="1"/>
          </p:cNvSpPr>
          <p:nvPr/>
        </p:nvSpPr>
        <p:spPr bwMode="auto">
          <a:xfrm>
            <a:off x="1753829" y="2795218"/>
            <a:ext cx="149885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10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10 w 146"/>
              <a:gd name="T23" fmla="*/ 10 h 146"/>
              <a:gd name="T24" fmla="*/ 136 w 146"/>
              <a:gd name="T25" fmla="*/ 36 h 146"/>
              <a:gd name="T26" fmla="*/ 122 w 146"/>
              <a:gd name="T27" fmla="*/ 73 h 146"/>
              <a:gd name="T28" fmla="*/ 120 w 146"/>
              <a:gd name="T29" fmla="*/ 69 h 146"/>
              <a:gd name="T30" fmla="*/ 112 w 146"/>
              <a:gd name="T31" fmla="*/ 60 h 146"/>
              <a:gd name="T32" fmla="*/ 77 w 146"/>
              <a:gd name="T33" fmla="*/ 26 h 146"/>
              <a:gd name="T34" fmla="*/ 73 w 146"/>
              <a:gd name="T35" fmla="*/ 24 h 146"/>
              <a:gd name="T36" fmla="*/ 69 w 146"/>
              <a:gd name="T37" fmla="*/ 26 h 146"/>
              <a:gd name="T38" fmla="*/ 60 w 146"/>
              <a:gd name="T39" fmla="*/ 34 h 146"/>
              <a:gd name="T40" fmla="*/ 59 w 146"/>
              <a:gd name="T41" fmla="*/ 39 h 146"/>
              <a:gd name="T42" fmla="*/ 60 w 146"/>
              <a:gd name="T43" fmla="*/ 43 h 146"/>
              <a:gd name="T44" fmla="*/ 78 w 146"/>
              <a:gd name="T45" fmla="*/ 61 h 146"/>
              <a:gd name="T46" fmla="*/ 31 w 146"/>
              <a:gd name="T47" fmla="*/ 61 h 146"/>
              <a:gd name="T48" fmla="*/ 26 w 146"/>
              <a:gd name="T49" fmla="*/ 63 h 146"/>
              <a:gd name="T50" fmla="*/ 25 w 146"/>
              <a:gd name="T51" fmla="*/ 67 h 146"/>
              <a:gd name="T52" fmla="*/ 25 w 146"/>
              <a:gd name="T53" fmla="*/ 79 h 146"/>
              <a:gd name="T54" fmla="*/ 26 w 146"/>
              <a:gd name="T55" fmla="*/ 83 h 146"/>
              <a:gd name="T56" fmla="*/ 31 w 146"/>
              <a:gd name="T57" fmla="*/ 85 h 146"/>
              <a:gd name="T58" fmla="*/ 78 w 146"/>
              <a:gd name="T59" fmla="*/ 85 h 146"/>
              <a:gd name="T60" fmla="*/ 60 w 146"/>
              <a:gd name="T61" fmla="*/ 103 h 146"/>
              <a:gd name="T62" fmla="*/ 58 w 146"/>
              <a:gd name="T63" fmla="*/ 107 h 146"/>
              <a:gd name="T64" fmla="*/ 60 w 146"/>
              <a:gd name="T65" fmla="*/ 111 h 146"/>
              <a:gd name="T66" fmla="*/ 69 w 146"/>
              <a:gd name="T67" fmla="*/ 120 h 146"/>
              <a:gd name="T68" fmla="*/ 73 w 146"/>
              <a:gd name="T69" fmla="*/ 122 h 146"/>
              <a:gd name="T70" fmla="*/ 77 w 146"/>
              <a:gd name="T71" fmla="*/ 120 h 146"/>
              <a:gd name="T72" fmla="*/ 112 w 146"/>
              <a:gd name="T73" fmla="*/ 86 h 146"/>
              <a:gd name="T74" fmla="*/ 120 w 146"/>
              <a:gd name="T75" fmla="*/ 77 h 146"/>
              <a:gd name="T76" fmla="*/ 122 w 146"/>
              <a:gd name="T77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10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122" y="73"/>
                </a:moveTo>
                <a:cubicBezTo>
                  <a:pt x="122" y="71"/>
                  <a:pt x="121" y="70"/>
                  <a:pt x="120" y="69"/>
                </a:cubicBezTo>
                <a:cubicBezTo>
                  <a:pt x="112" y="60"/>
                  <a:pt x="112" y="60"/>
                  <a:pt x="112" y="60"/>
                </a:cubicBezTo>
                <a:cubicBezTo>
                  <a:pt x="77" y="26"/>
                  <a:pt x="77" y="26"/>
                  <a:pt x="77" y="26"/>
                </a:cubicBezTo>
                <a:cubicBezTo>
                  <a:pt x="76" y="25"/>
                  <a:pt x="75" y="24"/>
                  <a:pt x="73" y="24"/>
                </a:cubicBezTo>
                <a:cubicBezTo>
                  <a:pt x="71" y="24"/>
                  <a:pt x="70" y="25"/>
                  <a:pt x="69" y="26"/>
                </a:cubicBezTo>
                <a:cubicBezTo>
                  <a:pt x="60" y="34"/>
                  <a:pt x="60" y="34"/>
                  <a:pt x="60" y="34"/>
                </a:cubicBezTo>
                <a:cubicBezTo>
                  <a:pt x="59" y="36"/>
                  <a:pt x="59" y="37"/>
                  <a:pt x="59" y="39"/>
                </a:cubicBezTo>
                <a:cubicBezTo>
                  <a:pt x="59" y="40"/>
                  <a:pt x="59" y="42"/>
                  <a:pt x="60" y="43"/>
                </a:cubicBezTo>
                <a:cubicBezTo>
                  <a:pt x="78" y="61"/>
                  <a:pt x="78" y="61"/>
                  <a:pt x="78" y="61"/>
                </a:cubicBezTo>
                <a:cubicBezTo>
                  <a:pt x="31" y="61"/>
                  <a:pt x="31" y="61"/>
                  <a:pt x="31" y="61"/>
                </a:cubicBezTo>
                <a:cubicBezTo>
                  <a:pt x="29" y="61"/>
                  <a:pt x="28" y="61"/>
                  <a:pt x="26" y="63"/>
                </a:cubicBezTo>
                <a:cubicBezTo>
                  <a:pt x="25" y="64"/>
                  <a:pt x="25" y="65"/>
                  <a:pt x="25" y="67"/>
                </a:cubicBezTo>
                <a:cubicBezTo>
                  <a:pt x="25" y="79"/>
                  <a:pt x="25" y="79"/>
                  <a:pt x="25" y="79"/>
                </a:cubicBezTo>
                <a:cubicBezTo>
                  <a:pt x="25" y="81"/>
                  <a:pt x="25" y="82"/>
                  <a:pt x="26" y="83"/>
                </a:cubicBezTo>
                <a:cubicBezTo>
                  <a:pt x="28" y="84"/>
                  <a:pt x="29" y="85"/>
                  <a:pt x="31" y="85"/>
                </a:cubicBezTo>
                <a:cubicBezTo>
                  <a:pt x="78" y="85"/>
                  <a:pt x="78" y="85"/>
                  <a:pt x="78" y="85"/>
                </a:cubicBezTo>
                <a:cubicBezTo>
                  <a:pt x="60" y="103"/>
                  <a:pt x="60" y="103"/>
                  <a:pt x="60" y="103"/>
                </a:cubicBezTo>
                <a:cubicBezTo>
                  <a:pt x="59" y="104"/>
                  <a:pt x="58" y="106"/>
                  <a:pt x="58" y="107"/>
                </a:cubicBezTo>
                <a:cubicBezTo>
                  <a:pt x="58" y="109"/>
                  <a:pt x="59" y="110"/>
                  <a:pt x="60" y="111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0" y="121"/>
                  <a:pt x="71" y="122"/>
                  <a:pt x="73" y="122"/>
                </a:cubicBezTo>
                <a:cubicBezTo>
                  <a:pt x="75" y="122"/>
                  <a:pt x="76" y="121"/>
                  <a:pt x="77" y="120"/>
                </a:cubicBezTo>
                <a:cubicBezTo>
                  <a:pt x="112" y="86"/>
                  <a:pt x="112" y="86"/>
                  <a:pt x="112" y="86"/>
                </a:cubicBezTo>
                <a:cubicBezTo>
                  <a:pt x="120" y="77"/>
                  <a:pt x="120" y="77"/>
                  <a:pt x="120" y="77"/>
                </a:cubicBezTo>
                <a:cubicBezTo>
                  <a:pt x="121" y="76"/>
                  <a:pt x="122" y="75"/>
                  <a:pt x="122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5" name="Freeform 165"/>
          <p:cNvSpPr>
            <a:spLocks noChangeAspect="1" noEditPoints="1"/>
          </p:cNvSpPr>
          <p:nvPr/>
        </p:nvSpPr>
        <p:spPr bwMode="auto">
          <a:xfrm>
            <a:off x="1945870" y="2795218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10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10 w 146"/>
              <a:gd name="T23" fmla="*/ 10 h 146"/>
              <a:gd name="T24" fmla="*/ 136 w 146"/>
              <a:gd name="T25" fmla="*/ 36 h 146"/>
              <a:gd name="T26" fmla="*/ 122 w 146"/>
              <a:gd name="T27" fmla="*/ 73 h 146"/>
              <a:gd name="T28" fmla="*/ 120 w 146"/>
              <a:gd name="T29" fmla="*/ 69 h 146"/>
              <a:gd name="T30" fmla="*/ 86 w 146"/>
              <a:gd name="T31" fmla="*/ 34 h 146"/>
              <a:gd name="T32" fmla="*/ 77 w 146"/>
              <a:gd name="T33" fmla="*/ 26 h 146"/>
              <a:gd name="T34" fmla="*/ 73 w 146"/>
              <a:gd name="T35" fmla="*/ 24 h 146"/>
              <a:gd name="T36" fmla="*/ 69 w 146"/>
              <a:gd name="T37" fmla="*/ 26 h 146"/>
              <a:gd name="T38" fmla="*/ 60 w 146"/>
              <a:gd name="T39" fmla="*/ 34 h 146"/>
              <a:gd name="T40" fmla="*/ 26 w 146"/>
              <a:gd name="T41" fmla="*/ 69 h 146"/>
              <a:gd name="T42" fmla="*/ 24 w 146"/>
              <a:gd name="T43" fmla="*/ 73 h 146"/>
              <a:gd name="T44" fmla="*/ 26 w 146"/>
              <a:gd name="T45" fmla="*/ 77 h 146"/>
              <a:gd name="T46" fmla="*/ 35 w 146"/>
              <a:gd name="T47" fmla="*/ 86 h 146"/>
              <a:gd name="T48" fmla="*/ 39 w 146"/>
              <a:gd name="T49" fmla="*/ 87 h 146"/>
              <a:gd name="T50" fmla="*/ 43 w 146"/>
              <a:gd name="T51" fmla="*/ 86 h 146"/>
              <a:gd name="T52" fmla="*/ 61 w 146"/>
              <a:gd name="T53" fmla="*/ 68 h 146"/>
              <a:gd name="T54" fmla="*/ 61 w 146"/>
              <a:gd name="T55" fmla="*/ 115 h 146"/>
              <a:gd name="T56" fmla="*/ 63 w 146"/>
              <a:gd name="T57" fmla="*/ 120 h 146"/>
              <a:gd name="T58" fmla="*/ 67 w 146"/>
              <a:gd name="T59" fmla="*/ 121 h 146"/>
              <a:gd name="T60" fmla="*/ 79 w 146"/>
              <a:gd name="T61" fmla="*/ 121 h 146"/>
              <a:gd name="T62" fmla="*/ 83 w 146"/>
              <a:gd name="T63" fmla="*/ 120 h 146"/>
              <a:gd name="T64" fmla="*/ 85 w 146"/>
              <a:gd name="T65" fmla="*/ 115 h 146"/>
              <a:gd name="T66" fmla="*/ 85 w 146"/>
              <a:gd name="T67" fmla="*/ 68 h 146"/>
              <a:gd name="T68" fmla="*/ 103 w 146"/>
              <a:gd name="T69" fmla="*/ 86 h 146"/>
              <a:gd name="T70" fmla="*/ 107 w 146"/>
              <a:gd name="T71" fmla="*/ 88 h 146"/>
              <a:gd name="T72" fmla="*/ 112 w 146"/>
              <a:gd name="T73" fmla="*/ 86 h 146"/>
              <a:gd name="T74" fmla="*/ 120 w 146"/>
              <a:gd name="T75" fmla="*/ 77 h 146"/>
              <a:gd name="T76" fmla="*/ 122 w 146"/>
              <a:gd name="T77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10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122" y="73"/>
                </a:moveTo>
                <a:cubicBezTo>
                  <a:pt x="122" y="71"/>
                  <a:pt x="121" y="70"/>
                  <a:pt x="120" y="69"/>
                </a:cubicBezTo>
                <a:cubicBezTo>
                  <a:pt x="86" y="34"/>
                  <a:pt x="86" y="34"/>
                  <a:pt x="86" y="34"/>
                </a:cubicBezTo>
                <a:cubicBezTo>
                  <a:pt x="77" y="26"/>
                  <a:pt x="77" y="26"/>
                  <a:pt x="77" y="26"/>
                </a:cubicBezTo>
                <a:cubicBezTo>
                  <a:pt x="76" y="25"/>
                  <a:pt x="75" y="24"/>
                  <a:pt x="73" y="24"/>
                </a:cubicBezTo>
                <a:cubicBezTo>
                  <a:pt x="71" y="24"/>
                  <a:pt x="70" y="25"/>
                  <a:pt x="69" y="26"/>
                </a:cubicBezTo>
                <a:cubicBezTo>
                  <a:pt x="60" y="34"/>
                  <a:pt x="60" y="34"/>
                  <a:pt x="60" y="34"/>
                </a:cubicBezTo>
                <a:cubicBezTo>
                  <a:pt x="26" y="69"/>
                  <a:pt x="26" y="69"/>
                  <a:pt x="26" y="69"/>
                </a:cubicBezTo>
                <a:cubicBezTo>
                  <a:pt x="25" y="70"/>
                  <a:pt x="24" y="71"/>
                  <a:pt x="24" y="73"/>
                </a:cubicBezTo>
                <a:cubicBezTo>
                  <a:pt x="24" y="75"/>
                  <a:pt x="25" y="76"/>
                  <a:pt x="26" y="77"/>
                </a:cubicBezTo>
                <a:cubicBezTo>
                  <a:pt x="35" y="86"/>
                  <a:pt x="35" y="86"/>
                  <a:pt x="35" y="86"/>
                </a:cubicBezTo>
                <a:cubicBezTo>
                  <a:pt x="36" y="87"/>
                  <a:pt x="37" y="87"/>
                  <a:pt x="39" y="87"/>
                </a:cubicBezTo>
                <a:cubicBezTo>
                  <a:pt x="41" y="87"/>
                  <a:pt x="42" y="87"/>
                  <a:pt x="43" y="86"/>
                </a:cubicBezTo>
                <a:cubicBezTo>
                  <a:pt x="61" y="68"/>
                  <a:pt x="61" y="68"/>
                  <a:pt x="61" y="68"/>
                </a:cubicBezTo>
                <a:cubicBezTo>
                  <a:pt x="61" y="115"/>
                  <a:pt x="61" y="115"/>
                  <a:pt x="61" y="115"/>
                </a:cubicBezTo>
                <a:cubicBezTo>
                  <a:pt x="61" y="117"/>
                  <a:pt x="62" y="118"/>
                  <a:pt x="63" y="120"/>
                </a:cubicBezTo>
                <a:cubicBezTo>
                  <a:pt x="64" y="121"/>
                  <a:pt x="65" y="121"/>
                  <a:pt x="67" y="121"/>
                </a:cubicBezTo>
                <a:cubicBezTo>
                  <a:pt x="79" y="121"/>
                  <a:pt x="79" y="121"/>
                  <a:pt x="79" y="121"/>
                </a:cubicBezTo>
                <a:cubicBezTo>
                  <a:pt x="81" y="121"/>
                  <a:pt x="82" y="121"/>
                  <a:pt x="83" y="120"/>
                </a:cubicBezTo>
                <a:cubicBezTo>
                  <a:pt x="85" y="118"/>
                  <a:pt x="85" y="117"/>
                  <a:pt x="85" y="115"/>
                </a:cubicBezTo>
                <a:cubicBezTo>
                  <a:pt x="85" y="68"/>
                  <a:pt x="85" y="68"/>
                  <a:pt x="85" y="68"/>
                </a:cubicBezTo>
                <a:cubicBezTo>
                  <a:pt x="103" y="86"/>
                  <a:pt x="103" y="86"/>
                  <a:pt x="103" y="86"/>
                </a:cubicBezTo>
                <a:cubicBezTo>
                  <a:pt x="104" y="87"/>
                  <a:pt x="106" y="88"/>
                  <a:pt x="107" y="88"/>
                </a:cubicBezTo>
                <a:cubicBezTo>
                  <a:pt x="109" y="88"/>
                  <a:pt x="110" y="87"/>
                  <a:pt x="112" y="86"/>
                </a:cubicBezTo>
                <a:cubicBezTo>
                  <a:pt x="120" y="77"/>
                  <a:pt x="120" y="77"/>
                  <a:pt x="120" y="77"/>
                </a:cubicBezTo>
                <a:cubicBezTo>
                  <a:pt x="121" y="76"/>
                  <a:pt x="122" y="75"/>
                  <a:pt x="122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6" name="Freeform 166"/>
          <p:cNvSpPr>
            <a:spLocks noChangeAspect="1" noEditPoints="1"/>
          </p:cNvSpPr>
          <p:nvPr/>
        </p:nvSpPr>
        <p:spPr bwMode="auto">
          <a:xfrm>
            <a:off x="2137911" y="2795218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10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10 w 146"/>
              <a:gd name="T23" fmla="*/ 10 h 146"/>
              <a:gd name="T24" fmla="*/ 136 w 146"/>
              <a:gd name="T25" fmla="*/ 36 h 146"/>
              <a:gd name="T26" fmla="*/ 122 w 146"/>
              <a:gd name="T27" fmla="*/ 73 h 146"/>
              <a:gd name="T28" fmla="*/ 120 w 146"/>
              <a:gd name="T29" fmla="*/ 69 h 146"/>
              <a:gd name="T30" fmla="*/ 112 w 146"/>
              <a:gd name="T31" fmla="*/ 60 h 146"/>
              <a:gd name="T32" fmla="*/ 107 w 146"/>
              <a:gd name="T33" fmla="*/ 58 h 146"/>
              <a:gd name="T34" fmla="*/ 103 w 146"/>
              <a:gd name="T35" fmla="*/ 60 h 146"/>
              <a:gd name="T36" fmla="*/ 85 w 146"/>
              <a:gd name="T37" fmla="*/ 78 h 146"/>
              <a:gd name="T38" fmla="*/ 85 w 146"/>
              <a:gd name="T39" fmla="*/ 31 h 146"/>
              <a:gd name="T40" fmla="*/ 83 w 146"/>
              <a:gd name="T41" fmla="*/ 26 h 146"/>
              <a:gd name="T42" fmla="*/ 79 w 146"/>
              <a:gd name="T43" fmla="*/ 25 h 146"/>
              <a:gd name="T44" fmla="*/ 67 w 146"/>
              <a:gd name="T45" fmla="*/ 25 h 146"/>
              <a:gd name="T46" fmla="*/ 63 w 146"/>
              <a:gd name="T47" fmla="*/ 26 h 146"/>
              <a:gd name="T48" fmla="*/ 61 w 146"/>
              <a:gd name="T49" fmla="*/ 31 h 146"/>
              <a:gd name="T50" fmla="*/ 61 w 146"/>
              <a:gd name="T51" fmla="*/ 78 h 146"/>
              <a:gd name="T52" fmla="*/ 43 w 146"/>
              <a:gd name="T53" fmla="*/ 60 h 146"/>
              <a:gd name="T54" fmla="*/ 39 w 146"/>
              <a:gd name="T55" fmla="*/ 58 h 146"/>
              <a:gd name="T56" fmla="*/ 35 w 146"/>
              <a:gd name="T57" fmla="*/ 60 h 146"/>
              <a:gd name="T58" fmla="*/ 26 w 146"/>
              <a:gd name="T59" fmla="*/ 69 h 146"/>
              <a:gd name="T60" fmla="*/ 24 w 146"/>
              <a:gd name="T61" fmla="*/ 73 h 146"/>
              <a:gd name="T62" fmla="*/ 26 w 146"/>
              <a:gd name="T63" fmla="*/ 77 h 146"/>
              <a:gd name="T64" fmla="*/ 60 w 146"/>
              <a:gd name="T65" fmla="*/ 112 h 146"/>
              <a:gd name="T66" fmla="*/ 69 w 146"/>
              <a:gd name="T67" fmla="*/ 120 h 146"/>
              <a:gd name="T68" fmla="*/ 73 w 146"/>
              <a:gd name="T69" fmla="*/ 122 h 146"/>
              <a:gd name="T70" fmla="*/ 77 w 146"/>
              <a:gd name="T71" fmla="*/ 120 h 146"/>
              <a:gd name="T72" fmla="*/ 86 w 146"/>
              <a:gd name="T73" fmla="*/ 112 h 146"/>
              <a:gd name="T74" fmla="*/ 120 w 146"/>
              <a:gd name="T75" fmla="*/ 77 h 146"/>
              <a:gd name="T76" fmla="*/ 122 w 146"/>
              <a:gd name="T77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10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6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6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122" y="73"/>
                </a:moveTo>
                <a:cubicBezTo>
                  <a:pt x="122" y="71"/>
                  <a:pt x="121" y="70"/>
                  <a:pt x="120" y="69"/>
                </a:cubicBezTo>
                <a:cubicBezTo>
                  <a:pt x="112" y="60"/>
                  <a:pt x="112" y="60"/>
                  <a:pt x="112" y="60"/>
                </a:cubicBezTo>
                <a:cubicBezTo>
                  <a:pt x="110" y="59"/>
                  <a:pt x="109" y="58"/>
                  <a:pt x="107" y="58"/>
                </a:cubicBezTo>
                <a:cubicBezTo>
                  <a:pt x="106" y="58"/>
                  <a:pt x="104" y="59"/>
                  <a:pt x="103" y="60"/>
                </a:cubicBezTo>
                <a:cubicBezTo>
                  <a:pt x="85" y="78"/>
                  <a:pt x="85" y="78"/>
                  <a:pt x="85" y="78"/>
                </a:cubicBezTo>
                <a:cubicBezTo>
                  <a:pt x="85" y="31"/>
                  <a:pt x="85" y="31"/>
                  <a:pt x="85" y="31"/>
                </a:cubicBezTo>
                <a:cubicBezTo>
                  <a:pt x="85" y="29"/>
                  <a:pt x="85" y="28"/>
                  <a:pt x="83" y="26"/>
                </a:cubicBezTo>
                <a:cubicBezTo>
                  <a:pt x="82" y="25"/>
                  <a:pt x="81" y="25"/>
                  <a:pt x="79" y="25"/>
                </a:cubicBezTo>
                <a:cubicBezTo>
                  <a:pt x="67" y="25"/>
                  <a:pt x="67" y="25"/>
                  <a:pt x="67" y="25"/>
                </a:cubicBezTo>
                <a:cubicBezTo>
                  <a:pt x="65" y="25"/>
                  <a:pt x="64" y="25"/>
                  <a:pt x="63" y="26"/>
                </a:cubicBezTo>
                <a:cubicBezTo>
                  <a:pt x="62" y="28"/>
                  <a:pt x="61" y="29"/>
                  <a:pt x="61" y="31"/>
                </a:cubicBezTo>
                <a:cubicBezTo>
                  <a:pt x="61" y="78"/>
                  <a:pt x="61" y="78"/>
                  <a:pt x="61" y="78"/>
                </a:cubicBezTo>
                <a:cubicBezTo>
                  <a:pt x="43" y="60"/>
                  <a:pt x="43" y="60"/>
                  <a:pt x="43" y="60"/>
                </a:cubicBezTo>
                <a:cubicBezTo>
                  <a:pt x="42" y="59"/>
                  <a:pt x="41" y="58"/>
                  <a:pt x="39" y="58"/>
                </a:cubicBezTo>
                <a:cubicBezTo>
                  <a:pt x="37" y="58"/>
                  <a:pt x="36" y="59"/>
                  <a:pt x="35" y="60"/>
                </a:cubicBezTo>
                <a:cubicBezTo>
                  <a:pt x="26" y="69"/>
                  <a:pt x="26" y="69"/>
                  <a:pt x="26" y="69"/>
                </a:cubicBezTo>
                <a:cubicBezTo>
                  <a:pt x="25" y="70"/>
                  <a:pt x="24" y="71"/>
                  <a:pt x="24" y="73"/>
                </a:cubicBezTo>
                <a:cubicBezTo>
                  <a:pt x="24" y="75"/>
                  <a:pt x="25" y="76"/>
                  <a:pt x="26" y="77"/>
                </a:cubicBezTo>
                <a:cubicBezTo>
                  <a:pt x="60" y="112"/>
                  <a:pt x="60" y="112"/>
                  <a:pt x="60" y="112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0" y="121"/>
                  <a:pt x="71" y="122"/>
                  <a:pt x="73" y="122"/>
                </a:cubicBezTo>
                <a:cubicBezTo>
                  <a:pt x="75" y="122"/>
                  <a:pt x="76" y="121"/>
                  <a:pt x="77" y="120"/>
                </a:cubicBezTo>
                <a:cubicBezTo>
                  <a:pt x="86" y="112"/>
                  <a:pt x="86" y="112"/>
                  <a:pt x="86" y="112"/>
                </a:cubicBezTo>
                <a:cubicBezTo>
                  <a:pt x="120" y="77"/>
                  <a:pt x="120" y="77"/>
                  <a:pt x="120" y="77"/>
                </a:cubicBezTo>
                <a:cubicBezTo>
                  <a:pt x="121" y="76"/>
                  <a:pt x="122" y="75"/>
                  <a:pt x="122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7" name="Freeform 167"/>
          <p:cNvSpPr>
            <a:spLocks noChangeAspect="1" noEditPoints="1"/>
          </p:cNvSpPr>
          <p:nvPr/>
        </p:nvSpPr>
        <p:spPr bwMode="auto">
          <a:xfrm>
            <a:off x="2331513" y="2795218"/>
            <a:ext cx="149885" cy="151447"/>
          </a:xfrm>
          <a:custGeom>
            <a:avLst/>
            <a:gdLst>
              <a:gd name="T0" fmla="*/ 136 w 146"/>
              <a:gd name="T1" fmla="*/ 109 h 146"/>
              <a:gd name="T2" fmla="*/ 10 w 146"/>
              <a:gd name="T3" fmla="*/ 36 h 146"/>
              <a:gd name="T4" fmla="*/ 98 w 146"/>
              <a:gd name="T5" fmla="*/ 50 h 146"/>
              <a:gd name="T6" fmla="*/ 112 w 146"/>
              <a:gd name="T7" fmla="*/ 45 h 146"/>
              <a:gd name="T8" fmla="*/ 112 w 146"/>
              <a:gd name="T9" fmla="*/ 40 h 146"/>
              <a:gd name="T10" fmla="*/ 107 w 146"/>
              <a:gd name="T11" fmla="*/ 36 h 146"/>
              <a:gd name="T12" fmla="*/ 104 w 146"/>
              <a:gd name="T13" fmla="*/ 32 h 146"/>
              <a:gd name="T14" fmla="*/ 101 w 146"/>
              <a:gd name="T15" fmla="*/ 34 h 146"/>
              <a:gd name="T16" fmla="*/ 98 w 146"/>
              <a:gd name="T17" fmla="*/ 33 h 146"/>
              <a:gd name="T18" fmla="*/ 91 w 146"/>
              <a:gd name="T19" fmla="*/ 28 h 146"/>
              <a:gd name="T20" fmla="*/ 87 w 146"/>
              <a:gd name="T21" fmla="*/ 34 h 146"/>
              <a:gd name="T22" fmla="*/ 87 w 146"/>
              <a:gd name="T23" fmla="*/ 43 h 146"/>
              <a:gd name="T24" fmla="*/ 83 w 146"/>
              <a:gd name="T25" fmla="*/ 45 h 146"/>
              <a:gd name="T26" fmla="*/ 68 w 146"/>
              <a:gd name="T27" fmla="*/ 35 h 146"/>
              <a:gd name="T28" fmla="*/ 70 w 146"/>
              <a:gd name="T29" fmla="*/ 27 h 146"/>
              <a:gd name="T30" fmla="*/ 79 w 146"/>
              <a:gd name="T31" fmla="*/ 22 h 146"/>
              <a:gd name="T32" fmla="*/ 78 w 146"/>
              <a:gd name="T33" fmla="*/ 18 h 146"/>
              <a:gd name="T34" fmla="*/ 73 w 146"/>
              <a:gd name="T35" fmla="*/ 18 h 146"/>
              <a:gd name="T36" fmla="*/ 64 w 146"/>
              <a:gd name="T37" fmla="*/ 15 h 146"/>
              <a:gd name="T38" fmla="*/ 68 w 146"/>
              <a:gd name="T39" fmla="*/ 19 h 146"/>
              <a:gd name="T40" fmla="*/ 64 w 146"/>
              <a:gd name="T41" fmla="*/ 21 h 146"/>
              <a:gd name="T42" fmla="*/ 55 w 146"/>
              <a:gd name="T43" fmla="*/ 19 h 146"/>
              <a:gd name="T44" fmla="*/ 46 w 146"/>
              <a:gd name="T45" fmla="*/ 19 h 146"/>
              <a:gd name="T46" fmla="*/ 52 w 146"/>
              <a:gd name="T47" fmla="*/ 19 h 146"/>
              <a:gd name="T48" fmla="*/ 44 w 146"/>
              <a:gd name="T49" fmla="*/ 20 h 146"/>
              <a:gd name="T50" fmla="*/ 25 w 146"/>
              <a:gd name="T51" fmla="*/ 45 h 146"/>
              <a:gd name="T52" fmla="*/ 29 w 146"/>
              <a:gd name="T53" fmla="*/ 52 h 146"/>
              <a:gd name="T54" fmla="*/ 29 w 146"/>
              <a:gd name="T55" fmla="*/ 63 h 146"/>
              <a:gd name="T56" fmla="*/ 37 w 146"/>
              <a:gd name="T57" fmla="*/ 73 h 146"/>
              <a:gd name="T58" fmla="*/ 41 w 146"/>
              <a:gd name="T59" fmla="*/ 81 h 146"/>
              <a:gd name="T60" fmla="*/ 43 w 146"/>
              <a:gd name="T61" fmla="*/ 80 h 146"/>
              <a:gd name="T62" fmla="*/ 42 w 146"/>
              <a:gd name="T63" fmla="*/ 76 h 146"/>
              <a:gd name="T64" fmla="*/ 48 w 146"/>
              <a:gd name="T65" fmla="*/ 84 h 146"/>
              <a:gd name="T66" fmla="*/ 53 w 146"/>
              <a:gd name="T67" fmla="*/ 94 h 146"/>
              <a:gd name="T68" fmla="*/ 63 w 146"/>
              <a:gd name="T69" fmla="*/ 99 h 146"/>
              <a:gd name="T70" fmla="*/ 75 w 146"/>
              <a:gd name="T71" fmla="*/ 104 h 146"/>
              <a:gd name="T72" fmla="*/ 82 w 146"/>
              <a:gd name="T73" fmla="*/ 109 h 146"/>
              <a:gd name="T74" fmla="*/ 80 w 146"/>
              <a:gd name="T75" fmla="*/ 106 h 146"/>
              <a:gd name="T76" fmla="*/ 81 w 146"/>
              <a:gd name="T77" fmla="*/ 101 h 146"/>
              <a:gd name="T78" fmla="*/ 75 w 146"/>
              <a:gd name="T79" fmla="*/ 99 h 146"/>
              <a:gd name="T80" fmla="*/ 76 w 146"/>
              <a:gd name="T81" fmla="*/ 92 h 146"/>
              <a:gd name="T82" fmla="*/ 70 w 146"/>
              <a:gd name="T83" fmla="*/ 95 h 146"/>
              <a:gd name="T84" fmla="*/ 63 w 146"/>
              <a:gd name="T85" fmla="*/ 84 h 146"/>
              <a:gd name="T86" fmla="*/ 65 w 146"/>
              <a:gd name="T87" fmla="*/ 79 h 146"/>
              <a:gd name="T88" fmla="*/ 72 w 146"/>
              <a:gd name="T89" fmla="*/ 78 h 146"/>
              <a:gd name="T90" fmla="*/ 78 w 146"/>
              <a:gd name="T91" fmla="*/ 78 h 146"/>
              <a:gd name="T92" fmla="*/ 84 w 146"/>
              <a:gd name="T93" fmla="*/ 84 h 146"/>
              <a:gd name="T94" fmla="*/ 84 w 146"/>
              <a:gd name="T95" fmla="*/ 78 h 146"/>
              <a:gd name="T96" fmla="*/ 87 w 146"/>
              <a:gd name="T97" fmla="*/ 72 h 146"/>
              <a:gd name="T98" fmla="*/ 88 w 146"/>
              <a:gd name="T99" fmla="*/ 65 h 146"/>
              <a:gd name="T100" fmla="*/ 96 w 146"/>
              <a:gd name="T101" fmla="*/ 60 h 146"/>
              <a:gd name="T102" fmla="*/ 101 w 146"/>
              <a:gd name="T103" fmla="*/ 55 h 146"/>
              <a:gd name="T104" fmla="*/ 103 w 146"/>
              <a:gd name="T105" fmla="*/ 50 h 146"/>
              <a:gd name="T106" fmla="*/ 116 w 146"/>
              <a:gd name="T107" fmla="*/ 114 h 146"/>
              <a:gd name="T108" fmla="*/ 109 w 146"/>
              <a:gd name="T109" fmla="*/ 110 h 146"/>
              <a:gd name="T110" fmla="*/ 105 w 146"/>
              <a:gd name="T111" fmla="*/ 108 h 146"/>
              <a:gd name="T112" fmla="*/ 99 w 146"/>
              <a:gd name="T113" fmla="*/ 107 h 146"/>
              <a:gd name="T114" fmla="*/ 95 w 146"/>
              <a:gd name="T115" fmla="*/ 107 h 146"/>
              <a:gd name="T116" fmla="*/ 91 w 146"/>
              <a:gd name="T117" fmla="*/ 108 h 146"/>
              <a:gd name="T118" fmla="*/ 87 w 146"/>
              <a:gd name="T119" fmla="*/ 113 h 146"/>
              <a:gd name="T120" fmla="*/ 83 w 146"/>
              <a:gd name="T121" fmla="*/ 13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" h="146">
                <a:moveTo>
                  <a:pt x="37" y="10"/>
                </a:move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10" y="10"/>
                </a:cubicBezTo>
                <a:cubicBezTo>
                  <a:pt x="121" y="17"/>
                  <a:pt x="129" y="25"/>
                  <a:pt x="136" y="36"/>
                </a:cubicBez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10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6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6" y="17"/>
                  <a:pt x="37" y="10"/>
                </a:cubicBezTo>
                <a:close/>
                <a:moveTo>
                  <a:pt x="99" y="50"/>
                </a:moveTo>
                <a:cubicBezTo>
                  <a:pt x="99" y="50"/>
                  <a:pt x="99" y="50"/>
                  <a:pt x="98" y="50"/>
                </a:cubicBezTo>
                <a:cubicBezTo>
                  <a:pt x="98" y="51"/>
                  <a:pt x="97" y="51"/>
                  <a:pt x="97" y="51"/>
                </a:cubicBezTo>
                <a:cubicBezTo>
                  <a:pt x="97" y="51"/>
                  <a:pt x="97" y="51"/>
                  <a:pt x="97" y="51"/>
                </a:cubicBezTo>
                <a:cubicBezTo>
                  <a:pt x="97" y="51"/>
                  <a:pt x="98" y="50"/>
                  <a:pt x="98" y="50"/>
                </a:cubicBezTo>
                <a:cubicBezTo>
                  <a:pt x="98" y="49"/>
                  <a:pt x="98" y="49"/>
                  <a:pt x="98" y="49"/>
                </a:cubicBezTo>
                <a:cubicBezTo>
                  <a:pt x="98" y="49"/>
                  <a:pt x="99" y="48"/>
                  <a:pt x="100" y="48"/>
                </a:cubicBezTo>
                <a:cubicBezTo>
                  <a:pt x="101" y="47"/>
                  <a:pt x="103" y="47"/>
                  <a:pt x="105" y="47"/>
                </a:cubicBezTo>
                <a:cubicBezTo>
                  <a:pt x="107" y="46"/>
                  <a:pt x="109" y="46"/>
                  <a:pt x="110" y="48"/>
                </a:cubicBezTo>
                <a:cubicBezTo>
                  <a:pt x="110" y="48"/>
                  <a:pt x="110" y="47"/>
                  <a:pt x="111" y="46"/>
                </a:cubicBezTo>
                <a:cubicBezTo>
                  <a:pt x="112" y="46"/>
                  <a:pt x="112" y="45"/>
                  <a:pt x="112" y="45"/>
                </a:cubicBezTo>
                <a:cubicBezTo>
                  <a:pt x="112" y="45"/>
                  <a:pt x="113" y="45"/>
                  <a:pt x="114" y="45"/>
                </a:cubicBezTo>
                <a:cubicBezTo>
                  <a:pt x="114" y="45"/>
                  <a:pt x="115" y="45"/>
                  <a:pt x="115" y="44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4" y="42"/>
                  <a:pt x="114" y="42"/>
                  <a:pt x="114" y="41"/>
                </a:cubicBezTo>
                <a:cubicBezTo>
                  <a:pt x="113" y="41"/>
                  <a:pt x="113" y="40"/>
                  <a:pt x="113" y="39"/>
                </a:cubicBezTo>
                <a:cubicBezTo>
                  <a:pt x="113" y="40"/>
                  <a:pt x="113" y="40"/>
                  <a:pt x="112" y="40"/>
                </a:cubicBezTo>
                <a:cubicBezTo>
                  <a:pt x="112" y="40"/>
                  <a:pt x="112" y="40"/>
                  <a:pt x="112" y="39"/>
                </a:cubicBezTo>
                <a:cubicBezTo>
                  <a:pt x="112" y="39"/>
                  <a:pt x="111" y="39"/>
                  <a:pt x="111" y="40"/>
                </a:cubicBezTo>
                <a:cubicBezTo>
                  <a:pt x="110" y="40"/>
                  <a:pt x="110" y="40"/>
                  <a:pt x="110" y="40"/>
                </a:cubicBezTo>
                <a:cubicBezTo>
                  <a:pt x="109" y="39"/>
                  <a:pt x="109" y="39"/>
                  <a:pt x="109" y="39"/>
                </a:cubicBezTo>
                <a:cubicBezTo>
                  <a:pt x="108" y="39"/>
                  <a:pt x="108" y="38"/>
                  <a:pt x="108" y="37"/>
                </a:cubicBezTo>
                <a:cubicBezTo>
                  <a:pt x="108" y="37"/>
                  <a:pt x="107" y="36"/>
                  <a:pt x="107" y="36"/>
                </a:cubicBezTo>
                <a:cubicBezTo>
                  <a:pt x="107" y="36"/>
                  <a:pt x="107" y="35"/>
                  <a:pt x="107" y="35"/>
                </a:cubicBezTo>
                <a:cubicBezTo>
                  <a:pt x="106" y="35"/>
                  <a:pt x="106" y="34"/>
                  <a:pt x="106" y="34"/>
                </a:cubicBezTo>
                <a:cubicBezTo>
                  <a:pt x="106" y="34"/>
                  <a:pt x="105" y="34"/>
                  <a:pt x="105" y="33"/>
                </a:cubicBezTo>
                <a:cubicBezTo>
                  <a:pt x="105" y="33"/>
                  <a:pt x="105" y="33"/>
                  <a:pt x="105" y="33"/>
                </a:cubicBezTo>
                <a:cubicBezTo>
                  <a:pt x="105" y="33"/>
                  <a:pt x="105" y="32"/>
                  <a:pt x="105" y="32"/>
                </a:cubicBezTo>
                <a:cubicBezTo>
                  <a:pt x="105" y="32"/>
                  <a:pt x="104" y="32"/>
                  <a:pt x="104" y="32"/>
                </a:cubicBezTo>
                <a:cubicBezTo>
                  <a:pt x="104" y="32"/>
                  <a:pt x="104" y="32"/>
                  <a:pt x="104" y="33"/>
                </a:cubicBezTo>
                <a:cubicBezTo>
                  <a:pt x="103" y="33"/>
                  <a:pt x="103" y="33"/>
                  <a:pt x="103" y="34"/>
                </a:cubicBezTo>
                <a:cubicBezTo>
                  <a:pt x="103" y="34"/>
                  <a:pt x="102" y="34"/>
                  <a:pt x="102" y="34"/>
                </a:cubicBezTo>
                <a:cubicBezTo>
                  <a:pt x="102" y="34"/>
                  <a:pt x="102" y="34"/>
                  <a:pt x="102" y="34"/>
                </a:cubicBezTo>
                <a:cubicBezTo>
                  <a:pt x="102" y="34"/>
                  <a:pt x="102" y="34"/>
                  <a:pt x="101" y="34"/>
                </a:cubicBezTo>
                <a:cubicBezTo>
                  <a:pt x="101" y="34"/>
                  <a:pt x="101" y="34"/>
                  <a:pt x="101" y="34"/>
                </a:cubicBezTo>
                <a:cubicBezTo>
                  <a:pt x="101" y="34"/>
                  <a:pt x="101" y="34"/>
                  <a:pt x="101" y="35"/>
                </a:cubicBezTo>
                <a:cubicBezTo>
                  <a:pt x="100" y="35"/>
                  <a:pt x="100" y="35"/>
                  <a:pt x="100" y="35"/>
                </a:cubicBezTo>
                <a:cubicBezTo>
                  <a:pt x="99" y="35"/>
                  <a:pt x="99" y="35"/>
                  <a:pt x="99" y="35"/>
                </a:cubicBezTo>
                <a:cubicBezTo>
                  <a:pt x="100" y="35"/>
                  <a:pt x="100" y="34"/>
                  <a:pt x="99" y="34"/>
                </a:cubicBezTo>
                <a:cubicBezTo>
                  <a:pt x="98" y="34"/>
                  <a:pt x="98" y="34"/>
                  <a:pt x="97" y="34"/>
                </a:cubicBezTo>
                <a:cubicBezTo>
                  <a:pt x="98" y="33"/>
                  <a:pt x="98" y="33"/>
                  <a:pt x="98" y="33"/>
                </a:cubicBezTo>
                <a:cubicBezTo>
                  <a:pt x="98" y="32"/>
                  <a:pt x="98" y="32"/>
                  <a:pt x="97" y="31"/>
                </a:cubicBezTo>
                <a:cubicBezTo>
                  <a:pt x="98" y="31"/>
                  <a:pt x="98" y="31"/>
                  <a:pt x="98" y="31"/>
                </a:cubicBezTo>
                <a:cubicBezTo>
                  <a:pt x="98" y="31"/>
                  <a:pt x="97" y="31"/>
                  <a:pt x="97" y="30"/>
                </a:cubicBezTo>
                <a:cubicBezTo>
                  <a:pt x="96" y="30"/>
                  <a:pt x="96" y="30"/>
                  <a:pt x="95" y="30"/>
                </a:cubicBezTo>
                <a:cubicBezTo>
                  <a:pt x="95" y="29"/>
                  <a:pt x="94" y="29"/>
                  <a:pt x="94" y="29"/>
                </a:cubicBezTo>
                <a:cubicBezTo>
                  <a:pt x="93" y="29"/>
                  <a:pt x="92" y="28"/>
                  <a:pt x="91" y="28"/>
                </a:cubicBezTo>
                <a:cubicBezTo>
                  <a:pt x="89" y="28"/>
                  <a:pt x="88" y="28"/>
                  <a:pt x="88" y="28"/>
                </a:cubicBezTo>
                <a:cubicBezTo>
                  <a:pt x="87" y="29"/>
                  <a:pt x="87" y="29"/>
                  <a:pt x="87" y="29"/>
                </a:cubicBezTo>
                <a:cubicBezTo>
                  <a:pt x="87" y="29"/>
                  <a:pt x="87" y="30"/>
                  <a:pt x="88" y="30"/>
                </a:cubicBezTo>
                <a:cubicBezTo>
                  <a:pt x="88" y="31"/>
                  <a:pt x="88" y="31"/>
                  <a:pt x="88" y="32"/>
                </a:cubicBezTo>
                <a:cubicBezTo>
                  <a:pt x="88" y="32"/>
                  <a:pt x="88" y="32"/>
                  <a:pt x="87" y="33"/>
                </a:cubicBezTo>
                <a:cubicBezTo>
                  <a:pt x="87" y="33"/>
                  <a:pt x="87" y="34"/>
                  <a:pt x="87" y="34"/>
                </a:cubicBezTo>
                <a:cubicBezTo>
                  <a:pt x="87" y="34"/>
                  <a:pt x="87" y="35"/>
                  <a:pt x="88" y="35"/>
                </a:cubicBezTo>
                <a:cubicBezTo>
                  <a:pt x="89" y="36"/>
                  <a:pt x="89" y="37"/>
                  <a:pt x="89" y="37"/>
                </a:cubicBezTo>
                <a:cubicBezTo>
                  <a:pt x="89" y="38"/>
                  <a:pt x="88" y="38"/>
                  <a:pt x="88" y="39"/>
                </a:cubicBezTo>
                <a:cubicBezTo>
                  <a:pt x="87" y="40"/>
                  <a:pt x="86" y="40"/>
                  <a:pt x="86" y="40"/>
                </a:cubicBezTo>
                <a:cubicBezTo>
                  <a:pt x="86" y="41"/>
                  <a:pt x="86" y="41"/>
                  <a:pt x="86" y="42"/>
                </a:cubicBezTo>
                <a:cubicBezTo>
                  <a:pt x="86" y="43"/>
                  <a:pt x="86" y="43"/>
                  <a:pt x="87" y="43"/>
                </a:cubicBezTo>
                <a:cubicBezTo>
                  <a:pt x="87" y="44"/>
                  <a:pt x="87" y="44"/>
                  <a:pt x="87" y="44"/>
                </a:cubicBezTo>
                <a:cubicBezTo>
                  <a:pt x="87" y="44"/>
                  <a:pt x="87" y="44"/>
                  <a:pt x="87" y="44"/>
                </a:cubicBezTo>
                <a:cubicBezTo>
                  <a:pt x="87" y="44"/>
                  <a:pt x="86" y="45"/>
                  <a:pt x="86" y="45"/>
                </a:cubicBezTo>
                <a:cubicBezTo>
                  <a:pt x="86" y="45"/>
                  <a:pt x="86" y="45"/>
                  <a:pt x="86" y="45"/>
                </a:cubicBezTo>
                <a:cubicBezTo>
                  <a:pt x="85" y="45"/>
                  <a:pt x="85" y="45"/>
                  <a:pt x="85" y="45"/>
                </a:cubicBezTo>
                <a:cubicBezTo>
                  <a:pt x="85" y="45"/>
                  <a:pt x="84" y="45"/>
                  <a:pt x="83" y="45"/>
                </a:cubicBezTo>
                <a:cubicBezTo>
                  <a:pt x="83" y="44"/>
                  <a:pt x="82" y="43"/>
                  <a:pt x="82" y="42"/>
                </a:cubicBezTo>
                <a:cubicBezTo>
                  <a:pt x="82" y="41"/>
                  <a:pt x="81" y="40"/>
                  <a:pt x="81" y="39"/>
                </a:cubicBezTo>
                <a:cubicBezTo>
                  <a:pt x="79" y="39"/>
                  <a:pt x="78" y="39"/>
                  <a:pt x="78" y="39"/>
                </a:cubicBezTo>
                <a:cubicBezTo>
                  <a:pt x="78" y="39"/>
                  <a:pt x="76" y="38"/>
                  <a:pt x="74" y="37"/>
                </a:cubicBezTo>
                <a:cubicBezTo>
                  <a:pt x="72" y="36"/>
                  <a:pt x="71" y="36"/>
                  <a:pt x="68" y="37"/>
                </a:cubicBezTo>
                <a:cubicBezTo>
                  <a:pt x="69" y="36"/>
                  <a:pt x="69" y="36"/>
                  <a:pt x="68" y="35"/>
                </a:cubicBezTo>
                <a:cubicBezTo>
                  <a:pt x="68" y="34"/>
                  <a:pt x="67" y="34"/>
                  <a:pt x="67" y="34"/>
                </a:cubicBezTo>
                <a:cubicBezTo>
                  <a:pt x="67" y="34"/>
                  <a:pt x="67" y="33"/>
                  <a:pt x="67" y="32"/>
                </a:cubicBezTo>
                <a:cubicBezTo>
                  <a:pt x="67" y="32"/>
                  <a:pt x="67" y="31"/>
                  <a:pt x="67" y="31"/>
                </a:cubicBezTo>
                <a:cubicBezTo>
                  <a:pt x="67" y="30"/>
                  <a:pt x="68" y="30"/>
                  <a:pt x="68" y="29"/>
                </a:cubicBezTo>
                <a:cubicBezTo>
                  <a:pt x="68" y="29"/>
                  <a:pt x="69" y="29"/>
                  <a:pt x="69" y="28"/>
                </a:cubicBezTo>
                <a:cubicBezTo>
                  <a:pt x="69" y="28"/>
                  <a:pt x="70" y="27"/>
                  <a:pt x="70" y="27"/>
                </a:cubicBezTo>
                <a:cubicBezTo>
                  <a:pt x="70" y="26"/>
                  <a:pt x="70" y="26"/>
                  <a:pt x="70" y="26"/>
                </a:cubicBezTo>
                <a:cubicBezTo>
                  <a:pt x="72" y="26"/>
                  <a:pt x="74" y="26"/>
                  <a:pt x="75" y="25"/>
                </a:cubicBezTo>
                <a:cubicBezTo>
                  <a:pt x="75" y="25"/>
                  <a:pt x="75" y="24"/>
                  <a:pt x="76" y="24"/>
                </a:cubicBezTo>
                <a:cubicBezTo>
                  <a:pt x="76" y="23"/>
                  <a:pt x="76" y="22"/>
                  <a:pt x="77" y="22"/>
                </a:cubicBezTo>
                <a:cubicBezTo>
                  <a:pt x="77" y="22"/>
                  <a:pt x="78" y="21"/>
                  <a:pt x="78" y="21"/>
                </a:cubicBezTo>
                <a:cubicBezTo>
                  <a:pt x="78" y="21"/>
                  <a:pt x="79" y="22"/>
                  <a:pt x="79" y="22"/>
                </a:cubicBezTo>
                <a:cubicBezTo>
                  <a:pt x="80" y="22"/>
                  <a:pt x="80" y="22"/>
                  <a:pt x="81" y="22"/>
                </a:cubicBezTo>
                <a:cubicBezTo>
                  <a:pt x="82" y="23"/>
                  <a:pt x="82" y="22"/>
                  <a:pt x="82" y="21"/>
                </a:cubicBezTo>
                <a:cubicBezTo>
                  <a:pt x="82" y="21"/>
                  <a:pt x="82" y="20"/>
                  <a:pt x="82" y="20"/>
                </a:cubicBezTo>
                <a:cubicBezTo>
                  <a:pt x="82" y="20"/>
                  <a:pt x="82" y="19"/>
                  <a:pt x="82" y="18"/>
                </a:cubicBezTo>
                <a:cubicBezTo>
                  <a:pt x="81" y="17"/>
                  <a:pt x="81" y="17"/>
                  <a:pt x="81" y="17"/>
                </a:cubicBezTo>
                <a:cubicBezTo>
                  <a:pt x="80" y="17"/>
                  <a:pt x="79" y="17"/>
                  <a:pt x="78" y="18"/>
                </a:cubicBezTo>
                <a:cubicBezTo>
                  <a:pt x="78" y="18"/>
                  <a:pt x="78" y="18"/>
                  <a:pt x="79" y="18"/>
                </a:cubicBezTo>
                <a:cubicBezTo>
                  <a:pt x="79" y="18"/>
                  <a:pt x="78" y="19"/>
                  <a:pt x="78" y="19"/>
                </a:cubicBezTo>
                <a:cubicBezTo>
                  <a:pt x="77" y="20"/>
                  <a:pt x="77" y="21"/>
                  <a:pt x="76" y="21"/>
                </a:cubicBezTo>
                <a:cubicBezTo>
                  <a:pt x="76" y="21"/>
                  <a:pt x="75" y="21"/>
                  <a:pt x="75" y="20"/>
                </a:cubicBezTo>
                <a:cubicBezTo>
                  <a:pt x="75" y="20"/>
                  <a:pt x="74" y="20"/>
                  <a:pt x="74" y="19"/>
                </a:cubicBezTo>
                <a:cubicBezTo>
                  <a:pt x="74" y="18"/>
                  <a:pt x="74" y="18"/>
                  <a:pt x="73" y="18"/>
                </a:cubicBezTo>
                <a:cubicBezTo>
                  <a:pt x="73" y="18"/>
                  <a:pt x="72" y="18"/>
                  <a:pt x="72" y="19"/>
                </a:cubicBezTo>
                <a:cubicBezTo>
                  <a:pt x="72" y="19"/>
                  <a:pt x="72" y="18"/>
                  <a:pt x="71" y="18"/>
                </a:cubicBezTo>
                <a:cubicBezTo>
                  <a:pt x="70" y="17"/>
                  <a:pt x="69" y="17"/>
                  <a:pt x="68" y="17"/>
                </a:cubicBezTo>
                <a:cubicBezTo>
                  <a:pt x="70" y="16"/>
                  <a:pt x="69" y="16"/>
                  <a:pt x="68" y="15"/>
                </a:cubicBezTo>
                <a:cubicBezTo>
                  <a:pt x="67" y="14"/>
                  <a:pt x="67" y="14"/>
                  <a:pt x="66" y="14"/>
                </a:cubicBezTo>
                <a:cubicBezTo>
                  <a:pt x="65" y="14"/>
                  <a:pt x="64" y="14"/>
                  <a:pt x="64" y="15"/>
                </a:cubicBezTo>
                <a:cubicBezTo>
                  <a:pt x="64" y="15"/>
                  <a:pt x="63" y="15"/>
                  <a:pt x="63" y="16"/>
                </a:cubicBezTo>
                <a:cubicBezTo>
                  <a:pt x="63" y="16"/>
                  <a:pt x="64" y="16"/>
                  <a:pt x="64" y="16"/>
                </a:cubicBezTo>
                <a:cubicBezTo>
                  <a:pt x="64" y="17"/>
                  <a:pt x="65" y="17"/>
                  <a:pt x="65" y="17"/>
                </a:cubicBezTo>
                <a:cubicBezTo>
                  <a:pt x="65" y="17"/>
                  <a:pt x="66" y="17"/>
                  <a:pt x="66" y="17"/>
                </a:cubicBezTo>
                <a:cubicBezTo>
                  <a:pt x="66" y="17"/>
                  <a:pt x="67" y="17"/>
                  <a:pt x="67" y="18"/>
                </a:cubicBezTo>
                <a:cubicBezTo>
                  <a:pt x="68" y="18"/>
                  <a:pt x="68" y="19"/>
                  <a:pt x="68" y="19"/>
                </a:cubicBezTo>
                <a:cubicBezTo>
                  <a:pt x="67" y="19"/>
                  <a:pt x="67" y="19"/>
                  <a:pt x="67" y="19"/>
                </a:cubicBezTo>
                <a:cubicBezTo>
                  <a:pt x="66" y="19"/>
                  <a:pt x="66" y="19"/>
                  <a:pt x="66" y="20"/>
                </a:cubicBezTo>
                <a:cubicBezTo>
                  <a:pt x="65" y="20"/>
                  <a:pt x="65" y="20"/>
                  <a:pt x="65" y="20"/>
                </a:cubicBezTo>
                <a:cubicBezTo>
                  <a:pt x="65" y="20"/>
                  <a:pt x="65" y="21"/>
                  <a:pt x="65" y="21"/>
                </a:cubicBezTo>
                <a:cubicBezTo>
                  <a:pt x="65" y="22"/>
                  <a:pt x="65" y="22"/>
                  <a:pt x="65" y="23"/>
                </a:cubicBezTo>
                <a:cubicBezTo>
                  <a:pt x="65" y="22"/>
                  <a:pt x="64" y="22"/>
                  <a:pt x="64" y="21"/>
                </a:cubicBezTo>
                <a:cubicBezTo>
                  <a:pt x="64" y="20"/>
                  <a:pt x="64" y="20"/>
                  <a:pt x="63" y="19"/>
                </a:cubicBezTo>
                <a:cubicBezTo>
                  <a:pt x="64" y="20"/>
                  <a:pt x="63" y="20"/>
                  <a:pt x="61" y="20"/>
                </a:cubicBezTo>
                <a:cubicBezTo>
                  <a:pt x="60" y="20"/>
                  <a:pt x="60" y="20"/>
                  <a:pt x="60" y="20"/>
                </a:cubicBezTo>
                <a:cubicBezTo>
                  <a:pt x="60" y="20"/>
                  <a:pt x="59" y="20"/>
                  <a:pt x="59" y="20"/>
                </a:cubicBezTo>
                <a:cubicBezTo>
                  <a:pt x="58" y="20"/>
                  <a:pt x="57" y="20"/>
                  <a:pt x="57" y="20"/>
                </a:cubicBezTo>
                <a:cubicBezTo>
                  <a:pt x="56" y="20"/>
                  <a:pt x="56" y="20"/>
                  <a:pt x="55" y="19"/>
                </a:cubicBezTo>
                <a:cubicBezTo>
                  <a:pt x="55" y="19"/>
                  <a:pt x="55" y="18"/>
                  <a:pt x="55" y="18"/>
                </a:cubicBezTo>
                <a:cubicBezTo>
                  <a:pt x="55" y="17"/>
                  <a:pt x="56" y="17"/>
                  <a:pt x="56" y="17"/>
                </a:cubicBezTo>
                <a:cubicBezTo>
                  <a:pt x="55" y="17"/>
                  <a:pt x="55" y="17"/>
                  <a:pt x="55" y="16"/>
                </a:cubicBezTo>
                <a:cubicBezTo>
                  <a:pt x="54" y="16"/>
                  <a:pt x="54" y="16"/>
                  <a:pt x="54" y="16"/>
                </a:cubicBezTo>
                <a:cubicBezTo>
                  <a:pt x="51" y="17"/>
                  <a:pt x="48" y="18"/>
                  <a:pt x="45" y="20"/>
                </a:cubicBezTo>
                <a:cubicBezTo>
                  <a:pt x="45" y="20"/>
                  <a:pt x="46" y="20"/>
                  <a:pt x="46" y="19"/>
                </a:cubicBezTo>
                <a:cubicBezTo>
                  <a:pt x="46" y="19"/>
                  <a:pt x="47" y="19"/>
                  <a:pt x="47" y="19"/>
                </a:cubicBezTo>
                <a:cubicBezTo>
                  <a:pt x="48" y="19"/>
                  <a:pt x="48" y="18"/>
                  <a:pt x="48" y="18"/>
                </a:cubicBezTo>
                <a:cubicBezTo>
                  <a:pt x="50" y="17"/>
                  <a:pt x="52" y="17"/>
                  <a:pt x="52" y="18"/>
                </a:cubicBezTo>
                <a:cubicBezTo>
                  <a:pt x="53" y="17"/>
                  <a:pt x="53" y="17"/>
                  <a:pt x="53" y="17"/>
                </a:cubicBezTo>
                <a:cubicBezTo>
                  <a:pt x="53" y="18"/>
                  <a:pt x="54" y="19"/>
                  <a:pt x="54" y="20"/>
                </a:cubicBezTo>
                <a:cubicBezTo>
                  <a:pt x="54" y="19"/>
                  <a:pt x="53" y="19"/>
                  <a:pt x="52" y="19"/>
                </a:cubicBezTo>
                <a:cubicBezTo>
                  <a:pt x="50" y="20"/>
                  <a:pt x="50" y="20"/>
                  <a:pt x="50" y="21"/>
                </a:cubicBezTo>
                <a:cubicBezTo>
                  <a:pt x="50" y="21"/>
                  <a:pt x="50" y="22"/>
                  <a:pt x="50" y="22"/>
                </a:cubicBezTo>
                <a:cubicBezTo>
                  <a:pt x="50" y="22"/>
                  <a:pt x="49" y="22"/>
                  <a:pt x="49" y="21"/>
                </a:cubicBezTo>
                <a:cubicBezTo>
                  <a:pt x="48" y="21"/>
                  <a:pt x="48" y="21"/>
                  <a:pt x="48" y="20"/>
                </a:cubicBezTo>
                <a:cubicBezTo>
                  <a:pt x="47" y="20"/>
                  <a:pt x="47" y="20"/>
                  <a:pt x="46" y="20"/>
                </a:cubicBezTo>
                <a:cubicBezTo>
                  <a:pt x="45" y="20"/>
                  <a:pt x="44" y="20"/>
                  <a:pt x="44" y="20"/>
                </a:cubicBezTo>
                <a:cubicBezTo>
                  <a:pt x="35" y="25"/>
                  <a:pt x="27" y="32"/>
                  <a:pt x="22" y="41"/>
                </a:cubicBezTo>
                <a:cubicBezTo>
                  <a:pt x="22" y="41"/>
                  <a:pt x="23" y="42"/>
                  <a:pt x="23" y="42"/>
                </a:cubicBezTo>
                <a:cubicBezTo>
                  <a:pt x="23" y="42"/>
                  <a:pt x="23" y="42"/>
                  <a:pt x="23" y="42"/>
                </a:cubicBezTo>
                <a:cubicBezTo>
                  <a:pt x="24" y="43"/>
                  <a:pt x="24" y="43"/>
                  <a:pt x="24" y="44"/>
                </a:cubicBezTo>
                <a:cubicBezTo>
                  <a:pt x="24" y="44"/>
                  <a:pt x="24" y="44"/>
                  <a:pt x="25" y="43"/>
                </a:cubicBezTo>
                <a:cubicBezTo>
                  <a:pt x="25" y="44"/>
                  <a:pt x="25" y="44"/>
                  <a:pt x="25" y="45"/>
                </a:cubicBezTo>
                <a:cubicBezTo>
                  <a:pt x="25" y="45"/>
                  <a:pt x="27" y="46"/>
                  <a:pt x="29" y="48"/>
                </a:cubicBezTo>
                <a:cubicBezTo>
                  <a:pt x="30" y="49"/>
                  <a:pt x="31" y="49"/>
                  <a:pt x="31" y="50"/>
                </a:cubicBezTo>
                <a:cubicBezTo>
                  <a:pt x="31" y="50"/>
                  <a:pt x="31" y="51"/>
                  <a:pt x="30" y="51"/>
                </a:cubicBezTo>
                <a:cubicBezTo>
                  <a:pt x="30" y="51"/>
                  <a:pt x="30" y="51"/>
                  <a:pt x="29" y="50"/>
                </a:cubicBezTo>
                <a:cubicBezTo>
                  <a:pt x="29" y="50"/>
                  <a:pt x="29" y="50"/>
                  <a:pt x="29" y="50"/>
                </a:cubicBezTo>
                <a:cubicBezTo>
                  <a:pt x="28" y="50"/>
                  <a:pt x="28" y="51"/>
                  <a:pt x="29" y="52"/>
                </a:cubicBezTo>
                <a:cubicBezTo>
                  <a:pt x="29" y="53"/>
                  <a:pt x="29" y="53"/>
                  <a:pt x="30" y="53"/>
                </a:cubicBezTo>
                <a:cubicBezTo>
                  <a:pt x="29" y="53"/>
                  <a:pt x="29" y="53"/>
                  <a:pt x="29" y="55"/>
                </a:cubicBezTo>
                <a:cubicBezTo>
                  <a:pt x="29" y="56"/>
                  <a:pt x="28" y="57"/>
                  <a:pt x="28" y="58"/>
                </a:cubicBezTo>
                <a:cubicBezTo>
                  <a:pt x="28" y="59"/>
                  <a:pt x="28" y="60"/>
                  <a:pt x="28" y="60"/>
                </a:cubicBezTo>
                <a:cubicBezTo>
                  <a:pt x="29" y="60"/>
                  <a:pt x="29" y="60"/>
                  <a:pt x="29" y="60"/>
                </a:cubicBezTo>
                <a:cubicBezTo>
                  <a:pt x="28" y="61"/>
                  <a:pt x="29" y="62"/>
                  <a:pt x="29" y="63"/>
                </a:cubicBezTo>
                <a:cubicBezTo>
                  <a:pt x="30" y="65"/>
                  <a:pt x="30" y="65"/>
                  <a:pt x="31" y="65"/>
                </a:cubicBezTo>
                <a:cubicBezTo>
                  <a:pt x="30" y="65"/>
                  <a:pt x="31" y="67"/>
                  <a:pt x="33" y="69"/>
                </a:cubicBezTo>
                <a:cubicBezTo>
                  <a:pt x="33" y="70"/>
                  <a:pt x="34" y="70"/>
                  <a:pt x="34" y="70"/>
                </a:cubicBezTo>
                <a:cubicBezTo>
                  <a:pt x="34" y="70"/>
                  <a:pt x="34" y="71"/>
                  <a:pt x="35" y="71"/>
                </a:cubicBezTo>
                <a:cubicBezTo>
                  <a:pt x="35" y="71"/>
                  <a:pt x="36" y="72"/>
                  <a:pt x="36" y="72"/>
                </a:cubicBezTo>
                <a:cubicBezTo>
                  <a:pt x="37" y="72"/>
                  <a:pt x="37" y="72"/>
                  <a:pt x="37" y="73"/>
                </a:cubicBezTo>
                <a:cubicBezTo>
                  <a:pt x="38" y="73"/>
                  <a:pt x="38" y="74"/>
                  <a:pt x="38" y="75"/>
                </a:cubicBezTo>
                <a:cubicBezTo>
                  <a:pt x="39" y="76"/>
                  <a:pt x="39" y="77"/>
                  <a:pt x="40" y="77"/>
                </a:cubicBezTo>
                <a:cubicBezTo>
                  <a:pt x="39" y="78"/>
                  <a:pt x="40" y="78"/>
                  <a:pt x="40" y="79"/>
                </a:cubicBezTo>
                <a:cubicBezTo>
                  <a:pt x="41" y="80"/>
                  <a:pt x="41" y="81"/>
                  <a:pt x="41" y="81"/>
                </a:cubicBezTo>
                <a:cubicBezTo>
                  <a:pt x="41" y="81"/>
                  <a:pt x="41" y="81"/>
                  <a:pt x="41" y="81"/>
                </a:cubicBezTo>
                <a:cubicBezTo>
                  <a:pt x="41" y="81"/>
                  <a:pt x="41" y="81"/>
                  <a:pt x="41" y="81"/>
                </a:cubicBezTo>
                <a:cubicBezTo>
                  <a:pt x="41" y="82"/>
                  <a:pt x="42" y="82"/>
                  <a:pt x="42" y="83"/>
                </a:cubicBezTo>
                <a:cubicBezTo>
                  <a:pt x="43" y="83"/>
                  <a:pt x="44" y="84"/>
                  <a:pt x="44" y="84"/>
                </a:cubicBezTo>
                <a:cubicBezTo>
                  <a:pt x="44" y="84"/>
                  <a:pt x="44" y="85"/>
                  <a:pt x="44" y="85"/>
                </a:cubicBezTo>
                <a:cubicBezTo>
                  <a:pt x="44" y="85"/>
                  <a:pt x="44" y="86"/>
                  <a:pt x="44" y="86"/>
                </a:cubicBezTo>
                <a:cubicBezTo>
                  <a:pt x="44" y="86"/>
                  <a:pt x="45" y="86"/>
                  <a:pt x="45" y="86"/>
                </a:cubicBezTo>
                <a:cubicBezTo>
                  <a:pt x="45" y="85"/>
                  <a:pt x="44" y="83"/>
                  <a:pt x="43" y="80"/>
                </a:cubicBezTo>
                <a:cubicBezTo>
                  <a:pt x="42" y="79"/>
                  <a:pt x="41" y="78"/>
                  <a:pt x="41" y="78"/>
                </a:cubicBezTo>
                <a:cubicBezTo>
                  <a:pt x="41" y="77"/>
                  <a:pt x="41" y="77"/>
                  <a:pt x="41" y="76"/>
                </a:cubicBezTo>
                <a:cubicBezTo>
                  <a:pt x="41" y="75"/>
                  <a:pt x="40" y="75"/>
                  <a:pt x="40" y="75"/>
                </a:cubicBezTo>
                <a:cubicBezTo>
                  <a:pt x="40" y="75"/>
                  <a:pt x="41" y="75"/>
                  <a:pt x="41" y="75"/>
                </a:cubicBezTo>
                <a:cubicBezTo>
                  <a:pt x="41" y="75"/>
                  <a:pt x="41" y="75"/>
                  <a:pt x="42" y="75"/>
                </a:cubicBezTo>
                <a:cubicBezTo>
                  <a:pt x="42" y="75"/>
                  <a:pt x="42" y="75"/>
                  <a:pt x="42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2" y="76"/>
                  <a:pt x="42" y="77"/>
                  <a:pt x="43" y="78"/>
                </a:cubicBezTo>
                <a:cubicBezTo>
                  <a:pt x="43" y="78"/>
                  <a:pt x="43" y="79"/>
                  <a:pt x="44" y="79"/>
                </a:cubicBezTo>
                <a:cubicBezTo>
                  <a:pt x="44" y="80"/>
                  <a:pt x="45" y="80"/>
                  <a:pt x="45" y="81"/>
                </a:cubicBezTo>
                <a:cubicBezTo>
                  <a:pt x="46" y="82"/>
                  <a:pt x="47" y="82"/>
                  <a:pt x="47" y="82"/>
                </a:cubicBezTo>
                <a:cubicBezTo>
                  <a:pt x="47" y="83"/>
                  <a:pt x="47" y="83"/>
                  <a:pt x="48" y="84"/>
                </a:cubicBezTo>
                <a:cubicBezTo>
                  <a:pt x="48" y="85"/>
                  <a:pt x="48" y="85"/>
                  <a:pt x="48" y="85"/>
                </a:cubicBezTo>
                <a:cubicBezTo>
                  <a:pt x="49" y="85"/>
                  <a:pt x="49" y="86"/>
                  <a:pt x="50" y="86"/>
                </a:cubicBezTo>
                <a:cubicBezTo>
                  <a:pt x="51" y="87"/>
                  <a:pt x="51" y="88"/>
                  <a:pt x="51" y="88"/>
                </a:cubicBezTo>
                <a:cubicBezTo>
                  <a:pt x="52" y="89"/>
                  <a:pt x="52" y="90"/>
                  <a:pt x="52" y="91"/>
                </a:cubicBezTo>
                <a:cubicBezTo>
                  <a:pt x="52" y="92"/>
                  <a:pt x="53" y="93"/>
                  <a:pt x="53" y="93"/>
                </a:cubicBezTo>
                <a:cubicBezTo>
                  <a:pt x="53" y="93"/>
                  <a:pt x="53" y="94"/>
                  <a:pt x="53" y="94"/>
                </a:cubicBezTo>
                <a:cubicBezTo>
                  <a:pt x="54" y="95"/>
                  <a:pt x="54" y="95"/>
                  <a:pt x="55" y="95"/>
                </a:cubicBezTo>
                <a:cubicBezTo>
                  <a:pt x="55" y="95"/>
                  <a:pt x="56" y="96"/>
                  <a:pt x="56" y="96"/>
                </a:cubicBezTo>
                <a:cubicBezTo>
                  <a:pt x="57" y="96"/>
                  <a:pt x="57" y="96"/>
                  <a:pt x="57" y="97"/>
                </a:cubicBezTo>
                <a:cubicBezTo>
                  <a:pt x="58" y="97"/>
                  <a:pt x="58" y="97"/>
                  <a:pt x="59" y="98"/>
                </a:cubicBezTo>
                <a:cubicBezTo>
                  <a:pt x="60" y="98"/>
                  <a:pt x="61" y="98"/>
                  <a:pt x="61" y="99"/>
                </a:cubicBezTo>
                <a:cubicBezTo>
                  <a:pt x="62" y="99"/>
                  <a:pt x="62" y="99"/>
                  <a:pt x="63" y="99"/>
                </a:cubicBezTo>
                <a:cubicBezTo>
                  <a:pt x="63" y="99"/>
                  <a:pt x="64" y="99"/>
                  <a:pt x="64" y="99"/>
                </a:cubicBezTo>
                <a:cubicBezTo>
                  <a:pt x="65" y="99"/>
                  <a:pt x="65" y="99"/>
                  <a:pt x="65" y="98"/>
                </a:cubicBezTo>
                <a:cubicBezTo>
                  <a:pt x="66" y="98"/>
                  <a:pt x="67" y="99"/>
                  <a:pt x="68" y="100"/>
                </a:cubicBezTo>
                <a:cubicBezTo>
                  <a:pt x="69" y="101"/>
                  <a:pt x="70" y="102"/>
                  <a:pt x="70" y="102"/>
                </a:cubicBezTo>
                <a:cubicBezTo>
                  <a:pt x="72" y="103"/>
                  <a:pt x="74" y="103"/>
                  <a:pt x="75" y="103"/>
                </a:cubicBezTo>
                <a:cubicBezTo>
                  <a:pt x="75" y="103"/>
                  <a:pt x="75" y="103"/>
                  <a:pt x="75" y="104"/>
                </a:cubicBezTo>
                <a:cubicBezTo>
                  <a:pt x="75" y="104"/>
                  <a:pt x="76" y="105"/>
                  <a:pt x="76" y="105"/>
                </a:cubicBezTo>
                <a:cubicBezTo>
                  <a:pt x="76" y="106"/>
                  <a:pt x="77" y="106"/>
                  <a:pt x="77" y="106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8"/>
                  <a:pt x="78" y="108"/>
                  <a:pt x="79" y="109"/>
                </a:cubicBezTo>
                <a:cubicBezTo>
                  <a:pt x="80" y="109"/>
                  <a:pt x="81" y="110"/>
                  <a:pt x="81" y="110"/>
                </a:cubicBezTo>
                <a:cubicBezTo>
                  <a:pt x="81" y="110"/>
                  <a:pt x="81" y="110"/>
                  <a:pt x="82" y="109"/>
                </a:cubicBezTo>
                <a:cubicBezTo>
                  <a:pt x="81" y="110"/>
                  <a:pt x="82" y="110"/>
                  <a:pt x="82" y="111"/>
                </a:cubicBezTo>
                <a:cubicBezTo>
                  <a:pt x="83" y="112"/>
                  <a:pt x="83" y="112"/>
                  <a:pt x="84" y="112"/>
                </a:cubicBezTo>
                <a:cubicBezTo>
                  <a:pt x="85" y="112"/>
                  <a:pt x="85" y="111"/>
                  <a:pt x="85" y="109"/>
                </a:cubicBezTo>
                <a:cubicBezTo>
                  <a:pt x="83" y="110"/>
                  <a:pt x="82" y="109"/>
                  <a:pt x="81" y="107"/>
                </a:cubicBezTo>
                <a:cubicBezTo>
                  <a:pt x="81" y="107"/>
                  <a:pt x="80" y="107"/>
                  <a:pt x="80" y="107"/>
                </a:cubicBezTo>
                <a:cubicBezTo>
                  <a:pt x="80" y="107"/>
                  <a:pt x="80" y="106"/>
                  <a:pt x="80" y="106"/>
                </a:cubicBezTo>
                <a:cubicBezTo>
                  <a:pt x="80" y="106"/>
                  <a:pt x="80" y="106"/>
                  <a:pt x="80" y="105"/>
                </a:cubicBezTo>
                <a:cubicBezTo>
                  <a:pt x="80" y="105"/>
                  <a:pt x="80" y="105"/>
                  <a:pt x="80" y="105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81" y="104"/>
                  <a:pt x="81" y="104"/>
                  <a:pt x="81" y="104"/>
                </a:cubicBezTo>
                <a:cubicBezTo>
                  <a:pt x="81" y="104"/>
                  <a:pt x="81" y="103"/>
                  <a:pt x="81" y="103"/>
                </a:cubicBezTo>
                <a:cubicBezTo>
                  <a:pt x="81" y="102"/>
                  <a:pt x="81" y="102"/>
                  <a:pt x="81" y="101"/>
                </a:cubicBezTo>
                <a:cubicBezTo>
                  <a:pt x="81" y="101"/>
                  <a:pt x="80" y="100"/>
                  <a:pt x="80" y="100"/>
                </a:cubicBezTo>
                <a:cubicBezTo>
                  <a:pt x="79" y="99"/>
                  <a:pt x="79" y="98"/>
                  <a:pt x="78" y="98"/>
                </a:cubicBezTo>
                <a:cubicBezTo>
                  <a:pt x="78" y="99"/>
                  <a:pt x="78" y="99"/>
                  <a:pt x="77" y="99"/>
                </a:cubicBezTo>
                <a:cubicBezTo>
                  <a:pt x="76" y="99"/>
                  <a:pt x="76" y="99"/>
                  <a:pt x="75" y="98"/>
                </a:cubicBezTo>
                <a:cubicBezTo>
                  <a:pt x="75" y="98"/>
                  <a:pt x="75" y="98"/>
                  <a:pt x="75" y="99"/>
                </a:cubicBezTo>
                <a:cubicBezTo>
                  <a:pt x="75" y="99"/>
                  <a:pt x="75" y="99"/>
                  <a:pt x="75" y="99"/>
                </a:cubicBezTo>
                <a:cubicBezTo>
                  <a:pt x="74" y="99"/>
                  <a:pt x="74" y="99"/>
                  <a:pt x="74" y="99"/>
                </a:cubicBezTo>
                <a:cubicBezTo>
                  <a:pt x="74" y="99"/>
                  <a:pt x="74" y="98"/>
                  <a:pt x="74" y="97"/>
                </a:cubicBezTo>
                <a:cubicBezTo>
                  <a:pt x="74" y="97"/>
                  <a:pt x="74" y="96"/>
                  <a:pt x="74" y="95"/>
                </a:cubicBezTo>
                <a:cubicBezTo>
                  <a:pt x="74" y="95"/>
                  <a:pt x="74" y="95"/>
                  <a:pt x="75" y="94"/>
                </a:cubicBezTo>
                <a:cubicBezTo>
                  <a:pt x="75" y="94"/>
                  <a:pt x="75" y="93"/>
                  <a:pt x="75" y="93"/>
                </a:cubicBezTo>
                <a:cubicBezTo>
                  <a:pt x="76" y="92"/>
                  <a:pt x="76" y="92"/>
                  <a:pt x="76" y="92"/>
                </a:cubicBezTo>
                <a:cubicBezTo>
                  <a:pt x="76" y="91"/>
                  <a:pt x="76" y="91"/>
                  <a:pt x="75" y="91"/>
                </a:cubicBezTo>
                <a:cubicBezTo>
                  <a:pt x="75" y="91"/>
                  <a:pt x="75" y="90"/>
                  <a:pt x="74" y="91"/>
                </a:cubicBezTo>
                <a:cubicBezTo>
                  <a:pt x="73" y="91"/>
                  <a:pt x="72" y="91"/>
                  <a:pt x="71" y="92"/>
                </a:cubicBezTo>
                <a:cubicBezTo>
                  <a:pt x="71" y="93"/>
                  <a:pt x="71" y="93"/>
                  <a:pt x="71" y="93"/>
                </a:cubicBezTo>
                <a:cubicBezTo>
                  <a:pt x="71" y="94"/>
                  <a:pt x="71" y="94"/>
                  <a:pt x="71" y="94"/>
                </a:cubicBezTo>
                <a:cubicBezTo>
                  <a:pt x="70" y="95"/>
                  <a:pt x="70" y="95"/>
                  <a:pt x="70" y="95"/>
                </a:cubicBezTo>
                <a:cubicBezTo>
                  <a:pt x="69" y="95"/>
                  <a:pt x="69" y="95"/>
                  <a:pt x="67" y="95"/>
                </a:cubicBezTo>
                <a:cubicBezTo>
                  <a:pt x="66" y="95"/>
                  <a:pt x="66" y="95"/>
                  <a:pt x="65" y="95"/>
                </a:cubicBezTo>
                <a:cubicBezTo>
                  <a:pt x="64" y="94"/>
                  <a:pt x="64" y="93"/>
                  <a:pt x="63" y="92"/>
                </a:cubicBezTo>
                <a:cubicBezTo>
                  <a:pt x="62" y="91"/>
                  <a:pt x="62" y="90"/>
                  <a:pt x="62" y="89"/>
                </a:cubicBezTo>
                <a:cubicBezTo>
                  <a:pt x="62" y="88"/>
                  <a:pt x="62" y="87"/>
                  <a:pt x="62" y="86"/>
                </a:cubicBezTo>
                <a:cubicBezTo>
                  <a:pt x="63" y="85"/>
                  <a:pt x="63" y="84"/>
                  <a:pt x="63" y="84"/>
                </a:cubicBezTo>
                <a:cubicBezTo>
                  <a:pt x="63" y="83"/>
                  <a:pt x="63" y="82"/>
                  <a:pt x="62" y="81"/>
                </a:cubicBezTo>
                <a:cubicBezTo>
                  <a:pt x="62" y="81"/>
                  <a:pt x="63" y="81"/>
                  <a:pt x="63" y="81"/>
                </a:cubicBezTo>
                <a:cubicBezTo>
                  <a:pt x="63" y="80"/>
                  <a:pt x="64" y="80"/>
                  <a:pt x="64" y="80"/>
                </a:cubicBezTo>
                <a:cubicBezTo>
                  <a:pt x="64" y="79"/>
                  <a:pt x="64" y="79"/>
                  <a:pt x="64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79"/>
                  <a:pt x="65" y="79"/>
                  <a:pt x="65" y="78"/>
                </a:cubicBezTo>
                <a:cubicBezTo>
                  <a:pt x="65" y="78"/>
                  <a:pt x="65" y="78"/>
                  <a:pt x="65" y="78"/>
                </a:cubicBezTo>
                <a:cubicBezTo>
                  <a:pt x="65" y="78"/>
                  <a:pt x="66" y="78"/>
                  <a:pt x="67" y="78"/>
                </a:cubicBezTo>
                <a:cubicBezTo>
                  <a:pt x="69" y="78"/>
                  <a:pt x="70" y="78"/>
                  <a:pt x="70" y="78"/>
                </a:cubicBezTo>
                <a:cubicBezTo>
                  <a:pt x="71" y="79"/>
                  <a:pt x="72" y="79"/>
                  <a:pt x="72" y="78"/>
                </a:cubicBezTo>
                <a:cubicBezTo>
                  <a:pt x="72" y="78"/>
                  <a:pt x="72" y="78"/>
                  <a:pt x="72" y="77"/>
                </a:cubicBezTo>
                <a:cubicBezTo>
                  <a:pt x="72" y="77"/>
                  <a:pt x="72" y="76"/>
                  <a:pt x="72" y="76"/>
                </a:cubicBezTo>
                <a:cubicBezTo>
                  <a:pt x="72" y="77"/>
                  <a:pt x="73" y="78"/>
                  <a:pt x="75" y="77"/>
                </a:cubicBezTo>
                <a:cubicBezTo>
                  <a:pt x="75" y="77"/>
                  <a:pt x="75" y="77"/>
                  <a:pt x="76" y="77"/>
                </a:cubicBezTo>
                <a:cubicBezTo>
                  <a:pt x="77" y="77"/>
                  <a:pt x="77" y="77"/>
                  <a:pt x="78" y="78"/>
                </a:cubicBezTo>
                <a:cubicBezTo>
                  <a:pt x="78" y="78"/>
                  <a:pt x="78" y="78"/>
                  <a:pt x="78" y="78"/>
                </a:cubicBezTo>
                <a:cubicBezTo>
                  <a:pt x="79" y="78"/>
                  <a:pt x="79" y="78"/>
                  <a:pt x="79" y="79"/>
                </a:cubicBezTo>
                <a:cubicBezTo>
                  <a:pt x="79" y="79"/>
                  <a:pt x="79" y="79"/>
                  <a:pt x="79" y="78"/>
                </a:cubicBezTo>
                <a:cubicBezTo>
                  <a:pt x="80" y="78"/>
                  <a:pt x="80" y="78"/>
                  <a:pt x="80" y="78"/>
                </a:cubicBezTo>
                <a:cubicBezTo>
                  <a:pt x="81" y="79"/>
                  <a:pt x="81" y="79"/>
                  <a:pt x="81" y="80"/>
                </a:cubicBezTo>
                <a:cubicBezTo>
                  <a:pt x="82" y="83"/>
                  <a:pt x="83" y="84"/>
                  <a:pt x="83" y="84"/>
                </a:cubicBezTo>
                <a:cubicBezTo>
                  <a:pt x="83" y="84"/>
                  <a:pt x="84" y="85"/>
                  <a:pt x="84" y="84"/>
                </a:cubicBezTo>
                <a:cubicBezTo>
                  <a:pt x="84" y="84"/>
                  <a:pt x="84" y="84"/>
                  <a:pt x="84" y="84"/>
                </a:cubicBezTo>
                <a:cubicBezTo>
                  <a:pt x="85" y="83"/>
                  <a:pt x="85" y="83"/>
                  <a:pt x="84" y="82"/>
                </a:cubicBezTo>
                <a:cubicBezTo>
                  <a:pt x="84" y="82"/>
                  <a:pt x="84" y="82"/>
                  <a:pt x="84" y="81"/>
                </a:cubicBezTo>
                <a:cubicBezTo>
                  <a:pt x="84" y="80"/>
                  <a:pt x="84" y="80"/>
                  <a:pt x="84" y="80"/>
                </a:cubicBezTo>
                <a:cubicBezTo>
                  <a:pt x="84" y="80"/>
                  <a:pt x="84" y="79"/>
                  <a:pt x="84" y="79"/>
                </a:cubicBezTo>
                <a:cubicBezTo>
                  <a:pt x="84" y="78"/>
                  <a:pt x="84" y="78"/>
                  <a:pt x="84" y="78"/>
                </a:cubicBezTo>
                <a:cubicBezTo>
                  <a:pt x="83" y="78"/>
                  <a:pt x="83" y="77"/>
                  <a:pt x="82" y="77"/>
                </a:cubicBezTo>
                <a:cubicBezTo>
                  <a:pt x="82" y="76"/>
                  <a:pt x="82" y="76"/>
                  <a:pt x="83" y="75"/>
                </a:cubicBezTo>
                <a:cubicBezTo>
                  <a:pt x="83" y="74"/>
                  <a:pt x="83" y="74"/>
                  <a:pt x="84" y="73"/>
                </a:cubicBezTo>
                <a:cubicBezTo>
                  <a:pt x="84" y="73"/>
                  <a:pt x="84" y="73"/>
                  <a:pt x="85" y="73"/>
                </a:cubicBezTo>
                <a:cubicBezTo>
                  <a:pt x="85" y="73"/>
                  <a:pt x="86" y="73"/>
                  <a:pt x="86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9" y="70"/>
                  <a:pt x="89" y="69"/>
                  <a:pt x="89" y="68"/>
                </a:cubicBezTo>
                <a:cubicBezTo>
                  <a:pt x="89" y="68"/>
                  <a:pt x="90" y="68"/>
                  <a:pt x="90" y="67"/>
                </a:cubicBezTo>
                <a:cubicBezTo>
                  <a:pt x="90" y="67"/>
                  <a:pt x="90" y="67"/>
                  <a:pt x="89" y="67"/>
                </a:cubicBezTo>
                <a:cubicBezTo>
                  <a:pt x="89" y="67"/>
                  <a:pt x="89" y="67"/>
                  <a:pt x="89" y="67"/>
                </a:cubicBezTo>
                <a:cubicBezTo>
                  <a:pt x="88" y="66"/>
                  <a:pt x="88" y="66"/>
                  <a:pt x="88" y="66"/>
                </a:cubicBezTo>
                <a:cubicBezTo>
                  <a:pt x="89" y="66"/>
                  <a:pt x="89" y="66"/>
                  <a:pt x="88" y="65"/>
                </a:cubicBezTo>
                <a:cubicBezTo>
                  <a:pt x="89" y="65"/>
                  <a:pt x="89" y="64"/>
                  <a:pt x="89" y="64"/>
                </a:cubicBezTo>
                <a:cubicBezTo>
                  <a:pt x="89" y="63"/>
                  <a:pt x="90" y="63"/>
                  <a:pt x="90" y="63"/>
                </a:cubicBezTo>
                <a:cubicBezTo>
                  <a:pt x="90" y="64"/>
                  <a:pt x="91" y="64"/>
                  <a:pt x="92" y="63"/>
                </a:cubicBezTo>
                <a:cubicBezTo>
                  <a:pt x="92" y="63"/>
                  <a:pt x="92" y="62"/>
                  <a:pt x="92" y="62"/>
                </a:cubicBezTo>
                <a:cubicBezTo>
                  <a:pt x="92" y="61"/>
                  <a:pt x="93" y="61"/>
                  <a:pt x="94" y="61"/>
                </a:cubicBezTo>
                <a:cubicBezTo>
                  <a:pt x="95" y="60"/>
                  <a:pt x="95" y="60"/>
                  <a:pt x="96" y="60"/>
                </a:cubicBezTo>
                <a:cubicBezTo>
                  <a:pt x="96" y="60"/>
                  <a:pt x="96" y="60"/>
                  <a:pt x="96" y="60"/>
                </a:cubicBezTo>
                <a:cubicBezTo>
                  <a:pt x="96" y="59"/>
                  <a:pt x="96" y="59"/>
                  <a:pt x="96" y="58"/>
                </a:cubicBezTo>
                <a:cubicBezTo>
                  <a:pt x="96" y="58"/>
                  <a:pt x="97" y="57"/>
                  <a:pt x="97" y="57"/>
                </a:cubicBezTo>
                <a:cubicBezTo>
                  <a:pt x="97" y="57"/>
                  <a:pt x="97" y="57"/>
                  <a:pt x="98" y="56"/>
                </a:cubicBezTo>
                <a:cubicBezTo>
                  <a:pt x="99" y="56"/>
                  <a:pt x="99" y="56"/>
                  <a:pt x="99" y="56"/>
                </a:cubicBezTo>
                <a:cubicBezTo>
                  <a:pt x="101" y="55"/>
                  <a:pt x="101" y="55"/>
                  <a:pt x="101" y="55"/>
                </a:cubicBezTo>
                <a:cubicBezTo>
                  <a:pt x="101" y="55"/>
                  <a:pt x="101" y="55"/>
                  <a:pt x="101" y="55"/>
                </a:cubicBezTo>
                <a:cubicBezTo>
                  <a:pt x="102" y="55"/>
                  <a:pt x="103" y="54"/>
                  <a:pt x="104" y="53"/>
                </a:cubicBezTo>
                <a:cubicBezTo>
                  <a:pt x="105" y="53"/>
                  <a:pt x="104" y="52"/>
                  <a:pt x="103" y="52"/>
                </a:cubicBezTo>
                <a:cubicBezTo>
                  <a:pt x="104" y="51"/>
                  <a:pt x="103" y="51"/>
                  <a:pt x="103" y="51"/>
                </a:cubicBezTo>
                <a:cubicBezTo>
                  <a:pt x="103" y="50"/>
                  <a:pt x="102" y="50"/>
                  <a:pt x="102" y="50"/>
                </a:cubicBezTo>
                <a:cubicBezTo>
                  <a:pt x="102" y="50"/>
                  <a:pt x="102" y="50"/>
                  <a:pt x="103" y="50"/>
                </a:cubicBezTo>
                <a:cubicBezTo>
                  <a:pt x="103" y="50"/>
                  <a:pt x="104" y="50"/>
                  <a:pt x="104" y="50"/>
                </a:cubicBezTo>
                <a:cubicBezTo>
                  <a:pt x="105" y="49"/>
                  <a:pt x="104" y="49"/>
                  <a:pt x="103" y="48"/>
                </a:cubicBezTo>
                <a:cubicBezTo>
                  <a:pt x="102" y="48"/>
                  <a:pt x="101" y="49"/>
                  <a:pt x="99" y="50"/>
                </a:cubicBezTo>
                <a:close/>
                <a:moveTo>
                  <a:pt x="84" y="133"/>
                </a:moveTo>
                <a:cubicBezTo>
                  <a:pt x="97" y="130"/>
                  <a:pt x="108" y="124"/>
                  <a:pt x="117" y="115"/>
                </a:cubicBezTo>
                <a:cubicBezTo>
                  <a:pt x="117" y="114"/>
                  <a:pt x="116" y="114"/>
                  <a:pt x="116" y="114"/>
                </a:cubicBezTo>
                <a:cubicBezTo>
                  <a:pt x="115" y="114"/>
                  <a:pt x="115" y="114"/>
                  <a:pt x="114" y="114"/>
                </a:cubicBezTo>
                <a:cubicBezTo>
                  <a:pt x="113" y="113"/>
                  <a:pt x="113" y="113"/>
                  <a:pt x="112" y="113"/>
                </a:cubicBezTo>
                <a:cubicBezTo>
                  <a:pt x="112" y="113"/>
                  <a:pt x="112" y="112"/>
                  <a:pt x="112" y="112"/>
                </a:cubicBezTo>
                <a:cubicBezTo>
                  <a:pt x="112" y="112"/>
                  <a:pt x="111" y="111"/>
                  <a:pt x="111" y="111"/>
                </a:cubicBezTo>
                <a:cubicBezTo>
                  <a:pt x="111" y="111"/>
                  <a:pt x="110" y="111"/>
                  <a:pt x="110" y="110"/>
                </a:cubicBezTo>
                <a:cubicBezTo>
                  <a:pt x="109" y="110"/>
                  <a:pt x="109" y="110"/>
                  <a:pt x="109" y="110"/>
                </a:cubicBezTo>
                <a:cubicBezTo>
                  <a:pt x="109" y="109"/>
                  <a:pt x="109" y="109"/>
                  <a:pt x="108" y="109"/>
                </a:cubicBezTo>
                <a:cubicBezTo>
                  <a:pt x="108" y="109"/>
                  <a:pt x="108" y="109"/>
                  <a:pt x="108" y="109"/>
                </a:cubicBezTo>
                <a:cubicBezTo>
                  <a:pt x="107" y="108"/>
                  <a:pt x="107" y="108"/>
                  <a:pt x="107" y="108"/>
                </a:cubicBezTo>
                <a:cubicBezTo>
                  <a:pt x="107" y="108"/>
                  <a:pt x="106" y="108"/>
                  <a:pt x="106" y="108"/>
                </a:cubicBezTo>
                <a:cubicBezTo>
                  <a:pt x="106" y="108"/>
                  <a:pt x="106" y="108"/>
                  <a:pt x="105" y="108"/>
                </a:cubicBezTo>
                <a:cubicBezTo>
                  <a:pt x="105" y="108"/>
                  <a:pt x="105" y="108"/>
                  <a:pt x="105" y="108"/>
                </a:cubicBezTo>
                <a:cubicBezTo>
                  <a:pt x="105" y="108"/>
                  <a:pt x="105" y="108"/>
                  <a:pt x="104" y="108"/>
                </a:cubicBezTo>
                <a:cubicBezTo>
                  <a:pt x="104" y="108"/>
                  <a:pt x="104" y="109"/>
                  <a:pt x="104" y="109"/>
                </a:cubicBezTo>
                <a:cubicBezTo>
                  <a:pt x="104" y="109"/>
                  <a:pt x="104" y="109"/>
                  <a:pt x="103" y="109"/>
                </a:cubicBezTo>
                <a:cubicBezTo>
                  <a:pt x="103" y="109"/>
                  <a:pt x="103" y="109"/>
                  <a:pt x="103" y="109"/>
                </a:cubicBezTo>
                <a:cubicBezTo>
                  <a:pt x="102" y="108"/>
                  <a:pt x="101" y="107"/>
                  <a:pt x="100" y="107"/>
                </a:cubicBezTo>
                <a:cubicBezTo>
                  <a:pt x="100" y="107"/>
                  <a:pt x="99" y="107"/>
                  <a:pt x="99" y="107"/>
                </a:cubicBezTo>
                <a:cubicBezTo>
                  <a:pt x="99" y="106"/>
                  <a:pt x="98" y="106"/>
                  <a:pt x="98" y="106"/>
                </a:cubicBezTo>
                <a:cubicBezTo>
                  <a:pt x="98" y="106"/>
                  <a:pt x="97" y="106"/>
                  <a:pt x="97" y="106"/>
                </a:cubicBezTo>
                <a:cubicBezTo>
                  <a:pt x="97" y="106"/>
                  <a:pt x="96" y="106"/>
                  <a:pt x="96" y="106"/>
                </a:cubicBezTo>
                <a:cubicBezTo>
                  <a:pt x="96" y="107"/>
                  <a:pt x="95" y="107"/>
                  <a:pt x="95" y="108"/>
                </a:cubicBezTo>
                <a:cubicBezTo>
                  <a:pt x="95" y="108"/>
                  <a:pt x="95" y="109"/>
                  <a:pt x="95" y="109"/>
                </a:cubicBezTo>
                <a:cubicBezTo>
                  <a:pt x="95" y="109"/>
                  <a:pt x="95" y="108"/>
                  <a:pt x="95" y="107"/>
                </a:cubicBezTo>
                <a:cubicBezTo>
                  <a:pt x="96" y="107"/>
                  <a:pt x="96" y="106"/>
                  <a:pt x="95" y="106"/>
                </a:cubicBezTo>
                <a:cubicBezTo>
                  <a:pt x="95" y="105"/>
                  <a:pt x="95" y="105"/>
                  <a:pt x="94" y="105"/>
                </a:cubicBezTo>
                <a:cubicBezTo>
                  <a:pt x="94" y="105"/>
                  <a:pt x="94" y="105"/>
                  <a:pt x="93" y="106"/>
                </a:cubicBezTo>
                <a:cubicBezTo>
                  <a:pt x="93" y="106"/>
                  <a:pt x="93" y="106"/>
                  <a:pt x="92" y="106"/>
                </a:cubicBezTo>
                <a:cubicBezTo>
                  <a:pt x="92" y="107"/>
                  <a:pt x="91" y="107"/>
                  <a:pt x="91" y="107"/>
                </a:cubicBezTo>
                <a:cubicBezTo>
                  <a:pt x="91" y="107"/>
                  <a:pt x="91" y="107"/>
                  <a:pt x="91" y="108"/>
                </a:cubicBezTo>
                <a:cubicBezTo>
                  <a:pt x="90" y="108"/>
                  <a:pt x="90" y="108"/>
                  <a:pt x="90" y="108"/>
                </a:cubicBezTo>
                <a:cubicBezTo>
                  <a:pt x="90" y="109"/>
                  <a:pt x="89" y="109"/>
                  <a:pt x="89" y="109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89" y="110"/>
                  <a:pt x="88" y="110"/>
                  <a:pt x="88" y="110"/>
                </a:cubicBezTo>
                <a:cubicBezTo>
                  <a:pt x="87" y="110"/>
                  <a:pt x="87" y="110"/>
                  <a:pt x="87" y="109"/>
                </a:cubicBezTo>
                <a:cubicBezTo>
                  <a:pt x="87" y="110"/>
                  <a:pt x="87" y="111"/>
                  <a:pt x="87" y="113"/>
                </a:cubicBezTo>
                <a:cubicBezTo>
                  <a:pt x="87" y="114"/>
                  <a:pt x="87" y="115"/>
                  <a:pt x="88" y="116"/>
                </a:cubicBezTo>
                <a:cubicBezTo>
                  <a:pt x="88" y="118"/>
                  <a:pt x="88" y="120"/>
                  <a:pt x="86" y="121"/>
                </a:cubicBezTo>
                <a:cubicBezTo>
                  <a:pt x="85" y="122"/>
                  <a:pt x="84" y="124"/>
                  <a:pt x="84" y="125"/>
                </a:cubicBezTo>
                <a:cubicBezTo>
                  <a:pt x="83" y="126"/>
                  <a:pt x="84" y="127"/>
                  <a:pt x="85" y="127"/>
                </a:cubicBezTo>
                <a:cubicBezTo>
                  <a:pt x="85" y="127"/>
                  <a:pt x="85" y="128"/>
                  <a:pt x="84" y="129"/>
                </a:cubicBezTo>
                <a:cubicBezTo>
                  <a:pt x="84" y="130"/>
                  <a:pt x="83" y="130"/>
                  <a:pt x="83" y="131"/>
                </a:cubicBezTo>
                <a:cubicBezTo>
                  <a:pt x="83" y="131"/>
                  <a:pt x="83" y="132"/>
                  <a:pt x="84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8" name="Freeform 168"/>
          <p:cNvSpPr>
            <a:spLocks noChangeAspect="1" noEditPoints="1"/>
          </p:cNvSpPr>
          <p:nvPr/>
        </p:nvSpPr>
        <p:spPr bwMode="auto">
          <a:xfrm>
            <a:off x="2525115" y="2795218"/>
            <a:ext cx="162376" cy="160815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69" name="Freeform 169"/>
          <p:cNvSpPr>
            <a:spLocks noChangeAspect="1" noEditPoints="1"/>
          </p:cNvSpPr>
          <p:nvPr/>
        </p:nvSpPr>
        <p:spPr bwMode="auto">
          <a:xfrm>
            <a:off x="2729646" y="2795218"/>
            <a:ext cx="174866" cy="137395"/>
          </a:xfrm>
          <a:custGeom>
            <a:avLst/>
            <a:gdLst>
              <a:gd name="T0" fmla="*/ 169 w 169"/>
              <a:gd name="T1" fmla="*/ 6 h 133"/>
              <a:gd name="T2" fmla="*/ 169 w 169"/>
              <a:gd name="T3" fmla="*/ 31 h 133"/>
              <a:gd name="T4" fmla="*/ 167 w 169"/>
              <a:gd name="T5" fmla="*/ 35 h 133"/>
              <a:gd name="T6" fmla="*/ 163 w 169"/>
              <a:gd name="T7" fmla="*/ 37 h 133"/>
              <a:gd name="T8" fmla="*/ 6 w 169"/>
              <a:gd name="T9" fmla="*/ 37 h 133"/>
              <a:gd name="T10" fmla="*/ 1 w 169"/>
              <a:gd name="T11" fmla="*/ 35 h 133"/>
              <a:gd name="T12" fmla="*/ 0 w 169"/>
              <a:gd name="T13" fmla="*/ 31 h 133"/>
              <a:gd name="T14" fmla="*/ 0 w 169"/>
              <a:gd name="T15" fmla="*/ 6 h 133"/>
              <a:gd name="T16" fmla="*/ 1 w 169"/>
              <a:gd name="T17" fmla="*/ 2 h 133"/>
              <a:gd name="T18" fmla="*/ 6 w 169"/>
              <a:gd name="T19" fmla="*/ 0 h 133"/>
              <a:gd name="T20" fmla="*/ 163 w 169"/>
              <a:gd name="T21" fmla="*/ 0 h 133"/>
              <a:gd name="T22" fmla="*/ 167 w 169"/>
              <a:gd name="T23" fmla="*/ 2 h 133"/>
              <a:gd name="T24" fmla="*/ 169 w 169"/>
              <a:gd name="T25" fmla="*/ 6 h 133"/>
              <a:gd name="T26" fmla="*/ 169 w 169"/>
              <a:gd name="T27" fmla="*/ 55 h 133"/>
              <a:gd name="T28" fmla="*/ 169 w 169"/>
              <a:gd name="T29" fmla="*/ 79 h 133"/>
              <a:gd name="T30" fmla="*/ 167 w 169"/>
              <a:gd name="T31" fmla="*/ 83 h 133"/>
              <a:gd name="T32" fmla="*/ 163 w 169"/>
              <a:gd name="T33" fmla="*/ 85 h 133"/>
              <a:gd name="T34" fmla="*/ 6 w 169"/>
              <a:gd name="T35" fmla="*/ 85 h 133"/>
              <a:gd name="T36" fmla="*/ 1 w 169"/>
              <a:gd name="T37" fmla="*/ 83 h 133"/>
              <a:gd name="T38" fmla="*/ 0 w 169"/>
              <a:gd name="T39" fmla="*/ 79 h 133"/>
              <a:gd name="T40" fmla="*/ 0 w 169"/>
              <a:gd name="T41" fmla="*/ 55 h 133"/>
              <a:gd name="T42" fmla="*/ 1 w 169"/>
              <a:gd name="T43" fmla="*/ 51 h 133"/>
              <a:gd name="T44" fmla="*/ 6 w 169"/>
              <a:gd name="T45" fmla="*/ 49 h 133"/>
              <a:gd name="T46" fmla="*/ 163 w 169"/>
              <a:gd name="T47" fmla="*/ 49 h 133"/>
              <a:gd name="T48" fmla="*/ 167 w 169"/>
              <a:gd name="T49" fmla="*/ 51 h 133"/>
              <a:gd name="T50" fmla="*/ 169 w 169"/>
              <a:gd name="T51" fmla="*/ 55 h 133"/>
              <a:gd name="T52" fmla="*/ 169 w 169"/>
              <a:gd name="T53" fmla="*/ 103 h 133"/>
              <a:gd name="T54" fmla="*/ 169 w 169"/>
              <a:gd name="T55" fmla="*/ 127 h 133"/>
              <a:gd name="T56" fmla="*/ 167 w 169"/>
              <a:gd name="T57" fmla="*/ 132 h 133"/>
              <a:gd name="T58" fmla="*/ 163 w 169"/>
              <a:gd name="T59" fmla="*/ 133 h 133"/>
              <a:gd name="T60" fmla="*/ 6 w 169"/>
              <a:gd name="T61" fmla="*/ 133 h 133"/>
              <a:gd name="T62" fmla="*/ 1 w 169"/>
              <a:gd name="T63" fmla="*/ 132 h 133"/>
              <a:gd name="T64" fmla="*/ 0 w 169"/>
              <a:gd name="T65" fmla="*/ 127 h 133"/>
              <a:gd name="T66" fmla="*/ 0 w 169"/>
              <a:gd name="T67" fmla="*/ 103 h 133"/>
              <a:gd name="T68" fmla="*/ 1 w 169"/>
              <a:gd name="T69" fmla="*/ 99 h 133"/>
              <a:gd name="T70" fmla="*/ 6 w 169"/>
              <a:gd name="T71" fmla="*/ 97 h 133"/>
              <a:gd name="T72" fmla="*/ 163 w 169"/>
              <a:gd name="T73" fmla="*/ 97 h 133"/>
              <a:gd name="T74" fmla="*/ 167 w 169"/>
              <a:gd name="T75" fmla="*/ 99 h 133"/>
              <a:gd name="T76" fmla="*/ 169 w 169"/>
              <a:gd name="T77" fmla="*/ 103 h 133"/>
              <a:gd name="T78" fmla="*/ 60 w 169"/>
              <a:gd name="T79" fmla="*/ 73 h 133"/>
              <a:gd name="T80" fmla="*/ 157 w 169"/>
              <a:gd name="T81" fmla="*/ 73 h 133"/>
              <a:gd name="T82" fmla="*/ 157 w 169"/>
              <a:gd name="T83" fmla="*/ 61 h 133"/>
              <a:gd name="T84" fmla="*/ 60 w 169"/>
              <a:gd name="T85" fmla="*/ 61 h 133"/>
              <a:gd name="T86" fmla="*/ 60 w 169"/>
              <a:gd name="T87" fmla="*/ 73 h 133"/>
              <a:gd name="T88" fmla="*/ 96 w 169"/>
              <a:gd name="T89" fmla="*/ 121 h 133"/>
              <a:gd name="T90" fmla="*/ 157 w 169"/>
              <a:gd name="T91" fmla="*/ 121 h 133"/>
              <a:gd name="T92" fmla="*/ 157 w 169"/>
              <a:gd name="T93" fmla="*/ 109 h 133"/>
              <a:gd name="T94" fmla="*/ 96 w 169"/>
              <a:gd name="T95" fmla="*/ 109 h 133"/>
              <a:gd name="T96" fmla="*/ 96 w 169"/>
              <a:gd name="T97" fmla="*/ 121 h 133"/>
              <a:gd name="T98" fmla="*/ 121 w 169"/>
              <a:gd name="T99" fmla="*/ 25 h 133"/>
              <a:gd name="T100" fmla="*/ 157 w 169"/>
              <a:gd name="T101" fmla="*/ 25 h 133"/>
              <a:gd name="T102" fmla="*/ 157 w 169"/>
              <a:gd name="T103" fmla="*/ 12 h 133"/>
              <a:gd name="T104" fmla="*/ 121 w 169"/>
              <a:gd name="T105" fmla="*/ 12 h 133"/>
              <a:gd name="T106" fmla="*/ 121 w 169"/>
              <a:gd name="T107" fmla="*/ 2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69" h="133">
                <a:moveTo>
                  <a:pt x="169" y="6"/>
                </a:moveTo>
                <a:cubicBezTo>
                  <a:pt x="169" y="31"/>
                  <a:pt x="169" y="31"/>
                  <a:pt x="169" y="31"/>
                </a:cubicBezTo>
                <a:cubicBezTo>
                  <a:pt x="169" y="32"/>
                  <a:pt x="168" y="34"/>
                  <a:pt x="167" y="35"/>
                </a:cubicBezTo>
                <a:cubicBezTo>
                  <a:pt x="166" y="36"/>
                  <a:pt x="165" y="37"/>
                  <a:pt x="163" y="37"/>
                </a:cubicBezTo>
                <a:cubicBezTo>
                  <a:pt x="6" y="37"/>
                  <a:pt x="6" y="37"/>
                  <a:pt x="6" y="37"/>
                </a:cubicBezTo>
                <a:cubicBezTo>
                  <a:pt x="4" y="37"/>
                  <a:pt x="3" y="36"/>
                  <a:pt x="1" y="35"/>
                </a:cubicBezTo>
                <a:cubicBezTo>
                  <a:pt x="0" y="34"/>
                  <a:pt x="0" y="32"/>
                  <a:pt x="0" y="31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163" y="0"/>
                  <a:pt x="163" y="0"/>
                  <a:pt x="163" y="0"/>
                </a:cubicBezTo>
                <a:cubicBezTo>
                  <a:pt x="165" y="0"/>
                  <a:pt x="166" y="1"/>
                  <a:pt x="167" y="2"/>
                </a:cubicBezTo>
                <a:cubicBezTo>
                  <a:pt x="168" y="3"/>
                  <a:pt x="169" y="5"/>
                  <a:pt x="169" y="6"/>
                </a:cubicBezTo>
                <a:close/>
                <a:moveTo>
                  <a:pt x="169" y="55"/>
                </a:moveTo>
                <a:cubicBezTo>
                  <a:pt x="169" y="79"/>
                  <a:pt x="169" y="79"/>
                  <a:pt x="169" y="79"/>
                </a:cubicBezTo>
                <a:cubicBezTo>
                  <a:pt x="169" y="81"/>
                  <a:pt x="168" y="82"/>
                  <a:pt x="167" y="83"/>
                </a:cubicBezTo>
                <a:cubicBezTo>
                  <a:pt x="166" y="84"/>
                  <a:pt x="165" y="85"/>
                  <a:pt x="163" y="85"/>
                </a:cubicBezTo>
                <a:cubicBezTo>
                  <a:pt x="6" y="85"/>
                  <a:pt x="6" y="85"/>
                  <a:pt x="6" y="85"/>
                </a:cubicBezTo>
                <a:cubicBezTo>
                  <a:pt x="4" y="85"/>
                  <a:pt x="3" y="84"/>
                  <a:pt x="1" y="83"/>
                </a:cubicBezTo>
                <a:cubicBezTo>
                  <a:pt x="0" y="82"/>
                  <a:pt x="0" y="81"/>
                  <a:pt x="0" y="79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0" y="52"/>
                  <a:pt x="1" y="51"/>
                </a:cubicBezTo>
                <a:cubicBezTo>
                  <a:pt x="3" y="49"/>
                  <a:pt x="4" y="49"/>
                  <a:pt x="6" y="49"/>
                </a:cubicBezTo>
                <a:cubicBezTo>
                  <a:pt x="163" y="49"/>
                  <a:pt x="163" y="49"/>
                  <a:pt x="163" y="49"/>
                </a:cubicBezTo>
                <a:cubicBezTo>
                  <a:pt x="165" y="49"/>
                  <a:pt x="166" y="49"/>
                  <a:pt x="167" y="51"/>
                </a:cubicBezTo>
                <a:cubicBezTo>
                  <a:pt x="168" y="52"/>
                  <a:pt x="169" y="53"/>
                  <a:pt x="169" y="55"/>
                </a:cubicBezTo>
                <a:close/>
                <a:moveTo>
                  <a:pt x="169" y="103"/>
                </a:moveTo>
                <a:cubicBezTo>
                  <a:pt x="169" y="127"/>
                  <a:pt x="169" y="127"/>
                  <a:pt x="169" y="127"/>
                </a:cubicBezTo>
                <a:cubicBezTo>
                  <a:pt x="169" y="129"/>
                  <a:pt x="168" y="130"/>
                  <a:pt x="167" y="132"/>
                </a:cubicBezTo>
                <a:cubicBezTo>
                  <a:pt x="166" y="133"/>
                  <a:pt x="165" y="133"/>
                  <a:pt x="163" y="133"/>
                </a:cubicBezTo>
                <a:cubicBezTo>
                  <a:pt x="6" y="133"/>
                  <a:pt x="6" y="133"/>
                  <a:pt x="6" y="133"/>
                </a:cubicBezTo>
                <a:cubicBezTo>
                  <a:pt x="4" y="133"/>
                  <a:pt x="3" y="133"/>
                  <a:pt x="1" y="132"/>
                </a:cubicBezTo>
                <a:cubicBezTo>
                  <a:pt x="0" y="130"/>
                  <a:pt x="0" y="129"/>
                  <a:pt x="0" y="127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102"/>
                  <a:pt x="0" y="100"/>
                  <a:pt x="1" y="99"/>
                </a:cubicBezTo>
                <a:cubicBezTo>
                  <a:pt x="3" y="98"/>
                  <a:pt x="4" y="97"/>
                  <a:pt x="6" y="97"/>
                </a:cubicBezTo>
                <a:cubicBezTo>
                  <a:pt x="163" y="97"/>
                  <a:pt x="163" y="97"/>
                  <a:pt x="163" y="97"/>
                </a:cubicBezTo>
                <a:cubicBezTo>
                  <a:pt x="165" y="97"/>
                  <a:pt x="166" y="98"/>
                  <a:pt x="167" y="99"/>
                </a:cubicBezTo>
                <a:cubicBezTo>
                  <a:pt x="168" y="100"/>
                  <a:pt x="169" y="102"/>
                  <a:pt x="169" y="103"/>
                </a:cubicBezTo>
                <a:close/>
                <a:moveTo>
                  <a:pt x="60" y="73"/>
                </a:moveTo>
                <a:cubicBezTo>
                  <a:pt x="157" y="73"/>
                  <a:pt x="157" y="73"/>
                  <a:pt x="157" y="73"/>
                </a:cubicBezTo>
                <a:cubicBezTo>
                  <a:pt x="157" y="61"/>
                  <a:pt x="157" y="61"/>
                  <a:pt x="157" y="61"/>
                </a:cubicBezTo>
                <a:cubicBezTo>
                  <a:pt x="60" y="61"/>
                  <a:pt x="60" y="61"/>
                  <a:pt x="60" y="61"/>
                </a:cubicBezTo>
                <a:lnTo>
                  <a:pt x="60" y="73"/>
                </a:lnTo>
                <a:close/>
                <a:moveTo>
                  <a:pt x="96" y="121"/>
                </a:moveTo>
                <a:cubicBezTo>
                  <a:pt x="157" y="121"/>
                  <a:pt x="157" y="121"/>
                  <a:pt x="157" y="121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96" y="109"/>
                  <a:pt x="96" y="109"/>
                  <a:pt x="96" y="109"/>
                </a:cubicBezTo>
                <a:lnTo>
                  <a:pt x="96" y="121"/>
                </a:lnTo>
                <a:close/>
                <a:moveTo>
                  <a:pt x="121" y="25"/>
                </a:moveTo>
                <a:cubicBezTo>
                  <a:pt x="157" y="25"/>
                  <a:pt x="157" y="25"/>
                  <a:pt x="157" y="25"/>
                </a:cubicBezTo>
                <a:cubicBezTo>
                  <a:pt x="157" y="12"/>
                  <a:pt x="157" y="12"/>
                  <a:pt x="157" y="12"/>
                </a:cubicBezTo>
                <a:cubicBezTo>
                  <a:pt x="121" y="12"/>
                  <a:pt x="121" y="12"/>
                  <a:pt x="121" y="12"/>
                </a:cubicBezTo>
                <a:lnTo>
                  <a:pt x="121" y="2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0" name="Freeform 170"/>
          <p:cNvSpPr>
            <a:spLocks noChangeAspect="1"/>
          </p:cNvSpPr>
          <p:nvPr/>
        </p:nvSpPr>
        <p:spPr bwMode="auto">
          <a:xfrm>
            <a:off x="2946667" y="2807708"/>
            <a:ext cx="138956" cy="138956"/>
          </a:xfrm>
          <a:custGeom>
            <a:avLst/>
            <a:gdLst>
              <a:gd name="T0" fmla="*/ 133 w 135"/>
              <a:gd name="T1" fmla="*/ 4 h 134"/>
              <a:gd name="T2" fmla="*/ 132 w 135"/>
              <a:gd name="T3" fmla="*/ 11 h 134"/>
              <a:gd name="T4" fmla="*/ 86 w 135"/>
              <a:gd name="T5" fmla="*/ 57 h 134"/>
              <a:gd name="T6" fmla="*/ 86 w 135"/>
              <a:gd name="T7" fmla="*/ 128 h 134"/>
              <a:gd name="T8" fmla="*/ 82 w 135"/>
              <a:gd name="T9" fmla="*/ 133 h 134"/>
              <a:gd name="T10" fmla="*/ 80 w 135"/>
              <a:gd name="T11" fmla="*/ 134 h 134"/>
              <a:gd name="T12" fmla="*/ 75 w 135"/>
              <a:gd name="T13" fmla="*/ 132 h 134"/>
              <a:gd name="T14" fmla="*/ 51 w 135"/>
              <a:gd name="T15" fmla="*/ 108 h 134"/>
              <a:gd name="T16" fmla="*/ 49 w 135"/>
              <a:gd name="T17" fmla="*/ 103 h 134"/>
              <a:gd name="T18" fmla="*/ 49 w 135"/>
              <a:gd name="T19" fmla="*/ 57 h 134"/>
              <a:gd name="T20" fmla="*/ 3 w 135"/>
              <a:gd name="T21" fmla="*/ 11 h 134"/>
              <a:gd name="T22" fmla="*/ 1 w 135"/>
              <a:gd name="T23" fmla="*/ 4 h 134"/>
              <a:gd name="T24" fmla="*/ 7 w 135"/>
              <a:gd name="T25" fmla="*/ 0 h 134"/>
              <a:gd name="T26" fmla="*/ 128 w 135"/>
              <a:gd name="T27" fmla="*/ 0 h 134"/>
              <a:gd name="T28" fmla="*/ 133 w 135"/>
              <a:gd name="T29" fmla="*/ 4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5" h="134">
                <a:moveTo>
                  <a:pt x="133" y="4"/>
                </a:moveTo>
                <a:cubicBezTo>
                  <a:pt x="135" y="7"/>
                  <a:pt x="134" y="9"/>
                  <a:pt x="132" y="11"/>
                </a:cubicBezTo>
                <a:cubicBezTo>
                  <a:pt x="86" y="57"/>
                  <a:pt x="86" y="57"/>
                  <a:pt x="86" y="57"/>
                </a:cubicBezTo>
                <a:cubicBezTo>
                  <a:pt x="86" y="128"/>
                  <a:pt x="86" y="128"/>
                  <a:pt x="86" y="128"/>
                </a:cubicBezTo>
                <a:cubicBezTo>
                  <a:pt x="86" y="130"/>
                  <a:pt x="84" y="132"/>
                  <a:pt x="82" y="133"/>
                </a:cubicBezTo>
                <a:cubicBezTo>
                  <a:pt x="81" y="133"/>
                  <a:pt x="80" y="134"/>
                  <a:pt x="80" y="134"/>
                </a:cubicBezTo>
                <a:cubicBezTo>
                  <a:pt x="78" y="134"/>
                  <a:pt x="76" y="133"/>
                  <a:pt x="75" y="132"/>
                </a:cubicBezTo>
                <a:cubicBezTo>
                  <a:pt x="51" y="108"/>
                  <a:pt x="51" y="108"/>
                  <a:pt x="51" y="108"/>
                </a:cubicBezTo>
                <a:cubicBezTo>
                  <a:pt x="50" y="106"/>
                  <a:pt x="49" y="105"/>
                  <a:pt x="49" y="103"/>
                </a:cubicBezTo>
                <a:cubicBezTo>
                  <a:pt x="49" y="57"/>
                  <a:pt x="49" y="57"/>
                  <a:pt x="49" y="57"/>
                </a:cubicBezTo>
                <a:cubicBezTo>
                  <a:pt x="3" y="11"/>
                  <a:pt x="3" y="11"/>
                  <a:pt x="3" y="11"/>
                </a:cubicBezTo>
                <a:cubicBezTo>
                  <a:pt x="1" y="9"/>
                  <a:pt x="0" y="7"/>
                  <a:pt x="1" y="4"/>
                </a:cubicBezTo>
                <a:cubicBezTo>
                  <a:pt x="2" y="2"/>
                  <a:pt x="4" y="0"/>
                  <a:pt x="7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31" y="0"/>
                  <a:pt x="132" y="2"/>
                  <a:pt x="133" y="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1" name="Freeform 171"/>
          <p:cNvSpPr>
            <a:spLocks noChangeAspect="1" noEditPoints="1"/>
          </p:cNvSpPr>
          <p:nvPr/>
        </p:nvSpPr>
        <p:spPr bwMode="auto">
          <a:xfrm>
            <a:off x="3127779" y="2782727"/>
            <a:ext cx="174866" cy="149885"/>
          </a:xfrm>
          <a:custGeom>
            <a:avLst/>
            <a:gdLst>
              <a:gd name="T0" fmla="*/ 169 w 169"/>
              <a:gd name="T1" fmla="*/ 40 h 145"/>
              <a:gd name="T2" fmla="*/ 169 w 169"/>
              <a:gd name="T3" fmla="*/ 76 h 145"/>
              <a:gd name="T4" fmla="*/ 0 w 169"/>
              <a:gd name="T5" fmla="*/ 76 h 145"/>
              <a:gd name="T6" fmla="*/ 0 w 169"/>
              <a:gd name="T7" fmla="*/ 40 h 145"/>
              <a:gd name="T8" fmla="*/ 4 w 169"/>
              <a:gd name="T9" fmla="*/ 29 h 145"/>
              <a:gd name="T10" fmla="*/ 15 w 169"/>
              <a:gd name="T11" fmla="*/ 24 h 145"/>
              <a:gd name="T12" fmla="*/ 48 w 169"/>
              <a:gd name="T13" fmla="*/ 24 h 145"/>
              <a:gd name="T14" fmla="*/ 48 w 169"/>
              <a:gd name="T15" fmla="*/ 9 h 145"/>
              <a:gd name="T16" fmla="*/ 51 w 169"/>
              <a:gd name="T17" fmla="*/ 3 h 145"/>
              <a:gd name="T18" fmla="*/ 57 w 169"/>
              <a:gd name="T19" fmla="*/ 0 h 145"/>
              <a:gd name="T20" fmla="*/ 112 w 169"/>
              <a:gd name="T21" fmla="*/ 0 h 145"/>
              <a:gd name="T22" fmla="*/ 118 w 169"/>
              <a:gd name="T23" fmla="*/ 3 h 145"/>
              <a:gd name="T24" fmla="*/ 121 w 169"/>
              <a:gd name="T25" fmla="*/ 9 h 145"/>
              <a:gd name="T26" fmla="*/ 121 w 169"/>
              <a:gd name="T27" fmla="*/ 24 h 145"/>
              <a:gd name="T28" fmla="*/ 154 w 169"/>
              <a:gd name="T29" fmla="*/ 24 h 145"/>
              <a:gd name="T30" fmla="*/ 165 w 169"/>
              <a:gd name="T31" fmla="*/ 29 h 145"/>
              <a:gd name="T32" fmla="*/ 169 w 169"/>
              <a:gd name="T33" fmla="*/ 40 h 145"/>
              <a:gd name="T34" fmla="*/ 169 w 169"/>
              <a:gd name="T35" fmla="*/ 85 h 145"/>
              <a:gd name="T36" fmla="*/ 169 w 169"/>
              <a:gd name="T37" fmla="*/ 130 h 145"/>
              <a:gd name="T38" fmla="*/ 165 w 169"/>
              <a:gd name="T39" fmla="*/ 141 h 145"/>
              <a:gd name="T40" fmla="*/ 154 w 169"/>
              <a:gd name="T41" fmla="*/ 145 h 145"/>
              <a:gd name="T42" fmla="*/ 15 w 169"/>
              <a:gd name="T43" fmla="*/ 145 h 145"/>
              <a:gd name="T44" fmla="*/ 4 w 169"/>
              <a:gd name="T45" fmla="*/ 141 h 145"/>
              <a:gd name="T46" fmla="*/ 0 w 169"/>
              <a:gd name="T47" fmla="*/ 130 h 145"/>
              <a:gd name="T48" fmla="*/ 0 w 169"/>
              <a:gd name="T49" fmla="*/ 85 h 145"/>
              <a:gd name="T50" fmla="*/ 63 w 169"/>
              <a:gd name="T51" fmla="*/ 85 h 145"/>
              <a:gd name="T52" fmla="*/ 63 w 169"/>
              <a:gd name="T53" fmla="*/ 100 h 145"/>
              <a:gd name="T54" fmla="*/ 65 w 169"/>
              <a:gd name="T55" fmla="*/ 104 h 145"/>
              <a:gd name="T56" fmla="*/ 69 w 169"/>
              <a:gd name="T57" fmla="*/ 106 h 145"/>
              <a:gd name="T58" fmla="*/ 100 w 169"/>
              <a:gd name="T59" fmla="*/ 106 h 145"/>
              <a:gd name="T60" fmla="*/ 104 w 169"/>
              <a:gd name="T61" fmla="*/ 104 h 145"/>
              <a:gd name="T62" fmla="*/ 106 w 169"/>
              <a:gd name="T63" fmla="*/ 100 h 145"/>
              <a:gd name="T64" fmla="*/ 106 w 169"/>
              <a:gd name="T65" fmla="*/ 85 h 145"/>
              <a:gd name="T66" fmla="*/ 169 w 169"/>
              <a:gd name="T67" fmla="*/ 85 h 145"/>
              <a:gd name="T68" fmla="*/ 60 w 169"/>
              <a:gd name="T69" fmla="*/ 24 h 145"/>
              <a:gd name="T70" fmla="*/ 109 w 169"/>
              <a:gd name="T71" fmla="*/ 24 h 145"/>
              <a:gd name="T72" fmla="*/ 109 w 169"/>
              <a:gd name="T73" fmla="*/ 12 h 145"/>
              <a:gd name="T74" fmla="*/ 60 w 169"/>
              <a:gd name="T75" fmla="*/ 12 h 145"/>
              <a:gd name="T76" fmla="*/ 60 w 169"/>
              <a:gd name="T77" fmla="*/ 24 h 145"/>
              <a:gd name="T78" fmla="*/ 97 w 169"/>
              <a:gd name="T79" fmla="*/ 85 h 145"/>
              <a:gd name="T80" fmla="*/ 97 w 169"/>
              <a:gd name="T81" fmla="*/ 97 h 145"/>
              <a:gd name="T82" fmla="*/ 72 w 169"/>
              <a:gd name="T83" fmla="*/ 97 h 145"/>
              <a:gd name="T84" fmla="*/ 72 w 169"/>
              <a:gd name="T85" fmla="*/ 85 h 145"/>
              <a:gd name="T86" fmla="*/ 97 w 169"/>
              <a:gd name="T87" fmla="*/ 8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69" h="145">
                <a:moveTo>
                  <a:pt x="169" y="40"/>
                </a:moveTo>
                <a:cubicBezTo>
                  <a:pt x="169" y="76"/>
                  <a:pt x="169" y="76"/>
                  <a:pt x="169" y="76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5"/>
                  <a:pt x="1" y="32"/>
                  <a:pt x="4" y="29"/>
                </a:cubicBezTo>
                <a:cubicBezTo>
                  <a:pt x="7" y="26"/>
                  <a:pt x="11" y="24"/>
                  <a:pt x="15" y="24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9"/>
                  <a:pt x="48" y="9"/>
                  <a:pt x="48" y="9"/>
                </a:cubicBezTo>
                <a:cubicBezTo>
                  <a:pt x="48" y="7"/>
                  <a:pt x="49" y="5"/>
                  <a:pt x="51" y="3"/>
                </a:cubicBezTo>
                <a:cubicBezTo>
                  <a:pt x="53" y="1"/>
                  <a:pt x="55" y="0"/>
                  <a:pt x="57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120" y="5"/>
                  <a:pt x="121" y="7"/>
                  <a:pt x="121" y="9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54" y="24"/>
                  <a:pt x="154" y="24"/>
                  <a:pt x="154" y="24"/>
                </a:cubicBezTo>
                <a:cubicBezTo>
                  <a:pt x="158" y="24"/>
                  <a:pt x="162" y="26"/>
                  <a:pt x="165" y="29"/>
                </a:cubicBezTo>
                <a:cubicBezTo>
                  <a:pt x="168" y="32"/>
                  <a:pt x="169" y="35"/>
                  <a:pt x="169" y="40"/>
                </a:cubicBezTo>
                <a:close/>
                <a:moveTo>
                  <a:pt x="169" y="85"/>
                </a:moveTo>
                <a:cubicBezTo>
                  <a:pt x="169" y="130"/>
                  <a:pt x="169" y="130"/>
                  <a:pt x="169" y="130"/>
                </a:cubicBezTo>
                <a:cubicBezTo>
                  <a:pt x="169" y="134"/>
                  <a:pt x="168" y="138"/>
                  <a:pt x="165" y="141"/>
                </a:cubicBezTo>
                <a:cubicBezTo>
                  <a:pt x="162" y="144"/>
                  <a:pt x="158" y="145"/>
                  <a:pt x="154" y="145"/>
                </a:cubicBezTo>
                <a:cubicBezTo>
                  <a:pt x="15" y="145"/>
                  <a:pt x="15" y="145"/>
                  <a:pt x="15" y="145"/>
                </a:cubicBezTo>
                <a:cubicBezTo>
                  <a:pt x="11" y="145"/>
                  <a:pt x="7" y="144"/>
                  <a:pt x="4" y="141"/>
                </a:cubicBezTo>
                <a:cubicBezTo>
                  <a:pt x="1" y="138"/>
                  <a:pt x="0" y="134"/>
                  <a:pt x="0" y="130"/>
                </a:cubicBezTo>
                <a:cubicBezTo>
                  <a:pt x="0" y="85"/>
                  <a:pt x="0" y="85"/>
                  <a:pt x="0" y="85"/>
                </a:cubicBezTo>
                <a:cubicBezTo>
                  <a:pt x="63" y="85"/>
                  <a:pt x="63" y="85"/>
                  <a:pt x="63" y="85"/>
                </a:cubicBezTo>
                <a:cubicBezTo>
                  <a:pt x="63" y="100"/>
                  <a:pt x="63" y="100"/>
                  <a:pt x="63" y="100"/>
                </a:cubicBezTo>
                <a:cubicBezTo>
                  <a:pt x="63" y="102"/>
                  <a:pt x="64" y="103"/>
                  <a:pt x="65" y="104"/>
                </a:cubicBezTo>
                <a:cubicBezTo>
                  <a:pt x="66" y="106"/>
                  <a:pt x="68" y="106"/>
                  <a:pt x="69" y="106"/>
                </a:cubicBezTo>
                <a:cubicBezTo>
                  <a:pt x="100" y="106"/>
                  <a:pt x="100" y="106"/>
                  <a:pt x="100" y="106"/>
                </a:cubicBezTo>
                <a:cubicBezTo>
                  <a:pt x="101" y="106"/>
                  <a:pt x="103" y="106"/>
                  <a:pt x="104" y="104"/>
                </a:cubicBezTo>
                <a:cubicBezTo>
                  <a:pt x="105" y="103"/>
                  <a:pt x="106" y="102"/>
                  <a:pt x="106" y="100"/>
                </a:cubicBezTo>
                <a:cubicBezTo>
                  <a:pt x="106" y="85"/>
                  <a:pt x="106" y="85"/>
                  <a:pt x="106" y="85"/>
                </a:cubicBezTo>
                <a:lnTo>
                  <a:pt x="169" y="85"/>
                </a:lnTo>
                <a:close/>
                <a:moveTo>
                  <a:pt x="60" y="24"/>
                </a:moveTo>
                <a:cubicBezTo>
                  <a:pt x="109" y="24"/>
                  <a:pt x="109" y="24"/>
                  <a:pt x="109" y="24"/>
                </a:cubicBezTo>
                <a:cubicBezTo>
                  <a:pt x="109" y="12"/>
                  <a:pt x="109" y="12"/>
                  <a:pt x="109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24"/>
                </a:lnTo>
                <a:close/>
                <a:moveTo>
                  <a:pt x="97" y="85"/>
                </a:moveTo>
                <a:cubicBezTo>
                  <a:pt x="97" y="97"/>
                  <a:pt x="97" y="97"/>
                  <a:pt x="97" y="97"/>
                </a:cubicBezTo>
                <a:cubicBezTo>
                  <a:pt x="72" y="97"/>
                  <a:pt x="72" y="97"/>
                  <a:pt x="72" y="97"/>
                </a:cubicBezTo>
                <a:cubicBezTo>
                  <a:pt x="72" y="85"/>
                  <a:pt x="72" y="85"/>
                  <a:pt x="72" y="85"/>
                </a:cubicBezTo>
                <a:lnTo>
                  <a:pt x="97" y="8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2" name="Freeform 172"/>
          <p:cNvSpPr>
            <a:spLocks noChangeAspect="1"/>
          </p:cNvSpPr>
          <p:nvPr/>
        </p:nvSpPr>
        <p:spPr bwMode="auto">
          <a:xfrm>
            <a:off x="3344801" y="2795218"/>
            <a:ext cx="149885" cy="151447"/>
          </a:xfrm>
          <a:custGeom>
            <a:avLst/>
            <a:gdLst>
              <a:gd name="T0" fmla="*/ 121 w 145"/>
              <a:gd name="T1" fmla="*/ 39 h 146"/>
              <a:gd name="T2" fmla="*/ 88 w 145"/>
              <a:gd name="T3" fmla="*/ 73 h 146"/>
              <a:gd name="T4" fmla="*/ 121 w 145"/>
              <a:gd name="T5" fmla="*/ 107 h 146"/>
              <a:gd name="T6" fmla="*/ 135 w 145"/>
              <a:gd name="T7" fmla="*/ 93 h 146"/>
              <a:gd name="T8" fmla="*/ 142 w 145"/>
              <a:gd name="T9" fmla="*/ 92 h 146"/>
              <a:gd name="T10" fmla="*/ 145 w 145"/>
              <a:gd name="T11" fmla="*/ 97 h 146"/>
              <a:gd name="T12" fmla="*/ 145 w 145"/>
              <a:gd name="T13" fmla="*/ 140 h 146"/>
              <a:gd name="T14" fmla="*/ 143 w 145"/>
              <a:gd name="T15" fmla="*/ 144 h 146"/>
              <a:gd name="T16" fmla="*/ 139 w 145"/>
              <a:gd name="T17" fmla="*/ 146 h 146"/>
              <a:gd name="T18" fmla="*/ 97 w 145"/>
              <a:gd name="T19" fmla="*/ 146 h 146"/>
              <a:gd name="T20" fmla="*/ 91 w 145"/>
              <a:gd name="T21" fmla="*/ 142 h 146"/>
              <a:gd name="T22" fmla="*/ 93 w 145"/>
              <a:gd name="T23" fmla="*/ 135 h 146"/>
              <a:gd name="T24" fmla="*/ 106 w 145"/>
              <a:gd name="T25" fmla="*/ 122 h 146"/>
              <a:gd name="T26" fmla="*/ 73 w 145"/>
              <a:gd name="T27" fmla="*/ 88 h 146"/>
              <a:gd name="T28" fmla="*/ 39 w 145"/>
              <a:gd name="T29" fmla="*/ 122 h 146"/>
              <a:gd name="T30" fmla="*/ 53 w 145"/>
              <a:gd name="T31" fmla="*/ 135 h 146"/>
              <a:gd name="T32" fmla="*/ 54 w 145"/>
              <a:gd name="T33" fmla="*/ 142 h 146"/>
              <a:gd name="T34" fmla="*/ 48 w 145"/>
              <a:gd name="T35" fmla="*/ 146 h 146"/>
              <a:gd name="T36" fmla="*/ 6 w 145"/>
              <a:gd name="T37" fmla="*/ 146 h 146"/>
              <a:gd name="T38" fmla="*/ 2 w 145"/>
              <a:gd name="T39" fmla="*/ 144 h 146"/>
              <a:gd name="T40" fmla="*/ 0 w 145"/>
              <a:gd name="T41" fmla="*/ 140 h 146"/>
              <a:gd name="T42" fmla="*/ 0 w 145"/>
              <a:gd name="T43" fmla="*/ 97 h 146"/>
              <a:gd name="T44" fmla="*/ 4 w 145"/>
              <a:gd name="T45" fmla="*/ 92 h 146"/>
              <a:gd name="T46" fmla="*/ 10 w 145"/>
              <a:gd name="T47" fmla="*/ 93 h 146"/>
              <a:gd name="T48" fmla="*/ 24 w 145"/>
              <a:gd name="T49" fmla="*/ 107 h 146"/>
              <a:gd name="T50" fmla="*/ 57 w 145"/>
              <a:gd name="T51" fmla="*/ 73 h 146"/>
              <a:gd name="T52" fmla="*/ 24 w 145"/>
              <a:gd name="T53" fmla="*/ 39 h 146"/>
              <a:gd name="T54" fmla="*/ 10 w 145"/>
              <a:gd name="T55" fmla="*/ 53 h 146"/>
              <a:gd name="T56" fmla="*/ 6 w 145"/>
              <a:gd name="T57" fmla="*/ 55 h 146"/>
              <a:gd name="T58" fmla="*/ 4 w 145"/>
              <a:gd name="T59" fmla="*/ 54 h 146"/>
              <a:gd name="T60" fmla="*/ 0 w 145"/>
              <a:gd name="T61" fmla="*/ 49 h 146"/>
              <a:gd name="T62" fmla="*/ 0 w 145"/>
              <a:gd name="T63" fmla="*/ 6 h 146"/>
              <a:gd name="T64" fmla="*/ 2 w 145"/>
              <a:gd name="T65" fmla="*/ 2 h 146"/>
              <a:gd name="T66" fmla="*/ 6 w 145"/>
              <a:gd name="T67" fmla="*/ 0 h 146"/>
              <a:gd name="T68" fmla="*/ 48 w 145"/>
              <a:gd name="T69" fmla="*/ 0 h 146"/>
              <a:gd name="T70" fmla="*/ 54 w 145"/>
              <a:gd name="T71" fmla="*/ 4 h 146"/>
              <a:gd name="T72" fmla="*/ 53 w 145"/>
              <a:gd name="T73" fmla="*/ 11 h 146"/>
              <a:gd name="T74" fmla="*/ 39 w 145"/>
              <a:gd name="T75" fmla="*/ 24 h 146"/>
              <a:gd name="T76" fmla="*/ 73 w 145"/>
              <a:gd name="T77" fmla="*/ 58 h 146"/>
              <a:gd name="T78" fmla="*/ 106 w 145"/>
              <a:gd name="T79" fmla="*/ 24 h 146"/>
              <a:gd name="T80" fmla="*/ 93 w 145"/>
              <a:gd name="T81" fmla="*/ 11 h 146"/>
              <a:gd name="T82" fmla="*/ 91 w 145"/>
              <a:gd name="T83" fmla="*/ 4 h 146"/>
              <a:gd name="T84" fmla="*/ 97 w 145"/>
              <a:gd name="T85" fmla="*/ 0 h 146"/>
              <a:gd name="T86" fmla="*/ 139 w 145"/>
              <a:gd name="T87" fmla="*/ 0 h 146"/>
              <a:gd name="T88" fmla="*/ 143 w 145"/>
              <a:gd name="T89" fmla="*/ 2 h 146"/>
              <a:gd name="T90" fmla="*/ 145 w 145"/>
              <a:gd name="T91" fmla="*/ 6 h 146"/>
              <a:gd name="T92" fmla="*/ 145 w 145"/>
              <a:gd name="T93" fmla="*/ 49 h 146"/>
              <a:gd name="T94" fmla="*/ 142 w 145"/>
              <a:gd name="T95" fmla="*/ 54 h 146"/>
              <a:gd name="T96" fmla="*/ 139 w 145"/>
              <a:gd name="T97" fmla="*/ 55 h 146"/>
              <a:gd name="T98" fmla="*/ 135 w 145"/>
              <a:gd name="T99" fmla="*/ 53 h 146"/>
              <a:gd name="T100" fmla="*/ 121 w 145"/>
              <a:gd name="T101" fmla="*/ 3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5" h="146">
                <a:moveTo>
                  <a:pt x="121" y="39"/>
                </a:moveTo>
                <a:cubicBezTo>
                  <a:pt x="88" y="73"/>
                  <a:pt x="88" y="73"/>
                  <a:pt x="88" y="73"/>
                </a:cubicBezTo>
                <a:cubicBezTo>
                  <a:pt x="121" y="107"/>
                  <a:pt x="121" y="107"/>
                  <a:pt x="121" y="107"/>
                </a:cubicBezTo>
                <a:cubicBezTo>
                  <a:pt x="135" y="93"/>
                  <a:pt x="135" y="93"/>
                  <a:pt x="135" y="93"/>
                </a:cubicBezTo>
                <a:cubicBezTo>
                  <a:pt x="137" y="91"/>
                  <a:pt x="139" y="90"/>
                  <a:pt x="142" y="92"/>
                </a:cubicBezTo>
                <a:cubicBezTo>
                  <a:pt x="144" y="93"/>
                  <a:pt x="145" y="94"/>
                  <a:pt x="145" y="97"/>
                </a:cubicBezTo>
                <a:cubicBezTo>
                  <a:pt x="145" y="140"/>
                  <a:pt x="145" y="140"/>
                  <a:pt x="145" y="140"/>
                </a:cubicBezTo>
                <a:cubicBezTo>
                  <a:pt x="145" y="141"/>
                  <a:pt x="145" y="143"/>
                  <a:pt x="143" y="144"/>
                </a:cubicBezTo>
                <a:cubicBezTo>
                  <a:pt x="142" y="145"/>
                  <a:pt x="141" y="146"/>
                  <a:pt x="139" y="146"/>
                </a:cubicBezTo>
                <a:cubicBezTo>
                  <a:pt x="97" y="146"/>
                  <a:pt x="97" y="146"/>
                  <a:pt x="97" y="146"/>
                </a:cubicBezTo>
                <a:cubicBezTo>
                  <a:pt x="94" y="146"/>
                  <a:pt x="92" y="144"/>
                  <a:pt x="91" y="142"/>
                </a:cubicBezTo>
                <a:cubicBezTo>
                  <a:pt x="90" y="139"/>
                  <a:pt x="91" y="137"/>
                  <a:pt x="93" y="135"/>
                </a:cubicBezTo>
                <a:cubicBezTo>
                  <a:pt x="106" y="122"/>
                  <a:pt x="106" y="122"/>
                  <a:pt x="106" y="122"/>
                </a:cubicBezTo>
                <a:cubicBezTo>
                  <a:pt x="73" y="88"/>
                  <a:pt x="73" y="88"/>
                  <a:pt x="73" y="88"/>
                </a:cubicBezTo>
                <a:cubicBezTo>
                  <a:pt x="39" y="122"/>
                  <a:pt x="39" y="122"/>
                  <a:pt x="39" y="122"/>
                </a:cubicBezTo>
                <a:cubicBezTo>
                  <a:pt x="53" y="135"/>
                  <a:pt x="53" y="135"/>
                  <a:pt x="53" y="135"/>
                </a:cubicBezTo>
                <a:cubicBezTo>
                  <a:pt x="55" y="137"/>
                  <a:pt x="55" y="139"/>
                  <a:pt x="54" y="142"/>
                </a:cubicBezTo>
                <a:cubicBezTo>
                  <a:pt x="53" y="144"/>
                  <a:pt x="51" y="146"/>
                  <a:pt x="48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4" y="146"/>
                  <a:pt x="3" y="145"/>
                  <a:pt x="2" y="144"/>
                </a:cubicBezTo>
                <a:cubicBezTo>
                  <a:pt x="1" y="143"/>
                  <a:pt x="0" y="141"/>
                  <a:pt x="0" y="140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4"/>
                  <a:pt x="1" y="93"/>
                  <a:pt x="4" y="92"/>
                </a:cubicBezTo>
                <a:cubicBezTo>
                  <a:pt x="6" y="90"/>
                  <a:pt x="8" y="91"/>
                  <a:pt x="10" y="93"/>
                </a:cubicBezTo>
                <a:cubicBezTo>
                  <a:pt x="24" y="107"/>
                  <a:pt x="24" y="107"/>
                  <a:pt x="24" y="107"/>
                </a:cubicBezTo>
                <a:cubicBezTo>
                  <a:pt x="57" y="73"/>
                  <a:pt x="57" y="73"/>
                  <a:pt x="57" y="73"/>
                </a:cubicBezTo>
                <a:cubicBezTo>
                  <a:pt x="24" y="39"/>
                  <a:pt x="24" y="39"/>
                  <a:pt x="24" y="39"/>
                </a:cubicBezTo>
                <a:cubicBezTo>
                  <a:pt x="10" y="53"/>
                  <a:pt x="10" y="53"/>
                  <a:pt x="10" y="53"/>
                </a:cubicBezTo>
                <a:cubicBezTo>
                  <a:pt x="9" y="54"/>
                  <a:pt x="8" y="55"/>
                  <a:pt x="6" y="55"/>
                </a:cubicBezTo>
                <a:cubicBezTo>
                  <a:pt x="5" y="55"/>
                  <a:pt x="5" y="55"/>
                  <a:pt x="4" y="54"/>
                </a:cubicBezTo>
                <a:cubicBezTo>
                  <a:pt x="1" y="53"/>
                  <a:pt x="0" y="51"/>
                  <a:pt x="0" y="4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51" y="0"/>
                  <a:pt x="53" y="2"/>
                  <a:pt x="54" y="4"/>
                </a:cubicBezTo>
                <a:cubicBezTo>
                  <a:pt x="55" y="7"/>
                  <a:pt x="55" y="9"/>
                  <a:pt x="53" y="11"/>
                </a:cubicBezTo>
                <a:cubicBezTo>
                  <a:pt x="39" y="24"/>
                  <a:pt x="39" y="24"/>
                  <a:pt x="39" y="24"/>
                </a:cubicBezTo>
                <a:cubicBezTo>
                  <a:pt x="73" y="58"/>
                  <a:pt x="73" y="58"/>
                  <a:pt x="73" y="58"/>
                </a:cubicBezTo>
                <a:cubicBezTo>
                  <a:pt x="106" y="24"/>
                  <a:pt x="106" y="24"/>
                  <a:pt x="106" y="24"/>
                </a:cubicBezTo>
                <a:cubicBezTo>
                  <a:pt x="93" y="11"/>
                  <a:pt x="93" y="11"/>
                  <a:pt x="93" y="11"/>
                </a:cubicBezTo>
                <a:cubicBezTo>
                  <a:pt x="91" y="9"/>
                  <a:pt x="90" y="7"/>
                  <a:pt x="91" y="4"/>
                </a:cubicBezTo>
                <a:cubicBezTo>
                  <a:pt x="92" y="2"/>
                  <a:pt x="94" y="0"/>
                  <a:pt x="97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1" y="0"/>
                  <a:pt x="142" y="1"/>
                  <a:pt x="143" y="2"/>
                </a:cubicBezTo>
                <a:cubicBezTo>
                  <a:pt x="145" y="3"/>
                  <a:pt x="145" y="5"/>
                  <a:pt x="145" y="6"/>
                </a:cubicBezTo>
                <a:cubicBezTo>
                  <a:pt x="145" y="49"/>
                  <a:pt x="145" y="49"/>
                  <a:pt x="145" y="49"/>
                </a:cubicBezTo>
                <a:cubicBezTo>
                  <a:pt x="145" y="51"/>
                  <a:pt x="144" y="53"/>
                  <a:pt x="142" y="54"/>
                </a:cubicBezTo>
                <a:cubicBezTo>
                  <a:pt x="141" y="55"/>
                  <a:pt x="140" y="55"/>
                  <a:pt x="139" y="55"/>
                </a:cubicBezTo>
                <a:cubicBezTo>
                  <a:pt x="138" y="55"/>
                  <a:pt x="136" y="54"/>
                  <a:pt x="135" y="53"/>
                </a:cubicBezTo>
                <a:lnTo>
                  <a:pt x="121" y="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3" name="Freeform 173"/>
          <p:cNvSpPr>
            <a:spLocks noChangeAspect="1" noEditPoints="1"/>
          </p:cNvSpPr>
          <p:nvPr/>
        </p:nvSpPr>
        <p:spPr bwMode="auto">
          <a:xfrm>
            <a:off x="3536841" y="2782727"/>
            <a:ext cx="188918" cy="176428"/>
          </a:xfrm>
          <a:custGeom>
            <a:avLst/>
            <a:gdLst>
              <a:gd name="T0" fmla="*/ 31 w 182"/>
              <a:gd name="T1" fmla="*/ 97 h 170"/>
              <a:gd name="T2" fmla="*/ 5 w 182"/>
              <a:gd name="T3" fmla="*/ 93 h 170"/>
              <a:gd name="T4" fmla="*/ 12 w 182"/>
              <a:gd name="T5" fmla="*/ 49 h 170"/>
              <a:gd name="T6" fmla="*/ 25 w 182"/>
              <a:gd name="T7" fmla="*/ 55 h 170"/>
              <a:gd name="T8" fmla="*/ 49 w 182"/>
              <a:gd name="T9" fmla="*/ 54 h 170"/>
              <a:gd name="T10" fmla="*/ 56 w 182"/>
              <a:gd name="T11" fmla="*/ 85 h 170"/>
              <a:gd name="T12" fmla="*/ 61 w 182"/>
              <a:gd name="T13" fmla="*/ 24 h 170"/>
              <a:gd name="T14" fmla="*/ 36 w 182"/>
              <a:gd name="T15" fmla="*/ 49 h 170"/>
              <a:gd name="T16" fmla="*/ 12 w 182"/>
              <a:gd name="T17" fmla="*/ 24 h 170"/>
              <a:gd name="T18" fmla="*/ 36 w 182"/>
              <a:gd name="T19" fmla="*/ 0 h 170"/>
              <a:gd name="T20" fmla="*/ 157 w 182"/>
              <a:gd name="T21" fmla="*/ 145 h 170"/>
              <a:gd name="T22" fmla="*/ 132 w 182"/>
              <a:gd name="T23" fmla="*/ 170 h 170"/>
              <a:gd name="T24" fmla="*/ 31 w 182"/>
              <a:gd name="T25" fmla="*/ 163 h 170"/>
              <a:gd name="T26" fmla="*/ 25 w 182"/>
              <a:gd name="T27" fmla="*/ 135 h 170"/>
              <a:gd name="T28" fmla="*/ 28 w 182"/>
              <a:gd name="T29" fmla="*/ 115 h 170"/>
              <a:gd name="T30" fmla="*/ 38 w 182"/>
              <a:gd name="T31" fmla="*/ 98 h 170"/>
              <a:gd name="T32" fmla="*/ 57 w 182"/>
              <a:gd name="T33" fmla="*/ 91 h 170"/>
              <a:gd name="T34" fmla="*/ 68 w 182"/>
              <a:gd name="T35" fmla="*/ 98 h 170"/>
              <a:gd name="T36" fmla="*/ 91 w 182"/>
              <a:gd name="T37" fmla="*/ 104 h 170"/>
              <a:gd name="T38" fmla="*/ 114 w 182"/>
              <a:gd name="T39" fmla="*/ 98 h 170"/>
              <a:gd name="T40" fmla="*/ 125 w 182"/>
              <a:gd name="T41" fmla="*/ 91 h 170"/>
              <a:gd name="T42" fmla="*/ 143 w 182"/>
              <a:gd name="T43" fmla="*/ 98 h 170"/>
              <a:gd name="T44" fmla="*/ 153 w 182"/>
              <a:gd name="T45" fmla="*/ 115 h 170"/>
              <a:gd name="T46" fmla="*/ 157 w 182"/>
              <a:gd name="T47" fmla="*/ 135 h 170"/>
              <a:gd name="T48" fmla="*/ 116 w 182"/>
              <a:gd name="T49" fmla="*/ 35 h 170"/>
              <a:gd name="T50" fmla="*/ 116 w 182"/>
              <a:gd name="T51" fmla="*/ 86 h 170"/>
              <a:gd name="T52" fmla="*/ 65 w 182"/>
              <a:gd name="T53" fmla="*/ 86 h 170"/>
              <a:gd name="T54" fmla="*/ 65 w 182"/>
              <a:gd name="T55" fmla="*/ 35 h 170"/>
              <a:gd name="T56" fmla="*/ 116 w 182"/>
              <a:gd name="T57" fmla="*/ 35 h 170"/>
              <a:gd name="T58" fmla="*/ 169 w 182"/>
              <a:gd name="T59" fmla="*/ 24 h 170"/>
              <a:gd name="T60" fmla="*/ 145 w 182"/>
              <a:gd name="T61" fmla="*/ 49 h 170"/>
              <a:gd name="T62" fmla="*/ 121 w 182"/>
              <a:gd name="T63" fmla="*/ 24 h 170"/>
              <a:gd name="T64" fmla="*/ 145 w 182"/>
              <a:gd name="T65" fmla="*/ 0 h 170"/>
              <a:gd name="T66" fmla="*/ 182 w 182"/>
              <a:gd name="T67" fmla="*/ 82 h 170"/>
              <a:gd name="T68" fmla="*/ 163 w 182"/>
              <a:gd name="T69" fmla="*/ 97 h 170"/>
              <a:gd name="T70" fmla="*/ 125 w 182"/>
              <a:gd name="T71" fmla="*/ 85 h 170"/>
              <a:gd name="T72" fmla="*/ 133 w 182"/>
              <a:gd name="T73" fmla="*/ 54 h 170"/>
              <a:gd name="T74" fmla="*/ 156 w 182"/>
              <a:gd name="T75" fmla="*/ 55 h 170"/>
              <a:gd name="T76" fmla="*/ 170 w 182"/>
              <a:gd name="T77" fmla="*/ 4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70">
                <a:moveTo>
                  <a:pt x="56" y="85"/>
                </a:moveTo>
                <a:cubicBezTo>
                  <a:pt x="46" y="85"/>
                  <a:pt x="37" y="89"/>
                  <a:pt x="31" y="97"/>
                </a:cubicBezTo>
                <a:cubicBezTo>
                  <a:pt x="18" y="97"/>
                  <a:pt x="18" y="97"/>
                  <a:pt x="18" y="97"/>
                </a:cubicBezTo>
                <a:cubicBezTo>
                  <a:pt x="13" y="97"/>
                  <a:pt x="9" y="96"/>
                  <a:pt x="5" y="93"/>
                </a:cubicBezTo>
                <a:cubicBezTo>
                  <a:pt x="2" y="91"/>
                  <a:pt x="0" y="87"/>
                  <a:pt x="0" y="82"/>
                </a:cubicBezTo>
                <a:cubicBezTo>
                  <a:pt x="0" y="60"/>
                  <a:pt x="4" y="49"/>
                  <a:pt x="12" y="49"/>
                </a:cubicBezTo>
                <a:cubicBezTo>
                  <a:pt x="12" y="49"/>
                  <a:pt x="13" y="49"/>
                  <a:pt x="16" y="51"/>
                </a:cubicBezTo>
                <a:cubicBezTo>
                  <a:pt x="18" y="52"/>
                  <a:pt x="21" y="53"/>
                  <a:pt x="25" y="55"/>
                </a:cubicBezTo>
                <a:cubicBezTo>
                  <a:pt x="29" y="56"/>
                  <a:pt x="33" y="57"/>
                  <a:pt x="36" y="57"/>
                </a:cubicBezTo>
                <a:cubicBezTo>
                  <a:pt x="41" y="57"/>
                  <a:pt x="45" y="56"/>
                  <a:pt x="49" y="54"/>
                </a:cubicBezTo>
                <a:cubicBezTo>
                  <a:pt x="49" y="57"/>
                  <a:pt x="48" y="59"/>
                  <a:pt x="48" y="61"/>
                </a:cubicBezTo>
                <a:cubicBezTo>
                  <a:pt x="48" y="69"/>
                  <a:pt x="51" y="78"/>
                  <a:pt x="56" y="85"/>
                </a:cubicBezTo>
                <a:close/>
                <a:moveTo>
                  <a:pt x="53" y="7"/>
                </a:moveTo>
                <a:cubicBezTo>
                  <a:pt x="58" y="12"/>
                  <a:pt x="61" y="18"/>
                  <a:pt x="61" y="24"/>
                </a:cubicBezTo>
                <a:cubicBezTo>
                  <a:pt x="61" y="31"/>
                  <a:pt x="58" y="37"/>
                  <a:pt x="53" y="42"/>
                </a:cubicBezTo>
                <a:cubicBezTo>
                  <a:pt x="49" y="46"/>
                  <a:pt x="43" y="49"/>
                  <a:pt x="36" y="49"/>
                </a:cubicBezTo>
                <a:cubicBezTo>
                  <a:pt x="30" y="49"/>
                  <a:pt x="24" y="46"/>
                  <a:pt x="19" y="42"/>
                </a:cubicBezTo>
                <a:cubicBezTo>
                  <a:pt x="14" y="37"/>
                  <a:pt x="12" y="31"/>
                  <a:pt x="12" y="24"/>
                </a:cubicBezTo>
                <a:cubicBezTo>
                  <a:pt x="12" y="18"/>
                  <a:pt x="14" y="12"/>
                  <a:pt x="19" y="7"/>
                </a:cubicBezTo>
                <a:cubicBezTo>
                  <a:pt x="24" y="3"/>
                  <a:pt x="30" y="0"/>
                  <a:pt x="36" y="0"/>
                </a:cubicBezTo>
                <a:cubicBezTo>
                  <a:pt x="43" y="0"/>
                  <a:pt x="49" y="3"/>
                  <a:pt x="53" y="7"/>
                </a:cubicBezTo>
                <a:close/>
                <a:moveTo>
                  <a:pt x="157" y="145"/>
                </a:moveTo>
                <a:cubicBezTo>
                  <a:pt x="157" y="153"/>
                  <a:pt x="155" y="159"/>
                  <a:pt x="150" y="163"/>
                </a:cubicBezTo>
                <a:cubicBezTo>
                  <a:pt x="146" y="167"/>
                  <a:pt x="140" y="170"/>
                  <a:pt x="132" y="170"/>
                </a:cubicBezTo>
                <a:cubicBezTo>
                  <a:pt x="49" y="170"/>
                  <a:pt x="49" y="170"/>
                  <a:pt x="49" y="170"/>
                </a:cubicBezTo>
                <a:cubicBezTo>
                  <a:pt x="42" y="170"/>
                  <a:pt x="36" y="167"/>
                  <a:pt x="31" y="163"/>
                </a:cubicBezTo>
                <a:cubicBezTo>
                  <a:pt x="26" y="159"/>
                  <a:pt x="24" y="153"/>
                  <a:pt x="24" y="145"/>
                </a:cubicBezTo>
                <a:cubicBezTo>
                  <a:pt x="24" y="142"/>
                  <a:pt x="24" y="139"/>
                  <a:pt x="25" y="135"/>
                </a:cubicBezTo>
                <a:cubicBezTo>
                  <a:pt x="25" y="132"/>
                  <a:pt x="25" y="129"/>
                  <a:pt x="26" y="125"/>
                </a:cubicBezTo>
                <a:cubicBezTo>
                  <a:pt x="27" y="121"/>
                  <a:pt x="27" y="118"/>
                  <a:pt x="28" y="115"/>
                </a:cubicBezTo>
                <a:cubicBezTo>
                  <a:pt x="29" y="112"/>
                  <a:pt x="31" y="109"/>
                  <a:pt x="32" y="106"/>
                </a:cubicBezTo>
                <a:cubicBezTo>
                  <a:pt x="34" y="103"/>
                  <a:pt x="36" y="100"/>
                  <a:pt x="38" y="98"/>
                </a:cubicBezTo>
                <a:cubicBezTo>
                  <a:pt x="40" y="96"/>
                  <a:pt x="43" y="94"/>
                  <a:pt x="46" y="93"/>
                </a:cubicBezTo>
                <a:cubicBezTo>
                  <a:pt x="50" y="92"/>
                  <a:pt x="53" y="91"/>
                  <a:pt x="57" y="91"/>
                </a:cubicBezTo>
                <a:cubicBezTo>
                  <a:pt x="58" y="91"/>
                  <a:pt x="59" y="92"/>
                  <a:pt x="61" y="93"/>
                </a:cubicBezTo>
                <a:cubicBezTo>
                  <a:pt x="63" y="94"/>
                  <a:pt x="65" y="96"/>
                  <a:pt x="68" y="98"/>
                </a:cubicBezTo>
                <a:cubicBezTo>
                  <a:pt x="70" y="99"/>
                  <a:pt x="74" y="101"/>
                  <a:pt x="78" y="102"/>
                </a:cubicBezTo>
                <a:cubicBezTo>
                  <a:pt x="82" y="103"/>
                  <a:pt x="86" y="104"/>
                  <a:pt x="91" y="104"/>
                </a:cubicBezTo>
                <a:cubicBezTo>
                  <a:pt x="95" y="104"/>
                  <a:pt x="99" y="103"/>
                  <a:pt x="104" y="102"/>
                </a:cubicBezTo>
                <a:cubicBezTo>
                  <a:pt x="108" y="101"/>
                  <a:pt x="111" y="99"/>
                  <a:pt x="114" y="98"/>
                </a:cubicBezTo>
                <a:cubicBezTo>
                  <a:pt x="116" y="96"/>
                  <a:pt x="118" y="94"/>
                  <a:pt x="121" y="93"/>
                </a:cubicBezTo>
                <a:cubicBezTo>
                  <a:pt x="123" y="92"/>
                  <a:pt x="124" y="91"/>
                  <a:pt x="125" y="91"/>
                </a:cubicBezTo>
                <a:cubicBezTo>
                  <a:pt x="128" y="91"/>
                  <a:pt x="132" y="92"/>
                  <a:pt x="135" y="93"/>
                </a:cubicBezTo>
                <a:cubicBezTo>
                  <a:pt x="138" y="94"/>
                  <a:pt x="141" y="96"/>
                  <a:pt x="143" y="98"/>
                </a:cubicBezTo>
                <a:cubicBezTo>
                  <a:pt x="145" y="100"/>
                  <a:pt x="147" y="103"/>
                  <a:pt x="149" y="106"/>
                </a:cubicBezTo>
                <a:cubicBezTo>
                  <a:pt x="151" y="109"/>
                  <a:pt x="152" y="112"/>
                  <a:pt x="153" y="115"/>
                </a:cubicBezTo>
                <a:cubicBezTo>
                  <a:pt x="154" y="118"/>
                  <a:pt x="155" y="121"/>
                  <a:pt x="156" y="125"/>
                </a:cubicBezTo>
                <a:cubicBezTo>
                  <a:pt x="156" y="129"/>
                  <a:pt x="157" y="132"/>
                  <a:pt x="157" y="135"/>
                </a:cubicBezTo>
                <a:cubicBezTo>
                  <a:pt x="157" y="139"/>
                  <a:pt x="157" y="142"/>
                  <a:pt x="157" y="145"/>
                </a:cubicBezTo>
                <a:close/>
                <a:moveTo>
                  <a:pt x="116" y="35"/>
                </a:moveTo>
                <a:cubicBezTo>
                  <a:pt x="124" y="42"/>
                  <a:pt x="127" y="51"/>
                  <a:pt x="127" y="61"/>
                </a:cubicBezTo>
                <a:cubicBezTo>
                  <a:pt x="127" y="71"/>
                  <a:pt x="124" y="79"/>
                  <a:pt x="116" y="86"/>
                </a:cubicBezTo>
                <a:cubicBezTo>
                  <a:pt x="109" y="93"/>
                  <a:pt x="101" y="97"/>
                  <a:pt x="91" y="97"/>
                </a:cubicBezTo>
                <a:cubicBezTo>
                  <a:pt x="81" y="97"/>
                  <a:pt x="72" y="93"/>
                  <a:pt x="65" y="86"/>
                </a:cubicBezTo>
                <a:cubicBezTo>
                  <a:pt x="58" y="79"/>
                  <a:pt x="54" y="71"/>
                  <a:pt x="54" y="61"/>
                </a:cubicBezTo>
                <a:cubicBezTo>
                  <a:pt x="54" y="51"/>
                  <a:pt x="58" y="42"/>
                  <a:pt x="65" y="35"/>
                </a:cubicBezTo>
                <a:cubicBezTo>
                  <a:pt x="72" y="28"/>
                  <a:pt x="81" y="24"/>
                  <a:pt x="91" y="24"/>
                </a:cubicBezTo>
                <a:cubicBezTo>
                  <a:pt x="101" y="24"/>
                  <a:pt x="109" y="28"/>
                  <a:pt x="116" y="35"/>
                </a:cubicBezTo>
                <a:close/>
                <a:moveTo>
                  <a:pt x="162" y="7"/>
                </a:moveTo>
                <a:cubicBezTo>
                  <a:pt x="167" y="12"/>
                  <a:pt x="169" y="18"/>
                  <a:pt x="169" y="24"/>
                </a:cubicBezTo>
                <a:cubicBezTo>
                  <a:pt x="169" y="31"/>
                  <a:pt x="167" y="37"/>
                  <a:pt x="162" y="42"/>
                </a:cubicBezTo>
                <a:cubicBezTo>
                  <a:pt x="158" y="46"/>
                  <a:pt x="152" y="49"/>
                  <a:pt x="145" y="49"/>
                </a:cubicBezTo>
                <a:cubicBezTo>
                  <a:pt x="139" y="49"/>
                  <a:pt x="133" y="46"/>
                  <a:pt x="128" y="42"/>
                </a:cubicBezTo>
                <a:cubicBezTo>
                  <a:pt x="123" y="37"/>
                  <a:pt x="121" y="31"/>
                  <a:pt x="121" y="24"/>
                </a:cubicBezTo>
                <a:cubicBezTo>
                  <a:pt x="121" y="18"/>
                  <a:pt x="123" y="12"/>
                  <a:pt x="128" y="7"/>
                </a:cubicBezTo>
                <a:cubicBezTo>
                  <a:pt x="133" y="3"/>
                  <a:pt x="139" y="0"/>
                  <a:pt x="145" y="0"/>
                </a:cubicBezTo>
                <a:cubicBezTo>
                  <a:pt x="152" y="0"/>
                  <a:pt x="158" y="3"/>
                  <a:pt x="162" y="7"/>
                </a:cubicBezTo>
                <a:close/>
                <a:moveTo>
                  <a:pt x="182" y="82"/>
                </a:moveTo>
                <a:cubicBezTo>
                  <a:pt x="182" y="87"/>
                  <a:pt x="180" y="91"/>
                  <a:pt x="176" y="93"/>
                </a:cubicBezTo>
                <a:cubicBezTo>
                  <a:pt x="173" y="96"/>
                  <a:pt x="168" y="97"/>
                  <a:pt x="163" y="97"/>
                </a:cubicBezTo>
                <a:cubicBezTo>
                  <a:pt x="151" y="97"/>
                  <a:pt x="151" y="97"/>
                  <a:pt x="151" y="97"/>
                </a:cubicBezTo>
                <a:cubicBezTo>
                  <a:pt x="144" y="89"/>
                  <a:pt x="136" y="85"/>
                  <a:pt x="125" y="85"/>
                </a:cubicBezTo>
                <a:cubicBezTo>
                  <a:pt x="131" y="78"/>
                  <a:pt x="133" y="69"/>
                  <a:pt x="133" y="61"/>
                </a:cubicBezTo>
                <a:cubicBezTo>
                  <a:pt x="133" y="59"/>
                  <a:pt x="133" y="57"/>
                  <a:pt x="133" y="54"/>
                </a:cubicBezTo>
                <a:cubicBezTo>
                  <a:pt x="137" y="56"/>
                  <a:pt x="141" y="57"/>
                  <a:pt x="145" y="57"/>
                </a:cubicBezTo>
                <a:cubicBezTo>
                  <a:pt x="149" y="57"/>
                  <a:pt x="153" y="56"/>
                  <a:pt x="156" y="55"/>
                </a:cubicBezTo>
                <a:cubicBezTo>
                  <a:pt x="160" y="53"/>
                  <a:pt x="163" y="52"/>
                  <a:pt x="166" y="51"/>
                </a:cubicBezTo>
                <a:cubicBezTo>
                  <a:pt x="168" y="49"/>
                  <a:pt x="169" y="49"/>
                  <a:pt x="170" y="49"/>
                </a:cubicBezTo>
                <a:cubicBezTo>
                  <a:pt x="178" y="49"/>
                  <a:pt x="182" y="60"/>
                  <a:pt x="182" y="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4" name="Freeform 174"/>
          <p:cNvSpPr>
            <a:spLocks noChangeAspect="1" noEditPoints="1"/>
          </p:cNvSpPr>
          <p:nvPr/>
        </p:nvSpPr>
        <p:spPr bwMode="auto">
          <a:xfrm>
            <a:off x="3769476" y="2784288"/>
            <a:ext cx="159253" cy="159253"/>
          </a:xfrm>
          <a:custGeom>
            <a:avLst/>
            <a:gdLst>
              <a:gd name="T0" fmla="*/ 146 w 154"/>
              <a:gd name="T1" fmla="*/ 132 h 154"/>
              <a:gd name="T2" fmla="*/ 113 w 154"/>
              <a:gd name="T3" fmla="*/ 154 h 154"/>
              <a:gd name="T4" fmla="*/ 74 w 154"/>
              <a:gd name="T5" fmla="*/ 126 h 154"/>
              <a:gd name="T6" fmla="*/ 75 w 154"/>
              <a:gd name="T7" fmla="*/ 87 h 154"/>
              <a:gd name="T8" fmla="*/ 47 w 154"/>
              <a:gd name="T9" fmla="*/ 87 h 154"/>
              <a:gd name="T10" fmla="*/ 8 w 154"/>
              <a:gd name="T11" fmla="*/ 60 h 154"/>
              <a:gd name="T12" fmla="*/ 8 w 154"/>
              <a:gd name="T13" fmla="*/ 21 h 154"/>
              <a:gd name="T14" fmla="*/ 41 w 154"/>
              <a:gd name="T15" fmla="*/ 0 h 154"/>
              <a:gd name="T16" fmla="*/ 80 w 154"/>
              <a:gd name="T17" fmla="*/ 27 h 154"/>
              <a:gd name="T18" fmla="*/ 79 w 154"/>
              <a:gd name="T19" fmla="*/ 66 h 154"/>
              <a:gd name="T20" fmla="*/ 107 w 154"/>
              <a:gd name="T21" fmla="*/ 66 h 154"/>
              <a:gd name="T22" fmla="*/ 146 w 154"/>
              <a:gd name="T23" fmla="*/ 94 h 154"/>
              <a:gd name="T24" fmla="*/ 70 w 154"/>
              <a:gd name="T25" fmla="*/ 47 h 154"/>
              <a:gd name="T26" fmla="*/ 47 w 154"/>
              <a:gd name="T27" fmla="*/ 21 h 154"/>
              <a:gd name="T28" fmla="*/ 35 w 154"/>
              <a:gd name="T29" fmla="*/ 20 h 154"/>
              <a:gd name="T30" fmla="*/ 18 w 154"/>
              <a:gd name="T31" fmla="*/ 41 h 154"/>
              <a:gd name="T32" fmla="*/ 40 w 154"/>
              <a:gd name="T33" fmla="*/ 67 h 154"/>
              <a:gd name="T34" fmla="*/ 54 w 154"/>
              <a:gd name="T35" fmla="*/ 66 h 154"/>
              <a:gd name="T36" fmla="*/ 50 w 154"/>
              <a:gd name="T37" fmla="*/ 63 h 154"/>
              <a:gd name="T38" fmla="*/ 47 w 154"/>
              <a:gd name="T39" fmla="*/ 58 h 154"/>
              <a:gd name="T40" fmla="*/ 49 w 154"/>
              <a:gd name="T41" fmla="*/ 49 h 154"/>
              <a:gd name="T42" fmla="*/ 58 w 154"/>
              <a:gd name="T43" fmla="*/ 47 h 154"/>
              <a:gd name="T44" fmla="*/ 63 w 154"/>
              <a:gd name="T45" fmla="*/ 50 h 154"/>
              <a:gd name="T46" fmla="*/ 66 w 154"/>
              <a:gd name="T47" fmla="*/ 53 h 154"/>
              <a:gd name="T48" fmla="*/ 136 w 154"/>
              <a:gd name="T49" fmla="*/ 113 h 154"/>
              <a:gd name="T50" fmla="*/ 114 w 154"/>
              <a:gd name="T51" fmla="*/ 87 h 154"/>
              <a:gd name="T52" fmla="*/ 100 w 154"/>
              <a:gd name="T53" fmla="*/ 87 h 154"/>
              <a:gd name="T54" fmla="*/ 104 w 154"/>
              <a:gd name="T55" fmla="*/ 91 h 154"/>
              <a:gd name="T56" fmla="*/ 107 w 154"/>
              <a:gd name="T57" fmla="*/ 95 h 154"/>
              <a:gd name="T58" fmla="*/ 105 w 154"/>
              <a:gd name="T59" fmla="*/ 104 h 154"/>
              <a:gd name="T60" fmla="*/ 96 w 154"/>
              <a:gd name="T61" fmla="*/ 107 h 154"/>
              <a:gd name="T62" fmla="*/ 91 w 154"/>
              <a:gd name="T63" fmla="*/ 104 h 154"/>
              <a:gd name="T64" fmla="*/ 88 w 154"/>
              <a:gd name="T65" fmla="*/ 100 h 154"/>
              <a:gd name="T66" fmla="*/ 87 w 154"/>
              <a:gd name="T67" fmla="*/ 114 h 154"/>
              <a:gd name="T68" fmla="*/ 113 w 154"/>
              <a:gd name="T69" fmla="*/ 136 h 154"/>
              <a:gd name="T70" fmla="*/ 133 w 154"/>
              <a:gd name="T71" fmla="*/ 12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4" h="154">
                <a:moveTo>
                  <a:pt x="154" y="113"/>
                </a:moveTo>
                <a:cubicBezTo>
                  <a:pt x="154" y="121"/>
                  <a:pt x="151" y="127"/>
                  <a:pt x="146" y="132"/>
                </a:cubicBezTo>
                <a:cubicBezTo>
                  <a:pt x="132" y="146"/>
                  <a:pt x="132" y="146"/>
                  <a:pt x="132" y="146"/>
                </a:cubicBezTo>
                <a:cubicBezTo>
                  <a:pt x="127" y="151"/>
                  <a:pt x="121" y="154"/>
                  <a:pt x="113" y="154"/>
                </a:cubicBezTo>
                <a:cubicBezTo>
                  <a:pt x="105" y="154"/>
                  <a:pt x="99" y="151"/>
                  <a:pt x="94" y="146"/>
                </a:cubicBezTo>
                <a:cubicBezTo>
                  <a:pt x="74" y="126"/>
                  <a:pt x="74" y="126"/>
                  <a:pt x="74" y="126"/>
                </a:cubicBezTo>
                <a:cubicBezTo>
                  <a:pt x="69" y="121"/>
                  <a:pt x="66" y="115"/>
                  <a:pt x="66" y="107"/>
                </a:cubicBezTo>
                <a:cubicBezTo>
                  <a:pt x="66" y="99"/>
                  <a:pt x="69" y="93"/>
                  <a:pt x="75" y="87"/>
                </a:cubicBezTo>
                <a:cubicBezTo>
                  <a:pt x="66" y="79"/>
                  <a:pt x="66" y="79"/>
                  <a:pt x="66" y="79"/>
                </a:cubicBezTo>
                <a:cubicBezTo>
                  <a:pt x="61" y="85"/>
                  <a:pt x="54" y="87"/>
                  <a:pt x="47" y="87"/>
                </a:cubicBezTo>
                <a:cubicBezTo>
                  <a:pt x="39" y="87"/>
                  <a:pt x="33" y="85"/>
                  <a:pt x="27" y="80"/>
                </a:cubicBezTo>
                <a:cubicBezTo>
                  <a:pt x="8" y="60"/>
                  <a:pt x="8" y="60"/>
                  <a:pt x="8" y="60"/>
                </a:cubicBezTo>
                <a:cubicBezTo>
                  <a:pt x="2" y="55"/>
                  <a:pt x="0" y="48"/>
                  <a:pt x="0" y="41"/>
                </a:cubicBezTo>
                <a:cubicBezTo>
                  <a:pt x="0" y="33"/>
                  <a:pt x="3" y="27"/>
                  <a:pt x="8" y="21"/>
                </a:cubicBezTo>
                <a:cubicBezTo>
                  <a:pt x="22" y="8"/>
                  <a:pt x="22" y="8"/>
                  <a:pt x="22" y="8"/>
                </a:cubicBezTo>
                <a:cubicBezTo>
                  <a:pt x="27" y="2"/>
                  <a:pt x="33" y="0"/>
                  <a:pt x="41" y="0"/>
                </a:cubicBezTo>
                <a:cubicBezTo>
                  <a:pt x="49" y="0"/>
                  <a:pt x="55" y="2"/>
                  <a:pt x="60" y="8"/>
                </a:cubicBezTo>
                <a:cubicBezTo>
                  <a:pt x="80" y="27"/>
                  <a:pt x="80" y="27"/>
                  <a:pt x="80" y="27"/>
                </a:cubicBezTo>
                <a:cubicBezTo>
                  <a:pt x="85" y="33"/>
                  <a:pt x="88" y="39"/>
                  <a:pt x="88" y="47"/>
                </a:cubicBezTo>
                <a:cubicBezTo>
                  <a:pt x="88" y="54"/>
                  <a:pt x="85" y="61"/>
                  <a:pt x="79" y="66"/>
                </a:cubicBezTo>
                <a:cubicBezTo>
                  <a:pt x="88" y="75"/>
                  <a:pt x="88" y="75"/>
                  <a:pt x="88" y="75"/>
                </a:cubicBezTo>
                <a:cubicBezTo>
                  <a:pt x="93" y="69"/>
                  <a:pt x="100" y="66"/>
                  <a:pt x="107" y="66"/>
                </a:cubicBezTo>
                <a:cubicBezTo>
                  <a:pt x="115" y="66"/>
                  <a:pt x="121" y="69"/>
                  <a:pt x="127" y="74"/>
                </a:cubicBezTo>
                <a:cubicBezTo>
                  <a:pt x="146" y="94"/>
                  <a:pt x="146" y="94"/>
                  <a:pt x="146" y="94"/>
                </a:cubicBezTo>
                <a:cubicBezTo>
                  <a:pt x="151" y="99"/>
                  <a:pt x="154" y="106"/>
                  <a:pt x="154" y="113"/>
                </a:cubicBezTo>
                <a:close/>
                <a:moveTo>
                  <a:pt x="70" y="47"/>
                </a:moveTo>
                <a:cubicBezTo>
                  <a:pt x="70" y="44"/>
                  <a:pt x="69" y="42"/>
                  <a:pt x="67" y="40"/>
                </a:cubicBezTo>
                <a:cubicBezTo>
                  <a:pt x="47" y="21"/>
                  <a:pt x="47" y="21"/>
                  <a:pt x="47" y="21"/>
                </a:cubicBezTo>
                <a:cubicBezTo>
                  <a:pt x="46" y="19"/>
                  <a:pt x="43" y="18"/>
                  <a:pt x="41" y="18"/>
                </a:cubicBezTo>
                <a:cubicBezTo>
                  <a:pt x="39" y="18"/>
                  <a:pt x="36" y="19"/>
                  <a:pt x="35" y="20"/>
                </a:cubicBezTo>
                <a:cubicBezTo>
                  <a:pt x="21" y="34"/>
                  <a:pt x="21" y="34"/>
                  <a:pt x="21" y="34"/>
                </a:cubicBezTo>
                <a:cubicBezTo>
                  <a:pt x="19" y="36"/>
                  <a:pt x="18" y="38"/>
                  <a:pt x="18" y="41"/>
                </a:cubicBezTo>
                <a:cubicBezTo>
                  <a:pt x="18" y="43"/>
                  <a:pt x="19" y="45"/>
                  <a:pt x="21" y="47"/>
                </a:cubicBezTo>
                <a:cubicBezTo>
                  <a:pt x="40" y="67"/>
                  <a:pt x="40" y="67"/>
                  <a:pt x="40" y="67"/>
                </a:cubicBezTo>
                <a:cubicBezTo>
                  <a:pt x="42" y="68"/>
                  <a:pt x="44" y="69"/>
                  <a:pt x="47" y="69"/>
                </a:cubicBezTo>
                <a:cubicBezTo>
                  <a:pt x="49" y="69"/>
                  <a:pt x="52" y="68"/>
                  <a:pt x="54" y="66"/>
                </a:cubicBezTo>
                <a:cubicBezTo>
                  <a:pt x="53" y="66"/>
                  <a:pt x="53" y="66"/>
                  <a:pt x="52" y="65"/>
                </a:cubicBezTo>
                <a:cubicBezTo>
                  <a:pt x="51" y="64"/>
                  <a:pt x="50" y="63"/>
                  <a:pt x="50" y="63"/>
                </a:cubicBezTo>
                <a:cubicBezTo>
                  <a:pt x="49" y="62"/>
                  <a:pt x="49" y="62"/>
                  <a:pt x="48" y="61"/>
                </a:cubicBezTo>
                <a:cubicBezTo>
                  <a:pt x="48" y="60"/>
                  <a:pt x="47" y="59"/>
                  <a:pt x="47" y="58"/>
                </a:cubicBezTo>
                <a:cubicBezTo>
                  <a:pt x="47" y="58"/>
                  <a:pt x="47" y="57"/>
                  <a:pt x="47" y="56"/>
                </a:cubicBezTo>
                <a:cubicBezTo>
                  <a:pt x="47" y="53"/>
                  <a:pt x="48" y="51"/>
                  <a:pt x="49" y="49"/>
                </a:cubicBezTo>
                <a:cubicBezTo>
                  <a:pt x="51" y="48"/>
                  <a:pt x="53" y="47"/>
                  <a:pt x="56" y="47"/>
                </a:cubicBezTo>
                <a:cubicBezTo>
                  <a:pt x="57" y="47"/>
                  <a:pt x="58" y="47"/>
                  <a:pt x="58" y="47"/>
                </a:cubicBezTo>
                <a:cubicBezTo>
                  <a:pt x="59" y="47"/>
                  <a:pt x="60" y="48"/>
                  <a:pt x="61" y="48"/>
                </a:cubicBezTo>
                <a:cubicBezTo>
                  <a:pt x="62" y="49"/>
                  <a:pt x="62" y="49"/>
                  <a:pt x="63" y="50"/>
                </a:cubicBezTo>
                <a:cubicBezTo>
                  <a:pt x="63" y="50"/>
                  <a:pt x="64" y="51"/>
                  <a:pt x="65" y="52"/>
                </a:cubicBezTo>
                <a:cubicBezTo>
                  <a:pt x="66" y="53"/>
                  <a:pt x="66" y="53"/>
                  <a:pt x="66" y="53"/>
                </a:cubicBezTo>
                <a:cubicBezTo>
                  <a:pt x="68" y="51"/>
                  <a:pt x="70" y="49"/>
                  <a:pt x="70" y="47"/>
                </a:cubicBezTo>
                <a:close/>
                <a:moveTo>
                  <a:pt x="136" y="113"/>
                </a:moveTo>
                <a:cubicBezTo>
                  <a:pt x="136" y="111"/>
                  <a:pt x="135" y="109"/>
                  <a:pt x="133" y="107"/>
                </a:cubicBezTo>
                <a:cubicBezTo>
                  <a:pt x="114" y="87"/>
                  <a:pt x="114" y="87"/>
                  <a:pt x="114" y="87"/>
                </a:cubicBezTo>
                <a:cubicBezTo>
                  <a:pt x="112" y="85"/>
                  <a:pt x="110" y="84"/>
                  <a:pt x="107" y="84"/>
                </a:cubicBezTo>
                <a:cubicBezTo>
                  <a:pt x="105" y="84"/>
                  <a:pt x="102" y="85"/>
                  <a:pt x="100" y="87"/>
                </a:cubicBezTo>
                <a:cubicBezTo>
                  <a:pt x="101" y="88"/>
                  <a:pt x="101" y="88"/>
                  <a:pt x="102" y="89"/>
                </a:cubicBezTo>
                <a:cubicBezTo>
                  <a:pt x="103" y="90"/>
                  <a:pt x="104" y="91"/>
                  <a:pt x="104" y="91"/>
                </a:cubicBezTo>
                <a:cubicBezTo>
                  <a:pt x="105" y="92"/>
                  <a:pt x="105" y="92"/>
                  <a:pt x="106" y="93"/>
                </a:cubicBezTo>
                <a:cubicBezTo>
                  <a:pt x="106" y="94"/>
                  <a:pt x="107" y="95"/>
                  <a:pt x="107" y="95"/>
                </a:cubicBezTo>
                <a:cubicBezTo>
                  <a:pt x="107" y="96"/>
                  <a:pt x="107" y="97"/>
                  <a:pt x="107" y="98"/>
                </a:cubicBezTo>
                <a:cubicBezTo>
                  <a:pt x="107" y="101"/>
                  <a:pt x="106" y="103"/>
                  <a:pt x="105" y="104"/>
                </a:cubicBezTo>
                <a:cubicBezTo>
                  <a:pt x="103" y="106"/>
                  <a:pt x="101" y="107"/>
                  <a:pt x="98" y="107"/>
                </a:cubicBezTo>
                <a:cubicBezTo>
                  <a:pt x="97" y="107"/>
                  <a:pt x="96" y="107"/>
                  <a:pt x="96" y="107"/>
                </a:cubicBezTo>
                <a:cubicBezTo>
                  <a:pt x="95" y="107"/>
                  <a:pt x="94" y="106"/>
                  <a:pt x="93" y="106"/>
                </a:cubicBezTo>
                <a:cubicBezTo>
                  <a:pt x="92" y="105"/>
                  <a:pt x="92" y="105"/>
                  <a:pt x="91" y="104"/>
                </a:cubicBezTo>
                <a:cubicBezTo>
                  <a:pt x="91" y="104"/>
                  <a:pt x="90" y="103"/>
                  <a:pt x="89" y="102"/>
                </a:cubicBezTo>
                <a:cubicBezTo>
                  <a:pt x="88" y="101"/>
                  <a:pt x="88" y="101"/>
                  <a:pt x="88" y="100"/>
                </a:cubicBezTo>
                <a:cubicBezTo>
                  <a:pt x="85" y="102"/>
                  <a:pt x="84" y="105"/>
                  <a:pt x="84" y="107"/>
                </a:cubicBezTo>
                <a:cubicBezTo>
                  <a:pt x="84" y="110"/>
                  <a:pt x="85" y="112"/>
                  <a:pt x="87" y="114"/>
                </a:cubicBezTo>
                <a:cubicBezTo>
                  <a:pt x="107" y="133"/>
                  <a:pt x="107" y="133"/>
                  <a:pt x="107" y="133"/>
                </a:cubicBezTo>
                <a:cubicBezTo>
                  <a:pt x="108" y="135"/>
                  <a:pt x="110" y="136"/>
                  <a:pt x="113" y="136"/>
                </a:cubicBezTo>
                <a:cubicBezTo>
                  <a:pt x="116" y="136"/>
                  <a:pt x="118" y="135"/>
                  <a:pt x="119" y="133"/>
                </a:cubicBezTo>
                <a:cubicBezTo>
                  <a:pt x="133" y="120"/>
                  <a:pt x="133" y="120"/>
                  <a:pt x="133" y="120"/>
                </a:cubicBezTo>
                <a:cubicBezTo>
                  <a:pt x="135" y="118"/>
                  <a:pt x="136" y="116"/>
                  <a:pt x="136" y="1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5" name="Freeform 175"/>
          <p:cNvSpPr>
            <a:spLocks noChangeAspect="1"/>
          </p:cNvSpPr>
          <p:nvPr/>
        </p:nvSpPr>
        <p:spPr bwMode="auto">
          <a:xfrm>
            <a:off x="3972446" y="2795218"/>
            <a:ext cx="187357" cy="137395"/>
          </a:xfrm>
          <a:custGeom>
            <a:avLst/>
            <a:gdLst>
              <a:gd name="T0" fmla="*/ 182 w 182"/>
              <a:gd name="T1" fmla="*/ 97 h 133"/>
              <a:gd name="T2" fmla="*/ 171 w 182"/>
              <a:gd name="T3" fmla="*/ 123 h 133"/>
              <a:gd name="T4" fmla="*/ 146 w 182"/>
              <a:gd name="T5" fmla="*/ 133 h 133"/>
              <a:gd name="T6" fmla="*/ 43 w 182"/>
              <a:gd name="T7" fmla="*/ 133 h 133"/>
              <a:gd name="T8" fmla="*/ 13 w 182"/>
              <a:gd name="T9" fmla="*/ 121 h 133"/>
              <a:gd name="T10" fmla="*/ 0 w 182"/>
              <a:gd name="T11" fmla="*/ 91 h 133"/>
              <a:gd name="T12" fmla="*/ 7 w 182"/>
              <a:gd name="T13" fmla="*/ 68 h 133"/>
              <a:gd name="T14" fmla="*/ 25 w 182"/>
              <a:gd name="T15" fmla="*/ 53 h 133"/>
              <a:gd name="T16" fmla="*/ 25 w 182"/>
              <a:gd name="T17" fmla="*/ 49 h 133"/>
              <a:gd name="T18" fmla="*/ 39 w 182"/>
              <a:gd name="T19" fmla="*/ 15 h 133"/>
              <a:gd name="T20" fmla="*/ 73 w 182"/>
              <a:gd name="T21" fmla="*/ 0 h 133"/>
              <a:gd name="T22" fmla="*/ 100 w 182"/>
              <a:gd name="T23" fmla="*/ 9 h 133"/>
              <a:gd name="T24" fmla="*/ 118 w 182"/>
              <a:gd name="T25" fmla="*/ 30 h 133"/>
              <a:gd name="T26" fmla="*/ 134 w 182"/>
              <a:gd name="T27" fmla="*/ 25 h 133"/>
              <a:gd name="T28" fmla="*/ 151 w 182"/>
              <a:gd name="T29" fmla="*/ 32 h 133"/>
              <a:gd name="T30" fmla="*/ 158 w 182"/>
              <a:gd name="T31" fmla="*/ 49 h 133"/>
              <a:gd name="T32" fmla="*/ 154 w 182"/>
              <a:gd name="T33" fmla="*/ 62 h 133"/>
              <a:gd name="T34" fmla="*/ 174 w 182"/>
              <a:gd name="T35" fmla="*/ 74 h 133"/>
              <a:gd name="T36" fmla="*/ 182 w 182"/>
              <a:gd name="T37" fmla="*/ 97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2" h="133">
                <a:moveTo>
                  <a:pt x="182" y="97"/>
                </a:moveTo>
                <a:cubicBezTo>
                  <a:pt x="182" y="107"/>
                  <a:pt x="178" y="116"/>
                  <a:pt x="171" y="123"/>
                </a:cubicBezTo>
                <a:cubicBezTo>
                  <a:pt x="164" y="130"/>
                  <a:pt x="156" y="133"/>
                  <a:pt x="146" y="133"/>
                </a:cubicBezTo>
                <a:cubicBezTo>
                  <a:pt x="43" y="133"/>
                  <a:pt x="43" y="133"/>
                  <a:pt x="43" y="133"/>
                </a:cubicBezTo>
                <a:cubicBezTo>
                  <a:pt x="31" y="133"/>
                  <a:pt x="21" y="129"/>
                  <a:pt x="13" y="121"/>
                </a:cubicBezTo>
                <a:cubicBezTo>
                  <a:pt x="5" y="113"/>
                  <a:pt x="0" y="103"/>
                  <a:pt x="0" y="91"/>
                </a:cubicBezTo>
                <a:cubicBezTo>
                  <a:pt x="0" y="83"/>
                  <a:pt x="3" y="75"/>
                  <a:pt x="7" y="68"/>
                </a:cubicBezTo>
                <a:cubicBezTo>
                  <a:pt x="12" y="61"/>
                  <a:pt x="18" y="56"/>
                  <a:pt x="25" y="53"/>
                </a:cubicBezTo>
                <a:cubicBezTo>
                  <a:pt x="25" y="51"/>
                  <a:pt x="25" y="50"/>
                  <a:pt x="25" y="49"/>
                </a:cubicBezTo>
                <a:cubicBezTo>
                  <a:pt x="25" y="35"/>
                  <a:pt x="29" y="24"/>
                  <a:pt x="39" y="15"/>
                </a:cubicBezTo>
                <a:cubicBezTo>
                  <a:pt x="48" y="5"/>
                  <a:pt x="60" y="0"/>
                  <a:pt x="73" y="0"/>
                </a:cubicBezTo>
                <a:cubicBezTo>
                  <a:pt x="83" y="0"/>
                  <a:pt x="92" y="3"/>
                  <a:pt x="100" y="9"/>
                </a:cubicBezTo>
                <a:cubicBezTo>
                  <a:pt x="108" y="14"/>
                  <a:pt x="114" y="21"/>
                  <a:pt x="118" y="30"/>
                </a:cubicBezTo>
                <a:cubicBezTo>
                  <a:pt x="122" y="26"/>
                  <a:pt x="128" y="25"/>
                  <a:pt x="134" y="25"/>
                </a:cubicBezTo>
                <a:cubicBezTo>
                  <a:pt x="140" y="25"/>
                  <a:pt x="146" y="27"/>
                  <a:pt x="151" y="32"/>
                </a:cubicBezTo>
                <a:cubicBezTo>
                  <a:pt x="155" y="36"/>
                  <a:pt x="158" y="42"/>
                  <a:pt x="158" y="49"/>
                </a:cubicBezTo>
                <a:cubicBezTo>
                  <a:pt x="158" y="53"/>
                  <a:pt x="156" y="58"/>
                  <a:pt x="154" y="62"/>
                </a:cubicBezTo>
                <a:cubicBezTo>
                  <a:pt x="162" y="64"/>
                  <a:pt x="169" y="68"/>
                  <a:pt x="174" y="74"/>
                </a:cubicBezTo>
                <a:cubicBezTo>
                  <a:pt x="179" y="81"/>
                  <a:pt x="182" y="89"/>
                  <a:pt x="182" y="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6" name="Freeform 176"/>
          <p:cNvSpPr>
            <a:spLocks noChangeAspect="1" noEditPoints="1"/>
          </p:cNvSpPr>
          <p:nvPr/>
        </p:nvSpPr>
        <p:spPr bwMode="auto">
          <a:xfrm>
            <a:off x="4212887" y="2795218"/>
            <a:ext cx="143640" cy="151447"/>
          </a:xfrm>
          <a:custGeom>
            <a:avLst/>
            <a:gdLst>
              <a:gd name="T0" fmla="*/ 135 w 139"/>
              <a:gd name="T1" fmla="*/ 125 h 146"/>
              <a:gd name="T2" fmla="*/ 137 w 139"/>
              <a:gd name="T3" fmla="*/ 140 h 146"/>
              <a:gd name="T4" fmla="*/ 124 w 139"/>
              <a:gd name="T5" fmla="*/ 146 h 146"/>
              <a:gd name="T6" fmla="*/ 15 w 139"/>
              <a:gd name="T7" fmla="*/ 146 h 146"/>
              <a:gd name="T8" fmla="*/ 2 w 139"/>
              <a:gd name="T9" fmla="*/ 140 h 146"/>
              <a:gd name="T10" fmla="*/ 4 w 139"/>
              <a:gd name="T11" fmla="*/ 125 h 146"/>
              <a:gd name="T12" fmla="*/ 51 w 139"/>
              <a:gd name="T13" fmla="*/ 50 h 146"/>
              <a:gd name="T14" fmla="*/ 51 w 139"/>
              <a:gd name="T15" fmla="*/ 12 h 146"/>
              <a:gd name="T16" fmla="*/ 45 w 139"/>
              <a:gd name="T17" fmla="*/ 12 h 146"/>
              <a:gd name="T18" fmla="*/ 41 w 139"/>
              <a:gd name="T19" fmla="*/ 11 h 146"/>
              <a:gd name="T20" fmla="*/ 39 w 139"/>
              <a:gd name="T21" fmla="*/ 6 h 146"/>
              <a:gd name="T22" fmla="*/ 41 w 139"/>
              <a:gd name="T23" fmla="*/ 2 h 146"/>
              <a:gd name="T24" fmla="*/ 45 w 139"/>
              <a:gd name="T25" fmla="*/ 0 h 146"/>
              <a:gd name="T26" fmla="*/ 94 w 139"/>
              <a:gd name="T27" fmla="*/ 0 h 146"/>
              <a:gd name="T28" fmla="*/ 98 w 139"/>
              <a:gd name="T29" fmla="*/ 2 h 146"/>
              <a:gd name="T30" fmla="*/ 100 w 139"/>
              <a:gd name="T31" fmla="*/ 6 h 146"/>
              <a:gd name="T32" fmla="*/ 98 w 139"/>
              <a:gd name="T33" fmla="*/ 11 h 146"/>
              <a:gd name="T34" fmla="*/ 94 w 139"/>
              <a:gd name="T35" fmla="*/ 12 h 146"/>
              <a:gd name="T36" fmla="*/ 88 w 139"/>
              <a:gd name="T37" fmla="*/ 12 h 146"/>
              <a:gd name="T38" fmla="*/ 88 w 139"/>
              <a:gd name="T39" fmla="*/ 50 h 146"/>
              <a:gd name="T40" fmla="*/ 135 w 139"/>
              <a:gd name="T41" fmla="*/ 125 h 146"/>
              <a:gd name="T42" fmla="*/ 61 w 139"/>
              <a:gd name="T43" fmla="*/ 57 h 146"/>
              <a:gd name="T44" fmla="*/ 36 w 139"/>
              <a:gd name="T45" fmla="*/ 97 h 146"/>
              <a:gd name="T46" fmla="*/ 103 w 139"/>
              <a:gd name="T47" fmla="*/ 97 h 146"/>
              <a:gd name="T48" fmla="*/ 77 w 139"/>
              <a:gd name="T49" fmla="*/ 57 h 146"/>
              <a:gd name="T50" fmla="*/ 75 w 139"/>
              <a:gd name="T51" fmla="*/ 54 h 146"/>
              <a:gd name="T52" fmla="*/ 75 w 139"/>
              <a:gd name="T53" fmla="*/ 50 h 146"/>
              <a:gd name="T54" fmla="*/ 75 w 139"/>
              <a:gd name="T55" fmla="*/ 12 h 146"/>
              <a:gd name="T56" fmla="*/ 63 w 139"/>
              <a:gd name="T57" fmla="*/ 12 h 146"/>
              <a:gd name="T58" fmla="*/ 63 w 139"/>
              <a:gd name="T59" fmla="*/ 50 h 146"/>
              <a:gd name="T60" fmla="*/ 63 w 139"/>
              <a:gd name="T61" fmla="*/ 54 h 146"/>
              <a:gd name="T62" fmla="*/ 61 w 139"/>
              <a:gd name="T63" fmla="*/ 5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9" h="146">
                <a:moveTo>
                  <a:pt x="135" y="125"/>
                </a:moveTo>
                <a:cubicBezTo>
                  <a:pt x="139" y="131"/>
                  <a:pt x="139" y="136"/>
                  <a:pt x="137" y="140"/>
                </a:cubicBezTo>
                <a:cubicBezTo>
                  <a:pt x="135" y="144"/>
                  <a:pt x="131" y="146"/>
                  <a:pt x="124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8" y="146"/>
                  <a:pt x="4" y="144"/>
                  <a:pt x="2" y="140"/>
                </a:cubicBezTo>
                <a:cubicBezTo>
                  <a:pt x="0" y="136"/>
                  <a:pt x="0" y="131"/>
                  <a:pt x="4" y="125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12"/>
                  <a:pt x="51" y="12"/>
                  <a:pt x="51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4" y="12"/>
                  <a:pt x="42" y="12"/>
                  <a:pt x="41" y="11"/>
                </a:cubicBezTo>
                <a:cubicBezTo>
                  <a:pt x="40" y="9"/>
                  <a:pt x="39" y="8"/>
                  <a:pt x="39" y="6"/>
                </a:cubicBezTo>
                <a:cubicBezTo>
                  <a:pt x="39" y="5"/>
                  <a:pt x="40" y="3"/>
                  <a:pt x="41" y="2"/>
                </a:cubicBezTo>
                <a:cubicBezTo>
                  <a:pt x="42" y="1"/>
                  <a:pt x="44" y="0"/>
                  <a:pt x="45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5" y="0"/>
                  <a:pt x="97" y="1"/>
                  <a:pt x="98" y="2"/>
                </a:cubicBezTo>
                <a:cubicBezTo>
                  <a:pt x="99" y="3"/>
                  <a:pt x="100" y="5"/>
                  <a:pt x="100" y="6"/>
                </a:cubicBezTo>
                <a:cubicBezTo>
                  <a:pt x="100" y="8"/>
                  <a:pt x="99" y="9"/>
                  <a:pt x="98" y="11"/>
                </a:cubicBezTo>
                <a:cubicBezTo>
                  <a:pt x="97" y="12"/>
                  <a:pt x="95" y="12"/>
                  <a:pt x="94" y="12"/>
                </a:cubicBezTo>
                <a:cubicBezTo>
                  <a:pt x="88" y="12"/>
                  <a:pt x="88" y="12"/>
                  <a:pt x="88" y="12"/>
                </a:cubicBezTo>
                <a:cubicBezTo>
                  <a:pt x="88" y="50"/>
                  <a:pt x="88" y="50"/>
                  <a:pt x="88" y="50"/>
                </a:cubicBezTo>
                <a:lnTo>
                  <a:pt x="135" y="125"/>
                </a:lnTo>
                <a:close/>
                <a:moveTo>
                  <a:pt x="61" y="57"/>
                </a:moveTo>
                <a:cubicBezTo>
                  <a:pt x="36" y="97"/>
                  <a:pt x="36" y="97"/>
                  <a:pt x="36" y="97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77" y="57"/>
                  <a:pt x="77" y="57"/>
                  <a:pt x="77" y="57"/>
                </a:cubicBezTo>
                <a:cubicBezTo>
                  <a:pt x="75" y="54"/>
                  <a:pt x="75" y="54"/>
                  <a:pt x="75" y="54"/>
                </a:cubicBezTo>
                <a:cubicBezTo>
                  <a:pt x="75" y="50"/>
                  <a:pt x="75" y="50"/>
                  <a:pt x="75" y="50"/>
                </a:cubicBezTo>
                <a:cubicBezTo>
                  <a:pt x="75" y="12"/>
                  <a:pt x="75" y="12"/>
                  <a:pt x="75" y="12"/>
                </a:cubicBezTo>
                <a:cubicBezTo>
                  <a:pt x="63" y="12"/>
                  <a:pt x="63" y="12"/>
                  <a:pt x="63" y="12"/>
                </a:cubicBezTo>
                <a:cubicBezTo>
                  <a:pt x="63" y="50"/>
                  <a:pt x="63" y="50"/>
                  <a:pt x="63" y="50"/>
                </a:cubicBezTo>
                <a:cubicBezTo>
                  <a:pt x="63" y="54"/>
                  <a:pt x="63" y="54"/>
                  <a:pt x="63" y="54"/>
                </a:cubicBezTo>
                <a:lnTo>
                  <a:pt x="61" y="5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7" name="Freeform 177"/>
          <p:cNvSpPr>
            <a:spLocks noChangeAspect="1" noEditPoints="1"/>
          </p:cNvSpPr>
          <p:nvPr/>
        </p:nvSpPr>
        <p:spPr bwMode="auto">
          <a:xfrm>
            <a:off x="4406489" y="2807708"/>
            <a:ext cx="176428" cy="138956"/>
          </a:xfrm>
          <a:custGeom>
            <a:avLst/>
            <a:gdLst>
              <a:gd name="T0" fmla="*/ 168 w 170"/>
              <a:gd name="T1" fmla="*/ 105 h 134"/>
              <a:gd name="T2" fmla="*/ 167 w 170"/>
              <a:gd name="T3" fmla="*/ 115 h 134"/>
              <a:gd name="T4" fmla="*/ 152 w 170"/>
              <a:gd name="T5" fmla="*/ 121 h 134"/>
              <a:gd name="T6" fmla="*/ 84 w 170"/>
              <a:gd name="T7" fmla="*/ 84 h 134"/>
              <a:gd name="T8" fmla="*/ 72 w 170"/>
              <a:gd name="T9" fmla="*/ 91 h 134"/>
              <a:gd name="T10" fmla="*/ 68 w 170"/>
              <a:gd name="T11" fmla="*/ 114 h 134"/>
              <a:gd name="T12" fmla="*/ 29 w 170"/>
              <a:gd name="T13" fmla="*/ 134 h 134"/>
              <a:gd name="T14" fmla="*/ 1 w 170"/>
              <a:gd name="T15" fmla="*/ 107 h 134"/>
              <a:gd name="T16" fmla="*/ 19 w 170"/>
              <a:gd name="T17" fmla="*/ 81 h 134"/>
              <a:gd name="T18" fmla="*/ 59 w 170"/>
              <a:gd name="T19" fmla="*/ 76 h 134"/>
              <a:gd name="T20" fmla="*/ 73 w 170"/>
              <a:gd name="T21" fmla="*/ 67 h 134"/>
              <a:gd name="T22" fmla="*/ 59 w 170"/>
              <a:gd name="T23" fmla="*/ 58 h 134"/>
              <a:gd name="T24" fmla="*/ 19 w 170"/>
              <a:gd name="T25" fmla="*/ 53 h 134"/>
              <a:gd name="T26" fmla="*/ 1 w 170"/>
              <a:gd name="T27" fmla="*/ 27 h 134"/>
              <a:gd name="T28" fmla="*/ 8 w 170"/>
              <a:gd name="T29" fmla="*/ 8 h 134"/>
              <a:gd name="T30" fmla="*/ 56 w 170"/>
              <a:gd name="T31" fmla="*/ 8 h 134"/>
              <a:gd name="T32" fmla="*/ 73 w 170"/>
              <a:gd name="T33" fmla="*/ 34 h 134"/>
              <a:gd name="T34" fmla="*/ 74 w 170"/>
              <a:gd name="T35" fmla="*/ 44 h 134"/>
              <a:gd name="T36" fmla="*/ 149 w 170"/>
              <a:gd name="T37" fmla="*/ 13 h 134"/>
              <a:gd name="T38" fmla="*/ 155 w 170"/>
              <a:gd name="T39" fmla="*/ 13 h 134"/>
              <a:gd name="T40" fmla="*/ 170 w 170"/>
              <a:gd name="T41" fmla="*/ 24 h 134"/>
              <a:gd name="T42" fmla="*/ 120 w 170"/>
              <a:gd name="T43" fmla="*/ 67 h 134"/>
              <a:gd name="T44" fmla="*/ 58 w 170"/>
              <a:gd name="T45" fmla="*/ 102 h 134"/>
              <a:gd name="T46" fmla="*/ 45 w 170"/>
              <a:gd name="T47" fmla="*/ 88 h 134"/>
              <a:gd name="T48" fmla="*/ 17 w 170"/>
              <a:gd name="T49" fmla="*/ 105 h 134"/>
              <a:gd name="T50" fmla="*/ 29 w 170"/>
              <a:gd name="T51" fmla="*/ 118 h 134"/>
              <a:gd name="T52" fmla="*/ 56 w 170"/>
              <a:gd name="T53" fmla="*/ 42 h 134"/>
              <a:gd name="T54" fmla="*/ 48 w 170"/>
              <a:gd name="T55" fmla="*/ 21 h 134"/>
              <a:gd name="T56" fmla="*/ 19 w 170"/>
              <a:gd name="T57" fmla="*/ 19 h 134"/>
              <a:gd name="T58" fmla="*/ 27 w 170"/>
              <a:gd name="T59" fmla="*/ 40 h 134"/>
              <a:gd name="T60" fmla="*/ 56 w 170"/>
              <a:gd name="T61" fmla="*/ 42 h 134"/>
              <a:gd name="T62" fmla="*/ 95 w 170"/>
              <a:gd name="T63" fmla="*/ 79 h 134"/>
              <a:gd name="T64" fmla="*/ 152 w 170"/>
              <a:gd name="T65" fmla="*/ 19 h 134"/>
              <a:gd name="T66" fmla="*/ 80 w 170"/>
              <a:gd name="T67" fmla="*/ 70 h 134"/>
              <a:gd name="T68" fmla="*/ 65 w 170"/>
              <a:gd name="T69" fmla="*/ 80 h 134"/>
              <a:gd name="T70" fmla="*/ 67 w 170"/>
              <a:gd name="T71" fmla="*/ 82 h 134"/>
              <a:gd name="T72" fmla="*/ 70 w 170"/>
              <a:gd name="T73" fmla="*/ 85 h 134"/>
              <a:gd name="T74" fmla="*/ 64 w 170"/>
              <a:gd name="T75" fmla="*/ 55 h 134"/>
              <a:gd name="T76" fmla="*/ 73 w 170"/>
              <a:gd name="T77" fmla="*/ 59 h 134"/>
              <a:gd name="T78" fmla="*/ 78 w 170"/>
              <a:gd name="T79" fmla="*/ 53 h 134"/>
              <a:gd name="T80" fmla="*/ 68 w 170"/>
              <a:gd name="T81" fmla="*/ 51 h 134"/>
              <a:gd name="T82" fmla="*/ 66 w 170"/>
              <a:gd name="T83" fmla="*/ 53 h 134"/>
              <a:gd name="T84" fmla="*/ 65 w 170"/>
              <a:gd name="T85" fmla="*/ 54 h 134"/>
              <a:gd name="T86" fmla="*/ 87 w 170"/>
              <a:gd name="T87" fmla="*/ 63 h 134"/>
              <a:gd name="T88" fmla="*/ 96 w 170"/>
              <a:gd name="T89" fmla="*/ 63 h 134"/>
              <a:gd name="T90" fmla="*/ 96 w 170"/>
              <a:gd name="T91" fmla="*/ 71 h 134"/>
              <a:gd name="T92" fmla="*/ 87 w 170"/>
              <a:gd name="T93" fmla="*/ 71 h 134"/>
              <a:gd name="T94" fmla="*/ 87 w 170"/>
              <a:gd name="T95" fmla="*/ 63 h 134"/>
              <a:gd name="T96" fmla="*/ 164 w 170"/>
              <a:gd name="T97" fmla="*/ 109 h 134"/>
              <a:gd name="T98" fmla="*/ 98 w 170"/>
              <a:gd name="T99" fmla="*/ 84 h 134"/>
              <a:gd name="T100" fmla="*/ 152 w 170"/>
              <a:gd name="T101" fmla="*/ 115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0" h="134">
                <a:moveTo>
                  <a:pt x="120" y="67"/>
                </a:moveTo>
                <a:cubicBezTo>
                  <a:pt x="168" y="105"/>
                  <a:pt x="168" y="105"/>
                  <a:pt x="168" y="105"/>
                </a:cubicBezTo>
                <a:cubicBezTo>
                  <a:pt x="170" y="106"/>
                  <a:pt x="170" y="108"/>
                  <a:pt x="170" y="110"/>
                </a:cubicBezTo>
                <a:cubicBezTo>
                  <a:pt x="170" y="112"/>
                  <a:pt x="169" y="114"/>
                  <a:pt x="167" y="115"/>
                </a:cubicBezTo>
                <a:cubicBezTo>
                  <a:pt x="155" y="121"/>
                  <a:pt x="155" y="121"/>
                  <a:pt x="155" y="121"/>
                </a:cubicBezTo>
                <a:cubicBezTo>
                  <a:pt x="154" y="121"/>
                  <a:pt x="153" y="121"/>
                  <a:pt x="152" y="121"/>
                </a:cubicBezTo>
                <a:cubicBezTo>
                  <a:pt x="151" y="121"/>
                  <a:pt x="150" y="121"/>
                  <a:pt x="149" y="121"/>
                </a:cubicBezTo>
                <a:cubicBezTo>
                  <a:pt x="84" y="84"/>
                  <a:pt x="84" y="84"/>
                  <a:pt x="84" y="84"/>
                </a:cubicBezTo>
                <a:cubicBezTo>
                  <a:pt x="74" y="90"/>
                  <a:pt x="74" y="90"/>
                  <a:pt x="74" y="90"/>
                </a:cubicBezTo>
                <a:cubicBezTo>
                  <a:pt x="73" y="91"/>
                  <a:pt x="73" y="91"/>
                  <a:pt x="72" y="91"/>
                </a:cubicBezTo>
                <a:cubicBezTo>
                  <a:pt x="73" y="94"/>
                  <a:pt x="74" y="97"/>
                  <a:pt x="73" y="100"/>
                </a:cubicBezTo>
                <a:cubicBezTo>
                  <a:pt x="73" y="105"/>
                  <a:pt x="71" y="109"/>
                  <a:pt x="68" y="114"/>
                </a:cubicBezTo>
                <a:cubicBezTo>
                  <a:pt x="65" y="118"/>
                  <a:pt x="61" y="122"/>
                  <a:pt x="56" y="126"/>
                </a:cubicBezTo>
                <a:cubicBezTo>
                  <a:pt x="47" y="131"/>
                  <a:pt x="39" y="134"/>
                  <a:pt x="29" y="134"/>
                </a:cubicBezTo>
                <a:cubicBezTo>
                  <a:pt x="21" y="134"/>
                  <a:pt x="14" y="131"/>
                  <a:pt x="8" y="126"/>
                </a:cubicBezTo>
                <a:cubicBezTo>
                  <a:pt x="3" y="121"/>
                  <a:pt x="0" y="114"/>
                  <a:pt x="1" y="107"/>
                </a:cubicBezTo>
                <a:cubicBezTo>
                  <a:pt x="1" y="102"/>
                  <a:pt x="3" y="97"/>
                  <a:pt x="6" y="93"/>
                </a:cubicBezTo>
                <a:cubicBezTo>
                  <a:pt x="9" y="88"/>
                  <a:pt x="13" y="84"/>
                  <a:pt x="19" y="81"/>
                </a:cubicBezTo>
                <a:cubicBezTo>
                  <a:pt x="27" y="76"/>
                  <a:pt x="36" y="73"/>
                  <a:pt x="45" y="73"/>
                </a:cubicBezTo>
                <a:cubicBezTo>
                  <a:pt x="50" y="73"/>
                  <a:pt x="55" y="74"/>
                  <a:pt x="59" y="76"/>
                </a:cubicBezTo>
                <a:cubicBezTo>
                  <a:pt x="60" y="75"/>
                  <a:pt x="60" y="74"/>
                  <a:pt x="61" y="74"/>
                </a:cubicBezTo>
                <a:cubicBezTo>
                  <a:pt x="73" y="67"/>
                  <a:pt x="73" y="67"/>
                  <a:pt x="73" y="67"/>
                </a:cubicBezTo>
                <a:cubicBezTo>
                  <a:pt x="61" y="60"/>
                  <a:pt x="61" y="60"/>
                  <a:pt x="61" y="60"/>
                </a:cubicBezTo>
                <a:cubicBezTo>
                  <a:pt x="60" y="60"/>
                  <a:pt x="60" y="59"/>
                  <a:pt x="59" y="58"/>
                </a:cubicBezTo>
                <a:cubicBezTo>
                  <a:pt x="55" y="60"/>
                  <a:pt x="50" y="61"/>
                  <a:pt x="45" y="61"/>
                </a:cubicBezTo>
                <a:cubicBezTo>
                  <a:pt x="36" y="61"/>
                  <a:pt x="27" y="58"/>
                  <a:pt x="19" y="53"/>
                </a:cubicBezTo>
                <a:cubicBezTo>
                  <a:pt x="13" y="50"/>
                  <a:pt x="9" y="46"/>
                  <a:pt x="6" y="41"/>
                </a:cubicBezTo>
                <a:cubicBezTo>
                  <a:pt x="3" y="37"/>
                  <a:pt x="1" y="32"/>
                  <a:pt x="1" y="27"/>
                </a:cubicBezTo>
                <a:cubicBezTo>
                  <a:pt x="1" y="24"/>
                  <a:pt x="1" y="20"/>
                  <a:pt x="2" y="17"/>
                </a:cubicBezTo>
                <a:cubicBezTo>
                  <a:pt x="4" y="13"/>
                  <a:pt x="6" y="10"/>
                  <a:pt x="8" y="8"/>
                </a:cubicBezTo>
                <a:cubicBezTo>
                  <a:pt x="14" y="3"/>
                  <a:pt x="21" y="0"/>
                  <a:pt x="29" y="0"/>
                </a:cubicBezTo>
                <a:cubicBezTo>
                  <a:pt x="39" y="0"/>
                  <a:pt x="47" y="3"/>
                  <a:pt x="56" y="8"/>
                </a:cubicBezTo>
                <a:cubicBezTo>
                  <a:pt x="61" y="12"/>
                  <a:pt x="65" y="16"/>
                  <a:pt x="68" y="20"/>
                </a:cubicBezTo>
                <a:cubicBezTo>
                  <a:pt x="71" y="24"/>
                  <a:pt x="73" y="29"/>
                  <a:pt x="73" y="34"/>
                </a:cubicBezTo>
                <a:cubicBezTo>
                  <a:pt x="74" y="37"/>
                  <a:pt x="73" y="40"/>
                  <a:pt x="72" y="43"/>
                </a:cubicBezTo>
                <a:cubicBezTo>
                  <a:pt x="73" y="43"/>
                  <a:pt x="73" y="43"/>
                  <a:pt x="74" y="44"/>
                </a:cubicBezTo>
                <a:cubicBezTo>
                  <a:pt x="84" y="50"/>
                  <a:pt x="84" y="50"/>
                  <a:pt x="84" y="50"/>
                </a:cubicBezTo>
                <a:cubicBezTo>
                  <a:pt x="149" y="13"/>
                  <a:pt x="149" y="13"/>
                  <a:pt x="149" y="13"/>
                </a:cubicBezTo>
                <a:cubicBezTo>
                  <a:pt x="150" y="13"/>
                  <a:pt x="151" y="13"/>
                  <a:pt x="152" y="13"/>
                </a:cubicBezTo>
                <a:cubicBezTo>
                  <a:pt x="153" y="13"/>
                  <a:pt x="154" y="13"/>
                  <a:pt x="155" y="13"/>
                </a:cubicBezTo>
                <a:cubicBezTo>
                  <a:pt x="167" y="19"/>
                  <a:pt x="167" y="19"/>
                  <a:pt x="167" y="19"/>
                </a:cubicBezTo>
                <a:cubicBezTo>
                  <a:pt x="169" y="20"/>
                  <a:pt x="170" y="22"/>
                  <a:pt x="170" y="24"/>
                </a:cubicBezTo>
                <a:cubicBezTo>
                  <a:pt x="170" y="26"/>
                  <a:pt x="170" y="28"/>
                  <a:pt x="168" y="29"/>
                </a:cubicBezTo>
                <a:lnTo>
                  <a:pt x="120" y="67"/>
                </a:lnTo>
                <a:close/>
                <a:moveTo>
                  <a:pt x="48" y="113"/>
                </a:moveTo>
                <a:cubicBezTo>
                  <a:pt x="53" y="110"/>
                  <a:pt x="56" y="106"/>
                  <a:pt x="58" y="102"/>
                </a:cubicBezTo>
                <a:cubicBezTo>
                  <a:pt x="59" y="98"/>
                  <a:pt x="59" y="94"/>
                  <a:pt x="56" y="92"/>
                </a:cubicBezTo>
                <a:cubicBezTo>
                  <a:pt x="53" y="89"/>
                  <a:pt x="50" y="88"/>
                  <a:pt x="45" y="88"/>
                </a:cubicBezTo>
                <a:cubicBezTo>
                  <a:pt x="39" y="88"/>
                  <a:pt x="33" y="90"/>
                  <a:pt x="27" y="94"/>
                </a:cubicBezTo>
                <a:cubicBezTo>
                  <a:pt x="22" y="97"/>
                  <a:pt x="18" y="101"/>
                  <a:pt x="17" y="105"/>
                </a:cubicBezTo>
                <a:cubicBezTo>
                  <a:pt x="15" y="109"/>
                  <a:pt x="16" y="112"/>
                  <a:pt x="19" y="115"/>
                </a:cubicBezTo>
                <a:cubicBezTo>
                  <a:pt x="21" y="117"/>
                  <a:pt x="25" y="118"/>
                  <a:pt x="29" y="118"/>
                </a:cubicBezTo>
                <a:cubicBezTo>
                  <a:pt x="36" y="118"/>
                  <a:pt x="42" y="117"/>
                  <a:pt x="48" y="113"/>
                </a:cubicBezTo>
                <a:close/>
                <a:moveTo>
                  <a:pt x="56" y="42"/>
                </a:moveTo>
                <a:cubicBezTo>
                  <a:pt x="59" y="40"/>
                  <a:pt x="59" y="36"/>
                  <a:pt x="58" y="32"/>
                </a:cubicBezTo>
                <a:cubicBezTo>
                  <a:pt x="56" y="28"/>
                  <a:pt x="53" y="24"/>
                  <a:pt x="48" y="21"/>
                </a:cubicBezTo>
                <a:cubicBezTo>
                  <a:pt x="42" y="17"/>
                  <a:pt x="36" y="16"/>
                  <a:pt x="29" y="16"/>
                </a:cubicBezTo>
                <a:cubicBezTo>
                  <a:pt x="25" y="16"/>
                  <a:pt x="21" y="17"/>
                  <a:pt x="19" y="19"/>
                </a:cubicBezTo>
                <a:cubicBezTo>
                  <a:pt x="16" y="22"/>
                  <a:pt x="15" y="25"/>
                  <a:pt x="17" y="29"/>
                </a:cubicBezTo>
                <a:cubicBezTo>
                  <a:pt x="18" y="33"/>
                  <a:pt x="22" y="37"/>
                  <a:pt x="27" y="40"/>
                </a:cubicBezTo>
                <a:cubicBezTo>
                  <a:pt x="33" y="44"/>
                  <a:pt x="39" y="46"/>
                  <a:pt x="45" y="46"/>
                </a:cubicBezTo>
                <a:cubicBezTo>
                  <a:pt x="50" y="46"/>
                  <a:pt x="53" y="45"/>
                  <a:pt x="56" y="42"/>
                </a:cubicBezTo>
                <a:close/>
                <a:moveTo>
                  <a:pt x="86" y="76"/>
                </a:moveTo>
                <a:cubicBezTo>
                  <a:pt x="95" y="79"/>
                  <a:pt x="95" y="79"/>
                  <a:pt x="95" y="79"/>
                </a:cubicBezTo>
                <a:cubicBezTo>
                  <a:pt x="164" y="25"/>
                  <a:pt x="164" y="25"/>
                  <a:pt x="164" y="25"/>
                </a:cubicBezTo>
                <a:cubicBezTo>
                  <a:pt x="152" y="19"/>
                  <a:pt x="152" y="19"/>
                  <a:pt x="152" y="19"/>
                </a:cubicBezTo>
                <a:cubicBezTo>
                  <a:pt x="80" y="59"/>
                  <a:pt x="80" y="59"/>
                  <a:pt x="80" y="59"/>
                </a:cubicBezTo>
                <a:cubicBezTo>
                  <a:pt x="80" y="70"/>
                  <a:pt x="80" y="70"/>
                  <a:pt x="80" y="70"/>
                </a:cubicBezTo>
                <a:cubicBezTo>
                  <a:pt x="64" y="79"/>
                  <a:pt x="64" y="79"/>
                  <a:pt x="64" y="79"/>
                </a:cubicBezTo>
                <a:cubicBezTo>
                  <a:pt x="65" y="80"/>
                  <a:pt x="65" y="80"/>
                  <a:pt x="65" y="80"/>
                </a:cubicBezTo>
                <a:cubicBezTo>
                  <a:pt x="65" y="80"/>
                  <a:pt x="66" y="80"/>
                  <a:pt x="66" y="80"/>
                </a:cubicBezTo>
                <a:cubicBezTo>
                  <a:pt x="66" y="81"/>
                  <a:pt x="67" y="81"/>
                  <a:pt x="67" y="82"/>
                </a:cubicBezTo>
                <a:cubicBezTo>
                  <a:pt x="67" y="82"/>
                  <a:pt x="68" y="82"/>
                  <a:pt x="68" y="83"/>
                </a:cubicBezTo>
                <a:cubicBezTo>
                  <a:pt x="70" y="85"/>
                  <a:pt x="70" y="85"/>
                  <a:pt x="70" y="85"/>
                </a:cubicBezTo>
                <a:lnTo>
                  <a:pt x="86" y="76"/>
                </a:lnTo>
                <a:close/>
                <a:moveTo>
                  <a:pt x="64" y="55"/>
                </a:moveTo>
                <a:cubicBezTo>
                  <a:pt x="73" y="60"/>
                  <a:pt x="73" y="60"/>
                  <a:pt x="73" y="60"/>
                </a:cubicBezTo>
                <a:cubicBezTo>
                  <a:pt x="73" y="59"/>
                  <a:pt x="73" y="59"/>
                  <a:pt x="73" y="59"/>
                </a:cubicBezTo>
                <a:cubicBezTo>
                  <a:pt x="73" y="57"/>
                  <a:pt x="75" y="55"/>
                  <a:pt x="77" y="54"/>
                </a:cubicBezTo>
                <a:cubicBezTo>
                  <a:pt x="78" y="53"/>
                  <a:pt x="78" y="53"/>
                  <a:pt x="78" y="53"/>
                </a:cubicBezTo>
                <a:cubicBezTo>
                  <a:pt x="70" y="49"/>
                  <a:pt x="70" y="49"/>
                  <a:pt x="70" y="49"/>
                </a:cubicBezTo>
                <a:cubicBezTo>
                  <a:pt x="68" y="51"/>
                  <a:pt x="68" y="51"/>
                  <a:pt x="68" y="51"/>
                </a:cubicBezTo>
                <a:cubicBezTo>
                  <a:pt x="68" y="51"/>
                  <a:pt x="68" y="52"/>
                  <a:pt x="67" y="52"/>
                </a:cubicBezTo>
                <a:cubicBezTo>
                  <a:pt x="67" y="53"/>
                  <a:pt x="66" y="53"/>
                  <a:pt x="66" y="53"/>
                </a:cubicBezTo>
                <a:cubicBezTo>
                  <a:pt x="66" y="54"/>
                  <a:pt x="66" y="54"/>
                  <a:pt x="66" y="54"/>
                </a:cubicBezTo>
                <a:cubicBezTo>
                  <a:pt x="65" y="54"/>
                  <a:pt x="65" y="54"/>
                  <a:pt x="65" y="54"/>
                </a:cubicBezTo>
                <a:lnTo>
                  <a:pt x="64" y="55"/>
                </a:lnTo>
                <a:close/>
                <a:moveTo>
                  <a:pt x="87" y="63"/>
                </a:moveTo>
                <a:cubicBezTo>
                  <a:pt x="89" y="62"/>
                  <a:pt x="90" y="61"/>
                  <a:pt x="92" y="61"/>
                </a:cubicBezTo>
                <a:cubicBezTo>
                  <a:pt x="93" y="61"/>
                  <a:pt x="95" y="62"/>
                  <a:pt x="96" y="63"/>
                </a:cubicBezTo>
                <a:cubicBezTo>
                  <a:pt x="97" y="64"/>
                  <a:pt x="98" y="65"/>
                  <a:pt x="98" y="67"/>
                </a:cubicBezTo>
                <a:cubicBezTo>
                  <a:pt x="98" y="69"/>
                  <a:pt x="97" y="70"/>
                  <a:pt x="96" y="71"/>
                </a:cubicBezTo>
                <a:cubicBezTo>
                  <a:pt x="95" y="72"/>
                  <a:pt x="93" y="73"/>
                  <a:pt x="92" y="73"/>
                </a:cubicBezTo>
                <a:cubicBezTo>
                  <a:pt x="90" y="73"/>
                  <a:pt x="89" y="72"/>
                  <a:pt x="87" y="71"/>
                </a:cubicBezTo>
                <a:cubicBezTo>
                  <a:pt x="86" y="70"/>
                  <a:pt x="86" y="69"/>
                  <a:pt x="86" y="67"/>
                </a:cubicBezTo>
                <a:cubicBezTo>
                  <a:pt x="86" y="65"/>
                  <a:pt x="86" y="64"/>
                  <a:pt x="87" y="63"/>
                </a:cubicBezTo>
                <a:close/>
                <a:moveTo>
                  <a:pt x="152" y="115"/>
                </a:moveTo>
                <a:cubicBezTo>
                  <a:pt x="164" y="109"/>
                  <a:pt x="164" y="109"/>
                  <a:pt x="164" y="109"/>
                </a:cubicBezTo>
                <a:cubicBezTo>
                  <a:pt x="115" y="71"/>
                  <a:pt x="115" y="71"/>
                  <a:pt x="115" y="71"/>
                </a:cubicBezTo>
                <a:cubicBezTo>
                  <a:pt x="98" y="84"/>
                  <a:pt x="98" y="84"/>
                  <a:pt x="98" y="84"/>
                </a:cubicBezTo>
                <a:cubicBezTo>
                  <a:pt x="98" y="84"/>
                  <a:pt x="98" y="84"/>
                  <a:pt x="97" y="84"/>
                </a:cubicBezTo>
                <a:lnTo>
                  <a:pt x="152" y="1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8" name="Freeform 178"/>
          <p:cNvSpPr>
            <a:spLocks noChangeAspect="1" noEditPoints="1"/>
          </p:cNvSpPr>
          <p:nvPr/>
        </p:nvSpPr>
        <p:spPr bwMode="auto">
          <a:xfrm>
            <a:off x="4625072" y="2782727"/>
            <a:ext cx="176428" cy="176428"/>
          </a:xfrm>
          <a:custGeom>
            <a:avLst/>
            <a:gdLst>
              <a:gd name="T0" fmla="*/ 160 w 170"/>
              <a:gd name="T1" fmla="*/ 37 h 170"/>
              <a:gd name="T2" fmla="*/ 167 w 170"/>
              <a:gd name="T3" fmla="*/ 39 h 170"/>
              <a:gd name="T4" fmla="*/ 170 w 170"/>
              <a:gd name="T5" fmla="*/ 46 h 170"/>
              <a:gd name="T6" fmla="*/ 170 w 170"/>
              <a:gd name="T7" fmla="*/ 161 h 170"/>
              <a:gd name="T8" fmla="*/ 167 w 170"/>
              <a:gd name="T9" fmla="*/ 167 h 170"/>
              <a:gd name="T10" fmla="*/ 160 w 170"/>
              <a:gd name="T11" fmla="*/ 170 h 170"/>
              <a:gd name="T12" fmla="*/ 70 w 170"/>
              <a:gd name="T13" fmla="*/ 170 h 170"/>
              <a:gd name="T14" fmla="*/ 63 w 170"/>
              <a:gd name="T15" fmla="*/ 167 h 170"/>
              <a:gd name="T16" fmla="*/ 61 w 170"/>
              <a:gd name="T17" fmla="*/ 161 h 170"/>
              <a:gd name="T18" fmla="*/ 61 w 170"/>
              <a:gd name="T19" fmla="*/ 133 h 170"/>
              <a:gd name="T20" fmla="*/ 9 w 170"/>
              <a:gd name="T21" fmla="*/ 133 h 170"/>
              <a:gd name="T22" fmla="*/ 3 w 170"/>
              <a:gd name="T23" fmla="*/ 131 h 170"/>
              <a:gd name="T24" fmla="*/ 0 w 170"/>
              <a:gd name="T25" fmla="*/ 124 h 170"/>
              <a:gd name="T26" fmla="*/ 0 w 170"/>
              <a:gd name="T27" fmla="*/ 61 h 170"/>
              <a:gd name="T28" fmla="*/ 2 w 170"/>
              <a:gd name="T29" fmla="*/ 52 h 170"/>
              <a:gd name="T30" fmla="*/ 7 w 170"/>
              <a:gd name="T31" fmla="*/ 45 h 170"/>
              <a:gd name="T32" fmla="*/ 45 w 170"/>
              <a:gd name="T33" fmla="*/ 7 h 170"/>
              <a:gd name="T34" fmla="*/ 52 w 170"/>
              <a:gd name="T35" fmla="*/ 2 h 170"/>
              <a:gd name="T36" fmla="*/ 61 w 170"/>
              <a:gd name="T37" fmla="*/ 0 h 170"/>
              <a:gd name="T38" fmla="*/ 100 w 170"/>
              <a:gd name="T39" fmla="*/ 0 h 170"/>
              <a:gd name="T40" fmla="*/ 106 w 170"/>
              <a:gd name="T41" fmla="*/ 3 h 170"/>
              <a:gd name="T42" fmla="*/ 109 w 170"/>
              <a:gd name="T43" fmla="*/ 9 h 170"/>
              <a:gd name="T44" fmla="*/ 109 w 170"/>
              <a:gd name="T45" fmla="*/ 40 h 170"/>
              <a:gd name="T46" fmla="*/ 121 w 170"/>
              <a:gd name="T47" fmla="*/ 37 h 170"/>
              <a:gd name="T48" fmla="*/ 160 w 170"/>
              <a:gd name="T49" fmla="*/ 37 h 170"/>
              <a:gd name="T50" fmla="*/ 67 w 170"/>
              <a:gd name="T51" fmla="*/ 82 h 170"/>
              <a:gd name="T52" fmla="*/ 97 w 170"/>
              <a:gd name="T53" fmla="*/ 52 h 170"/>
              <a:gd name="T54" fmla="*/ 97 w 170"/>
              <a:gd name="T55" fmla="*/ 12 h 170"/>
              <a:gd name="T56" fmla="*/ 61 w 170"/>
              <a:gd name="T57" fmla="*/ 12 h 170"/>
              <a:gd name="T58" fmla="*/ 61 w 170"/>
              <a:gd name="T59" fmla="*/ 52 h 170"/>
              <a:gd name="T60" fmla="*/ 58 w 170"/>
              <a:gd name="T61" fmla="*/ 58 h 170"/>
              <a:gd name="T62" fmla="*/ 52 w 170"/>
              <a:gd name="T63" fmla="*/ 61 h 170"/>
              <a:gd name="T64" fmla="*/ 12 w 170"/>
              <a:gd name="T65" fmla="*/ 61 h 170"/>
              <a:gd name="T66" fmla="*/ 12 w 170"/>
              <a:gd name="T67" fmla="*/ 121 h 170"/>
              <a:gd name="T68" fmla="*/ 61 w 170"/>
              <a:gd name="T69" fmla="*/ 121 h 170"/>
              <a:gd name="T70" fmla="*/ 61 w 170"/>
              <a:gd name="T71" fmla="*/ 97 h 170"/>
              <a:gd name="T72" fmla="*/ 63 w 170"/>
              <a:gd name="T73" fmla="*/ 89 h 170"/>
              <a:gd name="T74" fmla="*/ 67 w 170"/>
              <a:gd name="T75" fmla="*/ 82 h 170"/>
              <a:gd name="T76" fmla="*/ 49 w 170"/>
              <a:gd name="T77" fmla="*/ 20 h 170"/>
              <a:gd name="T78" fmla="*/ 20 w 170"/>
              <a:gd name="T79" fmla="*/ 49 h 170"/>
              <a:gd name="T80" fmla="*/ 49 w 170"/>
              <a:gd name="T81" fmla="*/ 49 h 170"/>
              <a:gd name="T82" fmla="*/ 49 w 170"/>
              <a:gd name="T83" fmla="*/ 20 h 170"/>
              <a:gd name="T84" fmla="*/ 157 w 170"/>
              <a:gd name="T85" fmla="*/ 158 h 170"/>
              <a:gd name="T86" fmla="*/ 157 w 170"/>
              <a:gd name="T87" fmla="*/ 49 h 170"/>
              <a:gd name="T88" fmla="*/ 121 w 170"/>
              <a:gd name="T89" fmla="*/ 49 h 170"/>
              <a:gd name="T90" fmla="*/ 121 w 170"/>
              <a:gd name="T91" fmla="*/ 88 h 170"/>
              <a:gd name="T92" fmla="*/ 118 w 170"/>
              <a:gd name="T93" fmla="*/ 94 h 170"/>
              <a:gd name="T94" fmla="*/ 112 w 170"/>
              <a:gd name="T95" fmla="*/ 97 h 170"/>
              <a:gd name="T96" fmla="*/ 73 w 170"/>
              <a:gd name="T97" fmla="*/ 97 h 170"/>
              <a:gd name="T98" fmla="*/ 73 w 170"/>
              <a:gd name="T99" fmla="*/ 158 h 170"/>
              <a:gd name="T100" fmla="*/ 157 w 170"/>
              <a:gd name="T101" fmla="*/ 158 h 170"/>
              <a:gd name="T102" fmla="*/ 109 w 170"/>
              <a:gd name="T103" fmla="*/ 57 h 170"/>
              <a:gd name="T104" fmla="*/ 81 w 170"/>
              <a:gd name="T105" fmla="*/ 85 h 170"/>
              <a:gd name="T106" fmla="*/ 109 w 170"/>
              <a:gd name="T107" fmla="*/ 85 h 170"/>
              <a:gd name="T108" fmla="*/ 109 w 170"/>
              <a:gd name="T109" fmla="*/ 57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0" h="170">
                <a:moveTo>
                  <a:pt x="160" y="37"/>
                </a:moveTo>
                <a:cubicBezTo>
                  <a:pt x="163" y="37"/>
                  <a:pt x="165" y="37"/>
                  <a:pt x="167" y="39"/>
                </a:cubicBezTo>
                <a:cubicBezTo>
                  <a:pt x="169" y="41"/>
                  <a:pt x="170" y="43"/>
                  <a:pt x="170" y="46"/>
                </a:cubicBezTo>
                <a:cubicBezTo>
                  <a:pt x="170" y="161"/>
                  <a:pt x="170" y="161"/>
                  <a:pt x="170" y="161"/>
                </a:cubicBezTo>
                <a:cubicBezTo>
                  <a:pt x="170" y="163"/>
                  <a:pt x="169" y="165"/>
                  <a:pt x="167" y="167"/>
                </a:cubicBezTo>
                <a:cubicBezTo>
                  <a:pt x="165" y="169"/>
                  <a:pt x="163" y="170"/>
                  <a:pt x="160" y="170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67" y="170"/>
                  <a:pt x="65" y="169"/>
                  <a:pt x="63" y="167"/>
                </a:cubicBezTo>
                <a:cubicBezTo>
                  <a:pt x="62" y="165"/>
                  <a:pt x="61" y="163"/>
                  <a:pt x="61" y="161"/>
                </a:cubicBezTo>
                <a:cubicBezTo>
                  <a:pt x="61" y="133"/>
                  <a:pt x="61" y="133"/>
                  <a:pt x="61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3"/>
                  <a:pt x="5" y="132"/>
                  <a:pt x="3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58"/>
                  <a:pt x="1" y="55"/>
                  <a:pt x="2" y="52"/>
                </a:cubicBezTo>
                <a:cubicBezTo>
                  <a:pt x="3" y="49"/>
                  <a:pt x="5" y="47"/>
                  <a:pt x="7" y="45"/>
                </a:cubicBezTo>
                <a:cubicBezTo>
                  <a:pt x="45" y="7"/>
                  <a:pt x="45" y="7"/>
                  <a:pt x="45" y="7"/>
                </a:cubicBezTo>
                <a:cubicBezTo>
                  <a:pt x="47" y="5"/>
                  <a:pt x="49" y="3"/>
                  <a:pt x="52" y="2"/>
                </a:cubicBezTo>
                <a:cubicBezTo>
                  <a:pt x="55" y="1"/>
                  <a:pt x="58" y="0"/>
                  <a:pt x="61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102" y="0"/>
                  <a:pt x="105" y="1"/>
                  <a:pt x="106" y="3"/>
                </a:cubicBezTo>
                <a:cubicBezTo>
                  <a:pt x="108" y="5"/>
                  <a:pt x="109" y="7"/>
                  <a:pt x="109" y="9"/>
                </a:cubicBezTo>
                <a:cubicBezTo>
                  <a:pt x="109" y="40"/>
                  <a:pt x="109" y="40"/>
                  <a:pt x="109" y="40"/>
                </a:cubicBezTo>
                <a:cubicBezTo>
                  <a:pt x="113" y="38"/>
                  <a:pt x="117" y="37"/>
                  <a:pt x="121" y="37"/>
                </a:cubicBezTo>
                <a:lnTo>
                  <a:pt x="160" y="37"/>
                </a:lnTo>
                <a:close/>
                <a:moveTo>
                  <a:pt x="67" y="82"/>
                </a:moveTo>
                <a:cubicBezTo>
                  <a:pt x="97" y="52"/>
                  <a:pt x="97" y="52"/>
                  <a:pt x="97" y="52"/>
                </a:cubicBezTo>
                <a:cubicBezTo>
                  <a:pt x="97" y="12"/>
                  <a:pt x="97" y="12"/>
                  <a:pt x="97" y="12"/>
                </a:cubicBezTo>
                <a:cubicBezTo>
                  <a:pt x="61" y="12"/>
                  <a:pt x="61" y="12"/>
                  <a:pt x="61" y="12"/>
                </a:cubicBezTo>
                <a:cubicBezTo>
                  <a:pt x="61" y="52"/>
                  <a:pt x="61" y="52"/>
                  <a:pt x="61" y="52"/>
                </a:cubicBezTo>
                <a:cubicBezTo>
                  <a:pt x="61" y="54"/>
                  <a:pt x="60" y="56"/>
                  <a:pt x="58" y="58"/>
                </a:cubicBezTo>
                <a:cubicBezTo>
                  <a:pt x="56" y="60"/>
                  <a:pt x="54" y="61"/>
                  <a:pt x="52" y="61"/>
                </a:cubicBezTo>
                <a:cubicBezTo>
                  <a:pt x="12" y="61"/>
                  <a:pt x="12" y="61"/>
                  <a:pt x="12" y="6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61" y="121"/>
                  <a:pt x="61" y="121"/>
                  <a:pt x="61" y="121"/>
                </a:cubicBezTo>
                <a:cubicBezTo>
                  <a:pt x="61" y="97"/>
                  <a:pt x="61" y="97"/>
                  <a:pt x="61" y="97"/>
                </a:cubicBezTo>
                <a:cubicBezTo>
                  <a:pt x="61" y="95"/>
                  <a:pt x="61" y="92"/>
                  <a:pt x="63" y="89"/>
                </a:cubicBezTo>
                <a:cubicBezTo>
                  <a:pt x="64" y="86"/>
                  <a:pt x="65" y="83"/>
                  <a:pt x="67" y="82"/>
                </a:cubicBezTo>
                <a:close/>
                <a:moveTo>
                  <a:pt x="49" y="20"/>
                </a:moveTo>
                <a:cubicBezTo>
                  <a:pt x="20" y="49"/>
                  <a:pt x="20" y="49"/>
                  <a:pt x="20" y="49"/>
                </a:cubicBezTo>
                <a:cubicBezTo>
                  <a:pt x="49" y="49"/>
                  <a:pt x="49" y="49"/>
                  <a:pt x="49" y="49"/>
                </a:cubicBezTo>
                <a:lnTo>
                  <a:pt x="49" y="20"/>
                </a:lnTo>
                <a:close/>
                <a:moveTo>
                  <a:pt x="157" y="158"/>
                </a:moveTo>
                <a:cubicBezTo>
                  <a:pt x="157" y="49"/>
                  <a:pt x="157" y="49"/>
                  <a:pt x="157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21" y="88"/>
                  <a:pt x="121" y="88"/>
                  <a:pt x="121" y="88"/>
                </a:cubicBezTo>
                <a:cubicBezTo>
                  <a:pt x="121" y="90"/>
                  <a:pt x="120" y="93"/>
                  <a:pt x="118" y="94"/>
                </a:cubicBezTo>
                <a:cubicBezTo>
                  <a:pt x="117" y="96"/>
                  <a:pt x="115" y="97"/>
                  <a:pt x="112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3" y="158"/>
                  <a:pt x="73" y="158"/>
                  <a:pt x="73" y="158"/>
                </a:cubicBezTo>
                <a:lnTo>
                  <a:pt x="157" y="158"/>
                </a:lnTo>
                <a:close/>
                <a:moveTo>
                  <a:pt x="109" y="57"/>
                </a:moveTo>
                <a:cubicBezTo>
                  <a:pt x="81" y="85"/>
                  <a:pt x="81" y="85"/>
                  <a:pt x="81" y="85"/>
                </a:cubicBezTo>
                <a:cubicBezTo>
                  <a:pt x="109" y="85"/>
                  <a:pt x="109" y="85"/>
                  <a:pt x="109" y="85"/>
                </a:cubicBezTo>
                <a:lnTo>
                  <a:pt x="109" y="5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79" name="Freeform 179"/>
          <p:cNvSpPr>
            <a:spLocks noChangeAspect="1"/>
          </p:cNvSpPr>
          <p:nvPr/>
        </p:nvSpPr>
        <p:spPr bwMode="auto">
          <a:xfrm>
            <a:off x="4843655" y="2796779"/>
            <a:ext cx="137395" cy="148324"/>
          </a:xfrm>
          <a:custGeom>
            <a:avLst/>
            <a:gdLst>
              <a:gd name="T0" fmla="*/ 132 w 132"/>
              <a:gd name="T1" fmla="*/ 118 h 144"/>
              <a:gd name="T2" fmla="*/ 125 w 132"/>
              <a:gd name="T3" fmla="*/ 137 h 144"/>
              <a:gd name="T4" fmla="*/ 106 w 132"/>
              <a:gd name="T5" fmla="*/ 144 h 144"/>
              <a:gd name="T6" fmla="*/ 84 w 132"/>
              <a:gd name="T7" fmla="*/ 135 h 144"/>
              <a:gd name="T8" fmla="*/ 10 w 132"/>
              <a:gd name="T9" fmla="*/ 61 h 144"/>
              <a:gd name="T10" fmla="*/ 0 w 132"/>
              <a:gd name="T11" fmla="*/ 36 h 144"/>
              <a:gd name="T12" fmla="*/ 10 w 132"/>
              <a:gd name="T13" fmla="*/ 10 h 144"/>
              <a:gd name="T14" fmla="*/ 36 w 132"/>
              <a:gd name="T15" fmla="*/ 0 h 144"/>
              <a:gd name="T16" fmla="*/ 61 w 132"/>
              <a:gd name="T17" fmla="*/ 10 h 144"/>
              <a:gd name="T18" fmla="*/ 119 w 132"/>
              <a:gd name="T19" fmla="*/ 68 h 144"/>
              <a:gd name="T20" fmla="*/ 120 w 132"/>
              <a:gd name="T21" fmla="*/ 70 h 144"/>
              <a:gd name="T22" fmla="*/ 117 w 132"/>
              <a:gd name="T23" fmla="*/ 74 h 144"/>
              <a:gd name="T24" fmla="*/ 112 w 132"/>
              <a:gd name="T25" fmla="*/ 77 h 144"/>
              <a:gd name="T26" fmla="*/ 110 w 132"/>
              <a:gd name="T27" fmla="*/ 76 h 144"/>
              <a:gd name="T28" fmla="*/ 53 w 132"/>
              <a:gd name="T29" fmla="*/ 19 h 144"/>
              <a:gd name="T30" fmla="*/ 36 w 132"/>
              <a:gd name="T31" fmla="*/ 11 h 144"/>
              <a:gd name="T32" fmla="*/ 19 w 132"/>
              <a:gd name="T33" fmla="*/ 19 h 144"/>
              <a:gd name="T34" fmla="*/ 12 w 132"/>
              <a:gd name="T35" fmla="*/ 36 h 144"/>
              <a:gd name="T36" fmla="*/ 19 w 132"/>
              <a:gd name="T37" fmla="*/ 53 h 144"/>
              <a:gd name="T38" fmla="*/ 92 w 132"/>
              <a:gd name="T39" fmla="*/ 126 h 144"/>
              <a:gd name="T40" fmla="*/ 106 w 132"/>
              <a:gd name="T41" fmla="*/ 132 h 144"/>
              <a:gd name="T42" fmla="*/ 116 w 132"/>
              <a:gd name="T43" fmla="*/ 128 h 144"/>
              <a:gd name="T44" fmla="*/ 120 w 132"/>
              <a:gd name="T45" fmla="*/ 118 h 144"/>
              <a:gd name="T46" fmla="*/ 114 w 132"/>
              <a:gd name="T47" fmla="*/ 104 h 144"/>
              <a:gd name="T48" fmla="*/ 59 w 132"/>
              <a:gd name="T49" fmla="*/ 50 h 144"/>
              <a:gd name="T50" fmla="*/ 54 w 132"/>
              <a:gd name="T51" fmla="*/ 47 h 144"/>
              <a:gd name="T52" fmla="*/ 49 w 132"/>
              <a:gd name="T53" fmla="*/ 49 h 144"/>
              <a:gd name="T54" fmla="*/ 47 w 132"/>
              <a:gd name="T55" fmla="*/ 54 h 144"/>
              <a:gd name="T56" fmla="*/ 50 w 132"/>
              <a:gd name="T57" fmla="*/ 59 h 144"/>
              <a:gd name="T58" fmla="*/ 88 w 132"/>
              <a:gd name="T59" fmla="*/ 98 h 144"/>
              <a:gd name="T60" fmla="*/ 89 w 132"/>
              <a:gd name="T61" fmla="*/ 100 h 144"/>
              <a:gd name="T62" fmla="*/ 86 w 132"/>
              <a:gd name="T63" fmla="*/ 104 h 144"/>
              <a:gd name="T64" fmla="*/ 82 w 132"/>
              <a:gd name="T65" fmla="*/ 107 h 144"/>
              <a:gd name="T66" fmla="*/ 80 w 132"/>
              <a:gd name="T67" fmla="*/ 106 h 144"/>
              <a:gd name="T68" fmla="*/ 41 w 132"/>
              <a:gd name="T69" fmla="*/ 68 h 144"/>
              <a:gd name="T70" fmla="*/ 35 w 132"/>
              <a:gd name="T71" fmla="*/ 54 h 144"/>
              <a:gd name="T72" fmla="*/ 40 w 132"/>
              <a:gd name="T73" fmla="*/ 40 h 144"/>
              <a:gd name="T74" fmla="*/ 54 w 132"/>
              <a:gd name="T75" fmla="*/ 35 h 144"/>
              <a:gd name="T76" fmla="*/ 68 w 132"/>
              <a:gd name="T77" fmla="*/ 41 h 144"/>
              <a:gd name="T78" fmla="*/ 123 w 132"/>
              <a:gd name="T79" fmla="*/ 96 h 144"/>
              <a:gd name="T80" fmla="*/ 132 w 132"/>
              <a:gd name="T81" fmla="*/ 11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2" h="144">
                <a:moveTo>
                  <a:pt x="132" y="118"/>
                </a:moveTo>
                <a:cubicBezTo>
                  <a:pt x="132" y="126"/>
                  <a:pt x="130" y="132"/>
                  <a:pt x="125" y="137"/>
                </a:cubicBezTo>
                <a:cubicBezTo>
                  <a:pt x="120" y="142"/>
                  <a:pt x="113" y="144"/>
                  <a:pt x="106" y="144"/>
                </a:cubicBezTo>
                <a:cubicBezTo>
                  <a:pt x="98" y="144"/>
                  <a:pt x="90" y="141"/>
                  <a:pt x="84" y="135"/>
                </a:cubicBezTo>
                <a:cubicBezTo>
                  <a:pt x="10" y="61"/>
                  <a:pt x="10" y="61"/>
                  <a:pt x="10" y="61"/>
                </a:cubicBezTo>
                <a:cubicBezTo>
                  <a:pt x="3" y="54"/>
                  <a:pt x="0" y="46"/>
                  <a:pt x="0" y="36"/>
                </a:cubicBezTo>
                <a:cubicBezTo>
                  <a:pt x="0" y="26"/>
                  <a:pt x="3" y="17"/>
                  <a:pt x="10" y="10"/>
                </a:cubicBezTo>
                <a:cubicBezTo>
                  <a:pt x="17" y="3"/>
                  <a:pt x="26" y="0"/>
                  <a:pt x="36" y="0"/>
                </a:cubicBezTo>
                <a:cubicBezTo>
                  <a:pt x="46" y="0"/>
                  <a:pt x="54" y="3"/>
                  <a:pt x="61" y="10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8"/>
                  <a:pt x="120" y="69"/>
                  <a:pt x="120" y="70"/>
                </a:cubicBezTo>
                <a:cubicBezTo>
                  <a:pt x="120" y="71"/>
                  <a:pt x="119" y="72"/>
                  <a:pt x="117" y="74"/>
                </a:cubicBezTo>
                <a:cubicBezTo>
                  <a:pt x="115" y="76"/>
                  <a:pt x="113" y="77"/>
                  <a:pt x="112" y="77"/>
                </a:cubicBezTo>
                <a:cubicBezTo>
                  <a:pt x="111" y="77"/>
                  <a:pt x="111" y="77"/>
                  <a:pt x="110" y="76"/>
                </a:cubicBezTo>
                <a:cubicBezTo>
                  <a:pt x="53" y="19"/>
                  <a:pt x="53" y="19"/>
                  <a:pt x="53" y="19"/>
                </a:cubicBezTo>
                <a:cubicBezTo>
                  <a:pt x="48" y="14"/>
                  <a:pt x="42" y="11"/>
                  <a:pt x="36" y="11"/>
                </a:cubicBezTo>
                <a:cubicBezTo>
                  <a:pt x="29" y="11"/>
                  <a:pt x="23" y="14"/>
                  <a:pt x="19" y="19"/>
                </a:cubicBezTo>
                <a:cubicBezTo>
                  <a:pt x="14" y="23"/>
                  <a:pt x="12" y="29"/>
                  <a:pt x="12" y="36"/>
                </a:cubicBezTo>
                <a:cubicBezTo>
                  <a:pt x="12" y="42"/>
                  <a:pt x="14" y="48"/>
                  <a:pt x="19" y="53"/>
                </a:cubicBezTo>
                <a:cubicBezTo>
                  <a:pt x="92" y="126"/>
                  <a:pt x="92" y="126"/>
                  <a:pt x="92" y="126"/>
                </a:cubicBezTo>
                <a:cubicBezTo>
                  <a:pt x="96" y="130"/>
                  <a:pt x="101" y="132"/>
                  <a:pt x="106" y="132"/>
                </a:cubicBezTo>
                <a:cubicBezTo>
                  <a:pt x="110" y="132"/>
                  <a:pt x="113" y="131"/>
                  <a:pt x="116" y="128"/>
                </a:cubicBezTo>
                <a:cubicBezTo>
                  <a:pt x="119" y="126"/>
                  <a:pt x="120" y="122"/>
                  <a:pt x="120" y="118"/>
                </a:cubicBezTo>
                <a:cubicBezTo>
                  <a:pt x="120" y="113"/>
                  <a:pt x="118" y="108"/>
                  <a:pt x="114" y="104"/>
                </a:cubicBezTo>
                <a:cubicBezTo>
                  <a:pt x="59" y="50"/>
                  <a:pt x="59" y="50"/>
                  <a:pt x="59" y="50"/>
                </a:cubicBezTo>
                <a:cubicBezTo>
                  <a:pt x="58" y="48"/>
                  <a:pt x="56" y="47"/>
                  <a:pt x="54" y="47"/>
                </a:cubicBezTo>
                <a:cubicBezTo>
                  <a:pt x="52" y="47"/>
                  <a:pt x="50" y="48"/>
                  <a:pt x="49" y="49"/>
                </a:cubicBezTo>
                <a:cubicBezTo>
                  <a:pt x="48" y="50"/>
                  <a:pt x="47" y="52"/>
                  <a:pt x="47" y="54"/>
                </a:cubicBezTo>
                <a:cubicBezTo>
                  <a:pt x="47" y="56"/>
                  <a:pt x="48" y="57"/>
                  <a:pt x="50" y="59"/>
                </a:cubicBezTo>
                <a:cubicBezTo>
                  <a:pt x="88" y="98"/>
                  <a:pt x="88" y="98"/>
                  <a:pt x="88" y="98"/>
                </a:cubicBezTo>
                <a:cubicBezTo>
                  <a:pt x="89" y="99"/>
                  <a:pt x="89" y="99"/>
                  <a:pt x="89" y="100"/>
                </a:cubicBezTo>
                <a:cubicBezTo>
                  <a:pt x="89" y="101"/>
                  <a:pt x="88" y="103"/>
                  <a:pt x="86" y="104"/>
                </a:cubicBezTo>
                <a:cubicBezTo>
                  <a:pt x="84" y="106"/>
                  <a:pt x="83" y="107"/>
                  <a:pt x="82" y="107"/>
                </a:cubicBezTo>
                <a:cubicBezTo>
                  <a:pt x="81" y="107"/>
                  <a:pt x="80" y="107"/>
                  <a:pt x="80" y="106"/>
                </a:cubicBezTo>
                <a:cubicBezTo>
                  <a:pt x="41" y="68"/>
                  <a:pt x="41" y="68"/>
                  <a:pt x="41" y="68"/>
                </a:cubicBezTo>
                <a:cubicBezTo>
                  <a:pt x="37" y="64"/>
                  <a:pt x="35" y="59"/>
                  <a:pt x="35" y="54"/>
                </a:cubicBezTo>
                <a:cubicBezTo>
                  <a:pt x="35" y="48"/>
                  <a:pt x="37" y="44"/>
                  <a:pt x="40" y="40"/>
                </a:cubicBezTo>
                <a:cubicBezTo>
                  <a:pt x="44" y="37"/>
                  <a:pt x="48" y="35"/>
                  <a:pt x="54" y="35"/>
                </a:cubicBezTo>
                <a:cubicBezTo>
                  <a:pt x="59" y="35"/>
                  <a:pt x="64" y="37"/>
                  <a:pt x="68" y="41"/>
                </a:cubicBezTo>
                <a:cubicBezTo>
                  <a:pt x="123" y="96"/>
                  <a:pt x="123" y="96"/>
                  <a:pt x="123" y="96"/>
                </a:cubicBezTo>
                <a:cubicBezTo>
                  <a:pt x="129" y="102"/>
                  <a:pt x="132" y="110"/>
                  <a:pt x="132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0" name="Freeform 180"/>
          <p:cNvSpPr>
            <a:spLocks noChangeAspect="1" noEditPoints="1"/>
          </p:cNvSpPr>
          <p:nvPr/>
        </p:nvSpPr>
        <p:spPr bwMode="auto">
          <a:xfrm>
            <a:off x="5023205" y="2795218"/>
            <a:ext cx="149885" cy="151447"/>
          </a:xfrm>
          <a:custGeom>
            <a:avLst/>
            <a:gdLst>
              <a:gd name="T0" fmla="*/ 145 w 145"/>
              <a:gd name="T1" fmla="*/ 49 h 146"/>
              <a:gd name="T2" fmla="*/ 145 w 145"/>
              <a:gd name="T3" fmla="*/ 136 h 146"/>
              <a:gd name="T4" fmla="*/ 143 w 145"/>
              <a:gd name="T5" fmla="*/ 143 h 146"/>
              <a:gd name="T6" fmla="*/ 136 w 145"/>
              <a:gd name="T7" fmla="*/ 146 h 146"/>
              <a:gd name="T8" fmla="*/ 9 w 145"/>
              <a:gd name="T9" fmla="*/ 146 h 146"/>
              <a:gd name="T10" fmla="*/ 3 w 145"/>
              <a:gd name="T11" fmla="*/ 143 h 146"/>
              <a:gd name="T12" fmla="*/ 0 w 145"/>
              <a:gd name="T13" fmla="*/ 136 h 146"/>
              <a:gd name="T14" fmla="*/ 0 w 145"/>
              <a:gd name="T15" fmla="*/ 9 h 146"/>
              <a:gd name="T16" fmla="*/ 3 w 145"/>
              <a:gd name="T17" fmla="*/ 3 h 146"/>
              <a:gd name="T18" fmla="*/ 9 w 145"/>
              <a:gd name="T19" fmla="*/ 0 h 146"/>
              <a:gd name="T20" fmla="*/ 97 w 145"/>
              <a:gd name="T21" fmla="*/ 0 h 146"/>
              <a:gd name="T22" fmla="*/ 105 w 145"/>
              <a:gd name="T23" fmla="*/ 2 h 146"/>
              <a:gd name="T24" fmla="*/ 113 w 145"/>
              <a:gd name="T25" fmla="*/ 7 h 146"/>
              <a:gd name="T26" fmla="*/ 139 w 145"/>
              <a:gd name="T27" fmla="*/ 33 h 146"/>
              <a:gd name="T28" fmla="*/ 144 w 145"/>
              <a:gd name="T29" fmla="*/ 40 h 146"/>
              <a:gd name="T30" fmla="*/ 145 w 145"/>
              <a:gd name="T31" fmla="*/ 49 h 146"/>
              <a:gd name="T32" fmla="*/ 121 w 145"/>
              <a:gd name="T33" fmla="*/ 133 h 146"/>
              <a:gd name="T34" fmla="*/ 133 w 145"/>
              <a:gd name="T35" fmla="*/ 133 h 146"/>
              <a:gd name="T36" fmla="*/ 133 w 145"/>
              <a:gd name="T37" fmla="*/ 49 h 146"/>
              <a:gd name="T38" fmla="*/ 132 w 145"/>
              <a:gd name="T39" fmla="*/ 45 h 146"/>
              <a:gd name="T40" fmla="*/ 131 w 145"/>
              <a:gd name="T41" fmla="*/ 42 h 146"/>
              <a:gd name="T42" fmla="*/ 104 w 145"/>
              <a:gd name="T43" fmla="*/ 15 h 146"/>
              <a:gd name="T44" fmla="*/ 101 w 145"/>
              <a:gd name="T45" fmla="*/ 13 h 146"/>
              <a:gd name="T46" fmla="*/ 97 w 145"/>
              <a:gd name="T47" fmla="*/ 12 h 146"/>
              <a:gd name="T48" fmla="*/ 97 w 145"/>
              <a:gd name="T49" fmla="*/ 52 h 146"/>
              <a:gd name="T50" fmla="*/ 94 w 145"/>
              <a:gd name="T51" fmla="*/ 58 h 146"/>
              <a:gd name="T52" fmla="*/ 88 w 145"/>
              <a:gd name="T53" fmla="*/ 61 h 146"/>
              <a:gd name="T54" fmla="*/ 34 w 145"/>
              <a:gd name="T55" fmla="*/ 61 h 146"/>
              <a:gd name="T56" fmla="*/ 27 w 145"/>
              <a:gd name="T57" fmla="*/ 58 h 146"/>
              <a:gd name="T58" fmla="*/ 24 w 145"/>
              <a:gd name="T59" fmla="*/ 52 h 146"/>
              <a:gd name="T60" fmla="*/ 24 w 145"/>
              <a:gd name="T61" fmla="*/ 12 h 146"/>
              <a:gd name="T62" fmla="*/ 12 w 145"/>
              <a:gd name="T63" fmla="*/ 12 h 146"/>
              <a:gd name="T64" fmla="*/ 12 w 145"/>
              <a:gd name="T65" fmla="*/ 133 h 146"/>
              <a:gd name="T66" fmla="*/ 24 w 145"/>
              <a:gd name="T67" fmla="*/ 133 h 146"/>
              <a:gd name="T68" fmla="*/ 24 w 145"/>
              <a:gd name="T69" fmla="*/ 94 h 146"/>
              <a:gd name="T70" fmla="*/ 27 w 145"/>
              <a:gd name="T71" fmla="*/ 88 h 146"/>
              <a:gd name="T72" fmla="*/ 34 w 145"/>
              <a:gd name="T73" fmla="*/ 85 h 146"/>
              <a:gd name="T74" fmla="*/ 112 w 145"/>
              <a:gd name="T75" fmla="*/ 85 h 146"/>
              <a:gd name="T76" fmla="*/ 119 w 145"/>
              <a:gd name="T77" fmla="*/ 88 h 146"/>
              <a:gd name="T78" fmla="*/ 121 w 145"/>
              <a:gd name="T79" fmla="*/ 94 h 146"/>
              <a:gd name="T80" fmla="*/ 121 w 145"/>
              <a:gd name="T81" fmla="*/ 133 h 146"/>
              <a:gd name="T82" fmla="*/ 37 w 145"/>
              <a:gd name="T83" fmla="*/ 133 h 146"/>
              <a:gd name="T84" fmla="*/ 109 w 145"/>
              <a:gd name="T85" fmla="*/ 133 h 146"/>
              <a:gd name="T86" fmla="*/ 109 w 145"/>
              <a:gd name="T87" fmla="*/ 97 h 146"/>
              <a:gd name="T88" fmla="*/ 37 w 145"/>
              <a:gd name="T89" fmla="*/ 97 h 146"/>
              <a:gd name="T90" fmla="*/ 37 w 145"/>
              <a:gd name="T91" fmla="*/ 133 h 146"/>
              <a:gd name="T92" fmla="*/ 85 w 145"/>
              <a:gd name="T93" fmla="*/ 46 h 146"/>
              <a:gd name="T94" fmla="*/ 85 w 145"/>
              <a:gd name="T95" fmla="*/ 15 h 146"/>
              <a:gd name="T96" fmla="*/ 84 w 145"/>
              <a:gd name="T97" fmla="*/ 13 h 146"/>
              <a:gd name="T98" fmla="*/ 82 w 145"/>
              <a:gd name="T99" fmla="*/ 12 h 146"/>
              <a:gd name="T100" fmla="*/ 64 w 145"/>
              <a:gd name="T101" fmla="*/ 12 h 146"/>
              <a:gd name="T102" fmla="*/ 62 w 145"/>
              <a:gd name="T103" fmla="*/ 13 h 146"/>
              <a:gd name="T104" fmla="*/ 61 w 145"/>
              <a:gd name="T105" fmla="*/ 15 h 146"/>
              <a:gd name="T106" fmla="*/ 61 w 145"/>
              <a:gd name="T107" fmla="*/ 46 h 146"/>
              <a:gd name="T108" fmla="*/ 62 w 145"/>
              <a:gd name="T109" fmla="*/ 48 h 146"/>
              <a:gd name="T110" fmla="*/ 64 w 145"/>
              <a:gd name="T111" fmla="*/ 49 h 146"/>
              <a:gd name="T112" fmla="*/ 82 w 145"/>
              <a:gd name="T113" fmla="*/ 49 h 146"/>
              <a:gd name="T114" fmla="*/ 84 w 145"/>
              <a:gd name="T115" fmla="*/ 48 h 146"/>
              <a:gd name="T116" fmla="*/ 85 w 145"/>
              <a:gd name="T117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5" h="146">
                <a:moveTo>
                  <a:pt x="145" y="49"/>
                </a:moveTo>
                <a:cubicBezTo>
                  <a:pt x="145" y="136"/>
                  <a:pt x="145" y="136"/>
                  <a:pt x="145" y="136"/>
                </a:cubicBezTo>
                <a:cubicBezTo>
                  <a:pt x="145" y="139"/>
                  <a:pt x="145" y="141"/>
                  <a:pt x="143" y="143"/>
                </a:cubicBezTo>
                <a:cubicBezTo>
                  <a:pt x="141" y="145"/>
                  <a:pt x="139" y="146"/>
                  <a:pt x="136" y="146"/>
                </a:cubicBezTo>
                <a:cubicBezTo>
                  <a:pt x="9" y="146"/>
                  <a:pt x="9" y="146"/>
                  <a:pt x="9" y="146"/>
                </a:cubicBezTo>
                <a:cubicBezTo>
                  <a:pt x="7" y="146"/>
                  <a:pt x="5" y="145"/>
                  <a:pt x="3" y="143"/>
                </a:cubicBezTo>
                <a:cubicBezTo>
                  <a:pt x="1" y="141"/>
                  <a:pt x="0" y="139"/>
                  <a:pt x="0" y="136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3" y="3"/>
                </a:cubicBezTo>
                <a:cubicBezTo>
                  <a:pt x="5" y="1"/>
                  <a:pt x="7" y="0"/>
                  <a:pt x="9" y="0"/>
                </a:cubicBezTo>
                <a:cubicBezTo>
                  <a:pt x="97" y="0"/>
                  <a:pt x="97" y="0"/>
                  <a:pt x="97" y="0"/>
                </a:cubicBezTo>
                <a:cubicBezTo>
                  <a:pt x="100" y="0"/>
                  <a:pt x="102" y="1"/>
                  <a:pt x="105" y="2"/>
                </a:cubicBezTo>
                <a:cubicBezTo>
                  <a:pt x="108" y="3"/>
                  <a:pt x="111" y="5"/>
                  <a:pt x="113" y="7"/>
                </a:cubicBezTo>
                <a:cubicBezTo>
                  <a:pt x="139" y="33"/>
                  <a:pt x="139" y="33"/>
                  <a:pt x="139" y="33"/>
                </a:cubicBezTo>
                <a:cubicBezTo>
                  <a:pt x="141" y="35"/>
                  <a:pt x="142" y="37"/>
                  <a:pt x="144" y="40"/>
                </a:cubicBezTo>
                <a:cubicBezTo>
                  <a:pt x="145" y="43"/>
                  <a:pt x="145" y="46"/>
                  <a:pt x="145" y="49"/>
                </a:cubicBezTo>
                <a:close/>
                <a:moveTo>
                  <a:pt x="121" y="133"/>
                </a:moveTo>
                <a:cubicBezTo>
                  <a:pt x="133" y="133"/>
                  <a:pt x="133" y="133"/>
                  <a:pt x="133" y="133"/>
                </a:cubicBezTo>
                <a:cubicBezTo>
                  <a:pt x="133" y="49"/>
                  <a:pt x="133" y="49"/>
                  <a:pt x="133" y="49"/>
                </a:cubicBezTo>
                <a:cubicBezTo>
                  <a:pt x="133" y="48"/>
                  <a:pt x="133" y="47"/>
                  <a:pt x="132" y="45"/>
                </a:cubicBezTo>
                <a:cubicBezTo>
                  <a:pt x="132" y="44"/>
                  <a:pt x="131" y="42"/>
                  <a:pt x="131" y="42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3" y="15"/>
                  <a:pt x="102" y="14"/>
                  <a:pt x="101" y="13"/>
                </a:cubicBezTo>
                <a:cubicBezTo>
                  <a:pt x="99" y="13"/>
                  <a:pt x="98" y="12"/>
                  <a:pt x="97" y="12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4"/>
                  <a:pt x="96" y="56"/>
                  <a:pt x="94" y="58"/>
                </a:cubicBezTo>
                <a:cubicBezTo>
                  <a:pt x="93" y="60"/>
                  <a:pt x="91" y="61"/>
                  <a:pt x="88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1" y="61"/>
                  <a:pt x="29" y="60"/>
                  <a:pt x="27" y="58"/>
                </a:cubicBezTo>
                <a:cubicBezTo>
                  <a:pt x="25" y="56"/>
                  <a:pt x="24" y="54"/>
                  <a:pt x="24" y="52"/>
                </a:cubicBezTo>
                <a:cubicBezTo>
                  <a:pt x="24" y="12"/>
                  <a:pt x="24" y="12"/>
                  <a:pt x="24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133"/>
                  <a:pt x="12" y="133"/>
                  <a:pt x="12" y="133"/>
                </a:cubicBezTo>
                <a:cubicBezTo>
                  <a:pt x="24" y="133"/>
                  <a:pt x="24" y="133"/>
                  <a:pt x="24" y="133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92"/>
                  <a:pt x="25" y="89"/>
                  <a:pt x="27" y="88"/>
                </a:cubicBezTo>
                <a:cubicBezTo>
                  <a:pt x="29" y="86"/>
                  <a:pt x="31" y="85"/>
                  <a:pt x="34" y="85"/>
                </a:cubicBezTo>
                <a:cubicBezTo>
                  <a:pt x="112" y="85"/>
                  <a:pt x="112" y="85"/>
                  <a:pt x="112" y="85"/>
                </a:cubicBezTo>
                <a:cubicBezTo>
                  <a:pt x="115" y="85"/>
                  <a:pt x="117" y="86"/>
                  <a:pt x="119" y="88"/>
                </a:cubicBezTo>
                <a:cubicBezTo>
                  <a:pt x="120" y="89"/>
                  <a:pt x="121" y="92"/>
                  <a:pt x="121" y="94"/>
                </a:cubicBezTo>
                <a:lnTo>
                  <a:pt x="121" y="133"/>
                </a:lnTo>
                <a:close/>
                <a:moveTo>
                  <a:pt x="37" y="133"/>
                </a:moveTo>
                <a:cubicBezTo>
                  <a:pt x="109" y="133"/>
                  <a:pt x="109" y="133"/>
                  <a:pt x="109" y="133"/>
                </a:cubicBezTo>
                <a:cubicBezTo>
                  <a:pt x="109" y="97"/>
                  <a:pt x="109" y="97"/>
                  <a:pt x="109" y="97"/>
                </a:cubicBezTo>
                <a:cubicBezTo>
                  <a:pt x="37" y="97"/>
                  <a:pt x="37" y="97"/>
                  <a:pt x="37" y="97"/>
                </a:cubicBezTo>
                <a:lnTo>
                  <a:pt x="37" y="133"/>
                </a:lnTo>
                <a:close/>
                <a:moveTo>
                  <a:pt x="85" y="46"/>
                </a:moveTo>
                <a:cubicBezTo>
                  <a:pt x="85" y="15"/>
                  <a:pt x="85" y="15"/>
                  <a:pt x="85" y="15"/>
                </a:cubicBezTo>
                <a:cubicBezTo>
                  <a:pt x="85" y="15"/>
                  <a:pt x="85" y="14"/>
                  <a:pt x="84" y="13"/>
                </a:cubicBezTo>
                <a:cubicBezTo>
                  <a:pt x="83" y="13"/>
                  <a:pt x="83" y="12"/>
                  <a:pt x="82" y="12"/>
                </a:cubicBezTo>
                <a:cubicBezTo>
                  <a:pt x="64" y="12"/>
                  <a:pt x="64" y="12"/>
                  <a:pt x="64" y="12"/>
                </a:cubicBezTo>
                <a:cubicBezTo>
                  <a:pt x="63" y="12"/>
                  <a:pt x="62" y="13"/>
                  <a:pt x="62" y="13"/>
                </a:cubicBezTo>
                <a:cubicBezTo>
                  <a:pt x="61" y="14"/>
                  <a:pt x="61" y="15"/>
                  <a:pt x="61" y="15"/>
                </a:cubicBezTo>
                <a:cubicBezTo>
                  <a:pt x="61" y="46"/>
                  <a:pt x="61" y="46"/>
                  <a:pt x="61" y="46"/>
                </a:cubicBezTo>
                <a:cubicBezTo>
                  <a:pt x="61" y="47"/>
                  <a:pt x="61" y="47"/>
                  <a:pt x="62" y="48"/>
                </a:cubicBezTo>
                <a:cubicBezTo>
                  <a:pt x="62" y="48"/>
                  <a:pt x="63" y="49"/>
                  <a:pt x="64" y="49"/>
                </a:cubicBezTo>
                <a:cubicBezTo>
                  <a:pt x="82" y="49"/>
                  <a:pt x="82" y="49"/>
                  <a:pt x="82" y="49"/>
                </a:cubicBezTo>
                <a:cubicBezTo>
                  <a:pt x="83" y="49"/>
                  <a:pt x="83" y="48"/>
                  <a:pt x="84" y="48"/>
                </a:cubicBezTo>
                <a:cubicBezTo>
                  <a:pt x="85" y="47"/>
                  <a:pt x="85" y="47"/>
                  <a:pt x="85" y="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1" name="Freeform 181"/>
          <p:cNvSpPr>
            <a:spLocks noChangeAspect="1" noEditPoints="1"/>
          </p:cNvSpPr>
          <p:nvPr/>
        </p:nvSpPr>
        <p:spPr bwMode="auto">
          <a:xfrm>
            <a:off x="5257401" y="2807708"/>
            <a:ext cx="151447" cy="124904"/>
          </a:xfrm>
          <a:custGeom>
            <a:avLst/>
            <a:gdLst>
              <a:gd name="T0" fmla="*/ 145 w 145"/>
              <a:gd name="T1" fmla="*/ 6 h 121"/>
              <a:gd name="T2" fmla="*/ 145 w 145"/>
              <a:gd name="T3" fmla="*/ 19 h 121"/>
              <a:gd name="T4" fmla="*/ 143 w 145"/>
              <a:gd name="T5" fmla="*/ 23 h 121"/>
              <a:gd name="T6" fmla="*/ 139 w 145"/>
              <a:gd name="T7" fmla="*/ 25 h 121"/>
              <a:gd name="T8" fmla="*/ 6 w 145"/>
              <a:gd name="T9" fmla="*/ 25 h 121"/>
              <a:gd name="T10" fmla="*/ 2 w 145"/>
              <a:gd name="T11" fmla="*/ 23 h 121"/>
              <a:gd name="T12" fmla="*/ 0 w 145"/>
              <a:gd name="T13" fmla="*/ 19 h 121"/>
              <a:gd name="T14" fmla="*/ 0 w 145"/>
              <a:gd name="T15" fmla="*/ 6 h 121"/>
              <a:gd name="T16" fmla="*/ 2 w 145"/>
              <a:gd name="T17" fmla="*/ 2 h 121"/>
              <a:gd name="T18" fmla="*/ 6 w 145"/>
              <a:gd name="T19" fmla="*/ 0 h 121"/>
              <a:gd name="T20" fmla="*/ 139 w 145"/>
              <a:gd name="T21" fmla="*/ 0 h 121"/>
              <a:gd name="T22" fmla="*/ 143 w 145"/>
              <a:gd name="T23" fmla="*/ 2 h 121"/>
              <a:gd name="T24" fmla="*/ 145 w 145"/>
              <a:gd name="T25" fmla="*/ 6 h 121"/>
              <a:gd name="T26" fmla="*/ 145 w 145"/>
              <a:gd name="T27" fmla="*/ 55 h 121"/>
              <a:gd name="T28" fmla="*/ 145 w 145"/>
              <a:gd name="T29" fmla="*/ 67 h 121"/>
              <a:gd name="T30" fmla="*/ 143 w 145"/>
              <a:gd name="T31" fmla="*/ 71 h 121"/>
              <a:gd name="T32" fmla="*/ 139 w 145"/>
              <a:gd name="T33" fmla="*/ 73 h 121"/>
              <a:gd name="T34" fmla="*/ 6 w 145"/>
              <a:gd name="T35" fmla="*/ 73 h 121"/>
              <a:gd name="T36" fmla="*/ 2 w 145"/>
              <a:gd name="T37" fmla="*/ 71 h 121"/>
              <a:gd name="T38" fmla="*/ 0 w 145"/>
              <a:gd name="T39" fmla="*/ 67 h 121"/>
              <a:gd name="T40" fmla="*/ 0 w 145"/>
              <a:gd name="T41" fmla="*/ 55 h 121"/>
              <a:gd name="T42" fmla="*/ 2 w 145"/>
              <a:gd name="T43" fmla="*/ 51 h 121"/>
              <a:gd name="T44" fmla="*/ 6 w 145"/>
              <a:gd name="T45" fmla="*/ 49 h 121"/>
              <a:gd name="T46" fmla="*/ 139 w 145"/>
              <a:gd name="T47" fmla="*/ 49 h 121"/>
              <a:gd name="T48" fmla="*/ 143 w 145"/>
              <a:gd name="T49" fmla="*/ 51 h 121"/>
              <a:gd name="T50" fmla="*/ 145 w 145"/>
              <a:gd name="T51" fmla="*/ 55 h 121"/>
              <a:gd name="T52" fmla="*/ 145 w 145"/>
              <a:gd name="T53" fmla="*/ 103 h 121"/>
              <a:gd name="T54" fmla="*/ 145 w 145"/>
              <a:gd name="T55" fmla="*/ 115 h 121"/>
              <a:gd name="T56" fmla="*/ 143 w 145"/>
              <a:gd name="T57" fmla="*/ 120 h 121"/>
              <a:gd name="T58" fmla="*/ 139 w 145"/>
              <a:gd name="T59" fmla="*/ 121 h 121"/>
              <a:gd name="T60" fmla="*/ 6 w 145"/>
              <a:gd name="T61" fmla="*/ 121 h 121"/>
              <a:gd name="T62" fmla="*/ 2 w 145"/>
              <a:gd name="T63" fmla="*/ 120 h 121"/>
              <a:gd name="T64" fmla="*/ 0 w 145"/>
              <a:gd name="T65" fmla="*/ 115 h 121"/>
              <a:gd name="T66" fmla="*/ 0 w 145"/>
              <a:gd name="T67" fmla="*/ 103 h 121"/>
              <a:gd name="T68" fmla="*/ 2 w 145"/>
              <a:gd name="T69" fmla="*/ 99 h 121"/>
              <a:gd name="T70" fmla="*/ 6 w 145"/>
              <a:gd name="T71" fmla="*/ 97 h 121"/>
              <a:gd name="T72" fmla="*/ 139 w 145"/>
              <a:gd name="T73" fmla="*/ 97 h 121"/>
              <a:gd name="T74" fmla="*/ 143 w 145"/>
              <a:gd name="T75" fmla="*/ 99 h 121"/>
              <a:gd name="T76" fmla="*/ 145 w 145"/>
              <a:gd name="T77" fmla="*/ 103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21">
                <a:moveTo>
                  <a:pt x="145" y="6"/>
                </a:moveTo>
                <a:cubicBezTo>
                  <a:pt x="145" y="19"/>
                  <a:pt x="145" y="19"/>
                  <a:pt x="145" y="19"/>
                </a:cubicBezTo>
                <a:cubicBezTo>
                  <a:pt x="145" y="20"/>
                  <a:pt x="145" y="22"/>
                  <a:pt x="143" y="23"/>
                </a:cubicBezTo>
                <a:cubicBezTo>
                  <a:pt x="142" y="24"/>
                  <a:pt x="141" y="25"/>
                  <a:pt x="139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4" y="25"/>
                  <a:pt x="3" y="24"/>
                  <a:pt x="2" y="23"/>
                </a:cubicBezTo>
                <a:cubicBezTo>
                  <a:pt x="1" y="22"/>
                  <a:pt x="0" y="20"/>
                  <a:pt x="0" y="1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1" y="0"/>
                  <a:pt x="142" y="1"/>
                  <a:pt x="143" y="2"/>
                </a:cubicBezTo>
                <a:cubicBezTo>
                  <a:pt x="145" y="3"/>
                  <a:pt x="145" y="5"/>
                  <a:pt x="145" y="6"/>
                </a:cubicBezTo>
                <a:close/>
                <a:moveTo>
                  <a:pt x="145" y="55"/>
                </a:moveTo>
                <a:cubicBezTo>
                  <a:pt x="145" y="67"/>
                  <a:pt x="145" y="67"/>
                  <a:pt x="145" y="67"/>
                </a:cubicBezTo>
                <a:cubicBezTo>
                  <a:pt x="145" y="69"/>
                  <a:pt x="145" y="70"/>
                  <a:pt x="143" y="71"/>
                </a:cubicBezTo>
                <a:cubicBezTo>
                  <a:pt x="142" y="72"/>
                  <a:pt x="141" y="73"/>
                  <a:pt x="139" y="73"/>
                </a:cubicBezTo>
                <a:cubicBezTo>
                  <a:pt x="6" y="73"/>
                  <a:pt x="6" y="73"/>
                  <a:pt x="6" y="73"/>
                </a:cubicBezTo>
                <a:cubicBezTo>
                  <a:pt x="4" y="73"/>
                  <a:pt x="3" y="72"/>
                  <a:pt x="2" y="71"/>
                </a:cubicBezTo>
                <a:cubicBezTo>
                  <a:pt x="1" y="70"/>
                  <a:pt x="0" y="69"/>
                  <a:pt x="0" y="67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9"/>
                  <a:pt x="6" y="49"/>
                </a:cubicBezTo>
                <a:cubicBezTo>
                  <a:pt x="139" y="49"/>
                  <a:pt x="139" y="49"/>
                  <a:pt x="139" y="49"/>
                </a:cubicBezTo>
                <a:cubicBezTo>
                  <a:pt x="141" y="49"/>
                  <a:pt x="142" y="49"/>
                  <a:pt x="143" y="51"/>
                </a:cubicBezTo>
                <a:cubicBezTo>
                  <a:pt x="145" y="52"/>
                  <a:pt x="145" y="53"/>
                  <a:pt x="145" y="55"/>
                </a:cubicBezTo>
                <a:close/>
                <a:moveTo>
                  <a:pt x="145" y="103"/>
                </a:moveTo>
                <a:cubicBezTo>
                  <a:pt x="145" y="115"/>
                  <a:pt x="145" y="115"/>
                  <a:pt x="145" y="115"/>
                </a:cubicBezTo>
                <a:cubicBezTo>
                  <a:pt x="145" y="117"/>
                  <a:pt x="145" y="118"/>
                  <a:pt x="143" y="120"/>
                </a:cubicBezTo>
                <a:cubicBezTo>
                  <a:pt x="142" y="121"/>
                  <a:pt x="141" y="121"/>
                  <a:pt x="139" y="121"/>
                </a:cubicBezTo>
                <a:cubicBezTo>
                  <a:pt x="6" y="121"/>
                  <a:pt x="6" y="121"/>
                  <a:pt x="6" y="121"/>
                </a:cubicBezTo>
                <a:cubicBezTo>
                  <a:pt x="4" y="121"/>
                  <a:pt x="3" y="121"/>
                  <a:pt x="2" y="120"/>
                </a:cubicBezTo>
                <a:cubicBezTo>
                  <a:pt x="1" y="118"/>
                  <a:pt x="0" y="117"/>
                  <a:pt x="0" y="115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102"/>
                  <a:pt x="1" y="100"/>
                  <a:pt x="2" y="99"/>
                </a:cubicBezTo>
                <a:cubicBezTo>
                  <a:pt x="3" y="98"/>
                  <a:pt x="4" y="97"/>
                  <a:pt x="6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3" y="99"/>
                </a:cubicBezTo>
                <a:cubicBezTo>
                  <a:pt x="145" y="100"/>
                  <a:pt x="145" y="102"/>
                  <a:pt x="145" y="1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2" name="Freeform 182"/>
          <p:cNvSpPr>
            <a:spLocks noChangeAspect="1" noEditPoints="1"/>
          </p:cNvSpPr>
          <p:nvPr/>
        </p:nvSpPr>
        <p:spPr bwMode="auto">
          <a:xfrm>
            <a:off x="5451003" y="2801463"/>
            <a:ext cx="174866" cy="138956"/>
          </a:xfrm>
          <a:custGeom>
            <a:avLst/>
            <a:gdLst>
              <a:gd name="T0" fmla="*/ 36 w 170"/>
              <a:gd name="T1" fmla="*/ 19 h 134"/>
              <a:gd name="T2" fmla="*/ 18 w 170"/>
              <a:gd name="T3" fmla="*/ 37 h 134"/>
              <a:gd name="T4" fmla="*/ 0 w 170"/>
              <a:gd name="T5" fmla="*/ 19 h 134"/>
              <a:gd name="T6" fmla="*/ 18 w 170"/>
              <a:gd name="T7" fmla="*/ 0 h 134"/>
              <a:gd name="T8" fmla="*/ 31 w 170"/>
              <a:gd name="T9" fmla="*/ 54 h 134"/>
              <a:gd name="T10" fmla="*/ 31 w 170"/>
              <a:gd name="T11" fmla="*/ 80 h 134"/>
              <a:gd name="T12" fmla="*/ 5 w 170"/>
              <a:gd name="T13" fmla="*/ 80 h 134"/>
              <a:gd name="T14" fmla="*/ 5 w 170"/>
              <a:gd name="T15" fmla="*/ 54 h 134"/>
              <a:gd name="T16" fmla="*/ 31 w 170"/>
              <a:gd name="T17" fmla="*/ 54 h 134"/>
              <a:gd name="T18" fmla="*/ 36 w 170"/>
              <a:gd name="T19" fmla="*/ 115 h 134"/>
              <a:gd name="T20" fmla="*/ 18 w 170"/>
              <a:gd name="T21" fmla="*/ 134 h 134"/>
              <a:gd name="T22" fmla="*/ 0 w 170"/>
              <a:gd name="T23" fmla="*/ 115 h 134"/>
              <a:gd name="T24" fmla="*/ 18 w 170"/>
              <a:gd name="T25" fmla="*/ 97 h 134"/>
              <a:gd name="T26" fmla="*/ 170 w 170"/>
              <a:gd name="T27" fmla="*/ 9 h 134"/>
              <a:gd name="T28" fmla="*/ 169 w 170"/>
              <a:gd name="T29" fmla="*/ 30 h 134"/>
              <a:gd name="T30" fmla="*/ 52 w 170"/>
              <a:gd name="T31" fmla="*/ 31 h 134"/>
              <a:gd name="T32" fmla="*/ 48 w 170"/>
              <a:gd name="T33" fmla="*/ 28 h 134"/>
              <a:gd name="T34" fmla="*/ 49 w 170"/>
              <a:gd name="T35" fmla="*/ 7 h 134"/>
              <a:gd name="T36" fmla="*/ 166 w 170"/>
              <a:gd name="T37" fmla="*/ 6 h 134"/>
              <a:gd name="T38" fmla="*/ 170 w 170"/>
              <a:gd name="T39" fmla="*/ 9 h 134"/>
              <a:gd name="T40" fmla="*/ 170 w 170"/>
              <a:gd name="T41" fmla="*/ 76 h 134"/>
              <a:gd name="T42" fmla="*/ 166 w 170"/>
              <a:gd name="T43" fmla="*/ 79 h 134"/>
              <a:gd name="T44" fmla="*/ 49 w 170"/>
              <a:gd name="T45" fmla="*/ 78 h 134"/>
              <a:gd name="T46" fmla="*/ 48 w 170"/>
              <a:gd name="T47" fmla="*/ 58 h 134"/>
              <a:gd name="T48" fmla="*/ 52 w 170"/>
              <a:gd name="T49" fmla="*/ 55 h 134"/>
              <a:gd name="T50" fmla="*/ 169 w 170"/>
              <a:gd name="T51" fmla="*/ 56 h 134"/>
              <a:gd name="T52" fmla="*/ 170 w 170"/>
              <a:gd name="T53" fmla="*/ 106 h 134"/>
              <a:gd name="T54" fmla="*/ 169 w 170"/>
              <a:gd name="T55" fmla="*/ 127 h 134"/>
              <a:gd name="T56" fmla="*/ 52 w 170"/>
              <a:gd name="T57" fmla="*/ 127 h 134"/>
              <a:gd name="T58" fmla="*/ 48 w 170"/>
              <a:gd name="T59" fmla="*/ 124 h 134"/>
              <a:gd name="T60" fmla="*/ 49 w 170"/>
              <a:gd name="T61" fmla="*/ 104 h 134"/>
              <a:gd name="T62" fmla="*/ 166 w 170"/>
              <a:gd name="T63" fmla="*/ 103 h 134"/>
              <a:gd name="T64" fmla="*/ 170 w 170"/>
              <a:gd name="T65" fmla="*/ 106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0" h="134">
                <a:moveTo>
                  <a:pt x="31" y="6"/>
                </a:moveTo>
                <a:cubicBezTo>
                  <a:pt x="35" y="9"/>
                  <a:pt x="36" y="13"/>
                  <a:pt x="36" y="19"/>
                </a:cubicBezTo>
                <a:cubicBezTo>
                  <a:pt x="36" y="24"/>
                  <a:pt x="35" y="28"/>
                  <a:pt x="31" y="31"/>
                </a:cubicBezTo>
                <a:cubicBezTo>
                  <a:pt x="28" y="35"/>
                  <a:pt x="23" y="37"/>
                  <a:pt x="18" y="37"/>
                </a:cubicBezTo>
                <a:cubicBezTo>
                  <a:pt x="13" y="37"/>
                  <a:pt x="9" y="35"/>
                  <a:pt x="5" y="31"/>
                </a:cubicBezTo>
                <a:cubicBezTo>
                  <a:pt x="2" y="28"/>
                  <a:pt x="0" y="24"/>
                  <a:pt x="0" y="19"/>
                </a:cubicBezTo>
                <a:cubicBezTo>
                  <a:pt x="0" y="13"/>
                  <a:pt x="2" y="9"/>
                  <a:pt x="5" y="6"/>
                </a:cubicBezTo>
                <a:cubicBezTo>
                  <a:pt x="9" y="2"/>
                  <a:pt x="13" y="0"/>
                  <a:pt x="18" y="0"/>
                </a:cubicBezTo>
                <a:cubicBezTo>
                  <a:pt x="23" y="0"/>
                  <a:pt x="28" y="2"/>
                  <a:pt x="31" y="6"/>
                </a:cubicBezTo>
                <a:close/>
                <a:moveTo>
                  <a:pt x="31" y="54"/>
                </a:moveTo>
                <a:cubicBezTo>
                  <a:pt x="35" y="58"/>
                  <a:pt x="36" y="62"/>
                  <a:pt x="36" y="67"/>
                </a:cubicBezTo>
                <a:cubicBezTo>
                  <a:pt x="36" y="72"/>
                  <a:pt x="35" y="76"/>
                  <a:pt x="31" y="80"/>
                </a:cubicBezTo>
                <a:cubicBezTo>
                  <a:pt x="28" y="83"/>
                  <a:pt x="23" y="85"/>
                  <a:pt x="18" y="85"/>
                </a:cubicBezTo>
                <a:cubicBezTo>
                  <a:pt x="13" y="85"/>
                  <a:pt x="9" y="83"/>
                  <a:pt x="5" y="80"/>
                </a:cubicBezTo>
                <a:cubicBezTo>
                  <a:pt x="2" y="76"/>
                  <a:pt x="0" y="72"/>
                  <a:pt x="0" y="67"/>
                </a:cubicBezTo>
                <a:cubicBezTo>
                  <a:pt x="0" y="62"/>
                  <a:pt x="2" y="58"/>
                  <a:pt x="5" y="54"/>
                </a:cubicBezTo>
                <a:cubicBezTo>
                  <a:pt x="9" y="51"/>
                  <a:pt x="13" y="49"/>
                  <a:pt x="18" y="49"/>
                </a:cubicBezTo>
                <a:cubicBezTo>
                  <a:pt x="23" y="49"/>
                  <a:pt x="28" y="51"/>
                  <a:pt x="31" y="54"/>
                </a:cubicBezTo>
                <a:close/>
                <a:moveTo>
                  <a:pt x="31" y="102"/>
                </a:moveTo>
                <a:cubicBezTo>
                  <a:pt x="35" y="106"/>
                  <a:pt x="36" y="110"/>
                  <a:pt x="36" y="115"/>
                </a:cubicBezTo>
                <a:cubicBezTo>
                  <a:pt x="36" y="120"/>
                  <a:pt x="35" y="125"/>
                  <a:pt x="31" y="128"/>
                </a:cubicBezTo>
                <a:cubicBezTo>
                  <a:pt x="28" y="132"/>
                  <a:pt x="23" y="134"/>
                  <a:pt x="18" y="134"/>
                </a:cubicBezTo>
                <a:cubicBezTo>
                  <a:pt x="13" y="134"/>
                  <a:pt x="9" y="132"/>
                  <a:pt x="5" y="128"/>
                </a:cubicBezTo>
                <a:cubicBezTo>
                  <a:pt x="2" y="125"/>
                  <a:pt x="0" y="120"/>
                  <a:pt x="0" y="115"/>
                </a:cubicBezTo>
                <a:cubicBezTo>
                  <a:pt x="0" y="110"/>
                  <a:pt x="2" y="106"/>
                  <a:pt x="5" y="102"/>
                </a:cubicBezTo>
                <a:cubicBezTo>
                  <a:pt x="9" y="99"/>
                  <a:pt x="13" y="97"/>
                  <a:pt x="18" y="97"/>
                </a:cubicBezTo>
                <a:cubicBezTo>
                  <a:pt x="23" y="97"/>
                  <a:pt x="28" y="99"/>
                  <a:pt x="31" y="102"/>
                </a:cubicBezTo>
                <a:close/>
                <a:moveTo>
                  <a:pt x="170" y="9"/>
                </a:moveTo>
                <a:cubicBezTo>
                  <a:pt x="170" y="28"/>
                  <a:pt x="170" y="28"/>
                  <a:pt x="170" y="28"/>
                </a:cubicBezTo>
                <a:cubicBezTo>
                  <a:pt x="170" y="28"/>
                  <a:pt x="169" y="29"/>
                  <a:pt x="169" y="30"/>
                </a:cubicBezTo>
                <a:cubicBezTo>
                  <a:pt x="168" y="30"/>
                  <a:pt x="167" y="31"/>
                  <a:pt x="166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1" y="31"/>
                  <a:pt x="50" y="30"/>
                  <a:pt x="49" y="30"/>
                </a:cubicBezTo>
                <a:cubicBezTo>
                  <a:pt x="49" y="29"/>
                  <a:pt x="48" y="28"/>
                  <a:pt x="48" y="28"/>
                </a:cubicBezTo>
                <a:cubicBezTo>
                  <a:pt x="48" y="9"/>
                  <a:pt x="48" y="9"/>
                  <a:pt x="48" y="9"/>
                </a:cubicBezTo>
                <a:cubicBezTo>
                  <a:pt x="48" y="9"/>
                  <a:pt x="49" y="8"/>
                  <a:pt x="49" y="7"/>
                </a:cubicBezTo>
                <a:cubicBezTo>
                  <a:pt x="50" y="7"/>
                  <a:pt x="51" y="6"/>
                  <a:pt x="52" y="6"/>
                </a:cubicBezTo>
                <a:cubicBezTo>
                  <a:pt x="166" y="6"/>
                  <a:pt x="166" y="6"/>
                  <a:pt x="166" y="6"/>
                </a:cubicBezTo>
                <a:cubicBezTo>
                  <a:pt x="167" y="6"/>
                  <a:pt x="168" y="7"/>
                  <a:pt x="169" y="7"/>
                </a:cubicBezTo>
                <a:cubicBezTo>
                  <a:pt x="169" y="8"/>
                  <a:pt x="170" y="9"/>
                  <a:pt x="170" y="9"/>
                </a:cubicBezTo>
                <a:close/>
                <a:moveTo>
                  <a:pt x="170" y="58"/>
                </a:moveTo>
                <a:cubicBezTo>
                  <a:pt x="170" y="76"/>
                  <a:pt x="170" y="76"/>
                  <a:pt x="170" y="76"/>
                </a:cubicBezTo>
                <a:cubicBezTo>
                  <a:pt x="170" y="77"/>
                  <a:pt x="169" y="78"/>
                  <a:pt x="169" y="78"/>
                </a:cubicBezTo>
                <a:cubicBezTo>
                  <a:pt x="168" y="79"/>
                  <a:pt x="167" y="79"/>
                  <a:pt x="166" y="79"/>
                </a:cubicBezTo>
                <a:cubicBezTo>
                  <a:pt x="52" y="79"/>
                  <a:pt x="52" y="79"/>
                  <a:pt x="52" y="79"/>
                </a:cubicBezTo>
                <a:cubicBezTo>
                  <a:pt x="51" y="79"/>
                  <a:pt x="50" y="79"/>
                  <a:pt x="49" y="78"/>
                </a:cubicBezTo>
                <a:cubicBezTo>
                  <a:pt x="49" y="78"/>
                  <a:pt x="48" y="77"/>
                  <a:pt x="48" y="76"/>
                </a:cubicBezTo>
                <a:cubicBezTo>
                  <a:pt x="48" y="58"/>
                  <a:pt x="48" y="58"/>
                  <a:pt x="48" y="58"/>
                </a:cubicBezTo>
                <a:cubicBezTo>
                  <a:pt x="48" y="57"/>
                  <a:pt x="49" y="56"/>
                  <a:pt x="49" y="56"/>
                </a:cubicBezTo>
                <a:cubicBezTo>
                  <a:pt x="50" y="55"/>
                  <a:pt x="51" y="55"/>
                  <a:pt x="52" y="55"/>
                </a:cubicBezTo>
                <a:cubicBezTo>
                  <a:pt x="166" y="55"/>
                  <a:pt x="166" y="55"/>
                  <a:pt x="166" y="55"/>
                </a:cubicBezTo>
                <a:cubicBezTo>
                  <a:pt x="167" y="55"/>
                  <a:pt x="168" y="55"/>
                  <a:pt x="169" y="56"/>
                </a:cubicBezTo>
                <a:cubicBezTo>
                  <a:pt x="169" y="56"/>
                  <a:pt x="170" y="57"/>
                  <a:pt x="170" y="58"/>
                </a:cubicBezTo>
                <a:close/>
                <a:moveTo>
                  <a:pt x="170" y="106"/>
                </a:moveTo>
                <a:cubicBezTo>
                  <a:pt x="170" y="124"/>
                  <a:pt x="170" y="124"/>
                  <a:pt x="170" y="124"/>
                </a:cubicBezTo>
                <a:cubicBezTo>
                  <a:pt x="170" y="125"/>
                  <a:pt x="169" y="126"/>
                  <a:pt x="169" y="127"/>
                </a:cubicBezTo>
                <a:cubicBezTo>
                  <a:pt x="168" y="127"/>
                  <a:pt x="167" y="127"/>
                  <a:pt x="166" y="127"/>
                </a:cubicBezTo>
                <a:cubicBezTo>
                  <a:pt x="52" y="127"/>
                  <a:pt x="52" y="127"/>
                  <a:pt x="52" y="127"/>
                </a:cubicBezTo>
                <a:cubicBezTo>
                  <a:pt x="51" y="127"/>
                  <a:pt x="50" y="127"/>
                  <a:pt x="49" y="127"/>
                </a:cubicBezTo>
                <a:cubicBezTo>
                  <a:pt x="49" y="126"/>
                  <a:pt x="48" y="125"/>
                  <a:pt x="48" y="124"/>
                </a:cubicBezTo>
                <a:cubicBezTo>
                  <a:pt x="48" y="106"/>
                  <a:pt x="48" y="106"/>
                  <a:pt x="48" y="106"/>
                </a:cubicBezTo>
                <a:cubicBezTo>
                  <a:pt x="48" y="105"/>
                  <a:pt x="49" y="105"/>
                  <a:pt x="49" y="104"/>
                </a:cubicBezTo>
                <a:cubicBezTo>
                  <a:pt x="50" y="104"/>
                  <a:pt x="51" y="103"/>
                  <a:pt x="52" y="103"/>
                </a:cubicBezTo>
                <a:cubicBezTo>
                  <a:pt x="166" y="103"/>
                  <a:pt x="166" y="103"/>
                  <a:pt x="166" y="103"/>
                </a:cubicBezTo>
                <a:cubicBezTo>
                  <a:pt x="167" y="103"/>
                  <a:pt x="168" y="104"/>
                  <a:pt x="169" y="104"/>
                </a:cubicBezTo>
                <a:cubicBezTo>
                  <a:pt x="169" y="105"/>
                  <a:pt x="170" y="105"/>
                  <a:pt x="170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3" name="Freeform 183"/>
          <p:cNvSpPr>
            <a:spLocks noChangeAspect="1" noEditPoints="1"/>
          </p:cNvSpPr>
          <p:nvPr/>
        </p:nvSpPr>
        <p:spPr bwMode="auto">
          <a:xfrm>
            <a:off x="5669586" y="2784288"/>
            <a:ext cx="174866" cy="174866"/>
          </a:xfrm>
          <a:custGeom>
            <a:avLst/>
            <a:gdLst>
              <a:gd name="T0" fmla="*/ 35 w 168"/>
              <a:gd name="T1" fmla="*/ 108 h 169"/>
              <a:gd name="T2" fmla="*/ 0 w 168"/>
              <a:gd name="T3" fmla="*/ 103 h 169"/>
              <a:gd name="T4" fmla="*/ 7 w 168"/>
              <a:gd name="T5" fmla="*/ 88 h 169"/>
              <a:gd name="T6" fmla="*/ 19 w 168"/>
              <a:gd name="T7" fmla="*/ 79 h 169"/>
              <a:gd name="T8" fmla="*/ 20 w 168"/>
              <a:gd name="T9" fmla="*/ 71 h 169"/>
              <a:gd name="T10" fmla="*/ 8 w 168"/>
              <a:gd name="T11" fmla="*/ 76 h 169"/>
              <a:gd name="T12" fmla="*/ 7 w 168"/>
              <a:gd name="T13" fmla="*/ 62 h 169"/>
              <a:gd name="T14" fmla="*/ 29 w 168"/>
              <a:gd name="T15" fmla="*/ 64 h 169"/>
              <a:gd name="T16" fmla="*/ 30 w 168"/>
              <a:gd name="T17" fmla="*/ 83 h 169"/>
              <a:gd name="T18" fmla="*/ 16 w 168"/>
              <a:gd name="T19" fmla="*/ 94 h 169"/>
              <a:gd name="T20" fmla="*/ 25 w 168"/>
              <a:gd name="T21" fmla="*/ 99 h 169"/>
              <a:gd name="T22" fmla="*/ 35 w 168"/>
              <a:gd name="T23" fmla="*/ 93 h 169"/>
              <a:gd name="T24" fmla="*/ 29 w 168"/>
              <a:gd name="T25" fmla="*/ 164 h 169"/>
              <a:gd name="T26" fmla="*/ 0 w 168"/>
              <a:gd name="T27" fmla="*/ 162 h 169"/>
              <a:gd name="T28" fmla="*/ 16 w 168"/>
              <a:gd name="T29" fmla="*/ 158 h 169"/>
              <a:gd name="T30" fmla="*/ 22 w 168"/>
              <a:gd name="T31" fmla="*/ 153 h 169"/>
              <a:gd name="T32" fmla="*/ 10 w 168"/>
              <a:gd name="T33" fmla="*/ 142 h 169"/>
              <a:gd name="T34" fmla="*/ 17 w 168"/>
              <a:gd name="T35" fmla="*/ 133 h 169"/>
              <a:gd name="T36" fmla="*/ 21 w 168"/>
              <a:gd name="T37" fmla="*/ 129 h 169"/>
              <a:gd name="T38" fmla="*/ 11 w 168"/>
              <a:gd name="T39" fmla="*/ 130 h 169"/>
              <a:gd name="T40" fmla="*/ 1 w 168"/>
              <a:gd name="T41" fmla="*/ 135 h 169"/>
              <a:gd name="T42" fmla="*/ 33 w 168"/>
              <a:gd name="T43" fmla="*/ 120 h 169"/>
              <a:gd name="T44" fmla="*/ 24 w 168"/>
              <a:gd name="T45" fmla="*/ 139 h 169"/>
              <a:gd name="T46" fmla="*/ 34 w 168"/>
              <a:gd name="T47" fmla="*/ 152 h 169"/>
              <a:gd name="T48" fmla="*/ 35 w 168"/>
              <a:gd name="T49" fmla="*/ 48 h 169"/>
              <a:gd name="T50" fmla="*/ 3 w 168"/>
              <a:gd name="T51" fmla="*/ 38 h 169"/>
              <a:gd name="T52" fmla="*/ 13 w 168"/>
              <a:gd name="T53" fmla="*/ 27 h 169"/>
              <a:gd name="T54" fmla="*/ 13 w 168"/>
              <a:gd name="T55" fmla="*/ 14 h 169"/>
              <a:gd name="T56" fmla="*/ 8 w 168"/>
              <a:gd name="T57" fmla="*/ 19 h 169"/>
              <a:gd name="T58" fmla="*/ 14 w 168"/>
              <a:gd name="T59" fmla="*/ 0 h 169"/>
              <a:gd name="T60" fmla="*/ 24 w 168"/>
              <a:gd name="T61" fmla="*/ 38 h 169"/>
              <a:gd name="T62" fmla="*/ 168 w 168"/>
              <a:gd name="T63" fmla="*/ 26 h 169"/>
              <a:gd name="T64" fmla="*/ 167 w 168"/>
              <a:gd name="T65" fmla="*/ 47 h 169"/>
              <a:gd name="T66" fmla="*/ 50 w 168"/>
              <a:gd name="T67" fmla="*/ 48 h 169"/>
              <a:gd name="T68" fmla="*/ 47 w 168"/>
              <a:gd name="T69" fmla="*/ 45 h 169"/>
              <a:gd name="T70" fmla="*/ 48 w 168"/>
              <a:gd name="T71" fmla="*/ 24 h 169"/>
              <a:gd name="T72" fmla="*/ 165 w 168"/>
              <a:gd name="T73" fmla="*/ 23 h 169"/>
              <a:gd name="T74" fmla="*/ 168 w 168"/>
              <a:gd name="T75" fmla="*/ 26 h 169"/>
              <a:gd name="T76" fmla="*/ 168 w 168"/>
              <a:gd name="T77" fmla="*/ 93 h 169"/>
              <a:gd name="T78" fmla="*/ 165 w 168"/>
              <a:gd name="T79" fmla="*/ 96 h 169"/>
              <a:gd name="T80" fmla="*/ 48 w 168"/>
              <a:gd name="T81" fmla="*/ 95 h 169"/>
              <a:gd name="T82" fmla="*/ 47 w 168"/>
              <a:gd name="T83" fmla="*/ 75 h 169"/>
              <a:gd name="T84" fmla="*/ 50 w 168"/>
              <a:gd name="T85" fmla="*/ 72 h 169"/>
              <a:gd name="T86" fmla="*/ 167 w 168"/>
              <a:gd name="T87" fmla="*/ 73 h 169"/>
              <a:gd name="T88" fmla="*/ 168 w 168"/>
              <a:gd name="T89" fmla="*/ 123 h 169"/>
              <a:gd name="T90" fmla="*/ 167 w 168"/>
              <a:gd name="T91" fmla="*/ 144 h 169"/>
              <a:gd name="T92" fmla="*/ 50 w 168"/>
              <a:gd name="T93" fmla="*/ 144 h 169"/>
              <a:gd name="T94" fmla="*/ 47 w 168"/>
              <a:gd name="T95" fmla="*/ 141 h 169"/>
              <a:gd name="T96" fmla="*/ 48 w 168"/>
              <a:gd name="T97" fmla="*/ 121 h 169"/>
              <a:gd name="T98" fmla="*/ 165 w 168"/>
              <a:gd name="T99" fmla="*/ 120 h 169"/>
              <a:gd name="T100" fmla="*/ 168 w 168"/>
              <a:gd name="T101" fmla="*/ 12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8" h="169">
                <a:moveTo>
                  <a:pt x="35" y="93"/>
                </a:moveTo>
                <a:cubicBezTo>
                  <a:pt x="35" y="108"/>
                  <a:pt x="35" y="108"/>
                  <a:pt x="35" y="10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0" y="104"/>
                  <a:pt x="0" y="103"/>
                </a:cubicBezTo>
                <a:cubicBezTo>
                  <a:pt x="0" y="100"/>
                  <a:pt x="0" y="97"/>
                  <a:pt x="2" y="94"/>
                </a:cubicBezTo>
                <a:cubicBezTo>
                  <a:pt x="3" y="92"/>
                  <a:pt x="5" y="89"/>
                  <a:pt x="7" y="88"/>
                </a:cubicBezTo>
                <a:cubicBezTo>
                  <a:pt x="9" y="86"/>
                  <a:pt x="11" y="85"/>
                  <a:pt x="14" y="83"/>
                </a:cubicBezTo>
                <a:cubicBezTo>
                  <a:pt x="16" y="82"/>
                  <a:pt x="17" y="81"/>
                  <a:pt x="19" y="79"/>
                </a:cubicBezTo>
                <a:cubicBezTo>
                  <a:pt x="20" y="78"/>
                  <a:pt x="21" y="76"/>
                  <a:pt x="21" y="75"/>
                </a:cubicBezTo>
                <a:cubicBezTo>
                  <a:pt x="21" y="73"/>
                  <a:pt x="21" y="72"/>
                  <a:pt x="20" y="71"/>
                </a:cubicBezTo>
                <a:cubicBezTo>
                  <a:pt x="19" y="70"/>
                  <a:pt x="18" y="70"/>
                  <a:pt x="16" y="70"/>
                </a:cubicBezTo>
                <a:cubicBezTo>
                  <a:pt x="13" y="70"/>
                  <a:pt x="11" y="72"/>
                  <a:pt x="8" y="76"/>
                </a:cubicBezTo>
                <a:cubicBezTo>
                  <a:pt x="0" y="70"/>
                  <a:pt x="0" y="70"/>
                  <a:pt x="0" y="70"/>
                </a:cubicBezTo>
                <a:cubicBezTo>
                  <a:pt x="2" y="67"/>
                  <a:pt x="4" y="64"/>
                  <a:pt x="7" y="62"/>
                </a:cubicBezTo>
                <a:cubicBezTo>
                  <a:pt x="10" y="61"/>
                  <a:pt x="13" y="60"/>
                  <a:pt x="17" y="60"/>
                </a:cubicBezTo>
                <a:cubicBezTo>
                  <a:pt x="22" y="60"/>
                  <a:pt x="25" y="61"/>
                  <a:pt x="29" y="64"/>
                </a:cubicBezTo>
                <a:cubicBezTo>
                  <a:pt x="32" y="66"/>
                  <a:pt x="33" y="70"/>
                  <a:pt x="33" y="74"/>
                </a:cubicBezTo>
                <a:cubicBezTo>
                  <a:pt x="33" y="77"/>
                  <a:pt x="32" y="80"/>
                  <a:pt x="30" y="83"/>
                </a:cubicBezTo>
                <a:cubicBezTo>
                  <a:pt x="28" y="86"/>
                  <a:pt x="26" y="88"/>
                  <a:pt x="23" y="89"/>
                </a:cubicBezTo>
                <a:cubicBezTo>
                  <a:pt x="20" y="90"/>
                  <a:pt x="18" y="92"/>
                  <a:pt x="16" y="94"/>
                </a:cubicBezTo>
                <a:cubicBezTo>
                  <a:pt x="14" y="96"/>
                  <a:pt x="13" y="97"/>
                  <a:pt x="13" y="99"/>
                </a:cubicBezTo>
                <a:cubicBezTo>
                  <a:pt x="25" y="99"/>
                  <a:pt x="25" y="99"/>
                  <a:pt x="25" y="99"/>
                </a:cubicBezTo>
                <a:cubicBezTo>
                  <a:pt x="25" y="93"/>
                  <a:pt x="25" y="93"/>
                  <a:pt x="25" y="93"/>
                </a:cubicBezTo>
                <a:lnTo>
                  <a:pt x="35" y="93"/>
                </a:lnTo>
                <a:close/>
                <a:moveTo>
                  <a:pt x="34" y="152"/>
                </a:moveTo>
                <a:cubicBezTo>
                  <a:pt x="34" y="157"/>
                  <a:pt x="33" y="161"/>
                  <a:pt x="29" y="164"/>
                </a:cubicBezTo>
                <a:cubicBezTo>
                  <a:pt x="26" y="167"/>
                  <a:pt x="21" y="169"/>
                  <a:pt x="16" y="169"/>
                </a:cubicBezTo>
                <a:cubicBezTo>
                  <a:pt x="10" y="169"/>
                  <a:pt x="4" y="167"/>
                  <a:pt x="0" y="162"/>
                </a:cubicBezTo>
                <a:cubicBezTo>
                  <a:pt x="5" y="154"/>
                  <a:pt x="5" y="154"/>
                  <a:pt x="5" y="154"/>
                </a:cubicBezTo>
                <a:cubicBezTo>
                  <a:pt x="9" y="157"/>
                  <a:pt x="12" y="158"/>
                  <a:pt x="16" y="158"/>
                </a:cubicBezTo>
                <a:cubicBezTo>
                  <a:pt x="17" y="158"/>
                  <a:pt x="19" y="158"/>
                  <a:pt x="20" y="157"/>
                </a:cubicBezTo>
                <a:cubicBezTo>
                  <a:pt x="22" y="156"/>
                  <a:pt x="22" y="155"/>
                  <a:pt x="22" y="153"/>
                </a:cubicBezTo>
                <a:cubicBezTo>
                  <a:pt x="22" y="149"/>
                  <a:pt x="19" y="147"/>
                  <a:pt x="12" y="148"/>
                </a:cubicBezTo>
                <a:cubicBezTo>
                  <a:pt x="10" y="142"/>
                  <a:pt x="10" y="142"/>
                  <a:pt x="10" y="142"/>
                </a:cubicBezTo>
                <a:cubicBezTo>
                  <a:pt x="10" y="142"/>
                  <a:pt x="11" y="140"/>
                  <a:pt x="13" y="138"/>
                </a:cubicBezTo>
                <a:cubicBezTo>
                  <a:pt x="15" y="136"/>
                  <a:pt x="16" y="134"/>
                  <a:pt x="17" y="133"/>
                </a:cubicBezTo>
                <a:cubicBezTo>
                  <a:pt x="18" y="132"/>
                  <a:pt x="19" y="131"/>
                  <a:pt x="21" y="130"/>
                </a:cubicBezTo>
                <a:cubicBezTo>
                  <a:pt x="21" y="129"/>
                  <a:pt x="21" y="129"/>
                  <a:pt x="21" y="129"/>
                </a:cubicBezTo>
                <a:cubicBezTo>
                  <a:pt x="20" y="129"/>
                  <a:pt x="18" y="129"/>
                  <a:pt x="16" y="130"/>
                </a:cubicBezTo>
                <a:cubicBezTo>
                  <a:pt x="14" y="130"/>
                  <a:pt x="12" y="130"/>
                  <a:pt x="11" y="130"/>
                </a:cubicBezTo>
                <a:cubicBezTo>
                  <a:pt x="11" y="135"/>
                  <a:pt x="11" y="135"/>
                  <a:pt x="11" y="135"/>
                </a:cubicBezTo>
                <a:cubicBezTo>
                  <a:pt x="1" y="135"/>
                  <a:pt x="1" y="135"/>
                  <a:pt x="1" y="135"/>
                </a:cubicBezTo>
                <a:cubicBezTo>
                  <a:pt x="1" y="120"/>
                  <a:pt x="1" y="120"/>
                  <a:pt x="1" y="120"/>
                </a:cubicBezTo>
                <a:cubicBezTo>
                  <a:pt x="33" y="120"/>
                  <a:pt x="33" y="120"/>
                  <a:pt x="33" y="120"/>
                </a:cubicBezTo>
                <a:cubicBezTo>
                  <a:pt x="33" y="129"/>
                  <a:pt x="33" y="129"/>
                  <a:pt x="33" y="129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7" y="140"/>
                  <a:pt x="30" y="142"/>
                  <a:pt x="31" y="144"/>
                </a:cubicBezTo>
                <a:cubicBezTo>
                  <a:pt x="33" y="146"/>
                  <a:pt x="34" y="149"/>
                  <a:pt x="34" y="152"/>
                </a:cubicBezTo>
                <a:close/>
                <a:moveTo>
                  <a:pt x="35" y="38"/>
                </a:moveTo>
                <a:cubicBezTo>
                  <a:pt x="35" y="48"/>
                  <a:pt x="35" y="48"/>
                  <a:pt x="35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3" y="38"/>
                  <a:pt x="3" y="38"/>
                  <a:pt x="3" y="38"/>
                </a:cubicBezTo>
                <a:cubicBezTo>
                  <a:pt x="13" y="38"/>
                  <a:pt x="13" y="38"/>
                  <a:pt x="13" y="38"/>
                </a:cubicBezTo>
                <a:cubicBezTo>
                  <a:pt x="13" y="36"/>
                  <a:pt x="13" y="32"/>
                  <a:pt x="13" y="27"/>
                </a:cubicBezTo>
                <a:cubicBezTo>
                  <a:pt x="13" y="22"/>
                  <a:pt x="13" y="18"/>
                  <a:pt x="13" y="15"/>
                </a:cubicBezTo>
                <a:cubicBezTo>
                  <a:pt x="13" y="14"/>
                  <a:pt x="13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2" y="15"/>
                  <a:pt x="11" y="17"/>
                  <a:pt x="8" y="19"/>
                </a:cubicBezTo>
                <a:cubicBezTo>
                  <a:pt x="2" y="12"/>
                  <a:pt x="2" y="12"/>
                  <a:pt x="2" y="12"/>
                </a:cubicBezTo>
                <a:cubicBezTo>
                  <a:pt x="14" y="0"/>
                  <a:pt x="14" y="0"/>
                  <a:pt x="14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4" y="38"/>
                  <a:pt x="24" y="38"/>
                  <a:pt x="24" y="38"/>
                </a:cubicBezTo>
                <a:lnTo>
                  <a:pt x="35" y="38"/>
                </a:lnTo>
                <a:close/>
                <a:moveTo>
                  <a:pt x="168" y="26"/>
                </a:moveTo>
                <a:cubicBezTo>
                  <a:pt x="168" y="45"/>
                  <a:pt x="168" y="45"/>
                  <a:pt x="168" y="45"/>
                </a:cubicBezTo>
                <a:cubicBezTo>
                  <a:pt x="168" y="45"/>
                  <a:pt x="167" y="46"/>
                  <a:pt x="167" y="47"/>
                </a:cubicBezTo>
                <a:cubicBezTo>
                  <a:pt x="166" y="47"/>
                  <a:pt x="166" y="48"/>
                  <a:pt x="165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49" y="48"/>
                  <a:pt x="48" y="47"/>
                  <a:pt x="48" y="47"/>
                </a:cubicBezTo>
                <a:cubicBezTo>
                  <a:pt x="47" y="46"/>
                  <a:pt x="47" y="45"/>
                  <a:pt x="47" y="45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6"/>
                  <a:pt x="47" y="25"/>
                  <a:pt x="48" y="24"/>
                </a:cubicBezTo>
                <a:cubicBezTo>
                  <a:pt x="48" y="24"/>
                  <a:pt x="49" y="23"/>
                  <a:pt x="50" y="23"/>
                </a:cubicBezTo>
                <a:cubicBezTo>
                  <a:pt x="165" y="23"/>
                  <a:pt x="165" y="23"/>
                  <a:pt x="165" y="23"/>
                </a:cubicBezTo>
                <a:cubicBezTo>
                  <a:pt x="166" y="23"/>
                  <a:pt x="166" y="24"/>
                  <a:pt x="167" y="24"/>
                </a:cubicBezTo>
                <a:cubicBezTo>
                  <a:pt x="167" y="25"/>
                  <a:pt x="168" y="26"/>
                  <a:pt x="168" y="26"/>
                </a:cubicBezTo>
                <a:close/>
                <a:moveTo>
                  <a:pt x="168" y="75"/>
                </a:moveTo>
                <a:cubicBezTo>
                  <a:pt x="168" y="93"/>
                  <a:pt x="168" y="93"/>
                  <a:pt x="168" y="93"/>
                </a:cubicBezTo>
                <a:cubicBezTo>
                  <a:pt x="168" y="94"/>
                  <a:pt x="167" y="95"/>
                  <a:pt x="167" y="95"/>
                </a:cubicBezTo>
                <a:cubicBezTo>
                  <a:pt x="166" y="96"/>
                  <a:pt x="166" y="96"/>
                  <a:pt x="165" y="96"/>
                </a:cubicBezTo>
                <a:cubicBezTo>
                  <a:pt x="50" y="96"/>
                  <a:pt x="50" y="96"/>
                  <a:pt x="50" y="96"/>
                </a:cubicBezTo>
                <a:cubicBezTo>
                  <a:pt x="49" y="96"/>
                  <a:pt x="48" y="96"/>
                  <a:pt x="48" y="95"/>
                </a:cubicBezTo>
                <a:cubicBezTo>
                  <a:pt x="47" y="95"/>
                  <a:pt x="47" y="94"/>
                  <a:pt x="47" y="93"/>
                </a:cubicBezTo>
                <a:cubicBezTo>
                  <a:pt x="47" y="75"/>
                  <a:pt x="47" y="75"/>
                  <a:pt x="47" y="75"/>
                </a:cubicBezTo>
                <a:cubicBezTo>
                  <a:pt x="47" y="74"/>
                  <a:pt x="47" y="73"/>
                  <a:pt x="48" y="73"/>
                </a:cubicBezTo>
                <a:cubicBezTo>
                  <a:pt x="48" y="72"/>
                  <a:pt x="49" y="72"/>
                  <a:pt x="50" y="72"/>
                </a:cubicBezTo>
                <a:cubicBezTo>
                  <a:pt x="165" y="72"/>
                  <a:pt x="165" y="72"/>
                  <a:pt x="165" y="72"/>
                </a:cubicBezTo>
                <a:cubicBezTo>
                  <a:pt x="166" y="72"/>
                  <a:pt x="166" y="72"/>
                  <a:pt x="167" y="73"/>
                </a:cubicBezTo>
                <a:cubicBezTo>
                  <a:pt x="167" y="73"/>
                  <a:pt x="168" y="74"/>
                  <a:pt x="168" y="75"/>
                </a:cubicBezTo>
                <a:close/>
                <a:moveTo>
                  <a:pt x="168" y="123"/>
                </a:moveTo>
                <a:cubicBezTo>
                  <a:pt x="168" y="141"/>
                  <a:pt x="168" y="141"/>
                  <a:pt x="168" y="141"/>
                </a:cubicBezTo>
                <a:cubicBezTo>
                  <a:pt x="168" y="142"/>
                  <a:pt x="167" y="143"/>
                  <a:pt x="167" y="144"/>
                </a:cubicBezTo>
                <a:cubicBezTo>
                  <a:pt x="166" y="144"/>
                  <a:pt x="166" y="144"/>
                  <a:pt x="165" y="144"/>
                </a:cubicBezTo>
                <a:cubicBezTo>
                  <a:pt x="50" y="144"/>
                  <a:pt x="50" y="144"/>
                  <a:pt x="50" y="144"/>
                </a:cubicBezTo>
                <a:cubicBezTo>
                  <a:pt x="49" y="144"/>
                  <a:pt x="48" y="144"/>
                  <a:pt x="48" y="144"/>
                </a:cubicBezTo>
                <a:cubicBezTo>
                  <a:pt x="47" y="143"/>
                  <a:pt x="47" y="142"/>
                  <a:pt x="47" y="141"/>
                </a:cubicBezTo>
                <a:cubicBezTo>
                  <a:pt x="47" y="123"/>
                  <a:pt x="47" y="123"/>
                  <a:pt x="47" y="123"/>
                </a:cubicBezTo>
                <a:cubicBezTo>
                  <a:pt x="47" y="122"/>
                  <a:pt x="47" y="122"/>
                  <a:pt x="48" y="121"/>
                </a:cubicBezTo>
                <a:cubicBezTo>
                  <a:pt x="48" y="121"/>
                  <a:pt x="49" y="120"/>
                  <a:pt x="50" y="120"/>
                </a:cubicBezTo>
                <a:cubicBezTo>
                  <a:pt x="165" y="120"/>
                  <a:pt x="165" y="120"/>
                  <a:pt x="165" y="120"/>
                </a:cubicBezTo>
                <a:cubicBezTo>
                  <a:pt x="166" y="120"/>
                  <a:pt x="166" y="121"/>
                  <a:pt x="167" y="121"/>
                </a:cubicBezTo>
                <a:cubicBezTo>
                  <a:pt x="167" y="122"/>
                  <a:pt x="168" y="122"/>
                  <a:pt x="168" y="1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4" name="Freeform 184"/>
          <p:cNvSpPr>
            <a:spLocks noChangeAspect="1" noEditPoints="1"/>
          </p:cNvSpPr>
          <p:nvPr/>
        </p:nvSpPr>
        <p:spPr bwMode="auto">
          <a:xfrm>
            <a:off x="5886608" y="2795218"/>
            <a:ext cx="174866" cy="151447"/>
          </a:xfrm>
          <a:custGeom>
            <a:avLst/>
            <a:gdLst>
              <a:gd name="T0" fmla="*/ 168 w 169"/>
              <a:gd name="T1" fmla="*/ 74 h 146"/>
              <a:gd name="T2" fmla="*/ 169 w 169"/>
              <a:gd name="T3" fmla="*/ 82 h 146"/>
              <a:gd name="T4" fmla="*/ 166 w 169"/>
              <a:gd name="T5" fmla="*/ 85 h 146"/>
              <a:gd name="T6" fmla="*/ 0 w 169"/>
              <a:gd name="T7" fmla="*/ 84 h 146"/>
              <a:gd name="T8" fmla="*/ 0 w 169"/>
              <a:gd name="T9" fmla="*/ 76 h 146"/>
              <a:gd name="T10" fmla="*/ 3 w 169"/>
              <a:gd name="T11" fmla="*/ 73 h 146"/>
              <a:gd name="T12" fmla="*/ 45 w 169"/>
              <a:gd name="T13" fmla="*/ 67 h 146"/>
              <a:gd name="T14" fmla="*/ 36 w 169"/>
              <a:gd name="T15" fmla="*/ 42 h 146"/>
              <a:gd name="T16" fmla="*/ 86 w 169"/>
              <a:gd name="T17" fmla="*/ 0 h 146"/>
              <a:gd name="T18" fmla="*/ 118 w 169"/>
              <a:gd name="T19" fmla="*/ 7 h 146"/>
              <a:gd name="T20" fmla="*/ 121 w 169"/>
              <a:gd name="T21" fmla="*/ 35 h 146"/>
              <a:gd name="T22" fmla="*/ 120 w 169"/>
              <a:gd name="T23" fmla="*/ 40 h 146"/>
              <a:gd name="T24" fmla="*/ 111 w 169"/>
              <a:gd name="T25" fmla="*/ 39 h 146"/>
              <a:gd name="T26" fmla="*/ 81 w 169"/>
              <a:gd name="T27" fmla="*/ 11 h 146"/>
              <a:gd name="T28" fmla="*/ 57 w 169"/>
              <a:gd name="T29" fmla="*/ 30 h 146"/>
              <a:gd name="T30" fmla="*/ 90 w 169"/>
              <a:gd name="T31" fmla="*/ 56 h 146"/>
              <a:gd name="T32" fmla="*/ 115 w 169"/>
              <a:gd name="T33" fmla="*/ 67 h 146"/>
              <a:gd name="T34" fmla="*/ 93 w 169"/>
              <a:gd name="T35" fmla="*/ 91 h 146"/>
              <a:gd name="T36" fmla="*/ 133 w 169"/>
              <a:gd name="T37" fmla="*/ 100 h 146"/>
              <a:gd name="T38" fmla="*/ 122 w 169"/>
              <a:gd name="T39" fmla="*/ 130 h 146"/>
              <a:gd name="T40" fmla="*/ 97 w 169"/>
              <a:gd name="T41" fmla="*/ 144 h 146"/>
              <a:gd name="T42" fmla="*/ 60 w 169"/>
              <a:gd name="T43" fmla="*/ 143 h 146"/>
              <a:gd name="T44" fmla="*/ 40 w 169"/>
              <a:gd name="T45" fmla="*/ 137 h 146"/>
              <a:gd name="T46" fmla="*/ 39 w 169"/>
              <a:gd name="T47" fmla="*/ 134 h 146"/>
              <a:gd name="T48" fmla="*/ 39 w 169"/>
              <a:gd name="T49" fmla="*/ 112 h 146"/>
              <a:gd name="T50" fmla="*/ 39 w 169"/>
              <a:gd name="T51" fmla="*/ 105 h 146"/>
              <a:gd name="T52" fmla="*/ 51 w 169"/>
              <a:gd name="T53" fmla="*/ 111 h 146"/>
              <a:gd name="T54" fmla="*/ 55 w 169"/>
              <a:gd name="T55" fmla="*/ 119 h 146"/>
              <a:gd name="T56" fmla="*/ 72 w 169"/>
              <a:gd name="T57" fmla="*/ 133 h 146"/>
              <a:gd name="T58" fmla="*/ 98 w 169"/>
              <a:gd name="T59" fmla="*/ 133 h 146"/>
              <a:gd name="T60" fmla="*/ 114 w 169"/>
              <a:gd name="T61" fmla="*/ 113 h 146"/>
              <a:gd name="T62" fmla="*/ 93 w 169"/>
              <a:gd name="T63" fmla="*/ 9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9" h="146">
                <a:moveTo>
                  <a:pt x="166" y="73"/>
                </a:moveTo>
                <a:cubicBezTo>
                  <a:pt x="167" y="73"/>
                  <a:pt x="168" y="73"/>
                  <a:pt x="168" y="74"/>
                </a:cubicBezTo>
                <a:cubicBezTo>
                  <a:pt x="169" y="74"/>
                  <a:pt x="169" y="75"/>
                  <a:pt x="169" y="76"/>
                </a:cubicBezTo>
                <a:cubicBezTo>
                  <a:pt x="169" y="82"/>
                  <a:pt x="169" y="82"/>
                  <a:pt x="169" y="82"/>
                </a:cubicBezTo>
                <a:cubicBezTo>
                  <a:pt x="169" y="83"/>
                  <a:pt x="169" y="84"/>
                  <a:pt x="168" y="84"/>
                </a:cubicBezTo>
                <a:cubicBezTo>
                  <a:pt x="168" y="85"/>
                  <a:pt x="167" y="85"/>
                  <a:pt x="166" y="85"/>
                </a:cubicBezTo>
                <a:cubicBezTo>
                  <a:pt x="3" y="85"/>
                  <a:pt x="3" y="85"/>
                  <a:pt x="3" y="85"/>
                </a:cubicBezTo>
                <a:cubicBezTo>
                  <a:pt x="2" y="85"/>
                  <a:pt x="1" y="85"/>
                  <a:pt x="0" y="84"/>
                </a:cubicBezTo>
                <a:cubicBezTo>
                  <a:pt x="0" y="84"/>
                  <a:pt x="0" y="83"/>
                  <a:pt x="0" y="8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5"/>
                  <a:pt x="0" y="74"/>
                  <a:pt x="0" y="74"/>
                </a:cubicBezTo>
                <a:cubicBezTo>
                  <a:pt x="1" y="73"/>
                  <a:pt x="2" y="73"/>
                  <a:pt x="3" y="73"/>
                </a:cubicBezTo>
                <a:lnTo>
                  <a:pt x="166" y="73"/>
                </a:lnTo>
                <a:close/>
                <a:moveTo>
                  <a:pt x="45" y="67"/>
                </a:moveTo>
                <a:cubicBezTo>
                  <a:pt x="43" y="65"/>
                  <a:pt x="42" y="62"/>
                  <a:pt x="40" y="59"/>
                </a:cubicBezTo>
                <a:cubicBezTo>
                  <a:pt x="37" y="53"/>
                  <a:pt x="36" y="47"/>
                  <a:pt x="36" y="42"/>
                </a:cubicBezTo>
                <a:cubicBezTo>
                  <a:pt x="36" y="30"/>
                  <a:pt x="40" y="20"/>
                  <a:pt x="48" y="12"/>
                </a:cubicBezTo>
                <a:cubicBezTo>
                  <a:pt x="57" y="4"/>
                  <a:pt x="69" y="0"/>
                  <a:pt x="86" y="0"/>
                </a:cubicBezTo>
                <a:cubicBezTo>
                  <a:pt x="89" y="0"/>
                  <a:pt x="94" y="1"/>
                  <a:pt x="101" y="2"/>
                </a:cubicBezTo>
                <a:cubicBezTo>
                  <a:pt x="106" y="3"/>
                  <a:pt x="111" y="4"/>
                  <a:pt x="118" y="7"/>
                </a:cubicBezTo>
                <a:cubicBezTo>
                  <a:pt x="119" y="9"/>
                  <a:pt x="119" y="13"/>
                  <a:pt x="120" y="18"/>
                </a:cubicBezTo>
                <a:cubicBezTo>
                  <a:pt x="121" y="26"/>
                  <a:pt x="121" y="31"/>
                  <a:pt x="121" y="35"/>
                </a:cubicBezTo>
                <a:cubicBezTo>
                  <a:pt x="121" y="36"/>
                  <a:pt x="121" y="38"/>
                  <a:pt x="121" y="39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12" y="39"/>
                  <a:pt x="112" y="39"/>
                  <a:pt x="112" y="39"/>
                </a:cubicBezTo>
                <a:cubicBezTo>
                  <a:pt x="111" y="39"/>
                  <a:pt x="111" y="39"/>
                  <a:pt x="111" y="39"/>
                </a:cubicBezTo>
                <a:cubicBezTo>
                  <a:pt x="107" y="30"/>
                  <a:pt x="104" y="23"/>
                  <a:pt x="101" y="20"/>
                </a:cubicBezTo>
                <a:cubicBezTo>
                  <a:pt x="95" y="14"/>
                  <a:pt x="89" y="11"/>
                  <a:pt x="81" y="11"/>
                </a:cubicBezTo>
                <a:cubicBezTo>
                  <a:pt x="74" y="11"/>
                  <a:pt x="68" y="13"/>
                  <a:pt x="64" y="16"/>
                </a:cubicBezTo>
                <a:cubicBezTo>
                  <a:pt x="60" y="20"/>
                  <a:pt x="57" y="25"/>
                  <a:pt x="57" y="30"/>
                </a:cubicBezTo>
                <a:cubicBezTo>
                  <a:pt x="57" y="35"/>
                  <a:pt x="60" y="39"/>
                  <a:pt x="64" y="44"/>
                </a:cubicBezTo>
                <a:cubicBezTo>
                  <a:pt x="68" y="48"/>
                  <a:pt x="77" y="52"/>
                  <a:pt x="90" y="56"/>
                </a:cubicBezTo>
                <a:cubicBezTo>
                  <a:pt x="94" y="57"/>
                  <a:pt x="100" y="59"/>
                  <a:pt x="106" y="62"/>
                </a:cubicBezTo>
                <a:cubicBezTo>
                  <a:pt x="110" y="64"/>
                  <a:pt x="113" y="65"/>
                  <a:pt x="115" y="67"/>
                </a:cubicBezTo>
                <a:lnTo>
                  <a:pt x="45" y="67"/>
                </a:lnTo>
                <a:close/>
                <a:moveTo>
                  <a:pt x="93" y="91"/>
                </a:moveTo>
                <a:cubicBezTo>
                  <a:pt x="132" y="91"/>
                  <a:pt x="132" y="91"/>
                  <a:pt x="132" y="91"/>
                </a:cubicBezTo>
                <a:cubicBezTo>
                  <a:pt x="132" y="94"/>
                  <a:pt x="133" y="96"/>
                  <a:pt x="133" y="100"/>
                </a:cubicBezTo>
                <a:cubicBezTo>
                  <a:pt x="133" y="107"/>
                  <a:pt x="131" y="113"/>
                  <a:pt x="129" y="120"/>
                </a:cubicBezTo>
                <a:cubicBezTo>
                  <a:pt x="127" y="123"/>
                  <a:pt x="125" y="127"/>
                  <a:pt x="122" y="130"/>
                </a:cubicBezTo>
                <a:cubicBezTo>
                  <a:pt x="120" y="132"/>
                  <a:pt x="116" y="134"/>
                  <a:pt x="112" y="137"/>
                </a:cubicBezTo>
                <a:cubicBezTo>
                  <a:pt x="107" y="140"/>
                  <a:pt x="102" y="142"/>
                  <a:pt x="97" y="144"/>
                </a:cubicBezTo>
                <a:cubicBezTo>
                  <a:pt x="92" y="145"/>
                  <a:pt x="86" y="146"/>
                  <a:pt x="78" y="146"/>
                </a:cubicBezTo>
                <a:cubicBezTo>
                  <a:pt x="71" y="146"/>
                  <a:pt x="65" y="145"/>
                  <a:pt x="60" y="143"/>
                </a:cubicBezTo>
                <a:cubicBezTo>
                  <a:pt x="46" y="140"/>
                  <a:pt x="46" y="140"/>
                  <a:pt x="46" y="140"/>
                </a:cubicBezTo>
                <a:cubicBezTo>
                  <a:pt x="43" y="139"/>
                  <a:pt x="41" y="138"/>
                  <a:pt x="40" y="137"/>
                </a:cubicBezTo>
                <a:cubicBezTo>
                  <a:pt x="39" y="136"/>
                  <a:pt x="39" y="136"/>
                  <a:pt x="39" y="135"/>
                </a:cubicBezTo>
                <a:cubicBezTo>
                  <a:pt x="39" y="134"/>
                  <a:pt x="39" y="134"/>
                  <a:pt x="39" y="134"/>
                </a:cubicBezTo>
                <a:cubicBezTo>
                  <a:pt x="39" y="127"/>
                  <a:pt x="39" y="122"/>
                  <a:pt x="39" y="119"/>
                </a:cubicBezTo>
                <a:cubicBezTo>
                  <a:pt x="39" y="117"/>
                  <a:pt x="39" y="115"/>
                  <a:pt x="39" y="112"/>
                </a:cubicBezTo>
                <a:cubicBezTo>
                  <a:pt x="39" y="109"/>
                  <a:pt x="39" y="109"/>
                  <a:pt x="39" y="109"/>
                </a:cubicBezTo>
                <a:cubicBezTo>
                  <a:pt x="39" y="105"/>
                  <a:pt x="39" y="105"/>
                  <a:pt x="39" y="105"/>
                </a:cubicBezTo>
                <a:cubicBezTo>
                  <a:pt x="48" y="105"/>
                  <a:pt x="48" y="105"/>
                  <a:pt x="48" y="105"/>
                </a:cubicBezTo>
                <a:cubicBezTo>
                  <a:pt x="49" y="107"/>
                  <a:pt x="50" y="109"/>
                  <a:pt x="51" y="111"/>
                </a:cubicBezTo>
                <a:cubicBezTo>
                  <a:pt x="52" y="114"/>
                  <a:pt x="53" y="115"/>
                  <a:pt x="53" y="117"/>
                </a:cubicBezTo>
                <a:cubicBezTo>
                  <a:pt x="54" y="118"/>
                  <a:pt x="54" y="119"/>
                  <a:pt x="55" y="119"/>
                </a:cubicBezTo>
                <a:cubicBezTo>
                  <a:pt x="57" y="123"/>
                  <a:pt x="59" y="126"/>
                  <a:pt x="62" y="128"/>
                </a:cubicBezTo>
                <a:cubicBezTo>
                  <a:pt x="65" y="130"/>
                  <a:pt x="68" y="132"/>
                  <a:pt x="72" y="133"/>
                </a:cubicBezTo>
                <a:cubicBezTo>
                  <a:pt x="76" y="135"/>
                  <a:pt x="80" y="136"/>
                  <a:pt x="85" y="136"/>
                </a:cubicBezTo>
                <a:cubicBezTo>
                  <a:pt x="89" y="136"/>
                  <a:pt x="93" y="135"/>
                  <a:pt x="98" y="133"/>
                </a:cubicBezTo>
                <a:cubicBezTo>
                  <a:pt x="103" y="131"/>
                  <a:pt x="106" y="129"/>
                  <a:pt x="109" y="125"/>
                </a:cubicBezTo>
                <a:cubicBezTo>
                  <a:pt x="112" y="121"/>
                  <a:pt x="114" y="117"/>
                  <a:pt x="114" y="113"/>
                </a:cubicBezTo>
                <a:cubicBezTo>
                  <a:pt x="114" y="107"/>
                  <a:pt x="111" y="102"/>
                  <a:pt x="106" y="98"/>
                </a:cubicBezTo>
                <a:cubicBezTo>
                  <a:pt x="104" y="96"/>
                  <a:pt x="100" y="94"/>
                  <a:pt x="93" y="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5" name="Freeform 185"/>
          <p:cNvSpPr>
            <a:spLocks noChangeAspect="1" noEditPoints="1"/>
          </p:cNvSpPr>
          <p:nvPr/>
        </p:nvSpPr>
        <p:spPr bwMode="auto">
          <a:xfrm>
            <a:off x="6103630" y="2795218"/>
            <a:ext cx="149885" cy="151447"/>
          </a:xfrm>
          <a:custGeom>
            <a:avLst/>
            <a:gdLst>
              <a:gd name="T0" fmla="*/ 0 w 145"/>
              <a:gd name="T1" fmla="*/ 9 h 146"/>
              <a:gd name="T2" fmla="*/ 4 w 145"/>
              <a:gd name="T3" fmla="*/ 1 h 146"/>
              <a:gd name="T4" fmla="*/ 30 w 145"/>
              <a:gd name="T5" fmla="*/ 2 h 146"/>
              <a:gd name="T6" fmla="*/ 59 w 145"/>
              <a:gd name="T7" fmla="*/ 1 h 146"/>
              <a:gd name="T8" fmla="*/ 68 w 145"/>
              <a:gd name="T9" fmla="*/ 2 h 146"/>
              <a:gd name="T10" fmla="*/ 68 w 145"/>
              <a:gd name="T11" fmla="*/ 9 h 146"/>
              <a:gd name="T12" fmla="*/ 49 w 145"/>
              <a:gd name="T13" fmla="*/ 12 h 146"/>
              <a:gd name="T14" fmla="*/ 47 w 145"/>
              <a:gd name="T15" fmla="*/ 28 h 146"/>
              <a:gd name="T16" fmla="*/ 47 w 145"/>
              <a:gd name="T17" fmla="*/ 52 h 146"/>
              <a:gd name="T18" fmla="*/ 54 w 145"/>
              <a:gd name="T19" fmla="*/ 97 h 146"/>
              <a:gd name="T20" fmla="*/ 79 w 145"/>
              <a:gd name="T21" fmla="*/ 110 h 146"/>
              <a:gd name="T22" fmla="*/ 107 w 145"/>
              <a:gd name="T23" fmla="*/ 103 h 146"/>
              <a:gd name="T24" fmla="*/ 118 w 145"/>
              <a:gd name="T25" fmla="*/ 86 h 146"/>
              <a:gd name="T26" fmla="*/ 120 w 145"/>
              <a:gd name="T27" fmla="*/ 52 h 146"/>
              <a:gd name="T28" fmla="*/ 117 w 145"/>
              <a:gd name="T29" fmla="*/ 26 h 146"/>
              <a:gd name="T30" fmla="*/ 115 w 145"/>
              <a:gd name="T31" fmla="*/ 12 h 146"/>
              <a:gd name="T32" fmla="*/ 98 w 145"/>
              <a:gd name="T33" fmla="*/ 9 h 146"/>
              <a:gd name="T34" fmla="*/ 97 w 145"/>
              <a:gd name="T35" fmla="*/ 0 h 146"/>
              <a:gd name="T36" fmla="*/ 124 w 145"/>
              <a:gd name="T37" fmla="*/ 1 h 146"/>
              <a:gd name="T38" fmla="*/ 144 w 145"/>
              <a:gd name="T39" fmla="*/ 1 h 146"/>
              <a:gd name="T40" fmla="*/ 145 w 145"/>
              <a:gd name="T41" fmla="*/ 8 h 146"/>
              <a:gd name="T42" fmla="*/ 129 w 145"/>
              <a:gd name="T43" fmla="*/ 11 h 146"/>
              <a:gd name="T44" fmla="*/ 128 w 145"/>
              <a:gd name="T45" fmla="*/ 18 h 146"/>
              <a:gd name="T46" fmla="*/ 130 w 145"/>
              <a:gd name="T47" fmla="*/ 58 h 146"/>
              <a:gd name="T48" fmla="*/ 125 w 145"/>
              <a:gd name="T49" fmla="*/ 98 h 146"/>
              <a:gd name="T50" fmla="*/ 97 w 145"/>
              <a:gd name="T51" fmla="*/ 118 h 146"/>
              <a:gd name="T52" fmla="*/ 46 w 145"/>
              <a:gd name="T53" fmla="*/ 117 h 146"/>
              <a:gd name="T54" fmla="*/ 21 w 145"/>
              <a:gd name="T55" fmla="*/ 87 h 146"/>
              <a:gd name="T56" fmla="*/ 20 w 145"/>
              <a:gd name="T57" fmla="*/ 33 h 146"/>
              <a:gd name="T58" fmla="*/ 4 w 145"/>
              <a:gd name="T59" fmla="*/ 9 h 146"/>
              <a:gd name="T60" fmla="*/ 145 w 145"/>
              <a:gd name="T61" fmla="*/ 136 h 146"/>
              <a:gd name="T62" fmla="*/ 142 w 145"/>
              <a:gd name="T63" fmla="*/ 133 h 146"/>
              <a:gd name="T64" fmla="*/ 1 w 145"/>
              <a:gd name="T65" fmla="*/ 134 h 146"/>
              <a:gd name="T66" fmla="*/ 0 w 145"/>
              <a:gd name="T67" fmla="*/ 143 h 146"/>
              <a:gd name="T68" fmla="*/ 3 w 145"/>
              <a:gd name="T69" fmla="*/ 146 h 146"/>
              <a:gd name="T70" fmla="*/ 144 w 145"/>
              <a:gd name="T71" fmla="*/ 14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5" h="146">
                <a:moveTo>
                  <a:pt x="4" y="9"/>
                </a:moveTo>
                <a:cubicBezTo>
                  <a:pt x="2" y="9"/>
                  <a:pt x="1" y="9"/>
                  <a:pt x="0" y="9"/>
                </a:cubicBezTo>
                <a:cubicBezTo>
                  <a:pt x="0" y="1"/>
                  <a:pt x="0" y="1"/>
                  <a:pt x="0" y="1"/>
                </a:cubicBezTo>
                <a:cubicBezTo>
                  <a:pt x="1" y="1"/>
                  <a:pt x="2" y="1"/>
                  <a:pt x="4" y="1"/>
                </a:cubicBezTo>
                <a:cubicBezTo>
                  <a:pt x="7" y="1"/>
                  <a:pt x="11" y="1"/>
                  <a:pt x="14" y="1"/>
                </a:cubicBezTo>
                <a:cubicBezTo>
                  <a:pt x="22" y="1"/>
                  <a:pt x="28" y="2"/>
                  <a:pt x="30" y="2"/>
                </a:cubicBezTo>
                <a:cubicBezTo>
                  <a:pt x="35" y="2"/>
                  <a:pt x="41" y="1"/>
                  <a:pt x="46" y="1"/>
                </a:cubicBezTo>
                <a:cubicBezTo>
                  <a:pt x="53" y="1"/>
                  <a:pt x="58" y="1"/>
                  <a:pt x="59" y="1"/>
                </a:cubicBezTo>
                <a:cubicBezTo>
                  <a:pt x="63" y="1"/>
                  <a:pt x="66" y="1"/>
                  <a:pt x="68" y="1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8"/>
                  <a:pt x="68" y="8"/>
                  <a:pt x="68" y="8"/>
                </a:cubicBezTo>
                <a:cubicBezTo>
                  <a:pt x="68" y="9"/>
                  <a:pt x="68" y="9"/>
                  <a:pt x="68" y="9"/>
                </a:cubicBezTo>
                <a:cubicBezTo>
                  <a:pt x="64" y="9"/>
                  <a:pt x="60" y="10"/>
                  <a:pt x="56" y="10"/>
                </a:cubicBezTo>
                <a:cubicBezTo>
                  <a:pt x="52" y="10"/>
                  <a:pt x="50" y="10"/>
                  <a:pt x="49" y="12"/>
                </a:cubicBezTo>
                <a:cubicBezTo>
                  <a:pt x="48" y="13"/>
                  <a:pt x="47" y="17"/>
                  <a:pt x="47" y="25"/>
                </a:cubicBezTo>
                <a:cubicBezTo>
                  <a:pt x="47" y="25"/>
                  <a:pt x="47" y="26"/>
                  <a:pt x="47" y="28"/>
                </a:cubicBezTo>
                <a:cubicBezTo>
                  <a:pt x="47" y="29"/>
                  <a:pt x="47" y="30"/>
                  <a:pt x="47" y="30"/>
                </a:cubicBezTo>
                <a:cubicBezTo>
                  <a:pt x="47" y="52"/>
                  <a:pt x="47" y="52"/>
                  <a:pt x="47" y="52"/>
                </a:cubicBezTo>
                <a:cubicBezTo>
                  <a:pt x="49" y="78"/>
                  <a:pt x="49" y="78"/>
                  <a:pt x="49" y="78"/>
                </a:cubicBezTo>
                <a:cubicBezTo>
                  <a:pt x="49" y="86"/>
                  <a:pt x="51" y="92"/>
                  <a:pt x="54" y="97"/>
                </a:cubicBezTo>
                <a:cubicBezTo>
                  <a:pt x="56" y="101"/>
                  <a:pt x="59" y="104"/>
                  <a:pt x="63" y="106"/>
                </a:cubicBezTo>
                <a:cubicBezTo>
                  <a:pt x="68" y="109"/>
                  <a:pt x="74" y="110"/>
                  <a:pt x="79" y="110"/>
                </a:cubicBezTo>
                <a:cubicBezTo>
                  <a:pt x="86" y="110"/>
                  <a:pt x="92" y="109"/>
                  <a:pt x="98" y="108"/>
                </a:cubicBezTo>
                <a:cubicBezTo>
                  <a:pt x="101" y="107"/>
                  <a:pt x="104" y="105"/>
                  <a:pt x="107" y="103"/>
                </a:cubicBezTo>
                <a:cubicBezTo>
                  <a:pt x="110" y="101"/>
                  <a:pt x="112" y="99"/>
                  <a:pt x="113" y="97"/>
                </a:cubicBezTo>
                <a:cubicBezTo>
                  <a:pt x="115" y="93"/>
                  <a:pt x="117" y="90"/>
                  <a:pt x="118" y="86"/>
                </a:cubicBezTo>
                <a:cubicBezTo>
                  <a:pt x="119" y="81"/>
                  <a:pt x="120" y="74"/>
                  <a:pt x="120" y="64"/>
                </a:cubicBezTo>
                <a:cubicBezTo>
                  <a:pt x="120" y="59"/>
                  <a:pt x="120" y="55"/>
                  <a:pt x="120" y="52"/>
                </a:cubicBezTo>
                <a:cubicBezTo>
                  <a:pt x="119" y="49"/>
                  <a:pt x="119" y="45"/>
                  <a:pt x="119" y="41"/>
                </a:cubicBezTo>
                <a:cubicBezTo>
                  <a:pt x="118" y="36"/>
                  <a:pt x="118" y="31"/>
                  <a:pt x="117" y="26"/>
                </a:cubicBezTo>
                <a:cubicBezTo>
                  <a:pt x="117" y="20"/>
                  <a:pt x="117" y="20"/>
                  <a:pt x="117" y="20"/>
                </a:cubicBezTo>
                <a:cubicBezTo>
                  <a:pt x="117" y="16"/>
                  <a:pt x="116" y="13"/>
                  <a:pt x="115" y="12"/>
                </a:cubicBezTo>
                <a:cubicBezTo>
                  <a:pt x="113" y="10"/>
                  <a:pt x="110" y="8"/>
                  <a:pt x="107" y="9"/>
                </a:cubicBezTo>
                <a:cubicBezTo>
                  <a:pt x="98" y="9"/>
                  <a:pt x="98" y="9"/>
                  <a:pt x="98" y="9"/>
                </a:cubicBezTo>
                <a:cubicBezTo>
                  <a:pt x="97" y="8"/>
                  <a:pt x="97" y="8"/>
                  <a:pt x="97" y="8"/>
                </a:cubicBezTo>
                <a:cubicBezTo>
                  <a:pt x="97" y="0"/>
                  <a:pt x="97" y="0"/>
                  <a:pt x="97" y="0"/>
                </a:cubicBezTo>
                <a:cubicBezTo>
                  <a:pt x="105" y="0"/>
                  <a:pt x="105" y="0"/>
                  <a:pt x="105" y="0"/>
                </a:cubicBezTo>
                <a:cubicBezTo>
                  <a:pt x="124" y="1"/>
                  <a:pt x="124" y="1"/>
                  <a:pt x="124" y="1"/>
                </a:cubicBezTo>
                <a:cubicBezTo>
                  <a:pt x="129" y="1"/>
                  <a:pt x="135" y="1"/>
                  <a:pt x="143" y="0"/>
                </a:cubicBezTo>
                <a:cubicBezTo>
                  <a:pt x="144" y="1"/>
                  <a:pt x="144" y="1"/>
                  <a:pt x="144" y="1"/>
                </a:cubicBezTo>
                <a:cubicBezTo>
                  <a:pt x="145" y="3"/>
                  <a:pt x="145" y="5"/>
                  <a:pt x="145" y="5"/>
                </a:cubicBezTo>
                <a:cubicBezTo>
                  <a:pt x="145" y="6"/>
                  <a:pt x="145" y="7"/>
                  <a:pt x="145" y="8"/>
                </a:cubicBezTo>
                <a:cubicBezTo>
                  <a:pt x="142" y="9"/>
                  <a:pt x="139" y="9"/>
                  <a:pt x="137" y="9"/>
                </a:cubicBezTo>
                <a:cubicBezTo>
                  <a:pt x="132" y="10"/>
                  <a:pt x="130" y="11"/>
                  <a:pt x="129" y="11"/>
                </a:cubicBezTo>
                <a:cubicBezTo>
                  <a:pt x="128" y="12"/>
                  <a:pt x="128" y="13"/>
                  <a:pt x="128" y="15"/>
                </a:cubicBezTo>
                <a:cubicBezTo>
                  <a:pt x="128" y="15"/>
                  <a:pt x="128" y="16"/>
                  <a:pt x="128" y="18"/>
                </a:cubicBezTo>
                <a:cubicBezTo>
                  <a:pt x="128" y="19"/>
                  <a:pt x="128" y="20"/>
                  <a:pt x="128" y="20"/>
                </a:cubicBezTo>
                <a:cubicBezTo>
                  <a:pt x="129" y="22"/>
                  <a:pt x="129" y="34"/>
                  <a:pt x="130" y="58"/>
                </a:cubicBezTo>
                <a:cubicBezTo>
                  <a:pt x="130" y="70"/>
                  <a:pt x="130" y="80"/>
                  <a:pt x="129" y="87"/>
                </a:cubicBezTo>
                <a:cubicBezTo>
                  <a:pt x="128" y="91"/>
                  <a:pt x="126" y="95"/>
                  <a:pt x="125" y="98"/>
                </a:cubicBezTo>
                <a:cubicBezTo>
                  <a:pt x="122" y="102"/>
                  <a:pt x="119" y="106"/>
                  <a:pt x="114" y="110"/>
                </a:cubicBezTo>
                <a:cubicBezTo>
                  <a:pt x="110" y="113"/>
                  <a:pt x="104" y="116"/>
                  <a:pt x="97" y="118"/>
                </a:cubicBezTo>
                <a:cubicBezTo>
                  <a:pt x="90" y="120"/>
                  <a:pt x="82" y="121"/>
                  <a:pt x="73" y="121"/>
                </a:cubicBezTo>
                <a:cubicBezTo>
                  <a:pt x="62" y="121"/>
                  <a:pt x="53" y="120"/>
                  <a:pt x="46" y="117"/>
                </a:cubicBezTo>
                <a:cubicBezTo>
                  <a:pt x="39" y="114"/>
                  <a:pt x="33" y="110"/>
                  <a:pt x="29" y="105"/>
                </a:cubicBezTo>
                <a:cubicBezTo>
                  <a:pt x="25" y="101"/>
                  <a:pt x="23" y="95"/>
                  <a:pt x="21" y="87"/>
                </a:cubicBezTo>
                <a:cubicBezTo>
                  <a:pt x="20" y="82"/>
                  <a:pt x="20" y="75"/>
                  <a:pt x="20" y="65"/>
                </a:cubicBezTo>
                <a:cubicBezTo>
                  <a:pt x="20" y="33"/>
                  <a:pt x="20" y="33"/>
                  <a:pt x="20" y="33"/>
                </a:cubicBezTo>
                <a:cubicBezTo>
                  <a:pt x="20" y="21"/>
                  <a:pt x="19" y="15"/>
                  <a:pt x="18" y="13"/>
                </a:cubicBezTo>
                <a:cubicBezTo>
                  <a:pt x="17" y="11"/>
                  <a:pt x="12" y="9"/>
                  <a:pt x="4" y="9"/>
                </a:cubicBezTo>
                <a:close/>
                <a:moveTo>
                  <a:pt x="145" y="143"/>
                </a:moveTo>
                <a:cubicBezTo>
                  <a:pt x="145" y="136"/>
                  <a:pt x="145" y="136"/>
                  <a:pt x="145" y="136"/>
                </a:cubicBezTo>
                <a:cubicBezTo>
                  <a:pt x="145" y="136"/>
                  <a:pt x="145" y="135"/>
                  <a:pt x="144" y="134"/>
                </a:cubicBezTo>
                <a:cubicBezTo>
                  <a:pt x="144" y="134"/>
                  <a:pt x="143" y="133"/>
                  <a:pt x="142" y="133"/>
                </a:cubicBezTo>
                <a:cubicBezTo>
                  <a:pt x="3" y="133"/>
                  <a:pt x="3" y="133"/>
                  <a:pt x="3" y="133"/>
                </a:cubicBezTo>
                <a:cubicBezTo>
                  <a:pt x="2" y="133"/>
                  <a:pt x="1" y="134"/>
                  <a:pt x="1" y="134"/>
                </a:cubicBezTo>
                <a:cubicBezTo>
                  <a:pt x="0" y="135"/>
                  <a:pt x="0" y="136"/>
                  <a:pt x="0" y="136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3"/>
                  <a:pt x="0" y="144"/>
                  <a:pt x="1" y="145"/>
                </a:cubicBezTo>
                <a:cubicBezTo>
                  <a:pt x="1" y="145"/>
                  <a:pt x="2" y="146"/>
                  <a:pt x="3" y="146"/>
                </a:cubicBezTo>
                <a:cubicBezTo>
                  <a:pt x="142" y="146"/>
                  <a:pt x="142" y="146"/>
                  <a:pt x="142" y="146"/>
                </a:cubicBezTo>
                <a:cubicBezTo>
                  <a:pt x="143" y="146"/>
                  <a:pt x="144" y="145"/>
                  <a:pt x="144" y="145"/>
                </a:cubicBezTo>
                <a:cubicBezTo>
                  <a:pt x="145" y="144"/>
                  <a:pt x="145" y="143"/>
                  <a:pt x="145" y="1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6" name="Freeform 186"/>
          <p:cNvSpPr>
            <a:spLocks noChangeAspect="1" noEditPoints="1"/>
          </p:cNvSpPr>
          <p:nvPr/>
        </p:nvSpPr>
        <p:spPr bwMode="auto">
          <a:xfrm>
            <a:off x="6295670" y="2795218"/>
            <a:ext cx="163937" cy="137395"/>
          </a:xfrm>
          <a:custGeom>
            <a:avLst/>
            <a:gdLst>
              <a:gd name="T0" fmla="*/ 153 w 157"/>
              <a:gd name="T1" fmla="*/ 129 h 133"/>
              <a:gd name="T2" fmla="*/ 4 w 157"/>
              <a:gd name="T3" fmla="*/ 129 h 133"/>
              <a:gd name="T4" fmla="*/ 4 w 157"/>
              <a:gd name="T5" fmla="*/ 5 h 133"/>
              <a:gd name="T6" fmla="*/ 153 w 157"/>
              <a:gd name="T7" fmla="*/ 5 h 133"/>
              <a:gd name="T8" fmla="*/ 48 w 157"/>
              <a:gd name="T9" fmla="*/ 28 h 133"/>
              <a:gd name="T10" fmla="*/ 15 w 157"/>
              <a:gd name="T11" fmla="*/ 25 h 133"/>
              <a:gd name="T12" fmla="*/ 12 w 157"/>
              <a:gd name="T13" fmla="*/ 46 h 133"/>
              <a:gd name="T14" fmla="*/ 45 w 157"/>
              <a:gd name="T15" fmla="*/ 49 h 133"/>
              <a:gd name="T16" fmla="*/ 48 w 157"/>
              <a:gd name="T17" fmla="*/ 82 h 133"/>
              <a:gd name="T18" fmla="*/ 45 w 157"/>
              <a:gd name="T19" fmla="*/ 61 h 133"/>
              <a:gd name="T20" fmla="*/ 12 w 157"/>
              <a:gd name="T21" fmla="*/ 64 h 133"/>
              <a:gd name="T22" fmla="*/ 15 w 157"/>
              <a:gd name="T23" fmla="*/ 85 h 133"/>
              <a:gd name="T24" fmla="*/ 48 w 157"/>
              <a:gd name="T25" fmla="*/ 82 h 133"/>
              <a:gd name="T26" fmla="*/ 47 w 157"/>
              <a:gd name="T27" fmla="*/ 98 h 133"/>
              <a:gd name="T28" fmla="*/ 13 w 157"/>
              <a:gd name="T29" fmla="*/ 98 h 133"/>
              <a:gd name="T30" fmla="*/ 13 w 157"/>
              <a:gd name="T31" fmla="*/ 120 h 133"/>
              <a:gd name="T32" fmla="*/ 47 w 157"/>
              <a:gd name="T33" fmla="*/ 120 h 133"/>
              <a:gd name="T34" fmla="*/ 97 w 157"/>
              <a:gd name="T35" fmla="*/ 28 h 133"/>
              <a:gd name="T36" fmla="*/ 63 w 157"/>
              <a:gd name="T37" fmla="*/ 25 h 133"/>
              <a:gd name="T38" fmla="*/ 60 w 157"/>
              <a:gd name="T39" fmla="*/ 46 h 133"/>
              <a:gd name="T40" fmla="*/ 94 w 157"/>
              <a:gd name="T41" fmla="*/ 49 h 133"/>
              <a:gd name="T42" fmla="*/ 97 w 157"/>
              <a:gd name="T43" fmla="*/ 82 h 133"/>
              <a:gd name="T44" fmla="*/ 94 w 157"/>
              <a:gd name="T45" fmla="*/ 61 h 133"/>
              <a:gd name="T46" fmla="*/ 60 w 157"/>
              <a:gd name="T47" fmla="*/ 64 h 133"/>
              <a:gd name="T48" fmla="*/ 63 w 157"/>
              <a:gd name="T49" fmla="*/ 85 h 133"/>
              <a:gd name="T50" fmla="*/ 97 w 157"/>
              <a:gd name="T51" fmla="*/ 82 h 133"/>
              <a:gd name="T52" fmla="*/ 96 w 157"/>
              <a:gd name="T53" fmla="*/ 98 h 133"/>
              <a:gd name="T54" fmla="*/ 61 w 157"/>
              <a:gd name="T55" fmla="*/ 98 h 133"/>
              <a:gd name="T56" fmla="*/ 61 w 157"/>
              <a:gd name="T57" fmla="*/ 120 h 133"/>
              <a:gd name="T58" fmla="*/ 96 w 157"/>
              <a:gd name="T59" fmla="*/ 120 h 133"/>
              <a:gd name="T60" fmla="*/ 145 w 157"/>
              <a:gd name="T61" fmla="*/ 28 h 133"/>
              <a:gd name="T62" fmla="*/ 112 w 157"/>
              <a:gd name="T63" fmla="*/ 25 h 133"/>
              <a:gd name="T64" fmla="*/ 109 w 157"/>
              <a:gd name="T65" fmla="*/ 46 h 133"/>
              <a:gd name="T66" fmla="*/ 142 w 157"/>
              <a:gd name="T67" fmla="*/ 49 h 133"/>
              <a:gd name="T68" fmla="*/ 145 w 157"/>
              <a:gd name="T69" fmla="*/ 82 h 133"/>
              <a:gd name="T70" fmla="*/ 142 w 157"/>
              <a:gd name="T71" fmla="*/ 61 h 133"/>
              <a:gd name="T72" fmla="*/ 109 w 157"/>
              <a:gd name="T73" fmla="*/ 64 h 133"/>
              <a:gd name="T74" fmla="*/ 112 w 157"/>
              <a:gd name="T75" fmla="*/ 85 h 133"/>
              <a:gd name="T76" fmla="*/ 145 w 157"/>
              <a:gd name="T77" fmla="*/ 82 h 133"/>
              <a:gd name="T78" fmla="*/ 144 w 157"/>
              <a:gd name="T79" fmla="*/ 98 h 133"/>
              <a:gd name="T80" fmla="*/ 110 w 157"/>
              <a:gd name="T81" fmla="*/ 98 h 133"/>
              <a:gd name="T82" fmla="*/ 110 w 157"/>
              <a:gd name="T83" fmla="*/ 120 h 133"/>
              <a:gd name="T84" fmla="*/ 144 w 157"/>
              <a:gd name="T85" fmla="*/ 12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7" h="133">
                <a:moveTo>
                  <a:pt x="157" y="15"/>
                </a:moveTo>
                <a:cubicBezTo>
                  <a:pt x="157" y="118"/>
                  <a:pt x="157" y="118"/>
                  <a:pt x="157" y="118"/>
                </a:cubicBezTo>
                <a:cubicBezTo>
                  <a:pt x="157" y="122"/>
                  <a:pt x="156" y="126"/>
                  <a:pt x="153" y="129"/>
                </a:cubicBezTo>
                <a:cubicBezTo>
                  <a:pt x="150" y="132"/>
                  <a:pt x="146" y="133"/>
                  <a:pt x="142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6" y="0"/>
                  <a:pt x="150" y="2"/>
                  <a:pt x="153" y="5"/>
                </a:cubicBezTo>
                <a:cubicBezTo>
                  <a:pt x="156" y="8"/>
                  <a:pt x="157" y="11"/>
                  <a:pt x="157" y="15"/>
                </a:cubicBezTo>
                <a:close/>
                <a:moveTo>
                  <a:pt x="48" y="46"/>
                </a:moveTo>
                <a:cubicBezTo>
                  <a:pt x="48" y="28"/>
                  <a:pt x="48" y="28"/>
                  <a:pt x="48" y="28"/>
                </a:cubicBezTo>
                <a:cubicBezTo>
                  <a:pt x="48" y="27"/>
                  <a:pt x="48" y="26"/>
                  <a:pt x="47" y="25"/>
                </a:cubicBezTo>
                <a:cubicBezTo>
                  <a:pt x="47" y="25"/>
                  <a:pt x="46" y="25"/>
                  <a:pt x="45" y="25"/>
                </a:cubicBezTo>
                <a:cubicBezTo>
                  <a:pt x="15" y="25"/>
                  <a:pt x="15" y="25"/>
                  <a:pt x="15" y="25"/>
                </a:cubicBezTo>
                <a:cubicBezTo>
                  <a:pt x="14" y="25"/>
                  <a:pt x="13" y="25"/>
                  <a:pt x="13" y="25"/>
                </a:cubicBezTo>
                <a:cubicBezTo>
                  <a:pt x="12" y="26"/>
                  <a:pt x="12" y="27"/>
                  <a:pt x="12" y="28"/>
                </a:cubicBezTo>
                <a:cubicBezTo>
                  <a:pt x="12" y="46"/>
                  <a:pt x="12" y="46"/>
                  <a:pt x="12" y="46"/>
                </a:cubicBezTo>
                <a:cubicBezTo>
                  <a:pt x="12" y="47"/>
                  <a:pt x="12" y="47"/>
                  <a:pt x="13" y="48"/>
                </a:cubicBezTo>
                <a:cubicBezTo>
                  <a:pt x="13" y="48"/>
                  <a:pt x="14" y="49"/>
                  <a:pt x="15" y="49"/>
                </a:cubicBezTo>
                <a:cubicBezTo>
                  <a:pt x="45" y="49"/>
                  <a:pt x="45" y="49"/>
                  <a:pt x="45" y="49"/>
                </a:cubicBezTo>
                <a:cubicBezTo>
                  <a:pt x="46" y="49"/>
                  <a:pt x="47" y="48"/>
                  <a:pt x="47" y="48"/>
                </a:cubicBezTo>
                <a:cubicBezTo>
                  <a:pt x="48" y="47"/>
                  <a:pt x="48" y="47"/>
                  <a:pt x="48" y="46"/>
                </a:cubicBezTo>
                <a:close/>
                <a:moveTo>
                  <a:pt x="48" y="82"/>
                </a:moveTo>
                <a:cubicBezTo>
                  <a:pt x="48" y="64"/>
                  <a:pt x="48" y="64"/>
                  <a:pt x="48" y="64"/>
                </a:cubicBezTo>
                <a:cubicBezTo>
                  <a:pt x="48" y="63"/>
                  <a:pt x="48" y="62"/>
                  <a:pt x="47" y="62"/>
                </a:cubicBezTo>
                <a:cubicBezTo>
                  <a:pt x="47" y="61"/>
                  <a:pt x="46" y="61"/>
                  <a:pt x="45" y="61"/>
                </a:cubicBezTo>
                <a:cubicBezTo>
                  <a:pt x="15" y="61"/>
                  <a:pt x="15" y="61"/>
                  <a:pt x="15" y="61"/>
                </a:cubicBezTo>
                <a:cubicBezTo>
                  <a:pt x="14" y="61"/>
                  <a:pt x="13" y="61"/>
                  <a:pt x="13" y="62"/>
                </a:cubicBezTo>
                <a:cubicBezTo>
                  <a:pt x="12" y="62"/>
                  <a:pt x="12" y="63"/>
                  <a:pt x="12" y="64"/>
                </a:cubicBezTo>
                <a:cubicBezTo>
                  <a:pt x="12" y="82"/>
                  <a:pt x="12" y="82"/>
                  <a:pt x="12" y="82"/>
                </a:cubicBezTo>
                <a:cubicBezTo>
                  <a:pt x="12" y="83"/>
                  <a:pt x="12" y="84"/>
                  <a:pt x="13" y="84"/>
                </a:cubicBezTo>
                <a:cubicBezTo>
                  <a:pt x="13" y="85"/>
                  <a:pt x="14" y="85"/>
                  <a:pt x="15" y="85"/>
                </a:cubicBezTo>
                <a:cubicBezTo>
                  <a:pt x="45" y="85"/>
                  <a:pt x="45" y="85"/>
                  <a:pt x="45" y="85"/>
                </a:cubicBezTo>
                <a:cubicBezTo>
                  <a:pt x="46" y="85"/>
                  <a:pt x="47" y="85"/>
                  <a:pt x="47" y="84"/>
                </a:cubicBezTo>
                <a:cubicBezTo>
                  <a:pt x="48" y="84"/>
                  <a:pt x="48" y="83"/>
                  <a:pt x="48" y="82"/>
                </a:cubicBezTo>
                <a:close/>
                <a:moveTo>
                  <a:pt x="48" y="118"/>
                </a:moveTo>
                <a:cubicBezTo>
                  <a:pt x="48" y="100"/>
                  <a:pt x="48" y="100"/>
                  <a:pt x="48" y="100"/>
                </a:cubicBezTo>
                <a:cubicBezTo>
                  <a:pt x="48" y="99"/>
                  <a:pt x="48" y="99"/>
                  <a:pt x="47" y="98"/>
                </a:cubicBezTo>
                <a:cubicBezTo>
                  <a:pt x="47" y="97"/>
                  <a:pt x="46" y="97"/>
                  <a:pt x="45" y="97"/>
                </a:cubicBezTo>
                <a:cubicBezTo>
                  <a:pt x="15" y="97"/>
                  <a:pt x="15" y="97"/>
                  <a:pt x="15" y="97"/>
                </a:cubicBezTo>
                <a:cubicBezTo>
                  <a:pt x="14" y="97"/>
                  <a:pt x="13" y="97"/>
                  <a:pt x="13" y="98"/>
                </a:cubicBezTo>
                <a:cubicBezTo>
                  <a:pt x="12" y="99"/>
                  <a:pt x="12" y="99"/>
                  <a:pt x="12" y="100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19"/>
                  <a:pt x="12" y="120"/>
                  <a:pt x="13" y="120"/>
                </a:cubicBezTo>
                <a:cubicBezTo>
                  <a:pt x="13" y="121"/>
                  <a:pt x="14" y="121"/>
                  <a:pt x="15" y="121"/>
                </a:cubicBezTo>
                <a:cubicBezTo>
                  <a:pt x="45" y="121"/>
                  <a:pt x="45" y="121"/>
                  <a:pt x="45" y="121"/>
                </a:cubicBezTo>
                <a:cubicBezTo>
                  <a:pt x="46" y="121"/>
                  <a:pt x="47" y="121"/>
                  <a:pt x="47" y="120"/>
                </a:cubicBezTo>
                <a:cubicBezTo>
                  <a:pt x="48" y="120"/>
                  <a:pt x="48" y="119"/>
                  <a:pt x="48" y="118"/>
                </a:cubicBezTo>
                <a:close/>
                <a:moveTo>
                  <a:pt x="97" y="46"/>
                </a:moveTo>
                <a:cubicBezTo>
                  <a:pt x="97" y="28"/>
                  <a:pt x="97" y="28"/>
                  <a:pt x="97" y="28"/>
                </a:cubicBezTo>
                <a:cubicBezTo>
                  <a:pt x="97" y="27"/>
                  <a:pt x="96" y="26"/>
                  <a:pt x="96" y="25"/>
                </a:cubicBezTo>
                <a:cubicBezTo>
                  <a:pt x="95" y="25"/>
                  <a:pt x="94" y="25"/>
                  <a:pt x="94" y="25"/>
                </a:cubicBezTo>
                <a:cubicBezTo>
                  <a:pt x="63" y="25"/>
                  <a:pt x="63" y="25"/>
                  <a:pt x="63" y="25"/>
                </a:cubicBezTo>
                <a:cubicBezTo>
                  <a:pt x="62" y="25"/>
                  <a:pt x="62" y="25"/>
                  <a:pt x="61" y="25"/>
                </a:cubicBezTo>
                <a:cubicBezTo>
                  <a:pt x="61" y="26"/>
                  <a:pt x="60" y="27"/>
                  <a:pt x="60" y="28"/>
                </a:cubicBezTo>
                <a:cubicBezTo>
                  <a:pt x="60" y="46"/>
                  <a:pt x="60" y="46"/>
                  <a:pt x="60" y="46"/>
                </a:cubicBezTo>
                <a:cubicBezTo>
                  <a:pt x="60" y="47"/>
                  <a:pt x="61" y="47"/>
                  <a:pt x="61" y="48"/>
                </a:cubicBezTo>
                <a:cubicBezTo>
                  <a:pt x="62" y="48"/>
                  <a:pt x="62" y="49"/>
                  <a:pt x="63" y="49"/>
                </a:cubicBezTo>
                <a:cubicBezTo>
                  <a:pt x="94" y="49"/>
                  <a:pt x="94" y="49"/>
                  <a:pt x="94" y="49"/>
                </a:cubicBezTo>
                <a:cubicBezTo>
                  <a:pt x="94" y="49"/>
                  <a:pt x="95" y="48"/>
                  <a:pt x="96" y="48"/>
                </a:cubicBezTo>
                <a:cubicBezTo>
                  <a:pt x="96" y="47"/>
                  <a:pt x="97" y="47"/>
                  <a:pt x="97" y="46"/>
                </a:cubicBezTo>
                <a:close/>
                <a:moveTo>
                  <a:pt x="97" y="82"/>
                </a:moveTo>
                <a:cubicBezTo>
                  <a:pt x="97" y="64"/>
                  <a:pt x="97" y="64"/>
                  <a:pt x="97" y="64"/>
                </a:cubicBezTo>
                <a:cubicBezTo>
                  <a:pt x="97" y="63"/>
                  <a:pt x="96" y="62"/>
                  <a:pt x="96" y="62"/>
                </a:cubicBezTo>
                <a:cubicBezTo>
                  <a:pt x="95" y="61"/>
                  <a:pt x="94" y="61"/>
                  <a:pt x="94" y="61"/>
                </a:cubicBezTo>
                <a:cubicBezTo>
                  <a:pt x="63" y="61"/>
                  <a:pt x="63" y="61"/>
                  <a:pt x="63" y="61"/>
                </a:cubicBezTo>
                <a:cubicBezTo>
                  <a:pt x="62" y="61"/>
                  <a:pt x="62" y="61"/>
                  <a:pt x="61" y="62"/>
                </a:cubicBezTo>
                <a:cubicBezTo>
                  <a:pt x="61" y="62"/>
                  <a:pt x="60" y="63"/>
                  <a:pt x="60" y="64"/>
                </a:cubicBezTo>
                <a:cubicBezTo>
                  <a:pt x="60" y="82"/>
                  <a:pt x="60" y="82"/>
                  <a:pt x="60" y="82"/>
                </a:cubicBezTo>
                <a:cubicBezTo>
                  <a:pt x="60" y="83"/>
                  <a:pt x="61" y="84"/>
                  <a:pt x="61" y="84"/>
                </a:cubicBezTo>
                <a:cubicBezTo>
                  <a:pt x="62" y="85"/>
                  <a:pt x="62" y="85"/>
                  <a:pt x="63" y="85"/>
                </a:cubicBezTo>
                <a:cubicBezTo>
                  <a:pt x="94" y="85"/>
                  <a:pt x="94" y="85"/>
                  <a:pt x="94" y="85"/>
                </a:cubicBezTo>
                <a:cubicBezTo>
                  <a:pt x="94" y="85"/>
                  <a:pt x="95" y="85"/>
                  <a:pt x="96" y="84"/>
                </a:cubicBezTo>
                <a:cubicBezTo>
                  <a:pt x="96" y="84"/>
                  <a:pt x="97" y="83"/>
                  <a:pt x="97" y="82"/>
                </a:cubicBezTo>
                <a:close/>
                <a:moveTo>
                  <a:pt x="97" y="118"/>
                </a:moveTo>
                <a:cubicBezTo>
                  <a:pt x="97" y="100"/>
                  <a:pt x="97" y="100"/>
                  <a:pt x="97" y="100"/>
                </a:cubicBezTo>
                <a:cubicBezTo>
                  <a:pt x="97" y="99"/>
                  <a:pt x="96" y="99"/>
                  <a:pt x="96" y="98"/>
                </a:cubicBezTo>
                <a:cubicBezTo>
                  <a:pt x="95" y="97"/>
                  <a:pt x="94" y="97"/>
                  <a:pt x="94" y="97"/>
                </a:cubicBezTo>
                <a:cubicBezTo>
                  <a:pt x="63" y="97"/>
                  <a:pt x="63" y="97"/>
                  <a:pt x="63" y="97"/>
                </a:cubicBezTo>
                <a:cubicBezTo>
                  <a:pt x="62" y="97"/>
                  <a:pt x="62" y="97"/>
                  <a:pt x="61" y="98"/>
                </a:cubicBezTo>
                <a:cubicBezTo>
                  <a:pt x="61" y="99"/>
                  <a:pt x="60" y="99"/>
                  <a:pt x="60" y="100"/>
                </a:cubicBezTo>
                <a:cubicBezTo>
                  <a:pt x="60" y="118"/>
                  <a:pt x="60" y="118"/>
                  <a:pt x="60" y="118"/>
                </a:cubicBezTo>
                <a:cubicBezTo>
                  <a:pt x="60" y="119"/>
                  <a:pt x="61" y="120"/>
                  <a:pt x="61" y="120"/>
                </a:cubicBezTo>
                <a:cubicBezTo>
                  <a:pt x="62" y="121"/>
                  <a:pt x="62" y="121"/>
                  <a:pt x="63" y="121"/>
                </a:cubicBezTo>
                <a:cubicBezTo>
                  <a:pt x="94" y="121"/>
                  <a:pt x="94" y="121"/>
                  <a:pt x="94" y="121"/>
                </a:cubicBezTo>
                <a:cubicBezTo>
                  <a:pt x="94" y="121"/>
                  <a:pt x="95" y="121"/>
                  <a:pt x="96" y="120"/>
                </a:cubicBezTo>
                <a:cubicBezTo>
                  <a:pt x="96" y="120"/>
                  <a:pt x="97" y="119"/>
                  <a:pt x="97" y="118"/>
                </a:cubicBezTo>
                <a:close/>
                <a:moveTo>
                  <a:pt x="145" y="46"/>
                </a:moveTo>
                <a:cubicBezTo>
                  <a:pt x="145" y="28"/>
                  <a:pt x="145" y="28"/>
                  <a:pt x="145" y="28"/>
                </a:cubicBezTo>
                <a:cubicBezTo>
                  <a:pt x="145" y="27"/>
                  <a:pt x="145" y="26"/>
                  <a:pt x="144" y="25"/>
                </a:cubicBezTo>
                <a:cubicBezTo>
                  <a:pt x="144" y="25"/>
                  <a:pt x="143" y="25"/>
                  <a:pt x="142" y="25"/>
                </a:cubicBezTo>
                <a:cubicBezTo>
                  <a:pt x="112" y="25"/>
                  <a:pt x="112" y="25"/>
                  <a:pt x="112" y="25"/>
                </a:cubicBezTo>
                <a:cubicBezTo>
                  <a:pt x="111" y="25"/>
                  <a:pt x="110" y="25"/>
                  <a:pt x="110" y="25"/>
                </a:cubicBezTo>
                <a:cubicBezTo>
                  <a:pt x="109" y="26"/>
                  <a:pt x="109" y="27"/>
                  <a:pt x="109" y="28"/>
                </a:cubicBezTo>
                <a:cubicBezTo>
                  <a:pt x="109" y="46"/>
                  <a:pt x="109" y="46"/>
                  <a:pt x="109" y="46"/>
                </a:cubicBezTo>
                <a:cubicBezTo>
                  <a:pt x="109" y="47"/>
                  <a:pt x="109" y="47"/>
                  <a:pt x="110" y="48"/>
                </a:cubicBezTo>
                <a:cubicBezTo>
                  <a:pt x="110" y="48"/>
                  <a:pt x="111" y="49"/>
                  <a:pt x="112" y="49"/>
                </a:cubicBezTo>
                <a:cubicBezTo>
                  <a:pt x="142" y="49"/>
                  <a:pt x="142" y="49"/>
                  <a:pt x="142" y="49"/>
                </a:cubicBezTo>
                <a:cubicBezTo>
                  <a:pt x="143" y="49"/>
                  <a:pt x="144" y="48"/>
                  <a:pt x="144" y="48"/>
                </a:cubicBezTo>
                <a:cubicBezTo>
                  <a:pt x="145" y="47"/>
                  <a:pt x="145" y="47"/>
                  <a:pt x="145" y="46"/>
                </a:cubicBezTo>
                <a:close/>
                <a:moveTo>
                  <a:pt x="145" y="82"/>
                </a:moveTo>
                <a:cubicBezTo>
                  <a:pt x="145" y="64"/>
                  <a:pt x="145" y="64"/>
                  <a:pt x="145" y="64"/>
                </a:cubicBezTo>
                <a:cubicBezTo>
                  <a:pt x="145" y="63"/>
                  <a:pt x="145" y="62"/>
                  <a:pt x="144" y="62"/>
                </a:cubicBezTo>
                <a:cubicBezTo>
                  <a:pt x="144" y="61"/>
                  <a:pt x="143" y="61"/>
                  <a:pt x="142" y="61"/>
                </a:cubicBezTo>
                <a:cubicBezTo>
                  <a:pt x="112" y="61"/>
                  <a:pt x="112" y="61"/>
                  <a:pt x="112" y="61"/>
                </a:cubicBezTo>
                <a:cubicBezTo>
                  <a:pt x="111" y="61"/>
                  <a:pt x="110" y="61"/>
                  <a:pt x="110" y="62"/>
                </a:cubicBezTo>
                <a:cubicBezTo>
                  <a:pt x="109" y="62"/>
                  <a:pt x="109" y="63"/>
                  <a:pt x="109" y="64"/>
                </a:cubicBezTo>
                <a:cubicBezTo>
                  <a:pt x="109" y="82"/>
                  <a:pt x="109" y="82"/>
                  <a:pt x="109" y="82"/>
                </a:cubicBezTo>
                <a:cubicBezTo>
                  <a:pt x="109" y="83"/>
                  <a:pt x="109" y="84"/>
                  <a:pt x="110" y="84"/>
                </a:cubicBezTo>
                <a:cubicBezTo>
                  <a:pt x="110" y="85"/>
                  <a:pt x="111" y="85"/>
                  <a:pt x="112" y="85"/>
                </a:cubicBezTo>
                <a:cubicBezTo>
                  <a:pt x="142" y="85"/>
                  <a:pt x="142" y="85"/>
                  <a:pt x="142" y="85"/>
                </a:cubicBezTo>
                <a:cubicBezTo>
                  <a:pt x="143" y="85"/>
                  <a:pt x="144" y="85"/>
                  <a:pt x="144" y="84"/>
                </a:cubicBezTo>
                <a:cubicBezTo>
                  <a:pt x="145" y="84"/>
                  <a:pt x="145" y="83"/>
                  <a:pt x="145" y="82"/>
                </a:cubicBezTo>
                <a:close/>
                <a:moveTo>
                  <a:pt x="145" y="118"/>
                </a:moveTo>
                <a:cubicBezTo>
                  <a:pt x="145" y="100"/>
                  <a:pt x="145" y="100"/>
                  <a:pt x="145" y="100"/>
                </a:cubicBezTo>
                <a:cubicBezTo>
                  <a:pt x="145" y="99"/>
                  <a:pt x="145" y="99"/>
                  <a:pt x="144" y="98"/>
                </a:cubicBezTo>
                <a:cubicBezTo>
                  <a:pt x="144" y="97"/>
                  <a:pt x="143" y="97"/>
                  <a:pt x="142" y="97"/>
                </a:cubicBezTo>
                <a:cubicBezTo>
                  <a:pt x="112" y="97"/>
                  <a:pt x="112" y="97"/>
                  <a:pt x="112" y="97"/>
                </a:cubicBezTo>
                <a:cubicBezTo>
                  <a:pt x="111" y="97"/>
                  <a:pt x="110" y="97"/>
                  <a:pt x="110" y="98"/>
                </a:cubicBezTo>
                <a:cubicBezTo>
                  <a:pt x="109" y="99"/>
                  <a:pt x="109" y="99"/>
                  <a:pt x="109" y="100"/>
                </a:cubicBezTo>
                <a:cubicBezTo>
                  <a:pt x="109" y="118"/>
                  <a:pt x="109" y="118"/>
                  <a:pt x="109" y="118"/>
                </a:cubicBezTo>
                <a:cubicBezTo>
                  <a:pt x="109" y="119"/>
                  <a:pt x="109" y="120"/>
                  <a:pt x="110" y="120"/>
                </a:cubicBezTo>
                <a:cubicBezTo>
                  <a:pt x="110" y="121"/>
                  <a:pt x="111" y="121"/>
                  <a:pt x="112" y="121"/>
                </a:cubicBezTo>
                <a:cubicBezTo>
                  <a:pt x="142" y="121"/>
                  <a:pt x="142" y="121"/>
                  <a:pt x="142" y="121"/>
                </a:cubicBezTo>
                <a:cubicBezTo>
                  <a:pt x="143" y="121"/>
                  <a:pt x="144" y="121"/>
                  <a:pt x="144" y="120"/>
                </a:cubicBezTo>
                <a:cubicBezTo>
                  <a:pt x="145" y="120"/>
                  <a:pt x="145" y="119"/>
                  <a:pt x="145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7" name="Freeform 187"/>
          <p:cNvSpPr>
            <a:spLocks noChangeAspect="1" noEditPoints="1"/>
          </p:cNvSpPr>
          <p:nvPr/>
        </p:nvSpPr>
        <p:spPr bwMode="auto">
          <a:xfrm>
            <a:off x="6503324" y="2782727"/>
            <a:ext cx="160815" cy="160815"/>
          </a:xfrm>
          <a:custGeom>
            <a:avLst/>
            <a:gdLst>
              <a:gd name="T0" fmla="*/ 153 w 155"/>
              <a:gd name="T1" fmla="*/ 27 h 155"/>
              <a:gd name="T2" fmla="*/ 151 w 155"/>
              <a:gd name="T3" fmla="*/ 32 h 155"/>
              <a:gd name="T4" fmla="*/ 29 w 155"/>
              <a:gd name="T5" fmla="*/ 153 h 155"/>
              <a:gd name="T6" fmla="*/ 25 w 155"/>
              <a:gd name="T7" fmla="*/ 155 h 155"/>
              <a:gd name="T8" fmla="*/ 21 w 155"/>
              <a:gd name="T9" fmla="*/ 153 h 155"/>
              <a:gd name="T10" fmla="*/ 2 w 155"/>
              <a:gd name="T11" fmla="*/ 135 h 155"/>
              <a:gd name="T12" fmla="*/ 0 w 155"/>
              <a:gd name="T13" fmla="*/ 130 h 155"/>
              <a:gd name="T14" fmla="*/ 2 w 155"/>
              <a:gd name="T15" fmla="*/ 126 h 155"/>
              <a:gd name="T16" fmla="*/ 124 w 155"/>
              <a:gd name="T17" fmla="*/ 4 h 155"/>
              <a:gd name="T18" fmla="*/ 128 w 155"/>
              <a:gd name="T19" fmla="*/ 3 h 155"/>
              <a:gd name="T20" fmla="*/ 132 w 155"/>
              <a:gd name="T21" fmla="*/ 4 h 155"/>
              <a:gd name="T22" fmla="*/ 151 w 155"/>
              <a:gd name="T23" fmla="*/ 23 h 155"/>
              <a:gd name="T24" fmla="*/ 153 w 155"/>
              <a:gd name="T25" fmla="*/ 27 h 155"/>
              <a:gd name="T26" fmla="*/ 25 w 155"/>
              <a:gd name="T27" fmla="*/ 9 h 155"/>
              <a:gd name="T28" fmla="*/ 34 w 155"/>
              <a:gd name="T29" fmla="*/ 12 h 155"/>
              <a:gd name="T30" fmla="*/ 25 w 155"/>
              <a:gd name="T31" fmla="*/ 15 h 155"/>
              <a:gd name="T32" fmla="*/ 22 w 155"/>
              <a:gd name="T33" fmla="*/ 24 h 155"/>
              <a:gd name="T34" fmla="*/ 19 w 155"/>
              <a:gd name="T35" fmla="*/ 15 h 155"/>
              <a:gd name="T36" fmla="*/ 10 w 155"/>
              <a:gd name="T37" fmla="*/ 12 h 155"/>
              <a:gd name="T38" fmla="*/ 19 w 155"/>
              <a:gd name="T39" fmla="*/ 9 h 155"/>
              <a:gd name="T40" fmla="*/ 22 w 155"/>
              <a:gd name="T41" fmla="*/ 0 h 155"/>
              <a:gd name="T42" fmla="*/ 25 w 155"/>
              <a:gd name="T43" fmla="*/ 9 h 155"/>
              <a:gd name="T44" fmla="*/ 58 w 155"/>
              <a:gd name="T45" fmla="*/ 25 h 155"/>
              <a:gd name="T46" fmla="*/ 77 w 155"/>
              <a:gd name="T47" fmla="*/ 30 h 155"/>
              <a:gd name="T48" fmla="*/ 58 w 155"/>
              <a:gd name="T49" fmla="*/ 36 h 155"/>
              <a:gd name="T50" fmla="*/ 52 w 155"/>
              <a:gd name="T51" fmla="*/ 55 h 155"/>
              <a:gd name="T52" fmla="*/ 47 w 155"/>
              <a:gd name="T53" fmla="*/ 36 h 155"/>
              <a:gd name="T54" fmla="*/ 28 w 155"/>
              <a:gd name="T55" fmla="*/ 30 h 155"/>
              <a:gd name="T56" fmla="*/ 47 w 155"/>
              <a:gd name="T57" fmla="*/ 25 h 155"/>
              <a:gd name="T58" fmla="*/ 52 w 155"/>
              <a:gd name="T59" fmla="*/ 6 h 155"/>
              <a:gd name="T60" fmla="*/ 58 w 155"/>
              <a:gd name="T61" fmla="*/ 25 h 155"/>
              <a:gd name="T62" fmla="*/ 85 w 155"/>
              <a:gd name="T63" fmla="*/ 9 h 155"/>
              <a:gd name="T64" fmla="*/ 95 w 155"/>
              <a:gd name="T65" fmla="*/ 12 h 155"/>
              <a:gd name="T66" fmla="*/ 85 w 155"/>
              <a:gd name="T67" fmla="*/ 15 h 155"/>
              <a:gd name="T68" fmla="*/ 83 w 155"/>
              <a:gd name="T69" fmla="*/ 24 h 155"/>
              <a:gd name="T70" fmla="*/ 80 w 155"/>
              <a:gd name="T71" fmla="*/ 15 h 155"/>
              <a:gd name="T72" fmla="*/ 70 w 155"/>
              <a:gd name="T73" fmla="*/ 12 h 155"/>
              <a:gd name="T74" fmla="*/ 80 w 155"/>
              <a:gd name="T75" fmla="*/ 9 h 155"/>
              <a:gd name="T76" fmla="*/ 83 w 155"/>
              <a:gd name="T77" fmla="*/ 0 h 155"/>
              <a:gd name="T78" fmla="*/ 85 w 155"/>
              <a:gd name="T79" fmla="*/ 9 h 155"/>
              <a:gd name="T80" fmla="*/ 110 w 155"/>
              <a:gd name="T81" fmla="*/ 55 h 155"/>
              <a:gd name="T82" fmla="*/ 138 w 155"/>
              <a:gd name="T83" fmla="*/ 27 h 155"/>
              <a:gd name="T84" fmla="*/ 128 w 155"/>
              <a:gd name="T85" fmla="*/ 17 h 155"/>
              <a:gd name="T86" fmla="*/ 100 w 155"/>
              <a:gd name="T87" fmla="*/ 45 h 155"/>
              <a:gd name="T88" fmla="*/ 110 w 155"/>
              <a:gd name="T89" fmla="*/ 55 h 155"/>
              <a:gd name="T90" fmla="*/ 146 w 155"/>
              <a:gd name="T91" fmla="*/ 70 h 155"/>
              <a:gd name="T92" fmla="*/ 155 w 155"/>
              <a:gd name="T93" fmla="*/ 73 h 155"/>
              <a:gd name="T94" fmla="*/ 146 w 155"/>
              <a:gd name="T95" fmla="*/ 76 h 155"/>
              <a:gd name="T96" fmla="*/ 143 w 155"/>
              <a:gd name="T97" fmla="*/ 85 h 155"/>
              <a:gd name="T98" fmla="*/ 140 w 155"/>
              <a:gd name="T99" fmla="*/ 76 h 155"/>
              <a:gd name="T100" fmla="*/ 131 w 155"/>
              <a:gd name="T101" fmla="*/ 73 h 155"/>
              <a:gd name="T102" fmla="*/ 140 w 155"/>
              <a:gd name="T103" fmla="*/ 70 h 155"/>
              <a:gd name="T104" fmla="*/ 143 w 155"/>
              <a:gd name="T105" fmla="*/ 61 h 155"/>
              <a:gd name="T106" fmla="*/ 146 w 155"/>
              <a:gd name="T107" fmla="*/ 7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5" h="155">
                <a:moveTo>
                  <a:pt x="153" y="27"/>
                </a:moveTo>
                <a:cubicBezTo>
                  <a:pt x="153" y="29"/>
                  <a:pt x="152" y="31"/>
                  <a:pt x="151" y="32"/>
                </a:cubicBezTo>
                <a:cubicBezTo>
                  <a:pt x="29" y="153"/>
                  <a:pt x="29" y="153"/>
                  <a:pt x="29" y="153"/>
                </a:cubicBezTo>
                <a:cubicBezTo>
                  <a:pt x="28" y="154"/>
                  <a:pt x="27" y="155"/>
                  <a:pt x="25" y="155"/>
                </a:cubicBezTo>
                <a:cubicBezTo>
                  <a:pt x="23" y="155"/>
                  <a:pt x="22" y="154"/>
                  <a:pt x="21" y="153"/>
                </a:cubicBezTo>
                <a:cubicBezTo>
                  <a:pt x="2" y="135"/>
                  <a:pt x="2" y="135"/>
                  <a:pt x="2" y="135"/>
                </a:cubicBezTo>
                <a:cubicBezTo>
                  <a:pt x="1" y="133"/>
                  <a:pt x="0" y="132"/>
                  <a:pt x="0" y="130"/>
                </a:cubicBezTo>
                <a:cubicBezTo>
                  <a:pt x="0" y="129"/>
                  <a:pt x="1" y="127"/>
                  <a:pt x="2" y="126"/>
                </a:cubicBezTo>
                <a:cubicBezTo>
                  <a:pt x="124" y="4"/>
                  <a:pt x="124" y="4"/>
                  <a:pt x="124" y="4"/>
                </a:cubicBezTo>
                <a:cubicBezTo>
                  <a:pt x="125" y="3"/>
                  <a:pt x="126" y="3"/>
                  <a:pt x="128" y="3"/>
                </a:cubicBezTo>
                <a:cubicBezTo>
                  <a:pt x="130" y="3"/>
                  <a:pt x="131" y="3"/>
                  <a:pt x="132" y="4"/>
                </a:cubicBezTo>
                <a:cubicBezTo>
                  <a:pt x="151" y="23"/>
                  <a:pt x="151" y="23"/>
                  <a:pt x="151" y="23"/>
                </a:cubicBezTo>
                <a:cubicBezTo>
                  <a:pt x="152" y="24"/>
                  <a:pt x="153" y="26"/>
                  <a:pt x="153" y="27"/>
                </a:cubicBezTo>
                <a:close/>
                <a:moveTo>
                  <a:pt x="25" y="9"/>
                </a:moveTo>
                <a:cubicBezTo>
                  <a:pt x="34" y="12"/>
                  <a:pt x="34" y="12"/>
                  <a:pt x="34" y="12"/>
                </a:cubicBezTo>
                <a:cubicBezTo>
                  <a:pt x="25" y="15"/>
                  <a:pt x="25" y="15"/>
                  <a:pt x="25" y="15"/>
                </a:cubicBezTo>
                <a:cubicBezTo>
                  <a:pt x="22" y="24"/>
                  <a:pt x="22" y="24"/>
                  <a:pt x="22" y="24"/>
                </a:cubicBezTo>
                <a:cubicBezTo>
                  <a:pt x="19" y="15"/>
                  <a:pt x="19" y="15"/>
                  <a:pt x="19" y="15"/>
                </a:cubicBezTo>
                <a:cubicBezTo>
                  <a:pt x="10" y="12"/>
                  <a:pt x="10" y="12"/>
                  <a:pt x="10" y="12"/>
                </a:cubicBezTo>
                <a:cubicBezTo>
                  <a:pt x="19" y="9"/>
                  <a:pt x="19" y="9"/>
                  <a:pt x="19" y="9"/>
                </a:cubicBezTo>
                <a:cubicBezTo>
                  <a:pt x="22" y="0"/>
                  <a:pt x="22" y="0"/>
                  <a:pt x="22" y="0"/>
                </a:cubicBezTo>
                <a:lnTo>
                  <a:pt x="25" y="9"/>
                </a:lnTo>
                <a:close/>
                <a:moveTo>
                  <a:pt x="58" y="25"/>
                </a:moveTo>
                <a:cubicBezTo>
                  <a:pt x="77" y="30"/>
                  <a:pt x="77" y="30"/>
                  <a:pt x="77" y="30"/>
                </a:cubicBezTo>
                <a:cubicBezTo>
                  <a:pt x="58" y="36"/>
                  <a:pt x="58" y="36"/>
                  <a:pt x="58" y="36"/>
                </a:cubicBezTo>
                <a:cubicBezTo>
                  <a:pt x="52" y="55"/>
                  <a:pt x="52" y="55"/>
                  <a:pt x="52" y="55"/>
                </a:cubicBezTo>
                <a:cubicBezTo>
                  <a:pt x="47" y="36"/>
                  <a:pt x="47" y="36"/>
                  <a:pt x="47" y="36"/>
                </a:cubicBezTo>
                <a:cubicBezTo>
                  <a:pt x="28" y="30"/>
                  <a:pt x="28" y="30"/>
                  <a:pt x="28" y="30"/>
                </a:cubicBezTo>
                <a:cubicBezTo>
                  <a:pt x="47" y="25"/>
                  <a:pt x="47" y="25"/>
                  <a:pt x="47" y="25"/>
                </a:cubicBezTo>
                <a:cubicBezTo>
                  <a:pt x="52" y="6"/>
                  <a:pt x="52" y="6"/>
                  <a:pt x="52" y="6"/>
                </a:cubicBezTo>
                <a:lnTo>
                  <a:pt x="58" y="25"/>
                </a:lnTo>
                <a:close/>
                <a:moveTo>
                  <a:pt x="85" y="9"/>
                </a:moveTo>
                <a:cubicBezTo>
                  <a:pt x="95" y="12"/>
                  <a:pt x="95" y="12"/>
                  <a:pt x="95" y="12"/>
                </a:cubicBezTo>
                <a:cubicBezTo>
                  <a:pt x="85" y="15"/>
                  <a:pt x="85" y="15"/>
                  <a:pt x="85" y="15"/>
                </a:cubicBezTo>
                <a:cubicBezTo>
                  <a:pt x="83" y="24"/>
                  <a:pt x="83" y="24"/>
                  <a:pt x="83" y="24"/>
                </a:cubicBezTo>
                <a:cubicBezTo>
                  <a:pt x="80" y="15"/>
                  <a:pt x="80" y="15"/>
                  <a:pt x="80" y="15"/>
                </a:cubicBezTo>
                <a:cubicBezTo>
                  <a:pt x="70" y="12"/>
                  <a:pt x="70" y="12"/>
                  <a:pt x="70" y="12"/>
                </a:cubicBezTo>
                <a:cubicBezTo>
                  <a:pt x="80" y="9"/>
                  <a:pt x="80" y="9"/>
                  <a:pt x="80" y="9"/>
                </a:cubicBezTo>
                <a:cubicBezTo>
                  <a:pt x="83" y="0"/>
                  <a:pt x="83" y="0"/>
                  <a:pt x="83" y="0"/>
                </a:cubicBezTo>
                <a:lnTo>
                  <a:pt x="85" y="9"/>
                </a:lnTo>
                <a:close/>
                <a:moveTo>
                  <a:pt x="110" y="55"/>
                </a:moveTo>
                <a:cubicBezTo>
                  <a:pt x="138" y="27"/>
                  <a:pt x="138" y="27"/>
                  <a:pt x="138" y="27"/>
                </a:cubicBezTo>
                <a:cubicBezTo>
                  <a:pt x="128" y="17"/>
                  <a:pt x="128" y="17"/>
                  <a:pt x="128" y="17"/>
                </a:cubicBezTo>
                <a:cubicBezTo>
                  <a:pt x="100" y="45"/>
                  <a:pt x="100" y="45"/>
                  <a:pt x="100" y="45"/>
                </a:cubicBezTo>
                <a:lnTo>
                  <a:pt x="110" y="55"/>
                </a:lnTo>
                <a:close/>
                <a:moveTo>
                  <a:pt x="146" y="70"/>
                </a:moveTo>
                <a:cubicBezTo>
                  <a:pt x="155" y="73"/>
                  <a:pt x="155" y="73"/>
                  <a:pt x="155" y="73"/>
                </a:cubicBezTo>
                <a:cubicBezTo>
                  <a:pt x="146" y="76"/>
                  <a:pt x="146" y="76"/>
                  <a:pt x="146" y="76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0" y="76"/>
                  <a:pt x="140" y="76"/>
                  <a:pt x="140" y="76"/>
                </a:cubicBezTo>
                <a:cubicBezTo>
                  <a:pt x="131" y="73"/>
                  <a:pt x="131" y="73"/>
                  <a:pt x="131" y="73"/>
                </a:cubicBezTo>
                <a:cubicBezTo>
                  <a:pt x="140" y="70"/>
                  <a:pt x="140" y="70"/>
                  <a:pt x="140" y="70"/>
                </a:cubicBezTo>
                <a:cubicBezTo>
                  <a:pt x="143" y="61"/>
                  <a:pt x="143" y="61"/>
                  <a:pt x="143" y="61"/>
                </a:cubicBezTo>
                <a:lnTo>
                  <a:pt x="146" y="7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8" name="Freeform 188"/>
          <p:cNvSpPr>
            <a:spLocks noChangeAspect="1" noEditPoints="1"/>
          </p:cNvSpPr>
          <p:nvPr/>
        </p:nvSpPr>
        <p:spPr bwMode="auto">
          <a:xfrm>
            <a:off x="6712539" y="2807708"/>
            <a:ext cx="168621" cy="138956"/>
          </a:xfrm>
          <a:custGeom>
            <a:avLst/>
            <a:gdLst>
              <a:gd name="T0" fmla="*/ 163 w 163"/>
              <a:gd name="T1" fmla="*/ 103 h 134"/>
              <a:gd name="T2" fmla="*/ 162 w 163"/>
              <a:gd name="T3" fmla="*/ 108 h 134"/>
              <a:gd name="T4" fmla="*/ 158 w 163"/>
              <a:gd name="T5" fmla="*/ 109 h 134"/>
              <a:gd name="T6" fmla="*/ 153 w 163"/>
              <a:gd name="T7" fmla="*/ 109 h 134"/>
              <a:gd name="T8" fmla="*/ 144 w 163"/>
              <a:gd name="T9" fmla="*/ 126 h 134"/>
              <a:gd name="T10" fmla="*/ 110 w 163"/>
              <a:gd name="T11" fmla="*/ 126 h 134"/>
              <a:gd name="T12" fmla="*/ 67 w 163"/>
              <a:gd name="T13" fmla="*/ 109 h 134"/>
              <a:gd name="T14" fmla="*/ 42 w 163"/>
              <a:gd name="T15" fmla="*/ 134 h 134"/>
              <a:gd name="T16" fmla="*/ 18 w 163"/>
              <a:gd name="T17" fmla="*/ 109 h 134"/>
              <a:gd name="T18" fmla="*/ 10 w 163"/>
              <a:gd name="T19" fmla="*/ 109 h 134"/>
              <a:gd name="T20" fmla="*/ 5 w 163"/>
              <a:gd name="T21" fmla="*/ 109 h 134"/>
              <a:gd name="T22" fmla="*/ 2 w 163"/>
              <a:gd name="T23" fmla="*/ 108 h 134"/>
              <a:gd name="T24" fmla="*/ 0 w 163"/>
              <a:gd name="T25" fmla="*/ 103 h 134"/>
              <a:gd name="T26" fmla="*/ 6 w 163"/>
              <a:gd name="T27" fmla="*/ 97 h 134"/>
              <a:gd name="T28" fmla="*/ 6 w 163"/>
              <a:gd name="T29" fmla="*/ 64 h 134"/>
              <a:gd name="T30" fmla="*/ 6 w 163"/>
              <a:gd name="T31" fmla="*/ 57 h 134"/>
              <a:gd name="T32" fmla="*/ 8 w 163"/>
              <a:gd name="T33" fmla="*/ 50 h 134"/>
              <a:gd name="T34" fmla="*/ 29 w 163"/>
              <a:gd name="T35" fmla="*/ 29 h 134"/>
              <a:gd name="T36" fmla="*/ 39 w 163"/>
              <a:gd name="T37" fmla="*/ 25 h 134"/>
              <a:gd name="T38" fmla="*/ 54 w 163"/>
              <a:gd name="T39" fmla="*/ 6 h 134"/>
              <a:gd name="T40" fmla="*/ 61 w 163"/>
              <a:gd name="T41" fmla="*/ 0 h 134"/>
              <a:gd name="T42" fmla="*/ 162 w 163"/>
              <a:gd name="T43" fmla="*/ 2 h 134"/>
              <a:gd name="T44" fmla="*/ 18 w 163"/>
              <a:gd name="T45" fmla="*/ 61 h 134"/>
              <a:gd name="T46" fmla="*/ 54 w 163"/>
              <a:gd name="T47" fmla="*/ 37 h 134"/>
              <a:gd name="T48" fmla="*/ 37 w 163"/>
              <a:gd name="T49" fmla="*/ 38 h 134"/>
              <a:gd name="T50" fmla="*/ 18 w 163"/>
              <a:gd name="T51" fmla="*/ 58 h 134"/>
              <a:gd name="T52" fmla="*/ 51 w 163"/>
              <a:gd name="T53" fmla="*/ 118 h 134"/>
              <a:gd name="T54" fmla="*/ 51 w 163"/>
              <a:gd name="T55" fmla="*/ 101 h 134"/>
              <a:gd name="T56" fmla="*/ 34 w 163"/>
              <a:gd name="T57" fmla="*/ 101 h 134"/>
              <a:gd name="T58" fmla="*/ 34 w 163"/>
              <a:gd name="T59" fmla="*/ 118 h 134"/>
              <a:gd name="T60" fmla="*/ 51 w 163"/>
              <a:gd name="T61" fmla="*/ 118 h 134"/>
              <a:gd name="T62" fmla="*/ 139 w 163"/>
              <a:gd name="T63" fmla="*/ 109 h 134"/>
              <a:gd name="T64" fmla="*/ 127 w 163"/>
              <a:gd name="T65" fmla="*/ 97 h 134"/>
              <a:gd name="T66" fmla="*/ 115 w 163"/>
              <a:gd name="T67" fmla="*/ 109 h 134"/>
              <a:gd name="T68" fmla="*/ 127 w 163"/>
              <a:gd name="T69" fmla="*/ 12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3" h="134">
                <a:moveTo>
                  <a:pt x="163" y="6"/>
                </a:moveTo>
                <a:cubicBezTo>
                  <a:pt x="163" y="103"/>
                  <a:pt x="163" y="103"/>
                  <a:pt x="163" y="103"/>
                </a:cubicBezTo>
                <a:cubicBezTo>
                  <a:pt x="163" y="104"/>
                  <a:pt x="163" y="105"/>
                  <a:pt x="163" y="106"/>
                </a:cubicBezTo>
                <a:cubicBezTo>
                  <a:pt x="163" y="107"/>
                  <a:pt x="162" y="107"/>
                  <a:pt x="162" y="108"/>
                </a:cubicBezTo>
                <a:cubicBezTo>
                  <a:pt x="161" y="108"/>
                  <a:pt x="161" y="108"/>
                  <a:pt x="160" y="109"/>
                </a:cubicBezTo>
                <a:cubicBezTo>
                  <a:pt x="160" y="109"/>
                  <a:pt x="159" y="109"/>
                  <a:pt x="158" y="109"/>
                </a:cubicBezTo>
                <a:cubicBezTo>
                  <a:pt x="157" y="109"/>
                  <a:pt x="156" y="109"/>
                  <a:pt x="156" y="109"/>
                </a:cubicBezTo>
                <a:cubicBezTo>
                  <a:pt x="155" y="109"/>
                  <a:pt x="155" y="109"/>
                  <a:pt x="153" y="109"/>
                </a:cubicBezTo>
                <a:cubicBezTo>
                  <a:pt x="152" y="109"/>
                  <a:pt x="152" y="109"/>
                  <a:pt x="151" y="109"/>
                </a:cubicBezTo>
                <a:cubicBezTo>
                  <a:pt x="151" y="116"/>
                  <a:pt x="149" y="122"/>
                  <a:pt x="144" y="126"/>
                </a:cubicBezTo>
                <a:cubicBezTo>
                  <a:pt x="139" y="131"/>
                  <a:pt x="134" y="134"/>
                  <a:pt x="127" y="134"/>
                </a:cubicBezTo>
                <a:cubicBezTo>
                  <a:pt x="120" y="134"/>
                  <a:pt x="115" y="131"/>
                  <a:pt x="110" y="126"/>
                </a:cubicBezTo>
                <a:cubicBezTo>
                  <a:pt x="105" y="122"/>
                  <a:pt x="103" y="116"/>
                  <a:pt x="103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16"/>
                  <a:pt x="64" y="122"/>
                  <a:pt x="60" y="126"/>
                </a:cubicBezTo>
                <a:cubicBezTo>
                  <a:pt x="55" y="131"/>
                  <a:pt x="49" y="134"/>
                  <a:pt x="42" y="134"/>
                </a:cubicBezTo>
                <a:cubicBezTo>
                  <a:pt x="36" y="134"/>
                  <a:pt x="30" y="131"/>
                  <a:pt x="25" y="126"/>
                </a:cubicBezTo>
                <a:cubicBezTo>
                  <a:pt x="21" y="122"/>
                  <a:pt x="18" y="116"/>
                  <a:pt x="18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1" y="109"/>
                  <a:pt x="10" y="109"/>
                </a:cubicBezTo>
                <a:cubicBezTo>
                  <a:pt x="9" y="109"/>
                  <a:pt x="8" y="109"/>
                  <a:pt x="8" y="109"/>
                </a:cubicBezTo>
                <a:cubicBezTo>
                  <a:pt x="7" y="109"/>
                  <a:pt x="7" y="109"/>
                  <a:pt x="5" y="109"/>
                </a:cubicBezTo>
                <a:cubicBezTo>
                  <a:pt x="4" y="109"/>
                  <a:pt x="4" y="109"/>
                  <a:pt x="3" y="109"/>
                </a:cubicBezTo>
                <a:cubicBezTo>
                  <a:pt x="3" y="108"/>
                  <a:pt x="2" y="108"/>
                  <a:pt x="2" y="108"/>
                </a:cubicBezTo>
                <a:cubicBezTo>
                  <a:pt x="1" y="107"/>
                  <a:pt x="1" y="107"/>
                  <a:pt x="0" y="106"/>
                </a:cubicBezTo>
                <a:cubicBezTo>
                  <a:pt x="0" y="105"/>
                  <a:pt x="0" y="104"/>
                  <a:pt x="0" y="103"/>
                </a:cubicBezTo>
                <a:cubicBezTo>
                  <a:pt x="0" y="102"/>
                  <a:pt x="1" y="100"/>
                  <a:pt x="2" y="99"/>
                </a:cubicBezTo>
                <a:cubicBezTo>
                  <a:pt x="3" y="98"/>
                  <a:pt x="4" y="97"/>
                  <a:pt x="6" y="9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6"/>
                  <a:pt x="6" y="65"/>
                  <a:pt x="6" y="64"/>
                </a:cubicBezTo>
                <a:cubicBezTo>
                  <a:pt x="6" y="62"/>
                  <a:pt x="6" y="61"/>
                  <a:pt x="6" y="60"/>
                </a:cubicBezTo>
                <a:cubicBezTo>
                  <a:pt x="6" y="59"/>
                  <a:pt x="6" y="58"/>
                  <a:pt x="6" y="57"/>
                </a:cubicBezTo>
                <a:cubicBezTo>
                  <a:pt x="6" y="55"/>
                  <a:pt x="7" y="54"/>
                  <a:pt x="7" y="53"/>
                </a:cubicBezTo>
                <a:cubicBezTo>
                  <a:pt x="7" y="52"/>
                  <a:pt x="8" y="52"/>
                  <a:pt x="8" y="50"/>
                </a:cubicBezTo>
                <a:cubicBezTo>
                  <a:pt x="9" y="49"/>
                  <a:pt x="10" y="48"/>
                  <a:pt x="10" y="48"/>
                </a:cubicBezTo>
                <a:cubicBezTo>
                  <a:pt x="29" y="29"/>
                  <a:pt x="29" y="29"/>
                  <a:pt x="29" y="29"/>
                </a:cubicBezTo>
                <a:cubicBezTo>
                  <a:pt x="30" y="28"/>
                  <a:pt x="32" y="27"/>
                  <a:pt x="34" y="26"/>
                </a:cubicBezTo>
                <a:cubicBezTo>
                  <a:pt x="36" y="25"/>
                  <a:pt x="38" y="25"/>
                  <a:pt x="39" y="25"/>
                </a:cubicBezTo>
                <a:cubicBezTo>
                  <a:pt x="54" y="25"/>
                  <a:pt x="54" y="25"/>
                  <a:pt x="54" y="25"/>
                </a:cubicBezTo>
                <a:cubicBezTo>
                  <a:pt x="54" y="6"/>
                  <a:pt x="54" y="6"/>
                  <a:pt x="54" y="6"/>
                </a:cubicBezTo>
                <a:cubicBezTo>
                  <a:pt x="54" y="5"/>
                  <a:pt x="55" y="3"/>
                  <a:pt x="56" y="2"/>
                </a:cubicBezTo>
                <a:cubicBezTo>
                  <a:pt x="57" y="1"/>
                  <a:pt x="59" y="0"/>
                  <a:pt x="61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9" y="0"/>
                  <a:pt x="160" y="1"/>
                  <a:pt x="162" y="2"/>
                </a:cubicBezTo>
                <a:cubicBezTo>
                  <a:pt x="163" y="3"/>
                  <a:pt x="163" y="5"/>
                  <a:pt x="163" y="6"/>
                </a:cubicBezTo>
                <a:close/>
                <a:moveTo>
                  <a:pt x="18" y="61"/>
                </a:moveTo>
                <a:cubicBezTo>
                  <a:pt x="54" y="61"/>
                  <a:pt x="54" y="61"/>
                  <a:pt x="54" y="61"/>
                </a:cubicBezTo>
                <a:cubicBezTo>
                  <a:pt x="54" y="37"/>
                  <a:pt x="54" y="37"/>
                  <a:pt x="54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39" y="37"/>
                  <a:pt x="38" y="37"/>
                  <a:pt x="37" y="38"/>
                </a:cubicBezTo>
                <a:cubicBezTo>
                  <a:pt x="19" y="56"/>
                  <a:pt x="19" y="56"/>
                  <a:pt x="19" y="56"/>
                </a:cubicBezTo>
                <a:cubicBezTo>
                  <a:pt x="18" y="57"/>
                  <a:pt x="18" y="57"/>
                  <a:pt x="18" y="58"/>
                </a:cubicBezTo>
                <a:lnTo>
                  <a:pt x="18" y="61"/>
                </a:lnTo>
                <a:close/>
                <a:moveTo>
                  <a:pt x="51" y="118"/>
                </a:moveTo>
                <a:cubicBezTo>
                  <a:pt x="53" y="115"/>
                  <a:pt x="54" y="113"/>
                  <a:pt x="54" y="109"/>
                </a:cubicBezTo>
                <a:cubicBezTo>
                  <a:pt x="54" y="106"/>
                  <a:pt x="53" y="103"/>
                  <a:pt x="51" y="101"/>
                </a:cubicBezTo>
                <a:cubicBezTo>
                  <a:pt x="49" y="98"/>
                  <a:pt x="46" y="97"/>
                  <a:pt x="42" y="97"/>
                </a:cubicBezTo>
                <a:cubicBezTo>
                  <a:pt x="39" y="97"/>
                  <a:pt x="36" y="98"/>
                  <a:pt x="34" y="101"/>
                </a:cubicBezTo>
                <a:cubicBezTo>
                  <a:pt x="31" y="103"/>
                  <a:pt x="30" y="106"/>
                  <a:pt x="30" y="109"/>
                </a:cubicBezTo>
                <a:cubicBezTo>
                  <a:pt x="30" y="113"/>
                  <a:pt x="31" y="115"/>
                  <a:pt x="34" y="118"/>
                </a:cubicBezTo>
                <a:cubicBezTo>
                  <a:pt x="36" y="120"/>
                  <a:pt x="39" y="121"/>
                  <a:pt x="42" y="121"/>
                </a:cubicBezTo>
                <a:cubicBezTo>
                  <a:pt x="46" y="121"/>
                  <a:pt x="49" y="120"/>
                  <a:pt x="51" y="118"/>
                </a:cubicBezTo>
                <a:close/>
                <a:moveTo>
                  <a:pt x="136" y="118"/>
                </a:moveTo>
                <a:cubicBezTo>
                  <a:pt x="138" y="115"/>
                  <a:pt x="139" y="113"/>
                  <a:pt x="139" y="109"/>
                </a:cubicBezTo>
                <a:cubicBezTo>
                  <a:pt x="139" y="106"/>
                  <a:pt x="138" y="103"/>
                  <a:pt x="136" y="101"/>
                </a:cubicBezTo>
                <a:cubicBezTo>
                  <a:pt x="133" y="98"/>
                  <a:pt x="130" y="97"/>
                  <a:pt x="127" y="97"/>
                </a:cubicBezTo>
                <a:cubicBezTo>
                  <a:pt x="124" y="97"/>
                  <a:pt x="121" y="98"/>
                  <a:pt x="119" y="101"/>
                </a:cubicBezTo>
                <a:cubicBezTo>
                  <a:pt x="116" y="103"/>
                  <a:pt x="115" y="106"/>
                  <a:pt x="115" y="109"/>
                </a:cubicBezTo>
                <a:cubicBezTo>
                  <a:pt x="115" y="113"/>
                  <a:pt x="116" y="115"/>
                  <a:pt x="119" y="118"/>
                </a:cubicBezTo>
                <a:cubicBezTo>
                  <a:pt x="121" y="120"/>
                  <a:pt x="124" y="121"/>
                  <a:pt x="127" y="121"/>
                </a:cubicBezTo>
                <a:cubicBezTo>
                  <a:pt x="130" y="121"/>
                  <a:pt x="133" y="120"/>
                  <a:pt x="136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89" name="Freeform 189"/>
          <p:cNvSpPr>
            <a:spLocks noChangeAspect="1"/>
          </p:cNvSpPr>
          <p:nvPr/>
        </p:nvSpPr>
        <p:spPr bwMode="auto">
          <a:xfrm>
            <a:off x="6923316" y="2795218"/>
            <a:ext cx="151447" cy="151447"/>
          </a:xfrm>
          <a:custGeom>
            <a:avLst/>
            <a:gdLst>
              <a:gd name="T0" fmla="*/ 136 w 145"/>
              <a:gd name="T1" fmla="*/ 36 h 146"/>
              <a:gd name="T2" fmla="*/ 145 w 145"/>
              <a:gd name="T3" fmla="*/ 73 h 146"/>
              <a:gd name="T4" fmla="*/ 136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52 w 145"/>
              <a:gd name="T11" fmla="*/ 143 h 146"/>
              <a:gd name="T12" fmla="*/ 60 w 145"/>
              <a:gd name="T13" fmla="*/ 127 h 146"/>
              <a:gd name="T14" fmla="*/ 65 w 145"/>
              <a:gd name="T15" fmla="*/ 107 h 146"/>
              <a:gd name="T16" fmla="*/ 72 w 145"/>
              <a:gd name="T17" fmla="*/ 113 h 146"/>
              <a:gd name="T18" fmla="*/ 82 w 145"/>
              <a:gd name="T19" fmla="*/ 116 h 146"/>
              <a:gd name="T20" fmla="*/ 103 w 145"/>
              <a:gd name="T21" fmla="*/ 110 h 146"/>
              <a:gd name="T22" fmla="*/ 117 w 145"/>
              <a:gd name="T23" fmla="*/ 92 h 146"/>
              <a:gd name="T24" fmla="*/ 122 w 145"/>
              <a:gd name="T25" fmla="*/ 66 h 146"/>
              <a:gd name="T26" fmla="*/ 116 w 145"/>
              <a:gd name="T27" fmla="*/ 46 h 146"/>
              <a:gd name="T28" fmla="*/ 100 w 145"/>
              <a:gd name="T29" fmla="*/ 31 h 146"/>
              <a:gd name="T30" fmla="*/ 76 w 145"/>
              <a:gd name="T31" fmla="*/ 25 h 146"/>
              <a:gd name="T32" fmla="*/ 57 w 145"/>
              <a:gd name="T33" fmla="*/ 27 h 146"/>
              <a:gd name="T34" fmla="*/ 42 w 145"/>
              <a:gd name="T35" fmla="*/ 35 h 146"/>
              <a:gd name="T36" fmla="*/ 32 w 145"/>
              <a:gd name="T37" fmla="*/ 45 h 146"/>
              <a:gd name="T38" fmla="*/ 26 w 145"/>
              <a:gd name="T39" fmla="*/ 57 h 146"/>
              <a:gd name="T40" fmla="*/ 24 w 145"/>
              <a:gd name="T41" fmla="*/ 70 h 146"/>
              <a:gd name="T42" fmla="*/ 28 w 145"/>
              <a:gd name="T43" fmla="*/ 87 h 146"/>
              <a:gd name="T44" fmla="*/ 39 w 145"/>
              <a:gd name="T45" fmla="*/ 98 h 146"/>
              <a:gd name="T46" fmla="*/ 42 w 145"/>
              <a:gd name="T47" fmla="*/ 96 h 146"/>
              <a:gd name="T48" fmla="*/ 43 w 145"/>
              <a:gd name="T49" fmla="*/ 93 h 146"/>
              <a:gd name="T50" fmla="*/ 44 w 145"/>
              <a:gd name="T51" fmla="*/ 90 h 146"/>
              <a:gd name="T52" fmla="*/ 43 w 145"/>
              <a:gd name="T53" fmla="*/ 86 h 146"/>
              <a:gd name="T54" fmla="*/ 38 w 145"/>
              <a:gd name="T55" fmla="*/ 72 h 146"/>
              <a:gd name="T56" fmla="*/ 48 w 145"/>
              <a:gd name="T57" fmla="*/ 47 h 146"/>
              <a:gd name="T58" fmla="*/ 74 w 145"/>
              <a:gd name="T59" fmla="*/ 37 h 146"/>
              <a:gd name="T60" fmla="*/ 96 w 145"/>
              <a:gd name="T61" fmla="*/ 45 h 146"/>
              <a:gd name="T62" fmla="*/ 104 w 145"/>
              <a:gd name="T63" fmla="*/ 65 h 146"/>
              <a:gd name="T64" fmla="*/ 97 w 145"/>
              <a:gd name="T65" fmla="*/ 92 h 146"/>
              <a:gd name="T66" fmla="*/ 81 w 145"/>
              <a:gd name="T67" fmla="*/ 104 h 146"/>
              <a:gd name="T68" fmla="*/ 71 w 145"/>
              <a:gd name="T69" fmla="*/ 99 h 146"/>
              <a:gd name="T70" fmla="*/ 69 w 145"/>
              <a:gd name="T71" fmla="*/ 90 h 146"/>
              <a:gd name="T72" fmla="*/ 72 w 145"/>
              <a:gd name="T73" fmla="*/ 81 h 146"/>
              <a:gd name="T74" fmla="*/ 75 w 145"/>
              <a:gd name="T75" fmla="*/ 71 h 146"/>
              <a:gd name="T76" fmla="*/ 76 w 145"/>
              <a:gd name="T77" fmla="*/ 64 h 146"/>
              <a:gd name="T78" fmla="*/ 73 w 145"/>
              <a:gd name="T79" fmla="*/ 56 h 146"/>
              <a:gd name="T80" fmla="*/ 66 w 145"/>
              <a:gd name="T81" fmla="*/ 53 h 146"/>
              <a:gd name="T82" fmla="*/ 56 w 145"/>
              <a:gd name="T83" fmla="*/ 58 h 146"/>
              <a:gd name="T84" fmla="*/ 52 w 145"/>
              <a:gd name="T85" fmla="*/ 72 h 146"/>
              <a:gd name="T86" fmla="*/ 54 w 145"/>
              <a:gd name="T87" fmla="*/ 83 h 146"/>
              <a:gd name="T88" fmla="*/ 45 w 145"/>
              <a:gd name="T89" fmla="*/ 123 h 146"/>
              <a:gd name="T90" fmla="*/ 44 w 145"/>
              <a:gd name="T91" fmla="*/ 140 h 146"/>
              <a:gd name="T92" fmla="*/ 12 w 145"/>
              <a:gd name="T93" fmla="*/ 113 h 146"/>
              <a:gd name="T94" fmla="*/ 0 w 145"/>
              <a:gd name="T95" fmla="*/ 73 h 146"/>
              <a:gd name="T96" fmla="*/ 10 w 145"/>
              <a:gd name="T97" fmla="*/ 36 h 146"/>
              <a:gd name="T98" fmla="*/ 36 w 145"/>
              <a:gd name="T99" fmla="*/ 10 h 146"/>
              <a:gd name="T100" fmla="*/ 73 w 145"/>
              <a:gd name="T101" fmla="*/ 0 h 146"/>
              <a:gd name="T102" fmla="*/ 109 w 145"/>
              <a:gd name="T103" fmla="*/ 10 h 146"/>
              <a:gd name="T104" fmla="*/ 136 w 145"/>
              <a:gd name="T10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5" h="146">
                <a:moveTo>
                  <a:pt x="136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6" y="146"/>
                  <a:pt x="59" y="145"/>
                  <a:pt x="52" y="143"/>
                </a:cubicBezTo>
                <a:cubicBezTo>
                  <a:pt x="56" y="137"/>
                  <a:pt x="58" y="132"/>
                  <a:pt x="60" y="127"/>
                </a:cubicBezTo>
                <a:cubicBezTo>
                  <a:pt x="60" y="125"/>
                  <a:pt x="62" y="118"/>
                  <a:pt x="65" y="107"/>
                </a:cubicBezTo>
                <a:cubicBezTo>
                  <a:pt x="66" y="110"/>
                  <a:pt x="68" y="112"/>
                  <a:pt x="72" y="113"/>
                </a:cubicBezTo>
                <a:cubicBezTo>
                  <a:pt x="75" y="115"/>
                  <a:pt x="79" y="116"/>
                  <a:pt x="82" y="116"/>
                </a:cubicBezTo>
                <a:cubicBezTo>
                  <a:pt x="90" y="116"/>
                  <a:pt x="97" y="114"/>
                  <a:pt x="103" y="110"/>
                </a:cubicBezTo>
                <a:cubicBezTo>
                  <a:pt x="109" y="105"/>
                  <a:pt x="113" y="99"/>
                  <a:pt x="117" y="92"/>
                </a:cubicBezTo>
                <a:cubicBezTo>
                  <a:pt x="120" y="84"/>
                  <a:pt x="122" y="76"/>
                  <a:pt x="122" y="66"/>
                </a:cubicBezTo>
                <a:cubicBezTo>
                  <a:pt x="122" y="59"/>
                  <a:pt x="120" y="52"/>
                  <a:pt x="116" y="46"/>
                </a:cubicBezTo>
                <a:cubicBezTo>
                  <a:pt x="112" y="40"/>
                  <a:pt x="107" y="35"/>
                  <a:pt x="100" y="31"/>
                </a:cubicBezTo>
                <a:cubicBezTo>
                  <a:pt x="93" y="27"/>
                  <a:pt x="85" y="25"/>
                  <a:pt x="76" y="25"/>
                </a:cubicBezTo>
                <a:cubicBezTo>
                  <a:pt x="69" y="25"/>
                  <a:pt x="63" y="26"/>
                  <a:pt x="57" y="27"/>
                </a:cubicBezTo>
                <a:cubicBezTo>
                  <a:pt x="51" y="29"/>
                  <a:pt x="46" y="32"/>
                  <a:pt x="42" y="35"/>
                </a:cubicBezTo>
                <a:cubicBezTo>
                  <a:pt x="38" y="38"/>
                  <a:pt x="35" y="41"/>
                  <a:pt x="32" y="45"/>
                </a:cubicBezTo>
                <a:cubicBezTo>
                  <a:pt x="29" y="49"/>
                  <a:pt x="27" y="53"/>
                  <a:pt x="26" y="57"/>
                </a:cubicBezTo>
                <a:cubicBezTo>
                  <a:pt x="24" y="62"/>
                  <a:pt x="24" y="66"/>
                  <a:pt x="24" y="70"/>
                </a:cubicBezTo>
                <a:cubicBezTo>
                  <a:pt x="24" y="77"/>
                  <a:pt x="25" y="82"/>
                  <a:pt x="28" y="87"/>
                </a:cubicBezTo>
                <a:cubicBezTo>
                  <a:pt x="30" y="92"/>
                  <a:pt x="34" y="96"/>
                  <a:pt x="39" y="98"/>
                </a:cubicBezTo>
                <a:cubicBezTo>
                  <a:pt x="40" y="99"/>
                  <a:pt x="42" y="98"/>
                  <a:pt x="42" y="96"/>
                </a:cubicBezTo>
                <a:cubicBezTo>
                  <a:pt x="42" y="96"/>
                  <a:pt x="43" y="95"/>
                  <a:pt x="43" y="93"/>
                </a:cubicBezTo>
                <a:cubicBezTo>
                  <a:pt x="43" y="92"/>
                  <a:pt x="44" y="91"/>
                  <a:pt x="44" y="90"/>
                </a:cubicBezTo>
                <a:cubicBezTo>
                  <a:pt x="44" y="89"/>
                  <a:pt x="44" y="87"/>
                  <a:pt x="43" y="86"/>
                </a:cubicBezTo>
                <a:cubicBezTo>
                  <a:pt x="39" y="82"/>
                  <a:pt x="38" y="78"/>
                  <a:pt x="38" y="72"/>
                </a:cubicBezTo>
                <a:cubicBezTo>
                  <a:pt x="38" y="62"/>
                  <a:pt x="41" y="54"/>
                  <a:pt x="48" y="47"/>
                </a:cubicBezTo>
                <a:cubicBezTo>
                  <a:pt x="54" y="41"/>
                  <a:pt x="63" y="37"/>
                  <a:pt x="74" y="37"/>
                </a:cubicBezTo>
                <a:cubicBezTo>
                  <a:pt x="83" y="37"/>
                  <a:pt x="91" y="40"/>
                  <a:pt x="96" y="45"/>
                </a:cubicBezTo>
                <a:cubicBezTo>
                  <a:pt x="101" y="50"/>
                  <a:pt x="104" y="57"/>
                  <a:pt x="104" y="65"/>
                </a:cubicBezTo>
                <a:cubicBezTo>
                  <a:pt x="104" y="76"/>
                  <a:pt x="102" y="85"/>
                  <a:pt x="97" y="92"/>
                </a:cubicBezTo>
                <a:cubicBezTo>
                  <a:pt x="93" y="100"/>
                  <a:pt x="87" y="104"/>
                  <a:pt x="81" y="104"/>
                </a:cubicBezTo>
                <a:cubicBezTo>
                  <a:pt x="77" y="104"/>
                  <a:pt x="74" y="102"/>
                  <a:pt x="71" y="99"/>
                </a:cubicBezTo>
                <a:cubicBezTo>
                  <a:pt x="69" y="97"/>
                  <a:pt x="68" y="93"/>
                  <a:pt x="69" y="90"/>
                </a:cubicBezTo>
                <a:cubicBezTo>
                  <a:pt x="70" y="87"/>
                  <a:pt x="71" y="84"/>
                  <a:pt x="72" y="81"/>
                </a:cubicBezTo>
                <a:cubicBezTo>
                  <a:pt x="73" y="77"/>
                  <a:pt x="74" y="74"/>
                  <a:pt x="75" y="71"/>
                </a:cubicBezTo>
                <a:cubicBezTo>
                  <a:pt x="75" y="68"/>
                  <a:pt x="76" y="66"/>
                  <a:pt x="76" y="64"/>
                </a:cubicBezTo>
                <a:cubicBezTo>
                  <a:pt x="76" y="61"/>
                  <a:pt x="75" y="58"/>
                  <a:pt x="73" y="56"/>
                </a:cubicBezTo>
                <a:cubicBezTo>
                  <a:pt x="71" y="54"/>
                  <a:pt x="69" y="53"/>
                  <a:pt x="66" y="53"/>
                </a:cubicBezTo>
                <a:cubicBezTo>
                  <a:pt x="62" y="53"/>
                  <a:pt x="59" y="55"/>
                  <a:pt x="56" y="58"/>
                </a:cubicBezTo>
                <a:cubicBezTo>
                  <a:pt x="53" y="62"/>
                  <a:pt x="52" y="66"/>
                  <a:pt x="52" y="72"/>
                </a:cubicBezTo>
                <a:cubicBezTo>
                  <a:pt x="52" y="76"/>
                  <a:pt x="53" y="80"/>
                  <a:pt x="54" y="83"/>
                </a:cubicBezTo>
                <a:cubicBezTo>
                  <a:pt x="45" y="123"/>
                  <a:pt x="45" y="123"/>
                  <a:pt x="45" y="123"/>
                </a:cubicBezTo>
                <a:cubicBezTo>
                  <a:pt x="44" y="127"/>
                  <a:pt x="43" y="133"/>
                  <a:pt x="44" y="140"/>
                </a:cubicBezTo>
                <a:cubicBezTo>
                  <a:pt x="31" y="134"/>
                  <a:pt x="20" y="125"/>
                  <a:pt x="12" y="113"/>
                </a:cubicBezTo>
                <a:cubicBezTo>
                  <a:pt x="4" y="101"/>
                  <a:pt x="0" y="88"/>
                  <a:pt x="0" y="73"/>
                </a:cubicBezTo>
                <a:cubicBezTo>
                  <a:pt x="0" y="60"/>
                  <a:pt x="3" y="48"/>
                  <a:pt x="10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0" name="Freeform 190"/>
          <p:cNvSpPr>
            <a:spLocks noChangeAspect="1"/>
          </p:cNvSpPr>
          <p:nvPr/>
        </p:nvSpPr>
        <p:spPr bwMode="auto">
          <a:xfrm>
            <a:off x="7116918" y="2795218"/>
            <a:ext cx="149885" cy="151447"/>
          </a:xfrm>
          <a:custGeom>
            <a:avLst/>
            <a:gdLst>
              <a:gd name="T0" fmla="*/ 118 w 145"/>
              <a:gd name="T1" fmla="*/ 0 h 146"/>
              <a:gd name="T2" fmla="*/ 137 w 145"/>
              <a:gd name="T3" fmla="*/ 8 h 146"/>
              <a:gd name="T4" fmla="*/ 145 w 145"/>
              <a:gd name="T5" fmla="*/ 28 h 146"/>
              <a:gd name="T6" fmla="*/ 145 w 145"/>
              <a:gd name="T7" fmla="*/ 118 h 146"/>
              <a:gd name="T8" fmla="*/ 137 w 145"/>
              <a:gd name="T9" fmla="*/ 138 h 146"/>
              <a:gd name="T10" fmla="*/ 118 w 145"/>
              <a:gd name="T11" fmla="*/ 146 h 146"/>
              <a:gd name="T12" fmla="*/ 50 w 145"/>
              <a:gd name="T13" fmla="*/ 146 h 146"/>
              <a:gd name="T14" fmla="*/ 60 w 145"/>
              <a:gd name="T15" fmla="*/ 126 h 146"/>
              <a:gd name="T16" fmla="*/ 65 w 145"/>
              <a:gd name="T17" fmla="*/ 106 h 146"/>
              <a:gd name="T18" fmla="*/ 72 w 145"/>
              <a:gd name="T19" fmla="*/ 112 h 146"/>
              <a:gd name="T20" fmla="*/ 82 w 145"/>
              <a:gd name="T21" fmla="*/ 115 h 146"/>
              <a:gd name="T22" fmla="*/ 110 w 145"/>
              <a:gd name="T23" fmla="*/ 101 h 146"/>
              <a:gd name="T24" fmla="*/ 121 w 145"/>
              <a:gd name="T25" fmla="*/ 66 h 146"/>
              <a:gd name="T26" fmla="*/ 118 w 145"/>
              <a:gd name="T27" fmla="*/ 50 h 146"/>
              <a:gd name="T28" fmla="*/ 109 w 145"/>
              <a:gd name="T29" fmla="*/ 37 h 146"/>
              <a:gd name="T30" fmla="*/ 94 w 145"/>
              <a:gd name="T31" fmla="*/ 28 h 146"/>
              <a:gd name="T32" fmla="*/ 76 w 145"/>
              <a:gd name="T33" fmla="*/ 25 h 146"/>
              <a:gd name="T34" fmla="*/ 57 w 145"/>
              <a:gd name="T35" fmla="*/ 27 h 146"/>
              <a:gd name="T36" fmla="*/ 43 w 145"/>
              <a:gd name="T37" fmla="*/ 34 h 146"/>
              <a:gd name="T38" fmla="*/ 33 w 145"/>
              <a:gd name="T39" fmla="*/ 45 h 146"/>
              <a:gd name="T40" fmla="*/ 26 w 145"/>
              <a:gd name="T41" fmla="*/ 57 h 146"/>
              <a:gd name="T42" fmla="*/ 24 w 145"/>
              <a:gd name="T43" fmla="*/ 69 h 146"/>
              <a:gd name="T44" fmla="*/ 28 w 145"/>
              <a:gd name="T45" fmla="*/ 86 h 146"/>
              <a:gd name="T46" fmla="*/ 39 w 145"/>
              <a:gd name="T47" fmla="*/ 97 h 146"/>
              <a:gd name="T48" fmla="*/ 41 w 145"/>
              <a:gd name="T49" fmla="*/ 97 h 146"/>
              <a:gd name="T50" fmla="*/ 43 w 145"/>
              <a:gd name="T51" fmla="*/ 95 h 146"/>
              <a:gd name="T52" fmla="*/ 44 w 145"/>
              <a:gd name="T53" fmla="*/ 89 h 146"/>
              <a:gd name="T54" fmla="*/ 43 w 145"/>
              <a:gd name="T55" fmla="*/ 85 h 146"/>
              <a:gd name="T56" fmla="*/ 38 w 145"/>
              <a:gd name="T57" fmla="*/ 71 h 146"/>
              <a:gd name="T58" fmla="*/ 48 w 145"/>
              <a:gd name="T59" fmla="*/ 47 h 146"/>
              <a:gd name="T60" fmla="*/ 74 w 145"/>
              <a:gd name="T61" fmla="*/ 37 h 146"/>
              <a:gd name="T62" fmla="*/ 96 w 145"/>
              <a:gd name="T63" fmla="*/ 44 h 146"/>
              <a:gd name="T64" fmla="*/ 104 w 145"/>
              <a:gd name="T65" fmla="*/ 64 h 146"/>
              <a:gd name="T66" fmla="*/ 97 w 145"/>
              <a:gd name="T67" fmla="*/ 91 h 146"/>
              <a:gd name="T68" fmla="*/ 81 w 145"/>
              <a:gd name="T69" fmla="*/ 103 h 146"/>
              <a:gd name="T70" fmla="*/ 72 w 145"/>
              <a:gd name="T71" fmla="*/ 98 h 146"/>
              <a:gd name="T72" fmla="*/ 70 w 145"/>
              <a:gd name="T73" fmla="*/ 89 h 146"/>
              <a:gd name="T74" fmla="*/ 72 w 145"/>
              <a:gd name="T75" fmla="*/ 80 h 146"/>
              <a:gd name="T76" fmla="*/ 75 w 145"/>
              <a:gd name="T77" fmla="*/ 70 h 146"/>
              <a:gd name="T78" fmla="*/ 76 w 145"/>
              <a:gd name="T79" fmla="*/ 63 h 146"/>
              <a:gd name="T80" fmla="*/ 73 w 145"/>
              <a:gd name="T81" fmla="*/ 55 h 146"/>
              <a:gd name="T82" fmla="*/ 66 w 145"/>
              <a:gd name="T83" fmla="*/ 52 h 146"/>
              <a:gd name="T84" fmla="*/ 56 w 145"/>
              <a:gd name="T85" fmla="*/ 58 h 146"/>
              <a:gd name="T86" fmla="*/ 52 w 145"/>
              <a:gd name="T87" fmla="*/ 71 h 146"/>
              <a:gd name="T88" fmla="*/ 55 w 145"/>
              <a:gd name="T89" fmla="*/ 82 h 146"/>
              <a:gd name="T90" fmla="*/ 45 w 145"/>
              <a:gd name="T91" fmla="*/ 122 h 146"/>
              <a:gd name="T92" fmla="*/ 45 w 145"/>
              <a:gd name="T93" fmla="*/ 146 h 146"/>
              <a:gd name="T94" fmla="*/ 27 w 145"/>
              <a:gd name="T95" fmla="*/ 146 h 146"/>
              <a:gd name="T96" fmla="*/ 8 w 145"/>
              <a:gd name="T97" fmla="*/ 138 h 146"/>
              <a:gd name="T98" fmla="*/ 0 w 145"/>
              <a:gd name="T99" fmla="*/ 118 h 146"/>
              <a:gd name="T100" fmla="*/ 0 w 145"/>
              <a:gd name="T101" fmla="*/ 28 h 146"/>
              <a:gd name="T102" fmla="*/ 8 w 145"/>
              <a:gd name="T103" fmla="*/ 8 h 146"/>
              <a:gd name="T104" fmla="*/ 27 w 145"/>
              <a:gd name="T105" fmla="*/ 0 h 146"/>
              <a:gd name="T106" fmla="*/ 118 w 145"/>
              <a:gd name="T107" fmla="*/ 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5" h="146">
                <a:moveTo>
                  <a:pt x="118" y="0"/>
                </a:move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50" y="146"/>
                  <a:pt x="50" y="146"/>
                  <a:pt x="50" y="146"/>
                </a:cubicBezTo>
                <a:cubicBezTo>
                  <a:pt x="55" y="138"/>
                  <a:pt x="58" y="131"/>
                  <a:pt x="60" y="126"/>
                </a:cubicBezTo>
                <a:cubicBezTo>
                  <a:pt x="60" y="124"/>
                  <a:pt x="62" y="117"/>
                  <a:pt x="65" y="106"/>
                </a:cubicBezTo>
                <a:cubicBezTo>
                  <a:pt x="66" y="108"/>
                  <a:pt x="69" y="111"/>
                  <a:pt x="72" y="112"/>
                </a:cubicBezTo>
                <a:cubicBezTo>
                  <a:pt x="75" y="114"/>
                  <a:pt x="79" y="115"/>
                  <a:pt x="82" y="115"/>
                </a:cubicBezTo>
                <a:cubicBezTo>
                  <a:pt x="94" y="115"/>
                  <a:pt x="103" y="110"/>
                  <a:pt x="110" y="101"/>
                </a:cubicBezTo>
                <a:cubicBezTo>
                  <a:pt x="118" y="92"/>
                  <a:pt x="121" y="80"/>
                  <a:pt x="121" y="66"/>
                </a:cubicBezTo>
                <a:cubicBezTo>
                  <a:pt x="121" y="60"/>
                  <a:pt x="120" y="55"/>
                  <a:pt x="118" y="50"/>
                </a:cubicBezTo>
                <a:cubicBezTo>
                  <a:pt x="116" y="45"/>
                  <a:pt x="113" y="41"/>
                  <a:pt x="109" y="37"/>
                </a:cubicBezTo>
                <a:cubicBezTo>
                  <a:pt x="105" y="33"/>
                  <a:pt x="100" y="30"/>
                  <a:pt x="94" y="28"/>
                </a:cubicBezTo>
                <a:cubicBezTo>
                  <a:pt x="89" y="26"/>
                  <a:pt x="82" y="25"/>
                  <a:pt x="76" y="25"/>
                </a:cubicBezTo>
                <a:cubicBezTo>
                  <a:pt x="69" y="25"/>
                  <a:pt x="63" y="25"/>
                  <a:pt x="57" y="27"/>
                </a:cubicBezTo>
                <a:cubicBezTo>
                  <a:pt x="52" y="29"/>
                  <a:pt x="47" y="31"/>
                  <a:pt x="43" y="34"/>
                </a:cubicBezTo>
                <a:cubicBezTo>
                  <a:pt x="39" y="37"/>
                  <a:pt x="36" y="41"/>
                  <a:pt x="33" y="45"/>
                </a:cubicBezTo>
                <a:cubicBezTo>
                  <a:pt x="30" y="49"/>
                  <a:pt x="28" y="53"/>
                  <a:pt x="26" y="57"/>
                </a:cubicBezTo>
                <a:cubicBezTo>
                  <a:pt x="25" y="61"/>
                  <a:pt x="24" y="65"/>
                  <a:pt x="24" y="69"/>
                </a:cubicBezTo>
                <a:cubicBezTo>
                  <a:pt x="24" y="76"/>
                  <a:pt x="26" y="82"/>
                  <a:pt x="28" y="86"/>
                </a:cubicBezTo>
                <a:cubicBezTo>
                  <a:pt x="31" y="91"/>
                  <a:pt x="34" y="95"/>
                  <a:pt x="39" y="97"/>
                </a:cubicBezTo>
                <a:cubicBezTo>
                  <a:pt x="40" y="97"/>
                  <a:pt x="41" y="97"/>
                  <a:pt x="41" y="97"/>
                </a:cubicBezTo>
                <a:cubicBezTo>
                  <a:pt x="42" y="97"/>
                  <a:pt x="43" y="96"/>
                  <a:pt x="43" y="95"/>
                </a:cubicBezTo>
                <a:cubicBezTo>
                  <a:pt x="43" y="92"/>
                  <a:pt x="44" y="90"/>
                  <a:pt x="44" y="89"/>
                </a:cubicBezTo>
                <a:cubicBezTo>
                  <a:pt x="45" y="88"/>
                  <a:pt x="44" y="87"/>
                  <a:pt x="43" y="85"/>
                </a:cubicBezTo>
                <a:cubicBezTo>
                  <a:pt x="40" y="81"/>
                  <a:pt x="38" y="77"/>
                  <a:pt x="38" y="71"/>
                </a:cubicBezTo>
                <a:cubicBezTo>
                  <a:pt x="38" y="62"/>
                  <a:pt x="42" y="54"/>
                  <a:pt x="48" y="47"/>
                </a:cubicBezTo>
                <a:cubicBezTo>
                  <a:pt x="55" y="40"/>
                  <a:pt x="63" y="37"/>
                  <a:pt x="74" y="37"/>
                </a:cubicBezTo>
                <a:cubicBezTo>
                  <a:pt x="83" y="37"/>
                  <a:pt x="90" y="39"/>
                  <a:pt x="96" y="44"/>
                </a:cubicBezTo>
                <a:cubicBezTo>
                  <a:pt x="101" y="50"/>
                  <a:pt x="104" y="56"/>
                  <a:pt x="104" y="64"/>
                </a:cubicBezTo>
                <a:cubicBezTo>
                  <a:pt x="104" y="75"/>
                  <a:pt x="102" y="84"/>
                  <a:pt x="97" y="91"/>
                </a:cubicBezTo>
                <a:cubicBezTo>
                  <a:pt x="93" y="99"/>
                  <a:pt x="88" y="103"/>
                  <a:pt x="81" y="103"/>
                </a:cubicBezTo>
                <a:cubicBezTo>
                  <a:pt x="77" y="103"/>
                  <a:pt x="74" y="101"/>
                  <a:pt x="72" y="98"/>
                </a:cubicBezTo>
                <a:cubicBezTo>
                  <a:pt x="69" y="96"/>
                  <a:pt x="69" y="92"/>
                  <a:pt x="70" y="89"/>
                </a:cubicBezTo>
                <a:cubicBezTo>
                  <a:pt x="70" y="86"/>
                  <a:pt x="71" y="84"/>
                  <a:pt x="72" y="80"/>
                </a:cubicBezTo>
                <a:cubicBezTo>
                  <a:pt x="73" y="76"/>
                  <a:pt x="74" y="73"/>
                  <a:pt x="75" y="70"/>
                </a:cubicBezTo>
                <a:cubicBezTo>
                  <a:pt x="76" y="68"/>
                  <a:pt x="76" y="65"/>
                  <a:pt x="76" y="63"/>
                </a:cubicBezTo>
                <a:cubicBezTo>
                  <a:pt x="76" y="60"/>
                  <a:pt x="75" y="58"/>
                  <a:pt x="73" y="55"/>
                </a:cubicBezTo>
                <a:cubicBezTo>
                  <a:pt x="72" y="53"/>
                  <a:pt x="69" y="52"/>
                  <a:pt x="66" y="52"/>
                </a:cubicBezTo>
                <a:cubicBezTo>
                  <a:pt x="62" y="52"/>
                  <a:pt x="59" y="54"/>
                  <a:pt x="56" y="58"/>
                </a:cubicBezTo>
                <a:cubicBezTo>
                  <a:pt x="54" y="61"/>
                  <a:pt x="52" y="66"/>
                  <a:pt x="52" y="71"/>
                </a:cubicBezTo>
                <a:cubicBezTo>
                  <a:pt x="52" y="75"/>
                  <a:pt x="53" y="79"/>
                  <a:pt x="55" y="82"/>
                </a:cubicBezTo>
                <a:cubicBezTo>
                  <a:pt x="45" y="122"/>
                  <a:pt x="45" y="122"/>
                  <a:pt x="45" y="122"/>
                </a:cubicBezTo>
                <a:cubicBezTo>
                  <a:pt x="44" y="128"/>
                  <a:pt x="44" y="136"/>
                  <a:pt x="45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7" y="0"/>
                </a:cubicBezTo>
                <a:lnTo>
                  <a:pt x="11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1" name="Freeform 191"/>
          <p:cNvSpPr>
            <a:spLocks noChangeAspect="1" noEditPoints="1"/>
          </p:cNvSpPr>
          <p:nvPr/>
        </p:nvSpPr>
        <p:spPr bwMode="auto">
          <a:xfrm>
            <a:off x="7312081" y="2782727"/>
            <a:ext cx="156131" cy="163937"/>
          </a:xfrm>
          <a:custGeom>
            <a:avLst/>
            <a:gdLst>
              <a:gd name="T0" fmla="*/ 70 w 150"/>
              <a:gd name="T1" fmla="*/ 82 h 158"/>
              <a:gd name="T2" fmla="*/ 86 w 150"/>
              <a:gd name="T3" fmla="*/ 96 h 158"/>
              <a:gd name="T4" fmla="*/ 96 w 150"/>
              <a:gd name="T5" fmla="*/ 119 h 158"/>
              <a:gd name="T6" fmla="*/ 71 w 150"/>
              <a:gd name="T7" fmla="*/ 152 h 158"/>
              <a:gd name="T8" fmla="*/ 20 w 150"/>
              <a:gd name="T9" fmla="*/ 154 h 158"/>
              <a:gd name="T10" fmla="*/ 0 w 150"/>
              <a:gd name="T11" fmla="*/ 128 h 158"/>
              <a:gd name="T12" fmla="*/ 16 w 150"/>
              <a:gd name="T13" fmla="*/ 103 h 158"/>
              <a:gd name="T14" fmla="*/ 49 w 150"/>
              <a:gd name="T15" fmla="*/ 87 h 158"/>
              <a:gd name="T16" fmla="*/ 50 w 150"/>
              <a:gd name="T17" fmla="*/ 72 h 158"/>
              <a:gd name="T18" fmla="*/ 20 w 150"/>
              <a:gd name="T19" fmla="*/ 63 h 158"/>
              <a:gd name="T20" fmla="*/ 14 w 150"/>
              <a:gd name="T21" fmla="*/ 25 h 158"/>
              <a:gd name="T22" fmla="*/ 40 w 150"/>
              <a:gd name="T23" fmla="*/ 3 h 158"/>
              <a:gd name="T24" fmla="*/ 100 w 150"/>
              <a:gd name="T25" fmla="*/ 0 h 158"/>
              <a:gd name="T26" fmla="*/ 75 w 150"/>
              <a:gd name="T27" fmla="*/ 9 h 158"/>
              <a:gd name="T28" fmla="*/ 89 w 150"/>
              <a:gd name="T29" fmla="*/ 36 h 158"/>
              <a:gd name="T30" fmla="*/ 81 w 150"/>
              <a:gd name="T31" fmla="*/ 57 h 158"/>
              <a:gd name="T32" fmla="*/ 69 w 150"/>
              <a:gd name="T33" fmla="*/ 69 h 158"/>
              <a:gd name="T34" fmla="*/ 53 w 150"/>
              <a:gd name="T35" fmla="*/ 149 h 158"/>
              <a:gd name="T36" fmla="*/ 73 w 150"/>
              <a:gd name="T37" fmla="*/ 144 h 158"/>
              <a:gd name="T38" fmla="*/ 83 w 150"/>
              <a:gd name="T39" fmla="*/ 127 h 158"/>
              <a:gd name="T40" fmla="*/ 80 w 150"/>
              <a:gd name="T41" fmla="*/ 118 h 158"/>
              <a:gd name="T42" fmla="*/ 75 w 150"/>
              <a:gd name="T43" fmla="*/ 111 h 158"/>
              <a:gd name="T44" fmla="*/ 68 w 150"/>
              <a:gd name="T45" fmla="*/ 105 h 158"/>
              <a:gd name="T46" fmla="*/ 61 w 150"/>
              <a:gd name="T47" fmla="*/ 100 h 158"/>
              <a:gd name="T48" fmla="*/ 46 w 150"/>
              <a:gd name="T49" fmla="*/ 100 h 158"/>
              <a:gd name="T50" fmla="*/ 27 w 150"/>
              <a:gd name="T51" fmla="*/ 107 h 158"/>
              <a:gd name="T52" fmla="*/ 18 w 150"/>
              <a:gd name="T53" fmla="*/ 124 h 158"/>
              <a:gd name="T54" fmla="*/ 30 w 150"/>
              <a:gd name="T55" fmla="*/ 143 h 158"/>
              <a:gd name="T56" fmla="*/ 53 w 150"/>
              <a:gd name="T57" fmla="*/ 149 h 158"/>
              <a:gd name="T58" fmla="*/ 60 w 150"/>
              <a:gd name="T59" fmla="*/ 65 h 158"/>
              <a:gd name="T60" fmla="*/ 72 w 150"/>
              <a:gd name="T61" fmla="*/ 46 h 158"/>
              <a:gd name="T62" fmla="*/ 65 w 150"/>
              <a:gd name="T63" fmla="*/ 22 h 158"/>
              <a:gd name="T64" fmla="*/ 46 w 150"/>
              <a:gd name="T65" fmla="*/ 8 h 158"/>
              <a:gd name="T66" fmla="*/ 32 w 150"/>
              <a:gd name="T67" fmla="*/ 15 h 158"/>
              <a:gd name="T68" fmla="*/ 29 w 150"/>
              <a:gd name="T69" fmla="*/ 39 h 158"/>
              <a:gd name="T70" fmla="*/ 37 w 150"/>
              <a:gd name="T71" fmla="*/ 58 h 158"/>
              <a:gd name="T72" fmla="*/ 53 w 150"/>
              <a:gd name="T73" fmla="*/ 66 h 158"/>
              <a:gd name="T74" fmla="*/ 150 w 150"/>
              <a:gd name="T75" fmla="*/ 66 h 158"/>
              <a:gd name="T76" fmla="*/ 130 w 150"/>
              <a:gd name="T77" fmla="*/ 76 h 158"/>
              <a:gd name="T78" fmla="*/ 120 w 150"/>
              <a:gd name="T79" fmla="*/ 97 h 158"/>
              <a:gd name="T80" fmla="*/ 100 w 150"/>
              <a:gd name="T81" fmla="*/ 76 h 158"/>
              <a:gd name="T82" fmla="*/ 120 w 150"/>
              <a:gd name="T83" fmla="*/ 66 h 158"/>
              <a:gd name="T84" fmla="*/ 130 w 150"/>
              <a:gd name="T85" fmla="*/ 4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0" h="158">
                <a:moveTo>
                  <a:pt x="67" y="75"/>
                </a:moveTo>
                <a:cubicBezTo>
                  <a:pt x="67" y="78"/>
                  <a:pt x="68" y="80"/>
                  <a:pt x="70" y="82"/>
                </a:cubicBezTo>
                <a:cubicBezTo>
                  <a:pt x="72" y="84"/>
                  <a:pt x="74" y="86"/>
                  <a:pt x="77" y="89"/>
                </a:cubicBezTo>
                <a:cubicBezTo>
                  <a:pt x="80" y="91"/>
                  <a:pt x="83" y="93"/>
                  <a:pt x="86" y="96"/>
                </a:cubicBezTo>
                <a:cubicBezTo>
                  <a:pt x="88" y="98"/>
                  <a:pt x="91" y="101"/>
                  <a:pt x="93" y="105"/>
                </a:cubicBezTo>
                <a:cubicBezTo>
                  <a:pt x="95" y="109"/>
                  <a:pt x="96" y="114"/>
                  <a:pt x="96" y="119"/>
                </a:cubicBezTo>
                <a:cubicBezTo>
                  <a:pt x="96" y="124"/>
                  <a:pt x="94" y="130"/>
                  <a:pt x="91" y="135"/>
                </a:cubicBezTo>
                <a:cubicBezTo>
                  <a:pt x="87" y="143"/>
                  <a:pt x="80" y="148"/>
                  <a:pt x="71" y="152"/>
                </a:cubicBezTo>
                <a:cubicBezTo>
                  <a:pt x="63" y="156"/>
                  <a:pt x="53" y="158"/>
                  <a:pt x="43" y="158"/>
                </a:cubicBezTo>
                <a:cubicBezTo>
                  <a:pt x="35" y="158"/>
                  <a:pt x="27" y="156"/>
                  <a:pt x="20" y="154"/>
                </a:cubicBezTo>
                <a:cubicBezTo>
                  <a:pt x="13" y="151"/>
                  <a:pt x="7" y="147"/>
                  <a:pt x="4" y="141"/>
                </a:cubicBezTo>
                <a:cubicBezTo>
                  <a:pt x="1" y="137"/>
                  <a:pt x="0" y="133"/>
                  <a:pt x="0" y="128"/>
                </a:cubicBezTo>
                <a:cubicBezTo>
                  <a:pt x="0" y="123"/>
                  <a:pt x="2" y="118"/>
                  <a:pt x="4" y="114"/>
                </a:cubicBezTo>
                <a:cubicBezTo>
                  <a:pt x="7" y="110"/>
                  <a:pt x="11" y="106"/>
                  <a:pt x="16" y="103"/>
                </a:cubicBezTo>
                <a:cubicBezTo>
                  <a:pt x="24" y="98"/>
                  <a:pt x="37" y="95"/>
                  <a:pt x="54" y="94"/>
                </a:cubicBezTo>
                <a:cubicBezTo>
                  <a:pt x="52" y="91"/>
                  <a:pt x="50" y="89"/>
                  <a:pt x="49" y="87"/>
                </a:cubicBezTo>
                <a:cubicBezTo>
                  <a:pt x="48" y="85"/>
                  <a:pt x="48" y="82"/>
                  <a:pt x="48" y="80"/>
                </a:cubicBezTo>
                <a:cubicBezTo>
                  <a:pt x="48" y="78"/>
                  <a:pt x="49" y="75"/>
                  <a:pt x="50" y="72"/>
                </a:cubicBezTo>
                <a:cubicBezTo>
                  <a:pt x="47" y="72"/>
                  <a:pt x="45" y="72"/>
                  <a:pt x="43" y="72"/>
                </a:cubicBezTo>
                <a:cubicBezTo>
                  <a:pt x="34" y="72"/>
                  <a:pt x="26" y="69"/>
                  <a:pt x="20" y="63"/>
                </a:cubicBezTo>
                <a:cubicBezTo>
                  <a:pt x="13" y="57"/>
                  <a:pt x="10" y="49"/>
                  <a:pt x="10" y="40"/>
                </a:cubicBezTo>
                <a:cubicBezTo>
                  <a:pt x="10" y="35"/>
                  <a:pt x="11" y="30"/>
                  <a:pt x="14" y="25"/>
                </a:cubicBezTo>
                <a:cubicBezTo>
                  <a:pt x="16" y="20"/>
                  <a:pt x="19" y="16"/>
                  <a:pt x="23" y="13"/>
                </a:cubicBezTo>
                <a:cubicBezTo>
                  <a:pt x="28" y="8"/>
                  <a:pt x="34" y="5"/>
                  <a:pt x="40" y="3"/>
                </a:cubicBezTo>
                <a:cubicBezTo>
                  <a:pt x="47" y="1"/>
                  <a:pt x="54" y="0"/>
                  <a:pt x="61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87" y="9"/>
                  <a:pt x="87" y="9"/>
                  <a:pt x="87" y="9"/>
                </a:cubicBezTo>
                <a:cubicBezTo>
                  <a:pt x="75" y="9"/>
                  <a:pt x="75" y="9"/>
                  <a:pt x="75" y="9"/>
                </a:cubicBezTo>
                <a:cubicBezTo>
                  <a:pt x="80" y="13"/>
                  <a:pt x="83" y="17"/>
                  <a:pt x="86" y="21"/>
                </a:cubicBezTo>
                <a:cubicBezTo>
                  <a:pt x="88" y="26"/>
                  <a:pt x="89" y="31"/>
                  <a:pt x="89" y="36"/>
                </a:cubicBezTo>
                <a:cubicBezTo>
                  <a:pt x="89" y="41"/>
                  <a:pt x="88" y="45"/>
                  <a:pt x="87" y="48"/>
                </a:cubicBezTo>
                <a:cubicBezTo>
                  <a:pt x="85" y="52"/>
                  <a:pt x="83" y="55"/>
                  <a:pt x="81" y="57"/>
                </a:cubicBezTo>
                <a:cubicBezTo>
                  <a:pt x="79" y="60"/>
                  <a:pt x="77" y="62"/>
                  <a:pt x="75" y="63"/>
                </a:cubicBezTo>
                <a:cubicBezTo>
                  <a:pt x="72" y="65"/>
                  <a:pt x="71" y="67"/>
                  <a:pt x="69" y="69"/>
                </a:cubicBezTo>
                <a:cubicBezTo>
                  <a:pt x="67" y="71"/>
                  <a:pt x="67" y="73"/>
                  <a:pt x="67" y="75"/>
                </a:cubicBezTo>
                <a:close/>
                <a:moveTo>
                  <a:pt x="53" y="149"/>
                </a:moveTo>
                <a:cubicBezTo>
                  <a:pt x="57" y="149"/>
                  <a:pt x="60" y="149"/>
                  <a:pt x="64" y="148"/>
                </a:cubicBezTo>
                <a:cubicBezTo>
                  <a:pt x="67" y="147"/>
                  <a:pt x="70" y="146"/>
                  <a:pt x="73" y="144"/>
                </a:cubicBezTo>
                <a:cubicBezTo>
                  <a:pt x="76" y="142"/>
                  <a:pt x="78" y="140"/>
                  <a:pt x="80" y="137"/>
                </a:cubicBezTo>
                <a:cubicBezTo>
                  <a:pt x="82" y="134"/>
                  <a:pt x="83" y="131"/>
                  <a:pt x="83" y="127"/>
                </a:cubicBezTo>
                <a:cubicBezTo>
                  <a:pt x="83" y="125"/>
                  <a:pt x="82" y="124"/>
                  <a:pt x="82" y="122"/>
                </a:cubicBezTo>
                <a:cubicBezTo>
                  <a:pt x="81" y="121"/>
                  <a:pt x="81" y="119"/>
                  <a:pt x="80" y="118"/>
                </a:cubicBezTo>
                <a:cubicBezTo>
                  <a:pt x="80" y="117"/>
                  <a:pt x="79" y="116"/>
                  <a:pt x="78" y="114"/>
                </a:cubicBezTo>
                <a:cubicBezTo>
                  <a:pt x="77" y="113"/>
                  <a:pt x="76" y="112"/>
                  <a:pt x="75" y="111"/>
                </a:cubicBezTo>
                <a:cubicBezTo>
                  <a:pt x="75" y="110"/>
                  <a:pt x="73" y="109"/>
                  <a:pt x="72" y="108"/>
                </a:cubicBezTo>
                <a:cubicBezTo>
                  <a:pt x="70" y="106"/>
                  <a:pt x="69" y="105"/>
                  <a:pt x="68" y="105"/>
                </a:cubicBezTo>
                <a:cubicBezTo>
                  <a:pt x="68" y="105"/>
                  <a:pt x="66" y="104"/>
                  <a:pt x="64" y="102"/>
                </a:cubicBezTo>
                <a:cubicBezTo>
                  <a:pt x="62" y="101"/>
                  <a:pt x="61" y="100"/>
                  <a:pt x="61" y="100"/>
                </a:cubicBezTo>
                <a:cubicBezTo>
                  <a:pt x="60" y="100"/>
                  <a:pt x="58" y="100"/>
                  <a:pt x="56" y="100"/>
                </a:cubicBezTo>
                <a:cubicBezTo>
                  <a:pt x="53" y="100"/>
                  <a:pt x="49" y="100"/>
                  <a:pt x="46" y="100"/>
                </a:cubicBezTo>
                <a:cubicBezTo>
                  <a:pt x="43" y="101"/>
                  <a:pt x="40" y="101"/>
                  <a:pt x="36" y="103"/>
                </a:cubicBezTo>
                <a:cubicBezTo>
                  <a:pt x="33" y="104"/>
                  <a:pt x="29" y="105"/>
                  <a:pt x="27" y="107"/>
                </a:cubicBezTo>
                <a:cubicBezTo>
                  <a:pt x="24" y="109"/>
                  <a:pt x="22" y="111"/>
                  <a:pt x="20" y="114"/>
                </a:cubicBezTo>
                <a:cubicBezTo>
                  <a:pt x="19" y="117"/>
                  <a:pt x="18" y="120"/>
                  <a:pt x="18" y="124"/>
                </a:cubicBezTo>
                <a:cubicBezTo>
                  <a:pt x="18" y="128"/>
                  <a:pt x="19" y="132"/>
                  <a:pt x="21" y="136"/>
                </a:cubicBezTo>
                <a:cubicBezTo>
                  <a:pt x="23" y="139"/>
                  <a:pt x="26" y="142"/>
                  <a:pt x="30" y="143"/>
                </a:cubicBezTo>
                <a:cubicBezTo>
                  <a:pt x="33" y="145"/>
                  <a:pt x="37" y="147"/>
                  <a:pt x="41" y="148"/>
                </a:cubicBezTo>
                <a:cubicBezTo>
                  <a:pt x="45" y="148"/>
                  <a:pt x="49" y="149"/>
                  <a:pt x="53" y="149"/>
                </a:cubicBezTo>
                <a:close/>
                <a:moveTo>
                  <a:pt x="53" y="66"/>
                </a:moveTo>
                <a:cubicBezTo>
                  <a:pt x="55" y="66"/>
                  <a:pt x="58" y="66"/>
                  <a:pt x="60" y="65"/>
                </a:cubicBezTo>
                <a:cubicBezTo>
                  <a:pt x="63" y="64"/>
                  <a:pt x="65" y="62"/>
                  <a:pt x="67" y="61"/>
                </a:cubicBezTo>
                <a:cubicBezTo>
                  <a:pt x="70" y="57"/>
                  <a:pt x="72" y="52"/>
                  <a:pt x="72" y="46"/>
                </a:cubicBezTo>
                <a:cubicBezTo>
                  <a:pt x="72" y="42"/>
                  <a:pt x="71" y="38"/>
                  <a:pt x="70" y="34"/>
                </a:cubicBezTo>
                <a:cubicBezTo>
                  <a:pt x="69" y="30"/>
                  <a:pt x="67" y="26"/>
                  <a:pt x="65" y="22"/>
                </a:cubicBezTo>
                <a:cubicBezTo>
                  <a:pt x="63" y="18"/>
                  <a:pt x="61" y="14"/>
                  <a:pt x="57" y="12"/>
                </a:cubicBezTo>
                <a:cubicBezTo>
                  <a:pt x="54" y="9"/>
                  <a:pt x="50" y="8"/>
                  <a:pt x="46" y="8"/>
                </a:cubicBezTo>
                <a:cubicBezTo>
                  <a:pt x="44" y="8"/>
                  <a:pt x="41" y="9"/>
                  <a:pt x="39" y="10"/>
                </a:cubicBezTo>
                <a:cubicBezTo>
                  <a:pt x="36" y="11"/>
                  <a:pt x="34" y="13"/>
                  <a:pt x="32" y="15"/>
                </a:cubicBezTo>
                <a:cubicBezTo>
                  <a:pt x="29" y="19"/>
                  <a:pt x="28" y="24"/>
                  <a:pt x="28" y="30"/>
                </a:cubicBezTo>
                <a:cubicBezTo>
                  <a:pt x="28" y="33"/>
                  <a:pt x="28" y="36"/>
                  <a:pt x="29" y="39"/>
                </a:cubicBezTo>
                <a:cubicBezTo>
                  <a:pt x="29" y="42"/>
                  <a:pt x="30" y="46"/>
                  <a:pt x="32" y="49"/>
                </a:cubicBezTo>
                <a:cubicBezTo>
                  <a:pt x="33" y="52"/>
                  <a:pt x="35" y="55"/>
                  <a:pt x="37" y="58"/>
                </a:cubicBezTo>
                <a:cubicBezTo>
                  <a:pt x="39" y="60"/>
                  <a:pt x="41" y="62"/>
                  <a:pt x="44" y="64"/>
                </a:cubicBezTo>
                <a:cubicBezTo>
                  <a:pt x="47" y="66"/>
                  <a:pt x="50" y="66"/>
                  <a:pt x="53" y="66"/>
                </a:cubicBezTo>
                <a:close/>
                <a:moveTo>
                  <a:pt x="130" y="66"/>
                </a:moveTo>
                <a:cubicBezTo>
                  <a:pt x="150" y="66"/>
                  <a:pt x="150" y="66"/>
                  <a:pt x="150" y="66"/>
                </a:cubicBezTo>
                <a:cubicBezTo>
                  <a:pt x="150" y="76"/>
                  <a:pt x="150" y="76"/>
                  <a:pt x="150" y="76"/>
                </a:cubicBezTo>
                <a:cubicBezTo>
                  <a:pt x="130" y="76"/>
                  <a:pt x="130" y="76"/>
                  <a:pt x="130" y="76"/>
                </a:cubicBezTo>
                <a:cubicBezTo>
                  <a:pt x="130" y="97"/>
                  <a:pt x="130" y="97"/>
                  <a:pt x="130" y="97"/>
                </a:cubicBezTo>
                <a:cubicBezTo>
                  <a:pt x="120" y="97"/>
                  <a:pt x="120" y="97"/>
                  <a:pt x="120" y="97"/>
                </a:cubicBezTo>
                <a:cubicBezTo>
                  <a:pt x="120" y="76"/>
                  <a:pt x="120" y="76"/>
                  <a:pt x="120" y="76"/>
                </a:cubicBezTo>
                <a:cubicBezTo>
                  <a:pt x="100" y="76"/>
                  <a:pt x="100" y="76"/>
                  <a:pt x="100" y="76"/>
                </a:cubicBezTo>
                <a:cubicBezTo>
                  <a:pt x="100" y="66"/>
                  <a:pt x="100" y="66"/>
                  <a:pt x="100" y="66"/>
                </a:cubicBezTo>
                <a:cubicBezTo>
                  <a:pt x="120" y="66"/>
                  <a:pt x="120" y="66"/>
                  <a:pt x="120" y="66"/>
                </a:cubicBezTo>
                <a:cubicBezTo>
                  <a:pt x="120" y="46"/>
                  <a:pt x="120" y="46"/>
                  <a:pt x="120" y="46"/>
                </a:cubicBezTo>
                <a:cubicBezTo>
                  <a:pt x="130" y="46"/>
                  <a:pt x="130" y="46"/>
                  <a:pt x="130" y="46"/>
                </a:cubicBezTo>
                <a:lnTo>
                  <a:pt x="130" y="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2" name="Freeform 192"/>
          <p:cNvSpPr>
            <a:spLocks noChangeAspect="1" noEditPoints="1"/>
          </p:cNvSpPr>
          <p:nvPr/>
        </p:nvSpPr>
        <p:spPr bwMode="auto">
          <a:xfrm>
            <a:off x="7513489" y="2807708"/>
            <a:ext cx="188918" cy="124904"/>
          </a:xfrm>
          <a:custGeom>
            <a:avLst/>
            <a:gdLst>
              <a:gd name="T0" fmla="*/ 182 w 182"/>
              <a:gd name="T1" fmla="*/ 6 h 121"/>
              <a:gd name="T2" fmla="*/ 182 w 182"/>
              <a:gd name="T3" fmla="*/ 115 h 121"/>
              <a:gd name="T4" fmla="*/ 180 w 182"/>
              <a:gd name="T5" fmla="*/ 120 h 121"/>
              <a:gd name="T6" fmla="*/ 176 w 182"/>
              <a:gd name="T7" fmla="*/ 121 h 121"/>
              <a:gd name="T8" fmla="*/ 6 w 182"/>
              <a:gd name="T9" fmla="*/ 121 h 121"/>
              <a:gd name="T10" fmla="*/ 2 w 182"/>
              <a:gd name="T11" fmla="*/ 120 h 121"/>
              <a:gd name="T12" fmla="*/ 0 w 182"/>
              <a:gd name="T13" fmla="*/ 115 h 121"/>
              <a:gd name="T14" fmla="*/ 0 w 182"/>
              <a:gd name="T15" fmla="*/ 6 h 121"/>
              <a:gd name="T16" fmla="*/ 2 w 182"/>
              <a:gd name="T17" fmla="*/ 2 h 121"/>
              <a:gd name="T18" fmla="*/ 6 w 182"/>
              <a:gd name="T19" fmla="*/ 0 h 121"/>
              <a:gd name="T20" fmla="*/ 176 w 182"/>
              <a:gd name="T21" fmla="*/ 0 h 121"/>
              <a:gd name="T22" fmla="*/ 180 w 182"/>
              <a:gd name="T23" fmla="*/ 2 h 121"/>
              <a:gd name="T24" fmla="*/ 182 w 182"/>
              <a:gd name="T25" fmla="*/ 6 h 121"/>
              <a:gd name="T26" fmla="*/ 170 w 182"/>
              <a:gd name="T27" fmla="*/ 85 h 121"/>
              <a:gd name="T28" fmla="*/ 170 w 182"/>
              <a:gd name="T29" fmla="*/ 37 h 121"/>
              <a:gd name="T30" fmla="*/ 153 w 182"/>
              <a:gd name="T31" fmla="*/ 30 h 121"/>
              <a:gd name="T32" fmla="*/ 146 w 182"/>
              <a:gd name="T33" fmla="*/ 13 h 121"/>
              <a:gd name="T34" fmla="*/ 37 w 182"/>
              <a:gd name="T35" fmla="*/ 13 h 121"/>
              <a:gd name="T36" fmla="*/ 30 w 182"/>
              <a:gd name="T37" fmla="*/ 30 h 121"/>
              <a:gd name="T38" fmla="*/ 12 w 182"/>
              <a:gd name="T39" fmla="*/ 37 h 121"/>
              <a:gd name="T40" fmla="*/ 12 w 182"/>
              <a:gd name="T41" fmla="*/ 85 h 121"/>
              <a:gd name="T42" fmla="*/ 30 w 182"/>
              <a:gd name="T43" fmla="*/ 92 h 121"/>
              <a:gd name="T44" fmla="*/ 37 w 182"/>
              <a:gd name="T45" fmla="*/ 109 h 121"/>
              <a:gd name="T46" fmla="*/ 146 w 182"/>
              <a:gd name="T47" fmla="*/ 109 h 121"/>
              <a:gd name="T48" fmla="*/ 153 w 182"/>
              <a:gd name="T49" fmla="*/ 92 h 121"/>
              <a:gd name="T50" fmla="*/ 170 w 182"/>
              <a:gd name="T51" fmla="*/ 85 h 121"/>
              <a:gd name="T52" fmla="*/ 119 w 182"/>
              <a:gd name="T53" fmla="*/ 48 h 121"/>
              <a:gd name="T54" fmla="*/ 121 w 182"/>
              <a:gd name="T55" fmla="*/ 61 h 121"/>
              <a:gd name="T56" fmla="*/ 119 w 182"/>
              <a:gd name="T57" fmla="*/ 74 h 121"/>
              <a:gd name="T58" fmla="*/ 114 w 182"/>
              <a:gd name="T59" fmla="*/ 87 h 121"/>
              <a:gd name="T60" fmla="*/ 104 w 182"/>
              <a:gd name="T61" fmla="*/ 97 h 121"/>
              <a:gd name="T62" fmla="*/ 91 w 182"/>
              <a:gd name="T63" fmla="*/ 100 h 121"/>
              <a:gd name="T64" fmla="*/ 78 w 182"/>
              <a:gd name="T65" fmla="*/ 97 h 121"/>
              <a:gd name="T66" fmla="*/ 68 w 182"/>
              <a:gd name="T67" fmla="*/ 87 h 121"/>
              <a:gd name="T68" fmla="*/ 63 w 182"/>
              <a:gd name="T69" fmla="*/ 74 h 121"/>
              <a:gd name="T70" fmla="*/ 61 w 182"/>
              <a:gd name="T71" fmla="*/ 61 h 121"/>
              <a:gd name="T72" fmla="*/ 63 w 182"/>
              <a:gd name="T73" fmla="*/ 48 h 121"/>
              <a:gd name="T74" fmla="*/ 68 w 182"/>
              <a:gd name="T75" fmla="*/ 35 h 121"/>
              <a:gd name="T76" fmla="*/ 78 w 182"/>
              <a:gd name="T77" fmla="*/ 25 h 121"/>
              <a:gd name="T78" fmla="*/ 91 w 182"/>
              <a:gd name="T79" fmla="*/ 22 h 121"/>
              <a:gd name="T80" fmla="*/ 104 w 182"/>
              <a:gd name="T81" fmla="*/ 25 h 121"/>
              <a:gd name="T82" fmla="*/ 114 w 182"/>
              <a:gd name="T83" fmla="*/ 35 h 121"/>
              <a:gd name="T84" fmla="*/ 119 w 182"/>
              <a:gd name="T85" fmla="*/ 48 h 121"/>
              <a:gd name="T86" fmla="*/ 73 w 182"/>
              <a:gd name="T87" fmla="*/ 85 h 121"/>
              <a:gd name="T88" fmla="*/ 109 w 182"/>
              <a:gd name="T89" fmla="*/ 85 h 121"/>
              <a:gd name="T90" fmla="*/ 109 w 182"/>
              <a:gd name="T91" fmla="*/ 76 h 121"/>
              <a:gd name="T92" fmla="*/ 97 w 182"/>
              <a:gd name="T93" fmla="*/ 76 h 121"/>
              <a:gd name="T94" fmla="*/ 97 w 182"/>
              <a:gd name="T95" fmla="*/ 34 h 121"/>
              <a:gd name="T96" fmla="*/ 86 w 182"/>
              <a:gd name="T97" fmla="*/ 34 h 121"/>
              <a:gd name="T98" fmla="*/ 72 w 182"/>
              <a:gd name="T99" fmla="*/ 47 h 121"/>
              <a:gd name="T100" fmla="*/ 80 w 182"/>
              <a:gd name="T101" fmla="*/ 54 h 121"/>
              <a:gd name="T102" fmla="*/ 85 w 182"/>
              <a:gd name="T103" fmla="*/ 49 h 121"/>
              <a:gd name="T104" fmla="*/ 85 w 182"/>
              <a:gd name="T105" fmla="*/ 49 h 121"/>
              <a:gd name="T106" fmla="*/ 85 w 182"/>
              <a:gd name="T107" fmla="*/ 76 h 121"/>
              <a:gd name="T108" fmla="*/ 73 w 182"/>
              <a:gd name="T109" fmla="*/ 76 h 121"/>
              <a:gd name="T110" fmla="*/ 73 w 182"/>
              <a:gd name="T111" fmla="*/ 8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2" h="121">
                <a:moveTo>
                  <a:pt x="182" y="6"/>
                </a:moveTo>
                <a:cubicBezTo>
                  <a:pt x="182" y="115"/>
                  <a:pt x="182" y="115"/>
                  <a:pt x="182" y="115"/>
                </a:cubicBezTo>
                <a:cubicBezTo>
                  <a:pt x="182" y="117"/>
                  <a:pt x="181" y="118"/>
                  <a:pt x="180" y="120"/>
                </a:cubicBezTo>
                <a:cubicBezTo>
                  <a:pt x="179" y="121"/>
                  <a:pt x="177" y="121"/>
                  <a:pt x="176" y="121"/>
                </a:cubicBezTo>
                <a:cubicBezTo>
                  <a:pt x="6" y="121"/>
                  <a:pt x="6" y="121"/>
                  <a:pt x="6" y="121"/>
                </a:cubicBezTo>
                <a:cubicBezTo>
                  <a:pt x="5" y="121"/>
                  <a:pt x="3" y="121"/>
                  <a:pt x="2" y="120"/>
                </a:cubicBezTo>
                <a:cubicBezTo>
                  <a:pt x="1" y="118"/>
                  <a:pt x="0" y="117"/>
                  <a:pt x="0" y="115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7" y="0"/>
                  <a:pt x="179" y="1"/>
                  <a:pt x="180" y="2"/>
                </a:cubicBezTo>
                <a:cubicBezTo>
                  <a:pt x="181" y="3"/>
                  <a:pt x="182" y="5"/>
                  <a:pt x="182" y="6"/>
                </a:cubicBezTo>
                <a:close/>
                <a:moveTo>
                  <a:pt x="170" y="85"/>
                </a:moveTo>
                <a:cubicBezTo>
                  <a:pt x="170" y="37"/>
                  <a:pt x="170" y="37"/>
                  <a:pt x="170" y="37"/>
                </a:cubicBezTo>
                <a:cubicBezTo>
                  <a:pt x="163" y="37"/>
                  <a:pt x="157" y="34"/>
                  <a:pt x="153" y="30"/>
                </a:cubicBezTo>
                <a:cubicBezTo>
                  <a:pt x="148" y="25"/>
                  <a:pt x="146" y="19"/>
                  <a:pt x="146" y="13"/>
                </a:cubicBezTo>
                <a:cubicBezTo>
                  <a:pt x="37" y="13"/>
                  <a:pt x="37" y="13"/>
                  <a:pt x="37" y="13"/>
                </a:cubicBezTo>
                <a:cubicBezTo>
                  <a:pt x="37" y="19"/>
                  <a:pt x="34" y="25"/>
                  <a:pt x="30" y="30"/>
                </a:cubicBezTo>
                <a:cubicBezTo>
                  <a:pt x="25" y="34"/>
                  <a:pt x="19" y="37"/>
                  <a:pt x="12" y="37"/>
                </a:cubicBezTo>
                <a:cubicBezTo>
                  <a:pt x="12" y="85"/>
                  <a:pt x="12" y="85"/>
                  <a:pt x="12" y="85"/>
                </a:cubicBezTo>
                <a:cubicBezTo>
                  <a:pt x="19" y="85"/>
                  <a:pt x="25" y="88"/>
                  <a:pt x="30" y="92"/>
                </a:cubicBezTo>
                <a:cubicBezTo>
                  <a:pt x="34" y="97"/>
                  <a:pt x="37" y="103"/>
                  <a:pt x="37" y="109"/>
                </a:cubicBezTo>
                <a:cubicBezTo>
                  <a:pt x="146" y="109"/>
                  <a:pt x="146" y="109"/>
                  <a:pt x="146" y="109"/>
                </a:cubicBezTo>
                <a:cubicBezTo>
                  <a:pt x="146" y="103"/>
                  <a:pt x="148" y="97"/>
                  <a:pt x="153" y="92"/>
                </a:cubicBezTo>
                <a:cubicBezTo>
                  <a:pt x="157" y="88"/>
                  <a:pt x="163" y="85"/>
                  <a:pt x="170" y="85"/>
                </a:cubicBezTo>
                <a:close/>
                <a:moveTo>
                  <a:pt x="119" y="48"/>
                </a:moveTo>
                <a:cubicBezTo>
                  <a:pt x="121" y="52"/>
                  <a:pt x="121" y="57"/>
                  <a:pt x="121" y="61"/>
                </a:cubicBezTo>
                <a:cubicBezTo>
                  <a:pt x="121" y="65"/>
                  <a:pt x="121" y="70"/>
                  <a:pt x="119" y="74"/>
                </a:cubicBezTo>
                <a:cubicBezTo>
                  <a:pt x="118" y="79"/>
                  <a:pt x="116" y="83"/>
                  <a:pt x="114" y="87"/>
                </a:cubicBezTo>
                <a:cubicBezTo>
                  <a:pt x="111" y="91"/>
                  <a:pt x="108" y="94"/>
                  <a:pt x="104" y="97"/>
                </a:cubicBezTo>
                <a:cubicBezTo>
                  <a:pt x="100" y="99"/>
                  <a:pt x="96" y="100"/>
                  <a:pt x="91" y="100"/>
                </a:cubicBezTo>
                <a:cubicBezTo>
                  <a:pt x="86" y="100"/>
                  <a:pt x="82" y="99"/>
                  <a:pt x="78" y="97"/>
                </a:cubicBezTo>
                <a:cubicBezTo>
                  <a:pt x="74" y="94"/>
                  <a:pt x="71" y="91"/>
                  <a:pt x="68" y="87"/>
                </a:cubicBezTo>
                <a:cubicBezTo>
                  <a:pt x="66" y="83"/>
                  <a:pt x="64" y="79"/>
                  <a:pt x="63" y="74"/>
                </a:cubicBezTo>
                <a:cubicBezTo>
                  <a:pt x="62" y="70"/>
                  <a:pt x="61" y="65"/>
                  <a:pt x="61" y="61"/>
                </a:cubicBezTo>
                <a:cubicBezTo>
                  <a:pt x="61" y="57"/>
                  <a:pt x="62" y="52"/>
                  <a:pt x="63" y="48"/>
                </a:cubicBezTo>
                <a:cubicBezTo>
                  <a:pt x="64" y="43"/>
                  <a:pt x="66" y="39"/>
                  <a:pt x="68" y="35"/>
                </a:cubicBezTo>
                <a:cubicBezTo>
                  <a:pt x="71" y="31"/>
                  <a:pt x="74" y="28"/>
                  <a:pt x="78" y="25"/>
                </a:cubicBezTo>
                <a:cubicBezTo>
                  <a:pt x="82" y="23"/>
                  <a:pt x="86" y="22"/>
                  <a:pt x="91" y="22"/>
                </a:cubicBezTo>
                <a:cubicBezTo>
                  <a:pt x="96" y="22"/>
                  <a:pt x="100" y="23"/>
                  <a:pt x="104" y="25"/>
                </a:cubicBezTo>
                <a:cubicBezTo>
                  <a:pt x="108" y="28"/>
                  <a:pt x="111" y="31"/>
                  <a:pt x="114" y="35"/>
                </a:cubicBezTo>
                <a:cubicBezTo>
                  <a:pt x="116" y="39"/>
                  <a:pt x="118" y="43"/>
                  <a:pt x="119" y="48"/>
                </a:cubicBezTo>
                <a:close/>
                <a:moveTo>
                  <a:pt x="73" y="85"/>
                </a:moveTo>
                <a:cubicBezTo>
                  <a:pt x="109" y="85"/>
                  <a:pt x="109" y="85"/>
                  <a:pt x="109" y="85"/>
                </a:cubicBezTo>
                <a:cubicBezTo>
                  <a:pt x="109" y="76"/>
                  <a:pt x="109" y="76"/>
                  <a:pt x="109" y="76"/>
                </a:cubicBezTo>
                <a:cubicBezTo>
                  <a:pt x="97" y="76"/>
                  <a:pt x="97" y="76"/>
                  <a:pt x="97" y="76"/>
                </a:cubicBezTo>
                <a:cubicBezTo>
                  <a:pt x="97" y="34"/>
                  <a:pt x="97" y="34"/>
                  <a:pt x="97" y="34"/>
                </a:cubicBezTo>
                <a:cubicBezTo>
                  <a:pt x="86" y="34"/>
                  <a:pt x="86" y="34"/>
                  <a:pt x="86" y="34"/>
                </a:cubicBezTo>
                <a:cubicBezTo>
                  <a:pt x="72" y="47"/>
                  <a:pt x="72" y="47"/>
                  <a:pt x="72" y="47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2"/>
                  <a:pt x="84" y="50"/>
                  <a:pt x="85" y="49"/>
                </a:cubicBezTo>
                <a:cubicBezTo>
                  <a:pt x="85" y="49"/>
                  <a:pt x="85" y="49"/>
                  <a:pt x="85" y="49"/>
                </a:cubicBezTo>
                <a:cubicBezTo>
                  <a:pt x="85" y="76"/>
                  <a:pt x="85" y="76"/>
                  <a:pt x="85" y="76"/>
                </a:cubicBezTo>
                <a:cubicBezTo>
                  <a:pt x="73" y="76"/>
                  <a:pt x="73" y="76"/>
                  <a:pt x="73" y="76"/>
                </a:cubicBezTo>
                <a:lnTo>
                  <a:pt x="73" y="8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3" name="Freeform 193"/>
          <p:cNvSpPr>
            <a:spLocks noChangeAspect="1"/>
          </p:cNvSpPr>
          <p:nvPr/>
        </p:nvSpPr>
        <p:spPr bwMode="auto">
          <a:xfrm>
            <a:off x="7744563" y="2845179"/>
            <a:ext cx="99924" cy="56207"/>
          </a:xfrm>
          <a:custGeom>
            <a:avLst/>
            <a:gdLst>
              <a:gd name="T0" fmla="*/ 95 w 96"/>
              <a:gd name="T1" fmla="*/ 2 h 54"/>
              <a:gd name="T2" fmla="*/ 96 w 96"/>
              <a:gd name="T3" fmla="*/ 6 h 54"/>
              <a:gd name="T4" fmla="*/ 95 w 96"/>
              <a:gd name="T5" fmla="*/ 10 h 54"/>
              <a:gd name="T6" fmla="*/ 52 w 96"/>
              <a:gd name="T7" fmla="*/ 52 h 54"/>
              <a:gd name="T8" fmla="*/ 48 w 96"/>
              <a:gd name="T9" fmla="*/ 54 h 54"/>
              <a:gd name="T10" fmla="*/ 44 w 96"/>
              <a:gd name="T11" fmla="*/ 52 h 54"/>
              <a:gd name="T12" fmla="*/ 1 w 96"/>
              <a:gd name="T13" fmla="*/ 10 h 54"/>
              <a:gd name="T14" fmla="*/ 0 w 96"/>
              <a:gd name="T15" fmla="*/ 6 h 54"/>
              <a:gd name="T16" fmla="*/ 1 w 96"/>
              <a:gd name="T17" fmla="*/ 2 h 54"/>
              <a:gd name="T18" fmla="*/ 6 w 96"/>
              <a:gd name="T19" fmla="*/ 0 h 54"/>
              <a:gd name="T20" fmla="*/ 90 w 96"/>
              <a:gd name="T21" fmla="*/ 0 h 54"/>
              <a:gd name="T22" fmla="*/ 95 w 96"/>
              <a:gd name="T23" fmla="*/ 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6" h="54">
                <a:moveTo>
                  <a:pt x="95" y="2"/>
                </a:moveTo>
                <a:cubicBezTo>
                  <a:pt x="96" y="3"/>
                  <a:pt x="96" y="4"/>
                  <a:pt x="96" y="6"/>
                </a:cubicBezTo>
                <a:cubicBezTo>
                  <a:pt x="96" y="7"/>
                  <a:pt x="96" y="9"/>
                  <a:pt x="95" y="10"/>
                </a:cubicBezTo>
                <a:cubicBezTo>
                  <a:pt x="52" y="52"/>
                  <a:pt x="52" y="52"/>
                  <a:pt x="52" y="52"/>
                </a:cubicBezTo>
                <a:cubicBezTo>
                  <a:pt x="51" y="54"/>
                  <a:pt x="50" y="54"/>
                  <a:pt x="48" y="54"/>
                </a:cubicBezTo>
                <a:cubicBezTo>
                  <a:pt x="46" y="54"/>
                  <a:pt x="45" y="54"/>
                  <a:pt x="44" y="52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9"/>
                  <a:pt x="0" y="7"/>
                  <a:pt x="0" y="6"/>
                </a:cubicBezTo>
                <a:cubicBezTo>
                  <a:pt x="0" y="4"/>
                  <a:pt x="0" y="3"/>
                  <a:pt x="1" y="2"/>
                </a:cubicBezTo>
                <a:cubicBezTo>
                  <a:pt x="3" y="0"/>
                  <a:pt x="4" y="0"/>
                  <a:pt x="6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2" y="0"/>
                  <a:pt x="93" y="0"/>
                  <a:pt x="95" y="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4" name="Freeform 194"/>
          <p:cNvSpPr>
            <a:spLocks noChangeAspect="1"/>
          </p:cNvSpPr>
          <p:nvPr/>
        </p:nvSpPr>
        <p:spPr bwMode="auto">
          <a:xfrm>
            <a:off x="7886642" y="2851425"/>
            <a:ext cx="99924" cy="56207"/>
          </a:xfrm>
          <a:custGeom>
            <a:avLst/>
            <a:gdLst>
              <a:gd name="T0" fmla="*/ 97 w 97"/>
              <a:gd name="T1" fmla="*/ 48 h 54"/>
              <a:gd name="T2" fmla="*/ 95 w 97"/>
              <a:gd name="T3" fmla="*/ 52 h 54"/>
              <a:gd name="T4" fmla="*/ 91 w 97"/>
              <a:gd name="T5" fmla="*/ 54 h 54"/>
              <a:gd name="T6" fmla="*/ 6 w 97"/>
              <a:gd name="T7" fmla="*/ 54 h 54"/>
              <a:gd name="T8" fmla="*/ 2 w 97"/>
              <a:gd name="T9" fmla="*/ 52 h 54"/>
              <a:gd name="T10" fmla="*/ 0 w 97"/>
              <a:gd name="T11" fmla="*/ 48 h 54"/>
              <a:gd name="T12" fmla="*/ 2 w 97"/>
              <a:gd name="T13" fmla="*/ 44 h 54"/>
              <a:gd name="T14" fmla="*/ 44 w 97"/>
              <a:gd name="T15" fmla="*/ 2 h 54"/>
              <a:gd name="T16" fmla="*/ 49 w 97"/>
              <a:gd name="T17" fmla="*/ 0 h 54"/>
              <a:gd name="T18" fmla="*/ 53 w 97"/>
              <a:gd name="T19" fmla="*/ 2 h 54"/>
              <a:gd name="T20" fmla="*/ 95 w 97"/>
              <a:gd name="T21" fmla="*/ 44 h 54"/>
              <a:gd name="T22" fmla="*/ 97 w 97"/>
              <a:gd name="T23" fmla="*/ 4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7" h="54">
                <a:moveTo>
                  <a:pt x="97" y="48"/>
                </a:moveTo>
                <a:cubicBezTo>
                  <a:pt x="97" y="50"/>
                  <a:pt x="96" y="51"/>
                  <a:pt x="95" y="52"/>
                </a:cubicBezTo>
                <a:cubicBezTo>
                  <a:pt x="94" y="54"/>
                  <a:pt x="93" y="54"/>
                  <a:pt x="91" y="54"/>
                </a:cubicBezTo>
                <a:cubicBezTo>
                  <a:pt x="6" y="54"/>
                  <a:pt x="6" y="54"/>
                  <a:pt x="6" y="54"/>
                </a:cubicBezTo>
                <a:cubicBezTo>
                  <a:pt x="5" y="54"/>
                  <a:pt x="3" y="54"/>
                  <a:pt x="2" y="52"/>
                </a:cubicBezTo>
                <a:cubicBezTo>
                  <a:pt x="1" y="51"/>
                  <a:pt x="0" y="50"/>
                  <a:pt x="0" y="48"/>
                </a:cubicBezTo>
                <a:cubicBezTo>
                  <a:pt x="0" y="47"/>
                  <a:pt x="1" y="45"/>
                  <a:pt x="2" y="44"/>
                </a:cubicBezTo>
                <a:cubicBezTo>
                  <a:pt x="44" y="2"/>
                  <a:pt x="44" y="2"/>
                  <a:pt x="44" y="2"/>
                </a:cubicBezTo>
                <a:cubicBezTo>
                  <a:pt x="46" y="0"/>
                  <a:pt x="47" y="0"/>
                  <a:pt x="49" y="0"/>
                </a:cubicBezTo>
                <a:cubicBezTo>
                  <a:pt x="50" y="0"/>
                  <a:pt x="52" y="0"/>
                  <a:pt x="53" y="2"/>
                </a:cubicBezTo>
                <a:cubicBezTo>
                  <a:pt x="95" y="44"/>
                  <a:pt x="95" y="44"/>
                  <a:pt x="95" y="44"/>
                </a:cubicBezTo>
                <a:cubicBezTo>
                  <a:pt x="96" y="45"/>
                  <a:pt x="97" y="47"/>
                  <a:pt x="97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5" name="Freeform 195"/>
          <p:cNvSpPr>
            <a:spLocks noChangeAspect="1"/>
          </p:cNvSpPr>
          <p:nvPr/>
        </p:nvSpPr>
        <p:spPr bwMode="auto">
          <a:xfrm>
            <a:off x="8036527" y="2820198"/>
            <a:ext cx="54646" cy="99924"/>
          </a:xfrm>
          <a:custGeom>
            <a:avLst/>
            <a:gdLst>
              <a:gd name="T0" fmla="*/ 54 w 54"/>
              <a:gd name="T1" fmla="*/ 6 h 96"/>
              <a:gd name="T2" fmla="*/ 54 w 54"/>
              <a:gd name="T3" fmla="*/ 90 h 96"/>
              <a:gd name="T4" fmla="*/ 53 w 54"/>
              <a:gd name="T5" fmla="*/ 95 h 96"/>
              <a:gd name="T6" fmla="*/ 48 w 54"/>
              <a:gd name="T7" fmla="*/ 96 h 96"/>
              <a:gd name="T8" fmla="*/ 44 w 54"/>
              <a:gd name="T9" fmla="*/ 95 h 96"/>
              <a:gd name="T10" fmla="*/ 2 w 54"/>
              <a:gd name="T11" fmla="*/ 52 h 96"/>
              <a:gd name="T12" fmla="*/ 0 w 54"/>
              <a:gd name="T13" fmla="*/ 48 h 96"/>
              <a:gd name="T14" fmla="*/ 2 w 54"/>
              <a:gd name="T15" fmla="*/ 44 h 96"/>
              <a:gd name="T16" fmla="*/ 44 w 54"/>
              <a:gd name="T17" fmla="*/ 1 h 96"/>
              <a:gd name="T18" fmla="*/ 48 w 54"/>
              <a:gd name="T19" fmla="*/ 0 h 96"/>
              <a:gd name="T20" fmla="*/ 53 w 54"/>
              <a:gd name="T21" fmla="*/ 1 h 96"/>
              <a:gd name="T22" fmla="*/ 54 w 54"/>
              <a:gd name="T23" fmla="*/ 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4" h="96">
                <a:moveTo>
                  <a:pt x="54" y="6"/>
                </a:moveTo>
                <a:cubicBezTo>
                  <a:pt x="54" y="90"/>
                  <a:pt x="54" y="90"/>
                  <a:pt x="54" y="90"/>
                </a:cubicBezTo>
                <a:cubicBezTo>
                  <a:pt x="54" y="92"/>
                  <a:pt x="54" y="93"/>
                  <a:pt x="53" y="95"/>
                </a:cubicBezTo>
                <a:cubicBezTo>
                  <a:pt x="51" y="96"/>
                  <a:pt x="50" y="96"/>
                  <a:pt x="48" y="96"/>
                </a:cubicBezTo>
                <a:cubicBezTo>
                  <a:pt x="47" y="96"/>
                  <a:pt x="45" y="96"/>
                  <a:pt x="44" y="95"/>
                </a:cubicBezTo>
                <a:cubicBezTo>
                  <a:pt x="2" y="52"/>
                  <a:pt x="2" y="52"/>
                  <a:pt x="2" y="52"/>
                </a:cubicBezTo>
                <a:cubicBezTo>
                  <a:pt x="1" y="51"/>
                  <a:pt x="0" y="50"/>
                  <a:pt x="0" y="48"/>
                </a:cubicBezTo>
                <a:cubicBezTo>
                  <a:pt x="0" y="46"/>
                  <a:pt x="1" y="45"/>
                  <a:pt x="2" y="44"/>
                </a:cubicBezTo>
                <a:cubicBezTo>
                  <a:pt x="44" y="1"/>
                  <a:pt x="44" y="1"/>
                  <a:pt x="44" y="1"/>
                </a:cubicBezTo>
                <a:cubicBezTo>
                  <a:pt x="45" y="0"/>
                  <a:pt x="47" y="0"/>
                  <a:pt x="48" y="0"/>
                </a:cubicBezTo>
                <a:cubicBezTo>
                  <a:pt x="50" y="0"/>
                  <a:pt x="51" y="0"/>
                  <a:pt x="53" y="1"/>
                </a:cubicBezTo>
                <a:cubicBezTo>
                  <a:pt x="54" y="3"/>
                  <a:pt x="54" y="4"/>
                  <a:pt x="54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6" name="Freeform 196"/>
          <p:cNvSpPr>
            <a:spLocks noChangeAspect="1"/>
          </p:cNvSpPr>
          <p:nvPr/>
        </p:nvSpPr>
        <p:spPr bwMode="auto">
          <a:xfrm>
            <a:off x="8134890" y="2820198"/>
            <a:ext cx="56207" cy="99924"/>
          </a:xfrm>
          <a:custGeom>
            <a:avLst/>
            <a:gdLst>
              <a:gd name="T0" fmla="*/ 55 w 55"/>
              <a:gd name="T1" fmla="*/ 48 h 96"/>
              <a:gd name="T2" fmla="*/ 53 w 55"/>
              <a:gd name="T3" fmla="*/ 52 h 96"/>
              <a:gd name="T4" fmla="*/ 10 w 55"/>
              <a:gd name="T5" fmla="*/ 95 h 96"/>
              <a:gd name="T6" fmla="*/ 6 w 55"/>
              <a:gd name="T7" fmla="*/ 96 h 96"/>
              <a:gd name="T8" fmla="*/ 2 w 55"/>
              <a:gd name="T9" fmla="*/ 95 h 96"/>
              <a:gd name="T10" fmla="*/ 0 w 55"/>
              <a:gd name="T11" fmla="*/ 90 h 96"/>
              <a:gd name="T12" fmla="*/ 0 w 55"/>
              <a:gd name="T13" fmla="*/ 6 h 96"/>
              <a:gd name="T14" fmla="*/ 2 w 55"/>
              <a:gd name="T15" fmla="*/ 1 h 96"/>
              <a:gd name="T16" fmla="*/ 6 w 55"/>
              <a:gd name="T17" fmla="*/ 0 h 96"/>
              <a:gd name="T18" fmla="*/ 10 w 55"/>
              <a:gd name="T19" fmla="*/ 1 h 96"/>
              <a:gd name="T20" fmla="*/ 53 w 55"/>
              <a:gd name="T21" fmla="*/ 44 h 96"/>
              <a:gd name="T22" fmla="*/ 55 w 55"/>
              <a:gd name="T23" fmla="*/ 4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5" h="96">
                <a:moveTo>
                  <a:pt x="55" y="48"/>
                </a:moveTo>
                <a:cubicBezTo>
                  <a:pt x="55" y="50"/>
                  <a:pt x="54" y="51"/>
                  <a:pt x="53" y="52"/>
                </a:cubicBezTo>
                <a:cubicBezTo>
                  <a:pt x="10" y="95"/>
                  <a:pt x="10" y="95"/>
                  <a:pt x="10" y="95"/>
                </a:cubicBezTo>
                <a:cubicBezTo>
                  <a:pt x="9" y="96"/>
                  <a:pt x="8" y="96"/>
                  <a:pt x="6" y="96"/>
                </a:cubicBezTo>
                <a:cubicBezTo>
                  <a:pt x="5" y="96"/>
                  <a:pt x="3" y="96"/>
                  <a:pt x="2" y="95"/>
                </a:cubicBezTo>
                <a:cubicBezTo>
                  <a:pt x="1" y="93"/>
                  <a:pt x="0" y="92"/>
                  <a:pt x="0" y="90"/>
                </a:cubicBezTo>
                <a:cubicBezTo>
                  <a:pt x="0" y="6"/>
                  <a:pt x="0" y="6"/>
                  <a:pt x="0" y="6"/>
                </a:cubicBezTo>
                <a:cubicBezTo>
                  <a:pt x="0" y="4"/>
                  <a:pt x="1" y="3"/>
                  <a:pt x="2" y="1"/>
                </a:cubicBezTo>
                <a:cubicBezTo>
                  <a:pt x="3" y="0"/>
                  <a:pt x="5" y="0"/>
                  <a:pt x="6" y="0"/>
                </a:cubicBezTo>
                <a:cubicBezTo>
                  <a:pt x="8" y="0"/>
                  <a:pt x="9" y="0"/>
                  <a:pt x="10" y="1"/>
                </a:cubicBezTo>
                <a:cubicBezTo>
                  <a:pt x="53" y="44"/>
                  <a:pt x="53" y="44"/>
                  <a:pt x="53" y="44"/>
                </a:cubicBezTo>
                <a:cubicBezTo>
                  <a:pt x="54" y="45"/>
                  <a:pt x="55" y="46"/>
                  <a:pt x="55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7" name="Freeform 197"/>
          <p:cNvSpPr>
            <a:spLocks noChangeAspect="1" noEditPoints="1"/>
          </p:cNvSpPr>
          <p:nvPr/>
        </p:nvSpPr>
        <p:spPr bwMode="auto">
          <a:xfrm>
            <a:off x="8239497" y="2795218"/>
            <a:ext cx="162376" cy="151447"/>
          </a:xfrm>
          <a:custGeom>
            <a:avLst/>
            <a:gdLst>
              <a:gd name="T0" fmla="*/ 158 w 158"/>
              <a:gd name="T1" fmla="*/ 15 h 146"/>
              <a:gd name="T2" fmla="*/ 158 w 158"/>
              <a:gd name="T3" fmla="*/ 130 h 146"/>
              <a:gd name="T4" fmla="*/ 153 w 158"/>
              <a:gd name="T5" fmla="*/ 141 h 146"/>
              <a:gd name="T6" fmla="*/ 143 w 158"/>
              <a:gd name="T7" fmla="*/ 146 h 146"/>
              <a:gd name="T8" fmla="*/ 16 w 158"/>
              <a:gd name="T9" fmla="*/ 146 h 146"/>
              <a:gd name="T10" fmla="*/ 5 w 158"/>
              <a:gd name="T11" fmla="*/ 141 h 146"/>
              <a:gd name="T12" fmla="*/ 0 w 158"/>
              <a:gd name="T13" fmla="*/ 130 h 146"/>
              <a:gd name="T14" fmla="*/ 0 w 158"/>
              <a:gd name="T15" fmla="*/ 15 h 146"/>
              <a:gd name="T16" fmla="*/ 5 w 158"/>
              <a:gd name="T17" fmla="*/ 5 h 146"/>
              <a:gd name="T18" fmla="*/ 16 w 158"/>
              <a:gd name="T19" fmla="*/ 0 h 146"/>
              <a:gd name="T20" fmla="*/ 143 w 158"/>
              <a:gd name="T21" fmla="*/ 0 h 146"/>
              <a:gd name="T22" fmla="*/ 153 w 158"/>
              <a:gd name="T23" fmla="*/ 5 h 146"/>
              <a:gd name="T24" fmla="*/ 158 w 158"/>
              <a:gd name="T25" fmla="*/ 15 h 146"/>
              <a:gd name="T26" fmla="*/ 16 w 158"/>
              <a:gd name="T27" fmla="*/ 133 h 146"/>
              <a:gd name="T28" fmla="*/ 73 w 158"/>
              <a:gd name="T29" fmla="*/ 133 h 146"/>
              <a:gd name="T30" fmla="*/ 73 w 158"/>
              <a:gd name="T31" fmla="*/ 25 h 146"/>
              <a:gd name="T32" fmla="*/ 13 w 158"/>
              <a:gd name="T33" fmla="*/ 25 h 146"/>
              <a:gd name="T34" fmla="*/ 13 w 158"/>
              <a:gd name="T35" fmla="*/ 130 h 146"/>
              <a:gd name="T36" fmla="*/ 13 w 158"/>
              <a:gd name="T37" fmla="*/ 133 h 146"/>
              <a:gd name="T38" fmla="*/ 16 w 158"/>
              <a:gd name="T39" fmla="*/ 133 h 146"/>
              <a:gd name="T40" fmla="*/ 146 w 158"/>
              <a:gd name="T41" fmla="*/ 130 h 146"/>
              <a:gd name="T42" fmla="*/ 146 w 158"/>
              <a:gd name="T43" fmla="*/ 25 h 146"/>
              <a:gd name="T44" fmla="*/ 85 w 158"/>
              <a:gd name="T45" fmla="*/ 25 h 146"/>
              <a:gd name="T46" fmla="*/ 85 w 158"/>
              <a:gd name="T47" fmla="*/ 133 h 146"/>
              <a:gd name="T48" fmla="*/ 143 w 158"/>
              <a:gd name="T49" fmla="*/ 133 h 146"/>
              <a:gd name="T50" fmla="*/ 145 w 158"/>
              <a:gd name="T51" fmla="*/ 133 h 146"/>
              <a:gd name="T52" fmla="*/ 146 w 158"/>
              <a:gd name="T53" fmla="*/ 13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8" h="146">
                <a:moveTo>
                  <a:pt x="158" y="15"/>
                </a:moveTo>
                <a:cubicBezTo>
                  <a:pt x="158" y="130"/>
                  <a:pt x="158" y="130"/>
                  <a:pt x="158" y="130"/>
                </a:cubicBezTo>
                <a:cubicBezTo>
                  <a:pt x="158" y="135"/>
                  <a:pt x="156" y="138"/>
                  <a:pt x="153" y="141"/>
                </a:cubicBezTo>
                <a:cubicBezTo>
                  <a:pt x="150" y="144"/>
                  <a:pt x="147" y="146"/>
                  <a:pt x="143" y="146"/>
                </a:cubicBezTo>
                <a:cubicBezTo>
                  <a:pt x="16" y="146"/>
                  <a:pt x="16" y="146"/>
                  <a:pt x="16" y="146"/>
                </a:cubicBezTo>
                <a:cubicBezTo>
                  <a:pt x="11" y="146"/>
                  <a:pt x="8" y="144"/>
                  <a:pt x="5" y="141"/>
                </a:cubicBezTo>
                <a:cubicBezTo>
                  <a:pt x="2" y="138"/>
                  <a:pt x="0" y="135"/>
                  <a:pt x="0" y="13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2" y="8"/>
                  <a:pt x="5" y="5"/>
                </a:cubicBezTo>
                <a:cubicBezTo>
                  <a:pt x="8" y="2"/>
                  <a:pt x="11" y="0"/>
                  <a:pt x="16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7" y="0"/>
                  <a:pt x="150" y="2"/>
                  <a:pt x="153" y="5"/>
                </a:cubicBezTo>
                <a:cubicBezTo>
                  <a:pt x="156" y="8"/>
                  <a:pt x="158" y="11"/>
                  <a:pt x="158" y="15"/>
                </a:cubicBezTo>
                <a:close/>
                <a:moveTo>
                  <a:pt x="16" y="133"/>
                </a:moveTo>
                <a:cubicBezTo>
                  <a:pt x="73" y="133"/>
                  <a:pt x="73" y="133"/>
                  <a:pt x="73" y="133"/>
                </a:cubicBezTo>
                <a:cubicBezTo>
                  <a:pt x="73" y="25"/>
                  <a:pt x="73" y="25"/>
                  <a:pt x="73" y="25"/>
                </a:cubicBezTo>
                <a:cubicBezTo>
                  <a:pt x="13" y="25"/>
                  <a:pt x="13" y="25"/>
                  <a:pt x="13" y="25"/>
                </a:cubicBezTo>
                <a:cubicBezTo>
                  <a:pt x="13" y="130"/>
                  <a:pt x="13" y="130"/>
                  <a:pt x="13" y="130"/>
                </a:cubicBezTo>
                <a:cubicBezTo>
                  <a:pt x="13" y="131"/>
                  <a:pt x="13" y="132"/>
                  <a:pt x="13" y="133"/>
                </a:cubicBezTo>
                <a:cubicBezTo>
                  <a:pt x="14" y="133"/>
                  <a:pt x="15" y="133"/>
                  <a:pt x="16" y="133"/>
                </a:cubicBezTo>
                <a:close/>
                <a:moveTo>
                  <a:pt x="146" y="130"/>
                </a:moveTo>
                <a:cubicBezTo>
                  <a:pt x="146" y="25"/>
                  <a:pt x="146" y="25"/>
                  <a:pt x="146" y="25"/>
                </a:cubicBezTo>
                <a:cubicBezTo>
                  <a:pt x="85" y="25"/>
                  <a:pt x="85" y="25"/>
                  <a:pt x="85" y="25"/>
                </a:cubicBezTo>
                <a:cubicBezTo>
                  <a:pt x="85" y="133"/>
                  <a:pt x="85" y="133"/>
                  <a:pt x="85" y="133"/>
                </a:cubicBezTo>
                <a:cubicBezTo>
                  <a:pt x="143" y="133"/>
                  <a:pt x="143" y="133"/>
                  <a:pt x="143" y="133"/>
                </a:cubicBezTo>
                <a:cubicBezTo>
                  <a:pt x="144" y="133"/>
                  <a:pt x="144" y="133"/>
                  <a:pt x="145" y="133"/>
                </a:cubicBezTo>
                <a:cubicBezTo>
                  <a:pt x="145" y="132"/>
                  <a:pt x="146" y="131"/>
                  <a:pt x="146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8" name="Freeform 198"/>
          <p:cNvSpPr>
            <a:spLocks noChangeAspect="1" noEditPoints="1"/>
          </p:cNvSpPr>
          <p:nvPr/>
        </p:nvSpPr>
        <p:spPr bwMode="auto">
          <a:xfrm>
            <a:off x="740541" y="3110601"/>
            <a:ext cx="99924" cy="137395"/>
          </a:xfrm>
          <a:custGeom>
            <a:avLst/>
            <a:gdLst>
              <a:gd name="T0" fmla="*/ 97 w 97"/>
              <a:gd name="T1" fmla="*/ 49 h 133"/>
              <a:gd name="T2" fmla="*/ 95 w 97"/>
              <a:gd name="T3" fmla="*/ 53 h 133"/>
              <a:gd name="T4" fmla="*/ 91 w 97"/>
              <a:gd name="T5" fmla="*/ 55 h 133"/>
              <a:gd name="T6" fmla="*/ 6 w 97"/>
              <a:gd name="T7" fmla="*/ 55 h 133"/>
              <a:gd name="T8" fmla="*/ 2 w 97"/>
              <a:gd name="T9" fmla="*/ 53 h 133"/>
              <a:gd name="T10" fmla="*/ 0 w 97"/>
              <a:gd name="T11" fmla="*/ 49 h 133"/>
              <a:gd name="T12" fmla="*/ 2 w 97"/>
              <a:gd name="T13" fmla="*/ 45 h 133"/>
              <a:gd name="T14" fmla="*/ 44 w 97"/>
              <a:gd name="T15" fmla="*/ 2 h 133"/>
              <a:gd name="T16" fmla="*/ 48 w 97"/>
              <a:gd name="T17" fmla="*/ 0 h 133"/>
              <a:gd name="T18" fmla="*/ 53 w 97"/>
              <a:gd name="T19" fmla="*/ 2 h 133"/>
              <a:gd name="T20" fmla="*/ 95 w 97"/>
              <a:gd name="T21" fmla="*/ 45 h 133"/>
              <a:gd name="T22" fmla="*/ 97 w 97"/>
              <a:gd name="T23" fmla="*/ 49 h 133"/>
              <a:gd name="T24" fmla="*/ 95 w 97"/>
              <a:gd name="T25" fmla="*/ 81 h 133"/>
              <a:gd name="T26" fmla="*/ 97 w 97"/>
              <a:gd name="T27" fmla="*/ 85 h 133"/>
              <a:gd name="T28" fmla="*/ 95 w 97"/>
              <a:gd name="T29" fmla="*/ 89 h 133"/>
              <a:gd name="T30" fmla="*/ 53 w 97"/>
              <a:gd name="T31" fmla="*/ 132 h 133"/>
              <a:gd name="T32" fmla="*/ 48 w 97"/>
              <a:gd name="T33" fmla="*/ 133 h 133"/>
              <a:gd name="T34" fmla="*/ 44 w 97"/>
              <a:gd name="T35" fmla="*/ 132 h 133"/>
              <a:gd name="T36" fmla="*/ 2 w 97"/>
              <a:gd name="T37" fmla="*/ 89 h 133"/>
              <a:gd name="T38" fmla="*/ 0 w 97"/>
              <a:gd name="T39" fmla="*/ 85 h 133"/>
              <a:gd name="T40" fmla="*/ 2 w 97"/>
              <a:gd name="T41" fmla="*/ 81 h 133"/>
              <a:gd name="T42" fmla="*/ 6 w 97"/>
              <a:gd name="T43" fmla="*/ 79 h 133"/>
              <a:gd name="T44" fmla="*/ 91 w 97"/>
              <a:gd name="T45" fmla="*/ 79 h 133"/>
              <a:gd name="T46" fmla="*/ 95 w 97"/>
              <a:gd name="T47" fmla="*/ 81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7" h="133">
                <a:moveTo>
                  <a:pt x="97" y="49"/>
                </a:moveTo>
                <a:cubicBezTo>
                  <a:pt x="97" y="50"/>
                  <a:pt x="96" y="52"/>
                  <a:pt x="95" y="53"/>
                </a:cubicBezTo>
                <a:cubicBezTo>
                  <a:pt x="94" y="54"/>
                  <a:pt x="92" y="55"/>
                  <a:pt x="91" y="55"/>
                </a:cubicBezTo>
                <a:cubicBezTo>
                  <a:pt x="6" y="55"/>
                  <a:pt x="6" y="55"/>
                  <a:pt x="6" y="55"/>
                </a:cubicBezTo>
                <a:cubicBezTo>
                  <a:pt x="4" y="55"/>
                  <a:pt x="3" y="54"/>
                  <a:pt x="2" y="53"/>
                </a:cubicBezTo>
                <a:cubicBezTo>
                  <a:pt x="1" y="52"/>
                  <a:pt x="0" y="50"/>
                  <a:pt x="0" y="49"/>
                </a:cubicBezTo>
                <a:cubicBezTo>
                  <a:pt x="0" y="47"/>
                  <a:pt x="1" y="46"/>
                  <a:pt x="2" y="45"/>
                </a:cubicBezTo>
                <a:cubicBezTo>
                  <a:pt x="44" y="2"/>
                  <a:pt x="44" y="2"/>
                  <a:pt x="44" y="2"/>
                </a:cubicBezTo>
                <a:cubicBezTo>
                  <a:pt x="45" y="1"/>
                  <a:pt x="47" y="0"/>
                  <a:pt x="48" y="0"/>
                </a:cubicBezTo>
                <a:cubicBezTo>
                  <a:pt x="50" y="0"/>
                  <a:pt x="51" y="1"/>
                  <a:pt x="53" y="2"/>
                </a:cubicBezTo>
                <a:cubicBezTo>
                  <a:pt x="95" y="45"/>
                  <a:pt x="95" y="45"/>
                  <a:pt x="95" y="45"/>
                </a:cubicBezTo>
                <a:cubicBezTo>
                  <a:pt x="96" y="46"/>
                  <a:pt x="97" y="47"/>
                  <a:pt x="97" y="49"/>
                </a:cubicBezTo>
                <a:close/>
                <a:moveTo>
                  <a:pt x="95" y="81"/>
                </a:moveTo>
                <a:cubicBezTo>
                  <a:pt x="96" y="82"/>
                  <a:pt x="97" y="83"/>
                  <a:pt x="97" y="85"/>
                </a:cubicBezTo>
                <a:cubicBezTo>
                  <a:pt x="97" y="87"/>
                  <a:pt x="96" y="88"/>
                  <a:pt x="95" y="89"/>
                </a:cubicBezTo>
                <a:cubicBezTo>
                  <a:pt x="53" y="132"/>
                  <a:pt x="53" y="132"/>
                  <a:pt x="53" y="132"/>
                </a:cubicBezTo>
                <a:cubicBezTo>
                  <a:pt x="51" y="133"/>
                  <a:pt x="50" y="133"/>
                  <a:pt x="48" y="133"/>
                </a:cubicBezTo>
                <a:cubicBezTo>
                  <a:pt x="47" y="133"/>
                  <a:pt x="45" y="133"/>
                  <a:pt x="44" y="132"/>
                </a:cubicBezTo>
                <a:cubicBezTo>
                  <a:pt x="2" y="89"/>
                  <a:pt x="2" y="89"/>
                  <a:pt x="2" y="89"/>
                </a:cubicBezTo>
                <a:cubicBezTo>
                  <a:pt x="1" y="88"/>
                  <a:pt x="0" y="87"/>
                  <a:pt x="0" y="85"/>
                </a:cubicBezTo>
                <a:cubicBezTo>
                  <a:pt x="0" y="83"/>
                  <a:pt x="1" y="82"/>
                  <a:pt x="2" y="81"/>
                </a:cubicBezTo>
                <a:cubicBezTo>
                  <a:pt x="3" y="80"/>
                  <a:pt x="4" y="79"/>
                  <a:pt x="6" y="79"/>
                </a:cubicBezTo>
                <a:cubicBezTo>
                  <a:pt x="91" y="79"/>
                  <a:pt x="91" y="79"/>
                  <a:pt x="91" y="79"/>
                </a:cubicBezTo>
                <a:cubicBezTo>
                  <a:pt x="92" y="79"/>
                  <a:pt x="94" y="80"/>
                  <a:pt x="95" y="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99" name="Freeform 199"/>
          <p:cNvSpPr>
            <a:spLocks noChangeAspect="1"/>
          </p:cNvSpPr>
          <p:nvPr/>
        </p:nvSpPr>
        <p:spPr bwMode="auto">
          <a:xfrm>
            <a:off x="887304" y="3193351"/>
            <a:ext cx="99924" cy="54646"/>
          </a:xfrm>
          <a:custGeom>
            <a:avLst/>
            <a:gdLst>
              <a:gd name="T0" fmla="*/ 96 w 97"/>
              <a:gd name="T1" fmla="*/ 2 h 54"/>
              <a:gd name="T2" fmla="*/ 97 w 97"/>
              <a:gd name="T3" fmla="*/ 6 h 54"/>
              <a:gd name="T4" fmla="*/ 96 w 97"/>
              <a:gd name="T5" fmla="*/ 10 h 54"/>
              <a:gd name="T6" fmla="*/ 53 w 97"/>
              <a:gd name="T7" fmla="*/ 53 h 54"/>
              <a:gd name="T8" fmla="*/ 49 w 97"/>
              <a:gd name="T9" fmla="*/ 54 h 54"/>
              <a:gd name="T10" fmla="*/ 45 w 97"/>
              <a:gd name="T11" fmla="*/ 53 h 54"/>
              <a:gd name="T12" fmla="*/ 2 w 97"/>
              <a:gd name="T13" fmla="*/ 10 h 54"/>
              <a:gd name="T14" fmla="*/ 0 w 97"/>
              <a:gd name="T15" fmla="*/ 6 h 54"/>
              <a:gd name="T16" fmla="*/ 2 w 97"/>
              <a:gd name="T17" fmla="*/ 2 h 54"/>
              <a:gd name="T18" fmla="*/ 7 w 97"/>
              <a:gd name="T19" fmla="*/ 0 h 54"/>
              <a:gd name="T20" fmla="*/ 91 w 97"/>
              <a:gd name="T21" fmla="*/ 0 h 54"/>
              <a:gd name="T22" fmla="*/ 96 w 97"/>
              <a:gd name="T23" fmla="*/ 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7" h="54">
                <a:moveTo>
                  <a:pt x="96" y="2"/>
                </a:moveTo>
                <a:cubicBezTo>
                  <a:pt x="97" y="3"/>
                  <a:pt x="97" y="4"/>
                  <a:pt x="97" y="6"/>
                </a:cubicBezTo>
                <a:cubicBezTo>
                  <a:pt x="97" y="8"/>
                  <a:pt x="97" y="9"/>
                  <a:pt x="96" y="10"/>
                </a:cubicBezTo>
                <a:cubicBezTo>
                  <a:pt x="53" y="53"/>
                  <a:pt x="53" y="53"/>
                  <a:pt x="53" y="53"/>
                </a:cubicBezTo>
                <a:cubicBezTo>
                  <a:pt x="52" y="54"/>
                  <a:pt x="51" y="54"/>
                  <a:pt x="49" y="54"/>
                </a:cubicBezTo>
                <a:cubicBezTo>
                  <a:pt x="47" y="54"/>
                  <a:pt x="46" y="54"/>
                  <a:pt x="45" y="53"/>
                </a:cubicBezTo>
                <a:cubicBezTo>
                  <a:pt x="2" y="10"/>
                  <a:pt x="2" y="10"/>
                  <a:pt x="2" y="10"/>
                </a:cubicBezTo>
                <a:cubicBezTo>
                  <a:pt x="1" y="9"/>
                  <a:pt x="0" y="8"/>
                  <a:pt x="0" y="6"/>
                </a:cubicBezTo>
                <a:cubicBezTo>
                  <a:pt x="0" y="4"/>
                  <a:pt x="1" y="3"/>
                  <a:pt x="2" y="2"/>
                </a:cubicBezTo>
                <a:cubicBezTo>
                  <a:pt x="3" y="1"/>
                  <a:pt x="5" y="0"/>
                  <a:pt x="7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93" y="0"/>
                  <a:pt x="94" y="1"/>
                  <a:pt x="96" y="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0" name="Freeform 200"/>
          <p:cNvSpPr>
            <a:spLocks noChangeAspect="1"/>
          </p:cNvSpPr>
          <p:nvPr/>
        </p:nvSpPr>
        <p:spPr bwMode="auto">
          <a:xfrm>
            <a:off x="1034067" y="3110601"/>
            <a:ext cx="99924" cy="57768"/>
          </a:xfrm>
          <a:custGeom>
            <a:avLst/>
            <a:gdLst>
              <a:gd name="T0" fmla="*/ 97 w 97"/>
              <a:gd name="T1" fmla="*/ 49 h 55"/>
              <a:gd name="T2" fmla="*/ 95 w 97"/>
              <a:gd name="T3" fmla="*/ 53 h 55"/>
              <a:gd name="T4" fmla="*/ 91 w 97"/>
              <a:gd name="T5" fmla="*/ 55 h 55"/>
              <a:gd name="T6" fmla="*/ 6 w 97"/>
              <a:gd name="T7" fmla="*/ 55 h 55"/>
              <a:gd name="T8" fmla="*/ 2 w 97"/>
              <a:gd name="T9" fmla="*/ 53 h 55"/>
              <a:gd name="T10" fmla="*/ 0 w 97"/>
              <a:gd name="T11" fmla="*/ 49 h 55"/>
              <a:gd name="T12" fmla="*/ 2 w 97"/>
              <a:gd name="T13" fmla="*/ 45 h 55"/>
              <a:gd name="T14" fmla="*/ 44 w 97"/>
              <a:gd name="T15" fmla="*/ 2 h 55"/>
              <a:gd name="T16" fmla="*/ 48 w 97"/>
              <a:gd name="T17" fmla="*/ 0 h 55"/>
              <a:gd name="T18" fmla="*/ 53 w 97"/>
              <a:gd name="T19" fmla="*/ 2 h 55"/>
              <a:gd name="T20" fmla="*/ 95 w 97"/>
              <a:gd name="T21" fmla="*/ 45 h 55"/>
              <a:gd name="T22" fmla="*/ 97 w 97"/>
              <a:gd name="T23" fmla="*/ 4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7" h="55">
                <a:moveTo>
                  <a:pt x="97" y="49"/>
                </a:moveTo>
                <a:cubicBezTo>
                  <a:pt x="97" y="50"/>
                  <a:pt x="96" y="52"/>
                  <a:pt x="95" y="53"/>
                </a:cubicBezTo>
                <a:cubicBezTo>
                  <a:pt x="94" y="54"/>
                  <a:pt x="92" y="55"/>
                  <a:pt x="91" y="55"/>
                </a:cubicBezTo>
                <a:cubicBezTo>
                  <a:pt x="6" y="55"/>
                  <a:pt x="6" y="55"/>
                  <a:pt x="6" y="55"/>
                </a:cubicBezTo>
                <a:cubicBezTo>
                  <a:pt x="4" y="55"/>
                  <a:pt x="3" y="54"/>
                  <a:pt x="2" y="53"/>
                </a:cubicBezTo>
                <a:cubicBezTo>
                  <a:pt x="1" y="52"/>
                  <a:pt x="0" y="50"/>
                  <a:pt x="0" y="49"/>
                </a:cubicBezTo>
                <a:cubicBezTo>
                  <a:pt x="0" y="47"/>
                  <a:pt x="1" y="46"/>
                  <a:pt x="2" y="45"/>
                </a:cubicBezTo>
                <a:cubicBezTo>
                  <a:pt x="44" y="2"/>
                  <a:pt x="44" y="2"/>
                  <a:pt x="44" y="2"/>
                </a:cubicBezTo>
                <a:cubicBezTo>
                  <a:pt x="45" y="1"/>
                  <a:pt x="47" y="0"/>
                  <a:pt x="48" y="0"/>
                </a:cubicBezTo>
                <a:cubicBezTo>
                  <a:pt x="50" y="0"/>
                  <a:pt x="52" y="1"/>
                  <a:pt x="53" y="2"/>
                </a:cubicBezTo>
                <a:cubicBezTo>
                  <a:pt x="95" y="45"/>
                  <a:pt x="95" y="45"/>
                  <a:pt x="95" y="45"/>
                </a:cubicBezTo>
                <a:cubicBezTo>
                  <a:pt x="96" y="46"/>
                  <a:pt x="97" y="47"/>
                  <a:pt x="97" y="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1" name="Freeform 201"/>
          <p:cNvSpPr>
            <a:spLocks noChangeAspect="1" noEditPoints="1"/>
          </p:cNvSpPr>
          <p:nvPr/>
        </p:nvSpPr>
        <p:spPr bwMode="auto">
          <a:xfrm>
            <a:off x="1180829" y="3116847"/>
            <a:ext cx="174866" cy="138956"/>
          </a:xfrm>
          <a:custGeom>
            <a:avLst/>
            <a:gdLst>
              <a:gd name="T0" fmla="*/ 169 w 169"/>
              <a:gd name="T1" fmla="*/ 16 h 134"/>
              <a:gd name="T2" fmla="*/ 164 w 169"/>
              <a:gd name="T3" fmla="*/ 30 h 134"/>
              <a:gd name="T4" fmla="*/ 153 w 169"/>
              <a:gd name="T5" fmla="*/ 41 h 134"/>
              <a:gd name="T6" fmla="*/ 109 w 169"/>
              <a:gd name="T7" fmla="*/ 72 h 134"/>
              <a:gd name="T8" fmla="*/ 105 w 169"/>
              <a:gd name="T9" fmla="*/ 75 h 134"/>
              <a:gd name="T10" fmla="*/ 99 w 169"/>
              <a:gd name="T11" fmla="*/ 79 h 134"/>
              <a:gd name="T12" fmla="*/ 95 w 169"/>
              <a:gd name="T13" fmla="*/ 82 h 134"/>
              <a:gd name="T14" fmla="*/ 89 w 169"/>
              <a:gd name="T15" fmla="*/ 84 h 134"/>
              <a:gd name="T16" fmla="*/ 84 w 169"/>
              <a:gd name="T17" fmla="*/ 85 h 134"/>
              <a:gd name="T18" fmla="*/ 84 w 169"/>
              <a:gd name="T19" fmla="*/ 85 h 134"/>
              <a:gd name="T20" fmla="*/ 84 w 169"/>
              <a:gd name="T21" fmla="*/ 85 h 134"/>
              <a:gd name="T22" fmla="*/ 79 w 169"/>
              <a:gd name="T23" fmla="*/ 84 h 134"/>
              <a:gd name="T24" fmla="*/ 74 w 169"/>
              <a:gd name="T25" fmla="*/ 82 h 134"/>
              <a:gd name="T26" fmla="*/ 69 w 169"/>
              <a:gd name="T27" fmla="*/ 79 h 134"/>
              <a:gd name="T28" fmla="*/ 64 w 169"/>
              <a:gd name="T29" fmla="*/ 75 h 134"/>
              <a:gd name="T30" fmla="*/ 60 w 169"/>
              <a:gd name="T31" fmla="*/ 72 h 134"/>
              <a:gd name="T32" fmla="*/ 35 w 169"/>
              <a:gd name="T33" fmla="*/ 55 h 134"/>
              <a:gd name="T34" fmla="*/ 16 w 169"/>
              <a:gd name="T35" fmla="*/ 41 h 134"/>
              <a:gd name="T36" fmla="*/ 5 w 169"/>
              <a:gd name="T37" fmla="*/ 31 h 134"/>
              <a:gd name="T38" fmla="*/ 0 w 169"/>
              <a:gd name="T39" fmla="*/ 18 h 134"/>
              <a:gd name="T40" fmla="*/ 4 w 169"/>
              <a:gd name="T41" fmla="*/ 5 h 134"/>
              <a:gd name="T42" fmla="*/ 15 w 169"/>
              <a:gd name="T43" fmla="*/ 0 h 134"/>
              <a:gd name="T44" fmla="*/ 154 w 169"/>
              <a:gd name="T45" fmla="*/ 0 h 134"/>
              <a:gd name="T46" fmla="*/ 165 w 169"/>
              <a:gd name="T47" fmla="*/ 5 h 134"/>
              <a:gd name="T48" fmla="*/ 169 w 169"/>
              <a:gd name="T49" fmla="*/ 16 h 134"/>
              <a:gd name="T50" fmla="*/ 169 w 169"/>
              <a:gd name="T51" fmla="*/ 43 h 134"/>
              <a:gd name="T52" fmla="*/ 169 w 169"/>
              <a:gd name="T53" fmla="*/ 118 h 134"/>
              <a:gd name="T54" fmla="*/ 165 w 169"/>
              <a:gd name="T55" fmla="*/ 129 h 134"/>
              <a:gd name="T56" fmla="*/ 154 w 169"/>
              <a:gd name="T57" fmla="*/ 134 h 134"/>
              <a:gd name="T58" fmla="*/ 15 w 169"/>
              <a:gd name="T59" fmla="*/ 134 h 134"/>
              <a:gd name="T60" fmla="*/ 4 w 169"/>
              <a:gd name="T61" fmla="*/ 129 h 134"/>
              <a:gd name="T62" fmla="*/ 0 w 169"/>
              <a:gd name="T63" fmla="*/ 118 h 134"/>
              <a:gd name="T64" fmla="*/ 0 w 169"/>
              <a:gd name="T65" fmla="*/ 43 h 134"/>
              <a:gd name="T66" fmla="*/ 9 w 169"/>
              <a:gd name="T67" fmla="*/ 52 h 134"/>
              <a:gd name="T68" fmla="*/ 56 w 169"/>
              <a:gd name="T69" fmla="*/ 84 h 134"/>
              <a:gd name="T70" fmla="*/ 65 w 169"/>
              <a:gd name="T71" fmla="*/ 90 h 134"/>
              <a:gd name="T72" fmla="*/ 74 w 169"/>
              <a:gd name="T73" fmla="*/ 95 h 134"/>
              <a:gd name="T74" fmla="*/ 84 w 169"/>
              <a:gd name="T75" fmla="*/ 97 h 134"/>
              <a:gd name="T76" fmla="*/ 84 w 169"/>
              <a:gd name="T77" fmla="*/ 97 h 134"/>
              <a:gd name="T78" fmla="*/ 84 w 169"/>
              <a:gd name="T79" fmla="*/ 97 h 134"/>
              <a:gd name="T80" fmla="*/ 95 w 169"/>
              <a:gd name="T81" fmla="*/ 95 h 134"/>
              <a:gd name="T82" fmla="*/ 104 w 169"/>
              <a:gd name="T83" fmla="*/ 90 h 134"/>
              <a:gd name="T84" fmla="*/ 112 w 169"/>
              <a:gd name="T85" fmla="*/ 84 h 134"/>
              <a:gd name="T86" fmla="*/ 160 w 169"/>
              <a:gd name="T87" fmla="*/ 52 h 134"/>
              <a:gd name="T88" fmla="*/ 169 w 169"/>
              <a:gd name="T89" fmla="*/ 4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9" h="134">
                <a:moveTo>
                  <a:pt x="169" y="16"/>
                </a:moveTo>
                <a:cubicBezTo>
                  <a:pt x="169" y="21"/>
                  <a:pt x="167" y="25"/>
                  <a:pt x="164" y="30"/>
                </a:cubicBezTo>
                <a:cubicBezTo>
                  <a:pt x="161" y="34"/>
                  <a:pt x="157" y="38"/>
                  <a:pt x="153" y="41"/>
                </a:cubicBezTo>
                <a:cubicBezTo>
                  <a:pt x="129" y="58"/>
                  <a:pt x="114" y="68"/>
                  <a:pt x="109" y="72"/>
                </a:cubicBezTo>
                <a:cubicBezTo>
                  <a:pt x="108" y="73"/>
                  <a:pt x="107" y="74"/>
                  <a:pt x="105" y="75"/>
                </a:cubicBezTo>
                <a:cubicBezTo>
                  <a:pt x="103" y="77"/>
                  <a:pt x="101" y="78"/>
                  <a:pt x="99" y="79"/>
                </a:cubicBezTo>
                <a:cubicBezTo>
                  <a:pt x="98" y="80"/>
                  <a:pt x="96" y="81"/>
                  <a:pt x="95" y="82"/>
                </a:cubicBezTo>
                <a:cubicBezTo>
                  <a:pt x="93" y="83"/>
                  <a:pt x="91" y="84"/>
                  <a:pt x="89" y="84"/>
                </a:cubicBezTo>
                <a:cubicBezTo>
                  <a:pt x="87" y="85"/>
                  <a:pt x="86" y="85"/>
                  <a:pt x="84" y="85"/>
                </a:cubicBezTo>
                <a:cubicBezTo>
                  <a:pt x="84" y="85"/>
                  <a:pt x="84" y="85"/>
                  <a:pt x="84" y="85"/>
                </a:cubicBezTo>
                <a:cubicBezTo>
                  <a:pt x="84" y="85"/>
                  <a:pt x="84" y="85"/>
                  <a:pt x="84" y="85"/>
                </a:cubicBezTo>
                <a:cubicBezTo>
                  <a:pt x="83" y="85"/>
                  <a:pt x="81" y="85"/>
                  <a:pt x="79" y="84"/>
                </a:cubicBezTo>
                <a:cubicBezTo>
                  <a:pt x="78" y="84"/>
                  <a:pt x="76" y="83"/>
                  <a:pt x="74" y="82"/>
                </a:cubicBezTo>
                <a:cubicBezTo>
                  <a:pt x="72" y="81"/>
                  <a:pt x="70" y="80"/>
                  <a:pt x="69" y="79"/>
                </a:cubicBezTo>
                <a:cubicBezTo>
                  <a:pt x="68" y="78"/>
                  <a:pt x="66" y="77"/>
                  <a:pt x="64" y="75"/>
                </a:cubicBezTo>
                <a:cubicBezTo>
                  <a:pt x="62" y="74"/>
                  <a:pt x="61" y="73"/>
                  <a:pt x="60" y="72"/>
                </a:cubicBezTo>
                <a:cubicBezTo>
                  <a:pt x="54" y="68"/>
                  <a:pt x="46" y="62"/>
                  <a:pt x="35" y="55"/>
                </a:cubicBezTo>
                <a:cubicBezTo>
                  <a:pt x="24" y="47"/>
                  <a:pt x="18" y="43"/>
                  <a:pt x="16" y="41"/>
                </a:cubicBezTo>
                <a:cubicBezTo>
                  <a:pt x="12" y="39"/>
                  <a:pt x="8" y="35"/>
                  <a:pt x="5" y="31"/>
                </a:cubicBezTo>
                <a:cubicBezTo>
                  <a:pt x="1" y="26"/>
                  <a:pt x="0" y="22"/>
                  <a:pt x="0" y="18"/>
                </a:cubicBezTo>
                <a:cubicBezTo>
                  <a:pt x="0" y="13"/>
                  <a:pt x="1" y="9"/>
                  <a:pt x="4" y="5"/>
                </a:cubicBezTo>
                <a:cubicBezTo>
                  <a:pt x="6" y="2"/>
                  <a:pt x="10" y="0"/>
                  <a:pt x="15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8" y="0"/>
                  <a:pt x="162" y="2"/>
                  <a:pt x="165" y="5"/>
                </a:cubicBezTo>
                <a:cubicBezTo>
                  <a:pt x="168" y="8"/>
                  <a:pt x="169" y="11"/>
                  <a:pt x="169" y="16"/>
                </a:cubicBezTo>
                <a:close/>
                <a:moveTo>
                  <a:pt x="169" y="43"/>
                </a:moveTo>
                <a:cubicBezTo>
                  <a:pt x="169" y="118"/>
                  <a:pt x="169" y="118"/>
                  <a:pt x="169" y="118"/>
                </a:cubicBezTo>
                <a:cubicBezTo>
                  <a:pt x="169" y="123"/>
                  <a:pt x="168" y="126"/>
                  <a:pt x="165" y="129"/>
                </a:cubicBezTo>
                <a:cubicBezTo>
                  <a:pt x="162" y="132"/>
                  <a:pt x="158" y="134"/>
                  <a:pt x="154" y="134"/>
                </a:cubicBezTo>
                <a:cubicBezTo>
                  <a:pt x="15" y="134"/>
                  <a:pt x="15" y="134"/>
                  <a:pt x="15" y="134"/>
                </a:cubicBezTo>
                <a:cubicBezTo>
                  <a:pt x="11" y="134"/>
                  <a:pt x="7" y="132"/>
                  <a:pt x="4" y="129"/>
                </a:cubicBezTo>
                <a:cubicBezTo>
                  <a:pt x="1" y="126"/>
                  <a:pt x="0" y="123"/>
                  <a:pt x="0" y="118"/>
                </a:cubicBezTo>
                <a:cubicBezTo>
                  <a:pt x="0" y="43"/>
                  <a:pt x="0" y="43"/>
                  <a:pt x="0" y="43"/>
                </a:cubicBezTo>
                <a:cubicBezTo>
                  <a:pt x="2" y="46"/>
                  <a:pt x="6" y="49"/>
                  <a:pt x="9" y="52"/>
                </a:cubicBezTo>
                <a:cubicBezTo>
                  <a:pt x="32" y="67"/>
                  <a:pt x="48" y="78"/>
                  <a:pt x="56" y="84"/>
                </a:cubicBezTo>
                <a:cubicBezTo>
                  <a:pt x="60" y="87"/>
                  <a:pt x="63" y="89"/>
                  <a:pt x="65" y="90"/>
                </a:cubicBezTo>
                <a:cubicBezTo>
                  <a:pt x="67" y="92"/>
                  <a:pt x="70" y="93"/>
                  <a:pt x="74" y="95"/>
                </a:cubicBezTo>
                <a:cubicBezTo>
                  <a:pt x="78" y="96"/>
                  <a:pt x="81" y="97"/>
                  <a:pt x="84" y="97"/>
                </a:cubicBezTo>
                <a:cubicBezTo>
                  <a:pt x="84" y="97"/>
                  <a:pt x="84" y="97"/>
                  <a:pt x="84" y="97"/>
                </a:cubicBezTo>
                <a:cubicBezTo>
                  <a:pt x="84" y="97"/>
                  <a:pt x="84" y="97"/>
                  <a:pt x="84" y="97"/>
                </a:cubicBezTo>
                <a:cubicBezTo>
                  <a:pt x="88" y="97"/>
                  <a:pt x="91" y="96"/>
                  <a:pt x="95" y="95"/>
                </a:cubicBezTo>
                <a:cubicBezTo>
                  <a:pt x="99" y="93"/>
                  <a:pt x="102" y="92"/>
                  <a:pt x="104" y="90"/>
                </a:cubicBezTo>
                <a:cubicBezTo>
                  <a:pt x="106" y="89"/>
                  <a:pt x="109" y="87"/>
                  <a:pt x="112" y="84"/>
                </a:cubicBezTo>
                <a:cubicBezTo>
                  <a:pt x="123" y="76"/>
                  <a:pt x="139" y="66"/>
                  <a:pt x="160" y="52"/>
                </a:cubicBezTo>
                <a:cubicBezTo>
                  <a:pt x="163" y="49"/>
                  <a:pt x="166" y="46"/>
                  <a:pt x="169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2" name="Freeform 202"/>
          <p:cNvSpPr>
            <a:spLocks noChangeAspect="1" noEditPoints="1"/>
          </p:cNvSpPr>
          <p:nvPr/>
        </p:nvSpPr>
        <p:spPr bwMode="auto">
          <a:xfrm>
            <a:off x="1402535" y="3107479"/>
            <a:ext cx="149885" cy="143640"/>
          </a:xfrm>
          <a:custGeom>
            <a:avLst/>
            <a:gdLst>
              <a:gd name="T0" fmla="*/ 35 w 145"/>
              <a:gd name="T1" fmla="*/ 16 h 139"/>
              <a:gd name="T2" fmla="*/ 30 w 145"/>
              <a:gd name="T3" fmla="*/ 28 h 139"/>
              <a:gd name="T4" fmla="*/ 17 w 145"/>
              <a:gd name="T5" fmla="*/ 33 h 139"/>
              <a:gd name="T6" fmla="*/ 17 w 145"/>
              <a:gd name="T7" fmla="*/ 33 h 139"/>
              <a:gd name="T8" fmla="*/ 4 w 145"/>
              <a:gd name="T9" fmla="*/ 28 h 139"/>
              <a:gd name="T10" fmla="*/ 0 w 145"/>
              <a:gd name="T11" fmla="*/ 16 h 139"/>
              <a:gd name="T12" fmla="*/ 5 w 145"/>
              <a:gd name="T13" fmla="*/ 5 h 139"/>
              <a:gd name="T14" fmla="*/ 17 w 145"/>
              <a:gd name="T15" fmla="*/ 0 h 139"/>
              <a:gd name="T16" fmla="*/ 30 w 145"/>
              <a:gd name="T17" fmla="*/ 5 h 139"/>
              <a:gd name="T18" fmla="*/ 35 w 145"/>
              <a:gd name="T19" fmla="*/ 16 h 139"/>
              <a:gd name="T20" fmla="*/ 33 w 145"/>
              <a:gd name="T21" fmla="*/ 45 h 139"/>
              <a:gd name="T22" fmla="*/ 33 w 145"/>
              <a:gd name="T23" fmla="*/ 139 h 139"/>
              <a:gd name="T24" fmla="*/ 2 w 145"/>
              <a:gd name="T25" fmla="*/ 139 h 139"/>
              <a:gd name="T26" fmla="*/ 2 w 145"/>
              <a:gd name="T27" fmla="*/ 45 h 139"/>
              <a:gd name="T28" fmla="*/ 33 w 145"/>
              <a:gd name="T29" fmla="*/ 45 h 139"/>
              <a:gd name="T30" fmla="*/ 145 w 145"/>
              <a:gd name="T31" fmla="*/ 85 h 139"/>
              <a:gd name="T32" fmla="*/ 145 w 145"/>
              <a:gd name="T33" fmla="*/ 139 h 139"/>
              <a:gd name="T34" fmla="*/ 114 w 145"/>
              <a:gd name="T35" fmla="*/ 139 h 139"/>
              <a:gd name="T36" fmla="*/ 114 w 145"/>
              <a:gd name="T37" fmla="*/ 89 h 139"/>
              <a:gd name="T38" fmla="*/ 110 w 145"/>
              <a:gd name="T39" fmla="*/ 73 h 139"/>
              <a:gd name="T40" fmla="*/ 98 w 145"/>
              <a:gd name="T41" fmla="*/ 68 h 139"/>
              <a:gd name="T42" fmla="*/ 88 w 145"/>
              <a:gd name="T43" fmla="*/ 71 h 139"/>
              <a:gd name="T44" fmla="*/ 82 w 145"/>
              <a:gd name="T45" fmla="*/ 79 h 139"/>
              <a:gd name="T46" fmla="*/ 81 w 145"/>
              <a:gd name="T47" fmla="*/ 87 h 139"/>
              <a:gd name="T48" fmla="*/ 81 w 145"/>
              <a:gd name="T49" fmla="*/ 139 h 139"/>
              <a:gd name="T50" fmla="*/ 50 w 145"/>
              <a:gd name="T51" fmla="*/ 139 h 139"/>
              <a:gd name="T52" fmla="*/ 50 w 145"/>
              <a:gd name="T53" fmla="*/ 78 h 139"/>
              <a:gd name="T54" fmla="*/ 50 w 145"/>
              <a:gd name="T55" fmla="*/ 50 h 139"/>
              <a:gd name="T56" fmla="*/ 50 w 145"/>
              <a:gd name="T57" fmla="*/ 45 h 139"/>
              <a:gd name="T58" fmla="*/ 81 w 145"/>
              <a:gd name="T59" fmla="*/ 45 h 139"/>
              <a:gd name="T60" fmla="*/ 81 w 145"/>
              <a:gd name="T61" fmla="*/ 59 h 139"/>
              <a:gd name="T62" fmla="*/ 81 w 145"/>
              <a:gd name="T63" fmla="*/ 59 h 139"/>
              <a:gd name="T64" fmla="*/ 85 w 145"/>
              <a:gd name="T65" fmla="*/ 54 h 139"/>
              <a:gd name="T66" fmla="*/ 90 w 145"/>
              <a:gd name="T67" fmla="*/ 49 h 139"/>
              <a:gd name="T68" fmla="*/ 98 w 145"/>
              <a:gd name="T69" fmla="*/ 45 h 139"/>
              <a:gd name="T70" fmla="*/ 109 w 145"/>
              <a:gd name="T71" fmla="*/ 43 h 139"/>
              <a:gd name="T72" fmla="*/ 135 w 145"/>
              <a:gd name="T73" fmla="*/ 54 h 139"/>
              <a:gd name="T74" fmla="*/ 145 w 145"/>
              <a:gd name="T75" fmla="*/ 85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5" h="139">
                <a:moveTo>
                  <a:pt x="35" y="16"/>
                </a:moveTo>
                <a:cubicBezTo>
                  <a:pt x="35" y="21"/>
                  <a:pt x="33" y="25"/>
                  <a:pt x="30" y="28"/>
                </a:cubicBezTo>
                <a:cubicBezTo>
                  <a:pt x="27" y="31"/>
                  <a:pt x="22" y="33"/>
                  <a:pt x="17" y="33"/>
                </a:cubicBezTo>
                <a:cubicBezTo>
                  <a:pt x="17" y="33"/>
                  <a:pt x="17" y="33"/>
                  <a:pt x="17" y="33"/>
                </a:cubicBezTo>
                <a:cubicBezTo>
                  <a:pt x="12" y="33"/>
                  <a:pt x="8" y="31"/>
                  <a:pt x="4" y="28"/>
                </a:cubicBezTo>
                <a:cubicBezTo>
                  <a:pt x="1" y="25"/>
                  <a:pt x="0" y="21"/>
                  <a:pt x="0" y="16"/>
                </a:cubicBezTo>
                <a:cubicBezTo>
                  <a:pt x="0" y="12"/>
                  <a:pt x="1" y="8"/>
                  <a:pt x="5" y="5"/>
                </a:cubicBezTo>
                <a:cubicBezTo>
                  <a:pt x="8" y="2"/>
                  <a:pt x="12" y="0"/>
                  <a:pt x="17" y="0"/>
                </a:cubicBezTo>
                <a:cubicBezTo>
                  <a:pt x="23" y="0"/>
                  <a:pt x="27" y="2"/>
                  <a:pt x="30" y="5"/>
                </a:cubicBezTo>
                <a:cubicBezTo>
                  <a:pt x="33" y="8"/>
                  <a:pt x="35" y="12"/>
                  <a:pt x="35" y="16"/>
                </a:cubicBezTo>
                <a:close/>
                <a:moveTo>
                  <a:pt x="33" y="45"/>
                </a:moveTo>
                <a:cubicBezTo>
                  <a:pt x="33" y="139"/>
                  <a:pt x="33" y="139"/>
                  <a:pt x="33" y="139"/>
                </a:cubicBezTo>
                <a:cubicBezTo>
                  <a:pt x="2" y="139"/>
                  <a:pt x="2" y="139"/>
                  <a:pt x="2" y="139"/>
                </a:cubicBezTo>
                <a:cubicBezTo>
                  <a:pt x="2" y="45"/>
                  <a:pt x="2" y="45"/>
                  <a:pt x="2" y="45"/>
                </a:cubicBezTo>
                <a:lnTo>
                  <a:pt x="33" y="45"/>
                </a:lnTo>
                <a:close/>
                <a:moveTo>
                  <a:pt x="145" y="85"/>
                </a:moveTo>
                <a:cubicBezTo>
                  <a:pt x="145" y="139"/>
                  <a:pt x="145" y="139"/>
                  <a:pt x="145" y="139"/>
                </a:cubicBezTo>
                <a:cubicBezTo>
                  <a:pt x="114" y="139"/>
                  <a:pt x="114" y="139"/>
                  <a:pt x="114" y="139"/>
                </a:cubicBezTo>
                <a:cubicBezTo>
                  <a:pt x="114" y="89"/>
                  <a:pt x="114" y="89"/>
                  <a:pt x="114" y="89"/>
                </a:cubicBezTo>
                <a:cubicBezTo>
                  <a:pt x="114" y="82"/>
                  <a:pt x="113" y="77"/>
                  <a:pt x="110" y="73"/>
                </a:cubicBezTo>
                <a:cubicBezTo>
                  <a:pt x="107" y="70"/>
                  <a:pt x="104" y="68"/>
                  <a:pt x="98" y="68"/>
                </a:cubicBezTo>
                <a:cubicBezTo>
                  <a:pt x="94" y="68"/>
                  <a:pt x="91" y="69"/>
                  <a:pt x="88" y="71"/>
                </a:cubicBezTo>
                <a:cubicBezTo>
                  <a:pt x="85" y="73"/>
                  <a:pt x="83" y="76"/>
                  <a:pt x="82" y="79"/>
                </a:cubicBezTo>
                <a:cubicBezTo>
                  <a:pt x="81" y="81"/>
                  <a:pt x="81" y="84"/>
                  <a:pt x="81" y="87"/>
                </a:cubicBezTo>
                <a:cubicBezTo>
                  <a:pt x="81" y="139"/>
                  <a:pt x="81" y="139"/>
                  <a:pt x="81" y="139"/>
                </a:cubicBezTo>
                <a:cubicBezTo>
                  <a:pt x="50" y="139"/>
                  <a:pt x="50" y="139"/>
                  <a:pt x="50" y="139"/>
                </a:cubicBezTo>
                <a:cubicBezTo>
                  <a:pt x="50" y="114"/>
                  <a:pt x="50" y="93"/>
                  <a:pt x="50" y="78"/>
                </a:cubicBezTo>
                <a:cubicBezTo>
                  <a:pt x="50" y="62"/>
                  <a:pt x="50" y="53"/>
                  <a:pt x="50" y="50"/>
                </a:cubicBezTo>
                <a:cubicBezTo>
                  <a:pt x="50" y="45"/>
                  <a:pt x="50" y="45"/>
                  <a:pt x="50" y="45"/>
                </a:cubicBezTo>
                <a:cubicBezTo>
                  <a:pt x="81" y="45"/>
                  <a:pt x="81" y="45"/>
                  <a:pt x="81" y="45"/>
                </a:cubicBezTo>
                <a:cubicBezTo>
                  <a:pt x="81" y="59"/>
                  <a:pt x="81" y="59"/>
                  <a:pt x="81" y="59"/>
                </a:cubicBezTo>
                <a:cubicBezTo>
                  <a:pt x="81" y="59"/>
                  <a:pt x="81" y="59"/>
                  <a:pt x="81" y="59"/>
                </a:cubicBezTo>
                <a:cubicBezTo>
                  <a:pt x="82" y="57"/>
                  <a:pt x="83" y="55"/>
                  <a:pt x="85" y="54"/>
                </a:cubicBezTo>
                <a:cubicBezTo>
                  <a:pt x="86" y="52"/>
                  <a:pt x="88" y="50"/>
                  <a:pt x="90" y="49"/>
                </a:cubicBezTo>
                <a:cubicBezTo>
                  <a:pt x="92" y="47"/>
                  <a:pt x="95" y="46"/>
                  <a:pt x="98" y="45"/>
                </a:cubicBezTo>
                <a:cubicBezTo>
                  <a:pt x="102" y="44"/>
                  <a:pt x="105" y="43"/>
                  <a:pt x="109" y="43"/>
                </a:cubicBezTo>
                <a:cubicBezTo>
                  <a:pt x="120" y="43"/>
                  <a:pt x="129" y="47"/>
                  <a:pt x="135" y="54"/>
                </a:cubicBezTo>
                <a:cubicBezTo>
                  <a:pt x="142" y="61"/>
                  <a:pt x="145" y="72"/>
                  <a:pt x="145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3" name="Freeform 203"/>
          <p:cNvSpPr>
            <a:spLocks noChangeAspect="1"/>
          </p:cNvSpPr>
          <p:nvPr/>
        </p:nvSpPr>
        <p:spPr bwMode="auto">
          <a:xfrm>
            <a:off x="1552420" y="3104356"/>
            <a:ext cx="149885" cy="151447"/>
          </a:xfrm>
          <a:custGeom>
            <a:avLst/>
            <a:gdLst>
              <a:gd name="T0" fmla="*/ 139 w 145"/>
              <a:gd name="T1" fmla="*/ 45 h 146"/>
              <a:gd name="T2" fmla="*/ 145 w 145"/>
              <a:gd name="T3" fmla="*/ 73 h 146"/>
              <a:gd name="T4" fmla="*/ 139 w 145"/>
              <a:gd name="T5" fmla="*/ 101 h 146"/>
              <a:gd name="T6" fmla="*/ 124 w 145"/>
              <a:gd name="T7" fmla="*/ 124 h 146"/>
              <a:gd name="T8" fmla="*/ 101 w 145"/>
              <a:gd name="T9" fmla="*/ 140 h 146"/>
              <a:gd name="T10" fmla="*/ 73 w 145"/>
              <a:gd name="T11" fmla="*/ 146 h 146"/>
              <a:gd name="T12" fmla="*/ 42 w 145"/>
              <a:gd name="T13" fmla="*/ 139 h 146"/>
              <a:gd name="T14" fmla="*/ 17 w 145"/>
              <a:gd name="T15" fmla="*/ 119 h 146"/>
              <a:gd name="T16" fmla="*/ 16 w 145"/>
              <a:gd name="T17" fmla="*/ 117 h 146"/>
              <a:gd name="T18" fmla="*/ 17 w 145"/>
              <a:gd name="T19" fmla="*/ 115 h 146"/>
              <a:gd name="T20" fmla="*/ 30 w 145"/>
              <a:gd name="T21" fmla="*/ 102 h 146"/>
              <a:gd name="T22" fmla="*/ 32 w 145"/>
              <a:gd name="T23" fmla="*/ 101 h 146"/>
              <a:gd name="T24" fmla="*/ 34 w 145"/>
              <a:gd name="T25" fmla="*/ 103 h 146"/>
              <a:gd name="T26" fmla="*/ 51 w 145"/>
              <a:gd name="T27" fmla="*/ 116 h 146"/>
              <a:gd name="T28" fmla="*/ 73 w 145"/>
              <a:gd name="T29" fmla="*/ 121 h 146"/>
              <a:gd name="T30" fmla="*/ 91 w 145"/>
              <a:gd name="T31" fmla="*/ 118 h 146"/>
              <a:gd name="T32" fmla="*/ 107 w 145"/>
              <a:gd name="T33" fmla="*/ 107 h 146"/>
              <a:gd name="T34" fmla="*/ 117 w 145"/>
              <a:gd name="T35" fmla="*/ 92 h 146"/>
              <a:gd name="T36" fmla="*/ 121 w 145"/>
              <a:gd name="T37" fmla="*/ 73 h 146"/>
              <a:gd name="T38" fmla="*/ 117 w 145"/>
              <a:gd name="T39" fmla="*/ 54 h 146"/>
              <a:gd name="T40" fmla="*/ 107 w 145"/>
              <a:gd name="T41" fmla="*/ 39 h 146"/>
              <a:gd name="T42" fmla="*/ 91 w 145"/>
              <a:gd name="T43" fmla="*/ 28 h 146"/>
              <a:gd name="T44" fmla="*/ 73 w 145"/>
              <a:gd name="T45" fmla="*/ 25 h 146"/>
              <a:gd name="T46" fmla="*/ 55 w 145"/>
              <a:gd name="T47" fmla="*/ 28 h 146"/>
              <a:gd name="T48" fmla="*/ 40 w 145"/>
              <a:gd name="T49" fmla="*/ 37 h 146"/>
              <a:gd name="T50" fmla="*/ 53 w 145"/>
              <a:gd name="T51" fmla="*/ 51 h 146"/>
              <a:gd name="T52" fmla="*/ 54 w 145"/>
              <a:gd name="T53" fmla="*/ 57 h 146"/>
              <a:gd name="T54" fmla="*/ 48 w 145"/>
              <a:gd name="T55" fmla="*/ 61 h 146"/>
              <a:gd name="T56" fmla="*/ 6 w 145"/>
              <a:gd name="T57" fmla="*/ 61 h 146"/>
              <a:gd name="T58" fmla="*/ 2 w 145"/>
              <a:gd name="T59" fmla="*/ 59 h 146"/>
              <a:gd name="T60" fmla="*/ 0 w 145"/>
              <a:gd name="T61" fmla="*/ 55 h 146"/>
              <a:gd name="T62" fmla="*/ 0 w 145"/>
              <a:gd name="T63" fmla="*/ 12 h 146"/>
              <a:gd name="T64" fmla="*/ 4 w 145"/>
              <a:gd name="T65" fmla="*/ 7 h 146"/>
              <a:gd name="T66" fmla="*/ 10 w 145"/>
              <a:gd name="T67" fmla="*/ 8 h 146"/>
              <a:gd name="T68" fmla="*/ 23 w 145"/>
              <a:gd name="T69" fmla="*/ 20 h 146"/>
              <a:gd name="T70" fmla="*/ 46 w 145"/>
              <a:gd name="T71" fmla="*/ 6 h 146"/>
              <a:gd name="T72" fmla="*/ 73 w 145"/>
              <a:gd name="T73" fmla="*/ 0 h 146"/>
              <a:gd name="T74" fmla="*/ 101 w 145"/>
              <a:gd name="T75" fmla="*/ 6 h 146"/>
              <a:gd name="T76" fmla="*/ 124 w 145"/>
              <a:gd name="T77" fmla="*/ 22 h 146"/>
              <a:gd name="T78" fmla="*/ 139 w 145"/>
              <a:gd name="T79" fmla="*/ 4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45" h="146">
                <a:moveTo>
                  <a:pt x="139" y="45"/>
                </a:moveTo>
                <a:cubicBezTo>
                  <a:pt x="143" y="54"/>
                  <a:pt x="145" y="63"/>
                  <a:pt x="145" y="73"/>
                </a:cubicBezTo>
                <a:cubicBezTo>
                  <a:pt x="145" y="83"/>
                  <a:pt x="143" y="92"/>
                  <a:pt x="139" y="101"/>
                </a:cubicBezTo>
                <a:cubicBezTo>
                  <a:pt x="136" y="110"/>
                  <a:pt x="130" y="118"/>
                  <a:pt x="124" y="124"/>
                </a:cubicBezTo>
                <a:cubicBezTo>
                  <a:pt x="117" y="131"/>
                  <a:pt x="110" y="136"/>
                  <a:pt x="101" y="140"/>
                </a:cubicBezTo>
                <a:cubicBezTo>
                  <a:pt x="92" y="144"/>
                  <a:pt x="82" y="146"/>
                  <a:pt x="73" y="146"/>
                </a:cubicBezTo>
                <a:cubicBezTo>
                  <a:pt x="62" y="146"/>
                  <a:pt x="51" y="143"/>
                  <a:pt x="42" y="139"/>
                </a:cubicBezTo>
                <a:cubicBezTo>
                  <a:pt x="32" y="134"/>
                  <a:pt x="24" y="128"/>
                  <a:pt x="17" y="119"/>
                </a:cubicBezTo>
                <a:cubicBezTo>
                  <a:pt x="16" y="119"/>
                  <a:pt x="16" y="118"/>
                  <a:pt x="16" y="117"/>
                </a:cubicBezTo>
                <a:cubicBezTo>
                  <a:pt x="16" y="116"/>
                  <a:pt x="16" y="116"/>
                  <a:pt x="17" y="115"/>
                </a:cubicBezTo>
                <a:cubicBezTo>
                  <a:pt x="30" y="102"/>
                  <a:pt x="30" y="102"/>
                  <a:pt x="30" y="102"/>
                </a:cubicBezTo>
                <a:cubicBezTo>
                  <a:pt x="30" y="102"/>
                  <a:pt x="31" y="101"/>
                  <a:pt x="32" y="101"/>
                </a:cubicBezTo>
                <a:cubicBezTo>
                  <a:pt x="33" y="102"/>
                  <a:pt x="34" y="102"/>
                  <a:pt x="34" y="103"/>
                </a:cubicBezTo>
                <a:cubicBezTo>
                  <a:pt x="39" y="109"/>
                  <a:pt x="45" y="113"/>
                  <a:pt x="51" y="116"/>
                </a:cubicBezTo>
                <a:cubicBezTo>
                  <a:pt x="58" y="120"/>
                  <a:pt x="65" y="121"/>
                  <a:pt x="73" y="121"/>
                </a:cubicBezTo>
                <a:cubicBezTo>
                  <a:pt x="79" y="121"/>
                  <a:pt x="85" y="120"/>
                  <a:pt x="91" y="118"/>
                </a:cubicBezTo>
                <a:cubicBezTo>
                  <a:pt x="97" y="115"/>
                  <a:pt x="102" y="112"/>
                  <a:pt x="107" y="107"/>
                </a:cubicBezTo>
                <a:cubicBezTo>
                  <a:pt x="111" y="103"/>
                  <a:pt x="115" y="98"/>
                  <a:pt x="117" y="92"/>
                </a:cubicBezTo>
                <a:cubicBezTo>
                  <a:pt x="120" y="86"/>
                  <a:pt x="121" y="79"/>
                  <a:pt x="121" y="73"/>
                </a:cubicBezTo>
                <a:cubicBezTo>
                  <a:pt x="121" y="66"/>
                  <a:pt x="120" y="60"/>
                  <a:pt x="117" y="54"/>
                </a:cubicBezTo>
                <a:cubicBezTo>
                  <a:pt x="115" y="48"/>
                  <a:pt x="111" y="43"/>
                  <a:pt x="107" y="39"/>
                </a:cubicBezTo>
                <a:cubicBezTo>
                  <a:pt x="102" y="34"/>
                  <a:pt x="97" y="31"/>
                  <a:pt x="91" y="28"/>
                </a:cubicBezTo>
                <a:cubicBezTo>
                  <a:pt x="85" y="26"/>
                  <a:pt x="79" y="25"/>
                  <a:pt x="73" y="25"/>
                </a:cubicBezTo>
                <a:cubicBezTo>
                  <a:pt x="66" y="25"/>
                  <a:pt x="60" y="26"/>
                  <a:pt x="55" y="28"/>
                </a:cubicBezTo>
                <a:cubicBezTo>
                  <a:pt x="49" y="30"/>
                  <a:pt x="44" y="33"/>
                  <a:pt x="40" y="37"/>
                </a:cubicBezTo>
                <a:cubicBezTo>
                  <a:pt x="53" y="51"/>
                  <a:pt x="53" y="51"/>
                  <a:pt x="53" y="51"/>
                </a:cubicBezTo>
                <a:cubicBezTo>
                  <a:pt x="55" y="52"/>
                  <a:pt x="55" y="55"/>
                  <a:pt x="54" y="57"/>
                </a:cubicBezTo>
                <a:cubicBezTo>
                  <a:pt x="53" y="60"/>
                  <a:pt x="51" y="61"/>
                  <a:pt x="48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4" y="61"/>
                  <a:pt x="3" y="60"/>
                  <a:pt x="2" y="59"/>
                </a:cubicBezTo>
                <a:cubicBezTo>
                  <a:pt x="1" y="58"/>
                  <a:pt x="0" y="56"/>
                  <a:pt x="0" y="55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0"/>
                  <a:pt x="1" y="8"/>
                  <a:pt x="4" y="7"/>
                </a:cubicBezTo>
                <a:cubicBezTo>
                  <a:pt x="6" y="6"/>
                  <a:pt x="8" y="6"/>
                  <a:pt x="10" y="8"/>
                </a:cubicBezTo>
                <a:cubicBezTo>
                  <a:pt x="23" y="20"/>
                  <a:pt x="23" y="20"/>
                  <a:pt x="23" y="20"/>
                </a:cubicBezTo>
                <a:cubicBezTo>
                  <a:pt x="29" y="14"/>
                  <a:pt x="37" y="9"/>
                  <a:pt x="46" y="6"/>
                </a:cubicBezTo>
                <a:cubicBezTo>
                  <a:pt x="54" y="2"/>
                  <a:pt x="63" y="0"/>
                  <a:pt x="73" y="0"/>
                </a:cubicBezTo>
                <a:cubicBezTo>
                  <a:pt x="82" y="0"/>
                  <a:pt x="92" y="2"/>
                  <a:pt x="101" y="6"/>
                </a:cubicBezTo>
                <a:cubicBezTo>
                  <a:pt x="110" y="10"/>
                  <a:pt x="117" y="15"/>
                  <a:pt x="124" y="22"/>
                </a:cubicBezTo>
                <a:cubicBezTo>
                  <a:pt x="130" y="28"/>
                  <a:pt x="136" y="36"/>
                  <a:pt x="139" y="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4" name="Freeform 204"/>
          <p:cNvSpPr>
            <a:spLocks noChangeAspect="1"/>
          </p:cNvSpPr>
          <p:nvPr/>
        </p:nvSpPr>
        <p:spPr bwMode="auto">
          <a:xfrm>
            <a:off x="1753829" y="3096550"/>
            <a:ext cx="168621" cy="170182"/>
          </a:xfrm>
          <a:custGeom>
            <a:avLst/>
            <a:gdLst>
              <a:gd name="T0" fmla="*/ 160 w 163"/>
              <a:gd name="T1" fmla="*/ 150 h 164"/>
              <a:gd name="T2" fmla="*/ 141 w 163"/>
              <a:gd name="T3" fmla="*/ 164 h 164"/>
              <a:gd name="T4" fmla="*/ 98 w 163"/>
              <a:gd name="T5" fmla="*/ 126 h 164"/>
              <a:gd name="T6" fmla="*/ 99 w 163"/>
              <a:gd name="T7" fmla="*/ 108 h 164"/>
              <a:gd name="T8" fmla="*/ 63 w 163"/>
              <a:gd name="T9" fmla="*/ 96 h 164"/>
              <a:gd name="T10" fmla="*/ 56 w 163"/>
              <a:gd name="T11" fmla="*/ 96 h 164"/>
              <a:gd name="T12" fmla="*/ 59 w 163"/>
              <a:gd name="T13" fmla="*/ 98 h 164"/>
              <a:gd name="T14" fmla="*/ 61 w 163"/>
              <a:gd name="T15" fmla="*/ 101 h 164"/>
              <a:gd name="T16" fmla="*/ 62 w 163"/>
              <a:gd name="T17" fmla="*/ 103 h 164"/>
              <a:gd name="T18" fmla="*/ 59 w 163"/>
              <a:gd name="T19" fmla="*/ 112 h 164"/>
              <a:gd name="T20" fmla="*/ 56 w 163"/>
              <a:gd name="T21" fmla="*/ 115 h 164"/>
              <a:gd name="T22" fmla="*/ 52 w 163"/>
              <a:gd name="T23" fmla="*/ 118 h 164"/>
              <a:gd name="T24" fmla="*/ 47 w 163"/>
              <a:gd name="T25" fmla="*/ 120 h 164"/>
              <a:gd name="T26" fmla="*/ 2 w 163"/>
              <a:gd name="T27" fmla="*/ 78 h 164"/>
              <a:gd name="T28" fmla="*/ 0 w 163"/>
              <a:gd name="T29" fmla="*/ 69 h 164"/>
              <a:gd name="T30" fmla="*/ 2 w 163"/>
              <a:gd name="T31" fmla="*/ 65 h 164"/>
              <a:gd name="T32" fmla="*/ 6 w 163"/>
              <a:gd name="T33" fmla="*/ 62 h 164"/>
              <a:gd name="T34" fmla="*/ 14 w 163"/>
              <a:gd name="T35" fmla="*/ 57 h 164"/>
              <a:gd name="T36" fmla="*/ 17 w 163"/>
              <a:gd name="T37" fmla="*/ 58 h 164"/>
              <a:gd name="T38" fmla="*/ 20 w 163"/>
              <a:gd name="T39" fmla="*/ 60 h 164"/>
              <a:gd name="T40" fmla="*/ 22 w 163"/>
              <a:gd name="T41" fmla="*/ 62 h 164"/>
              <a:gd name="T42" fmla="*/ 22 w 163"/>
              <a:gd name="T43" fmla="*/ 60 h 164"/>
              <a:gd name="T44" fmla="*/ 56 w 163"/>
              <a:gd name="T45" fmla="*/ 24 h 164"/>
              <a:gd name="T46" fmla="*/ 63 w 163"/>
              <a:gd name="T47" fmla="*/ 24 h 164"/>
              <a:gd name="T48" fmla="*/ 60 w 163"/>
              <a:gd name="T49" fmla="*/ 21 h 164"/>
              <a:gd name="T50" fmla="*/ 58 w 163"/>
              <a:gd name="T51" fmla="*/ 19 h 164"/>
              <a:gd name="T52" fmla="*/ 57 w 163"/>
              <a:gd name="T53" fmla="*/ 16 h 164"/>
              <a:gd name="T54" fmla="*/ 60 w 163"/>
              <a:gd name="T55" fmla="*/ 8 h 164"/>
              <a:gd name="T56" fmla="*/ 63 w 163"/>
              <a:gd name="T57" fmla="*/ 4 h 164"/>
              <a:gd name="T58" fmla="*/ 67 w 163"/>
              <a:gd name="T59" fmla="*/ 1 h 164"/>
              <a:gd name="T60" fmla="*/ 72 w 163"/>
              <a:gd name="T61" fmla="*/ 0 h 164"/>
              <a:gd name="T62" fmla="*/ 117 w 163"/>
              <a:gd name="T63" fmla="*/ 41 h 164"/>
              <a:gd name="T64" fmla="*/ 119 w 163"/>
              <a:gd name="T65" fmla="*/ 50 h 164"/>
              <a:gd name="T66" fmla="*/ 116 w 163"/>
              <a:gd name="T67" fmla="*/ 54 h 164"/>
              <a:gd name="T68" fmla="*/ 113 w 163"/>
              <a:gd name="T69" fmla="*/ 58 h 164"/>
              <a:gd name="T70" fmla="*/ 105 w 163"/>
              <a:gd name="T71" fmla="*/ 62 h 164"/>
              <a:gd name="T72" fmla="*/ 102 w 163"/>
              <a:gd name="T73" fmla="*/ 61 h 164"/>
              <a:gd name="T74" fmla="*/ 99 w 163"/>
              <a:gd name="T75" fmla="*/ 60 h 164"/>
              <a:gd name="T76" fmla="*/ 97 w 163"/>
              <a:gd name="T77" fmla="*/ 58 h 164"/>
              <a:gd name="T78" fmla="*/ 97 w 163"/>
              <a:gd name="T79" fmla="*/ 60 h 164"/>
              <a:gd name="T80" fmla="*/ 84 w 163"/>
              <a:gd name="T81" fmla="*/ 75 h 164"/>
              <a:gd name="T82" fmla="*/ 117 w 163"/>
              <a:gd name="T83" fmla="*/ 95 h 164"/>
              <a:gd name="T84" fmla="*/ 160 w 163"/>
              <a:gd name="T85" fmla="*/ 133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3" h="164">
                <a:moveTo>
                  <a:pt x="163" y="141"/>
                </a:moveTo>
                <a:cubicBezTo>
                  <a:pt x="163" y="145"/>
                  <a:pt x="162" y="148"/>
                  <a:pt x="160" y="150"/>
                </a:cubicBezTo>
                <a:cubicBezTo>
                  <a:pt x="150" y="160"/>
                  <a:pt x="150" y="160"/>
                  <a:pt x="150" y="160"/>
                </a:cubicBezTo>
                <a:cubicBezTo>
                  <a:pt x="147" y="162"/>
                  <a:pt x="144" y="164"/>
                  <a:pt x="141" y="164"/>
                </a:cubicBezTo>
                <a:cubicBezTo>
                  <a:pt x="138" y="164"/>
                  <a:pt x="135" y="162"/>
                  <a:pt x="133" y="160"/>
                </a:cubicBezTo>
                <a:cubicBezTo>
                  <a:pt x="98" y="126"/>
                  <a:pt x="98" y="126"/>
                  <a:pt x="98" y="126"/>
                </a:cubicBezTo>
                <a:cubicBezTo>
                  <a:pt x="96" y="123"/>
                  <a:pt x="95" y="121"/>
                  <a:pt x="95" y="117"/>
                </a:cubicBezTo>
                <a:cubicBezTo>
                  <a:pt x="95" y="114"/>
                  <a:pt x="96" y="111"/>
                  <a:pt x="99" y="108"/>
                </a:cubicBezTo>
                <a:cubicBezTo>
                  <a:pt x="75" y="84"/>
                  <a:pt x="75" y="84"/>
                  <a:pt x="75" y="84"/>
                </a:cubicBezTo>
                <a:cubicBezTo>
                  <a:pt x="63" y="96"/>
                  <a:pt x="63" y="96"/>
                  <a:pt x="63" y="96"/>
                </a:cubicBezTo>
                <a:cubicBezTo>
                  <a:pt x="62" y="97"/>
                  <a:pt x="61" y="97"/>
                  <a:pt x="59" y="97"/>
                </a:cubicBezTo>
                <a:cubicBezTo>
                  <a:pt x="58" y="97"/>
                  <a:pt x="57" y="97"/>
                  <a:pt x="56" y="96"/>
                </a:cubicBezTo>
                <a:cubicBezTo>
                  <a:pt x="56" y="96"/>
                  <a:pt x="57" y="96"/>
                  <a:pt x="57" y="97"/>
                </a:cubicBezTo>
                <a:cubicBezTo>
                  <a:pt x="58" y="98"/>
                  <a:pt x="58" y="98"/>
                  <a:pt x="59" y="98"/>
                </a:cubicBezTo>
                <a:cubicBezTo>
                  <a:pt x="59" y="98"/>
                  <a:pt x="59" y="99"/>
                  <a:pt x="60" y="99"/>
                </a:cubicBezTo>
                <a:cubicBezTo>
                  <a:pt x="60" y="100"/>
                  <a:pt x="60" y="100"/>
                  <a:pt x="61" y="101"/>
                </a:cubicBezTo>
                <a:cubicBezTo>
                  <a:pt x="61" y="101"/>
                  <a:pt x="61" y="101"/>
                  <a:pt x="61" y="102"/>
                </a:cubicBezTo>
                <a:cubicBezTo>
                  <a:pt x="61" y="102"/>
                  <a:pt x="62" y="103"/>
                  <a:pt x="62" y="103"/>
                </a:cubicBezTo>
                <a:cubicBezTo>
                  <a:pt x="62" y="104"/>
                  <a:pt x="62" y="105"/>
                  <a:pt x="62" y="105"/>
                </a:cubicBezTo>
                <a:cubicBezTo>
                  <a:pt x="62" y="108"/>
                  <a:pt x="61" y="110"/>
                  <a:pt x="59" y="112"/>
                </a:cubicBezTo>
                <a:cubicBezTo>
                  <a:pt x="59" y="112"/>
                  <a:pt x="58" y="112"/>
                  <a:pt x="58" y="113"/>
                </a:cubicBezTo>
                <a:cubicBezTo>
                  <a:pt x="57" y="114"/>
                  <a:pt x="56" y="115"/>
                  <a:pt x="56" y="115"/>
                </a:cubicBezTo>
                <a:cubicBezTo>
                  <a:pt x="55" y="116"/>
                  <a:pt x="55" y="116"/>
                  <a:pt x="54" y="117"/>
                </a:cubicBezTo>
                <a:cubicBezTo>
                  <a:pt x="53" y="117"/>
                  <a:pt x="52" y="118"/>
                  <a:pt x="52" y="118"/>
                </a:cubicBezTo>
                <a:cubicBezTo>
                  <a:pt x="51" y="119"/>
                  <a:pt x="51" y="119"/>
                  <a:pt x="50" y="119"/>
                </a:cubicBezTo>
                <a:cubicBezTo>
                  <a:pt x="49" y="119"/>
                  <a:pt x="48" y="120"/>
                  <a:pt x="47" y="120"/>
                </a:cubicBezTo>
                <a:cubicBezTo>
                  <a:pt x="45" y="120"/>
                  <a:pt x="43" y="119"/>
                  <a:pt x="41" y="117"/>
                </a:cubicBezTo>
                <a:cubicBezTo>
                  <a:pt x="2" y="78"/>
                  <a:pt x="2" y="78"/>
                  <a:pt x="2" y="78"/>
                </a:cubicBezTo>
                <a:cubicBezTo>
                  <a:pt x="1" y="77"/>
                  <a:pt x="0" y="74"/>
                  <a:pt x="0" y="72"/>
                </a:cubicBezTo>
                <a:cubicBezTo>
                  <a:pt x="0" y="71"/>
                  <a:pt x="0" y="70"/>
                  <a:pt x="0" y="69"/>
                </a:cubicBezTo>
                <a:cubicBezTo>
                  <a:pt x="0" y="69"/>
                  <a:pt x="1" y="68"/>
                  <a:pt x="1" y="67"/>
                </a:cubicBezTo>
                <a:cubicBezTo>
                  <a:pt x="1" y="67"/>
                  <a:pt x="2" y="66"/>
                  <a:pt x="2" y="65"/>
                </a:cubicBezTo>
                <a:cubicBezTo>
                  <a:pt x="3" y="64"/>
                  <a:pt x="4" y="64"/>
                  <a:pt x="4" y="63"/>
                </a:cubicBezTo>
                <a:cubicBezTo>
                  <a:pt x="4" y="63"/>
                  <a:pt x="5" y="63"/>
                  <a:pt x="6" y="62"/>
                </a:cubicBezTo>
                <a:cubicBezTo>
                  <a:pt x="7" y="61"/>
                  <a:pt x="7" y="60"/>
                  <a:pt x="8" y="60"/>
                </a:cubicBezTo>
                <a:cubicBezTo>
                  <a:pt x="10" y="58"/>
                  <a:pt x="12" y="57"/>
                  <a:pt x="14" y="57"/>
                </a:cubicBezTo>
                <a:cubicBezTo>
                  <a:pt x="15" y="57"/>
                  <a:pt x="15" y="58"/>
                  <a:pt x="16" y="58"/>
                </a:cubicBezTo>
                <a:cubicBezTo>
                  <a:pt x="16" y="58"/>
                  <a:pt x="17" y="58"/>
                  <a:pt x="17" y="58"/>
                </a:cubicBezTo>
                <a:cubicBezTo>
                  <a:pt x="18" y="58"/>
                  <a:pt x="18" y="59"/>
                  <a:pt x="19" y="59"/>
                </a:cubicBezTo>
                <a:cubicBezTo>
                  <a:pt x="19" y="59"/>
                  <a:pt x="19" y="59"/>
                  <a:pt x="20" y="60"/>
                </a:cubicBezTo>
                <a:cubicBezTo>
                  <a:pt x="20" y="60"/>
                  <a:pt x="21" y="60"/>
                  <a:pt x="21" y="61"/>
                </a:cubicBezTo>
                <a:cubicBezTo>
                  <a:pt x="21" y="61"/>
                  <a:pt x="22" y="61"/>
                  <a:pt x="22" y="62"/>
                </a:cubicBezTo>
                <a:cubicBezTo>
                  <a:pt x="23" y="62"/>
                  <a:pt x="23" y="63"/>
                  <a:pt x="23" y="63"/>
                </a:cubicBezTo>
                <a:cubicBezTo>
                  <a:pt x="22" y="62"/>
                  <a:pt x="22" y="61"/>
                  <a:pt x="22" y="60"/>
                </a:cubicBezTo>
                <a:cubicBezTo>
                  <a:pt x="22" y="58"/>
                  <a:pt x="22" y="57"/>
                  <a:pt x="23" y="57"/>
                </a:cubicBezTo>
                <a:cubicBezTo>
                  <a:pt x="56" y="24"/>
                  <a:pt x="56" y="24"/>
                  <a:pt x="56" y="24"/>
                </a:cubicBezTo>
                <a:cubicBezTo>
                  <a:pt x="57" y="23"/>
                  <a:pt x="58" y="22"/>
                  <a:pt x="59" y="22"/>
                </a:cubicBezTo>
                <a:cubicBezTo>
                  <a:pt x="61" y="22"/>
                  <a:pt x="62" y="23"/>
                  <a:pt x="63" y="24"/>
                </a:cubicBezTo>
                <a:cubicBezTo>
                  <a:pt x="63" y="24"/>
                  <a:pt x="62" y="23"/>
                  <a:pt x="62" y="23"/>
                </a:cubicBezTo>
                <a:cubicBezTo>
                  <a:pt x="61" y="22"/>
                  <a:pt x="60" y="21"/>
                  <a:pt x="60" y="21"/>
                </a:cubicBezTo>
                <a:cubicBezTo>
                  <a:pt x="60" y="21"/>
                  <a:pt x="60" y="21"/>
                  <a:pt x="59" y="20"/>
                </a:cubicBezTo>
                <a:cubicBezTo>
                  <a:pt x="59" y="20"/>
                  <a:pt x="59" y="19"/>
                  <a:pt x="58" y="19"/>
                </a:cubicBezTo>
                <a:cubicBezTo>
                  <a:pt x="58" y="19"/>
                  <a:pt x="58" y="18"/>
                  <a:pt x="58" y="18"/>
                </a:cubicBezTo>
                <a:cubicBezTo>
                  <a:pt x="58" y="17"/>
                  <a:pt x="57" y="17"/>
                  <a:pt x="57" y="16"/>
                </a:cubicBezTo>
                <a:cubicBezTo>
                  <a:pt x="57" y="16"/>
                  <a:pt x="57" y="15"/>
                  <a:pt x="57" y="14"/>
                </a:cubicBezTo>
                <a:cubicBezTo>
                  <a:pt x="57" y="12"/>
                  <a:pt x="58" y="10"/>
                  <a:pt x="60" y="8"/>
                </a:cubicBezTo>
                <a:cubicBezTo>
                  <a:pt x="60" y="8"/>
                  <a:pt x="61" y="7"/>
                  <a:pt x="61" y="6"/>
                </a:cubicBezTo>
                <a:cubicBezTo>
                  <a:pt x="62" y="5"/>
                  <a:pt x="63" y="5"/>
                  <a:pt x="63" y="4"/>
                </a:cubicBezTo>
                <a:cubicBezTo>
                  <a:pt x="64" y="4"/>
                  <a:pt x="64" y="3"/>
                  <a:pt x="65" y="3"/>
                </a:cubicBezTo>
                <a:cubicBezTo>
                  <a:pt x="66" y="2"/>
                  <a:pt x="66" y="2"/>
                  <a:pt x="67" y="1"/>
                </a:cubicBezTo>
                <a:cubicBezTo>
                  <a:pt x="68" y="1"/>
                  <a:pt x="68" y="1"/>
                  <a:pt x="69" y="0"/>
                </a:cubicBezTo>
                <a:cubicBezTo>
                  <a:pt x="70" y="0"/>
                  <a:pt x="71" y="0"/>
                  <a:pt x="72" y="0"/>
                </a:cubicBezTo>
                <a:cubicBezTo>
                  <a:pt x="74" y="0"/>
                  <a:pt x="76" y="1"/>
                  <a:pt x="78" y="3"/>
                </a:cubicBezTo>
                <a:cubicBezTo>
                  <a:pt x="117" y="41"/>
                  <a:pt x="117" y="41"/>
                  <a:pt x="117" y="41"/>
                </a:cubicBezTo>
                <a:cubicBezTo>
                  <a:pt x="118" y="43"/>
                  <a:pt x="119" y="45"/>
                  <a:pt x="119" y="48"/>
                </a:cubicBezTo>
                <a:cubicBezTo>
                  <a:pt x="119" y="48"/>
                  <a:pt x="119" y="49"/>
                  <a:pt x="119" y="50"/>
                </a:cubicBezTo>
                <a:cubicBezTo>
                  <a:pt x="119" y="51"/>
                  <a:pt x="118" y="52"/>
                  <a:pt x="118" y="52"/>
                </a:cubicBezTo>
                <a:cubicBezTo>
                  <a:pt x="118" y="53"/>
                  <a:pt x="117" y="53"/>
                  <a:pt x="116" y="54"/>
                </a:cubicBezTo>
                <a:cubicBezTo>
                  <a:pt x="116" y="55"/>
                  <a:pt x="115" y="56"/>
                  <a:pt x="115" y="56"/>
                </a:cubicBezTo>
                <a:cubicBezTo>
                  <a:pt x="115" y="56"/>
                  <a:pt x="114" y="57"/>
                  <a:pt x="113" y="58"/>
                </a:cubicBezTo>
                <a:cubicBezTo>
                  <a:pt x="112" y="59"/>
                  <a:pt x="111" y="59"/>
                  <a:pt x="111" y="59"/>
                </a:cubicBezTo>
                <a:cubicBezTo>
                  <a:pt x="109" y="61"/>
                  <a:pt x="107" y="62"/>
                  <a:pt x="105" y="62"/>
                </a:cubicBezTo>
                <a:cubicBezTo>
                  <a:pt x="104" y="62"/>
                  <a:pt x="104" y="62"/>
                  <a:pt x="103" y="62"/>
                </a:cubicBezTo>
                <a:cubicBezTo>
                  <a:pt x="103" y="62"/>
                  <a:pt x="102" y="62"/>
                  <a:pt x="102" y="61"/>
                </a:cubicBezTo>
                <a:cubicBezTo>
                  <a:pt x="101" y="61"/>
                  <a:pt x="101" y="61"/>
                  <a:pt x="100" y="61"/>
                </a:cubicBezTo>
                <a:cubicBezTo>
                  <a:pt x="100" y="61"/>
                  <a:pt x="100" y="60"/>
                  <a:pt x="99" y="60"/>
                </a:cubicBezTo>
                <a:cubicBezTo>
                  <a:pt x="99" y="59"/>
                  <a:pt x="98" y="59"/>
                  <a:pt x="98" y="59"/>
                </a:cubicBezTo>
                <a:cubicBezTo>
                  <a:pt x="98" y="59"/>
                  <a:pt x="97" y="58"/>
                  <a:pt x="97" y="58"/>
                </a:cubicBezTo>
                <a:cubicBezTo>
                  <a:pt x="96" y="57"/>
                  <a:pt x="96" y="57"/>
                  <a:pt x="96" y="57"/>
                </a:cubicBezTo>
                <a:cubicBezTo>
                  <a:pt x="96" y="57"/>
                  <a:pt x="97" y="58"/>
                  <a:pt x="97" y="60"/>
                </a:cubicBezTo>
                <a:cubicBezTo>
                  <a:pt x="97" y="61"/>
                  <a:pt x="96" y="62"/>
                  <a:pt x="96" y="63"/>
                </a:cubicBezTo>
                <a:cubicBezTo>
                  <a:pt x="84" y="75"/>
                  <a:pt x="84" y="75"/>
                  <a:pt x="84" y="75"/>
                </a:cubicBezTo>
                <a:cubicBezTo>
                  <a:pt x="108" y="99"/>
                  <a:pt x="108" y="99"/>
                  <a:pt x="108" y="99"/>
                </a:cubicBezTo>
                <a:cubicBezTo>
                  <a:pt x="111" y="96"/>
                  <a:pt x="114" y="95"/>
                  <a:pt x="117" y="95"/>
                </a:cubicBezTo>
                <a:cubicBezTo>
                  <a:pt x="120" y="95"/>
                  <a:pt x="123" y="96"/>
                  <a:pt x="126" y="99"/>
                </a:cubicBezTo>
                <a:cubicBezTo>
                  <a:pt x="160" y="133"/>
                  <a:pt x="160" y="133"/>
                  <a:pt x="160" y="133"/>
                </a:cubicBezTo>
                <a:cubicBezTo>
                  <a:pt x="162" y="135"/>
                  <a:pt x="163" y="138"/>
                  <a:pt x="163" y="1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5" name="Freeform 206"/>
          <p:cNvSpPr>
            <a:spLocks noChangeAspect="1" noEditPoints="1"/>
          </p:cNvSpPr>
          <p:nvPr/>
        </p:nvSpPr>
        <p:spPr bwMode="auto">
          <a:xfrm>
            <a:off x="1970851" y="3116848"/>
            <a:ext cx="176428" cy="138957"/>
          </a:xfrm>
          <a:custGeom>
            <a:avLst/>
            <a:gdLst>
              <a:gd name="T0" fmla="*/ 156 w 170"/>
              <a:gd name="T1" fmla="*/ 131 h 134"/>
              <a:gd name="T2" fmla="*/ 19 w 170"/>
              <a:gd name="T3" fmla="*/ 134 h 134"/>
              <a:gd name="T4" fmla="*/ 0 w 170"/>
              <a:gd name="T5" fmla="*/ 85 h 134"/>
              <a:gd name="T6" fmla="*/ 25 w 170"/>
              <a:gd name="T7" fmla="*/ 25 h 134"/>
              <a:gd name="T8" fmla="*/ 85 w 170"/>
              <a:gd name="T9" fmla="*/ 0 h 134"/>
              <a:gd name="T10" fmla="*/ 145 w 170"/>
              <a:gd name="T11" fmla="*/ 25 h 134"/>
              <a:gd name="T12" fmla="*/ 170 w 170"/>
              <a:gd name="T13" fmla="*/ 85 h 134"/>
              <a:gd name="T14" fmla="*/ 36 w 170"/>
              <a:gd name="T15" fmla="*/ 85 h 134"/>
              <a:gd name="T16" fmla="*/ 24 w 170"/>
              <a:gd name="T17" fmla="*/ 73 h 134"/>
              <a:gd name="T18" fmla="*/ 12 w 170"/>
              <a:gd name="T19" fmla="*/ 85 h 134"/>
              <a:gd name="T20" fmla="*/ 24 w 170"/>
              <a:gd name="T21" fmla="*/ 97 h 134"/>
              <a:gd name="T22" fmla="*/ 51 w 170"/>
              <a:gd name="T23" fmla="*/ 51 h 134"/>
              <a:gd name="T24" fmla="*/ 51 w 170"/>
              <a:gd name="T25" fmla="*/ 34 h 134"/>
              <a:gd name="T26" fmla="*/ 34 w 170"/>
              <a:gd name="T27" fmla="*/ 34 h 134"/>
              <a:gd name="T28" fmla="*/ 34 w 170"/>
              <a:gd name="T29" fmla="*/ 51 h 134"/>
              <a:gd name="T30" fmla="*/ 51 w 170"/>
              <a:gd name="T31" fmla="*/ 51 h 134"/>
              <a:gd name="T32" fmla="*/ 105 w 170"/>
              <a:gd name="T33" fmla="*/ 52 h 134"/>
              <a:gd name="T34" fmla="*/ 100 w 170"/>
              <a:gd name="T35" fmla="*/ 45 h 134"/>
              <a:gd name="T36" fmla="*/ 93 w 170"/>
              <a:gd name="T37" fmla="*/ 49 h 134"/>
              <a:gd name="T38" fmla="*/ 73 w 170"/>
              <a:gd name="T39" fmla="*/ 89 h 134"/>
              <a:gd name="T40" fmla="*/ 69 w 170"/>
              <a:gd name="T41" fmla="*/ 112 h 134"/>
              <a:gd name="T42" fmla="*/ 94 w 170"/>
              <a:gd name="T43" fmla="*/ 119 h 134"/>
              <a:gd name="T44" fmla="*/ 102 w 170"/>
              <a:gd name="T45" fmla="*/ 97 h 134"/>
              <a:gd name="T46" fmla="*/ 93 w 170"/>
              <a:gd name="T47" fmla="*/ 33 h 134"/>
              <a:gd name="T48" fmla="*/ 93 w 170"/>
              <a:gd name="T49" fmla="*/ 16 h 134"/>
              <a:gd name="T50" fmla="*/ 76 w 170"/>
              <a:gd name="T51" fmla="*/ 16 h 134"/>
              <a:gd name="T52" fmla="*/ 76 w 170"/>
              <a:gd name="T53" fmla="*/ 33 h 134"/>
              <a:gd name="T54" fmla="*/ 93 w 170"/>
              <a:gd name="T55" fmla="*/ 33 h 134"/>
              <a:gd name="T56" fmla="*/ 139 w 170"/>
              <a:gd name="T57" fmla="*/ 43 h 134"/>
              <a:gd name="T58" fmla="*/ 127 w 170"/>
              <a:gd name="T59" fmla="*/ 31 h 134"/>
              <a:gd name="T60" fmla="*/ 115 w 170"/>
              <a:gd name="T61" fmla="*/ 43 h 134"/>
              <a:gd name="T62" fmla="*/ 127 w 170"/>
              <a:gd name="T63" fmla="*/ 55 h 134"/>
              <a:gd name="T64" fmla="*/ 154 w 170"/>
              <a:gd name="T65" fmla="*/ 94 h 134"/>
              <a:gd name="T66" fmla="*/ 154 w 170"/>
              <a:gd name="T67" fmla="*/ 77 h 134"/>
              <a:gd name="T68" fmla="*/ 137 w 170"/>
              <a:gd name="T69" fmla="*/ 77 h 134"/>
              <a:gd name="T70" fmla="*/ 137 w 170"/>
              <a:gd name="T71" fmla="*/ 94 h 134"/>
              <a:gd name="T72" fmla="*/ 154 w 170"/>
              <a:gd name="T73" fmla="*/ 94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0" h="134">
                <a:moveTo>
                  <a:pt x="170" y="85"/>
                </a:moveTo>
                <a:cubicBezTo>
                  <a:pt x="170" y="102"/>
                  <a:pt x="165" y="117"/>
                  <a:pt x="156" y="131"/>
                </a:cubicBezTo>
                <a:cubicBezTo>
                  <a:pt x="155" y="133"/>
                  <a:pt x="153" y="134"/>
                  <a:pt x="151" y="134"/>
                </a:cubicBezTo>
                <a:cubicBezTo>
                  <a:pt x="19" y="134"/>
                  <a:pt x="19" y="134"/>
                  <a:pt x="19" y="134"/>
                </a:cubicBezTo>
                <a:cubicBezTo>
                  <a:pt x="16" y="134"/>
                  <a:pt x="15" y="133"/>
                  <a:pt x="13" y="131"/>
                </a:cubicBezTo>
                <a:cubicBezTo>
                  <a:pt x="5" y="117"/>
                  <a:pt x="0" y="102"/>
                  <a:pt x="0" y="85"/>
                </a:cubicBezTo>
                <a:cubicBezTo>
                  <a:pt x="0" y="74"/>
                  <a:pt x="2" y="63"/>
                  <a:pt x="7" y="52"/>
                </a:cubicBezTo>
                <a:cubicBezTo>
                  <a:pt x="11" y="42"/>
                  <a:pt x="17" y="33"/>
                  <a:pt x="25" y="25"/>
                </a:cubicBezTo>
                <a:cubicBezTo>
                  <a:pt x="32" y="18"/>
                  <a:pt x="41" y="12"/>
                  <a:pt x="52" y="7"/>
                </a:cubicBezTo>
                <a:cubicBezTo>
                  <a:pt x="62" y="3"/>
                  <a:pt x="73" y="0"/>
                  <a:pt x="85" y="0"/>
                </a:cubicBezTo>
                <a:cubicBezTo>
                  <a:pt x="96" y="0"/>
                  <a:pt x="107" y="3"/>
                  <a:pt x="118" y="7"/>
                </a:cubicBezTo>
                <a:cubicBezTo>
                  <a:pt x="128" y="12"/>
                  <a:pt x="137" y="18"/>
                  <a:pt x="145" y="25"/>
                </a:cubicBezTo>
                <a:cubicBezTo>
                  <a:pt x="152" y="33"/>
                  <a:pt x="158" y="42"/>
                  <a:pt x="163" y="52"/>
                </a:cubicBezTo>
                <a:cubicBezTo>
                  <a:pt x="167" y="63"/>
                  <a:pt x="170" y="74"/>
                  <a:pt x="170" y="85"/>
                </a:cubicBezTo>
                <a:close/>
                <a:moveTo>
                  <a:pt x="33" y="94"/>
                </a:moveTo>
                <a:cubicBezTo>
                  <a:pt x="35" y="91"/>
                  <a:pt x="36" y="88"/>
                  <a:pt x="36" y="85"/>
                </a:cubicBezTo>
                <a:cubicBezTo>
                  <a:pt x="36" y="82"/>
                  <a:pt x="35" y="79"/>
                  <a:pt x="33" y="77"/>
                </a:cubicBezTo>
                <a:cubicBezTo>
                  <a:pt x="30" y="74"/>
                  <a:pt x="28" y="73"/>
                  <a:pt x="24" y="73"/>
                </a:cubicBezTo>
                <a:cubicBezTo>
                  <a:pt x="21" y="73"/>
                  <a:pt x="18" y="74"/>
                  <a:pt x="16" y="77"/>
                </a:cubicBezTo>
                <a:cubicBezTo>
                  <a:pt x="13" y="79"/>
                  <a:pt x="12" y="82"/>
                  <a:pt x="12" y="85"/>
                </a:cubicBezTo>
                <a:cubicBezTo>
                  <a:pt x="12" y="88"/>
                  <a:pt x="13" y="91"/>
                  <a:pt x="16" y="94"/>
                </a:cubicBezTo>
                <a:cubicBezTo>
                  <a:pt x="18" y="96"/>
                  <a:pt x="21" y="97"/>
                  <a:pt x="24" y="97"/>
                </a:cubicBezTo>
                <a:cubicBezTo>
                  <a:pt x="28" y="97"/>
                  <a:pt x="30" y="96"/>
                  <a:pt x="33" y="94"/>
                </a:cubicBezTo>
                <a:close/>
                <a:moveTo>
                  <a:pt x="51" y="51"/>
                </a:moveTo>
                <a:cubicBezTo>
                  <a:pt x="53" y="49"/>
                  <a:pt x="55" y="46"/>
                  <a:pt x="55" y="43"/>
                </a:cubicBezTo>
                <a:cubicBezTo>
                  <a:pt x="55" y="39"/>
                  <a:pt x="53" y="37"/>
                  <a:pt x="51" y="34"/>
                </a:cubicBezTo>
                <a:cubicBezTo>
                  <a:pt x="49" y="32"/>
                  <a:pt x="46" y="31"/>
                  <a:pt x="42" y="31"/>
                </a:cubicBezTo>
                <a:cubicBezTo>
                  <a:pt x="39" y="31"/>
                  <a:pt x="36" y="32"/>
                  <a:pt x="34" y="34"/>
                </a:cubicBezTo>
                <a:cubicBezTo>
                  <a:pt x="32" y="37"/>
                  <a:pt x="30" y="39"/>
                  <a:pt x="30" y="43"/>
                </a:cubicBezTo>
                <a:cubicBezTo>
                  <a:pt x="30" y="46"/>
                  <a:pt x="32" y="49"/>
                  <a:pt x="34" y="51"/>
                </a:cubicBezTo>
                <a:cubicBezTo>
                  <a:pt x="36" y="54"/>
                  <a:pt x="39" y="55"/>
                  <a:pt x="42" y="55"/>
                </a:cubicBezTo>
                <a:cubicBezTo>
                  <a:pt x="46" y="55"/>
                  <a:pt x="49" y="54"/>
                  <a:pt x="51" y="51"/>
                </a:cubicBezTo>
                <a:close/>
                <a:moveTo>
                  <a:pt x="95" y="88"/>
                </a:moveTo>
                <a:cubicBezTo>
                  <a:pt x="105" y="52"/>
                  <a:pt x="105" y="52"/>
                  <a:pt x="105" y="52"/>
                </a:cubicBezTo>
                <a:cubicBezTo>
                  <a:pt x="105" y="51"/>
                  <a:pt x="105" y="49"/>
                  <a:pt x="104" y="48"/>
                </a:cubicBezTo>
                <a:cubicBezTo>
                  <a:pt x="103" y="46"/>
                  <a:pt x="102" y="45"/>
                  <a:pt x="100" y="45"/>
                </a:cubicBezTo>
                <a:cubicBezTo>
                  <a:pt x="99" y="44"/>
                  <a:pt x="97" y="45"/>
                  <a:pt x="96" y="45"/>
                </a:cubicBezTo>
                <a:cubicBezTo>
                  <a:pt x="94" y="46"/>
                  <a:pt x="93" y="47"/>
                  <a:pt x="93" y="49"/>
                </a:cubicBezTo>
                <a:cubicBezTo>
                  <a:pt x="83" y="85"/>
                  <a:pt x="83" y="85"/>
                  <a:pt x="83" y="85"/>
                </a:cubicBezTo>
                <a:cubicBezTo>
                  <a:pt x="80" y="86"/>
                  <a:pt x="76" y="87"/>
                  <a:pt x="73" y="89"/>
                </a:cubicBezTo>
                <a:cubicBezTo>
                  <a:pt x="70" y="92"/>
                  <a:pt x="68" y="95"/>
                  <a:pt x="67" y="99"/>
                </a:cubicBezTo>
                <a:cubicBezTo>
                  <a:pt x="66" y="104"/>
                  <a:pt x="67" y="108"/>
                  <a:pt x="69" y="112"/>
                </a:cubicBezTo>
                <a:cubicBezTo>
                  <a:pt x="72" y="117"/>
                  <a:pt x="75" y="120"/>
                  <a:pt x="80" y="121"/>
                </a:cubicBezTo>
                <a:cubicBezTo>
                  <a:pt x="85" y="122"/>
                  <a:pt x="90" y="122"/>
                  <a:pt x="94" y="119"/>
                </a:cubicBezTo>
                <a:cubicBezTo>
                  <a:pt x="98" y="116"/>
                  <a:pt x="101" y="113"/>
                  <a:pt x="102" y="108"/>
                </a:cubicBezTo>
                <a:cubicBezTo>
                  <a:pt x="103" y="104"/>
                  <a:pt x="103" y="100"/>
                  <a:pt x="102" y="97"/>
                </a:cubicBezTo>
                <a:cubicBezTo>
                  <a:pt x="100" y="93"/>
                  <a:pt x="98" y="90"/>
                  <a:pt x="95" y="88"/>
                </a:cubicBezTo>
                <a:close/>
                <a:moveTo>
                  <a:pt x="93" y="33"/>
                </a:moveTo>
                <a:cubicBezTo>
                  <a:pt x="96" y="31"/>
                  <a:pt x="97" y="28"/>
                  <a:pt x="97" y="25"/>
                </a:cubicBezTo>
                <a:cubicBezTo>
                  <a:pt x="97" y="21"/>
                  <a:pt x="96" y="18"/>
                  <a:pt x="93" y="16"/>
                </a:cubicBezTo>
                <a:cubicBezTo>
                  <a:pt x="91" y="14"/>
                  <a:pt x="88" y="13"/>
                  <a:pt x="85" y="13"/>
                </a:cubicBezTo>
                <a:cubicBezTo>
                  <a:pt x="81" y="13"/>
                  <a:pt x="79" y="14"/>
                  <a:pt x="76" y="16"/>
                </a:cubicBezTo>
                <a:cubicBezTo>
                  <a:pt x="74" y="18"/>
                  <a:pt x="73" y="21"/>
                  <a:pt x="73" y="25"/>
                </a:cubicBezTo>
                <a:cubicBezTo>
                  <a:pt x="73" y="28"/>
                  <a:pt x="74" y="31"/>
                  <a:pt x="76" y="33"/>
                </a:cubicBezTo>
                <a:cubicBezTo>
                  <a:pt x="79" y="36"/>
                  <a:pt x="81" y="37"/>
                  <a:pt x="85" y="37"/>
                </a:cubicBezTo>
                <a:cubicBezTo>
                  <a:pt x="88" y="37"/>
                  <a:pt x="91" y="36"/>
                  <a:pt x="93" y="33"/>
                </a:cubicBezTo>
                <a:close/>
                <a:moveTo>
                  <a:pt x="136" y="51"/>
                </a:moveTo>
                <a:cubicBezTo>
                  <a:pt x="138" y="49"/>
                  <a:pt x="139" y="46"/>
                  <a:pt x="139" y="43"/>
                </a:cubicBezTo>
                <a:cubicBezTo>
                  <a:pt x="139" y="39"/>
                  <a:pt x="138" y="37"/>
                  <a:pt x="136" y="34"/>
                </a:cubicBezTo>
                <a:cubicBezTo>
                  <a:pt x="133" y="32"/>
                  <a:pt x="131" y="31"/>
                  <a:pt x="127" y="31"/>
                </a:cubicBezTo>
                <a:cubicBezTo>
                  <a:pt x="124" y="31"/>
                  <a:pt x="121" y="32"/>
                  <a:pt x="119" y="34"/>
                </a:cubicBezTo>
                <a:cubicBezTo>
                  <a:pt x="116" y="37"/>
                  <a:pt x="115" y="39"/>
                  <a:pt x="115" y="43"/>
                </a:cubicBezTo>
                <a:cubicBezTo>
                  <a:pt x="115" y="46"/>
                  <a:pt x="116" y="49"/>
                  <a:pt x="119" y="51"/>
                </a:cubicBezTo>
                <a:cubicBezTo>
                  <a:pt x="121" y="54"/>
                  <a:pt x="124" y="55"/>
                  <a:pt x="127" y="55"/>
                </a:cubicBezTo>
                <a:cubicBezTo>
                  <a:pt x="131" y="55"/>
                  <a:pt x="133" y="54"/>
                  <a:pt x="136" y="51"/>
                </a:cubicBezTo>
                <a:close/>
                <a:moveTo>
                  <a:pt x="154" y="94"/>
                </a:moveTo>
                <a:cubicBezTo>
                  <a:pt x="156" y="91"/>
                  <a:pt x="157" y="88"/>
                  <a:pt x="157" y="85"/>
                </a:cubicBezTo>
                <a:cubicBezTo>
                  <a:pt x="157" y="82"/>
                  <a:pt x="156" y="79"/>
                  <a:pt x="154" y="77"/>
                </a:cubicBezTo>
                <a:cubicBezTo>
                  <a:pt x="152" y="74"/>
                  <a:pt x="149" y="73"/>
                  <a:pt x="145" y="73"/>
                </a:cubicBezTo>
                <a:cubicBezTo>
                  <a:pt x="142" y="73"/>
                  <a:pt x="139" y="74"/>
                  <a:pt x="137" y="77"/>
                </a:cubicBezTo>
                <a:cubicBezTo>
                  <a:pt x="134" y="79"/>
                  <a:pt x="133" y="82"/>
                  <a:pt x="133" y="85"/>
                </a:cubicBezTo>
                <a:cubicBezTo>
                  <a:pt x="133" y="88"/>
                  <a:pt x="134" y="91"/>
                  <a:pt x="137" y="94"/>
                </a:cubicBezTo>
                <a:cubicBezTo>
                  <a:pt x="139" y="96"/>
                  <a:pt x="142" y="97"/>
                  <a:pt x="145" y="97"/>
                </a:cubicBezTo>
                <a:cubicBezTo>
                  <a:pt x="149" y="97"/>
                  <a:pt x="152" y="96"/>
                  <a:pt x="154" y="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6" name="Freeform 207"/>
          <p:cNvSpPr>
            <a:spLocks noChangeAspect="1" noEditPoints="1"/>
          </p:cNvSpPr>
          <p:nvPr/>
        </p:nvSpPr>
        <p:spPr bwMode="auto">
          <a:xfrm>
            <a:off x="2192556" y="3116848"/>
            <a:ext cx="174866" cy="151447"/>
          </a:xfrm>
          <a:custGeom>
            <a:avLst/>
            <a:gdLst>
              <a:gd name="T0" fmla="*/ 158 w 170"/>
              <a:gd name="T1" fmla="*/ 31 h 146"/>
              <a:gd name="T2" fmla="*/ 170 w 170"/>
              <a:gd name="T3" fmla="*/ 61 h 146"/>
              <a:gd name="T4" fmla="*/ 158 w 170"/>
              <a:gd name="T5" fmla="*/ 91 h 146"/>
              <a:gd name="T6" fmla="*/ 128 w 170"/>
              <a:gd name="T7" fmla="*/ 113 h 146"/>
              <a:gd name="T8" fmla="*/ 85 w 170"/>
              <a:gd name="T9" fmla="*/ 121 h 146"/>
              <a:gd name="T10" fmla="*/ 71 w 170"/>
              <a:gd name="T11" fmla="*/ 121 h 146"/>
              <a:gd name="T12" fmla="*/ 28 w 170"/>
              <a:gd name="T13" fmla="*/ 144 h 146"/>
              <a:gd name="T14" fmla="*/ 17 w 170"/>
              <a:gd name="T15" fmla="*/ 146 h 146"/>
              <a:gd name="T16" fmla="*/ 17 w 170"/>
              <a:gd name="T17" fmla="*/ 146 h 146"/>
              <a:gd name="T18" fmla="*/ 14 w 170"/>
              <a:gd name="T19" fmla="*/ 145 h 146"/>
              <a:gd name="T20" fmla="*/ 12 w 170"/>
              <a:gd name="T21" fmla="*/ 142 h 146"/>
              <a:gd name="T22" fmla="*/ 12 w 170"/>
              <a:gd name="T23" fmla="*/ 142 h 146"/>
              <a:gd name="T24" fmla="*/ 12 w 170"/>
              <a:gd name="T25" fmla="*/ 141 h 146"/>
              <a:gd name="T26" fmla="*/ 13 w 170"/>
              <a:gd name="T27" fmla="*/ 140 h 146"/>
              <a:gd name="T28" fmla="*/ 13 w 170"/>
              <a:gd name="T29" fmla="*/ 139 h 146"/>
              <a:gd name="T30" fmla="*/ 14 w 170"/>
              <a:gd name="T31" fmla="*/ 138 h 146"/>
              <a:gd name="T32" fmla="*/ 14 w 170"/>
              <a:gd name="T33" fmla="*/ 137 h 146"/>
              <a:gd name="T34" fmla="*/ 15 w 170"/>
              <a:gd name="T35" fmla="*/ 136 h 146"/>
              <a:gd name="T36" fmla="*/ 18 w 170"/>
              <a:gd name="T37" fmla="*/ 133 h 146"/>
              <a:gd name="T38" fmla="*/ 21 w 170"/>
              <a:gd name="T39" fmla="*/ 130 h 146"/>
              <a:gd name="T40" fmla="*/ 24 w 170"/>
              <a:gd name="T41" fmla="*/ 126 h 146"/>
              <a:gd name="T42" fmla="*/ 27 w 170"/>
              <a:gd name="T43" fmla="*/ 121 h 146"/>
              <a:gd name="T44" fmla="*/ 30 w 170"/>
              <a:gd name="T45" fmla="*/ 115 h 146"/>
              <a:gd name="T46" fmla="*/ 32 w 170"/>
              <a:gd name="T47" fmla="*/ 108 h 146"/>
              <a:gd name="T48" fmla="*/ 9 w 170"/>
              <a:gd name="T49" fmla="*/ 88 h 146"/>
              <a:gd name="T50" fmla="*/ 0 w 170"/>
              <a:gd name="T51" fmla="*/ 61 h 146"/>
              <a:gd name="T52" fmla="*/ 12 w 170"/>
              <a:gd name="T53" fmla="*/ 31 h 146"/>
              <a:gd name="T54" fmla="*/ 42 w 170"/>
              <a:gd name="T55" fmla="*/ 9 h 146"/>
              <a:gd name="T56" fmla="*/ 85 w 170"/>
              <a:gd name="T57" fmla="*/ 0 h 146"/>
              <a:gd name="T58" fmla="*/ 128 w 170"/>
              <a:gd name="T59" fmla="*/ 9 h 146"/>
              <a:gd name="T60" fmla="*/ 158 w 170"/>
              <a:gd name="T61" fmla="*/ 31 h 146"/>
              <a:gd name="T62" fmla="*/ 121 w 170"/>
              <a:gd name="T63" fmla="*/ 19 h 146"/>
              <a:gd name="T64" fmla="*/ 85 w 170"/>
              <a:gd name="T65" fmla="*/ 13 h 146"/>
              <a:gd name="T66" fmla="*/ 49 w 170"/>
              <a:gd name="T67" fmla="*/ 19 h 146"/>
              <a:gd name="T68" fmla="*/ 22 w 170"/>
              <a:gd name="T69" fmla="*/ 37 h 146"/>
              <a:gd name="T70" fmla="*/ 12 w 170"/>
              <a:gd name="T71" fmla="*/ 61 h 146"/>
              <a:gd name="T72" fmla="*/ 19 w 170"/>
              <a:gd name="T73" fmla="*/ 81 h 146"/>
              <a:gd name="T74" fmla="*/ 38 w 170"/>
              <a:gd name="T75" fmla="*/ 98 h 146"/>
              <a:gd name="T76" fmla="*/ 46 w 170"/>
              <a:gd name="T77" fmla="*/ 102 h 146"/>
              <a:gd name="T78" fmla="*/ 44 w 170"/>
              <a:gd name="T79" fmla="*/ 112 h 146"/>
              <a:gd name="T80" fmla="*/ 37 w 170"/>
              <a:gd name="T81" fmla="*/ 128 h 146"/>
              <a:gd name="T82" fmla="*/ 63 w 170"/>
              <a:gd name="T83" fmla="*/ 112 h 146"/>
              <a:gd name="T84" fmla="*/ 67 w 170"/>
              <a:gd name="T85" fmla="*/ 108 h 146"/>
              <a:gd name="T86" fmla="*/ 73 w 170"/>
              <a:gd name="T87" fmla="*/ 109 h 146"/>
              <a:gd name="T88" fmla="*/ 85 w 170"/>
              <a:gd name="T89" fmla="*/ 109 h 146"/>
              <a:gd name="T90" fmla="*/ 121 w 170"/>
              <a:gd name="T91" fmla="*/ 103 h 146"/>
              <a:gd name="T92" fmla="*/ 148 w 170"/>
              <a:gd name="T93" fmla="*/ 85 h 146"/>
              <a:gd name="T94" fmla="*/ 158 w 170"/>
              <a:gd name="T95" fmla="*/ 61 h 146"/>
              <a:gd name="T96" fmla="*/ 148 w 170"/>
              <a:gd name="T97" fmla="*/ 37 h 146"/>
              <a:gd name="T98" fmla="*/ 121 w 170"/>
              <a:gd name="T99" fmla="*/ 1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70" h="146">
                <a:moveTo>
                  <a:pt x="158" y="31"/>
                </a:moveTo>
                <a:cubicBezTo>
                  <a:pt x="166" y="40"/>
                  <a:pt x="170" y="50"/>
                  <a:pt x="170" y="61"/>
                </a:cubicBezTo>
                <a:cubicBezTo>
                  <a:pt x="170" y="72"/>
                  <a:pt x="166" y="82"/>
                  <a:pt x="158" y="91"/>
                </a:cubicBezTo>
                <a:cubicBezTo>
                  <a:pt x="151" y="101"/>
                  <a:pt x="140" y="108"/>
                  <a:pt x="128" y="113"/>
                </a:cubicBezTo>
                <a:cubicBezTo>
                  <a:pt x="115" y="119"/>
                  <a:pt x="100" y="121"/>
                  <a:pt x="85" y="121"/>
                </a:cubicBezTo>
                <a:cubicBezTo>
                  <a:pt x="81" y="121"/>
                  <a:pt x="76" y="121"/>
                  <a:pt x="71" y="121"/>
                </a:cubicBezTo>
                <a:cubicBezTo>
                  <a:pt x="59" y="132"/>
                  <a:pt x="44" y="139"/>
                  <a:pt x="28" y="144"/>
                </a:cubicBezTo>
                <a:cubicBezTo>
                  <a:pt x="25" y="144"/>
                  <a:pt x="21" y="145"/>
                  <a:pt x="17" y="146"/>
                </a:cubicBezTo>
                <a:cubicBezTo>
                  <a:pt x="17" y="146"/>
                  <a:pt x="17" y="146"/>
                  <a:pt x="17" y="146"/>
                </a:cubicBezTo>
                <a:cubicBezTo>
                  <a:pt x="16" y="146"/>
                  <a:pt x="15" y="145"/>
                  <a:pt x="14" y="145"/>
                </a:cubicBezTo>
                <a:cubicBezTo>
                  <a:pt x="13" y="144"/>
                  <a:pt x="13" y="143"/>
                  <a:pt x="12" y="142"/>
                </a:cubicBezTo>
                <a:cubicBezTo>
                  <a:pt x="12" y="142"/>
                  <a:pt x="12" y="142"/>
                  <a:pt x="12" y="142"/>
                </a:cubicBezTo>
                <a:cubicBezTo>
                  <a:pt x="12" y="142"/>
                  <a:pt x="12" y="141"/>
                  <a:pt x="12" y="141"/>
                </a:cubicBezTo>
                <a:cubicBezTo>
                  <a:pt x="13" y="140"/>
                  <a:pt x="13" y="140"/>
                  <a:pt x="13" y="140"/>
                </a:cubicBezTo>
                <a:cubicBezTo>
                  <a:pt x="13" y="140"/>
                  <a:pt x="13" y="139"/>
                  <a:pt x="13" y="139"/>
                </a:cubicBezTo>
                <a:cubicBezTo>
                  <a:pt x="13" y="139"/>
                  <a:pt x="14" y="138"/>
                  <a:pt x="14" y="138"/>
                </a:cubicBezTo>
                <a:cubicBezTo>
                  <a:pt x="14" y="138"/>
                  <a:pt x="14" y="138"/>
                  <a:pt x="14" y="137"/>
                </a:cubicBezTo>
                <a:cubicBezTo>
                  <a:pt x="15" y="137"/>
                  <a:pt x="15" y="137"/>
                  <a:pt x="15" y="136"/>
                </a:cubicBezTo>
                <a:cubicBezTo>
                  <a:pt x="15" y="136"/>
                  <a:pt x="16" y="135"/>
                  <a:pt x="18" y="133"/>
                </a:cubicBezTo>
                <a:cubicBezTo>
                  <a:pt x="19" y="132"/>
                  <a:pt x="21" y="130"/>
                  <a:pt x="21" y="130"/>
                </a:cubicBezTo>
                <a:cubicBezTo>
                  <a:pt x="22" y="129"/>
                  <a:pt x="23" y="128"/>
                  <a:pt x="24" y="126"/>
                </a:cubicBezTo>
                <a:cubicBezTo>
                  <a:pt x="25" y="124"/>
                  <a:pt x="26" y="123"/>
                  <a:pt x="27" y="121"/>
                </a:cubicBezTo>
                <a:cubicBezTo>
                  <a:pt x="28" y="120"/>
                  <a:pt x="29" y="118"/>
                  <a:pt x="30" y="115"/>
                </a:cubicBezTo>
                <a:cubicBezTo>
                  <a:pt x="31" y="113"/>
                  <a:pt x="32" y="111"/>
                  <a:pt x="32" y="108"/>
                </a:cubicBezTo>
                <a:cubicBezTo>
                  <a:pt x="22" y="103"/>
                  <a:pt x="15" y="96"/>
                  <a:pt x="9" y="88"/>
                </a:cubicBezTo>
                <a:cubicBezTo>
                  <a:pt x="3" y="79"/>
                  <a:pt x="0" y="70"/>
                  <a:pt x="0" y="61"/>
                </a:cubicBezTo>
                <a:cubicBezTo>
                  <a:pt x="0" y="50"/>
                  <a:pt x="4" y="40"/>
                  <a:pt x="12" y="31"/>
                </a:cubicBezTo>
                <a:cubicBezTo>
                  <a:pt x="19" y="21"/>
                  <a:pt x="29" y="14"/>
                  <a:pt x="42" y="9"/>
                </a:cubicBezTo>
                <a:cubicBezTo>
                  <a:pt x="55" y="3"/>
                  <a:pt x="70" y="0"/>
                  <a:pt x="85" y="0"/>
                </a:cubicBezTo>
                <a:cubicBezTo>
                  <a:pt x="100" y="0"/>
                  <a:pt x="115" y="3"/>
                  <a:pt x="128" y="9"/>
                </a:cubicBezTo>
                <a:cubicBezTo>
                  <a:pt x="140" y="14"/>
                  <a:pt x="151" y="21"/>
                  <a:pt x="158" y="31"/>
                </a:cubicBezTo>
                <a:close/>
                <a:moveTo>
                  <a:pt x="121" y="19"/>
                </a:moveTo>
                <a:cubicBezTo>
                  <a:pt x="110" y="15"/>
                  <a:pt x="98" y="13"/>
                  <a:pt x="85" y="13"/>
                </a:cubicBezTo>
                <a:cubicBezTo>
                  <a:pt x="72" y="13"/>
                  <a:pt x="60" y="15"/>
                  <a:pt x="49" y="19"/>
                </a:cubicBezTo>
                <a:cubicBezTo>
                  <a:pt x="38" y="23"/>
                  <a:pt x="29" y="29"/>
                  <a:pt x="22" y="37"/>
                </a:cubicBezTo>
                <a:cubicBezTo>
                  <a:pt x="16" y="44"/>
                  <a:pt x="12" y="52"/>
                  <a:pt x="12" y="61"/>
                </a:cubicBezTo>
                <a:cubicBezTo>
                  <a:pt x="12" y="68"/>
                  <a:pt x="15" y="75"/>
                  <a:pt x="19" y="81"/>
                </a:cubicBezTo>
                <a:cubicBezTo>
                  <a:pt x="24" y="88"/>
                  <a:pt x="30" y="93"/>
                  <a:pt x="38" y="98"/>
                </a:cubicBezTo>
                <a:cubicBezTo>
                  <a:pt x="46" y="102"/>
                  <a:pt x="46" y="102"/>
                  <a:pt x="46" y="102"/>
                </a:cubicBezTo>
                <a:cubicBezTo>
                  <a:pt x="44" y="112"/>
                  <a:pt x="44" y="112"/>
                  <a:pt x="44" y="112"/>
                </a:cubicBezTo>
                <a:cubicBezTo>
                  <a:pt x="42" y="117"/>
                  <a:pt x="40" y="123"/>
                  <a:pt x="37" y="128"/>
                </a:cubicBezTo>
                <a:cubicBezTo>
                  <a:pt x="47" y="124"/>
                  <a:pt x="55" y="118"/>
                  <a:pt x="63" y="112"/>
                </a:cubicBezTo>
                <a:cubicBezTo>
                  <a:pt x="67" y="108"/>
                  <a:pt x="67" y="108"/>
                  <a:pt x="67" y="108"/>
                </a:cubicBezTo>
                <a:cubicBezTo>
                  <a:pt x="73" y="109"/>
                  <a:pt x="73" y="109"/>
                  <a:pt x="73" y="109"/>
                </a:cubicBezTo>
                <a:cubicBezTo>
                  <a:pt x="77" y="109"/>
                  <a:pt x="81" y="109"/>
                  <a:pt x="85" y="109"/>
                </a:cubicBezTo>
                <a:cubicBezTo>
                  <a:pt x="98" y="109"/>
                  <a:pt x="110" y="107"/>
                  <a:pt x="121" y="103"/>
                </a:cubicBezTo>
                <a:cubicBezTo>
                  <a:pt x="132" y="98"/>
                  <a:pt x="141" y="92"/>
                  <a:pt x="148" y="85"/>
                </a:cubicBezTo>
                <a:cubicBezTo>
                  <a:pt x="154" y="78"/>
                  <a:pt x="158" y="70"/>
                  <a:pt x="158" y="61"/>
                </a:cubicBezTo>
                <a:cubicBezTo>
                  <a:pt x="158" y="52"/>
                  <a:pt x="154" y="44"/>
                  <a:pt x="148" y="37"/>
                </a:cubicBezTo>
                <a:cubicBezTo>
                  <a:pt x="141" y="29"/>
                  <a:pt x="132" y="23"/>
                  <a:pt x="121" y="1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7" name="Freeform 208"/>
          <p:cNvSpPr>
            <a:spLocks noChangeAspect="1" noEditPoints="1"/>
          </p:cNvSpPr>
          <p:nvPr/>
        </p:nvSpPr>
        <p:spPr bwMode="auto">
          <a:xfrm>
            <a:off x="2414262" y="3116848"/>
            <a:ext cx="174866" cy="138957"/>
          </a:xfrm>
          <a:custGeom>
            <a:avLst/>
            <a:gdLst>
              <a:gd name="T0" fmla="*/ 67 w 170"/>
              <a:gd name="T1" fmla="*/ 0 h 134"/>
              <a:gd name="T2" fmla="*/ 125 w 170"/>
              <a:gd name="T3" fmla="*/ 25 h 134"/>
              <a:gd name="T4" fmla="*/ 125 w 170"/>
              <a:gd name="T5" fmla="*/ 73 h 134"/>
              <a:gd name="T6" fmla="*/ 67 w 170"/>
              <a:gd name="T7" fmla="*/ 97 h 134"/>
              <a:gd name="T8" fmla="*/ 24 w 170"/>
              <a:gd name="T9" fmla="*/ 108 h 134"/>
              <a:gd name="T10" fmla="*/ 16 w 170"/>
              <a:gd name="T11" fmla="*/ 109 h 134"/>
              <a:gd name="T12" fmla="*/ 13 w 170"/>
              <a:gd name="T13" fmla="*/ 107 h 134"/>
              <a:gd name="T14" fmla="*/ 13 w 170"/>
              <a:gd name="T15" fmla="*/ 105 h 134"/>
              <a:gd name="T16" fmla="*/ 13 w 170"/>
              <a:gd name="T17" fmla="*/ 104 h 134"/>
              <a:gd name="T18" fmla="*/ 14 w 170"/>
              <a:gd name="T19" fmla="*/ 103 h 134"/>
              <a:gd name="T20" fmla="*/ 15 w 170"/>
              <a:gd name="T21" fmla="*/ 102 h 134"/>
              <a:gd name="T22" fmla="*/ 19 w 170"/>
              <a:gd name="T23" fmla="*/ 97 h 134"/>
              <a:gd name="T24" fmla="*/ 24 w 170"/>
              <a:gd name="T25" fmla="*/ 91 h 134"/>
              <a:gd name="T26" fmla="*/ 7 w 170"/>
              <a:gd name="T27" fmla="*/ 70 h 134"/>
              <a:gd name="T28" fmla="*/ 9 w 170"/>
              <a:gd name="T29" fmla="*/ 25 h 134"/>
              <a:gd name="T30" fmla="*/ 94 w 170"/>
              <a:gd name="T31" fmla="*/ 17 h 134"/>
              <a:gd name="T32" fmla="*/ 40 w 170"/>
              <a:gd name="T33" fmla="*/ 17 h 134"/>
              <a:gd name="T34" fmla="*/ 13 w 170"/>
              <a:gd name="T35" fmla="*/ 49 h 134"/>
              <a:gd name="T36" fmla="*/ 32 w 170"/>
              <a:gd name="T37" fmla="*/ 76 h 134"/>
              <a:gd name="T38" fmla="*/ 37 w 170"/>
              <a:gd name="T39" fmla="*/ 89 h 134"/>
              <a:gd name="T40" fmla="*/ 47 w 170"/>
              <a:gd name="T41" fmla="*/ 83 h 134"/>
              <a:gd name="T42" fmla="*/ 67 w 170"/>
              <a:gd name="T43" fmla="*/ 85 h 134"/>
              <a:gd name="T44" fmla="*/ 114 w 170"/>
              <a:gd name="T45" fmla="*/ 67 h 134"/>
              <a:gd name="T46" fmla="*/ 114 w 170"/>
              <a:gd name="T47" fmla="*/ 31 h 134"/>
              <a:gd name="T48" fmla="*/ 145 w 170"/>
              <a:gd name="T49" fmla="*/ 111 h 134"/>
              <a:gd name="T50" fmla="*/ 149 w 170"/>
              <a:gd name="T51" fmla="*/ 119 h 134"/>
              <a:gd name="T52" fmla="*/ 154 w 170"/>
              <a:gd name="T53" fmla="*/ 124 h 134"/>
              <a:gd name="T54" fmla="*/ 156 w 170"/>
              <a:gd name="T55" fmla="*/ 127 h 134"/>
              <a:gd name="T56" fmla="*/ 157 w 170"/>
              <a:gd name="T57" fmla="*/ 128 h 134"/>
              <a:gd name="T58" fmla="*/ 158 w 170"/>
              <a:gd name="T59" fmla="*/ 129 h 134"/>
              <a:gd name="T60" fmla="*/ 158 w 170"/>
              <a:gd name="T61" fmla="*/ 130 h 134"/>
              <a:gd name="T62" fmla="*/ 156 w 170"/>
              <a:gd name="T63" fmla="*/ 133 h 134"/>
              <a:gd name="T64" fmla="*/ 146 w 170"/>
              <a:gd name="T65" fmla="*/ 132 h 134"/>
              <a:gd name="T66" fmla="*/ 103 w 170"/>
              <a:gd name="T67" fmla="*/ 121 h 134"/>
              <a:gd name="T68" fmla="*/ 67 w 170"/>
              <a:gd name="T69" fmla="*/ 109 h 134"/>
              <a:gd name="T70" fmla="*/ 121 w 170"/>
              <a:gd name="T71" fmla="*/ 93 h 134"/>
              <a:gd name="T72" fmla="*/ 146 w 170"/>
              <a:gd name="T73" fmla="*/ 49 h 134"/>
              <a:gd name="T74" fmla="*/ 163 w 170"/>
              <a:gd name="T75" fmla="*/ 51 h 134"/>
              <a:gd name="T76" fmla="*/ 163 w 170"/>
              <a:gd name="T77" fmla="*/ 94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0" h="134">
                <a:moveTo>
                  <a:pt x="34" y="7"/>
                </a:moveTo>
                <a:cubicBezTo>
                  <a:pt x="44" y="3"/>
                  <a:pt x="55" y="0"/>
                  <a:pt x="67" y="0"/>
                </a:cubicBezTo>
                <a:cubicBezTo>
                  <a:pt x="79" y="0"/>
                  <a:pt x="90" y="3"/>
                  <a:pt x="100" y="7"/>
                </a:cubicBezTo>
                <a:cubicBezTo>
                  <a:pt x="111" y="11"/>
                  <a:pt x="119" y="17"/>
                  <a:pt x="125" y="25"/>
                </a:cubicBezTo>
                <a:cubicBezTo>
                  <a:pt x="131" y="32"/>
                  <a:pt x="134" y="40"/>
                  <a:pt x="134" y="49"/>
                </a:cubicBezTo>
                <a:cubicBezTo>
                  <a:pt x="134" y="58"/>
                  <a:pt x="131" y="66"/>
                  <a:pt x="125" y="73"/>
                </a:cubicBezTo>
                <a:cubicBezTo>
                  <a:pt x="119" y="81"/>
                  <a:pt x="111" y="86"/>
                  <a:pt x="100" y="91"/>
                </a:cubicBezTo>
                <a:cubicBezTo>
                  <a:pt x="90" y="95"/>
                  <a:pt x="79" y="97"/>
                  <a:pt x="67" y="97"/>
                </a:cubicBezTo>
                <a:cubicBezTo>
                  <a:pt x="62" y="97"/>
                  <a:pt x="56" y="97"/>
                  <a:pt x="50" y="96"/>
                </a:cubicBezTo>
                <a:cubicBezTo>
                  <a:pt x="43" y="101"/>
                  <a:pt x="34" y="105"/>
                  <a:pt x="24" y="108"/>
                </a:cubicBezTo>
                <a:cubicBezTo>
                  <a:pt x="22" y="108"/>
                  <a:pt x="19" y="109"/>
                  <a:pt x="16" y="109"/>
                </a:cubicBezTo>
                <a:cubicBezTo>
                  <a:pt x="16" y="109"/>
                  <a:pt x="16" y="109"/>
                  <a:pt x="16" y="109"/>
                </a:cubicBezTo>
                <a:cubicBezTo>
                  <a:pt x="15" y="109"/>
                  <a:pt x="14" y="109"/>
                  <a:pt x="14" y="109"/>
                </a:cubicBezTo>
                <a:cubicBezTo>
                  <a:pt x="13" y="108"/>
                  <a:pt x="13" y="107"/>
                  <a:pt x="13" y="107"/>
                </a:cubicBezTo>
                <a:cubicBezTo>
                  <a:pt x="13" y="106"/>
                  <a:pt x="13" y="106"/>
                  <a:pt x="13" y="106"/>
                </a:cubicBezTo>
                <a:cubicBezTo>
                  <a:pt x="13" y="106"/>
                  <a:pt x="13" y="106"/>
                  <a:pt x="13" y="105"/>
                </a:cubicBezTo>
                <a:cubicBezTo>
                  <a:pt x="13" y="105"/>
                  <a:pt x="13" y="105"/>
                  <a:pt x="13" y="105"/>
                </a:cubicBezTo>
                <a:cubicBezTo>
                  <a:pt x="13" y="105"/>
                  <a:pt x="13" y="104"/>
                  <a:pt x="13" y="104"/>
                </a:cubicBezTo>
                <a:cubicBezTo>
                  <a:pt x="13" y="104"/>
                  <a:pt x="13" y="104"/>
                  <a:pt x="13" y="104"/>
                </a:cubicBezTo>
                <a:cubicBezTo>
                  <a:pt x="13" y="104"/>
                  <a:pt x="14" y="103"/>
                  <a:pt x="14" y="103"/>
                </a:cubicBezTo>
                <a:cubicBezTo>
                  <a:pt x="14" y="103"/>
                  <a:pt x="14" y="103"/>
                  <a:pt x="14" y="103"/>
                </a:cubicBezTo>
                <a:cubicBezTo>
                  <a:pt x="14" y="103"/>
                  <a:pt x="14" y="103"/>
                  <a:pt x="15" y="102"/>
                </a:cubicBezTo>
                <a:cubicBezTo>
                  <a:pt x="15" y="102"/>
                  <a:pt x="16" y="101"/>
                  <a:pt x="17" y="100"/>
                </a:cubicBezTo>
                <a:cubicBezTo>
                  <a:pt x="18" y="99"/>
                  <a:pt x="19" y="98"/>
                  <a:pt x="19" y="97"/>
                </a:cubicBezTo>
                <a:cubicBezTo>
                  <a:pt x="20" y="97"/>
                  <a:pt x="20" y="96"/>
                  <a:pt x="21" y="95"/>
                </a:cubicBezTo>
                <a:cubicBezTo>
                  <a:pt x="22" y="93"/>
                  <a:pt x="23" y="92"/>
                  <a:pt x="24" y="91"/>
                </a:cubicBezTo>
                <a:cubicBezTo>
                  <a:pt x="24" y="90"/>
                  <a:pt x="25" y="88"/>
                  <a:pt x="26" y="87"/>
                </a:cubicBezTo>
                <a:cubicBezTo>
                  <a:pt x="18" y="82"/>
                  <a:pt x="12" y="77"/>
                  <a:pt x="7" y="70"/>
                </a:cubicBezTo>
                <a:cubicBezTo>
                  <a:pt x="3" y="63"/>
                  <a:pt x="0" y="56"/>
                  <a:pt x="0" y="49"/>
                </a:cubicBezTo>
                <a:cubicBezTo>
                  <a:pt x="0" y="40"/>
                  <a:pt x="3" y="32"/>
                  <a:pt x="9" y="25"/>
                </a:cubicBezTo>
                <a:cubicBezTo>
                  <a:pt x="15" y="17"/>
                  <a:pt x="23" y="11"/>
                  <a:pt x="34" y="7"/>
                </a:cubicBezTo>
                <a:close/>
                <a:moveTo>
                  <a:pt x="94" y="17"/>
                </a:moveTo>
                <a:cubicBezTo>
                  <a:pt x="86" y="14"/>
                  <a:pt x="77" y="13"/>
                  <a:pt x="67" y="13"/>
                </a:cubicBezTo>
                <a:cubicBezTo>
                  <a:pt x="57" y="13"/>
                  <a:pt x="48" y="14"/>
                  <a:pt x="40" y="17"/>
                </a:cubicBezTo>
                <a:cubicBezTo>
                  <a:pt x="32" y="21"/>
                  <a:pt x="25" y="25"/>
                  <a:pt x="20" y="31"/>
                </a:cubicBezTo>
                <a:cubicBezTo>
                  <a:pt x="15" y="36"/>
                  <a:pt x="13" y="42"/>
                  <a:pt x="13" y="49"/>
                </a:cubicBezTo>
                <a:cubicBezTo>
                  <a:pt x="13" y="54"/>
                  <a:pt x="14" y="59"/>
                  <a:pt x="18" y="64"/>
                </a:cubicBezTo>
                <a:cubicBezTo>
                  <a:pt x="21" y="69"/>
                  <a:pt x="26" y="73"/>
                  <a:pt x="32" y="76"/>
                </a:cubicBezTo>
                <a:cubicBezTo>
                  <a:pt x="41" y="82"/>
                  <a:pt x="41" y="82"/>
                  <a:pt x="41" y="82"/>
                </a:cubicBezTo>
                <a:cubicBezTo>
                  <a:pt x="37" y="89"/>
                  <a:pt x="37" y="89"/>
                  <a:pt x="37" y="89"/>
                </a:cubicBezTo>
                <a:cubicBezTo>
                  <a:pt x="40" y="88"/>
                  <a:pt x="42" y="87"/>
                  <a:pt x="43" y="86"/>
                </a:cubicBezTo>
                <a:cubicBezTo>
                  <a:pt x="47" y="83"/>
                  <a:pt x="47" y="83"/>
                  <a:pt x="47" y="83"/>
                </a:cubicBezTo>
                <a:cubicBezTo>
                  <a:pt x="53" y="84"/>
                  <a:pt x="53" y="84"/>
                  <a:pt x="53" y="84"/>
                </a:cubicBezTo>
                <a:cubicBezTo>
                  <a:pt x="57" y="85"/>
                  <a:pt x="62" y="85"/>
                  <a:pt x="67" y="85"/>
                </a:cubicBezTo>
                <a:cubicBezTo>
                  <a:pt x="77" y="85"/>
                  <a:pt x="86" y="84"/>
                  <a:pt x="94" y="80"/>
                </a:cubicBezTo>
                <a:cubicBezTo>
                  <a:pt x="102" y="77"/>
                  <a:pt x="109" y="73"/>
                  <a:pt x="114" y="67"/>
                </a:cubicBezTo>
                <a:cubicBezTo>
                  <a:pt x="119" y="61"/>
                  <a:pt x="121" y="55"/>
                  <a:pt x="121" y="49"/>
                </a:cubicBezTo>
                <a:cubicBezTo>
                  <a:pt x="121" y="42"/>
                  <a:pt x="119" y="36"/>
                  <a:pt x="114" y="31"/>
                </a:cubicBezTo>
                <a:cubicBezTo>
                  <a:pt x="109" y="25"/>
                  <a:pt x="102" y="21"/>
                  <a:pt x="94" y="17"/>
                </a:cubicBezTo>
                <a:close/>
                <a:moveTo>
                  <a:pt x="145" y="111"/>
                </a:moveTo>
                <a:cubicBezTo>
                  <a:pt x="145" y="112"/>
                  <a:pt x="146" y="114"/>
                  <a:pt x="147" y="115"/>
                </a:cubicBezTo>
                <a:cubicBezTo>
                  <a:pt x="147" y="116"/>
                  <a:pt x="148" y="118"/>
                  <a:pt x="149" y="119"/>
                </a:cubicBezTo>
                <a:cubicBezTo>
                  <a:pt x="150" y="120"/>
                  <a:pt x="151" y="121"/>
                  <a:pt x="151" y="121"/>
                </a:cubicBezTo>
                <a:cubicBezTo>
                  <a:pt x="152" y="122"/>
                  <a:pt x="152" y="123"/>
                  <a:pt x="154" y="124"/>
                </a:cubicBezTo>
                <a:cubicBezTo>
                  <a:pt x="155" y="125"/>
                  <a:pt x="155" y="126"/>
                  <a:pt x="156" y="127"/>
                </a:cubicBezTo>
                <a:cubicBezTo>
                  <a:pt x="156" y="127"/>
                  <a:pt x="156" y="127"/>
                  <a:pt x="156" y="127"/>
                </a:cubicBezTo>
                <a:cubicBezTo>
                  <a:pt x="156" y="127"/>
                  <a:pt x="156" y="127"/>
                  <a:pt x="157" y="128"/>
                </a:cubicBezTo>
                <a:cubicBezTo>
                  <a:pt x="157" y="128"/>
                  <a:pt x="157" y="128"/>
                  <a:pt x="157" y="128"/>
                </a:cubicBezTo>
                <a:cubicBezTo>
                  <a:pt x="157" y="128"/>
                  <a:pt x="157" y="128"/>
                  <a:pt x="157" y="129"/>
                </a:cubicBezTo>
                <a:cubicBezTo>
                  <a:pt x="157" y="129"/>
                  <a:pt x="157" y="129"/>
                  <a:pt x="158" y="129"/>
                </a:cubicBezTo>
                <a:cubicBezTo>
                  <a:pt x="158" y="129"/>
                  <a:pt x="158" y="129"/>
                  <a:pt x="158" y="130"/>
                </a:cubicBezTo>
                <a:cubicBezTo>
                  <a:pt x="158" y="130"/>
                  <a:pt x="158" y="130"/>
                  <a:pt x="158" y="130"/>
                </a:cubicBezTo>
                <a:cubicBezTo>
                  <a:pt x="158" y="130"/>
                  <a:pt x="158" y="131"/>
                  <a:pt x="158" y="131"/>
                </a:cubicBezTo>
                <a:cubicBezTo>
                  <a:pt x="157" y="132"/>
                  <a:pt x="157" y="132"/>
                  <a:pt x="156" y="133"/>
                </a:cubicBezTo>
                <a:cubicBezTo>
                  <a:pt x="156" y="133"/>
                  <a:pt x="155" y="134"/>
                  <a:pt x="154" y="134"/>
                </a:cubicBezTo>
                <a:cubicBezTo>
                  <a:pt x="151" y="133"/>
                  <a:pt x="148" y="133"/>
                  <a:pt x="146" y="132"/>
                </a:cubicBezTo>
                <a:cubicBezTo>
                  <a:pt x="136" y="130"/>
                  <a:pt x="128" y="125"/>
                  <a:pt x="120" y="120"/>
                </a:cubicBezTo>
                <a:cubicBezTo>
                  <a:pt x="114" y="121"/>
                  <a:pt x="109" y="121"/>
                  <a:pt x="103" y="121"/>
                </a:cubicBezTo>
                <a:cubicBezTo>
                  <a:pt x="86" y="121"/>
                  <a:pt x="71" y="117"/>
                  <a:pt x="59" y="109"/>
                </a:cubicBezTo>
                <a:cubicBezTo>
                  <a:pt x="62" y="109"/>
                  <a:pt x="65" y="109"/>
                  <a:pt x="67" y="109"/>
                </a:cubicBezTo>
                <a:cubicBezTo>
                  <a:pt x="77" y="109"/>
                  <a:pt x="87" y="108"/>
                  <a:pt x="96" y="105"/>
                </a:cubicBezTo>
                <a:cubicBezTo>
                  <a:pt x="106" y="102"/>
                  <a:pt x="114" y="98"/>
                  <a:pt x="121" y="93"/>
                </a:cubicBezTo>
                <a:cubicBezTo>
                  <a:pt x="129" y="87"/>
                  <a:pt x="135" y="80"/>
                  <a:pt x="139" y="73"/>
                </a:cubicBezTo>
                <a:cubicBezTo>
                  <a:pt x="144" y="65"/>
                  <a:pt x="146" y="57"/>
                  <a:pt x="146" y="49"/>
                </a:cubicBezTo>
                <a:cubicBezTo>
                  <a:pt x="146" y="44"/>
                  <a:pt x="145" y="39"/>
                  <a:pt x="143" y="34"/>
                </a:cubicBezTo>
                <a:cubicBezTo>
                  <a:pt x="152" y="39"/>
                  <a:pt x="158" y="45"/>
                  <a:pt x="163" y="51"/>
                </a:cubicBezTo>
                <a:cubicBezTo>
                  <a:pt x="167" y="58"/>
                  <a:pt x="170" y="65"/>
                  <a:pt x="170" y="73"/>
                </a:cubicBezTo>
                <a:cubicBezTo>
                  <a:pt x="170" y="81"/>
                  <a:pt x="168" y="88"/>
                  <a:pt x="163" y="94"/>
                </a:cubicBezTo>
                <a:cubicBezTo>
                  <a:pt x="159" y="101"/>
                  <a:pt x="153" y="106"/>
                  <a:pt x="145" y="1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8" name="Freeform 209"/>
          <p:cNvSpPr>
            <a:spLocks noChangeAspect="1"/>
          </p:cNvSpPr>
          <p:nvPr/>
        </p:nvSpPr>
        <p:spPr bwMode="auto">
          <a:xfrm>
            <a:off x="2635967" y="3104357"/>
            <a:ext cx="88995" cy="163938"/>
          </a:xfrm>
          <a:custGeom>
            <a:avLst/>
            <a:gdLst>
              <a:gd name="T0" fmla="*/ 84 w 86"/>
              <a:gd name="T1" fmla="*/ 42 h 158"/>
              <a:gd name="T2" fmla="*/ 85 w 86"/>
              <a:gd name="T3" fmla="*/ 46 h 158"/>
              <a:gd name="T4" fmla="*/ 34 w 86"/>
              <a:gd name="T5" fmla="*/ 155 h 158"/>
              <a:gd name="T6" fmla="*/ 30 w 86"/>
              <a:gd name="T7" fmla="*/ 158 h 158"/>
              <a:gd name="T8" fmla="*/ 29 w 86"/>
              <a:gd name="T9" fmla="*/ 157 h 158"/>
              <a:gd name="T10" fmla="*/ 26 w 86"/>
              <a:gd name="T11" fmla="*/ 156 h 158"/>
              <a:gd name="T12" fmla="*/ 26 w 86"/>
              <a:gd name="T13" fmla="*/ 153 h 158"/>
              <a:gd name="T14" fmla="*/ 44 w 86"/>
              <a:gd name="T15" fmla="*/ 76 h 158"/>
              <a:gd name="T16" fmla="*/ 6 w 86"/>
              <a:gd name="T17" fmla="*/ 86 h 158"/>
              <a:gd name="T18" fmla="*/ 5 w 86"/>
              <a:gd name="T19" fmla="*/ 86 h 158"/>
              <a:gd name="T20" fmla="*/ 2 w 86"/>
              <a:gd name="T21" fmla="*/ 85 h 158"/>
              <a:gd name="T22" fmla="*/ 1 w 86"/>
              <a:gd name="T23" fmla="*/ 81 h 158"/>
              <a:gd name="T24" fmla="*/ 20 w 86"/>
              <a:gd name="T25" fmla="*/ 3 h 158"/>
              <a:gd name="T26" fmla="*/ 21 w 86"/>
              <a:gd name="T27" fmla="*/ 1 h 158"/>
              <a:gd name="T28" fmla="*/ 24 w 86"/>
              <a:gd name="T29" fmla="*/ 0 h 158"/>
              <a:gd name="T30" fmla="*/ 55 w 86"/>
              <a:gd name="T31" fmla="*/ 0 h 158"/>
              <a:gd name="T32" fmla="*/ 58 w 86"/>
              <a:gd name="T33" fmla="*/ 2 h 158"/>
              <a:gd name="T34" fmla="*/ 59 w 86"/>
              <a:gd name="T35" fmla="*/ 4 h 158"/>
              <a:gd name="T36" fmla="*/ 59 w 86"/>
              <a:gd name="T37" fmla="*/ 6 h 158"/>
              <a:gd name="T38" fmla="*/ 42 w 86"/>
              <a:gd name="T39" fmla="*/ 50 h 158"/>
              <a:gd name="T40" fmla="*/ 80 w 86"/>
              <a:gd name="T41" fmla="*/ 41 h 158"/>
              <a:gd name="T42" fmla="*/ 81 w 86"/>
              <a:gd name="T43" fmla="*/ 40 h 158"/>
              <a:gd name="T44" fmla="*/ 84 w 86"/>
              <a:gd name="T45" fmla="*/ 42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6" h="158">
                <a:moveTo>
                  <a:pt x="84" y="42"/>
                </a:moveTo>
                <a:cubicBezTo>
                  <a:pt x="85" y="43"/>
                  <a:pt x="86" y="44"/>
                  <a:pt x="85" y="46"/>
                </a:cubicBezTo>
                <a:cubicBezTo>
                  <a:pt x="34" y="155"/>
                  <a:pt x="34" y="155"/>
                  <a:pt x="34" y="155"/>
                </a:cubicBezTo>
                <a:cubicBezTo>
                  <a:pt x="33" y="157"/>
                  <a:pt x="32" y="158"/>
                  <a:pt x="30" y="158"/>
                </a:cubicBezTo>
                <a:cubicBezTo>
                  <a:pt x="30" y="158"/>
                  <a:pt x="29" y="158"/>
                  <a:pt x="29" y="157"/>
                </a:cubicBezTo>
                <a:cubicBezTo>
                  <a:pt x="27" y="157"/>
                  <a:pt x="27" y="157"/>
                  <a:pt x="26" y="156"/>
                </a:cubicBezTo>
                <a:cubicBezTo>
                  <a:pt x="26" y="155"/>
                  <a:pt x="25" y="154"/>
                  <a:pt x="26" y="153"/>
                </a:cubicBezTo>
                <a:cubicBezTo>
                  <a:pt x="44" y="76"/>
                  <a:pt x="44" y="76"/>
                  <a:pt x="44" y="76"/>
                </a:cubicBezTo>
                <a:cubicBezTo>
                  <a:pt x="6" y="86"/>
                  <a:pt x="6" y="86"/>
                  <a:pt x="6" y="86"/>
                </a:cubicBezTo>
                <a:cubicBezTo>
                  <a:pt x="6" y="86"/>
                  <a:pt x="5" y="86"/>
                  <a:pt x="5" y="86"/>
                </a:cubicBezTo>
                <a:cubicBezTo>
                  <a:pt x="4" y="86"/>
                  <a:pt x="3" y="86"/>
                  <a:pt x="2" y="85"/>
                </a:cubicBezTo>
                <a:cubicBezTo>
                  <a:pt x="1" y="84"/>
                  <a:pt x="0" y="83"/>
                  <a:pt x="1" y="81"/>
                </a:cubicBezTo>
                <a:cubicBezTo>
                  <a:pt x="20" y="3"/>
                  <a:pt x="20" y="3"/>
                  <a:pt x="20" y="3"/>
                </a:cubicBezTo>
                <a:cubicBezTo>
                  <a:pt x="20" y="2"/>
                  <a:pt x="20" y="2"/>
                  <a:pt x="21" y="1"/>
                </a:cubicBezTo>
                <a:cubicBezTo>
                  <a:pt x="22" y="1"/>
                  <a:pt x="23" y="0"/>
                  <a:pt x="24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59" y="2"/>
                  <a:pt x="59" y="3"/>
                  <a:pt x="59" y="4"/>
                </a:cubicBezTo>
                <a:cubicBezTo>
                  <a:pt x="59" y="5"/>
                  <a:pt x="59" y="5"/>
                  <a:pt x="59" y="6"/>
                </a:cubicBezTo>
                <a:cubicBezTo>
                  <a:pt x="42" y="50"/>
                  <a:pt x="42" y="50"/>
                  <a:pt x="42" y="50"/>
                </a:cubicBezTo>
                <a:cubicBezTo>
                  <a:pt x="80" y="41"/>
                  <a:pt x="80" y="41"/>
                  <a:pt x="80" y="41"/>
                </a:cubicBezTo>
                <a:cubicBezTo>
                  <a:pt x="80" y="40"/>
                  <a:pt x="81" y="40"/>
                  <a:pt x="81" y="40"/>
                </a:cubicBezTo>
                <a:cubicBezTo>
                  <a:pt x="82" y="40"/>
                  <a:pt x="83" y="41"/>
                  <a:pt x="84" y="4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9" name="Freeform 210"/>
          <p:cNvSpPr>
            <a:spLocks noChangeAspect="1"/>
          </p:cNvSpPr>
          <p:nvPr/>
        </p:nvSpPr>
        <p:spPr bwMode="auto">
          <a:xfrm>
            <a:off x="2770240" y="3104357"/>
            <a:ext cx="174866" cy="151447"/>
          </a:xfrm>
          <a:custGeom>
            <a:avLst/>
            <a:gdLst>
              <a:gd name="T0" fmla="*/ 169 w 169"/>
              <a:gd name="T1" fmla="*/ 136 h 146"/>
              <a:gd name="T2" fmla="*/ 160 w 169"/>
              <a:gd name="T3" fmla="*/ 146 h 146"/>
              <a:gd name="T4" fmla="*/ 124 w 169"/>
              <a:gd name="T5" fmla="*/ 143 h 146"/>
              <a:gd name="T6" fmla="*/ 121 w 169"/>
              <a:gd name="T7" fmla="*/ 106 h 146"/>
              <a:gd name="T8" fmla="*/ 130 w 169"/>
              <a:gd name="T9" fmla="*/ 97 h 146"/>
              <a:gd name="T10" fmla="*/ 139 w 169"/>
              <a:gd name="T11" fmla="*/ 79 h 146"/>
              <a:gd name="T12" fmla="*/ 91 w 169"/>
              <a:gd name="T13" fmla="*/ 97 h 146"/>
              <a:gd name="T14" fmla="*/ 106 w 169"/>
              <a:gd name="T15" fmla="*/ 100 h 146"/>
              <a:gd name="T16" fmla="*/ 109 w 169"/>
              <a:gd name="T17" fmla="*/ 136 h 146"/>
              <a:gd name="T18" fmla="*/ 100 w 169"/>
              <a:gd name="T19" fmla="*/ 146 h 146"/>
              <a:gd name="T20" fmla="*/ 63 w 169"/>
              <a:gd name="T21" fmla="*/ 143 h 146"/>
              <a:gd name="T22" fmla="*/ 61 w 169"/>
              <a:gd name="T23" fmla="*/ 106 h 146"/>
              <a:gd name="T24" fmla="*/ 70 w 169"/>
              <a:gd name="T25" fmla="*/ 97 h 146"/>
              <a:gd name="T26" fmla="*/ 79 w 169"/>
              <a:gd name="T27" fmla="*/ 79 h 146"/>
              <a:gd name="T28" fmla="*/ 30 w 169"/>
              <a:gd name="T29" fmla="*/ 97 h 146"/>
              <a:gd name="T30" fmla="*/ 46 w 169"/>
              <a:gd name="T31" fmla="*/ 100 h 146"/>
              <a:gd name="T32" fmla="*/ 48 w 169"/>
              <a:gd name="T33" fmla="*/ 136 h 146"/>
              <a:gd name="T34" fmla="*/ 39 w 169"/>
              <a:gd name="T35" fmla="*/ 146 h 146"/>
              <a:gd name="T36" fmla="*/ 3 w 169"/>
              <a:gd name="T37" fmla="*/ 143 h 146"/>
              <a:gd name="T38" fmla="*/ 0 w 169"/>
              <a:gd name="T39" fmla="*/ 106 h 146"/>
              <a:gd name="T40" fmla="*/ 9 w 169"/>
              <a:gd name="T41" fmla="*/ 97 h 146"/>
              <a:gd name="T42" fmla="*/ 18 w 169"/>
              <a:gd name="T43" fmla="*/ 79 h 146"/>
              <a:gd name="T44" fmla="*/ 30 w 169"/>
              <a:gd name="T45" fmla="*/ 67 h 146"/>
              <a:gd name="T46" fmla="*/ 79 w 169"/>
              <a:gd name="T47" fmla="*/ 49 h 146"/>
              <a:gd name="T48" fmla="*/ 63 w 169"/>
              <a:gd name="T49" fmla="*/ 46 h 146"/>
              <a:gd name="T50" fmla="*/ 61 w 169"/>
              <a:gd name="T51" fmla="*/ 9 h 146"/>
              <a:gd name="T52" fmla="*/ 70 w 169"/>
              <a:gd name="T53" fmla="*/ 0 h 146"/>
              <a:gd name="T54" fmla="*/ 106 w 169"/>
              <a:gd name="T55" fmla="*/ 3 h 146"/>
              <a:gd name="T56" fmla="*/ 109 w 169"/>
              <a:gd name="T57" fmla="*/ 40 h 146"/>
              <a:gd name="T58" fmla="*/ 100 w 169"/>
              <a:gd name="T59" fmla="*/ 49 h 146"/>
              <a:gd name="T60" fmla="*/ 91 w 169"/>
              <a:gd name="T61" fmla="*/ 67 h 146"/>
              <a:gd name="T62" fmla="*/ 148 w 169"/>
              <a:gd name="T63" fmla="*/ 70 h 146"/>
              <a:gd name="T64" fmla="*/ 151 w 169"/>
              <a:gd name="T65" fmla="*/ 97 h 146"/>
              <a:gd name="T66" fmla="*/ 167 w 169"/>
              <a:gd name="T67" fmla="*/ 10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69" h="146">
                <a:moveTo>
                  <a:pt x="169" y="106"/>
                </a:moveTo>
                <a:cubicBezTo>
                  <a:pt x="169" y="136"/>
                  <a:pt x="169" y="136"/>
                  <a:pt x="169" y="136"/>
                </a:cubicBezTo>
                <a:cubicBezTo>
                  <a:pt x="169" y="139"/>
                  <a:pt x="169" y="141"/>
                  <a:pt x="167" y="143"/>
                </a:cubicBezTo>
                <a:cubicBezTo>
                  <a:pt x="165" y="145"/>
                  <a:pt x="163" y="146"/>
                  <a:pt x="160" y="146"/>
                </a:cubicBezTo>
                <a:cubicBezTo>
                  <a:pt x="130" y="146"/>
                  <a:pt x="130" y="146"/>
                  <a:pt x="130" y="146"/>
                </a:cubicBezTo>
                <a:cubicBezTo>
                  <a:pt x="128" y="146"/>
                  <a:pt x="125" y="145"/>
                  <a:pt x="124" y="143"/>
                </a:cubicBezTo>
                <a:cubicBezTo>
                  <a:pt x="122" y="141"/>
                  <a:pt x="121" y="139"/>
                  <a:pt x="121" y="136"/>
                </a:cubicBezTo>
                <a:cubicBezTo>
                  <a:pt x="121" y="106"/>
                  <a:pt x="121" y="106"/>
                  <a:pt x="121" y="106"/>
                </a:cubicBezTo>
                <a:cubicBezTo>
                  <a:pt x="121" y="104"/>
                  <a:pt x="122" y="102"/>
                  <a:pt x="124" y="100"/>
                </a:cubicBezTo>
                <a:cubicBezTo>
                  <a:pt x="125" y="98"/>
                  <a:pt x="128" y="97"/>
                  <a:pt x="130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39" y="79"/>
                  <a:pt x="139" y="79"/>
                  <a:pt x="139" y="79"/>
                </a:cubicBezTo>
                <a:cubicBezTo>
                  <a:pt x="91" y="79"/>
                  <a:pt x="91" y="79"/>
                  <a:pt x="91" y="79"/>
                </a:cubicBezTo>
                <a:cubicBezTo>
                  <a:pt x="91" y="97"/>
                  <a:pt x="91" y="97"/>
                  <a:pt x="91" y="97"/>
                </a:cubicBezTo>
                <a:cubicBezTo>
                  <a:pt x="100" y="97"/>
                  <a:pt x="100" y="97"/>
                  <a:pt x="100" y="97"/>
                </a:cubicBezTo>
                <a:cubicBezTo>
                  <a:pt x="102" y="97"/>
                  <a:pt x="105" y="98"/>
                  <a:pt x="106" y="100"/>
                </a:cubicBezTo>
                <a:cubicBezTo>
                  <a:pt x="108" y="102"/>
                  <a:pt x="109" y="104"/>
                  <a:pt x="109" y="106"/>
                </a:cubicBezTo>
                <a:cubicBezTo>
                  <a:pt x="109" y="136"/>
                  <a:pt x="109" y="136"/>
                  <a:pt x="109" y="136"/>
                </a:cubicBezTo>
                <a:cubicBezTo>
                  <a:pt x="109" y="139"/>
                  <a:pt x="108" y="141"/>
                  <a:pt x="106" y="143"/>
                </a:cubicBezTo>
                <a:cubicBezTo>
                  <a:pt x="105" y="145"/>
                  <a:pt x="102" y="146"/>
                  <a:pt x="100" y="146"/>
                </a:cubicBezTo>
                <a:cubicBezTo>
                  <a:pt x="70" y="146"/>
                  <a:pt x="70" y="146"/>
                  <a:pt x="70" y="146"/>
                </a:cubicBezTo>
                <a:cubicBezTo>
                  <a:pt x="67" y="146"/>
                  <a:pt x="65" y="145"/>
                  <a:pt x="63" y="143"/>
                </a:cubicBezTo>
                <a:cubicBezTo>
                  <a:pt x="61" y="141"/>
                  <a:pt x="61" y="139"/>
                  <a:pt x="61" y="136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1" y="104"/>
                  <a:pt x="61" y="102"/>
                  <a:pt x="63" y="100"/>
                </a:cubicBezTo>
                <a:cubicBezTo>
                  <a:pt x="65" y="98"/>
                  <a:pt x="67" y="97"/>
                  <a:pt x="70" y="97"/>
                </a:cubicBezTo>
                <a:cubicBezTo>
                  <a:pt x="79" y="97"/>
                  <a:pt x="79" y="97"/>
                  <a:pt x="79" y="97"/>
                </a:cubicBezTo>
                <a:cubicBezTo>
                  <a:pt x="79" y="79"/>
                  <a:pt x="79" y="79"/>
                  <a:pt x="79" y="79"/>
                </a:cubicBezTo>
                <a:cubicBezTo>
                  <a:pt x="30" y="79"/>
                  <a:pt x="30" y="79"/>
                  <a:pt x="30" y="79"/>
                </a:cubicBezTo>
                <a:cubicBezTo>
                  <a:pt x="30" y="97"/>
                  <a:pt x="30" y="97"/>
                  <a:pt x="30" y="97"/>
                </a:cubicBezTo>
                <a:cubicBezTo>
                  <a:pt x="39" y="97"/>
                  <a:pt x="39" y="97"/>
                  <a:pt x="39" y="97"/>
                </a:cubicBezTo>
                <a:cubicBezTo>
                  <a:pt x="42" y="97"/>
                  <a:pt x="44" y="98"/>
                  <a:pt x="46" y="100"/>
                </a:cubicBezTo>
                <a:cubicBezTo>
                  <a:pt x="48" y="102"/>
                  <a:pt x="48" y="104"/>
                  <a:pt x="48" y="106"/>
                </a:cubicBezTo>
                <a:cubicBezTo>
                  <a:pt x="48" y="136"/>
                  <a:pt x="48" y="136"/>
                  <a:pt x="48" y="136"/>
                </a:cubicBezTo>
                <a:cubicBezTo>
                  <a:pt x="48" y="139"/>
                  <a:pt x="48" y="141"/>
                  <a:pt x="46" y="143"/>
                </a:cubicBezTo>
                <a:cubicBezTo>
                  <a:pt x="44" y="145"/>
                  <a:pt x="42" y="146"/>
                  <a:pt x="39" y="146"/>
                </a:cubicBezTo>
                <a:cubicBezTo>
                  <a:pt x="9" y="146"/>
                  <a:pt x="9" y="146"/>
                  <a:pt x="9" y="146"/>
                </a:cubicBezTo>
                <a:cubicBezTo>
                  <a:pt x="7" y="146"/>
                  <a:pt x="4" y="145"/>
                  <a:pt x="3" y="143"/>
                </a:cubicBezTo>
                <a:cubicBezTo>
                  <a:pt x="1" y="141"/>
                  <a:pt x="0" y="139"/>
                  <a:pt x="0" y="13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4"/>
                  <a:pt x="1" y="102"/>
                  <a:pt x="3" y="100"/>
                </a:cubicBezTo>
                <a:cubicBezTo>
                  <a:pt x="4" y="98"/>
                  <a:pt x="7" y="97"/>
                  <a:pt x="9" y="97"/>
                </a:cubicBezTo>
                <a:cubicBezTo>
                  <a:pt x="18" y="97"/>
                  <a:pt x="18" y="97"/>
                  <a:pt x="18" y="97"/>
                </a:cubicBezTo>
                <a:cubicBezTo>
                  <a:pt x="18" y="79"/>
                  <a:pt x="18" y="79"/>
                  <a:pt x="18" y="79"/>
                </a:cubicBezTo>
                <a:cubicBezTo>
                  <a:pt x="18" y="76"/>
                  <a:pt x="19" y="73"/>
                  <a:pt x="22" y="70"/>
                </a:cubicBezTo>
                <a:cubicBezTo>
                  <a:pt x="24" y="68"/>
                  <a:pt x="27" y="67"/>
                  <a:pt x="30" y="67"/>
                </a:cubicBezTo>
                <a:cubicBezTo>
                  <a:pt x="79" y="67"/>
                  <a:pt x="79" y="67"/>
                  <a:pt x="79" y="67"/>
                </a:cubicBezTo>
                <a:cubicBezTo>
                  <a:pt x="79" y="49"/>
                  <a:pt x="79" y="49"/>
                  <a:pt x="79" y="49"/>
                </a:cubicBezTo>
                <a:cubicBezTo>
                  <a:pt x="70" y="49"/>
                  <a:pt x="70" y="49"/>
                  <a:pt x="70" y="49"/>
                </a:cubicBezTo>
                <a:cubicBezTo>
                  <a:pt x="67" y="49"/>
                  <a:pt x="65" y="48"/>
                  <a:pt x="63" y="46"/>
                </a:cubicBezTo>
                <a:cubicBezTo>
                  <a:pt x="61" y="44"/>
                  <a:pt x="61" y="42"/>
                  <a:pt x="61" y="40"/>
                </a:cubicBezTo>
                <a:cubicBezTo>
                  <a:pt x="61" y="9"/>
                  <a:pt x="61" y="9"/>
                  <a:pt x="61" y="9"/>
                </a:cubicBezTo>
                <a:cubicBezTo>
                  <a:pt x="61" y="7"/>
                  <a:pt x="61" y="5"/>
                  <a:pt x="63" y="3"/>
                </a:cubicBezTo>
                <a:cubicBezTo>
                  <a:pt x="65" y="1"/>
                  <a:pt x="67" y="0"/>
                  <a:pt x="70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102" y="0"/>
                  <a:pt x="105" y="1"/>
                  <a:pt x="106" y="3"/>
                </a:cubicBezTo>
                <a:cubicBezTo>
                  <a:pt x="108" y="5"/>
                  <a:pt x="109" y="7"/>
                  <a:pt x="109" y="9"/>
                </a:cubicBezTo>
                <a:cubicBezTo>
                  <a:pt x="109" y="40"/>
                  <a:pt x="109" y="40"/>
                  <a:pt x="109" y="40"/>
                </a:cubicBezTo>
                <a:cubicBezTo>
                  <a:pt x="109" y="42"/>
                  <a:pt x="108" y="44"/>
                  <a:pt x="106" y="46"/>
                </a:cubicBezTo>
                <a:cubicBezTo>
                  <a:pt x="105" y="48"/>
                  <a:pt x="102" y="49"/>
                  <a:pt x="100" y="49"/>
                </a:cubicBezTo>
                <a:cubicBezTo>
                  <a:pt x="91" y="49"/>
                  <a:pt x="91" y="49"/>
                  <a:pt x="91" y="49"/>
                </a:cubicBezTo>
                <a:cubicBezTo>
                  <a:pt x="91" y="67"/>
                  <a:pt x="91" y="67"/>
                  <a:pt x="91" y="67"/>
                </a:cubicBezTo>
                <a:cubicBezTo>
                  <a:pt x="139" y="67"/>
                  <a:pt x="139" y="67"/>
                  <a:pt x="139" y="67"/>
                </a:cubicBezTo>
                <a:cubicBezTo>
                  <a:pt x="142" y="67"/>
                  <a:pt x="145" y="68"/>
                  <a:pt x="148" y="70"/>
                </a:cubicBezTo>
                <a:cubicBezTo>
                  <a:pt x="150" y="73"/>
                  <a:pt x="151" y="76"/>
                  <a:pt x="151" y="79"/>
                </a:cubicBezTo>
                <a:cubicBezTo>
                  <a:pt x="151" y="97"/>
                  <a:pt x="151" y="97"/>
                  <a:pt x="151" y="97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63" y="97"/>
                  <a:pt x="165" y="98"/>
                  <a:pt x="167" y="100"/>
                </a:cubicBezTo>
                <a:cubicBezTo>
                  <a:pt x="169" y="102"/>
                  <a:pt x="169" y="104"/>
                  <a:pt x="169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0" name="Freeform 211"/>
          <p:cNvSpPr>
            <a:spLocks noChangeAspect="1" noEditPoints="1"/>
          </p:cNvSpPr>
          <p:nvPr/>
        </p:nvSpPr>
        <p:spPr bwMode="auto">
          <a:xfrm>
            <a:off x="2991945" y="3098112"/>
            <a:ext cx="162376" cy="157692"/>
          </a:xfrm>
          <a:custGeom>
            <a:avLst/>
            <a:gdLst>
              <a:gd name="T0" fmla="*/ 157 w 158"/>
              <a:gd name="T1" fmla="*/ 77 h 152"/>
              <a:gd name="T2" fmla="*/ 152 w 158"/>
              <a:gd name="T3" fmla="*/ 77 h 152"/>
              <a:gd name="T4" fmla="*/ 134 w 158"/>
              <a:gd name="T5" fmla="*/ 68 h 152"/>
              <a:gd name="T6" fmla="*/ 112 w 158"/>
              <a:gd name="T7" fmla="*/ 81 h 152"/>
              <a:gd name="T8" fmla="*/ 109 w 158"/>
              <a:gd name="T9" fmla="*/ 86 h 152"/>
              <a:gd name="T10" fmla="*/ 104 w 158"/>
              <a:gd name="T11" fmla="*/ 86 h 152"/>
              <a:gd name="T12" fmla="*/ 101 w 158"/>
              <a:gd name="T13" fmla="*/ 81 h 152"/>
              <a:gd name="T14" fmla="*/ 79 w 158"/>
              <a:gd name="T15" fmla="*/ 68 h 152"/>
              <a:gd name="T16" fmla="*/ 57 w 158"/>
              <a:gd name="T17" fmla="*/ 81 h 152"/>
              <a:gd name="T18" fmla="*/ 54 w 158"/>
              <a:gd name="T19" fmla="*/ 86 h 152"/>
              <a:gd name="T20" fmla="*/ 49 w 158"/>
              <a:gd name="T21" fmla="*/ 86 h 152"/>
              <a:gd name="T22" fmla="*/ 46 w 158"/>
              <a:gd name="T23" fmla="*/ 81 h 152"/>
              <a:gd name="T24" fmla="*/ 24 w 158"/>
              <a:gd name="T25" fmla="*/ 68 h 152"/>
              <a:gd name="T26" fmla="*/ 5 w 158"/>
              <a:gd name="T27" fmla="*/ 77 h 152"/>
              <a:gd name="T28" fmla="*/ 1 w 158"/>
              <a:gd name="T29" fmla="*/ 77 h 152"/>
              <a:gd name="T30" fmla="*/ 0 w 158"/>
              <a:gd name="T31" fmla="*/ 74 h 152"/>
              <a:gd name="T32" fmla="*/ 45 w 158"/>
              <a:gd name="T33" fmla="*/ 25 h 152"/>
              <a:gd name="T34" fmla="*/ 105 w 158"/>
              <a:gd name="T35" fmla="*/ 22 h 152"/>
              <a:gd name="T36" fmla="*/ 146 w 158"/>
              <a:gd name="T37" fmla="*/ 51 h 152"/>
              <a:gd name="T38" fmla="*/ 158 w 158"/>
              <a:gd name="T39" fmla="*/ 75 h 152"/>
              <a:gd name="T40" fmla="*/ 85 w 158"/>
              <a:gd name="T41" fmla="*/ 127 h 152"/>
              <a:gd name="T42" fmla="*/ 61 w 158"/>
              <a:gd name="T43" fmla="*/ 152 h 152"/>
              <a:gd name="T44" fmla="*/ 36 w 158"/>
              <a:gd name="T45" fmla="*/ 127 h 152"/>
              <a:gd name="T46" fmla="*/ 43 w 158"/>
              <a:gd name="T47" fmla="*/ 121 h 152"/>
              <a:gd name="T48" fmla="*/ 49 w 158"/>
              <a:gd name="T49" fmla="*/ 127 h 152"/>
              <a:gd name="T50" fmla="*/ 61 w 158"/>
              <a:gd name="T51" fmla="*/ 139 h 152"/>
              <a:gd name="T52" fmla="*/ 73 w 158"/>
              <a:gd name="T53" fmla="*/ 127 h 152"/>
              <a:gd name="T54" fmla="*/ 79 w 158"/>
              <a:gd name="T55" fmla="*/ 71 h 152"/>
              <a:gd name="T56" fmla="*/ 85 w 158"/>
              <a:gd name="T57" fmla="*/ 6 h 152"/>
              <a:gd name="T58" fmla="*/ 79 w 158"/>
              <a:gd name="T59" fmla="*/ 15 h 152"/>
              <a:gd name="T60" fmla="*/ 73 w 158"/>
              <a:gd name="T61" fmla="*/ 6 h 152"/>
              <a:gd name="T62" fmla="*/ 79 w 158"/>
              <a:gd name="T63" fmla="*/ 0 h 152"/>
              <a:gd name="T64" fmla="*/ 85 w 158"/>
              <a:gd name="T65" fmla="*/ 6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8" h="152">
                <a:moveTo>
                  <a:pt x="158" y="75"/>
                </a:moveTo>
                <a:cubicBezTo>
                  <a:pt x="158" y="76"/>
                  <a:pt x="157" y="77"/>
                  <a:pt x="157" y="77"/>
                </a:cubicBezTo>
                <a:cubicBezTo>
                  <a:pt x="156" y="78"/>
                  <a:pt x="155" y="78"/>
                  <a:pt x="154" y="78"/>
                </a:cubicBezTo>
                <a:cubicBezTo>
                  <a:pt x="154" y="78"/>
                  <a:pt x="153" y="78"/>
                  <a:pt x="152" y="77"/>
                </a:cubicBezTo>
                <a:cubicBezTo>
                  <a:pt x="149" y="74"/>
                  <a:pt x="146" y="72"/>
                  <a:pt x="144" y="71"/>
                </a:cubicBezTo>
                <a:cubicBezTo>
                  <a:pt x="141" y="69"/>
                  <a:pt x="138" y="68"/>
                  <a:pt x="134" y="68"/>
                </a:cubicBezTo>
                <a:cubicBezTo>
                  <a:pt x="130" y="68"/>
                  <a:pt x="126" y="70"/>
                  <a:pt x="122" y="72"/>
                </a:cubicBezTo>
                <a:cubicBezTo>
                  <a:pt x="118" y="74"/>
                  <a:pt x="115" y="77"/>
                  <a:pt x="112" y="81"/>
                </a:cubicBezTo>
                <a:cubicBezTo>
                  <a:pt x="112" y="82"/>
                  <a:pt x="111" y="83"/>
                  <a:pt x="110" y="84"/>
                </a:cubicBezTo>
                <a:cubicBezTo>
                  <a:pt x="110" y="85"/>
                  <a:pt x="109" y="86"/>
                  <a:pt x="109" y="86"/>
                </a:cubicBezTo>
                <a:cubicBezTo>
                  <a:pt x="108" y="87"/>
                  <a:pt x="107" y="88"/>
                  <a:pt x="106" y="88"/>
                </a:cubicBezTo>
                <a:cubicBezTo>
                  <a:pt x="105" y="88"/>
                  <a:pt x="104" y="87"/>
                  <a:pt x="104" y="86"/>
                </a:cubicBezTo>
                <a:cubicBezTo>
                  <a:pt x="103" y="86"/>
                  <a:pt x="103" y="85"/>
                  <a:pt x="102" y="84"/>
                </a:cubicBezTo>
                <a:cubicBezTo>
                  <a:pt x="102" y="83"/>
                  <a:pt x="101" y="82"/>
                  <a:pt x="101" y="81"/>
                </a:cubicBezTo>
                <a:cubicBezTo>
                  <a:pt x="98" y="77"/>
                  <a:pt x="95" y="74"/>
                  <a:pt x="91" y="72"/>
                </a:cubicBezTo>
                <a:cubicBezTo>
                  <a:pt x="87" y="70"/>
                  <a:pt x="83" y="68"/>
                  <a:pt x="79" y="68"/>
                </a:cubicBezTo>
                <a:cubicBezTo>
                  <a:pt x="75" y="68"/>
                  <a:pt x="71" y="70"/>
                  <a:pt x="67" y="72"/>
                </a:cubicBezTo>
                <a:cubicBezTo>
                  <a:pt x="63" y="74"/>
                  <a:pt x="60" y="77"/>
                  <a:pt x="57" y="81"/>
                </a:cubicBezTo>
                <a:cubicBezTo>
                  <a:pt x="57" y="82"/>
                  <a:pt x="56" y="83"/>
                  <a:pt x="55" y="84"/>
                </a:cubicBezTo>
                <a:cubicBezTo>
                  <a:pt x="55" y="85"/>
                  <a:pt x="54" y="86"/>
                  <a:pt x="54" y="86"/>
                </a:cubicBezTo>
                <a:cubicBezTo>
                  <a:pt x="53" y="87"/>
                  <a:pt x="52" y="88"/>
                  <a:pt x="51" y="88"/>
                </a:cubicBezTo>
                <a:cubicBezTo>
                  <a:pt x="50" y="88"/>
                  <a:pt x="49" y="87"/>
                  <a:pt x="49" y="86"/>
                </a:cubicBezTo>
                <a:cubicBezTo>
                  <a:pt x="48" y="86"/>
                  <a:pt x="48" y="85"/>
                  <a:pt x="47" y="84"/>
                </a:cubicBezTo>
                <a:cubicBezTo>
                  <a:pt x="47" y="83"/>
                  <a:pt x="46" y="82"/>
                  <a:pt x="46" y="81"/>
                </a:cubicBezTo>
                <a:cubicBezTo>
                  <a:pt x="43" y="77"/>
                  <a:pt x="40" y="74"/>
                  <a:pt x="36" y="72"/>
                </a:cubicBezTo>
                <a:cubicBezTo>
                  <a:pt x="32" y="70"/>
                  <a:pt x="28" y="68"/>
                  <a:pt x="24" y="68"/>
                </a:cubicBezTo>
                <a:cubicBezTo>
                  <a:pt x="20" y="68"/>
                  <a:pt x="17" y="69"/>
                  <a:pt x="14" y="71"/>
                </a:cubicBezTo>
                <a:cubicBezTo>
                  <a:pt x="11" y="72"/>
                  <a:pt x="8" y="74"/>
                  <a:pt x="5" y="77"/>
                </a:cubicBezTo>
                <a:cubicBezTo>
                  <a:pt x="5" y="78"/>
                  <a:pt x="4" y="78"/>
                  <a:pt x="3" y="78"/>
                </a:cubicBezTo>
                <a:cubicBezTo>
                  <a:pt x="2" y="78"/>
                  <a:pt x="2" y="78"/>
                  <a:pt x="1" y="77"/>
                </a:cubicBezTo>
                <a:cubicBezTo>
                  <a:pt x="0" y="77"/>
                  <a:pt x="0" y="76"/>
                  <a:pt x="0" y="75"/>
                </a:cubicBezTo>
                <a:cubicBezTo>
                  <a:pt x="0" y="75"/>
                  <a:pt x="0" y="75"/>
                  <a:pt x="0" y="74"/>
                </a:cubicBezTo>
                <a:cubicBezTo>
                  <a:pt x="3" y="63"/>
                  <a:pt x="9" y="53"/>
                  <a:pt x="17" y="44"/>
                </a:cubicBezTo>
                <a:cubicBezTo>
                  <a:pt x="25" y="36"/>
                  <a:pt x="34" y="29"/>
                  <a:pt x="45" y="25"/>
                </a:cubicBezTo>
                <a:cubicBezTo>
                  <a:pt x="56" y="21"/>
                  <a:pt x="67" y="18"/>
                  <a:pt x="79" y="18"/>
                </a:cubicBezTo>
                <a:cubicBezTo>
                  <a:pt x="88" y="18"/>
                  <a:pt x="96" y="20"/>
                  <a:pt x="105" y="22"/>
                </a:cubicBezTo>
                <a:cubicBezTo>
                  <a:pt x="113" y="25"/>
                  <a:pt x="121" y="28"/>
                  <a:pt x="128" y="33"/>
                </a:cubicBezTo>
                <a:cubicBezTo>
                  <a:pt x="135" y="38"/>
                  <a:pt x="141" y="43"/>
                  <a:pt x="146" y="51"/>
                </a:cubicBezTo>
                <a:cubicBezTo>
                  <a:pt x="152" y="58"/>
                  <a:pt x="155" y="66"/>
                  <a:pt x="157" y="74"/>
                </a:cubicBezTo>
                <a:cubicBezTo>
                  <a:pt x="157" y="75"/>
                  <a:pt x="158" y="75"/>
                  <a:pt x="158" y="75"/>
                </a:cubicBezTo>
                <a:close/>
                <a:moveTo>
                  <a:pt x="85" y="73"/>
                </a:moveTo>
                <a:cubicBezTo>
                  <a:pt x="85" y="127"/>
                  <a:pt x="85" y="127"/>
                  <a:pt x="85" y="127"/>
                </a:cubicBezTo>
                <a:cubicBezTo>
                  <a:pt x="85" y="134"/>
                  <a:pt x="83" y="140"/>
                  <a:pt x="78" y="144"/>
                </a:cubicBezTo>
                <a:cubicBezTo>
                  <a:pt x="73" y="149"/>
                  <a:pt x="67" y="152"/>
                  <a:pt x="61" y="152"/>
                </a:cubicBezTo>
                <a:cubicBezTo>
                  <a:pt x="54" y="152"/>
                  <a:pt x="48" y="149"/>
                  <a:pt x="44" y="144"/>
                </a:cubicBezTo>
                <a:cubicBezTo>
                  <a:pt x="39" y="140"/>
                  <a:pt x="36" y="134"/>
                  <a:pt x="36" y="127"/>
                </a:cubicBezTo>
                <a:cubicBezTo>
                  <a:pt x="36" y="126"/>
                  <a:pt x="37" y="124"/>
                  <a:pt x="38" y="123"/>
                </a:cubicBezTo>
                <a:cubicBezTo>
                  <a:pt x="39" y="122"/>
                  <a:pt x="41" y="121"/>
                  <a:pt x="43" y="121"/>
                </a:cubicBezTo>
                <a:cubicBezTo>
                  <a:pt x="44" y="121"/>
                  <a:pt x="46" y="122"/>
                  <a:pt x="47" y="123"/>
                </a:cubicBezTo>
                <a:cubicBezTo>
                  <a:pt x="48" y="124"/>
                  <a:pt x="49" y="126"/>
                  <a:pt x="49" y="127"/>
                </a:cubicBezTo>
                <a:cubicBezTo>
                  <a:pt x="49" y="130"/>
                  <a:pt x="50" y="133"/>
                  <a:pt x="52" y="136"/>
                </a:cubicBezTo>
                <a:cubicBezTo>
                  <a:pt x="55" y="138"/>
                  <a:pt x="58" y="139"/>
                  <a:pt x="61" y="139"/>
                </a:cubicBezTo>
                <a:cubicBezTo>
                  <a:pt x="64" y="139"/>
                  <a:pt x="67" y="138"/>
                  <a:pt x="69" y="136"/>
                </a:cubicBezTo>
                <a:cubicBezTo>
                  <a:pt x="72" y="133"/>
                  <a:pt x="73" y="130"/>
                  <a:pt x="73" y="127"/>
                </a:cubicBezTo>
                <a:cubicBezTo>
                  <a:pt x="73" y="73"/>
                  <a:pt x="73" y="73"/>
                  <a:pt x="73" y="73"/>
                </a:cubicBezTo>
                <a:cubicBezTo>
                  <a:pt x="75" y="72"/>
                  <a:pt x="77" y="71"/>
                  <a:pt x="79" y="71"/>
                </a:cubicBezTo>
                <a:cubicBezTo>
                  <a:pt x="81" y="71"/>
                  <a:pt x="83" y="72"/>
                  <a:pt x="85" y="73"/>
                </a:cubicBezTo>
                <a:close/>
                <a:moveTo>
                  <a:pt x="85" y="6"/>
                </a:moveTo>
                <a:cubicBezTo>
                  <a:pt x="85" y="16"/>
                  <a:pt x="85" y="16"/>
                  <a:pt x="85" y="16"/>
                </a:cubicBezTo>
                <a:cubicBezTo>
                  <a:pt x="82" y="15"/>
                  <a:pt x="80" y="15"/>
                  <a:pt x="79" y="15"/>
                </a:cubicBezTo>
                <a:cubicBezTo>
                  <a:pt x="77" y="15"/>
                  <a:pt x="75" y="15"/>
                  <a:pt x="73" y="16"/>
                </a:cubicBezTo>
                <a:cubicBezTo>
                  <a:pt x="73" y="6"/>
                  <a:pt x="73" y="6"/>
                  <a:pt x="73" y="6"/>
                </a:cubicBezTo>
                <a:cubicBezTo>
                  <a:pt x="73" y="5"/>
                  <a:pt x="73" y="3"/>
                  <a:pt x="75" y="2"/>
                </a:cubicBezTo>
                <a:cubicBezTo>
                  <a:pt x="76" y="1"/>
                  <a:pt x="77" y="0"/>
                  <a:pt x="79" y="0"/>
                </a:cubicBezTo>
                <a:cubicBezTo>
                  <a:pt x="80" y="0"/>
                  <a:pt x="82" y="1"/>
                  <a:pt x="83" y="2"/>
                </a:cubicBezTo>
                <a:cubicBezTo>
                  <a:pt x="84" y="3"/>
                  <a:pt x="85" y="5"/>
                  <a:pt x="85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1" name="Freeform 212"/>
          <p:cNvSpPr>
            <a:spLocks noChangeAspect="1" noEditPoints="1"/>
          </p:cNvSpPr>
          <p:nvPr/>
        </p:nvSpPr>
        <p:spPr bwMode="auto">
          <a:xfrm>
            <a:off x="3201160" y="3091867"/>
            <a:ext cx="174866" cy="176428"/>
          </a:xfrm>
          <a:custGeom>
            <a:avLst/>
            <a:gdLst>
              <a:gd name="T0" fmla="*/ 170 w 170"/>
              <a:gd name="T1" fmla="*/ 97 h 170"/>
              <a:gd name="T2" fmla="*/ 170 w 170"/>
              <a:gd name="T3" fmla="*/ 161 h 170"/>
              <a:gd name="T4" fmla="*/ 167 w 170"/>
              <a:gd name="T5" fmla="*/ 167 h 170"/>
              <a:gd name="T6" fmla="*/ 161 w 170"/>
              <a:gd name="T7" fmla="*/ 170 h 170"/>
              <a:gd name="T8" fmla="*/ 70 w 170"/>
              <a:gd name="T9" fmla="*/ 170 h 170"/>
              <a:gd name="T10" fmla="*/ 63 w 170"/>
              <a:gd name="T11" fmla="*/ 167 h 170"/>
              <a:gd name="T12" fmla="*/ 61 w 170"/>
              <a:gd name="T13" fmla="*/ 161 h 170"/>
              <a:gd name="T14" fmla="*/ 61 w 170"/>
              <a:gd name="T15" fmla="*/ 145 h 170"/>
              <a:gd name="T16" fmla="*/ 9 w 170"/>
              <a:gd name="T17" fmla="*/ 145 h 170"/>
              <a:gd name="T18" fmla="*/ 3 w 170"/>
              <a:gd name="T19" fmla="*/ 143 h 170"/>
              <a:gd name="T20" fmla="*/ 0 w 170"/>
              <a:gd name="T21" fmla="*/ 136 h 170"/>
              <a:gd name="T22" fmla="*/ 0 w 170"/>
              <a:gd name="T23" fmla="*/ 9 h 170"/>
              <a:gd name="T24" fmla="*/ 3 w 170"/>
              <a:gd name="T25" fmla="*/ 3 h 170"/>
              <a:gd name="T26" fmla="*/ 9 w 170"/>
              <a:gd name="T27" fmla="*/ 0 h 170"/>
              <a:gd name="T28" fmla="*/ 112 w 170"/>
              <a:gd name="T29" fmla="*/ 0 h 170"/>
              <a:gd name="T30" fmla="*/ 119 w 170"/>
              <a:gd name="T31" fmla="*/ 3 h 170"/>
              <a:gd name="T32" fmla="*/ 121 w 170"/>
              <a:gd name="T33" fmla="*/ 9 h 170"/>
              <a:gd name="T34" fmla="*/ 121 w 170"/>
              <a:gd name="T35" fmla="*/ 40 h 170"/>
              <a:gd name="T36" fmla="*/ 125 w 170"/>
              <a:gd name="T37" fmla="*/ 43 h 170"/>
              <a:gd name="T38" fmla="*/ 163 w 170"/>
              <a:gd name="T39" fmla="*/ 82 h 170"/>
              <a:gd name="T40" fmla="*/ 168 w 170"/>
              <a:gd name="T41" fmla="*/ 89 h 170"/>
              <a:gd name="T42" fmla="*/ 170 w 170"/>
              <a:gd name="T43" fmla="*/ 97 h 170"/>
              <a:gd name="T44" fmla="*/ 97 w 170"/>
              <a:gd name="T45" fmla="*/ 21 h 170"/>
              <a:gd name="T46" fmla="*/ 97 w 170"/>
              <a:gd name="T47" fmla="*/ 15 h 170"/>
              <a:gd name="T48" fmla="*/ 96 w 170"/>
              <a:gd name="T49" fmla="*/ 13 h 170"/>
              <a:gd name="T50" fmla="*/ 94 w 170"/>
              <a:gd name="T51" fmla="*/ 12 h 170"/>
              <a:gd name="T52" fmla="*/ 27 w 170"/>
              <a:gd name="T53" fmla="*/ 12 h 170"/>
              <a:gd name="T54" fmla="*/ 25 w 170"/>
              <a:gd name="T55" fmla="*/ 13 h 170"/>
              <a:gd name="T56" fmla="*/ 24 w 170"/>
              <a:gd name="T57" fmla="*/ 15 h 170"/>
              <a:gd name="T58" fmla="*/ 24 w 170"/>
              <a:gd name="T59" fmla="*/ 21 h 170"/>
              <a:gd name="T60" fmla="*/ 25 w 170"/>
              <a:gd name="T61" fmla="*/ 24 h 170"/>
              <a:gd name="T62" fmla="*/ 27 w 170"/>
              <a:gd name="T63" fmla="*/ 24 h 170"/>
              <a:gd name="T64" fmla="*/ 94 w 170"/>
              <a:gd name="T65" fmla="*/ 24 h 170"/>
              <a:gd name="T66" fmla="*/ 96 w 170"/>
              <a:gd name="T67" fmla="*/ 24 h 170"/>
              <a:gd name="T68" fmla="*/ 97 w 170"/>
              <a:gd name="T69" fmla="*/ 21 h 170"/>
              <a:gd name="T70" fmla="*/ 73 w 170"/>
              <a:gd name="T71" fmla="*/ 158 h 170"/>
              <a:gd name="T72" fmla="*/ 158 w 170"/>
              <a:gd name="T73" fmla="*/ 158 h 170"/>
              <a:gd name="T74" fmla="*/ 158 w 170"/>
              <a:gd name="T75" fmla="*/ 97 h 170"/>
              <a:gd name="T76" fmla="*/ 118 w 170"/>
              <a:gd name="T77" fmla="*/ 97 h 170"/>
              <a:gd name="T78" fmla="*/ 112 w 170"/>
              <a:gd name="T79" fmla="*/ 94 h 170"/>
              <a:gd name="T80" fmla="*/ 109 w 170"/>
              <a:gd name="T81" fmla="*/ 88 h 170"/>
              <a:gd name="T82" fmla="*/ 109 w 170"/>
              <a:gd name="T83" fmla="*/ 49 h 170"/>
              <a:gd name="T84" fmla="*/ 73 w 170"/>
              <a:gd name="T85" fmla="*/ 49 h 170"/>
              <a:gd name="T86" fmla="*/ 73 w 170"/>
              <a:gd name="T87" fmla="*/ 158 h 170"/>
              <a:gd name="T88" fmla="*/ 121 w 170"/>
              <a:gd name="T89" fmla="*/ 85 h 170"/>
              <a:gd name="T90" fmla="*/ 150 w 170"/>
              <a:gd name="T91" fmla="*/ 85 h 170"/>
              <a:gd name="T92" fmla="*/ 121 w 170"/>
              <a:gd name="T93" fmla="*/ 57 h 170"/>
              <a:gd name="T94" fmla="*/ 121 w 170"/>
              <a:gd name="T95" fmla="*/ 85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" h="170">
                <a:moveTo>
                  <a:pt x="170" y="97"/>
                </a:moveTo>
                <a:cubicBezTo>
                  <a:pt x="170" y="161"/>
                  <a:pt x="170" y="161"/>
                  <a:pt x="170" y="161"/>
                </a:cubicBezTo>
                <a:cubicBezTo>
                  <a:pt x="170" y="163"/>
                  <a:pt x="169" y="165"/>
                  <a:pt x="167" y="167"/>
                </a:cubicBezTo>
                <a:cubicBezTo>
                  <a:pt x="165" y="169"/>
                  <a:pt x="163" y="170"/>
                  <a:pt x="161" y="170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67" y="170"/>
                  <a:pt x="65" y="169"/>
                  <a:pt x="63" y="167"/>
                </a:cubicBezTo>
                <a:cubicBezTo>
                  <a:pt x="62" y="165"/>
                  <a:pt x="61" y="163"/>
                  <a:pt x="61" y="161"/>
                </a:cubicBezTo>
                <a:cubicBezTo>
                  <a:pt x="61" y="145"/>
                  <a:pt x="61" y="145"/>
                  <a:pt x="61" y="145"/>
                </a:cubicBezTo>
                <a:cubicBezTo>
                  <a:pt x="9" y="145"/>
                  <a:pt x="9" y="145"/>
                  <a:pt x="9" y="145"/>
                </a:cubicBezTo>
                <a:cubicBezTo>
                  <a:pt x="7" y="145"/>
                  <a:pt x="5" y="145"/>
                  <a:pt x="3" y="143"/>
                </a:cubicBezTo>
                <a:cubicBezTo>
                  <a:pt x="1" y="141"/>
                  <a:pt x="0" y="139"/>
                  <a:pt x="0" y="136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3" y="3"/>
                </a:cubicBezTo>
                <a:cubicBezTo>
                  <a:pt x="5" y="1"/>
                  <a:pt x="7" y="0"/>
                  <a:pt x="9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5" y="0"/>
                  <a:pt x="117" y="1"/>
                  <a:pt x="119" y="3"/>
                </a:cubicBezTo>
                <a:cubicBezTo>
                  <a:pt x="120" y="5"/>
                  <a:pt x="121" y="7"/>
                  <a:pt x="121" y="9"/>
                </a:cubicBezTo>
                <a:cubicBezTo>
                  <a:pt x="121" y="40"/>
                  <a:pt x="121" y="40"/>
                  <a:pt x="121" y="40"/>
                </a:cubicBezTo>
                <a:cubicBezTo>
                  <a:pt x="123" y="41"/>
                  <a:pt x="124" y="42"/>
                  <a:pt x="125" y="43"/>
                </a:cubicBezTo>
                <a:cubicBezTo>
                  <a:pt x="163" y="82"/>
                  <a:pt x="163" y="82"/>
                  <a:pt x="163" y="82"/>
                </a:cubicBezTo>
                <a:cubicBezTo>
                  <a:pt x="165" y="83"/>
                  <a:pt x="167" y="86"/>
                  <a:pt x="168" y="89"/>
                </a:cubicBezTo>
                <a:cubicBezTo>
                  <a:pt x="169" y="92"/>
                  <a:pt x="170" y="95"/>
                  <a:pt x="170" y="97"/>
                </a:cubicBezTo>
                <a:close/>
                <a:moveTo>
                  <a:pt x="97" y="21"/>
                </a:moveTo>
                <a:cubicBezTo>
                  <a:pt x="97" y="15"/>
                  <a:pt x="97" y="15"/>
                  <a:pt x="97" y="15"/>
                </a:cubicBezTo>
                <a:cubicBezTo>
                  <a:pt x="97" y="15"/>
                  <a:pt x="97" y="14"/>
                  <a:pt x="96" y="13"/>
                </a:cubicBezTo>
                <a:cubicBezTo>
                  <a:pt x="96" y="13"/>
                  <a:pt x="95" y="12"/>
                  <a:pt x="94" y="12"/>
                </a:cubicBezTo>
                <a:cubicBezTo>
                  <a:pt x="27" y="12"/>
                  <a:pt x="27" y="12"/>
                  <a:pt x="27" y="12"/>
                </a:cubicBezTo>
                <a:cubicBezTo>
                  <a:pt x="27" y="12"/>
                  <a:pt x="26" y="13"/>
                  <a:pt x="25" y="13"/>
                </a:cubicBezTo>
                <a:cubicBezTo>
                  <a:pt x="25" y="14"/>
                  <a:pt x="24" y="15"/>
                  <a:pt x="24" y="15"/>
                </a:cubicBezTo>
                <a:cubicBezTo>
                  <a:pt x="24" y="21"/>
                  <a:pt x="24" y="21"/>
                  <a:pt x="24" y="21"/>
                </a:cubicBezTo>
                <a:cubicBezTo>
                  <a:pt x="24" y="22"/>
                  <a:pt x="25" y="23"/>
                  <a:pt x="25" y="24"/>
                </a:cubicBezTo>
                <a:cubicBezTo>
                  <a:pt x="26" y="24"/>
                  <a:pt x="27" y="24"/>
                  <a:pt x="27" y="24"/>
                </a:cubicBezTo>
                <a:cubicBezTo>
                  <a:pt x="94" y="24"/>
                  <a:pt x="94" y="24"/>
                  <a:pt x="94" y="24"/>
                </a:cubicBezTo>
                <a:cubicBezTo>
                  <a:pt x="95" y="24"/>
                  <a:pt x="96" y="24"/>
                  <a:pt x="96" y="24"/>
                </a:cubicBezTo>
                <a:cubicBezTo>
                  <a:pt x="97" y="23"/>
                  <a:pt x="97" y="22"/>
                  <a:pt x="97" y="21"/>
                </a:cubicBezTo>
                <a:close/>
                <a:moveTo>
                  <a:pt x="73" y="158"/>
                </a:moveTo>
                <a:cubicBezTo>
                  <a:pt x="158" y="158"/>
                  <a:pt x="158" y="158"/>
                  <a:pt x="158" y="158"/>
                </a:cubicBezTo>
                <a:cubicBezTo>
                  <a:pt x="158" y="97"/>
                  <a:pt x="158" y="97"/>
                  <a:pt x="158" y="97"/>
                </a:cubicBezTo>
                <a:cubicBezTo>
                  <a:pt x="118" y="97"/>
                  <a:pt x="118" y="97"/>
                  <a:pt x="118" y="97"/>
                </a:cubicBezTo>
                <a:cubicBezTo>
                  <a:pt x="116" y="97"/>
                  <a:pt x="114" y="96"/>
                  <a:pt x="112" y="94"/>
                </a:cubicBezTo>
                <a:cubicBezTo>
                  <a:pt x="110" y="93"/>
                  <a:pt x="109" y="90"/>
                  <a:pt x="109" y="88"/>
                </a:cubicBezTo>
                <a:cubicBezTo>
                  <a:pt x="109" y="49"/>
                  <a:pt x="109" y="49"/>
                  <a:pt x="109" y="49"/>
                </a:cubicBezTo>
                <a:cubicBezTo>
                  <a:pt x="73" y="49"/>
                  <a:pt x="73" y="49"/>
                  <a:pt x="73" y="49"/>
                </a:cubicBezTo>
                <a:lnTo>
                  <a:pt x="73" y="158"/>
                </a:lnTo>
                <a:close/>
                <a:moveTo>
                  <a:pt x="121" y="85"/>
                </a:moveTo>
                <a:cubicBezTo>
                  <a:pt x="150" y="85"/>
                  <a:pt x="150" y="85"/>
                  <a:pt x="150" y="85"/>
                </a:cubicBezTo>
                <a:cubicBezTo>
                  <a:pt x="121" y="57"/>
                  <a:pt x="121" y="57"/>
                  <a:pt x="121" y="57"/>
                </a:cubicBezTo>
                <a:lnTo>
                  <a:pt x="121" y="8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2" name="Freeform 213"/>
          <p:cNvSpPr>
            <a:spLocks noChangeAspect="1" noEditPoints="1"/>
          </p:cNvSpPr>
          <p:nvPr/>
        </p:nvSpPr>
        <p:spPr bwMode="auto">
          <a:xfrm>
            <a:off x="3422866" y="3104357"/>
            <a:ext cx="99924" cy="151447"/>
          </a:xfrm>
          <a:custGeom>
            <a:avLst/>
            <a:gdLst>
              <a:gd name="T0" fmla="*/ 87 w 97"/>
              <a:gd name="T1" fmla="*/ 68 h 146"/>
              <a:gd name="T2" fmla="*/ 75 w 97"/>
              <a:gd name="T3" fmla="*/ 85 h 146"/>
              <a:gd name="T4" fmla="*/ 76 w 97"/>
              <a:gd name="T5" fmla="*/ 103 h 146"/>
              <a:gd name="T6" fmla="*/ 76 w 97"/>
              <a:gd name="T7" fmla="*/ 115 h 146"/>
              <a:gd name="T8" fmla="*/ 73 w 97"/>
              <a:gd name="T9" fmla="*/ 127 h 146"/>
              <a:gd name="T10" fmla="*/ 63 w 97"/>
              <a:gd name="T11" fmla="*/ 136 h 146"/>
              <a:gd name="T12" fmla="*/ 49 w 97"/>
              <a:gd name="T13" fmla="*/ 146 h 146"/>
              <a:gd name="T14" fmla="*/ 35 w 97"/>
              <a:gd name="T15" fmla="*/ 136 h 146"/>
              <a:gd name="T16" fmla="*/ 25 w 97"/>
              <a:gd name="T17" fmla="*/ 127 h 146"/>
              <a:gd name="T18" fmla="*/ 22 w 97"/>
              <a:gd name="T19" fmla="*/ 115 h 146"/>
              <a:gd name="T20" fmla="*/ 22 w 97"/>
              <a:gd name="T21" fmla="*/ 103 h 146"/>
              <a:gd name="T22" fmla="*/ 23 w 97"/>
              <a:gd name="T23" fmla="*/ 85 h 146"/>
              <a:gd name="T24" fmla="*/ 10 w 97"/>
              <a:gd name="T25" fmla="*/ 68 h 146"/>
              <a:gd name="T26" fmla="*/ 5 w 97"/>
              <a:gd name="T27" fmla="*/ 25 h 146"/>
              <a:gd name="T28" fmla="*/ 31 w 97"/>
              <a:gd name="T29" fmla="*/ 3 h 146"/>
              <a:gd name="T30" fmla="*/ 66 w 97"/>
              <a:gd name="T31" fmla="*/ 3 h 146"/>
              <a:gd name="T32" fmla="*/ 93 w 97"/>
              <a:gd name="T33" fmla="*/ 25 h 146"/>
              <a:gd name="T34" fmla="*/ 85 w 97"/>
              <a:gd name="T35" fmla="*/ 43 h 146"/>
              <a:gd name="T36" fmla="*/ 73 w 97"/>
              <a:gd name="T37" fmla="*/ 20 h 146"/>
              <a:gd name="T38" fmla="*/ 49 w 97"/>
              <a:gd name="T39" fmla="*/ 12 h 146"/>
              <a:gd name="T40" fmla="*/ 24 w 97"/>
              <a:gd name="T41" fmla="*/ 20 h 146"/>
              <a:gd name="T42" fmla="*/ 13 w 97"/>
              <a:gd name="T43" fmla="*/ 43 h 146"/>
              <a:gd name="T44" fmla="*/ 22 w 97"/>
              <a:gd name="T45" fmla="*/ 63 h 146"/>
              <a:gd name="T46" fmla="*/ 38 w 97"/>
              <a:gd name="T47" fmla="*/ 94 h 146"/>
              <a:gd name="T48" fmla="*/ 73 w 97"/>
              <a:gd name="T49" fmla="*/ 66 h 146"/>
              <a:gd name="T50" fmla="*/ 79 w 97"/>
              <a:gd name="T51" fmla="*/ 60 h 146"/>
              <a:gd name="T52" fmla="*/ 70 w 97"/>
              <a:gd name="T53" fmla="*/ 43 h 146"/>
              <a:gd name="T54" fmla="*/ 67 w 97"/>
              <a:gd name="T55" fmla="*/ 46 h 146"/>
              <a:gd name="T56" fmla="*/ 64 w 97"/>
              <a:gd name="T57" fmla="*/ 43 h 146"/>
              <a:gd name="T58" fmla="*/ 49 w 97"/>
              <a:gd name="T59" fmla="*/ 34 h 146"/>
              <a:gd name="T60" fmla="*/ 46 w 97"/>
              <a:gd name="T61" fmla="*/ 31 h 146"/>
              <a:gd name="T62" fmla="*/ 49 w 97"/>
              <a:gd name="T63" fmla="*/ 28 h 146"/>
              <a:gd name="T64" fmla="*/ 66 w 97"/>
              <a:gd name="T6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43"/>
                </a:moveTo>
                <a:cubicBezTo>
                  <a:pt x="97" y="52"/>
                  <a:pt x="94" y="61"/>
                  <a:pt x="87" y="68"/>
                </a:cubicBezTo>
                <a:cubicBezTo>
                  <a:pt x="85" y="71"/>
                  <a:pt x="82" y="74"/>
                  <a:pt x="80" y="76"/>
                </a:cubicBezTo>
                <a:cubicBezTo>
                  <a:pt x="79" y="79"/>
                  <a:pt x="77" y="82"/>
                  <a:pt x="75" y="85"/>
                </a:cubicBezTo>
                <a:cubicBezTo>
                  <a:pt x="73" y="89"/>
                  <a:pt x="72" y="92"/>
                  <a:pt x="72" y="95"/>
                </a:cubicBezTo>
                <a:cubicBezTo>
                  <a:pt x="75" y="97"/>
                  <a:pt x="76" y="100"/>
                  <a:pt x="76" y="103"/>
                </a:cubicBezTo>
                <a:cubicBezTo>
                  <a:pt x="76" y="106"/>
                  <a:pt x="75" y="108"/>
                  <a:pt x="74" y="109"/>
                </a:cubicBezTo>
                <a:cubicBezTo>
                  <a:pt x="75" y="111"/>
                  <a:pt x="76" y="113"/>
                  <a:pt x="76" y="115"/>
                </a:cubicBezTo>
                <a:cubicBezTo>
                  <a:pt x="76" y="119"/>
                  <a:pt x="75" y="121"/>
                  <a:pt x="72" y="123"/>
                </a:cubicBezTo>
                <a:cubicBezTo>
                  <a:pt x="73" y="124"/>
                  <a:pt x="73" y="126"/>
                  <a:pt x="73" y="127"/>
                </a:cubicBezTo>
                <a:cubicBezTo>
                  <a:pt x="73" y="130"/>
                  <a:pt x="72" y="133"/>
                  <a:pt x="70" y="134"/>
                </a:cubicBezTo>
                <a:cubicBezTo>
                  <a:pt x="68" y="136"/>
                  <a:pt x="66" y="136"/>
                  <a:pt x="63" y="136"/>
                </a:cubicBezTo>
                <a:cubicBezTo>
                  <a:pt x="61" y="139"/>
                  <a:pt x="60" y="141"/>
                  <a:pt x="57" y="143"/>
                </a:cubicBezTo>
                <a:cubicBezTo>
                  <a:pt x="55" y="145"/>
                  <a:pt x="52" y="146"/>
                  <a:pt x="49" y="146"/>
                </a:cubicBezTo>
                <a:cubicBezTo>
                  <a:pt x="46" y="146"/>
                  <a:pt x="43" y="145"/>
                  <a:pt x="41" y="143"/>
                </a:cubicBezTo>
                <a:cubicBezTo>
                  <a:pt x="38" y="141"/>
                  <a:pt x="36" y="139"/>
                  <a:pt x="35" y="136"/>
                </a:cubicBezTo>
                <a:cubicBezTo>
                  <a:pt x="32" y="136"/>
                  <a:pt x="30" y="136"/>
                  <a:pt x="28" y="134"/>
                </a:cubicBezTo>
                <a:cubicBezTo>
                  <a:pt x="26" y="133"/>
                  <a:pt x="25" y="130"/>
                  <a:pt x="25" y="127"/>
                </a:cubicBezTo>
                <a:cubicBezTo>
                  <a:pt x="25" y="126"/>
                  <a:pt x="25" y="124"/>
                  <a:pt x="26" y="123"/>
                </a:cubicBezTo>
                <a:cubicBezTo>
                  <a:pt x="23" y="121"/>
                  <a:pt x="22" y="119"/>
                  <a:pt x="22" y="115"/>
                </a:cubicBezTo>
                <a:cubicBezTo>
                  <a:pt x="22" y="113"/>
                  <a:pt x="22" y="111"/>
                  <a:pt x="24" y="109"/>
                </a:cubicBezTo>
                <a:cubicBezTo>
                  <a:pt x="22" y="108"/>
                  <a:pt x="22" y="106"/>
                  <a:pt x="22" y="103"/>
                </a:cubicBezTo>
                <a:cubicBezTo>
                  <a:pt x="22" y="100"/>
                  <a:pt x="23" y="97"/>
                  <a:pt x="26" y="95"/>
                </a:cubicBezTo>
                <a:cubicBezTo>
                  <a:pt x="26" y="92"/>
                  <a:pt x="25" y="89"/>
                  <a:pt x="23" y="85"/>
                </a:cubicBezTo>
                <a:cubicBezTo>
                  <a:pt x="21" y="82"/>
                  <a:pt x="19" y="79"/>
                  <a:pt x="17" y="76"/>
                </a:cubicBezTo>
                <a:cubicBezTo>
                  <a:pt x="15" y="74"/>
                  <a:pt x="13" y="71"/>
                  <a:pt x="10" y="68"/>
                </a:cubicBezTo>
                <a:cubicBezTo>
                  <a:pt x="4" y="61"/>
                  <a:pt x="0" y="52"/>
                  <a:pt x="0" y="43"/>
                </a:cubicBezTo>
                <a:cubicBezTo>
                  <a:pt x="0" y="36"/>
                  <a:pt x="2" y="31"/>
                  <a:pt x="5" y="25"/>
                </a:cubicBezTo>
                <a:cubicBezTo>
                  <a:pt x="7" y="20"/>
                  <a:pt x="11" y="15"/>
                  <a:pt x="16" y="12"/>
                </a:cubicBezTo>
                <a:cubicBezTo>
                  <a:pt x="20" y="8"/>
                  <a:pt x="25" y="5"/>
                  <a:pt x="31" y="3"/>
                </a:cubicBezTo>
                <a:cubicBezTo>
                  <a:pt x="37" y="1"/>
                  <a:pt x="43" y="0"/>
                  <a:pt x="49" y="0"/>
                </a:cubicBezTo>
                <a:cubicBezTo>
                  <a:pt x="55" y="0"/>
                  <a:pt x="61" y="1"/>
                  <a:pt x="66" y="3"/>
                </a:cubicBezTo>
                <a:cubicBezTo>
                  <a:pt x="72" y="5"/>
                  <a:pt x="77" y="8"/>
                  <a:pt x="82" y="12"/>
                </a:cubicBezTo>
                <a:cubicBezTo>
                  <a:pt x="87" y="15"/>
                  <a:pt x="90" y="20"/>
                  <a:pt x="93" y="25"/>
                </a:cubicBezTo>
                <a:cubicBezTo>
                  <a:pt x="96" y="31"/>
                  <a:pt x="97" y="36"/>
                  <a:pt x="97" y="43"/>
                </a:cubicBezTo>
                <a:close/>
                <a:moveTo>
                  <a:pt x="85" y="43"/>
                </a:moveTo>
                <a:cubicBezTo>
                  <a:pt x="85" y="38"/>
                  <a:pt x="84" y="34"/>
                  <a:pt x="82" y="30"/>
                </a:cubicBezTo>
                <a:cubicBezTo>
                  <a:pt x="80" y="26"/>
                  <a:pt x="77" y="23"/>
                  <a:pt x="73" y="20"/>
                </a:cubicBezTo>
                <a:cubicBezTo>
                  <a:pt x="70" y="18"/>
                  <a:pt x="66" y="16"/>
                  <a:pt x="62" y="15"/>
                </a:cubicBezTo>
                <a:cubicBezTo>
                  <a:pt x="57" y="13"/>
                  <a:pt x="53" y="12"/>
                  <a:pt x="49" y="12"/>
                </a:cubicBezTo>
                <a:cubicBezTo>
                  <a:pt x="44" y="12"/>
                  <a:pt x="40" y="13"/>
                  <a:pt x="36" y="15"/>
                </a:cubicBezTo>
                <a:cubicBezTo>
                  <a:pt x="32" y="16"/>
                  <a:pt x="28" y="18"/>
                  <a:pt x="24" y="20"/>
                </a:cubicBezTo>
                <a:cubicBezTo>
                  <a:pt x="21" y="23"/>
                  <a:pt x="18" y="26"/>
                  <a:pt x="16" y="30"/>
                </a:cubicBezTo>
                <a:cubicBezTo>
                  <a:pt x="14" y="34"/>
                  <a:pt x="13" y="38"/>
                  <a:pt x="13" y="43"/>
                </a:cubicBezTo>
                <a:cubicBezTo>
                  <a:pt x="13" y="49"/>
                  <a:pt x="15" y="55"/>
                  <a:pt x="19" y="60"/>
                </a:cubicBezTo>
                <a:cubicBezTo>
                  <a:pt x="20" y="60"/>
                  <a:pt x="21" y="61"/>
                  <a:pt x="22" y="63"/>
                </a:cubicBezTo>
                <a:cubicBezTo>
                  <a:pt x="23" y="64"/>
                  <a:pt x="24" y="65"/>
                  <a:pt x="25" y="66"/>
                </a:cubicBezTo>
                <a:cubicBezTo>
                  <a:pt x="33" y="76"/>
                  <a:pt x="37" y="85"/>
                  <a:pt x="38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60" y="85"/>
                  <a:pt x="65" y="76"/>
                  <a:pt x="73" y="66"/>
                </a:cubicBezTo>
                <a:cubicBezTo>
                  <a:pt x="74" y="65"/>
                  <a:pt x="75" y="64"/>
                  <a:pt x="76" y="63"/>
                </a:cubicBezTo>
                <a:cubicBezTo>
                  <a:pt x="77" y="61"/>
                  <a:pt x="78" y="60"/>
                  <a:pt x="79" y="60"/>
                </a:cubicBezTo>
                <a:cubicBezTo>
                  <a:pt x="83" y="55"/>
                  <a:pt x="85" y="49"/>
                  <a:pt x="85" y="43"/>
                </a:cubicBezTo>
                <a:close/>
                <a:moveTo>
                  <a:pt x="70" y="43"/>
                </a:moveTo>
                <a:cubicBezTo>
                  <a:pt x="70" y="43"/>
                  <a:pt x="70" y="44"/>
                  <a:pt x="69" y="45"/>
                </a:cubicBezTo>
                <a:cubicBezTo>
                  <a:pt x="68" y="45"/>
                  <a:pt x="68" y="46"/>
                  <a:pt x="67" y="46"/>
                </a:cubicBezTo>
                <a:cubicBezTo>
                  <a:pt x="66" y="46"/>
                  <a:pt x="65" y="45"/>
                  <a:pt x="65" y="45"/>
                </a:cubicBezTo>
                <a:cubicBezTo>
                  <a:pt x="64" y="44"/>
                  <a:pt x="64" y="43"/>
                  <a:pt x="64" y="43"/>
                </a:cubicBezTo>
                <a:cubicBezTo>
                  <a:pt x="64" y="40"/>
                  <a:pt x="62" y="38"/>
                  <a:pt x="59" y="36"/>
                </a:cubicBezTo>
                <a:cubicBezTo>
                  <a:pt x="55" y="34"/>
                  <a:pt x="52" y="34"/>
                  <a:pt x="49" y="34"/>
                </a:cubicBezTo>
                <a:cubicBezTo>
                  <a:pt x="48" y="34"/>
                  <a:pt x="47" y="33"/>
                  <a:pt x="47" y="33"/>
                </a:cubicBezTo>
                <a:cubicBezTo>
                  <a:pt x="46" y="32"/>
                  <a:pt x="46" y="31"/>
                  <a:pt x="46" y="31"/>
                </a:cubicBezTo>
                <a:cubicBezTo>
                  <a:pt x="46" y="30"/>
                  <a:pt x="46" y="29"/>
                  <a:pt x="47" y="28"/>
                </a:cubicBezTo>
                <a:cubicBezTo>
                  <a:pt x="47" y="28"/>
                  <a:pt x="48" y="28"/>
                  <a:pt x="49" y="28"/>
                </a:cubicBezTo>
                <a:cubicBezTo>
                  <a:pt x="52" y="28"/>
                  <a:pt x="55" y="28"/>
                  <a:pt x="58" y="29"/>
                </a:cubicBezTo>
                <a:cubicBezTo>
                  <a:pt x="61" y="30"/>
                  <a:pt x="64" y="32"/>
                  <a:pt x="66" y="34"/>
                </a:cubicBezTo>
                <a:cubicBezTo>
                  <a:pt x="69" y="37"/>
                  <a:pt x="70" y="39"/>
                  <a:pt x="70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3" name="Freeform 214"/>
          <p:cNvSpPr>
            <a:spLocks noChangeAspect="1" noEditPoints="1"/>
          </p:cNvSpPr>
          <p:nvPr/>
        </p:nvSpPr>
        <p:spPr bwMode="auto">
          <a:xfrm>
            <a:off x="3569629" y="3119970"/>
            <a:ext cx="174866" cy="132712"/>
          </a:xfrm>
          <a:custGeom>
            <a:avLst/>
            <a:gdLst>
              <a:gd name="T0" fmla="*/ 169 w 169"/>
              <a:gd name="T1" fmla="*/ 34 h 128"/>
              <a:gd name="T2" fmla="*/ 169 w 169"/>
              <a:gd name="T3" fmla="*/ 36 h 128"/>
              <a:gd name="T4" fmla="*/ 138 w 169"/>
              <a:gd name="T5" fmla="*/ 66 h 128"/>
              <a:gd name="T6" fmla="*/ 136 w 169"/>
              <a:gd name="T7" fmla="*/ 67 h 128"/>
              <a:gd name="T8" fmla="*/ 134 w 169"/>
              <a:gd name="T9" fmla="*/ 66 h 128"/>
              <a:gd name="T10" fmla="*/ 133 w 169"/>
              <a:gd name="T11" fmla="*/ 64 h 128"/>
              <a:gd name="T12" fmla="*/ 133 w 169"/>
              <a:gd name="T13" fmla="*/ 46 h 128"/>
              <a:gd name="T14" fmla="*/ 3 w 169"/>
              <a:gd name="T15" fmla="*/ 46 h 128"/>
              <a:gd name="T16" fmla="*/ 1 w 169"/>
              <a:gd name="T17" fmla="*/ 45 h 128"/>
              <a:gd name="T18" fmla="*/ 0 w 169"/>
              <a:gd name="T19" fmla="*/ 43 h 128"/>
              <a:gd name="T20" fmla="*/ 0 w 169"/>
              <a:gd name="T21" fmla="*/ 25 h 128"/>
              <a:gd name="T22" fmla="*/ 1 w 169"/>
              <a:gd name="T23" fmla="*/ 23 h 128"/>
              <a:gd name="T24" fmla="*/ 3 w 169"/>
              <a:gd name="T25" fmla="*/ 22 h 128"/>
              <a:gd name="T26" fmla="*/ 133 w 169"/>
              <a:gd name="T27" fmla="*/ 22 h 128"/>
              <a:gd name="T28" fmla="*/ 133 w 169"/>
              <a:gd name="T29" fmla="*/ 3 h 128"/>
              <a:gd name="T30" fmla="*/ 134 w 169"/>
              <a:gd name="T31" fmla="*/ 1 h 128"/>
              <a:gd name="T32" fmla="*/ 136 w 169"/>
              <a:gd name="T33" fmla="*/ 0 h 128"/>
              <a:gd name="T34" fmla="*/ 138 w 169"/>
              <a:gd name="T35" fmla="*/ 1 h 128"/>
              <a:gd name="T36" fmla="*/ 169 w 169"/>
              <a:gd name="T37" fmla="*/ 32 h 128"/>
              <a:gd name="T38" fmla="*/ 169 w 169"/>
              <a:gd name="T39" fmla="*/ 34 h 128"/>
              <a:gd name="T40" fmla="*/ 169 w 169"/>
              <a:gd name="T41" fmla="*/ 85 h 128"/>
              <a:gd name="T42" fmla="*/ 169 w 169"/>
              <a:gd name="T43" fmla="*/ 103 h 128"/>
              <a:gd name="T44" fmla="*/ 168 w 169"/>
              <a:gd name="T45" fmla="*/ 105 h 128"/>
              <a:gd name="T46" fmla="*/ 166 w 169"/>
              <a:gd name="T47" fmla="*/ 106 h 128"/>
              <a:gd name="T48" fmla="*/ 36 w 169"/>
              <a:gd name="T49" fmla="*/ 106 h 128"/>
              <a:gd name="T50" fmla="*/ 36 w 169"/>
              <a:gd name="T51" fmla="*/ 124 h 128"/>
              <a:gd name="T52" fmla="*/ 35 w 169"/>
              <a:gd name="T53" fmla="*/ 127 h 128"/>
              <a:gd name="T54" fmla="*/ 33 w 169"/>
              <a:gd name="T55" fmla="*/ 128 h 128"/>
              <a:gd name="T56" fmla="*/ 31 w 169"/>
              <a:gd name="T57" fmla="*/ 127 h 128"/>
              <a:gd name="T58" fmla="*/ 1 w 169"/>
              <a:gd name="T59" fmla="*/ 96 h 128"/>
              <a:gd name="T60" fmla="*/ 0 w 169"/>
              <a:gd name="T61" fmla="*/ 94 h 128"/>
              <a:gd name="T62" fmla="*/ 1 w 169"/>
              <a:gd name="T63" fmla="*/ 92 h 128"/>
              <a:gd name="T64" fmla="*/ 31 w 169"/>
              <a:gd name="T65" fmla="*/ 62 h 128"/>
              <a:gd name="T66" fmla="*/ 33 w 169"/>
              <a:gd name="T67" fmla="*/ 61 h 128"/>
              <a:gd name="T68" fmla="*/ 35 w 169"/>
              <a:gd name="T69" fmla="*/ 62 h 128"/>
              <a:gd name="T70" fmla="*/ 36 w 169"/>
              <a:gd name="T71" fmla="*/ 64 h 128"/>
              <a:gd name="T72" fmla="*/ 36 w 169"/>
              <a:gd name="T73" fmla="*/ 82 h 128"/>
              <a:gd name="T74" fmla="*/ 166 w 169"/>
              <a:gd name="T75" fmla="*/ 82 h 128"/>
              <a:gd name="T76" fmla="*/ 168 w 169"/>
              <a:gd name="T77" fmla="*/ 83 h 128"/>
              <a:gd name="T78" fmla="*/ 169 w 169"/>
              <a:gd name="T79" fmla="*/ 85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9" h="128">
                <a:moveTo>
                  <a:pt x="169" y="34"/>
                </a:moveTo>
                <a:cubicBezTo>
                  <a:pt x="169" y="35"/>
                  <a:pt x="169" y="35"/>
                  <a:pt x="169" y="36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38" y="67"/>
                  <a:pt x="137" y="67"/>
                  <a:pt x="136" y="67"/>
                </a:cubicBezTo>
                <a:cubicBezTo>
                  <a:pt x="135" y="67"/>
                  <a:pt x="135" y="67"/>
                  <a:pt x="134" y="66"/>
                </a:cubicBezTo>
                <a:cubicBezTo>
                  <a:pt x="133" y="66"/>
                  <a:pt x="133" y="65"/>
                  <a:pt x="133" y="64"/>
                </a:cubicBezTo>
                <a:cubicBezTo>
                  <a:pt x="133" y="46"/>
                  <a:pt x="133" y="46"/>
                  <a:pt x="133" y="46"/>
                </a:cubicBezTo>
                <a:cubicBezTo>
                  <a:pt x="3" y="46"/>
                  <a:pt x="3" y="46"/>
                  <a:pt x="3" y="46"/>
                </a:cubicBezTo>
                <a:cubicBezTo>
                  <a:pt x="2" y="46"/>
                  <a:pt x="1" y="46"/>
                  <a:pt x="1" y="45"/>
                </a:cubicBezTo>
                <a:cubicBezTo>
                  <a:pt x="0" y="44"/>
                  <a:pt x="0" y="44"/>
                  <a:pt x="0" y="43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3"/>
                  <a:pt x="1" y="23"/>
                </a:cubicBezTo>
                <a:cubicBezTo>
                  <a:pt x="1" y="22"/>
                  <a:pt x="2" y="22"/>
                  <a:pt x="3" y="22"/>
                </a:cubicBezTo>
                <a:cubicBezTo>
                  <a:pt x="133" y="22"/>
                  <a:pt x="133" y="22"/>
                  <a:pt x="133" y="22"/>
                </a:cubicBezTo>
                <a:cubicBezTo>
                  <a:pt x="133" y="3"/>
                  <a:pt x="133" y="3"/>
                  <a:pt x="133" y="3"/>
                </a:cubicBezTo>
                <a:cubicBezTo>
                  <a:pt x="133" y="3"/>
                  <a:pt x="133" y="2"/>
                  <a:pt x="134" y="1"/>
                </a:cubicBezTo>
                <a:cubicBezTo>
                  <a:pt x="134" y="1"/>
                  <a:pt x="135" y="0"/>
                  <a:pt x="136" y="0"/>
                </a:cubicBezTo>
                <a:cubicBezTo>
                  <a:pt x="137" y="0"/>
                  <a:pt x="138" y="1"/>
                  <a:pt x="138" y="1"/>
                </a:cubicBezTo>
                <a:cubicBezTo>
                  <a:pt x="169" y="32"/>
                  <a:pt x="169" y="32"/>
                  <a:pt x="169" y="32"/>
                </a:cubicBezTo>
                <a:cubicBezTo>
                  <a:pt x="169" y="32"/>
                  <a:pt x="169" y="33"/>
                  <a:pt x="169" y="34"/>
                </a:cubicBezTo>
                <a:close/>
                <a:moveTo>
                  <a:pt x="169" y="85"/>
                </a:moveTo>
                <a:cubicBezTo>
                  <a:pt x="169" y="103"/>
                  <a:pt x="169" y="103"/>
                  <a:pt x="169" y="103"/>
                </a:cubicBezTo>
                <a:cubicBezTo>
                  <a:pt x="169" y="104"/>
                  <a:pt x="169" y="105"/>
                  <a:pt x="168" y="105"/>
                </a:cubicBezTo>
                <a:cubicBezTo>
                  <a:pt x="168" y="106"/>
                  <a:pt x="167" y="106"/>
                  <a:pt x="166" y="106"/>
                </a:cubicBezTo>
                <a:cubicBezTo>
                  <a:pt x="36" y="106"/>
                  <a:pt x="36" y="106"/>
                  <a:pt x="36" y="106"/>
                </a:cubicBezTo>
                <a:cubicBezTo>
                  <a:pt x="36" y="124"/>
                  <a:pt x="36" y="124"/>
                  <a:pt x="36" y="124"/>
                </a:cubicBezTo>
                <a:cubicBezTo>
                  <a:pt x="36" y="125"/>
                  <a:pt x="36" y="126"/>
                  <a:pt x="35" y="127"/>
                </a:cubicBezTo>
                <a:cubicBezTo>
                  <a:pt x="35" y="127"/>
                  <a:pt x="34" y="128"/>
                  <a:pt x="33" y="128"/>
                </a:cubicBezTo>
                <a:cubicBezTo>
                  <a:pt x="32" y="128"/>
                  <a:pt x="32" y="127"/>
                  <a:pt x="31" y="127"/>
                </a:cubicBezTo>
                <a:cubicBezTo>
                  <a:pt x="1" y="96"/>
                  <a:pt x="1" y="96"/>
                  <a:pt x="1" y="96"/>
                </a:cubicBezTo>
                <a:cubicBezTo>
                  <a:pt x="0" y="96"/>
                  <a:pt x="0" y="95"/>
                  <a:pt x="0" y="94"/>
                </a:cubicBezTo>
                <a:cubicBezTo>
                  <a:pt x="0" y="93"/>
                  <a:pt x="0" y="93"/>
                  <a:pt x="1" y="92"/>
                </a:cubicBezTo>
                <a:cubicBezTo>
                  <a:pt x="31" y="62"/>
                  <a:pt x="31" y="62"/>
                  <a:pt x="31" y="62"/>
                </a:cubicBezTo>
                <a:cubicBezTo>
                  <a:pt x="32" y="61"/>
                  <a:pt x="32" y="61"/>
                  <a:pt x="33" y="61"/>
                </a:cubicBezTo>
                <a:cubicBezTo>
                  <a:pt x="34" y="61"/>
                  <a:pt x="35" y="61"/>
                  <a:pt x="35" y="62"/>
                </a:cubicBezTo>
                <a:cubicBezTo>
                  <a:pt x="36" y="62"/>
                  <a:pt x="36" y="63"/>
                  <a:pt x="36" y="64"/>
                </a:cubicBezTo>
                <a:cubicBezTo>
                  <a:pt x="36" y="82"/>
                  <a:pt x="36" y="82"/>
                  <a:pt x="36" y="82"/>
                </a:cubicBezTo>
                <a:cubicBezTo>
                  <a:pt x="166" y="82"/>
                  <a:pt x="166" y="82"/>
                  <a:pt x="166" y="82"/>
                </a:cubicBezTo>
                <a:cubicBezTo>
                  <a:pt x="167" y="82"/>
                  <a:pt x="168" y="82"/>
                  <a:pt x="168" y="83"/>
                </a:cubicBezTo>
                <a:cubicBezTo>
                  <a:pt x="169" y="84"/>
                  <a:pt x="169" y="84"/>
                  <a:pt x="169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4" name="Freeform 215"/>
          <p:cNvSpPr>
            <a:spLocks noChangeAspect="1" noEditPoints="1"/>
          </p:cNvSpPr>
          <p:nvPr/>
        </p:nvSpPr>
        <p:spPr bwMode="auto">
          <a:xfrm>
            <a:off x="3791334" y="3104357"/>
            <a:ext cx="187357" cy="138957"/>
          </a:xfrm>
          <a:custGeom>
            <a:avLst/>
            <a:gdLst>
              <a:gd name="T0" fmla="*/ 182 w 182"/>
              <a:gd name="T1" fmla="*/ 97 h 133"/>
              <a:gd name="T2" fmla="*/ 171 w 182"/>
              <a:gd name="T3" fmla="*/ 123 h 133"/>
              <a:gd name="T4" fmla="*/ 145 w 182"/>
              <a:gd name="T5" fmla="*/ 133 h 133"/>
              <a:gd name="T6" fmla="*/ 42 w 182"/>
              <a:gd name="T7" fmla="*/ 133 h 133"/>
              <a:gd name="T8" fmla="*/ 13 w 182"/>
              <a:gd name="T9" fmla="*/ 121 h 133"/>
              <a:gd name="T10" fmla="*/ 0 w 182"/>
              <a:gd name="T11" fmla="*/ 91 h 133"/>
              <a:gd name="T12" fmla="*/ 7 w 182"/>
              <a:gd name="T13" fmla="*/ 68 h 133"/>
              <a:gd name="T14" fmla="*/ 25 w 182"/>
              <a:gd name="T15" fmla="*/ 53 h 133"/>
              <a:gd name="T16" fmla="*/ 24 w 182"/>
              <a:gd name="T17" fmla="*/ 49 h 133"/>
              <a:gd name="T18" fmla="*/ 38 w 182"/>
              <a:gd name="T19" fmla="*/ 15 h 133"/>
              <a:gd name="T20" fmla="*/ 73 w 182"/>
              <a:gd name="T21" fmla="*/ 0 h 133"/>
              <a:gd name="T22" fmla="*/ 100 w 182"/>
              <a:gd name="T23" fmla="*/ 9 h 133"/>
              <a:gd name="T24" fmla="*/ 118 w 182"/>
              <a:gd name="T25" fmla="*/ 30 h 133"/>
              <a:gd name="T26" fmla="*/ 133 w 182"/>
              <a:gd name="T27" fmla="*/ 25 h 133"/>
              <a:gd name="T28" fmla="*/ 150 w 182"/>
              <a:gd name="T29" fmla="*/ 32 h 133"/>
              <a:gd name="T30" fmla="*/ 157 w 182"/>
              <a:gd name="T31" fmla="*/ 49 h 133"/>
              <a:gd name="T32" fmla="*/ 154 w 182"/>
              <a:gd name="T33" fmla="*/ 62 h 133"/>
              <a:gd name="T34" fmla="*/ 174 w 182"/>
              <a:gd name="T35" fmla="*/ 75 h 133"/>
              <a:gd name="T36" fmla="*/ 182 w 182"/>
              <a:gd name="T37" fmla="*/ 97 h 133"/>
              <a:gd name="T38" fmla="*/ 121 w 182"/>
              <a:gd name="T39" fmla="*/ 76 h 133"/>
              <a:gd name="T40" fmla="*/ 120 w 182"/>
              <a:gd name="T41" fmla="*/ 74 h 133"/>
              <a:gd name="T42" fmla="*/ 118 w 182"/>
              <a:gd name="T43" fmla="*/ 73 h 133"/>
              <a:gd name="T44" fmla="*/ 97 w 182"/>
              <a:gd name="T45" fmla="*/ 73 h 133"/>
              <a:gd name="T46" fmla="*/ 97 w 182"/>
              <a:gd name="T47" fmla="*/ 40 h 133"/>
              <a:gd name="T48" fmla="*/ 96 w 182"/>
              <a:gd name="T49" fmla="*/ 38 h 133"/>
              <a:gd name="T50" fmla="*/ 94 w 182"/>
              <a:gd name="T51" fmla="*/ 37 h 133"/>
              <a:gd name="T52" fmla="*/ 76 w 182"/>
              <a:gd name="T53" fmla="*/ 37 h 133"/>
              <a:gd name="T54" fmla="*/ 74 w 182"/>
              <a:gd name="T55" fmla="*/ 38 h 133"/>
              <a:gd name="T56" fmla="*/ 73 w 182"/>
              <a:gd name="T57" fmla="*/ 40 h 133"/>
              <a:gd name="T58" fmla="*/ 73 w 182"/>
              <a:gd name="T59" fmla="*/ 73 h 133"/>
              <a:gd name="T60" fmla="*/ 52 w 182"/>
              <a:gd name="T61" fmla="*/ 73 h 133"/>
              <a:gd name="T62" fmla="*/ 49 w 182"/>
              <a:gd name="T63" fmla="*/ 74 h 133"/>
              <a:gd name="T64" fmla="*/ 49 w 182"/>
              <a:gd name="T65" fmla="*/ 76 h 133"/>
              <a:gd name="T66" fmla="*/ 49 w 182"/>
              <a:gd name="T67" fmla="*/ 78 h 133"/>
              <a:gd name="T68" fmla="*/ 83 w 182"/>
              <a:gd name="T69" fmla="*/ 111 h 133"/>
              <a:gd name="T70" fmla="*/ 85 w 182"/>
              <a:gd name="T71" fmla="*/ 112 h 133"/>
              <a:gd name="T72" fmla="*/ 87 w 182"/>
              <a:gd name="T73" fmla="*/ 111 h 133"/>
              <a:gd name="T74" fmla="*/ 120 w 182"/>
              <a:gd name="T75" fmla="*/ 78 h 133"/>
              <a:gd name="T76" fmla="*/ 121 w 182"/>
              <a:gd name="T77" fmla="*/ 7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33">
                <a:moveTo>
                  <a:pt x="182" y="97"/>
                </a:moveTo>
                <a:cubicBezTo>
                  <a:pt x="182" y="107"/>
                  <a:pt x="178" y="116"/>
                  <a:pt x="171" y="123"/>
                </a:cubicBezTo>
                <a:cubicBezTo>
                  <a:pt x="164" y="130"/>
                  <a:pt x="155" y="133"/>
                  <a:pt x="145" y="133"/>
                </a:cubicBezTo>
                <a:cubicBezTo>
                  <a:pt x="42" y="133"/>
                  <a:pt x="42" y="133"/>
                  <a:pt x="42" y="133"/>
                </a:cubicBezTo>
                <a:cubicBezTo>
                  <a:pt x="31" y="133"/>
                  <a:pt x="21" y="129"/>
                  <a:pt x="13" y="121"/>
                </a:cubicBezTo>
                <a:cubicBezTo>
                  <a:pt x="4" y="113"/>
                  <a:pt x="0" y="103"/>
                  <a:pt x="0" y="91"/>
                </a:cubicBezTo>
                <a:cubicBezTo>
                  <a:pt x="0" y="83"/>
                  <a:pt x="2" y="75"/>
                  <a:pt x="7" y="68"/>
                </a:cubicBezTo>
                <a:cubicBezTo>
                  <a:pt x="11" y="61"/>
                  <a:pt x="17" y="56"/>
                  <a:pt x="25" y="53"/>
                </a:cubicBezTo>
                <a:cubicBezTo>
                  <a:pt x="24" y="51"/>
                  <a:pt x="24" y="50"/>
                  <a:pt x="24" y="49"/>
                </a:cubicBezTo>
                <a:cubicBezTo>
                  <a:pt x="24" y="35"/>
                  <a:pt x="29" y="24"/>
                  <a:pt x="38" y="15"/>
                </a:cubicBezTo>
                <a:cubicBezTo>
                  <a:pt x="48" y="5"/>
                  <a:pt x="59" y="0"/>
                  <a:pt x="73" y="0"/>
                </a:cubicBezTo>
                <a:cubicBezTo>
                  <a:pt x="83" y="0"/>
                  <a:pt x="92" y="3"/>
                  <a:pt x="100" y="9"/>
                </a:cubicBezTo>
                <a:cubicBezTo>
                  <a:pt x="108" y="14"/>
                  <a:pt x="114" y="21"/>
                  <a:pt x="118" y="30"/>
                </a:cubicBezTo>
                <a:cubicBezTo>
                  <a:pt x="122" y="26"/>
                  <a:pt x="127" y="25"/>
                  <a:pt x="133" y="25"/>
                </a:cubicBezTo>
                <a:cubicBezTo>
                  <a:pt x="140" y="25"/>
                  <a:pt x="146" y="27"/>
                  <a:pt x="150" y="32"/>
                </a:cubicBezTo>
                <a:cubicBezTo>
                  <a:pt x="155" y="36"/>
                  <a:pt x="157" y="42"/>
                  <a:pt x="157" y="49"/>
                </a:cubicBezTo>
                <a:cubicBezTo>
                  <a:pt x="157" y="54"/>
                  <a:pt x="156" y="58"/>
                  <a:pt x="154" y="62"/>
                </a:cubicBezTo>
                <a:cubicBezTo>
                  <a:pt x="162" y="64"/>
                  <a:pt x="168" y="68"/>
                  <a:pt x="174" y="75"/>
                </a:cubicBezTo>
                <a:cubicBezTo>
                  <a:pt x="179" y="81"/>
                  <a:pt x="182" y="89"/>
                  <a:pt x="182" y="97"/>
                </a:cubicBezTo>
                <a:close/>
                <a:moveTo>
                  <a:pt x="121" y="76"/>
                </a:moveTo>
                <a:cubicBezTo>
                  <a:pt x="121" y="75"/>
                  <a:pt x="121" y="74"/>
                  <a:pt x="120" y="74"/>
                </a:cubicBezTo>
                <a:cubicBezTo>
                  <a:pt x="120" y="73"/>
                  <a:pt x="119" y="73"/>
                  <a:pt x="118" y="73"/>
                </a:cubicBezTo>
                <a:cubicBezTo>
                  <a:pt x="97" y="73"/>
                  <a:pt x="97" y="73"/>
                  <a:pt x="97" y="73"/>
                </a:cubicBezTo>
                <a:cubicBezTo>
                  <a:pt x="97" y="40"/>
                  <a:pt x="97" y="40"/>
                  <a:pt x="97" y="40"/>
                </a:cubicBezTo>
                <a:cubicBezTo>
                  <a:pt x="97" y="39"/>
                  <a:pt x="97" y="38"/>
                  <a:pt x="96" y="38"/>
                </a:cubicBezTo>
                <a:cubicBezTo>
                  <a:pt x="95" y="37"/>
                  <a:pt x="95" y="37"/>
                  <a:pt x="94" y="37"/>
                </a:cubicBezTo>
                <a:cubicBezTo>
                  <a:pt x="76" y="37"/>
                  <a:pt x="76" y="37"/>
                  <a:pt x="76" y="37"/>
                </a:cubicBezTo>
                <a:cubicBezTo>
                  <a:pt x="75" y="37"/>
                  <a:pt x="74" y="37"/>
                  <a:pt x="74" y="38"/>
                </a:cubicBezTo>
                <a:cubicBezTo>
                  <a:pt x="73" y="38"/>
                  <a:pt x="73" y="39"/>
                  <a:pt x="73" y="40"/>
                </a:cubicBezTo>
                <a:cubicBezTo>
                  <a:pt x="73" y="73"/>
                  <a:pt x="73" y="73"/>
                  <a:pt x="73" y="73"/>
                </a:cubicBezTo>
                <a:cubicBezTo>
                  <a:pt x="52" y="73"/>
                  <a:pt x="52" y="73"/>
                  <a:pt x="52" y="73"/>
                </a:cubicBezTo>
                <a:cubicBezTo>
                  <a:pt x="51" y="73"/>
                  <a:pt x="50" y="73"/>
                  <a:pt x="49" y="74"/>
                </a:cubicBezTo>
                <a:cubicBezTo>
                  <a:pt x="49" y="74"/>
                  <a:pt x="49" y="75"/>
                  <a:pt x="49" y="76"/>
                </a:cubicBezTo>
                <a:cubicBezTo>
                  <a:pt x="49" y="77"/>
                  <a:pt x="49" y="78"/>
                  <a:pt x="49" y="78"/>
                </a:cubicBezTo>
                <a:cubicBezTo>
                  <a:pt x="83" y="111"/>
                  <a:pt x="83" y="111"/>
                  <a:pt x="83" y="111"/>
                </a:cubicBezTo>
                <a:cubicBezTo>
                  <a:pt x="83" y="112"/>
                  <a:pt x="84" y="112"/>
                  <a:pt x="85" y="112"/>
                </a:cubicBezTo>
                <a:cubicBezTo>
                  <a:pt x="86" y="112"/>
                  <a:pt x="86" y="112"/>
                  <a:pt x="87" y="111"/>
                </a:cubicBezTo>
                <a:cubicBezTo>
                  <a:pt x="120" y="78"/>
                  <a:pt x="120" y="78"/>
                  <a:pt x="120" y="78"/>
                </a:cubicBezTo>
                <a:cubicBezTo>
                  <a:pt x="121" y="77"/>
                  <a:pt x="121" y="77"/>
                  <a:pt x="121" y="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5" name="Freeform 216"/>
          <p:cNvSpPr>
            <a:spLocks noChangeAspect="1" noEditPoints="1"/>
          </p:cNvSpPr>
          <p:nvPr/>
        </p:nvSpPr>
        <p:spPr bwMode="auto">
          <a:xfrm>
            <a:off x="4025530" y="3104357"/>
            <a:ext cx="187357" cy="138957"/>
          </a:xfrm>
          <a:custGeom>
            <a:avLst/>
            <a:gdLst>
              <a:gd name="T0" fmla="*/ 182 w 182"/>
              <a:gd name="T1" fmla="*/ 97 h 133"/>
              <a:gd name="T2" fmla="*/ 171 w 182"/>
              <a:gd name="T3" fmla="*/ 123 h 133"/>
              <a:gd name="T4" fmla="*/ 146 w 182"/>
              <a:gd name="T5" fmla="*/ 133 h 133"/>
              <a:gd name="T6" fmla="*/ 43 w 182"/>
              <a:gd name="T7" fmla="*/ 133 h 133"/>
              <a:gd name="T8" fmla="*/ 13 w 182"/>
              <a:gd name="T9" fmla="*/ 121 h 133"/>
              <a:gd name="T10" fmla="*/ 0 w 182"/>
              <a:gd name="T11" fmla="*/ 91 h 133"/>
              <a:gd name="T12" fmla="*/ 7 w 182"/>
              <a:gd name="T13" fmla="*/ 68 h 133"/>
              <a:gd name="T14" fmla="*/ 25 w 182"/>
              <a:gd name="T15" fmla="*/ 53 h 133"/>
              <a:gd name="T16" fmla="*/ 25 w 182"/>
              <a:gd name="T17" fmla="*/ 49 h 133"/>
              <a:gd name="T18" fmla="*/ 39 w 182"/>
              <a:gd name="T19" fmla="*/ 15 h 133"/>
              <a:gd name="T20" fmla="*/ 73 w 182"/>
              <a:gd name="T21" fmla="*/ 0 h 133"/>
              <a:gd name="T22" fmla="*/ 100 w 182"/>
              <a:gd name="T23" fmla="*/ 9 h 133"/>
              <a:gd name="T24" fmla="*/ 118 w 182"/>
              <a:gd name="T25" fmla="*/ 30 h 133"/>
              <a:gd name="T26" fmla="*/ 133 w 182"/>
              <a:gd name="T27" fmla="*/ 25 h 133"/>
              <a:gd name="T28" fmla="*/ 151 w 182"/>
              <a:gd name="T29" fmla="*/ 32 h 133"/>
              <a:gd name="T30" fmla="*/ 158 w 182"/>
              <a:gd name="T31" fmla="*/ 49 h 133"/>
              <a:gd name="T32" fmla="*/ 154 w 182"/>
              <a:gd name="T33" fmla="*/ 62 h 133"/>
              <a:gd name="T34" fmla="*/ 174 w 182"/>
              <a:gd name="T35" fmla="*/ 75 h 133"/>
              <a:gd name="T36" fmla="*/ 182 w 182"/>
              <a:gd name="T37" fmla="*/ 97 h 133"/>
              <a:gd name="T38" fmla="*/ 121 w 182"/>
              <a:gd name="T39" fmla="*/ 70 h 133"/>
              <a:gd name="T40" fmla="*/ 121 w 182"/>
              <a:gd name="T41" fmla="*/ 68 h 133"/>
              <a:gd name="T42" fmla="*/ 87 w 182"/>
              <a:gd name="T43" fmla="*/ 34 h 133"/>
              <a:gd name="T44" fmla="*/ 85 w 182"/>
              <a:gd name="T45" fmla="*/ 34 h 133"/>
              <a:gd name="T46" fmla="*/ 83 w 182"/>
              <a:gd name="T47" fmla="*/ 34 h 133"/>
              <a:gd name="T48" fmla="*/ 50 w 182"/>
              <a:gd name="T49" fmla="*/ 68 h 133"/>
              <a:gd name="T50" fmla="*/ 49 w 182"/>
              <a:gd name="T51" fmla="*/ 70 h 133"/>
              <a:gd name="T52" fmla="*/ 50 w 182"/>
              <a:gd name="T53" fmla="*/ 72 h 133"/>
              <a:gd name="T54" fmla="*/ 52 w 182"/>
              <a:gd name="T55" fmla="*/ 73 h 133"/>
              <a:gd name="T56" fmla="*/ 73 w 182"/>
              <a:gd name="T57" fmla="*/ 73 h 133"/>
              <a:gd name="T58" fmla="*/ 73 w 182"/>
              <a:gd name="T59" fmla="*/ 106 h 133"/>
              <a:gd name="T60" fmla="*/ 74 w 182"/>
              <a:gd name="T61" fmla="*/ 108 h 133"/>
              <a:gd name="T62" fmla="*/ 76 w 182"/>
              <a:gd name="T63" fmla="*/ 109 h 133"/>
              <a:gd name="T64" fmla="*/ 94 w 182"/>
              <a:gd name="T65" fmla="*/ 109 h 133"/>
              <a:gd name="T66" fmla="*/ 96 w 182"/>
              <a:gd name="T67" fmla="*/ 108 h 133"/>
              <a:gd name="T68" fmla="*/ 97 w 182"/>
              <a:gd name="T69" fmla="*/ 106 h 133"/>
              <a:gd name="T70" fmla="*/ 97 w 182"/>
              <a:gd name="T71" fmla="*/ 73 h 133"/>
              <a:gd name="T72" fmla="*/ 118 w 182"/>
              <a:gd name="T73" fmla="*/ 73 h 133"/>
              <a:gd name="T74" fmla="*/ 120 w 182"/>
              <a:gd name="T75" fmla="*/ 72 h 133"/>
              <a:gd name="T76" fmla="*/ 121 w 182"/>
              <a:gd name="T77" fmla="*/ 7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33">
                <a:moveTo>
                  <a:pt x="182" y="97"/>
                </a:moveTo>
                <a:cubicBezTo>
                  <a:pt x="182" y="107"/>
                  <a:pt x="178" y="116"/>
                  <a:pt x="171" y="123"/>
                </a:cubicBezTo>
                <a:cubicBezTo>
                  <a:pt x="164" y="130"/>
                  <a:pt x="156" y="133"/>
                  <a:pt x="146" y="133"/>
                </a:cubicBezTo>
                <a:cubicBezTo>
                  <a:pt x="43" y="133"/>
                  <a:pt x="43" y="133"/>
                  <a:pt x="43" y="133"/>
                </a:cubicBezTo>
                <a:cubicBezTo>
                  <a:pt x="31" y="133"/>
                  <a:pt x="21" y="129"/>
                  <a:pt x="13" y="121"/>
                </a:cubicBezTo>
                <a:cubicBezTo>
                  <a:pt x="5" y="113"/>
                  <a:pt x="0" y="103"/>
                  <a:pt x="0" y="91"/>
                </a:cubicBezTo>
                <a:cubicBezTo>
                  <a:pt x="0" y="83"/>
                  <a:pt x="3" y="75"/>
                  <a:pt x="7" y="68"/>
                </a:cubicBezTo>
                <a:cubicBezTo>
                  <a:pt x="11" y="61"/>
                  <a:pt x="17" y="56"/>
                  <a:pt x="25" y="53"/>
                </a:cubicBezTo>
                <a:cubicBezTo>
                  <a:pt x="25" y="51"/>
                  <a:pt x="25" y="50"/>
                  <a:pt x="25" y="49"/>
                </a:cubicBezTo>
                <a:cubicBezTo>
                  <a:pt x="25" y="35"/>
                  <a:pt x="29" y="24"/>
                  <a:pt x="39" y="15"/>
                </a:cubicBezTo>
                <a:cubicBezTo>
                  <a:pt x="48" y="5"/>
                  <a:pt x="60" y="0"/>
                  <a:pt x="73" y="0"/>
                </a:cubicBezTo>
                <a:cubicBezTo>
                  <a:pt x="83" y="0"/>
                  <a:pt x="92" y="3"/>
                  <a:pt x="100" y="9"/>
                </a:cubicBezTo>
                <a:cubicBezTo>
                  <a:pt x="108" y="14"/>
                  <a:pt x="114" y="21"/>
                  <a:pt x="118" y="30"/>
                </a:cubicBezTo>
                <a:cubicBezTo>
                  <a:pt x="122" y="26"/>
                  <a:pt x="128" y="25"/>
                  <a:pt x="133" y="25"/>
                </a:cubicBezTo>
                <a:cubicBezTo>
                  <a:pt x="140" y="25"/>
                  <a:pt x="146" y="27"/>
                  <a:pt x="151" y="32"/>
                </a:cubicBezTo>
                <a:cubicBezTo>
                  <a:pt x="155" y="36"/>
                  <a:pt x="158" y="42"/>
                  <a:pt x="158" y="49"/>
                </a:cubicBezTo>
                <a:cubicBezTo>
                  <a:pt x="158" y="54"/>
                  <a:pt x="156" y="58"/>
                  <a:pt x="154" y="62"/>
                </a:cubicBezTo>
                <a:cubicBezTo>
                  <a:pt x="162" y="64"/>
                  <a:pt x="169" y="68"/>
                  <a:pt x="174" y="75"/>
                </a:cubicBezTo>
                <a:cubicBezTo>
                  <a:pt x="179" y="81"/>
                  <a:pt x="182" y="89"/>
                  <a:pt x="182" y="97"/>
                </a:cubicBezTo>
                <a:close/>
                <a:moveTo>
                  <a:pt x="121" y="70"/>
                </a:moveTo>
                <a:cubicBezTo>
                  <a:pt x="121" y="69"/>
                  <a:pt x="121" y="68"/>
                  <a:pt x="121" y="68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4"/>
                  <a:pt x="86" y="34"/>
                  <a:pt x="85" y="34"/>
                </a:cubicBezTo>
                <a:cubicBezTo>
                  <a:pt x="84" y="34"/>
                  <a:pt x="83" y="34"/>
                  <a:pt x="83" y="34"/>
                </a:cubicBezTo>
                <a:cubicBezTo>
                  <a:pt x="50" y="68"/>
                  <a:pt x="50" y="68"/>
                  <a:pt x="50" y="68"/>
                </a:cubicBezTo>
                <a:cubicBezTo>
                  <a:pt x="49" y="68"/>
                  <a:pt x="49" y="69"/>
                  <a:pt x="49" y="70"/>
                </a:cubicBezTo>
                <a:cubicBezTo>
                  <a:pt x="49" y="71"/>
                  <a:pt x="49" y="72"/>
                  <a:pt x="50" y="72"/>
                </a:cubicBezTo>
                <a:cubicBezTo>
                  <a:pt x="50" y="73"/>
                  <a:pt x="51" y="73"/>
                  <a:pt x="52" y="73"/>
                </a:cubicBezTo>
                <a:cubicBezTo>
                  <a:pt x="73" y="73"/>
                  <a:pt x="73" y="73"/>
                  <a:pt x="73" y="73"/>
                </a:cubicBezTo>
                <a:cubicBezTo>
                  <a:pt x="73" y="106"/>
                  <a:pt x="73" y="106"/>
                  <a:pt x="73" y="106"/>
                </a:cubicBezTo>
                <a:cubicBezTo>
                  <a:pt x="73" y="107"/>
                  <a:pt x="73" y="108"/>
                  <a:pt x="74" y="108"/>
                </a:cubicBezTo>
                <a:cubicBezTo>
                  <a:pt x="74" y="109"/>
                  <a:pt x="75" y="109"/>
                  <a:pt x="76" y="109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5" y="109"/>
                  <a:pt x="96" y="109"/>
                  <a:pt x="96" y="108"/>
                </a:cubicBezTo>
                <a:cubicBezTo>
                  <a:pt x="97" y="108"/>
                  <a:pt x="97" y="107"/>
                  <a:pt x="97" y="106"/>
                </a:cubicBezTo>
                <a:cubicBezTo>
                  <a:pt x="97" y="73"/>
                  <a:pt x="97" y="73"/>
                  <a:pt x="97" y="73"/>
                </a:cubicBezTo>
                <a:cubicBezTo>
                  <a:pt x="118" y="73"/>
                  <a:pt x="118" y="73"/>
                  <a:pt x="118" y="73"/>
                </a:cubicBezTo>
                <a:cubicBezTo>
                  <a:pt x="119" y="73"/>
                  <a:pt x="120" y="73"/>
                  <a:pt x="120" y="72"/>
                </a:cubicBezTo>
                <a:cubicBezTo>
                  <a:pt x="121" y="71"/>
                  <a:pt x="121" y="71"/>
                  <a:pt x="121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6" name="Freeform 217"/>
          <p:cNvSpPr>
            <a:spLocks noChangeAspect="1" noEditPoints="1"/>
          </p:cNvSpPr>
          <p:nvPr/>
        </p:nvSpPr>
        <p:spPr bwMode="auto">
          <a:xfrm>
            <a:off x="4259726" y="3104357"/>
            <a:ext cx="137395" cy="151447"/>
          </a:xfrm>
          <a:custGeom>
            <a:avLst/>
            <a:gdLst>
              <a:gd name="T0" fmla="*/ 126 w 133"/>
              <a:gd name="T1" fmla="*/ 139 h 146"/>
              <a:gd name="T2" fmla="*/ 25 w 133"/>
              <a:gd name="T3" fmla="*/ 146 h 146"/>
              <a:gd name="T4" fmla="*/ 0 w 133"/>
              <a:gd name="T5" fmla="*/ 121 h 146"/>
              <a:gd name="T6" fmla="*/ 2 w 133"/>
              <a:gd name="T7" fmla="*/ 96 h 146"/>
              <a:gd name="T8" fmla="*/ 15 w 133"/>
              <a:gd name="T9" fmla="*/ 73 h 146"/>
              <a:gd name="T10" fmla="*/ 24 w 133"/>
              <a:gd name="T11" fmla="*/ 79 h 146"/>
              <a:gd name="T12" fmla="*/ 15 w 133"/>
              <a:gd name="T13" fmla="*/ 105 h 146"/>
              <a:gd name="T14" fmla="*/ 17 w 133"/>
              <a:gd name="T15" fmla="*/ 128 h 146"/>
              <a:gd name="T16" fmla="*/ 43 w 133"/>
              <a:gd name="T17" fmla="*/ 128 h 146"/>
              <a:gd name="T18" fmla="*/ 45 w 133"/>
              <a:gd name="T19" fmla="*/ 105 h 146"/>
              <a:gd name="T20" fmla="*/ 36 w 133"/>
              <a:gd name="T21" fmla="*/ 79 h 146"/>
              <a:gd name="T22" fmla="*/ 66 w 133"/>
              <a:gd name="T23" fmla="*/ 80 h 146"/>
              <a:gd name="T24" fmla="*/ 96 w 133"/>
              <a:gd name="T25" fmla="*/ 79 h 146"/>
              <a:gd name="T26" fmla="*/ 79 w 133"/>
              <a:gd name="T27" fmla="*/ 92 h 146"/>
              <a:gd name="T28" fmla="*/ 72 w 133"/>
              <a:gd name="T29" fmla="*/ 118 h 146"/>
              <a:gd name="T30" fmla="*/ 72 w 133"/>
              <a:gd name="T31" fmla="*/ 131 h 146"/>
              <a:gd name="T32" fmla="*/ 85 w 133"/>
              <a:gd name="T33" fmla="*/ 131 h 146"/>
              <a:gd name="T34" fmla="*/ 84 w 133"/>
              <a:gd name="T35" fmla="*/ 118 h 146"/>
              <a:gd name="T36" fmla="*/ 88 w 133"/>
              <a:gd name="T37" fmla="*/ 101 h 146"/>
              <a:gd name="T38" fmla="*/ 105 w 133"/>
              <a:gd name="T39" fmla="*/ 101 h 146"/>
              <a:gd name="T40" fmla="*/ 109 w 133"/>
              <a:gd name="T41" fmla="*/ 118 h 146"/>
              <a:gd name="T42" fmla="*/ 108 w 133"/>
              <a:gd name="T43" fmla="*/ 131 h 146"/>
              <a:gd name="T44" fmla="*/ 121 w 133"/>
              <a:gd name="T45" fmla="*/ 131 h 146"/>
              <a:gd name="T46" fmla="*/ 121 w 133"/>
              <a:gd name="T47" fmla="*/ 118 h 146"/>
              <a:gd name="T48" fmla="*/ 117 w 133"/>
              <a:gd name="T49" fmla="*/ 97 h 146"/>
              <a:gd name="T50" fmla="*/ 109 w 133"/>
              <a:gd name="T51" fmla="*/ 84 h 146"/>
              <a:gd name="T52" fmla="*/ 108 w 133"/>
              <a:gd name="T53" fmla="*/ 76 h 146"/>
              <a:gd name="T54" fmla="*/ 106 w 133"/>
              <a:gd name="T55" fmla="*/ 68 h 146"/>
              <a:gd name="T56" fmla="*/ 125 w 133"/>
              <a:gd name="T57" fmla="*/ 83 h 146"/>
              <a:gd name="T58" fmla="*/ 132 w 133"/>
              <a:gd name="T59" fmla="*/ 109 h 146"/>
              <a:gd name="T60" fmla="*/ 34 w 133"/>
              <a:gd name="T61" fmla="*/ 111 h 146"/>
              <a:gd name="T62" fmla="*/ 34 w 133"/>
              <a:gd name="T63" fmla="*/ 120 h 146"/>
              <a:gd name="T64" fmla="*/ 26 w 133"/>
              <a:gd name="T65" fmla="*/ 120 h 146"/>
              <a:gd name="T66" fmla="*/ 26 w 133"/>
              <a:gd name="T67" fmla="*/ 111 h 146"/>
              <a:gd name="T68" fmla="*/ 34 w 133"/>
              <a:gd name="T69" fmla="*/ 111 h 146"/>
              <a:gd name="T70" fmla="*/ 103 w 133"/>
              <a:gd name="T71" fmla="*/ 37 h 146"/>
              <a:gd name="T72" fmla="*/ 66 w 133"/>
              <a:gd name="T73" fmla="*/ 73 h 146"/>
              <a:gd name="T74" fmla="*/ 30 w 133"/>
              <a:gd name="T75" fmla="*/ 37 h 146"/>
              <a:gd name="T76" fmla="*/ 66 w 133"/>
              <a:gd name="T77" fmla="*/ 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3" h="146">
                <a:moveTo>
                  <a:pt x="133" y="121"/>
                </a:moveTo>
                <a:cubicBezTo>
                  <a:pt x="133" y="129"/>
                  <a:pt x="130" y="135"/>
                  <a:pt x="126" y="139"/>
                </a:cubicBezTo>
                <a:cubicBezTo>
                  <a:pt x="121" y="143"/>
                  <a:pt x="115" y="146"/>
                  <a:pt x="108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17" y="146"/>
                  <a:pt x="11" y="143"/>
                  <a:pt x="7" y="139"/>
                </a:cubicBezTo>
                <a:cubicBezTo>
                  <a:pt x="2" y="135"/>
                  <a:pt x="0" y="129"/>
                  <a:pt x="0" y="121"/>
                </a:cubicBezTo>
                <a:cubicBezTo>
                  <a:pt x="0" y="117"/>
                  <a:pt x="0" y="113"/>
                  <a:pt x="0" y="109"/>
                </a:cubicBezTo>
                <a:cubicBezTo>
                  <a:pt x="1" y="105"/>
                  <a:pt x="1" y="100"/>
                  <a:pt x="2" y="96"/>
                </a:cubicBezTo>
                <a:cubicBezTo>
                  <a:pt x="4" y="91"/>
                  <a:pt x="5" y="87"/>
                  <a:pt x="7" y="83"/>
                </a:cubicBezTo>
                <a:cubicBezTo>
                  <a:pt x="9" y="79"/>
                  <a:pt x="11" y="76"/>
                  <a:pt x="15" y="73"/>
                </a:cubicBezTo>
                <a:cubicBezTo>
                  <a:pt x="18" y="70"/>
                  <a:pt x="22" y="69"/>
                  <a:pt x="26" y="68"/>
                </a:cubicBezTo>
                <a:cubicBezTo>
                  <a:pt x="25" y="71"/>
                  <a:pt x="24" y="75"/>
                  <a:pt x="24" y="79"/>
                </a:cubicBezTo>
                <a:cubicBezTo>
                  <a:pt x="24" y="98"/>
                  <a:pt x="24" y="98"/>
                  <a:pt x="24" y="98"/>
                </a:cubicBezTo>
                <a:cubicBezTo>
                  <a:pt x="20" y="99"/>
                  <a:pt x="17" y="102"/>
                  <a:pt x="15" y="105"/>
                </a:cubicBezTo>
                <a:cubicBezTo>
                  <a:pt x="13" y="108"/>
                  <a:pt x="12" y="111"/>
                  <a:pt x="12" y="115"/>
                </a:cubicBezTo>
                <a:cubicBezTo>
                  <a:pt x="12" y="120"/>
                  <a:pt x="14" y="125"/>
                  <a:pt x="17" y="128"/>
                </a:cubicBezTo>
                <a:cubicBezTo>
                  <a:pt x="21" y="132"/>
                  <a:pt x="25" y="133"/>
                  <a:pt x="30" y="133"/>
                </a:cubicBezTo>
                <a:cubicBezTo>
                  <a:pt x="35" y="133"/>
                  <a:pt x="39" y="132"/>
                  <a:pt x="43" y="128"/>
                </a:cubicBezTo>
                <a:cubicBezTo>
                  <a:pt x="46" y="125"/>
                  <a:pt x="48" y="120"/>
                  <a:pt x="48" y="115"/>
                </a:cubicBezTo>
                <a:cubicBezTo>
                  <a:pt x="48" y="111"/>
                  <a:pt x="47" y="108"/>
                  <a:pt x="45" y="105"/>
                </a:cubicBezTo>
                <a:cubicBezTo>
                  <a:pt x="42" y="102"/>
                  <a:pt x="40" y="99"/>
                  <a:pt x="36" y="98"/>
                </a:cubicBezTo>
                <a:cubicBezTo>
                  <a:pt x="36" y="79"/>
                  <a:pt x="36" y="79"/>
                  <a:pt x="36" y="79"/>
                </a:cubicBezTo>
                <a:cubicBezTo>
                  <a:pt x="36" y="75"/>
                  <a:pt x="37" y="72"/>
                  <a:pt x="38" y="70"/>
                </a:cubicBezTo>
                <a:cubicBezTo>
                  <a:pt x="47" y="77"/>
                  <a:pt x="56" y="80"/>
                  <a:pt x="66" y="80"/>
                </a:cubicBezTo>
                <a:cubicBezTo>
                  <a:pt x="76" y="80"/>
                  <a:pt x="86" y="77"/>
                  <a:pt x="94" y="70"/>
                </a:cubicBezTo>
                <a:cubicBezTo>
                  <a:pt x="96" y="72"/>
                  <a:pt x="96" y="75"/>
                  <a:pt x="96" y="79"/>
                </a:cubicBezTo>
                <a:cubicBezTo>
                  <a:pt x="96" y="85"/>
                  <a:pt x="96" y="85"/>
                  <a:pt x="96" y="85"/>
                </a:cubicBezTo>
                <a:cubicBezTo>
                  <a:pt x="90" y="85"/>
                  <a:pt x="84" y="87"/>
                  <a:pt x="79" y="92"/>
                </a:cubicBezTo>
                <a:cubicBezTo>
                  <a:pt x="75" y="97"/>
                  <a:pt x="72" y="103"/>
                  <a:pt x="72" y="109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0" y="119"/>
                  <a:pt x="69" y="122"/>
                  <a:pt x="69" y="124"/>
                </a:cubicBezTo>
                <a:cubicBezTo>
                  <a:pt x="69" y="127"/>
                  <a:pt x="70" y="129"/>
                  <a:pt x="72" y="131"/>
                </a:cubicBezTo>
                <a:cubicBezTo>
                  <a:pt x="74" y="133"/>
                  <a:pt x="76" y="133"/>
                  <a:pt x="78" y="133"/>
                </a:cubicBezTo>
                <a:cubicBezTo>
                  <a:pt x="81" y="133"/>
                  <a:pt x="83" y="133"/>
                  <a:pt x="85" y="131"/>
                </a:cubicBezTo>
                <a:cubicBezTo>
                  <a:pt x="86" y="129"/>
                  <a:pt x="87" y="127"/>
                  <a:pt x="87" y="124"/>
                </a:cubicBezTo>
                <a:cubicBezTo>
                  <a:pt x="87" y="122"/>
                  <a:pt x="86" y="119"/>
                  <a:pt x="84" y="118"/>
                </a:cubicBezTo>
                <a:cubicBezTo>
                  <a:pt x="84" y="109"/>
                  <a:pt x="84" y="109"/>
                  <a:pt x="84" y="109"/>
                </a:cubicBezTo>
                <a:cubicBezTo>
                  <a:pt x="84" y="106"/>
                  <a:pt x="86" y="103"/>
                  <a:pt x="88" y="101"/>
                </a:cubicBezTo>
                <a:cubicBezTo>
                  <a:pt x="90" y="98"/>
                  <a:pt x="93" y="97"/>
                  <a:pt x="96" y="97"/>
                </a:cubicBezTo>
                <a:cubicBezTo>
                  <a:pt x="100" y="97"/>
                  <a:pt x="103" y="98"/>
                  <a:pt x="105" y="101"/>
                </a:cubicBezTo>
                <a:cubicBezTo>
                  <a:pt x="107" y="103"/>
                  <a:pt x="109" y="106"/>
                  <a:pt x="109" y="109"/>
                </a:cubicBezTo>
                <a:cubicBezTo>
                  <a:pt x="109" y="118"/>
                  <a:pt x="109" y="118"/>
                  <a:pt x="109" y="118"/>
                </a:cubicBezTo>
                <a:cubicBezTo>
                  <a:pt x="107" y="119"/>
                  <a:pt x="106" y="122"/>
                  <a:pt x="106" y="124"/>
                </a:cubicBezTo>
                <a:cubicBezTo>
                  <a:pt x="106" y="127"/>
                  <a:pt x="106" y="129"/>
                  <a:pt x="108" y="131"/>
                </a:cubicBezTo>
                <a:cubicBezTo>
                  <a:pt x="110" y="133"/>
                  <a:pt x="112" y="133"/>
                  <a:pt x="115" y="133"/>
                </a:cubicBezTo>
                <a:cubicBezTo>
                  <a:pt x="117" y="133"/>
                  <a:pt x="119" y="133"/>
                  <a:pt x="121" y="131"/>
                </a:cubicBezTo>
                <a:cubicBezTo>
                  <a:pt x="123" y="129"/>
                  <a:pt x="124" y="127"/>
                  <a:pt x="124" y="124"/>
                </a:cubicBezTo>
                <a:cubicBezTo>
                  <a:pt x="124" y="122"/>
                  <a:pt x="123" y="119"/>
                  <a:pt x="121" y="118"/>
                </a:cubicBezTo>
                <a:cubicBezTo>
                  <a:pt x="121" y="109"/>
                  <a:pt x="121" y="109"/>
                  <a:pt x="121" y="109"/>
                </a:cubicBezTo>
                <a:cubicBezTo>
                  <a:pt x="121" y="105"/>
                  <a:pt x="120" y="101"/>
                  <a:pt x="117" y="97"/>
                </a:cubicBezTo>
                <a:cubicBezTo>
                  <a:pt x="115" y="93"/>
                  <a:pt x="112" y="90"/>
                  <a:pt x="109" y="88"/>
                </a:cubicBezTo>
                <a:cubicBezTo>
                  <a:pt x="109" y="88"/>
                  <a:pt x="109" y="86"/>
                  <a:pt x="109" y="84"/>
                </a:cubicBezTo>
                <a:cubicBezTo>
                  <a:pt x="109" y="82"/>
                  <a:pt x="109" y="81"/>
                  <a:pt x="109" y="80"/>
                </a:cubicBezTo>
                <a:cubicBezTo>
                  <a:pt x="109" y="79"/>
                  <a:pt x="108" y="78"/>
                  <a:pt x="108" y="76"/>
                </a:cubicBezTo>
                <a:cubicBezTo>
                  <a:pt x="108" y="74"/>
                  <a:pt x="108" y="73"/>
                  <a:pt x="108" y="71"/>
                </a:cubicBezTo>
                <a:cubicBezTo>
                  <a:pt x="107" y="70"/>
                  <a:pt x="107" y="69"/>
                  <a:pt x="106" y="68"/>
                </a:cubicBezTo>
                <a:cubicBezTo>
                  <a:pt x="111" y="69"/>
                  <a:pt x="115" y="70"/>
                  <a:pt x="118" y="73"/>
                </a:cubicBezTo>
                <a:cubicBezTo>
                  <a:pt x="121" y="76"/>
                  <a:pt x="124" y="79"/>
                  <a:pt x="125" y="83"/>
                </a:cubicBezTo>
                <a:cubicBezTo>
                  <a:pt x="127" y="87"/>
                  <a:pt x="129" y="91"/>
                  <a:pt x="130" y="96"/>
                </a:cubicBezTo>
                <a:cubicBezTo>
                  <a:pt x="131" y="100"/>
                  <a:pt x="132" y="105"/>
                  <a:pt x="132" y="109"/>
                </a:cubicBezTo>
                <a:cubicBezTo>
                  <a:pt x="133" y="113"/>
                  <a:pt x="133" y="117"/>
                  <a:pt x="133" y="121"/>
                </a:cubicBezTo>
                <a:close/>
                <a:moveTo>
                  <a:pt x="34" y="111"/>
                </a:moveTo>
                <a:cubicBezTo>
                  <a:pt x="35" y="112"/>
                  <a:pt x="36" y="114"/>
                  <a:pt x="36" y="115"/>
                </a:cubicBezTo>
                <a:cubicBezTo>
                  <a:pt x="36" y="117"/>
                  <a:pt x="35" y="118"/>
                  <a:pt x="34" y="120"/>
                </a:cubicBezTo>
                <a:cubicBezTo>
                  <a:pt x="33" y="121"/>
                  <a:pt x="32" y="121"/>
                  <a:pt x="30" y="121"/>
                </a:cubicBezTo>
                <a:cubicBezTo>
                  <a:pt x="28" y="121"/>
                  <a:pt x="27" y="121"/>
                  <a:pt x="26" y="120"/>
                </a:cubicBezTo>
                <a:cubicBezTo>
                  <a:pt x="24" y="118"/>
                  <a:pt x="24" y="117"/>
                  <a:pt x="24" y="115"/>
                </a:cubicBezTo>
                <a:cubicBezTo>
                  <a:pt x="24" y="114"/>
                  <a:pt x="24" y="112"/>
                  <a:pt x="26" y="111"/>
                </a:cubicBezTo>
                <a:cubicBezTo>
                  <a:pt x="27" y="110"/>
                  <a:pt x="28" y="109"/>
                  <a:pt x="30" y="109"/>
                </a:cubicBezTo>
                <a:cubicBezTo>
                  <a:pt x="32" y="109"/>
                  <a:pt x="33" y="110"/>
                  <a:pt x="34" y="111"/>
                </a:cubicBezTo>
                <a:close/>
                <a:moveTo>
                  <a:pt x="92" y="11"/>
                </a:moveTo>
                <a:cubicBezTo>
                  <a:pt x="99" y="18"/>
                  <a:pt x="103" y="27"/>
                  <a:pt x="103" y="37"/>
                </a:cubicBezTo>
                <a:cubicBezTo>
                  <a:pt x="103" y="47"/>
                  <a:pt x="99" y="55"/>
                  <a:pt x="92" y="62"/>
                </a:cubicBezTo>
                <a:cubicBezTo>
                  <a:pt x="85" y="69"/>
                  <a:pt x="76" y="73"/>
                  <a:pt x="66" y="73"/>
                </a:cubicBezTo>
                <a:cubicBezTo>
                  <a:pt x="56" y="73"/>
                  <a:pt x="48" y="69"/>
                  <a:pt x="41" y="62"/>
                </a:cubicBezTo>
                <a:cubicBezTo>
                  <a:pt x="33" y="55"/>
                  <a:pt x="30" y="47"/>
                  <a:pt x="30" y="37"/>
                </a:cubicBezTo>
                <a:cubicBezTo>
                  <a:pt x="30" y="27"/>
                  <a:pt x="33" y="18"/>
                  <a:pt x="41" y="11"/>
                </a:cubicBezTo>
                <a:cubicBezTo>
                  <a:pt x="48" y="4"/>
                  <a:pt x="56" y="0"/>
                  <a:pt x="66" y="0"/>
                </a:cubicBezTo>
                <a:cubicBezTo>
                  <a:pt x="76" y="0"/>
                  <a:pt x="85" y="4"/>
                  <a:pt x="92" y="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7" name="Freeform 218"/>
          <p:cNvSpPr>
            <a:spLocks noChangeAspect="1" noEditPoints="1"/>
          </p:cNvSpPr>
          <p:nvPr/>
        </p:nvSpPr>
        <p:spPr bwMode="auto">
          <a:xfrm>
            <a:off x="4442399" y="3104357"/>
            <a:ext cx="138957" cy="151447"/>
          </a:xfrm>
          <a:custGeom>
            <a:avLst/>
            <a:gdLst>
              <a:gd name="T0" fmla="*/ 134 w 134"/>
              <a:gd name="T1" fmla="*/ 55 h 146"/>
              <a:gd name="T2" fmla="*/ 130 w 134"/>
              <a:gd name="T3" fmla="*/ 65 h 146"/>
              <a:gd name="T4" fmla="*/ 122 w 134"/>
              <a:gd name="T5" fmla="*/ 72 h 146"/>
              <a:gd name="T6" fmla="*/ 122 w 134"/>
              <a:gd name="T7" fmla="*/ 109 h 146"/>
              <a:gd name="T8" fmla="*/ 109 w 134"/>
              <a:gd name="T9" fmla="*/ 135 h 146"/>
              <a:gd name="T10" fmla="*/ 79 w 134"/>
              <a:gd name="T11" fmla="*/ 146 h 146"/>
              <a:gd name="T12" fmla="*/ 49 w 134"/>
              <a:gd name="T13" fmla="*/ 135 h 146"/>
              <a:gd name="T14" fmla="*/ 37 w 134"/>
              <a:gd name="T15" fmla="*/ 109 h 146"/>
              <a:gd name="T16" fmla="*/ 37 w 134"/>
              <a:gd name="T17" fmla="*/ 97 h 146"/>
              <a:gd name="T18" fmla="*/ 11 w 134"/>
              <a:gd name="T19" fmla="*/ 85 h 146"/>
              <a:gd name="T20" fmla="*/ 0 w 134"/>
              <a:gd name="T21" fmla="*/ 61 h 146"/>
              <a:gd name="T22" fmla="*/ 0 w 134"/>
              <a:gd name="T23" fmla="*/ 12 h 146"/>
              <a:gd name="T24" fmla="*/ 2 w 134"/>
              <a:gd name="T25" fmla="*/ 8 h 146"/>
              <a:gd name="T26" fmla="*/ 7 w 134"/>
              <a:gd name="T27" fmla="*/ 6 h 146"/>
              <a:gd name="T28" fmla="*/ 8 w 134"/>
              <a:gd name="T29" fmla="*/ 7 h 146"/>
              <a:gd name="T30" fmla="*/ 12 w 134"/>
              <a:gd name="T31" fmla="*/ 2 h 146"/>
              <a:gd name="T32" fmla="*/ 19 w 134"/>
              <a:gd name="T33" fmla="*/ 0 h 146"/>
              <a:gd name="T34" fmla="*/ 27 w 134"/>
              <a:gd name="T35" fmla="*/ 4 h 146"/>
              <a:gd name="T36" fmla="*/ 31 w 134"/>
              <a:gd name="T37" fmla="*/ 12 h 146"/>
              <a:gd name="T38" fmla="*/ 27 w 134"/>
              <a:gd name="T39" fmla="*/ 21 h 146"/>
              <a:gd name="T40" fmla="*/ 19 w 134"/>
              <a:gd name="T41" fmla="*/ 25 h 146"/>
              <a:gd name="T42" fmla="*/ 13 w 134"/>
              <a:gd name="T43" fmla="*/ 23 h 146"/>
              <a:gd name="T44" fmla="*/ 13 w 134"/>
              <a:gd name="T45" fmla="*/ 61 h 146"/>
              <a:gd name="T46" fmla="*/ 21 w 134"/>
              <a:gd name="T47" fmla="*/ 78 h 146"/>
              <a:gd name="T48" fmla="*/ 43 w 134"/>
              <a:gd name="T49" fmla="*/ 85 h 146"/>
              <a:gd name="T50" fmla="*/ 64 w 134"/>
              <a:gd name="T51" fmla="*/ 78 h 146"/>
              <a:gd name="T52" fmla="*/ 73 w 134"/>
              <a:gd name="T53" fmla="*/ 61 h 146"/>
              <a:gd name="T54" fmla="*/ 73 w 134"/>
              <a:gd name="T55" fmla="*/ 23 h 146"/>
              <a:gd name="T56" fmla="*/ 67 w 134"/>
              <a:gd name="T57" fmla="*/ 25 h 146"/>
              <a:gd name="T58" fmla="*/ 58 w 134"/>
              <a:gd name="T59" fmla="*/ 21 h 146"/>
              <a:gd name="T60" fmla="*/ 55 w 134"/>
              <a:gd name="T61" fmla="*/ 12 h 146"/>
              <a:gd name="T62" fmla="*/ 58 w 134"/>
              <a:gd name="T63" fmla="*/ 4 h 146"/>
              <a:gd name="T64" fmla="*/ 67 w 134"/>
              <a:gd name="T65" fmla="*/ 0 h 146"/>
              <a:gd name="T66" fmla="*/ 73 w 134"/>
              <a:gd name="T67" fmla="*/ 2 h 146"/>
              <a:gd name="T68" fmla="*/ 78 w 134"/>
              <a:gd name="T69" fmla="*/ 7 h 146"/>
              <a:gd name="T70" fmla="*/ 79 w 134"/>
              <a:gd name="T71" fmla="*/ 6 h 146"/>
              <a:gd name="T72" fmla="*/ 83 w 134"/>
              <a:gd name="T73" fmla="*/ 8 h 146"/>
              <a:gd name="T74" fmla="*/ 85 w 134"/>
              <a:gd name="T75" fmla="*/ 12 h 146"/>
              <a:gd name="T76" fmla="*/ 85 w 134"/>
              <a:gd name="T77" fmla="*/ 61 h 146"/>
              <a:gd name="T78" fmla="*/ 75 w 134"/>
              <a:gd name="T79" fmla="*/ 85 h 146"/>
              <a:gd name="T80" fmla="*/ 49 w 134"/>
              <a:gd name="T81" fmla="*/ 97 h 146"/>
              <a:gd name="T82" fmla="*/ 49 w 134"/>
              <a:gd name="T83" fmla="*/ 109 h 146"/>
              <a:gd name="T84" fmla="*/ 58 w 134"/>
              <a:gd name="T85" fmla="*/ 126 h 146"/>
              <a:gd name="T86" fmla="*/ 79 w 134"/>
              <a:gd name="T87" fmla="*/ 133 h 146"/>
              <a:gd name="T88" fmla="*/ 101 w 134"/>
              <a:gd name="T89" fmla="*/ 126 h 146"/>
              <a:gd name="T90" fmla="*/ 109 w 134"/>
              <a:gd name="T91" fmla="*/ 109 h 146"/>
              <a:gd name="T92" fmla="*/ 109 w 134"/>
              <a:gd name="T93" fmla="*/ 72 h 146"/>
              <a:gd name="T94" fmla="*/ 101 w 134"/>
              <a:gd name="T95" fmla="*/ 65 h 146"/>
              <a:gd name="T96" fmla="*/ 97 w 134"/>
              <a:gd name="T97" fmla="*/ 55 h 146"/>
              <a:gd name="T98" fmla="*/ 103 w 134"/>
              <a:gd name="T99" fmla="*/ 42 h 146"/>
              <a:gd name="T100" fmla="*/ 115 w 134"/>
              <a:gd name="T101" fmla="*/ 37 h 146"/>
              <a:gd name="T102" fmla="*/ 128 w 134"/>
              <a:gd name="T103" fmla="*/ 42 h 146"/>
              <a:gd name="T104" fmla="*/ 134 w 134"/>
              <a:gd name="T105" fmla="*/ 55 h 146"/>
              <a:gd name="T106" fmla="*/ 120 w 134"/>
              <a:gd name="T107" fmla="*/ 59 h 146"/>
              <a:gd name="T108" fmla="*/ 122 w 134"/>
              <a:gd name="T109" fmla="*/ 55 h 146"/>
              <a:gd name="T110" fmla="*/ 120 w 134"/>
              <a:gd name="T111" fmla="*/ 51 h 146"/>
              <a:gd name="T112" fmla="*/ 115 w 134"/>
              <a:gd name="T113" fmla="*/ 49 h 146"/>
              <a:gd name="T114" fmla="*/ 111 w 134"/>
              <a:gd name="T115" fmla="*/ 51 h 146"/>
              <a:gd name="T116" fmla="*/ 109 w 134"/>
              <a:gd name="T117" fmla="*/ 55 h 146"/>
              <a:gd name="T118" fmla="*/ 111 w 134"/>
              <a:gd name="T119" fmla="*/ 59 h 146"/>
              <a:gd name="T120" fmla="*/ 115 w 134"/>
              <a:gd name="T121" fmla="*/ 61 h 146"/>
              <a:gd name="T122" fmla="*/ 120 w 134"/>
              <a:gd name="T123" fmla="*/ 5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4" h="146">
                <a:moveTo>
                  <a:pt x="134" y="55"/>
                </a:moveTo>
                <a:cubicBezTo>
                  <a:pt x="134" y="59"/>
                  <a:pt x="132" y="62"/>
                  <a:pt x="130" y="65"/>
                </a:cubicBezTo>
                <a:cubicBezTo>
                  <a:pt x="128" y="68"/>
                  <a:pt x="125" y="71"/>
                  <a:pt x="122" y="72"/>
                </a:cubicBezTo>
                <a:cubicBezTo>
                  <a:pt x="122" y="109"/>
                  <a:pt x="122" y="109"/>
                  <a:pt x="122" y="109"/>
                </a:cubicBezTo>
                <a:cubicBezTo>
                  <a:pt x="122" y="119"/>
                  <a:pt x="117" y="128"/>
                  <a:pt x="109" y="135"/>
                </a:cubicBezTo>
                <a:cubicBezTo>
                  <a:pt x="101" y="142"/>
                  <a:pt x="91" y="146"/>
                  <a:pt x="79" y="146"/>
                </a:cubicBezTo>
                <a:cubicBezTo>
                  <a:pt x="67" y="146"/>
                  <a:pt x="58" y="142"/>
                  <a:pt x="49" y="135"/>
                </a:cubicBezTo>
                <a:cubicBezTo>
                  <a:pt x="41" y="128"/>
                  <a:pt x="37" y="119"/>
                  <a:pt x="37" y="109"/>
                </a:cubicBezTo>
                <a:cubicBezTo>
                  <a:pt x="37" y="97"/>
                  <a:pt x="37" y="97"/>
                  <a:pt x="37" y="97"/>
                </a:cubicBezTo>
                <a:cubicBezTo>
                  <a:pt x="26" y="96"/>
                  <a:pt x="18" y="91"/>
                  <a:pt x="11" y="85"/>
                </a:cubicBezTo>
                <a:cubicBezTo>
                  <a:pt x="4" y="78"/>
                  <a:pt x="0" y="70"/>
                  <a:pt x="0" y="61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1"/>
                  <a:pt x="1" y="9"/>
                  <a:pt x="2" y="8"/>
                </a:cubicBezTo>
                <a:cubicBezTo>
                  <a:pt x="3" y="7"/>
                  <a:pt x="5" y="6"/>
                  <a:pt x="7" y="6"/>
                </a:cubicBezTo>
                <a:cubicBezTo>
                  <a:pt x="7" y="6"/>
                  <a:pt x="7" y="6"/>
                  <a:pt x="8" y="7"/>
                </a:cubicBezTo>
                <a:cubicBezTo>
                  <a:pt x="9" y="5"/>
                  <a:pt x="11" y="3"/>
                  <a:pt x="12" y="2"/>
                </a:cubicBezTo>
                <a:cubicBezTo>
                  <a:pt x="14" y="1"/>
                  <a:pt x="16" y="0"/>
                  <a:pt x="19" y="0"/>
                </a:cubicBezTo>
                <a:cubicBezTo>
                  <a:pt x="22" y="0"/>
                  <a:pt x="25" y="2"/>
                  <a:pt x="27" y="4"/>
                </a:cubicBezTo>
                <a:cubicBezTo>
                  <a:pt x="30" y="6"/>
                  <a:pt x="31" y="9"/>
                  <a:pt x="31" y="12"/>
                </a:cubicBezTo>
                <a:cubicBezTo>
                  <a:pt x="31" y="16"/>
                  <a:pt x="30" y="19"/>
                  <a:pt x="27" y="21"/>
                </a:cubicBezTo>
                <a:cubicBezTo>
                  <a:pt x="25" y="23"/>
                  <a:pt x="22" y="25"/>
                  <a:pt x="19" y="25"/>
                </a:cubicBezTo>
                <a:cubicBezTo>
                  <a:pt x="17" y="25"/>
                  <a:pt x="15" y="24"/>
                  <a:pt x="13" y="23"/>
                </a:cubicBezTo>
                <a:cubicBezTo>
                  <a:pt x="13" y="61"/>
                  <a:pt x="13" y="61"/>
                  <a:pt x="13" y="61"/>
                </a:cubicBezTo>
                <a:cubicBezTo>
                  <a:pt x="13" y="68"/>
                  <a:pt x="16" y="73"/>
                  <a:pt x="21" y="78"/>
                </a:cubicBezTo>
                <a:cubicBezTo>
                  <a:pt x="27" y="83"/>
                  <a:pt x="35" y="85"/>
                  <a:pt x="43" y="85"/>
                </a:cubicBezTo>
                <a:cubicBezTo>
                  <a:pt x="51" y="85"/>
                  <a:pt x="58" y="83"/>
                  <a:pt x="64" y="78"/>
                </a:cubicBezTo>
                <a:cubicBezTo>
                  <a:pt x="70" y="73"/>
                  <a:pt x="73" y="68"/>
                  <a:pt x="73" y="61"/>
                </a:cubicBezTo>
                <a:cubicBezTo>
                  <a:pt x="73" y="23"/>
                  <a:pt x="73" y="23"/>
                  <a:pt x="73" y="23"/>
                </a:cubicBezTo>
                <a:cubicBezTo>
                  <a:pt x="71" y="24"/>
                  <a:pt x="69" y="25"/>
                  <a:pt x="67" y="25"/>
                </a:cubicBezTo>
                <a:cubicBezTo>
                  <a:pt x="64" y="25"/>
                  <a:pt x="61" y="23"/>
                  <a:pt x="58" y="21"/>
                </a:cubicBezTo>
                <a:cubicBezTo>
                  <a:pt x="56" y="19"/>
                  <a:pt x="55" y="16"/>
                  <a:pt x="55" y="12"/>
                </a:cubicBezTo>
                <a:cubicBezTo>
                  <a:pt x="55" y="9"/>
                  <a:pt x="56" y="6"/>
                  <a:pt x="58" y="4"/>
                </a:cubicBezTo>
                <a:cubicBezTo>
                  <a:pt x="61" y="2"/>
                  <a:pt x="64" y="0"/>
                  <a:pt x="67" y="0"/>
                </a:cubicBezTo>
                <a:cubicBezTo>
                  <a:pt x="69" y="0"/>
                  <a:pt x="71" y="1"/>
                  <a:pt x="73" y="2"/>
                </a:cubicBezTo>
                <a:cubicBezTo>
                  <a:pt x="75" y="3"/>
                  <a:pt x="77" y="5"/>
                  <a:pt x="78" y="7"/>
                </a:cubicBezTo>
                <a:cubicBezTo>
                  <a:pt x="78" y="6"/>
                  <a:pt x="79" y="6"/>
                  <a:pt x="79" y="6"/>
                </a:cubicBezTo>
                <a:cubicBezTo>
                  <a:pt x="81" y="6"/>
                  <a:pt x="82" y="7"/>
                  <a:pt x="83" y="8"/>
                </a:cubicBezTo>
                <a:cubicBezTo>
                  <a:pt x="85" y="9"/>
                  <a:pt x="85" y="11"/>
                  <a:pt x="85" y="12"/>
                </a:cubicBezTo>
                <a:cubicBezTo>
                  <a:pt x="85" y="61"/>
                  <a:pt x="85" y="61"/>
                  <a:pt x="85" y="61"/>
                </a:cubicBezTo>
                <a:cubicBezTo>
                  <a:pt x="85" y="70"/>
                  <a:pt x="82" y="78"/>
                  <a:pt x="75" y="85"/>
                </a:cubicBezTo>
                <a:cubicBezTo>
                  <a:pt x="68" y="91"/>
                  <a:pt x="59" y="96"/>
                  <a:pt x="49" y="97"/>
                </a:cubicBezTo>
                <a:cubicBezTo>
                  <a:pt x="49" y="109"/>
                  <a:pt x="49" y="109"/>
                  <a:pt x="49" y="109"/>
                </a:cubicBezTo>
                <a:cubicBezTo>
                  <a:pt x="49" y="116"/>
                  <a:pt x="52" y="122"/>
                  <a:pt x="58" y="126"/>
                </a:cubicBezTo>
                <a:cubicBezTo>
                  <a:pt x="64" y="131"/>
                  <a:pt x="71" y="133"/>
                  <a:pt x="79" y="133"/>
                </a:cubicBezTo>
                <a:cubicBezTo>
                  <a:pt x="87" y="133"/>
                  <a:pt x="95" y="131"/>
                  <a:pt x="101" y="126"/>
                </a:cubicBezTo>
                <a:cubicBezTo>
                  <a:pt x="106" y="122"/>
                  <a:pt x="109" y="116"/>
                  <a:pt x="109" y="109"/>
                </a:cubicBezTo>
                <a:cubicBezTo>
                  <a:pt x="109" y="72"/>
                  <a:pt x="109" y="72"/>
                  <a:pt x="109" y="72"/>
                </a:cubicBezTo>
                <a:cubicBezTo>
                  <a:pt x="106" y="71"/>
                  <a:pt x="103" y="68"/>
                  <a:pt x="101" y="65"/>
                </a:cubicBezTo>
                <a:cubicBezTo>
                  <a:pt x="98" y="62"/>
                  <a:pt x="97" y="59"/>
                  <a:pt x="97" y="55"/>
                </a:cubicBezTo>
                <a:cubicBezTo>
                  <a:pt x="97" y="50"/>
                  <a:pt x="99" y="45"/>
                  <a:pt x="103" y="42"/>
                </a:cubicBezTo>
                <a:cubicBezTo>
                  <a:pt x="106" y="38"/>
                  <a:pt x="110" y="37"/>
                  <a:pt x="115" y="37"/>
                </a:cubicBezTo>
                <a:cubicBezTo>
                  <a:pt x="121" y="37"/>
                  <a:pt x="125" y="38"/>
                  <a:pt x="128" y="42"/>
                </a:cubicBezTo>
                <a:cubicBezTo>
                  <a:pt x="132" y="45"/>
                  <a:pt x="134" y="50"/>
                  <a:pt x="134" y="55"/>
                </a:cubicBezTo>
                <a:close/>
                <a:moveTo>
                  <a:pt x="120" y="59"/>
                </a:moveTo>
                <a:cubicBezTo>
                  <a:pt x="121" y="58"/>
                  <a:pt x="122" y="56"/>
                  <a:pt x="122" y="55"/>
                </a:cubicBezTo>
                <a:cubicBezTo>
                  <a:pt x="122" y="53"/>
                  <a:pt x="121" y="52"/>
                  <a:pt x="120" y="51"/>
                </a:cubicBezTo>
                <a:cubicBezTo>
                  <a:pt x="119" y="49"/>
                  <a:pt x="117" y="49"/>
                  <a:pt x="115" y="49"/>
                </a:cubicBezTo>
                <a:cubicBezTo>
                  <a:pt x="114" y="49"/>
                  <a:pt x="112" y="49"/>
                  <a:pt x="111" y="51"/>
                </a:cubicBezTo>
                <a:cubicBezTo>
                  <a:pt x="110" y="52"/>
                  <a:pt x="109" y="53"/>
                  <a:pt x="109" y="55"/>
                </a:cubicBezTo>
                <a:cubicBezTo>
                  <a:pt x="109" y="56"/>
                  <a:pt x="110" y="58"/>
                  <a:pt x="111" y="59"/>
                </a:cubicBezTo>
                <a:cubicBezTo>
                  <a:pt x="112" y="60"/>
                  <a:pt x="114" y="61"/>
                  <a:pt x="115" y="61"/>
                </a:cubicBezTo>
                <a:cubicBezTo>
                  <a:pt x="117" y="61"/>
                  <a:pt x="119" y="60"/>
                  <a:pt x="120" y="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8" name="Freeform 219"/>
          <p:cNvSpPr>
            <a:spLocks noChangeAspect="1" noEditPoints="1"/>
          </p:cNvSpPr>
          <p:nvPr/>
        </p:nvSpPr>
        <p:spPr bwMode="auto">
          <a:xfrm>
            <a:off x="4626634" y="3104357"/>
            <a:ext cx="176428" cy="151447"/>
          </a:xfrm>
          <a:custGeom>
            <a:avLst/>
            <a:gdLst>
              <a:gd name="T0" fmla="*/ 28 w 170"/>
              <a:gd name="T1" fmla="*/ 25 h 146"/>
              <a:gd name="T2" fmla="*/ 28 w 170"/>
              <a:gd name="T3" fmla="*/ 146 h 146"/>
              <a:gd name="T4" fmla="*/ 22 w 170"/>
              <a:gd name="T5" fmla="*/ 146 h 146"/>
              <a:gd name="T6" fmla="*/ 7 w 170"/>
              <a:gd name="T7" fmla="*/ 139 h 146"/>
              <a:gd name="T8" fmla="*/ 0 w 170"/>
              <a:gd name="T9" fmla="*/ 124 h 146"/>
              <a:gd name="T10" fmla="*/ 0 w 170"/>
              <a:gd name="T11" fmla="*/ 46 h 146"/>
              <a:gd name="T12" fmla="*/ 7 w 170"/>
              <a:gd name="T13" fmla="*/ 31 h 146"/>
              <a:gd name="T14" fmla="*/ 22 w 170"/>
              <a:gd name="T15" fmla="*/ 25 h 146"/>
              <a:gd name="T16" fmla="*/ 28 w 170"/>
              <a:gd name="T17" fmla="*/ 25 h 146"/>
              <a:gd name="T18" fmla="*/ 133 w 170"/>
              <a:gd name="T19" fmla="*/ 25 h 146"/>
              <a:gd name="T20" fmla="*/ 133 w 170"/>
              <a:gd name="T21" fmla="*/ 146 h 146"/>
              <a:gd name="T22" fmla="*/ 37 w 170"/>
              <a:gd name="T23" fmla="*/ 146 h 146"/>
              <a:gd name="T24" fmla="*/ 37 w 170"/>
              <a:gd name="T25" fmla="*/ 25 h 146"/>
              <a:gd name="T26" fmla="*/ 49 w 170"/>
              <a:gd name="T27" fmla="*/ 25 h 146"/>
              <a:gd name="T28" fmla="*/ 49 w 170"/>
              <a:gd name="T29" fmla="*/ 9 h 146"/>
              <a:gd name="T30" fmla="*/ 51 w 170"/>
              <a:gd name="T31" fmla="*/ 3 h 146"/>
              <a:gd name="T32" fmla="*/ 58 w 170"/>
              <a:gd name="T33" fmla="*/ 0 h 146"/>
              <a:gd name="T34" fmla="*/ 112 w 170"/>
              <a:gd name="T35" fmla="*/ 0 h 146"/>
              <a:gd name="T36" fmla="*/ 119 w 170"/>
              <a:gd name="T37" fmla="*/ 3 h 146"/>
              <a:gd name="T38" fmla="*/ 121 w 170"/>
              <a:gd name="T39" fmla="*/ 9 h 146"/>
              <a:gd name="T40" fmla="*/ 121 w 170"/>
              <a:gd name="T41" fmla="*/ 25 h 146"/>
              <a:gd name="T42" fmla="*/ 133 w 170"/>
              <a:gd name="T43" fmla="*/ 25 h 146"/>
              <a:gd name="T44" fmla="*/ 61 w 170"/>
              <a:gd name="T45" fmla="*/ 25 h 146"/>
              <a:gd name="T46" fmla="*/ 109 w 170"/>
              <a:gd name="T47" fmla="*/ 25 h 146"/>
              <a:gd name="T48" fmla="*/ 109 w 170"/>
              <a:gd name="T49" fmla="*/ 12 h 146"/>
              <a:gd name="T50" fmla="*/ 61 w 170"/>
              <a:gd name="T51" fmla="*/ 12 h 146"/>
              <a:gd name="T52" fmla="*/ 61 w 170"/>
              <a:gd name="T53" fmla="*/ 25 h 146"/>
              <a:gd name="T54" fmla="*/ 170 w 170"/>
              <a:gd name="T55" fmla="*/ 46 h 146"/>
              <a:gd name="T56" fmla="*/ 170 w 170"/>
              <a:gd name="T57" fmla="*/ 124 h 146"/>
              <a:gd name="T58" fmla="*/ 164 w 170"/>
              <a:gd name="T59" fmla="*/ 139 h 146"/>
              <a:gd name="T60" fmla="*/ 149 w 170"/>
              <a:gd name="T61" fmla="*/ 146 h 146"/>
              <a:gd name="T62" fmla="*/ 143 w 170"/>
              <a:gd name="T63" fmla="*/ 146 h 146"/>
              <a:gd name="T64" fmla="*/ 143 w 170"/>
              <a:gd name="T65" fmla="*/ 25 h 146"/>
              <a:gd name="T66" fmla="*/ 149 w 170"/>
              <a:gd name="T67" fmla="*/ 25 h 146"/>
              <a:gd name="T68" fmla="*/ 164 w 170"/>
              <a:gd name="T69" fmla="*/ 31 h 146"/>
              <a:gd name="T70" fmla="*/ 170 w 170"/>
              <a:gd name="T71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70" h="146">
                <a:moveTo>
                  <a:pt x="28" y="25"/>
                </a:moveTo>
                <a:cubicBezTo>
                  <a:pt x="28" y="146"/>
                  <a:pt x="28" y="146"/>
                  <a:pt x="28" y="146"/>
                </a:cubicBezTo>
                <a:cubicBezTo>
                  <a:pt x="22" y="146"/>
                  <a:pt x="22" y="146"/>
                  <a:pt x="22" y="146"/>
                </a:cubicBezTo>
                <a:cubicBezTo>
                  <a:pt x="16" y="146"/>
                  <a:pt x="11" y="143"/>
                  <a:pt x="7" y="139"/>
                </a:cubicBezTo>
                <a:cubicBezTo>
                  <a:pt x="2" y="135"/>
                  <a:pt x="0" y="130"/>
                  <a:pt x="0" y="124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0"/>
                  <a:pt x="2" y="35"/>
                  <a:pt x="7" y="31"/>
                </a:cubicBezTo>
                <a:cubicBezTo>
                  <a:pt x="11" y="27"/>
                  <a:pt x="16" y="25"/>
                  <a:pt x="22" y="25"/>
                </a:cubicBezTo>
                <a:lnTo>
                  <a:pt x="28" y="25"/>
                </a:lnTo>
                <a:close/>
                <a:moveTo>
                  <a:pt x="133" y="25"/>
                </a:moveTo>
                <a:cubicBezTo>
                  <a:pt x="133" y="146"/>
                  <a:pt x="133" y="146"/>
                  <a:pt x="133" y="146"/>
                </a:cubicBezTo>
                <a:cubicBezTo>
                  <a:pt x="37" y="146"/>
                  <a:pt x="37" y="146"/>
                  <a:pt x="37" y="146"/>
                </a:cubicBezTo>
                <a:cubicBezTo>
                  <a:pt x="37" y="25"/>
                  <a:pt x="37" y="25"/>
                  <a:pt x="37" y="25"/>
                </a:cubicBezTo>
                <a:cubicBezTo>
                  <a:pt x="49" y="25"/>
                  <a:pt x="49" y="25"/>
                  <a:pt x="49" y="25"/>
                </a:cubicBezTo>
                <a:cubicBezTo>
                  <a:pt x="49" y="9"/>
                  <a:pt x="49" y="9"/>
                  <a:pt x="49" y="9"/>
                </a:cubicBezTo>
                <a:cubicBezTo>
                  <a:pt x="49" y="7"/>
                  <a:pt x="50" y="5"/>
                  <a:pt x="51" y="3"/>
                </a:cubicBezTo>
                <a:cubicBezTo>
                  <a:pt x="53" y="1"/>
                  <a:pt x="55" y="0"/>
                  <a:pt x="58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5" y="0"/>
                  <a:pt x="117" y="1"/>
                  <a:pt x="119" y="3"/>
                </a:cubicBezTo>
                <a:cubicBezTo>
                  <a:pt x="120" y="5"/>
                  <a:pt x="121" y="7"/>
                  <a:pt x="121" y="9"/>
                </a:cubicBezTo>
                <a:cubicBezTo>
                  <a:pt x="121" y="25"/>
                  <a:pt x="121" y="25"/>
                  <a:pt x="121" y="25"/>
                </a:cubicBezTo>
                <a:lnTo>
                  <a:pt x="133" y="25"/>
                </a:lnTo>
                <a:close/>
                <a:moveTo>
                  <a:pt x="61" y="25"/>
                </a:moveTo>
                <a:cubicBezTo>
                  <a:pt x="109" y="25"/>
                  <a:pt x="109" y="25"/>
                  <a:pt x="109" y="25"/>
                </a:cubicBezTo>
                <a:cubicBezTo>
                  <a:pt x="109" y="12"/>
                  <a:pt x="109" y="12"/>
                  <a:pt x="109" y="12"/>
                </a:cubicBezTo>
                <a:cubicBezTo>
                  <a:pt x="61" y="12"/>
                  <a:pt x="61" y="12"/>
                  <a:pt x="61" y="12"/>
                </a:cubicBezTo>
                <a:lnTo>
                  <a:pt x="61" y="25"/>
                </a:lnTo>
                <a:close/>
                <a:moveTo>
                  <a:pt x="170" y="46"/>
                </a:moveTo>
                <a:cubicBezTo>
                  <a:pt x="170" y="124"/>
                  <a:pt x="170" y="124"/>
                  <a:pt x="170" y="124"/>
                </a:cubicBezTo>
                <a:cubicBezTo>
                  <a:pt x="170" y="130"/>
                  <a:pt x="168" y="135"/>
                  <a:pt x="164" y="139"/>
                </a:cubicBezTo>
                <a:cubicBezTo>
                  <a:pt x="159" y="143"/>
                  <a:pt x="154" y="146"/>
                  <a:pt x="149" y="146"/>
                </a:cubicBezTo>
                <a:cubicBezTo>
                  <a:pt x="143" y="146"/>
                  <a:pt x="143" y="146"/>
                  <a:pt x="143" y="146"/>
                </a:cubicBezTo>
                <a:cubicBezTo>
                  <a:pt x="143" y="25"/>
                  <a:pt x="143" y="25"/>
                  <a:pt x="143" y="25"/>
                </a:cubicBezTo>
                <a:cubicBezTo>
                  <a:pt x="149" y="25"/>
                  <a:pt x="149" y="25"/>
                  <a:pt x="149" y="25"/>
                </a:cubicBezTo>
                <a:cubicBezTo>
                  <a:pt x="154" y="25"/>
                  <a:pt x="159" y="27"/>
                  <a:pt x="164" y="31"/>
                </a:cubicBezTo>
                <a:cubicBezTo>
                  <a:pt x="168" y="35"/>
                  <a:pt x="170" y="40"/>
                  <a:pt x="170" y="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9" name="Freeform 220"/>
          <p:cNvSpPr>
            <a:spLocks noChangeAspect="1" noEditPoints="1"/>
          </p:cNvSpPr>
          <p:nvPr/>
        </p:nvSpPr>
        <p:spPr bwMode="auto">
          <a:xfrm>
            <a:off x="4856145" y="3091867"/>
            <a:ext cx="162376" cy="176428"/>
          </a:xfrm>
          <a:custGeom>
            <a:avLst/>
            <a:gdLst>
              <a:gd name="T0" fmla="*/ 157 w 157"/>
              <a:gd name="T1" fmla="*/ 133 h 170"/>
              <a:gd name="T2" fmla="*/ 153 w 157"/>
              <a:gd name="T3" fmla="*/ 142 h 170"/>
              <a:gd name="T4" fmla="*/ 145 w 157"/>
              <a:gd name="T5" fmla="*/ 145 h 170"/>
              <a:gd name="T6" fmla="*/ 102 w 157"/>
              <a:gd name="T7" fmla="*/ 145 h 170"/>
              <a:gd name="T8" fmla="*/ 95 w 157"/>
              <a:gd name="T9" fmla="*/ 163 h 170"/>
              <a:gd name="T10" fmla="*/ 78 w 157"/>
              <a:gd name="T11" fmla="*/ 170 h 170"/>
              <a:gd name="T12" fmla="*/ 61 w 157"/>
              <a:gd name="T13" fmla="*/ 163 h 170"/>
              <a:gd name="T14" fmla="*/ 54 w 157"/>
              <a:gd name="T15" fmla="*/ 145 h 170"/>
              <a:gd name="T16" fmla="*/ 12 w 157"/>
              <a:gd name="T17" fmla="*/ 145 h 170"/>
              <a:gd name="T18" fmla="*/ 3 w 157"/>
              <a:gd name="T19" fmla="*/ 142 h 170"/>
              <a:gd name="T20" fmla="*/ 0 w 157"/>
              <a:gd name="T21" fmla="*/ 133 h 170"/>
              <a:gd name="T22" fmla="*/ 8 w 157"/>
              <a:gd name="T23" fmla="*/ 125 h 170"/>
              <a:gd name="T24" fmla="*/ 16 w 157"/>
              <a:gd name="T25" fmla="*/ 114 h 170"/>
              <a:gd name="T26" fmla="*/ 23 w 157"/>
              <a:gd name="T27" fmla="*/ 99 h 170"/>
              <a:gd name="T28" fmla="*/ 28 w 157"/>
              <a:gd name="T29" fmla="*/ 79 h 170"/>
              <a:gd name="T30" fmla="*/ 30 w 157"/>
              <a:gd name="T31" fmla="*/ 55 h 170"/>
              <a:gd name="T32" fmla="*/ 41 w 157"/>
              <a:gd name="T33" fmla="*/ 28 h 170"/>
              <a:gd name="T34" fmla="*/ 70 w 157"/>
              <a:gd name="T35" fmla="*/ 13 h 170"/>
              <a:gd name="T36" fmla="*/ 69 w 157"/>
              <a:gd name="T37" fmla="*/ 9 h 170"/>
              <a:gd name="T38" fmla="*/ 72 w 157"/>
              <a:gd name="T39" fmla="*/ 3 h 170"/>
              <a:gd name="T40" fmla="*/ 78 w 157"/>
              <a:gd name="T41" fmla="*/ 0 h 170"/>
              <a:gd name="T42" fmla="*/ 85 w 157"/>
              <a:gd name="T43" fmla="*/ 3 h 170"/>
              <a:gd name="T44" fmla="*/ 87 w 157"/>
              <a:gd name="T45" fmla="*/ 9 h 170"/>
              <a:gd name="T46" fmla="*/ 87 w 157"/>
              <a:gd name="T47" fmla="*/ 13 h 170"/>
              <a:gd name="T48" fmla="*/ 116 w 157"/>
              <a:gd name="T49" fmla="*/ 28 h 170"/>
              <a:gd name="T50" fmla="*/ 127 w 157"/>
              <a:gd name="T51" fmla="*/ 55 h 170"/>
              <a:gd name="T52" fmla="*/ 128 w 157"/>
              <a:gd name="T53" fmla="*/ 79 h 170"/>
              <a:gd name="T54" fmla="*/ 133 w 157"/>
              <a:gd name="T55" fmla="*/ 99 h 170"/>
              <a:gd name="T56" fmla="*/ 140 w 157"/>
              <a:gd name="T57" fmla="*/ 114 h 170"/>
              <a:gd name="T58" fmla="*/ 148 w 157"/>
              <a:gd name="T59" fmla="*/ 125 h 170"/>
              <a:gd name="T60" fmla="*/ 157 w 157"/>
              <a:gd name="T61" fmla="*/ 133 h 170"/>
              <a:gd name="T62" fmla="*/ 17 w 157"/>
              <a:gd name="T63" fmla="*/ 133 h 170"/>
              <a:gd name="T64" fmla="*/ 140 w 157"/>
              <a:gd name="T65" fmla="*/ 133 h 170"/>
              <a:gd name="T66" fmla="*/ 115 w 157"/>
              <a:gd name="T67" fmla="*/ 55 h 170"/>
              <a:gd name="T68" fmla="*/ 112 w 157"/>
              <a:gd name="T69" fmla="*/ 45 h 170"/>
              <a:gd name="T70" fmla="*/ 106 w 157"/>
              <a:gd name="T71" fmla="*/ 35 h 170"/>
              <a:gd name="T72" fmla="*/ 94 w 157"/>
              <a:gd name="T73" fmla="*/ 27 h 170"/>
              <a:gd name="T74" fmla="*/ 78 w 157"/>
              <a:gd name="T75" fmla="*/ 24 h 170"/>
              <a:gd name="T76" fmla="*/ 62 w 157"/>
              <a:gd name="T77" fmla="*/ 27 h 170"/>
              <a:gd name="T78" fmla="*/ 51 w 157"/>
              <a:gd name="T79" fmla="*/ 35 h 170"/>
              <a:gd name="T80" fmla="*/ 44 w 157"/>
              <a:gd name="T81" fmla="*/ 45 h 170"/>
              <a:gd name="T82" fmla="*/ 42 w 157"/>
              <a:gd name="T83" fmla="*/ 55 h 170"/>
              <a:gd name="T84" fmla="*/ 17 w 157"/>
              <a:gd name="T85" fmla="*/ 133 h 170"/>
              <a:gd name="T86" fmla="*/ 80 w 157"/>
              <a:gd name="T87" fmla="*/ 161 h 170"/>
              <a:gd name="T88" fmla="*/ 78 w 157"/>
              <a:gd name="T89" fmla="*/ 159 h 170"/>
              <a:gd name="T90" fmla="*/ 69 w 157"/>
              <a:gd name="T91" fmla="*/ 155 h 170"/>
              <a:gd name="T92" fmla="*/ 65 w 157"/>
              <a:gd name="T93" fmla="*/ 145 h 170"/>
              <a:gd name="T94" fmla="*/ 63 w 157"/>
              <a:gd name="T95" fmla="*/ 144 h 170"/>
              <a:gd name="T96" fmla="*/ 62 w 157"/>
              <a:gd name="T97" fmla="*/ 145 h 170"/>
              <a:gd name="T98" fmla="*/ 66 w 157"/>
              <a:gd name="T99" fmla="*/ 157 h 170"/>
              <a:gd name="T100" fmla="*/ 78 w 157"/>
              <a:gd name="T101" fmla="*/ 162 h 170"/>
              <a:gd name="T102" fmla="*/ 80 w 157"/>
              <a:gd name="T103" fmla="*/ 16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7" h="170">
                <a:moveTo>
                  <a:pt x="157" y="133"/>
                </a:moveTo>
                <a:cubicBezTo>
                  <a:pt x="157" y="137"/>
                  <a:pt x="156" y="139"/>
                  <a:pt x="153" y="142"/>
                </a:cubicBezTo>
                <a:cubicBezTo>
                  <a:pt x="151" y="144"/>
                  <a:pt x="148" y="145"/>
                  <a:pt x="145" y="145"/>
                </a:cubicBezTo>
                <a:cubicBezTo>
                  <a:pt x="102" y="145"/>
                  <a:pt x="102" y="145"/>
                  <a:pt x="102" y="145"/>
                </a:cubicBezTo>
                <a:cubicBezTo>
                  <a:pt x="102" y="152"/>
                  <a:pt x="100" y="158"/>
                  <a:pt x="95" y="163"/>
                </a:cubicBezTo>
                <a:cubicBezTo>
                  <a:pt x="91" y="167"/>
                  <a:pt x="85" y="170"/>
                  <a:pt x="78" y="170"/>
                </a:cubicBezTo>
                <a:cubicBezTo>
                  <a:pt x="72" y="170"/>
                  <a:pt x="66" y="167"/>
                  <a:pt x="61" y="163"/>
                </a:cubicBezTo>
                <a:cubicBezTo>
                  <a:pt x="56" y="158"/>
                  <a:pt x="54" y="152"/>
                  <a:pt x="54" y="145"/>
                </a:cubicBezTo>
                <a:cubicBezTo>
                  <a:pt x="12" y="145"/>
                  <a:pt x="12" y="145"/>
                  <a:pt x="12" y="145"/>
                </a:cubicBezTo>
                <a:cubicBezTo>
                  <a:pt x="8" y="145"/>
                  <a:pt x="6" y="144"/>
                  <a:pt x="3" y="142"/>
                </a:cubicBezTo>
                <a:cubicBezTo>
                  <a:pt x="1" y="139"/>
                  <a:pt x="0" y="137"/>
                  <a:pt x="0" y="133"/>
                </a:cubicBezTo>
                <a:cubicBezTo>
                  <a:pt x="3" y="131"/>
                  <a:pt x="6" y="128"/>
                  <a:pt x="8" y="125"/>
                </a:cubicBezTo>
                <a:cubicBezTo>
                  <a:pt x="11" y="122"/>
                  <a:pt x="13" y="118"/>
                  <a:pt x="16" y="114"/>
                </a:cubicBezTo>
                <a:cubicBezTo>
                  <a:pt x="19" y="109"/>
                  <a:pt x="21" y="104"/>
                  <a:pt x="23" y="99"/>
                </a:cubicBezTo>
                <a:cubicBezTo>
                  <a:pt x="25" y="93"/>
                  <a:pt x="27" y="87"/>
                  <a:pt x="28" y="79"/>
                </a:cubicBezTo>
                <a:cubicBezTo>
                  <a:pt x="29" y="72"/>
                  <a:pt x="30" y="63"/>
                  <a:pt x="30" y="55"/>
                </a:cubicBezTo>
                <a:cubicBezTo>
                  <a:pt x="30" y="45"/>
                  <a:pt x="33" y="36"/>
                  <a:pt x="41" y="28"/>
                </a:cubicBezTo>
                <a:cubicBezTo>
                  <a:pt x="48" y="20"/>
                  <a:pt x="58" y="15"/>
                  <a:pt x="70" y="13"/>
                </a:cubicBezTo>
                <a:cubicBezTo>
                  <a:pt x="69" y="12"/>
                  <a:pt x="69" y="11"/>
                  <a:pt x="69" y="9"/>
                </a:cubicBezTo>
                <a:cubicBezTo>
                  <a:pt x="69" y="7"/>
                  <a:pt x="70" y="5"/>
                  <a:pt x="72" y="3"/>
                </a:cubicBezTo>
                <a:cubicBezTo>
                  <a:pt x="74" y="1"/>
                  <a:pt x="76" y="0"/>
                  <a:pt x="78" y="0"/>
                </a:cubicBezTo>
                <a:cubicBezTo>
                  <a:pt x="81" y="0"/>
                  <a:pt x="83" y="1"/>
                  <a:pt x="85" y="3"/>
                </a:cubicBezTo>
                <a:cubicBezTo>
                  <a:pt x="86" y="5"/>
                  <a:pt x="87" y="7"/>
                  <a:pt x="87" y="9"/>
                </a:cubicBezTo>
                <a:cubicBezTo>
                  <a:pt x="87" y="11"/>
                  <a:pt x="87" y="12"/>
                  <a:pt x="87" y="13"/>
                </a:cubicBezTo>
                <a:cubicBezTo>
                  <a:pt x="99" y="15"/>
                  <a:pt x="108" y="20"/>
                  <a:pt x="116" y="28"/>
                </a:cubicBezTo>
                <a:cubicBezTo>
                  <a:pt x="123" y="36"/>
                  <a:pt x="127" y="45"/>
                  <a:pt x="127" y="55"/>
                </a:cubicBezTo>
                <a:cubicBezTo>
                  <a:pt x="127" y="63"/>
                  <a:pt x="127" y="72"/>
                  <a:pt x="128" y="79"/>
                </a:cubicBezTo>
                <a:cubicBezTo>
                  <a:pt x="130" y="87"/>
                  <a:pt x="131" y="93"/>
                  <a:pt x="133" y="99"/>
                </a:cubicBezTo>
                <a:cubicBezTo>
                  <a:pt x="135" y="104"/>
                  <a:pt x="137" y="109"/>
                  <a:pt x="140" y="114"/>
                </a:cubicBezTo>
                <a:cubicBezTo>
                  <a:pt x="143" y="118"/>
                  <a:pt x="146" y="122"/>
                  <a:pt x="148" y="125"/>
                </a:cubicBezTo>
                <a:cubicBezTo>
                  <a:pt x="151" y="128"/>
                  <a:pt x="154" y="131"/>
                  <a:pt x="157" y="133"/>
                </a:cubicBezTo>
                <a:close/>
                <a:moveTo>
                  <a:pt x="17" y="133"/>
                </a:moveTo>
                <a:cubicBezTo>
                  <a:pt x="140" y="133"/>
                  <a:pt x="140" y="133"/>
                  <a:pt x="140" y="133"/>
                </a:cubicBezTo>
                <a:cubicBezTo>
                  <a:pt x="123" y="114"/>
                  <a:pt x="115" y="88"/>
                  <a:pt x="115" y="55"/>
                </a:cubicBezTo>
                <a:cubicBezTo>
                  <a:pt x="115" y="51"/>
                  <a:pt x="114" y="48"/>
                  <a:pt x="112" y="45"/>
                </a:cubicBezTo>
                <a:cubicBezTo>
                  <a:pt x="111" y="41"/>
                  <a:pt x="109" y="38"/>
                  <a:pt x="106" y="35"/>
                </a:cubicBezTo>
                <a:cubicBezTo>
                  <a:pt x="103" y="32"/>
                  <a:pt x="99" y="29"/>
                  <a:pt x="94" y="27"/>
                </a:cubicBezTo>
                <a:cubicBezTo>
                  <a:pt x="89" y="25"/>
                  <a:pt x="84" y="24"/>
                  <a:pt x="78" y="24"/>
                </a:cubicBezTo>
                <a:cubicBezTo>
                  <a:pt x="72" y="24"/>
                  <a:pt x="67" y="25"/>
                  <a:pt x="62" y="27"/>
                </a:cubicBezTo>
                <a:cubicBezTo>
                  <a:pt x="57" y="29"/>
                  <a:pt x="54" y="32"/>
                  <a:pt x="51" y="35"/>
                </a:cubicBezTo>
                <a:cubicBezTo>
                  <a:pt x="48" y="38"/>
                  <a:pt x="46" y="41"/>
                  <a:pt x="44" y="45"/>
                </a:cubicBezTo>
                <a:cubicBezTo>
                  <a:pt x="43" y="48"/>
                  <a:pt x="42" y="51"/>
                  <a:pt x="42" y="55"/>
                </a:cubicBezTo>
                <a:cubicBezTo>
                  <a:pt x="42" y="88"/>
                  <a:pt x="34" y="114"/>
                  <a:pt x="17" y="133"/>
                </a:cubicBezTo>
                <a:close/>
                <a:moveTo>
                  <a:pt x="80" y="161"/>
                </a:moveTo>
                <a:cubicBezTo>
                  <a:pt x="80" y="160"/>
                  <a:pt x="79" y="159"/>
                  <a:pt x="78" y="159"/>
                </a:cubicBezTo>
                <a:cubicBezTo>
                  <a:pt x="74" y="159"/>
                  <a:pt x="71" y="158"/>
                  <a:pt x="69" y="155"/>
                </a:cubicBezTo>
                <a:cubicBezTo>
                  <a:pt x="66" y="152"/>
                  <a:pt x="65" y="149"/>
                  <a:pt x="65" y="145"/>
                </a:cubicBezTo>
                <a:cubicBezTo>
                  <a:pt x="65" y="144"/>
                  <a:pt x="64" y="144"/>
                  <a:pt x="63" y="144"/>
                </a:cubicBezTo>
                <a:cubicBezTo>
                  <a:pt x="62" y="144"/>
                  <a:pt x="62" y="144"/>
                  <a:pt x="62" y="145"/>
                </a:cubicBezTo>
                <a:cubicBezTo>
                  <a:pt x="62" y="150"/>
                  <a:pt x="63" y="154"/>
                  <a:pt x="66" y="157"/>
                </a:cubicBezTo>
                <a:cubicBezTo>
                  <a:pt x="70" y="160"/>
                  <a:pt x="74" y="162"/>
                  <a:pt x="78" y="162"/>
                </a:cubicBezTo>
                <a:cubicBezTo>
                  <a:pt x="79" y="162"/>
                  <a:pt x="80" y="162"/>
                  <a:pt x="80" y="1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0" name="Freeform 221"/>
          <p:cNvSpPr>
            <a:spLocks noChangeAspect="1" noEditPoints="1"/>
          </p:cNvSpPr>
          <p:nvPr/>
        </p:nvSpPr>
        <p:spPr bwMode="auto">
          <a:xfrm>
            <a:off x="5071606" y="3116848"/>
            <a:ext cx="181112" cy="138957"/>
          </a:xfrm>
          <a:custGeom>
            <a:avLst/>
            <a:gdLst>
              <a:gd name="T0" fmla="*/ 0 w 175"/>
              <a:gd name="T1" fmla="*/ 109 h 134"/>
              <a:gd name="T2" fmla="*/ 169 w 175"/>
              <a:gd name="T3" fmla="*/ 109 h 134"/>
              <a:gd name="T4" fmla="*/ 162 w 175"/>
              <a:gd name="T5" fmla="*/ 126 h 134"/>
              <a:gd name="T6" fmla="*/ 145 w 175"/>
              <a:gd name="T7" fmla="*/ 134 h 134"/>
              <a:gd name="T8" fmla="*/ 24 w 175"/>
              <a:gd name="T9" fmla="*/ 134 h 134"/>
              <a:gd name="T10" fmla="*/ 7 w 175"/>
              <a:gd name="T11" fmla="*/ 126 h 134"/>
              <a:gd name="T12" fmla="*/ 0 w 175"/>
              <a:gd name="T13" fmla="*/ 109 h 134"/>
              <a:gd name="T14" fmla="*/ 165 w 175"/>
              <a:gd name="T15" fmla="*/ 11 h 134"/>
              <a:gd name="T16" fmla="*/ 175 w 175"/>
              <a:gd name="T17" fmla="*/ 37 h 134"/>
              <a:gd name="T18" fmla="*/ 165 w 175"/>
              <a:gd name="T19" fmla="*/ 62 h 134"/>
              <a:gd name="T20" fmla="*/ 139 w 175"/>
              <a:gd name="T21" fmla="*/ 73 h 134"/>
              <a:gd name="T22" fmla="*/ 133 w 175"/>
              <a:gd name="T23" fmla="*/ 73 h 134"/>
              <a:gd name="T24" fmla="*/ 133 w 175"/>
              <a:gd name="T25" fmla="*/ 76 h 134"/>
              <a:gd name="T26" fmla="*/ 127 w 175"/>
              <a:gd name="T27" fmla="*/ 91 h 134"/>
              <a:gd name="T28" fmla="*/ 112 w 175"/>
              <a:gd name="T29" fmla="*/ 97 h 134"/>
              <a:gd name="T30" fmla="*/ 45 w 175"/>
              <a:gd name="T31" fmla="*/ 97 h 134"/>
              <a:gd name="T32" fmla="*/ 30 w 175"/>
              <a:gd name="T33" fmla="*/ 91 h 134"/>
              <a:gd name="T34" fmla="*/ 24 w 175"/>
              <a:gd name="T35" fmla="*/ 76 h 134"/>
              <a:gd name="T36" fmla="*/ 24 w 175"/>
              <a:gd name="T37" fmla="*/ 6 h 134"/>
              <a:gd name="T38" fmla="*/ 26 w 175"/>
              <a:gd name="T39" fmla="*/ 2 h 134"/>
              <a:gd name="T40" fmla="*/ 30 w 175"/>
              <a:gd name="T41" fmla="*/ 0 h 134"/>
              <a:gd name="T42" fmla="*/ 139 w 175"/>
              <a:gd name="T43" fmla="*/ 0 h 134"/>
              <a:gd name="T44" fmla="*/ 165 w 175"/>
              <a:gd name="T45" fmla="*/ 11 h 134"/>
              <a:gd name="T46" fmla="*/ 152 w 175"/>
              <a:gd name="T47" fmla="*/ 50 h 134"/>
              <a:gd name="T48" fmla="*/ 157 w 175"/>
              <a:gd name="T49" fmla="*/ 37 h 134"/>
              <a:gd name="T50" fmla="*/ 152 w 175"/>
              <a:gd name="T51" fmla="*/ 24 h 134"/>
              <a:gd name="T52" fmla="*/ 139 w 175"/>
              <a:gd name="T53" fmla="*/ 19 h 134"/>
              <a:gd name="T54" fmla="*/ 133 w 175"/>
              <a:gd name="T55" fmla="*/ 19 h 134"/>
              <a:gd name="T56" fmla="*/ 133 w 175"/>
              <a:gd name="T57" fmla="*/ 55 h 134"/>
              <a:gd name="T58" fmla="*/ 139 w 175"/>
              <a:gd name="T59" fmla="*/ 55 h 134"/>
              <a:gd name="T60" fmla="*/ 152 w 175"/>
              <a:gd name="T61" fmla="*/ 50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75" h="134">
                <a:moveTo>
                  <a:pt x="0" y="109"/>
                </a:moveTo>
                <a:cubicBezTo>
                  <a:pt x="169" y="109"/>
                  <a:pt x="169" y="109"/>
                  <a:pt x="169" y="109"/>
                </a:cubicBezTo>
                <a:cubicBezTo>
                  <a:pt x="169" y="116"/>
                  <a:pt x="167" y="122"/>
                  <a:pt x="162" y="126"/>
                </a:cubicBezTo>
                <a:cubicBezTo>
                  <a:pt x="157" y="131"/>
                  <a:pt x="152" y="134"/>
                  <a:pt x="145" y="134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17" y="134"/>
                  <a:pt x="11" y="131"/>
                  <a:pt x="7" y="126"/>
                </a:cubicBezTo>
                <a:cubicBezTo>
                  <a:pt x="2" y="122"/>
                  <a:pt x="0" y="116"/>
                  <a:pt x="0" y="109"/>
                </a:cubicBezTo>
                <a:close/>
                <a:moveTo>
                  <a:pt x="165" y="11"/>
                </a:moveTo>
                <a:cubicBezTo>
                  <a:pt x="172" y="18"/>
                  <a:pt x="175" y="27"/>
                  <a:pt x="175" y="37"/>
                </a:cubicBezTo>
                <a:cubicBezTo>
                  <a:pt x="175" y="47"/>
                  <a:pt x="172" y="55"/>
                  <a:pt x="165" y="62"/>
                </a:cubicBezTo>
                <a:cubicBezTo>
                  <a:pt x="157" y="69"/>
                  <a:pt x="149" y="73"/>
                  <a:pt x="139" y="73"/>
                </a:cubicBezTo>
                <a:cubicBezTo>
                  <a:pt x="133" y="73"/>
                  <a:pt x="133" y="73"/>
                  <a:pt x="133" y="73"/>
                </a:cubicBezTo>
                <a:cubicBezTo>
                  <a:pt x="133" y="76"/>
                  <a:pt x="133" y="76"/>
                  <a:pt x="133" y="76"/>
                </a:cubicBezTo>
                <a:cubicBezTo>
                  <a:pt x="133" y="82"/>
                  <a:pt x="131" y="87"/>
                  <a:pt x="127" y="91"/>
                </a:cubicBezTo>
                <a:cubicBezTo>
                  <a:pt x="122" y="95"/>
                  <a:pt x="117" y="97"/>
                  <a:pt x="112" y="97"/>
                </a:cubicBezTo>
                <a:cubicBezTo>
                  <a:pt x="45" y="97"/>
                  <a:pt x="45" y="97"/>
                  <a:pt x="45" y="97"/>
                </a:cubicBezTo>
                <a:cubicBezTo>
                  <a:pt x="39" y="97"/>
                  <a:pt x="34" y="95"/>
                  <a:pt x="30" y="91"/>
                </a:cubicBezTo>
                <a:cubicBezTo>
                  <a:pt x="26" y="87"/>
                  <a:pt x="24" y="82"/>
                  <a:pt x="24" y="76"/>
                </a:cubicBezTo>
                <a:cubicBezTo>
                  <a:pt x="24" y="6"/>
                  <a:pt x="24" y="6"/>
                  <a:pt x="24" y="6"/>
                </a:cubicBezTo>
                <a:cubicBezTo>
                  <a:pt x="24" y="5"/>
                  <a:pt x="24" y="3"/>
                  <a:pt x="26" y="2"/>
                </a:cubicBezTo>
                <a:cubicBezTo>
                  <a:pt x="27" y="1"/>
                  <a:pt x="28" y="0"/>
                  <a:pt x="30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9" y="0"/>
                  <a:pt x="157" y="4"/>
                  <a:pt x="165" y="11"/>
                </a:cubicBezTo>
                <a:close/>
                <a:moveTo>
                  <a:pt x="152" y="50"/>
                </a:moveTo>
                <a:cubicBezTo>
                  <a:pt x="155" y="46"/>
                  <a:pt x="157" y="42"/>
                  <a:pt x="157" y="37"/>
                </a:cubicBezTo>
                <a:cubicBezTo>
                  <a:pt x="157" y="32"/>
                  <a:pt x="155" y="27"/>
                  <a:pt x="152" y="24"/>
                </a:cubicBezTo>
                <a:cubicBezTo>
                  <a:pt x="148" y="20"/>
                  <a:pt x="144" y="19"/>
                  <a:pt x="139" y="19"/>
                </a:cubicBezTo>
                <a:cubicBezTo>
                  <a:pt x="133" y="19"/>
                  <a:pt x="133" y="19"/>
                  <a:pt x="133" y="19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5"/>
                  <a:pt x="139" y="55"/>
                  <a:pt x="139" y="55"/>
                </a:cubicBezTo>
                <a:cubicBezTo>
                  <a:pt x="144" y="55"/>
                  <a:pt x="148" y="53"/>
                  <a:pt x="152" y="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1" name="Freeform 222"/>
          <p:cNvSpPr>
            <a:spLocks noChangeAspect="1" noEditPoints="1"/>
          </p:cNvSpPr>
          <p:nvPr/>
        </p:nvSpPr>
        <p:spPr bwMode="auto">
          <a:xfrm>
            <a:off x="5305802" y="3091867"/>
            <a:ext cx="137395" cy="176428"/>
          </a:xfrm>
          <a:custGeom>
            <a:avLst/>
            <a:gdLst>
              <a:gd name="T0" fmla="*/ 60 w 133"/>
              <a:gd name="T1" fmla="*/ 6 h 170"/>
              <a:gd name="T2" fmla="*/ 60 w 133"/>
              <a:gd name="T3" fmla="*/ 67 h 170"/>
              <a:gd name="T4" fmla="*/ 57 w 133"/>
              <a:gd name="T5" fmla="*/ 77 h 170"/>
              <a:gd name="T6" fmla="*/ 48 w 133"/>
              <a:gd name="T7" fmla="*/ 84 h 170"/>
              <a:gd name="T8" fmla="*/ 48 w 133"/>
              <a:gd name="T9" fmla="*/ 158 h 170"/>
              <a:gd name="T10" fmla="*/ 45 w 133"/>
              <a:gd name="T11" fmla="*/ 166 h 170"/>
              <a:gd name="T12" fmla="*/ 36 w 133"/>
              <a:gd name="T13" fmla="*/ 170 h 170"/>
              <a:gd name="T14" fmla="*/ 24 w 133"/>
              <a:gd name="T15" fmla="*/ 170 h 170"/>
              <a:gd name="T16" fmla="*/ 16 w 133"/>
              <a:gd name="T17" fmla="*/ 166 h 170"/>
              <a:gd name="T18" fmla="*/ 12 w 133"/>
              <a:gd name="T19" fmla="*/ 158 h 170"/>
              <a:gd name="T20" fmla="*/ 12 w 133"/>
              <a:gd name="T21" fmla="*/ 84 h 170"/>
              <a:gd name="T22" fmla="*/ 3 w 133"/>
              <a:gd name="T23" fmla="*/ 77 h 170"/>
              <a:gd name="T24" fmla="*/ 0 w 133"/>
              <a:gd name="T25" fmla="*/ 67 h 170"/>
              <a:gd name="T26" fmla="*/ 0 w 133"/>
              <a:gd name="T27" fmla="*/ 6 h 170"/>
              <a:gd name="T28" fmla="*/ 2 w 133"/>
              <a:gd name="T29" fmla="*/ 2 h 170"/>
              <a:gd name="T30" fmla="*/ 6 w 133"/>
              <a:gd name="T31" fmla="*/ 0 h 170"/>
              <a:gd name="T32" fmla="*/ 10 w 133"/>
              <a:gd name="T33" fmla="*/ 2 h 170"/>
              <a:gd name="T34" fmla="*/ 12 w 133"/>
              <a:gd name="T35" fmla="*/ 6 h 170"/>
              <a:gd name="T36" fmla="*/ 12 w 133"/>
              <a:gd name="T37" fmla="*/ 46 h 170"/>
              <a:gd name="T38" fmla="*/ 14 w 133"/>
              <a:gd name="T39" fmla="*/ 50 h 170"/>
              <a:gd name="T40" fmla="*/ 18 w 133"/>
              <a:gd name="T41" fmla="*/ 52 h 170"/>
              <a:gd name="T42" fmla="*/ 22 w 133"/>
              <a:gd name="T43" fmla="*/ 50 h 170"/>
              <a:gd name="T44" fmla="*/ 24 w 133"/>
              <a:gd name="T45" fmla="*/ 46 h 170"/>
              <a:gd name="T46" fmla="*/ 24 w 133"/>
              <a:gd name="T47" fmla="*/ 6 h 170"/>
              <a:gd name="T48" fmla="*/ 26 w 133"/>
              <a:gd name="T49" fmla="*/ 2 h 170"/>
              <a:gd name="T50" fmla="*/ 30 w 133"/>
              <a:gd name="T51" fmla="*/ 0 h 170"/>
              <a:gd name="T52" fmla="*/ 34 w 133"/>
              <a:gd name="T53" fmla="*/ 2 h 170"/>
              <a:gd name="T54" fmla="*/ 36 w 133"/>
              <a:gd name="T55" fmla="*/ 6 h 170"/>
              <a:gd name="T56" fmla="*/ 36 w 133"/>
              <a:gd name="T57" fmla="*/ 46 h 170"/>
              <a:gd name="T58" fmla="*/ 38 w 133"/>
              <a:gd name="T59" fmla="*/ 50 h 170"/>
              <a:gd name="T60" fmla="*/ 42 w 133"/>
              <a:gd name="T61" fmla="*/ 52 h 170"/>
              <a:gd name="T62" fmla="*/ 47 w 133"/>
              <a:gd name="T63" fmla="*/ 50 h 170"/>
              <a:gd name="T64" fmla="*/ 48 w 133"/>
              <a:gd name="T65" fmla="*/ 46 h 170"/>
              <a:gd name="T66" fmla="*/ 48 w 133"/>
              <a:gd name="T67" fmla="*/ 6 h 170"/>
              <a:gd name="T68" fmla="*/ 50 w 133"/>
              <a:gd name="T69" fmla="*/ 2 h 170"/>
              <a:gd name="T70" fmla="*/ 54 w 133"/>
              <a:gd name="T71" fmla="*/ 0 h 170"/>
              <a:gd name="T72" fmla="*/ 59 w 133"/>
              <a:gd name="T73" fmla="*/ 2 h 170"/>
              <a:gd name="T74" fmla="*/ 60 w 133"/>
              <a:gd name="T75" fmla="*/ 6 h 170"/>
              <a:gd name="T76" fmla="*/ 133 w 133"/>
              <a:gd name="T77" fmla="*/ 6 h 170"/>
              <a:gd name="T78" fmla="*/ 133 w 133"/>
              <a:gd name="T79" fmla="*/ 158 h 170"/>
              <a:gd name="T80" fmla="*/ 129 w 133"/>
              <a:gd name="T81" fmla="*/ 166 h 170"/>
              <a:gd name="T82" fmla="*/ 121 w 133"/>
              <a:gd name="T83" fmla="*/ 170 h 170"/>
              <a:gd name="T84" fmla="*/ 109 w 133"/>
              <a:gd name="T85" fmla="*/ 170 h 170"/>
              <a:gd name="T86" fmla="*/ 100 w 133"/>
              <a:gd name="T87" fmla="*/ 166 h 170"/>
              <a:gd name="T88" fmla="*/ 97 w 133"/>
              <a:gd name="T89" fmla="*/ 158 h 170"/>
              <a:gd name="T90" fmla="*/ 97 w 133"/>
              <a:gd name="T91" fmla="*/ 109 h 170"/>
              <a:gd name="T92" fmla="*/ 76 w 133"/>
              <a:gd name="T93" fmla="*/ 109 h 170"/>
              <a:gd name="T94" fmla="*/ 73 w 133"/>
              <a:gd name="T95" fmla="*/ 108 h 170"/>
              <a:gd name="T96" fmla="*/ 73 w 133"/>
              <a:gd name="T97" fmla="*/ 106 h 170"/>
              <a:gd name="T98" fmla="*/ 73 w 133"/>
              <a:gd name="T99" fmla="*/ 30 h 170"/>
              <a:gd name="T100" fmla="*/ 81 w 133"/>
              <a:gd name="T101" fmla="*/ 9 h 170"/>
              <a:gd name="T102" fmla="*/ 103 w 133"/>
              <a:gd name="T103" fmla="*/ 0 h 170"/>
              <a:gd name="T104" fmla="*/ 127 w 133"/>
              <a:gd name="T105" fmla="*/ 0 h 170"/>
              <a:gd name="T106" fmla="*/ 131 w 133"/>
              <a:gd name="T107" fmla="*/ 2 h 170"/>
              <a:gd name="T108" fmla="*/ 133 w 133"/>
              <a:gd name="T109" fmla="*/ 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70">
                <a:moveTo>
                  <a:pt x="60" y="6"/>
                </a:moveTo>
                <a:cubicBezTo>
                  <a:pt x="60" y="67"/>
                  <a:pt x="60" y="67"/>
                  <a:pt x="60" y="67"/>
                </a:cubicBezTo>
                <a:cubicBezTo>
                  <a:pt x="60" y="71"/>
                  <a:pt x="59" y="74"/>
                  <a:pt x="57" y="77"/>
                </a:cubicBezTo>
                <a:cubicBezTo>
                  <a:pt x="55" y="80"/>
                  <a:pt x="52" y="83"/>
                  <a:pt x="48" y="84"/>
                </a:cubicBezTo>
                <a:cubicBezTo>
                  <a:pt x="48" y="158"/>
                  <a:pt x="48" y="158"/>
                  <a:pt x="48" y="158"/>
                </a:cubicBezTo>
                <a:cubicBezTo>
                  <a:pt x="48" y="161"/>
                  <a:pt x="47" y="164"/>
                  <a:pt x="45" y="166"/>
                </a:cubicBezTo>
                <a:cubicBezTo>
                  <a:pt x="42" y="168"/>
                  <a:pt x="39" y="170"/>
                  <a:pt x="36" y="170"/>
                </a:cubicBezTo>
                <a:cubicBezTo>
                  <a:pt x="24" y="170"/>
                  <a:pt x="24" y="170"/>
                  <a:pt x="24" y="170"/>
                </a:cubicBezTo>
                <a:cubicBezTo>
                  <a:pt x="21" y="170"/>
                  <a:pt x="18" y="168"/>
                  <a:pt x="16" y="166"/>
                </a:cubicBezTo>
                <a:cubicBezTo>
                  <a:pt x="13" y="164"/>
                  <a:pt x="12" y="161"/>
                  <a:pt x="12" y="158"/>
                </a:cubicBezTo>
                <a:cubicBezTo>
                  <a:pt x="12" y="84"/>
                  <a:pt x="12" y="84"/>
                  <a:pt x="12" y="84"/>
                </a:cubicBezTo>
                <a:cubicBezTo>
                  <a:pt x="8" y="83"/>
                  <a:pt x="6" y="80"/>
                  <a:pt x="3" y="77"/>
                </a:cubicBezTo>
                <a:cubicBezTo>
                  <a:pt x="1" y="74"/>
                  <a:pt x="0" y="71"/>
                  <a:pt x="0" y="67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8" y="0"/>
                  <a:pt x="9" y="1"/>
                  <a:pt x="10" y="2"/>
                </a:cubicBezTo>
                <a:cubicBezTo>
                  <a:pt x="11" y="3"/>
                  <a:pt x="12" y="5"/>
                  <a:pt x="12" y="6"/>
                </a:cubicBezTo>
                <a:cubicBezTo>
                  <a:pt x="12" y="46"/>
                  <a:pt x="12" y="46"/>
                  <a:pt x="12" y="46"/>
                </a:cubicBezTo>
                <a:cubicBezTo>
                  <a:pt x="12" y="47"/>
                  <a:pt x="13" y="49"/>
                  <a:pt x="14" y="50"/>
                </a:cubicBezTo>
                <a:cubicBezTo>
                  <a:pt x="15" y="51"/>
                  <a:pt x="16" y="52"/>
                  <a:pt x="18" y="52"/>
                </a:cubicBezTo>
                <a:cubicBezTo>
                  <a:pt x="20" y="52"/>
                  <a:pt x="21" y="51"/>
                  <a:pt x="22" y="50"/>
                </a:cubicBezTo>
                <a:cubicBezTo>
                  <a:pt x="24" y="49"/>
                  <a:pt x="24" y="47"/>
                  <a:pt x="24" y="46"/>
                </a:cubicBezTo>
                <a:cubicBezTo>
                  <a:pt x="24" y="6"/>
                  <a:pt x="24" y="6"/>
                  <a:pt x="24" y="6"/>
                </a:cubicBezTo>
                <a:cubicBezTo>
                  <a:pt x="24" y="5"/>
                  <a:pt x="25" y="3"/>
                  <a:pt x="26" y="2"/>
                </a:cubicBezTo>
                <a:cubicBezTo>
                  <a:pt x="27" y="1"/>
                  <a:pt x="29" y="0"/>
                  <a:pt x="30" y="0"/>
                </a:cubicBezTo>
                <a:cubicBezTo>
                  <a:pt x="32" y="0"/>
                  <a:pt x="33" y="1"/>
                  <a:pt x="34" y="2"/>
                </a:cubicBezTo>
                <a:cubicBezTo>
                  <a:pt x="36" y="3"/>
                  <a:pt x="36" y="5"/>
                  <a:pt x="36" y="6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7"/>
                  <a:pt x="37" y="49"/>
                  <a:pt x="38" y="50"/>
                </a:cubicBezTo>
                <a:cubicBezTo>
                  <a:pt x="39" y="51"/>
                  <a:pt x="41" y="52"/>
                  <a:pt x="42" y="52"/>
                </a:cubicBezTo>
                <a:cubicBezTo>
                  <a:pt x="44" y="52"/>
                  <a:pt x="45" y="51"/>
                  <a:pt x="47" y="50"/>
                </a:cubicBezTo>
                <a:cubicBezTo>
                  <a:pt x="48" y="49"/>
                  <a:pt x="48" y="47"/>
                  <a:pt x="48" y="46"/>
                </a:cubicBezTo>
                <a:cubicBezTo>
                  <a:pt x="48" y="6"/>
                  <a:pt x="48" y="6"/>
                  <a:pt x="48" y="6"/>
                </a:cubicBezTo>
                <a:cubicBezTo>
                  <a:pt x="48" y="5"/>
                  <a:pt x="49" y="3"/>
                  <a:pt x="50" y="2"/>
                </a:cubicBezTo>
                <a:cubicBezTo>
                  <a:pt x="51" y="1"/>
                  <a:pt x="53" y="0"/>
                  <a:pt x="54" y="0"/>
                </a:cubicBezTo>
                <a:cubicBezTo>
                  <a:pt x="56" y="0"/>
                  <a:pt x="57" y="1"/>
                  <a:pt x="59" y="2"/>
                </a:cubicBezTo>
                <a:cubicBezTo>
                  <a:pt x="60" y="3"/>
                  <a:pt x="60" y="5"/>
                  <a:pt x="60" y="6"/>
                </a:cubicBezTo>
                <a:close/>
                <a:moveTo>
                  <a:pt x="133" y="6"/>
                </a:moveTo>
                <a:cubicBezTo>
                  <a:pt x="133" y="158"/>
                  <a:pt x="133" y="158"/>
                  <a:pt x="133" y="158"/>
                </a:cubicBezTo>
                <a:cubicBezTo>
                  <a:pt x="133" y="161"/>
                  <a:pt x="132" y="164"/>
                  <a:pt x="129" y="166"/>
                </a:cubicBezTo>
                <a:cubicBezTo>
                  <a:pt x="127" y="168"/>
                  <a:pt x="124" y="170"/>
                  <a:pt x="121" y="170"/>
                </a:cubicBezTo>
                <a:cubicBezTo>
                  <a:pt x="109" y="170"/>
                  <a:pt x="109" y="170"/>
                  <a:pt x="109" y="170"/>
                </a:cubicBezTo>
                <a:cubicBezTo>
                  <a:pt x="106" y="170"/>
                  <a:pt x="103" y="168"/>
                  <a:pt x="100" y="166"/>
                </a:cubicBezTo>
                <a:cubicBezTo>
                  <a:pt x="98" y="164"/>
                  <a:pt x="97" y="161"/>
                  <a:pt x="97" y="158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76" y="109"/>
                  <a:pt x="76" y="109"/>
                  <a:pt x="76" y="109"/>
                </a:cubicBezTo>
                <a:cubicBezTo>
                  <a:pt x="75" y="109"/>
                  <a:pt x="74" y="109"/>
                  <a:pt x="73" y="108"/>
                </a:cubicBezTo>
                <a:cubicBezTo>
                  <a:pt x="73" y="108"/>
                  <a:pt x="73" y="107"/>
                  <a:pt x="73" y="106"/>
                </a:cubicBezTo>
                <a:cubicBezTo>
                  <a:pt x="73" y="30"/>
                  <a:pt x="73" y="30"/>
                  <a:pt x="73" y="30"/>
                </a:cubicBezTo>
                <a:cubicBezTo>
                  <a:pt x="73" y="22"/>
                  <a:pt x="75" y="15"/>
                  <a:pt x="81" y="9"/>
                </a:cubicBezTo>
                <a:cubicBezTo>
                  <a:pt x="87" y="3"/>
                  <a:pt x="94" y="0"/>
                  <a:pt x="103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9" y="0"/>
                  <a:pt x="130" y="1"/>
                  <a:pt x="131" y="2"/>
                </a:cubicBezTo>
                <a:cubicBezTo>
                  <a:pt x="132" y="3"/>
                  <a:pt x="133" y="5"/>
                  <a:pt x="133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2" name="Freeform 223"/>
          <p:cNvSpPr>
            <a:spLocks noChangeAspect="1" noEditPoints="1"/>
          </p:cNvSpPr>
          <p:nvPr/>
        </p:nvSpPr>
        <p:spPr bwMode="auto">
          <a:xfrm>
            <a:off x="5490036" y="3091867"/>
            <a:ext cx="149885" cy="176428"/>
          </a:xfrm>
          <a:custGeom>
            <a:avLst/>
            <a:gdLst>
              <a:gd name="T0" fmla="*/ 143 w 145"/>
              <a:gd name="T1" fmla="*/ 43 h 170"/>
              <a:gd name="T2" fmla="*/ 145 w 145"/>
              <a:gd name="T3" fmla="*/ 161 h 170"/>
              <a:gd name="T4" fmla="*/ 136 w 145"/>
              <a:gd name="T5" fmla="*/ 170 h 170"/>
              <a:gd name="T6" fmla="*/ 2 w 145"/>
              <a:gd name="T7" fmla="*/ 167 h 170"/>
              <a:gd name="T8" fmla="*/ 0 w 145"/>
              <a:gd name="T9" fmla="*/ 9 h 170"/>
              <a:gd name="T10" fmla="*/ 9 w 145"/>
              <a:gd name="T11" fmla="*/ 0 h 170"/>
              <a:gd name="T12" fmla="*/ 102 w 145"/>
              <a:gd name="T13" fmla="*/ 2 h 170"/>
              <a:gd name="T14" fmla="*/ 139 w 145"/>
              <a:gd name="T15" fmla="*/ 36 h 170"/>
              <a:gd name="T16" fmla="*/ 133 w 145"/>
              <a:gd name="T17" fmla="*/ 61 h 170"/>
              <a:gd name="T18" fmla="*/ 87 w 145"/>
              <a:gd name="T19" fmla="*/ 58 h 170"/>
              <a:gd name="T20" fmla="*/ 84 w 145"/>
              <a:gd name="T21" fmla="*/ 12 h 170"/>
              <a:gd name="T22" fmla="*/ 12 w 145"/>
              <a:gd name="T23" fmla="*/ 158 h 170"/>
              <a:gd name="T24" fmla="*/ 36 w 145"/>
              <a:gd name="T25" fmla="*/ 76 h 170"/>
              <a:gd name="T26" fmla="*/ 39 w 145"/>
              <a:gd name="T27" fmla="*/ 73 h 170"/>
              <a:gd name="T28" fmla="*/ 108 w 145"/>
              <a:gd name="T29" fmla="*/ 74 h 170"/>
              <a:gd name="T30" fmla="*/ 109 w 145"/>
              <a:gd name="T31" fmla="*/ 82 h 170"/>
              <a:gd name="T32" fmla="*/ 106 w 145"/>
              <a:gd name="T33" fmla="*/ 85 h 170"/>
              <a:gd name="T34" fmla="*/ 37 w 145"/>
              <a:gd name="T35" fmla="*/ 84 h 170"/>
              <a:gd name="T36" fmla="*/ 36 w 145"/>
              <a:gd name="T37" fmla="*/ 76 h 170"/>
              <a:gd name="T38" fmla="*/ 108 w 145"/>
              <a:gd name="T39" fmla="*/ 98 h 170"/>
              <a:gd name="T40" fmla="*/ 109 w 145"/>
              <a:gd name="T41" fmla="*/ 106 h 170"/>
              <a:gd name="T42" fmla="*/ 106 w 145"/>
              <a:gd name="T43" fmla="*/ 109 h 170"/>
              <a:gd name="T44" fmla="*/ 37 w 145"/>
              <a:gd name="T45" fmla="*/ 108 h 170"/>
              <a:gd name="T46" fmla="*/ 36 w 145"/>
              <a:gd name="T47" fmla="*/ 100 h 170"/>
              <a:gd name="T48" fmla="*/ 39 w 145"/>
              <a:gd name="T49" fmla="*/ 97 h 170"/>
              <a:gd name="T50" fmla="*/ 106 w 145"/>
              <a:gd name="T51" fmla="*/ 121 h 170"/>
              <a:gd name="T52" fmla="*/ 109 w 145"/>
              <a:gd name="T53" fmla="*/ 124 h 170"/>
              <a:gd name="T54" fmla="*/ 108 w 145"/>
              <a:gd name="T55" fmla="*/ 132 h 170"/>
              <a:gd name="T56" fmla="*/ 39 w 145"/>
              <a:gd name="T57" fmla="*/ 133 h 170"/>
              <a:gd name="T58" fmla="*/ 36 w 145"/>
              <a:gd name="T59" fmla="*/ 130 h 170"/>
              <a:gd name="T60" fmla="*/ 37 w 145"/>
              <a:gd name="T61" fmla="*/ 122 h 170"/>
              <a:gd name="T62" fmla="*/ 106 w 145"/>
              <a:gd name="T63" fmla="*/ 121 h 170"/>
              <a:gd name="T64" fmla="*/ 97 w 145"/>
              <a:gd name="T65" fmla="*/ 49 h 170"/>
              <a:gd name="T66" fmla="*/ 130 w 145"/>
              <a:gd name="T67" fmla="*/ 45 h 170"/>
              <a:gd name="T68" fmla="*/ 97 w 145"/>
              <a:gd name="T69" fmla="*/ 1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45" h="170">
                <a:moveTo>
                  <a:pt x="139" y="36"/>
                </a:moveTo>
                <a:cubicBezTo>
                  <a:pt x="140" y="38"/>
                  <a:pt x="142" y="40"/>
                  <a:pt x="143" y="43"/>
                </a:cubicBezTo>
                <a:cubicBezTo>
                  <a:pt x="144" y="46"/>
                  <a:pt x="145" y="49"/>
                  <a:pt x="145" y="52"/>
                </a:cubicBezTo>
                <a:cubicBezTo>
                  <a:pt x="145" y="161"/>
                  <a:pt x="145" y="161"/>
                  <a:pt x="145" y="161"/>
                </a:cubicBezTo>
                <a:cubicBezTo>
                  <a:pt x="145" y="163"/>
                  <a:pt x="144" y="165"/>
                  <a:pt x="142" y="167"/>
                </a:cubicBezTo>
                <a:cubicBezTo>
                  <a:pt x="141" y="169"/>
                  <a:pt x="138" y="170"/>
                  <a:pt x="136" y="170"/>
                </a:cubicBezTo>
                <a:cubicBezTo>
                  <a:pt x="9" y="170"/>
                  <a:pt x="9" y="170"/>
                  <a:pt x="9" y="170"/>
                </a:cubicBezTo>
                <a:cubicBezTo>
                  <a:pt x="6" y="170"/>
                  <a:pt x="4" y="169"/>
                  <a:pt x="2" y="167"/>
                </a:cubicBezTo>
                <a:cubicBezTo>
                  <a:pt x="1" y="165"/>
                  <a:pt x="0" y="163"/>
                  <a:pt x="0" y="161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2" y="3"/>
                </a:cubicBezTo>
                <a:cubicBezTo>
                  <a:pt x="4" y="1"/>
                  <a:pt x="6" y="0"/>
                  <a:pt x="9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6" y="0"/>
                  <a:pt x="99" y="1"/>
                  <a:pt x="102" y="2"/>
                </a:cubicBezTo>
                <a:cubicBezTo>
                  <a:pt x="105" y="3"/>
                  <a:pt x="107" y="5"/>
                  <a:pt x="109" y="7"/>
                </a:cubicBezTo>
                <a:lnTo>
                  <a:pt x="139" y="36"/>
                </a:lnTo>
                <a:close/>
                <a:moveTo>
                  <a:pt x="133" y="158"/>
                </a:moveTo>
                <a:cubicBezTo>
                  <a:pt x="133" y="61"/>
                  <a:pt x="133" y="61"/>
                  <a:pt x="133" y="61"/>
                </a:cubicBezTo>
                <a:cubicBezTo>
                  <a:pt x="94" y="61"/>
                  <a:pt x="94" y="61"/>
                  <a:pt x="94" y="61"/>
                </a:cubicBezTo>
                <a:cubicBezTo>
                  <a:pt x="91" y="61"/>
                  <a:pt x="89" y="60"/>
                  <a:pt x="87" y="58"/>
                </a:cubicBezTo>
                <a:cubicBezTo>
                  <a:pt x="85" y="56"/>
                  <a:pt x="84" y="54"/>
                  <a:pt x="84" y="52"/>
                </a:cubicBezTo>
                <a:cubicBezTo>
                  <a:pt x="84" y="12"/>
                  <a:pt x="84" y="12"/>
                  <a:pt x="84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158"/>
                  <a:pt x="12" y="158"/>
                  <a:pt x="12" y="158"/>
                </a:cubicBezTo>
                <a:lnTo>
                  <a:pt x="133" y="158"/>
                </a:lnTo>
                <a:close/>
                <a:moveTo>
                  <a:pt x="36" y="76"/>
                </a:moveTo>
                <a:cubicBezTo>
                  <a:pt x="36" y="75"/>
                  <a:pt x="36" y="74"/>
                  <a:pt x="37" y="74"/>
                </a:cubicBezTo>
                <a:cubicBezTo>
                  <a:pt x="37" y="73"/>
                  <a:pt x="38" y="73"/>
                  <a:pt x="39" y="73"/>
                </a:cubicBezTo>
                <a:cubicBezTo>
                  <a:pt x="106" y="73"/>
                  <a:pt x="106" y="73"/>
                  <a:pt x="106" y="73"/>
                </a:cubicBezTo>
                <a:cubicBezTo>
                  <a:pt x="107" y="73"/>
                  <a:pt x="107" y="73"/>
                  <a:pt x="108" y="74"/>
                </a:cubicBezTo>
                <a:cubicBezTo>
                  <a:pt x="108" y="74"/>
                  <a:pt x="109" y="75"/>
                  <a:pt x="109" y="76"/>
                </a:cubicBezTo>
                <a:cubicBezTo>
                  <a:pt x="109" y="82"/>
                  <a:pt x="109" y="82"/>
                  <a:pt x="109" y="82"/>
                </a:cubicBezTo>
                <a:cubicBezTo>
                  <a:pt x="109" y="83"/>
                  <a:pt x="108" y="84"/>
                  <a:pt x="108" y="84"/>
                </a:cubicBezTo>
                <a:cubicBezTo>
                  <a:pt x="107" y="85"/>
                  <a:pt x="107" y="85"/>
                  <a:pt x="106" y="85"/>
                </a:cubicBezTo>
                <a:cubicBezTo>
                  <a:pt x="39" y="85"/>
                  <a:pt x="39" y="85"/>
                  <a:pt x="39" y="85"/>
                </a:cubicBezTo>
                <a:cubicBezTo>
                  <a:pt x="38" y="85"/>
                  <a:pt x="37" y="85"/>
                  <a:pt x="37" y="84"/>
                </a:cubicBezTo>
                <a:cubicBezTo>
                  <a:pt x="36" y="84"/>
                  <a:pt x="36" y="83"/>
                  <a:pt x="36" y="82"/>
                </a:cubicBezTo>
                <a:lnTo>
                  <a:pt x="36" y="76"/>
                </a:lnTo>
                <a:close/>
                <a:moveTo>
                  <a:pt x="106" y="97"/>
                </a:moveTo>
                <a:cubicBezTo>
                  <a:pt x="107" y="97"/>
                  <a:pt x="107" y="97"/>
                  <a:pt x="108" y="98"/>
                </a:cubicBezTo>
                <a:cubicBezTo>
                  <a:pt x="108" y="98"/>
                  <a:pt x="109" y="99"/>
                  <a:pt x="109" y="100"/>
                </a:cubicBezTo>
                <a:cubicBezTo>
                  <a:pt x="109" y="106"/>
                  <a:pt x="109" y="106"/>
                  <a:pt x="109" y="106"/>
                </a:cubicBezTo>
                <a:cubicBezTo>
                  <a:pt x="109" y="107"/>
                  <a:pt x="108" y="108"/>
                  <a:pt x="108" y="108"/>
                </a:cubicBezTo>
                <a:cubicBezTo>
                  <a:pt x="107" y="109"/>
                  <a:pt x="107" y="109"/>
                  <a:pt x="106" y="109"/>
                </a:cubicBezTo>
                <a:cubicBezTo>
                  <a:pt x="39" y="109"/>
                  <a:pt x="39" y="109"/>
                  <a:pt x="39" y="109"/>
                </a:cubicBezTo>
                <a:cubicBezTo>
                  <a:pt x="38" y="109"/>
                  <a:pt x="37" y="109"/>
                  <a:pt x="37" y="108"/>
                </a:cubicBezTo>
                <a:cubicBezTo>
                  <a:pt x="36" y="108"/>
                  <a:pt x="36" y="107"/>
                  <a:pt x="36" y="106"/>
                </a:cubicBezTo>
                <a:cubicBezTo>
                  <a:pt x="36" y="100"/>
                  <a:pt x="36" y="100"/>
                  <a:pt x="36" y="100"/>
                </a:cubicBezTo>
                <a:cubicBezTo>
                  <a:pt x="36" y="99"/>
                  <a:pt x="36" y="98"/>
                  <a:pt x="37" y="98"/>
                </a:cubicBezTo>
                <a:cubicBezTo>
                  <a:pt x="37" y="97"/>
                  <a:pt x="38" y="97"/>
                  <a:pt x="39" y="97"/>
                </a:cubicBezTo>
                <a:lnTo>
                  <a:pt x="106" y="97"/>
                </a:lnTo>
                <a:close/>
                <a:moveTo>
                  <a:pt x="106" y="121"/>
                </a:moveTo>
                <a:cubicBezTo>
                  <a:pt x="107" y="121"/>
                  <a:pt x="107" y="122"/>
                  <a:pt x="108" y="122"/>
                </a:cubicBezTo>
                <a:cubicBezTo>
                  <a:pt x="108" y="123"/>
                  <a:pt x="109" y="123"/>
                  <a:pt x="109" y="124"/>
                </a:cubicBezTo>
                <a:cubicBezTo>
                  <a:pt x="109" y="130"/>
                  <a:pt x="109" y="130"/>
                  <a:pt x="109" y="130"/>
                </a:cubicBezTo>
                <a:cubicBezTo>
                  <a:pt x="109" y="131"/>
                  <a:pt x="108" y="132"/>
                  <a:pt x="108" y="132"/>
                </a:cubicBezTo>
                <a:cubicBezTo>
                  <a:pt x="107" y="133"/>
                  <a:pt x="107" y="133"/>
                  <a:pt x="106" y="133"/>
                </a:cubicBezTo>
                <a:cubicBezTo>
                  <a:pt x="39" y="133"/>
                  <a:pt x="39" y="133"/>
                  <a:pt x="39" y="133"/>
                </a:cubicBezTo>
                <a:cubicBezTo>
                  <a:pt x="38" y="133"/>
                  <a:pt x="37" y="133"/>
                  <a:pt x="37" y="132"/>
                </a:cubicBezTo>
                <a:cubicBezTo>
                  <a:pt x="36" y="132"/>
                  <a:pt x="36" y="131"/>
                  <a:pt x="36" y="130"/>
                </a:cubicBezTo>
                <a:cubicBezTo>
                  <a:pt x="36" y="124"/>
                  <a:pt x="36" y="124"/>
                  <a:pt x="36" y="124"/>
                </a:cubicBezTo>
                <a:cubicBezTo>
                  <a:pt x="36" y="123"/>
                  <a:pt x="36" y="123"/>
                  <a:pt x="37" y="122"/>
                </a:cubicBezTo>
                <a:cubicBezTo>
                  <a:pt x="37" y="122"/>
                  <a:pt x="38" y="121"/>
                  <a:pt x="39" y="121"/>
                </a:cubicBezTo>
                <a:lnTo>
                  <a:pt x="106" y="121"/>
                </a:lnTo>
                <a:close/>
                <a:moveTo>
                  <a:pt x="97" y="13"/>
                </a:moveTo>
                <a:cubicBezTo>
                  <a:pt x="97" y="49"/>
                  <a:pt x="97" y="49"/>
                  <a:pt x="97" y="49"/>
                </a:cubicBezTo>
                <a:cubicBezTo>
                  <a:pt x="132" y="49"/>
                  <a:pt x="132" y="49"/>
                  <a:pt x="132" y="49"/>
                </a:cubicBezTo>
                <a:cubicBezTo>
                  <a:pt x="132" y="47"/>
                  <a:pt x="131" y="46"/>
                  <a:pt x="130" y="45"/>
                </a:cubicBezTo>
                <a:cubicBezTo>
                  <a:pt x="100" y="15"/>
                  <a:pt x="100" y="15"/>
                  <a:pt x="100" y="15"/>
                </a:cubicBezTo>
                <a:cubicBezTo>
                  <a:pt x="100" y="14"/>
                  <a:pt x="98" y="14"/>
                  <a:pt x="97" y="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3" name="Freeform 224"/>
          <p:cNvSpPr>
            <a:spLocks noChangeAspect="1" noEditPoints="1"/>
          </p:cNvSpPr>
          <p:nvPr/>
        </p:nvSpPr>
        <p:spPr bwMode="auto">
          <a:xfrm>
            <a:off x="5686760" y="3091867"/>
            <a:ext cx="137395" cy="176428"/>
          </a:xfrm>
          <a:custGeom>
            <a:avLst/>
            <a:gdLst>
              <a:gd name="T0" fmla="*/ 6 w 133"/>
              <a:gd name="T1" fmla="*/ 170 h 170"/>
              <a:gd name="T2" fmla="*/ 6 w 133"/>
              <a:gd name="T3" fmla="*/ 0 h 170"/>
              <a:gd name="T4" fmla="*/ 121 w 133"/>
              <a:gd name="T5" fmla="*/ 158 h 170"/>
              <a:gd name="T6" fmla="*/ 48 w 133"/>
              <a:gd name="T7" fmla="*/ 136 h 170"/>
              <a:gd name="T8" fmla="*/ 84 w 133"/>
              <a:gd name="T9" fmla="*/ 136 h 170"/>
              <a:gd name="T10" fmla="*/ 33 w 133"/>
              <a:gd name="T11" fmla="*/ 37 h 170"/>
              <a:gd name="T12" fmla="*/ 25 w 133"/>
              <a:gd name="T13" fmla="*/ 25 h 170"/>
              <a:gd name="T14" fmla="*/ 36 w 133"/>
              <a:gd name="T15" fmla="*/ 52 h 170"/>
              <a:gd name="T16" fmla="*/ 25 w 133"/>
              <a:gd name="T17" fmla="*/ 60 h 170"/>
              <a:gd name="T18" fmla="*/ 33 w 133"/>
              <a:gd name="T19" fmla="*/ 49 h 170"/>
              <a:gd name="T20" fmla="*/ 35 w 133"/>
              <a:gd name="T21" fmla="*/ 84 h 170"/>
              <a:gd name="T22" fmla="*/ 24 w 133"/>
              <a:gd name="T23" fmla="*/ 76 h 170"/>
              <a:gd name="T24" fmla="*/ 36 w 133"/>
              <a:gd name="T25" fmla="*/ 76 h 170"/>
              <a:gd name="T26" fmla="*/ 27 w 133"/>
              <a:gd name="T27" fmla="*/ 109 h 170"/>
              <a:gd name="T28" fmla="*/ 27 w 133"/>
              <a:gd name="T29" fmla="*/ 97 h 170"/>
              <a:gd name="T30" fmla="*/ 36 w 133"/>
              <a:gd name="T31" fmla="*/ 130 h 170"/>
              <a:gd name="T32" fmla="*/ 24 w 133"/>
              <a:gd name="T33" fmla="*/ 130 h 170"/>
              <a:gd name="T34" fmla="*/ 35 w 133"/>
              <a:gd name="T35" fmla="*/ 122 h 170"/>
              <a:gd name="T36" fmla="*/ 57 w 133"/>
              <a:gd name="T37" fmla="*/ 37 h 170"/>
              <a:gd name="T38" fmla="*/ 49 w 133"/>
              <a:gd name="T39" fmla="*/ 25 h 170"/>
              <a:gd name="T40" fmla="*/ 60 w 133"/>
              <a:gd name="T41" fmla="*/ 52 h 170"/>
              <a:gd name="T42" fmla="*/ 49 w 133"/>
              <a:gd name="T43" fmla="*/ 60 h 170"/>
              <a:gd name="T44" fmla="*/ 57 w 133"/>
              <a:gd name="T45" fmla="*/ 49 h 170"/>
              <a:gd name="T46" fmla="*/ 59 w 133"/>
              <a:gd name="T47" fmla="*/ 84 h 170"/>
              <a:gd name="T48" fmla="*/ 48 w 133"/>
              <a:gd name="T49" fmla="*/ 76 h 170"/>
              <a:gd name="T50" fmla="*/ 60 w 133"/>
              <a:gd name="T51" fmla="*/ 76 h 170"/>
              <a:gd name="T52" fmla="*/ 51 w 133"/>
              <a:gd name="T53" fmla="*/ 109 h 170"/>
              <a:gd name="T54" fmla="*/ 51 w 133"/>
              <a:gd name="T55" fmla="*/ 97 h 170"/>
              <a:gd name="T56" fmla="*/ 84 w 133"/>
              <a:gd name="T57" fmla="*/ 34 h 170"/>
              <a:gd name="T58" fmla="*/ 72 w 133"/>
              <a:gd name="T59" fmla="*/ 34 h 170"/>
              <a:gd name="T60" fmla="*/ 84 w 133"/>
              <a:gd name="T61" fmla="*/ 25 h 170"/>
              <a:gd name="T62" fmla="*/ 81 w 133"/>
              <a:gd name="T63" fmla="*/ 61 h 170"/>
              <a:gd name="T64" fmla="*/ 73 w 133"/>
              <a:gd name="T65" fmla="*/ 50 h 170"/>
              <a:gd name="T66" fmla="*/ 84 w 133"/>
              <a:gd name="T67" fmla="*/ 76 h 170"/>
              <a:gd name="T68" fmla="*/ 73 w 133"/>
              <a:gd name="T69" fmla="*/ 84 h 170"/>
              <a:gd name="T70" fmla="*/ 81 w 133"/>
              <a:gd name="T71" fmla="*/ 73 h 170"/>
              <a:gd name="T72" fmla="*/ 84 w 133"/>
              <a:gd name="T73" fmla="*/ 108 h 170"/>
              <a:gd name="T74" fmla="*/ 72 w 133"/>
              <a:gd name="T75" fmla="*/ 100 h 170"/>
              <a:gd name="T76" fmla="*/ 84 w 133"/>
              <a:gd name="T77" fmla="*/ 100 h 170"/>
              <a:gd name="T78" fmla="*/ 100 w 133"/>
              <a:gd name="T79" fmla="*/ 37 h 170"/>
              <a:gd name="T80" fmla="*/ 100 w 133"/>
              <a:gd name="T81" fmla="*/ 24 h 170"/>
              <a:gd name="T82" fmla="*/ 109 w 133"/>
              <a:gd name="T83" fmla="*/ 58 h 170"/>
              <a:gd name="T84" fmla="*/ 97 w 133"/>
              <a:gd name="T85" fmla="*/ 58 h 170"/>
              <a:gd name="T86" fmla="*/ 108 w 133"/>
              <a:gd name="T87" fmla="*/ 50 h 170"/>
              <a:gd name="T88" fmla="*/ 106 w 133"/>
              <a:gd name="T89" fmla="*/ 85 h 170"/>
              <a:gd name="T90" fmla="*/ 97 w 133"/>
              <a:gd name="T91" fmla="*/ 74 h 170"/>
              <a:gd name="T92" fmla="*/ 109 w 133"/>
              <a:gd name="T93" fmla="*/ 100 h 170"/>
              <a:gd name="T94" fmla="*/ 97 w 133"/>
              <a:gd name="T95" fmla="*/ 108 h 170"/>
              <a:gd name="T96" fmla="*/ 106 w 133"/>
              <a:gd name="T97" fmla="*/ 97 h 170"/>
              <a:gd name="T98" fmla="*/ 108 w 133"/>
              <a:gd name="T99" fmla="*/ 132 h 170"/>
              <a:gd name="T100" fmla="*/ 97 w 133"/>
              <a:gd name="T101" fmla="*/ 124 h 170"/>
              <a:gd name="T102" fmla="*/ 109 w 133"/>
              <a:gd name="T103" fmla="*/ 124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3" h="170">
                <a:moveTo>
                  <a:pt x="133" y="6"/>
                </a:moveTo>
                <a:cubicBezTo>
                  <a:pt x="133" y="164"/>
                  <a:pt x="133" y="164"/>
                  <a:pt x="133" y="164"/>
                </a:cubicBezTo>
                <a:cubicBezTo>
                  <a:pt x="133" y="165"/>
                  <a:pt x="132" y="167"/>
                  <a:pt x="131" y="168"/>
                </a:cubicBezTo>
                <a:cubicBezTo>
                  <a:pt x="130" y="169"/>
                  <a:pt x="128" y="170"/>
                  <a:pt x="127" y="170"/>
                </a:cubicBezTo>
                <a:cubicBezTo>
                  <a:pt x="6" y="170"/>
                  <a:pt x="6" y="170"/>
                  <a:pt x="6" y="170"/>
                </a:cubicBezTo>
                <a:cubicBezTo>
                  <a:pt x="4" y="170"/>
                  <a:pt x="3" y="169"/>
                  <a:pt x="2" y="168"/>
                </a:cubicBezTo>
                <a:cubicBezTo>
                  <a:pt x="0" y="167"/>
                  <a:pt x="0" y="165"/>
                  <a:pt x="0" y="164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8" y="0"/>
                  <a:pt x="130" y="1"/>
                  <a:pt x="131" y="2"/>
                </a:cubicBezTo>
                <a:cubicBezTo>
                  <a:pt x="132" y="3"/>
                  <a:pt x="133" y="5"/>
                  <a:pt x="133" y="6"/>
                </a:cubicBezTo>
                <a:close/>
                <a:moveTo>
                  <a:pt x="84" y="158"/>
                </a:moveTo>
                <a:cubicBezTo>
                  <a:pt x="121" y="158"/>
                  <a:pt x="121" y="158"/>
                  <a:pt x="121" y="158"/>
                </a:cubicBezTo>
                <a:cubicBezTo>
                  <a:pt x="121" y="12"/>
                  <a:pt x="121" y="12"/>
                  <a:pt x="121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158"/>
                  <a:pt x="12" y="158"/>
                  <a:pt x="12" y="158"/>
                </a:cubicBezTo>
                <a:cubicBezTo>
                  <a:pt x="48" y="158"/>
                  <a:pt x="48" y="158"/>
                  <a:pt x="48" y="158"/>
                </a:cubicBezTo>
                <a:cubicBezTo>
                  <a:pt x="48" y="136"/>
                  <a:pt x="48" y="136"/>
                  <a:pt x="48" y="136"/>
                </a:cubicBezTo>
                <a:cubicBezTo>
                  <a:pt x="48" y="136"/>
                  <a:pt x="48" y="135"/>
                  <a:pt x="49" y="134"/>
                </a:cubicBezTo>
                <a:cubicBezTo>
                  <a:pt x="50" y="134"/>
                  <a:pt x="50" y="133"/>
                  <a:pt x="51" y="133"/>
                </a:cubicBezTo>
                <a:cubicBezTo>
                  <a:pt x="81" y="133"/>
                  <a:pt x="81" y="133"/>
                  <a:pt x="81" y="133"/>
                </a:cubicBezTo>
                <a:cubicBezTo>
                  <a:pt x="82" y="133"/>
                  <a:pt x="83" y="134"/>
                  <a:pt x="84" y="134"/>
                </a:cubicBezTo>
                <a:cubicBezTo>
                  <a:pt x="84" y="135"/>
                  <a:pt x="84" y="136"/>
                  <a:pt x="84" y="136"/>
                </a:cubicBezTo>
                <a:lnTo>
                  <a:pt x="84" y="158"/>
                </a:lnTo>
                <a:close/>
                <a:moveTo>
                  <a:pt x="36" y="27"/>
                </a:moveTo>
                <a:cubicBezTo>
                  <a:pt x="36" y="34"/>
                  <a:pt x="36" y="34"/>
                  <a:pt x="36" y="34"/>
                </a:cubicBezTo>
                <a:cubicBezTo>
                  <a:pt x="36" y="34"/>
                  <a:pt x="36" y="35"/>
                  <a:pt x="35" y="36"/>
                </a:cubicBezTo>
                <a:cubicBezTo>
                  <a:pt x="35" y="36"/>
                  <a:pt x="34" y="37"/>
                  <a:pt x="33" y="37"/>
                </a:cubicBezTo>
                <a:cubicBezTo>
                  <a:pt x="27" y="37"/>
                  <a:pt x="27" y="37"/>
                  <a:pt x="27" y="37"/>
                </a:cubicBezTo>
                <a:cubicBezTo>
                  <a:pt x="26" y="37"/>
                  <a:pt x="25" y="36"/>
                  <a:pt x="25" y="36"/>
                </a:cubicBezTo>
                <a:cubicBezTo>
                  <a:pt x="24" y="35"/>
                  <a:pt x="24" y="34"/>
                  <a:pt x="24" y="34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27"/>
                  <a:pt x="24" y="26"/>
                  <a:pt x="25" y="25"/>
                </a:cubicBezTo>
                <a:cubicBezTo>
                  <a:pt x="25" y="25"/>
                  <a:pt x="26" y="24"/>
                  <a:pt x="27" y="24"/>
                </a:cubicBezTo>
                <a:cubicBezTo>
                  <a:pt x="33" y="24"/>
                  <a:pt x="33" y="24"/>
                  <a:pt x="33" y="24"/>
                </a:cubicBezTo>
                <a:cubicBezTo>
                  <a:pt x="34" y="24"/>
                  <a:pt x="35" y="25"/>
                  <a:pt x="35" y="25"/>
                </a:cubicBezTo>
                <a:cubicBezTo>
                  <a:pt x="36" y="26"/>
                  <a:pt x="36" y="27"/>
                  <a:pt x="36" y="27"/>
                </a:cubicBezTo>
                <a:close/>
                <a:moveTo>
                  <a:pt x="36" y="52"/>
                </a:moveTo>
                <a:cubicBezTo>
                  <a:pt x="36" y="58"/>
                  <a:pt x="36" y="58"/>
                  <a:pt x="36" y="58"/>
                </a:cubicBezTo>
                <a:cubicBezTo>
                  <a:pt x="36" y="59"/>
                  <a:pt x="36" y="59"/>
                  <a:pt x="35" y="60"/>
                </a:cubicBezTo>
                <a:cubicBezTo>
                  <a:pt x="35" y="60"/>
                  <a:pt x="34" y="61"/>
                  <a:pt x="33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6" y="61"/>
                  <a:pt x="25" y="60"/>
                  <a:pt x="25" y="60"/>
                </a:cubicBezTo>
                <a:cubicBezTo>
                  <a:pt x="24" y="59"/>
                  <a:pt x="24" y="59"/>
                  <a:pt x="24" y="58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1"/>
                  <a:pt x="24" y="50"/>
                  <a:pt x="25" y="50"/>
                </a:cubicBezTo>
                <a:cubicBezTo>
                  <a:pt x="25" y="49"/>
                  <a:pt x="26" y="49"/>
                  <a:pt x="27" y="49"/>
                </a:cubicBezTo>
                <a:cubicBezTo>
                  <a:pt x="33" y="49"/>
                  <a:pt x="33" y="49"/>
                  <a:pt x="33" y="49"/>
                </a:cubicBezTo>
                <a:cubicBezTo>
                  <a:pt x="34" y="49"/>
                  <a:pt x="35" y="49"/>
                  <a:pt x="35" y="50"/>
                </a:cubicBezTo>
                <a:cubicBezTo>
                  <a:pt x="36" y="50"/>
                  <a:pt x="36" y="51"/>
                  <a:pt x="36" y="52"/>
                </a:cubicBezTo>
                <a:close/>
                <a:moveTo>
                  <a:pt x="36" y="76"/>
                </a:moveTo>
                <a:cubicBezTo>
                  <a:pt x="36" y="82"/>
                  <a:pt x="36" y="82"/>
                  <a:pt x="36" y="82"/>
                </a:cubicBezTo>
                <a:cubicBezTo>
                  <a:pt x="36" y="83"/>
                  <a:pt x="36" y="83"/>
                  <a:pt x="35" y="84"/>
                </a:cubicBezTo>
                <a:cubicBezTo>
                  <a:pt x="35" y="85"/>
                  <a:pt x="34" y="85"/>
                  <a:pt x="33" y="85"/>
                </a:cubicBezTo>
                <a:cubicBezTo>
                  <a:pt x="27" y="85"/>
                  <a:pt x="27" y="85"/>
                  <a:pt x="27" y="85"/>
                </a:cubicBezTo>
                <a:cubicBezTo>
                  <a:pt x="26" y="85"/>
                  <a:pt x="25" y="85"/>
                  <a:pt x="25" y="84"/>
                </a:cubicBezTo>
                <a:cubicBezTo>
                  <a:pt x="24" y="83"/>
                  <a:pt x="24" y="83"/>
                  <a:pt x="24" y="82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75"/>
                  <a:pt x="24" y="74"/>
                  <a:pt x="25" y="74"/>
                </a:cubicBezTo>
                <a:cubicBezTo>
                  <a:pt x="25" y="73"/>
                  <a:pt x="26" y="73"/>
                  <a:pt x="27" y="73"/>
                </a:cubicBezTo>
                <a:cubicBezTo>
                  <a:pt x="33" y="73"/>
                  <a:pt x="33" y="73"/>
                  <a:pt x="33" y="73"/>
                </a:cubicBezTo>
                <a:cubicBezTo>
                  <a:pt x="34" y="73"/>
                  <a:pt x="35" y="73"/>
                  <a:pt x="35" y="74"/>
                </a:cubicBezTo>
                <a:cubicBezTo>
                  <a:pt x="36" y="74"/>
                  <a:pt x="36" y="75"/>
                  <a:pt x="36" y="76"/>
                </a:cubicBezTo>
                <a:close/>
                <a:moveTo>
                  <a:pt x="36" y="100"/>
                </a:moveTo>
                <a:cubicBezTo>
                  <a:pt x="36" y="106"/>
                  <a:pt x="36" y="106"/>
                  <a:pt x="36" y="106"/>
                </a:cubicBezTo>
                <a:cubicBezTo>
                  <a:pt x="36" y="107"/>
                  <a:pt x="36" y="108"/>
                  <a:pt x="35" y="108"/>
                </a:cubicBezTo>
                <a:cubicBezTo>
                  <a:pt x="35" y="109"/>
                  <a:pt x="34" y="109"/>
                  <a:pt x="33" y="109"/>
                </a:cubicBezTo>
                <a:cubicBezTo>
                  <a:pt x="27" y="109"/>
                  <a:pt x="27" y="109"/>
                  <a:pt x="27" y="109"/>
                </a:cubicBezTo>
                <a:cubicBezTo>
                  <a:pt x="26" y="109"/>
                  <a:pt x="25" y="109"/>
                  <a:pt x="25" y="108"/>
                </a:cubicBezTo>
                <a:cubicBezTo>
                  <a:pt x="24" y="108"/>
                  <a:pt x="24" y="107"/>
                  <a:pt x="24" y="106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99"/>
                  <a:pt x="24" y="99"/>
                  <a:pt x="25" y="98"/>
                </a:cubicBezTo>
                <a:cubicBezTo>
                  <a:pt x="25" y="97"/>
                  <a:pt x="26" y="97"/>
                  <a:pt x="27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4" y="97"/>
                  <a:pt x="35" y="97"/>
                  <a:pt x="35" y="98"/>
                </a:cubicBezTo>
                <a:cubicBezTo>
                  <a:pt x="36" y="99"/>
                  <a:pt x="36" y="99"/>
                  <a:pt x="36" y="100"/>
                </a:cubicBezTo>
                <a:close/>
                <a:moveTo>
                  <a:pt x="36" y="124"/>
                </a:moveTo>
                <a:cubicBezTo>
                  <a:pt x="36" y="130"/>
                  <a:pt x="36" y="130"/>
                  <a:pt x="36" y="130"/>
                </a:cubicBezTo>
                <a:cubicBezTo>
                  <a:pt x="36" y="131"/>
                  <a:pt x="36" y="132"/>
                  <a:pt x="35" y="132"/>
                </a:cubicBezTo>
                <a:cubicBezTo>
                  <a:pt x="35" y="133"/>
                  <a:pt x="34" y="133"/>
                  <a:pt x="33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6" y="133"/>
                  <a:pt x="25" y="133"/>
                  <a:pt x="25" y="132"/>
                </a:cubicBezTo>
                <a:cubicBezTo>
                  <a:pt x="24" y="132"/>
                  <a:pt x="24" y="131"/>
                  <a:pt x="24" y="130"/>
                </a:cubicBezTo>
                <a:cubicBezTo>
                  <a:pt x="24" y="124"/>
                  <a:pt x="24" y="124"/>
                  <a:pt x="24" y="124"/>
                </a:cubicBezTo>
                <a:cubicBezTo>
                  <a:pt x="24" y="123"/>
                  <a:pt x="24" y="123"/>
                  <a:pt x="25" y="122"/>
                </a:cubicBezTo>
                <a:cubicBezTo>
                  <a:pt x="25" y="122"/>
                  <a:pt x="26" y="121"/>
                  <a:pt x="27" y="121"/>
                </a:cubicBezTo>
                <a:cubicBezTo>
                  <a:pt x="33" y="121"/>
                  <a:pt x="33" y="121"/>
                  <a:pt x="33" y="121"/>
                </a:cubicBezTo>
                <a:cubicBezTo>
                  <a:pt x="34" y="121"/>
                  <a:pt x="35" y="122"/>
                  <a:pt x="35" y="122"/>
                </a:cubicBezTo>
                <a:cubicBezTo>
                  <a:pt x="36" y="123"/>
                  <a:pt x="36" y="123"/>
                  <a:pt x="36" y="124"/>
                </a:cubicBezTo>
                <a:close/>
                <a:moveTo>
                  <a:pt x="60" y="27"/>
                </a:moveTo>
                <a:cubicBezTo>
                  <a:pt x="60" y="34"/>
                  <a:pt x="60" y="34"/>
                  <a:pt x="60" y="34"/>
                </a:cubicBezTo>
                <a:cubicBezTo>
                  <a:pt x="60" y="34"/>
                  <a:pt x="60" y="35"/>
                  <a:pt x="59" y="36"/>
                </a:cubicBezTo>
                <a:cubicBezTo>
                  <a:pt x="59" y="36"/>
                  <a:pt x="58" y="37"/>
                  <a:pt x="57" y="37"/>
                </a:cubicBezTo>
                <a:cubicBezTo>
                  <a:pt x="51" y="37"/>
                  <a:pt x="51" y="37"/>
                  <a:pt x="51" y="37"/>
                </a:cubicBezTo>
                <a:cubicBezTo>
                  <a:pt x="50" y="37"/>
                  <a:pt x="50" y="36"/>
                  <a:pt x="49" y="36"/>
                </a:cubicBezTo>
                <a:cubicBezTo>
                  <a:pt x="48" y="35"/>
                  <a:pt x="48" y="34"/>
                  <a:pt x="48" y="34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6"/>
                  <a:pt x="49" y="25"/>
                </a:cubicBezTo>
                <a:cubicBezTo>
                  <a:pt x="50" y="25"/>
                  <a:pt x="50" y="24"/>
                  <a:pt x="51" y="24"/>
                </a:cubicBezTo>
                <a:cubicBezTo>
                  <a:pt x="57" y="24"/>
                  <a:pt x="57" y="24"/>
                  <a:pt x="57" y="24"/>
                </a:cubicBezTo>
                <a:cubicBezTo>
                  <a:pt x="58" y="24"/>
                  <a:pt x="59" y="25"/>
                  <a:pt x="59" y="25"/>
                </a:cubicBezTo>
                <a:cubicBezTo>
                  <a:pt x="60" y="26"/>
                  <a:pt x="60" y="27"/>
                  <a:pt x="60" y="27"/>
                </a:cubicBezTo>
                <a:close/>
                <a:moveTo>
                  <a:pt x="60" y="52"/>
                </a:moveTo>
                <a:cubicBezTo>
                  <a:pt x="60" y="58"/>
                  <a:pt x="60" y="58"/>
                  <a:pt x="60" y="58"/>
                </a:cubicBezTo>
                <a:cubicBezTo>
                  <a:pt x="60" y="59"/>
                  <a:pt x="60" y="59"/>
                  <a:pt x="59" y="60"/>
                </a:cubicBezTo>
                <a:cubicBezTo>
                  <a:pt x="59" y="60"/>
                  <a:pt x="58" y="61"/>
                  <a:pt x="57" y="61"/>
                </a:cubicBezTo>
                <a:cubicBezTo>
                  <a:pt x="51" y="61"/>
                  <a:pt x="51" y="61"/>
                  <a:pt x="51" y="61"/>
                </a:cubicBezTo>
                <a:cubicBezTo>
                  <a:pt x="50" y="61"/>
                  <a:pt x="50" y="60"/>
                  <a:pt x="49" y="60"/>
                </a:cubicBezTo>
                <a:cubicBezTo>
                  <a:pt x="48" y="59"/>
                  <a:pt x="48" y="59"/>
                  <a:pt x="48" y="58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51"/>
                  <a:pt x="48" y="50"/>
                  <a:pt x="49" y="50"/>
                </a:cubicBezTo>
                <a:cubicBezTo>
                  <a:pt x="50" y="49"/>
                  <a:pt x="50" y="49"/>
                  <a:pt x="51" y="49"/>
                </a:cubicBezTo>
                <a:cubicBezTo>
                  <a:pt x="57" y="49"/>
                  <a:pt x="57" y="49"/>
                  <a:pt x="57" y="49"/>
                </a:cubicBezTo>
                <a:cubicBezTo>
                  <a:pt x="58" y="49"/>
                  <a:pt x="59" y="49"/>
                  <a:pt x="59" y="50"/>
                </a:cubicBezTo>
                <a:cubicBezTo>
                  <a:pt x="60" y="50"/>
                  <a:pt x="60" y="51"/>
                  <a:pt x="60" y="52"/>
                </a:cubicBezTo>
                <a:close/>
                <a:moveTo>
                  <a:pt x="60" y="76"/>
                </a:moveTo>
                <a:cubicBezTo>
                  <a:pt x="60" y="82"/>
                  <a:pt x="60" y="82"/>
                  <a:pt x="60" y="82"/>
                </a:cubicBezTo>
                <a:cubicBezTo>
                  <a:pt x="60" y="83"/>
                  <a:pt x="60" y="83"/>
                  <a:pt x="59" y="84"/>
                </a:cubicBezTo>
                <a:cubicBezTo>
                  <a:pt x="59" y="85"/>
                  <a:pt x="58" y="85"/>
                  <a:pt x="57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0" y="85"/>
                  <a:pt x="50" y="85"/>
                  <a:pt x="49" y="84"/>
                </a:cubicBezTo>
                <a:cubicBezTo>
                  <a:pt x="48" y="83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8" y="74"/>
                  <a:pt x="49" y="74"/>
                </a:cubicBezTo>
                <a:cubicBezTo>
                  <a:pt x="50" y="73"/>
                  <a:pt x="50" y="73"/>
                  <a:pt x="51" y="73"/>
                </a:cubicBezTo>
                <a:cubicBezTo>
                  <a:pt x="57" y="73"/>
                  <a:pt x="57" y="73"/>
                  <a:pt x="57" y="73"/>
                </a:cubicBezTo>
                <a:cubicBezTo>
                  <a:pt x="58" y="73"/>
                  <a:pt x="59" y="73"/>
                  <a:pt x="59" y="74"/>
                </a:cubicBezTo>
                <a:cubicBezTo>
                  <a:pt x="60" y="74"/>
                  <a:pt x="60" y="75"/>
                  <a:pt x="60" y="76"/>
                </a:cubicBezTo>
                <a:close/>
                <a:moveTo>
                  <a:pt x="60" y="100"/>
                </a:moveTo>
                <a:cubicBezTo>
                  <a:pt x="60" y="106"/>
                  <a:pt x="60" y="106"/>
                  <a:pt x="60" y="106"/>
                </a:cubicBezTo>
                <a:cubicBezTo>
                  <a:pt x="60" y="107"/>
                  <a:pt x="60" y="108"/>
                  <a:pt x="59" y="108"/>
                </a:cubicBezTo>
                <a:cubicBezTo>
                  <a:pt x="59" y="109"/>
                  <a:pt x="58" y="109"/>
                  <a:pt x="57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0" y="109"/>
                  <a:pt x="50" y="109"/>
                  <a:pt x="49" y="108"/>
                </a:cubicBezTo>
                <a:cubicBezTo>
                  <a:pt x="48" y="108"/>
                  <a:pt x="48" y="107"/>
                  <a:pt x="48" y="106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8" y="99"/>
                  <a:pt x="48" y="99"/>
                  <a:pt x="49" y="98"/>
                </a:cubicBezTo>
                <a:cubicBezTo>
                  <a:pt x="50" y="97"/>
                  <a:pt x="50" y="97"/>
                  <a:pt x="51" y="97"/>
                </a:cubicBezTo>
                <a:cubicBezTo>
                  <a:pt x="57" y="97"/>
                  <a:pt x="57" y="97"/>
                  <a:pt x="57" y="97"/>
                </a:cubicBezTo>
                <a:cubicBezTo>
                  <a:pt x="58" y="97"/>
                  <a:pt x="59" y="97"/>
                  <a:pt x="59" y="98"/>
                </a:cubicBezTo>
                <a:cubicBezTo>
                  <a:pt x="60" y="99"/>
                  <a:pt x="60" y="99"/>
                  <a:pt x="60" y="100"/>
                </a:cubicBezTo>
                <a:close/>
                <a:moveTo>
                  <a:pt x="84" y="27"/>
                </a:moveTo>
                <a:cubicBezTo>
                  <a:pt x="84" y="34"/>
                  <a:pt x="84" y="34"/>
                  <a:pt x="84" y="34"/>
                </a:cubicBezTo>
                <a:cubicBezTo>
                  <a:pt x="84" y="34"/>
                  <a:pt x="84" y="35"/>
                  <a:pt x="84" y="36"/>
                </a:cubicBezTo>
                <a:cubicBezTo>
                  <a:pt x="83" y="36"/>
                  <a:pt x="82" y="37"/>
                  <a:pt x="81" y="37"/>
                </a:cubicBezTo>
                <a:cubicBezTo>
                  <a:pt x="75" y="37"/>
                  <a:pt x="75" y="37"/>
                  <a:pt x="75" y="37"/>
                </a:cubicBezTo>
                <a:cubicBezTo>
                  <a:pt x="75" y="37"/>
                  <a:pt x="74" y="36"/>
                  <a:pt x="73" y="36"/>
                </a:cubicBezTo>
                <a:cubicBezTo>
                  <a:pt x="73" y="35"/>
                  <a:pt x="72" y="34"/>
                  <a:pt x="72" y="34"/>
                </a:cubicBezTo>
                <a:cubicBezTo>
                  <a:pt x="72" y="27"/>
                  <a:pt x="72" y="27"/>
                  <a:pt x="72" y="27"/>
                </a:cubicBezTo>
                <a:cubicBezTo>
                  <a:pt x="72" y="27"/>
                  <a:pt x="73" y="26"/>
                  <a:pt x="73" y="25"/>
                </a:cubicBezTo>
                <a:cubicBezTo>
                  <a:pt x="74" y="25"/>
                  <a:pt x="75" y="24"/>
                  <a:pt x="75" y="24"/>
                </a:cubicBezTo>
                <a:cubicBezTo>
                  <a:pt x="81" y="24"/>
                  <a:pt x="81" y="24"/>
                  <a:pt x="81" y="24"/>
                </a:cubicBezTo>
                <a:cubicBezTo>
                  <a:pt x="82" y="24"/>
                  <a:pt x="83" y="25"/>
                  <a:pt x="84" y="25"/>
                </a:cubicBezTo>
                <a:cubicBezTo>
                  <a:pt x="84" y="26"/>
                  <a:pt x="84" y="27"/>
                  <a:pt x="84" y="27"/>
                </a:cubicBezTo>
                <a:close/>
                <a:moveTo>
                  <a:pt x="84" y="52"/>
                </a:moveTo>
                <a:cubicBezTo>
                  <a:pt x="84" y="58"/>
                  <a:pt x="84" y="58"/>
                  <a:pt x="84" y="58"/>
                </a:cubicBezTo>
                <a:cubicBezTo>
                  <a:pt x="84" y="59"/>
                  <a:pt x="84" y="59"/>
                  <a:pt x="84" y="60"/>
                </a:cubicBezTo>
                <a:cubicBezTo>
                  <a:pt x="83" y="60"/>
                  <a:pt x="82" y="61"/>
                  <a:pt x="81" y="61"/>
                </a:cubicBezTo>
                <a:cubicBezTo>
                  <a:pt x="75" y="61"/>
                  <a:pt x="75" y="61"/>
                  <a:pt x="75" y="61"/>
                </a:cubicBezTo>
                <a:cubicBezTo>
                  <a:pt x="75" y="61"/>
                  <a:pt x="74" y="60"/>
                  <a:pt x="73" y="60"/>
                </a:cubicBezTo>
                <a:cubicBezTo>
                  <a:pt x="73" y="59"/>
                  <a:pt x="72" y="59"/>
                  <a:pt x="72" y="58"/>
                </a:cubicBezTo>
                <a:cubicBezTo>
                  <a:pt x="72" y="52"/>
                  <a:pt x="72" y="52"/>
                  <a:pt x="72" y="52"/>
                </a:cubicBezTo>
                <a:cubicBezTo>
                  <a:pt x="72" y="51"/>
                  <a:pt x="73" y="50"/>
                  <a:pt x="73" y="50"/>
                </a:cubicBezTo>
                <a:cubicBezTo>
                  <a:pt x="74" y="49"/>
                  <a:pt x="75" y="49"/>
                  <a:pt x="75" y="49"/>
                </a:cubicBezTo>
                <a:cubicBezTo>
                  <a:pt x="81" y="49"/>
                  <a:pt x="81" y="49"/>
                  <a:pt x="81" y="49"/>
                </a:cubicBezTo>
                <a:cubicBezTo>
                  <a:pt x="82" y="49"/>
                  <a:pt x="83" y="49"/>
                  <a:pt x="84" y="50"/>
                </a:cubicBezTo>
                <a:cubicBezTo>
                  <a:pt x="84" y="50"/>
                  <a:pt x="84" y="51"/>
                  <a:pt x="84" y="52"/>
                </a:cubicBezTo>
                <a:close/>
                <a:moveTo>
                  <a:pt x="84" y="76"/>
                </a:moveTo>
                <a:cubicBezTo>
                  <a:pt x="84" y="82"/>
                  <a:pt x="84" y="82"/>
                  <a:pt x="84" y="82"/>
                </a:cubicBezTo>
                <a:cubicBezTo>
                  <a:pt x="84" y="83"/>
                  <a:pt x="84" y="83"/>
                  <a:pt x="84" y="84"/>
                </a:cubicBezTo>
                <a:cubicBezTo>
                  <a:pt x="83" y="85"/>
                  <a:pt x="82" y="85"/>
                  <a:pt x="81" y="85"/>
                </a:cubicBezTo>
                <a:cubicBezTo>
                  <a:pt x="75" y="85"/>
                  <a:pt x="75" y="85"/>
                  <a:pt x="75" y="85"/>
                </a:cubicBezTo>
                <a:cubicBezTo>
                  <a:pt x="75" y="85"/>
                  <a:pt x="74" y="85"/>
                  <a:pt x="73" y="84"/>
                </a:cubicBezTo>
                <a:cubicBezTo>
                  <a:pt x="73" y="83"/>
                  <a:pt x="72" y="83"/>
                  <a:pt x="72" y="82"/>
                </a:cubicBezTo>
                <a:cubicBezTo>
                  <a:pt x="72" y="76"/>
                  <a:pt x="72" y="76"/>
                  <a:pt x="72" y="76"/>
                </a:cubicBezTo>
                <a:cubicBezTo>
                  <a:pt x="72" y="75"/>
                  <a:pt x="73" y="74"/>
                  <a:pt x="73" y="74"/>
                </a:cubicBezTo>
                <a:cubicBezTo>
                  <a:pt x="74" y="73"/>
                  <a:pt x="75" y="73"/>
                  <a:pt x="75" y="73"/>
                </a:cubicBezTo>
                <a:cubicBezTo>
                  <a:pt x="81" y="73"/>
                  <a:pt x="81" y="73"/>
                  <a:pt x="81" y="73"/>
                </a:cubicBezTo>
                <a:cubicBezTo>
                  <a:pt x="82" y="73"/>
                  <a:pt x="83" y="73"/>
                  <a:pt x="84" y="74"/>
                </a:cubicBezTo>
                <a:cubicBezTo>
                  <a:pt x="84" y="74"/>
                  <a:pt x="84" y="75"/>
                  <a:pt x="84" y="76"/>
                </a:cubicBezTo>
                <a:close/>
                <a:moveTo>
                  <a:pt x="84" y="100"/>
                </a:moveTo>
                <a:cubicBezTo>
                  <a:pt x="84" y="106"/>
                  <a:pt x="84" y="106"/>
                  <a:pt x="84" y="106"/>
                </a:cubicBezTo>
                <a:cubicBezTo>
                  <a:pt x="84" y="107"/>
                  <a:pt x="84" y="108"/>
                  <a:pt x="84" y="108"/>
                </a:cubicBezTo>
                <a:cubicBezTo>
                  <a:pt x="83" y="109"/>
                  <a:pt x="82" y="109"/>
                  <a:pt x="81" y="109"/>
                </a:cubicBezTo>
                <a:cubicBezTo>
                  <a:pt x="75" y="109"/>
                  <a:pt x="75" y="109"/>
                  <a:pt x="75" y="109"/>
                </a:cubicBezTo>
                <a:cubicBezTo>
                  <a:pt x="75" y="109"/>
                  <a:pt x="74" y="109"/>
                  <a:pt x="73" y="108"/>
                </a:cubicBezTo>
                <a:cubicBezTo>
                  <a:pt x="73" y="108"/>
                  <a:pt x="72" y="107"/>
                  <a:pt x="72" y="106"/>
                </a:cubicBezTo>
                <a:cubicBezTo>
                  <a:pt x="72" y="100"/>
                  <a:pt x="72" y="100"/>
                  <a:pt x="72" y="100"/>
                </a:cubicBezTo>
                <a:cubicBezTo>
                  <a:pt x="72" y="99"/>
                  <a:pt x="73" y="99"/>
                  <a:pt x="73" y="98"/>
                </a:cubicBezTo>
                <a:cubicBezTo>
                  <a:pt x="74" y="97"/>
                  <a:pt x="75" y="97"/>
                  <a:pt x="75" y="97"/>
                </a:cubicBezTo>
                <a:cubicBezTo>
                  <a:pt x="81" y="97"/>
                  <a:pt x="81" y="97"/>
                  <a:pt x="81" y="97"/>
                </a:cubicBezTo>
                <a:cubicBezTo>
                  <a:pt x="82" y="97"/>
                  <a:pt x="83" y="97"/>
                  <a:pt x="84" y="98"/>
                </a:cubicBezTo>
                <a:cubicBezTo>
                  <a:pt x="84" y="99"/>
                  <a:pt x="84" y="99"/>
                  <a:pt x="84" y="100"/>
                </a:cubicBezTo>
                <a:close/>
                <a:moveTo>
                  <a:pt x="109" y="27"/>
                </a:moveTo>
                <a:cubicBezTo>
                  <a:pt x="109" y="34"/>
                  <a:pt x="109" y="34"/>
                  <a:pt x="109" y="34"/>
                </a:cubicBezTo>
                <a:cubicBezTo>
                  <a:pt x="109" y="34"/>
                  <a:pt x="108" y="35"/>
                  <a:pt x="108" y="36"/>
                </a:cubicBezTo>
                <a:cubicBezTo>
                  <a:pt x="107" y="36"/>
                  <a:pt x="106" y="37"/>
                  <a:pt x="106" y="37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99" y="37"/>
                  <a:pt x="98" y="36"/>
                  <a:pt x="97" y="36"/>
                </a:cubicBezTo>
                <a:cubicBezTo>
                  <a:pt x="97" y="35"/>
                  <a:pt x="97" y="34"/>
                  <a:pt x="97" y="34"/>
                </a:cubicBezTo>
                <a:cubicBezTo>
                  <a:pt x="97" y="27"/>
                  <a:pt x="97" y="27"/>
                  <a:pt x="97" y="27"/>
                </a:cubicBezTo>
                <a:cubicBezTo>
                  <a:pt x="97" y="27"/>
                  <a:pt x="97" y="26"/>
                  <a:pt x="97" y="25"/>
                </a:cubicBezTo>
                <a:cubicBezTo>
                  <a:pt x="98" y="25"/>
                  <a:pt x="99" y="24"/>
                  <a:pt x="100" y="24"/>
                </a:cubicBezTo>
                <a:cubicBezTo>
                  <a:pt x="106" y="24"/>
                  <a:pt x="106" y="24"/>
                  <a:pt x="106" y="24"/>
                </a:cubicBezTo>
                <a:cubicBezTo>
                  <a:pt x="106" y="24"/>
                  <a:pt x="107" y="25"/>
                  <a:pt x="108" y="25"/>
                </a:cubicBezTo>
                <a:cubicBezTo>
                  <a:pt x="108" y="26"/>
                  <a:pt x="109" y="27"/>
                  <a:pt x="109" y="27"/>
                </a:cubicBezTo>
                <a:close/>
                <a:moveTo>
                  <a:pt x="109" y="52"/>
                </a:moveTo>
                <a:cubicBezTo>
                  <a:pt x="109" y="58"/>
                  <a:pt x="109" y="58"/>
                  <a:pt x="109" y="58"/>
                </a:cubicBezTo>
                <a:cubicBezTo>
                  <a:pt x="109" y="59"/>
                  <a:pt x="108" y="59"/>
                  <a:pt x="108" y="60"/>
                </a:cubicBezTo>
                <a:cubicBezTo>
                  <a:pt x="107" y="60"/>
                  <a:pt x="106" y="61"/>
                  <a:pt x="106" y="61"/>
                </a:cubicBezTo>
                <a:cubicBezTo>
                  <a:pt x="100" y="61"/>
                  <a:pt x="100" y="61"/>
                  <a:pt x="100" y="61"/>
                </a:cubicBezTo>
                <a:cubicBezTo>
                  <a:pt x="99" y="61"/>
                  <a:pt x="98" y="60"/>
                  <a:pt x="97" y="60"/>
                </a:cubicBezTo>
                <a:cubicBezTo>
                  <a:pt x="97" y="59"/>
                  <a:pt x="97" y="59"/>
                  <a:pt x="97" y="58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1"/>
                  <a:pt x="97" y="50"/>
                  <a:pt x="97" y="50"/>
                </a:cubicBezTo>
                <a:cubicBezTo>
                  <a:pt x="98" y="49"/>
                  <a:pt x="99" y="49"/>
                  <a:pt x="100" y="49"/>
                </a:cubicBezTo>
                <a:cubicBezTo>
                  <a:pt x="106" y="49"/>
                  <a:pt x="106" y="49"/>
                  <a:pt x="106" y="49"/>
                </a:cubicBezTo>
                <a:cubicBezTo>
                  <a:pt x="106" y="49"/>
                  <a:pt x="107" y="49"/>
                  <a:pt x="108" y="50"/>
                </a:cubicBezTo>
                <a:cubicBezTo>
                  <a:pt x="108" y="50"/>
                  <a:pt x="109" y="51"/>
                  <a:pt x="109" y="52"/>
                </a:cubicBezTo>
                <a:close/>
                <a:moveTo>
                  <a:pt x="109" y="76"/>
                </a:moveTo>
                <a:cubicBezTo>
                  <a:pt x="109" y="82"/>
                  <a:pt x="109" y="82"/>
                  <a:pt x="109" y="82"/>
                </a:cubicBezTo>
                <a:cubicBezTo>
                  <a:pt x="109" y="83"/>
                  <a:pt x="108" y="83"/>
                  <a:pt x="108" y="84"/>
                </a:cubicBezTo>
                <a:cubicBezTo>
                  <a:pt x="107" y="85"/>
                  <a:pt x="106" y="85"/>
                  <a:pt x="106" y="85"/>
                </a:cubicBezTo>
                <a:cubicBezTo>
                  <a:pt x="100" y="85"/>
                  <a:pt x="100" y="85"/>
                  <a:pt x="100" y="85"/>
                </a:cubicBezTo>
                <a:cubicBezTo>
                  <a:pt x="99" y="85"/>
                  <a:pt x="98" y="85"/>
                  <a:pt x="97" y="84"/>
                </a:cubicBezTo>
                <a:cubicBezTo>
                  <a:pt x="97" y="83"/>
                  <a:pt x="97" y="83"/>
                  <a:pt x="97" y="82"/>
                </a:cubicBezTo>
                <a:cubicBezTo>
                  <a:pt x="97" y="76"/>
                  <a:pt x="97" y="76"/>
                  <a:pt x="97" y="76"/>
                </a:cubicBezTo>
                <a:cubicBezTo>
                  <a:pt x="97" y="75"/>
                  <a:pt x="97" y="74"/>
                  <a:pt x="97" y="74"/>
                </a:cubicBezTo>
                <a:cubicBezTo>
                  <a:pt x="98" y="73"/>
                  <a:pt x="99" y="73"/>
                  <a:pt x="100" y="73"/>
                </a:cubicBezTo>
                <a:cubicBezTo>
                  <a:pt x="106" y="73"/>
                  <a:pt x="106" y="73"/>
                  <a:pt x="106" y="73"/>
                </a:cubicBezTo>
                <a:cubicBezTo>
                  <a:pt x="106" y="73"/>
                  <a:pt x="107" y="73"/>
                  <a:pt x="108" y="74"/>
                </a:cubicBezTo>
                <a:cubicBezTo>
                  <a:pt x="108" y="74"/>
                  <a:pt x="109" y="75"/>
                  <a:pt x="109" y="76"/>
                </a:cubicBezTo>
                <a:close/>
                <a:moveTo>
                  <a:pt x="109" y="100"/>
                </a:moveTo>
                <a:cubicBezTo>
                  <a:pt x="109" y="106"/>
                  <a:pt x="109" y="106"/>
                  <a:pt x="109" y="106"/>
                </a:cubicBezTo>
                <a:cubicBezTo>
                  <a:pt x="109" y="107"/>
                  <a:pt x="108" y="108"/>
                  <a:pt x="108" y="108"/>
                </a:cubicBezTo>
                <a:cubicBezTo>
                  <a:pt x="107" y="109"/>
                  <a:pt x="106" y="109"/>
                  <a:pt x="106" y="109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9" y="109"/>
                  <a:pt x="98" y="109"/>
                  <a:pt x="97" y="108"/>
                </a:cubicBezTo>
                <a:cubicBezTo>
                  <a:pt x="97" y="108"/>
                  <a:pt x="97" y="107"/>
                  <a:pt x="97" y="106"/>
                </a:cubicBezTo>
                <a:cubicBezTo>
                  <a:pt x="97" y="100"/>
                  <a:pt x="97" y="100"/>
                  <a:pt x="97" y="100"/>
                </a:cubicBezTo>
                <a:cubicBezTo>
                  <a:pt x="97" y="99"/>
                  <a:pt x="97" y="99"/>
                  <a:pt x="97" y="98"/>
                </a:cubicBezTo>
                <a:cubicBezTo>
                  <a:pt x="98" y="97"/>
                  <a:pt x="99" y="97"/>
                  <a:pt x="100" y="97"/>
                </a:cubicBezTo>
                <a:cubicBezTo>
                  <a:pt x="106" y="97"/>
                  <a:pt x="106" y="97"/>
                  <a:pt x="106" y="97"/>
                </a:cubicBezTo>
                <a:cubicBezTo>
                  <a:pt x="106" y="97"/>
                  <a:pt x="107" y="97"/>
                  <a:pt x="108" y="98"/>
                </a:cubicBezTo>
                <a:cubicBezTo>
                  <a:pt x="108" y="99"/>
                  <a:pt x="109" y="99"/>
                  <a:pt x="109" y="100"/>
                </a:cubicBezTo>
                <a:close/>
                <a:moveTo>
                  <a:pt x="109" y="124"/>
                </a:moveTo>
                <a:cubicBezTo>
                  <a:pt x="109" y="130"/>
                  <a:pt x="109" y="130"/>
                  <a:pt x="109" y="130"/>
                </a:cubicBezTo>
                <a:cubicBezTo>
                  <a:pt x="109" y="131"/>
                  <a:pt x="108" y="132"/>
                  <a:pt x="108" y="132"/>
                </a:cubicBezTo>
                <a:cubicBezTo>
                  <a:pt x="107" y="133"/>
                  <a:pt x="106" y="133"/>
                  <a:pt x="106" y="133"/>
                </a:cubicBezTo>
                <a:cubicBezTo>
                  <a:pt x="100" y="133"/>
                  <a:pt x="100" y="133"/>
                  <a:pt x="100" y="133"/>
                </a:cubicBezTo>
                <a:cubicBezTo>
                  <a:pt x="99" y="133"/>
                  <a:pt x="98" y="133"/>
                  <a:pt x="97" y="132"/>
                </a:cubicBezTo>
                <a:cubicBezTo>
                  <a:pt x="97" y="132"/>
                  <a:pt x="97" y="131"/>
                  <a:pt x="97" y="130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7" y="123"/>
                  <a:pt x="97" y="123"/>
                  <a:pt x="97" y="122"/>
                </a:cubicBezTo>
                <a:cubicBezTo>
                  <a:pt x="98" y="122"/>
                  <a:pt x="99" y="121"/>
                  <a:pt x="100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06" y="121"/>
                  <a:pt x="107" y="122"/>
                  <a:pt x="108" y="122"/>
                </a:cubicBezTo>
                <a:cubicBezTo>
                  <a:pt x="108" y="123"/>
                  <a:pt x="109" y="123"/>
                  <a:pt x="109" y="1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4" name="Freeform 225"/>
          <p:cNvSpPr>
            <a:spLocks noChangeAspect="1" noEditPoints="1"/>
          </p:cNvSpPr>
          <p:nvPr/>
        </p:nvSpPr>
        <p:spPr bwMode="auto">
          <a:xfrm>
            <a:off x="5870995" y="3091867"/>
            <a:ext cx="137395" cy="176428"/>
          </a:xfrm>
          <a:custGeom>
            <a:avLst/>
            <a:gdLst>
              <a:gd name="T0" fmla="*/ 127 w 133"/>
              <a:gd name="T1" fmla="*/ 170 h 170"/>
              <a:gd name="T2" fmla="*/ 0 w 133"/>
              <a:gd name="T3" fmla="*/ 43 h 170"/>
              <a:gd name="T4" fmla="*/ 36 w 133"/>
              <a:gd name="T5" fmla="*/ 9 h 170"/>
              <a:gd name="T6" fmla="*/ 94 w 133"/>
              <a:gd name="T7" fmla="*/ 3 h 170"/>
              <a:gd name="T8" fmla="*/ 131 w 133"/>
              <a:gd name="T9" fmla="*/ 38 h 170"/>
              <a:gd name="T10" fmla="*/ 121 w 133"/>
              <a:gd name="T11" fmla="*/ 49 h 170"/>
              <a:gd name="T12" fmla="*/ 87 w 133"/>
              <a:gd name="T13" fmla="*/ 61 h 170"/>
              <a:gd name="T14" fmla="*/ 36 w 133"/>
              <a:gd name="T15" fmla="*/ 49 h 170"/>
              <a:gd name="T16" fmla="*/ 48 w 133"/>
              <a:gd name="T17" fmla="*/ 136 h 170"/>
              <a:gd name="T18" fmla="*/ 83 w 133"/>
              <a:gd name="T19" fmla="*/ 134 h 170"/>
              <a:gd name="T20" fmla="*/ 36 w 133"/>
              <a:gd name="T21" fmla="*/ 82 h 170"/>
              <a:gd name="T22" fmla="*/ 25 w 133"/>
              <a:gd name="T23" fmla="*/ 84 h 170"/>
              <a:gd name="T24" fmla="*/ 27 w 133"/>
              <a:gd name="T25" fmla="*/ 73 h 170"/>
              <a:gd name="T26" fmla="*/ 36 w 133"/>
              <a:gd name="T27" fmla="*/ 100 h 170"/>
              <a:gd name="T28" fmla="*/ 27 w 133"/>
              <a:gd name="T29" fmla="*/ 109 h 170"/>
              <a:gd name="T30" fmla="*/ 25 w 133"/>
              <a:gd name="T31" fmla="*/ 98 h 170"/>
              <a:gd name="T32" fmla="*/ 36 w 133"/>
              <a:gd name="T33" fmla="*/ 100 h 170"/>
              <a:gd name="T34" fmla="*/ 33 w 133"/>
              <a:gd name="T35" fmla="*/ 133 h 170"/>
              <a:gd name="T36" fmla="*/ 24 w 133"/>
              <a:gd name="T37" fmla="*/ 124 h 170"/>
              <a:gd name="T38" fmla="*/ 35 w 133"/>
              <a:gd name="T39" fmla="*/ 122 h 170"/>
              <a:gd name="T40" fmla="*/ 83 w 133"/>
              <a:gd name="T41" fmla="*/ 13 h 170"/>
              <a:gd name="T42" fmla="*/ 72 w 133"/>
              <a:gd name="T43" fmla="*/ 15 h 170"/>
              <a:gd name="T44" fmla="*/ 59 w 133"/>
              <a:gd name="T45" fmla="*/ 13 h 170"/>
              <a:gd name="T46" fmla="*/ 48 w 133"/>
              <a:gd name="T47" fmla="*/ 15 h 170"/>
              <a:gd name="T48" fmla="*/ 57 w 133"/>
              <a:gd name="T49" fmla="*/ 49 h 170"/>
              <a:gd name="T50" fmla="*/ 72 w 133"/>
              <a:gd name="T51" fmla="*/ 37 h 170"/>
              <a:gd name="T52" fmla="*/ 81 w 133"/>
              <a:gd name="T53" fmla="*/ 49 h 170"/>
              <a:gd name="T54" fmla="*/ 60 w 133"/>
              <a:gd name="T55" fmla="*/ 82 h 170"/>
              <a:gd name="T56" fmla="*/ 49 w 133"/>
              <a:gd name="T57" fmla="*/ 84 h 170"/>
              <a:gd name="T58" fmla="*/ 51 w 133"/>
              <a:gd name="T59" fmla="*/ 73 h 170"/>
              <a:gd name="T60" fmla="*/ 60 w 133"/>
              <a:gd name="T61" fmla="*/ 100 h 170"/>
              <a:gd name="T62" fmla="*/ 51 w 133"/>
              <a:gd name="T63" fmla="*/ 109 h 170"/>
              <a:gd name="T64" fmla="*/ 49 w 133"/>
              <a:gd name="T65" fmla="*/ 98 h 170"/>
              <a:gd name="T66" fmla="*/ 60 w 133"/>
              <a:gd name="T67" fmla="*/ 100 h 170"/>
              <a:gd name="T68" fmla="*/ 81 w 133"/>
              <a:gd name="T69" fmla="*/ 85 h 170"/>
              <a:gd name="T70" fmla="*/ 72 w 133"/>
              <a:gd name="T71" fmla="*/ 76 h 170"/>
              <a:gd name="T72" fmla="*/ 83 w 133"/>
              <a:gd name="T73" fmla="*/ 74 h 170"/>
              <a:gd name="T74" fmla="*/ 83 w 133"/>
              <a:gd name="T75" fmla="*/ 108 h 170"/>
              <a:gd name="T76" fmla="*/ 72 w 133"/>
              <a:gd name="T77" fmla="*/ 106 h 170"/>
              <a:gd name="T78" fmla="*/ 81 w 133"/>
              <a:gd name="T79" fmla="*/ 97 h 170"/>
              <a:gd name="T80" fmla="*/ 109 w 133"/>
              <a:gd name="T81" fmla="*/ 82 h 170"/>
              <a:gd name="T82" fmla="*/ 97 w 133"/>
              <a:gd name="T83" fmla="*/ 84 h 170"/>
              <a:gd name="T84" fmla="*/ 99 w 133"/>
              <a:gd name="T85" fmla="*/ 73 h 170"/>
              <a:gd name="T86" fmla="*/ 109 w 133"/>
              <a:gd name="T87" fmla="*/ 100 h 170"/>
              <a:gd name="T88" fmla="*/ 99 w 133"/>
              <a:gd name="T89" fmla="*/ 109 h 170"/>
              <a:gd name="T90" fmla="*/ 97 w 133"/>
              <a:gd name="T91" fmla="*/ 98 h 170"/>
              <a:gd name="T92" fmla="*/ 109 w 133"/>
              <a:gd name="T93" fmla="*/ 100 h 170"/>
              <a:gd name="T94" fmla="*/ 105 w 133"/>
              <a:gd name="T95" fmla="*/ 133 h 170"/>
              <a:gd name="T96" fmla="*/ 96 w 133"/>
              <a:gd name="T97" fmla="*/ 124 h 170"/>
              <a:gd name="T98" fmla="*/ 108 w 133"/>
              <a:gd name="T99" fmla="*/ 122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3" h="170">
                <a:moveTo>
                  <a:pt x="133" y="43"/>
                </a:moveTo>
                <a:cubicBezTo>
                  <a:pt x="133" y="164"/>
                  <a:pt x="133" y="164"/>
                  <a:pt x="133" y="164"/>
                </a:cubicBezTo>
                <a:cubicBezTo>
                  <a:pt x="133" y="165"/>
                  <a:pt x="132" y="167"/>
                  <a:pt x="131" y="168"/>
                </a:cubicBezTo>
                <a:cubicBezTo>
                  <a:pt x="130" y="169"/>
                  <a:pt x="128" y="170"/>
                  <a:pt x="127" y="170"/>
                </a:cubicBezTo>
                <a:cubicBezTo>
                  <a:pt x="6" y="170"/>
                  <a:pt x="6" y="170"/>
                  <a:pt x="6" y="170"/>
                </a:cubicBezTo>
                <a:cubicBezTo>
                  <a:pt x="4" y="170"/>
                  <a:pt x="3" y="169"/>
                  <a:pt x="1" y="168"/>
                </a:cubicBezTo>
                <a:cubicBezTo>
                  <a:pt x="0" y="167"/>
                  <a:pt x="0" y="165"/>
                  <a:pt x="0" y="164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1"/>
                  <a:pt x="0" y="40"/>
                  <a:pt x="1" y="38"/>
                </a:cubicBezTo>
                <a:cubicBezTo>
                  <a:pt x="3" y="37"/>
                  <a:pt x="4" y="37"/>
                  <a:pt x="6" y="37"/>
                </a:cubicBezTo>
                <a:cubicBezTo>
                  <a:pt x="36" y="37"/>
                  <a:pt x="36" y="37"/>
                  <a:pt x="36" y="37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7"/>
                  <a:pt x="37" y="5"/>
                  <a:pt x="39" y="3"/>
                </a:cubicBezTo>
                <a:cubicBezTo>
                  <a:pt x="40" y="1"/>
                  <a:pt x="42" y="0"/>
                  <a:pt x="45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2" y="1"/>
                  <a:pt x="94" y="3"/>
                </a:cubicBezTo>
                <a:cubicBezTo>
                  <a:pt x="96" y="5"/>
                  <a:pt x="96" y="7"/>
                  <a:pt x="96" y="9"/>
                </a:cubicBezTo>
                <a:cubicBezTo>
                  <a:pt x="96" y="37"/>
                  <a:pt x="96" y="37"/>
                  <a:pt x="96" y="37"/>
                </a:cubicBezTo>
                <a:cubicBezTo>
                  <a:pt x="127" y="37"/>
                  <a:pt x="127" y="37"/>
                  <a:pt x="127" y="37"/>
                </a:cubicBezTo>
                <a:cubicBezTo>
                  <a:pt x="128" y="37"/>
                  <a:pt x="130" y="37"/>
                  <a:pt x="131" y="38"/>
                </a:cubicBezTo>
                <a:cubicBezTo>
                  <a:pt x="132" y="40"/>
                  <a:pt x="133" y="41"/>
                  <a:pt x="133" y="43"/>
                </a:cubicBezTo>
                <a:close/>
                <a:moveTo>
                  <a:pt x="84" y="158"/>
                </a:moveTo>
                <a:cubicBezTo>
                  <a:pt x="121" y="158"/>
                  <a:pt x="121" y="158"/>
                  <a:pt x="121" y="158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96" y="49"/>
                  <a:pt x="96" y="49"/>
                  <a:pt x="96" y="49"/>
                </a:cubicBezTo>
                <a:cubicBezTo>
                  <a:pt x="96" y="52"/>
                  <a:pt x="96" y="52"/>
                  <a:pt x="96" y="52"/>
                </a:cubicBezTo>
                <a:cubicBezTo>
                  <a:pt x="96" y="54"/>
                  <a:pt x="96" y="56"/>
                  <a:pt x="94" y="58"/>
                </a:cubicBezTo>
                <a:cubicBezTo>
                  <a:pt x="92" y="60"/>
                  <a:pt x="90" y="61"/>
                  <a:pt x="87" y="61"/>
                </a:cubicBezTo>
                <a:cubicBezTo>
                  <a:pt x="45" y="61"/>
                  <a:pt x="45" y="61"/>
                  <a:pt x="45" y="61"/>
                </a:cubicBezTo>
                <a:cubicBezTo>
                  <a:pt x="42" y="61"/>
                  <a:pt x="40" y="60"/>
                  <a:pt x="39" y="58"/>
                </a:cubicBezTo>
                <a:cubicBezTo>
                  <a:pt x="37" y="56"/>
                  <a:pt x="36" y="54"/>
                  <a:pt x="36" y="52"/>
                </a:cubicBezTo>
                <a:cubicBezTo>
                  <a:pt x="36" y="49"/>
                  <a:pt x="36" y="49"/>
                  <a:pt x="36" y="49"/>
                </a:cubicBezTo>
                <a:cubicBezTo>
                  <a:pt x="12" y="49"/>
                  <a:pt x="12" y="49"/>
                  <a:pt x="12" y="49"/>
                </a:cubicBezTo>
                <a:cubicBezTo>
                  <a:pt x="12" y="158"/>
                  <a:pt x="12" y="158"/>
                  <a:pt x="12" y="158"/>
                </a:cubicBezTo>
                <a:cubicBezTo>
                  <a:pt x="48" y="158"/>
                  <a:pt x="48" y="158"/>
                  <a:pt x="48" y="158"/>
                </a:cubicBezTo>
                <a:cubicBezTo>
                  <a:pt x="48" y="136"/>
                  <a:pt x="48" y="136"/>
                  <a:pt x="48" y="136"/>
                </a:cubicBezTo>
                <a:cubicBezTo>
                  <a:pt x="48" y="136"/>
                  <a:pt x="48" y="135"/>
                  <a:pt x="49" y="134"/>
                </a:cubicBezTo>
                <a:cubicBezTo>
                  <a:pt x="49" y="134"/>
                  <a:pt x="50" y="133"/>
                  <a:pt x="51" y="133"/>
                </a:cubicBezTo>
                <a:cubicBezTo>
                  <a:pt x="81" y="133"/>
                  <a:pt x="81" y="133"/>
                  <a:pt x="81" y="133"/>
                </a:cubicBezTo>
                <a:cubicBezTo>
                  <a:pt x="82" y="133"/>
                  <a:pt x="83" y="134"/>
                  <a:pt x="83" y="134"/>
                </a:cubicBezTo>
                <a:cubicBezTo>
                  <a:pt x="84" y="135"/>
                  <a:pt x="84" y="136"/>
                  <a:pt x="84" y="136"/>
                </a:cubicBezTo>
                <a:lnTo>
                  <a:pt x="84" y="158"/>
                </a:lnTo>
                <a:close/>
                <a:moveTo>
                  <a:pt x="36" y="76"/>
                </a:moveTo>
                <a:cubicBezTo>
                  <a:pt x="36" y="82"/>
                  <a:pt x="36" y="82"/>
                  <a:pt x="36" y="82"/>
                </a:cubicBezTo>
                <a:cubicBezTo>
                  <a:pt x="36" y="83"/>
                  <a:pt x="36" y="83"/>
                  <a:pt x="35" y="84"/>
                </a:cubicBezTo>
                <a:cubicBezTo>
                  <a:pt x="34" y="85"/>
                  <a:pt x="34" y="85"/>
                  <a:pt x="33" y="85"/>
                </a:cubicBezTo>
                <a:cubicBezTo>
                  <a:pt x="27" y="85"/>
                  <a:pt x="27" y="85"/>
                  <a:pt x="27" y="85"/>
                </a:cubicBezTo>
                <a:cubicBezTo>
                  <a:pt x="26" y="85"/>
                  <a:pt x="25" y="85"/>
                  <a:pt x="25" y="84"/>
                </a:cubicBezTo>
                <a:cubicBezTo>
                  <a:pt x="24" y="83"/>
                  <a:pt x="24" y="83"/>
                  <a:pt x="24" y="82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75"/>
                  <a:pt x="24" y="74"/>
                  <a:pt x="25" y="74"/>
                </a:cubicBezTo>
                <a:cubicBezTo>
                  <a:pt x="25" y="73"/>
                  <a:pt x="26" y="73"/>
                  <a:pt x="27" y="73"/>
                </a:cubicBezTo>
                <a:cubicBezTo>
                  <a:pt x="33" y="73"/>
                  <a:pt x="33" y="73"/>
                  <a:pt x="33" y="73"/>
                </a:cubicBezTo>
                <a:cubicBezTo>
                  <a:pt x="34" y="73"/>
                  <a:pt x="34" y="73"/>
                  <a:pt x="35" y="74"/>
                </a:cubicBezTo>
                <a:cubicBezTo>
                  <a:pt x="36" y="74"/>
                  <a:pt x="36" y="75"/>
                  <a:pt x="36" y="76"/>
                </a:cubicBezTo>
                <a:close/>
                <a:moveTo>
                  <a:pt x="36" y="100"/>
                </a:moveTo>
                <a:cubicBezTo>
                  <a:pt x="36" y="106"/>
                  <a:pt x="36" y="106"/>
                  <a:pt x="36" y="106"/>
                </a:cubicBezTo>
                <a:cubicBezTo>
                  <a:pt x="36" y="107"/>
                  <a:pt x="36" y="108"/>
                  <a:pt x="35" y="108"/>
                </a:cubicBezTo>
                <a:cubicBezTo>
                  <a:pt x="34" y="109"/>
                  <a:pt x="34" y="109"/>
                  <a:pt x="33" y="109"/>
                </a:cubicBezTo>
                <a:cubicBezTo>
                  <a:pt x="27" y="109"/>
                  <a:pt x="27" y="109"/>
                  <a:pt x="27" y="109"/>
                </a:cubicBezTo>
                <a:cubicBezTo>
                  <a:pt x="26" y="109"/>
                  <a:pt x="25" y="109"/>
                  <a:pt x="25" y="108"/>
                </a:cubicBezTo>
                <a:cubicBezTo>
                  <a:pt x="24" y="108"/>
                  <a:pt x="24" y="107"/>
                  <a:pt x="24" y="106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99"/>
                  <a:pt x="24" y="99"/>
                  <a:pt x="25" y="98"/>
                </a:cubicBezTo>
                <a:cubicBezTo>
                  <a:pt x="25" y="97"/>
                  <a:pt x="26" y="97"/>
                  <a:pt x="27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4" y="97"/>
                  <a:pt x="34" y="97"/>
                  <a:pt x="35" y="98"/>
                </a:cubicBezTo>
                <a:cubicBezTo>
                  <a:pt x="36" y="99"/>
                  <a:pt x="36" y="99"/>
                  <a:pt x="36" y="100"/>
                </a:cubicBezTo>
                <a:close/>
                <a:moveTo>
                  <a:pt x="36" y="124"/>
                </a:moveTo>
                <a:cubicBezTo>
                  <a:pt x="36" y="130"/>
                  <a:pt x="36" y="130"/>
                  <a:pt x="36" y="130"/>
                </a:cubicBezTo>
                <a:cubicBezTo>
                  <a:pt x="36" y="131"/>
                  <a:pt x="36" y="132"/>
                  <a:pt x="35" y="132"/>
                </a:cubicBezTo>
                <a:cubicBezTo>
                  <a:pt x="34" y="133"/>
                  <a:pt x="34" y="133"/>
                  <a:pt x="33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6" y="133"/>
                  <a:pt x="25" y="133"/>
                  <a:pt x="25" y="132"/>
                </a:cubicBezTo>
                <a:cubicBezTo>
                  <a:pt x="24" y="132"/>
                  <a:pt x="24" y="131"/>
                  <a:pt x="24" y="130"/>
                </a:cubicBezTo>
                <a:cubicBezTo>
                  <a:pt x="24" y="124"/>
                  <a:pt x="24" y="124"/>
                  <a:pt x="24" y="124"/>
                </a:cubicBezTo>
                <a:cubicBezTo>
                  <a:pt x="24" y="123"/>
                  <a:pt x="24" y="123"/>
                  <a:pt x="25" y="122"/>
                </a:cubicBezTo>
                <a:cubicBezTo>
                  <a:pt x="25" y="122"/>
                  <a:pt x="26" y="121"/>
                  <a:pt x="27" y="121"/>
                </a:cubicBezTo>
                <a:cubicBezTo>
                  <a:pt x="33" y="121"/>
                  <a:pt x="33" y="121"/>
                  <a:pt x="33" y="121"/>
                </a:cubicBezTo>
                <a:cubicBezTo>
                  <a:pt x="34" y="121"/>
                  <a:pt x="34" y="122"/>
                  <a:pt x="35" y="122"/>
                </a:cubicBezTo>
                <a:cubicBezTo>
                  <a:pt x="36" y="123"/>
                  <a:pt x="36" y="123"/>
                  <a:pt x="36" y="124"/>
                </a:cubicBezTo>
                <a:close/>
                <a:moveTo>
                  <a:pt x="84" y="46"/>
                </a:moveTo>
                <a:cubicBezTo>
                  <a:pt x="84" y="15"/>
                  <a:pt x="84" y="15"/>
                  <a:pt x="84" y="15"/>
                </a:cubicBezTo>
                <a:cubicBezTo>
                  <a:pt x="84" y="15"/>
                  <a:pt x="84" y="14"/>
                  <a:pt x="83" y="13"/>
                </a:cubicBezTo>
                <a:cubicBezTo>
                  <a:pt x="83" y="13"/>
                  <a:pt x="82" y="12"/>
                  <a:pt x="81" y="12"/>
                </a:cubicBezTo>
                <a:cubicBezTo>
                  <a:pt x="75" y="12"/>
                  <a:pt x="75" y="12"/>
                  <a:pt x="75" y="12"/>
                </a:cubicBezTo>
                <a:cubicBezTo>
                  <a:pt x="74" y="12"/>
                  <a:pt x="74" y="13"/>
                  <a:pt x="73" y="13"/>
                </a:cubicBezTo>
                <a:cubicBezTo>
                  <a:pt x="72" y="14"/>
                  <a:pt x="72" y="15"/>
                  <a:pt x="72" y="15"/>
                </a:cubicBezTo>
                <a:cubicBezTo>
                  <a:pt x="72" y="24"/>
                  <a:pt x="72" y="24"/>
                  <a:pt x="72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5"/>
                  <a:pt x="60" y="15"/>
                  <a:pt x="60" y="15"/>
                </a:cubicBezTo>
                <a:cubicBezTo>
                  <a:pt x="60" y="15"/>
                  <a:pt x="60" y="14"/>
                  <a:pt x="59" y="13"/>
                </a:cubicBezTo>
                <a:cubicBezTo>
                  <a:pt x="59" y="13"/>
                  <a:pt x="58" y="12"/>
                  <a:pt x="57" y="12"/>
                </a:cubicBezTo>
                <a:cubicBezTo>
                  <a:pt x="51" y="12"/>
                  <a:pt x="51" y="12"/>
                  <a:pt x="51" y="12"/>
                </a:cubicBezTo>
                <a:cubicBezTo>
                  <a:pt x="50" y="12"/>
                  <a:pt x="49" y="13"/>
                  <a:pt x="49" y="13"/>
                </a:cubicBezTo>
                <a:cubicBezTo>
                  <a:pt x="48" y="14"/>
                  <a:pt x="48" y="15"/>
                  <a:pt x="48" y="15"/>
                </a:cubicBezTo>
                <a:cubicBezTo>
                  <a:pt x="48" y="46"/>
                  <a:pt x="48" y="46"/>
                  <a:pt x="48" y="46"/>
                </a:cubicBezTo>
                <a:cubicBezTo>
                  <a:pt x="48" y="46"/>
                  <a:pt x="48" y="47"/>
                  <a:pt x="49" y="48"/>
                </a:cubicBezTo>
                <a:cubicBezTo>
                  <a:pt x="49" y="48"/>
                  <a:pt x="50" y="49"/>
                  <a:pt x="51" y="49"/>
                </a:cubicBezTo>
                <a:cubicBezTo>
                  <a:pt x="57" y="49"/>
                  <a:pt x="57" y="49"/>
                  <a:pt x="57" y="49"/>
                </a:cubicBezTo>
                <a:cubicBezTo>
                  <a:pt x="58" y="49"/>
                  <a:pt x="59" y="48"/>
                  <a:pt x="59" y="48"/>
                </a:cubicBezTo>
                <a:cubicBezTo>
                  <a:pt x="60" y="47"/>
                  <a:pt x="60" y="46"/>
                  <a:pt x="60" y="46"/>
                </a:cubicBezTo>
                <a:cubicBezTo>
                  <a:pt x="60" y="37"/>
                  <a:pt x="60" y="37"/>
                  <a:pt x="60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72" y="46"/>
                  <a:pt x="72" y="46"/>
                  <a:pt x="72" y="46"/>
                </a:cubicBezTo>
                <a:cubicBezTo>
                  <a:pt x="72" y="46"/>
                  <a:pt x="72" y="47"/>
                  <a:pt x="73" y="48"/>
                </a:cubicBezTo>
                <a:cubicBezTo>
                  <a:pt x="74" y="48"/>
                  <a:pt x="74" y="49"/>
                  <a:pt x="75" y="49"/>
                </a:cubicBezTo>
                <a:cubicBezTo>
                  <a:pt x="81" y="49"/>
                  <a:pt x="81" y="49"/>
                  <a:pt x="81" y="49"/>
                </a:cubicBezTo>
                <a:cubicBezTo>
                  <a:pt x="82" y="49"/>
                  <a:pt x="83" y="48"/>
                  <a:pt x="83" y="48"/>
                </a:cubicBezTo>
                <a:cubicBezTo>
                  <a:pt x="84" y="47"/>
                  <a:pt x="84" y="46"/>
                  <a:pt x="84" y="46"/>
                </a:cubicBezTo>
                <a:close/>
                <a:moveTo>
                  <a:pt x="60" y="76"/>
                </a:moveTo>
                <a:cubicBezTo>
                  <a:pt x="60" y="82"/>
                  <a:pt x="60" y="82"/>
                  <a:pt x="60" y="82"/>
                </a:cubicBezTo>
                <a:cubicBezTo>
                  <a:pt x="60" y="83"/>
                  <a:pt x="60" y="83"/>
                  <a:pt x="59" y="84"/>
                </a:cubicBezTo>
                <a:cubicBezTo>
                  <a:pt x="59" y="85"/>
                  <a:pt x="58" y="85"/>
                  <a:pt x="57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0" y="85"/>
                  <a:pt x="49" y="85"/>
                  <a:pt x="49" y="84"/>
                </a:cubicBezTo>
                <a:cubicBezTo>
                  <a:pt x="48" y="83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8" y="74"/>
                  <a:pt x="49" y="74"/>
                </a:cubicBezTo>
                <a:cubicBezTo>
                  <a:pt x="49" y="73"/>
                  <a:pt x="50" y="73"/>
                  <a:pt x="51" y="73"/>
                </a:cubicBezTo>
                <a:cubicBezTo>
                  <a:pt x="57" y="73"/>
                  <a:pt x="57" y="73"/>
                  <a:pt x="57" y="73"/>
                </a:cubicBezTo>
                <a:cubicBezTo>
                  <a:pt x="58" y="73"/>
                  <a:pt x="59" y="73"/>
                  <a:pt x="59" y="74"/>
                </a:cubicBezTo>
                <a:cubicBezTo>
                  <a:pt x="60" y="74"/>
                  <a:pt x="60" y="75"/>
                  <a:pt x="60" y="76"/>
                </a:cubicBezTo>
                <a:close/>
                <a:moveTo>
                  <a:pt x="60" y="100"/>
                </a:moveTo>
                <a:cubicBezTo>
                  <a:pt x="60" y="106"/>
                  <a:pt x="60" y="106"/>
                  <a:pt x="60" y="106"/>
                </a:cubicBezTo>
                <a:cubicBezTo>
                  <a:pt x="60" y="107"/>
                  <a:pt x="60" y="108"/>
                  <a:pt x="59" y="108"/>
                </a:cubicBezTo>
                <a:cubicBezTo>
                  <a:pt x="59" y="109"/>
                  <a:pt x="58" y="109"/>
                  <a:pt x="57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0" y="109"/>
                  <a:pt x="49" y="109"/>
                  <a:pt x="49" y="108"/>
                </a:cubicBezTo>
                <a:cubicBezTo>
                  <a:pt x="48" y="108"/>
                  <a:pt x="48" y="107"/>
                  <a:pt x="48" y="106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8" y="99"/>
                  <a:pt x="48" y="99"/>
                  <a:pt x="49" y="98"/>
                </a:cubicBezTo>
                <a:cubicBezTo>
                  <a:pt x="49" y="97"/>
                  <a:pt x="50" y="97"/>
                  <a:pt x="51" y="97"/>
                </a:cubicBezTo>
                <a:cubicBezTo>
                  <a:pt x="57" y="97"/>
                  <a:pt x="57" y="97"/>
                  <a:pt x="57" y="97"/>
                </a:cubicBezTo>
                <a:cubicBezTo>
                  <a:pt x="58" y="97"/>
                  <a:pt x="59" y="97"/>
                  <a:pt x="59" y="98"/>
                </a:cubicBezTo>
                <a:cubicBezTo>
                  <a:pt x="60" y="99"/>
                  <a:pt x="60" y="99"/>
                  <a:pt x="60" y="100"/>
                </a:cubicBezTo>
                <a:close/>
                <a:moveTo>
                  <a:pt x="84" y="76"/>
                </a:moveTo>
                <a:cubicBezTo>
                  <a:pt x="84" y="82"/>
                  <a:pt x="84" y="82"/>
                  <a:pt x="84" y="82"/>
                </a:cubicBezTo>
                <a:cubicBezTo>
                  <a:pt x="84" y="83"/>
                  <a:pt x="84" y="83"/>
                  <a:pt x="83" y="84"/>
                </a:cubicBezTo>
                <a:cubicBezTo>
                  <a:pt x="83" y="85"/>
                  <a:pt x="82" y="85"/>
                  <a:pt x="81" y="85"/>
                </a:cubicBezTo>
                <a:cubicBezTo>
                  <a:pt x="75" y="85"/>
                  <a:pt x="75" y="85"/>
                  <a:pt x="75" y="85"/>
                </a:cubicBezTo>
                <a:cubicBezTo>
                  <a:pt x="74" y="85"/>
                  <a:pt x="74" y="85"/>
                  <a:pt x="73" y="84"/>
                </a:cubicBezTo>
                <a:cubicBezTo>
                  <a:pt x="72" y="83"/>
                  <a:pt x="72" y="83"/>
                  <a:pt x="72" y="82"/>
                </a:cubicBezTo>
                <a:cubicBezTo>
                  <a:pt x="72" y="76"/>
                  <a:pt x="72" y="76"/>
                  <a:pt x="72" y="76"/>
                </a:cubicBezTo>
                <a:cubicBezTo>
                  <a:pt x="72" y="75"/>
                  <a:pt x="72" y="74"/>
                  <a:pt x="73" y="74"/>
                </a:cubicBezTo>
                <a:cubicBezTo>
                  <a:pt x="74" y="73"/>
                  <a:pt x="74" y="73"/>
                  <a:pt x="75" y="73"/>
                </a:cubicBezTo>
                <a:cubicBezTo>
                  <a:pt x="81" y="73"/>
                  <a:pt x="81" y="73"/>
                  <a:pt x="81" y="73"/>
                </a:cubicBezTo>
                <a:cubicBezTo>
                  <a:pt x="82" y="73"/>
                  <a:pt x="83" y="73"/>
                  <a:pt x="83" y="74"/>
                </a:cubicBezTo>
                <a:cubicBezTo>
                  <a:pt x="84" y="74"/>
                  <a:pt x="84" y="75"/>
                  <a:pt x="84" y="76"/>
                </a:cubicBezTo>
                <a:close/>
                <a:moveTo>
                  <a:pt x="84" y="100"/>
                </a:moveTo>
                <a:cubicBezTo>
                  <a:pt x="84" y="106"/>
                  <a:pt x="84" y="106"/>
                  <a:pt x="84" y="106"/>
                </a:cubicBezTo>
                <a:cubicBezTo>
                  <a:pt x="84" y="107"/>
                  <a:pt x="84" y="108"/>
                  <a:pt x="83" y="108"/>
                </a:cubicBezTo>
                <a:cubicBezTo>
                  <a:pt x="83" y="109"/>
                  <a:pt x="82" y="109"/>
                  <a:pt x="81" y="109"/>
                </a:cubicBezTo>
                <a:cubicBezTo>
                  <a:pt x="75" y="109"/>
                  <a:pt x="75" y="109"/>
                  <a:pt x="75" y="109"/>
                </a:cubicBezTo>
                <a:cubicBezTo>
                  <a:pt x="74" y="109"/>
                  <a:pt x="74" y="109"/>
                  <a:pt x="73" y="108"/>
                </a:cubicBezTo>
                <a:cubicBezTo>
                  <a:pt x="72" y="108"/>
                  <a:pt x="72" y="107"/>
                  <a:pt x="72" y="106"/>
                </a:cubicBezTo>
                <a:cubicBezTo>
                  <a:pt x="72" y="100"/>
                  <a:pt x="72" y="100"/>
                  <a:pt x="72" y="100"/>
                </a:cubicBezTo>
                <a:cubicBezTo>
                  <a:pt x="72" y="99"/>
                  <a:pt x="72" y="99"/>
                  <a:pt x="73" y="98"/>
                </a:cubicBezTo>
                <a:cubicBezTo>
                  <a:pt x="74" y="97"/>
                  <a:pt x="74" y="97"/>
                  <a:pt x="75" y="97"/>
                </a:cubicBezTo>
                <a:cubicBezTo>
                  <a:pt x="81" y="97"/>
                  <a:pt x="81" y="97"/>
                  <a:pt x="81" y="97"/>
                </a:cubicBezTo>
                <a:cubicBezTo>
                  <a:pt x="82" y="97"/>
                  <a:pt x="83" y="97"/>
                  <a:pt x="83" y="98"/>
                </a:cubicBezTo>
                <a:cubicBezTo>
                  <a:pt x="84" y="99"/>
                  <a:pt x="84" y="99"/>
                  <a:pt x="84" y="100"/>
                </a:cubicBezTo>
                <a:close/>
                <a:moveTo>
                  <a:pt x="109" y="76"/>
                </a:moveTo>
                <a:cubicBezTo>
                  <a:pt x="109" y="82"/>
                  <a:pt x="109" y="82"/>
                  <a:pt x="109" y="82"/>
                </a:cubicBezTo>
                <a:cubicBezTo>
                  <a:pt x="109" y="83"/>
                  <a:pt x="108" y="83"/>
                  <a:pt x="108" y="84"/>
                </a:cubicBezTo>
                <a:cubicBezTo>
                  <a:pt x="107" y="85"/>
                  <a:pt x="106" y="85"/>
                  <a:pt x="105" y="85"/>
                </a:cubicBezTo>
                <a:cubicBezTo>
                  <a:pt x="99" y="85"/>
                  <a:pt x="99" y="85"/>
                  <a:pt x="99" y="85"/>
                </a:cubicBezTo>
                <a:cubicBezTo>
                  <a:pt x="99" y="85"/>
                  <a:pt x="98" y="85"/>
                  <a:pt x="97" y="84"/>
                </a:cubicBezTo>
                <a:cubicBezTo>
                  <a:pt x="97" y="83"/>
                  <a:pt x="96" y="83"/>
                  <a:pt x="96" y="82"/>
                </a:cubicBezTo>
                <a:cubicBezTo>
                  <a:pt x="96" y="76"/>
                  <a:pt x="96" y="76"/>
                  <a:pt x="96" y="76"/>
                </a:cubicBezTo>
                <a:cubicBezTo>
                  <a:pt x="96" y="75"/>
                  <a:pt x="97" y="74"/>
                  <a:pt x="97" y="74"/>
                </a:cubicBezTo>
                <a:cubicBezTo>
                  <a:pt x="98" y="73"/>
                  <a:pt x="99" y="73"/>
                  <a:pt x="99" y="73"/>
                </a:cubicBezTo>
                <a:cubicBezTo>
                  <a:pt x="105" y="73"/>
                  <a:pt x="105" y="73"/>
                  <a:pt x="105" y="73"/>
                </a:cubicBezTo>
                <a:cubicBezTo>
                  <a:pt x="106" y="73"/>
                  <a:pt x="107" y="73"/>
                  <a:pt x="108" y="74"/>
                </a:cubicBezTo>
                <a:cubicBezTo>
                  <a:pt x="108" y="74"/>
                  <a:pt x="109" y="75"/>
                  <a:pt x="109" y="76"/>
                </a:cubicBezTo>
                <a:close/>
                <a:moveTo>
                  <a:pt x="109" y="100"/>
                </a:moveTo>
                <a:cubicBezTo>
                  <a:pt x="109" y="106"/>
                  <a:pt x="109" y="106"/>
                  <a:pt x="109" y="106"/>
                </a:cubicBezTo>
                <a:cubicBezTo>
                  <a:pt x="109" y="107"/>
                  <a:pt x="108" y="108"/>
                  <a:pt x="108" y="108"/>
                </a:cubicBezTo>
                <a:cubicBezTo>
                  <a:pt x="107" y="109"/>
                  <a:pt x="106" y="109"/>
                  <a:pt x="105" y="109"/>
                </a:cubicBezTo>
                <a:cubicBezTo>
                  <a:pt x="99" y="109"/>
                  <a:pt x="99" y="109"/>
                  <a:pt x="99" y="109"/>
                </a:cubicBezTo>
                <a:cubicBezTo>
                  <a:pt x="99" y="109"/>
                  <a:pt x="98" y="109"/>
                  <a:pt x="97" y="108"/>
                </a:cubicBezTo>
                <a:cubicBezTo>
                  <a:pt x="97" y="108"/>
                  <a:pt x="96" y="107"/>
                  <a:pt x="96" y="106"/>
                </a:cubicBezTo>
                <a:cubicBezTo>
                  <a:pt x="96" y="100"/>
                  <a:pt x="96" y="100"/>
                  <a:pt x="96" y="100"/>
                </a:cubicBezTo>
                <a:cubicBezTo>
                  <a:pt x="96" y="99"/>
                  <a:pt x="97" y="99"/>
                  <a:pt x="97" y="98"/>
                </a:cubicBezTo>
                <a:cubicBezTo>
                  <a:pt x="98" y="97"/>
                  <a:pt x="99" y="97"/>
                  <a:pt x="99" y="97"/>
                </a:cubicBezTo>
                <a:cubicBezTo>
                  <a:pt x="105" y="97"/>
                  <a:pt x="105" y="97"/>
                  <a:pt x="105" y="97"/>
                </a:cubicBezTo>
                <a:cubicBezTo>
                  <a:pt x="106" y="97"/>
                  <a:pt x="107" y="97"/>
                  <a:pt x="108" y="98"/>
                </a:cubicBezTo>
                <a:cubicBezTo>
                  <a:pt x="108" y="99"/>
                  <a:pt x="109" y="99"/>
                  <a:pt x="109" y="100"/>
                </a:cubicBezTo>
                <a:close/>
                <a:moveTo>
                  <a:pt x="109" y="124"/>
                </a:moveTo>
                <a:cubicBezTo>
                  <a:pt x="109" y="130"/>
                  <a:pt x="109" y="130"/>
                  <a:pt x="109" y="130"/>
                </a:cubicBezTo>
                <a:cubicBezTo>
                  <a:pt x="109" y="131"/>
                  <a:pt x="108" y="132"/>
                  <a:pt x="108" y="132"/>
                </a:cubicBezTo>
                <a:cubicBezTo>
                  <a:pt x="107" y="133"/>
                  <a:pt x="106" y="133"/>
                  <a:pt x="105" y="133"/>
                </a:cubicBezTo>
                <a:cubicBezTo>
                  <a:pt x="99" y="133"/>
                  <a:pt x="99" y="133"/>
                  <a:pt x="99" y="133"/>
                </a:cubicBezTo>
                <a:cubicBezTo>
                  <a:pt x="99" y="133"/>
                  <a:pt x="98" y="133"/>
                  <a:pt x="97" y="132"/>
                </a:cubicBezTo>
                <a:cubicBezTo>
                  <a:pt x="97" y="132"/>
                  <a:pt x="96" y="131"/>
                  <a:pt x="96" y="130"/>
                </a:cubicBezTo>
                <a:cubicBezTo>
                  <a:pt x="96" y="124"/>
                  <a:pt x="96" y="124"/>
                  <a:pt x="96" y="124"/>
                </a:cubicBezTo>
                <a:cubicBezTo>
                  <a:pt x="96" y="123"/>
                  <a:pt x="97" y="123"/>
                  <a:pt x="97" y="122"/>
                </a:cubicBezTo>
                <a:cubicBezTo>
                  <a:pt x="98" y="122"/>
                  <a:pt x="99" y="121"/>
                  <a:pt x="99" y="121"/>
                </a:cubicBezTo>
                <a:cubicBezTo>
                  <a:pt x="105" y="121"/>
                  <a:pt x="105" y="121"/>
                  <a:pt x="105" y="121"/>
                </a:cubicBezTo>
                <a:cubicBezTo>
                  <a:pt x="106" y="121"/>
                  <a:pt x="107" y="122"/>
                  <a:pt x="108" y="122"/>
                </a:cubicBezTo>
                <a:cubicBezTo>
                  <a:pt x="108" y="123"/>
                  <a:pt x="109" y="123"/>
                  <a:pt x="109" y="1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5" name="Freeform 226"/>
          <p:cNvSpPr>
            <a:spLocks noChangeAspect="1" noEditPoints="1"/>
          </p:cNvSpPr>
          <p:nvPr/>
        </p:nvSpPr>
        <p:spPr bwMode="auto">
          <a:xfrm>
            <a:off x="6059913" y="3104357"/>
            <a:ext cx="182673" cy="151447"/>
          </a:xfrm>
          <a:custGeom>
            <a:avLst/>
            <a:gdLst>
              <a:gd name="T0" fmla="*/ 176 w 176"/>
              <a:gd name="T1" fmla="*/ 115 h 146"/>
              <a:gd name="T2" fmla="*/ 170 w 176"/>
              <a:gd name="T3" fmla="*/ 121 h 146"/>
              <a:gd name="T4" fmla="*/ 145 w 176"/>
              <a:gd name="T5" fmla="*/ 138 h 146"/>
              <a:gd name="T6" fmla="*/ 110 w 176"/>
              <a:gd name="T7" fmla="*/ 138 h 146"/>
              <a:gd name="T8" fmla="*/ 67 w 176"/>
              <a:gd name="T9" fmla="*/ 121 h 146"/>
              <a:gd name="T10" fmla="*/ 43 w 176"/>
              <a:gd name="T11" fmla="*/ 146 h 146"/>
              <a:gd name="T12" fmla="*/ 19 w 176"/>
              <a:gd name="T13" fmla="*/ 121 h 146"/>
              <a:gd name="T14" fmla="*/ 2 w 176"/>
              <a:gd name="T15" fmla="*/ 120 h 146"/>
              <a:gd name="T16" fmla="*/ 2 w 176"/>
              <a:gd name="T17" fmla="*/ 111 h 146"/>
              <a:gd name="T18" fmla="*/ 7 w 176"/>
              <a:gd name="T19" fmla="*/ 70 h 146"/>
              <a:gd name="T20" fmla="*/ 11 w 176"/>
              <a:gd name="T21" fmla="*/ 60 h 146"/>
              <a:gd name="T22" fmla="*/ 34 w 176"/>
              <a:gd name="T23" fmla="*/ 38 h 146"/>
              <a:gd name="T24" fmla="*/ 55 w 176"/>
              <a:gd name="T25" fmla="*/ 37 h 146"/>
              <a:gd name="T26" fmla="*/ 57 w 176"/>
              <a:gd name="T27" fmla="*/ 2 h 146"/>
              <a:gd name="T28" fmla="*/ 170 w 176"/>
              <a:gd name="T29" fmla="*/ 0 h 146"/>
              <a:gd name="T30" fmla="*/ 176 w 176"/>
              <a:gd name="T31" fmla="*/ 6 h 146"/>
              <a:gd name="T32" fmla="*/ 55 w 176"/>
              <a:gd name="T33" fmla="*/ 73 h 146"/>
              <a:gd name="T34" fmla="*/ 40 w 176"/>
              <a:gd name="T35" fmla="*/ 49 h 146"/>
              <a:gd name="T36" fmla="*/ 19 w 176"/>
              <a:gd name="T37" fmla="*/ 68 h 146"/>
              <a:gd name="T38" fmla="*/ 19 w 176"/>
              <a:gd name="T39" fmla="*/ 73 h 146"/>
              <a:gd name="T40" fmla="*/ 55 w 176"/>
              <a:gd name="T41" fmla="*/ 121 h 146"/>
              <a:gd name="T42" fmla="*/ 43 w 176"/>
              <a:gd name="T43" fmla="*/ 109 h 146"/>
              <a:gd name="T44" fmla="*/ 31 w 176"/>
              <a:gd name="T45" fmla="*/ 121 h 146"/>
              <a:gd name="T46" fmla="*/ 43 w 176"/>
              <a:gd name="T47" fmla="*/ 133 h 146"/>
              <a:gd name="T48" fmla="*/ 152 w 176"/>
              <a:gd name="T49" fmla="*/ 58 h 146"/>
              <a:gd name="T50" fmla="*/ 151 w 176"/>
              <a:gd name="T51" fmla="*/ 37 h 146"/>
              <a:gd name="T52" fmla="*/ 128 w 176"/>
              <a:gd name="T53" fmla="*/ 37 h 146"/>
              <a:gd name="T54" fmla="*/ 127 w 176"/>
              <a:gd name="T55" fmla="*/ 13 h 146"/>
              <a:gd name="T56" fmla="*/ 106 w 176"/>
              <a:gd name="T57" fmla="*/ 12 h 146"/>
              <a:gd name="T58" fmla="*/ 103 w 176"/>
              <a:gd name="T59" fmla="*/ 15 h 146"/>
              <a:gd name="T60" fmla="*/ 82 w 176"/>
              <a:gd name="T61" fmla="*/ 37 h 146"/>
              <a:gd name="T62" fmla="*/ 79 w 176"/>
              <a:gd name="T63" fmla="*/ 40 h 146"/>
              <a:gd name="T64" fmla="*/ 80 w 176"/>
              <a:gd name="T65" fmla="*/ 60 h 146"/>
              <a:gd name="T66" fmla="*/ 103 w 176"/>
              <a:gd name="T67" fmla="*/ 61 h 146"/>
              <a:gd name="T68" fmla="*/ 104 w 176"/>
              <a:gd name="T69" fmla="*/ 84 h 146"/>
              <a:gd name="T70" fmla="*/ 125 w 176"/>
              <a:gd name="T71" fmla="*/ 85 h 146"/>
              <a:gd name="T72" fmla="*/ 128 w 176"/>
              <a:gd name="T73" fmla="*/ 82 h 146"/>
              <a:gd name="T74" fmla="*/ 149 w 176"/>
              <a:gd name="T75" fmla="*/ 61 h 146"/>
              <a:gd name="T76" fmla="*/ 152 w 176"/>
              <a:gd name="T77" fmla="*/ 58 h 146"/>
              <a:gd name="T78" fmla="*/ 140 w 176"/>
              <a:gd name="T79" fmla="*/ 121 h 146"/>
              <a:gd name="T80" fmla="*/ 128 w 176"/>
              <a:gd name="T81" fmla="*/ 109 h 146"/>
              <a:gd name="T82" fmla="*/ 115 w 176"/>
              <a:gd name="T83" fmla="*/ 121 h 146"/>
              <a:gd name="T84" fmla="*/ 128 w 176"/>
              <a:gd name="T85" fmla="*/ 13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6" h="146">
                <a:moveTo>
                  <a:pt x="176" y="6"/>
                </a:moveTo>
                <a:cubicBezTo>
                  <a:pt x="176" y="115"/>
                  <a:pt x="176" y="115"/>
                  <a:pt x="176" y="115"/>
                </a:cubicBezTo>
                <a:cubicBezTo>
                  <a:pt x="176" y="117"/>
                  <a:pt x="175" y="118"/>
                  <a:pt x="174" y="120"/>
                </a:cubicBezTo>
                <a:cubicBezTo>
                  <a:pt x="173" y="121"/>
                  <a:pt x="172" y="121"/>
                  <a:pt x="170" y="121"/>
                </a:cubicBezTo>
                <a:cubicBezTo>
                  <a:pt x="152" y="121"/>
                  <a:pt x="152" y="121"/>
                  <a:pt x="152" y="121"/>
                </a:cubicBezTo>
                <a:cubicBezTo>
                  <a:pt x="152" y="128"/>
                  <a:pt x="149" y="134"/>
                  <a:pt x="145" y="138"/>
                </a:cubicBezTo>
                <a:cubicBezTo>
                  <a:pt x="140" y="143"/>
                  <a:pt x="134" y="146"/>
                  <a:pt x="128" y="146"/>
                </a:cubicBezTo>
                <a:cubicBezTo>
                  <a:pt x="121" y="146"/>
                  <a:pt x="115" y="143"/>
                  <a:pt x="110" y="138"/>
                </a:cubicBezTo>
                <a:cubicBezTo>
                  <a:pt x="106" y="134"/>
                  <a:pt x="103" y="128"/>
                  <a:pt x="103" y="121"/>
                </a:cubicBezTo>
                <a:cubicBezTo>
                  <a:pt x="67" y="121"/>
                  <a:pt x="67" y="121"/>
                  <a:pt x="67" y="121"/>
                </a:cubicBezTo>
                <a:cubicBezTo>
                  <a:pt x="67" y="128"/>
                  <a:pt x="65" y="134"/>
                  <a:pt x="60" y="138"/>
                </a:cubicBezTo>
                <a:cubicBezTo>
                  <a:pt x="55" y="143"/>
                  <a:pt x="50" y="146"/>
                  <a:pt x="43" y="146"/>
                </a:cubicBezTo>
                <a:cubicBezTo>
                  <a:pt x="36" y="146"/>
                  <a:pt x="30" y="143"/>
                  <a:pt x="26" y="138"/>
                </a:cubicBezTo>
                <a:cubicBezTo>
                  <a:pt x="21" y="134"/>
                  <a:pt x="19" y="128"/>
                  <a:pt x="19" y="121"/>
                </a:cubicBezTo>
                <a:cubicBezTo>
                  <a:pt x="7" y="121"/>
                  <a:pt x="7" y="121"/>
                  <a:pt x="7" y="121"/>
                </a:cubicBezTo>
                <a:cubicBezTo>
                  <a:pt x="5" y="121"/>
                  <a:pt x="3" y="121"/>
                  <a:pt x="2" y="120"/>
                </a:cubicBezTo>
                <a:cubicBezTo>
                  <a:pt x="1" y="118"/>
                  <a:pt x="0" y="117"/>
                  <a:pt x="0" y="115"/>
                </a:cubicBezTo>
                <a:cubicBezTo>
                  <a:pt x="0" y="114"/>
                  <a:pt x="1" y="112"/>
                  <a:pt x="2" y="111"/>
                </a:cubicBezTo>
                <a:cubicBezTo>
                  <a:pt x="3" y="110"/>
                  <a:pt x="5" y="109"/>
                  <a:pt x="7" y="109"/>
                </a:cubicBezTo>
                <a:cubicBezTo>
                  <a:pt x="7" y="70"/>
                  <a:pt x="7" y="70"/>
                  <a:pt x="7" y="70"/>
                </a:cubicBezTo>
                <a:cubicBezTo>
                  <a:pt x="7" y="68"/>
                  <a:pt x="7" y="66"/>
                  <a:pt x="8" y="64"/>
                </a:cubicBezTo>
                <a:cubicBezTo>
                  <a:pt x="9" y="62"/>
                  <a:pt x="10" y="61"/>
                  <a:pt x="11" y="60"/>
                </a:cubicBezTo>
                <a:cubicBezTo>
                  <a:pt x="30" y="41"/>
                  <a:pt x="30" y="41"/>
                  <a:pt x="30" y="41"/>
                </a:cubicBezTo>
                <a:cubicBezTo>
                  <a:pt x="31" y="40"/>
                  <a:pt x="32" y="39"/>
                  <a:pt x="34" y="38"/>
                </a:cubicBezTo>
                <a:cubicBezTo>
                  <a:pt x="36" y="37"/>
                  <a:pt x="38" y="37"/>
                  <a:pt x="40" y="37"/>
                </a:cubicBezTo>
                <a:cubicBezTo>
                  <a:pt x="55" y="37"/>
                  <a:pt x="55" y="37"/>
                  <a:pt x="55" y="37"/>
                </a:cubicBezTo>
                <a:cubicBezTo>
                  <a:pt x="55" y="6"/>
                  <a:pt x="55" y="6"/>
                  <a:pt x="55" y="6"/>
                </a:cubicBezTo>
                <a:cubicBezTo>
                  <a:pt x="55" y="5"/>
                  <a:pt x="56" y="3"/>
                  <a:pt x="57" y="2"/>
                </a:cubicBezTo>
                <a:cubicBezTo>
                  <a:pt x="58" y="1"/>
                  <a:pt x="59" y="0"/>
                  <a:pt x="61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72" y="0"/>
                  <a:pt x="173" y="1"/>
                  <a:pt x="174" y="2"/>
                </a:cubicBezTo>
                <a:cubicBezTo>
                  <a:pt x="175" y="3"/>
                  <a:pt x="176" y="5"/>
                  <a:pt x="176" y="6"/>
                </a:cubicBezTo>
                <a:close/>
                <a:moveTo>
                  <a:pt x="19" y="73"/>
                </a:moveTo>
                <a:cubicBezTo>
                  <a:pt x="55" y="73"/>
                  <a:pt x="55" y="73"/>
                  <a:pt x="55" y="73"/>
                </a:cubicBezTo>
                <a:cubicBezTo>
                  <a:pt x="55" y="49"/>
                  <a:pt x="55" y="49"/>
                  <a:pt x="55" y="49"/>
                </a:cubicBezTo>
                <a:cubicBezTo>
                  <a:pt x="40" y="49"/>
                  <a:pt x="40" y="49"/>
                  <a:pt x="40" y="49"/>
                </a:cubicBezTo>
                <a:cubicBezTo>
                  <a:pt x="39" y="49"/>
                  <a:pt x="38" y="49"/>
                  <a:pt x="38" y="50"/>
                </a:cubicBezTo>
                <a:cubicBezTo>
                  <a:pt x="19" y="68"/>
                  <a:pt x="19" y="68"/>
                  <a:pt x="19" y="68"/>
                </a:cubicBezTo>
                <a:cubicBezTo>
                  <a:pt x="19" y="69"/>
                  <a:pt x="19" y="69"/>
                  <a:pt x="19" y="70"/>
                </a:cubicBezTo>
                <a:lnTo>
                  <a:pt x="19" y="73"/>
                </a:lnTo>
                <a:close/>
                <a:moveTo>
                  <a:pt x="51" y="130"/>
                </a:moveTo>
                <a:cubicBezTo>
                  <a:pt x="54" y="128"/>
                  <a:pt x="55" y="125"/>
                  <a:pt x="55" y="121"/>
                </a:cubicBezTo>
                <a:cubicBezTo>
                  <a:pt x="55" y="118"/>
                  <a:pt x="54" y="115"/>
                  <a:pt x="51" y="113"/>
                </a:cubicBezTo>
                <a:cubicBezTo>
                  <a:pt x="49" y="110"/>
                  <a:pt x="46" y="109"/>
                  <a:pt x="43" y="109"/>
                </a:cubicBezTo>
                <a:cubicBezTo>
                  <a:pt x="40" y="109"/>
                  <a:pt x="37" y="110"/>
                  <a:pt x="34" y="113"/>
                </a:cubicBezTo>
                <a:cubicBezTo>
                  <a:pt x="32" y="115"/>
                  <a:pt x="31" y="118"/>
                  <a:pt x="31" y="121"/>
                </a:cubicBezTo>
                <a:cubicBezTo>
                  <a:pt x="31" y="125"/>
                  <a:pt x="32" y="128"/>
                  <a:pt x="34" y="130"/>
                </a:cubicBezTo>
                <a:cubicBezTo>
                  <a:pt x="37" y="132"/>
                  <a:pt x="40" y="133"/>
                  <a:pt x="43" y="133"/>
                </a:cubicBezTo>
                <a:cubicBezTo>
                  <a:pt x="46" y="133"/>
                  <a:pt x="49" y="132"/>
                  <a:pt x="51" y="130"/>
                </a:cubicBezTo>
                <a:close/>
                <a:moveTo>
                  <a:pt x="152" y="58"/>
                </a:moveTo>
                <a:cubicBezTo>
                  <a:pt x="152" y="40"/>
                  <a:pt x="152" y="40"/>
                  <a:pt x="152" y="40"/>
                </a:cubicBezTo>
                <a:cubicBezTo>
                  <a:pt x="152" y="39"/>
                  <a:pt x="151" y="38"/>
                  <a:pt x="151" y="37"/>
                </a:cubicBezTo>
                <a:cubicBezTo>
                  <a:pt x="150" y="37"/>
                  <a:pt x="150" y="37"/>
                  <a:pt x="149" y="37"/>
                </a:cubicBezTo>
                <a:cubicBezTo>
                  <a:pt x="128" y="37"/>
                  <a:pt x="128" y="37"/>
                  <a:pt x="128" y="37"/>
                </a:cubicBezTo>
                <a:cubicBezTo>
                  <a:pt x="128" y="15"/>
                  <a:pt x="128" y="15"/>
                  <a:pt x="128" y="15"/>
                </a:cubicBezTo>
                <a:cubicBezTo>
                  <a:pt x="128" y="15"/>
                  <a:pt x="127" y="14"/>
                  <a:pt x="127" y="13"/>
                </a:cubicBezTo>
                <a:cubicBezTo>
                  <a:pt x="126" y="13"/>
                  <a:pt x="125" y="12"/>
                  <a:pt x="125" y="12"/>
                </a:cubicBezTo>
                <a:cubicBezTo>
                  <a:pt x="106" y="12"/>
                  <a:pt x="106" y="12"/>
                  <a:pt x="106" y="12"/>
                </a:cubicBezTo>
                <a:cubicBezTo>
                  <a:pt x="106" y="12"/>
                  <a:pt x="105" y="13"/>
                  <a:pt x="104" y="13"/>
                </a:cubicBezTo>
                <a:cubicBezTo>
                  <a:pt x="104" y="14"/>
                  <a:pt x="103" y="15"/>
                  <a:pt x="103" y="15"/>
                </a:cubicBezTo>
                <a:cubicBezTo>
                  <a:pt x="103" y="37"/>
                  <a:pt x="103" y="37"/>
                  <a:pt x="103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1" y="37"/>
                  <a:pt x="81" y="37"/>
                  <a:pt x="80" y="37"/>
                </a:cubicBezTo>
                <a:cubicBezTo>
                  <a:pt x="79" y="38"/>
                  <a:pt x="79" y="39"/>
                  <a:pt x="79" y="40"/>
                </a:cubicBezTo>
                <a:cubicBezTo>
                  <a:pt x="79" y="58"/>
                  <a:pt x="79" y="58"/>
                  <a:pt x="79" y="58"/>
                </a:cubicBezTo>
                <a:cubicBezTo>
                  <a:pt x="79" y="59"/>
                  <a:pt x="79" y="59"/>
                  <a:pt x="80" y="60"/>
                </a:cubicBezTo>
                <a:cubicBezTo>
                  <a:pt x="81" y="61"/>
                  <a:pt x="81" y="61"/>
                  <a:pt x="82" y="61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03" y="82"/>
                  <a:pt x="103" y="82"/>
                  <a:pt x="103" y="82"/>
                </a:cubicBezTo>
                <a:cubicBezTo>
                  <a:pt x="103" y="83"/>
                  <a:pt x="104" y="84"/>
                  <a:pt x="104" y="84"/>
                </a:cubicBezTo>
                <a:cubicBezTo>
                  <a:pt x="105" y="85"/>
                  <a:pt x="106" y="85"/>
                  <a:pt x="106" y="85"/>
                </a:cubicBezTo>
                <a:cubicBezTo>
                  <a:pt x="125" y="85"/>
                  <a:pt x="125" y="85"/>
                  <a:pt x="125" y="85"/>
                </a:cubicBezTo>
                <a:cubicBezTo>
                  <a:pt x="125" y="85"/>
                  <a:pt x="126" y="85"/>
                  <a:pt x="127" y="84"/>
                </a:cubicBezTo>
                <a:cubicBezTo>
                  <a:pt x="127" y="84"/>
                  <a:pt x="128" y="83"/>
                  <a:pt x="128" y="82"/>
                </a:cubicBezTo>
                <a:cubicBezTo>
                  <a:pt x="128" y="61"/>
                  <a:pt x="128" y="61"/>
                  <a:pt x="128" y="61"/>
                </a:cubicBezTo>
                <a:cubicBezTo>
                  <a:pt x="149" y="61"/>
                  <a:pt x="149" y="61"/>
                  <a:pt x="149" y="61"/>
                </a:cubicBezTo>
                <a:cubicBezTo>
                  <a:pt x="150" y="61"/>
                  <a:pt x="150" y="61"/>
                  <a:pt x="151" y="60"/>
                </a:cubicBezTo>
                <a:cubicBezTo>
                  <a:pt x="151" y="59"/>
                  <a:pt x="152" y="59"/>
                  <a:pt x="152" y="58"/>
                </a:cubicBezTo>
                <a:close/>
                <a:moveTo>
                  <a:pt x="136" y="130"/>
                </a:moveTo>
                <a:cubicBezTo>
                  <a:pt x="138" y="128"/>
                  <a:pt x="140" y="125"/>
                  <a:pt x="140" y="121"/>
                </a:cubicBezTo>
                <a:cubicBezTo>
                  <a:pt x="140" y="118"/>
                  <a:pt x="138" y="115"/>
                  <a:pt x="136" y="113"/>
                </a:cubicBezTo>
                <a:cubicBezTo>
                  <a:pt x="134" y="110"/>
                  <a:pt x="131" y="109"/>
                  <a:pt x="128" y="109"/>
                </a:cubicBezTo>
                <a:cubicBezTo>
                  <a:pt x="124" y="109"/>
                  <a:pt x="121" y="110"/>
                  <a:pt x="119" y="113"/>
                </a:cubicBezTo>
                <a:cubicBezTo>
                  <a:pt x="117" y="115"/>
                  <a:pt x="115" y="118"/>
                  <a:pt x="115" y="121"/>
                </a:cubicBezTo>
                <a:cubicBezTo>
                  <a:pt x="115" y="125"/>
                  <a:pt x="117" y="128"/>
                  <a:pt x="119" y="130"/>
                </a:cubicBezTo>
                <a:cubicBezTo>
                  <a:pt x="121" y="132"/>
                  <a:pt x="124" y="133"/>
                  <a:pt x="128" y="133"/>
                </a:cubicBezTo>
                <a:cubicBezTo>
                  <a:pt x="131" y="133"/>
                  <a:pt x="134" y="132"/>
                  <a:pt x="136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6" name="Freeform 227"/>
          <p:cNvSpPr>
            <a:spLocks noChangeAspect="1" noEditPoints="1"/>
          </p:cNvSpPr>
          <p:nvPr/>
        </p:nvSpPr>
        <p:spPr bwMode="auto">
          <a:xfrm>
            <a:off x="6289425" y="3104357"/>
            <a:ext cx="174866" cy="151447"/>
          </a:xfrm>
          <a:custGeom>
            <a:avLst/>
            <a:gdLst>
              <a:gd name="T0" fmla="*/ 24 w 169"/>
              <a:gd name="T1" fmla="*/ 146 h 146"/>
              <a:gd name="T2" fmla="*/ 6 w 169"/>
              <a:gd name="T3" fmla="*/ 139 h 146"/>
              <a:gd name="T4" fmla="*/ 0 w 169"/>
              <a:gd name="T5" fmla="*/ 46 h 146"/>
              <a:gd name="T6" fmla="*/ 21 w 169"/>
              <a:gd name="T7" fmla="*/ 25 h 146"/>
              <a:gd name="T8" fmla="*/ 136 w 169"/>
              <a:gd name="T9" fmla="*/ 25 h 146"/>
              <a:gd name="T10" fmla="*/ 33 w 169"/>
              <a:gd name="T11" fmla="*/ 146 h 146"/>
              <a:gd name="T12" fmla="*/ 48 w 169"/>
              <a:gd name="T13" fmla="*/ 25 h 146"/>
              <a:gd name="T14" fmla="*/ 51 w 169"/>
              <a:gd name="T15" fmla="*/ 3 h 146"/>
              <a:gd name="T16" fmla="*/ 112 w 169"/>
              <a:gd name="T17" fmla="*/ 0 h 146"/>
              <a:gd name="T18" fmla="*/ 121 w 169"/>
              <a:gd name="T19" fmla="*/ 9 h 146"/>
              <a:gd name="T20" fmla="*/ 136 w 169"/>
              <a:gd name="T21" fmla="*/ 25 h 146"/>
              <a:gd name="T22" fmla="*/ 121 w 169"/>
              <a:gd name="T23" fmla="*/ 76 h 146"/>
              <a:gd name="T24" fmla="*/ 118 w 169"/>
              <a:gd name="T25" fmla="*/ 73 h 146"/>
              <a:gd name="T26" fmla="*/ 97 w 169"/>
              <a:gd name="T27" fmla="*/ 52 h 146"/>
              <a:gd name="T28" fmla="*/ 93 w 169"/>
              <a:gd name="T29" fmla="*/ 49 h 146"/>
              <a:gd name="T30" fmla="*/ 73 w 169"/>
              <a:gd name="T31" fmla="*/ 50 h 146"/>
              <a:gd name="T32" fmla="*/ 72 w 169"/>
              <a:gd name="T33" fmla="*/ 73 h 146"/>
              <a:gd name="T34" fmla="*/ 49 w 169"/>
              <a:gd name="T35" fmla="*/ 74 h 146"/>
              <a:gd name="T36" fmla="*/ 48 w 169"/>
              <a:gd name="T37" fmla="*/ 94 h 146"/>
              <a:gd name="T38" fmla="*/ 51 w 169"/>
              <a:gd name="T39" fmla="*/ 97 h 146"/>
              <a:gd name="T40" fmla="*/ 72 w 169"/>
              <a:gd name="T41" fmla="*/ 118 h 146"/>
              <a:gd name="T42" fmla="*/ 75 w 169"/>
              <a:gd name="T43" fmla="*/ 121 h 146"/>
              <a:gd name="T44" fmla="*/ 96 w 169"/>
              <a:gd name="T45" fmla="*/ 120 h 146"/>
              <a:gd name="T46" fmla="*/ 97 w 169"/>
              <a:gd name="T47" fmla="*/ 97 h 146"/>
              <a:gd name="T48" fmla="*/ 120 w 169"/>
              <a:gd name="T49" fmla="*/ 96 h 146"/>
              <a:gd name="T50" fmla="*/ 60 w 169"/>
              <a:gd name="T51" fmla="*/ 25 h 146"/>
              <a:gd name="T52" fmla="*/ 109 w 169"/>
              <a:gd name="T53" fmla="*/ 12 h 146"/>
              <a:gd name="T54" fmla="*/ 60 w 169"/>
              <a:gd name="T55" fmla="*/ 25 h 146"/>
              <a:gd name="T56" fmla="*/ 169 w 169"/>
              <a:gd name="T57" fmla="*/ 124 h 146"/>
              <a:gd name="T58" fmla="*/ 148 w 169"/>
              <a:gd name="T59" fmla="*/ 146 h 146"/>
              <a:gd name="T60" fmla="*/ 145 w 169"/>
              <a:gd name="T61" fmla="*/ 25 h 146"/>
              <a:gd name="T62" fmla="*/ 163 w 169"/>
              <a:gd name="T63" fmla="*/ 3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9" h="146">
                <a:moveTo>
                  <a:pt x="24" y="25"/>
                </a:moveTo>
                <a:cubicBezTo>
                  <a:pt x="24" y="146"/>
                  <a:pt x="24" y="146"/>
                  <a:pt x="24" y="146"/>
                </a:cubicBezTo>
                <a:cubicBezTo>
                  <a:pt x="21" y="146"/>
                  <a:pt x="21" y="146"/>
                  <a:pt x="21" y="146"/>
                </a:cubicBezTo>
                <a:cubicBezTo>
                  <a:pt x="15" y="146"/>
                  <a:pt x="10" y="143"/>
                  <a:pt x="6" y="139"/>
                </a:cubicBezTo>
                <a:cubicBezTo>
                  <a:pt x="2" y="135"/>
                  <a:pt x="0" y="130"/>
                  <a:pt x="0" y="124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0"/>
                  <a:pt x="2" y="35"/>
                  <a:pt x="6" y="31"/>
                </a:cubicBezTo>
                <a:cubicBezTo>
                  <a:pt x="10" y="27"/>
                  <a:pt x="15" y="25"/>
                  <a:pt x="21" y="25"/>
                </a:cubicBezTo>
                <a:lnTo>
                  <a:pt x="24" y="25"/>
                </a:lnTo>
                <a:close/>
                <a:moveTo>
                  <a:pt x="136" y="25"/>
                </a:moveTo>
                <a:cubicBezTo>
                  <a:pt x="136" y="146"/>
                  <a:pt x="136" y="146"/>
                  <a:pt x="136" y="146"/>
                </a:cubicBezTo>
                <a:cubicBezTo>
                  <a:pt x="33" y="146"/>
                  <a:pt x="33" y="146"/>
                  <a:pt x="33" y="146"/>
                </a:cubicBezTo>
                <a:cubicBezTo>
                  <a:pt x="33" y="25"/>
                  <a:pt x="33" y="25"/>
                  <a:pt x="33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8" y="9"/>
                  <a:pt x="48" y="9"/>
                  <a:pt x="48" y="9"/>
                </a:cubicBezTo>
                <a:cubicBezTo>
                  <a:pt x="48" y="7"/>
                  <a:pt x="49" y="5"/>
                  <a:pt x="51" y="3"/>
                </a:cubicBezTo>
                <a:cubicBezTo>
                  <a:pt x="53" y="1"/>
                  <a:pt x="55" y="0"/>
                  <a:pt x="57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120" y="5"/>
                  <a:pt x="121" y="7"/>
                  <a:pt x="121" y="9"/>
                </a:cubicBezTo>
                <a:cubicBezTo>
                  <a:pt x="121" y="25"/>
                  <a:pt x="121" y="25"/>
                  <a:pt x="121" y="25"/>
                </a:cubicBezTo>
                <a:lnTo>
                  <a:pt x="136" y="25"/>
                </a:lnTo>
                <a:close/>
                <a:moveTo>
                  <a:pt x="121" y="94"/>
                </a:moveTo>
                <a:cubicBezTo>
                  <a:pt x="121" y="76"/>
                  <a:pt x="121" y="76"/>
                  <a:pt x="121" y="76"/>
                </a:cubicBezTo>
                <a:cubicBezTo>
                  <a:pt x="121" y="75"/>
                  <a:pt x="120" y="74"/>
                  <a:pt x="120" y="74"/>
                </a:cubicBezTo>
                <a:cubicBezTo>
                  <a:pt x="119" y="73"/>
                  <a:pt x="119" y="73"/>
                  <a:pt x="118" y="73"/>
                </a:cubicBezTo>
                <a:cubicBezTo>
                  <a:pt x="97" y="73"/>
                  <a:pt x="97" y="73"/>
                  <a:pt x="97" y="73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1"/>
                  <a:pt x="96" y="50"/>
                  <a:pt x="96" y="50"/>
                </a:cubicBezTo>
                <a:cubicBezTo>
                  <a:pt x="95" y="49"/>
                  <a:pt x="94" y="49"/>
                  <a:pt x="93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4" y="49"/>
                  <a:pt x="74" y="49"/>
                  <a:pt x="73" y="50"/>
                </a:cubicBezTo>
                <a:cubicBezTo>
                  <a:pt x="73" y="50"/>
                  <a:pt x="72" y="51"/>
                  <a:pt x="72" y="52"/>
                </a:cubicBezTo>
                <a:cubicBezTo>
                  <a:pt x="72" y="73"/>
                  <a:pt x="72" y="73"/>
                  <a:pt x="72" y="73"/>
                </a:cubicBezTo>
                <a:cubicBezTo>
                  <a:pt x="51" y="73"/>
                  <a:pt x="51" y="73"/>
                  <a:pt x="51" y="73"/>
                </a:cubicBezTo>
                <a:cubicBezTo>
                  <a:pt x="50" y="73"/>
                  <a:pt x="50" y="73"/>
                  <a:pt x="49" y="74"/>
                </a:cubicBezTo>
                <a:cubicBezTo>
                  <a:pt x="48" y="74"/>
                  <a:pt x="48" y="75"/>
                  <a:pt x="48" y="76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8" y="96"/>
                  <a:pt x="49" y="96"/>
                </a:cubicBezTo>
                <a:cubicBezTo>
                  <a:pt x="50" y="97"/>
                  <a:pt x="50" y="97"/>
                  <a:pt x="51" y="97"/>
                </a:cubicBezTo>
                <a:cubicBezTo>
                  <a:pt x="72" y="97"/>
                  <a:pt x="72" y="97"/>
                  <a:pt x="72" y="97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2" y="119"/>
                  <a:pt x="73" y="120"/>
                  <a:pt x="73" y="120"/>
                </a:cubicBezTo>
                <a:cubicBezTo>
                  <a:pt x="74" y="121"/>
                  <a:pt x="74" y="121"/>
                  <a:pt x="75" y="121"/>
                </a:cubicBezTo>
                <a:cubicBezTo>
                  <a:pt x="93" y="121"/>
                  <a:pt x="93" y="121"/>
                  <a:pt x="93" y="121"/>
                </a:cubicBezTo>
                <a:cubicBezTo>
                  <a:pt x="94" y="121"/>
                  <a:pt x="95" y="121"/>
                  <a:pt x="96" y="120"/>
                </a:cubicBezTo>
                <a:cubicBezTo>
                  <a:pt x="96" y="120"/>
                  <a:pt x="97" y="119"/>
                  <a:pt x="97" y="118"/>
                </a:cubicBezTo>
                <a:cubicBezTo>
                  <a:pt x="97" y="97"/>
                  <a:pt x="97" y="97"/>
                  <a:pt x="97" y="97"/>
                </a:cubicBezTo>
                <a:cubicBezTo>
                  <a:pt x="118" y="97"/>
                  <a:pt x="118" y="97"/>
                  <a:pt x="118" y="97"/>
                </a:cubicBezTo>
                <a:cubicBezTo>
                  <a:pt x="119" y="97"/>
                  <a:pt x="119" y="97"/>
                  <a:pt x="120" y="96"/>
                </a:cubicBezTo>
                <a:cubicBezTo>
                  <a:pt x="120" y="96"/>
                  <a:pt x="121" y="95"/>
                  <a:pt x="121" y="94"/>
                </a:cubicBezTo>
                <a:close/>
                <a:moveTo>
                  <a:pt x="60" y="25"/>
                </a:moveTo>
                <a:cubicBezTo>
                  <a:pt x="109" y="25"/>
                  <a:pt x="109" y="25"/>
                  <a:pt x="109" y="25"/>
                </a:cubicBezTo>
                <a:cubicBezTo>
                  <a:pt x="109" y="12"/>
                  <a:pt x="109" y="12"/>
                  <a:pt x="109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25"/>
                </a:lnTo>
                <a:close/>
                <a:moveTo>
                  <a:pt x="169" y="46"/>
                </a:moveTo>
                <a:cubicBezTo>
                  <a:pt x="169" y="124"/>
                  <a:pt x="169" y="124"/>
                  <a:pt x="169" y="124"/>
                </a:cubicBezTo>
                <a:cubicBezTo>
                  <a:pt x="169" y="130"/>
                  <a:pt x="167" y="135"/>
                  <a:pt x="163" y="139"/>
                </a:cubicBezTo>
                <a:cubicBezTo>
                  <a:pt x="159" y="143"/>
                  <a:pt x="154" y="146"/>
                  <a:pt x="148" y="146"/>
                </a:cubicBezTo>
                <a:cubicBezTo>
                  <a:pt x="145" y="146"/>
                  <a:pt x="145" y="146"/>
                  <a:pt x="145" y="146"/>
                </a:cubicBezTo>
                <a:cubicBezTo>
                  <a:pt x="145" y="25"/>
                  <a:pt x="145" y="25"/>
                  <a:pt x="145" y="25"/>
                </a:cubicBezTo>
                <a:cubicBezTo>
                  <a:pt x="148" y="25"/>
                  <a:pt x="148" y="25"/>
                  <a:pt x="148" y="25"/>
                </a:cubicBezTo>
                <a:cubicBezTo>
                  <a:pt x="154" y="25"/>
                  <a:pt x="159" y="27"/>
                  <a:pt x="163" y="31"/>
                </a:cubicBezTo>
                <a:cubicBezTo>
                  <a:pt x="167" y="35"/>
                  <a:pt x="169" y="40"/>
                  <a:pt x="169" y="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7" name="Freeform 228"/>
          <p:cNvSpPr>
            <a:spLocks noChangeAspect="1"/>
          </p:cNvSpPr>
          <p:nvPr/>
        </p:nvSpPr>
        <p:spPr bwMode="auto">
          <a:xfrm>
            <a:off x="6511130" y="3130899"/>
            <a:ext cx="187357" cy="112414"/>
          </a:xfrm>
          <a:custGeom>
            <a:avLst/>
            <a:gdLst>
              <a:gd name="T0" fmla="*/ 154 w 181"/>
              <a:gd name="T1" fmla="*/ 63 h 108"/>
              <a:gd name="T2" fmla="*/ 121 w 181"/>
              <a:gd name="T3" fmla="*/ 66 h 108"/>
              <a:gd name="T4" fmla="*/ 100 w 181"/>
              <a:gd name="T5" fmla="*/ 72 h 108"/>
              <a:gd name="T6" fmla="*/ 94 w 181"/>
              <a:gd name="T7" fmla="*/ 72 h 108"/>
              <a:gd name="T8" fmla="*/ 66 w 181"/>
              <a:gd name="T9" fmla="*/ 105 h 108"/>
              <a:gd name="T10" fmla="*/ 72 w 181"/>
              <a:gd name="T11" fmla="*/ 105 h 108"/>
              <a:gd name="T12" fmla="*/ 77 w 181"/>
              <a:gd name="T13" fmla="*/ 106 h 108"/>
              <a:gd name="T14" fmla="*/ 79 w 181"/>
              <a:gd name="T15" fmla="*/ 107 h 108"/>
              <a:gd name="T16" fmla="*/ 77 w 181"/>
              <a:gd name="T17" fmla="*/ 108 h 108"/>
              <a:gd name="T18" fmla="*/ 72 w 181"/>
              <a:gd name="T19" fmla="*/ 108 h 108"/>
              <a:gd name="T20" fmla="*/ 63 w 181"/>
              <a:gd name="T21" fmla="*/ 108 h 108"/>
              <a:gd name="T22" fmla="*/ 48 w 181"/>
              <a:gd name="T23" fmla="*/ 108 h 108"/>
              <a:gd name="T24" fmla="*/ 42 w 181"/>
              <a:gd name="T25" fmla="*/ 108 h 108"/>
              <a:gd name="T26" fmla="*/ 42 w 181"/>
              <a:gd name="T27" fmla="*/ 105 h 108"/>
              <a:gd name="T28" fmla="*/ 48 w 181"/>
              <a:gd name="T29" fmla="*/ 105 h 108"/>
              <a:gd name="T30" fmla="*/ 48 w 181"/>
              <a:gd name="T31" fmla="*/ 66 h 108"/>
              <a:gd name="T32" fmla="*/ 33 w 181"/>
              <a:gd name="T33" fmla="*/ 66 h 108"/>
              <a:gd name="T34" fmla="*/ 15 w 181"/>
              <a:gd name="T35" fmla="*/ 87 h 108"/>
              <a:gd name="T36" fmla="*/ 6 w 181"/>
              <a:gd name="T37" fmla="*/ 87 h 108"/>
              <a:gd name="T38" fmla="*/ 3 w 181"/>
              <a:gd name="T39" fmla="*/ 84 h 108"/>
              <a:gd name="T40" fmla="*/ 3 w 181"/>
              <a:gd name="T41" fmla="*/ 66 h 108"/>
              <a:gd name="T42" fmla="*/ 6 w 181"/>
              <a:gd name="T43" fmla="*/ 66 h 108"/>
              <a:gd name="T44" fmla="*/ 6 w 181"/>
              <a:gd name="T45" fmla="*/ 63 h 108"/>
              <a:gd name="T46" fmla="*/ 18 w 181"/>
              <a:gd name="T47" fmla="*/ 63 h 108"/>
              <a:gd name="T48" fmla="*/ 18 w 181"/>
              <a:gd name="T49" fmla="*/ 62 h 108"/>
              <a:gd name="T50" fmla="*/ 0 w 181"/>
              <a:gd name="T51" fmla="*/ 60 h 108"/>
              <a:gd name="T52" fmla="*/ 0 w 181"/>
              <a:gd name="T53" fmla="*/ 48 h 108"/>
              <a:gd name="T54" fmla="*/ 18 w 181"/>
              <a:gd name="T55" fmla="*/ 46 h 108"/>
              <a:gd name="T56" fmla="*/ 18 w 181"/>
              <a:gd name="T57" fmla="*/ 45 h 108"/>
              <a:gd name="T58" fmla="*/ 6 w 181"/>
              <a:gd name="T59" fmla="*/ 45 h 108"/>
              <a:gd name="T60" fmla="*/ 6 w 181"/>
              <a:gd name="T61" fmla="*/ 42 h 108"/>
              <a:gd name="T62" fmla="*/ 3 w 181"/>
              <a:gd name="T63" fmla="*/ 42 h 108"/>
              <a:gd name="T64" fmla="*/ 3 w 181"/>
              <a:gd name="T65" fmla="*/ 24 h 108"/>
              <a:gd name="T66" fmla="*/ 6 w 181"/>
              <a:gd name="T67" fmla="*/ 21 h 108"/>
              <a:gd name="T68" fmla="*/ 15 w 181"/>
              <a:gd name="T69" fmla="*/ 21 h 108"/>
              <a:gd name="T70" fmla="*/ 33 w 181"/>
              <a:gd name="T71" fmla="*/ 42 h 108"/>
              <a:gd name="T72" fmla="*/ 48 w 181"/>
              <a:gd name="T73" fmla="*/ 42 h 108"/>
              <a:gd name="T74" fmla="*/ 48 w 181"/>
              <a:gd name="T75" fmla="*/ 3 h 108"/>
              <a:gd name="T76" fmla="*/ 42 w 181"/>
              <a:gd name="T77" fmla="*/ 3 h 108"/>
              <a:gd name="T78" fmla="*/ 42 w 181"/>
              <a:gd name="T79" fmla="*/ 0 h 108"/>
              <a:gd name="T80" fmla="*/ 48 w 181"/>
              <a:gd name="T81" fmla="*/ 0 h 108"/>
              <a:gd name="T82" fmla="*/ 63 w 181"/>
              <a:gd name="T83" fmla="*/ 0 h 108"/>
              <a:gd name="T84" fmla="*/ 72 w 181"/>
              <a:gd name="T85" fmla="*/ 0 h 108"/>
              <a:gd name="T86" fmla="*/ 77 w 181"/>
              <a:gd name="T87" fmla="*/ 0 h 108"/>
              <a:gd name="T88" fmla="*/ 79 w 181"/>
              <a:gd name="T89" fmla="*/ 1 h 108"/>
              <a:gd name="T90" fmla="*/ 77 w 181"/>
              <a:gd name="T91" fmla="*/ 2 h 108"/>
              <a:gd name="T92" fmla="*/ 72 w 181"/>
              <a:gd name="T93" fmla="*/ 3 h 108"/>
              <a:gd name="T94" fmla="*/ 66 w 181"/>
              <a:gd name="T95" fmla="*/ 3 h 108"/>
              <a:gd name="T96" fmla="*/ 94 w 181"/>
              <a:gd name="T97" fmla="*/ 36 h 108"/>
              <a:gd name="T98" fmla="*/ 100 w 181"/>
              <a:gd name="T99" fmla="*/ 36 h 108"/>
              <a:gd name="T100" fmla="*/ 121 w 181"/>
              <a:gd name="T101" fmla="*/ 42 h 108"/>
              <a:gd name="T102" fmla="*/ 154 w 181"/>
              <a:gd name="T103" fmla="*/ 45 h 108"/>
              <a:gd name="T104" fmla="*/ 181 w 181"/>
              <a:gd name="T105" fmla="*/ 54 h 108"/>
              <a:gd name="T106" fmla="*/ 181 w 181"/>
              <a:gd name="T107" fmla="*/ 54 h 108"/>
              <a:gd name="T108" fmla="*/ 154 w 181"/>
              <a:gd name="T109" fmla="*/ 63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1" h="108">
                <a:moveTo>
                  <a:pt x="154" y="63"/>
                </a:moveTo>
                <a:cubicBezTo>
                  <a:pt x="121" y="66"/>
                  <a:pt x="121" y="66"/>
                  <a:pt x="121" y="66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94" y="72"/>
                  <a:pt x="94" y="72"/>
                  <a:pt x="94" y="72"/>
                </a:cubicBezTo>
                <a:cubicBezTo>
                  <a:pt x="66" y="105"/>
                  <a:pt x="66" y="105"/>
                  <a:pt x="66" y="105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4" y="105"/>
                  <a:pt x="76" y="106"/>
                  <a:pt x="77" y="106"/>
                </a:cubicBezTo>
                <a:cubicBezTo>
                  <a:pt x="78" y="106"/>
                  <a:pt x="79" y="106"/>
                  <a:pt x="79" y="107"/>
                </a:cubicBezTo>
                <a:cubicBezTo>
                  <a:pt x="79" y="107"/>
                  <a:pt x="78" y="108"/>
                  <a:pt x="77" y="108"/>
                </a:cubicBezTo>
                <a:cubicBezTo>
                  <a:pt x="76" y="108"/>
                  <a:pt x="74" y="108"/>
                  <a:pt x="72" y="108"/>
                </a:cubicBezTo>
                <a:cubicBezTo>
                  <a:pt x="63" y="108"/>
                  <a:pt x="63" y="108"/>
                  <a:pt x="63" y="108"/>
                </a:cubicBezTo>
                <a:cubicBezTo>
                  <a:pt x="48" y="108"/>
                  <a:pt x="48" y="108"/>
                  <a:pt x="48" y="108"/>
                </a:cubicBezTo>
                <a:cubicBezTo>
                  <a:pt x="42" y="108"/>
                  <a:pt x="42" y="108"/>
                  <a:pt x="42" y="108"/>
                </a:cubicBezTo>
                <a:cubicBezTo>
                  <a:pt x="42" y="105"/>
                  <a:pt x="42" y="105"/>
                  <a:pt x="42" y="105"/>
                </a:cubicBezTo>
                <a:cubicBezTo>
                  <a:pt x="48" y="105"/>
                  <a:pt x="48" y="105"/>
                  <a:pt x="48" y="105"/>
                </a:cubicBezTo>
                <a:cubicBezTo>
                  <a:pt x="48" y="66"/>
                  <a:pt x="48" y="66"/>
                  <a:pt x="48" y="66"/>
                </a:cubicBezTo>
                <a:cubicBezTo>
                  <a:pt x="33" y="66"/>
                  <a:pt x="33" y="66"/>
                  <a:pt x="33" y="66"/>
                </a:cubicBezTo>
                <a:cubicBezTo>
                  <a:pt x="15" y="87"/>
                  <a:pt x="15" y="87"/>
                  <a:pt x="15" y="87"/>
                </a:cubicBezTo>
                <a:cubicBezTo>
                  <a:pt x="6" y="87"/>
                  <a:pt x="6" y="87"/>
                  <a:pt x="6" y="87"/>
                </a:cubicBezTo>
                <a:cubicBezTo>
                  <a:pt x="3" y="84"/>
                  <a:pt x="3" y="84"/>
                  <a:pt x="3" y="84"/>
                </a:cubicBezTo>
                <a:cubicBezTo>
                  <a:pt x="3" y="66"/>
                  <a:pt x="3" y="66"/>
                  <a:pt x="3" y="66"/>
                </a:cubicBezTo>
                <a:cubicBezTo>
                  <a:pt x="6" y="66"/>
                  <a:pt x="6" y="66"/>
                  <a:pt x="6" y="66"/>
                </a:cubicBezTo>
                <a:cubicBezTo>
                  <a:pt x="6" y="63"/>
                  <a:pt x="6" y="63"/>
                  <a:pt x="6" y="63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2"/>
                  <a:pt x="18" y="62"/>
                  <a:pt x="18" y="62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48"/>
                  <a:pt x="0" y="48"/>
                  <a:pt x="0" y="48"/>
                </a:cubicBezTo>
                <a:cubicBezTo>
                  <a:pt x="18" y="46"/>
                  <a:pt x="18" y="46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6" y="42"/>
                  <a:pt x="6" y="42"/>
                  <a:pt x="6" y="42"/>
                </a:cubicBezTo>
                <a:cubicBezTo>
                  <a:pt x="3" y="42"/>
                  <a:pt x="3" y="42"/>
                  <a:pt x="3" y="42"/>
                </a:cubicBezTo>
                <a:cubicBezTo>
                  <a:pt x="3" y="24"/>
                  <a:pt x="3" y="24"/>
                  <a:pt x="3" y="24"/>
                </a:cubicBezTo>
                <a:cubicBezTo>
                  <a:pt x="6" y="21"/>
                  <a:pt x="6" y="21"/>
                  <a:pt x="6" y="21"/>
                </a:cubicBezTo>
                <a:cubicBezTo>
                  <a:pt x="15" y="21"/>
                  <a:pt x="15" y="21"/>
                  <a:pt x="15" y="21"/>
                </a:cubicBezTo>
                <a:cubicBezTo>
                  <a:pt x="33" y="42"/>
                  <a:pt x="33" y="42"/>
                  <a:pt x="33" y="42"/>
                </a:cubicBezTo>
                <a:cubicBezTo>
                  <a:pt x="48" y="42"/>
                  <a:pt x="48" y="42"/>
                  <a:pt x="48" y="42"/>
                </a:cubicBezTo>
                <a:cubicBezTo>
                  <a:pt x="48" y="3"/>
                  <a:pt x="48" y="3"/>
                  <a:pt x="48" y="3"/>
                </a:cubicBezTo>
                <a:cubicBezTo>
                  <a:pt x="42" y="3"/>
                  <a:pt x="42" y="3"/>
                  <a:pt x="42" y="3"/>
                </a:cubicBezTo>
                <a:cubicBezTo>
                  <a:pt x="42" y="0"/>
                  <a:pt x="42" y="0"/>
                  <a:pt x="4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74" y="0"/>
                  <a:pt x="76" y="0"/>
                  <a:pt x="77" y="0"/>
                </a:cubicBezTo>
                <a:cubicBezTo>
                  <a:pt x="78" y="0"/>
                  <a:pt x="79" y="1"/>
                  <a:pt x="79" y="1"/>
                </a:cubicBezTo>
                <a:cubicBezTo>
                  <a:pt x="79" y="1"/>
                  <a:pt x="78" y="2"/>
                  <a:pt x="77" y="2"/>
                </a:cubicBezTo>
                <a:cubicBezTo>
                  <a:pt x="76" y="2"/>
                  <a:pt x="74" y="3"/>
                  <a:pt x="72" y="3"/>
                </a:cubicBezTo>
                <a:cubicBezTo>
                  <a:pt x="66" y="3"/>
                  <a:pt x="66" y="3"/>
                  <a:pt x="66" y="3"/>
                </a:cubicBezTo>
                <a:cubicBezTo>
                  <a:pt x="94" y="36"/>
                  <a:pt x="94" y="36"/>
                  <a:pt x="94" y="36"/>
                </a:cubicBezTo>
                <a:cubicBezTo>
                  <a:pt x="100" y="36"/>
                  <a:pt x="100" y="36"/>
                  <a:pt x="100" y="36"/>
                </a:cubicBezTo>
                <a:cubicBezTo>
                  <a:pt x="121" y="42"/>
                  <a:pt x="121" y="42"/>
                  <a:pt x="121" y="42"/>
                </a:cubicBezTo>
                <a:cubicBezTo>
                  <a:pt x="154" y="45"/>
                  <a:pt x="154" y="45"/>
                  <a:pt x="154" y="45"/>
                </a:cubicBezTo>
                <a:cubicBezTo>
                  <a:pt x="171" y="49"/>
                  <a:pt x="180" y="51"/>
                  <a:pt x="181" y="54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81" y="56"/>
                  <a:pt x="172" y="59"/>
                  <a:pt x="154" y="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8" name="Freeform 229"/>
          <p:cNvSpPr>
            <a:spLocks noChangeAspect="1" noEditPoints="1"/>
          </p:cNvSpPr>
          <p:nvPr/>
        </p:nvSpPr>
        <p:spPr bwMode="auto">
          <a:xfrm>
            <a:off x="6751571" y="3104357"/>
            <a:ext cx="156131" cy="138957"/>
          </a:xfrm>
          <a:custGeom>
            <a:avLst/>
            <a:gdLst>
              <a:gd name="T0" fmla="*/ 151 w 151"/>
              <a:gd name="T1" fmla="*/ 115 h 133"/>
              <a:gd name="T2" fmla="*/ 151 w 151"/>
              <a:gd name="T3" fmla="*/ 133 h 133"/>
              <a:gd name="T4" fmla="*/ 43 w 151"/>
              <a:gd name="T5" fmla="*/ 133 h 133"/>
              <a:gd name="T6" fmla="*/ 43 w 151"/>
              <a:gd name="T7" fmla="*/ 115 h 133"/>
              <a:gd name="T8" fmla="*/ 55 w 151"/>
              <a:gd name="T9" fmla="*/ 97 h 133"/>
              <a:gd name="T10" fmla="*/ 43 w 151"/>
              <a:gd name="T11" fmla="*/ 97 h 133"/>
              <a:gd name="T12" fmla="*/ 17 w 151"/>
              <a:gd name="T13" fmla="*/ 87 h 133"/>
              <a:gd name="T14" fmla="*/ 6 w 151"/>
              <a:gd name="T15" fmla="*/ 61 h 133"/>
              <a:gd name="T16" fmla="*/ 6 w 151"/>
              <a:gd name="T17" fmla="*/ 31 h 133"/>
              <a:gd name="T18" fmla="*/ 0 w 151"/>
              <a:gd name="T19" fmla="*/ 25 h 133"/>
              <a:gd name="T20" fmla="*/ 3 w 151"/>
              <a:gd name="T21" fmla="*/ 12 h 133"/>
              <a:gd name="T22" fmla="*/ 49 w 151"/>
              <a:gd name="T23" fmla="*/ 12 h 133"/>
              <a:gd name="T24" fmla="*/ 52 w 151"/>
              <a:gd name="T25" fmla="*/ 0 h 133"/>
              <a:gd name="T26" fmla="*/ 142 w 151"/>
              <a:gd name="T27" fmla="*/ 0 h 133"/>
              <a:gd name="T28" fmla="*/ 145 w 151"/>
              <a:gd name="T29" fmla="*/ 18 h 133"/>
              <a:gd name="T30" fmla="*/ 139 w 151"/>
              <a:gd name="T31" fmla="*/ 22 h 133"/>
              <a:gd name="T32" fmla="*/ 139 w 151"/>
              <a:gd name="T33" fmla="*/ 97 h 133"/>
              <a:gd name="T34" fmla="*/ 151 w 151"/>
              <a:gd name="T35" fmla="*/ 115 h 133"/>
              <a:gd name="T36" fmla="*/ 55 w 151"/>
              <a:gd name="T37" fmla="*/ 73 h 133"/>
              <a:gd name="T38" fmla="*/ 55 w 151"/>
              <a:gd name="T39" fmla="*/ 37 h 133"/>
              <a:gd name="T40" fmla="*/ 30 w 151"/>
              <a:gd name="T41" fmla="*/ 37 h 133"/>
              <a:gd name="T42" fmla="*/ 30 w 151"/>
              <a:gd name="T43" fmla="*/ 61 h 133"/>
              <a:gd name="T44" fmla="*/ 34 w 151"/>
              <a:gd name="T45" fmla="*/ 69 h 133"/>
              <a:gd name="T46" fmla="*/ 43 w 151"/>
              <a:gd name="T47" fmla="*/ 73 h 133"/>
              <a:gd name="T48" fmla="*/ 55 w 151"/>
              <a:gd name="T49" fmla="*/ 7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1" h="133">
                <a:moveTo>
                  <a:pt x="151" y="115"/>
                </a:moveTo>
                <a:cubicBezTo>
                  <a:pt x="151" y="133"/>
                  <a:pt x="151" y="133"/>
                  <a:pt x="151" y="133"/>
                </a:cubicBezTo>
                <a:cubicBezTo>
                  <a:pt x="43" y="133"/>
                  <a:pt x="43" y="133"/>
                  <a:pt x="43" y="133"/>
                </a:cubicBezTo>
                <a:cubicBezTo>
                  <a:pt x="43" y="115"/>
                  <a:pt x="43" y="115"/>
                  <a:pt x="43" y="115"/>
                </a:cubicBezTo>
                <a:cubicBezTo>
                  <a:pt x="55" y="97"/>
                  <a:pt x="55" y="97"/>
                  <a:pt x="55" y="97"/>
                </a:cubicBezTo>
                <a:cubicBezTo>
                  <a:pt x="43" y="97"/>
                  <a:pt x="43" y="97"/>
                  <a:pt x="43" y="97"/>
                </a:cubicBezTo>
                <a:cubicBezTo>
                  <a:pt x="33" y="97"/>
                  <a:pt x="24" y="94"/>
                  <a:pt x="17" y="87"/>
                </a:cubicBezTo>
                <a:cubicBezTo>
                  <a:pt x="10" y="79"/>
                  <a:pt x="6" y="71"/>
                  <a:pt x="6" y="61"/>
                </a:cubicBezTo>
                <a:cubicBezTo>
                  <a:pt x="6" y="31"/>
                  <a:pt x="6" y="31"/>
                  <a:pt x="6" y="31"/>
                </a:cubicBezTo>
                <a:cubicBezTo>
                  <a:pt x="0" y="25"/>
                  <a:pt x="0" y="25"/>
                  <a:pt x="0" y="25"/>
                </a:cubicBezTo>
                <a:cubicBezTo>
                  <a:pt x="3" y="12"/>
                  <a:pt x="3" y="12"/>
                  <a:pt x="3" y="12"/>
                </a:cubicBezTo>
                <a:cubicBezTo>
                  <a:pt x="49" y="12"/>
                  <a:pt x="49" y="12"/>
                  <a:pt x="49" y="12"/>
                </a:cubicBezTo>
                <a:cubicBezTo>
                  <a:pt x="52" y="0"/>
                  <a:pt x="52" y="0"/>
                  <a:pt x="52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39" y="22"/>
                  <a:pt x="139" y="22"/>
                  <a:pt x="139" y="22"/>
                </a:cubicBezTo>
                <a:cubicBezTo>
                  <a:pt x="139" y="97"/>
                  <a:pt x="139" y="97"/>
                  <a:pt x="139" y="97"/>
                </a:cubicBezTo>
                <a:lnTo>
                  <a:pt x="151" y="115"/>
                </a:lnTo>
                <a:close/>
                <a:moveTo>
                  <a:pt x="55" y="73"/>
                </a:moveTo>
                <a:cubicBezTo>
                  <a:pt x="55" y="37"/>
                  <a:pt x="55" y="37"/>
                  <a:pt x="55" y="37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61"/>
                  <a:pt x="30" y="61"/>
                  <a:pt x="30" y="61"/>
                </a:cubicBezTo>
                <a:cubicBezTo>
                  <a:pt x="30" y="64"/>
                  <a:pt x="32" y="67"/>
                  <a:pt x="34" y="69"/>
                </a:cubicBezTo>
                <a:cubicBezTo>
                  <a:pt x="36" y="72"/>
                  <a:pt x="39" y="73"/>
                  <a:pt x="43" y="73"/>
                </a:cubicBezTo>
                <a:lnTo>
                  <a:pt x="55" y="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9" name="Freeform 230"/>
          <p:cNvSpPr>
            <a:spLocks noChangeAspect="1" noEditPoints="1"/>
          </p:cNvSpPr>
          <p:nvPr/>
        </p:nvSpPr>
        <p:spPr bwMode="auto">
          <a:xfrm>
            <a:off x="6954541" y="3104357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115 h 146"/>
              <a:gd name="T28" fmla="*/ 121 w 145"/>
              <a:gd name="T29" fmla="*/ 31 h 146"/>
              <a:gd name="T30" fmla="*/ 119 w 145"/>
              <a:gd name="T31" fmla="*/ 26 h 146"/>
              <a:gd name="T32" fmla="*/ 115 w 145"/>
              <a:gd name="T33" fmla="*/ 25 h 146"/>
              <a:gd name="T34" fmla="*/ 103 w 145"/>
              <a:gd name="T35" fmla="*/ 25 h 146"/>
              <a:gd name="T36" fmla="*/ 99 w 145"/>
              <a:gd name="T37" fmla="*/ 26 h 146"/>
              <a:gd name="T38" fmla="*/ 97 w 145"/>
              <a:gd name="T39" fmla="*/ 31 h 146"/>
              <a:gd name="T40" fmla="*/ 97 w 145"/>
              <a:gd name="T41" fmla="*/ 61 h 146"/>
              <a:gd name="T42" fmla="*/ 49 w 145"/>
              <a:gd name="T43" fmla="*/ 61 h 146"/>
              <a:gd name="T44" fmla="*/ 49 w 145"/>
              <a:gd name="T45" fmla="*/ 31 h 146"/>
              <a:gd name="T46" fmla="*/ 47 w 145"/>
              <a:gd name="T47" fmla="*/ 26 h 146"/>
              <a:gd name="T48" fmla="*/ 43 w 145"/>
              <a:gd name="T49" fmla="*/ 25 h 146"/>
              <a:gd name="T50" fmla="*/ 30 w 145"/>
              <a:gd name="T51" fmla="*/ 25 h 146"/>
              <a:gd name="T52" fmla="*/ 26 w 145"/>
              <a:gd name="T53" fmla="*/ 26 h 146"/>
              <a:gd name="T54" fmla="*/ 24 w 145"/>
              <a:gd name="T55" fmla="*/ 31 h 146"/>
              <a:gd name="T56" fmla="*/ 24 w 145"/>
              <a:gd name="T57" fmla="*/ 115 h 146"/>
              <a:gd name="T58" fmla="*/ 26 w 145"/>
              <a:gd name="T59" fmla="*/ 120 h 146"/>
              <a:gd name="T60" fmla="*/ 30 w 145"/>
              <a:gd name="T61" fmla="*/ 121 h 146"/>
              <a:gd name="T62" fmla="*/ 43 w 145"/>
              <a:gd name="T63" fmla="*/ 121 h 146"/>
              <a:gd name="T64" fmla="*/ 47 w 145"/>
              <a:gd name="T65" fmla="*/ 120 h 146"/>
              <a:gd name="T66" fmla="*/ 49 w 145"/>
              <a:gd name="T67" fmla="*/ 115 h 146"/>
              <a:gd name="T68" fmla="*/ 49 w 145"/>
              <a:gd name="T69" fmla="*/ 85 h 146"/>
              <a:gd name="T70" fmla="*/ 97 w 145"/>
              <a:gd name="T71" fmla="*/ 85 h 146"/>
              <a:gd name="T72" fmla="*/ 97 w 145"/>
              <a:gd name="T73" fmla="*/ 115 h 146"/>
              <a:gd name="T74" fmla="*/ 99 w 145"/>
              <a:gd name="T75" fmla="*/ 120 h 146"/>
              <a:gd name="T76" fmla="*/ 103 w 145"/>
              <a:gd name="T77" fmla="*/ 121 h 146"/>
              <a:gd name="T78" fmla="*/ 115 w 145"/>
              <a:gd name="T79" fmla="*/ 121 h 146"/>
              <a:gd name="T80" fmla="*/ 119 w 145"/>
              <a:gd name="T81" fmla="*/ 120 h 146"/>
              <a:gd name="T82" fmla="*/ 121 w 145"/>
              <a:gd name="T83" fmla="*/ 11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121" y="115"/>
                </a:moveTo>
                <a:cubicBezTo>
                  <a:pt x="121" y="31"/>
                  <a:pt x="121" y="31"/>
                  <a:pt x="121" y="31"/>
                </a:cubicBezTo>
                <a:cubicBezTo>
                  <a:pt x="121" y="29"/>
                  <a:pt x="121" y="28"/>
                  <a:pt x="119" y="26"/>
                </a:cubicBezTo>
                <a:cubicBezTo>
                  <a:pt x="118" y="25"/>
                  <a:pt x="117" y="25"/>
                  <a:pt x="115" y="25"/>
                </a:cubicBezTo>
                <a:cubicBezTo>
                  <a:pt x="103" y="25"/>
                  <a:pt x="103" y="25"/>
                  <a:pt x="103" y="25"/>
                </a:cubicBezTo>
                <a:cubicBezTo>
                  <a:pt x="101" y="25"/>
                  <a:pt x="100" y="25"/>
                  <a:pt x="99" y="26"/>
                </a:cubicBezTo>
                <a:cubicBezTo>
                  <a:pt x="98" y="28"/>
                  <a:pt x="97" y="29"/>
                  <a:pt x="97" y="31"/>
                </a:cubicBezTo>
                <a:cubicBezTo>
                  <a:pt x="97" y="61"/>
                  <a:pt x="97" y="61"/>
                  <a:pt x="97" y="61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31"/>
                  <a:pt x="49" y="31"/>
                  <a:pt x="49" y="31"/>
                </a:cubicBezTo>
                <a:cubicBezTo>
                  <a:pt x="49" y="29"/>
                  <a:pt x="48" y="28"/>
                  <a:pt x="47" y="26"/>
                </a:cubicBezTo>
                <a:cubicBezTo>
                  <a:pt x="46" y="25"/>
                  <a:pt x="44" y="25"/>
                  <a:pt x="43" y="25"/>
                </a:cubicBezTo>
                <a:cubicBezTo>
                  <a:pt x="30" y="25"/>
                  <a:pt x="30" y="25"/>
                  <a:pt x="30" y="25"/>
                </a:cubicBezTo>
                <a:cubicBezTo>
                  <a:pt x="29" y="25"/>
                  <a:pt x="27" y="25"/>
                  <a:pt x="26" y="26"/>
                </a:cubicBezTo>
                <a:cubicBezTo>
                  <a:pt x="25" y="28"/>
                  <a:pt x="24" y="29"/>
                  <a:pt x="24" y="31"/>
                </a:cubicBezTo>
                <a:cubicBezTo>
                  <a:pt x="24" y="115"/>
                  <a:pt x="24" y="115"/>
                  <a:pt x="24" y="115"/>
                </a:cubicBezTo>
                <a:cubicBezTo>
                  <a:pt x="24" y="117"/>
                  <a:pt x="25" y="118"/>
                  <a:pt x="26" y="120"/>
                </a:cubicBezTo>
                <a:cubicBezTo>
                  <a:pt x="27" y="121"/>
                  <a:pt x="29" y="121"/>
                  <a:pt x="30" y="121"/>
                </a:cubicBezTo>
                <a:cubicBezTo>
                  <a:pt x="43" y="121"/>
                  <a:pt x="43" y="121"/>
                  <a:pt x="43" y="121"/>
                </a:cubicBezTo>
                <a:cubicBezTo>
                  <a:pt x="44" y="121"/>
                  <a:pt x="46" y="121"/>
                  <a:pt x="47" y="120"/>
                </a:cubicBezTo>
                <a:cubicBezTo>
                  <a:pt x="48" y="118"/>
                  <a:pt x="49" y="117"/>
                  <a:pt x="49" y="115"/>
                </a:cubicBezTo>
                <a:cubicBezTo>
                  <a:pt x="49" y="85"/>
                  <a:pt x="49" y="85"/>
                  <a:pt x="49" y="85"/>
                </a:cubicBezTo>
                <a:cubicBezTo>
                  <a:pt x="97" y="85"/>
                  <a:pt x="97" y="85"/>
                  <a:pt x="97" y="85"/>
                </a:cubicBezTo>
                <a:cubicBezTo>
                  <a:pt x="97" y="115"/>
                  <a:pt x="97" y="115"/>
                  <a:pt x="97" y="115"/>
                </a:cubicBezTo>
                <a:cubicBezTo>
                  <a:pt x="97" y="117"/>
                  <a:pt x="98" y="118"/>
                  <a:pt x="99" y="120"/>
                </a:cubicBezTo>
                <a:cubicBezTo>
                  <a:pt x="100" y="121"/>
                  <a:pt x="101" y="121"/>
                  <a:pt x="103" y="121"/>
                </a:cubicBezTo>
                <a:cubicBezTo>
                  <a:pt x="115" y="121"/>
                  <a:pt x="115" y="121"/>
                  <a:pt x="115" y="121"/>
                </a:cubicBezTo>
                <a:cubicBezTo>
                  <a:pt x="117" y="121"/>
                  <a:pt x="118" y="121"/>
                  <a:pt x="119" y="120"/>
                </a:cubicBezTo>
                <a:cubicBezTo>
                  <a:pt x="121" y="118"/>
                  <a:pt x="121" y="117"/>
                  <a:pt x="121" y="1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0" name="Freeform 231"/>
          <p:cNvSpPr>
            <a:spLocks noChangeAspect="1" noEditPoints="1"/>
          </p:cNvSpPr>
          <p:nvPr/>
        </p:nvSpPr>
        <p:spPr bwMode="auto">
          <a:xfrm>
            <a:off x="7151266" y="3104357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79 h 146"/>
              <a:gd name="T28" fmla="*/ 121 w 145"/>
              <a:gd name="T29" fmla="*/ 67 h 146"/>
              <a:gd name="T30" fmla="*/ 119 w 145"/>
              <a:gd name="T31" fmla="*/ 63 h 146"/>
              <a:gd name="T32" fmla="*/ 115 w 145"/>
              <a:gd name="T33" fmla="*/ 61 h 146"/>
              <a:gd name="T34" fmla="*/ 85 w 145"/>
              <a:gd name="T35" fmla="*/ 61 h 146"/>
              <a:gd name="T36" fmla="*/ 85 w 145"/>
              <a:gd name="T37" fmla="*/ 31 h 146"/>
              <a:gd name="T38" fmla="*/ 83 w 145"/>
              <a:gd name="T39" fmla="*/ 26 h 146"/>
              <a:gd name="T40" fmla="*/ 79 w 145"/>
              <a:gd name="T41" fmla="*/ 25 h 146"/>
              <a:gd name="T42" fmla="*/ 67 w 145"/>
              <a:gd name="T43" fmla="*/ 25 h 146"/>
              <a:gd name="T44" fmla="*/ 62 w 145"/>
              <a:gd name="T45" fmla="*/ 26 h 146"/>
              <a:gd name="T46" fmla="*/ 61 w 145"/>
              <a:gd name="T47" fmla="*/ 31 h 146"/>
              <a:gd name="T48" fmla="*/ 61 w 145"/>
              <a:gd name="T49" fmla="*/ 61 h 146"/>
              <a:gd name="T50" fmla="*/ 30 w 145"/>
              <a:gd name="T51" fmla="*/ 61 h 146"/>
              <a:gd name="T52" fmla="*/ 26 w 145"/>
              <a:gd name="T53" fmla="*/ 63 h 146"/>
              <a:gd name="T54" fmla="*/ 24 w 145"/>
              <a:gd name="T55" fmla="*/ 67 h 146"/>
              <a:gd name="T56" fmla="*/ 24 w 145"/>
              <a:gd name="T57" fmla="*/ 79 h 146"/>
              <a:gd name="T58" fmla="*/ 26 w 145"/>
              <a:gd name="T59" fmla="*/ 83 h 146"/>
              <a:gd name="T60" fmla="*/ 30 w 145"/>
              <a:gd name="T61" fmla="*/ 85 h 146"/>
              <a:gd name="T62" fmla="*/ 61 w 145"/>
              <a:gd name="T63" fmla="*/ 85 h 146"/>
              <a:gd name="T64" fmla="*/ 61 w 145"/>
              <a:gd name="T65" fmla="*/ 115 h 146"/>
              <a:gd name="T66" fmla="*/ 62 w 145"/>
              <a:gd name="T67" fmla="*/ 120 h 146"/>
              <a:gd name="T68" fmla="*/ 67 w 145"/>
              <a:gd name="T69" fmla="*/ 121 h 146"/>
              <a:gd name="T70" fmla="*/ 79 w 145"/>
              <a:gd name="T71" fmla="*/ 121 h 146"/>
              <a:gd name="T72" fmla="*/ 83 w 145"/>
              <a:gd name="T73" fmla="*/ 120 h 146"/>
              <a:gd name="T74" fmla="*/ 85 w 145"/>
              <a:gd name="T75" fmla="*/ 115 h 146"/>
              <a:gd name="T76" fmla="*/ 85 w 145"/>
              <a:gd name="T77" fmla="*/ 85 h 146"/>
              <a:gd name="T78" fmla="*/ 115 w 145"/>
              <a:gd name="T79" fmla="*/ 85 h 146"/>
              <a:gd name="T80" fmla="*/ 119 w 145"/>
              <a:gd name="T81" fmla="*/ 83 h 146"/>
              <a:gd name="T82" fmla="*/ 121 w 145"/>
              <a:gd name="T83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121" y="79"/>
                </a:moveTo>
                <a:cubicBezTo>
                  <a:pt x="121" y="67"/>
                  <a:pt x="121" y="67"/>
                  <a:pt x="121" y="67"/>
                </a:cubicBezTo>
                <a:cubicBezTo>
                  <a:pt x="121" y="65"/>
                  <a:pt x="121" y="64"/>
                  <a:pt x="119" y="63"/>
                </a:cubicBezTo>
                <a:cubicBezTo>
                  <a:pt x="118" y="61"/>
                  <a:pt x="117" y="61"/>
                  <a:pt x="115" y="61"/>
                </a:cubicBezTo>
                <a:cubicBezTo>
                  <a:pt x="85" y="61"/>
                  <a:pt x="85" y="61"/>
                  <a:pt x="85" y="61"/>
                </a:cubicBezTo>
                <a:cubicBezTo>
                  <a:pt x="85" y="31"/>
                  <a:pt x="85" y="31"/>
                  <a:pt x="85" y="31"/>
                </a:cubicBezTo>
                <a:cubicBezTo>
                  <a:pt x="85" y="29"/>
                  <a:pt x="84" y="28"/>
                  <a:pt x="83" y="26"/>
                </a:cubicBezTo>
                <a:cubicBezTo>
                  <a:pt x="82" y="25"/>
                  <a:pt x="80" y="25"/>
                  <a:pt x="79" y="25"/>
                </a:cubicBezTo>
                <a:cubicBezTo>
                  <a:pt x="67" y="25"/>
                  <a:pt x="67" y="25"/>
                  <a:pt x="67" y="25"/>
                </a:cubicBezTo>
                <a:cubicBezTo>
                  <a:pt x="65" y="25"/>
                  <a:pt x="64" y="25"/>
                  <a:pt x="62" y="26"/>
                </a:cubicBezTo>
                <a:cubicBezTo>
                  <a:pt x="61" y="28"/>
                  <a:pt x="61" y="29"/>
                  <a:pt x="61" y="31"/>
                </a:cubicBezTo>
                <a:cubicBezTo>
                  <a:pt x="61" y="61"/>
                  <a:pt x="61" y="61"/>
                  <a:pt x="61" y="61"/>
                </a:cubicBezTo>
                <a:cubicBezTo>
                  <a:pt x="30" y="61"/>
                  <a:pt x="30" y="61"/>
                  <a:pt x="30" y="61"/>
                </a:cubicBezTo>
                <a:cubicBezTo>
                  <a:pt x="29" y="61"/>
                  <a:pt x="27" y="61"/>
                  <a:pt x="26" y="63"/>
                </a:cubicBezTo>
                <a:cubicBezTo>
                  <a:pt x="25" y="64"/>
                  <a:pt x="24" y="65"/>
                  <a:pt x="24" y="67"/>
                </a:cubicBezTo>
                <a:cubicBezTo>
                  <a:pt x="24" y="79"/>
                  <a:pt x="24" y="79"/>
                  <a:pt x="24" y="79"/>
                </a:cubicBezTo>
                <a:cubicBezTo>
                  <a:pt x="24" y="81"/>
                  <a:pt x="25" y="82"/>
                  <a:pt x="26" y="83"/>
                </a:cubicBezTo>
                <a:cubicBezTo>
                  <a:pt x="27" y="84"/>
                  <a:pt x="29" y="85"/>
                  <a:pt x="30" y="85"/>
                </a:cubicBezTo>
                <a:cubicBezTo>
                  <a:pt x="61" y="85"/>
                  <a:pt x="61" y="85"/>
                  <a:pt x="61" y="85"/>
                </a:cubicBezTo>
                <a:cubicBezTo>
                  <a:pt x="61" y="115"/>
                  <a:pt x="61" y="115"/>
                  <a:pt x="61" y="115"/>
                </a:cubicBezTo>
                <a:cubicBezTo>
                  <a:pt x="61" y="117"/>
                  <a:pt x="61" y="118"/>
                  <a:pt x="62" y="120"/>
                </a:cubicBezTo>
                <a:cubicBezTo>
                  <a:pt x="64" y="121"/>
                  <a:pt x="65" y="121"/>
                  <a:pt x="67" y="121"/>
                </a:cubicBezTo>
                <a:cubicBezTo>
                  <a:pt x="79" y="121"/>
                  <a:pt x="79" y="121"/>
                  <a:pt x="79" y="121"/>
                </a:cubicBezTo>
                <a:cubicBezTo>
                  <a:pt x="80" y="121"/>
                  <a:pt x="82" y="121"/>
                  <a:pt x="83" y="120"/>
                </a:cubicBezTo>
                <a:cubicBezTo>
                  <a:pt x="84" y="118"/>
                  <a:pt x="85" y="117"/>
                  <a:pt x="85" y="115"/>
                </a:cubicBezTo>
                <a:cubicBezTo>
                  <a:pt x="85" y="85"/>
                  <a:pt x="85" y="85"/>
                  <a:pt x="85" y="85"/>
                </a:cubicBezTo>
                <a:cubicBezTo>
                  <a:pt x="115" y="85"/>
                  <a:pt x="115" y="85"/>
                  <a:pt x="115" y="85"/>
                </a:cubicBezTo>
                <a:cubicBezTo>
                  <a:pt x="117" y="85"/>
                  <a:pt x="118" y="84"/>
                  <a:pt x="119" y="83"/>
                </a:cubicBezTo>
                <a:cubicBezTo>
                  <a:pt x="121" y="82"/>
                  <a:pt x="121" y="81"/>
                  <a:pt x="121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1" name="Freeform 232"/>
          <p:cNvSpPr>
            <a:spLocks noChangeAspect="1" noEditPoints="1"/>
          </p:cNvSpPr>
          <p:nvPr/>
        </p:nvSpPr>
        <p:spPr bwMode="auto">
          <a:xfrm>
            <a:off x="7351113" y="3137144"/>
            <a:ext cx="95240" cy="98363"/>
          </a:xfrm>
          <a:custGeom>
            <a:avLst/>
            <a:gdLst>
              <a:gd name="T0" fmla="*/ 55 w 92"/>
              <a:gd name="T1" fmla="*/ 86 h 94"/>
              <a:gd name="T2" fmla="*/ 54 w 92"/>
              <a:gd name="T3" fmla="*/ 88 h 94"/>
              <a:gd name="T4" fmla="*/ 50 w 92"/>
              <a:gd name="T5" fmla="*/ 93 h 94"/>
              <a:gd name="T6" fmla="*/ 48 w 92"/>
              <a:gd name="T7" fmla="*/ 94 h 94"/>
              <a:gd name="T8" fmla="*/ 45 w 92"/>
              <a:gd name="T9" fmla="*/ 93 h 94"/>
              <a:gd name="T10" fmla="*/ 1 w 92"/>
              <a:gd name="T11" fmla="*/ 49 h 94"/>
              <a:gd name="T12" fmla="*/ 0 w 92"/>
              <a:gd name="T13" fmla="*/ 47 h 94"/>
              <a:gd name="T14" fmla="*/ 1 w 92"/>
              <a:gd name="T15" fmla="*/ 45 h 94"/>
              <a:gd name="T16" fmla="*/ 45 w 92"/>
              <a:gd name="T17" fmla="*/ 1 h 94"/>
              <a:gd name="T18" fmla="*/ 48 w 92"/>
              <a:gd name="T19" fmla="*/ 0 h 94"/>
              <a:gd name="T20" fmla="*/ 50 w 92"/>
              <a:gd name="T21" fmla="*/ 1 h 94"/>
              <a:gd name="T22" fmla="*/ 54 w 92"/>
              <a:gd name="T23" fmla="*/ 5 h 94"/>
              <a:gd name="T24" fmla="*/ 55 w 92"/>
              <a:gd name="T25" fmla="*/ 8 h 94"/>
              <a:gd name="T26" fmla="*/ 54 w 92"/>
              <a:gd name="T27" fmla="*/ 10 h 94"/>
              <a:gd name="T28" fmla="*/ 17 w 92"/>
              <a:gd name="T29" fmla="*/ 47 h 94"/>
              <a:gd name="T30" fmla="*/ 54 w 92"/>
              <a:gd name="T31" fmla="*/ 84 h 94"/>
              <a:gd name="T32" fmla="*/ 55 w 92"/>
              <a:gd name="T33" fmla="*/ 86 h 94"/>
              <a:gd name="T34" fmla="*/ 92 w 92"/>
              <a:gd name="T35" fmla="*/ 86 h 94"/>
              <a:gd name="T36" fmla="*/ 91 w 92"/>
              <a:gd name="T37" fmla="*/ 88 h 94"/>
              <a:gd name="T38" fmla="*/ 86 w 92"/>
              <a:gd name="T39" fmla="*/ 93 h 94"/>
              <a:gd name="T40" fmla="*/ 84 w 92"/>
              <a:gd name="T41" fmla="*/ 94 h 94"/>
              <a:gd name="T42" fmla="*/ 82 w 92"/>
              <a:gd name="T43" fmla="*/ 93 h 94"/>
              <a:gd name="T44" fmla="*/ 38 w 92"/>
              <a:gd name="T45" fmla="*/ 49 h 94"/>
              <a:gd name="T46" fmla="*/ 37 w 92"/>
              <a:gd name="T47" fmla="*/ 47 h 94"/>
              <a:gd name="T48" fmla="*/ 38 w 92"/>
              <a:gd name="T49" fmla="*/ 45 h 94"/>
              <a:gd name="T50" fmla="*/ 82 w 92"/>
              <a:gd name="T51" fmla="*/ 1 h 94"/>
              <a:gd name="T52" fmla="*/ 84 w 92"/>
              <a:gd name="T53" fmla="*/ 0 h 94"/>
              <a:gd name="T54" fmla="*/ 86 w 92"/>
              <a:gd name="T55" fmla="*/ 1 h 94"/>
              <a:gd name="T56" fmla="*/ 91 w 92"/>
              <a:gd name="T57" fmla="*/ 5 h 94"/>
              <a:gd name="T58" fmla="*/ 92 w 92"/>
              <a:gd name="T59" fmla="*/ 8 h 94"/>
              <a:gd name="T60" fmla="*/ 91 w 92"/>
              <a:gd name="T61" fmla="*/ 10 h 94"/>
              <a:gd name="T62" fmla="*/ 54 w 92"/>
              <a:gd name="T63" fmla="*/ 47 h 94"/>
              <a:gd name="T64" fmla="*/ 91 w 92"/>
              <a:gd name="T65" fmla="*/ 84 h 94"/>
              <a:gd name="T66" fmla="*/ 92 w 92"/>
              <a:gd name="T67" fmla="*/ 86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2" h="94">
                <a:moveTo>
                  <a:pt x="55" y="86"/>
                </a:moveTo>
                <a:cubicBezTo>
                  <a:pt x="55" y="87"/>
                  <a:pt x="55" y="88"/>
                  <a:pt x="54" y="88"/>
                </a:cubicBezTo>
                <a:cubicBezTo>
                  <a:pt x="50" y="93"/>
                  <a:pt x="50" y="93"/>
                  <a:pt x="50" y="93"/>
                </a:cubicBezTo>
                <a:cubicBezTo>
                  <a:pt x="49" y="94"/>
                  <a:pt x="48" y="94"/>
                  <a:pt x="48" y="94"/>
                </a:cubicBezTo>
                <a:cubicBezTo>
                  <a:pt x="47" y="94"/>
                  <a:pt x="46" y="94"/>
                  <a:pt x="45" y="93"/>
                </a:cubicBezTo>
                <a:cubicBezTo>
                  <a:pt x="1" y="49"/>
                  <a:pt x="1" y="49"/>
                  <a:pt x="1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0" y="46"/>
                  <a:pt x="1" y="45"/>
                  <a:pt x="1" y="45"/>
                </a:cubicBezTo>
                <a:cubicBezTo>
                  <a:pt x="45" y="1"/>
                  <a:pt x="45" y="1"/>
                  <a:pt x="45" y="1"/>
                </a:cubicBezTo>
                <a:cubicBezTo>
                  <a:pt x="46" y="0"/>
                  <a:pt x="47" y="0"/>
                  <a:pt x="48" y="0"/>
                </a:cubicBezTo>
                <a:cubicBezTo>
                  <a:pt x="48" y="0"/>
                  <a:pt x="49" y="0"/>
                  <a:pt x="50" y="1"/>
                </a:cubicBezTo>
                <a:cubicBezTo>
                  <a:pt x="54" y="5"/>
                  <a:pt x="54" y="5"/>
                  <a:pt x="54" y="5"/>
                </a:cubicBezTo>
                <a:cubicBezTo>
                  <a:pt x="55" y="6"/>
                  <a:pt x="55" y="7"/>
                  <a:pt x="55" y="8"/>
                </a:cubicBezTo>
                <a:cubicBezTo>
                  <a:pt x="55" y="8"/>
                  <a:pt x="55" y="9"/>
                  <a:pt x="54" y="10"/>
                </a:cubicBezTo>
                <a:cubicBezTo>
                  <a:pt x="17" y="47"/>
                  <a:pt x="17" y="47"/>
                  <a:pt x="17" y="47"/>
                </a:cubicBezTo>
                <a:cubicBezTo>
                  <a:pt x="54" y="84"/>
                  <a:pt x="54" y="84"/>
                  <a:pt x="54" y="84"/>
                </a:cubicBezTo>
                <a:cubicBezTo>
                  <a:pt x="55" y="85"/>
                  <a:pt x="55" y="85"/>
                  <a:pt x="55" y="86"/>
                </a:cubicBezTo>
                <a:close/>
                <a:moveTo>
                  <a:pt x="92" y="86"/>
                </a:moveTo>
                <a:cubicBezTo>
                  <a:pt x="92" y="87"/>
                  <a:pt x="91" y="88"/>
                  <a:pt x="91" y="88"/>
                </a:cubicBezTo>
                <a:cubicBezTo>
                  <a:pt x="86" y="93"/>
                  <a:pt x="86" y="93"/>
                  <a:pt x="86" y="93"/>
                </a:cubicBezTo>
                <a:cubicBezTo>
                  <a:pt x="85" y="94"/>
                  <a:pt x="85" y="94"/>
                  <a:pt x="84" y="94"/>
                </a:cubicBezTo>
                <a:cubicBezTo>
                  <a:pt x="83" y="94"/>
                  <a:pt x="82" y="94"/>
                  <a:pt x="82" y="93"/>
                </a:cubicBezTo>
                <a:cubicBezTo>
                  <a:pt x="38" y="49"/>
                  <a:pt x="38" y="49"/>
                  <a:pt x="38" y="49"/>
                </a:cubicBezTo>
                <a:cubicBezTo>
                  <a:pt x="37" y="49"/>
                  <a:pt x="37" y="48"/>
                  <a:pt x="37" y="47"/>
                </a:cubicBezTo>
                <a:cubicBezTo>
                  <a:pt x="37" y="46"/>
                  <a:pt x="37" y="45"/>
                  <a:pt x="38" y="45"/>
                </a:cubicBezTo>
                <a:cubicBezTo>
                  <a:pt x="82" y="1"/>
                  <a:pt x="82" y="1"/>
                  <a:pt x="82" y="1"/>
                </a:cubicBezTo>
                <a:cubicBezTo>
                  <a:pt x="82" y="0"/>
                  <a:pt x="83" y="0"/>
                  <a:pt x="84" y="0"/>
                </a:cubicBezTo>
                <a:cubicBezTo>
                  <a:pt x="85" y="0"/>
                  <a:pt x="85" y="0"/>
                  <a:pt x="86" y="1"/>
                </a:cubicBezTo>
                <a:cubicBezTo>
                  <a:pt x="91" y="5"/>
                  <a:pt x="91" y="5"/>
                  <a:pt x="91" y="5"/>
                </a:cubicBezTo>
                <a:cubicBezTo>
                  <a:pt x="91" y="6"/>
                  <a:pt x="92" y="7"/>
                  <a:pt x="92" y="8"/>
                </a:cubicBezTo>
                <a:cubicBezTo>
                  <a:pt x="92" y="8"/>
                  <a:pt x="91" y="9"/>
                  <a:pt x="91" y="10"/>
                </a:cubicBezTo>
                <a:cubicBezTo>
                  <a:pt x="54" y="47"/>
                  <a:pt x="54" y="47"/>
                  <a:pt x="54" y="47"/>
                </a:cubicBezTo>
                <a:cubicBezTo>
                  <a:pt x="91" y="84"/>
                  <a:pt x="91" y="84"/>
                  <a:pt x="91" y="84"/>
                </a:cubicBezTo>
                <a:cubicBezTo>
                  <a:pt x="91" y="85"/>
                  <a:pt x="92" y="85"/>
                  <a:pt x="92" y="8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2" name="Freeform 233"/>
          <p:cNvSpPr>
            <a:spLocks noChangeAspect="1" noEditPoints="1"/>
          </p:cNvSpPr>
          <p:nvPr/>
        </p:nvSpPr>
        <p:spPr bwMode="auto">
          <a:xfrm>
            <a:off x="7494753" y="3137144"/>
            <a:ext cx="95240" cy="98363"/>
          </a:xfrm>
          <a:custGeom>
            <a:avLst/>
            <a:gdLst>
              <a:gd name="T0" fmla="*/ 55 w 91"/>
              <a:gd name="T1" fmla="*/ 47 h 94"/>
              <a:gd name="T2" fmla="*/ 54 w 91"/>
              <a:gd name="T3" fmla="*/ 49 h 94"/>
              <a:gd name="T4" fmla="*/ 10 w 91"/>
              <a:gd name="T5" fmla="*/ 93 h 94"/>
              <a:gd name="T6" fmla="*/ 8 w 91"/>
              <a:gd name="T7" fmla="*/ 94 h 94"/>
              <a:gd name="T8" fmla="*/ 6 w 91"/>
              <a:gd name="T9" fmla="*/ 93 h 94"/>
              <a:gd name="T10" fmla="*/ 1 w 91"/>
              <a:gd name="T11" fmla="*/ 88 h 94"/>
              <a:gd name="T12" fmla="*/ 0 w 91"/>
              <a:gd name="T13" fmla="*/ 86 h 94"/>
              <a:gd name="T14" fmla="*/ 1 w 91"/>
              <a:gd name="T15" fmla="*/ 84 h 94"/>
              <a:gd name="T16" fmla="*/ 38 w 91"/>
              <a:gd name="T17" fmla="*/ 47 h 94"/>
              <a:gd name="T18" fmla="*/ 1 w 91"/>
              <a:gd name="T19" fmla="*/ 10 h 94"/>
              <a:gd name="T20" fmla="*/ 0 w 91"/>
              <a:gd name="T21" fmla="*/ 8 h 94"/>
              <a:gd name="T22" fmla="*/ 1 w 91"/>
              <a:gd name="T23" fmla="*/ 5 h 94"/>
              <a:gd name="T24" fmla="*/ 6 w 91"/>
              <a:gd name="T25" fmla="*/ 1 h 94"/>
              <a:gd name="T26" fmla="*/ 8 w 91"/>
              <a:gd name="T27" fmla="*/ 0 h 94"/>
              <a:gd name="T28" fmla="*/ 10 w 91"/>
              <a:gd name="T29" fmla="*/ 1 h 94"/>
              <a:gd name="T30" fmla="*/ 54 w 91"/>
              <a:gd name="T31" fmla="*/ 45 h 94"/>
              <a:gd name="T32" fmla="*/ 55 w 91"/>
              <a:gd name="T33" fmla="*/ 47 h 94"/>
              <a:gd name="T34" fmla="*/ 91 w 91"/>
              <a:gd name="T35" fmla="*/ 47 h 94"/>
              <a:gd name="T36" fmla="*/ 90 w 91"/>
              <a:gd name="T37" fmla="*/ 49 h 94"/>
              <a:gd name="T38" fmla="*/ 46 w 91"/>
              <a:gd name="T39" fmla="*/ 93 h 94"/>
              <a:gd name="T40" fmla="*/ 44 w 91"/>
              <a:gd name="T41" fmla="*/ 94 h 94"/>
              <a:gd name="T42" fmla="*/ 42 w 91"/>
              <a:gd name="T43" fmla="*/ 93 h 94"/>
              <a:gd name="T44" fmla="*/ 37 w 91"/>
              <a:gd name="T45" fmla="*/ 88 h 94"/>
              <a:gd name="T46" fmla="*/ 36 w 91"/>
              <a:gd name="T47" fmla="*/ 86 h 94"/>
              <a:gd name="T48" fmla="*/ 37 w 91"/>
              <a:gd name="T49" fmla="*/ 84 h 94"/>
              <a:gd name="T50" fmla="*/ 74 w 91"/>
              <a:gd name="T51" fmla="*/ 47 h 94"/>
              <a:gd name="T52" fmla="*/ 37 w 91"/>
              <a:gd name="T53" fmla="*/ 10 h 94"/>
              <a:gd name="T54" fmla="*/ 36 w 91"/>
              <a:gd name="T55" fmla="*/ 8 h 94"/>
              <a:gd name="T56" fmla="*/ 37 w 91"/>
              <a:gd name="T57" fmla="*/ 5 h 94"/>
              <a:gd name="T58" fmla="*/ 42 w 91"/>
              <a:gd name="T59" fmla="*/ 1 h 94"/>
              <a:gd name="T60" fmla="*/ 44 w 91"/>
              <a:gd name="T61" fmla="*/ 0 h 94"/>
              <a:gd name="T62" fmla="*/ 46 w 91"/>
              <a:gd name="T63" fmla="*/ 1 h 94"/>
              <a:gd name="T64" fmla="*/ 90 w 91"/>
              <a:gd name="T65" fmla="*/ 45 h 94"/>
              <a:gd name="T66" fmla="*/ 91 w 91"/>
              <a:gd name="T67" fmla="*/ 47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1" h="94">
                <a:moveTo>
                  <a:pt x="55" y="47"/>
                </a:moveTo>
                <a:cubicBezTo>
                  <a:pt x="55" y="48"/>
                  <a:pt x="55" y="49"/>
                  <a:pt x="54" y="49"/>
                </a:cubicBezTo>
                <a:cubicBezTo>
                  <a:pt x="10" y="93"/>
                  <a:pt x="10" y="93"/>
                  <a:pt x="10" y="93"/>
                </a:cubicBezTo>
                <a:cubicBezTo>
                  <a:pt x="9" y="94"/>
                  <a:pt x="9" y="94"/>
                  <a:pt x="8" y="94"/>
                </a:cubicBezTo>
                <a:cubicBezTo>
                  <a:pt x="7" y="94"/>
                  <a:pt x="6" y="94"/>
                  <a:pt x="6" y="93"/>
                </a:cubicBezTo>
                <a:cubicBezTo>
                  <a:pt x="1" y="88"/>
                  <a:pt x="1" y="88"/>
                  <a:pt x="1" y="88"/>
                </a:cubicBezTo>
                <a:cubicBezTo>
                  <a:pt x="0" y="88"/>
                  <a:pt x="0" y="87"/>
                  <a:pt x="0" y="86"/>
                </a:cubicBezTo>
                <a:cubicBezTo>
                  <a:pt x="0" y="85"/>
                  <a:pt x="0" y="85"/>
                  <a:pt x="1" y="84"/>
                </a:cubicBezTo>
                <a:cubicBezTo>
                  <a:pt x="38" y="47"/>
                  <a:pt x="38" y="47"/>
                  <a:pt x="38" y="47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9"/>
                  <a:pt x="0" y="8"/>
                  <a:pt x="0" y="8"/>
                </a:cubicBezTo>
                <a:cubicBezTo>
                  <a:pt x="0" y="7"/>
                  <a:pt x="0" y="6"/>
                  <a:pt x="1" y="5"/>
                </a:cubicBezTo>
                <a:cubicBezTo>
                  <a:pt x="6" y="1"/>
                  <a:pt x="6" y="1"/>
                  <a:pt x="6" y="1"/>
                </a:cubicBezTo>
                <a:cubicBezTo>
                  <a:pt x="6" y="0"/>
                  <a:pt x="7" y="0"/>
                  <a:pt x="8" y="0"/>
                </a:cubicBezTo>
                <a:cubicBezTo>
                  <a:pt x="9" y="0"/>
                  <a:pt x="9" y="0"/>
                  <a:pt x="10" y="1"/>
                </a:cubicBezTo>
                <a:cubicBezTo>
                  <a:pt x="54" y="45"/>
                  <a:pt x="54" y="45"/>
                  <a:pt x="54" y="45"/>
                </a:cubicBezTo>
                <a:cubicBezTo>
                  <a:pt x="55" y="45"/>
                  <a:pt x="55" y="46"/>
                  <a:pt x="55" y="47"/>
                </a:cubicBezTo>
                <a:close/>
                <a:moveTo>
                  <a:pt x="91" y="47"/>
                </a:moveTo>
                <a:cubicBezTo>
                  <a:pt x="91" y="48"/>
                  <a:pt x="91" y="49"/>
                  <a:pt x="90" y="49"/>
                </a:cubicBezTo>
                <a:cubicBezTo>
                  <a:pt x="46" y="93"/>
                  <a:pt x="46" y="93"/>
                  <a:pt x="46" y="93"/>
                </a:cubicBezTo>
                <a:cubicBezTo>
                  <a:pt x="46" y="94"/>
                  <a:pt x="45" y="94"/>
                  <a:pt x="44" y="94"/>
                </a:cubicBezTo>
                <a:cubicBezTo>
                  <a:pt x="43" y="94"/>
                  <a:pt x="42" y="94"/>
                  <a:pt x="42" y="93"/>
                </a:cubicBezTo>
                <a:cubicBezTo>
                  <a:pt x="37" y="88"/>
                  <a:pt x="37" y="88"/>
                  <a:pt x="37" y="88"/>
                </a:cubicBezTo>
                <a:cubicBezTo>
                  <a:pt x="36" y="88"/>
                  <a:pt x="36" y="87"/>
                  <a:pt x="36" y="86"/>
                </a:cubicBezTo>
                <a:cubicBezTo>
                  <a:pt x="36" y="85"/>
                  <a:pt x="36" y="85"/>
                  <a:pt x="37" y="84"/>
                </a:cubicBezTo>
                <a:cubicBezTo>
                  <a:pt x="74" y="47"/>
                  <a:pt x="74" y="47"/>
                  <a:pt x="74" y="47"/>
                </a:cubicBezTo>
                <a:cubicBezTo>
                  <a:pt x="37" y="10"/>
                  <a:pt x="37" y="10"/>
                  <a:pt x="37" y="10"/>
                </a:cubicBezTo>
                <a:cubicBezTo>
                  <a:pt x="36" y="9"/>
                  <a:pt x="36" y="8"/>
                  <a:pt x="36" y="8"/>
                </a:cubicBezTo>
                <a:cubicBezTo>
                  <a:pt x="36" y="7"/>
                  <a:pt x="36" y="6"/>
                  <a:pt x="37" y="5"/>
                </a:cubicBezTo>
                <a:cubicBezTo>
                  <a:pt x="42" y="1"/>
                  <a:pt x="42" y="1"/>
                  <a:pt x="42" y="1"/>
                </a:cubicBezTo>
                <a:cubicBezTo>
                  <a:pt x="42" y="0"/>
                  <a:pt x="43" y="0"/>
                  <a:pt x="44" y="0"/>
                </a:cubicBezTo>
                <a:cubicBezTo>
                  <a:pt x="45" y="0"/>
                  <a:pt x="46" y="0"/>
                  <a:pt x="46" y="1"/>
                </a:cubicBezTo>
                <a:cubicBezTo>
                  <a:pt x="90" y="45"/>
                  <a:pt x="90" y="45"/>
                  <a:pt x="90" y="45"/>
                </a:cubicBezTo>
                <a:cubicBezTo>
                  <a:pt x="91" y="45"/>
                  <a:pt x="91" y="46"/>
                  <a:pt x="91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3" name="Freeform 234"/>
          <p:cNvSpPr>
            <a:spLocks noChangeAspect="1" noEditPoints="1"/>
          </p:cNvSpPr>
          <p:nvPr/>
        </p:nvSpPr>
        <p:spPr bwMode="auto">
          <a:xfrm>
            <a:off x="7647761" y="3135583"/>
            <a:ext cx="98363" cy="93678"/>
          </a:xfrm>
          <a:custGeom>
            <a:avLst/>
            <a:gdLst>
              <a:gd name="T0" fmla="*/ 95 w 95"/>
              <a:gd name="T1" fmla="*/ 47 h 91"/>
              <a:gd name="T2" fmla="*/ 94 w 95"/>
              <a:gd name="T3" fmla="*/ 49 h 91"/>
              <a:gd name="T4" fmla="*/ 89 w 95"/>
              <a:gd name="T5" fmla="*/ 54 h 91"/>
              <a:gd name="T6" fmla="*/ 87 w 95"/>
              <a:gd name="T7" fmla="*/ 55 h 91"/>
              <a:gd name="T8" fmla="*/ 85 w 95"/>
              <a:gd name="T9" fmla="*/ 54 h 91"/>
              <a:gd name="T10" fmla="*/ 48 w 95"/>
              <a:gd name="T11" fmla="*/ 17 h 91"/>
              <a:gd name="T12" fmla="*/ 10 w 95"/>
              <a:gd name="T13" fmla="*/ 54 h 91"/>
              <a:gd name="T14" fmla="*/ 8 w 95"/>
              <a:gd name="T15" fmla="*/ 55 h 91"/>
              <a:gd name="T16" fmla="*/ 6 w 95"/>
              <a:gd name="T17" fmla="*/ 54 h 91"/>
              <a:gd name="T18" fmla="*/ 1 w 95"/>
              <a:gd name="T19" fmla="*/ 49 h 91"/>
              <a:gd name="T20" fmla="*/ 0 w 95"/>
              <a:gd name="T21" fmla="*/ 47 h 91"/>
              <a:gd name="T22" fmla="*/ 1 w 95"/>
              <a:gd name="T23" fmla="*/ 45 h 91"/>
              <a:gd name="T24" fmla="*/ 45 w 95"/>
              <a:gd name="T25" fmla="*/ 1 h 91"/>
              <a:gd name="T26" fmla="*/ 48 w 95"/>
              <a:gd name="T27" fmla="*/ 0 h 91"/>
              <a:gd name="T28" fmla="*/ 50 w 95"/>
              <a:gd name="T29" fmla="*/ 1 h 91"/>
              <a:gd name="T30" fmla="*/ 94 w 95"/>
              <a:gd name="T31" fmla="*/ 45 h 91"/>
              <a:gd name="T32" fmla="*/ 95 w 95"/>
              <a:gd name="T33" fmla="*/ 47 h 91"/>
              <a:gd name="T34" fmla="*/ 95 w 95"/>
              <a:gd name="T35" fmla="*/ 83 h 91"/>
              <a:gd name="T36" fmla="*/ 94 w 95"/>
              <a:gd name="T37" fmla="*/ 85 h 91"/>
              <a:gd name="T38" fmla="*/ 89 w 95"/>
              <a:gd name="T39" fmla="*/ 90 h 91"/>
              <a:gd name="T40" fmla="*/ 87 w 95"/>
              <a:gd name="T41" fmla="*/ 91 h 91"/>
              <a:gd name="T42" fmla="*/ 85 w 95"/>
              <a:gd name="T43" fmla="*/ 90 h 91"/>
              <a:gd name="T44" fmla="*/ 48 w 95"/>
              <a:gd name="T45" fmla="*/ 53 h 91"/>
              <a:gd name="T46" fmla="*/ 10 w 95"/>
              <a:gd name="T47" fmla="*/ 90 h 91"/>
              <a:gd name="T48" fmla="*/ 8 w 95"/>
              <a:gd name="T49" fmla="*/ 91 h 91"/>
              <a:gd name="T50" fmla="*/ 6 w 95"/>
              <a:gd name="T51" fmla="*/ 90 h 91"/>
              <a:gd name="T52" fmla="*/ 1 w 95"/>
              <a:gd name="T53" fmla="*/ 85 h 91"/>
              <a:gd name="T54" fmla="*/ 0 w 95"/>
              <a:gd name="T55" fmla="*/ 83 h 91"/>
              <a:gd name="T56" fmla="*/ 1 w 95"/>
              <a:gd name="T57" fmla="*/ 81 h 91"/>
              <a:gd name="T58" fmla="*/ 45 w 95"/>
              <a:gd name="T59" fmla="*/ 37 h 91"/>
              <a:gd name="T60" fmla="*/ 48 w 95"/>
              <a:gd name="T61" fmla="*/ 36 h 91"/>
              <a:gd name="T62" fmla="*/ 50 w 95"/>
              <a:gd name="T63" fmla="*/ 37 h 91"/>
              <a:gd name="T64" fmla="*/ 94 w 95"/>
              <a:gd name="T65" fmla="*/ 81 h 91"/>
              <a:gd name="T66" fmla="*/ 95 w 95"/>
              <a:gd name="T67" fmla="*/ 83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5" h="91">
                <a:moveTo>
                  <a:pt x="95" y="47"/>
                </a:moveTo>
                <a:cubicBezTo>
                  <a:pt x="95" y="48"/>
                  <a:pt x="94" y="49"/>
                  <a:pt x="94" y="49"/>
                </a:cubicBezTo>
                <a:cubicBezTo>
                  <a:pt x="89" y="54"/>
                  <a:pt x="89" y="54"/>
                  <a:pt x="89" y="54"/>
                </a:cubicBezTo>
                <a:cubicBezTo>
                  <a:pt x="89" y="54"/>
                  <a:pt x="88" y="55"/>
                  <a:pt x="87" y="55"/>
                </a:cubicBezTo>
                <a:cubicBezTo>
                  <a:pt x="86" y="55"/>
                  <a:pt x="85" y="54"/>
                  <a:pt x="85" y="54"/>
                </a:cubicBezTo>
                <a:cubicBezTo>
                  <a:pt x="48" y="17"/>
                  <a:pt x="48" y="17"/>
                  <a:pt x="48" y="17"/>
                </a:cubicBezTo>
                <a:cubicBezTo>
                  <a:pt x="10" y="54"/>
                  <a:pt x="10" y="54"/>
                  <a:pt x="10" y="54"/>
                </a:cubicBezTo>
                <a:cubicBezTo>
                  <a:pt x="10" y="54"/>
                  <a:pt x="9" y="55"/>
                  <a:pt x="8" y="55"/>
                </a:cubicBezTo>
                <a:cubicBezTo>
                  <a:pt x="7" y="55"/>
                  <a:pt x="7" y="54"/>
                  <a:pt x="6" y="54"/>
                </a:cubicBezTo>
                <a:cubicBezTo>
                  <a:pt x="1" y="49"/>
                  <a:pt x="1" y="49"/>
                  <a:pt x="1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0" y="46"/>
                  <a:pt x="1" y="45"/>
                  <a:pt x="1" y="45"/>
                </a:cubicBezTo>
                <a:cubicBezTo>
                  <a:pt x="45" y="1"/>
                  <a:pt x="45" y="1"/>
                  <a:pt x="45" y="1"/>
                </a:cubicBezTo>
                <a:cubicBezTo>
                  <a:pt x="46" y="0"/>
                  <a:pt x="47" y="0"/>
                  <a:pt x="48" y="0"/>
                </a:cubicBezTo>
                <a:cubicBezTo>
                  <a:pt x="48" y="0"/>
                  <a:pt x="49" y="0"/>
                  <a:pt x="50" y="1"/>
                </a:cubicBezTo>
                <a:cubicBezTo>
                  <a:pt x="94" y="45"/>
                  <a:pt x="94" y="45"/>
                  <a:pt x="94" y="45"/>
                </a:cubicBezTo>
                <a:cubicBezTo>
                  <a:pt x="94" y="45"/>
                  <a:pt x="95" y="46"/>
                  <a:pt x="95" y="47"/>
                </a:cubicBezTo>
                <a:close/>
                <a:moveTo>
                  <a:pt x="95" y="83"/>
                </a:moveTo>
                <a:cubicBezTo>
                  <a:pt x="95" y="84"/>
                  <a:pt x="94" y="85"/>
                  <a:pt x="94" y="85"/>
                </a:cubicBezTo>
                <a:cubicBezTo>
                  <a:pt x="89" y="90"/>
                  <a:pt x="89" y="90"/>
                  <a:pt x="89" y="90"/>
                </a:cubicBezTo>
                <a:cubicBezTo>
                  <a:pt x="89" y="91"/>
                  <a:pt x="88" y="91"/>
                  <a:pt x="87" y="91"/>
                </a:cubicBezTo>
                <a:cubicBezTo>
                  <a:pt x="86" y="91"/>
                  <a:pt x="85" y="91"/>
                  <a:pt x="85" y="90"/>
                </a:cubicBezTo>
                <a:cubicBezTo>
                  <a:pt x="48" y="53"/>
                  <a:pt x="48" y="53"/>
                  <a:pt x="48" y="53"/>
                </a:cubicBezTo>
                <a:cubicBezTo>
                  <a:pt x="10" y="90"/>
                  <a:pt x="10" y="90"/>
                  <a:pt x="10" y="90"/>
                </a:cubicBezTo>
                <a:cubicBezTo>
                  <a:pt x="10" y="91"/>
                  <a:pt x="9" y="91"/>
                  <a:pt x="8" y="91"/>
                </a:cubicBezTo>
                <a:cubicBezTo>
                  <a:pt x="7" y="91"/>
                  <a:pt x="7" y="91"/>
                  <a:pt x="6" y="90"/>
                </a:cubicBezTo>
                <a:cubicBezTo>
                  <a:pt x="1" y="85"/>
                  <a:pt x="1" y="85"/>
                  <a:pt x="1" y="85"/>
                </a:cubicBezTo>
                <a:cubicBezTo>
                  <a:pt x="1" y="85"/>
                  <a:pt x="0" y="84"/>
                  <a:pt x="0" y="83"/>
                </a:cubicBezTo>
                <a:cubicBezTo>
                  <a:pt x="0" y="82"/>
                  <a:pt x="1" y="82"/>
                  <a:pt x="1" y="81"/>
                </a:cubicBezTo>
                <a:cubicBezTo>
                  <a:pt x="45" y="37"/>
                  <a:pt x="45" y="37"/>
                  <a:pt x="45" y="37"/>
                </a:cubicBezTo>
                <a:cubicBezTo>
                  <a:pt x="46" y="36"/>
                  <a:pt x="47" y="36"/>
                  <a:pt x="48" y="36"/>
                </a:cubicBezTo>
                <a:cubicBezTo>
                  <a:pt x="48" y="36"/>
                  <a:pt x="49" y="36"/>
                  <a:pt x="50" y="37"/>
                </a:cubicBezTo>
                <a:cubicBezTo>
                  <a:pt x="94" y="81"/>
                  <a:pt x="94" y="81"/>
                  <a:pt x="94" y="81"/>
                </a:cubicBezTo>
                <a:cubicBezTo>
                  <a:pt x="94" y="82"/>
                  <a:pt x="95" y="82"/>
                  <a:pt x="95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4" name="Freeform 235"/>
          <p:cNvSpPr>
            <a:spLocks noChangeAspect="1" noEditPoints="1"/>
          </p:cNvSpPr>
          <p:nvPr/>
        </p:nvSpPr>
        <p:spPr bwMode="auto">
          <a:xfrm>
            <a:off x="7807015" y="3132461"/>
            <a:ext cx="96801" cy="93678"/>
          </a:xfrm>
          <a:custGeom>
            <a:avLst/>
            <a:gdLst>
              <a:gd name="T0" fmla="*/ 94 w 94"/>
              <a:gd name="T1" fmla="*/ 8 h 91"/>
              <a:gd name="T2" fmla="*/ 94 w 94"/>
              <a:gd name="T3" fmla="*/ 10 h 91"/>
              <a:gd name="T4" fmla="*/ 49 w 94"/>
              <a:gd name="T5" fmla="*/ 54 h 91"/>
              <a:gd name="T6" fmla="*/ 47 w 94"/>
              <a:gd name="T7" fmla="*/ 55 h 91"/>
              <a:gd name="T8" fmla="*/ 45 w 94"/>
              <a:gd name="T9" fmla="*/ 54 h 91"/>
              <a:gd name="T10" fmla="*/ 1 w 94"/>
              <a:gd name="T11" fmla="*/ 10 h 91"/>
              <a:gd name="T12" fmla="*/ 0 w 94"/>
              <a:gd name="T13" fmla="*/ 8 h 91"/>
              <a:gd name="T14" fmla="*/ 1 w 94"/>
              <a:gd name="T15" fmla="*/ 5 h 91"/>
              <a:gd name="T16" fmla="*/ 6 w 94"/>
              <a:gd name="T17" fmla="*/ 1 h 91"/>
              <a:gd name="T18" fmla="*/ 8 w 94"/>
              <a:gd name="T19" fmla="*/ 0 h 91"/>
              <a:gd name="T20" fmla="*/ 10 w 94"/>
              <a:gd name="T21" fmla="*/ 1 h 91"/>
              <a:gd name="T22" fmla="*/ 47 w 94"/>
              <a:gd name="T23" fmla="*/ 38 h 91"/>
              <a:gd name="T24" fmla="*/ 84 w 94"/>
              <a:gd name="T25" fmla="*/ 1 h 91"/>
              <a:gd name="T26" fmla="*/ 87 w 94"/>
              <a:gd name="T27" fmla="*/ 0 h 91"/>
              <a:gd name="T28" fmla="*/ 89 w 94"/>
              <a:gd name="T29" fmla="*/ 1 h 91"/>
              <a:gd name="T30" fmla="*/ 94 w 94"/>
              <a:gd name="T31" fmla="*/ 5 h 91"/>
              <a:gd name="T32" fmla="*/ 94 w 94"/>
              <a:gd name="T33" fmla="*/ 8 h 91"/>
              <a:gd name="T34" fmla="*/ 94 w 94"/>
              <a:gd name="T35" fmla="*/ 44 h 91"/>
              <a:gd name="T36" fmla="*/ 94 w 94"/>
              <a:gd name="T37" fmla="*/ 46 h 91"/>
              <a:gd name="T38" fmla="*/ 49 w 94"/>
              <a:gd name="T39" fmla="*/ 90 h 91"/>
              <a:gd name="T40" fmla="*/ 47 w 94"/>
              <a:gd name="T41" fmla="*/ 91 h 91"/>
              <a:gd name="T42" fmla="*/ 45 w 94"/>
              <a:gd name="T43" fmla="*/ 90 h 91"/>
              <a:gd name="T44" fmla="*/ 1 w 94"/>
              <a:gd name="T45" fmla="*/ 46 h 91"/>
              <a:gd name="T46" fmla="*/ 0 w 94"/>
              <a:gd name="T47" fmla="*/ 44 h 91"/>
              <a:gd name="T48" fmla="*/ 1 w 94"/>
              <a:gd name="T49" fmla="*/ 42 h 91"/>
              <a:gd name="T50" fmla="*/ 6 w 94"/>
              <a:gd name="T51" fmla="*/ 37 h 91"/>
              <a:gd name="T52" fmla="*/ 8 w 94"/>
              <a:gd name="T53" fmla="*/ 36 h 91"/>
              <a:gd name="T54" fmla="*/ 10 w 94"/>
              <a:gd name="T55" fmla="*/ 37 h 91"/>
              <a:gd name="T56" fmla="*/ 47 w 94"/>
              <a:gd name="T57" fmla="*/ 74 h 91"/>
              <a:gd name="T58" fmla="*/ 84 w 94"/>
              <a:gd name="T59" fmla="*/ 37 h 91"/>
              <a:gd name="T60" fmla="*/ 87 w 94"/>
              <a:gd name="T61" fmla="*/ 36 h 91"/>
              <a:gd name="T62" fmla="*/ 89 w 94"/>
              <a:gd name="T63" fmla="*/ 37 h 91"/>
              <a:gd name="T64" fmla="*/ 94 w 94"/>
              <a:gd name="T65" fmla="*/ 42 h 91"/>
              <a:gd name="T66" fmla="*/ 94 w 94"/>
              <a:gd name="T67" fmla="*/ 44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4" h="91">
                <a:moveTo>
                  <a:pt x="94" y="8"/>
                </a:moveTo>
                <a:cubicBezTo>
                  <a:pt x="94" y="8"/>
                  <a:pt x="94" y="9"/>
                  <a:pt x="94" y="10"/>
                </a:cubicBezTo>
                <a:cubicBezTo>
                  <a:pt x="49" y="54"/>
                  <a:pt x="49" y="54"/>
                  <a:pt x="49" y="54"/>
                </a:cubicBezTo>
                <a:cubicBezTo>
                  <a:pt x="49" y="54"/>
                  <a:pt x="48" y="55"/>
                  <a:pt x="47" y="55"/>
                </a:cubicBezTo>
                <a:cubicBezTo>
                  <a:pt x="46" y="55"/>
                  <a:pt x="46" y="54"/>
                  <a:pt x="45" y="54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9"/>
                  <a:pt x="0" y="8"/>
                  <a:pt x="0" y="8"/>
                </a:cubicBezTo>
                <a:cubicBezTo>
                  <a:pt x="0" y="7"/>
                  <a:pt x="0" y="6"/>
                  <a:pt x="1" y="5"/>
                </a:cubicBezTo>
                <a:cubicBezTo>
                  <a:pt x="6" y="1"/>
                  <a:pt x="6" y="1"/>
                  <a:pt x="6" y="1"/>
                </a:cubicBezTo>
                <a:cubicBezTo>
                  <a:pt x="6" y="0"/>
                  <a:pt x="7" y="0"/>
                  <a:pt x="8" y="0"/>
                </a:cubicBezTo>
                <a:cubicBezTo>
                  <a:pt x="9" y="0"/>
                  <a:pt x="9" y="0"/>
                  <a:pt x="10" y="1"/>
                </a:cubicBezTo>
                <a:cubicBezTo>
                  <a:pt x="47" y="38"/>
                  <a:pt x="47" y="38"/>
                  <a:pt x="47" y="38"/>
                </a:cubicBezTo>
                <a:cubicBezTo>
                  <a:pt x="84" y="1"/>
                  <a:pt x="84" y="1"/>
                  <a:pt x="84" y="1"/>
                </a:cubicBezTo>
                <a:cubicBezTo>
                  <a:pt x="85" y="0"/>
                  <a:pt x="86" y="0"/>
                  <a:pt x="87" y="0"/>
                </a:cubicBezTo>
                <a:cubicBezTo>
                  <a:pt x="87" y="0"/>
                  <a:pt x="88" y="0"/>
                  <a:pt x="89" y="1"/>
                </a:cubicBezTo>
                <a:cubicBezTo>
                  <a:pt x="94" y="5"/>
                  <a:pt x="94" y="5"/>
                  <a:pt x="94" y="5"/>
                </a:cubicBezTo>
                <a:cubicBezTo>
                  <a:pt x="94" y="6"/>
                  <a:pt x="94" y="7"/>
                  <a:pt x="94" y="8"/>
                </a:cubicBezTo>
                <a:close/>
                <a:moveTo>
                  <a:pt x="94" y="44"/>
                </a:moveTo>
                <a:cubicBezTo>
                  <a:pt x="94" y="45"/>
                  <a:pt x="94" y="45"/>
                  <a:pt x="94" y="46"/>
                </a:cubicBezTo>
                <a:cubicBezTo>
                  <a:pt x="49" y="90"/>
                  <a:pt x="49" y="90"/>
                  <a:pt x="49" y="90"/>
                </a:cubicBezTo>
                <a:cubicBezTo>
                  <a:pt x="49" y="91"/>
                  <a:pt x="48" y="91"/>
                  <a:pt x="47" y="91"/>
                </a:cubicBezTo>
                <a:cubicBezTo>
                  <a:pt x="46" y="91"/>
                  <a:pt x="46" y="91"/>
                  <a:pt x="45" y="90"/>
                </a:cubicBezTo>
                <a:cubicBezTo>
                  <a:pt x="1" y="46"/>
                  <a:pt x="1" y="46"/>
                  <a:pt x="1" y="46"/>
                </a:cubicBezTo>
                <a:cubicBezTo>
                  <a:pt x="0" y="45"/>
                  <a:pt x="0" y="45"/>
                  <a:pt x="0" y="44"/>
                </a:cubicBezTo>
                <a:cubicBezTo>
                  <a:pt x="0" y="43"/>
                  <a:pt x="0" y="42"/>
                  <a:pt x="1" y="42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6"/>
                  <a:pt x="7" y="36"/>
                  <a:pt x="8" y="36"/>
                </a:cubicBezTo>
                <a:cubicBezTo>
                  <a:pt x="9" y="36"/>
                  <a:pt x="9" y="36"/>
                  <a:pt x="10" y="37"/>
                </a:cubicBezTo>
                <a:cubicBezTo>
                  <a:pt x="47" y="74"/>
                  <a:pt x="47" y="74"/>
                  <a:pt x="47" y="74"/>
                </a:cubicBezTo>
                <a:cubicBezTo>
                  <a:pt x="84" y="37"/>
                  <a:pt x="84" y="37"/>
                  <a:pt x="84" y="37"/>
                </a:cubicBezTo>
                <a:cubicBezTo>
                  <a:pt x="85" y="36"/>
                  <a:pt x="86" y="36"/>
                  <a:pt x="87" y="36"/>
                </a:cubicBezTo>
                <a:cubicBezTo>
                  <a:pt x="87" y="36"/>
                  <a:pt x="88" y="36"/>
                  <a:pt x="89" y="37"/>
                </a:cubicBezTo>
                <a:cubicBezTo>
                  <a:pt x="94" y="42"/>
                  <a:pt x="94" y="42"/>
                  <a:pt x="94" y="42"/>
                </a:cubicBezTo>
                <a:cubicBezTo>
                  <a:pt x="94" y="42"/>
                  <a:pt x="94" y="43"/>
                  <a:pt x="94" y="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5" name="Freeform 236"/>
          <p:cNvSpPr>
            <a:spLocks noChangeAspect="1"/>
          </p:cNvSpPr>
          <p:nvPr/>
        </p:nvSpPr>
        <p:spPr bwMode="auto">
          <a:xfrm>
            <a:off x="7963145" y="3137144"/>
            <a:ext cx="57769" cy="98363"/>
          </a:xfrm>
          <a:custGeom>
            <a:avLst/>
            <a:gdLst>
              <a:gd name="T0" fmla="*/ 55 w 55"/>
              <a:gd name="T1" fmla="*/ 8 h 94"/>
              <a:gd name="T2" fmla="*/ 54 w 55"/>
              <a:gd name="T3" fmla="*/ 10 h 94"/>
              <a:gd name="T4" fmla="*/ 17 w 55"/>
              <a:gd name="T5" fmla="*/ 47 h 94"/>
              <a:gd name="T6" fmla="*/ 54 w 55"/>
              <a:gd name="T7" fmla="*/ 84 h 94"/>
              <a:gd name="T8" fmla="*/ 55 w 55"/>
              <a:gd name="T9" fmla="*/ 86 h 94"/>
              <a:gd name="T10" fmla="*/ 54 w 55"/>
              <a:gd name="T11" fmla="*/ 88 h 94"/>
              <a:gd name="T12" fmla="*/ 49 w 55"/>
              <a:gd name="T13" fmla="*/ 93 h 94"/>
              <a:gd name="T14" fmla="*/ 47 w 55"/>
              <a:gd name="T15" fmla="*/ 94 h 94"/>
              <a:gd name="T16" fmla="*/ 45 w 55"/>
              <a:gd name="T17" fmla="*/ 93 h 94"/>
              <a:gd name="T18" fmla="*/ 1 w 55"/>
              <a:gd name="T19" fmla="*/ 49 h 94"/>
              <a:gd name="T20" fmla="*/ 0 w 55"/>
              <a:gd name="T21" fmla="*/ 47 h 94"/>
              <a:gd name="T22" fmla="*/ 1 w 55"/>
              <a:gd name="T23" fmla="*/ 45 h 94"/>
              <a:gd name="T24" fmla="*/ 45 w 55"/>
              <a:gd name="T25" fmla="*/ 1 h 94"/>
              <a:gd name="T26" fmla="*/ 47 w 55"/>
              <a:gd name="T27" fmla="*/ 0 h 94"/>
              <a:gd name="T28" fmla="*/ 49 w 55"/>
              <a:gd name="T29" fmla="*/ 1 h 94"/>
              <a:gd name="T30" fmla="*/ 54 w 55"/>
              <a:gd name="T31" fmla="*/ 5 h 94"/>
              <a:gd name="T32" fmla="*/ 55 w 55"/>
              <a:gd name="T33" fmla="*/ 8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5" h="94">
                <a:moveTo>
                  <a:pt x="55" y="8"/>
                </a:moveTo>
                <a:cubicBezTo>
                  <a:pt x="55" y="8"/>
                  <a:pt x="54" y="9"/>
                  <a:pt x="54" y="10"/>
                </a:cubicBezTo>
                <a:cubicBezTo>
                  <a:pt x="17" y="47"/>
                  <a:pt x="17" y="47"/>
                  <a:pt x="17" y="47"/>
                </a:cubicBezTo>
                <a:cubicBezTo>
                  <a:pt x="54" y="84"/>
                  <a:pt x="54" y="84"/>
                  <a:pt x="54" y="84"/>
                </a:cubicBezTo>
                <a:cubicBezTo>
                  <a:pt x="54" y="85"/>
                  <a:pt x="55" y="85"/>
                  <a:pt x="55" y="86"/>
                </a:cubicBezTo>
                <a:cubicBezTo>
                  <a:pt x="55" y="87"/>
                  <a:pt x="54" y="88"/>
                  <a:pt x="54" y="88"/>
                </a:cubicBezTo>
                <a:cubicBezTo>
                  <a:pt x="49" y="93"/>
                  <a:pt x="49" y="93"/>
                  <a:pt x="49" y="93"/>
                </a:cubicBezTo>
                <a:cubicBezTo>
                  <a:pt x="48" y="94"/>
                  <a:pt x="48" y="94"/>
                  <a:pt x="47" y="94"/>
                </a:cubicBezTo>
                <a:cubicBezTo>
                  <a:pt x="46" y="94"/>
                  <a:pt x="45" y="94"/>
                  <a:pt x="45" y="93"/>
                </a:cubicBezTo>
                <a:cubicBezTo>
                  <a:pt x="1" y="49"/>
                  <a:pt x="1" y="49"/>
                  <a:pt x="1" y="49"/>
                </a:cubicBezTo>
                <a:cubicBezTo>
                  <a:pt x="0" y="49"/>
                  <a:pt x="0" y="48"/>
                  <a:pt x="0" y="47"/>
                </a:cubicBezTo>
                <a:cubicBezTo>
                  <a:pt x="0" y="46"/>
                  <a:pt x="0" y="45"/>
                  <a:pt x="1" y="45"/>
                </a:cubicBezTo>
                <a:cubicBezTo>
                  <a:pt x="45" y="1"/>
                  <a:pt x="45" y="1"/>
                  <a:pt x="45" y="1"/>
                </a:cubicBezTo>
                <a:cubicBezTo>
                  <a:pt x="45" y="0"/>
                  <a:pt x="46" y="0"/>
                  <a:pt x="47" y="0"/>
                </a:cubicBezTo>
                <a:cubicBezTo>
                  <a:pt x="48" y="0"/>
                  <a:pt x="48" y="0"/>
                  <a:pt x="49" y="1"/>
                </a:cubicBezTo>
                <a:cubicBezTo>
                  <a:pt x="54" y="5"/>
                  <a:pt x="54" y="5"/>
                  <a:pt x="54" y="5"/>
                </a:cubicBezTo>
                <a:cubicBezTo>
                  <a:pt x="54" y="6"/>
                  <a:pt x="55" y="7"/>
                  <a:pt x="55" y="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6" name="Freeform 237"/>
          <p:cNvSpPr>
            <a:spLocks noChangeAspect="1"/>
          </p:cNvSpPr>
          <p:nvPr/>
        </p:nvSpPr>
        <p:spPr bwMode="auto">
          <a:xfrm>
            <a:off x="8069314" y="3137144"/>
            <a:ext cx="56207" cy="98363"/>
          </a:xfrm>
          <a:custGeom>
            <a:avLst/>
            <a:gdLst>
              <a:gd name="T0" fmla="*/ 55 w 55"/>
              <a:gd name="T1" fmla="*/ 47 h 94"/>
              <a:gd name="T2" fmla="*/ 54 w 55"/>
              <a:gd name="T3" fmla="*/ 49 h 94"/>
              <a:gd name="T4" fmla="*/ 10 w 55"/>
              <a:gd name="T5" fmla="*/ 93 h 94"/>
              <a:gd name="T6" fmla="*/ 8 w 55"/>
              <a:gd name="T7" fmla="*/ 94 h 94"/>
              <a:gd name="T8" fmla="*/ 6 w 55"/>
              <a:gd name="T9" fmla="*/ 93 h 94"/>
              <a:gd name="T10" fmla="*/ 1 w 55"/>
              <a:gd name="T11" fmla="*/ 88 h 94"/>
              <a:gd name="T12" fmla="*/ 0 w 55"/>
              <a:gd name="T13" fmla="*/ 86 h 94"/>
              <a:gd name="T14" fmla="*/ 1 w 55"/>
              <a:gd name="T15" fmla="*/ 84 h 94"/>
              <a:gd name="T16" fmla="*/ 38 w 55"/>
              <a:gd name="T17" fmla="*/ 47 h 94"/>
              <a:gd name="T18" fmla="*/ 1 w 55"/>
              <a:gd name="T19" fmla="*/ 10 h 94"/>
              <a:gd name="T20" fmla="*/ 0 w 55"/>
              <a:gd name="T21" fmla="*/ 8 h 94"/>
              <a:gd name="T22" fmla="*/ 1 w 55"/>
              <a:gd name="T23" fmla="*/ 5 h 94"/>
              <a:gd name="T24" fmla="*/ 6 w 55"/>
              <a:gd name="T25" fmla="*/ 1 h 94"/>
              <a:gd name="T26" fmla="*/ 8 w 55"/>
              <a:gd name="T27" fmla="*/ 0 h 94"/>
              <a:gd name="T28" fmla="*/ 10 w 55"/>
              <a:gd name="T29" fmla="*/ 1 h 94"/>
              <a:gd name="T30" fmla="*/ 54 w 55"/>
              <a:gd name="T31" fmla="*/ 45 h 94"/>
              <a:gd name="T32" fmla="*/ 55 w 55"/>
              <a:gd name="T33" fmla="*/ 47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5" h="94">
                <a:moveTo>
                  <a:pt x="55" y="47"/>
                </a:moveTo>
                <a:cubicBezTo>
                  <a:pt x="55" y="48"/>
                  <a:pt x="55" y="49"/>
                  <a:pt x="54" y="49"/>
                </a:cubicBezTo>
                <a:cubicBezTo>
                  <a:pt x="10" y="93"/>
                  <a:pt x="10" y="93"/>
                  <a:pt x="10" y="93"/>
                </a:cubicBezTo>
                <a:cubicBezTo>
                  <a:pt x="9" y="94"/>
                  <a:pt x="9" y="94"/>
                  <a:pt x="8" y="94"/>
                </a:cubicBezTo>
                <a:cubicBezTo>
                  <a:pt x="7" y="94"/>
                  <a:pt x="6" y="94"/>
                  <a:pt x="6" y="93"/>
                </a:cubicBezTo>
                <a:cubicBezTo>
                  <a:pt x="1" y="88"/>
                  <a:pt x="1" y="88"/>
                  <a:pt x="1" y="88"/>
                </a:cubicBezTo>
                <a:cubicBezTo>
                  <a:pt x="0" y="88"/>
                  <a:pt x="0" y="87"/>
                  <a:pt x="0" y="86"/>
                </a:cubicBezTo>
                <a:cubicBezTo>
                  <a:pt x="0" y="85"/>
                  <a:pt x="0" y="85"/>
                  <a:pt x="1" y="84"/>
                </a:cubicBezTo>
                <a:cubicBezTo>
                  <a:pt x="38" y="47"/>
                  <a:pt x="38" y="47"/>
                  <a:pt x="38" y="47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9"/>
                  <a:pt x="0" y="8"/>
                  <a:pt x="0" y="8"/>
                </a:cubicBezTo>
                <a:cubicBezTo>
                  <a:pt x="0" y="7"/>
                  <a:pt x="0" y="6"/>
                  <a:pt x="1" y="5"/>
                </a:cubicBezTo>
                <a:cubicBezTo>
                  <a:pt x="6" y="1"/>
                  <a:pt x="6" y="1"/>
                  <a:pt x="6" y="1"/>
                </a:cubicBezTo>
                <a:cubicBezTo>
                  <a:pt x="6" y="0"/>
                  <a:pt x="7" y="0"/>
                  <a:pt x="8" y="0"/>
                </a:cubicBezTo>
                <a:cubicBezTo>
                  <a:pt x="9" y="0"/>
                  <a:pt x="9" y="0"/>
                  <a:pt x="10" y="1"/>
                </a:cubicBezTo>
                <a:cubicBezTo>
                  <a:pt x="54" y="45"/>
                  <a:pt x="54" y="45"/>
                  <a:pt x="54" y="45"/>
                </a:cubicBezTo>
                <a:cubicBezTo>
                  <a:pt x="55" y="45"/>
                  <a:pt x="55" y="46"/>
                  <a:pt x="55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7" name="Freeform 238"/>
          <p:cNvSpPr>
            <a:spLocks noChangeAspect="1"/>
          </p:cNvSpPr>
          <p:nvPr/>
        </p:nvSpPr>
        <p:spPr bwMode="auto">
          <a:xfrm>
            <a:off x="8138012" y="3159002"/>
            <a:ext cx="98363" cy="57769"/>
          </a:xfrm>
          <a:custGeom>
            <a:avLst/>
            <a:gdLst>
              <a:gd name="T0" fmla="*/ 94 w 94"/>
              <a:gd name="T1" fmla="*/ 47 h 55"/>
              <a:gd name="T2" fmla="*/ 93 w 94"/>
              <a:gd name="T3" fmla="*/ 49 h 55"/>
              <a:gd name="T4" fmla="*/ 88 w 94"/>
              <a:gd name="T5" fmla="*/ 54 h 55"/>
              <a:gd name="T6" fmla="*/ 86 w 94"/>
              <a:gd name="T7" fmla="*/ 55 h 55"/>
              <a:gd name="T8" fmla="*/ 84 w 94"/>
              <a:gd name="T9" fmla="*/ 54 h 55"/>
              <a:gd name="T10" fmla="*/ 47 w 94"/>
              <a:gd name="T11" fmla="*/ 17 h 55"/>
              <a:gd name="T12" fmla="*/ 10 w 94"/>
              <a:gd name="T13" fmla="*/ 54 h 55"/>
              <a:gd name="T14" fmla="*/ 7 w 94"/>
              <a:gd name="T15" fmla="*/ 55 h 55"/>
              <a:gd name="T16" fmla="*/ 5 w 94"/>
              <a:gd name="T17" fmla="*/ 54 h 55"/>
              <a:gd name="T18" fmla="*/ 0 w 94"/>
              <a:gd name="T19" fmla="*/ 49 h 55"/>
              <a:gd name="T20" fmla="*/ 0 w 94"/>
              <a:gd name="T21" fmla="*/ 47 h 55"/>
              <a:gd name="T22" fmla="*/ 0 w 94"/>
              <a:gd name="T23" fmla="*/ 45 h 55"/>
              <a:gd name="T24" fmla="*/ 45 w 94"/>
              <a:gd name="T25" fmla="*/ 1 h 55"/>
              <a:gd name="T26" fmla="*/ 47 w 94"/>
              <a:gd name="T27" fmla="*/ 0 h 55"/>
              <a:gd name="T28" fmla="*/ 49 w 94"/>
              <a:gd name="T29" fmla="*/ 1 h 55"/>
              <a:gd name="T30" fmla="*/ 93 w 94"/>
              <a:gd name="T31" fmla="*/ 45 h 55"/>
              <a:gd name="T32" fmla="*/ 94 w 94"/>
              <a:gd name="T33" fmla="*/ 47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4" h="55">
                <a:moveTo>
                  <a:pt x="94" y="47"/>
                </a:moveTo>
                <a:cubicBezTo>
                  <a:pt x="94" y="48"/>
                  <a:pt x="94" y="49"/>
                  <a:pt x="93" y="49"/>
                </a:cubicBezTo>
                <a:cubicBezTo>
                  <a:pt x="88" y="54"/>
                  <a:pt x="88" y="54"/>
                  <a:pt x="88" y="54"/>
                </a:cubicBezTo>
                <a:cubicBezTo>
                  <a:pt x="88" y="55"/>
                  <a:pt x="87" y="55"/>
                  <a:pt x="86" y="55"/>
                </a:cubicBezTo>
                <a:cubicBezTo>
                  <a:pt x="85" y="55"/>
                  <a:pt x="84" y="55"/>
                  <a:pt x="84" y="54"/>
                </a:cubicBezTo>
                <a:cubicBezTo>
                  <a:pt x="47" y="17"/>
                  <a:pt x="47" y="17"/>
                  <a:pt x="47" y="17"/>
                </a:cubicBezTo>
                <a:cubicBezTo>
                  <a:pt x="10" y="54"/>
                  <a:pt x="10" y="54"/>
                  <a:pt x="10" y="54"/>
                </a:cubicBezTo>
                <a:cubicBezTo>
                  <a:pt x="9" y="55"/>
                  <a:pt x="8" y="55"/>
                  <a:pt x="7" y="55"/>
                </a:cubicBezTo>
                <a:cubicBezTo>
                  <a:pt x="7" y="55"/>
                  <a:pt x="6" y="55"/>
                  <a:pt x="5" y="54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9"/>
                  <a:pt x="0" y="48"/>
                  <a:pt x="0" y="47"/>
                </a:cubicBezTo>
                <a:cubicBezTo>
                  <a:pt x="0" y="46"/>
                  <a:pt x="0" y="46"/>
                  <a:pt x="0" y="45"/>
                </a:cubicBezTo>
                <a:cubicBezTo>
                  <a:pt x="45" y="1"/>
                  <a:pt x="45" y="1"/>
                  <a:pt x="45" y="1"/>
                </a:cubicBezTo>
                <a:cubicBezTo>
                  <a:pt x="45" y="0"/>
                  <a:pt x="46" y="0"/>
                  <a:pt x="47" y="0"/>
                </a:cubicBezTo>
                <a:cubicBezTo>
                  <a:pt x="48" y="0"/>
                  <a:pt x="48" y="0"/>
                  <a:pt x="49" y="1"/>
                </a:cubicBezTo>
                <a:cubicBezTo>
                  <a:pt x="93" y="45"/>
                  <a:pt x="93" y="45"/>
                  <a:pt x="93" y="45"/>
                </a:cubicBezTo>
                <a:cubicBezTo>
                  <a:pt x="94" y="46"/>
                  <a:pt x="94" y="46"/>
                  <a:pt x="94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8" name="Freeform 239"/>
          <p:cNvSpPr>
            <a:spLocks noChangeAspect="1"/>
          </p:cNvSpPr>
          <p:nvPr/>
        </p:nvSpPr>
        <p:spPr bwMode="auto">
          <a:xfrm>
            <a:off x="8297265" y="3155880"/>
            <a:ext cx="98363" cy="57769"/>
          </a:xfrm>
          <a:custGeom>
            <a:avLst/>
            <a:gdLst>
              <a:gd name="T0" fmla="*/ 95 w 95"/>
              <a:gd name="T1" fmla="*/ 8 h 55"/>
              <a:gd name="T2" fmla="*/ 94 w 95"/>
              <a:gd name="T3" fmla="*/ 10 h 55"/>
              <a:gd name="T4" fmla="*/ 50 w 95"/>
              <a:gd name="T5" fmla="*/ 54 h 55"/>
              <a:gd name="T6" fmla="*/ 47 w 95"/>
              <a:gd name="T7" fmla="*/ 55 h 55"/>
              <a:gd name="T8" fmla="*/ 45 w 95"/>
              <a:gd name="T9" fmla="*/ 54 h 55"/>
              <a:gd name="T10" fmla="*/ 1 w 95"/>
              <a:gd name="T11" fmla="*/ 10 h 55"/>
              <a:gd name="T12" fmla="*/ 0 w 95"/>
              <a:gd name="T13" fmla="*/ 8 h 55"/>
              <a:gd name="T14" fmla="*/ 1 w 95"/>
              <a:gd name="T15" fmla="*/ 6 h 55"/>
              <a:gd name="T16" fmla="*/ 6 w 95"/>
              <a:gd name="T17" fmla="*/ 1 h 55"/>
              <a:gd name="T18" fmla="*/ 8 w 95"/>
              <a:gd name="T19" fmla="*/ 0 h 55"/>
              <a:gd name="T20" fmla="*/ 10 w 95"/>
              <a:gd name="T21" fmla="*/ 1 h 55"/>
              <a:gd name="T22" fmla="*/ 47 w 95"/>
              <a:gd name="T23" fmla="*/ 38 h 55"/>
              <a:gd name="T24" fmla="*/ 84 w 95"/>
              <a:gd name="T25" fmla="*/ 1 h 55"/>
              <a:gd name="T26" fmla="*/ 87 w 95"/>
              <a:gd name="T27" fmla="*/ 0 h 55"/>
              <a:gd name="T28" fmla="*/ 89 w 95"/>
              <a:gd name="T29" fmla="*/ 1 h 55"/>
              <a:gd name="T30" fmla="*/ 94 w 95"/>
              <a:gd name="T31" fmla="*/ 6 h 55"/>
              <a:gd name="T32" fmla="*/ 95 w 95"/>
              <a:gd name="T33" fmla="*/ 8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5" h="55">
                <a:moveTo>
                  <a:pt x="95" y="8"/>
                </a:moveTo>
                <a:cubicBezTo>
                  <a:pt x="95" y="9"/>
                  <a:pt x="94" y="9"/>
                  <a:pt x="94" y="10"/>
                </a:cubicBezTo>
                <a:cubicBezTo>
                  <a:pt x="50" y="54"/>
                  <a:pt x="50" y="54"/>
                  <a:pt x="50" y="54"/>
                </a:cubicBezTo>
                <a:cubicBezTo>
                  <a:pt x="49" y="55"/>
                  <a:pt x="48" y="55"/>
                  <a:pt x="47" y="55"/>
                </a:cubicBezTo>
                <a:cubicBezTo>
                  <a:pt x="47" y="55"/>
                  <a:pt x="46" y="55"/>
                  <a:pt x="45" y="54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9"/>
                  <a:pt x="0" y="9"/>
                  <a:pt x="0" y="8"/>
                </a:cubicBezTo>
                <a:cubicBezTo>
                  <a:pt x="0" y="7"/>
                  <a:pt x="0" y="6"/>
                  <a:pt x="1" y="6"/>
                </a:cubicBezTo>
                <a:cubicBezTo>
                  <a:pt x="6" y="1"/>
                  <a:pt x="6" y="1"/>
                  <a:pt x="6" y="1"/>
                </a:cubicBezTo>
                <a:cubicBezTo>
                  <a:pt x="6" y="0"/>
                  <a:pt x="7" y="0"/>
                  <a:pt x="8" y="0"/>
                </a:cubicBezTo>
                <a:cubicBezTo>
                  <a:pt x="9" y="0"/>
                  <a:pt x="10" y="0"/>
                  <a:pt x="10" y="1"/>
                </a:cubicBezTo>
                <a:cubicBezTo>
                  <a:pt x="47" y="38"/>
                  <a:pt x="47" y="38"/>
                  <a:pt x="47" y="38"/>
                </a:cubicBezTo>
                <a:cubicBezTo>
                  <a:pt x="84" y="1"/>
                  <a:pt x="84" y="1"/>
                  <a:pt x="84" y="1"/>
                </a:cubicBezTo>
                <a:cubicBezTo>
                  <a:pt x="85" y="0"/>
                  <a:pt x="86" y="0"/>
                  <a:pt x="87" y="0"/>
                </a:cubicBezTo>
                <a:cubicBezTo>
                  <a:pt x="87" y="0"/>
                  <a:pt x="88" y="0"/>
                  <a:pt x="89" y="1"/>
                </a:cubicBezTo>
                <a:cubicBezTo>
                  <a:pt x="94" y="6"/>
                  <a:pt x="94" y="6"/>
                  <a:pt x="94" y="6"/>
                </a:cubicBezTo>
                <a:cubicBezTo>
                  <a:pt x="94" y="6"/>
                  <a:pt x="95" y="7"/>
                  <a:pt x="95" y="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9" name="Freeform 240"/>
          <p:cNvSpPr>
            <a:spLocks noChangeAspect="1" noEditPoints="1"/>
          </p:cNvSpPr>
          <p:nvPr/>
        </p:nvSpPr>
        <p:spPr bwMode="auto">
          <a:xfrm>
            <a:off x="740541" y="3402566"/>
            <a:ext cx="187357" cy="163938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0" name="Freeform 241"/>
          <p:cNvSpPr>
            <a:spLocks noChangeAspect="1" noEditPoints="1"/>
          </p:cNvSpPr>
          <p:nvPr/>
        </p:nvSpPr>
        <p:spPr bwMode="auto">
          <a:xfrm>
            <a:off x="974737" y="3427547"/>
            <a:ext cx="188919" cy="124904"/>
          </a:xfrm>
          <a:custGeom>
            <a:avLst/>
            <a:gdLst>
              <a:gd name="T0" fmla="*/ 167 w 182"/>
              <a:gd name="T1" fmla="*/ 103 h 121"/>
              <a:gd name="T2" fmla="*/ 182 w 182"/>
              <a:gd name="T3" fmla="*/ 103 h 121"/>
              <a:gd name="T4" fmla="*/ 182 w 182"/>
              <a:gd name="T5" fmla="*/ 112 h 121"/>
              <a:gd name="T6" fmla="*/ 178 w 182"/>
              <a:gd name="T7" fmla="*/ 119 h 121"/>
              <a:gd name="T8" fmla="*/ 167 w 182"/>
              <a:gd name="T9" fmla="*/ 121 h 121"/>
              <a:gd name="T10" fmla="*/ 16 w 182"/>
              <a:gd name="T11" fmla="*/ 121 h 121"/>
              <a:gd name="T12" fmla="*/ 5 w 182"/>
              <a:gd name="T13" fmla="*/ 119 h 121"/>
              <a:gd name="T14" fmla="*/ 0 w 182"/>
              <a:gd name="T15" fmla="*/ 112 h 121"/>
              <a:gd name="T16" fmla="*/ 0 w 182"/>
              <a:gd name="T17" fmla="*/ 103 h 121"/>
              <a:gd name="T18" fmla="*/ 16 w 182"/>
              <a:gd name="T19" fmla="*/ 103 h 121"/>
              <a:gd name="T20" fmla="*/ 167 w 182"/>
              <a:gd name="T21" fmla="*/ 103 h 121"/>
              <a:gd name="T22" fmla="*/ 40 w 182"/>
              <a:gd name="T23" fmla="*/ 97 h 121"/>
              <a:gd name="T24" fmla="*/ 29 w 182"/>
              <a:gd name="T25" fmla="*/ 93 h 121"/>
              <a:gd name="T26" fmla="*/ 25 w 182"/>
              <a:gd name="T27" fmla="*/ 82 h 121"/>
              <a:gd name="T28" fmla="*/ 25 w 182"/>
              <a:gd name="T29" fmla="*/ 16 h 121"/>
              <a:gd name="T30" fmla="*/ 29 w 182"/>
              <a:gd name="T31" fmla="*/ 5 h 121"/>
              <a:gd name="T32" fmla="*/ 40 w 182"/>
              <a:gd name="T33" fmla="*/ 0 h 121"/>
              <a:gd name="T34" fmla="*/ 143 w 182"/>
              <a:gd name="T35" fmla="*/ 0 h 121"/>
              <a:gd name="T36" fmla="*/ 153 w 182"/>
              <a:gd name="T37" fmla="*/ 5 h 121"/>
              <a:gd name="T38" fmla="*/ 158 w 182"/>
              <a:gd name="T39" fmla="*/ 16 h 121"/>
              <a:gd name="T40" fmla="*/ 158 w 182"/>
              <a:gd name="T41" fmla="*/ 82 h 121"/>
              <a:gd name="T42" fmla="*/ 153 w 182"/>
              <a:gd name="T43" fmla="*/ 93 h 121"/>
              <a:gd name="T44" fmla="*/ 143 w 182"/>
              <a:gd name="T45" fmla="*/ 97 h 121"/>
              <a:gd name="T46" fmla="*/ 40 w 182"/>
              <a:gd name="T47" fmla="*/ 97 h 121"/>
              <a:gd name="T48" fmla="*/ 37 w 182"/>
              <a:gd name="T49" fmla="*/ 16 h 121"/>
              <a:gd name="T50" fmla="*/ 37 w 182"/>
              <a:gd name="T51" fmla="*/ 82 h 121"/>
              <a:gd name="T52" fmla="*/ 38 w 182"/>
              <a:gd name="T53" fmla="*/ 84 h 121"/>
              <a:gd name="T54" fmla="*/ 40 w 182"/>
              <a:gd name="T55" fmla="*/ 85 h 121"/>
              <a:gd name="T56" fmla="*/ 143 w 182"/>
              <a:gd name="T57" fmla="*/ 85 h 121"/>
              <a:gd name="T58" fmla="*/ 145 w 182"/>
              <a:gd name="T59" fmla="*/ 84 h 121"/>
              <a:gd name="T60" fmla="*/ 146 w 182"/>
              <a:gd name="T61" fmla="*/ 82 h 121"/>
              <a:gd name="T62" fmla="*/ 146 w 182"/>
              <a:gd name="T63" fmla="*/ 16 h 121"/>
              <a:gd name="T64" fmla="*/ 145 w 182"/>
              <a:gd name="T65" fmla="*/ 13 h 121"/>
              <a:gd name="T66" fmla="*/ 143 w 182"/>
              <a:gd name="T67" fmla="*/ 13 h 121"/>
              <a:gd name="T68" fmla="*/ 40 w 182"/>
              <a:gd name="T69" fmla="*/ 13 h 121"/>
              <a:gd name="T70" fmla="*/ 38 w 182"/>
              <a:gd name="T71" fmla="*/ 13 h 121"/>
              <a:gd name="T72" fmla="*/ 37 w 182"/>
              <a:gd name="T73" fmla="*/ 16 h 121"/>
              <a:gd name="T74" fmla="*/ 99 w 182"/>
              <a:gd name="T75" fmla="*/ 112 h 121"/>
              <a:gd name="T76" fmla="*/ 100 w 182"/>
              <a:gd name="T77" fmla="*/ 111 h 121"/>
              <a:gd name="T78" fmla="*/ 99 w 182"/>
              <a:gd name="T79" fmla="*/ 109 h 121"/>
              <a:gd name="T80" fmla="*/ 84 w 182"/>
              <a:gd name="T81" fmla="*/ 109 h 121"/>
              <a:gd name="T82" fmla="*/ 82 w 182"/>
              <a:gd name="T83" fmla="*/ 111 h 121"/>
              <a:gd name="T84" fmla="*/ 84 w 182"/>
              <a:gd name="T85" fmla="*/ 112 h 121"/>
              <a:gd name="T86" fmla="*/ 99 w 182"/>
              <a:gd name="T87" fmla="*/ 112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2" h="121">
                <a:moveTo>
                  <a:pt x="167" y="103"/>
                </a:moveTo>
                <a:cubicBezTo>
                  <a:pt x="182" y="103"/>
                  <a:pt x="182" y="103"/>
                  <a:pt x="182" y="103"/>
                </a:cubicBezTo>
                <a:cubicBezTo>
                  <a:pt x="182" y="112"/>
                  <a:pt x="182" y="112"/>
                  <a:pt x="182" y="112"/>
                </a:cubicBezTo>
                <a:cubicBezTo>
                  <a:pt x="182" y="115"/>
                  <a:pt x="180" y="117"/>
                  <a:pt x="178" y="119"/>
                </a:cubicBezTo>
                <a:cubicBezTo>
                  <a:pt x="175" y="121"/>
                  <a:pt x="171" y="121"/>
                  <a:pt x="167" y="121"/>
                </a:cubicBezTo>
                <a:cubicBezTo>
                  <a:pt x="16" y="121"/>
                  <a:pt x="16" y="121"/>
                  <a:pt x="16" y="121"/>
                </a:cubicBezTo>
                <a:cubicBezTo>
                  <a:pt x="11" y="121"/>
                  <a:pt x="8" y="121"/>
                  <a:pt x="5" y="119"/>
                </a:cubicBezTo>
                <a:cubicBezTo>
                  <a:pt x="2" y="117"/>
                  <a:pt x="0" y="115"/>
                  <a:pt x="0" y="112"/>
                </a:cubicBezTo>
                <a:cubicBezTo>
                  <a:pt x="0" y="103"/>
                  <a:pt x="0" y="103"/>
                  <a:pt x="0" y="103"/>
                </a:cubicBezTo>
                <a:cubicBezTo>
                  <a:pt x="16" y="103"/>
                  <a:pt x="16" y="103"/>
                  <a:pt x="16" y="103"/>
                </a:cubicBezTo>
                <a:lnTo>
                  <a:pt x="167" y="103"/>
                </a:lnTo>
                <a:close/>
                <a:moveTo>
                  <a:pt x="40" y="97"/>
                </a:moveTo>
                <a:cubicBezTo>
                  <a:pt x="36" y="97"/>
                  <a:pt x="32" y="96"/>
                  <a:pt x="29" y="93"/>
                </a:cubicBezTo>
                <a:cubicBezTo>
                  <a:pt x="26" y="90"/>
                  <a:pt x="25" y="86"/>
                  <a:pt x="25" y="82"/>
                </a:cubicBezTo>
                <a:cubicBezTo>
                  <a:pt x="25" y="16"/>
                  <a:pt x="25" y="16"/>
                  <a:pt x="25" y="16"/>
                </a:cubicBezTo>
                <a:cubicBezTo>
                  <a:pt x="25" y="11"/>
                  <a:pt x="26" y="8"/>
                  <a:pt x="29" y="5"/>
                </a:cubicBezTo>
                <a:cubicBezTo>
                  <a:pt x="32" y="2"/>
                  <a:pt x="36" y="0"/>
                  <a:pt x="40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7" y="0"/>
                  <a:pt x="150" y="2"/>
                  <a:pt x="153" y="5"/>
                </a:cubicBezTo>
                <a:cubicBezTo>
                  <a:pt x="156" y="8"/>
                  <a:pt x="158" y="11"/>
                  <a:pt x="158" y="16"/>
                </a:cubicBezTo>
                <a:cubicBezTo>
                  <a:pt x="158" y="82"/>
                  <a:pt x="158" y="82"/>
                  <a:pt x="158" y="82"/>
                </a:cubicBezTo>
                <a:cubicBezTo>
                  <a:pt x="158" y="86"/>
                  <a:pt x="156" y="90"/>
                  <a:pt x="153" y="93"/>
                </a:cubicBezTo>
                <a:cubicBezTo>
                  <a:pt x="150" y="96"/>
                  <a:pt x="147" y="97"/>
                  <a:pt x="143" y="97"/>
                </a:cubicBezTo>
                <a:lnTo>
                  <a:pt x="40" y="97"/>
                </a:lnTo>
                <a:close/>
                <a:moveTo>
                  <a:pt x="37" y="16"/>
                </a:moveTo>
                <a:cubicBezTo>
                  <a:pt x="37" y="82"/>
                  <a:pt x="37" y="82"/>
                  <a:pt x="37" y="82"/>
                </a:cubicBezTo>
                <a:cubicBezTo>
                  <a:pt x="37" y="83"/>
                  <a:pt x="37" y="84"/>
                  <a:pt x="38" y="84"/>
                </a:cubicBezTo>
                <a:cubicBezTo>
                  <a:pt x="38" y="85"/>
                  <a:pt x="39" y="85"/>
                  <a:pt x="40" y="85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3" y="85"/>
                  <a:pt x="144" y="85"/>
                  <a:pt x="145" y="84"/>
                </a:cubicBezTo>
                <a:cubicBezTo>
                  <a:pt x="145" y="84"/>
                  <a:pt x="146" y="83"/>
                  <a:pt x="146" y="82"/>
                </a:cubicBezTo>
                <a:cubicBezTo>
                  <a:pt x="146" y="16"/>
                  <a:pt x="146" y="16"/>
                  <a:pt x="146" y="16"/>
                </a:cubicBezTo>
                <a:cubicBezTo>
                  <a:pt x="146" y="15"/>
                  <a:pt x="145" y="14"/>
                  <a:pt x="145" y="13"/>
                </a:cubicBezTo>
                <a:cubicBezTo>
                  <a:pt x="144" y="13"/>
                  <a:pt x="143" y="13"/>
                  <a:pt x="143" y="13"/>
                </a:cubicBezTo>
                <a:cubicBezTo>
                  <a:pt x="40" y="13"/>
                  <a:pt x="40" y="13"/>
                  <a:pt x="40" y="13"/>
                </a:cubicBezTo>
                <a:cubicBezTo>
                  <a:pt x="39" y="13"/>
                  <a:pt x="38" y="13"/>
                  <a:pt x="38" y="13"/>
                </a:cubicBezTo>
                <a:cubicBezTo>
                  <a:pt x="37" y="14"/>
                  <a:pt x="37" y="15"/>
                  <a:pt x="37" y="16"/>
                </a:cubicBezTo>
                <a:close/>
                <a:moveTo>
                  <a:pt x="99" y="112"/>
                </a:moveTo>
                <a:cubicBezTo>
                  <a:pt x="100" y="112"/>
                  <a:pt x="100" y="112"/>
                  <a:pt x="100" y="111"/>
                </a:cubicBezTo>
                <a:cubicBezTo>
                  <a:pt x="100" y="110"/>
                  <a:pt x="100" y="109"/>
                  <a:pt x="99" y="109"/>
                </a:cubicBezTo>
                <a:cubicBezTo>
                  <a:pt x="84" y="109"/>
                  <a:pt x="84" y="109"/>
                  <a:pt x="84" y="109"/>
                </a:cubicBezTo>
                <a:cubicBezTo>
                  <a:pt x="83" y="109"/>
                  <a:pt x="82" y="110"/>
                  <a:pt x="82" y="111"/>
                </a:cubicBezTo>
                <a:cubicBezTo>
                  <a:pt x="82" y="112"/>
                  <a:pt x="83" y="112"/>
                  <a:pt x="84" y="112"/>
                </a:cubicBezTo>
                <a:lnTo>
                  <a:pt x="99" y="1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1" name="Freeform 242"/>
          <p:cNvSpPr>
            <a:spLocks noChangeAspect="1" noEditPoints="1"/>
          </p:cNvSpPr>
          <p:nvPr/>
        </p:nvSpPr>
        <p:spPr bwMode="auto">
          <a:xfrm>
            <a:off x="1208933" y="3415057"/>
            <a:ext cx="113976" cy="137395"/>
          </a:xfrm>
          <a:custGeom>
            <a:avLst/>
            <a:gdLst>
              <a:gd name="T0" fmla="*/ 109 w 109"/>
              <a:gd name="T1" fmla="*/ 15 h 133"/>
              <a:gd name="T2" fmla="*/ 109 w 109"/>
              <a:gd name="T3" fmla="*/ 118 h 133"/>
              <a:gd name="T4" fmla="*/ 104 w 109"/>
              <a:gd name="T5" fmla="*/ 129 h 133"/>
              <a:gd name="T6" fmla="*/ 94 w 109"/>
              <a:gd name="T7" fmla="*/ 133 h 133"/>
              <a:gd name="T8" fmla="*/ 15 w 109"/>
              <a:gd name="T9" fmla="*/ 133 h 133"/>
              <a:gd name="T10" fmla="*/ 4 w 109"/>
              <a:gd name="T11" fmla="*/ 129 h 133"/>
              <a:gd name="T12" fmla="*/ 0 w 109"/>
              <a:gd name="T13" fmla="*/ 118 h 133"/>
              <a:gd name="T14" fmla="*/ 0 w 109"/>
              <a:gd name="T15" fmla="*/ 15 h 133"/>
              <a:gd name="T16" fmla="*/ 4 w 109"/>
              <a:gd name="T17" fmla="*/ 5 h 133"/>
              <a:gd name="T18" fmla="*/ 15 w 109"/>
              <a:gd name="T19" fmla="*/ 0 h 133"/>
              <a:gd name="T20" fmla="*/ 94 w 109"/>
              <a:gd name="T21" fmla="*/ 0 h 133"/>
              <a:gd name="T22" fmla="*/ 104 w 109"/>
              <a:gd name="T23" fmla="*/ 5 h 133"/>
              <a:gd name="T24" fmla="*/ 109 w 109"/>
              <a:gd name="T25" fmla="*/ 15 h 133"/>
              <a:gd name="T26" fmla="*/ 97 w 109"/>
              <a:gd name="T27" fmla="*/ 106 h 133"/>
              <a:gd name="T28" fmla="*/ 97 w 109"/>
              <a:gd name="T29" fmla="*/ 15 h 133"/>
              <a:gd name="T30" fmla="*/ 96 w 109"/>
              <a:gd name="T31" fmla="*/ 13 h 133"/>
              <a:gd name="T32" fmla="*/ 94 w 109"/>
              <a:gd name="T33" fmla="*/ 12 h 133"/>
              <a:gd name="T34" fmla="*/ 15 w 109"/>
              <a:gd name="T35" fmla="*/ 12 h 133"/>
              <a:gd name="T36" fmla="*/ 13 w 109"/>
              <a:gd name="T37" fmla="*/ 13 h 133"/>
              <a:gd name="T38" fmla="*/ 12 w 109"/>
              <a:gd name="T39" fmla="*/ 15 h 133"/>
              <a:gd name="T40" fmla="*/ 12 w 109"/>
              <a:gd name="T41" fmla="*/ 106 h 133"/>
              <a:gd name="T42" fmla="*/ 13 w 109"/>
              <a:gd name="T43" fmla="*/ 108 h 133"/>
              <a:gd name="T44" fmla="*/ 15 w 109"/>
              <a:gd name="T45" fmla="*/ 109 h 133"/>
              <a:gd name="T46" fmla="*/ 94 w 109"/>
              <a:gd name="T47" fmla="*/ 109 h 133"/>
              <a:gd name="T48" fmla="*/ 96 w 109"/>
              <a:gd name="T49" fmla="*/ 108 h 133"/>
              <a:gd name="T50" fmla="*/ 97 w 109"/>
              <a:gd name="T51" fmla="*/ 106 h 133"/>
              <a:gd name="T52" fmla="*/ 59 w 109"/>
              <a:gd name="T53" fmla="*/ 126 h 133"/>
              <a:gd name="T54" fmla="*/ 60 w 109"/>
              <a:gd name="T55" fmla="*/ 121 h 133"/>
              <a:gd name="T56" fmla="*/ 59 w 109"/>
              <a:gd name="T57" fmla="*/ 117 h 133"/>
              <a:gd name="T58" fmla="*/ 54 w 109"/>
              <a:gd name="T59" fmla="*/ 115 h 133"/>
              <a:gd name="T60" fmla="*/ 50 w 109"/>
              <a:gd name="T61" fmla="*/ 117 h 133"/>
              <a:gd name="T62" fmla="*/ 48 w 109"/>
              <a:gd name="T63" fmla="*/ 121 h 133"/>
              <a:gd name="T64" fmla="*/ 50 w 109"/>
              <a:gd name="T65" fmla="*/ 126 h 133"/>
              <a:gd name="T66" fmla="*/ 54 w 109"/>
              <a:gd name="T67" fmla="*/ 127 h 133"/>
              <a:gd name="T68" fmla="*/ 59 w 109"/>
              <a:gd name="T69" fmla="*/ 12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9" h="133">
                <a:moveTo>
                  <a:pt x="109" y="15"/>
                </a:moveTo>
                <a:cubicBezTo>
                  <a:pt x="109" y="118"/>
                  <a:pt x="109" y="118"/>
                  <a:pt x="109" y="118"/>
                </a:cubicBezTo>
                <a:cubicBezTo>
                  <a:pt x="109" y="122"/>
                  <a:pt x="107" y="126"/>
                  <a:pt x="104" y="129"/>
                </a:cubicBezTo>
                <a:cubicBezTo>
                  <a:pt x="101" y="132"/>
                  <a:pt x="98" y="133"/>
                  <a:pt x="94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8" y="0"/>
                  <a:pt x="101" y="2"/>
                  <a:pt x="104" y="5"/>
                </a:cubicBezTo>
                <a:cubicBezTo>
                  <a:pt x="107" y="8"/>
                  <a:pt x="109" y="11"/>
                  <a:pt x="109" y="15"/>
                </a:cubicBezTo>
                <a:close/>
                <a:moveTo>
                  <a:pt x="97" y="106"/>
                </a:moveTo>
                <a:cubicBezTo>
                  <a:pt x="97" y="15"/>
                  <a:pt x="97" y="15"/>
                  <a:pt x="97" y="15"/>
                </a:cubicBezTo>
                <a:cubicBezTo>
                  <a:pt x="97" y="15"/>
                  <a:pt x="96" y="14"/>
                  <a:pt x="96" y="13"/>
                </a:cubicBezTo>
                <a:cubicBezTo>
                  <a:pt x="95" y="13"/>
                  <a:pt x="95" y="12"/>
                  <a:pt x="94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07"/>
                  <a:pt x="12" y="108"/>
                  <a:pt x="13" y="108"/>
                </a:cubicBezTo>
                <a:cubicBezTo>
                  <a:pt x="14" y="109"/>
                  <a:pt x="14" y="109"/>
                  <a:pt x="15" y="109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5" y="109"/>
                  <a:pt x="95" y="109"/>
                  <a:pt x="96" y="108"/>
                </a:cubicBezTo>
                <a:cubicBezTo>
                  <a:pt x="96" y="108"/>
                  <a:pt x="97" y="107"/>
                  <a:pt x="97" y="106"/>
                </a:cubicBezTo>
                <a:close/>
                <a:moveTo>
                  <a:pt x="59" y="126"/>
                </a:moveTo>
                <a:cubicBezTo>
                  <a:pt x="60" y="124"/>
                  <a:pt x="60" y="123"/>
                  <a:pt x="60" y="121"/>
                </a:cubicBezTo>
                <a:cubicBezTo>
                  <a:pt x="60" y="120"/>
                  <a:pt x="60" y="118"/>
                  <a:pt x="59" y="117"/>
                </a:cubicBezTo>
                <a:cubicBezTo>
                  <a:pt x="57" y="116"/>
                  <a:pt x="56" y="115"/>
                  <a:pt x="54" y="115"/>
                </a:cubicBezTo>
                <a:cubicBezTo>
                  <a:pt x="53" y="115"/>
                  <a:pt x="51" y="116"/>
                  <a:pt x="50" y="117"/>
                </a:cubicBezTo>
                <a:cubicBezTo>
                  <a:pt x="49" y="118"/>
                  <a:pt x="48" y="120"/>
                  <a:pt x="48" y="121"/>
                </a:cubicBezTo>
                <a:cubicBezTo>
                  <a:pt x="48" y="123"/>
                  <a:pt x="49" y="124"/>
                  <a:pt x="50" y="126"/>
                </a:cubicBezTo>
                <a:cubicBezTo>
                  <a:pt x="51" y="127"/>
                  <a:pt x="53" y="127"/>
                  <a:pt x="54" y="127"/>
                </a:cubicBezTo>
                <a:cubicBezTo>
                  <a:pt x="56" y="127"/>
                  <a:pt x="57" y="127"/>
                  <a:pt x="59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2" name="Freeform 243"/>
          <p:cNvSpPr>
            <a:spLocks noChangeAspect="1" noEditPoints="1"/>
          </p:cNvSpPr>
          <p:nvPr/>
        </p:nvSpPr>
        <p:spPr bwMode="auto">
          <a:xfrm>
            <a:off x="1369748" y="3427547"/>
            <a:ext cx="73382" cy="124904"/>
          </a:xfrm>
          <a:custGeom>
            <a:avLst/>
            <a:gdLst>
              <a:gd name="T0" fmla="*/ 72 w 72"/>
              <a:gd name="T1" fmla="*/ 13 h 121"/>
              <a:gd name="T2" fmla="*/ 72 w 72"/>
              <a:gd name="T3" fmla="*/ 109 h 121"/>
              <a:gd name="T4" fmla="*/ 69 w 72"/>
              <a:gd name="T5" fmla="*/ 118 h 121"/>
              <a:gd name="T6" fmla="*/ 60 w 72"/>
              <a:gd name="T7" fmla="*/ 121 h 121"/>
              <a:gd name="T8" fmla="*/ 12 w 72"/>
              <a:gd name="T9" fmla="*/ 121 h 121"/>
              <a:gd name="T10" fmla="*/ 3 w 72"/>
              <a:gd name="T11" fmla="*/ 118 h 121"/>
              <a:gd name="T12" fmla="*/ 0 w 72"/>
              <a:gd name="T13" fmla="*/ 109 h 121"/>
              <a:gd name="T14" fmla="*/ 0 w 72"/>
              <a:gd name="T15" fmla="*/ 13 h 121"/>
              <a:gd name="T16" fmla="*/ 3 w 72"/>
              <a:gd name="T17" fmla="*/ 4 h 121"/>
              <a:gd name="T18" fmla="*/ 12 w 72"/>
              <a:gd name="T19" fmla="*/ 0 h 121"/>
              <a:gd name="T20" fmla="*/ 60 w 72"/>
              <a:gd name="T21" fmla="*/ 0 h 121"/>
              <a:gd name="T22" fmla="*/ 69 w 72"/>
              <a:gd name="T23" fmla="*/ 4 h 121"/>
              <a:gd name="T24" fmla="*/ 72 w 72"/>
              <a:gd name="T25" fmla="*/ 13 h 121"/>
              <a:gd name="T26" fmla="*/ 63 w 72"/>
              <a:gd name="T27" fmla="*/ 94 h 121"/>
              <a:gd name="T28" fmla="*/ 63 w 72"/>
              <a:gd name="T29" fmla="*/ 28 h 121"/>
              <a:gd name="T30" fmla="*/ 62 w 72"/>
              <a:gd name="T31" fmla="*/ 26 h 121"/>
              <a:gd name="T32" fmla="*/ 60 w 72"/>
              <a:gd name="T33" fmla="*/ 25 h 121"/>
              <a:gd name="T34" fmla="*/ 12 w 72"/>
              <a:gd name="T35" fmla="*/ 25 h 121"/>
              <a:gd name="T36" fmla="*/ 10 w 72"/>
              <a:gd name="T37" fmla="*/ 26 h 121"/>
              <a:gd name="T38" fmla="*/ 9 w 72"/>
              <a:gd name="T39" fmla="*/ 28 h 121"/>
              <a:gd name="T40" fmla="*/ 9 w 72"/>
              <a:gd name="T41" fmla="*/ 94 h 121"/>
              <a:gd name="T42" fmla="*/ 10 w 72"/>
              <a:gd name="T43" fmla="*/ 96 h 121"/>
              <a:gd name="T44" fmla="*/ 12 w 72"/>
              <a:gd name="T45" fmla="*/ 97 h 121"/>
              <a:gd name="T46" fmla="*/ 60 w 72"/>
              <a:gd name="T47" fmla="*/ 97 h 121"/>
              <a:gd name="T48" fmla="*/ 62 w 72"/>
              <a:gd name="T49" fmla="*/ 96 h 121"/>
              <a:gd name="T50" fmla="*/ 63 w 72"/>
              <a:gd name="T51" fmla="*/ 94 h 121"/>
              <a:gd name="T52" fmla="*/ 45 w 72"/>
              <a:gd name="T53" fmla="*/ 14 h 121"/>
              <a:gd name="T54" fmla="*/ 44 w 72"/>
              <a:gd name="T55" fmla="*/ 13 h 121"/>
              <a:gd name="T56" fmla="*/ 29 w 72"/>
              <a:gd name="T57" fmla="*/ 13 h 121"/>
              <a:gd name="T58" fmla="*/ 27 w 72"/>
              <a:gd name="T59" fmla="*/ 14 h 121"/>
              <a:gd name="T60" fmla="*/ 29 w 72"/>
              <a:gd name="T61" fmla="*/ 16 h 121"/>
              <a:gd name="T62" fmla="*/ 44 w 72"/>
              <a:gd name="T63" fmla="*/ 16 h 121"/>
              <a:gd name="T64" fmla="*/ 45 w 72"/>
              <a:gd name="T65" fmla="*/ 14 h 121"/>
              <a:gd name="T66" fmla="*/ 41 w 72"/>
              <a:gd name="T67" fmla="*/ 115 h 121"/>
              <a:gd name="T68" fmla="*/ 44 w 72"/>
              <a:gd name="T69" fmla="*/ 109 h 121"/>
              <a:gd name="T70" fmla="*/ 41 w 72"/>
              <a:gd name="T71" fmla="*/ 104 h 121"/>
              <a:gd name="T72" fmla="*/ 36 w 72"/>
              <a:gd name="T73" fmla="*/ 102 h 121"/>
              <a:gd name="T74" fmla="*/ 31 w 72"/>
              <a:gd name="T75" fmla="*/ 104 h 121"/>
              <a:gd name="T76" fmla="*/ 29 w 72"/>
              <a:gd name="T77" fmla="*/ 109 h 121"/>
              <a:gd name="T78" fmla="*/ 31 w 72"/>
              <a:gd name="T79" fmla="*/ 115 h 121"/>
              <a:gd name="T80" fmla="*/ 36 w 72"/>
              <a:gd name="T81" fmla="*/ 117 h 121"/>
              <a:gd name="T82" fmla="*/ 41 w 72"/>
              <a:gd name="T83" fmla="*/ 11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2" h="121">
                <a:moveTo>
                  <a:pt x="72" y="13"/>
                </a:moveTo>
                <a:cubicBezTo>
                  <a:pt x="72" y="109"/>
                  <a:pt x="72" y="109"/>
                  <a:pt x="72" y="109"/>
                </a:cubicBezTo>
                <a:cubicBezTo>
                  <a:pt x="72" y="113"/>
                  <a:pt x="71" y="115"/>
                  <a:pt x="69" y="118"/>
                </a:cubicBezTo>
                <a:cubicBezTo>
                  <a:pt x="66" y="120"/>
                  <a:pt x="64" y="121"/>
                  <a:pt x="60" y="12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9" y="121"/>
                  <a:pt x="6" y="120"/>
                  <a:pt x="3" y="118"/>
                </a:cubicBezTo>
                <a:cubicBezTo>
                  <a:pt x="1" y="115"/>
                  <a:pt x="0" y="113"/>
                  <a:pt x="0" y="10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2"/>
                  <a:pt x="69" y="4"/>
                </a:cubicBezTo>
                <a:cubicBezTo>
                  <a:pt x="71" y="6"/>
                  <a:pt x="72" y="9"/>
                  <a:pt x="72" y="13"/>
                </a:cubicBezTo>
                <a:close/>
                <a:moveTo>
                  <a:pt x="63" y="94"/>
                </a:moveTo>
                <a:cubicBezTo>
                  <a:pt x="63" y="28"/>
                  <a:pt x="63" y="28"/>
                  <a:pt x="63" y="28"/>
                </a:cubicBezTo>
                <a:cubicBezTo>
                  <a:pt x="63" y="27"/>
                  <a:pt x="63" y="26"/>
                  <a:pt x="62" y="26"/>
                </a:cubicBezTo>
                <a:cubicBezTo>
                  <a:pt x="62" y="25"/>
                  <a:pt x="61" y="25"/>
                  <a:pt x="60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11" y="25"/>
                  <a:pt x="10" y="25"/>
                  <a:pt x="10" y="26"/>
                </a:cubicBezTo>
                <a:cubicBezTo>
                  <a:pt x="9" y="26"/>
                  <a:pt x="9" y="27"/>
                  <a:pt x="9" y="28"/>
                </a:cubicBezTo>
                <a:cubicBezTo>
                  <a:pt x="9" y="94"/>
                  <a:pt x="9" y="94"/>
                  <a:pt x="9" y="94"/>
                </a:cubicBezTo>
                <a:cubicBezTo>
                  <a:pt x="9" y="95"/>
                  <a:pt x="9" y="96"/>
                  <a:pt x="10" y="96"/>
                </a:cubicBezTo>
                <a:cubicBezTo>
                  <a:pt x="10" y="97"/>
                  <a:pt x="11" y="97"/>
                  <a:pt x="12" y="97"/>
                </a:cubicBezTo>
                <a:cubicBezTo>
                  <a:pt x="60" y="97"/>
                  <a:pt x="60" y="97"/>
                  <a:pt x="60" y="97"/>
                </a:cubicBezTo>
                <a:cubicBezTo>
                  <a:pt x="61" y="97"/>
                  <a:pt x="62" y="97"/>
                  <a:pt x="62" y="96"/>
                </a:cubicBezTo>
                <a:cubicBezTo>
                  <a:pt x="63" y="96"/>
                  <a:pt x="63" y="95"/>
                  <a:pt x="63" y="94"/>
                </a:cubicBezTo>
                <a:close/>
                <a:moveTo>
                  <a:pt x="45" y="14"/>
                </a:moveTo>
                <a:cubicBezTo>
                  <a:pt x="45" y="13"/>
                  <a:pt x="45" y="13"/>
                  <a:pt x="44" y="13"/>
                </a:cubicBezTo>
                <a:cubicBezTo>
                  <a:pt x="29" y="13"/>
                  <a:pt x="29" y="13"/>
                  <a:pt x="29" y="13"/>
                </a:cubicBezTo>
                <a:cubicBezTo>
                  <a:pt x="28" y="13"/>
                  <a:pt x="27" y="13"/>
                  <a:pt x="27" y="14"/>
                </a:cubicBezTo>
                <a:cubicBezTo>
                  <a:pt x="27" y="15"/>
                  <a:pt x="28" y="16"/>
                  <a:pt x="29" y="16"/>
                </a:cubicBezTo>
                <a:cubicBezTo>
                  <a:pt x="44" y="16"/>
                  <a:pt x="44" y="16"/>
                  <a:pt x="44" y="16"/>
                </a:cubicBezTo>
                <a:cubicBezTo>
                  <a:pt x="45" y="16"/>
                  <a:pt x="45" y="15"/>
                  <a:pt x="45" y="14"/>
                </a:cubicBezTo>
                <a:close/>
                <a:moveTo>
                  <a:pt x="41" y="115"/>
                </a:moveTo>
                <a:cubicBezTo>
                  <a:pt x="43" y="113"/>
                  <a:pt x="44" y="111"/>
                  <a:pt x="44" y="109"/>
                </a:cubicBezTo>
                <a:cubicBezTo>
                  <a:pt x="44" y="107"/>
                  <a:pt x="43" y="105"/>
                  <a:pt x="41" y="104"/>
                </a:cubicBezTo>
                <a:cubicBezTo>
                  <a:pt x="40" y="103"/>
                  <a:pt x="38" y="102"/>
                  <a:pt x="36" y="102"/>
                </a:cubicBezTo>
                <a:cubicBezTo>
                  <a:pt x="34" y="102"/>
                  <a:pt x="32" y="103"/>
                  <a:pt x="31" y="104"/>
                </a:cubicBezTo>
                <a:cubicBezTo>
                  <a:pt x="29" y="105"/>
                  <a:pt x="29" y="107"/>
                  <a:pt x="29" y="109"/>
                </a:cubicBezTo>
                <a:cubicBezTo>
                  <a:pt x="29" y="111"/>
                  <a:pt x="29" y="113"/>
                  <a:pt x="31" y="115"/>
                </a:cubicBezTo>
                <a:cubicBezTo>
                  <a:pt x="32" y="116"/>
                  <a:pt x="34" y="117"/>
                  <a:pt x="36" y="117"/>
                </a:cubicBezTo>
                <a:cubicBezTo>
                  <a:pt x="38" y="117"/>
                  <a:pt x="40" y="116"/>
                  <a:pt x="41" y="1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3" name="Freeform 244"/>
          <p:cNvSpPr>
            <a:spLocks noChangeAspect="1" noEditPoints="1"/>
          </p:cNvSpPr>
          <p:nvPr/>
        </p:nvSpPr>
        <p:spPr bwMode="auto">
          <a:xfrm>
            <a:off x="1489968" y="3415057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09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09 w 146"/>
              <a:gd name="T23" fmla="*/ 10 h 146"/>
              <a:gd name="T24" fmla="*/ 136 w 146"/>
              <a:gd name="T25" fmla="*/ 36 h 146"/>
              <a:gd name="T26" fmla="*/ 99 w 146"/>
              <a:gd name="T27" fmla="*/ 28 h 146"/>
              <a:gd name="T28" fmla="*/ 73 w 146"/>
              <a:gd name="T29" fmla="*/ 21 h 146"/>
              <a:gd name="T30" fmla="*/ 47 w 146"/>
              <a:gd name="T31" fmla="*/ 28 h 146"/>
              <a:gd name="T32" fmla="*/ 29 w 146"/>
              <a:gd name="T33" fmla="*/ 47 h 146"/>
              <a:gd name="T34" fmla="*/ 22 w 146"/>
              <a:gd name="T35" fmla="*/ 73 h 146"/>
              <a:gd name="T36" fmla="*/ 29 w 146"/>
              <a:gd name="T37" fmla="*/ 99 h 146"/>
              <a:gd name="T38" fmla="*/ 47 w 146"/>
              <a:gd name="T39" fmla="*/ 117 h 146"/>
              <a:gd name="T40" fmla="*/ 73 w 146"/>
              <a:gd name="T41" fmla="*/ 124 h 146"/>
              <a:gd name="T42" fmla="*/ 99 w 146"/>
              <a:gd name="T43" fmla="*/ 117 h 146"/>
              <a:gd name="T44" fmla="*/ 118 w 146"/>
              <a:gd name="T45" fmla="*/ 99 h 146"/>
              <a:gd name="T46" fmla="*/ 124 w 146"/>
              <a:gd name="T47" fmla="*/ 73 h 146"/>
              <a:gd name="T48" fmla="*/ 118 w 146"/>
              <a:gd name="T49" fmla="*/ 47 h 146"/>
              <a:gd name="T50" fmla="*/ 99 w 146"/>
              <a:gd name="T51" fmla="*/ 2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99" y="28"/>
                </a:moveTo>
                <a:cubicBezTo>
                  <a:pt x="91" y="24"/>
                  <a:pt x="82" y="21"/>
                  <a:pt x="73" y="21"/>
                </a:cubicBezTo>
                <a:cubicBezTo>
                  <a:pt x="64" y="21"/>
                  <a:pt x="55" y="24"/>
                  <a:pt x="47" y="28"/>
                </a:cubicBezTo>
                <a:cubicBezTo>
                  <a:pt x="39" y="33"/>
                  <a:pt x="33" y="39"/>
                  <a:pt x="29" y="47"/>
                </a:cubicBezTo>
                <a:cubicBezTo>
                  <a:pt x="24" y="55"/>
                  <a:pt x="22" y="64"/>
                  <a:pt x="22" y="73"/>
                </a:cubicBezTo>
                <a:cubicBezTo>
                  <a:pt x="22" y="82"/>
                  <a:pt x="24" y="91"/>
                  <a:pt x="29" y="99"/>
                </a:cubicBezTo>
                <a:cubicBezTo>
                  <a:pt x="33" y="107"/>
                  <a:pt x="39" y="113"/>
                  <a:pt x="47" y="117"/>
                </a:cubicBezTo>
                <a:cubicBezTo>
                  <a:pt x="55" y="122"/>
                  <a:pt x="64" y="124"/>
                  <a:pt x="73" y="124"/>
                </a:cubicBezTo>
                <a:cubicBezTo>
                  <a:pt x="82" y="124"/>
                  <a:pt x="91" y="122"/>
                  <a:pt x="99" y="117"/>
                </a:cubicBezTo>
                <a:cubicBezTo>
                  <a:pt x="107" y="113"/>
                  <a:pt x="113" y="107"/>
                  <a:pt x="118" y="99"/>
                </a:cubicBezTo>
                <a:cubicBezTo>
                  <a:pt x="122" y="91"/>
                  <a:pt x="124" y="82"/>
                  <a:pt x="124" y="73"/>
                </a:cubicBezTo>
                <a:cubicBezTo>
                  <a:pt x="124" y="64"/>
                  <a:pt x="122" y="55"/>
                  <a:pt x="118" y="47"/>
                </a:cubicBezTo>
                <a:cubicBezTo>
                  <a:pt x="113" y="39"/>
                  <a:pt x="107" y="33"/>
                  <a:pt x="99" y="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4" name="Freeform 245"/>
          <p:cNvSpPr>
            <a:spLocks noChangeAspect="1" noEditPoints="1"/>
          </p:cNvSpPr>
          <p:nvPr/>
        </p:nvSpPr>
        <p:spPr bwMode="auto">
          <a:xfrm>
            <a:off x="1688255" y="3415057"/>
            <a:ext cx="162376" cy="137395"/>
          </a:xfrm>
          <a:custGeom>
            <a:avLst/>
            <a:gdLst>
              <a:gd name="T0" fmla="*/ 72 w 157"/>
              <a:gd name="T1" fmla="*/ 79 h 133"/>
              <a:gd name="T2" fmla="*/ 72 w 157"/>
              <a:gd name="T3" fmla="*/ 115 h 133"/>
              <a:gd name="T4" fmla="*/ 67 w 157"/>
              <a:gd name="T5" fmla="*/ 128 h 133"/>
              <a:gd name="T6" fmla="*/ 54 w 157"/>
              <a:gd name="T7" fmla="*/ 133 h 133"/>
              <a:gd name="T8" fmla="*/ 18 w 157"/>
              <a:gd name="T9" fmla="*/ 133 h 133"/>
              <a:gd name="T10" fmla="*/ 5 w 157"/>
              <a:gd name="T11" fmla="*/ 128 h 133"/>
              <a:gd name="T12" fmla="*/ 0 w 157"/>
              <a:gd name="T13" fmla="*/ 115 h 133"/>
              <a:gd name="T14" fmla="*/ 0 w 157"/>
              <a:gd name="T15" fmla="*/ 49 h 133"/>
              <a:gd name="T16" fmla="*/ 3 w 157"/>
              <a:gd name="T17" fmla="*/ 30 h 133"/>
              <a:gd name="T18" fmla="*/ 14 w 157"/>
              <a:gd name="T19" fmla="*/ 14 h 133"/>
              <a:gd name="T20" fmla="*/ 29 w 157"/>
              <a:gd name="T21" fmla="*/ 4 h 133"/>
              <a:gd name="T22" fmla="*/ 48 w 157"/>
              <a:gd name="T23" fmla="*/ 0 h 133"/>
              <a:gd name="T24" fmla="*/ 54 w 157"/>
              <a:gd name="T25" fmla="*/ 0 h 133"/>
              <a:gd name="T26" fmla="*/ 58 w 157"/>
              <a:gd name="T27" fmla="*/ 2 h 133"/>
              <a:gd name="T28" fmla="*/ 60 w 157"/>
              <a:gd name="T29" fmla="*/ 6 h 133"/>
              <a:gd name="T30" fmla="*/ 60 w 157"/>
              <a:gd name="T31" fmla="*/ 18 h 133"/>
              <a:gd name="T32" fmla="*/ 58 w 157"/>
              <a:gd name="T33" fmla="*/ 23 h 133"/>
              <a:gd name="T34" fmla="*/ 54 w 157"/>
              <a:gd name="T35" fmla="*/ 25 h 133"/>
              <a:gd name="T36" fmla="*/ 48 w 157"/>
              <a:gd name="T37" fmla="*/ 25 h 133"/>
              <a:gd name="T38" fmla="*/ 31 w 157"/>
              <a:gd name="T39" fmla="*/ 32 h 133"/>
              <a:gd name="T40" fmla="*/ 24 w 157"/>
              <a:gd name="T41" fmla="*/ 49 h 133"/>
              <a:gd name="T42" fmla="*/ 24 w 157"/>
              <a:gd name="T43" fmla="*/ 52 h 133"/>
              <a:gd name="T44" fmla="*/ 26 w 157"/>
              <a:gd name="T45" fmla="*/ 58 h 133"/>
              <a:gd name="T46" fmla="*/ 33 w 157"/>
              <a:gd name="T47" fmla="*/ 61 h 133"/>
              <a:gd name="T48" fmla="*/ 54 w 157"/>
              <a:gd name="T49" fmla="*/ 61 h 133"/>
              <a:gd name="T50" fmla="*/ 67 w 157"/>
              <a:gd name="T51" fmla="*/ 66 h 133"/>
              <a:gd name="T52" fmla="*/ 72 w 157"/>
              <a:gd name="T53" fmla="*/ 79 h 133"/>
              <a:gd name="T54" fmla="*/ 157 w 157"/>
              <a:gd name="T55" fmla="*/ 79 h 133"/>
              <a:gd name="T56" fmla="*/ 157 w 157"/>
              <a:gd name="T57" fmla="*/ 115 h 133"/>
              <a:gd name="T58" fmla="*/ 152 w 157"/>
              <a:gd name="T59" fmla="*/ 128 h 133"/>
              <a:gd name="T60" fmla="*/ 139 w 157"/>
              <a:gd name="T61" fmla="*/ 133 h 133"/>
              <a:gd name="T62" fmla="*/ 102 w 157"/>
              <a:gd name="T63" fmla="*/ 133 h 133"/>
              <a:gd name="T64" fmla="*/ 90 w 157"/>
              <a:gd name="T65" fmla="*/ 128 h 133"/>
              <a:gd name="T66" fmla="*/ 84 w 157"/>
              <a:gd name="T67" fmla="*/ 115 h 133"/>
              <a:gd name="T68" fmla="*/ 84 w 157"/>
              <a:gd name="T69" fmla="*/ 49 h 133"/>
              <a:gd name="T70" fmla="*/ 88 w 157"/>
              <a:gd name="T71" fmla="*/ 30 h 133"/>
              <a:gd name="T72" fmla="*/ 99 w 157"/>
              <a:gd name="T73" fmla="*/ 14 h 133"/>
              <a:gd name="T74" fmla="*/ 114 w 157"/>
              <a:gd name="T75" fmla="*/ 4 h 133"/>
              <a:gd name="T76" fmla="*/ 133 w 157"/>
              <a:gd name="T77" fmla="*/ 0 h 133"/>
              <a:gd name="T78" fmla="*/ 139 w 157"/>
              <a:gd name="T79" fmla="*/ 0 h 133"/>
              <a:gd name="T80" fmla="*/ 143 w 157"/>
              <a:gd name="T81" fmla="*/ 2 h 133"/>
              <a:gd name="T82" fmla="*/ 145 w 157"/>
              <a:gd name="T83" fmla="*/ 6 h 133"/>
              <a:gd name="T84" fmla="*/ 145 w 157"/>
              <a:gd name="T85" fmla="*/ 18 h 133"/>
              <a:gd name="T86" fmla="*/ 143 w 157"/>
              <a:gd name="T87" fmla="*/ 23 h 133"/>
              <a:gd name="T88" fmla="*/ 139 w 157"/>
              <a:gd name="T89" fmla="*/ 25 h 133"/>
              <a:gd name="T90" fmla="*/ 133 w 157"/>
              <a:gd name="T91" fmla="*/ 25 h 133"/>
              <a:gd name="T92" fmla="*/ 116 w 157"/>
              <a:gd name="T93" fmla="*/ 32 h 133"/>
              <a:gd name="T94" fmla="*/ 109 w 157"/>
              <a:gd name="T95" fmla="*/ 49 h 133"/>
              <a:gd name="T96" fmla="*/ 109 w 157"/>
              <a:gd name="T97" fmla="*/ 52 h 133"/>
              <a:gd name="T98" fmla="*/ 111 w 157"/>
              <a:gd name="T99" fmla="*/ 58 h 133"/>
              <a:gd name="T100" fmla="*/ 118 w 157"/>
              <a:gd name="T101" fmla="*/ 61 h 133"/>
              <a:gd name="T102" fmla="*/ 139 w 157"/>
              <a:gd name="T103" fmla="*/ 61 h 133"/>
              <a:gd name="T104" fmla="*/ 152 w 157"/>
              <a:gd name="T105" fmla="*/ 66 h 133"/>
              <a:gd name="T106" fmla="*/ 157 w 157"/>
              <a:gd name="T107" fmla="*/ 7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3">
                <a:moveTo>
                  <a:pt x="72" y="79"/>
                </a:moveTo>
                <a:cubicBezTo>
                  <a:pt x="72" y="115"/>
                  <a:pt x="72" y="115"/>
                  <a:pt x="72" y="115"/>
                </a:cubicBezTo>
                <a:cubicBezTo>
                  <a:pt x="72" y="120"/>
                  <a:pt x="70" y="125"/>
                  <a:pt x="67" y="128"/>
                </a:cubicBezTo>
                <a:cubicBezTo>
                  <a:pt x="63" y="132"/>
                  <a:pt x="59" y="133"/>
                  <a:pt x="54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3" y="133"/>
                  <a:pt x="8" y="132"/>
                  <a:pt x="5" y="128"/>
                </a:cubicBezTo>
                <a:cubicBezTo>
                  <a:pt x="1" y="125"/>
                  <a:pt x="0" y="120"/>
                  <a:pt x="0" y="11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2"/>
                  <a:pt x="1" y="36"/>
                  <a:pt x="3" y="30"/>
                </a:cubicBezTo>
                <a:cubicBezTo>
                  <a:pt x="6" y="24"/>
                  <a:pt x="9" y="19"/>
                  <a:pt x="14" y="14"/>
                </a:cubicBezTo>
                <a:cubicBezTo>
                  <a:pt x="18" y="10"/>
                  <a:pt x="23" y="7"/>
                  <a:pt x="29" y="4"/>
                </a:cubicBezTo>
                <a:cubicBezTo>
                  <a:pt x="35" y="2"/>
                  <a:pt x="41" y="0"/>
                  <a:pt x="48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60" y="3"/>
                  <a:pt x="60" y="5"/>
                  <a:pt x="60" y="6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20"/>
                  <a:pt x="60" y="22"/>
                  <a:pt x="58" y="23"/>
                </a:cubicBezTo>
                <a:cubicBezTo>
                  <a:pt x="57" y="24"/>
                  <a:pt x="56" y="25"/>
                  <a:pt x="54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1" y="25"/>
                  <a:pt x="36" y="27"/>
                  <a:pt x="31" y="32"/>
                </a:cubicBezTo>
                <a:cubicBezTo>
                  <a:pt x="26" y="36"/>
                  <a:pt x="24" y="42"/>
                  <a:pt x="24" y="49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4"/>
                  <a:pt x="25" y="56"/>
                  <a:pt x="26" y="58"/>
                </a:cubicBezTo>
                <a:cubicBezTo>
                  <a:pt x="28" y="60"/>
                  <a:pt x="30" y="61"/>
                  <a:pt x="33" y="61"/>
                </a:cubicBezTo>
                <a:cubicBezTo>
                  <a:pt x="54" y="61"/>
                  <a:pt x="54" y="61"/>
                  <a:pt x="54" y="61"/>
                </a:cubicBezTo>
                <a:cubicBezTo>
                  <a:pt x="59" y="61"/>
                  <a:pt x="63" y="63"/>
                  <a:pt x="67" y="66"/>
                </a:cubicBezTo>
                <a:cubicBezTo>
                  <a:pt x="70" y="70"/>
                  <a:pt x="72" y="74"/>
                  <a:pt x="72" y="79"/>
                </a:cubicBezTo>
                <a:close/>
                <a:moveTo>
                  <a:pt x="157" y="79"/>
                </a:moveTo>
                <a:cubicBezTo>
                  <a:pt x="157" y="115"/>
                  <a:pt x="157" y="115"/>
                  <a:pt x="157" y="115"/>
                </a:cubicBezTo>
                <a:cubicBezTo>
                  <a:pt x="157" y="120"/>
                  <a:pt x="155" y="125"/>
                  <a:pt x="152" y="128"/>
                </a:cubicBezTo>
                <a:cubicBezTo>
                  <a:pt x="148" y="132"/>
                  <a:pt x="144" y="133"/>
                  <a:pt x="139" y="133"/>
                </a:cubicBezTo>
                <a:cubicBezTo>
                  <a:pt x="102" y="133"/>
                  <a:pt x="102" y="133"/>
                  <a:pt x="102" y="133"/>
                </a:cubicBezTo>
                <a:cubicBezTo>
                  <a:pt x="97" y="133"/>
                  <a:pt x="93" y="132"/>
                  <a:pt x="90" y="128"/>
                </a:cubicBezTo>
                <a:cubicBezTo>
                  <a:pt x="86" y="125"/>
                  <a:pt x="84" y="120"/>
                  <a:pt x="84" y="115"/>
                </a:cubicBezTo>
                <a:cubicBezTo>
                  <a:pt x="84" y="49"/>
                  <a:pt x="84" y="49"/>
                  <a:pt x="84" y="49"/>
                </a:cubicBezTo>
                <a:cubicBezTo>
                  <a:pt x="84" y="42"/>
                  <a:pt x="86" y="36"/>
                  <a:pt x="88" y="30"/>
                </a:cubicBezTo>
                <a:cubicBezTo>
                  <a:pt x="91" y="24"/>
                  <a:pt x="94" y="19"/>
                  <a:pt x="99" y="14"/>
                </a:cubicBezTo>
                <a:cubicBezTo>
                  <a:pt x="103" y="10"/>
                  <a:pt x="108" y="7"/>
                  <a:pt x="114" y="4"/>
                </a:cubicBezTo>
                <a:cubicBezTo>
                  <a:pt x="120" y="2"/>
                  <a:pt x="126" y="0"/>
                  <a:pt x="13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0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45" y="20"/>
                  <a:pt x="144" y="22"/>
                  <a:pt x="143" y="23"/>
                </a:cubicBezTo>
                <a:cubicBezTo>
                  <a:pt x="142" y="24"/>
                  <a:pt x="140" y="25"/>
                  <a:pt x="139" y="25"/>
                </a:cubicBezTo>
                <a:cubicBezTo>
                  <a:pt x="133" y="25"/>
                  <a:pt x="133" y="25"/>
                  <a:pt x="133" y="25"/>
                </a:cubicBezTo>
                <a:cubicBezTo>
                  <a:pt x="126" y="25"/>
                  <a:pt x="120" y="27"/>
                  <a:pt x="116" y="32"/>
                </a:cubicBezTo>
                <a:cubicBezTo>
                  <a:pt x="111" y="36"/>
                  <a:pt x="109" y="42"/>
                  <a:pt x="109" y="49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9" y="54"/>
                  <a:pt x="109" y="56"/>
                  <a:pt x="111" y="58"/>
                </a:cubicBezTo>
                <a:cubicBezTo>
                  <a:pt x="113" y="60"/>
                  <a:pt x="115" y="61"/>
                  <a:pt x="118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4" y="61"/>
                  <a:pt x="148" y="63"/>
                  <a:pt x="152" y="66"/>
                </a:cubicBezTo>
                <a:cubicBezTo>
                  <a:pt x="155" y="70"/>
                  <a:pt x="157" y="74"/>
                  <a:pt x="157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5" name="Freeform 246"/>
          <p:cNvSpPr>
            <a:spLocks noChangeAspect="1" noEditPoints="1"/>
          </p:cNvSpPr>
          <p:nvPr/>
        </p:nvSpPr>
        <p:spPr bwMode="auto">
          <a:xfrm>
            <a:off x="1897470" y="3415057"/>
            <a:ext cx="162376" cy="137395"/>
          </a:xfrm>
          <a:custGeom>
            <a:avLst/>
            <a:gdLst>
              <a:gd name="T0" fmla="*/ 73 w 157"/>
              <a:gd name="T1" fmla="*/ 18 h 133"/>
              <a:gd name="T2" fmla="*/ 73 w 157"/>
              <a:gd name="T3" fmla="*/ 85 h 133"/>
              <a:gd name="T4" fmla="*/ 69 w 157"/>
              <a:gd name="T5" fmla="*/ 104 h 133"/>
              <a:gd name="T6" fmla="*/ 58 w 157"/>
              <a:gd name="T7" fmla="*/ 119 h 133"/>
              <a:gd name="T8" fmla="*/ 43 w 157"/>
              <a:gd name="T9" fmla="*/ 130 h 133"/>
              <a:gd name="T10" fmla="*/ 24 w 157"/>
              <a:gd name="T11" fmla="*/ 133 h 133"/>
              <a:gd name="T12" fmla="*/ 18 w 157"/>
              <a:gd name="T13" fmla="*/ 133 h 133"/>
              <a:gd name="T14" fmla="*/ 14 w 157"/>
              <a:gd name="T15" fmla="*/ 132 h 133"/>
              <a:gd name="T16" fmla="*/ 12 w 157"/>
              <a:gd name="T17" fmla="*/ 127 h 133"/>
              <a:gd name="T18" fmla="*/ 12 w 157"/>
              <a:gd name="T19" fmla="*/ 115 h 133"/>
              <a:gd name="T20" fmla="*/ 14 w 157"/>
              <a:gd name="T21" fmla="*/ 111 h 133"/>
              <a:gd name="T22" fmla="*/ 18 w 157"/>
              <a:gd name="T23" fmla="*/ 109 h 133"/>
              <a:gd name="T24" fmla="*/ 24 w 157"/>
              <a:gd name="T25" fmla="*/ 109 h 133"/>
              <a:gd name="T26" fmla="*/ 41 w 157"/>
              <a:gd name="T27" fmla="*/ 102 h 133"/>
              <a:gd name="T28" fmla="*/ 48 w 157"/>
              <a:gd name="T29" fmla="*/ 85 h 133"/>
              <a:gd name="T30" fmla="*/ 48 w 157"/>
              <a:gd name="T31" fmla="*/ 82 h 133"/>
              <a:gd name="T32" fmla="*/ 46 w 157"/>
              <a:gd name="T33" fmla="*/ 76 h 133"/>
              <a:gd name="T34" fmla="*/ 39 w 157"/>
              <a:gd name="T35" fmla="*/ 73 h 133"/>
              <a:gd name="T36" fmla="*/ 18 w 157"/>
              <a:gd name="T37" fmla="*/ 73 h 133"/>
              <a:gd name="T38" fmla="*/ 5 w 157"/>
              <a:gd name="T39" fmla="*/ 68 h 133"/>
              <a:gd name="T40" fmla="*/ 0 w 157"/>
              <a:gd name="T41" fmla="*/ 55 h 133"/>
              <a:gd name="T42" fmla="*/ 0 w 157"/>
              <a:gd name="T43" fmla="*/ 18 h 133"/>
              <a:gd name="T44" fmla="*/ 5 w 157"/>
              <a:gd name="T45" fmla="*/ 6 h 133"/>
              <a:gd name="T46" fmla="*/ 18 w 157"/>
              <a:gd name="T47" fmla="*/ 0 h 133"/>
              <a:gd name="T48" fmla="*/ 54 w 157"/>
              <a:gd name="T49" fmla="*/ 0 h 133"/>
              <a:gd name="T50" fmla="*/ 67 w 157"/>
              <a:gd name="T51" fmla="*/ 6 h 133"/>
              <a:gd name="T52" fmla="*/ 73 w 157"/>
              <a:gd name="T53" fmla="*/ 18 h 133"/>
              <a:gd name="T54" fmla="*/ 157 w 157"/>
              <a:gd name="T55" fmla="*/ 18 h 133"/>
              <a:gd name="T56" fmla="*/ 157 w 157"/>
              <a:gd name="T57" fmla="*/ 85 h 133"/>
              <a:gd name="T58" fmla="*/ 153 w 157"/>
              <a:gd name="T59" fmla="*/ 104 h 133"/>
              <a:gd name="T60" fmla="*/ 143 w 157"/>
              <a:gd name="T61" fmla="*/ 119 h 133"/>
              <a:gd name="T62" fmla="*/ 128 w 157"/>
              <a:gd name="T63" fmla="*/ 130 h 133"/>
              <a:gd name="T64" fmla="*/ 109 w 157"/>
              <a:gd name="T65" fmla="*/ 133 h 133"/>
              <a:gd name="T66" fmla="*/ 103 w 157"/>
              <a:gd name="T67" fmla="*/ 133 h 133"/>
              <a:gd name="T68" fmla="*/ 99 w 157"/>
              <a:gd name="T69" fmla="*/ 132 h 133"/>
              <a:gd name="T70" fmla="*/ 97 w 157"/>
              <a:gd name="T71" fmla="*/ 127 h 133"/>
              <a:gd name="T72" fmla="*/ 97 w 157"/>
              <a:gd name="T73" fmla="*/ 115 h 133"/>
              <a:gd name="T74" fmla="*/ 99 w 157"/>
              <a:gd name="T75" fmla="*/ 111 h 133"/>
              <a:gd name="T76" fmla="*/ 103 w 157"/>
              <a:gd name="T77" fmla="*/ 109 h 133"/>
              <a:gd name="T78" fmla="*/ 109 w 157"/>
              <a:gd name="T79" fmla="*/ 109 h 133"/>
              <a:gd name="T80" fmla="*/ 126 w 157"/>
              <a:gd name="T81" fmla="*/ 102 h 133"/>
              <a:gd name="T82" fmla="*/ 133 w 157"/>
              <a:gd name="T83" fmla="*/ 85 h 133"/>
              <a:gd name="T84" fmla="*/ 133 w 157"/>
              <a:gd name="T85" fmla="*/ 82 h 133"/>
              <a:gd name="T86" fmla="*/ 130 w 157"/>
              <a:gd name="T87" fmla="*/ 76 h 133"/>
              <a:gd name="T88" fmla="*/ 124 w 157"/>
              <a:gd name="T89" fmla="*/ 73 h 133"/>
              <a:gd name="T90" fmla="*/ 103 w 157"/>
              <a:gd name="T91" fmla="*/ 73 h 133"/>
              <a:gd name="T92" fmla="*/ 90 w 157"/>
              <a:gd name="T93" fmla="*/ 68 h 133"/>
              <a:gd name="T94" fmla="*/ 85 w 157"/>
              <a:gd name="T95" fmla="*/ 55 h 133"/>
              <a:gd name="T96" fmla="*/ 85 w 157"/>
              <a:gd name="T97" fmla="*/ 18 h 133"/>
              <a:gd name="T98" fmla="*/ 90 w 157"/>
              <a:gd name="T99" fmla="*/ 6 h 133"/>
              <a:gd name="T100" fmla="*/ 103 w 157"/>
              <a:gd name="T101" fmla="*/ 0 h 133"/>
              <a:gd name="T102" fmla="*/ 139 w 157"/>
              <a:gd name="T103" fmla="*/ 0 h 133"/>
              <a:gd name="T104" fmla="*/ 152 w 157"/>
              <a:gd name="T105" fmla="*/ 6 h 133"/>
              <a:gd name="T106" fmla="*/ 157 w 157"/>
              <a:gd name="T107" fmla="*/ 18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3">
                <a:moveTo>
                  <a:pt x="73" y="18"/>
                </a:moveTo>
                <a:cubicBezTo>
                  <a:pt x="73" y="85"/>
                  <a:pt x="73" y="85"/>
                  <a:pt x="73" y="85"/>
                </a:cubicBezTo>
                <a:cubicBezTo>
                  <a:pt x="73" y="92"/>
                  <a:pt x="71" y="98"/>
                  <a:pt x="69" y="104"/>
                </a:cubicBezTo>
                <a:cubicBezTo>
                  <a:pt x="66" y="110"/>
                  <a:pt x="63" y="115"/>
                  <a:pt x="58" y="119"/>
                </a:cubicBezTo>
                <a:cubicBezTo>
                  <a:pt x="54" y="124"/>
                  <a:pt x="49" y="127"/>
                  <a:pt x="43" y="130"/>
                </a:cubicBezTo>
                <a:cubicBezTo>
                  <a:pt x="37" y="132"/>
                  <a:pt x="31" y="133"/>
                  <a:pt x="24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6" y="133"/>
                  <a:pt x="15" y="133"/>
                  <a:pt x="14" y="132"/>
                </a:cubicBezTo>
                <a:cubicBezTo>
                  <a:pt x="13" y="130"/>
                  <a:pt x="12" y="129"/>
                  <a:pt x="12" y="127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12" y="114"/>
                  <a:pt x="13" y="112"/>
                  <a:pt x="14" y="111"/>
                </a:cubicBezTo>
                <a:cubicBezTo>
                  <a:pt x="15" y="110"/>
                  <a:pt x="16" y="109"/>
                  <a:pt x="18" y="109"/>
                </a:cubicBezTo>
                <a:cubicBezTo>
                  <a:pt x="24" y="109"/>
                  <a:pt x="24" y="109"/>
                  <a:pt x="24" y="109"/>
                </a:cubicBezTo>
                <a:cubicBezTo>
                  <a:pt x="31" y="109"/>
                  <a:pt x="37" y="107"/>
                  <a:pt x="41" y="102"/>
                </a:cubicBezTo>
                <a:cubicBezTo>
                  <a:pt x="46" y="97"/>
                  <a:pt x="48" y="92"/>
                  <a:pt x="48" y="85"/>
                </a:cubicBezTo>
                <a:cubicBezTo>
                  <a:pt x="48" y="82"/>
                  <a:pt x="48" y="82"/>
                  <a:pt x="48" y="82"/>
                </a:cubicBezTo>
                <a:cubicBezTo>
                  <a:pt x="48" y="79"/>
                  <a:pt x="47" y="77"/>
                  <a:pt x="46" y="76"/>
                </a:cubicBezTo>
                <a:cubicBezTo>
                  <a:pt x="44" y="74"/>
                  <a:pt x="42" y="73"/>
                  <a:pt x="39" y="73"/>
                </a:cubicBezTo>
                <a:cubicBezTo>
                  <a:pt x="18" y="73"/>
                  <a:pt x="18" y="73"/>
                  <a:pt x="18" y="73"/>
                </a:cubicBezTo>
                <a:cubicBezTo>
                  <a:pt x="13" y="73"/>
                  <a:pt x="9" y="71"/>
                  <a:pt x="5" y="68"/>
                </a:cubicBezTo>
                <a:cubicBezTo>
                  <a:pt x="2" y="64"/>
                  <a:pt x="0" y="60"/>
                  <a:pt x="0" y="5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2" y="9"/>
                  <a:pt x="5" y="6"/>
                </a:cubicBezTo>
                <a:cubicBezTo>
                  <a:pt x="9" y="2"/>
                  <a:pt x="13" y="0"/>
                  <a:pt x="18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9" y="0"/>
                  <a:pt x="64" y="2"/>
                  <a:pt x="67" y="6"/>
                </a:cubicBezTo>
                <a:cubicBezTo>
                  <a:pt x="71" y="9"/>
                  <a:pt x="73" y="13"/>
                  <a:pt x="73" y="18"/>
                </a:cubicBezTo>
                <a:close/>
                <a:moveTo>
                  <a:pt x="157" y="18"/>
                </a:moveTo>
                <a:cubicBezTo>
                  <a:pt x="157" y="85"/>
                  <a:pt x="157" y="85"/>
                  <a:pt x="157" y="85"/>
                </a:cubicBezTo>
                <a:cubicBezTo>
                  <a:pt x="157" y="92"/>
                  <a:pt x="156" y="98"/>
                  <a:pt x="153" y="104"/>
                </a:cubicBezTo>
                <a:cubicBezTo>
                  <a:pt x="151" y="110"/>
                  <a:pt x="147" y="115"/>
                  <a:pt x="143" y="119"/>
                </a:cubicBezTo>
                <a:cubicBezTo>
                  <a:pt x="139" y="124"/>
                  <a:pt x="134" y="127"/>
                  <a:pt x="128" y="130"/>
                </a:cubicBezTo>
                <a:cubicBezTo>
                  <a:pt x="122" y="132"/>
                  <a:pt x="115" y="133"/>
                  <a:pt x="109" y="133"/>
                </a:cubicBezTo>
                <a:cubicBezTo>
                  <a:pt x="103" y="133"/>
                  <a:pt x="103" y="133"/>
                  <a:pt x="103" y="133"/>
                </a:cubicBezTo>
                <a:cubicBezTo>
                  <a:pt x="101" y="133"/>
                  <a:pt x="100" y="133"/>
                  <a:pt x="99" y="132"/>
                </a:cubicBezTo>
                <a:cubicBezTo>
                  <a:pt x="97" y="130"/>
                  <a:pt x="97" y="129"/>
                  <a:pt x="97" y="127"/>
                </a:cubicBezTo>
                <a:cubicBezTo>
                  <a:pt x="97" y="115"/>
                  <a:pt x="97" y="115"/>
                  <a:pt x="97" y="115"/>
                </a:cubicBezTo>
                <a:cubicBezTo>
                  <a:pt x="97" y="114"/>
                  <a:pt x="97" y="112"/>
                  <a:pt x="99" y="111"/>
                </a:cubicBezTo>
                <a:cubicBezTo>
                  <a:pt x="100" y="110"/>
                  <a:pt x="101" y="109"/>
                  <a:pt x="103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116" y="109"/>
                  <a:pt x="121" y="107"/>
                  <a:pt x="126" y="102"/>
                </a:cubicBezTo>
                <a:cubicBezTo>
                  <a:pt x="131" y="97"/>
                  <a:pt x="133" y="92"/>
                  <a:pt x="133" y="85"/>
                </a:cubicBezTo>
                <a:cubicBezTo>
                  <a:pt x="133" y="82"/>
                  <a:pt x="133" y="82"/>
                  <a:pt x="133" y="82"/>
                </a:cubicBezTo>
                <a:cubicBezTo>
                  <a:pt x="133" y="79"/>
                  <a:pt x="132" y="77"/>
                  <a:pt x="130" y="76"/>
                </a:cubicBezTo>
                <a:cubicBezTo>
                  <a:pt x="129" y="74"/>
                  <a:pt x="126" y="73"/>
                  <a:pt x="124" y="73"/>
                </a:cubicBezTo>
                <a:cubicBezTo>
                  <a:pt x="103" y="73"/>
                  <a:pt x="103" y="73"/>
                  <a:pt x="103" y="73"/>
                </a:cubicBezTo>
                <a:cubicBezTo>
                  <a:pt x="98" y="73"/>
                  <a:pt x="93" y="71"/>
                  <a:pt x="90" y="68"/>
                </a:cubicBezTo>
                <a:cubicBezTo>
                  <a:pt x="86" y="64"/>
                  <a:pt x="85" y="60"/>
                  <a:pt x="85" y="55"/>
                </a:cubicBezTo>
                <a:cubicBezTo>
                  <a:pt x="85" y="18"/>
                  <a:pt x="85" y="18"/>
                  <a:pt x="85" y="18"/>
                </a:cubicBezTo>
                <a:cubicBezTo>
                  <a:pt x="85" y="13"/>
                  <a:pt x="86" y="9"/>
                  <a:pt x="90" y="6"/>
                </a:cubicBezTo>
                <a:cubicBezTo>
                  <a:pt x="93" y="2"/>
                  <a:pt x="98" y="0"/>
                  <a:pt x="10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4" y="0"/>
                  <a:pt x="148" y="2"/>
                  <a:pt x="152" y="6"/>
                </a:cubicBezTo>
                <a:cubicBezTo>
                  <a:pt x="155" y="9"/>
                  <a:pt x="157" y="13"/>
                  <a:pt x="157" y="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6" name="Freeform 247"/>
          <p:cNvSpPr>
            <a:spLocks noChangeAspect="1" noEditPoints="1"/>
          </p:cNvSpPr>
          <p:nvPr/>
        </p:nvSpPr>
        <p:spPr bwMode="auto">
          <a:xfrm>
            <a:off x="2106685" y="3408811"/>
            <a:ext cx="149885" cy="157692"/>
          </a:xfrm>
          <a:custGeom>
            <a:avLst/>
            <a:gdLst>
              <a:gd name="T0" fmla="*/ 30 w 145"/>
              <a:gd name="T1" fmla="*/ 79 h 152"/>
              <a:gd name="T2" fmla="*/ 15 w 145"/>
              <a:gd name="T3" fmla="*/ 94 h 152"/>
              <a:gd name="T4" fmla="*/ 0 w 145"/>
              <a:gd name="T5" fmla="*/ 79 h 152"/>
              <a:gd name="T6" fmla="*/ 15 w 145"/>
              <a:gd name="T7" fmla="*/ 64 h 152"/>
              <a:gd name="T8" fmla="*/ 45 w 145"/>
              <a:gd name="T9" fmla="*/ 25 h 152"/>
              <a:gd name="T10" fmla="*/ 45 w 145"/>
              <a:gd name="T11" fmla="*/ 48 h 152"/>
              <a:gd name="T12" fmla="*/ 22 w 145"/>
              <a:gd name="T13" fmla="*/ 48 h 152"/>
              <a:gd name="T14" fmla="*/ 22 w 145"/>
              <a:gd name="T15" fmla="*/ 25 h 152"/>
              <a:gd name="T16" fmla="*/ 45 w 145"/>
              <a:gd name="T17" fmla="*/ 25 h 152"/>
              <a:gd name="T18" fmla="*/ 47 w 145"/>
              <a:gd name="T19" fmla="*/ 121 h 152"/>
              <a:gd name="T20" fmla="*/ 33 w 145"/>
              <a:gd name="T21" fmla="*/ 135 h 152"/>
              <a:gd name="T22" fmla="*/ 20 w 145"/>
              <a:gd name="T23" fmla="*/ 121 h 152"/>
              <a:gd name="T24" fmla="*/ 33 w 145"/>
              <a:gd name="T25" fmla="*/ 108 h 152"/>
              <a:gd name="T26" fmla="*/ 89 w 145"/>
              <a:gd name="T27" fmla="*/ 6 h 152"/>
              <a:gd name="T28" fmla="*/ 89 w 145"/>
              <a:gd name="T29" fmla="*/ 31 h 152"/>
              <a:gd name="T30" fmla="*/ 63 w 145"/>
              <a:gd name="T31" fmla="*/ 31 h 152"/>
              <a:gd name="T32" fmla="*/ 63 w 145"/>
              <a:gd name="T33" fmla="*/ 6 h 152"/>
              <a:gd name="T34" fmla="*/ 89 w 145"/>
              <a:gd name="T35" fmla="*/ 6 h 152"/>
              <a:gd name="T36" fmla="*/ 88 w 145"/>
              <a:gd name="T37" fmla="*/ 139 h 152"/>
              <a:gd name="T38" fmla="*/ 76 w 145"/>
              <a:gd name="T39" fmla="*/ 152 h 152"/>
              <a:gd name="T40" fmla="*/ 64 w 145"/>
              <a:gd name="T41" fmla="*/ 139 h 152"/>
              <a:gd name="T42" fmla="*/ 76 w 145"/>
              <a:gd name="T43" fmla="*/ 127 h 152"/>
              <a:gd name="T44" fmla="*/ 126 w 145"/>
              <a:gd name="T45" fmla="*/ 114 h 152"/>
              <a:gd name="T46" fmla="*/ 126 w 145"/>
              <a:gd name="T47" fmla="*/ 129 h 152"/>
              <a:gd name="T48" fmla="*/ 111 w 145"/>
              <a:gd name="T49" fmla="*/ 129 h 152"/>
              <a:gd name="T50" fmla="*/ 111 w 145"/>
              <a:gd name="T51" fmla="*/ 114 h 152"/>
              <a:gd name="T52" fmla="*/ 126 w 145"/>
              <a:gd name="T53" fmla="*/ 114 h 152"/>
              <a:gd name="T54" fmla="*/ 126 w 145"/>
              <a:gd name="T55" fmla="*/ 37 h 152"/>
              <a:gd name="T56" fmla="*/ 118 w 145"/>
              <a:gd name="T57" fmla="*/ 44 h 152"/>
              <a:gd name="T58" fmla="*/ 111 w 145"/>
              <a:gd name="T59" fmla="*/ 37 h 152"/>
              <a:gd name="T60" fmla="*/ 118 w 145"/>
              <a:gd name="T61" fmla="*/ 29 h 152"/>
              <a:gd name="T62" fmla="*/ 143 w 145"/>
              <a:gd name="T63" fmla="*/ 73 h 152"/>
              <a:gd name="T64" fmla="*/ 143 w 145"/>
              <a:gd name="T65" fmla="*/ 85 h 152"/>
              <a:gd name="T66" fmla="*/ 130 w 145"/>
              <a:gd name="T67" fmla="*/ 85 h 152"/>
              <a:gd name="T68" fmla="*/ 130 w 145"/>
              <a:gd name="T69" fmla="*/ 73 h 152"/>
              <a:gd name="T70" fmla="*/ 143 w 145"/>
              <a:gd name="T71" fmla="*/ 73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5" h="152">
                <a:moveTo>
                  <a:pt x="26" y="68"/>
                </a:moveTo>
                <a:cubicBezTo>
                  <a:pt x="29" y="71"/>
                  <a:pt x="30" y="75"/>
                  <a:pt x="30" y="79"/>
                </a:cubicBezTo>
                <a:cubicBezTo>
                  <a:pt x="30" y="83"/>
                  <a:pt x="29" y="87"/>
                  <a:pt x="26" y="90"/>
                </a:cubicBezTo>
                <a:cubicBezTo>
                  <a:pt x="23" y="93"/>
                  <a:pt x="19" y="94"/>
                  <a:pt x="15" y="94"/>
                </a:cubicBezTo>
                <a:cubicBezTo>
                  <a:pt x="11" y="94"/>
                  <a:pt x="8" y="93"/>
                  <a:pt x="5" y="90"/>
                </a:cubicBezTo>
                <a:cubicBezTo>
                  <a:pt x="2" y="87"/>
                  <a:pt x="0" y="83"/>
                  <a:pt x="0" y="79"/>
                </a:cubicBezTo>
                <a:cubicBezTo>
                  <a:pt x="0" y="75"/>
                  <a:pt x="2" y="71"/>
                  <a:pt x="5" y="68"/>
                </a:cubicBezTo>
                <a:cubicBezTo>
                  <a:pt x="8" y="65"/>
                  <a:pt x="11" y="64"/>
                  <a:pt x="15" y="64"/>
                </a:cubicBezTo>
                <a:cubicBezTo>
                  <a:pt x="19" y="64"/>
                  <a:pt x="23" y="65"/>
                  <a:pt x="26" y="68"/>
                </a:cubicBezTo>
                <a:close/>
                <a:moveTo>
                  <a:pt x="45" y="25"/>
                </a:moveTo>
                <a:cubicBezTo>
                  <a:pt x="49" y="28"/>
                  <a:pt x="50" y="32"/>
                  <a:pt x="50" y="37"/>
                </a:cubicBezTo>
                <a:cubicBezTo>
                  <a:pt x="50" y="41"/>
                  <a:pt x="49" y="45"/>
                  <a:pt x="45" y="48"/>
                </a:cubicBezTo>
                <a:cubicBezTo>
                  <a:pt x="42" y="52"/>
                  <a:pt x="38" y="53"/>
                  <a:pt x="33" y="53"/>
                </a:cubicBezTo>
                <a:cubicBezTo>
                  <a:pt x="29" y="53"/>
                  <a:pt x="25" y="52"/>
                  <a:pt x="22" y="48"/>
                </a:cubicBezTo>
                <a:cubicBezTo>
                  <a:pt x="18" y="45"/>
                  <a:pt x="17" y="41"/>
                  <a:pt x="17" y="37"/>
                </a:cubicBezTo>
                <a:cubicBezTo>
                  <a:pt x="17" y="32"/>
                  <a:pt x="18" y="28"/>
                  <a:pt x="22" y="25"/>
                </a:cubicBezTo>
                <a:cubicBezTo>
                  <a:pt x="25" y="22"/>
                  <a:pt x="29" y="20"/>
                  <a:pt x="33" y="20"/>
                </a:cubicBezTo>
                <a:cubicBezTo>
                  <a:pt x="38" y="20"/>
                  <a:pt x="42" y="22"/>
                  <a:pt x="45" y="25"/>
                </a:cubicBezTo>
                <a:close/>
                <a:moveTo>
                  <a:pt x="43" y="112"/>
                </a:moveTo>
                <a:cubicBezTo>
                  <a:pt x="46" y="114"/>
                  <a:pt x="47" y="118"/>
                  <a:pt x="47" y="121"/>
                </a:cubicBezTo>
                <a:cubicBezTo>
                  <a:pt x="47" y="125"/>
                  <a:pt x="46" y="128"/>
                  <a:pt x="43" y="131"/>
                </a:cubicBezTo>
                <a:cubicBezTo>
                  <a:pt x="40" y="134"/>
                  <a:pt x="37" y="135"/>
                  <a:pt x="33" y="135"/>
                </a:cubicBezTo>
                <a:cubicBezTo>
                  <a:pt x="30" y="135"/>
                  <a:pt x="26" y="134"/>
                  <a:pt x="24" y="131"/>
                </a:cubicBezTo>
                <a:cubicBezTo>
                  <a:pt x="21" y="128"/>
                  <a:pt x="20" y="125"/>
                  <a:pt x="20" y="121"/>
                </a:cubicBezTo>
                <a:cubicBezTo>
                  <a:pt x="20" y="118"/>
                  <a:pt x="21" y="114"/>
                  <a:pt x="24" y="112"/>
                </a:cubicBezTo>
                <a:cubicBezTo>
                  <a:pt x="26" y="109"/>
                  <a:pt x="30" y="108"/>
                  <a:pt x="33" y="108"/>
                </a:cubicBezTo>
                <a:cubicBezTo>
                  <a:pt x="37" y="108"/>
                  <a:pt x="40" y="109"/>
                  <a:pt x="43" y="112"/>
                </a:cubicBezTo>
                <a:close/>
                <a:moveTo>
                  <a:pt x="89" y="6"/>
                </a:moveTo>
                <a:cubicBezTo>
                  <a:pt x="92" y="9"/>
                  <a:pt x="94" y="13"/>
                  <a:pt x="94" y="18"/>
                </a:cubicBezTo>
                <a:cubicBezTo>
                  <a:pt x="94" y="23"/>
                  <a:pt x="92" y="28"/>
                  <a:pt x="89" y="31"/>
                </a:cubicBezTo>
                <a:cubicBezTo>
                  <a:pt x="85" y="35"/>
                  <a:pt x="81" y="37"/>
                  <a:pt x="76" y="37"/>
                </a:cubicBezTo>
                <a:cubicBezTo>
                  <a:pt x="71" y="37"/>
                  <a:pt x="67" y="35"/>
                  <a:pt x="63" y="31"/>
                </a:cubicBezTo>
                <a:cubicBezTo>
                  <a:pt x="59" y="28"/>
                  <a:pt x="58" y="23"/>
                  <a:pt x="58" y="18"/>
                </a:cubicBezTo>
                <a:cubicBezTo>
                  <a:pt x="58" y="13"/>
                  <a:pt x="59" y="9"/>
                  <a:pt x="63" y="6"/>
                </a:cubicBezTo>
                <a:cubicBezTo>
                  <a:pt x="67" y="2"/>
                  <a:pt x="71" y="0"/>
                  <a:pt x="76" y="0"/>
                </a:cubicBezTo>
                <a:cubicBezTo>
                  <a:pt x="81" y="0"/>
                  <a:pt x="85" y="2"/>
                  <a:pt x="89" y="6"/>
                </a:cubicBezTo>
                <a:close/>
                <a:moveTo>
                  <a:pt x="84" y="131"/>
                </a:moveTo>
                <a:cubicBezTo>
                  <a:pt x="87" y="133"/>
                  <a:pt x="88" y="136"/>
                  <a:pt x="88" y="139"/>
                </a:cubicBezTo>
                <a:cubicBezTo>
                  <a:pt x="88" y="143"/>
                  <a:pt x="87" y="146"/>
                  <a:pt x="84" y="148"/>
                </a:cubicBezTo>
                <a:cubicBezTo>
                  <a:pt x="82" y="150"/>
                  <a:pt x="79" y="152"/>
                  <a:pt x="76" y="152"/>
                </a:cubicBezTo>
                <a:cubicBezTo>
                  <a:pt x="73" y="152"/>
                  <a:pt x="70" y="150"/>
                  <a:pt x="67" y="148"/>
                </a:cubicBezTo>
                <a:cubicBezTo>
                  <a:pt x="65" y="146"/>
                  <a:pt x="64" y="143"/>
                  <a:pt x="64" y="139"/>
                </a:cubicBezTo>
                <a:cubicBezTo>
                  <a:pt x="64" y="136"/>
                  <a:pt x="65" y="133"/>
                  <a:pt x="67" y="131"/>
                </a:cubicBezTo>
                <a:cubicBezTo>
                  <a:pt x="70" y="129"/>
                  <a:pt x="73" y="127"/>
                  <a:pt x="76" y="127"/>
                </a:cubicBezTo>
                <a:cubicBezTo>
                  <a:pt x="79" y="127"/>
                  <a:pt x="82" y="129"/>
                  <a:pt x="84" y="131"/>
                </a:cubicBezTo>
                <a:close/>
                <a:moveTo>
                  <a:pt x="126" y="114"/>
                </a:moveTo>
                <a:cubicBezTo>
                  <a:pt x="128" y="116"/>
                  <a:pt x="129" y="118"/>
                  <a:pt x="129" y="121"/>
                </a:cubicBezTo>
                <a:cubicBezTo>
                  <a:pt x="129" y="124"/>
                  <a:pt x="128" y="127"/>
                  <a:pt x="126" y="129"/>
                </a:cubicBezTo>
                <a:cubicBezTo>
                  <a:pt x="124" y="131"/>
                  <a:pt x="121" y="132"/>
                  <a:pt x="118" y="132"/>
                </a:cubicBezTo>
                <a:cubicBezTo>
                  <a:pt x="115" y="132"/>
                  <a:pt x="113" y="131"/>
                  <a:pt x="111" y="129"/>
                </a:cubicBezTo>
                <a:cubicBezTo>
                  <a:pt x="109" y="127"/>
                  <a:pt x="108" y="124"/>
                  <a:pt x="108" y="121"/>
                </a:cubicBezTo>
                <a:cubicBezTo>
                  <a:pt x="108" y="118"/>
                  <a:pt x="109" y="116"/>
                  <a:pt x="111" y="114"/>
                </a:cubicBezTo>
                <a:cubicBezTo>
                  <a:pt x="113" y="112"/>
                  <a:pt x="115" y="111"/>
                  <a:pt x="118" y="111"/>
                </a:cubicBezTo>
                <a:cubicBezTo>
                  <a:pt x="121" y="111"/>
                  <a:pt x="124" y="112"/>
                  <a:pt x="126" y="114"/>
                </a:cubicBezTo>
                <a:close/>
                <a:moveTo>
                  <a:pt x="124" y="31"/>
                </a:moveTo>
                <a:cubicBezTo>
                  <a:pt x="125" y="33"/>
                  <a:pt x="126" y="34"/>
                  <a:pt x="126" y="37"/>
                </a:cubicBezTo>
                <a:cubicBezTo>
                  <a:pt x="126" y="39"/>
                  <a:pt x="125" y="40"/>
                  <a:pt x="124" y="42"/>
                </a:cubicBezTo>
                <a:cubicBezTo>
                  <a:pt x="122" y="43"/>
                  <a:pt x="120" y="44"/>
                  <a:pt x="118" y="44"/>
                </a:cubicBezTo>
                <a:cubicBezTo>
                  <a:pt x="116" y="44"/>
                  <a:pt x="114" y="43"/>
                  <a:pt x="113" y="42"/>
                </a:cubicBezTo>
                <a:cubicBezTo>
                  <a:pt x="111" y="40"/>
                  <a:pt x="111" y="39"/>
                  <a:pt x="111" y="37"/>
                </a:cubicBezTo>
                <a:cubicBezTo>
                  <a:pt x="111" y="34"/>
                  <a:pt x="111" y="33"/>
                  <a:pt x="113" y="31"/>
                </a:cubicBezTo>
                <a:cubicBezTo>
                  <a:pt x="114" y="30"/>
                  <a:pt x="116" y="29"/>
                  <a:pt x="118" y="29"/>
                </a:cubicBezTo>
                <a:cubicBezTo>
                  <a:pt x="120" y="29"/>
                  <a:pt x="122" y="30"/>
                  <a:pt x="124" y="31"/>
                </a:cubicBezTo>
                <a:close/>
                <a:moveTo>
                  <a:pt x="143" y="73"/>
                </a:moveTo>
                <a:cubicBezTo>
                  <a:pt x="145" y="74"/>
                  <a:pt x="145" y="76"/>
                  <a:pt x="145" y="79"/>
                </a:cubicBezTo>
                <a:cubicBezTo>
                  <a:pt x="145" y="81"/>
                  <a:pt x="145" y="84"/>
                  <a:pt x="143" y="85"/>
                </a:cubicBezTo>
                <a:cubicBezTo>
                  <a:pt x="141" y="87"/>
                  <a:pt x="139" y="88"/>
                  <a:pt x="136" y="88"/>
                </a:cubicBezTo>
                <a:cubicBezTo>
                  <a:pt x="134" y="88"/>
                  <a:pt x="132" y="87"/>
                  <a:pt x="130" y="85"/>
                </a:cubicBezTo>
                <a:cubicBezTo>
                  <a:pt x="128" y="84"/>
                  <a:pt x="127" y="81"/>
                  <a:pt x="127" y="79"/>
                </a:cubicBezTo>
                <a:cubicBezTo>
                  <a:pt x="127" y="76"/>
                  <a:pt x="128" y="74"/>
                  <a:pt x="130" y="73"/>
                </a:cubicBezTo>
                <a:cubicBezTo>
                  <a:pt x="132" y="71"/>
                  <a:pt x="134" y="70"/>
                  <a:pt x="136" y="70"/>
                </a:cubicBezTo>
                <a:cubicBezTo>
                  <a:pt x="139" y="70"/>
                  <a:pt x="141" y="71"/>
                  <a:pt x="143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7" name="Freeform 248"/>
          <p:cNvSpPr>
            <a:spLocks noChangeAspect="1"/>
          </p:cNvSpPr>
          <p:nvPr/>
        </p:nvSpPr>
        <p:spPr bwMode="auto">
          <a:xfrm>
            <a:off x="2306532" y="3415057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09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09 w 146"/>
              <a:gd name="T23" fmla="*/ 10 h 146"/>
              <a:gd name="T24" fmla="*/ 136 w 146"/>
              <a:gd name="T25" fmla="*/ 3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8" name="Freeform 249"/>
          <p:cNvSpPr>
            <a:spLocks noChangeAspect="1"/>
          </p:cNvSpPr>
          <p:nvPr/>
        </p:nvSpPr>
        <p:spPr bwMode="auto">
          <a:xfrm>
            <a:off x="2503257" y="3408811"/>
            <a:ext cx="174866" cy="157692"/>
          </a:xfrm>
          <a:custGeom>
            <a:avLst/>
            <a:gdLst>
              <a:gd name="T0" fmla="*/ 169 w 169"/>
              <a:gd name="T1" fmla="*/ 100 h 152"/>
              <a:gd name="T2" fmla="*/ 157 w 169"/>
              <a:gd name="T3" fmla="*/ 143 h 152"/>
              <a:gd name="T4" fmla="*/ 156 w 169"/>
              <a:gd name="T5" fmla="*/ 145 h 152"/>
              <a:gd name="T6" fmla="*/ 155 w 169"/>
              <a:gd name="T7" fmla="*/ 148 h 152"/>
              <a:gd name="T8" fmla="*/ 154 w 169"/>
              <a:gd name="T9" fmla="*/ 150 h 152"/>
              <a:gd name="T10" fmla="*/ 151 w 169"/>
              <a:gd name="T11" fmla="*/ 152 h 152"/>
              <a:gd name="T12" fmla="*/ 149 w 169"/>
              <a:gd name="T13" fmla="*/ 151 h 152"/>
              <a:gd name="T14" fmla="*/ 148 w 169"/>
              <a:gd name="T15" fmla="*/ 148 h 152"/>
              <a:gd name="T16" fmla="*/ 148 w 169"/>
              <a:gd name="T17" fmla="*/ 146 h 152"/>
              <a:gd name="T18" fmla="*/ 148 w 169"/>
              <a:gd name="T19" fmla="*/ 144 h 152"/>
              <a:gd name="T20" fmla="*/ 149 w 169"/>
              <a:gd name="T21" fmla="*/ 132 h 152"/>
              <a:gd name="T22" fmla="*/ 147 w 169"/>
              <a:gd name="T23" fmla="*/ 115 h 152"/>
              <a:gd name="T24" fmla="*/ 143 w 169"/>
              <a:gd name="T25" fmla="*/ 102 h 152"/>
              <a:gd name="T26" fmla="*/ 135 w 169"/>
              <a:gd name="T27" fmla="*/ 92 h 152"/>
              <a:gd name="T28" fmla="*/ 125 w 169"/>
              <a:gd name="T29" fmla="*/ 86 h 152"/>
              <a:gd name="T30" fmla="*/ 112 w 169"/>
              <a:gd name="T31" fmla="*/ 82 h 152"/>
              <a:gd name="T32" fmla="*/ 98 w 169"/>
              <a:gd name="T33" fmla="*/ 79 h 152"/>
              <a:gd name="T34" fmla="*/ 81 w 169"/>
              <a:gd name="T35" fmla="*/ 79 h 152"/>
              <a:gd name="T36" fmla="*/ 60 w 169"/>
              <a:gd name="T37" fmla="*/ 79 h 152"/>
              <a:gd name="T38" fmla="*/ 60 w 169"/>
              <a:gd name="T39" fmla="*/ 103 h 152"/>
              <a:gd name="T40" fmla="*/ 58 w 169"/>
              <a:gd name="T41" fmla="*/ 107 h 152"/>
              <a:gd name="T42" fmla="*/ 54 w 169"/>
              <a:gd name="T43" fmla="*/ 109 h 152"/>
              <a:gd name="T44" fmla="*/ 50 w 169"/>
              <a:gd name="T45" fmla="*/ 107 h 152"/>
              <a:gd name="T46" fmla="*/ 1 w 169"/>
              <a:gd name="T47" fmla="*/ 59 h 152"/>
              <a:gd name="T48" fmla="*/ 0 w 169"/>
              <a:gd name="T49" fmla="*/ 55 h 152"/>
              <a:gd name="T50" fmla="*/ 1 w 169"/>
              <a:gd name="T51" fmla="*/ 50 h 152"/>
              <a:gd name="T52" fmla="*/ 50 w 169"/>
              <a:gd name="T53" fmla="*/ 2 h 152"/>
              <a:gd name="T54" fmla="*/ 54 w 169"/>
              <a:gd name="T55" fmla="*/ 0 h 152"/>
              <a:gd name="T56" fmla="*/ 58 w 169"/>
              <a:gd name="T57" fmla="*/ 2 h 152"/>
              <a:gd name="T58" fmla="*/ 60 w 169"/>
              <a:gd name="T59" fmla="*/ 6 h 152"/>
              <a:gd name="T60" fmla="*/ 60 w 169"/>
              <a:gd name="T61" fmla="*/ 31 h 152"/>
              <a:gd name="T62" fmla="*/ 81 w 169"/>
              <a:gd name="T63" fmla="*/ 31 h 152"/>
              <a:gd name="T64" fmla="*/ 164 w 169"/>
              <a:gd name="T65" fmla="*/ 69 h 152"/>
              <a:gd name="T66" fmla="*/ 169 w 169"/>
              <a:gd name="T67" fmla="*/ 100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69" h="152">
                <a:moveTo>
                  <a:pt x="169" y="100"/>
                </a:moveTo>
                <a:cubicBezTo>
                  <a:pt x="169" y="111"/>
                  <a:pt x="165" y="125"/>
                  <a:pt x="157" y="143"/>
                </a:cubicBezTo>
                <a:cubicBezTo>
                  <a:pt x="157" y="143"/>
                  <a:pt x="157" y="144"/>
                  <a:pt x="156" y="145"/>
                </a:cubicBezTo>
                <a:cubicBezTo>
                  <a:pt x="156" y="146"/>
                  <a:pt x="155" y="147"/>
                  <a:pt x="155" y="148"/>
                </a:cubicBezTo>
                <a:cubicBezTo>
                  <a:pt x="154" y="149"/>
                  <a:pt x="154" y="149"/>
                  <a:pt x="154" y="150"/>
                </a:cubicBezTo>
                <a:cubicBezTo>
                  <a:pt x="153" y="151"/>
                  <a:pt x="152" y="152"/>
                  <a:pt x="151" y="152"/>
                </a:cubicBezTo>
                <a:cubicBezTo>
                  <a:pt x="150" y="152"/>
                  <a:pt x="149" y="151"/>
                  <a:pt x="149" y="151"/>
                </a:cubicBezTo>
                <a:cubicBezTo>
                  <a:pt x="148" y="150"/>
                  <a:pt x="148" y="149"/>
                  <a:pt x="148" y="148"/>
                </a:cubicBezTo>
                <a:cubicBezTo>
                  <a:pt x="148" y="148"/>
                  <a:pt x="148" y="147"/>
                  <a:pt x="148" y="146"/>
                </a:cubicBezTo>
                <a:cubicBezTo>
                  <a:pt x="148" y="145"/>
                  <a:pt x="148" y="144"/>
                  <a:pt x="148" y="144"/>
                </a:cubicBezTo>
                <a:cubicBezTo>
                  <a:pt x="149" y="139"/>
                  <a:pt x="149" y="135"/>
                  <a:pt x="149" y="132"/>
                </a:cubicBezTo>
                <a:cubicBezTo>
                  <a:pt x="149" y="126"/>
                  <a:pt x="148" y="120"/>
                  <a:pt x="147" y="115"/>
                </a:cubicBezTo>
                <a:cubicBezTo>
                  <a:pt x="146" y="110"/>
                  <a:pt x="145" y="105"/>
                  <a:pt x="143" y="102"/>
                </a:cubicBezTo>
                <a:cubicBezTo>
                  <a:pt x="141" y="98"/>
                  <a:pt x="138" y="95"/>
                  <a:pt x="135" y="92"/>
                </a:cubicBezTo>
                <a:cubicBezTo>
                  <a:pt x="132" y="89"/>
                  <a:pt x="129" y="87"/>
                  <a:pt x="125" y="86"/>
                </a:cubicBezTo>
                <a:cubicBezTo>
                  <a:pt x="121" y="84"/>
                  <a:pt x="117" y="83"/>
                  <a:pt x="112" y="82"/>
                </a:cubicBezTo>
                <a:cubicBezTo>
                  <a:pt x="108" y="81"/>
                  <a:pt x="103" y="80"/>
                  <a:pt x="98" y="79"/>
                </a:cubicBezTo>
                <a:cubicBezTo>
                  <a:pt x="93" y="79"/>
                  <a:pt x="87" y="79"/>
                  <a:pt x="81" y="79"/>
                </a:cubicBezTo>
                <a:cubicBezTo>
                  <a:pt x="60" y="79"/>
                  <a:pt x="60" y="79"/>
                  <a:pt x="60" y="79"/>
                </a:cubicBezTo>
                <a:cubicBezTo>
                  <a:pt x="60" y="103"/>
                  <a:pt x="60" y="103"/>
                  <a:pt x="60" y="103"/>
                </a:cubicBezTo>
                <a:cubicBezTo>
                  <a:pt x="60" y="105"/>
                  <a:pt x="60" y="106"/>
                  <a:pt x="58" y="107"/>
                </a:cubicBezTo>
                <a:cubicBezTo>
                  <a:pt x="57" y="109"/>
                  <a:pt x="56" y="109"/>
                  <a:pt x="54" y="109"/>
                </a:cubicBezTo>
                <a:cubicBezTo>
                  <a:pt x="52" y="109"/>
                  <a:pt x="51" y="109"/>
                  <a:pt x="50" y="107"/>
                </a:cubicBezTo>
                <a:cubicBezTo>
                  <a:pt x="1" y="59"/>
                  <a:pt x="1" y="59"/>
                  <a:pt x="1" y="59"/>
                </a:cubicBezTo>
                <a:cubicBezTo>
                  <a:pt x="0" y="58"/>
                  <a:pt x="0" y="56"/>
                  <a:pt x="0" y="55"/>
                </a:cubicBezTo>
                <a:cubicBezTo>
                  <a:pt x="0" y="53"/>
                  <a:pt x="0" y="52"/>
                  <a:pt x="1" y="50"/>
                </a:cubicBezTo>
                <a:cubicBezTo>
                  <a:pt x="50" y="2"/>
                  <a:pt x="50" y="2"/>
                  <a:pt x="50" y="2"/>
                </a:cubicBezTo>
                <a:cubicBezTo>
                  <a:pt x="51" y="1"/>
                  <a:pt x="52" y="0"/>
                  <a:pt x="54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60" y="3"/>
                  <a:pt x="60" y="5"/>
                  <a:pt x="60" y="6"/>
                </a:cubicBezTo>
                <a:cubicBezTo>
                  <a:pt x="60" y="31"/>
                  <a:pt x="60" y="31"/>
                  <a:pt x="60" y="31"/>
                </a:cubicBezTo>
                <a:cubicBezTo>
                  <a:pt x="81" y="31"/>
                  <a:pt x="81" y="31"/>
                  <a:pt x="81" y="31"/>
                </a:cubicBezTo>
                <a:cubicBezTo>
                  <a:pt x="126" y="31"/>
                  <a:pt x="154" y="43"/>
                  <a:pt x="164" y="69"/>
                </a:cubicBezTo>
                <a:cubicBezTo>
                  <a:pt x="167" y="77"/>
                  <a:pt x="169" y="88"/>
                  <a:pt x="169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49" name="Freeform 250"/>
          <p:cNvSpPr>
            <a:spLocks noChangeAspect="1" noEditPoints="1"/>
          </p:cNvSpPr>
          <p:nvPr/>
        </p:nvSpPr>
        <p:spPr bwMode="auto">
          <a:xfrm>
            <a:off x="2724962" y="3427547"/>
            <a:ext cx="162376" cy="138957"/>
          </a:xfrm>
          <a:custGeom>
            <a:avLst/>
            <a:gdLst>
              <a:gd name="T0" fmla="*/ 152 w 157"/>
              <a:gd name="T1" fmla="*/ 106 h 134"/>
              <a:gd name="T2" fmla="*/ 128 w 157"/>
              <a:gd name="T3" fmla="*/ 127 h 134"/>
              <a:gd name="T4" fmla="*/ 96 w 157"/>
              <a:gd name="T5" fmla="*/ 133 h 134"/>
              <a:gd name="T6" fmla="*/ 67 w 157"/>
              <a:gd name="T7" fmla="*/ 133 h 134"/>
              <a:gd name="T8" fmla="*/ 38 w 157"/>
              <a:gd name="T9" fmla="*/ 129 h 134"/>
              <a:gd name="T10" fmla="*/ 14 w 157"/>
              <a:gd name="T11" fmla="*/ 117 h 134"/>
              <a:gd name="T12" fmla="*/ 0 w 157"/>
              <a:gd name="T13" fmla="*/ 75 h 134"/>
              <a:gd name="T14" fmla="*/ 10 w 157"/>
              <a:gd name="T15" fmla="*/ 21 h 134"/>
              <a:gd name="T16" fmla="*/ 33 w 157"/>
              <a:gd name="T17" fmla="*/ 4 h 134"/>
              <a:gd name="T18" fmla="*/ 80 w 157"/>
              <a:gd name="T19" fmla="*/ 13 h 134"/>
              <a:gd name="T20" fmla="*/ 124 w 157"/>
              <a:gd name="T21" fmla="*/ 4 h 134"/>
              <a:gd name="T22" fmla="*/ 147 w 157"/>
              <a:gd name="T23" fmla="*/ 21 h 134"/>
              <a:gd name="T24" fmla="*/ 157 w 157"/>
              <a:gd name="T25" fmla="*/ 75 h 134"/>
              <a:gd name="T26" fmla="*/ 130 w 157"/>
              <a:gd name="T27" fmla="*/ 72 h 134"/>
              <a:gd name="T28" fmla="*/ 94 w 157"/>
              <a:gd name="T29" fmla="*/ 66 h 134"/>
              <a:gd name="T30" fmla="*/ 64 w 157"/>
              <a:gd name="T31" fmla="*/ 66 h 134"/>
              <a:gd name="T32" fmla="*/ 28 w 157"/>
              <a:gd name="T33" fmla="*/ 72 h 134"/>
              <a:gd name="T34" fmla="*/ 24 w 157"/>
              <a:gd name="T35" fmla="*/ 106 h 134"/>
              <a:gd name="T36" fmla="*/ 43 w 157"/>
              <a:gd name="T37" fmla="*/ 121 h 134"/>
              <a:gd name="T38" fmla="*/ 71 w 157"/>
              <a:gd name="T39" fmla="*/ 125 h 134"/>
              <a:gd name="T40" fmla="*/ 101 w 157"/>
              <a:gd name="T41" fmla="*/ 124 h 134"/>
              <a:gd name="T42" fmla="*/ 125 w 157"/>
              <a:gd name="T43" fmla="*/ 115 h 134"/>
              <a:gd name="T44" fmla="*/ 136 w 157"/>
              <a:gd name="T45" fmla="*/ 91 h 134"/>
              <a:gd name="T46" fmla="*/ 61 w 157"/>
              <a:gd name="T47" fmla="*/ 91 h 134"/>
              <a:gd name="T48" fmla="*/ 55 w 157"/>
              <a:gd name="T49" fmla="*/ 106 h 134"/>
              <a:gd name="T50" fmla="*/ 42 w 157"/>
              <a:gd name="T51" fmla="*/ 106 h 134"/>
              <a:gd name="T52" fmla="*/ 36 w 157"/>
              <a:gd name="T53" fmla="*/ 91 h 134"/>
              <a:gd name="T54" fmla="*/ 42 w 157"/>
              <a:gd name="T55" fmla="*/ 76 h 134"/>
              <a:gd name="T56" fmla="*/ 55 w 157"/>
              <a:gd name="T57" fmla="*/ 76 h 134"/>
              <a:gd name="T58" fmla="*/ 120 w 157"/>
              <a:gd name="T59" fmla="*/ 83 h 134"/>
              <a:gd name="T60" fmla="*/ 120 w 157"/>
              <a:gd name="T61" fmla="*/ 99 h 134"/>
              <a:gd name="T62" fmla="*/ 109 w 157"/>
              <a:gd name="T63" fmla="*/ 109 h 134"/>
              <a:gd name="T64" fmla="*/ 98 w 157"/>
              <a:gd name="T65" fmla="*/ 99 h 134"/>
              <a:gd name="T66" fmla="*/ 98 w 157"/>
              <a:gd name="T67" fmla="*/ 83 h 134"/>
              <a:gd name="T68" fmla="*/ 109 w 157"/>
              <a:gd name="T69" fmla="*/ 73 h 134"/>
              <a:gd name="T70" fmla="*/ 120 w 157"/>
              <a:gd name="T71" fmla="*/ 8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7" h="134">
                <a:moveTo>
                  <a:pt x="157" y="75"/>
                </a:moveTo>
                <a:cubicBezTo>
                  <a:pt x="157" y="88"/>
                  <a:pt x="155" y="98"/>
                  <a:pt x="152" y="106"/>
                </a:cubicBezTo>
                <a:cubicBezTo>
                  <a:pt x="149" y="111"/>
                  <a:pt x="146" y="115"/>
                  <a:pt x="142" y="118"/>
                </a:cubicBezTo>
                <a:cubicBezTo>
                  <a:pt x="137" y="122"/>
                  <a:pt x="133" y="125"/>
                  <a:pt x="128" y="127"/>
                </a:cubicBezTo>
                <a:cubicBezTo>
                  <a:pt x="124" y="128"/>
                  <a:pt x="118" y="130"/>
                  <a:pt x="112" y="131"/>
                </a:cubicBezTo>
                <a:cubicBezTo>
                  <a:pt x="106" y="132"/>
                  <a:pt x="101" y="133"/>
                  <a:pt x="96" y="133"/>
                </a:cubicBezTo>
                <a:cubicBezTo>
                  <a:pt x="91" y="133"/>
                  <a:pt x="86" y="134"/>
                  <a:pt x="80" y="134"/>
                </a:cubicBezTo>
                <a:cubicBezTo>
                  <a:pt x="75" y="134"/>
                  <a:pt x="71" y="133"/>
                  <a:pt x="67" y="133"/>
                </a:cubicBezTo>
                <a:cubicBezTo>
                  <a:pt x="63" y="133"/>
                  <a:pt x="58" y="133"/>
                  <a:pt x="53" y="132"/>
                </a:cubicBezTo>
                <a:cubicBezTo>
                  <a:pt x="48" y="131"/>
                  <a:pt x="43" y="131"/>
                  <a:pt x="38" y="129"/>
                </a:cubicBezTo>
                <a:cubicBezTo>
                  <a:pt x="34" y="128"/>
                  <a:pt x="30" y="126"/>
                  <a:pt x="25" y="124"/>
                </a:cubicBezTo>
                <a:cubicBezTo>
                  <a:pt x="21" y="122"/>
                  <a:pt x="17" y="120"/>
                  <a:pt x="14" y="117"/>
                </a:cubicBezTo>
                <a:cubicBezTo>
                  <a:pt x="11" y="114"/>
                  <a:pt x="8" y="110"/>
                  <a:pt x="6" y="106"/>
                </a:cubicBezTo>
                <a:cubicBezTo>
                  <a:pt x="2" y="98"/>
                  <a:pt x="0" y="88"/>
                  <a:pt x="0" y="75"/>
                </a:cubicBezTo>
                <a:cubicBezTo>
                  <a:pt x="0" y="60"/>
                  <a:pt x="4" y="47"/>
                  <a:pt x="13" y="37"/>
                </a:cubicBezTo>
                <a:cubicBezTo>
                  <a:pt x="11" y="32"/>
                  <a:pt x="10" y="27"/>
                  <a:pt x="10" y="21"/>
                </a:cubicBezTo>
                <a:cubicBezTo>
                  <a:pt x="10" y="14"/>
                  <a:pt x="12" y="7"/>
                  <a:pt x="15" y="0"/>
                </a:cubicBezTo>
                <a:cubicBezTo>
                  <a:pt x="22" y="0"/>
                  <a:pt x="28" y="2"/>
                  <a:pt x="33" y="4"/>
                </a:cubicBezTo>
                <a:cubicBezTo>
                  <a:pt x="38" y="7"/>
                  <a:pt x="44" y="11"/>
                  <a:pt x="51" y="16"/>
                </a:cubicBezTo>
                <a:cubicBezTo>
                  <a:pt x="60" y="14"/>
                  <a:pt x="70" y="13"/>
                  <a:pt x="80" y="13"/>
                </a:cubicBezTo>
                <a:cubicBezTo>
                  <a:pt x="90" y="13"/>
                  <a:pt x="98" y="14"/>
                  <a:pt x="107" y="16"/>
                </a:cubicBezTo>
                <a:cubicBezTo>
                  <a:pt x="113" y="10"/>
                  <a:pt x="119" y="7"/>
                  <a:pt x="124" y="4"/>
                </a:cubicBezTo>
                <a:cubicBezTo>
                  <a:pt x="130" y="2"/>
                  <a:pt x="135" y="0"/>
                  <a:pt x="142" y="0"/>
                </a:cubicBezTo>
                <a:cubicBezTo>
                  <a:pt x="145" y="7"/>
                  <a:pt x="147" y="14"/>
                  <a:pt x="147" y="21"/>
                </a:cubicBezTo>
                <a:cubicBezTo>
                  <a:pt x="147" y="27"/>
                  <a:pt x="146" y="32"/>
                  <a:pt x="144" y="37"/>
                </a:cubicBezTo>
                <a:cubicBezTo>
                  <a:pt x="153" y="47"/>
                  <a:pt x="157" y="60"/>
                  <a:pt x="157" y="75"/>
                </a:cubicBezTo>
                <a:close/>
                <a:moveTo>
                  <a:pt x="136" y="91"/>
                </a:moveTo>
                <a:cubicBezTo>
                  <a:pt x="136" y="84"/>
                  <a:pt x="134" y="77"/>
                  <a:pt x="130" y="72"/>
                </a:cubicBezTo>
                <a:cubicBezTo>
                  <a:pt x="125" y="67"/>
                  <a:pt x="119" y="64"/>
                  <a:pt x="112" y="64"/>
                </a:cubicBezTo>
                <a:cubicBezTo>
                  <a:pt x="109" y="64"/>
                  <a:pt x="103" y="65"/>
                  <a:pt x="94" y="66"/>
                </a:cubicBezTo>
                <a:cubicBezTo>
                  <a:pt x="89" y="67"/>
                  <a:pt x="84" y="67"/>
                  <a:pt x="79" y="67"/>
                </a:cubicBezTo>
                <a:cubicBezTo>
                  <a:pt x="73" y="67"/>
                  <a:pt x="68" y="67"/>
                  <a:pt x="64" y="66"/>
                </a:cubicBezTo>
                <a:cubicBezTo>
                  <a:pt x="54" y="65"/>
                  <a:pt x="48" y="64"/>
                  <a:pt x="45" y="64"/>
                </a:cubicBezTo>
                <a:cubicBezTo>
                  <a:pt x="38" y="64"/>
                  <a:pt x="32" y="67"/>
                  <a:pt x="28" y="72"/>
                </a:cubicBezTo>
                <a:cubicBezTo>
                  <a:pt x="23" y="77"/>
                  <a:pt x="21" y="84"/>
                  <a:pt x="21" y="91"/>
                </a:cubicBezTo>
                <a:cubicBezTo>
                  <a:pt x="21" y="97"/>
                  <a:pt x="22" y="102"/>
                  <a:pt x="24" y="106"/>
                </a:cubicBezTo>
                <a:cubicBezTo>
                  <a:pt x="26" y="110"/>
                  <a:pt x="29" y="113"/>
                  <a:pt x="32" y="115"/>
                </a:cubicBezTo>
                <a:cubicBezTo>
                  <a:pt x="35" y="118"/>
                  <a:pt x="39" y="120"/>
                  <a:pt x="43" y="121"/>
                </a:cubicBezTo>
                <a:cubicBezTo>
                  <a:pt x="48" y="123"/>
                  <a:pt x="52" y="123"/>
                  <a:pt x="57" y="124"/>
                </a:cubicBezTo>
                <a:cubicBezTo>
                  <a:pt x="61" y="124"/>
                  <a:pt x="66" y="125"/>
                  <a:pt x="71" y="125"/>
                </a:cubicBezTo>
                <a:cubicBezTo>
                  <a:pt x="87" y="125"/>
                  <a:pt x="87" y="125"/>
                  <a:pt x="87" y="125"/>
                </a:cubicBezTo>
                <a:cubicBezTo>
                  <a:pt x="92" y="125"/>
                  <a:pt x="96" y="124"/>
                  <a:pt x="101" y="124"/>
                </a:cubicBezTo>
                <a:cubicBezTo>
                  <a:pt x="105" y="123"/>
                  <a:pt x="109" y="123"/>
                  <a:pt x="114" y="121"/>
                </a:cubicBezTo>
                <a:cubicBezTo>
                  <a:pt x="119" y="120"/>
                  <a:pt x="122" y="118"/>
                  <a:pt x="125" y="115"/>
                </a:cubicBezTo>
                <a:cubicBezTo>
                  <a:pt x="129" y="113"/>
                  <a:pt x="131" y="110"/>
                  <a:pt x="133" y="106"/>
                </a:cubicBezTo>
                <a:cubicBezTo>
                  <a:pt x="135" y="102"/>
                  <a:pt x="136" y="97"/>
                  <a:pt x="136" y="91"/>
                </a:cubicBezTo>
                <a:close/>
                <a:moveTo>
                  <a:pt x="59" y="83"/>
                </a:moveTo>
                <a:cubicBezTo>
                  <a:pt x="60" y="86"/>
                  <a:pt x="61" y="89"/>
                  <a:pt x="61" y="91"/>
                </a:cubicBezTo>
                <a:cubicBezTo>
                  <a:pt x="61" y="94"/>
                  <a:pt x="60" y="96"/>
                  <a:pt x="59" y="99"/>
                </a:cubicBezTo>
                <a:cubicBezTo>
                  <a:pt x="59" y="102"/>
                  <a:pt x="57" y="104"/>
                  <a:pt x="55" y="106"/>
                </a:cubicBezTo>
                <a:cubicBezTo>
                  <a:pt x="53" y="108"/>
                  <a:pt x="51" y="109"/>
                  <a:pt x="48" y="109"/>
                </a:cubicBezTo>
                <a:cubicBezTo>
                  <a:pt x="46" y="109"/>
                  <a:pt x="44" y="108"/>
                  <a:pt x="42" y="106"/>
                </a:cubicBezTo>
                <a:cubicBezTo>
                  <a:pt x="40" y="104"/>
                  <a:pt x="38" y="102"/>
                  <a:pt x="38" y="99"/>
                </a:cubicBezTo>
                <a:cubicBezTo>
                  <a:pt x="37" y="96"/>
                  <a:pt x="36" y="94"/>
                  <a:pt x="36" y="91"/>
                </a:cubicBezTo>
                <a:cubicBezTo>
                  <a:pt x="36" y="89"/>
                  <a:pt x="37" y="86"/>
                  <a:pt x="38" y="83"/>
                </a:cubicBezTo>
                <a:cubicBezTo>
                  <a:pt x="38" y="81"/>
                  <a:pt x="40" y="78"/>
                  <a:pt x="42" y="76"/>
                </a:cubicBezTo>
                <a:cubicBezTo>
                  <a:pt x="44" y="74"/>
                  <a:pt x="46" y="73"/>
                  <a:pt x="48" y="73"/>
                </a:cubicBezTo>
                <a:cubicBezTo>
                  <a:pt x="51" y="73"/>
                  <a:pt x="53" y="74"/>
                  <a:pt x="55" y="76"/>
                </a:cubicBezTo>
                <a:cubicBezTo>
                  <a:pt x="57" y="78"/>
                  <a:pt x="59" y="81"/>
                  <a:pt x="59" y="83"/>
                </a:cubicBezTo>
                <a:close/>
                <a:moveTo>
                  <a:pt x="120" y="83"/>
                </a:moveTo>
                <a:cubicBezTo>
                  <a:pt x="121" y="86"/>
                  <a:pt x="121" y="89"/>
                  <a:pt x="121" y="91"/>
                </a:cubicBezTo>
                <a:cubicBezTo>
                  <a:pt x="121" y="94"/>
                  <a:pt x="121" y="96"/>
                  <a:pt x="120" y="99"/>
                </a:cubicBezTo>
                <a:cubicBezTo>
                  <a:pt x="119" y="102"/>
                  <a:pt x="118" y="104"/>
                  <a:pt x="116" y="106"/>
                </a:cubicBezTo>
                <a:cubicBezTo>
                  <a:pt x="114" y="108"/>
                  <a:pt x="112" y="109"/>
                  <a:pt x="109" y="109"/>
                </a:cubicBezTo>
                <a:cubicBezTo>
                  <a:pt x="106" y="109"/>
                  <a:pt x="104" y="108"/>
                  <a:pt x="102" y="106"/>
                </a:cubicBezTo>
                <a:cubicBezTo>
                  <a:pt x="100" y="104"/>
                  <a:pt x="99" y="102"/>
                  <a:pt x="98" y="99"/>
                </a:cubicBezTo>
                <a:cubicBezTo>
                  <a:pt x="97" y="96"/>
                  <a:pt x="97" y="94"/>
                  <a:pt x="97" y="91"/>
                </a:cubicBezTo>
                <a:cubicBezTo>
                  <a:pt x="97" y="89"/>
                  <a:pt x="97" y="86"/>
                  <a:pt x="98" y="83"/>
                </a:cubicBezTo>
                <a:cubicBezTo>
                  <a:pt x="99" y="81"/>
                  <a:pt x="100" y="78"/>
                  <a:pt x="102" y="76"/>
                </a:cubicBezTo>
                <a:cubicBezTo>
                  <a:pt x="104" y="74"/>
                  <a:pt x="106" y="73"/>
                  <a:pt x="109" y="73"/>
                </a:cubicBezTo>
                <a:cubicBezTo>
                  <a:pt x="112" y="73"/>
                  <a:pt x="114" y="74"/>
                  <a:pt x="116" y="76"/>
                </a:cubicBezTo>
                <a:cubicBezTo>
                  <a:pt x="118" y="78"/>
                  <a:pt x="119" y="81"/>
                  <a:pt x="120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0" name="Freeform 251"/>
          <p:cNvSpPr>
            <a:spLocks noChangeAspect="1" noEditPoints="1"/>
          </p:cNvSpPr>
          <p:nvPr/>
        </p:nvSpPr>
        <p:spPr bwMode="auto">
          <a:xfrm>
            <a:off x="2934177" y="3415057"/>
            <a:ext cx="163938" cy="137395"/>
          </a:xfrm>
          <a:custGeom>
            <a:avLst/>
            <a:gdLst>
              <a:gd name="T0" fmla="*/ 158 w 158"/>
              <a:gd name="T1" fmla="*/ 46 h 133"/>
              <a:gd name="T2" fmla="*/ 158 w 158"/>
              <a:gd name="T3" fmla="*/ 112 h 133"/>
              <a:gd name="T4" fmla="*/ 151 w 158"/>
              <a:gd name="T5" fmla="*/ 127 h 133"/>
              <a:gd name="T6" fmla="*/ 136 w 158"/>
              <a:gd name="T7" fmla="*/ 133 h 133"/>
              <a:gd name="T8" fmla="*/ 22 w 158"/>
              <a:gd name="T9" fmla="*/ 133 h 133"/>
              <a:gd name="T10" fmla="*/ 7 w 158"/>
              <a:gd name="T11" fmla="*/ 127 h 133"/>
              <a:gd name="T12" fmla="*/ 0 w 158"/>
              <a:gd name="T13" fmla="*/ 112 h 133"/>
              <a:gd name="T14" fmla="*/ 0 w 158"/>
              <a:gd name="T15" fmla="*/ 21 h 133"/>
              <a:gd name="T16" fmla="*/ 7 w 158"/>
              <a:gd name="T17" fmla="*/ 7 h 133"/>
              <a:gd name="T18" fmla="*/ 22 w 158"/>
              <a:gd name="T19" fmla="*/ 0 h 133"/>
              <a:gd name="T20" fmla="*/ 52 w 158"/>
              <a:gd name="T21" fmla="*/ 0 h 133"/>
              <a:gd name="T22" fmla="*/ 67 w 158"/>
              <a:gd name="T23" fmla="*/ 7 h 133"/>
              <a:gd name="T24" fmla="*/ 73 w 158"/>
              <a:gd name="T25" fmla="*/ 21 h 133"/>
              <a:gd name="T26" fmla="*/ 73 w 158"/>
              <a:gd name="T27" fmla="*/ 25 h 133"/>
              <a:gd name="T28" fmla="*/ 136 w 158"/>
              <a:gd name="T29" fmla="*/ 25 h 133"/>
              <a:gd name="T30" fmla="*/ 151 w 158"/>
              <a:gd name="T31" fmla="*/ 31 h 133"/>
              <a:gd name="T32" fmla="*/ 158 w 158"/>
              <a:gd name="T33" fmla="*/ 46 h 133"/>
              <a:gd name="T34" fmla="*/ 146 w 158"/>
              <a:gd name="T35" fmla="*/ 112 h 133"/>
              <a:gd name="T36" fmla="*/ 146 w 158"/>
              <a:gd name="T37" fmla="*/ 46 h 133"/>
              <a:gd name="T38" fmla="*/ 143 w 158"/>
              <a:gd name="T39" fmla="*/ 39 h 133"/>
              <a:gd name="T40" fmla="*/ 136 w 158"/>
              <a:gd name="T41" fmla="*/ 37 h 133"/>
              <a:gd name="T42" fmla="*/ 70 w 158"/>
              <a:gd name="T43" fmla="*/ 37 h 133"/>
              <a:gd name="T44" fmla="*/ 63 w 158"/>
              <a:gd name="T45" fmla="*/ 34 h 133"/>
              <a:gd name="T46" fmla="*/ 61 w 158"/>
              <a:gd name="T47" fmla="*/ 28 h 133"/>
              <a:gd name="T48" fmla="*/ 61 w 158"/>
              <a:gd name="T49" fmla="*/ 21 h 133"/>
              <a:gd name="T50" fmla="*/ 58 w 158"/>
              <a:gd name="T51" fmla="*/ 15 h 133"/>
              <a:gd name="T52" fmla="*/ 52 w 158"/>
              <a:gd name="T53" fmla="*/ 12 h 133"/>
              <a:gd name="T54" fmla="*/ 22 w 158"/>
              <a:gd name="T55" fmla="*/ 12 h 133"/>
              <a:gd name="T56" fmla="*/ 15 w 158"/>
              <a:gd name="T57" fmla="*/ 15 h 133"/>
              <a:gd name="T58" fmla="*/ 12 w 158"/>
              <a:gd name="T59" fmla="*/ 21 h 133"/>
              <a:gd name="T60" fmla="*/ 12 w 158"/>
              <a:gd name="T61" fmla="*/ 112 h 133"/>
              <a:gd name="T62" fmla="*/ 15 w 158"/>
              <a:gd name="T63" fmla="*/ 119 h 133"/>
              <a:gd name="T64" fmla="*/ 22 w 158"/>
              <a:gd name="T65" fmla="*/ 121 h 133"/>
              <a:gd name="T66" fmla="*/ 136 w 158"/>
              <a:gd name="T67" fmla="*/ 121 h 133"/>
              <a:gd name="T68" fmla="*/ 143 w 158"/>
              <a:gd name="T69" fmla="*/ 119 h 133"/>
              <a:gd name="T70" fmla="*/ 146 w 158"/>
              <a:gd name="T71" fmla="*/ 11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8" h="133">
                <a:moveTo>
                  <a:pt x="158" y="46"/>
                </a:moveTo>
                <a:cubicBezTo>
                  <a:pt x="158" y="112"/>
                  <a:pt x="158" y="112"/>
                  <a:pt x="158" y="112"/>
                </a:cubicBezTo>
                <a:cubicBezTo>
                  <a:pt x="158" y="118"/>
                  <a:pt x="156" y="123"/>
                  <a:pt x="151" y="127"/>
                </a:cubicBezTo>
                <a:cubicBezTo>
                  <a:pt x="147" y="131"/>
                  <a:pt x="142" y="133"/>
                  <a:pt x="136" y="133"/>
                </a:cubicBezTo>
                <a:cubicBezTo>
                  <a:pt x="22" y="133"/>
                  <a:pt x="22" y="133"/>
                  <a:pt x="22" y="133"/>
                </a:cubicBezTo>
                <a:cubicBezTo>
                  <a:pt x="16" y="133"/>
                  <a:pt x="11" y="131"/>
                  <a:pt x="7" y="127"/>
                </a:cubicBezTo>
                <a:cubicBezTo>
                  <a:pt x="2" y="123"/>
                  <a:pt x="0" y="118"/>
                  <a:pt x="0" y="11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6"/>
                  <a:pt x="2" y="11"/>
                  <a:pt x="7" y="7"/>
                </a:cubicBezTo>
                <a:cubicBezTo>
                  <a:pt x="11" y="2"/>
                  <a:pt x="16" y="0"/>
                  <a:pt x="2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8" y="0"/>
                  <a:pt x="63" y="2"/>
                  <a:pt x="67" y="7"/>
                </a:cubicBezTo>
                <a:cubicBezTo>
                  <a:pt x="71" y="11"/>
                  <a:pt x="73" y="16"/>
                  <a:pt x="73" y="21"/>
                </a:cubicBezTo>
                <a:cubicBezTo>
                  <a:pt x="73" y="25"/>
                  <a:pt x="73" y="25"/>
                  <a:pt x="73" y="25"/>
                </a:cubicBezTo>
                <a:cubicBezTo>
                  <a:pt x="136" y="25"/>
                  <a:pt x="136" y="25"/>
                  <a:pt x="136" y="25"/>
                </a:cubicBezTo>
                <a:cubicBezTo>
                  <a:pt x="142" y="25"/>
                  <a:pt x="147" y="27"/>
                  <a:pt x="151" y="31"/>
                </a:cubicBezTo>
                <a:cubicBezTo>
                  <a:pt x="156" y="35"/>
                  <a:pt x="158" y="40"/>
                  <a:pt x="158" y="46"/>
                </a:cubicBezTo>
                <a:close/>
                <a:moveTo>
                  <a:pt x="146" y="112"/>
                </a:moveTo>
                <a:cubicBezTo>
                  <a:pt x="146" y="46"/>
                  <a:pt x="146" y="46"/>
                  <a:pt x="146" y="46"/>
                </a:cubicBezTo>
                <a:cubicBezTo>
                  <a:pt x="146" y="43"/>
                  <a:pt x="145" y="41"/>
                  <a:pt x="143" y="39"/>
                </a:cubicBezTo>
                <a:cubicBezTo>
                  <a:pt x="141" y="38"/>
                  <a:pt x="139" y="37"/>
                  <a:pt x="136" y="37"/>
                </a:cubicBezTo>
                <a:cubicBezTo>
                  <a:pt x="70" y="37"/>
                  <a:pt x="70" y="37"/>
                  <a:pt x="70" y="37"/>
                </a:cubicBezTo>
                <a:cubicBezTo>
                  <a:pt x="67" y="37"/>
                  <a:pt x="65" y="36"/>
                  <a:pt x="63" y="34"/>
                </a:cubicBezTo>
                <a:cubicBezTo>
                  <a:pt x="62" y="32"/>
                  <a:pt x="61" y="30"/>
                  <a:pt x="61" y="28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19"/>
                  <a:pt x="60" y="17"/>
                  <a:pt x="58" y="15"/>
                </a:cubicBezTo>
                <a:cubicBezTo>
                  <a:pt x="56" y="13"/>
                  <a:pt x="54" y="12"/>
                  <a:pt x="52" y="12"/>
                </a:cubicBezTo>
                <a:cubicBezTo>
                  <a:pt x="22" y="12"/>
                  <a:pt x="22" y="12"/>
                  <a:pt x="22" y="12"/>
                </a:cubicBezTo>
                <a:cubicBezTo>
                  <a:pt x="19" y="12"/>
                  <a:pt x="17" y="13"/>
                  <a:pt x="15" y="15"/>
                </a:cubicBezTo>
                <a:cubicBezTo>
                  <a:pt x="13" y="17"/>
                  <a:pt x="12" y="19"/>
                  <a:pt x="12" y="21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115"/>
                  <a:pt x="13" y="117"/>
                  <a:pt x="15" y="119"/>
                </a:cubicBezTo>
                <a:cubicBezTo>
                  <a:pt x="17" y="120"/>
                  <a:pt x="19" y="121"/>
                  <a:pt x="22" y="121"/>
                </a:cubicBezTo>
                <a:cubicBezTo>
                  <a:pt x="136" y="121"/>
                  <a:pt x="136" y="121"/>
                  <a:pt x="136" y="121"/>
                </a:cubicBezTo>
                <a:cubicBezTo>
                  <a:pt x="139" y="121"/>
                  <a:pt x="141" y="120"/>
                  <a:pt x="143" y="119"/>
                </a:cubicBezTo>
                <a:cubicBezTo>
                  <a:pt x="145" y="117"/>
                  <a:pt x="146" y="115"/>
                  <a:pt x="146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1" name="Freeform 252"/>
          <p:cNvSpPr>
            <a:spLocks noChangeAspect="1" noEditPoints="1"/>
          </p:cNvSpPr>
          <p:nvPr/>
        </p:nvSpPr>
        <p:spPr bwMode="auto">
          <a:xfrm>
            <a:off x="3144953" y="3415057"/>
            <a:ext cx="185796" cy="137395"/>
          </a:xfrm>
          <a:custGeom>
            <a:avLst/>
            <a:gdLst>
              <a:gd name="T0" fmla="*/ 180 w 180"/>
              <a:gd name="T1" fmla="*/ 76 h 133"/>
              <a:gd name="T2" fmla="*/ 176 w 180"/>
              <a:gd name="T3" fmla="*/ 88 h 133"/>
              <a:gd name="T4" fmla="*/ 148 w 180"/>
              <a:gd name="T5" fmla="*/ 122 h 133"/>
              <a:gd name="T6" fmla="*/ 137 w 180"/>
              <a:gd name="T7" fmla="*/ 130 h 133"/>
              <a:gd name="T8" fmla="*/ 124 w 180"/>
              <a:gd name="T9" fmla="*/ 133 h 133"/>
              <a:gd name="T10" fmla="*/ 21 w 180"/>
              <a:gd name="T11" fmla="*/ 133 h 133"/>
              <a:gd name="T12" fmla="*/ 6 w 180"/>
              <a:gd name="T13" fmla="*/ 127 h 133"/>
              <a:gd name="T14" fmla="*/ 0 w 180"/>
              <a:gd name="T15" fmla="*/ 112 h 133"/>
              <a:gd name="T16" fmla="*/ 0 w 180"/>
              <a:gd name="T17" fmla="*/ 21 h 133"/>
              <a:gd name="T18" fmla="*/ 6 w 180"/>
              <a:gd name="T19" fmla="*/ 7 h 133"/>
              <a:gd name="T20" fmla="*/ 21 w 180"/>
              <a:gd name="T21" fmla="*/ 0 h 133"/>
              <a:gd name="T22" fmla="*/ 51 w 180"/>
              <a:gd name="T23" fmla="*/ 0 h 133"/>
              <a:gd name="T24" fmla="*/ 66 w 180"/>
              <a:gd name="T25" fmla="*/ 7 h 133"/>
              <a:gd name="T26" fmla="*/ 72 w 180"/>
              <a:gd name="T27" fmla="*/ 21 h 133"/>
              <a:gd name="T28" fmla="*/ 72 w 180"/>
              <a:gd name="T29" fmla="*/ 25 h 133"/>
              <a:gd name="T30" fmla="*/ 124 w 180"/>
              <a:gd name="T31" fmla="*/ 25 h 133"/>
              <a:gd name="T32" fmla="*/ 139 w 180"/>
              <a:gd name="T33" fmla="*/ 31 h 133"/>
              <a:gd name="T34" fmla="*/ 145 w 180"/>
              <a:gd name="T35" fmla="*/ 46 h 133"/>
              <a:gd name="T36" fmla="*/ 145 w 180"/>
              <a:gd name="T37" fmla="*/ 61 h 133"/>
              <a:gd name="T38" fmla="*/ 163 w 180"/>
              <a:gd name="T39" fmla="*/ 61 h 133"/>
              <a:gd name="T40" fmla="*/ 172 w 180"/>
              <a:gd name="T41" fmla="*/ 63 h 133"/>
              <a:gd name="T42" fmla="*/ 179 w 180"/>
              <a:gd name="T43" fmla="*/ 70 h 133"/>
              <a:gd name="T44" fmla="*/ 180 w 180"/>
              <a:gd name="T45" fmla="*/ 76 h 133"/>
              <a:gd name="T46" fmla="*/ 60 w 180"/>
              <a:gd name="T47" fmla="*/ 61 h 133"/>
              <a:gd name="T48" fmla="*/ 133 w 180"/>
              <a:gd name="T49" fmla="*/ 61 h 133"/>
              <a:gd name="T50" fmla="*/ 133 w 180"/>
              <a:gd name="T51" fmla="*/ 46 h 133"/>
              <a:gd name="T52" fmla="*/ 130 w 180"/>
              <a:gd name="T53" fmla="*/ 39 h 133"/>
              <a:gd name="T54" fmla="*/ 124 w 180"/>
              <a:gd name="T55" fmla="*/ 37 h 133"/>
              <a:gd name="T56" fmla="*/ 69 w 180"/>
              <a:gd name="T57" fmla="*/ 37 h 133"/>
              <a:gd name="T58" fmla="*/ 63 w 180"/>
              <a:gd name="T59" fmla="*/ 34 h 133"/>
              <a:gd name="T60" fmla="*/ 60 w 180"/>
              <a:gd name="T61" fmla="*/ 28 h 133"/>
              <a:gd name="T62" fmla="*/ 60 w 180"/>
              <a:gd name="T63" fmla="*/ 21 h 133"/>
              <a:gd name="T64" fmla="*/ 57 w 180"/>
              <a:gd name="T65" fmla="*/ 15 h 133"/>
              <a:gd name="T66" fmla="*/ 51 w 180"/>
              <a:gd name="T67" fmla="*/ 12 h 133"/>
              <a:gd name="T68" fmla="*/ 21 w 180"/>
              <a:gd name="T69" fmla="*/ 12 h 133"/>
              <a:gd name="T70" fmla="*/ 14 w 180"/>
              <a:gd name="T71" fmla="*/ 15 h 133"/>
              <a:gd name="T72" fmla="*/ 12 w 180"/>
              <a:gd name="T73" fmla="*/ 21 h 133"/>
              <a:gd name="T74" fmla="*/ 12 w 180"/>
              <a:gd name="T75" fmla="*/ 102 h 133"/>
              <a:gd name="T76" fmla="*/ 36 w 180"/>
              <a:gd name="T77" fmla="*/ 72 h 133"/>
              <a:gd name="T78" fmla="*/ 47 w 180"/>
              <a:gd name="T79" fmla="*/ 64 h 133"/>
              <a:gd name="T80" fmla="*/ 60 w 180"/>
              <a:gd name="T81" fmla="*/ 61 h 133"/>
              <a:gd name="T82" fmla="*/ 168 w 180"/>
              <a:gd name="T83" fmla="*/ 76 h 133"/>
              <a:gd name="T84" fmla="*/ 163 w 180"/>
              <a:gd name="T85" fmla="*/ 73 h 133"/>
              <a:gd name="T86" fmla="*/ 60 w 180"/>
              <a:gd name="T87" fmla="*/ 73 h 133"/>
              <a:gd name="T88" fmla="*/ 52 w 180"/>
              <a:gd name="T89" fmla="*/ 75 h 133"/>
              <a:gd name="T90" fmla="*/ 45 w 180"/>
              <a:gd name="T91" fmla="*/ 80 h 133"/>
              <a:gd name="T92" fmla="*/ 17 w 180"/>
              <a:gd name="T93" fmla="*/ 114 h 133"/>
              <a:gd name="T94" fmla="*/ 16 w 180"/>
              <a:gd name="T95" fmla="*/ 118 h 133"/>
              <a:gd name="T96" fmla="*/ 21 w 180"/>
              <a:gd name="T97" fmla="*/ 121 h 133"/>
              <a:gd name="T98" fmla="*/ 124 w 180"/>
              <a:gd name="T99" fmla="*/ 121 h 133"/>
              <a:gd name="T100" fmla="*/ 132 w 180"/>
              <a:gd name="T101" fmla="*/ 119 h 133"/>
              <a:gd name="T102" fmla="*/ 139 w 180"/>
              <a:gd name="T103" fmla="*/ 114 h 133"/>
              <a:gd name="T104" fmla="*/ 166 w 180"/>
              <a:gd name="T105" fmla="*/ 80 h 133"/>
              <a:gd name="T106" fmla="*/ 168 w 180"/>
              <a:gd name="T107" fmla="*/ 7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0" h="133">
                <a:moveTo>
                  <a:pt x="180" y="76"/>
                </a:moveTo>
                <a:cubicBezTo>
                  <a:pt x="180" y="80"/>
                  <a:pt x="179" y="84"/>
                  <a:pt x="176" y="88"/>
                </a:cubicBezTo>
                <a:cubicBezTo>
                  <a:pt x="148" y="122"/>
                  <a:pt x="148" y="122"/>
                  <a:pt x="148" y="122"/>
                </a:cubicBezTo>
                <a:cubicBezTo>
                  <a:pt x="145" y="125"/>
                  <a:pt x="142" y="128"/>
                  <a:pt x="137" y="130"/>
                </a:cubicBezTo>
                <a:cubicBezTo>
                  <a:pt x="132" y="132"/>
                  <a:pt x="128" y="133"/>
                  <a:pt x="124" y="133"/>
                </a:cubicBezTo>
                <a:cubicBezTo>
                  <a:pt x="21" y="133"/>
                  <a:pt x="21" y="133"/>
                  <a:pt x="21" y="133"/>
                </a:cubicBezTo>
                <a:cubicBezTo>
                  <a:pt x="15" y="133"/>
                  <a:pt x="10" y="131"/>
                  <a:pt x="6" y="127"/>
                </a:cubicBezTo>
                <a:cubicBezTo>
                  <a:pt x="2" y="123"/>
                  <a:pt x="0" y="118"/>
                  <a:pt x="0" y="11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6"/>
                  <a:pt x="2" y="11"/>
                  <a:pt x="6" y="7"/>
                </a:cubicBezTo>
                <a:cubicBezTo>
                  <a:pt x="10" y="2"/>
                  <a:pt x="15" y="0"/>
                  <a:pt x="2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7" y="0"/>
                  <a:pt x="62" y="2"/>
                  <a:pt x="66" y="7"/>
                </a:cubicBezTo>
                <a:cubicBezTo>
                  <a:pt x="70" y="11"/>
                  <a:pt x="72" y="16"/>
                  <a:pt x="72" y="21"/>
                </a:cubicBezTo>
                <a:cubicBezTo>
                  <a:pt x="72" y="25"/>
                  <a:pt x="72" y="25"/>
                  <a:pt x="72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29" y="25"/>
                  <a:pt x="134" y="27"/>
                  <a:pt x="139" y="31"/>
                </a:cubicBezTo>
                <a:cubicBezTo>
                  <a:pt x="143" y="35"/>
                  <a:pt x="145" y="40"/>
                  <a:pt x="145" y="46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63" y="61"/>
                  <a:pt x="163" y="61"/>
                  <a:pt x="163" y="61"/>
                </a:cubicBezTo>
                <a:cubicBezTo>
                  <a:pt x="166" y="61"/>
                  <a:pt x="170" y="62"/>
                  <a:pt x="172" y="63"/>
                </a:cubicBezTo>
                <a:cubicBezTo>
                  <a:pt x="175" y="65"/>
                  <a:pt x="177" y="67"/>
                  <a:pt x="179" y="70"/>
                </a:cubicBezTo>
                <a:cubicBezTo>
                  <a:pt x="180" y="72"/>
                  <a:pt x="180" y="74"/>
                  <a:pt x="180" y="76"/>
                </a:cubicBezTo>
                <a:close/>
                <a:moveTo>
                  <a:pt x="60" y="61"/>
                </a:moveTo>
                <a:cubicBezTo>
                  <a:pt x="133" y="61"/>
                  <a:pt x="133" y="61"/>
                  <a:pt x="133" y="61"/>
                </a:cubicBezTo>
                <a:cubicBezTo>
                  <a:pt x="133" y="46"/>
                  <a:pt x="133" y="46"/>
                  <a:pt x="133" y="46"/>
                </a:cubicBezTo>
                <a:cubicBezTo>
                  <a:pt x="133" y="43"/>
                  <a:pt x="132" y="41"/>
                  <a:pt x="130" y="39"/>
                </a:cubicBezTo>
                <a:cubicBezTo>
                  <a:pt x="128" y="38"/>
                  <a:pt x="126" y="37"/>
                  <a:pt x="124" y="37"/>
                </a:cubicBezTo>
                <a:cubicBezTo>
                  <a:pt x="69" y="37"/>
                  <a:pt x="69" y="37"/>
                  <a:pt x="69" y="37"/>
                </a:cubicBezTo>
                <a:cubicBezTo>
                  <a:pt x="67" y="37"/>
                  <a:pt x="65" y="36"/>
                  <a:pt x="63" y="34"/>
                </a:cubicBezTo>
                <a:cubicBezTo>
                  <a:pt x="61" y="32"/>
                  <a:pt x="60" y="30"/>
                  <a:pt x="60" y="28"/>
                </a:cubicBezTo>
                <a:cubicBezTo>
                  <a:pt x="60" y="21"/>
                  <a:pt x="60" y="21"/>
                  <a:pt x="60" y="21"/>
                </a:cubicBezTo>
                <a:cubicBezTo>
                  <a:pt x="60" y="19"/>
                  <a:pt x="59" y="17"/>
                  <a:pt x="57" y="15"/>
                </a:cubicBezTo>
                <a:cubicBezTo>
                  <a:pt x="56" y="13"/>
                  <a:pt x="54" y="12"/>
                  <a:pt x="51" y="12"/>
                </a:cubicBezTo>
                <a:cubicBezTo>
                  <a:pt x="21" y="12"/>
                  <a:pt x="21" y="12"/>
                  <a:pt x="21" y="12"/>
                </a:cubicBezTo>
                <a:cubicBezTo>
                  <a:pt x="18" y="12"/>
                  <a:pt x="16" y="13"/>
                  <a:pt x="14" y="15"/>
                </a:cubicBezTo>
                <a:cubicBezTo>
                  <a:pt x="13" y="17"/>
                  <a:pt x="12" y="19"/>
                  <a:pt x="12" y="21"/>
                </a:cubicBezTo>
                <a:cubicBezTo>
                  <a:pt x="12" y="102"/>
                  <a:pt x="12" y="102"/>
                  <a:pt x="12" y="102"/>
                </a:cubicBezTo>
                <a:cubicBezTo>
                  <a:pt x="36" y="72"/>
                  <a:pt x="36" y="72"/>
                  <a:pt x="36" y="72"/>
                </a:cubicBezTo>
                <a:cubicBezTo>
                  <a:pt x="39" y="69"/>
                  <a:pt x="42" y="66"/>
                  <a:pt x="47" y="64"/>
                </a:cubicBezTo>
                <a:cubicBezTo>
                  <a:pt x="51" y="62"/>
                  <a:pt x="56" y="61"/>
                  <a:pt x="60" y="61"/>
                </a:cubicBezTo>
                <a:close/>
                <a:moveTo>
                  <a:pt x="168" y="76"/>
                </a:moveTo>
                <a:cubicBezTo>
                  <a:pt x="168" y="74"/>
                  <a:pt x="166" y="73"/>
                  <a:pt x="163" y="73"/>
                </a:cubicBezTo>
                <a:cubicBezTo>
                  <a:pt x="60" y="73"/>
                  <a:pt x="60" y="73"/>
                  <a:pt x="60" y="73"/>
                </a:cubicBezTo>
                <a:cubicBezTo>
                  <a:pt x="58" y="73"/>
                  <a:pt x="55" y="74"/>
                  <a:pt x="52" y="75"/>
                </a:cubicBezTo>
                <a:cubicBezTo>
                  <a:pt x="49" y="76"/>
                  <a:pt x="47" y="78"/>
                  <a:pt x="45" y="80"/>
                </a:cubicBezTo>
                <a:cubicBezTo>
                  <a:pt x="17" y="114"/>
                  <a:pt x="17" y="114"/>
                  <a:pt x="17" y="114"/>
                </a:cubicBezTo>
                <a:cubicBezTo>
                  <a:pt x="16" y="116"/>
                  <a:pt x="16" y="117"/>
                  <a:pt x="16" y="118"/>
                </a:cubicBezTo>
                <a:cubicBezTo>
                  <a:pt x="16" y="120"/>
                  <a:pt x="17" y="121"/>
                  <a:pt x="21" y="121"/>
                </a:cubicBezTo>
                <a:cubicBezTo>
                  <a:pt x="124" y="121"/>
                  <a:pt x="124" y="121"/>
                  <a:pt x="124" y="121"/>
                </a:cubicBezTo>
                <a:cubicBezTo>
                  <a:pt x="126" y="121"/>
                  <a:pt x="129" y="121"/>
                  <a:pt x="132" y="119"/>
                </a:cubicBezTo>
                <a:cubicBezTo>
                  <a:pt x="135" y="118"/>
                  <a:pt x="137" y="116"/>
                  <a:pt x="139" y="114"/>
                </a:cubicBezTo>
                <a:cubicBezTo>
                  <a:pt x="166" y="80"/>
                  <a:pt x="166" y="80"/>
                  <a:pt x="166" y="80"/>
                </a:cubicBezTo>
                <a:cubicBezTo>
                  <a:pt x="167" y="79"/>
                  <a:pt x="168" y="77"/>
                  <a:pt x="168" y="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2" name="Freeform 253"/>
          <p:cNvSpPr>
            <a:spLocks noChangeAspect="1" noEditPoints="1"/>
          </p:cNvSpPr>
          <p:nvPr/>
        </p:nvSpPr>
        <p:spPr bwMode="auto">
          <a:xfrm>
            <a:off x="3379149" y="3415057"/>
            <a:ext cx="149885" cy="151447"/>
          </a:xfrm>
          <a:custGeom>
            <a:avLst/>
            <a:gdLst>
              <a:gd name="T0" fmla="*/ 145 w 145"/>
              <a:gd name="T1" fmla="*/ 73 h 146"/>
              <a:gd name="T2" fmla="*/ 109 w 145"/>
              <a:gd name="T3" fmla="*/ 136 h 146"/>
              <a:gd name="T4" fmla="*/ 36 w 145"/>
              <a:gd name="T5" fmla="*/ 136 h 146"/>
              <a:gd name="T6" fmla="*/ 0 w 145"/>
              <a:gd name="T7" fmla="*/ 73 h 146"/>
              <a:gd name="T8" fmla="*/ 36 w 145"/>
              <a:gd name="T9" fmla="*/ 10 h 146"/>
              <a:gd name="T10" fmla="*/ 109 w 145"/>
              <a:gd name="T11" fmla="*/ 10 h 146"/>
              <a:gd name="T12" fmla="*/ 128 w 145"/>
              <a:gd name="T13" fmla="*/ 96 h 146"/>
              <a:gd name="T14" fmla="*/ 128 w 145"/>
              <a:gd name="T15" fmla="*/ 49 h 146"/>
              <a:gd name="T16" fmla="*/ 96 w 145"/>
              <a:gd name="T17" fmla="*/ 17 h 146"/>
              <a:gd name="T18" fmla="*/ 49 w 145"/>
              <a:gd name="T19" fmla="*/ 17 h 146"/>
              <a:gd name="T20" fmla="*/ 17 w 145"/>
              <a:gd name="T21" fmla="*/ 49 h 146"/>
              <a:gd name="T22" fmla="*/ 17 w 145"/>
              <a:gd name="T23" fmla="*/ 96 h 146"/>
              <a:gd name="T24" fmla="*/ 49 w 145"/>
              <a:gd name="T25" fmla="*/ 129 h 146"/>
              <a:gd name="T26" fmla="*/ 96 w 145"/>
              <a:gd name="T27" fmla="*/ 129 h 146"/>
              <a:gd name="T28" fmla="*/ 128 w 145"/>
              <a:gd name="T29" fmla="*/ 96 h 146"/>
              <a:gd name="T30" fmla="*/ 61 w 145"/>
              <a:gd name="T31" fmla="*/ 49 h 146"/>
              <a:gd name="T32" fmla="*/ 49 w 145"/>
              <a:gd name="T33" fmla="*/ 61 h 146"/>
              <a:gd name="T34" fmla="*/ 36 w 145"/>
              <a:gd name="T35" fmla="*/ 49 h 146"/>
              <a:gd name="T36" fmla="*/ 49 w 145"/>
              <a:gd name="T37" fmla="*/ 37 h 146"/>
              <a:gd name="T38" fmla="*/ 107 w 145"/>
              <a:gd name="T39" fmla="*/ 90 h 146"/>
              <a:gd name="T40" fmla="*/ 73 w 145"/>
              <a:gd name="T41" fmla="*/ 115 h 146"/>
              <a:gd name="T42" fmla="*/ 38 w 145"/>
              <a:gd name="T43" fmla="*/ 90 h 146"/>
              <a:gd name="T44" fmla="*/ 42 w 145"/>
              <a:gd name="T45" fmla="*/ 82 h 146"/>
              <a:gd name="T46" fmla="*/ 50 w 145"/>
              <a:gd name="T47" fmla="*/ 86 h 146"/>
              <a:gd name="T48" fmla="*/ 73 w 145"/>
              <a:gd name="T49" fmla="*/ 103 h 146"/>
              <a:gd name="T50" fmla="*/ 96 w 145"/>
              <a:gd name="T51" fmla="*/ 86 h 146"/>
              <a:gd name="T52" fmla="*/ 103 w 145"/>
              <a:gd name="T53" fmla="*/ 82 h 146"/>
              <a:gd name="T54" fmla="*/ 107 w 145"/>
              <a:gd name="T55" fmla="*/ 90 h 146"/>
              <a:gd name="T56" fmla="*/ 109 w 145"/>
              <a:gd name="T57" fmla="*/ 49 h 146"/>
              <a:gd name="T58" fmla="*/ 97 w 145"/>
              <a:gd name="T59" fmla="*/ 61 h 146"/>
              <a:gd name="T60" fmla="*/ 85 w 145"/>
              <a:gd name="T61" fmla="*/ 49 h 146"/>
              <a:gd name="T62" fmla="*/ 97 w 145"/>
              <a:gd name="T63" fmla="*/ 3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5" h="146">
                <a:moveTo>
                  <a:pt x="136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6"/>
                </a:cubicBezTo>
                <a:close/>
                <a:moveTo>
                  <a:pt x="128" y="96"/>
                </a:moveTo>
                <a:cubicBezTo>
                  <a:pt x="132" y="89"/>
                  <a:pt x="133" y="81"/>
                  <a:pt x="133" y="73"/>
                </a:cubicBezTo>
                <a:cubicBezTo>
                  <a:pt x="133" y="65"/>
                  <a:pt x="132" y="57"/>
                  <a:pt x="128" y="49"/>
                </a:cubicBezTo>
                <a:cubicBezTo>
                  <a:pt x="125" y="42"/>
                  <a:pt x="121" y="36"/>
                  <a:pt x="116" y="30"/>
                </a:cubicBezTo>
                <a:cubicBezTo>
                  <a:pt x="110" y="25"/>
                  <a:pt x="104" y="20"/>
                  <a:pt x="96" y="17"/>
                </a:cubicBezTo>
                <a:cubicBezTo>
                  <a:pt x="89" y="14"/>
                  <a:pt x="81" y="12"/>
                  <a:pt x="73" y="12"/>
                </a:cubicBezTo>
                <a:cubicBezTo>
                  <a:pt x="65" y="12"/>
                  <a:pt x="57" y="14"/>
                  <a:pt x="49" y="17"/>
                </a:cubicBezTo>
                <a:cubicBezTo>
                  <a:pt x="42" y="20"/>
                  <a:pt x="35" y="25"/>
                  <a:pt x="30" y="30"/>
                </a:cubicBezTo>
                <a:cubicBezTo>
                  <a:pt x="25" y="36"/>
                  <a:pt x="20" y="42"/>
                  <a:pt x="17" y="49"/>
                </a:cubicBezTo>
                <a:cubicBezTo>
                  <a:pt x="14" y="57"/>
                  <a:pt x="12" y="65"/>
                  <a:pt x="12" y="73"/>
                </a:cubicBezTo>
                <a:cubicBezTo>
                  <a:pt x="12" y="81"/>
                  <a:pt x="14" y="89"/>
                  <a:pt x="17" y="96"/>
                </a:cubicBezTo>
                <a:cubicBezTo>
                  <a:pt x="20" y="104"/>
                  <a:pt x="25" y="110"/>
                  <a:pt x="30" y="116"/>
                </a:cubicBezTo>
                <a:cubicBezTo>
                  <a:pt x="35" y="121"/>
                  <a:pt x="42" y="125"/>
                  <a:pt x="49" y="129"/>
                </a:cubicBezTo>
                <a:cubicBezTo>
                  <a:pt x="57" y="132"/>
                  <a:pt x="65" y="133"/>
                  <a:pt x="73" y="133"/>
                </a:cubicBezTo>
                <a:cubicBezTo>
                  <a:pt x="81" y="133"/>
                  <a:pt x="89" y="132"/>
                  <a:pt x="96" y="129"/>
                </a:cubicBezTo>
                <a:cubicBezTo>
                  <a:pt x="104" y="125"/>
                  <a:pt x="110" y="121"/>
                  <a:pt x="116" y="116"/>
                </a:cubicBezTo>
                <a:cubicBezTo>
                  <a:pt x="121" y="110"/>
                  <a:pt x="125" y="104"/>
                  <a:pt x="128" y="96"/>
                </a:cubicBezTo>
                <a:close/>
                <a:moveTo>
                  <a:pt x="57" y="40"/>
                </a:moveTo>
                <a:cubicBezTo>
                  <a:pt x="59" y="43"/>
                  <a:pt x="61" y="45"/>
                  <a:pt x="61" y="49"/>
                </a:cubicBezTo>
                <a:cubicBezTo>
                  <a:pt x="61" y="52"/>
                  <a:pt x="59" y="55"/>
                  <a:pt x="57" y="57"/>
                </a:cubicBezTo>
                <a:cubicBezTo>
                  <a:pt x="55" y="60"/>
                  <a:pt x="52" y="61"/>
                  <a:pt x="49" y="61"/>
                </a:cubicBezTo>
                <a:cubicBezTo>
                  <a:pt x="45" y="61"/>
                  <a:pt x="42" y="60"/>
                  <a:pt x="40" y="57"/>
                </a:cubicBezTo>
                <a:cubicBezTo>
                  <a:pt x="38" y="55"/>
                  <a:pt x="36" y="52"/>
                  <a:pt x="36" y="49"/>
                </a:cubicBezTo>
                <a:cubicBezTo>
                  <a:pt x="36" y="45"/>
                  <a:pt x="38" y="43"/>
                  <a:pt x="40" y="40"/>
                </a:cubicBezTo>
                <a:cubicBezTo>
                  <a:pt x="42" y="38"/>
                  <a:pt x="45" y="37"/>
                  <a:pt x="49" y="37"/>
                </a:cubicBezTo>
                <a:cubicBezTo>
                  <a:pt x="52" y="37"/>
                  <a:pt x="55" y="38"/>
                  <a:pt x="57" y="40"/>
                </a:cubicBezTo>
                <a:close/>
                <a:moveTo>
                  <a:pt x="107" y="90"/>
                </a:moveTo>
                <a:cubicBezTo>
                  <a:pt x="105" y="97"/>
                  <a:pt x="101" y="104"/>
                  <a:pt x="94" y="108"/>
                </a:cubicBezTo>
                <a:cubicBezTo>
                  <a:pt x="88" y="113"/>
                  <a:pt x="81" y="115"/>
                  <a:pt x="73" y="115"/>
                </a:cubicBezTo>
                <a:cubicBezTo>
                  <a:pt x="65" y="115"/>
                  <a:pt x="58" y="113"/>
                  <a:pt x="51" y="108"/>
                </a:cubicBezTo>
                <a:cubicBezTo>
                  <a:pt x="45" y="104"/>
                  <a:pt x="40" y="97"/>
                  <a:pt x="38" y="90"/>
                </a:cubicBezTo>
                <a:cubicBezTo>
                  <a:pt x="38" y="88"/>
                  <a:pt x="38" y="87"/>
                  <a:pt x="39" y="85"/>
                </a:cubicBezTo>
                <a:cubicBezTo>
                  <a:pt x="39" y="84"/>
                  <a:pt x="40" y="83"/>
                  <a:pt x="42" y="82"/>
                </a:cubicBezTo>
                <a:cubicBezTo>
                  <a:pt x="44" y="82"/>
                  <a:pt x="45" y="82"/>
                  <a:pt x="47" y="83"/>
                </a:cubicBezTo>
                <a:cubicBezTo>
                  <a:pt x="48" y="83"/>
                  <a:pt x="49" y="85"/>
                  <a:pt x="50" y="86"/>
                </a:cubicBezTo>
                <a:cubicBezTo>
                  <a:pt x="51" y="91"/>
                  <a:pt x="54" y="95"/>
                  <a:pt x="58" y="99"/>
                </a:cubicBezTo>
                <a:cubicBezTo>
                  <a:pt x="63" y="102"/>
                  <a:pt x="67" y="103"/>
                  <a:pt x="73" y="103"/>
                </a:cubicBezTo>
                <a:cubicBezTo>
                  <a:pt x="78" y="103"/>
                  <a:pt x="83" y="102"/>
                  <a:pt x="87" y="99"/>
                </a:cubicBezTo>
                <a:cubicBezTo>
                  <a:pt x="91" y="95"/>
                  <a:pt x="94" y="91"/>
                  <a:pt x="96" y="86"/>
                </a:cubicBezTo>
                <a:cubicBezTo>
                  <a:pt x="96" y="85"/>
                  <a:pt x="97" y="83"/>
                  <a:pt x="99" y="83"/>
                </a:cubicBezTo>
                <a:cubicBezTo>
                  <a:pt x="100" y="82"/>
                  <a:pt x="102" y="82"/>
                  <a:pt x="103" y="82"/>
                </a:cubicBezTo>
                <a:cubicBezTo>
                  <a:pt x="105" y="83"/>
                  <a:pt x="106" y="84"/>
                  <a:pt x="107" y="85"/>
                </a:cubicBezTo>
                <a:cubicBezTo>
                  <a:pt x="108" y="87"/>
                  <a:pt x="108" y="88"/>
                  <a:pt x="107" y="90"/>
                </a:cubicBezTo>
                <a:close/>
                <a:moveTo>
                  <a:pt x="105" y="40"/>
                </a:moveTo>
                <a:cubicBezTo>
                  <a:pt x="108" y="43"/>
                  <a:pt x="109" y="45"/>
                  <a:pt x="109" y="49"/>
                </a:cubicBezTo>
                <a:cubicBezTo>
                  <a:pt x="109" y="52"/>
                  <a:pt x="108" y="55"/>
                  <a:pt x="105" y="57"/>
                </a:cubicBezTo>
                <a:cubicBezTo>
                  <a:pt x="103" y="60"/>
                  <a:pt x="100" y="61"/>
                  <a:pt x="97" y="61"/>
                </a:cubicBezTo>
                <a:cubicBezTo>
                  <a:pt x="94" y="61"/>
                  <a:pt x="91" y="60"/>
                  <a:pt x="88" y="57"/>
                </a:cubicBezTo>
                <a:cubicBezTo>
                  <a:pt x="86" y="55"/>
                  <a:pt x="85" y="52"/>
                  <a:pt x="85" y="49"/>
                </a:cubicBezTo>
                <a:cubicBezTo>
                  <a:pt x="85" y="45"/>
                  <a:pt x="86" y="43"/>
                  <a:pt x="88" y="40"/>
                </a:cubicBezTo>
                <a:cubicBezTo>
                  <a:pt x="91" y="38"/>
                  <a:pt x="94" y="37"/>
                  <a:pt x="97" y="37"/>
                </a:cubicBezTo>
                <a:cubicBezTo>
                  <a:pt x="100" y="37"/>
                  <a:pt x="103" y="38"/>
                  <a:pt x="105" y="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3" name="Freeform 254"/>
          <p:cNvSpPr>
            <a:spLocks noChangeAspect="1" noEditPoints="1"/>
          </p:cNvSpPr>
          <p:nvPr/>
        </p:nvSpPr>
        <p:spPr bwMode="auto">
          <a:xfrm>
            <a:off x="3575874" y="3415057"/>
            <a:ext cx="151447" cy="151447"/>
          </a:xfrm>
          <a:custGeom>
            <a:avLst/>
            <a:gdLst>
              <a:gd name="T0" fmla="*/ 146 w 146"/>
              <a:gd name="T1" fmla="*/ 73 h 146"/>
              <a:gd name="T2" fmla="*/ 109 w 146"/>
              <a:gd name="T3" fmla="*/ 136 h 146"/>
              <a:gd name="T4" fmla="*/ 36 w 146"/>
              <a:gd name="T5" fmla="*/ 136 h 146"/>
              <a:gd name="T6" fmla="*/ 0 w 146"/>
              <a:gd name="T7" fmla="*/ 73 h 146"/>
              <a:gd name="T8" fmla="*/ 36 w 146"/>
              <a:gd name="T9" fmla="*/ 10 h 146"/>
              <a:gd name="T10" fmla="*/ 109 w 146"/>
              <a:gd name="T11" fmla="*/ 10 h 146"/>
              <a:gd name="T12" fmla="*/ 129 w 146"/>
              <a:gd name="T13" fmla="*/ 96 h 146"/>
              <a:gd name="T14" fmla="*/ 129 w 146"/>
              <a:gd name="T15" fmla="*/ 49 h 146"/>
              <a:gd name="T16" fmla="*/ 96 w 146"/>
              <a:gd name="T17" fmla="*/ 17 h 146"/>
              <a:gd name="T18" fmla="*/ 49 w 146"/>
              <a:gd name="T19" fmla="*/ 17 h 146"/>
              <a:gd name="T20" fmla="*/ 17 w 146"/>
              <a:gd name="T21" fmla="*/ 49 h 146"/>
              <a:gd name="T22" fmla="*/ 17 w 146"/>
              <a:gd name="T23" fmla="*/ 96 h 146"/>
              <a:gd name="T24" fmla="*/ 49 w 146"/>
              <a:gd name="T25" fmla="*/ 129 h 146"/>
              <a:gd name="T26" fmla="*/ 96 w 146"/>
              <a:gd name="T27" fmla="*/ 129 h 146"/>
              <a:gd name="T28" fmla="*/ 129 w 146"/>
              <a:gd name="T29" fmla="*/ 96 h 146"/>
              <a:gd name="T30" fmla="*/ 61 w 146"/>
              <a:gd name="T31" fmla="*/ 49 h 146"/>
              <a:gd name="T32" fmla="*/ 49 w 146"/>
              <a:gd name="T33" fmla="*/ 61 h 146"/>
              <a:gd name="T34" fmla="*/ 37 w 146"/>
              <a:gd name="T35" fmla="*/ 49 h 146"/>
              <a:gd name="T36" fmla="*/ 49 w 146"/>
              <a:gd name="T37" fmla="*/ 37 h 146"/>
              <a:gd name="T38" fmla="*/ 108 w 146"/>
              <a:gd name="T39" fmla="*/ 104 h 146"/>
              <a:gd name="T40" fmla="*/ 104 w 146"/>
              <a:gd name="T41" fmla="*/ 112 h 146"/>
              <a:gd name="T42" fmla="*/ 96 w 146"/>
              <a:gd name="T43" fmla="*/ 108 h 146"/>
              <a:gd name="T44" fmla="*/ 73 w 146"/>
              <a:gd name="T45" fmla="*/ 91 h 146"/>
              <a:gd name="T46" fmla="*/ 50 w 146"/>
              <a:gd name="T47" fmla="*/ 108 h 146"/>
              <a:gd name="T48" fmla="*/ 42 w 146"/>
              <a:gd name="T49" fmla="*/ 112 h 146"/>
              <a:gd name="T50" fmla="*/ 38 w 146"/>
              <a:gd name="T51" fmla="*/ 104 h 146"/>
              <a:gd name="T52" fmla="*/ 73 w 146"/>
              <a:gd name="T53" fmla="*/ 79 h 146"/>
              <a:gd name="T54" fmla="*/ 108 w 146"/>
              <a:gd name="T55" fmla="*/ 104 h 146"/>
              <a:gd name="T56" fmla="*/ 109 w 146"/>
              <a:gd name="T57" fmla="*/ 49 h 146"/>
              <a:gd name="T58" fmla="*/ 97 w 146"/>
              <a:gd name="T59" fmla="*/ 61 h 146"/>
              <a:gd name="T60" fmla="*/ 85 w 146"/>
              <a:gd name="T61" fmla="*/ 49 h 146"/>
              <a:gd name="T62" fmla="*/ 97 w 146"/>
              <a:gd name="T63" fmla="*/ 3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1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6" y="136"/>
                </a:cubicBezTo>
                <a:cubicBezTo>
                  <a:pt x="25" y="129"/>
                  <a:pt x="17" y="121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6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129" y="96"/>
                </a:moveTo>
                <a:cubicBezTo>
                  <a:pt x="132" y="89"/>
                  <a:pt x="133" y="81"/>
                  <a:pt x="133" y="73"/>
                </a:cubicBezTo>
                <a:cubicBezTo>
                  <a:pt x="133" y="65"/>
                  <a:pt x="132" y="57"/>
                  <a:pt x="129" y="49"/>
                </a:cubicBezTo>
                <a:cubicBezTo>
                  <a:pt x="125" y="42"/>
                  <a:pt x="121" y="36"/>
                  <a:pt x="116" y="30"/>
                </a:cubicBezTo>
                <a:cubicBezTo>
                  <a:pt x="110" y="25"/>
                  <a:pt x="104" y="20"/>
                  <a:pt x="96" y="17"/>
                </a:cubicBezTo>
                <a:cubicBezTo>
                  <a:pt x="89" y="14"/>
                  <a:pt x="81" y="12"/>
                  <a:pt x="73" y="12"/>
                </a:cubicBezTo>
                <a:cubicBezTo>
                  <a:pt x="65" y="12"/>
                  <a:pt x="57" y="14"/>
                  <a:pt x="49" y="17"/>
                </a:cubicBezTo>
                <a:cubicBezTo>
                  <a:pt x="42" y="20"/>
                  <a:pt x="36" y="25"/>
                  <a:pt x="30" y="30"/>
                </a:cubicBezTo>
                <a:cubicBezTo>
                  <a:pt x="25" y="36"/>
                  <a:pt x="20" y="42"/>
                  <a:pt x="17" y="49"/>
                </a:cubicBezTo>
                <a:cubicBezTo>
                  <a:pt x="14" y="57"/>
                  <a:pt x="12" y="65"/>
                  <a:pt x="12" y="73"/>
                </a:cubicBezTo>
                <a:cubicBezTo>
                  <a:pt x="12" y="81"/>
                  <a:pt x="14" y="89"/>
                  <a:pt x="17" y="96"/>
                </a:cubicBezTo>
                <a:cubicBezTo>
                  <a:pt x="20" y="104"/>
                  <a:pt x="25" y="110"/>
                  <a:pt x="30" y="116"/>
                </a:cubicBezTo>
                <a:cubicBezTo>
                  <a:pt x="36" y="121"/>
                  <a:pt x="42" y="125"/>
                  <a:pt x="49" y="129"/>
                </a:cubicBezTo>
                <a:cubicBezTo>
                  <a:pt x="57" y="132"/>
                  <a:pt x="65" y="133"/>
                  <a:pt x="73" y="133"/>
                </a:cubicBezTo>
                <a:cubicBezTo>
                  <a:pt x="81" y="133"/>
                  <a:pt x="89" y="132"/>
                  <a:pt x="96" y="129"/>
                </a:cubicBezTo>
                <a:cubicBezTo>
                  <a:pt x="104" y="125"/>
                  <a:pt x="110" y="121"/>
                  <a:pt x="116" y="116"/>
                </a:cubicBezTo>
                <a:cubicBezTo>
                  <a:pt x="121" y="110"/>
                  <a:pt x="125" y="104"/>
                  <a:pt x="129" y="96"/>
                </a:cubicBezTo>
                <a:close/>
                <a:moveTo>
                  <a:pt x="57" y="40"/>
                </a:moveTo>
                <a:cubicBezTo>
                  <a:pt x="60" y="43"/>
                  <a:pt x="61" y="45"/>
                  <a:pt x="61" y="49"/>
                </a:cubicBezTo>
                <a:cubicBezTo>
                  <a:pt x="61" y="52"/>
                  <a:pt x="60" y="55"/>
                  <a:pt x="57" y="57"/>
                </a:cubicBezTo>
                <a:cubicBezTo>
                  <a:pt x="55" y="60"/>
                  <a:pt x="52" y="61"/>
                  <a:pt x="49" y="61"/>
                </a:cubicBezTo>
                <a:cubicBezTo>
                  <a:pt x="45" y="61"/>
                  <a:pt x="43" y="60"/>
                  <a:pt x="40" y="57"/>
                </a:cubicBezTo>
                <a:cubicBezTo>
                  <a:pt x="38" y="55"/>
                  <a:pt x="37" y="52"/>
                  <a:pt x="37" y="49"/>
                </a:cubicBezTo>
                <a:cubicBezTo>
                  <a:pt x="37" y="45"/>
                  <a:pt x="38" y="43"/>
                  <a:pt x="40" y="40"/>
                </a:cubicBezTo>
                <a:cubicBezTo>
                  <a:pt x="43" y="38"/>
                  <a:pt x="45" y="37"/>
                  <a:pt x="49" y="37"/>
                </a:cubicBezTo>
                <a:cubicBezTo>
                  <a:pt x="52" y="37"/>
                  <a:pt x="55" y="38"/>
                  <a:pt x="57" y="40"/>
                </a:cubicBezTo>
                <a:close/>
                <a:moveTo>
                  <a:pt x="108" y="104"/>
                </a:moveTo>
                <a:cubicBezTo>
                  <a:pt x="108" y="106"/>
                  <a:pt x="108" y="108"/>
                  <a:pt x="107" y="109"/>
                </a:cubicBezTo>
                <a:cubicBezTo>
                  <a:pt x="106" y="110"/>
                  <a:pt x="105" y="111"/>
                  <a:pt x="104" y="112"/>
                </a:cubicBezTo>
                <a:cubicBezTo>
                  <a:pt x="102" y="112"/>
                  <a:pt x="101" y="112"/>
                  <a:pt x="99" y="112"/>
                </a:cubicBezTo>
                <a:cubicBezTo>
                  <a:pt x="98" y="111"/>
                  <a:pt x="97" y="110"/>
                  <a:pt x="96" y="108"/>
                </a:cubicBezTo>
                <a:cubicBezTo>
                  <a:pt x="94" y="103"/>
                  <a:pt x="92" y="99"/>
                  <a:pt x="87" y="96"/>
                </a:cubicBezTo>
                <a:cubicBezTo>
                  <a:pt x="83" y="93"/>
                  <a:pt x="78" y="91"/>
                  <a:pt x="73" y="91"/>
                </a:cubicBezTo>
                <a:cubicBezTo>
                  <a:pt x="68" y="91"/>
                  <a:pt x="63" y="93"/>
                  <a:pt x="59" y="96"/>
                </a:cubicBezTo>
                <a:cubicBezTo>
                  <a:pt x="54" y="99"/>
                  <a:pt x="51" y="103"/>
                  <a:pt x="50" y="108"/>
                </a:cubicBezTo>
                <a:cubicBezTo>
                  <a:pt x="49" y="110"/>
                  <a:pt x="48" y="111"/>
                  <a:pt x="47" y="112"/>
                </a:cubicBezTo>
                <a:cubicBezTo>
                  <a:pt x="45" y="112"/>
                  <a:pt x="44" y="112"/>
                  <a:pt x="42" y="112"/>
                </a:cubicBezTo>
                <a:cubicBezTo>
                  <a:pt x="41" y="111"/>
                  <a:pt x="39" y="110"/>
                  <a:pt x="39" y="109"/>
                </a:cubicBezTo>
                <a:cubicBezTo>
                  <a:pt x="38" y="108"/>
                  <a:pt x="38" y="106"/>
                  <a:pt x="38" y="104"/>
                </a:cubicBezTo>
                <a:cubicBezTo>
                  <a:pt x="41" y="97"/>
                  <a:pt x="45" y="91"/>
                  <a:pt x="51" y="86"/>
                </a:cubicBezTo>
                <a:cubicBezTo>
                  <a:pt x="58" y="81"/>
                  <a:pt x="65" y="79"/>
                  <a:pt x="73" y="79"/>
                </a:cubicBezTo>
                <a:cubicBezTo>
                  <a:pt x="81" y="79"/>
                  <a:pt x="88" y="81"/>
                  <a:pt x="94" y="86"/>
                </a:cubicBezTo>
                <a:cubicBezTo>
                  <a:pt x="101" y="91"/>
                  <a:pt x="105" y="97"/>
                  <a:pt x="108" y="104"/>
                </a:cubicBezTo>
                <a:close/>
                <a:moveTo>
                  <a:pt x="106" y="40"/>
                </a:moveTo>
                <a:cubicBezTo>
                  <a:pt x="108" y="43"/>
                  <a:pt x="109" y="45"/>
                  <a:pt x="109" y="49"/>
                </a:cubicBezTo>
                <a:cubicBezTo>
                  <a:pt x="109" y="52"/>
                  <a:pt x="108" y="55"/>
                  <a:pt x="106" y="57"/>
                </a:cubicBezTo>
                <a:cubicBezTo>
                  <a:pt x="103" y="60"/>
                  <a:pt x="100" y="61"/>
                  <a:pt x="97" y="61"/>
                </a:cubicBezTo>
                <a:cubicBezTo>
                  <a:pt x="94" y="61"/>
                  <a:pt x="91" y="60"/>
                  <a:pt x="89" y="57"/>
                </a:cubicBezTo>
                <a:cubicBezTo>
                  <a:pt x="86" y="55"/>
                  <a:pt x="85" y="52"/>
                  <a:pt x="85" y="49"/>
                </a:cubicBezTo>
                <a:cubicBezTo>
                  <a:pt x="85" y="45"/>
                  <a:pt x="86" y="43"/>
                  <a:pt x="89" y="40"/>
                </a:cubicBezTo>
                <a:cubicBezTo>
                  <a:pt x="91" y="38"/>
                  <a:pt x="94" y="37"/>
                  <a:pt x="97" y="37"/>
                </a:cubicBezTo>
                <a:cubicBezTo>
                  <a:pt x="100" y="37"/>
                  <a:pt x="103" y="38"/>
                  <a:pt x="106" y="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4" name="Freeform 255"/>
          <p:cNvSpPr>
            <a:spLocks noChangeAspect="1" noEditPoints="1"/>
          </p:cNvSpPr>
          <p:nvPr/>
        </p:nvSpPr>
        <p:spPr bwMode="auto">
          <a:xfrm>
            <a:off x="3772598" y="3415057"/>
            <a:ext cx="151447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6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128 w 145"/>
              <a:gd name="T27" fmla="*/ 96 h 146"/>
              <a:gd name="T28" fmla="*/ 133 w 145"/>
              <a:gd name="T29" fmla="*/ 73 h 146"/>
              <a:gd name="T30" fmla="*/ 128 w 145"/>
              <a:gd name="T31" fmla="*/ 49 h 146"/>
              <a:gd name="T32" fmla="*/ 115 w 145"/>
              <a:gd name="T33" fmla="*/ 30 h 146"/>
              <a:gd name="T34" fmla="*/ 96 w 145"/>
              <a:gd name="T35" fmla="*/ 17 h 146"/>
              <a:gd name="T36" fmla="*/ 72 w 145"/>
              <a:gd name="T37" fmla="*/ 12 h 146"/>
              <a:gd name="T38" fmla="*/ 49 w 145"/>
              <a:gd name="T39" fmla="*/ 17 h 146"/>
              <a:gd name="T40" fmla="*/ 29 w 145"/>
              <a:gd name="T41" fmla="*/ 30 h 146"/>
              <a:gd name="T42" fmla="*/ 16 w 145"/>
              <a:gd name="T43" fmla="*/ 49 h 146"/>
              <a:gd name="T44" fmla="*/ 12 w 145"/>
              <a:gd name="T45" fmla="*/ 73 h 146"/>
              <a:gd name="T46" fmla="*/ 16 w 145"/>
              <a:gd name="T47" fmla="*/ 96 h 146"/>
              <a:gd name="T48" fmla="*/ 29 w 145"/>
              <a:gd name="T49" fmla="*/ 116 h 146"/>
              <a:gd name="T50" fmla="*/ 49 w 145"/>
              <a:gd name="T51" fmla="*/ 129 h 146"/>
              <a:gd name="T52" fmla="*/ 72 w 145"/>
              <a:gd name="T53" fmla="*/ 133 h 146"/>
              <a:gd name="T54" fmla="*/ 96 w 145"/>
              <a:gd name="T55" fmla="*/ 129 h 146"/>
              <a:gd name="T56" fmla="*/ 115 w 145"/>
              <a:gd name="T57" fmla="*/ 116 h 146"/>
              <a:gd name="T58" fmla="*/ 128 w 145"/>
              <a:gd name="T59" fmla="*/ 96 h 146"/>
              <a:gd name="T60" fmla="*/ 56 w 145"/>
              <a:gd name="T61" fmla="*/ 40 h 146"/>
              <a:gd name="T62" fmla="*/ 60 w 145"/>
              <a:gd name="T63" fmla="*/ 49 h 146"/>
              <a:gd name="T64" fmla="*/ 56 w 145"/>
              <a:gd name="T65" fmla="*/ 57 h 146"/>
              <a:gd name="T66" fmla="*/ 48 w 145"/>
              <a:gd name="T67" fmla="*/ 61 h 146"/>
              <a:gd name="T68" fmla="*/ 39 w 145"/>
              <a:gd name="T69" fmla="*/ 57 h 146"/>
              <a:gd name="T70" fmla="*/ 36 w 145"/>
              <a:gd name="T71" fmla="*/ 49 h 146"/>
              <a:gd name="T72" fmla="*/ 39 w 145"/>
              <a:gd name="T73" fmla="*/ 40 h 146"/>
              <a:gd name="T74" fmla="*/ 48 w 145"/>
              <a:gd name="T75" fmla="*/ 37 h 146"/>
              <a:gd name="T76" fmla="*/ 56 w 145"/>
              <a:gd name="T77" fmla="*/ 40 h 146"/>
              <a:gd name="T78" fmla="*/ 107 w 145"/>
              <a:gd name="T79" fmla="*/ 87 h 146"/>
              <a:gd name="T80" fmla="*/ 108 w 145"/>
              <a:gd name="T81" fmla="*/ 91 h 146"/>
              <a:gd name="T82" fmla="*/ 107 w 145"/>
              <a:gd name="T83" fmla="*/ 95 h 146"/>
              <a:gd name="T84" fmla="*/ 102 w 145"/>
              <a:gd name="T85" fmla="*/ 97 h 146"/>
              <a:gd name="T86" fmla="*/ 42 w 145"/>
              <a:gd name="T87" fmla="*/ 97 h 146"/>
              <a:gd name="T88" fmla="*/ 38 w 145"/>
              <a:gd name="T89" fmla="*/ 95 h 146"/>
              <a:gd name="T90" fmla="*/ 36 w 145"/>
              <a:gd name="T91" fmla="*/ 91 h 146"/>
              <a:gd name="T92" fmla="*/ 38 w 145"/>
              <a:gd name="T93" fmla="*/ 87 h 146"/>
              <a:gd name="T94" fmla="*/ 42 w 145"/>
              <a:gd name="T95" fmla="*/ 85 h 146"/>
              <a:gd name="T96" fmla="*/ 102 w 145"/>
              <a:gd name="T97" fmla="*/ 85 h 146"/>
              <a:gd name="T98" fmla="*/ 107 w 145"/>
              <a:gd name="T99" fmla="*/ 87 h 146"/>
              <a:gd name="T100" fmla="*/ 105 w 145"/>
              <a:gd name="T101" fmla="*/ 40 h 146"/>
              <a:gd name="T102" fmla="*/ 108 w 145"/>
              <a:gd name="T103" fmla="*/ 49 h 146"/>
              <a:gd name="T104" fmla="*/ 105 w 145"/>
              <a:gd name="T105" fmla="*/ 57 h 146"/>
              <a:gd name="T106" fmla="*/ 96 w 145"/>
              <a:gd name="T107" fmla="*/ 61 h 146"/>
              <a:gd name="T108" fmla="*/ 88 w 145"/>
              <a:gd name="T109" fmla="*/ 57 h 146"/>
              <a:gd name="T110" fmla="*/ 84 w 145"/>
              <a:gd name="T111" fmla="*/ 49 h 146"/>
              <a:gd name="T112" fmla="*/ 88 w 145"/>
              <a:gd name="T113" fmla="*/ 40 h 146"/>
              <a:gd name="T114" fmla="*/ 96 w 145"/>
              <a:gd name="T115" fmla="*/ 37 h 146"/>
              <a:gd name="T116" fmla="*/ 105 w 145"/>
              <a:gd name="T117" fmla="*/ 4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1" y="48"/>
                  <a:pt x="145" y="60"/>
                  <a:pt x="145" y="73"/>
                </a:cubicBezTo>
                <a:cubicBezTo>
                  <a:pt x="145" y="86"/>
                  <a:pt x="141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7" y="142"/>
                  <a:pt x="85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5" y="0"/>
                  <a:pt x="97" y="4"/>
                  <a:pt x="109" y="10"/>
                </a:cubicBezTo>
                <a:cubicBezTo>
                  <a:pt x="120" y="17"/>
                  <a:pt x="129" y="25"/>
                  <a:pt x="135" y="36"/>
                </a:cubicBezTo>
                <a:close/>
                <a:moveTo>
                  <a:pt x="128" y="96"/>
                </a:moveTo>
                <a:cubicBezTo>
                  <a:pt x="131" y="89"/>
                  <a:pt x="133" y="81"/>
                  <a:pt x="133" y="73"/>
                </a:cubicBezTo>
                <a:cubicBezTo>
                  <a:pt x="133" y="65"/>
                  <a:pt x="131" y="57"/>
                  <a:pt x="128" y="49"/>
                </a:cubicBezTo>
                <a:cubicBezTo>
                  <a:pt x="125" y="42"/>
                  <a:pt x="120" y="36"/>
                  <a:pt x="115" y="30"/>
                </a:cubicBezTo>
                <a:cubicBezTo>
                  <a:pt x="110" y="25"/>
                  <a:pt x="103" y="20"/>
                  <a:pt x="96" y="17"/>
                </a:cubicBezTo>
                <a:cubicBezTo>
                  <a:pt x="88" y="14"/>
                  <a:pt x="80" y="12"/>
                  <a:pt x="72" y="12"/>
                </a:cubicBezTo>
                <a:cubicBezTo>
                  <a:pt x="64" y="12"/>
                  <a:pt x="56" y="14"/>
                  <a:pt x="49" y="17"/>
                </a:cubicBezTo>
                <a:cubicBezTo>
                  <a:pt x="41" y="20"/>
                  <a:pt x="35" y="25"/>
                  <a:pt x="29" y="30"/>
                </a:cubicBezTo>
                <a:cubicBezTo>
                  <a:pt x="24" y="36"/>
                  <a:pt x="20" y="42"/>
                  <a:pt x="16" y="49"/>
                </a:cubicBezTo>
                <a:cubicBezTo>
                  <a:pt x="13" y="57"/>
                  <a:pt x="12" y="65"/>
                  <a:pt x="12" y="73"/>
                </a:cubicBezTo>
                <a:cubicBezTo>
                  <a:pt x="12" y="81"/>
                  <a:pt x="13" y="89"/>
                  <a:pt x="16" y="96"/>
                </a:cubicBezTo>
                <a:cubicBezTo>
                  <a:pt x="20" y="104"/>
                  <a:pt x="24" y="110"/>
                  <a:pt x="29" y="116"/>
                </a:cubicBezTo>
                <a:cubicBezTo>
                  <a:pt x="35" y="121"/>
                  <a:pt x="41" y="125"/>
                  <a:pt x="49" y="129"/>
                </a:cubicBezTo>
                <a:cubicBezTo>
                  <a:pt x="56" y="132"/>
                  <a:pt x="64" y="133"/>
                  <a:pt x="72" y="133"/>
                </a:cubicBezTo>
                <a:cubicBezTo>
                  <a:pt x="80" y="133"/>
                  <a:pt x="88" y="132"/>
                  <a:pt x="96" y="129"/>
                </a:cubicBezTo>
                <a:cubicBezTo>
                  <a:pt x="103" y="125"/>
                  <a:pt x="110" y="121"/>
                  <a:pt x="115" y="116"/>
                </a:cubicBezTo>
                <a:cubicBezTo>
                  <a:pt x="120" y="110"/>
                  <a:pt x="125" y="104"/>
                  <a:pt x="128" y="96"/>
                </a:cubicBezTo>
                <a:close/>
                <a:moveTo>
                  <a:pt x="56" y="40"/>
                </a:moveTo>
                <a:cubicBezTo>
                  <a:pt x="59" y="43"/>
                  <a:pt x="60" y="45"/>
                  <a:pt x="60" y="49"/>
                </a:cubicBezTo>
                <a:cubicBezTo>
                  <a:pt x="60" y="52"/>
                  <a:pt x="59" y="55"/>
                  <a:pt x="56" y="57"/>
                </a:cubicBezTo>
                <a:cubicBezTo>
                  <a:pt x="54" y="60"/>
                  <a:pt x="51" y="61"/>
                  <a:pt x="48" y="61"/>
                </a:cubicBezTo>
                <a:cubicBezTo>
                  <a:pt x="45" y="61"/>
                  <a:pt x="42" y="60"/>
                  <a:pt x="39" y="57"/>
                </a:cubicBezTo>
                <a:cubicBezTo>
                  <a:pt x="37" y="55"/>
                  <a:pt x="36" y="52"/>
                  <a:pt x="36" y="49"/>
                </a:cubicBezTo>
                <a:cubicBezTo>
                  <a:pt x="36" y="45"/>
                  <a:pt x="37" y="43"/>
                  <a:pt x="39" y="40"/>
                </a:cubicBezTo>
                <a:cubicBezTo>
                  <a:pt x="42" y="38"/>
                  <a:pt x="45" y="37"/>
                  <a:pt x="48" y="37"/>
                </a:cubicBezTo>
                <a:cubicBezTo>
                  <a:pt x="51" y="37"/>
                  <a:pt x="54" y="38"/>
                  <a:pt x="56" y="40"/>
                </a:cubicBezTo>
                <a:close/>
                <a:moveTo>
                  <a:pt x="107" y="87"/>
                </a:moveTo>
                <a:cubicBezTo>
                  <a:pt x="108" y="88"/>
                  <a:pt x="108" y="89"/>
                  <a:pt x="108" y="91"/>
                </a:cubicBezTo>
                <a:cubicBezTo>
                  <a:pt x="108" y="93"/>
                  <a:pt x="108" y="94"/>
                  <a:pt x="107" y="95"/>
                </a:cubicBezTo>
                <a:cubicBezTo>
                  <a:pt x="105" y="97"/>
                  <a:pt x="104" y="97"/>
                  <a:pt x="102" y="97"/>
                </a:cubicBezTo>
                <a:cubicBezTo>
                  <a:pt x="42" y="97"/>
                  <a:pt x="42" y="97"/>
                  <a:pt x="42" y="97"/>
                </a:cubicBezTo>
                <a:cubicBezTo>
                  <a:pt x="40" y="97"/>
                  <a:pt x="39" y="97"/>
                  <a:pt x="38" y="95"/>
                </a:cubicBezTo>
                <a:cubicBezTo>
                  <a:pt x="36" y="94"/>
                  <a:pt x="36" y="93"/>
                  <a:pt x="36" y="91"/>
                </a:cubicBezTo>
                <a:cubicBezTo>
                  <a:pt x="36" y="89"/>
                  <a:pt x="36" y="88"/>
                  <a:pt x="38" y="87"/>
                </a:cubicBezTo>
                <a:cubicBezTo>
                  <a:pt x="39" y="86"/>
                  <a:pt x="40" y="85"/>
                  <a:pt x="42" y="85"/>
                </a:cubicBezTo>
                <a:cubicBezTo>
                  <a:pt x="102" y="85"/>
                  <a:pt x="102" y="85"/>
                  <a:pt x="102" y="85"/>
                </a:cubicBezTo>
                <a:cubicBezTo>
                  <a:pt x="104" y="85"/>
                  <a:pt x="105" y="86"/>
                  <a:pt x="107" y="87"/>
                </a:cubicBezTo>
                <a:close/>
                <a:moveTo>
                  <a:pt x="105" y="40"/>
                </a:moveTo>
                <a:cubicBezTo>
                  <a:pt x="107" y="43"/>
                  <a:pt x="108" y="45"/>
                  <a:pt x="108" y="49"/>
                </a:cubicBezTo>
                <a:cubicBezTo>
                  <a:pt x="108" y="52"/>
                  <a:pt x="107" y="55"/>
                  <a:pt x="105" y="57"/>
                </a:cubicBezTo>
                <a:cubicBezTo>
                  <a:pt x="103" y="60"/>
                  <a:pt x="100" y="61"/>
                  <a:pt x="96" y="61"/>
                </a:cubicBezTo>
                <a:cubicBezTo>
                  <a:pt x="93" y="61"/>
                  <a:pt x="90" y="60"/>
                  <a:pt x="88" y="57"/>
                </a:cubicBezTo>
                <a:cubicBezTo>
                  <a:pt x="85" y="55"/>
                  <a:pt x="84" y="52"/>
                  <a:pt x="84" y="49"/>
                </a:cubicBezTo>
                <a:cubicBezTo>
                  <a:pt x="84" y="45"/>
                  <a:pt x="85" y="43"/>
                  <a:pt x="88" y="40"/>
                </a:cubicBezTo>
                <a:cubicBezTo>
                  <a:pt x="90" y="38"/>
                  <a:pt x="93" y="37"/>
                  <a:pt x="96" y="37"/>
                </a:cubicBezTo>
                <a:cubicBezTo>
                  <a:pt x="100" y="37"/>
                  <a:pt x="103" y="38"/>
                  <a:pt x="105" y="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5" name="Freeform 256"/>
          <p:cNvSpPr>
            <a:spLocks noChangeAspect="1" noEditPoints="1"/>
          </p:cNvSpPr>
          <p:nvPr/>
        </p:nvSpPr>
        <p:spPr bwMode="auto">
          <a:xfrm>
            <a:off x="3969323" y="3452528"/>
            <a:ext cx="187357" cy="99924"/>
          </a:xfrm>
          <a:custGeom>
            <a:avLst/>
            <a:gdLst>
              <a:gd name="T0" fmla="*/ 167 w 181"/>
              <a:gd name="T1" fmla="*/ 14 h 96"/>
              <a:gd name="T2" fmla="*/ 181 w 181"/>
              <a:gd name="T3" fmla="*/ 48 h 96"/>
              <a:gd name="T4" fmla="*/ 167 w 181"/>
              <a:gd name="T5" fmla="*/ 82 h 96"/>
              <a:gd name="T6" fmla="*/ 133 w 181"/>
              <a:gd name="T7" fmla="*/ 96 h 96"/>
              <a:gd name="T8" fmla="*/ 101 w 181"/>
              <a:gd name="T9" fmla="*/ 84 h 96"/>
              <a:gd name="T10" fmla="*/ 80 w 181"/>
              <a:gd name="T11" fmla="*/ 84 h 96"/>
              <a:gd name="T12" fmla="*/ 48 w 181"/>
              <a:gd name="T13" fmla="*/ 96 h 96"/>
              <a:gd name="T14" fmla="*/ 14 w 181"/>
              <a:gd name="T15" fmla="*/ 82 h 96"/>
              <a:gd name="T16" fmla="*/ 0 w 181"/>
              <a:gd name="T17" fmla="*/ 48 h 96"/>
              <a:gd name="T18" fmla="*/ 14 w 181"/>
              <a:gd name="T19" fmla="*/ 14 h 96"/>
              <a:gd name="T20" fmla="*/ 48 w 181"/>
              <a:gd name="T21" fmla="*/ 0 h 96"/>
              <a:gd name="T22" fmla="*/ 133 w 181"/>
              <a:gd name="T23" fmla="*/ 0 h 96"/>
              <a:gd name="T24" fmla="*/ 167 w 181"/>
              <a:gd name="T25" fmla="*/ 14 h 96"/>
              <a:gd name="T26" fmla="*/ 78 w 181"/>
              <a:gd name="T27" fmla="*/ 54 h 96"/>
              <a:gd name="T28" fmla="*/ 78 w 181"/>
              <a:gd name="T29" fmla="*/ 42 h 96"/>
              <a:gd name="T30" fmla="*/ 78 w 181"/>
              <a:gd name="T31" fmla="*/ 40 h 96"/>
              <a:gd name="T32" fmla="*/ 75 w 181"/>
              <a:gd name="T33" fmla="*/ 39 h 96"/>
              <a:gd name="T34" fmla="*/ 57 w 181"/>
              <a:gd name="T35" fmla="*/ 39 h 96"/>
              <a:gd name="T36" fmla="*/ 57 w 181"/>
              <a:gd name="T37" fmla="*/ 21 h 96"/>
              <a:gd name="T38" fmla="*/ 56 w 181"/>
              <a:gd name="T39" fmla="*/ 19 h 96"/>
              <a:gd name="T40" fmla="*/ 54 w 181"/>
              <a:gd name="T41" fmla="*/ 18 h 96"/>
              <a:gd name="T42" fmla="*/ 42 w 181"/>
              <a:gd name="T43" fmla="*/ 18 h 96"/>
              <a:gd name="T44" fmla="*/ 40 w 181"/>
              <a:gd name="T45" fmla="*/ 19 h 96"/>
              <a:gd name="T46" fmla="*/ 39 w 181"/>
              <a:gd name="T47" fmla="*/ 21 h 96"/>
              <a:gd name="T48" fmla="*/ 39 w 181"/>
              <a:gd name="T49" fmla="*/ 39 h 96"/>
              <a:gd name="T50" fmla="*/ 21 w 181"/>
              <a:gd name="T51" fmla="*/ 39 h 96"/>
              <a:gd name="T52" fmla="*/ 19 w 181"/>
              <a:gd name="T53" fmla="*/ 40 h 96"/>
              <a:gd name="T54" fmla="*/ 18 w 181"/>
              <a:gd name="T55" fmla="*/ 42 h 96"/>
              <a:gd name="T56" fmla="*/ 18 w 181"/>
              <a:gd name="T57" fmla="*/ 54 h 96"/>
              <a:gd name="T58" fmla="*/ 19 w 181"/>
              <a:gd name="T59" fmla="*/ 56 h 96"/>
              <a:gd name="T60" fmla="*/ 21 w 181"/>
              <a:gd name="T61" fmla="*/ 57 h 96"/>
              <a:gd name="T62" fmla="*/ 39 w 181"/>
              <a:gd name="T63" fmla="*/ 57 h 96"/>
              <a:gd name="T64" fmla="*/ 39 w 181"/>
              <a:gd name="T65" fmla="*/ 75 h 96"/>
              <a:gd name="T66" fmla="*/ 40 w 181"/>
              <a:gd name="T67" fmla="*/ 77 h 96"/>
              <a:gd name="T68" fmla="*/ 42 w 181"/>
              <a:gd name="T69" fmla="*/ 78 h 96"/>
              <a:gd name="T70" fmla="*/ 54 w 181"/>
              <a:gd name="T71" fmla="*/ 78 h 96"/>
              <a:gd name="T72" fmla="*/ 56 w 181"/>
              <a:gd name="T73" fmla="*/ 77 h 96"/>
              <a:gd name="T74" fmla="*/ 57 w 181"/>
              <a:gd name="T75" fmla="*/ 75 h 96"/>
              <a:gd name="T76" fmla="*/ 57 w 181"/>
              <a:gd name="T77" fmla="*/ 57 h 96"/>
              <a:gd name="T78" fmla="*/ 75 w 181"/>
              <a:gd name="T79" fmla="*/ 57 h 96"/>
              <a:gd name="T80" fmla="*/ 78 w 181"/>
              <a:gd name="T81" fmla="*/ 56 h 96"/>
              <a:gd name="T82" fmla="*/ 78 w 181"/>
              <a:gd name="T83" fmla="*/ 54 h 96"/>
              <a:gd name="T84" fmla="*/ 129 w 181"/>
              <a:gd name="T85" fmla="*/ 69 h 96"/>
              <a:gd name="T86" fmla="*/ 133 w 181"/>
              <a:gd name="T87" fmla="*/ 60 h 96"/>
              <a:gd name="T88" fmla="*/ 129 w 181"/>
              <a:gd name="T89" fmla="*/ 52 h 96"/>
              <a:gd name="T90" fmla="*/ 121 w 181"/>
              <a:gd name="T91" fmla="*/ 48 h 96"/>
              <a:gd name="T92" fmla="*/ 112 w 181"/>
              <a:gd name="T93" fmla="*/ 52 h 96"/>
              <a:gd name="T94" fmla="*/ 109 w 181"/>
              <a:gd name="T95" fmla="*/ 60 h 96"/>
              <a:gd name="T96" fmla="*/ 112 w 181"/>
              <a:gd name="T97" fmla="*/ 69 h 96"/>
              <a:gd name="T98" fmla="*/ 121 w 181"/>
              <a:gd name="T99" fmla="*/ 72 h 96"/>
              <a:gd name="T100" fmla="*/ 129 w 181"/>
              <a:gd name="T101" fmla="*/ 69 h 96"/>
              <a:gd name="T102" fmla="*/ 153 w 181"/>
              <a:gd name="T103" fmla="*/ 44 h 96"/>
              <a:gd name="T104" fmla="*/ 157 w 181"/>
              <a:gd name="T105" fmla="*/ 36 h 96"/>
              <a:gd name="T106" fmla="*/ 153 w 181"/>
              <a:gd name="T107" fmla="*/ 27 h 96"/>
              <a:gd name="T108" fmla="*/ 145 w 181"/>
              <a:gd name="T109" fmla="*/ 24 h 96"/>
              <a:gd name="T110" fmla="*/ 136 w 181"/>
              <a:gd name="T111" fmla="*/ 27 h 96"/>
              <a:gd name="T112" fmla="*/ 133 w 181"/>
              <a:gd name="T113" fmla="*/ 36 h 96"/>
              <a:gd name="T114" fmla="*/ 136 w 181"/>
              <a:gd name="T115" fmla="*/ 44 h 96"/>
              <a:gd name="T116" fmla="*/ 145 w 181"/>
              <a:gd name="T117" fmla="*/ 48 h 96"/>
              <a:gd name="T118" fmla="*/ 153 w 181"/>
              <a:gd name="T119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1" h="96">
                <a:moveTo>
                  <a:pt x="167" y="14"/>
                </a:moveTo>
                <a:cubicBezTo>
                  <a:pt x="177" y="23"/>
                  <a:pt x="181" y="35"/>
                  <a:pt x="181" y="48"/>
                </a:cubicBezTo>
                <a:cubicBezTo>
                  <a:pt x="181" y="61"/>
                  <a:pt x="177" y="73"/>
                  <a:pt x="167" y="82"/>
                </a:cubicBezTo>
                <a:cubicBezTo>
                  <a:pt x="158" y="92"/>
                  <a:pt x="146" y="96"/>
                  <a:pt x="133" y="96"/>
                </a:cubicBezTo>
                <a:cubicBezTo>
                  <a:pt x="121" y="96"/>
                  <a:pt x="110" y="92"/>
                  <a:pt x="101" y="84"/>
                </a:cubicBezTo>
                <a:cubicBezTo>
                  <a:pt x="80" y="84"/>
                  <a:pt x="80" y="84"/>
                  <a:pt x="80" y="84"/>
                </a:cubicBezTo>
                <a:cubicBezTo>
                  <a:pt x="71" y="92"/>
                  <a:pt x="60" y="96"/>
                  <a:pt x="48" y="96"/>
                </a:cubicBezTo>
                <a:cubicBezTo>
                  <a:pt x="35" y="96"/>
                  <a:pt x="23" y="92"/>
                  <a:pt x="14" y="82"/>
                </a:cubicBezTo>
                <a:cubicBezTo>
                  <a:pt x="4" y="73"/>
                  <a:pt x="0" y="61"/>
                  <a:pt x="0" y="48"/>
                </a:cubicBezTo>
                <a:cubicBezTo>
                  <a:pt x="0" y="35"/>
                  <a:pt x="4" y="23"/>
                  <a:pt x="14" y="14"/>
                </a:cubicBezTo>
                <a:cubicBezTo>
                  <a:pt x="23" y="4"/>
                  <a:pt x="35" y="0"/>
                  <a:pt x="48" y="0"/>
                </a:cubicBezTo>
                <a:cubicBezTo>
                  <a:pt x="133" y="0"/>
                  <a:pt x="133" y="0"/>
                  <a:pt x="133" y="0"/>
                </a:cubicBezTo>
                <a:cubicBezTo>
                  <a:pt x="146" y="0"/>
                  <a:pt x="158" y="4"/>
                  <a:pt x="167" y="14"/>
                </a:cubicBezTo>
                <a:close/>
                <a:moveTo>
                  <a:pt x="78" y="54"/>
                </a:moveTo>
                <a:cubicBezTo>
                  <a:pt x="78" y="42"/>
                  <a:pt x="78" y="42"/>
                  <a:pt x="78" y="42"/>
                </a:cubicBezTo>
                <a:cubicBezTo>
                  <a:pt x="78" y="41"/>
                  <a:pt x="78" y="40"/>
                  <a:pt x="78" y="40"/>
                </a:cubicBezTo>
                <a:cubicBezTo>
                  <a:pt x="77" y="39"/>
                  <a:pt x="76" y="39"/>
                  <a:pt x="75" y="39"/>
                </a:cubicBezTo>
                <a:cubicBezTo>
                  <a:pt x="57" y="39"/>
                  <a:pt x="57" y="39"/>
                  <a:pt x="57" y="39"/>
                </a:cubicBezTo>
                <a:cubicBezTo>
                  <a:pt x="57" y="21"/>
                  <a:pt x="57" y="21"/>
                  <a:pt x="57" y="21"/>
                </a:cubicBezTo>
                <a:cubicBezTo>
                  <a:pt x="57" y="20"/>
                  <a:pt x="57" y="19"/>
                  <a:pt x="56" y="19"/>
                </a:cubicBezTo>
                <a:cubicBezTo>
                  <a:pt x="56" y="18"/>
                  <a:pt x="55" y="18"/>
                  <a:pt x="54" y="18"/>
                </a:cubicBezTo>
                <a:cubicBezTo>
                  <a:pt x="42" y="18"/>
                  <a:pt x="42" y="18"/>
                  <a:pt x="42" y="18"/>
                </a:cubicBezTo>
                <a:cubicBezTo>
                  <a:pt x="41" y="18"/>
                  <a:pt x="40" y="18"/>
                  <a:pt x="40" y="19"/>
                </a:cubicBezTo>
                <a:cubicBezTo>
                  <a:pt x="39" y="19"/>
                  <a:pt x="39" y="20"/>
                  <a:pt x="39" y="21"/>
                </a:cubicBezTo>
                <a:cubicBezTo>
                  <a:pt x="39" y="39"/>
                  <a:pt x="39" y="39"/>
                  <a:pt x="39" y="39"/>
                </a:cubicBezTo>
                <a:cubicBezTo>
                  <a:pt x="21" y="39"/>
                  <a:pt x="21" y="39"/>
                  <a:pt x="21" y="39"/>
                </a:cubicBezTo>
                <a:cubicBezTo>
                  <a:pt x="20" y="39"/>
                  <a:pt x="19" y="39"/>
                  <a:pt x="19" y="40"/>
                </a:cubicBezTo>
                <a:cubicBezTo>
                  <a:pt x="18" y="40"/>
                  <a:pt x="18" y="41"/>
                  <a:pt x="18" y="42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5"/>
                  <a:pt x="18" y="56"/>
                  <a:pt x="19" y="56"/>
                </a:cubicBezTo>
                <a:cubicBezTo>
                  <a:pt x="19" y="57"/>
                  <a:pt x="20" y="57"/>
                  <a:pt x="21" y="57"/>
                </a:cubicBezTo>
                <a:cubicBezTo>
                  <a:pt x="39" y="57"/>
                  <a:pt x="39" y="57"/>
                  <a:pt x="39" y="57"/>
                </a:cubicBezTo>
                <a:cubicBezTo>
                  <a:pt x="39" y="75"/>
                  <a:pt x="39" y="75"/>
                  <a:pt x="39" y="75"/>
                </a:cubicBezTo>
                <a:cubicBezTo>
                  <a:pt x="39" y="76"/>
                  <a:pt x="39" y="77"/>
                  <a:pt x="40" y="77"/>
                </a:cubicBezTo>
                <a:cubicBezTo>
                  <a:pt x="40" y="78"/>
                  <a:pt x="41" y="78"/>
                  <a:pt x="42" y="78"/>
                </a:cubicBezTo>
                <a:cubicBezTo>
                  <a:pt x="54" y="78"/>
                  <a:pt x="54" y="78"/>
                  <a:pt x="54" y="78"/>
                </a:cubicBezTo>
                <a:cubicBezTo>
                  <a:pt x="55" y="78"/>
                  <a:pt x="56" y="78"/>
                  <a:pt x="56" y="77"/>
                </a:cubicBezTo>
                <a:cubicBezTo>
                  <a:pt x="57" y="77"/>
                  <a:pt x="57" y="76"/>
                  <a:pt x="57" y="75"/>
                </a:cubicBezTo>
                <a:cubicBezTo>
                  <a:pt x="57" y="57"/>
                  <a:pt x="57" y="57"/>
                  <a:pt x="57" y="57"/>
                </a:cubicBezTo>
                <a:cubicBezTo>
                  <a:pt x="75" y="57"/>
                  <a:pt x="75" y="57"/>
                  <a:pt x="75" y="57"/>
                </a:cubicBezTo>
                <a:cubicBezTo>
                  <a:pt x="76" y="57"/>
                  <a:pt x="77" y="57"/>
                  <a:pt x="78" y="56"/>
                </a:cubicBezTo>
                <a:cubicBezTo>
                  <a:pt x="78" y="56"/>
                  <a:pt x="78" y="55"/>
                  <a:pt x="78" y="54"/>
                </a:cubicBezTo>
                <a:close/>
                <a:moveTo>
                  <a:pt x="129" y="69"/>
                </a:moveTo>
                <a:cubicBezTo>
                  <a:pt x="132" y="66"/>
                  <a:pt x="133" y="63"/>
                  <a:pt x="133" y="60"/>
                </a:cubicBezTo>
                <a:cubicBezTo>
                  <a:pt x="133" y="57"/>
                  <a:pt x="132" y="54"/>
                  <a:pt x="129" y="52"/>
                </a:cubicBezTo>
                <a:cubicBezTo>
                  <a:pt x="127" y="49"/>
                  <a:pt x="124" y="48"/>
                  <a:pt x="121" y="48"/>
                </a:cubicBezTo>
                <a:cubicBezTo>
                  <a:pt x="117" y="48"/>
                  <a:pt x="115" y="49"/>
                  <a:pt x="112" y="52"/>
                </a:cubicBezTo>
                <a:cubicBezTo>
                  <a:pt x="110" y="54"/>
                  <a:pt x="109" y="57"/>
                  <a:pt x="109" y="60"/>
                </a:cubicBezTo>
                <a:cubicBezTo>
                  <a:pt x="109" y="63"/>
                  <a:pt x="110" y="66"/>
                  <a:pt x="112" y="69"/>
                </a:cubicBezTo>
                <a:cubicBezTo>
                  <a:pt x="115" y="71"/>
                  <a:pt x="117" y="72"/>
                  <a:pt x="121" y="72"/>
                </a:cubicBezTo>
                <a:cubicBezTo>
                  <a:pt x="124" y="72"/>
                  <a:pt x="127" y="71"/>
                  <a:pt x="129" y="69"/>
                </a:cubicBezTo>
                <a:close/>
                <a:moveTo>
                  <a:pt x="153" y="44"/>
                </a:moveTo>
                <a:cubicBezTo>
                  <a:pt x="156" y="42"/>
                  <a:pt x="157" y="39"/>
                  <a:pt x="157" y="36"/>
                </a:cubicBezTo>
                <a:cubicBezTo>
                  <a:pt x="157" y="33"/>
                  <a:pt x="156" y="30"/>
                  <a:pt x="153" y="27"/>
                </a:cubicBezTo>
                <a:cubicBezTo>
                  <a:pt x="151" y="25"/>
                  <a:pt x="148" y="24"/>
                  <a:pt x="145" y="24"/>
                </a:cubicBezTo>
                <a:cubicBezTo>
                  <a:pt x="142" y="24"/>
                  <a:pt x="139" y="25"/>
                  <a:pt x="136" y="27"/>
                </a:cubicBezTo>
                <a:cubicBezTo>
                  <a:pt x="134" y="30"/>
                  <a:pt x="133" y="33"/>
                  <a:pt x="133" y="36"/>
                </a:cubicBezTo>
                <a:cubicBezTo>
                  <a:pt x="133" y="39"/>
                  <a:pt x="134" y="42"/>
                  <a:pt x="136" y="44"/>
                </a:cubicBezTo>
                <a:cubicBezTo>
                  <a:pt x="139" y="47"/>
                  <a:pt x="142" y="48"/>
                  <a:pt x="145" y="48"/>
                </a:cubicBezTo>
                <a:cubicBezTo>
                  <a:pt x="148" y="48"/>
                  <a:pt x="151" y="47"/>
                  <a:pt x="153" y="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6" name="Freeform 257"/>
          <p:cNvSpPr>
            <a:spLocks noChangeAspect="1" noEditPoints="1"/>
          </p:cNvSpPr>
          <p:nvPr/>
        </p:nvSpPr>
        <p:spPr bwMode="auto">
          <a:xfrm>
            <a:off x="4203519" y="3440038"/>
            <a:ext cx="188919" cy="112414"/>
          </a:xfrm>
          <a:custGeom>
            <a:avLst/>
            <a:gdLst>
              <a:gd name="T0" fmla="*/ 178 w 182"/>
              <a:gd name="T1" fmla="*/ 105 h 108"/>
              <a:gd name="T2" fmla="*/ 4 w 182"/>
              <a:gd name="T3" fmla="*/ 105 h 108"/>
              <a:gd name="T4" fmla="*/ 4 w 182"/>
              <a:gd name="T5" fmla="*/ 3 h 108"/>
              <a:gd name="T6" fmla="*/ 178 w 182"/>
              <a:gd name="T7" fmla="*/ 3 h 108"/>
              <a:gd name="T8" fmla="*/ 170 w 182"/>
              <a:gd name="T9" fmla="*/ 12 h 108"/>
              <a:gd name="T10" fmla="*/ 170 w 182"/>
              <a:gd name="T11" fmla="*/ 96 h 108"/>
              <a:gd name="T12" fmla="*/ 35 w 182"/>
              <a:gd name="T13" fmla="*/ 36 h 108"/>
              <a:gd name="T14" fmla="*/ 24 w 182"/>
              <a:gd name="T15" fmla="*/ 25 h 108"/>
              <a:gd name="T16" fmla="*/ 37 w 182"/>
              <a:gd name="T17" fmla="*/ 25 h 108"/>
              <a:gd name="T18" fmla="*/ 47 w 182"/>
              <a:gd name="T19" fmla="*/ 60 h 108"/>
              <a:gd name="T20" fmla="*/ 24 w 182"/>
              <a:gd name="T21" fmla="*/ 49 h 108"/>
              <a:gd name="T22" fmla="*/ 49 w 182"/>
              <a:gd name="T23" fmla="*/ 49 h 108"/>
              <a:gd name="T24" fmla="*/ 35 w 182"/>
              <a:gd name="T25" fmla="*/ 84 h 108"/>
              <a:gd name="T26" fmla="*/ 24 w 182"/>
              <a:gd name="T27" fmla="*/ 74 h 108"/>
              <a:gd name="T28" fmla="*/ 37 w 182"/>
              <a:gd name="T29" fmla="*/ 74 h 108"/>
              <a:gd name="T30" fmla="*/ 59 w 182"/>
              <a:gd name="T31" fmla="*/ 36 h 108"/>
              <a:gd name="T32" fmla="*/ 49 w 182"/>
              <a:gd name="T33" fmla="*/ 25 h 108"/>
              <a:gd name="T34" fmla="*/ 61 w 182"/>
              <a:gd name="T35" fmla="*/ 25 h 108"/>
              <a:gd name="T36" fmla="*/ 132 w 182"/>
              <a:gd name="T37" fmla="*/ 84 h 108"/>
              <a:gd name="T38" fmla="*/ 49 w 182"/>
              <a:gd name="T39" fmla="*/ 74 h 108"/>
              <a:gd name="T40" fmla="*/ 133 w 182"/>
              <a:gd name="T41" fmla="*/ 74 h 108"/>
              <a:gd name="T42" fmla="*/ 71 w 182"/>
              <a:gd name="T43" fmla="*/ 60 h 108"/>
              <a:gd name="T44" fmla="*/ 61 w 182"/>
              <a:gd name="T45" fmla="*/ 49 h 108"/>
              <a:gd name="T46" fmla="*/ 73 w 182"/>
              <a:gd name="T47" fmla="*/ 49 h 108"/>
              <a:gd name="T48" fmla="*/ 83 w 182"/>
              <a:gd name="T49" fmla="*/ 36 h 108"/>
              <a:gd name="T50" fmla="*/ 73 w 182"/>
              <a:gd name="T51" fmla="*/ 25 h 108"/>
              <a:gd name="T52" fmla="*/ 85 w 182"/>
              <a:gd name="T53" fmla="*/ 25 h 108"/>
              <a:gd name="T54" fmla="*/ 96 w 182"/>
              <a:gd name="T55" fmla="*/ 60 h 108"/>
              <a:gd name="T56" fmla="*/ 85 w 182"/>
              <a:gd name="T57" fmla="*/ 49 h 108"/>
              <a:gd name="T58" fmla="*/ 97 w 182"/>
              <a:gd name="T59" fmla="*/ 49 h 108"/>
              <a:gd name="T60" fmla="*/ 108 w 182"/>
              <a:gd name="T61" fmla="*/ 36 h 108"/>
              <a:gd name="T62" fmla="*/ 97 w 182"/>
              <a:gd name="T63" fmla="*/ 25 h 108"/>
              <a:gd name="T64" fmla="*/ 109 w 182"/>
              <a:gd name="T65" fmla="*/ 25 h 108"/>
              <a:gd name="T66" fmla="*/ 120 w 182"/>
              <a:gd name="T67" fmla="*/ 60 h 108"/>
              <a:gd name="T68" fmla="*/ 109 w 182"/>
              <a:gd name="T69" fmla="*/ 49 h 108"/>
              <a:gd name="T70" fmla="*/ 121 w 182"/>
              <a:gd name="T71" fmla="*/ 49 h 108"/>
              <a:gd name="T72" fmla="*/ 132 w 182"/>
              <a:gd name="T73" fmla="*/ 36 h 108"/>
              <a:gd name="T74" fmla="*/ 121 w 182"/>
              <a:gd name="T75" fmla="*/ 25 h 108"/>
              <a:gd name="T76" fmla="*/ 133 w 182"/>
              <a:gd name="T77" fmla="*/ 25 h 108"/>
              <a:gd name="T78" fmla="*/ 156 w 182"/>
              <a:gd name="T79" fmla="*/ 60 h 108"/>
              <a:gd name="T80" fmla="*/ 133 w 182"/>
              <a:gd name="T81" fmla="*/ 49 h 108"/>
              <a:gd name="T82" fmla="*/ 145 w 182"/>
              <a:gd name="T83" fmla="*/ 25 h 108"/>
              <a:gd name="T84" fmla="*/ 158 w 182"/>
              <a:gd name="T85" fmla="*/ 25 h 108"/>
              <a:gd name="T86" fmla="*/ 156 w 182"/>
              <a:gd name="T87" fmla="*/ 84 h 108"/>
              <a:gd name="T88" fmla="*/ 145 w 182"/>
              <a:gd name="T89" fmla="*/ 74 h 108"/>
              <a:gd name="T90" fmla="*/ 158 w 182"/>
              <a:gd name="T91" fmla="*/ 7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2" h="108">
                <a:moveTo>
                  <a:pt x="182" y="12"/>
                </a:moveTo>
                <a:cubicBezTo>
                  <a:pt x="182" y="96"/>
                  <a:pt x="182" y="96"/>
                  <a:pt x="182" y="96"/>
                </a:cubicBezTo>
                <a:cubicBezTo>
                  <a:pt x="182" y="100"/>
                  <a:pt x="181" y="103"/>
                  <a:pt x="178" y="105"/>
                </a:cubicBezTo>
                <a:cubicBezTo>
                  <a:pt x="176" y="107"/>
                  <a:pt x="173" y="108"/>
                  <a:pt x="170" y="108"/>
                </a:cubicBezTo>
                <a:cubicBezTo>
                  <a:pt x="12" y="108"/>
                  <a:pt x="12" y="108"/>
                  <a:pt x="12" y="108"/>
                </a:cubicBezTo>
                <a:cubicBezTo>
                  <a:pt x="9" y="108"/>
                  <a:pt x="6" y="107"/>
                  <a:pt x="4" y="105"/>
                </a:cubicBezTo>
                <a:cubicBezTo>
                  <a:pt x="1" y="103"/>
                  <a:pt x="0" y="100"/>
                  <a:pt x="0" y="9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8"/>
                  <a:pt x="1" y="5"/>
                  <a:pt x="4" y="3"/>
                </a:cubicBezTo>
                <a:cubicBezTo>
                  <a:pt x="6" y="1"/>
                  <a:pt x="9" y="0"/>
                  <a:pt x="12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73" y="0"/>
                  <a:pt x="176" y="1"/>
                  <a:pt x="178" y="3"/>
                </a:cubicBezTo>
                <a:cubicBezTo>
                  <a:pt x="181" y="5"/>
                  <a:pt x="182" y="8"/>
                  <a:pt x="182" y="12"/>
                </a:cubicBezTo>
                <a:close/>
                <a:moveTo>
                  <a:pt x="170" y="96"/>
                </a:moveTo>
                <a:cubicBezTo>
                  <a:pt x="170" y="12"/>
                  <a:pt x="170" y="12"/>
                  <a:pt x="170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96"/>
                  <a:pt x="12" y="96"/>
                  <a:pt x="12" y="96"/>
                </a:cubicBezTo>
                <a:lnTo>
                  <a:pt x="170" y="96"/>
                </a:lnTo>
                <a:close/>
                <a:moveTo>
                  <a:pt x="37" y="25"/>
                </a:moveTo>
                <a:cubicBezTo>
                  <a:pt x="37" y="34"/>
                  <a:pt x="37" y="34"/>
                  <a:pt x="37" y="34"/>
                </a:cubicBezTo>
                <a:cubicBezTo>
                  <a:pt x="37" y="35"/>
                  <a:pt x="36" y="36"/>
                  <a:pt x="35" y="36"/>
                </a:cubicBezTo>
                <a:cubicBezTo>
                  <a:pt x="26" y="36"/>
                  <a:pt x="26" y="36"/>
                  <a:pt x="26" y="36"/>
                </a:cubicBezTo>
                <a:cubicBezTo>
                  <a:pt x="25" y="36"/>
                  <a:pt x="24" y="35"/>
                  <a:pt x="24" y="34"/>
                </a:cubicBezTo>
                <a:cubicBezTo>
                  <a:pt x="24" y="25"/>
                  <a:pt x="24" y="25"/>
                  <a:pt x="24" y="25"/>
                </a:cubicBezTo>
                <a:cubicBezTo>
                  <a:pt x="24" y="24"/>
                  <a:pt x="25" y="24"/>
                  <a:pt x="26" y="24"/>
                </a:cubicBezTo>
                <a:cubicBezTo>
                  <a:pt x="35" y="24"/>
                  <a:pt x="35" y="24"/>
                  <a:pt x="35" y="24"/>
                </a:cubicBezTo>
                <a:cubicBezTo>
                  <a:pt x="36" y="24"/>
                  <a:pt x="37" y="24"/>
                  <a:pt x="37" y="25"/>
                </a:cubicBezTo>
                <a:close/>
                <a:moveTo>
                  <a:pt x="49" y="49"/>
                </a:moveTo>
                <a:cubicBezTo>
                  <a:pt x="49" y="59"/>
                  <a:pt x="49" y="59"/>
                  <a:pt x="49" y="59"/>
                </a:cubicBezTo>
                <a:cubicBezTo>
                  <a:pt x="49" y="60"/>
                  <a:pt x="48" y="60"/>
                  <a:pt x="47" y="60"/>
                </a:cubicBezTo>
                <a:cubicBezTo>
                  <a:pt x="26" y="60"/>
                  <a:pt x="26" y="60"/>
                  <a:pt x="26" y="60"/>
                </a:cubicBezTo>
                <a:cubicBezTo>
                  <a:pt x="25" y="60"/>
                  <a:pt x="24" y="60"/>
                  <a:pt x="24" y="59"/>
                </a:cubicBezTo>
                <a:cubicBezTo>
                  <a:pt x="24" y="49"/>
                  <a:pt x="24" y="49"/>
                  <a:pt x="24" y="49"/>
                </a:cubicBezTo>
                <a:cubicBezTo>
                  <a:pt x="24" y="48"/>
                  <a:pt x="25" y="48"/>
                  <a:pt x="26" y="48"/>
                </a:cubicBezTo>
                <a:cubicBezTo>
                  <a:pt x="47" y="48"/>
                  <a:pt x="47" y="48"/>
                  <a:pt x="47" y="48"/>
                </a:cubicBezTo>
                <a:cubicBezTo>
                  <a:pt x="48" y="48"/>
                  <a:pt x="49" y="48"/>
                  <a:pt x="49" y="49"/>
                </a:cubicBezTo>
                <a:close/>
                <a:moveTo>
                  <a:pt x="37" y="74"/>
                </a:moveTo>
                <a:cubicBezTo>
                  <a:pt x="37" y="83"/>
                  <a:pt x="37" y="83"/>
                  <a:pt x="37" y="83"/>
                </a:cubicBezTo>
                <a:cubicBezTo>
                  <a:pt x="37" y="84"/>
                  <a:pt x="36" y="84"/>
                  <a:pt x="35" y="84"/>
                </a:cubicBezTo>
                <a:cubicBezTo>
                  <a:pt x="26" y="84"/>
                  <a:pt x="26" y="84"/>
                  <a:pt x="26" y="84"/>
                </a:cubicBezTo>
                <a:cubicBezTo>
                  <a:pt x="25" y="84"/>
                  <a:pt x="24" y="84"/>
                  <a:pt x="24" y="83"/>
                </a:cubicBezTo>
                <a:cubicBezTo>
                  <a:pt x="24" y="74"/>
                  <a:pt x="24" y="74"/>
                  <a:pt x="24" y="74"/>
                </a:cubicBezTo>
                <a:cubicBezTo>
                  <a:pt x="24" y="73"/>
                  <a:pt x="25" y="72"/>
                  <a:pt x="26" y="72"/>
                </a:cubicBezTo>
                <a:cubicBezTo>
                  <a:pt x="35" y="72"/>
                  <a:pt x="35" y="72"/>
                  <a:pt x="35" y="72"/>
                </a:cubicBezTo>
                <a:cubicBezTo>
                  <a:pt x="36" y="72"/>
                  <a:pt x="37" y="73"/>
                  <a:pt x="37" y="74"/>
                </a:cubicBezTo>
                <a:close/>
                <a:moveTo>
                  <a:pt x="61" y="25"/>
                </a:moveTo>
                <a:cubicBezTo>
                  <a:pt x="61" y="34"/>
                  <a:pt x="61" y="34"/>
                  <a:pt x="61" y="34"/>
                </a:cubicBezTo>
                <a:cubicBezTo>
                  <a:pt x="61" y="35"/>
                  <a:pt x="60" y="36"/>
                  <a:pt x="59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49" y="36"/>
                  <a:pt x="49" y="35"/>
                  <a:pt x="49" y="34"/>
                </a:cubicBezTo>
                <a:cubicBezTo>
                  <a:pt x="49" y="25"/>
                  <a:pt x="49" y="25"/>
                  <a:pt x="49" y="25"/>
                </a:cubicBezTo>
                <a:cubicBezTo>
                  <a:pt x="49" y="24"/>
                  <a:pt x="49" y="24"/>
                  <a:pt x="50" y="24"/>
                </a:cubicBezTo>
                <a:cubicBezTo>
                  <a:pt x="59" y="24"/>
                  <a:pt x="59" y="24"/>
                  <a:pt x="59" y="24"/>
                </a:cubicBezTo>
                <a:cubicBezTo>
                  <a:pt x="60" y="24"/>
                  <a:pt x="61" y="24"/>
                  <a:pt x="61" y="25"/>
                </a:cubicBezTo>
                <a:close/>
                <a:moveTo>
                  <a:pt x="133" y="74"/>
                </a:moveTo>
                <a:cubicBezTo>
                  <a:pt x="133" y="83"/>
                  <a:pt x="133" y="83"/>
                  <a:pt x="133" y="83"/>
                </a:cubicBezTo>
                <a:cubicBezTo>
                  <a:pt x="133" y="84"/>
                  <a:pt x="133" y="84"/>
                  <a:pt x="132" y="84"/>
                </a:cubicBezTo>
                <a:cubicBezTo>
                  <a:pt x="50" y="84"/>
                  <a:pt x="50" y="84"/>
                  <a:pt x="50" y="84"/>
                </a:cubicBezTo>
                <a:cubicBezTo>
                  <a:pt x="49" y="84"/>
                  <a:pt x="49" y="84"/>
                  <a:pt x="49" y="83"/>
                </a:cubicBezTo>
                <a:cubicBezTo>
                  <a:pt x="49" y="74"/>
                  <a:pt x="49" y="74"/>
                  <a:pt x="49" y="74"/>
                </a:cubicBezTo>
                <a:cubicBezTo>
                  <a:pt x="49" y="73"/>
                  <a:pt x="49" y="72"/>
                  <a:pt x="50" y="72"/>
                </a:cubicBezTo>
                <a:cubicBezTo>
                  <a:pt x="132" y="72"/>
                  <a:pt x="132" y="72"/>
                  <a:pt x="132" y="72"/>
                </a:cubicBezTo>
                <a:cubicBezTo>
                  <a:pt x="133" y="72"/>
                  <a:pt x="133" y="73"/>
                  <a:pt x="133" y="74"/>
                </a:cubicBezTo>
                <a:close/>
                <a:moveTo>
                  <a:pt x="73" y="49"/>
                </a:moveTo>
                <a:cubicBezTo>
                  <a:pt x="73" y="59"/>
                  <a:pt x="73" y="59"/>
                  <a:pt x="73" y="59"/>
                </a:cubicBezTo>
                <a:cubicBezTo>
                  <a:pt x="73" y="60"/>
                  <a:pt x="72" y="60"/>
                  <a:pt x="71" y="60"/>
                </a:cubicBezTo>
                <a:cubicBezTo>
                  <a:pt x="62" y="60"/>
                  <a:pt x="62" y="60"/>
                  <a:pt x="62" y="60"/>
                </a:cubicBezTo>
                <a:cubicBezTo>
                  <a:pt x="61" y="60"/>
                  <a:pt x="61" y="60"/>
                  <a:pt x="61" y="59"/>
                </a:cubicBezTo>
                <a:cubicBezTo>
                  <a:pt x="61" y="49"/>
                  <a:pt x="61" y="49"/>
                  <a:pt x="61" y="49"/>
                </a:cubicBezTo>
                <a:cubicBezTo>
                  <a:pt x="61" y="48"/>
                  <a:pt x="61" y="48"/>
                  <a:pt x="62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8"/>
                  <a:pt x="73" y="49"/>
                </a:cubicBezTo>
                <a:close/>
                <a:moveTo>
                  <a:pt x="85" y="25"/>
                </a:moveTo>
                <a:cubicBezTo>
                  <a:pt x="85" y="34"/>
                  <a:pt x="85" y="34"/>
                  <a:pt x="85" y="34"/>
                </a:cubicBezTo>
                <a:cubicBezTo>
                  <a:pt x="85" y="35"/>
                  <a:pt x="84" y="36"/>
                  <a:pt x="83" y="36"/>
                </a:cubicBezTo>
                <a:cubicBezTo>
                  <a:pt x="74" y="36"/>
                  <a:pt x="74" y="36"/>
                  <a:pt x="74" y="36"/>
                </a:cubicBezTo>
                <a:cubicBezTo>
                  <a:pt x="73" y="36"/>
                  <a:pt x="73" y="35"/>
                  <a:pt x="73" y="34"/>
                </a:cubicBezTo>
                <a:cubicBezTo>
                  <a:pt x="73" y="25"/>
                  <a:pt x="73" y="25"/>
                  <a:pt x="73" y="25"/>
                </a:cubicBezTo>
                <a:cubicBezTo>
                  <a:pt x="73" y="24"/>
                  <a:pt x="73" y="24"/>
                  <a:pt x="74" y="24"/>
                </a:cubicBezTo>
                <a:cubicBezTo>
                  <a:pt x="83" y="24"/>
                  <a:pt x="83" y="24"/>
                  <a:pt x="83" y="24"/>
                </a:cubicBezTo>
                <a:cubicBezTo>
                  <a:pt x="84" y="24"/>
                  <a:pt x="85" y="24"/>
                  <a:pt x="85" y="25"/>
                </a:cubicBezTo>
                <a:close/>
                <a:moveTo>
                  <a:pt x="97" y="49"/>
                </a:moveTo>
                <a:cubicBezTo>
                  <a:pt x="97" y="59"/>
                  <a:pt x="97" y="59"/>
                  <a:pt x="97" y="59"/>
                </a:cubicBezTo>
                <a:cubicBezTo>
                  <a:pt x="97" y="60"/>
                  <a:pt x="97" y="60"/>
                  <a:pt x="96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5" y="60"/>
                  <a:pt x="85" y="60"/>
                  <a:pt x="85" y="59"/>
                </a:cubicBezTo>
                <a:cubicBezTo>
                  <a:pt x="85" y="49"/>
                  <a:pt x="85" y="49"/>
                  <a:pt x="85" y="49"/>
                </a:cubicBezTo>
                <a:cubicBezTo>
                  <a:pt x="85" y="48"/>
                  <a:pt x="85" y="48"/>
                  <a:pt x="86" y="48"/>
                </a:cubicBezTo>
                <a:cubicBezTo>
                  <a:pt x="96" y="48"/>
                  <a:pt x="96" y="48"/>
                  <a:pt x="96" y="48"/>
                </a:cubicBezTo>
                <a:cubicBezTo>
                  <a:pt x="97" y="48"/>
                  <a:pt x="97" y="48"/>
                  <a:pt x="97" y="49"/>
                </a:cubicBezTo>
                <a:close/>
                <a:moveTo>
                  <a:pt x="109" y="25"/>
                </a:moveTo>
                <a:cubicBezTo>
                  <a:pt x="109" y="34"/>
                  <a:pt x="109" y="34"/>
                  <a:pt x="109" y="34"/>
                </a:cubicBezTo>
                <a:cubicBezTo>
                  <a:pt x="109" y="35"/>
                  <a:pt x="109" y="36"/>
                  <a:pt x="108" y="36"/>
                </a:cubicBezTo>
                <a:cubicBezTo>
                  <a:pt x="99" y="36"/>
                  <a:pt x="99" y="36"/>
                  <a:pt x="99" y="36"/>
                </a:cubicBezTo>
                <a:cubicBezTo>
                  <a:pt x="98" y="36"/>
                  <a:pt x="97" y="35"/>
                  <a:pt x="97" y="34"/>
                </a:cubicBezTo>
                <a:cubicBezTo>
                  <a:pt x="97" y="25"/>
                  <a:pt x="97" y="25"/>
                  <a:pt x="97" y="25"/>
                </a:cubicBezTo>
                <a:cubicBezTo>
                  <a:pt x="97" y="24"/>
                  <a:pt x="98" y="24"/>
                  <a:pt x="99" y="24"/>
                </a:cubicBezTo>
                <a:cubicBezTo>
                  <a:pt x="108" y="24"/>
                  <a:pt x="108" y="24"/>
                  <a:pt x="108" y="24"/>
                </a:cubicBezTo>
                <a:cubicBezTo>
                  <a:pt x="109" y="24"/>
                  <a:pt x="109" y="24"/>
                  <a:pt x="109" y="25"/>
                </a:cubicBezTo>
                <a:close/>
                <a:moveTo>
                  <a:pt x="121" y="49"/>
                </a:moveTo>
                <a:cubicBezTo>
                  <a:pt x="121" y="59"/>
                  <a:pt x="121" y="59"/>
                  <a:pt x="121" y="59"/>
                </a:cubicBezTo>
                <a:cubicBezTo>
                  <a:pt x="121" y="60"/>
                  <a:pt x="121" y="60"/>
                  <a:pt x="120" y="60"/>
                </a:cubicBezTo>
                <a:cubicBezTo>
                  <a:pt x="111" y="60"/>
                  <a:pt x="111" y="60"/>
                  <a:pt x="111" y="60"/>
                </a:cubicBezTo>
                <a:cubicBezTo>
                  <a:pt x="110" y="60"/>
                  <a:pt x="109" y="60"/>
                  <a:pt x="109" y="59"/>
                </a:cubicBezTo>
                <a:cubicBezTo>
                  <a:pt x="109" y="49"/>
                  <a:pt x="109" y="49"/>
                  <a:pt x="109" y="49"/>
                </a:cubicBezTo>
                <a:cubicBezTo>
                  <a:pt x="109" y="48"/>
                  <a:pt x="110" y="48"/>
                  <a:pt x="111" y="48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1" y="48"/>
                  <a:pt x="121" y="48"/>
                  <a:pt x="121" y="49"/>
                </a:cubicBezTo>
                <a:close/>
                <a:moveTo>
                  <a:pt x="133" y="25"/>
                </a:moveTo>
                <a:cubicBezTo>
                  <a:pt x="133" y="34"/>
                  <a:pt x="133" y="34"/>
                  <a:pt x="133" y="34"/>
                </a:cubicBezTo>
                <a:cubicBezTo>
                  <a:pt x="133" y="35"/>
                  <a:pt x="133" y="36"/>
                  <a:pt x="132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2" y="36"/>
                  <a:pt x="121" y="35"/>
                  <a:pt x="121" y="34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21" y="24"/>
                  <a:pt x="122" y="24"/>
                  <a:pt x="123" y="24"/>
                </a:cubicBezTo>
                <a:cubicBezTo>
                  <a:pt x="132" y="24"/>
                  <a:pt x="132" y="24"/>
                  <a:pt x="132" y="24"/>
                </a:cubicBezTo>
                <a:cubicBezTo>
                  <a:pt x="133" y="24"/>
                  <a:pt x="133" y="24"/>
                  <a:pt x="133" y="25"/>
                </a:cubicBezTo>
                <a:close/>
                <a:moveTo>
                  <a:pt x="158" y="25"/>
                </a:moveTo>
                <a:cubicBezTo>
                  <a:pt x="158" y="59"/>
                  <a:pt x="158" y="59"/>
                  <a:pt x="158" y="59"/>
                </a:cubicBezTo>
                <a:cubicBezTo>
                  <a:pt x="158" y="60"/>
                  <a:pt x="157" y="60"/>
                  <a:pt x="156" y="60"/>
                </a:cubicBezTo>
                <a:cubicBezTo>
                  <a:pt x="135" y="60"/>
                  <a:pt x="135" y="60"/>
                  <a:pt x="135" y="60"/>
                </a:cubicBezTo>
                <a:cubicBezTo>
                  <a:pt x="134" y="60"/>
                  <a:pt x="133" y="60"/>
                  <a:pt x="133" y="59"/>
                </a:cubicBezTo>
                <a:cubicBezTo>
                  <a:pt x="133" y="49"/>
                  <a:pt x="133" y="49"/>
                  <a:pt x="133" y="49"/>
                </a:cubicBezTo>
                <a:cubicBezTo>
                  <a:pt x="133" y="48"/>
                  <a:pt x="134" y="48"/>
                  <a:pt x="135" y="48"/>
                </a:cubicBezTo>
                <a:cubicBezTo>
                  <a:pt x="145" y="48"/>
                  <a:pt x="145" y="48"/>
                  <a:pt x="145" y="48"/>
                </a:cubicBezTo>
                <a:cubicBezTo>
                  <a:pt x="145" y="25"/>
                  <a:pt x="145" y="25"/>
                  <a:pt x="145" y="25"/>
                </a:cubicBezTo>
                <a:cubicBezTo>
                  <a:pt x="145" y="24"/>
                  <a:pt x="146" y="24"/>
                  <a:pt x="147" y="24"/>
                </a:cubicBezTo>
                <a:cubicBezTo>
                  <a:pt x="156" y="24"/>
                  <a:pt x="156" y="24"/>
                  <a:pt x="156" y="24"/>
                </a:cubicBezTo>
                <a:cubicBezTo>
                  <a:pt x="157" y="24"/>
                  <a:pt x="158" y="24"/>
                  <a:pt x="158" y="25"/>
                </a:cubicBezTo>
                <a:close/>
                <a:moveTo>
                  <a:pt x="158" y="74"/>
                </a:moveTo>
                <a:cubicBezTo>
                  <a:pt x="158" y="83"/>
                  <a:pt x="158" y="83"/>
                  <a:pt x="158" y="83"/>
                </a:cubicBezTo>
                <a:cubicBezTo>
                  <a:pt x="158" y="84"/>
                  <a:pt x="157" y="84"/>
                  <a:pt x="156" y="84"/>
                </a:cubicBezTo>
                <a:cubicBezTo>
                  <a:pt x="147" y="84"/>
                  <a:pt x="147" y="84"/>
                  <a:pt x="147" y="84"/>
                </a:cubicBezTo>
                <a:cubicBezTo>
                  <a:pt x="146" y="84"/>
                  <a:pt x="145" y="84"/>
                  <a:pt x="145" y="83"/>
                </a:cubicBezTo>
                <a:cubicBezTo>
                  <a:pt x="145" y="74"/>
                  <a:pt x="145" y="74"/>
                  <a:pt x="145" y="74"/>
                </a:cubicBezTo>
                <a:cubicBezTo>
                  <a:pt x="145" y="73"/>
                  <a:pt x="146" y="72"/>
                  <a:pt x="147" y="72"/>
                </a:cubicBezTo>
                <a:cubicBezTo>
                  <a:pt x="156" y="72"/>
                  <a:pt x="156" y="72"/>
                  <a:pt x="156" y="72"/>
                </a:cubicBezTo>
                <a:cubicBezTo>
                  <a:pt x="157" y="72"/>
                  <a:pt x="158" y="73"/>
                  <a:pt x="158" y="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7" name="Freeform 258"/>
          <p:cNvSpPr>
            <a:spLocks noChangeAspect="1" noEditPoints="1"/>
          </p:cNvSpPr>
          <p:nvPr/>
        </p:nvSpPr>
        <p:spPr bwMode="auto">
          <a:xfrm>
            <a:off x="4445522" y="3415057"/>
            <a:ext cx="168621" cy="151447"/>
          </a:xfrm>
          <a:custGeom>
            <a:avLst/>
            <a:gdLst>
              <a:gd name="T0" fmla="*/ 24 w 163"/>
              <a:gd name="T1" fmla="*/ 12 h 146"/>
              <a:gd name="T2" fmla="*/ 22 w 163"/>
              <a:gd name="T3" fmla="*/ 18 h 146"/>
              <a:gd name="T4" fmla="*/ 18 w 163"/>
              <a:gd name="T5" fmla="*/ 23 h 146"/>
              <a:gd name="T6" fmla="*/ 18 w 163"/>
              <a:gd name="T7" fmla="*/ 143 h 146"/>
              <a:gd name="T8" fmla="*/ 17 w 163"/>
              <a:gd name="T9" fmla="*/ 145 h 146"/>
              <a:gd name="T10" fmla="*/ 15 w 163"/>
              <a:gd name="T11" fmla="*/ 146 h 146"/>
              <a:gd name="T12" fmla="*/ 9 w 163"/>
              <a:gd name="T13" fmla="*/ 146 h 146"/>
              <a:gd name="T14" fmla="*/ 7 w 163"/>
              <a:gd name="T15" fmla="*/ 145 h 146"/>
              <a:gd name="T16" fmla="*/ 6 w 163"/>
              <a:gd name="T17" fmla="*/ 143 h 146"/>
              <a:gd name="T18" fmla="*/ 6 w 163"/>
              <a:gd name="T19" fmla="*/ 23 h 146"/>
              <a:gd name="T20" fmla="*/ 1 w 163"/>
              <a:gd name="T21" fmla="*/ 18 h 146"/>
              <a:gd name="T22" fmla="*/ 0 w 163"/>
              <a:gd name="T23" fmla="*/ 12 h 146"/>
              <a:gd name="T24" fmla="*/ 3 w 163"/>
              <a:gd name="T25" fmla="*/ 4 h 146"/>
              <a:gd name="T26" fmla="*/ 12 w 163"/>
              <a:gd name="T27" fmla="*/ 0 h 146"/>
              <a:gd name="T28" fmla="*/ 20 w 163"/>
              <a:gd name="T29" fmla="*/ 4 h 146"/>
              <a:gd name="T30" fmla="*/ 24 w 163"/>
              <a:gd name="T31" fmla="*/ 12 h 146"/>
              <a:gd name="T32" fmla="*/ 163 w 163"/>
              <a:gd name="T33" fmla="*/ 18 h 146"/>
              <a:gd name="T34" fmla="*/ 163 w 163"/>
              <a:gd name="T35" fmla="*/ 91 h 146"/>
              <a:gd name="T36" fmla="*/ 160 w 163"/>
              <a:gd name="T37" fmla="*/ 96 h 146"/>
              <a:gd name="T38" fmla="*/ 158 w 163"/>
              <a:gd name="T39" fmla="*/ 97 h 146"/>
              <a:gd name="T40" fmla="*/ 123 w 163"/>
              <a:gd name="T41" fmla="*/ 108 h 146"/>
              <a:gd name="T42" fmla="*/ 108 w 163"/>
              <a:gd name="T43" fmla="*/ 105 h 146"/>
              <a:gd name="T44" fmla="*/ 106 w 163"/>
              <a:gd name="T45" fmla="*/ 103 h 146"/>
              <a:gd name="T46" fmla="*/ 96 w 163"/>
              <a:gd name="T47" fmla="*/ 99 h 146"/>
              <a:gd name="T48" fmla="*/ 88 w 163"/>
              <a:gd name="T49" fmla="*/ 96 h 146"/>
              <a:gd name="T50" fmla="*/ 77 w 163"/>
              <a:gd name="T51" fmla="*/ 95 h 146"/>
              <a:gd name="T52" fmla="*/ 55 w 163"/>
              <a:gd name="T53" fmla="*/ 99 h 146"/>
              <a:gd name="T54" fmla="*/ 33 w 163"/>
              <a:gd name="T55" fmla="*/ 108 h 146"/>
              <a:gd name="T56" fmla="*/ 30 w 163"/>
              <a:gd name="T57" fmla="*/ 109 h 146"/>
              <a:gd name="T58" fmla="*/ 27 w 163"/>
              <a:gd name="T59" fmla="*/ 108 h 146"/>
              <a:gd name="T60" fmla="*/ 24 w 163"/>
              <a:gd name="T61" fmla="*/ 103 h 146"/>
              <a:gd name="T62" fmla="*/ 24 w 163"/>
              <a:gd name="T63" fmla="*/ 33 h 146"/>
              <a:gd name="T64" fmla="*/ 27 w 163"/>
              <a:gd name="T65" fmla="*/ 28 h 146"/>
              <a:gd name="T66" fmla="*/ 34 w 163"/>
              <a:gd name="T67" fmla="*/ 24 h 146"/>
              <a:gd name="T68" fmla="*/ 45 w 163"/>
              <a:gd name="T69" fmla="*/ 19 h 146"/>
              <a:gd name="T70" fmla="*/ 60 w 163"/>
              <a:gd name="T71" fmla="*/ 14 h 146"/>
              <a:gd name="T72" fmla="*/ 74 w 163"/>
              <a:gd name="T73" fmla="*/ 12 h 146"/>
              <a:gd name="T74" fmla="*/ 94 w 163"/>
              <a:gd name="T75" fmla="*/ 15 h 146"/>
              <a:gd name="T76" fmla="*/ 114 w 163"/>
              <a:gd name="T77" fmla="*/ 23 h 146"/>
              <a:gd name="T78" fmla="*/ 122 w 163"/>
              <a:gd name="T79" fmla="*/ 25 h 146"/>
              <a:gd name="T80" fmla="*/ 151 w 163"/>
              <a:gd name="T81" fmla="*/ 15 h 146"/>
              <a:gd name="T82" fmla="*/ 154 w 163"/>
              <a:gd name="T83" fmla="*/ 13 h 146"/>
              <a:gd name="T84" fmla="*/ 160 w 163"/>
              <a:gd name="T85" fmla="*/ 13 h 146"/>
              <a:gd name="T86" fmla="*/ 163 w 163"/>
              <a:gd name="T87" fmla="*/ 18 h 146"/>
              <a:gd name="T88" fmla="*/ 151 w 163"/>
              <a:gd name="T89" fmla="*/ 87 h 146"/>
              <a:gd name="T90" fmla="*/ 151 w 163"/>
              <a:gd name="T91" fmla="*/ 29 h 146"/>
              <a:gd name="T92" fmla="*/ 122 w 163"/>
              <a:gd name="T93" fmla="*/ 37 h 146"/>
              <a:gd name="T94" fmla="*/ 108 w 163"/>
              <a:gd name="T95" fmla="*/ 34 h 146"/>
              <a:gd name="T96" fmla="*/ 91 w 163"/>
              <a:gd name="T97" fmla="*/ 27 h 146"/>
              <a:gd name="T98" fmla="*/ 74 w 163"/>
              <a:gd name="T99" fmla="*/ 25 h 146"/>
              <a:gd name="T100" fmla="*/ 36 w 163"/>
              <a:gd name="T101" fmla="*/ 37 h 146"/>
              <a:gd name="T102" fmla="*/ 36 w 163"/>
              <a:gd name="T103" fmla="*/ 93 h 146"/>
              <a:gd name="T104" fmla="*/ 77 w 163"/>
              <a:gd name="T105" fmla="*/ 82 h 146"/>
              <a:gd name="T106" fmla="*/ 87 w 163"/>
              <a:gd name="T107" fmla="*/ 83 h 146"/>
              <a:gd name="T108" fmla="*/ 96 w 163"/>
              <a:gd name="T109" fmla="*/ 86 h 146"/>
              <a:gd name="T110" fmla="*/ 103 w 163"/>
              <a:gd name="T111" fmla="*/ 89 h 146"/>
              <a:gd name="T112" fmla="*/ 111 w 163"/>
              <a:gd name="T113" fmla="*/ 92 h 146"/>
              <a:gd name="T114" fmla="*/ 114 w 163"/>
              <a:gd name="T115" fmla="*/ 94 h 146"/>
              <a:gd name="T116" fmla="*/ 123 w 163"/>
              <a:gd name="T117" fmla="*/ 96 h 146"/>
              <a:gd name="T118" fmla="*/ 151 w 163"/>
              <a:gd name="T119" fmla="*/ 8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3" h="146">
                <a:moveTo>
                  <a:pt x="24" y="12"/>
                </a:moveTo>
                <a:cubicBezTo>
                  <a:pt x="24" y="15"/>
                  <a:pt x="23" y="17"/>
                  <a:pt x="22" y="18"/>
                </a:cubicBezTo>
                <a:cubicBezTo>
                  <a:pt x="21" y="20"/>
                  <a:pt x="20" y="22"/>
                  <a:pt x="18" y="23"/>
                </a:cubicBezTo>
                <a:cubicBezTo>
                  <a:pt x="18" y="143"/>
                  <a:pt x="18" y="143"/>
                  <a:pt x="18" y="143"/>
                </a:cubicBezTo>
                <a:cubicBezTo>
                  <a:pt x="18" y="143"/>
                  <a:pt x="18" y="144"/>
                  <a:pt x="17" y="145"/>
                </a:cubicBezTo>
                <a:cubicBezTo>
                  <a:pt x="16" y="145"/>
                  <a:pt x="16" y="146"/>
                  <a:pt x="15" y="146"/>
                </a:cubicBezTo>
                <a:cubicBezTo>
                  <a:pt x="9" y="146"/>
                  <a:pt x="9" y="146"/>
                  <a:pt x="9" y="146"/>
                </a:cubicBezTo>
                <a:cubicBezTo>
                  <a:pt x="8" y="146"/>
                  <a:pt x="7" y="145"/>
                  <a:pt x="7" y="145"/>
                </a:cubicBezTo>
                <a:cubicBezTo>
                  <a:pt x="6" y="144"/>
                  <a:pt x="6" y="143"/>
                  <a:pt x="6" y="143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2"/>
                  <a:pt x="3" y="20"/>
                  <a:pt x="1" y="18"/>
                </a:cubicBezTo>
                <a:cubicBezTo>
                  <a:pt x="0" y="17"/>
                  <a:pt x="0" y="15"/>
                  <a:pt x="0" y="12"/>
                </a:cubicBezTo>
                <a:cubicBezTo>
                  <a:pt x="0" y="9"/>
                  <a:pt x="1" y="6"/>
                  <a:pt x="3" y="4"/>
                </a:cubicBezTo>
                <a:cubicBezTo>
                  <a:pt x="6" y="1"/>
                  <a:pt x="9" y="0"/>
                  <a:pt x="12" y="0"/>
                </a:cubicBezTo>
                <a:cubicBezTo>
                  <a:pt x="15" y="0"/>
                  <a:pt x="18" y="1"/>
                  <a:pt x="20" y="4"/>
                </a:cubicBezTo>
                <a:cubicBezTo>
                  <a:pt x="23" y="6"/>
                  <a:pt x="24" y="9"/>
                  <a:pt x="24" y="12"/>
                </a:cubicBezTo>
                <a:close/>
                <a:moveTo>
                  <a:pt x="163" y="18"/>
                </a:moveTo>
                <a:cubicBezTo>
                  <a:pt x="163" y="91"/>
                  <a:pt x="163" y="91"/>
                  <a:pt x="163" y="91"/>
                </a:cubicBezTo>
                <a:cubicBezTo>
                  <a:pt x="163" y="93"/>
                  <a:pt x="162" y="95"/>
                  <a:pt x="160" y="96"/>
                </a:cubicBezTo>
                <a:cubicBezTo>
                  <a:pt x="159" y="96"/>
                  <a:pt x="159" y="97"/>
                  <a:pt x="158" y="97"/>
                </a:cubicBezTo>
                <a:cubicBezTo>
                  <a:pt x="144" y="104"/>
                  <a:pt x="133" y="108"/>
                  <a:pt x="123" y="108"/>
                </a:cubicBezTo>
                <a:cubicBezTo>
                  <a:pt x="118" y="108"/>
                  <a:pt x="113" y="107"/>
                  <a:pt x="108" y="105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2" y="101"/>
                  <a:pt x="99" y="100"/>
                  <a:pt x="96" y="99"/>
                </a:cubicBezTo>
                <a:cubicBezTo>
                  <a:pt x="94" y="98"/>
                  <a:pt x="91" y="97"/>
                  <a:pt x="88" y="96"/>
                </a:cubicBezTo>
                <a:cubicBezTo>
                  <a:pt x="84" y="95"/>
                  <a:pt x="81" y="95"/>
                  <a:pt x="77" y="95"/>
                </a:cubicBezTo>
                <a:cubicBezTo>
                  <a:pt x="71" y="95"/>
                  <a:pt x="63" y="96"/>
                  <a:pt x="55" y="99"/>
                </a:cubicBezTo>
                <a:cubicBezTo>
                  <a:pt x="46" y="102"/>
                  <a:pt x="39" y="105"/>
                  <a:pt x="33" y="108"/>
                </a:cubicBezTo>
                <a:cubicBezTo>
                  <a:pt x="32" y="109"/>
                  <a:pt x="31" y="109"/>
                  <a:pt x="30" y="109"/>
                </a:cubicBezTo>
                <a:cubicBezTo>
                  <a:pt x="29" y="109"/>
                  <a:pt x="28" y="109"/>
                  <a:pt x="27" y="108"/>
                </a:cubicBezTo>
                <a:cubicBezTo>
                  <a:pt x="25" y="107"/>
                  <a:pt x="24" y="106"/>
                  <a:pt x="24" y="103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31"/>
                  <a:pt x="25" y="29"/>
                  <a:pt x="27" y="28"/>
                </a:cubicBezTo>
                <a:cubicBezTo>
                  <a:pt x="29" y="27"/>
                  <a:pt x="32" y="25"/>
                  <a:pt x="34" y="24"/>
                </a:cubicBezTo>
                <a:cubicBezTo>
                  <a:pt x="37" y="22"/>
                  <a:pt x="41" y="21"/>
                  <a:pt x="45" y="19"/>
                </a:cubicBezTo>
                <a:cubicBezTo>
                  <a:pt x="50" y="17"/>
                  <a:pt x="54" y="15"/>
                  <a:pt x="60" y="14"/>
                </a:cubicBezTo>
                <a:cubicBezTo>
                  <a:pt x="65" y="13"/>
                  <a:pt x="70" y="12"/>
                  <a:pt x="74" y="12"/>
                </a:cubicBezTo>
                <a:cubicBezTo>
                  <a:pt x="81" y="12"/>
                  <a:pt x="88" y="13"/>
                  <a:pt x="94" y="15"/>
                </a:cubicBezTo>
                <a:cubicBezTo>
                  <a:pt x="100" y="17"/>
                  <a:pt x="107" y="20"/>
                  <a:pt x="114" y="23"/>
                </a:cubicBezTo>
                <a:cubicBezTo>
                  <a:pt x="116" y="25"/>
                  <a:pt x="119" y="25"/>
                  <a:pt x="122" y="25"/>
                </a:cubicBezTo>
                <a:cubicBezTo>
                  <a:pt x="130" y="25"/>
                  <a:pt x="140" y="22"/>
                  <a:pt x="151" y="15"/>
                </a:cubicBezTo>
                <a:cubicBezTo>
                  <a:pt x="153" y="14"/>
                  <a:pt x="154" y="13"/>
                  <a:pt x="154" y="13"/>
                </a:cubicBezTo>
                <a:cubicBezTo>
                  <a:pt x="156" y="12"/>
                  <a:pt x="158" y="12"/>
                  <a:pt x="160" y="13"/>
                </a:cubicBezTo>
                <a:cubicBezTo>
                  <a:pt x="162" y="15"/>
                  <a:pt x="163" y="16"/>
                  <a:pt x="163" y="18"/>
                </a:cubicBezTo>
                <a:close/>
                <a:moveTo>
                  <a:pt x="151" y="87"/>
                </a:moveTo>
                <a:cubicBezTo>
                  <a:pt x="151" y="29"/>
                  <a:pt x="151" y="29"/>
                  <a:pt x="151" y="29"/>
                </a:cubicBezTo>
                <a:cubicBezTo>
                  <a:pt x="140" y="35"/>
                  <a:pt x="131" y="37"/>
                  <a:pt x="122" y="37"/>
                </a:cubicBezTo>
                <a:cubicBezTo>
                  <a:pt x="117" y="37"/>
                  <a:pt x="112" y="36"/>
                  <a:pt x="108" y="34"/>
                </a:cubicBezTo>
                <a:cubicBezTo>
                  <a:pt x="102" y="31"/>
                  <a:pt x="96" y="29"/>
                  <a:pt x="91" y="27"/>
                </a:cubicBezTo>
                <a:cubicBezTo>
                  <a:pt x="86" y="25"/>
                  <a:pt x="80" y="25"/>
                  <a:pt x="74" y="25"/>
                </a:cubicBezTo>
                <a:cubicBezTo>
                  <a:pt x="63" y="25"/>
                  <a:pt x="51" y="29"/>
                  <a:pt x="36" y="37"/>
                </a:cubicBezTo>
                <a:cubicBezTo>
                  <a:pt x="36" y="93"/>
                  <a:pt x="36" y="93"/>
                  <a:pt x="36" y="93"/>
                </a:cubicBezTo>
                <a:cubicBezTo>
                  <a:pt x="52" y="86"/>
                  <a:pt x="65" y="82"/>
                  <a:pt x="77" y="82"/>
                </a:cubicBezTo>
                <a:cubicBezTo>
                  <a:pt x="80" y="82"/>
                  <a:pt x="84" y="83"/>
                  <a:pt x="87" y="83"/>
                </a:cubicBezTo>
                <a:cubicBezTo>
                  <a:pt x="90" y="84"/>
                  <a:pt x="93" y="84"/>
                  <a:pt x="96" y="86"/>
                </a:cubicBezTo>
                <a:cubicBezTo>
                  <a:pt x="99" y="87"/>
                  <a:pt x="102" y="88"/>
                  <a:pt x="103" y="89"/>
                </a:cubicBezTo>
                <a:cubicBezTo>
                  <a:pt x="105" y="89"/>
                  <a:pt x="108" y="91"/>
                  <a:pt x="111" y="92"/>
                </a:cubicBezTo>
                <a:cubicBezTo>
                  <a:pt x="114" y="94"/>
                  <a:pt x="114" y="94"/>
                  <a:pt x="114" y="94"/>
                </a:cubicBezTo>
                <a:cubicBezTo>
                  <a:pt x="117" y="95"/>
                  <a:pt x="120" y="96"/>
                  <a:pt x="123" y="96"/>
                </a:cubicBezTo>
                <a:cubicBezTo>
                  <a:pt x="131" y="96"/>
                  <a:pt x="140" y="93"/>
                  <a:pt x="151" y="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8" name="Freeform 259"/>
          <p:cNvSpPr>
            <a:spLocks noChangeAspect="1" noEditPoints="1"/>
          </p:cNvSpPr>
          <p:nvPr/>
        </p:nvSpPr>
        <p:spPr bwMode="auto">
          <a:xfrm>
            <a:off x="4667228" y="3415057"/>
            <a:ext cx="168621" cy="151447"/>
          </a:xfrm>
          <a:custGeom>
            <a:avLst/>
            <a:gdLst>
              <a:gd name="T0" fmla="*/ 23 w 164"/>
              <a:gd name="T1" fmla="*/ 18 h 146"/>
              <a:gd name="T2" fmla="*/ 18 w 164"/>
              <a:gd name="T3" fmla="*/ 143 h 146"/>
              <a:gd name="T4" fmla="*/ 15 w 164"/>
              <a:gd name="T5" fmla="*/ 146 h 146"/>
              <a:gd name="T6" fmla="*/ 7 w 164"/>
              <a:gd name="T7" fmla="*/ 145 h 146"/>
              <a:gd name="T8" fmla="*/ 6 w 164"/>
              <a:gd name="T9" fmla="*/ 23 h 146"/>
              <a:gd name="T10" fmla="*/ 0 w 164"/>
              <a:gd name="T11" fmla="*/ 12 h 146"/>
              <a:gd name="T12" fmla="*/ 12 w 164"/>
              <a:gd name="T13" fmla="*/ 0 h 146"/>
              <a:gd name="T14" fmla="*/ 24 w 164"/>
              <a:gd name="T15" fmla="*/ 12 h 146"/>
              <a:gd name="T16" fmla="*/ 164 w 164"/>
              <a:gd name="T17" fmla="*/ 91 h 146"/>
              <a:gd name="T18" fmla="*/ 159 w 164"/>
              <a:gd name="T19" fmla="*/ 97 h 146"/>
              <a:gd name="T20" fmla="*/ 109 w 164"/>
              <a:gd name="T21" fmla="*/ 105 h 146"/>
              <a:gd name="T22" fmla="*/ 97 w 164"/>
              <a:gd name="T23" fmla="*/ 99 h 146"/>
              <a:gd name="T24" fmla="*/ 77 w 164"/>
              <a:gd name="T25" fmla="*/ 95 h 146"/>
              <a:gd name="T26" fmla="*/ 34 w 164"/>
              <a:gd name="T27" fmla="*/ 108 h 146"/>
              <a:gd name="T28" fmla="*/ 27 w 164"/>
              <a:gd name="T29" fmla="*/ 108 h 146"/>
              <a:gd name="T30" fmla="*/ 24 w 164"/>
              <a:gd name="T31" fmla="*/ 33 h 146"/>
              <a:gd name="T32" fmla="*/ 35 w 164"/>
              <a:gd name="T33" fmla="*/ 24 h 146"/>
              <a:gd name="T34" fmla="*/ 60 w 164"/>
              <a:gd name="T35" fmla="*/ 14 h 146"/>
              <a:gd name="T36" fmla="*/ 94 w 164"/>
              <a:gd name="T37" fmla="*/ 15 h 146"/>
              <a:gd name="T38" fmla="*/ 123 w 164"/>
              <a:gd name="T39" fmla="*/ 25 h 146"/>
              <a:gd name="T40" fmla="*/ 155 w 164"/>
              <a:gd name="T41" fmla="*/ 13 h 146"/>
              <a:gd name="T42" fmla="*/ 164 w 164"/>
              <a:gd name="T43" fmla="*/ 18 h 146"/>
              <a:gd name="T44" fmla="*/ 73 w 164"/>
              <a:gd name="T45" fmla="*/ 25 h 146"/>
              <a:gd name="T46" fmla="*/ 36 w 164"/>
              <a:gd name="T47" fmla="*/ 54 h 146"/>
              <a:gd name="T48" fmla="*/ 73 w 164"/>
              <a:gd name="T49" fmla="*/ 83 h 146"/>
              <a:gd name="T50" fmla="*/ 36 w 164"/>
              <a:gd name="T51" fmla="*/ 76 h 146"/>
              <a:gd name="T52" fmla="*/ 73 w 164"/>
              <a:gd name="T53" fmla="*/ 83 h 146"/>
              <a:gd name="T54" fmla="*/ 151 w 164"/>
              <a:gd name="T55" fmla="*/ 70 h 146"/>
              <a:gd name="T56" fmla="*/ 115 w 164"/>
              <a:gd name="T57" fmla="*/ 55 h 146"/>
              <a:gd name="T58" fmla="*/ 108 w 164"/>
              <a:gd name="T59" fmla="*/ 52 h 146"/>
              <a:gd name="T60" fmla="*/ 102 w 164"/>
              <a:gd name="T61" fmla="*/ 49 h 146"/>
              <a:gd name="T62" fmla="*/ 96 w 164"/>
              <a:gd name="T63" fmla="*/ 46 h 146"/>
              <a:gd name="T64" fmla="*/ 89 w 164"/>
              <a:gd name="T65" fmla="*/ 44 h 146"/>
              <a:gd name="T66" fmla="*/ 82 w 164"/>
              <a:gd name="T67" fmla="*/ 43 h 146"/>
              <a:gd name="T68" fmla="*/ 73 w 164"/>
              <a:gd name="T69" fmla="*/ 43 h 146"/>
              <a:gd name="T70" fmla="*/ 75 w 164"/>
              <a:gd name="T71" fmla="*/ 64 h 146"/>
              <a:gd name="T72" fmla="*/ 111 w 164"/>
              <a:gd name="T73" fmla="*/ 75 h 146"/>
              <a:gd name="T74" fmla="*/ 115 w 164"/>
              <a:gd name="T75" fmla="*/ 94 h 146"/>
              <a:gd name="T76" fmla="*/ 151 w 164"/>
              <a:gd name="T77" fmla="*/ 87 h 146"/>
              <a:gd name="T78" fmla="*/ 151 w 164"/>
              <a:gd name="T79" fmla="*/ 29 h 146"/>
              <a:gd name="T80" fmla="*/ 115 w 164"/>
              <a:gd name="T81" fmla="*/ 37 h 146"/>
              <a:gd name="T82" fmla="*/ 151 w 164"/>
              <a:gd name="T83" fmla="*/ 4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4" h="146">
                <a:moveTo>
                  <a:pt x="24" y="12"/>
                </a:moveTo>
                <a:cubicBezTo>
                  <a:pt x="24" y="15"/>
                  <a:pt x="24" y="17"/>
                  <a:pt x="23" y="18"/>
                </a:cubicBezTo>
                <a:cubicBezTo>
                  <a:pt x="22" y="20"/>
                  <a:pt x="20" y="22"/>
                  <a:pt x="18" y="23"/>
                </a:cubicBezTo>
                <a:cubicBezTo>
                  <a:pt x="18" y="143"/>
                  <a:pt x="18" y="143"/>
                  <a:pt x="18" y="143"/>
                </a:cubicBezTo>
                <a:cubicBezTo>
                  <a:pt x="18" y="143"/>
                  <a:pt x="18" y="144"/>
                  <a:pt x="17" y="145"/>
                </a:cubicBezTo>
                <a:cubicBezTo>
                  <a:pt x="17" y="145"/>
                  <a:pt x="16" y="146"/>
                  <a:pt x="15" y="146"/>
                </a:cubicBezTo>
                <a:cubicBezTo>
                  <a:pt x="9" y="146"/>
                  <a:pt x="9" y="146"/>
                  <a:pt x="9" y="146"/>
                </a:cubicBezTo>
                <a:cubicBezTo>
                  <a:pt x="8" y="146"/>
                  <a:pt x="8" y="145"/>
                  <a:pt x="7" y="145"/>
                </a:cubicBezTo>
                <a:cubicBezTo>
                  <a:pt x="6" y="144"/>
                  <a:pt x="6" y="143"/>
                  <a:pt x="6" y="143"/>
                </a:cubicBezTo>
                <a:cubicBezTo>
                  <a:pt x="6" y="23"/>
                  <a:pt x="6" y="23"/>
                  <a:pt x="6" y="23"/>
                </a:cubicBezTo>
                <a:cubicBezTo>
                  <a:pt x="4" y="22"/>
                  <a:pt x="3" y="20"/>
                  <a:pt x="2" y="18"/>
                </a:cubicBezTo>
                <a:cubicBezTo>
                  <a:pt x="1" y="17"/>
                  <a:pt x="0" y="15"/>
                  <a:pt x="0" y="12"/>
                </a:cubicBezTo>
                <a:cubicBezTo>
                  <a:pt x="0" y="9"/>
                  <a:pt x="1" y="6"/>
                  <a:pt x="4" y="4"/>
                </a:cubicBezTo>
                <a:cubicBezTo>
                  <a:pt x="6" y="1"/>
                  <a:pt x="9" y="0"/>
                  <a:pt x="12" y="0"/>
                </a:cubicBezTo>
                <a:cubicBezTo>
                  <a:pt x="16" y="0"/>
                  <a:pt x="18" y="1"/>
                  <a:pt x="21" y="4"/>
                </a:cubicBezTo>
                <a:cubicBezTo>
                  <a:pt x="23" y="6"/>
                  <a:pt x="24" y="9"/>
                  <a:pt x="24" y="12"/>
                </a:cubicBezTo>
                <a:close/>
                <a:moveTo>
                  <a:pt x="164" y="18"/>
                </a:moveTo>
                <a:cubicBezTo>
                  <a:pt x="164" y="91"/>
                  <a:pt x="164" y="91"/>
                  <a:pt x="164" y="91"/>
                </a:cubicBezTo>
                <a:cubicBezTo>
                  <a:pt x="164" y="93"/>
                  <a:pt x="162" y="95"/>
                  <a:pt x="160" y="96"/>
                </a:cubicBezTo>
                <a:cubicBezTo>
                  <a:pt x="160" y="96"/>
                  <a:pt x="159" y="97"/>
                  <a:pt x="159" y="97"/>
                </a:cubicBezTo>
                <a:cubicBezTo>
                  <a:pt x="145" y="104"/>
                  <a:pt x="133" y="108"/>
                  <a:pt x="124" y="108"/>
                </a:cubicBezTo>
                <a:cubicBezTo>
                  <a:pt x="118" y="108"/>
                  <a:pt x="113" y="107"/>
                  <a:pt x="109" y="105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2" y="101"/>
                  <a:pt x="99" y="100"/>
                  <a:pt x="97" y="99"/>
                </a:cubicBezTo>
                <a:cubicBezTo>
                  <a:pt x="95" y="98"/>
                  <a:pt x="92" y="97"/>
                  <a:pt x="88" y="96"/>
                </a:cubicBezTo>
                <a:cubicBezTo>
                  <a:pt x="85" y="95"/>
                  <a:pt x="81" y="95"/>
                  <a:pt x="77" y="95"/>
                </a:cubicBezTo>
                <a:cubicBezTo>
                  <a:pt x="71" y="95"/>
                  <a:pt x="64" y="96"/>
                  <a:pt x="55" y="99"/>
                </a:cubicBezTo>
                <a:cubicBezTo>
                  <a:pt x="47" y="102"/>
                  <a:pt x="40" y="105"/>
                  <a:pt x="34" y="108"/>
                </a:cubicBezTo>
                <a:cubicBezTo>
                  <a:pt x="33" y="109"/>
                  <a:pt x="32" y="109"/>
                  <a:pt x="30" y="109"/>
                </a:cubicBezTo>
                <a:cubicBezTo>
                  <a:pt x="29" y="109"/>
                  <a:pt x="28" y="109"/>
                  <a:pt x="27" y="108"/>
                </a:cubicBezTo>
                <a:cubicBezTo>
                  <a:pt x="25" y="107"/>
                  <a:pt x="24" y="106"/>
                  <a:pt x="24" y="103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31"/>
                  <a:pt x="25" y="29"/>
                  <a:pt x="27" y="28"/>
                </a:cubicBezTo>
                <a:cubicBezTo>
                  <a:pt x="29" y="27"/>
                  <a:pt x="32" y="25"/>
                  <a:pt x="35" y="24"/>
                </a:cubicBezTo>
                <a:cubicBezTo>
                  <a:pt x="37" y="22"/>
                  <a:pt x="41" y="21"/>
                  <a:pt x="45" y="19"/>
                </a:cubicBezTo>
                <a:cubicBezTo>
                  <a:pt x="50" y="17"/>
                  <a:pt x="55" y="15"/>
                  <a:pt x="60" y="14"/>
                </a:cubicBezTo>
                <a:cubicBezTo>
                  <a:pt x="65" y="13"/>
                  <a:pt x="70" y="12"/>
                  <a:pt x="75" y="12"/>
                </a:cubicBezTo>
                <a:cubicBezTo>
                  <a:pt x="82" y="12"/>
                  <a:pt x="88" y="13"/>
                  <a:pt x="94" y="15"/>
                </a:cubicBezTo>
                <a:cubicBezTo>
                  <a:pt x="100" y="17"/>
                  <a:pt x="107" y="20"/>
                  <a:pt x="114" y="23"/>
                </a:cubicBezTo>
                <a:cubicBezTo>
                  <a:pt x="116" y="25"/>
                  <a:pt x="119" y="25"/>
                  <a:pt x="123" y="25"/>
                </a:cubicBezTo>
                <a:cubicBezTo>
                  <a:pt x="130" y="25"/>
                  <a:pt x="140" y="22"/>
                  <a:pt x="152" y="15"/>
                </a:cubicBezTo>
                <a:cubicBezTo>
                  <a:pt x="153" y="14"/>
                  <a:pt x="154" y="13"/>
                  <a:pt x="155" y="13"/>
                </a:cubicBezTo>
                <a:cubicBezTo>
                  <a:pt x="157" y="12"/>
                  <a:pt x="159" y="12"/>
                  <a:pt x="161" y="13"/>
                </a:cubicBezTo>
                <a:cubicBezTo>
                  <a:pt x="163" y="15"/>
                  <a:pt x="164" y="16"/>
                  <a:pt x="164" y="18"/>
                </a:cubicBezTo>
                <a:close/>
                <a:moveTo>
                  <a:pt x="73" y="43"/>
                </a:moveTo>
                <a:cubicBezTo>
                  <a:pt x="73" y="25"/>
                  <a:pt x="73" y="25"/>
                  <a:pt x="73" y="25"/>
                </a:cubicBezTo>
                <a:cubicBezTo>
                  <a:pt x="62" y="25"/>
                  <a:pt x="50" y="29"/>
                  <a:pt x="36" y="37"/>
                </a:cubicBezTo>
                <a:cubicBezTo>
                  <a:pt x="36" y="54"/>
                  <a:pt x="36" y="54"/>
                  <a:pt x="36" y="54"/>
                </a:cubicBezTo>
                <a:cubicBezTo>
                  <a:pt x="50" y="47"/>
                  <a:pt x="62" y="44"/>
                  <a:pt x="73" y="43"/>
                </a:cubicBezTo>
                <a:close/>
                <a:moveTo>
                  <a:pt x="73" y="83"/>
                </a:moveTo>
                <a:cubicBezTo>
                  <a:pt x="73" y="65"/>
                  <a:pt x="73" y="65"/>
                  <a:pt x="73" y="65"/>
                </a:cubicBezTo>
                <a:cubicBezTo>
                  <a:pt x="61" y="66"/>
                  <a:pt x="49" y="69"/>
                  <a:pt x="36" y="76"/>
                </a:cubicBezTo>
                <a:cubicBezTo>
                  <a:pt x="36" y="93"/>
                  <a:pt x="36" y="93"/>
                  <a:pt x="36" y="93"/>
                </a:cubicBezTo>
                <a:cubicBezTo>
                  <a:pt x="49" y="87"/>
                  <a:pt x="61" y="84"/>
                  <a:pt x="73" y="83"/>
                </a:cubicBezTo>
                <a:close/>
                <a:moveTo>
                  <a:pt x="151" y="87"/>
                </a:moveTo>
                <a:cubicBezTo>
                  <a:pt x="151" y="70"/>
                  <a:pt x="151" y="70"/>
                  <a:pt x="151" y="70"/>
                </a:cubicBezTo>
                <a:cubicBezTo>
                  <a:pt x="137" y="77"/>
                  <a:pt x="125" y="79"/>
                  <a:pt x="115" y="76"/>
                </a:cubicBezTo>
                <a:cubicBezTo>
                  <a:pt x="115" y="55"/>
                  <a:pt x="115" y="55"/>
                  <a:pt x="115" y="55"/>
                </a:cubicBezTo>
                <a:cubicBezTo>
                  <a:pt x="114" y="55"/>
                  <a:pt x="113" y="54"/>
                  <a:pt x="111" y="54"/>
                </a:cubicBezTo>
                <a:cubicBezTo>
                  <a:pt x="111" y="54"/>
                  <a:pt x="110" y="53"/>
                  <a:pt x="108" y="52"/>
                </a:cubicBezTo>
                <a:cubicBezTo>
                  <a:pt x="107" y="51"/>
                  <a:pt x="105" y="51"/>
                  <a:pt x="105" y="51"/>
                </a:cubicBezTo>
                <a:cubicBezTo>
                  <a:pt x="105" y="50"/>
                  <a:pt x="104" y="50"/>
                  <a:pt x="102" y="49"/>
                </a:cubicBezTo>
                <a:cubicBezTo>
                  <a:pt x="101" y="48"/>
                  <a:pt x="99" y="48"/>
                  <a:pt x="99" y="48"/>
                </a:cubicBezTo>
                <a:cubicBezTo>
                  <a:pt x="98" y="47"/>
                  <a:pt x="97" y="47"/>
                  <a:pt x="96" y="46"/>
                </a:cubicBezTo>
                <a:cubicBezTo>
                  <a:pt x="94" y="46"/>
                  <a:pt x="93" y="45"/>
                  <a:pt x="92" y="45"/>
                </a:cubicBezTo>
                <a:cubicBezTo>
                  <a:pt x="92" y="45"/>
                  <a:pt x="90" y="45"/>
                  <a:pt x="89" y="44"/>
                </a:cubicBezTo>
                <a:cubicBezTo>
                  <a:pt x="88" y="44"/>
                  <a:pt x="86" y="44"/>
                  <a:pt x="85" y="44"/>
                </a:cubicBezTo>
                <a:cubicBezTo>
                  <a:pt x="84" y="44"/>
                  <a:pt x="83" y="43"/>
                  <a:pt x="82" y="43"/>
                </a:cubicBezTo>
                <a:cubicBezTo>
                  <a:pt x="80" y="43"/>
                  <a:pt x="79" y="43"/>
                  <a:pt x="77" y="43"/>
                </a:cubicBezTo>
                <a:cubicBezTo>
                  <a:pt x="76" y="43"/>
                  <a:pt x="74" y="43"/>
                  <a:pt x="73" y="43"/>
                </a:cubicBezTo>
                <a:cubicBezTo>
                  <a:pt x="73" y="64"/>
                  <a:pt x="73" y="64"/>
                  <a:pt x="73" y="64"/>
                </a:cubicBezTo>
                <a:cubicBezTo>
                  <a:pt x="75" y="64"/>
                  <a:pt x="75" y="64"/>
                  <a:pt x="75" y="64"/>
                </a:cubicBezTo>
                <a:cubicBezTo>
                  <a:pt x="81" y="64"/>
                  <a:pt x="87" y="65"/>
                  <a:pt x="93" y="67"/>
                </a:cubicBezTo>
                <a:cubicBezTo>
                  <a:pt x="98" y="69"/>
                  <a:pt x="105" y="72"/>
                  <a:pt x="111" y="75"/>
                </a:cubicBezTo>
                <a:cubicBezTo>
                  <a:pt x="113" y="75"/>
                  <a:pt x="114" y="76"/>
                  <a:pt x="115" y="76"/>
                </a:cubicBezTo>
                <a:cubicBezTo>
                  <a:pt x="115" y="94"/>
                  <a:pt x="115" y="94"/>
                  <a:pt x="115" y="94"/>
                </a:cubicBezTo>
                <a:cubicBezTo>
                  <a:pt x="118" y="95"/>
                  <a:pt x="121" y="96"/>
                  <a:pt x="124" y="96"/>
                </a:cubicBezTo>
                <a:cubicBezTo>
                  <a:pt x="131" y="96"/>
                  <a:pt x="141" y="93"/>
                  <a:pt x="151" y="87"/>
                </a:cubicBezTo>
                <a:close/>
                <a:moveTo>
                  <a:pt x="151" y="47"/>
                </a:moveTo>
                <a:cubicBezTo>
                  <a:pt x="151" y="29"/>
                  <a:pt x="151" y="29"/>
                  <a:pt x="151" y="29"/>
                </a:cubicBezTo>
                <a:cubicBezTo>
                  <a:pt x="141" y="35"/>
                  <a:pt x="131" y="37"/>
                  <a:pt x="123" y="37"/>
                </a:cubicBezTo>
                <a:cubicBezTo>
                  <a:pt x="120" y="37"/>
                  <a:pt x="117" y="37"/>
                  <a:pt x="115" y="37"/>
                </a:cubicBezTo>
                <a:cubicBezTo>
                  <a:pt x="115" y="55"/>
                  <a:pt x="115" y="55"/>
                  <a:pt x="115" y="55"/>
                </a:cubicBezTo>
                <a:cubicBezTo>
                  <a:pt x="124" y="58"/>
                  <a:pt x="137" y="55"/>
                  <a:pt x="151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9" name="Freeform 260"/>
          <p:cNvSpPr>
            <a:spLocks noChangeAspect="1" noEditPoints="1"/>
          </p:cNvSpPr>
          <p:nvPr/>
        </p:nvSpPr>
        <p:spPr bwMode="auto">
          <a:xfrm>
            <a:off x="4884249" y="3447845"/>
            <a:ext cx="160815" cy="104608"/>
          </a:xfrm>
          <a:custGeom>
            <a:avLst/>
            <a:gdLst>
              <a:gd name="T0" fmla="*/ 54 w 156"/>
              <a:gd name="T1" fmla="*/ 49 h 101"/>
              <a:gd name="T2" fmla="*/ 10 w 156"/>
              <a:gd name="T3" fmla="*/ 93 h 101"/>
              <a:gd name="T4" fmla="*/ 8 w 156"/>
              <a:gd name="T5" fmla="*/ 94 h 101"/>
              <a:gd name="T6" fmla="*/ 5 w 156"/>
              <a:gd name="T7" fmla="*/ 93 h 101"/>
              <a:gd name="T8" fmla="*/ 1 w 156"/>
              <a:gd name="T9" fmla="*/ 88 h 101"/>
              <a:gd name="T10" fmla="*/ 0 w 156"/>
              <a:gd name="T11" fmla="*/ 86 h 101"/>
              <a:gd name="T12" fmla="*/ 1 w 156"/>
              <a:gd name="T13" fmla="*/ 84 h 101"/>
              <a:gd name="T14" fmla="*/ 38 w 156"/>
              <a:gd name="T15" fmla="*/ 47 h 101"/>
              <a:gd name="T16" fmla="*/ 1 w 156"/>
              <a:gd name="T17" fmla="*/ 10 h 101"/>
              <a:gd name="T18" fmla="*/ 0 w 156"/>
              <a:gd name="T19" fmla="*/ 8 h 101"/>
              <a:gd name="T20" fmla="*/ 1 w 156"/>
              <a:gd name="T21" fmla="*/ 5 h 101"/>
              <a:gd name="T22" fmla="*/ 5 w 156"/>
              <a:gd name="T23" fmla="*/ 1 h 101"/>
              <a:gd name="T24" fmla="*/ 8 w 156"/>
              <a:gd name="T25" fmla="*/ 0 h 101"/>
              <a:gd name="T26" fmla="*/ 10 w 156"/>
              <a:gd name="T27" fmla="*/ 1 h 101"/>
              <a:gd name="T28" fmla="*/ 54 w 156"/>
              <a:gd name="T29" fmla="*/ 45 h 101"/>
              <a:gd name="T30" fmla="*/ 55 w 156"/>
              <a:gd name="T31" fmla="*/ 47 h 101"/>
              <a:gd name="T32" fmla="*/ 54 w 156"/>
              <a:gd name="T33" fmla="*/ 49 h 101"/>
              <a:gd name="T34" fmla="*/ 156 w 156"/>
              <a:gd name="T35" fmla="*/ 92 h 101"/>
              <a:gd name="T36" fmla="*/ 156 w 156"/>
              <a:gd name="T37" fmla="*/ 98 h 101"/>
              <a:gd name="T38" fmla="*/ 155 w 156"/>
              <a:gd name="T39" fmla="*/ 101 h 101"/>
              <a:gd name="T40" fmla="*/ 153 w 156"/>
              <a:gd name="T41" fmla="*/ 101 h 101"/>
              <a:gd name="T42" fmla="*/ 62 w 156"/>
              <a:gd name="T43" fmla="*/ 101 h 101"/>
              <a:gd name="T44" fmla="*/ 60 w 156"/>
              <a:gd name="T45" fmla="*/ 101 h 101"/>
              <a:gd name="T46" fmla="*/ 59 w 156"/>
              <a:gd name="T47" fmla="*/ 98 h 101"/>
              <a:gd name="T48" fmla="*/ 59 w 156"/>
              <a:gd name="T49" fmla="*/ 92 h 101"/>
              <a:gd name="T50" fmla="*/ 60 w 156"/>
              <a:gd name="T51" fmla="*/ 90 h 101"/>
              <a:gd name="T52" fmla="*/ 62 w 156"/>
              <a:gd name="T53" fmla="*/ 89 h 101"/>
              <a:gd name="T54" fmla="*/ 153 w 156"/>
              <a:gd name="T55" fmla="*/ 89 h 101"/>
              <a:gd name="T56" fmla="*/ 155 w 156"/>
              <a:gd name="T57" fmla="*/ 90 h 101"/>
              <a:gd name="T58" fmla="*/ 156 w 156"/>
              <a:gd name="T59" fmla="*/ 92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6" h="101">
                <a:moveTo>
                  <a:pt x="54" y="49"/>
                </a:moveTo>
                <a:cubicBezTo>
                  <a:pt x="10" y="93"/>
                  <a:pt x="10" y="93"/>
                  <a:pt x="10" y="93"/>
                </a:cubicBezTo>
                <a:cubicBezTo>
                  <a:pt x="9" y="94"/>
                  <a:pt x="8" y="94"/>
                  <a:pt x="8" y="94"/>
                </a:cubicBezTo>
                <a:cubicBezTo>
                  <a:pt x="7" y="94"/>
                  <a:pt x="6" y="94"/>
                  <a:pt x="5" y="93"/>
                </a:cubicBezTo>
                <a:cubicBezTo>
                  <a:pt x="1" y="88"/>
                  <a:pt x="1" y="88"/>
                  <a:pt x="1" y="88"/>
                </a:cubicBezTo>
                <a:cubicBezTo>
                  <a:pt x="0" y="88"/>
                  <a:pt x="0" y="87"/>
                  <a:pt x="0" y="86"/>
                </a:cubicBezTo>
                <a:cubicBezTo>
                  <a:pt x="0" y="85"/>
                  <a:pt x="0" y="85"/>
                  <a:pt x="1" y="84"/>
                </a:cubicBezTo>
                <a:cubicBezTo>
                  <a:pt x="38" y="47"/>
                  <a:pt x="38" y="47"/>
                  <a:pt x="38" y="47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9"/>
                  <a:pt x="0" y="8"/>
                  <a:pt x="0" y="8"/>
                </a:cubicBezTo>
                <a:cubicBezTo>
                  <a:pt x="0" y="7"/>
                  <a:pt x="0" y="6"/>
                  <a:pt x="1" y="5"/>
                </a:cubicBezTo>
                <a:cubicBezTo>
                  <a:pt x="5" y="1"/>
                  <a:pt x="5" y="1"/>
                  <a:pt x="5" y="1"/>
                </a:cubicBezTo>
                <a:cubicBezTo>
                  <a:pt x="6" y="0"/>
                  <a:pt x="7" y="0"/>
                  <a:pt x="8" y="0"/>
                </a:cubicBezTo>
                <a:cubicBezTo>
                  <a:pt x="8" y="0"/>
                  <a:pt x="9" y="0"/>
                  <a:pt x="10" y="1"/>
                </a:cubicBezTo>
                <a:cubicBezTo>
                  <a:pt x="54" y="45"/>
                  <a:pt x="54" y="45"/>
                  <a:pt x="54" y="45"/>
                </a:cubicBezTo>
                <a:cubicBezTo>
                  <a:pt x="54" y="45"/>
                  <a:pt x="55" y="46"/>
                  <a:pt x="55" y="47"/>
                </a:cubicBezTo>
                <a:cubicBezTo>
                  <a:pt x="55" y="48"/>
                  <a:pt x="54" y="49"/>
                  <a:pt x="54" y="49"/>
                </a:cubicBezTo>
                <a:close/>
                <a:moveTo>
                  <a:pt x="156" y="92"/>
                </a:moveTo>
                <a:cubicBezTo>
                  <a:pt x="156" y="98"/>
                  <a:pt x="156" y="98"/>
                  <a:pt x="156" y="98"/>
                </a:cubicBezTo>
                <a:cubicBezTo>
                  <a:pt x="156" y="99"/>
                  <a:pt x="156" y="100"/>
                  <a:pt x="155" y="101"/>
                </a:cubicBezTo>
                <a:cubicBezTo>
                  <a:pt x="154" y="101"/>
                  <a:pt x="154" y="101"/>
                  <a:pt x="153" y="101"/>
                </a:cubicBezTo>
                <a:cubicBezTo>
                  <a:pt x="62" y="101"/>
                  <a:pt x="62" y="101"/>
                  <a:pt x="62" y="101"/>
                </a:cubicBezTo>
                <a:cubicBezTo>
                  <a:pt x="61" y="101"/>
                  <a:pt x="60" y="101"/>
                  <a:pt x="60" y="101"/>
                </a:cubicBezTo>
                <a:cubicBezTo>
                  <a:pt x="59" y="100"/>
                  <a:pt x="59" y="99"/>
                  <a:pt x="59" y="98"/>
                </a:cubicBezTo>
                <a:cubicBezTo>
                  <a:pt x="59" y="92"/>
                  <a:pt x="59" y="92"/>
                  <a:pt x="59" y="92"/>
                </a:cubicBezTo>
                <a:cubicBezTo>
                  <a:pt x="59" y="91"/>
                  <a:pt x="59" y="91"/>
                  <a:pt x="60" y="90"/>
                </a:cubicBezTo>
                <a:cubicBezTo>
                  <a:pt x="60" y="90"/>
                  <a:pt x="61" y="89"/>
                  <a:pt x="62" y="89"/>
                </a:cubicBezTo>
                <a:cubicBezTo>
                  <a:pt x="153" y="89"/>
                  <a:pt x="153" y="89"/>
                  <a:pt x="153" y="89"/>
                </a:cubicBezTo>
                <a:cubicBezTo>
                  <a:pt x="154" y="89"/>
                  <a:pt x="154" y="90"/>
                  <a:pt x="155" y="90"/>
                </a:cubicBezTo>
                <a:cubicBezTo>
                  <a:pt x="156" y="91"/>
                  <a:pt x="156" y="91"/>
                  <a:pt x="156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0" name="Freeform 261"/>
          <p:cNvSpPr>
            <a:spLocks noChangeAspect="1" noEditPoints="1"/>
          </p:cNvSpPr>
          <p:nvPr/>
        </p:nvSpPr>
        <p:spPr bwMode="auto">
          <a:xfrm>
            <a:off x="5096586" y="3429109"/>
            <a:ext cx="179551" cy="134272"/>
          </a:xfrm>
          <a:custGeom>
            <a:avLst/>
            <a:gdLst>
              <a:gd name="T0" fmla="*/ 54 w 173"/>
              <a:gd name="T1" fmla="*/ 106 h 130"/>
              <a:gd name="T2" fmla="*/ 49 w 173"/>
              <a:gd name="T3" fmla="*/ 111 h 130"/>
              <a:gd name="T4" fmla="*/ 47 w 173"/>
              <a:gd name="T5" fmla="*/ 112 h 130"/>
              <a:gd name="T6" fmla="*/ 45 w 173"/>
              <a:gd name="T7" fmla="*/ 111 h 130"/>
              <a:gd name="T8" fmla="*/ 1 w 173"/>
              <a:gd name="T9" fmla="*/ 67 h 130"/>
              <a:gd name="T10" fmla="*/ 0 w 173"/>
              <a:gd name="T11" fmla="*/ 65 h 130"/>
              <a:gd name="T12" fmla="*/ 1 w 173"/>
              <a:gd name="T13" fmla="*/ 63 h 130"/>
              <a:gd name="T14" fmla="*/ 45 w 173"/>
              <a:gd name="T15" fmla="*/ 19 h 130"/>
              <a:gd name="T16" fmla="*/ 47 w 173"/>
              <a:gd name="T17" fmla="*/ 18 h 130"/>
              <a:gd name="T18" fmla="*/ 49 w 173"/>
              <a:gd name="T19" fmla="*/ 19 h 130"/>
              <a:gd name="T20" fmla="*/ 54 w 173"/>
              <a:gd name="T21" fmla="*/ 23 h 130"/>
              <a:gd name="T22" fmla="*/ 55 w 173"/>
              <a:gd name="T23" fmla="*/ 26 h 130"/>
              <a:gd name="T24" fmla="*/ 54 w 173"/>
              <a:gd name="T25" fmla="*/ 28 h 130"/>
              <a:gd name="T26" fmla="*/ 17 w 173"/>
              <a:gd name="T27" fmla="*/ 65 h 130"/>
              <a:gd name="T28" fmla="*/ 54 w 173"/>
              <a:gd name="T29" fmla="*/ 102 h 130"/>
              <a:gd name="T30" fmla="*/ 55 w 173"/>
              <a:gd name="T31" fmla="*/ 104 h 130"/>
              <a:gd name="T32" fmla="*/ 54 w 173"/>
              <a:gd name="T33" fmla="*/ 106 h 130"/>
              <a:gd name="T34" fmla="*/ 110 w 173"/>
              <a:gd name="T35" fmla="*/ 6 h 130"/>
              <a:gd name="T36" fmla="*/ 75 w 173"/>
              <a:gd name="T37" fmla="*/ 128 h 130"/>
              <a:gd name="T38" fmla="*/ 73 w 173"/>
              <a:gd name="T39" fmla="*/ 130 h 130"/>
              <a:gd name="T40" fmla="*/ 71 w 173"/>
              <a:gd name="T41" fmla="*/ 130 h 130"/>
              <a:gd name="T42" fmla="*/ 65 w 173"/>
              <a:gd name="T43" fmla="*/ 128 h 130"/>
              <a:gd name="T44" fmla="*/ 63 w 173"/>
              <a:gd name="T45" fmla="*/ 127 h 130"/>
              <a:gd name="T46" fmla="*/ 63 w 173"/>
              <a:gd name="T47" fmla="*/ 124 h 130"/>
              <a:gd name="T48" fmla="*/ 98 w 173"/>
              <a:gd name="T49" fmla="*/ 2 h 130"/>
              <a:gd name="T50" fmla="*/ 100 w 173"/>
              <a:gd name="T51" fmla="*/ 0 h 130"/>
              <a:gd name="T52" fmla="*/ 102 w 173"/>
              <a:gd name="T53" fmla="*/ 0 h 130"/>
              <a:gd name="T54" fmla="*/ 108 w 173"/>
              <a:gd name="T55" fmla="*/ 2 h 130"/>
              <a:gd name="T56" fmla="*/ 110 w 173"/>
              <a:gd name="T57" fmla="*/ 3 h 130"/>
              <a:gd name="T58" fmla="*/ 110 w 173"/>
              <a:gd name="T59" fmla="*/ 6 h 130"/>
              <a:gd name="T60" fmla="*/ 172 w 173"/>
              <a:gd name="T61" fmla="*/ 67 h 130"/>
              <a:gd name="T62" fmla="*/ 128 w 173"/>
              <a:gd name="T63" fmla="*/ 111 h 130"/>
              <a:gd name="T64" fmla="*/ 126 w 173"/>
              <a:gd name="T65" fmla="*/ 112 h 130"/>
              <a:gd name="T66" fmla="*/ 124 w 173"/>
              <a:gd name="T67" fmla="*/ 111 h 130"/>
              <a:gd name="T68" fmla="*/ 119 w 173"/>
              <a:gd name="T69" fmla="*/ 106 h 130"/>
              <a:gd name="T70" fmla="*/ 118 w 173"/>
              <a:gd name="T71" fmla="*/ 104 h 130"/>
              <a:gd name="T72" fmla="*/ 119 w 173"/>
              <a:gd name="T73" fmla="*/ 102 h 130"/>
              <a:gd name="T74" fmla="*/ 156 w 173"/>
              <a:gd name="T75" fmla="*/ 65 h 130"/>
              <a:gd name="T76" fmla="*/ 119 w 173"/>
              <a:gd name="T77" fmla="*/ 28 h 130"/>
              <a:gd name="T78" fmla="*/ 118 w 173"/>
              <a:gd name="T79" fmla="*/ 26 h 130"/>
              <a:gd name="T80" fmla="*/ 119 w 173"/>
              <a:gd name="T81" fmla="*/ 23 h 130"/>
              <a:gd name="T82" fmla="*/ 124 w 173"/>
              <a:gd name="T83" fmla="*/ 19 h 130"/>
              <a:gd name="T84" fmla="*/ 126 w 173"/>
              <a:gd name="T85" fmla="*/ 18 h 130"/>
              <a:gd name="T86" fmla="*/ 128 w 173"/>
              <a:gd name="T87" fmla="*/ 19 h 130"/>
              <a:gd name="T88" fmla="*/ 172 w 173"/>
              <a:gd name="T89" fmla="*/ 63 h 130"/>
              <a:gd name="T90" fmla="*/ 173 w 173"/>
              <a:gd name="T91" fmla="*/ 65 h 130"/>
              <a:gd name="T92" fmla="*/ 172 w 173"/>
              <a:gd name="T93" fmla="*/ 67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73" h="130">
                <a:moveTo>
                  <a:pt x="54" y="106"/>
                </a:moveTo>
                <a:cubicBezTo>
                  <a:pt x="49" y="111"/>
                  <a:pt x="49" y="111"/>
                  <a:pt x="49" y="111"/>
                </a:cubicBezTo>
                <a:cubicBezTo>
                  <a:pt x="49" y="112"/>
                  <a:pt x="48" y="112"/>
                  <a:pt x="47" y="112"/>
                </a:cubicBezTo>
                <a:cubicBezTo>
                  <a:pt x="46" y="112"/>
                  <a:pt x="46" y="112"/>
                  <a:pt x="45" y="111"/>
                </a:cubicBezTo>
                <a:cubicBezTo>
                  <a:pt x="1" y="67"/>
                  <a:pt x="1" y="67"/>
                  <a:pt x="1" y="67"/>
                </a:cubicBezTo>
                <a:cubicBezTo>
                  <a:pt x="0" y="67"/>
                  <a:pt x="0" y="66"/>
                  <a:pt x="0" y="65"/>
                </a:cubicBezTo>
                <a:cubicBezTo>
                  <a:pt x="0" y="64"/>
                  <a:pt x="0" y="63"/>
                  <a:pt x="1" y="63"/>
                </a:cubicBezTo>
                <a:cubicBezTo>
                  <a:pt x="45" y="19"/>
                  <a:pt x="45" y="19"/>
                  <a:pt x="45" y="19"/>
                </a:cubicBezTo>
                <a:cubicBezTo>
                  <a:pt x="46" y="18"/>
                  <a:pt x="46" y="18"/>
                  <a:pt x="47" y="18"/>
                </a:cubicBezTo>
                <a:cubicBezTo>
                  <a:pt x="48" y="18"/>
                  <a:pt x="49" y="18"/>
                  <a:pt x="49" y="19"/>
                </a:cubicBezTo>
                <a:cubicBezTo>
                  <a:pt x="54" y="23"/>
                  <a:pt x="54" y="23"/>
                  <a:pt x="54" y="23"/>
                </a:cubicBezTo>
                <a:cubicBezTo>
                  <a:pt x="55" y="24"/>
                  <a:pt x="55" y="25"/>
                  <a:pt x="55" y="26"/>
                </a:cubicBezTo>
                <a:cubicBezTo>
                  <a:pt x="55" y="26"/>
                  <a:pt x="55" y="27"/>
                  <a:pt x="54" y="28"/>
                </a:cubicBezTo>
                <a:cubicBezTo>
                  <a:pt x="17" y="65"/>
                  <a:pt x="17" y="65"/>
                  <a:pt x="17" y="65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5" y="103"/>
                  <a:pt x="55" y="103"/>
                  <a:pt x="55" y="104"/>
                </a:cubicBezTo>
                <a:cubicBezTo>
                  <a:pt x="55" y="105"/>
                  <a:pt x="55" y="106"/>
                  <a:pt x="54" y="106"/>
                </a:cubicBezTo>
                <a:close/>
                <a:moveTo>
                  <a:pt x="110" y="6"/>
                </a:moveTo>
                <a:cubicBezTo>
                  <a:pt x="75" y="128"/>
                  <a:pt x="75" y="128"/>
                  <a:pt x="75" y="128"/>
                </a:cubicBezTo>
                <a:cubicBezTo>
                  <a:pt x="74" y="128"/>
                  <a:pt x="74" y="129"/>
                  <a:pt x="73" y="130"/>
                </a:cubicBezTo>
                <a:cubicBezTo>
                  <a:pt x="73" y="130"/>
                  <a:pt x="72" y="130"/>
                  <a:pt x="71" y="130"/>
                </a:cubicBezTo>
                <a:cubicBezTo>
                  <a:pt x="65" y="128"/>
                  <a:pt x="65" y="128"/>
                  <a:pt x="65" y="128"/>
                </a:cubicBezTo>
                <a:cubicBezTo>
                  <a:pt x="64" y="128"/>
                  <a:pt x="64" y="127"/>
                  <a:pt x="63" y="127"/>
                </a:cubicBezTo>
                <a:cubicBezTo>
                  <a:pt x="63" y="126"/>
                  <a:pt x="63" y="125"/>
                  <a:pt x="63" y="124"/>
                </a:cubicBezTo>
                <a:cubicBezTo>
                  <a:pt x="98" y="2"/>
                  <a:pt x="98" y="2"/>
                  <a:pt x="98" y="2"/>
                </a:cubicBezTo>
                <a:cubicBezTo>
                  <a:pt x="99" y="1"/>
                  <a:pt x="99" y="1"/>
                  <a:pt x="100" y="0"/>
                </a:cubicBezTo>
                <a:cubicBezTo>
                  <a:pt x="101" y="0"/>
                  <a:pt x="101" y="0"/>
                  <a:pt x="102" y="0"/>
                </a:cubicBezTo>
                <a:cubicBezTo>
                  <a:pt x="108" y="2"/>
                  <a:pt x="108" y="2"/>
                  <a:pt x="108" y="2"/>
                </a:cubicBezTo>
                <a:cubicBezTo>
                  <a:pt x="109" y="2"/>
                  <a:pt x="109" y="3"/>
                  <a:pt x="110" y="3"/>
                </a:cubicBezTo>
                <a:cubicBezTo>
                  <a:pt x="110" y="4"/>
                  <a:pt x="110" y="5"/>
                  <a:pt x="110" y="6"/>
                </a:cubicBezTo>
                <a:close/>
                <a:moveTo>
                  <a:pt x="172" y="67"/>
                </a:moveTo>
                <a:cubicBezTo>
                  <a:pt x="128" y="111"/>
                  <a:pt x="128" y="111"/>
                  <a:pt x="128" y="111"/>
                </a:cubicBezTo>
                <a:cubicBezTo>
                  <a:pt x="127" y="112"/>
                  <a:pt x="127" y="112"/>
                  <a:pt x="126" y="112"/>
                </a:cubicBezTo>
                <a:cubicBezTo>
                  <a:pt x="125" y="112"/>
                  <a:pt x="124" y="112"/>
                  <a:pt x="124" y="111"/>
                </a:cubicBezTo>
                <a:cubicBezTo>
                  <a:pt x="119" y="106"/>
                  <a:pt x="119" y="106"/>
                  <a:pt x="119" y="106"/>
                </a:cubicBezTo>
                <a:cubicBezTo>
                  <a:pt x="118" y="106"/>
                  <a:pt x="118" y="105"/>
                  <a:pt x="118" y="104"/>
                </a:cubicBezTo>
                <a:cubicBezTo>
                  <a:pt x="118" y="103"/>
                  <a:pt x="118" y="103"/>
                  <a:pt x="119" y="102"/>
                </a:cubicBezTo>
                <a:cubicBezTo>
                  <a:pt x="156" y="65"/>
                  <a:pt x="156" y="65"/>
                  <a:pt x="156" y="65"/>
                </a:cubicBezTo>
                <a:cubicBezTo>
                  <a:pt x="119" y="28"/>
                  <a:pt x="119" y="28"/>
                  <a:pt x="119" y="28"/>
                </a:cubicBezTo>
                <a:cubicBezTo>
                  <a:pt x="118" y="27"/>
                  <a:pt x="118" y="26"/>
                  <a:pt x="118" y="26"/>
                </a:cubicBezTo>
                <a:cubicBezTo>
                  <a:pt x="118" y="25"/>
                  <a:pt x="118" y="24"/>
                  <a:pt x="119" y="23"/>
                </a:cubicBezTo>
                <a:cubicBezTo>
                  <a:pt x="124" y="19"/>
                  <a:pt x="124" y="19"/>
                  <a:pt x="124" y="19"/>
                </a:cubicBezTo>
                <a:cubicBezTo>
                  <a:pt x="124" y="18"/>
                  <a:pt x="125" y="18"/>
                  <a:pt x="126" y="18"/>
                </a:cubicBezTo>
                <a:cubicBezTo>
                  <a:pt x="127" y="18"/>
                  <a:pt x="127" y="18"/>
                  <a:pt x="128" y="19"/>
                </a:cubicBezTo>
                <a:cubicBezTo>
                  <a:pt x="172" y="63"/>
                  <a:pt x="172" y="63"/>
                  <a:pt x="172" y="63"/>
                </a:cubicBezTo>
                <a:cubicBezTo>
                  <a:pt x="173" y="63"/>
                  <a:pt x="173" y="64"/>
                  <a:pt x="173" y="65"/>
                </a:cubicBezTo>
                <a:cubicBezTo>
                  <a:pt x="173" y="66"/>
                  <a:pt x="173" y="67"/>
                  <a:pt x="172" y="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1" name="Freeform 262"/>
          <p:cNvSpPr>
            <a:spLocks noChangeAspect="1" noEditPoints="1"/>
          </p:cNvSpPr>
          <p:nvPr/>
        </p:nvSpPr>
        <p:spPr bwMode="auto">
          <a:xfrm>
            <a:off x="5326099" y="3408811"/>
            <a:ext cx="176428" cy="157692"/>
          </a:xfrm>
          <a:custGeom>
            <a:avLst/>
            <a:gdLst>
              <a:gd name="T0" fmla="*/ 61 w 170"/>
              <a:gd name="T1" fmla="*/ 97 h 152"/>
              <a:gd name="T2" fmla="*/ 61 w 170"/>
              <a:gd name="T3" fmla="*/ 103 h 152"/>
              <a:gd name="T4" fmla="*/ 57 w 170"/>
              <a:gd name="T5" fmla="*/ 109 h 152"/>
              <a:gd name="T6" fmla="*/ 55 w 170"/>
              <a:gd name="T7" fmla="*/ 109 h 152"/>
              <a:gd name="T8" fmla="*/ 50 w 170"/>
              <a:gd name="T9" fmla="*/ 107 h 152"/>
              <a:gd name="T10" fmla="*/ 2 w 170"/>
              <a:gd name="T11" fmla="*/ 59 h 152"/>
              <a:gd name="T12" fmla="*/ 0 w 170"/>
              <a:gd name="T13" fmla="*/ 55 h 152"/>
              <a:gd name="T14" fmla="*/ 2 w 170"/>
              <a:gd name="T15" fmla="*/ 50 h 152"/>
              <a:gd name="T16" fmla="*/ 50 w 170"/>
              <a:gd name="T17" fmla="*/ 2 h 152"/>
              <a:gd name="T18" fmla="*/ 57 w 170"/>
              <a:gd name="T19" fmla="*/ 1 h 152"/>
              <a:gd name="T20" fmla="*/ 61 w 170"/>
              <a:gd name="T21" fmla="*/ 6 h 152"/>
              <a:gd name="T22" fmla="*/ 61 w 170"/>
              <a:gd name="T23" fmla="*/ 13 h 152"/>
              <a:gd name="T24" fmla="*/ 23 w 170"/>
              <a:gd name="T25" fmla="*/ 50 h 152"/>
              <a:gd name="T26" fmla="*/ 21 w 170"/>
              <a:gd name="T27" fmla="*/ 55 h 152"/>
              <a:gd name="T28" fmla="*/ 23 w 170"/>
              <a:gd name="T29" fmla="*/ 59 h 152"/>
              <a:gd name="T30" fmla="*/ 61 w 170"/>
              <a:gd name="T31" fmla="*/ 97 h 152"/>
              <a:gd name="T32" fmla="*/ 170 w 170"/>
              <a:gd name="T33" fmla="*/ 100 h 152"/>
              <a:gd name="T34" fmla="*/ 168 w 170"/>
              <a:gd name="T35" fmla="*/ 113 h 152"/>
              <a:gd name="T36" fmla="*/ 164 w 170"/>
              <a:gd name="T37" fmla="*/ 126 h 152"/>
              <a:gd name="T38" fmla="*/ 160 w 170"/>
              <a:gd name="T39" fmla="*/ 138 h 152"/>
              <a:gd name="T40" fmla="*/ 156 w 170"/>
              <a:gd name="T41" fmla="*/ 146 h 152"/>
              <a:gd name="T42" fmla="*/ 154 w 170"/>
              <a:gd name="T43" fmla="*/ 150 h 152"/>
              <a:gd name="T44" fmla="*/ 152 w 170"/>
              <a:gd name="T45" fmla="*/ 152 h 152"/>
              <a:gd name="T46" fmla="*/ 151 w 170"/>
              <a:gd name="T47" fmla="*/ 151 h 152"/>
              <a:gd name="T48" fmla="*/ 149 w 170"/>
              <a:gd name="T49" fmla="*/ 148 h 152"/>
              <a:gd name="T50" fmla="*/ 139 w 170"/>
              <a:gd name="T51" fmla="*/ 95 h 152"/>
              <a:gd name="T52" fmla="*/ 122 w 170"/>
              <a:gd name="T53" fmla="*/ 84 h 152"/>
              <a:gd name="T54" fmla="*/ 97 w 170"/>
              <a:gd name="T55" fmla="*/ 79 h 152"/>
              <a:gd name="T56" fmla="*/ 97 w 170"/>
              <a:gd name="T57" fmla="*/ 103 h 152"/>
              <a:gd name="T58" fmla="*/ 93 w 170"/>
              <a:gd name="T59" fmla="*/ 109 h 152"/>
              <a:gd name="T60" fmla="*/ 91 w 170"/>
              <a:gd name="T61" fmla="*/ 109 h 152"/>
              <a:gd name="T62" fmla="*/ 87 w 170"/>
              <a:gd name="T63" fmla="*/ 107 h 152"/>
              <a:gd name="T64" fmla="*/ 38 w 170"/>
              <a:gd name="T65" fmla="*/ 59 h 152"/>
              <a:gd name="T66" fmla="*/ 37 w 170"/>
              <a:gd name="T67" fmla="*/ 55 h 152"/>
              <a:gd name="T68" fmla="*/ 38 w 170"/>
              <a:gd name="T69" fmla="*/ 50 h 152"/>
              <a:gd name="T70" fmla="*/ 87 w 170"/>
              <a:gd name="T71" fmla="*/ 2 h 152"/>
              <a:gd name="T72" fmla="*/ 93 w 170"/>
              <a:gd name="T73" fmla="*/ 1 h 152"/>
              <a:gd name="T74" fmla="*/ 97 w 170"/>
              <a:gd name="T75" fmla="*/ 6 h 152"/>
              <a:gd name="T76" fmla="*/ 97 w 170"/>
              <a:gd name="T77" fmla="*/ 31 h 152"/>
              <a:gd name="T78" fmla="*/ 154 w 170"/>
              <a:gd name="T79" fmla="*/ 52 h 152"/>
              <a:gd name="T80" fmla="*/ 170 w 170"/>
              <a:gd name="T81" fmla="*/ 100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70" h="152">
                <a:moveTo>
                  <a:pt x="61" y="97"/>
                </a:moveTo>
                <a:cubicBezTo>
                  <a:pt x="61" y="103"/>
                  <a:pt x="61" y="103"/>
                  <a:pt x="61" y="103"/>
                </a:cubicBezTo>
                <a:cubicBezTo>
                  <a:pt x="61" y="106"/>
                  <a:pt x="60" y="108"/>
                  <a:pt x="57" y="109"/>
                </a:cubicBezTo>
                <a:cubicBezTo>
                  <a:pt x="56" y="109"/>
                  <a:pt x="56" y="109"/>
                  <a:pt x="55" y="109"/>
                </a:cubicBezTo>
                <a:cubicBezTo>
                  <a:pt x="53" y="109"/>
                  <a:pt x="52" y="109"/>
                  <a:pt x="50" y="107"/>
                </a:cubicBezTo>
                <a:cubicBezTo>
                  <a:pt x="2" y="59"/>
                  <a:pt x="2" y="59"/>
                  <a:pt x="2" y="59"/>
                </a:cubicBezTo>
                <a:cubicBezTo>
                  <a:pt x="1" y="58"/>
                  <a:pt x="0" y="56"/>
                  <a:pt x="0" y="55"/>
                </a:cubicBezTo>
                <a:cubicBezTo>
                  <a:pt x="0" y="53"/>
                  <a:pt x="1" y="52"/>
                  <a:pt x="2" y="50"/>
                </a:cubicBezTo>
                <a:cubicBezTo>
                  <a:pt x="50" y="2"/>
                  <a:pt x="50" y="2"/>
                  <a:pt x="50" y="2"/>
                </a:cubicBezTo>
                <a:cubicBezTo>
                  <a:pt x="52" y="0"/>
                  <a:pt x="55" y="0"/>
                  <a:pt x="57" y="1"/>
                </a:cubicBezTo>
                <a:cubicBezTo>
                  <a:pt x="60" y="2"/>
                  <a:pt x="61" y="4"/>
                  <a:pt x="61" y="6"/>
                </a:cubicBezTo>
                <a:cubicBezTo>
                  <a:pt x="61" y="13"/>
                  <a:pt x="61" y="13"/>
                  <a:pt x="61" y="13"/>
                </a:cubicBezTo>
                <a:cubicBezTo>
                  <a:pt x="23" y="50"/>
                  <a:pt x="23" y="50"/>
                  <a:pt x="23" y="50"/>
                </a:cubicBezTo>
                <a:cubicBezTo>
                  <a:pt x="22" y="52"/>
                  <a:pt x="21" y="53"/>
                  <a:pt x="21" y="55"/>
                </a:cubicBezTo>
                <a:cubicBezTo>
                  <a:pt x="21" y="56"/>
                  <a:pt x="22" y="58"/>
                  <a:pt x="23" y="59"/>
                </a:cubicBezTo>
                <a:lnTo>
                  <a:pt x="61" y="97"/>
                </a:lnTo>
                <a:close/>
                <a:moveTo>
                  <a:pt x="170" y="100"/>
                </a:moveTo>
                <a:cubicBezTo>
                  <a:pt x="170" y="104"/>
                  <a:pt x="169" y="108"/>
                  <a:pt x="168" y="113"/>
                </a:cubicBezTo>
                <a:cubicBezTo>
                  <a:pt x="167" y="117"/>
                  <a:pt x="166" y="122"/>
                  <a:pt x="164" y="126"/>
                </a:cubicBezTo>
                <a:cubicBezTo>
                  <a:pt x="163" y="130"/>
                  <a:pt x="162" y="134"/>
                  <a:pt x="160" y="138"/>
                </a:cubicBezTo>
                <a:cubicBezTo>
                  <a:pt x="158" y="142"/>
                  <a:pt x="157" y="144"/>
                  <a:pt x="156" y="146"/>
                </a:cubicBezTo>
                <a:cubicBezTo>
                  <a:pt x="155" y="148"/>
                  <a:pt x="155" y="149"/>
                  <a:pt x="154" y="150"/>
                </a:cubicBezTo>
                <a:cubicBezTo>
                  <a:pt x="154" y="151"/>
                  <a:pt x="153" y="152"/>
                  <a:pt x="152" y="152"/>
                </a:cubicBezTo>
                <a:cubicBezTo>
                  <a:pt x="151" y="152"/>
                  <a:pt x="151" y="152"/>
                  <a:pt x="151" y="151"/>
                </a:cubicBezTo>
                <a:cubicBezTo>
                  <a:pt x="149" y="151"/>
                  <a:pt x="148" y="150"/>
                  <a:pt x="149" y="148"/>
                </a:cubicBezTo>
                <a:cubicBezTo>
                  <a:pt x="151" y="123"/>
                  <a:pt x="148" y="105"/>
                  <a:pt x="139" y="95"/>
                </a:cubicBezTo>
                <a:cubicBezTo>
                  <a:pt x="134" y="90"/>
                  <a:pt x="129" y="87"/>
                  <a:pt x="122" y="84"/>
                </a:cubicBezTo>
                <a:cubicBezTo>
                  <a:pt x="116" y="82"/>
                  <a:pt x="107" y="80"/>
                  <a:pt x="97" y="79"/>
                </a:cubicBezTo>
                <a:cubicBezTo>
                  <a:pt x="97" y="103"/>
                  <a:pt x="97" y="103"/>
                  <a:pt x="97" y="103"/>
                </a:cubicBezTo>
                <a:cubicBezTo>
                  <a:pt x="97" y="106"/>
                  <a:pt x="96" y="108"/>
                  <a:pt x="93" y="109"/>
                </a:cubicBezTo>
                <a:cubicBezTo>
                  <a:pt x="93" y="109"/>
                  <a:pt x="92" y="109"/>
                  <a:pt x="91" y="109"/>
                </a:cubicBezTo>
                <a:cubicBezTo>
                  <a:pt x="89" y="109"/>
                  <a:pt x="88" y="109"/>
                  <a:pt x="87" y="107"/>
                </a:cubicBezTo>
                <a:cubicBezTo>
                  <a:pt x="38" y="59"/>
                  <a:pt x="38" y="59"/>
                  <a:pt x="38" y="59"/>
                </a:cubicBezTo>
                <a:cubicBezTo>
                  <a:pt x="37" y="58"/>
                  <a:pt x="37" y="56"/>
                  <a:pt x="37" y="55"/>
                </a:cubicBezTo>
                <a:cubicBezTo>
                  <a:pt x="37" y="53"/>
                  <a:pt x="37" y="52"/>
                  <a:pt x="38" y="50"/>
                </a:cubicBezTo>
                <a:cubicBezTo>
                  <a:pt x="87" y="2"/>
                  <a:pt x="87" y="2"/>
                  <a:pt x="87" y="2"/>
                </a:cubicBezTo>
                <a:cubicBezTo>
                  <a:pt x="89" y="0"/>
                  <a:pt x="91" y="0"/>
                  <a:pt x="93" y="1"/>
                </a:cubicBezTo>
                <a:cubicBezTo>
                  <a:pt x="96" y="2"/>
                  <a:pt x="97" y="4"/>
                  <a:pt x="97" y="6"/>
                </a:cubicBezTo>
                <a:cubicBezTo>
                  <a:pt x="97" y="31"/>
                  <a:pt x="97" y="31"/>
                  <a:pt x="97" y="31"/>
                </a:cubicBezTo>
                <a:cubicBezTo>
                  <a:pt x="123" y="33"/>
                  <a:pt x="142" y="40"/>
                  <a:pt x="154" y="52"/>
                </a:cubicBezTo>
                <a:cubicBezTo>
                  <a:pt x="164" y="63"/>
                  <a:pt x="170" y="79"/>
                  <a:pt x="170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2" name="Freeform 263"/>
          <p:cNvSpPr>
            <a:spLocks noChangeAspect="1" noEditPoints="1"/>
          </p:cNvSpPr>
          <p:nvPr/>
        </p:nvSpPr>
        <p:spPr bwMode="auto">
          <a:xfrm>
            <a:off x="5549365" y="3408811"/>
            <a:ext cx="174866" cy="157692"/>
          </a:xfrm>
          <a:custGeom>
            <a:avLst/>
            <a:gdLst>
              <a:gd name="T0" fmla="*/ 60 w 169"/>
              <a:gd name="T1" fmla="*/ 97 h 152"/>
              <a:gd name="T2" fmla="*/ 60 w 169"/>
              <a:gd name="T3" fmla="*/ 103 h 152"/>
              <a:gd name="T4" fmla="*/ 57 w 169"/>
              <a:gd name="T5" fmla="*/ 109 h 152"/>
              <a:gd name="T6" fmla="*/ 54 w 169"/>
              <a:gd name="T7" fmla="*/ 109 h 152"/>
              <a:gd name="T8" fmla="*/ 50 w 169"/>
              <a:gd name="T9" fmla="*/ 107 h 152"/>
              <a:gd name="T10" fmla="*/ 1 w 169"/>
              <a:gd name="T11" fmla="*/ 59 h 152"/>
              <a:gd name="T12" fmla="*/ 0 w 169"/>
              <a:gd name="T13" fmla="*/ 55 h 152"/>
              <a:gd name="T14" fmla="*/ 1 w 169"/>
              <a:gd name="T15" fmla="*/ 50 h 152"/>
              <a:gd name="T16" fmla="*/ 50 w 169"/>
              <a:gd name="T17" fmla="*/ 2 h 152"/>
              <a:gd name="T18" fmla="*/ 57 w 169"/>
              <a:gd name="T19" fmla="*/ 1 h 152"/>
              <a:gd name="T20" fmla="*/ 60 w 169"/>
              <a:gd name="T21" fmla="*/ 6 h 152"/>
              <a:gd name="T22" fmla="*/ 60 w 169"/>
              <a:gd name="T23" fmla="*/ 13 h 152"/>
              <a:gd name="T24" fmla="*/ 23 w 169"/>
              <a:gd name="T25" fmla="*/ 50 h 152"/>
              <a:gd name="T26" fmla="*/ 21 w 169"/>
              <a:gd name="T27" fmla="*/ 55 h 152"/>
              <a:gd name="T28" fmla="*/ 23 w 169"/>
              <a:gd name="T29" fmla="*/ 59 h 152"/>
              <a:gd name="T30" fmla="*/ 60 w 169"/>
              <a:gd name="T31" fmla="*/ 97 h 152"/>
              <a:gd name="T32" fmla="*/ 169 w 169"/>
              <a:gd name="T33" fmla="*/ 100 h 152"/>
              <a:gd name="T34" fmla="*/ 168 w 169"/>
              <a:gd name="T35" fmla="*/ 113 h 152"/>
              <a:gd name="T36" fmla="*/ 164 w 169"/>
              <a:gd name="T37" fmla="*/ 126 h 152"/>
              <a:gd name="T38" fmla="*/ 159 w 169"/>
              <a:gd name="T39" fmla="*/ 138 h 152"/>
              <a:gd name="T40" fmla="*/ 156 w 169"/>
              <a:gd name="T41" fmla="*/ 146 h 152"/>
              <a:gd name="T42" fmla="*/ 154 w 169"/>
              <a:gd name="T43" fmla="*/ 150 h 152"/>
              <a:gd name="T44" fmla="*/ 151 w 169"/>
              <a:gd name="T45" fmla="*/ 152 h 152"/>
              <a:gd name="T46" fmla="*/ 150 w 169"/>
              <a:gd name="T47" fmla="*/ 151 h 152"/>
              <a:gd name="T48" fmla="*/ 148 w 169"/>
              <a:gd name="T49" fmla="*/ 148 h 152"/>
              <a:gd name="T50" fmla="*/ 138 w 169"/>
              <a:gd name="T51" fmla="*/ 95 h 152"/>
              <a:gd name="T52" fmla="*/ 122 w 169"/>
              <a:gd name="T53" fmla="*/ 84 h 152"/>
              <a:gd name="T54" fmla="*/ 97 w 169"/>
              <a:gd name="T55" fmla="*/ 79 h 152"/>
              <a:gd name="T56" fmla="*/ 97 w 169"/>
              <a:gd name="T57" fmla="*/ 103 h 152"/>
              <a:gd name="T58" fmla="*/ 93 w 169"/>
              <a:gd name="T59" fmla="*/ 109 h 152"/>
              <a:gd name="T60" fmla="*/ 90 w 169"/>
              <a:gd name="T61" fmla="*/ 109 h 152"/>
              <a:gd name="T62" fmla="*/ 86 w 169"/>
              <a:gd name="T63" fmla="*/ 107 h 152"/>
              <a:gd name="T64" fmla="*/ 38 w 169"/>
              <a:gd name="T65" fmla="*/ 59 h 152"/>
              <a:gd name="T66" fmla="*/ 36 w 169"/>
              <a:gd name="T67" fmla="*/ 55 h 152"/>
              <a:gd name="T68" fmla="*/ 38 w 169"/>
              <a:gd name="T69" fmla="*/ 50 h 152"/>
              <a:gd name="T70" fmla="*/ 86 w 169"/>
              <a:gd name="T71" fmla="*/ 2 h 152"/>
              <a:gd name="T72" fmla="*/ 93 w 169"/>
              <a:gd name="T73" fmla="*/ 1 h 152"/>
              <a:gd name="T74" fmla="*/ 97 w 169"/>
              <a:gd name="T75" fmla="*/ 6 h 152"/>
              <a:gd name="T76" fmla="*/ 97 w 169"/>
              <a:gd name="T77" fmla="*/ 31 h 152"/>
              <a:gd name="T78" fmla="*/ 153 w 169"/>
              <a:gd name="T79" fmla="*/ 52 h 152"/>
              <a:gd name="T80" fmla="*/ 169 w 169"/>
              <a:gd name="T81" fmla="*/ 100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9" h="152">
                <a:moveTo>
                  <a:pt x="60" y="97"/>
                </a:moveTo>
                <a:cubicBezTo>
                  <a:pt x="60" y="103"/>
                  <a:pt x="60" y="103"/>
                  <a:pt x="60" y="103"/>
                </a:cubicBezTo>
                <a:cubicBezTo>
                  <a:pt x="60" y="106"/>
                  <a:pt x="59" y="108"/>
                  <a:pt x="57" y="109"/>
                </a:cubicBezTo>
                <a:cubicBezTo>
                  <a:pt x="56" y="109"/>
                  <a:pt x="55" y="109"/>
                  <a:pt x="54" y="109"/>
                </a:cubicBezTo>
                <a:cubicBezTo>
                  <a:pt x="52" y="109"/>
                  <a:pt x="51" y="109"/>
                  <a:pt x="50" y="107"/>
                </a:cubicBezTo>
                <a:cubicBezTo>
                  <a:pt x="1" y="59"/>
                  <a:pt x="1" y="59"/>
                  <a:pt x="1" y="59"/>
                </a:cubicBezTo>
                <a:cubicBezTo>
                  <a:pt x="0" y="58"/>
                  <a:pt x="0" y="56"/>
                  <a:pt x="0" y="55"/>
                </a:cubicBezTo>
                <a:cubicBezTo>
                  <a:pt x="0" y="53"/>
                  <a:pt x="0" y="52"/>
                  <a:pt x="1" y="50"/>
                </a:cubicBezTo>
                <a:cubicBezTo>
                  <a:pt x="50" y="2"/>
                  <a:pt x="50" y="2"/>
                  <a:pt x="50" y="2"/>
                </a:cubicBezTo>
                <a:cubicBezTo>
                  <a:pt x="52" y="0"/>
                  <a:pt x="54" y="0"/>
                  <a:pt x="57" y="1"/>
                </a:cubicBezTo>
                <a:cubicBezTo>
                  <a:pt x="59" y="2"/>
                  <a:pt x="60" y="4"/>
                  <a:pt x="60" y="6"/>
                </a:cubicBezTo>
                <a:cubicBezTo>
                  <a:pt x="60" y="13"/>
                  <a:pt x="60" y="13"/>
                  <a:pt x="60" y="13"/>
                </a:cubicBezTo>
                <a:cubicBezTo>
                  <a:pt x="23" y="50"/>
                  <a:pt x="23" y="50"/>
                  <a:pt x="23" y="50"/>
                </a:cubicBezTo>
                <a:cubicBezTo>
                  <a:pt x="21" y="52"/>
                  <a:pt x="21" y="53"/>
                  <a:pt x="21" y="55"/>
                </a:cubicBezTo>
                <a:cubicBezTo>
                  <a:pt x="21" y="56"/>
                  <a:pt x="21" y="58"/>
                  <a:pt x="23" y="59"/>
                </a:cubicBezTo>
                <a:lnTo>
                  <a:pt x="60" y="97"/>
                </a:lnTo>
                <a:close/>
                <a:moveTo>
                  <a:pt x="169" y="100"/>
                </a:moveTo>
                <a:cubicBezTo>
                  <a:pt x="169" y="104"/>
                  <a:pt x="169" y="108"/>
                  <a:pt x="168" y="113"/>
                </a:cubicBezTo>
                <a:cubicBezTo>
                  <a:pt x="166" y="117"/>
                  <a:pt x="165" y="122"/>
                  <a:pt x="164" y="126"/>
                </a:cubicBezTo>
                <a:cubicBezTo>
                  <a:pt x="163" y="130"/>
                  <a:pt x="161" y="134"/>
                  <a:pt x="159" y="138"/>
                </a:cubicBezTo>
                <a:cubicBezTo>
                  <a:pt x="158" y="142"/>
                  <a:pt x="156" y="144"/>
                  <a:pt x="156" y="146"/>
                </a:cubicBezTo>
                <a:cubicBezTo>
                  <a:pt x="155" y="148"/>
                  <a:pt x="154" y="149"/>
                  <a:pt x="154" y="150"/>
                </a:cubicBezTo>
                <a:cubicBezTo>
                  <a:pt x="153" y="151"/>
                  <a:pt x="152" y="152"/>
                  <a:pt x="151" y="152"/>
                </a:cubicBezTo>
                <a:cubicBezTo>
                  <a:pt x="151" y="152"/>
                  <a:pt x="150" y="152"/>
                  <a:pt x="150" y="151"/>
                </a:cubicBezTo>
                <a:cubicBezTo>
                  <a:pt x="149" y="151"/>
                  <a:pt x="148" y="150"/>
                  <a:pt x="148" y="148"/>
                </a:cubicBezTo>
                <a:cubicBezTo>
                  <a:pt x="151" y="123"/>
                  <a:pt x="147" y="105"/>
                  <a:pt x="138" y="95"/>
                </a:cubicBezTo>
                <a:cubicBezTo>
                  <a:pt x="134" y="90"/>
                  <a:pt x="129" y="87"/>
                  <a:pt x="122" y="84"/>
                </a:cubicBezTo>
                <a:cubicBezTo>
                  <a:pt x="115" y="82"/>
                  <a:pt x="107" y="80"/>
                  <a:pt x="97" y="79"/>
                </a:cubicBezTo>
                <a:cubicBezTo>
                  <a:pt x="97" y="103"/>
                  <a:pt x="97" y="103"/>
                  <a:pt x="97" y="103"/>
                </a:cubicBezTo>
                <a:cubicBezTo>
                  <a:pt x="97" y="106"/>
                  <a:pt x="95" y="108"/>
                  <a:pt x="93" y="109"/>
                </a:cubicBezTo>
                <a:cubicBezTo>
                  <a:pt x="92" y="109"/>
                  <a:pt x="91" y="109"/>
                  <a:pt x="90" y="109"/>
                </a:cubicBezTo>
                <a:cubicBezTo>
                  <a:pt x="89" y="109"/>
                  <a:pt x="87" y="109"/>
                  <a:pt x="86" y="107"/>
                </a:cubicBezTo>
                <a:cubicBezTo>
                  <a:pt x="38" y="59"/>
                  <a:pt x="38" y="59"/>
                  <a:pt x="38" y="59"/>
                </a:cubicBezTo>
                <a:cubicBezTo>
                  <a:pt x="37" y="58"/>
                  <a:pt x="36" y="56"/>
                  <a:pt x="36" y="55"/>
                </a:cubicBezTo>
                <a:cubicBezTo>
                  <a:pt x="36" y="53"/>
                  <a:pt x="37" y="52"/>
                  <a:pt x="38" y="50"/>
                </a:cubicBezTo>
                <a:cubicBezTo>
                  <a:pt x="86" y="2"/>
                  <a:pt x="86" y="2"/>
                  <a:pt x="86" y="2"/>
                </a:cubicBezTo>
                <a:cubicBezTo>
                  <a:pt x="88" y="0"/>
                  <a:pt x="90" y="0"/>
                  <a:pt x="93" y="1"/>
                </a:cubicBezTo>
                <a:cubicBezTo>
                  <a:pt x="95" y="2"/>
                  <a:pt x="97" y="4"/>
                  <a:pt x="97" y="6"/>
                </a:cubicBezTo>
                <a:cubicBezTo>
                  <a:pt x="97" y="31"/>
                  <a:pt x="97" y="31"/>
                  <a:pt x="97" y="31"/>
                </a:cubicBezTo>
                <a:cubicBezTo>
                  <a:pt x="122" y="33"/>
                  <a:pt x="141" y="40"/>
                  <a:pt x="153" y="52"/>
                </a:cubicBezTo>
                <a:cubicBezTo>
                  <a:pt x="164" y="63"/>
                  <a:pt x="169" y="79"/>
                  <a:pt x="169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3" name="Freeform 264"/>
          <p:cNvSpPr>
            <a:spLocks noChangeAspect="1" noEditPoints="1"/>
          </p:cNvSpPr>
          <p:nvPr/>
        </p:nvSpPr>
        <p:spPr bwMode="auto">
          <a:xfrm>
            <a:off x="5771071" y="3405689"/>
            <a:ext cx="162376" cy="154570"/>
          </a:xfrm>
          <a:custGeom>
            <a:avLst/>
            <a:gdLst>
              <a:gd name="T0" fmla="*/ 155 w 158"/>
              <a:gd name="T1" fmla="*/ 63 h 150"/>
              <a:gd name="T2" fmla="*/ 121 w 158"/>
              <a:gd name="T3" fmla="*/ 96 h 150"/>
              <a:gd name="T4" fmla="*/ 129 w 158"/>
              <a:gd name="T5" fmla="*/ 144 h 150"/>
              <a:gd name="T6" fmla="*/ 128 w 158"/>
              <a:gd name="T7" fmla="*/ 149 h 150"/>
              <a:gd name="T8" fmla="*/ 125 w 158"/>
              <a:gd name="T9" fmla="*/ 150 h 150"/>
              <a:gd name="T10" fmla="*/ 121 w 158"/>
              <a:gd name="T11" fmla="*/ 149 h 150"/>
              <a:gd name="T12" fmla="*/ 79 w 158"/>
              <a:gd name="T13" fmla="*/ 127 h 150"/>
              <a:gd name="T14" fmla="*/ 36 w 158"/>
              <a:gd name="T15" fmla="*/ 149 h 150"/>
              <a:gd name="T16" fmla="*/ 33 w 158"/>
              <a:gd name="T17" fmla="*/ 150 h 150"/>
              <a:gd name="T18" fmla="*/ 29 w 158"/>
              <a:gd name="T19" fmla="*/ 149 h 150"/>
              <a:gd name="T20" fmla="*/ 29 w 158"/>
              <a:gd name="T21" fmla="*/ 144 h 150"/>
              <a:gd name="T22" fmla="*/ 37 w 158"/>
              <a:gd name="T23" fmla="*/ 96 h 150"/>
              <a:gd name="T24" fmla="*/ 2 w 158"/>
              <a:gd name="T25" fmla="*/ 63 h 150"/>
              <a:gd name="T26" fmla="*/ 0 w 158"/>
              <a:gd name="T27" fmla="*/ 57 h 150"/>
              <a:gd name="T28" fmla="*/ 5 w 158"/>
              <a:gd name="T29" fmla="*/ 54 h 150"/>
              <a:gd name="T30" fmla="*/ 53 w 158"/>
              <a:gd name="T31" fmla="*/ 47 h 150"/>
              <a:gd name="T32" fmla="*/ 74 w 158"/>
              <a:gd name="T33" fmla="*/ 4 h 150"/>
              <a:gd name="T34" fmla="*/ 79 w 158"/>
              <a:gd name="T35" fmla="*/ 0 h 150"/>
              <a:gd name="T36" fmla="*/ 83 w 158"/>
              <a:gd name="T37" fmla="*/ 4 h 150"/>
              <a:gd name="T38" fmla="*/ 105 w 158"/>
              <a:gd name="T39" fmla="*/ 47 h 150"/>
              <a:gd name="T40" fmla="*/ 152 w 158"/>
              <a:gd name="T41" fmla="*/ 54 h 150"/>
              <a:gd name="T42" fmla="*/ 157 w 158"/>
              <a:gd name="T43" fmla="*/ 57 h 150"/>
              <a:gd name="T44" fmla="*/ 155 w 158"/>
              <a:gd name="T45" fmla="*/ 63 h 150"/>
              <a:gd name="T46" fmla="*/ 112 w 158"/>
              <a:gd name="T47" fmla="*/ 88 h 150"/>
              <a:gd name="T48" fmla="*/ 137 w 158"/>
              <a:gd name="T49" fmla="*/ 64 h 150"/>
              <a:gd name="T50" fmla="*/ 103 w 158"/>
              <a:gd name="T51" fmla="*/ 59 h 150"/>
              <a:gd name="T52" fmla="*/ 97 w 158"/>
              <a:gd name="T53" fmla="*/ 58 h 150"/>
              <a:gd name="T54" fmla="*/ 94 w 158"/>
              <a:gd name="T55" fmla="*/ 53 h 150"/>
              <a:gd name="T56" fmla="*/ 79 w 158"/>
              <a:gd name="T57" fmla="*/ 22 h 150"/>
              <a:gd name="T58" fmla="*/ 79 w 158"/>
              <a:gd name="T59" fmla="*/ 113 h 150"/>
              <a:gd name="T60" fmla="*/ 84 w 158"/>
              <a:gd name="T61" fmla="*/ 116 h 150"/>
              <a:gd name="T62" fmla="*/ 114 w 158"/>
              <a:gd name="T63" fmla="*/ 132 h 150"/>
              <a:gd name="T64" fmla="*/ 109 w 158"/>
              <a:gd name="T65" fmla="*/ 98 h 150"/>
              <a:gd name="T66" fmla="*/ 108 w 158"/>
              <a:gd name="T67" fmla="*/ 92 h 150"/>
              <a:gd name="T68" fmla="*/ 112 w 158"/>
              <a:gd name="T69" fmla="*/ 8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8" h="150">
                <a:moveTo>
                  <a:pt x="155" y="63"/>
                </a:moveTo>
                <a:cubicBezTo>
                  <a:pt x="121" y="96"/>
                  <a:pt x="121" y="96"/>
                  <a:pt x="121" y="96"/>
                </a:cubicBezTo>
                <a:cubicBezTo>
                  <a:pt x="129" y="144"/>
                  <a:pt x="129" y="144"/>
                  <a:pt x="129" y="144"/>
                </a:cubicBezTo>
                <a:cubicBezTo>
                  <a:pt x="129" y="146"/>
                  <a:pt x="129" y="147"/>
                  <a:pt x="128" y="149"/>
                </a:cubicBezTo>
                <a:cubicBezTo>
                  <a:pt x="128" y="150"/>
                  <a:pt x="126" y="150"/>
                  <a:pt x="125" y="150"/>
                </a:cubicBezTo>
                <a:cubicBezTo>
                  <a:pt x="124" y="150"/>
                  <a:pt x="123" y="150"/>
                  <a:pt x="121" y="149"/>
                </a:cubicBezTo>
                <a:cubicBezTo>
                  <a:pt x="79" y="127"/>
                  <a:pt x="79" y="127"/>
                  <a:pt x="79" y="127"/>
                </a:cubicBezTo>
                <a:cubicBezTo>
                  <a:pt x="36" y="149"/>
                  <a:pt x="36" y="149"/>
                  <a:pt x="36" y="149"/>
                </a:cubicBezTo>
                <a:cubicBezTo>
                  <a:pt x="35" y="150"/>
                  <a:pt x="34" y="150"/>
                  <a:pt x="33" y="150"/>
                </a:cubicBezTo>
                <a:cubicBezTo>
                  <a:pt x="31" y="150"/>
                  <a:pt x="30" y="150"/>
                  <a:pt x="29" y="149"/>
                </a:cubicBezTo>
                <a:cubicBezTo>
                  <a:pt x="29" y="147"/>
                  <a:pt x="28" y="146"/>
                  <a:pt x="29" y="144"/>
                </a:cubicBezTo>
                <a:cubicBezTo>
                  <a:pt x="37" y="96"/>
                  <a:pt x="37" y="96"/>
                  <a:pt x="37" y="96"/>
                </a:cubicBezTo>
                <a:cubicBezTo>
                  <a:pt x="2" y="63"/>
                  <a:pt x="2" y="63"/>
                  <a:pt x="2" y="63"/>
                </a:cubicBezTo>
                <a:cubicBezTo>
                  <a:pt x="0" y="61"/>
                  <a:pt x="0" y="59"/>
                  <a:pt x="0" y="57"/>
                </a:cubicBezTo>
                <a:cubicBezTo>
                  <a:pt x="1" y="56"/>
                  <a:pt x="3" y="54"/>
                  <a:pt x="5" y="54"/>
                </a:cubicBezTo>
                <a:cubicBezTo>
                  <a:pt x="53" y="47"/>
                  <a:pt x="53" y="47"/>
                  <a:pt x="53" y="47"/>
                </a:cubicBezTo>
                <a:cubicBezTo>
                  <a:pt x="74" y="4"/>
                  <a:pt x="74" y="4"/>
                  <a:pt x="74" y="4"/>
                </a:cubicBezTo>
                <a:cubicBezTo>
                  <a:pt x="75" y="2"/>
                  <a:pt x="77" y="0"/>
                  <a:pt x="79" y="0"/>
                </a:cubicBezTo>
                <a:cubicBezTo>
                  <a:pt x="81" y="0"/>
                  <a:pt x="82" y="2"/>
                  <a:pt x="83" y="4"/>
                </a:cubicBezTo>
                <a:cubicBezTo>
                  <a:pt x="105" y="47"/>
                  <a:pt x="105" y="47"/>
                  <a:pt x="105" y="47"/>
                </a:cubicBezTo>
                <a:cubicBezTo>
                  <a:pt x="152" y="54"/>
                  <a:pt x="152" y="54"/>
                  <a:pt x="152" y="54"/>
                </a:cubicBezTo>
                <a:cubicBezTo>
                  <a:pt x="155" y="54"/>
                  <a:pt x="157" y="56"/>
                  <a:pt x="157" y="57"/>
                </a:cubicBezTo>
                <a:cubicBezTo>
                  <a:pt x="158" y="59"/>
                  <a:pt x="157" y="61"/>
                  <a:pt x="155" y="63"/>
                </a:cubicBezTo>
                <a:close/>
                <a:moveTo>
                  <a:pt x="112" y="88"/>
                </a:moveTo>
                <a:cubicBezTo>
                  <a:pt x="137" y="64"/>
                  <a:pt x="137" y="64"/>
                  <a:pt x="137" y="64"/>
                </a:cubicBezTo>
                <a:cubicBezTo>
                  <a:pt x="103" y="59"/>
                  <a:pt x="103" y="59"/>
                  <a:pt x="103" y="59"/>
                </a:cubicBezTo>
                <a:cubicBezTo>
                  <a:pt x="97" y="58"/>
                  <a:pt x="97" y="58"/>
                  <a:pt x="97" y="58"/>
                </a:cubicBezTo>
                <a:cubicBezTo>
                  <a:pt x="94" y="53"/>
                  <a:pt x="94" y="53"/>
                  <a:pt x="94" y="53"/>
                </a:cubicBezTo>
                <a:cubicBezTo>
                  <a:pt x="79" y="22"/>
                  <a:pt x="79" y="22"/>
                  <a:pt x="79" y="22"/>
                </a:cubicBezTo>
                <a:cubicBezTo>
                  <a:pt x="79" y="113"/>
                  <a:pt x="79" y="113"/>
                  <a:pt x="79" y="113"/>
                </a:cubicBezTo>
                <a:cubicBezTo>
                  <a:pt x="84" y="116"/>
                  <a:pt x="84" y="116"/>
                  <a:pt x="84" y="116"/>
                </a:cubicBezTo>
                <a:cubicBezTo>
                  <a:pt x="114" y="132"/>
                  <a:pt x="114" y="132"/>
                  <a:pt x="114" y="132"/>
                </a:cubicBezTo>
                <a:cubicBezTo>
                  <a:pt x="109" y="98"/>
                  <a:pt x="109" y="98"/>
                  <a:pt x="109" y="98"/>
                </a:cubicBezTo>
                <a:cubicBezTo>
                  <a:pt x="108" y="92"/>
                  <a:pt x="108" y="92"/>
                  <a:pt x="108" y="92"/>
                </a:cubicBezTo>
                <a:lnTo>
                  <a:pt x="112" y="8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4" name="Freeform 265"/>
          <p:cNvSpPr>
            <a:spLocks noChangeAspect="1"/>
          </p:cNvSpPr>
          <p:nvPr/>
        </p:nvSpPr>
        <p:spPr bwMode="auto">
          <a:xfrm>
            <a:off x="5980286" y="3427547"/>
            <a:ext cx="137395" cy="138957"/>
          </a:xfrm>
          <a:custGeom>
            <a:avLst/>
            <a:gdLst>
              <a:gd name="T0" fmla="*/ 133 w 134"/>
              <a:gd name="T1" fmla="*/ 9 h 134"/>
              <a:gd name="T2" fmla="*/ 72 w 134"/>
              <a:gd name="T3" fmla="*/ 130 h 134"/>
              <a:gd name="T4" fmla="*/ 67 w 134"/>
              <a:gd name="T5" fmla="*/ 134 h 134"/>
              <a:gd name="T6" fmla="*/ 66 w 134"/>
              <a:gd name="T7" fmla="*/ 133 h 134"/>
              <a:gd name="T8" fmla="*/ 62 w 134"/>
              <a:gd name="T9" fmla="*/ 131 h 134"/>
              <a:gd name="T10" fmla="*/ 61 w 134"/>
              <a:gd name="T11" fmla="*/ 127 h 134"/>
              <a:gd name="T12" fmla="*/ 61 w 134"/>
              <a:gd name="T13" fmla="*/ 73 h 134"/>
              <a:gd name="T14" fmla="*/ 6 w 134"/>
              <a:gd name="T15" fmla="*/ 73 h 134"/>
              <a:gd name="T16" fmla="*/ 3 w 134"/>
              <a:gd name="T17" fmla="*/ 72 h 134"/>
              <a:gd name="T18" fmla="*/ 1 w 134"/>
              <a:gd name="T19" fmla="*/ 68 h 134"/>
              <a:gd name="T20" fmla="*/ 1 w 134"/>
              <a:gd name="T21" fmla="*/ 64 h 134"/>
              <a:gd name="T22" fmla="*/ 4 w 134"/>
              <a:gd name="T23" fmla="*/ 62 h 134"/>
              <a:gd name="T24" fmla="*/ 125 w 134"/>
              <a:gd name="T25" fmla="*/ 1 h 134"/>
              <a:gd name="T26" fmla="*/ 127 w 134"/>
              <a:gd name="T27" fmla="*/ 0 h 134"/>
              <a:gd name="T28" fmla="*/ 132 w 134"/>
              <a:gd name="T29" fmla="*/ 2 h 134"/>
              <a:gd name="T30" fmla="*/ 133 w 134"/>
              <a:gd name="T31" fmla="*/ 5 h 134"/>
              <a:gd name="T32" fmla="*/ 133 w 134"/>
              <a:gd name="T33" fmla="*/ 9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4" h="134">
                <a:moveTo>
                  <a:pt x="133" y="9"/>
                </a:moveTo>
                <a:cubicBezTo>
                  <a:pt x="72" y="130"/>
                  <a:pt x="72" y="130"/>
                  <a:pt x="72" y="130"/>
                </a:cubicBezTo>
                <a:cubicBezTo>
                  <a:pt x="71" y="132"/>
                  <a:pt x="69" y="134"/>
                  <a:pt x="67" y="134"/>
                </a:cubicBezTo>
                <a:cubicBezTo>
                  <a:pt x="67" y="134"/>
                  <a:pt x="66" y="133"/>
                  <a:pt x="66" y="133"/>
                </a:cubicBezTo>
                <a:cubicBezTo>
                  <a:pt x="64" y="133"/>
                  <a:pt x="63" y="132"/>
                  <a:pt x="62" y="131"/>
                </a:cubicBezTo>
                <a:cubicBezTo>
                  <a:pt x="61" y="130"/>
                  <a:pt x="61" y="129"/>
                  <a:pt x="61" y="127"/>
                </a:cubicBezTo>
                <a:cubicBezTo>
                  <a:pt x="61" y="73"/>
                  <a:pt x="61" y="73"/>
                  <a:pt x="61" y="73"/>
                </a:cubicBezTo>
                <a:cubicBezTo>
                  <a:pt x="6" y="73"/>
                  <a:pt x="6" y="73"/>
                  <a:pt x="6" y="73"/>
                </a:cubicBezTo>
                <a:cubicBezTo>
                  <a:pt x="5" y="73"/>
                  <a:pt x="4" y="73"/>
                  <a:pt x="3" y="72"/>
                </a:cubicBezTo>
                <a:cubicBezTo>
                  <a:pt x="2" y="71"/>
                  <a:pt x="1" y="70"/>
                  <a:pt x="1" y="68"/>
                </a:cubicBezTo>
                <a:cubicBezTo>
                  <a:pt x="0" y="67"/>
                  <a:pt x="0" y="66"/>
                  <a:pt x="1" y="64"/>
                </a:cubicBezTo>
                <a:cubicBezTo>
                  <a:pt x="2" y="63"/>
                  <a:pt x="2" y="62"/>
                  <a:pt x="4" y="62"/>
                </a:cubicBezTo>
                <a:cubicBezTo>
                  <a:pt x="125" y="1"/>
                  <a:pt x="125" y="1"/>
                  <a:pt x="125" y="1"/>
                </a:cubicBezTo>
                <a:cubicBezTo>
                  <a:pt x="126" y="1"/>
                  <a:pt x="126" y="0"/>
                  <a:pt x="127" y="0"/>
                </a:cubicBezTo>
                <a:cubicBezTo>
                  <a:pt x="129" y="0"/>
                  <a:pt x="131" y="1"/>
                  <a:pt x="132" y="2"/>
                </a:cubicBezTo>
                <a:cubicBezTo>
                  <a:pt x="133" y="3"/>
                  <a:pt x="133" y="4"/>
                  <a:pt x="133" y="5"/>
                </a:cubicBezTo>
                <a:cubicBezTo>
                  <a:pt x="134" y="7"/>
                  <a:pt x="133" y="8"/>
                  <a:pt x="133" y="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5" name="Freeform 266"/>
          <p:cNvSpPr>
            <a:spLocks noChangeAspect="1" noEditPoints="1"/>
          </p:cNvSpPr>
          <p:nvPr/>
        </p:nvSpPr>
        <p:spPr bwMode="auto">
          <a:xfrm>
            <a:off x="6164520" y="3415057"/>
            <a:ext cx="162376" cy="162376"/>
          </a:xfrm>
          <a:custGeom>
            <a:avLst/>
            <a:gdLst>
              <a:gd name="T0" fmla="*/ 158 w 158"/>
              <a:gd name="T1" fmla="*/ 112 h 158"/>
              <a:gd name="T2" fmla="*/ 158 w 158"/>
              <a:gd name="T3" fmla="*/ 130 h 158"/>
              <a:gd name="T4" fmla="*/ 157 w 158"/>
              <a:gd name="T5" fmla="*/ 133 h 158"/>
              <a:gd name="T6" fmla="*/ 155 w 158"/>
              <a:gd name="T7" fmla="*/ 133 h 158"/>
              <a:gd name="T8" fmla="*/ 134 w 158"/>
              <a:gd name="T9" fmla="*/ 133 h 158"/>
              <a:gd name="T10" fmla="*/ 134 w 158"/>
              <a:gd name="T11" fmla="*/ 155 h 158"/>
              <a:gd name="T12" fmla="*/ 133 w 158"/>
              <a:gd name="T13" fmla="*/ 157 h 158"/>
              <a:gd name="T14" fmla="*/ 131 w 158"/>
              <a:gd name="T15" fmla="*/ 158 h 158"/>
              <a:gd name="T16" fmla="*/ 112 w 158"/>
              <a:gd name="T17" fmla="*/ 158 h 158"/>
              <a:gd name="T18" fmla="*/ 110 w 158"/>
              <a:gd name="T19" fmla="*/ 157 h 158"/>
              <a:gd name="T20" fmla="*/ 109 w 158"/>
              <a:gd name="T21" fmla="*/ 155 h 158"/>
              <a:gd name="T22" fmla="*/ 109 w 158"/>
              <a:gd name="T23" fmla="*/ 133 h 158"/>
              <a:gd name="T24" fmla="*/ 28 w 158"/>
              <a:gd name="T25" fmla="*/ 133 h 158"/>
              <a:gd name="T26" fmla="*/ 26 w 158"/>
              <a:gd name="T27" fmla="*/ 133 h 158"/>
              <a:gd name="T28" fmla="*/ 25 w 158"/>
              <a:gd name="T29" fmla="*/ 130 h 158"/>
              <a:gd name="T30" fmla="*/ 25 w 158"/>
              <a:gd name="T31" fmla="*/ 49 h 158"/>
              <a:gd name="T32" fmla="*/ 4 w 158"/>
              <a:gd name="T33" fmla="*/ 49 h 158"/>
              <a:gd name="T34" fmla="*/ 1 w 158"/>
              <a:gd name="T35" fmla="*/ 48 h 158"/>
              <a:gd name="T36" fmla="*/ 0 w 158"/>
              <a:gd name="T37" fmla="*/ 46 h 158"/>
              <a:gd name="T38" fmla="*/ 0 w 158"/>
              <a:gd name="T39" fmla="*/ 28 h 158"/>
              <a:gd name="T40" fmla="*/ 1 w 158"/>
              <a:gd name="T41" fmla="*/ 25 h 158"/>
              <a:gd name="T42" fmla="*/ 4 w 158"/>
              <a:gd name="T43" fmla="*/ 25 h 158"/>
              <a:gd name="T44" fmla="*/ 25 w 158"/>
              <a:gd name="T45" fmla="*/ 25 h 158"/>
              <a:gd name="T46" fmla="*/ 25 w 158"/>
              <a:gd name="T47" fmla="*/ 3 h 158"/>
              <a:gd name="T48" fmla="*/ 26 w 158"/>
              <a:gd name="T49" fmla="*/ 1 h 158"/>
              <a:gd name="T50" fmla="*/ 28 w 158"/>
              <a:gd name="T51" fmla="*/ 0 h 158"/>
              <a:gd name="T52" fmla="*/ 46 w 158"/>
              <a:gd name="T53" fmla="*/ 0 h 158"/>
              <a:gd name="T54" fmla="*/ 48 w 158"/>
              <a:gd name="T55" fmla="*/ 1 h 158"/>
              <a:gd name="T56" fmla="*/ 49 w 158"/>
              <a:gd name="T57" fmla="*/ 3 h 158"/>
              <a:gd name="T58" fmla="*/ 49 w 158"/>
              <a:gd name="T59" fmla="*/ 25 h 158"/>
              <a:gd name="T60" fmla="*/ 129 w 158"/>
              <a:gd name="T61" fmla="*/ 25 h 158"/>
              <a:gd name="T62" fmla="*/ 153 w 158"/>
              <a:gd name="T63" fmla="*/ 1 h 158"/>
              <a:gd name="T64" fmla="*/ 155 w 158"/>
              <a:gd name="T65" fmla="*/ 0 h 158"/>
              <a:gd name="T66" fmla="*/ 157 w 158"/>
              <a:gd name="T67" fmla="*/ 1 h 158"/>
              <a:gd name="T68" fmla="*/ 158 w 158"/>
              <a:gd name="T69" fmla="*/ 3 h 158"/>
              <a:gd name="T70" fmla="*/ 157 w 158"/>
              <a:gd name="T71" fmla="*/ 6 h 158"/>
              <a:gd name="T72" fmla="*/ 134 w 158"/>
              <a:gd name="T73" fmla="*/ 29 h 158"/>
              <a:gd name="T74" fmla="*/ 134 w 158"/>
              <a:gd name="T75" fmla="*/ 109 h 158"/>
              <a:gd name="T76" fmla="*/ 155 w 158"/>
              <a:gd name="T77" fmla="*/ 109 h 158"/>
              <a:gd name="T78" fmla="*/ 157 w 158"/>
              <a:gd name="T79" fmla="*/ 110 h 158"/>
              <a:gd name="T80" fmla="*/ 158 w 158"/>
              <a:gd name="T81" fmla="*/ 112 h 158"/>
              <a:gd name="T82" fmla="*/ 49 w 158"/>
              <a:gd name="T83" fmla="*/ 105 h 158"/>
              <a:gd name="T84" fmla="*/ 105 w 158"/>
              <a:gd name="T85" fmla="*/ 49 h 158"/>
              <a:gd name="T86" fmla="*/ 49 w 158"/>
              <a:gd name="T87" fmla="*/ 49 h 158"/>
              <a:gd name="T88" fmla="*/ 49 w 158"/>
              <a:gd name="T89" fmla="*/ 105 h 158"/>
              <a:gd name="T90" fmla="*/ 53 w 158"/>
              <a:gd name="T91" fmla="*/ 109 h 158"/>
              <a:gd name="T92" fmla="*/ 109 w 158"/>
              <a:gd name="T93" fmla="*/ 109 h 158"/>
              <a:gd name="T94" fmla="*/ 109 w 158"/>
              <a:gd name="T95" fmla="*/ 53 h 158"/>
              <a:gd name="T96" fmla="*/ 53 w 158"/>
              <a:gd name="T97" fmla="*/ 109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58" h="158">
                <a:moveTo>
                  <a:pt x="158" y="112"/>
                </a:moveTo>
                <a:cubicBezTo>
                  <a:pt x="158" y="130"/>
                  <a:pt x="158" y="130"/>
                  <a:pt x="158" y="130"/>
                </a:cubicBezTo>
                <a:cubicBezTo>
                  <a:pt x="158" y="131"/>
                  <a:pt x="158" y="132"/>
                  <a:pt x="157" y="133"/>
                </a:cubicBezTo>
                <a:cubicBezTo>
                  <a:pt x="156" y="133"/>
                  <a:pt x="156" y="133"/>
                  <a:pt x="155" y="133"/>
                </a:cubicBezTo>
                <a:cubicBezTo>
                  <a:pt x="134" y="133"/>
                  <a:pt x="134" y="133"/>
                  <a:pt x="134" y="133"/>
                </a:cubicBezTo>
                <a:cubicBezTo>
                  <a:pt x="134" y="155"/>
                  <a:pt x="134" y="155"/>
                  <a:pt x="134" y="155"/>
                </a:cubicBezTo>
                <a:cubicBezTo>
                  <a:pt x="134" y="155"/>
                  <a:pt x="133" y="156"/>
                  <a:pt x="133" y="157"/>
                </a:cubicBezTo>
                <a:cubicBezTo>
                  <a:pt x="132" y="157"/>
                  <a:pt x="131" y="158"/>
                  <a:pt x="131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12" y="158"/>
                  <a:pt x="111" y="157"/>
                  <a:pt x="110" y="157"/>
                </a:cubicBezTo>
                <a:cubicBezTo>
                  <a:pt x="110" y="156"/>
                  <a:pt x="109" y="155"/>
                  <a:pt x="109" y="155"/>
                </a:cubicBezTo>
                <a:cubicBezTo>
                  <a:pt x="109" y="133"/>
                  <a:pt x="109" y="133"/>
                  <a:pt x="109" y="133"/>
                </a:cubicBezTo>
                <a:cubicBezTo>
                  <a:pt x="28" y="133"/>
                  <a:pt x="28" y="133"/>
                  <a:pt x="28" y="133"/>
                </a:cubicBezTo>
                <a:cubicBezTo>
                  <a:pt x="27" y="133"/>
                  <a:pt x="26" y="133"/>
                  <a:pt x="26" y="133"/>
                </a:cubicBezTo>
                <a:cubicBezTo>
                  <a:pt x="25" y="132"/>
                  <a:pt x="25" y="131"/>
                  <a:pt x="25" y="130"/>
                </a:cubicBezTo>
                <a:cubicBezTo>
                  <a:pt x="25" y="49"/>
                  <a:pt x="25" y="49"/>
                  <a:pt x="2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3" y="49"/>
                  <a:pt x="2" y="48"/>
                  <a:pt x="1" y="48"/>
                </a:cubicBezTo>
                <a:cubicBezTo>
                  <a:pt x="1" y="47"/>
                  <a:pt x="0" y="47"/>
                  <a:pt x="0" y="4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1" y="26"/>
                  <a:pt x="1" y="25"/>
                </a:cubicBezTo>
                <a:cubicBezTo>
                  <a:pt x="2" y="25"/>
                  <a:pt x="3" y="25"/>
                  <a:pt x="4" y="25"/>
                </a:cubicBezTo>
                <a:cubicBezTo>
                  <a:pt x="25" y="25"/>
                  <a:pt x="25" y="25"/>
                  <a:pt x="25" y="25"/>
                </a:cubicBezTo>
                <a:cubicBezTo>
                  <a:pt x="25" y="3"/>
                  <a:pt x="25" y="3"/>
                  <a:pt x="25" y="3"/>
                </a:cubicBezTo>
                <a:cubicBezTo>
                  <a:pt x="25" y="2"/>
                  <a:pt x="25" y="2"/>
                  <a:pt x="26" y="1"/>
                </a:cubicBezTo>
                <a:cubicBezTo>
                  <a:pt x="26" y="1"/>
                  <a:pt x="27" y="0"/>
                  <a:pt x="28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7" y="0"/>
                  <a:pt x="47" y="1"/>
                  <a:pt x="48" y="1"/>
                </a:cubicBezTo>
                <a:cubicBezTo>
                  <a:pt x="49" y="2"/>
                  <a:pt x="49" y="2"/>
                  <a:pt x="49" y="3"/>
                </a:cubicBezTo>
                <a:cubicBezTo>
                  <a:pt x="49" y="25"/>
                  <a:pt x="49" y="25"/>
                  <a:pt x="49" y="25"/>
                </a:cubicBezTo>
                <a:cubicBezTo>
                  <a:pt x="129" y="25"/>
                  <a:pt x="129" y="25"/>
                  <a:pt x="129" y="25"/>
                </a:cubicBezTo>
                <a:cubicBezTo>
                  <a:pt x="153" y="1"/>
                  <a:pt x="153" y="1"/>
                  <a:pt x="153" y="1"/>
                </a:cubicBezTo>
                <a:cubicBezTo>
                  <a:pt x="153" y="1"/>
                  <a:pt x="154" y="0"/>
                  <a:pt x="155" y="0"/>
                </a:cubicBezTo>
                <a:cubicBezTo>
                  <a:pt x="156" y="0"/>
                  <a:pt x="156" y="1"/>
                  <a:pt x="157" y="1"/>
                </a:cubicBezTo>
                <a:cubicBezTo>
                  <a:pt x="158" y="2"/>
                  <a:pt x="158" y="3"/>
                  <a:pt x="158" y="3"/>
                </a:cubicBezTo>
                <a:cubicBezTo>
                  <a:pt x="158" y="4"/>
                  <a:pt x="158" y="5"/>
                  <a:pt x="157" y="6"/>
                </a:cubicBezTo>
                <a:cubicBezTo>
                  <a:pt x="134" y="29"/>
                  <a:pt x="134" y="29"/>
                  <a:pt x="134" y="29"/>
                </a:cubicBezTo>
                <a:cubicBezTo>
                  <a:pt x="134" y="109"/>
                  <a:pt x="134" y="109"/>
                  <a:pt x="134" y="109"/>
                </a:cubicBezTo>
                <a:cubicBezTo>
                  <a:pt x="155" y="109"/>
                  <a:pt x="155" y="109"/>
                  <a:pt x="155" y="109"/>
                </a:cubicBezTo>
                <a:cubicBezTo>
                  <a:pt x="156" y="109"/>
                  <a:pt x="156" y="110"/>
                  <a:pt x="157" y="110"/>
                </a:cubicBezTo>
                <a:cubicBezTo>
                  <a:pt x="158" y="111"/>
                  <a:pt x="158" y="111"/>
                  <a:pt x="158" y="112"/>
                </a:cubicBezTo>
                <a:close/>
                <a:moveTo>
                  <a:pt x="49" y="105"/>
                </a:moveTo>
                <a:cubicBezTo>
                  <a:pt x="105" y="49"/>
                  <a:pt x="105" y="49"/>
                  <a:pt x="105" y="49"/>
                </a:cubicBezTo>
                <a:cubicBezTo>
                  <a:pt x="49" y="49"/>
                  <a:pt x="49" y="49"/>
                  <a:pt x="49" y="49"/>
                </a:cubicBezTo>
                <a:lnTo>
                  <a:pt x="49" y="105"/>
                </a:lnTo>
                <a:close/>
                <a:moveTo>
                  <a:pt x="53" y="109"/>
                </a:moveTo>
                <a:cubicBezTo>
                  <a:pt x="109" y="109"/>
                  <a:pt x="109" y="109"/>
                  <a:pt x="109" y="109"/>
                </a:cubicBezTo>
                <a:cubicBezTo>
                  <a:pt x="109" y="53"/>
                  <a:pt x="109" y="53"/>
                  <a:pt x="109" y="53"/>
                </a:cubicBezTo>
                <a:lnTo>
                  <a:pt x="53" y="10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6" name="Freeform 267"/>
          <p:cNvSpPr>
            <a:spLocks noChangeAspect="1" noEditPoints="1"/>
          </p:cNvSpPr>
          <p:nvPr/>
        </p:nvSpPr>
        <p:spPr bwMode="auto">
          <a:xfrm>
            <a:off x="6373735" y="3415057"/>
            <a:ext cx="101485" cy="151447"/>
          </a:xfrm>
          <a:custGeom>
            <a:avLst/>
            <a:gdLst>
              <a:gd name="T0" fmla="*/ 94 w 97"/>
              <a:gd name="T1" fmla="*/ 40 h 146"/>
              <a:gd name="T2" fmla="*/ 66 w 97"/>
              <a:gd name="T3" fmla="*/ 85 h 146"/>
              <a:gd name="T4" fmla="*/ 31 w 97"/>
              <a:gd name="T5" fmla="*/ 100 h 146"/>
              <a:gd name="T6" fmla="*/ 27 w 97"/>
              <a:gd name="T7" fmla="*/ 112 h 146"/>
              <a:gd name="T8" fmla="*/ 36 w 97"/>
              <a:gd name="T9" fmla="*/ 127 h 146"/>
              <a:gd name="T10" fmla="*/ 18 w 97"/>
              <a:gd name="T11" fmla="*/ 146 h 146"/>
              <a:gd name="T12" fmla="*/ 0 w 97"/>
              <a:gd name="T13" fmla="*/ 127 h 146"/>
              <a:gd name="T14" fmla="*/ 9 w 97"/>
              <a:gd name="T15" fmla="*/ 112 h 146"/>
              <a:gd name="T16" fmla="*/ 2 w 97"/>
              <a:gd name="T17" fmla="*/ 28 h 146"/>
              <a:gd name="T18" fmla="*/ 5 w 97"/>
              <a:gd name="T19" fmla="*/ 6 h 146"/>
              <a:gd name="T20" fmla="*/ 31 w 97"/>
              <a:gd name="T21" fmla="*/ 6 h 146"/>
              <a:gd name="T22" fmla="*/ 34 w 97"/>
              <a:gd name="T23" fmla="*/ 28 h 146"/>
              <a:gd name="T24" fmla="*/ 27 w 97"/>
              <a:gd name="T25" fmla="*/ 81 h 146"/>
              <a:gd name="T26" fmla="*/ 50 w 97"/>
              <a:gd name="T27" fmla="*/ 73 h 146"/>
              <a:gd name="T28" fmla="*/ 62 w 97"/>
              <a:gd name="T29" fmla="*/ 66 h 146"/>
              <a:gd name="T30" fmla="*/ 69 w 97"/>
              <a:gd name="T31" fmla="*/ 55 h 146"/>
              <a:gd name="T32" fmla="*/ 63 w 97"/>
              <a:gd name="T33" fmla="*/ 40 h 146"/>
              <a:gd name="T34" fmla="*/ 66 w 97"/>
              <a:gd name="T35" fmla="*/ 18 h 146"/>
              <a:gd name="T36" fmla="*/ 91 w 97"/>
              <a:gd name="T37" fmla="*/ 18 h 146"/>
              <a:gd name="T38" fmla="*/ 24 w 97"/>
              <a:gd name="T39" fmla="*/ 25 h 146"/>
              <a:gd name="T40" fmla="*/ 24 w 97"/>
              <a:gd name="T41" fmla="*/ 12 h 146"/>
              <a:gd name="T42" fmla="*/ 12 w 97"/>
              <a:gd name="T43" fmla="*/ 12 h 146"/>
              <a:gd name="T44" fmla="*/ 12 w 97"/>
              <a:gd name="T45" fmla="*/ 25 h 146"/>
              <a:gd name="T46" fmla="*/ 24 w 97"/>
              <a:gd name="T47" fmla="*/ 25 h 146"/>
              <a:gd name="T48" fmla="*/ 27 w 97"/>
              <a:gd name="T49" fmla="*/ 127 h 146"/>
              <a:gd name="T50" fmla="*/ 18 w 97"/>
              <a:gd name="T51" fmla="*/ 118 h 146"/>
              <a:gd name="T52" fmla="*/ 9 w 97"/>
              <a:gd name="T53" fmla="*/ 127 h 146"/>
              <a:gd name="T54" fmla="*/ 18 w 97"/>
              <a:gd name="T55" fmla="*/ 136 h 146"/>
              <a:gd name="T56" fmla="*/ 85 w 97"/>
              <a:gd name="T57" fmla="*/ 37 h 146"/>
              <a:gd name="T58" fmla="*/ 85 w 97"/>
              <a:gd name="T59" fmla="*/ 24 h 146"/>
              <a:gd name="T60" fmla="*/ 72 w 97"/>
              <a:gd name="T61" fmla="*/ 24 h 146"/>
              <a:gd name="T62" fmla="*/ 72 w 97"/>
              <a:gd name="T63" fmla="*/ 37 h 146"/>
              <a:gd name="T64" fmla="*/ 85 w 97"/>
              <a:gd name="T65" fmla="*/ 3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146">
                <a:moveTo>
                  <a:pt x="97" y="31"/>
                </a:moveTo>
                <a:cubicBezTo>
                  <a:pt x="97" y="34"/>
                  <a:pt x="96" y="37"/>
                  <a:pt x="94" y="40"/>
                </a:cubicBezTo>
                <a:cubicBezTo>
                  <a:pt x="92" y="42"/>
                  <a:pt x="90" y="45"/>
                  <a:pt x="88" y="46"/>
                </a:cubicBezTo>
                <a:cubicBezTo>
                  <a:pt x="87" y="64"/>
                  <a:pt x="80" y="77"/>
                  <a:pt x="66" y="85"/>
                </a:cubicBezTo>
                <a:cubicBezTo>
                  <a:pt x="62" y="88"/>
                  <a:pt x="55" y="90"/>
                  <a:pt x="47" y="93"/>
                </a:cubicBezTo>
                <a:cubicBezTo>
                  <a:pt x="39" y="96"/>
                  <a:pt x="34" y="98"/>
                  <a:pt x="31" y="100"/>
                </a:cubicBezTo>
                <a:cubicBezTo>
                  <a:pt x="28" y="102"/>
                  <a:pt x="27" y="105"/>
                  <a:pt x="27" y="109"/>
                </a:cubicBezTo>
                <a:cubicBezTo>
                  <a:pt x="27" y="112"/>
                  <a:pt x="27" y="112"/>
                  <a:pt x="27" y="112"/>
                </a:cubicBezTo>
                <a:cubicBezTo>
                  <a:pt x="30" y="113"/>
                  <a:pt x="32" y="115"/>
                  <a:pt x="34" y="118"/>
                </a:cubicBezTo>
                <a:cubicBezTo>
                  <a:pt x="35" y="121"/>
                  <a:pt x="36" y="124"/>
                  <a:pt x="36" y="127"/>
                </a:cubicBezTo>
                <a:cubicBezTo>
                  <a:pt x="36" y="132"/>
                  <a:pt x="34" y="137"/>
                  <a:pt x="31" y="140"/>
                </a:cubicBezTo>
                <a:cubicBezTo>
                  <a:pt x="27" y="144"/>
                  <a:pt x="23" y="146"/>
                  <a:pt x="18" y="146"/>
                </a:cubicBezTo>
                <a:cubicBezTo>
                  <a:pt x="13" y="146"/>
                  <a:pt x="9" y="144"/>
                  <a:pt x="5" y="140"/>
                </a:cubicBezTo>
                <a:cubicBezTo>
                  <a:pt x="2" y="137"/>
                  <a:pt x="0" y="132"/>
                  <a:pt x="0" y="127"/>
                </a:cubicBezTo>
                <a:cubicBezTo>
                  <a:pt x="0" y="124"/>
                  <a:pt x="1" y="121"/>
                  <a:pt x="2" y="118"/>
                </a:cubicBezTo>
                <a:cubicBezTo>
                  <a:pt x="4" y="115"/>
                  <a:pt x="6" y="113"/>
                  <a:pt x="9" y="112"/>
                </a:cubicBezTo>
                <a:cubicBezTo>
                  <a:pt x="9" y="34"/>
                  <a:pt x="9" y="34"/>
                  <a:pt x="9" y="34"/>
                </a:cubicBezTo>
                <a:cubicBezTo>
                  <a:pt x="6" y="33"/>
                  <a:pt x="4" y="30"/>
                  <a:pt x="2" y="28"/>
                </a:cubicBezTo>
                <a:cubicBezTo>
                  <a:pt x="1" y="25"/>
                  <a:pt x="0" y="22"/>
                  <a:pt x="0" y="18"/>
                </a:cubicBezTo>
                <a:cubicBezTo>
                  <a:pt x="0" y="13"/>
                  <a:pt x="2" y="9"/>
                  <a:pt x="5" y="6"/>
                </a:cubicBezTo>
                <a:cubicBezTo>
                  <a:pt x="9" y="2"/>
                  <a:pt x="13" y="0"/>
                  <a:pt x="18" y="0"/>
                </a:cubicBezTo>
                <a:cubicBezTo>
                  <a:pt x="23" y="0"/>
                  <a:pt x="27" y="2"/>
                  <a:pt x="31" y="6"/>
                </a:cubicBezTo>
                <a:cubicBezTo>
                  <a:pt x="34" y="9"/>
                  <a:pt x="36" y="13"/>
                  <a:pt x="36" y="18"/>
                </a:cubicBezTo>
                <a:cubicBezTo>
                  <a:pt x="36" y="22"/>
                  <a:pt x="35" y="25"/>
                  <a:pt x="34" y="28"/>
                </a:cubicBezTo>
                <a:cubicBezTo>
                  <a:pt x="32" y="30"/>
                  <a:pt x="30" y="33"/>
                  <a:pt x="27" y="34"/>
                </a:cubicBezTo>
                <a:cubicBezTo>
                  <a:pt x="27" y="81"/>
                  <a:pt x="27" y="81"/>
                  <a:pt x="27" y="81"/>
                </a:cubicBezTo>
                <a:cubicBezTo>
                  <a:pt x="30" y="80"/>
                  <a:pt x="35" y="78"/>
                  <a:pt x="42" y="76"/>
                </a:cubicBezTo>
                <a:cubicBezTo>
                  <a:pt x="45" y="75"/>
                  <a:pt x="48" y="74"/>
                  <a:pt x="50" y="73"/>
                </a:cubicBezTo>
                <a:cubicBezTo>
                  <a:pt x="52" y="72"/>
                  <a:pt x="54" y="71"/>
                  <a:pt x="57" y="70"/>
                </a:cubicBezTo>
                <a:cubicBezTo>
                  <a:pt x="59" y="69"/>
                  <a:pt x="61" y="68"/>
                  <a:pt x="62" y="66"/>
                </a:cubicBezTo>
                <a:cubicBezTo>
                  <a:pt x="63" y="65"/>
                  <a:pt x="65" y="63"/>
                  <a:pt x="66" y="61"/>
                </a:cubicBezTo>
                <a:cubicBezTo>
                  <a:pt x="67" y="60"/>
                  <a:pt x="68" y="57"/>
                  <a:pt x="69" y="55"/>
                </a:cubicBezTo>
                <a:cubicBezTo>
                  <a:pt x="69" y="52"/>
                  <a:pt x="69" y="50"/>
                  <a:pt x="69" y="46"/>
                </a:cubicBezTo>
                <a:cubicBezTo>
                  <a:pt x="67" y="45"/>
                  <a:pt x="64" y="42"/>
                  <a:pt x="63" y="40"/>
                </a:cubicBezTo>
                <a:cubicBezTo>
                  <a:pt x="61" y="37"/>
                  <a:pt x="60" y="34"/>
                  <a:pt x="60" y="31"/>
                </a:cubicBezTo>
                <a:cubicBezTo>
                  <a:pt x="60" y="26"/>
                  <a:pt x="62" y="21"/>
                  <a:pt x="66" y="18"/>
                </a:cubicBezTo>
                <a:cubicBezTo>
                  <a:pt x="69" y="14"/>
                  <a:pt x="73" y="12"/>
                  <a:pt x="78" y="12"/>
                </a:cubicBezTo>
                <a:cubicBezTo>
                  <a:pt x="83" y="12"/>
                  <a:pt x="88" y="14"/>
                  <a:pt x="91" y="18"/>
                </a:cubicBezTo>
                <a:cubicBezTo>
                  <a:pt x="95" y="21"/>
                  <a:pt x="97" y="26"/>
                  <a:pt x="97" y="31"/>
                </a:cubicBezTo>
                <a:close/>
                <a:moveTo>
                  <a:pt x="24" y="25"/>
                </a:moveTo>
                <a:cubicBezTo>
                  <a:pt x="26" y="23"/>
                  <a:pt x="27" y="21"/>
                  <a:pt x="27" y="18"/>
                </a:cubicBezTo>
                <a:cubicBezTo>
                  <a:pt x="27" y="16"/>
                  <a:pt x="26" y="14"/>
                  <a:pt x="24" y="12"/>
                </a:cubicBezTo>
                <a:cubicBezTo>
                  <a:pt x="23" y="10"/>
                  <a:pt x="20" y="9"/>
                  <a:pt x="18" y="9"/>
                </a:cubicBezTo>
                <a:cubicBezTo>
                  <a:pt x="15" y="9"/>
                  <a:pt x="13" y="10"/>
                  <a:pt x="12" y="12"/>
                </a:cubicBezTo>
                <a:cubicBezTo>
                  <a:pt x="10" y="14"/>
                  <a:pt x="9" y="16"/>
                  <a:pt x="9" y="18"/>
                </a:cubicBezTo>
                <a:cubicBezTo>
                  <a:pt x="9" y="21"/>
                  <a:pt x="10" y="23"/>
                  <a:pt x="12" y="25"/>
                </a:cubicBezTo>
                <a:cubicBezTo>
                  <a:pt x="13" y="27"/>
                  <a:pt x="15" y="28"/>
                  <a:pt x="18" y="28"/>
                </a:cubicBezTo>
                <a:cubicBezTo>
                  <a:pt x="20" y="28"/>
                  <a:pt x="23" y="27"/>
                  <a:pt x="24" y="25"/>
                </a:cubicBezTo>
                <a:close/>
                <a:moveTo>
                  <a:pt x="24" y="134"/>
                </a:moveTo>
                <a:cubicBezTo>
                  <a:pt x="26" y="132"/>
                  <a:pt x="27" y="130"/>
                  <a:pt x="27" y="127"/>
                </a:cubicBezTo>
                <a:cubicBezTo>
                  <a:pt x="27" y="125"/>
                  <a:pt x="26" y="123"/>
                  <a:pt x="24" y="121"/>
                </a:cubicBezTo>
                <a:cubicBezTo>
                  <a:pt x="23" y="119"/>
                  <a:pt x="20" y="118"/>
                  <a:pt x="18" y="118"/>
                </a:cubicBezTo>
                <a:cubicBezTo>
                  <a:pt x="15" y="118"/>
                  <a:pt x="13" y="119"/>
                  <a:pt x="12" y="121"/>
                </a:cubicBezTo>
                <a:cubicBezTo>
                  <a:pt x="10" y="123"/>
                  <a:pt x="9" y="125"/>
                  <a:pt x="9" y="127"/>
                </a:cubicBezTo>
                <a:cubicBezTo>
                  <a:pt x="9" y="130"/>
                  <a:pt x="10" y="132"/>
                  <a:pt x="12" y="134"/>
                </a:cubicBezTo>
                <a:cubicBezTo>
                  <a:pt x="13" y="136"/>
                  <a:pt x="15" y="136"/>
                  <a:pt x="18" y="136"/>
                </a:cubicBezTo>
                <a:cubicBezTo>
                  <a:pt x="20" y="136"/>
                  <a:pt x="23" y="136"/>
                  <a:pt x="24" y="134"/>
                </a:cubicBezTo>
                <a:close/>
                <a:moveTo>
                  <a:pt x="85" y="37"/>
                </a:moveTo>
                <a:cubicBezTo>
                  <a:pt x="87" y="35"/>
                  <a:pt x="88" y="33"/>
                  <a:pt x="88" y="31"/>
                </a:cubicBezTo>
                <a:cubicBezTo>
                  <a:pt x="88" y="28"/>
                  <a:pt x="87" y="26"/>
                  <a:pt x="85" y="24"/>
                </a:cubicBezTo>
                <a:cubicBezTo>
                  <a:pt x="83" y="22"/>
                  <a:pt x="81" y="21"/>
                  <a:pt x="78" y="21"/>
                </a:cubicBezTo>
                <a:cubicBezTo>
                  <a:pt x="76" y="21"/>
                  <a:pt x="74" y="22"/>
                  <a:pt x="72" y="24"/>
                </a:cubicBezTo>
                <a:cubicBezTo>
                  <a:pt x="70" y="26"/>
                  <a:pt x="69" y="28"/>
                  <a:pt x="69" y="31"/>
                </a:cubicBezTo>
                <a:cubicBezTo>
                  <a:pt x="69" y="33"/>
                  <a:pt x="70" y="35"/>
                  <a:pt x="72" y="37"/>
                </a:cubicBezTo>
                <a:cubicBezTo>
                  <a:pt x="74" y="39"/>
                  <a:pt x="76" y="40"/>
                  <a:pt x="78" y="40"/>
                </a:cubicBezTo>
                <a:cubicBezTo>
                  <a:pt x="81" y="40"/>
                  <a:pt x="83" y="39"/>
                  <a:pt x="85" y="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7" name="Freeform 268"/>
          <p:cNvSpPr>
            <a:spLocks noChangeAspect="1" noEditPoints="1"/>
          </p:cNvSpPr>
          <p:nvPr/>
        </p:nvSpPr>
        <p:spPr bwMode="auto">
          <a:xfrm>
            <a:off x="6520498" y="3402566"/>
            <a:ext cx="163938" cy="163938"/>
          </a:xfrm>
          <a:custGeom>
            <a:avLst/>
            <a:gdLst>
              <a:gd name="T0" fmla="*/ 36 w 157"/>
              <a:gd name="T1" fmla="*/ 103 h 158"/>
              <a:gd name="T2" fmla="*/ 33 w 157"/>
              <a:gd name="T3" fmla="*/ 106 h 158"/>
              <a:gd name="T4" fmla="*/ 0 w 157"/>
              <a:gd name="T5" fmla="*/ 105 h 158"/>
              <a:gd name="T6" fmla="*/ 0 w 157"/>
              <a:gd name="T7" fmla="*/ 101 h 158"/>
              <a:gd name="T8" fmla="*/ 33 w 157"/>
              <a:gd name="T9" fmla="*/ 100 h 158"/>
              <a:gd name="T10" fmla="*/ 97 w 157"/>
              <a:gd name="T11" fmla="*/ 47 h 158"/>
              <a:gd name="T12" fmla="*/ 49 w 157"/>
              <a:gd name="T13" fmla="*/ 23 h 158"/>
              <a:gd name="T14" fmla="*/ 36 w 157"/>
              <a:gd name="T15" fmla="*/ 22 h 158"/>
              <a:gd name="T16" fmla="*/ 19 w 157"/>
              <a:gd name="T17" fmla="*/ 43 h 158"/>
              <a:gd name="T18" fmla="*/ 48 w 157"/>
              <a:gd name="T19" fmla="*/ 75 h 158"/>
              <a:gd name="T20" fmla="*/ 41 w 157"/>
              <a:gd name="T21" fmla="*/ 94 h 158"/>
              <a:gd name="T22" fmla="*/ 1 w 157"/>
              <a:gd name="T23" fmla="*/ 43 h 158"/>
              <a:gd name="T24" fmla="*/ 23 w 157"/>
              <a:gd name="T25" fmla="*/ 10 h 158"/>
              <a:gd name="T26" fmla="*/ 61 w 157"/>
              <a:gd name="T27" fmla="*/ 10 h 158"/>
              <a:gd name="T28" fmla="*/ 97 w 157"/>
              <a:gd name="T29" fmla="*/ 47 h 158"/>
              <a:gd name="T30" fmla="*/ 17 w 157"/>
              <a:gd name="T31" fmla="*/ 145 h 158"/>
              <a:gd name="T32" fmla="*/ 13 w 157"/>
              <a:gd name="T33" fmla="*/ 145 h 158"/>
              <a:gd name="T34" fmla="*/ 13 w 157"/>
              <a:gd name="T35" fmla="*/ 140 h 158"/>
              <a:gd name="T36" fmla="*/ 39 w 157"/>
              <a:gd name="T37" fmla="*/ 115 h 158"/>
              <a:gd name="T38" fmla="*/ 42 w 157"/>
              <a:gd name="T39" fmla="*/ 118 h 158"/>
              <a:gd name="T40" fmla="*/ 57 w 157"/>
              <a:gd name="T41" fmla="*/ 124 h 158"/>
              <a:gd name="T42" fmla="*/ 56 w 157"/>
              <a:gd name="T43" fmla="*/ 157 h 158"/>
              <a:gd name="T44" fmla="*/ 52 w 157"/>
              <a:gd name="T45" fmla="*/ 157 h 158"/>
              <a:gd name="T46" fmla="*/ 51 w 157"/>
              <a:gd name="T47" fmla="*/ 124 h 158"/>
              <a:gd name="T48" fmla="*/ 54 w 157"/>
              <a:gd name="T49" fmla="*/ 121 h 158"/>
              <a:gd name="T50" fmla="*/ 57 w 157"/>
              <a:gd name="T51" fmla="*/ 124 h 158"/>
              <a:gd name="T52" fmla="*/ 147 w 157"/>
              <a:gd name="T53" fmla="*/ 134 h 158"/>
              <a:gd name="T54" fmla="*/ 114 w 157"/>
              <a:gd name="T55" fmla="*/ 156 h 158"/>
              <a:gd name="T56" fmla="*/ 63 w 157"/>
              <a:gd name="T57" fmla="*/ 116 h 158"/>
              <a:gd name="T58" fmla="*/ 82 w 157"/>
              <a:gd name="T59" fmla="*/ 109 h 158"/>
              <a:gd name="T60" fmla="*/ 114 w 157"/>
              <a:gd name="T61" fmla="*/ 138 h 158"/>
              <a:gd name="T62" fmla="*/ 135 w 157"/>
              <a:gd name="T63" fmla="*/ 122 h 158"/>
              <a:gd name="T64" fmla="*/ 135 w 157"/>
              <a:gd name="T65" fmla="*/ 109 h 158"/>
              <a:gd name="T66" fmla="*/ 110 w 157"/>
              <a:gd name="T67" fmla="*/ 60 h 158"/>
              <a:gd name="T68" fmla="*/ 147 w 157"/>
              <a:gd name="T69" fmla="*/ 96 h 158"/>
              <a:gd name="T70" fmla="*/ 105 w 157"/>
              <a:gd name="T71" fmla="*/ 3 h 158"/>
              <a:gd name="T72" fmla="*/ 105 w 157"/>
              <a:gd name="T73" fmla="*/ 36 h 158"/>
              <a:gd name="T74" fmla="*/ 100 w 157"/>
              <a:gd name="T75" fmla="*/ 36 h 158"/>
              <a:gd name="T76" fmla="*/ 99 w 157"/>
              <a:gd name="T77" fmla="*/ 3 h 158"/>
              <a:gd name="T78" fmla="*/ 102 w 157"/>
              <a:gd name="T79" fmla="*/ 0 h 158"/>
              <a:gd name="T80" fmla="*/ 105 w 157"/>
              <a:gd name="T81" fmla="*/ 3 h 158"/>
              <a:gd name="T82" fmla="*/ 120 w 157"/>
              <a:gd name="T83" fmla="*/ 42 h 158"/>
              <a:gd name="T84" fmla="*/ 115 w 157"/>
              <a:gd name="T85" fmla="*/ 42 h 158"/>
              <a:gd name="T86" fmla="*/ 115 w 157"/>
              <a:gd name="T87" fmla="*/ 37 h 158"/>
              <a:gd name="T88" fmla="*/ 142 w 157"/>
              <a:gd name="T89" fmla="*/ 12 h 158"/>
              <a:gd name="T90" fmla="*/ 145 w 157"/>
              <a:gd name="T91" fmla="*/ 15 h 158"/>
              <a:gd name="T92" fmla="*/ 156 w 157"/>
              <a:gd name="T93" fmla="*/ 52 h 158"/>
              <a:gd name="T94" fmla="*/ 156 w 157"/>
              <a:gd name="T95" fmla="*/ 57 h 158"/>
              <a:gd name="T96" fmla="*/ 124 w 157"/>
              <a:gd name="T97" fmla="*/ 58 h 158"/>
              <a:gd name="T98" fmla="*/ 121 w 157"/>
              <a:gd name="T99" fmla="*/ 55 h 158"/>
              <a:gd name="T100" fmla="*/ 124 w 157"/>
              <a:gd name="T101" fmla="*/ 52 h 158"/>
              <a:gd name="T102" fmla="*/ 156 w 157"/>
              <a:gd name="T103" fmla="*/ 52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7" h="158">
                <a:moveTo>
                  <a:pt x="35" y="101"/>
                </a:moveTo>
                <a:cubicBezTo>
                  <a:pt x="36" y="101"/>
                  <a:pt x="36" y="102"/>
                  <a:pt x="36" y="103"/>
                </a:cubicBezTo>
                <a:cubicBezTo>
                  <a:pt x="36" y="104"/>
                  <a:pt x="36" y="105"/>
                  <a:pt x="35" y="105"/>
                </a:cubicBezTo>
                <a:cubicBezTo>
                  <a:pt x="34" y="106"/>
                  <a:pt x="34" y="106"/>
                  <a:pt x="33" y="106"/>
                </a:cubicBezTo>
                <a:cubicBezTo>
                  <a:pt x="3" y="106"/>
                  <a:pt x="3" y="106"/>
                  <a:pt x="3" y="106"/>
                </a:cubicBezTo>
                <a:cubicBezTo>
                  <a:pt x="2" y="106"/>
                  <a:pt x="1" y="106"/>
                  <a:pt x="0" y="105"/>
                </a:cubicBezTo>
                <a:cubicBezTo>
                  <a:pt x="0" y="105"/>
                  <a:pt x="0" y="104"/>
                  <a:pt x="0" y="103"/>
                </a:cubicBezTo>
                <a:cubicBezTo>
                  <a:pt x="0" y="102"/>
                  <a:pt x="0" y="101"/>
                  <a:pt x="0" y="101"/>
                </a:cubicBezTo>
                <a:cubicBezTo>
                  <a:pt x="1" y="100"/>
                  <a:pt x="2" y="100"/>
                  <a:pt x="3" y="100"/>
                </a:cubicBezTo>
                <a:cubicBezTo>
                  <a:pt x="33" y="100"/>
                  <a:pt x="33" y="100"/>
                  <a:pt x="33" y="100"/>
                </a:cubicBezTo>
                <a:cubicBezTo>
                  <a:pt x="34" y="100"/>
                  <a:pt x="34" y="100"/>
                  <a:pt x="35" y="101"/>
                </a:cubicBezTo>
                <a:close/>
                <a:moveTo>
                  <a:pt x="97" y="47"/>
                </a:moveTo>
                <a:cubicBezTo>
                  <a:pt x="74" y="48"/>
                  <a:pt x="74" y="48"/>
                  <a:pt x="74" y="48"/>
                </a:cubicBezTo>
                <a:cubicBezTo>
                  <a:pt x="49" y="23"/>
                  <a:pt x="49" y="23"/>
                  <a:pt x="49" y="23"/>
                </a:cubicBezTo>
                <a:cubicBezTo>
                  <a:pt x="47" y="21"/>
                  <a:pt x="45" y="20"/>
                  <a:pt x="42" y="20"/>
                </a:cubicBezTo>
                <a:cubicBezTo>
                  <a:pt x="40" y="20"/>
                  <a:pt x="38" y="21"/>
                  <a:pt x="36" y="22"/>
                </a:cubicBezTo>
                <a:cubicBezTo>
                  <a:pt x="22" y="36"/>
                  <a:pt x="22" y="36"/>
                  <a:pt x="22" y="36"/>
                </a:cubicBezTo>
                <a:cubicBezTo>
                  <a:pt x="20" y="38"/>
                  <a:pt x="19" y="40"/>
                  <a:pt x="19" y="43"/>
                </a:cubicBezTo>
                <a:cubicBezTo>
                  <a:pt x="19" y="45"/>
                  <a:pt x="20" y="47"/>
                  <a:pt x="22" y="49"/>
                </a:cubicBezTo>
                <a:cubicBezTo>
                  <a:pt x="48" y="75"/>
                  <a:pt x="48" y="75"/>
                  <a:pt x="48" y="75"/>
                </a:cubicBezTo>
                <a:cubicBezTo>
                  <a:pt x="46" y="98"/>
                  <a:pt x="46" y="98"/>
                  <a:pt x="46" y="98"/>
                </a:cubicBezTo>
                <a:cubicBezTo>
                  <a:pt x="44" y="96"/>
                  <a:pt x="42" y="95"/>
                  <a:pt x="41" y="94"/>
                </a:cubicBezTo>
                <a:cubicBezTo>
                  <a:pt x="9" y="62"/>
                  <a:pt x="9" y="62"/>
                  <a:pt x="9" y="62"/>
                </a:cubicBezTo>
                <a:cubicBezTo>
                  <a:pt x="4" y="56"/>
                  <a:pt x="1" y="50"/>
                  <a:pt x="1" y="43"/>
                </a:cubicBezTo>
                <a:cubicBezTo>
                  <a:pt x="1" y="35"/>
                  <a:pt x="4" y="29"/>
                  <a:pt x="9" y="23"/>
                </a:cubicBezTo>
                <a:cubicBezTo>
                  <a:pt x="23" y="10"/>
                  <a:pt x="23" y="10"/>
                  <a:pt x="23" y="10"/>
                </a:cubicBezTo>
                <a:cubicBezTo>
                  <a:pt x="28" y="4"/>
                  <a:pt x="35" y="2"/>
                  <a:pt x="42" y="2"/>
                </a:cubicBezTo>
                <a:cubicBezTo>
                  <a:pt x="50" y="2"/>
                  <a:pt x="56" y="4"/>
                  <a:pt x="61" y="10"/>
                </a:cubicBezTo>
                <a:cubicBezTo>
                  <a:pt x="93" y="41"/>
                  <a:pt x="93" y="41"/>
                  <a:pt x="93" y="41"/>
                </a:cubicBezTo>
                <a:cubicBezTo>
                  <a:pt x="94" y="43"/>
                  <a:pt x="96" y="45"/>
                  <a:pt x="97" y="47"/>
                </a:cubicBezTo>
                <a:close/>
                <a:moveTo>
                  <a:pt x="41" y="120"/>
                </a:moveTo>
                <a:cubicBezTo>
                  <a:pt x="17" y="145"/>
                  <a:pt x="17" y="145"/>
                  <a:pt x="17" y="145"/>
                </a:cubicBezTo>
                <a:cubicBezTo>
                  <a:pt x="16" y="145"/>
                  <a:pt x="16" y="145"/>
                  <a:pt x="15" y="145"/>
                </a:cubicBezTo>
                <a:cubicBezTo>
                  <a:pt x="14" y="145"/>
                  <a:pt x="13" y="145"/>
                  <a:pt x="13" y="145"/>
                </a:cubicBezTo>
                <a:cubicBezTo>
                  <a:pt x="12" y="144"/>
                  <a:pt x="12" y="143"/>
                  <a:pt x="12" y="142"/>
                </a:cubicBezTo>
                <a:cubicBezTo>
                  <a:pt x="12" y="142"/>
                  <a:pt x="12" y="141"/>
                  <a:pt x="13" y="140"/>
                </a:cubicBezTo>
                <a:cubicBezTo>
                  <a:pt x="37" y="116"/>
                  <a:pt x="37" y="116"/>
                  <a:pt x="37" y="116"/>
                </a:cubicBezTo>
                <a:cubicBezTo>
                  <a:pt x="37" y="115"/>
                  <a:pt x="38" y="115"/>
                  <a:pt x="39" y="115"/>
                </a:cubicBezTo>
                <a:cubicBezTo>
                  <a:pt x="40" y="115"/>
                  <a:pt x="40" y="115"/>
                  <a:pt x="41" y="116"/>
                </a:cubicBezTo>
                <a:cubicBezTo>
                  <a:pt x="42" y="117"/>
                  <a:pt x="42" y="117"/>
                  <a:pt x="42" y="118"/>
                </a:cubicBezTo>
                <a:cubicBezTo>
                  <a:pt x="42" y="119"/>
                  <a:pt x="42" y="120"/>
                  <a:pt x="41" y="120"/>
                </a:cubicBezTo>
                <a:close/>
                <a:moveTo>
                  <a:pt x="57" y="124"/>
                </a:moveTo>
                <a:cubicBezTo>
                  <a:pt x="57" y="155"/>
                  <a:pt x="57" y="155"/>
                  <a:pt x="57" y="155"/>
                </a:cubicBezTo>
                <a:cubicBezTo>
                  <a:pt x="57" y="155"/>
                  <a:pt x="57" y="156"/>
                  <a:pt x="56" y="157"/>
                </a:cubicBezTo>
                <a:cubicBezTo>
                  <a:pt x="56" y="157"/>
                  <a:pt x="55" y="158"/>
                  <a:pt x="54" y="158"/>
                </a:cubicBezTo>
                <a:cubicBezTo>
                  <a:pt x="53" y="158"/>
                  <a:pt x="52" y="157"/>
                  <a:pt x="52" y="157"/>
                </a:cubicBezTo>
                <a:cubicBezTo>
                  <a:pt x="51" y="156"/>
                  <a:pt x="51" y="155"/>
                  <a:pt x="51" y="155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51" y="123"/>
                  <a:pt x="51" y="123"/>
                  <a:pt x="52" y="122"/>
                </a:cubicBezTo>
                <a:cubicBezTo>
                  <a:pt x="52" y="122"/>
                  <a:pt x="53" y="121"/>
                  <a:pt x="54" y="121"/>
                </a:cubicBezTo>
                <a:cubicBezTo>
                  <a:pt x="55" y="121"/>
                  <a:pt x="56" y="122"/>
                  <a:pt x="56" y="122"/>
                </a:cubicBezTo>
                <a:cubicBezTo>
                  <a:pt x="57" y="123"/>
                  <a:pt x="57" y="123"/>
                  <a:pt x="57" y="124"/>
                </a:cubicBezTo>
                <a:close/>
                <a:moveTo>
                  <a:pt x="155" y="115"/>
                </a:moveTo>
                <a:cubicBezTo>
                  <a:pt x="155" y="123"/>
                  <a:pt x="153" y="129"/>
                  <a:pt x="147" y="134"/>
                </a:cubicBezTo>
                <a:cubicBezTo>
                  <a:pt x="133" y="148"/>
                  <a:pt x="133" y="148"/>
                  <a:pt x="133" y="148"/>
                </a:cubicBezTo>
                <a:cubicBezTo>
                  <a:pt x="128" y="153"/>
                  <a:pt x="122" y="156"/>
                  <a:pt x="114" y="156"/>
                </a:cubicBezTo>
                <a:cubicBezTo>
                  <a:pt x="107" y="156"/>
                  <a:pt x="100" y="153"/>
                  <a:pt x="95" y="148"/>
                </a:cubicBezTo>
                <a:cubicBezTo>
                  <a:pt x="63" y="116"/>
                  <a:pt x="63" y="116"/>
                  <a:pt x="63" y="116"/>
                </a:cubicBezTo>
                <a:cubicBezTo>
                  <a:pt x="62" y="115"/>
                  <a:pt x="61" y="113"/>
                  <a:pt x="59" y="111"/>
                </a:cubicBezTo>
                <a:cubicBezTo>
                  <a:pt x="82" y="109"/>
                  <a:pt x="82" y="109"/>
                  <a:pt x="82" y="109"/>
                </a:cubicBezTo>
                <a:cubicBezTo>
                  <a:pt x="108" y="135"/>
                  <a:pt x="108" y="135"/>
                  <a:pt x="108" y="135"/>
                </a:cubicBezTo>
                <a:cubicBezTo>
                  <a:pt x="110" y="137"/>
                  <a:pt x="112" y="138"/>
                  <a:pt x="114" y="138"/>
                </a:cubicBezTo>
                <a:cubicBezTo>
                  <a:pt x="117" y="138"/>
                  <a:pt x="119" y="137"/>
                  <a:pt x="121" y="135"/>
                </a:cubicBezTo>
                <a:cubicBezTo>
                  <a:pt x="135" y="122"/>
                  <a:pt x="135" y="122"/>
                  <a:pt x="135" y="122"/>
                </a:cubicBezTo>
                <a:cubicBezTo>
                  <a:pt x="136" y="120"/>
                  <a:pt x="137" y="118"/>
                  <a:pt x="137" y="115"/>
                </a:cubicBezTo>
                <a:cubicBezTo>
                  <a:pt x="137" y="113"/>
                  <a:pt x="136" y="111"/>
                  <a:pt x="135" y="109"/>
                </a:cubicBezTo>
                <a:cubicBezTo>
                  <a:pt x="109" y="83"/>
                  <a:pt x="109" y="83"/>
                  <a:pt x="109" y="83"/>
                </a:cubicBezTo>
                <a:cubicBezTo>
                  <a:pt x="110" y="60"/>
                  <a:pt x="110" y="60"/>
                  <a:pt x="110" y="60"/>
                </a:cubicBezTo>
                <a:cubicBezTo>
                  <a:pt x="113" y="61"/>
                  <a:pt x="114" y="63"/>
                  <a:pt x="116" y="64"/>
                </a:cubicBezTo>
                <a:cubicBezTo>
                  <a:pt x="147" y="96"/>
                  <a:pt x="147" y="96"/>
                  <a:pt x="147" y="96"/>
                </a:cubicBezTo>
                <a:cubicBezTo>
                  <a:pt x="153" y="101"/>
                  <a:pt x="155" y="108"/>
                  <a:pt x="155" y="115"/>
                </a:cubicBezTo>
                <a:close/>
                <a:moveTo>
                  <a:pt x="105" y="3"/>
                </a:moveTo>
                <a:cubicBezTo>
                  <a:pt x="105" y="33"/>
                  <a:pt x="105" y="33"/>
                  <a:pt x="105" y="33"/>
                </a:cubicBezTo>
                <a:cubicBezTo>
                  <a:pt x="105" y="34"/>
                  <a:pt x="105" y="35"/>
                  <a:pt x="105" y="36"/>
                </a:cubicBezTo>
                <a:cubicBezTo>
                  <a:pt x="104" y="36"/>
                  <a:pt x="103" y="37"/>
                  <a:pt x="102" y="37"/>
                </a:cubicBezTo>
                <a:cubicBezTo>
                  <a:pt x="102" y="37"/>
                  <a:pt x="101" y="36"/>
                  <a:pt x="100" y="36"/>
                </a:cubicBezTo>
                <a:cubicBezTo>
                  <a:pt x="100" y="35"/>
                  <a:pt x="99" y="34"/>
                  <a:pt x="99" y="33"/>
                </a:cubicBezTo>
                <a:cubicBezTo>
                  <a:pt x="99" y="3"/>
                  <a:pt x="99" y="3"/>
                  <a:pt x="99" y="3"/>
                </a:cubicBezTo>
                <a:cubicBezTo>
                  <a:pt x="99" y="2"/>
                  <a:pt x="100" y="2"/>
                  <a:pt x="100" y="1"/>
                </a:cubicBezTo>
                <a:cubicBezTo>
                  <a:pt x="101" y="0"/>
                  <a:pt x="102" y="0"/>
                  <a:pt x="102" y="0"/>
                </a:cubicBezTo>
                <a:cubicBezTo>
                  <a:pt x="103" y="0"/>
                  <a:pt x="104" y="0"/>
                  <a:pt x="105" y="1"/>
                </a:cubicBezTo>
                <a:cubicBezTo>
                  <a:pt x="105" y="2"/>
                  <a:pt x="105" y="2"/>
                  <a:pt x="105" y="3"/>
                </a:cubicBezTo>
                <a:close/>
                <a:moveTo>
                  <a:pt x="144" y="18"/>
                </a:moveTo>
                <a:cubicBezTo>
                  <a:pt x="120" y="42"/>
                  <a:pt x="120" y="42"/>
                  <a:pt x="120" y="42"/>
                </a:cubicBezTo>
                <a:cubicBezTo>
                  <a:pt x="119" y="42"/>
                  <a:pt x="118" y="43"/>
                  <a:pt x="118" y="43"/>
                </a:cubicBezTo>
                <a:cubicBezTo>
                  <a:pt x="117" y="43"/>
                  <a:pt x="116" y="42"/>
                  <a:pt x="115" y="42"/>
                </a:cubicBezTo>
                <a:cubicBezTo>
                  <a:pt x="115" y="41"/>
                  <a:pt x="115" y="40"/>
                  <a:pt x="115" y="40"/>
                </a:cubicBezTo>
                <a:cubicBezTo>
                  <a:pt x="115" y="39"/>
                  <a:pt x="115" y="38"/>
                  <a:pt x="115" y="37"/>
                </a:cubicBezTo>
                <a:cubicBezTo>
                  <a:pt x="140" y="13"/>
                  <a:pt x="140" y="13"/>
                  <a:pt x="140" y="13"/>
                </a:cubicBezTo>
                <a:cubicBezTo>
                  <a:pt x="140" y="13"/>
                  <a:pt x="141" y="12"/>
                  <a:pt x="142" y="12"/>
                </a:cubicBezTo>
                <a:cubicBezTo>
                  <a:pt x="143" y="12"/>
                  <a:pt x="143" y="13"/>
                  <a:pt x="144" y="13"/>
                </a:cubicBezTo>
                <a:cubicBezTo>
                  <a:pt x="145" y="14"/>
                  <a:pt x="145" y="15"/>
                  <a:pt x="145" y="15"/>
                </a:cubicBezTo>
                <a:cubicBezTo>
                  <a:pt x="145" y="16"/>
                  <a:pt x="145" y="17"/>
                  <a:pt x="144" y="18"/>
                </a:cubicBezTo>
                <a:close/>
                <a:moveTo>
                  <a:pt x="156" y="52"/>
                </a:moveTo>
                <a:cubicBezTo>
                  <a:pt x="157" y="53"/>
                  <a:pt x="157" y="54"/>
                  <a:pt x="157" y="55"/>
                </a:cubicBezTo>
                <a:cubicBezTo>
                  <a:pt x="157" y="56"/>
                  <a:pt x="157" y="56"/>
                  <a:pt x="156" y="57"/>
                </a:cubicBezTo>
                <a:cubicBezTo>
                  <a:pt x="155" y="57"/>
                  <a:pt x="155" y="58"/>
                  <a:pt x="154" y="58"/>
                </a:cubicBezTo>
                <a:cubicBezTo>
                  <a:pt x="124" y="58"/>
                  <a:pt x="124" y="58"/>
                  <a:pt x="124" y="58"/>
                </a:cubicBezTo>
                <a:cubicBezTo>
                  <a:pt x="123" y="58"/>
                  <a:pt x="122" y="57"/>
                  <a:pt x="121" y="57"/>
                </a:cubicBezTo>
                <a:cubicBezTo>
                  <a:pt x="121" y="56"/>
                  <a:pt x="121" y="56"/>
                  <a:pt x="121" y="55"/>
                </a:cubicBezTo>
                <a:cubicBezTo>
                  <a:pt x="121" y="54"/>
                  <a:pt x="121" y="53"/>
                  <a:pt x="121" y="52"/>
                </a:cubicBezTo>
                <a:cubicBezTo>
                  <a:pt x="122" y="52"/>
                  <a:pt x="123" y="52"/>
                  <a:pt x="124" y="52"/>
                </a:cubicBezTo>
                <a:cubicBezTo>
                  <a:pt x="154" y="52"/>
                  <a:pt x="154" y="52"/>
                  <a:pt x="154" y="52"/>
                </a:cubicBezTo>
                <a:cubicBezTo>
                  <a:pt x="155" y="52"/>
                  <a:pt x="155" y="52"/>
                  <a:pt x="156" y="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8" name="Freeform 269"/>
          <p:cNvSpPr>
            <a:spLocks noChangeAspect="1" noEditPoints="1"/>
          </p:cNvSpPr>
          <p:nvPr/>
        </p:nvSpPr>
        <p:spPr bwMode="auto">
          <a:xfrm>
            <a:off x="6739081" y="3427547"/>
            <a:ext cx="90556" cy="124904"/>
          </a:xfrm>
          <a:custGeom>
            <a:avLst/>
            <a:gdLst>
              <a:gd name="T0" fmla="*/ 87 w 87"/>
              <a:gd name="T1" fmla="*/ 38 h 121"/>
              <a:gd name="T2" fmla="*/ 86 w 87"/>
              <a:gd name="T3" fmla="*/ 48 h 121"/>
              <a:gd name="T4" fmla="*/ 83 w 87"/>
              <a:gd name="T5" fmla="*/ 55 h 121"/>
              <a:gd name="T6" fmla="*/ 77 w 87"/>
              <a:gd name="T7" fmla="*/ 61 h 121"/>
              <a:gd name="T8" fmla="*/ 72 w 87"/>
              <a:gd name="T9" fmla="*/ 65 h 121"/>
              <a:gd name="T10" fmla="*/ 66 w 87"/>
              <a:gd name="T11" fmla="*/ 68 h 121"/>
              <a:gd name="T12" fmla="*/ 60 w 87"/>
              <a:gd name="T13" fmla="*/ 74 h 121"/>
              <a:gd name="T14" fmla="*/ 57 w 87"/>
              <a:gd name="T15" fmla="*/ 81 h 121"/>
              <a:gd name="T16" fmla="*/ 56 w 87"/>
              <a:gd name="T17" fmla="*/ 84 h 121"/>
              <a:gd name="T18" fmla="*/ 53 w 87"/>
              <a:gd name="T19" fmla="*/ 85 h 121"/>
              <a:gd name="T20" fmla="*/ 31 w 87"/>
              <a:gd name="T21" fmla="*/ 85 h 121"/>
              <a:gd name="T22" fmla="*/ 28 w 87"/>
              <a:gd name="T23" fmla="*/ 83 h 121"/>
              <a:gd name="T24" fmla="*/ 27 w 87"/>
              <a:gd name="T25" fmla="*/ 80 h 121"/>
              <a:gd name="T26" fmla="*/ 27 w 87"/>
              <a:gd name="T27" fmla="*/ 76 h 121"/>
              <a:gd name="T28" fmla="*/ 33 w 87"/>
              <a:gd name="T29" fmla="*/ 61 h 121"/>
              <a:gd name="T30" fmla="*/ 47 w 87"/>
              <a:gd name="T31" fmla="*/ 51 h 121"/>
              <a:gd name="T32" fmla="*/ 55 w 87"/>
              <a:gd name="T33" fmla="*/ 45 h 121"/>
              <a:gd name="T34" fmla="*/ 57 w 87"/>
              <a:gd name="T35" fmla="*/ 38 h 121"/>
              <a:gd name="T36" fmla="*/ 53 w 87"/>
              <a:gd name="T37" fmla="*/ 31 h 121"/>
              <a:gd name="T38" fmla="*/ 43 w 87"/>
              <a:gd name="T39" fmla="*/ 28 h 121"/>
              <a:gd name="T40" fmla="*/ 32 w 87"/>
              <a:gd name="T41" fmla="*/ 31 h 121"/>
              <a:gd name="T42" fmla="*/ 22 w 87"/>
              <a:gd name="T43" fmla="*/ 42 h 121"/>
              <a:gd name="T44" fmla="*/ 19 w 87"/>
              <a:gd name="T45" fmla="*/ 43 h 121"/>
              <a:gd name="T46" fmla="*/ 17 w 87"/>
              <a:gd name="T47" fmla="*/ 42 h 121"/>
              <a:gd name="T48" fmla="*/ 1 w 87"/>
              <a:gd name="T49" fmla="*/ 31 h 121"/>
              <a:gd name="T50" fmla="*/ 0 w 87"/>
              <a:gd name="T51" fmla="*/ 28 h 121"/>
              <a:gd name="T52" fmla="*/ 1 w 87"/>
              <a:gd name="T53" fmla="*/ 26 h 121"/>
              <a:gd name="T54" fmla="*/ 44 w 87"/>
              <a:gd name="T55" fmla="*/ 0 h 121"/>
              <a:gd name="T56" fmla="*/ 60 w 87"/>
              <a:gd name="T57" fmla="*/ 3 h 121"/>
              <a:gd name="T58" fmla="*/ 73 w 87"/>
              <a:gd name="T59" fmla="*/ 11 h 121"/>
              <a:gd name="T60" fmla="*/ 83 w 87"/>
              <a:gd name="T61" fmla="*/ 23 h 121"/>
              <a:gd name="T62" fmla="*/ 87 w 87"/>
              <a:gd name="T63" fmla="*/ 38 h 121"/>
              <a:gd name="T64" fmla="*/ 57 w 87"/>
              <a:gd name="T65" fmla="*/ 95 h 121"/>
              <a:gd name="T66" fmla="*/ 57 w 87"/>
              <a:gd name="T67" fmla="*/ 118 h 121"/>
              <a:gd name="T68" fmla="*/ 56 w 87"/>
              <a:gd name="T69" fmla="*/ 120 h 121"/>
              <a:gd name="T70" fmla="*/ 54 w 87"/>
              <a:gd name="T71" fmla="*/ 121 h 121"/>
              <a:gd name="T72" fmla="*/ 31 w 87"/>
              <a:gd name="T73" fmla="*/ 121 h 121"/>
              <a:gd name="T74" fmla="*/ 28 w 87"/>
              <a:gd name="T75" fmla="*/ 120 h 121"/>
              <a:gd name="T76" fmla="*/ 27 w 87"/>
              <a:gd name="T77" fmla="*/ 118 h 121"/>
              <a:gd name="T78" fmla="*/ 27 w 87"/>
              <a:gd name="T79" fmla="*/ 95 h 121"/>
              <a:gd name="T80" fmla="*/ 28 w 87"/>
              <a:gd name="T81" fmla="*/ 92 h 121"/>
              <a:gd name="T82" fmla="*/ 31 w 87"/>
              <a:gd name="T83" fmla="*/ 91 h 121"/>
              <a:gd name="T84" fmla="*/ 54 w 87"/>
              <a:gd name="T85" fmla="*/ 91 h 121"/>
              <a:gd name="T86" fmla="*/ 56 w 87"/>
              <a:gd name="T87" fmla="*/ 92 h 121"/>
              <a:gd name="T88" fmla="*/ 57 w 87"/>
              <a:gd name="T89" fmla="*/ 9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7" h="121">
                <a:moveTo>
                  <a:pt x="87" y="38"/>
                </a:moveTo>
                <a:cubicBezTo>
                  <a:pt x="87" y="42"/>
                  <a:pt x="87" y="45"/>
                  <a:pt x="86" y="48"/>
                </a:cubicBezTo>
                <a:cubicBezTo>
                  <a:pt x="85" y="51"/>
                  <a:pt x="84" y="53"/>
                  <a:pt x="83" y="55"/>
                </a:cubicBezTo>
                <a:cubicBezTo>
                  <a:pt x="81" y="57"/>
                  <a:pt x="80" y="59"/>
                  <a:pt x="77" y="61"/>
                </a:cubicBezTo>
                <a:cubicBezTo>
                  <a:pt x="75" y="63"/>
                  <a:pt x="73" y="64"/>
                  <a:pt x="72" y="65"/>
                </a:cubicBezTo>
                <a:cubicBezTo>
                  <a:pt x="71" y="66"/>
                  <a:pt x="69" y="67"/>
                  <a:pt x="66" y="68"/>
                </a:cubicBezTo>
                <a:cubicBezTo>
                  <a:pt x="64" y="70"/>
                  <a:pt x="61" y="72"/>
                  <a:pt x="60" y="74"/>
                </a:cubicBezTo>
                <a:cubicBezTo>
                  <a:pt x="58" y="77"/>
                  <a:pt x="57" y="79"/>
                  <a:pt x="57" y="81"/>
                </a:cubicBezTo>
                <a:cubicBezTo>
                  <a:pt x="57" y="82"/>
                  <a:pt x="57" y="83"/>
                  <a:pt x="56" y="84"/>
                </a:cubicBezTo>
                <a:cubicBezTo>
                  <a:pt x="55" y="85"/>
                  <a:pt x="54" y="85"/>
                  <a:pt x="53" y="85"/>
                </a:cubicBezTo>
                <a:cubicBezTo>
                  <a:pt x="31" y="85"/>
                  <a:pt x="31" y="85"/>
                  <a:pt x="31" y="85"/>
                </a:cubicBezTo>
                <a:cubicBezTo>
                  <a:pt x="30" y="85"/>
                  <a:pt x="29" y="85"/>
                  <a:pt x="28" y="83"/>
                </a:cubicBezTo>
                <a:cubicBezTo>
                  <a:pt x="27" y="82"/>
                  <a:pt x="27" y="81"/>
                  <a:pt x="27" y="80"/>
                </a:cubicBezTo>
                <a:cubicBezTo>
                  <a:pt x="27" y="76"/>
                  <a:pt x="27" y="76"/>
                  <a:pt x="27" y="76"/>
                </a:cubicBezTo>
                <a:cubicBezTo>
                  <a:pt x="27" y="70"/>
                  <a:pt x="29" y="65"/>
                  <a:pt x="33" y="61"/>
                </a:cubicBezTo>
                <a:cubicBezTo>
                  <a:pt x="37" y="56"/>
                  <a:pt x="42" y="53"/>
                  <a:pt x="47" y="51"/>
                </a:cubicBezTo>
                <a:cubicBezTo>
                  <a:pt x="51" y="49"/>
                  <a:pt x="53" y="47"/>
                  <a:pt x="55" y="45"/>
                </a:cubicBezTo>
                <a:cubicBezTo>
                  <a:pt x="56" y="43"/>
                  <a:pt x="57" y="41"/>
                  <a:pt x="57" y="38"/>
                </a:cubicBezTo>
                <a:cubicBezTo>
                  <a:pt x="57" y="35"/>
                  <a:pt x="56" y="33"/>
                  <a:pt x="53" y="31"/>
                </a:cubicBezTo>
                <a:cubicBezTo>
                  <a:pt x="50" y="29"/>
                  <a:pt x="46" y="28"/>
                  <a:pt x="43" y="28"/>
                </a:cubicBezTo>
                <a:cubicBezTo>
                  <a:pt x="38" y="28"/>
                  <a:pt x="35" y="29"/>
                  <a:pt x="32" y="31"/>
                </a:cubicBezTo>
                <a:cubicBezTo>
                  <a:pt x="30" y="32"/>
                  <a:pt x="27" y="36"/>
                  <a:pt x="22" y="42"/>
                </a:cubicBezTo>
                <a:cubicBezTo>
                  <a:pt x="21" y="43"/>
                  <a:pt x="20" y="43"/>
                  <a:pt x="19" y="43"/>
                </a:cubicBezTo>
                <a:cubicBezTo>
                  <a:pt x="19" y="43"/>
                  <a:pt x="18" y="43"/>
                  <a:pt x="17" y="42"/>
                </a:cubicBezTo>
                <a:cubicBezTo>
                  <a:pt x="1" y="31"/>
                  <a:pt x="1" y="31"/>
                  <a:pt x="1" y="31"/>
                </a:cubicBezTo>
                <a:cubicBezTo>
                  <a:pt x="1" y="30"/>
                  <a:pt x="0" y="29"/>
                  <a:pt x="0" y="28"/>
                </a:cubicBezTo>
                <a:cubicBezTo>
                  <a:pt x="0" y="27"/>
                  <a:pt x="0" y="26"/>
                  <a:pt x="1" y="26"/>
                </a:cubicBezTo>
                <a:cubicBezTo>
                  <a:pt x="11" y="9"/>
                  <a:pt x="25" y="0"/>
                  <a:pt x="44" y="0"/>
                </a:cubicBezTo>
                <a:cubicBezTo>
                  <a:pt x="49" y="0"/>
                  <a:pt x="54" y="1"/>
                  <a:pt x="60" y="3"/>
                </a:cubicBezTo>
                <a:cubicBezTo>
                  <a:pt x="65" y="5"/>
                  <a:pt x="69" y="8"/>
                  <a:pt x="73" y="11"/>
                </a:cubicBezTo>
                <a:cubicBezTo>
                  <a:pt x="77" y="14"/>
                  <a:pt x="81" y="18"/>
                  <a:pt x="83" y="23"/>
                </a:cubicBezTo>
                <a:cubicBezTo>
                  <a:pt x="86" y="28"/>
                  <a:pt x="87" y="33"/>
                  <a:pt x="87" y="38"/>
                </a:cubicBezTo>
                <a:close/>
                <a:moveTo>
                  <a:pt x="57" y="95"/>
                </a:moveTo>
                <a:cubicBezTo>
                  <a:pt x="57" y="118"/>
                  <a:pt x="57" y="118"/>
                  <a:pt x="57" y="118"/>
                </a:cubicBezTo>
                <a:cubicBezTo>
                  <a:pt x="57" y="119"/>
                  <a:pt x="57" y="120"/>
                  <a:pt x="56" y="120"/>
                </a:cubicBezTo>
                <a:cubicBezTo>
                  <a:pt x="56" y="121"/>
                  <a:pt x="55" y="121"/>
                  <a:pt x="54" y="121"/>
                </a:cubicBezTo>
                <a:cubicBezTo>
                  <a:pt x="31" y="121"/>
                  <a:pt x="31" y="121"/>
                  <a:pt x="31" y="121"/>
                </a:cubicBezTo>
                <a:cubicBezTo>
                  <a:pt x="30" y="121"/>
                  <a:pt x="29" y="121"/>
                  <a:pt x="28" y="120"/>
                </a:cubicBezTo>
                <a:cubicBezTo>
                  <a:pt x="28" y="120"/>
                  <a:pt x="27" y="119"/>
                  <a:pt x="27" y="118"/>
                </a:cubicBezTo>
                <a:cubicBezTo>
                  <a:pt x="27" y="95"/>
                  <a:pt x="27" y="95"/>
                  <a:pt x="27" y="95"/>
                </a:cubicBezTo>
                <a:cubicBezTo>
                  <a:pt x="27" y="94"/>
                  <a:pt x="28" y="93"/>
                  <a:pt x="28" y="92"/>
                </a:cubicBezTo>
                <a:cubicBezTo>
                  <a:pt x="29" y="92"/>
                  <a:pt x="30" y="91"/>
                  <a:pt x="31" y="91"/>
                </a:cubicBezTo>
                <a:cubicBezTo>
                  <a:pt x="54" y="91"/>
                  <a:pt x="54" y="91"/>
                  <a:pt x="54" y="91"/>
                </a:cubicBezTo>
                <a:cubicBezTo>
                  <a:pt x="55" y="91"/>
                  <a:pt x="56" y="92"/>
                  <a:pt x="56" y="92"/>
                </a:cubicBezTo>
                <a:cubicBezTo>
                  <a:pt x="57" y="93"/>
                  <a:pt x="57" y="94"/>
                  <a:pt x="57" y="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69" name="Freeform 270"/>
          <p:cNvSpPr>
            <a:spLocks noChangeAspect="1" noEditPoints="1"/>
          </p:cNvSpPr>
          <p:nvPr/>
        </p:nvSpPr>
        <p:spPr bwMode="auto">
          <a:xfrm>
            <a:off x="6878038" y="3415057"/>
            <a:ext cx="60891" cy="137395"/>
          </a:xfrm>
          <a:custGeom>
            <a:avLst/>
            <a:gdLst>
              <a:gd name="T0" fmla="*/ 60 w 60"/>
              <a:gd name="T1" fmla="*/ 115 h 133"/>
              <a:gd name="T2" fmla="*/ 60 w 60"/>
              <a:gd name="T3" fmla="*/ 127 h 133"/>
              <a:gd name="T4" fmla="*/ 58 w 60"/>
              <a:gd name="T5" fmla="*/ 132 h 133"/>
              <a:gd name="T6" fmla="*/ 54 w 60"/>
              <a:gd name="T7" fmla="*/ 133 h 133"/>
              <a:gd name="T8" fmla="*/ 6 w 60"/>
              <a:gd name="T9" fmla="*/ 133 h 133"/>
              <a:gd name="T10" fmla="*/ 1 w 60"/>
              <a:gd name="T11" fmla="*/ 132 h 133"/>
              <a:gd name="T12" fmla="*/ 0 w 60"/>
              <a:gd name="T13" fmla="*/ 127 h 133"/>
              <a:gd name="T14" fmla="*/ 0 w 60"/>
              <a:gd name="T15" fmla="*/ 115 h 133"/>
              <a:gd name="T16" fmla="*/ 1 w 60"/>
              <a:gd name="T17" fmla="*/ 111 h 133"/>
              <a:gd name="T18" fmla="*/ 6 w 60"/>
              <a:gd name="T19" fmla="*/ 109 h 133"/>
              <a:gd name="T20" fmla="*/ 12 w 60"/>
              <a:gd name="T21" fmla="*/ 109 h 133"/>
              <a:gd name="T22" fmla="*/ 12 w 60"/>
              <a:gd name="T23" fmla="*/ 73 h 133"/>
              <a:gd name="T24" fmla="*/ 6 w 60"/>
              <a:gd name="T25" fmla="*/ 73 h 133"/>
              <a:gd name="T26" fmla="*/ 1 w 60"/>
              <a:gd name="T27" fmla="*/ 71 h 133"/>
              <a:gd name="T28" fmla="*/ 0 w 60"/>
              <a:gd name="T29" fmla="*/ 67 h 133"/>
              <a:gd name="T30" fmla="*/ 0 w 60"/>
              <a:gd name="T31" fmla="*/ 55 h 133"/>
              <a:gd name="T32" fmla="*/ 1 w 60"/>
              <a:gd name="T33" fmla="*/ 51 h 133"/>
              <a:gd name="T34" fmla="*/ 6 w 60"/>
              <a:gd name="T35" fmla="*/ 49 h 133"/>
              <a:gd name="T36" fmla="*/ 42 w 60"/>
              <a:gd name="T37" fmla="*/ 49 h 133"/>
              <a:gd name="T38" fmla="*/ 46 w 60"/>
              <a:gd name="T39" fmla="*/ 51 h 133"/>
              <a:gd name="T40" fmla="*/ 48 w 60"/>
              <a:gd name="T41" fmla="*/ 55 h 133"/>
              <a:gd name="T42" fmla="*/ 48 w 60"/>
              <a:gd name="T43" fmla="*/ 109 h 133"/>
              <a:gd name="T44" fmla="*/ 54 w 60"/>
              <a:gd name="T45" fmla="*/ 109 h 133"/>
              <a:gd name="T46" fmla="*/ 58 w 60"/>
              <a:gd name="T47" fmla="*/ 111 h 133"/>
              <a:gd name="T48" fmla="*/ 60 w 60"/>
              <a:gd name="T49" fmla="*/ 115 h 133"/>
              <a:gd name="T50" fmla="*/ 48 w 60"/>
              <a:gd name="T51" fmla="*/ 6 h 133"/>
              <a:gd name="T52" fmla="*/ 48 w 60"/>
              <a:gd name="T53" fmla="*/ 25 h 133"/>
              <a:gd name="T54" fmla="*/ 46 w 60"/>
              <a:gd name="T55" fmla="*/ 29 h 133"/>
              <a:gd name="T56" fmla="*/ 42 w 60"/>
              <a:gd name="T57" fmla="*/ 31 h 133"/>
              <a:gd name="T58" fmla="*/ 18 w 60"/>
              <a:gd name="T59" fmla="*/ 31 h 133"/>
              <a:gd name="T60" fmla="*/ 14 w 60"/>
              <a:gd name="T61" fmla="*/ 29 h 133"/>
              <a:gd name="T62" fmla="*/ 12 w 60"/>
              <a:gd name="T63" fmla="*/ 25 h 133"/>
              <a:gd name="T64" fmla="*/ 12 w 60"/>
              <a:gd name="T65" fmla="*/ 6 h 133"/>
              <a:gd name="T66" fmla="*/ 14 w 60"/>
              <a:gd name="T67" fmla="*/ 2 h 133"/>
              <a:gd name="T68" fmla="*/ 18 w 60"/>
              <a:gd name="T69" fmla="*/ 0 h 133"/>
              <a:gd name="T70" fmla="*/ 42 w 60"/>
              <a:gd name="T71" fmla="*/ 0 h 133"/>
              <a:gd name="T72" fmla="*/ 46 w 60"/>
              <a:gd name="T73" fmla="*/ 2 h 133"/>
              <a:gd name="T74" fmla="*/ 48 w 60"/>
              <a:gd name="T75" fmla="*/ 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0" h="133">
                <a:moveTo>
                  <a:pt x="60" y="115"/>
                </a:moveTo>
                <a:cubicBezTo>
                  <a:pt x="60" y="127"/>
                  <a:pt x="60" y="127"/>
                  <a:pt x="60" y="127"/>
                </a:cubicBezTo>
                <a:cubicBezTo>
                  <a:pt x="60" y="129"/>
                  <a:pt x="60" y="130"/>
                  <a:pt x="58" y="132"/>
                </a:cubicBezTo>
                <a:cubicBezTo>
                  <a:pt x="57" y="133"/>
                  <a:pt x="56" y="133"/>
                  <a:pt x="54" y="133"/>
                </a:cubicBezTo>
                <a:cubicBezTo>
                  <a:pt x="6" y="133"/>
                  <a:pt x="6" y="133"/>
                  <a:pt x="6" y="133"/>
                </a:cubicBezTo>
                <a:cubicBezTo>
                  <a:pt x="4" y="133"/>
                  <a:pt x="3" y="133"/>
                  <a:pt x="1" y="132"/>
                </a:cubicBezTo>
                <a:cubicBezTo>
                  <a:pt x="0" y="130"/>
                  <a:pt x="0" y="129"/>
                  <a:pt x="0" y="127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4"/>
                  <a:pt x="0" y="112"/>
                  <a:pt x="1" y="111"/>
                </a:cubicBezTo>
                <a:cubicBezTo>
                  <a:pt x="3" y="110"/>
                  <a:pt x="4" y="109"/>
                  <a:pt x="6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73"/>
                  <a:pt x="12" y="73"/>
                  <a:pt x="12" y="73"/>
                </a:cubicBezTo>
                <a:cubicBezTo>
                  <a:pt x="6" y="73"/>
                  <a:pt x="6" y="73"/>
                  <a:pt x="6" y="73"/>
                </a:cubicBezTo>
                <a:cubicBezTo>
                  <a:pt x="4" y="73"/>
                  <a:pt x="3" y="72"/>
                  <a:pt x="1" y="71"/>
                </a:cubicBezTo>
                <a:cubicBezTo>
                  <a:pt x="0" y="70"/>
                  <a:pt x="0" y="69"/>
                  <a:pt x="0" y="67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0" y="52"/>
                  <a:pt x="1" y="51"/>
                </a:cubicBezTo>
                <a:cubicBezTo>
                  <a:pt x="3" y="49"/>
                  <a:pt x="4" y="49"/>
                  <a:pt x="6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4" y="49"/>
                  <a:pt x="45" y="49"/>
                  <a:pt x="46" y="51"/>
                </a:cubicBezTo>
                <a:cubicBezTo>
                  <a:pt x="47" y="52"/>
                  <a:pt x="48" y="53"/>
                  <a:pt x="48" y="55"/>
                </a:cubicBezTo>
                <a:cubicBezTo>
                  <a:pt x="48" y="109"/>
                  <a:pt x="48" y="109"/>
                  <a:pt x="48" y="109"/>
                </a:cubicBezTo>
                <a:cubicBezTo>
                  <a:pt x="54" y="109"/>
                  <a:pt x="54" y="109"/>
                  <a:pt x="54" y="109"/>
                </a:cubicBezTo>
                <a:cubicBezTo>
                  <a:pt x="56" y="109"/>
                  <a:pt x="57" y="110"/>
                  <a:pt x="58" y="111"/>
                </a:cubicBezTo>
                <a:cubicBezTo>
                  <a:pt x="60" y="112"/>
                  <a:pt x="60" y="114"/>
                  <a:pt x="60" y="115"/>
                </a:cubicBezTo>
                <a:close/>
                <a:moveTo>
                  <a:pt x="48" y="6"/>
                </a:moveTo>
                <a:cubicBezTo>
                  <a:pt x="48" y="25"/>
                  <a:pt x="48" y="25"/>
                  <a:pt x="48" y="25"/>
                </a:cubicBezTo>
                <a:cubicBezTo>
                  <a:pt x="48" y="26"/>
                  <a:pt x="47" y="28"/>
                  <a:pt x="46" y="29"/>
                </a:cubicBezTo>
                <a:cubicBezTo>
                  <a:pt x="45" y="30"/>
                  <a:pt x="44" y="31"/>
                  <a:pt x="42" y="31"/>
                </a:cubicBezTo>
                <a:cubicBezTo>
                  <a:pt x="18" y="31"/>
                  <a:pt x="18" y="31"/>
                  <a:pt x="18" y="31"/>
                </a:cubicBezTo>
                <a:cubicBezTo>
                  <a:pt x="16" y="31"/>
                  <a:pt x="15" y="30"/>
                  <a:pt x="14" y="29"/>
                </a:cubicBezTo>
                <a:cubicBezTo>
                  <a:pt x="12" y="28"/>
                  <a:pt x="12" y="26"/>
                  <a:pt x="12" y="25"/>
                </a:cubicBezTo>
                <a:cubicBezTo>
                  <a:pt x="12" y="6"/>
                  <a:pt x="12" y="6"/>
                  <a:pt x="12" y="6"/>
                </a:cubicBezTo>
                <a:cubicBezTo>
                  <a:pt x="12" y="5"/>
                  <a:pt x="12" y="3"/>
                  <a:pt x="14" y="2"/>
                </a:cubicBezTo>
                <a:cubicBezTo>
                  <a:pt x="15" y="1"/>
                  <a:pt x="16" y="0"/>
                  <a:pt x="18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4" y="0"/>
                  <a:pt x="45" y="1"/>
                  <a:pt x="46" y="2"/>
                </a:cubicBezTo>
                <a:cubicBezTo>
                  <a:pt x="47" y="3"/>
                  <a:pt x="48" y="5"/>
                  <a:pt x="48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0" name="Freeform 271"/>
          <p:cNvSpPr>
            <a:spLocks noChangeAspect="1" noEditPoints="1"/>
          </p:cNvSpPr>
          <p:nvPr/>
        </p:nvSpPr>
        <p:spPr bwMode="auto">
          <a:xfrm>
            <a:off x="6995135" y="3415057"/>
            <a:ext cx="43717" cy="137395"/>
          </a:xfrm>
          <a:custGeom>
            <a:avLst/>
            <a:gdLst>
              <a:gd name="T0" fmla="*/ 42 w 42"/>
              <a:gd name="T1" fmla="*/ 6 h 133"/>
              <a:gd name="T2" fmla="*/ 40 w 42"/>
              <a:gd name="T3" fmla="*/ 79 h 133"/>
              <a:gd name="T4" fmla="*/ 38 w 42"/>
              <a:gd name="T5" fmla="*/ 83 h 133"/>
              <a:gd name="T6" fmla="*/ 33 w 42"/>
              <a:gd name="T7" fmla="*/ 85 h 133"/>
              <a:gd name="T8" fmla="*/ 9 w 42"/>
              <a:gd name="T9" fmla="*/ 85 h 133"/>
              <a:gd name="T10" fmla="*/ 5 w 42"/>
              <a:gd name="T11" fmla="*/ 83 h 133"/>
              <a:gd name="T12" fmla="*/ 3 w 42"/>
              <a:gd name="T13" fmla="*/ 79 h 133"/>
              <a:gd name="T14" fmla="*/ 0 w 42"/>
              <a:gd name="T15" fmla="*/ 6 h 133"/>
              <a:gd name="T16" fmla="*/ 2 w 42"/>
              <a:gd name="T17" fmla="*/ 2 h 133"/>
              <a:gd name="T18" fmla="*/ 6 w 42"/>
              <a:gd name="T19" fmla="*/ 0 h 133"/>
              <a:gd name="T20" fmla="*/ 36 w 42"/>
              <a:gd name="T21" fmla="*/ 0 h 133"/>
              <a:gd name="T22" fmla="*/ 41 w 42"/>
              <a:gd name="T23" fmla="*/ 2 h 133"/>
              <a:gd name="T24" fmla="*/ 42 w 42"/>
              <a:gd name="T25" fmla="*/ 6 h 133"/>
              <a:gd name="T26" fmla="*/ 40 w 42"/>
              <a:gd name="T27" fmla="*/ 106 h 133"/>
              <a:gd name="T28" fmla="*/ 40 w 42"/>
              <a:gd name="T29" fmla="*/ 127 h 133"/>
              <a:gd name="T30" fmla="*/ 38 w 42"/>
              <a:gd name="T31" fmla="*/ 132 h 133"/>
              <a:gd name="T32" fmla="*/ 33 w 42"/>
              <a:gd name="T33" fmla="*/ 133 h 133"/>
              <a:gd name="T34" fmla="*/ 9 w 42"/>
              <a:gd name="T35" fmla="*/ 133 h 133"/>
              <a:gd name="T36" fmla="*/ 5 w 42"/>
              <a:gd name="T37" fmla="*/ 132 h 133"/>
              <a:gd name="T38" fmla="*/ 3 w 42"/>
              <a:gd name="T39" fmla="*/ 127 h 133"/>
              <a:gd name="T40" fmla="*/ 3 w 42"/>
              <a:gd name="T41" fmla="*/ 106 h 133"/>
              <a:gd name="T42" fmla="*/ 5 w 42"/>
              <a:gd name="T43" fmla="*/ 102 h 133"/>
              <a:gd name="T44" fmla="*/ 9 w 42"/>
              <a:gd name="T45" fmla="*/ 100 h 133"/>
              <a:gd name="T46" fmla="*/ 33 w 42"/>
              <a:gd name="T47" fmla="*/ 100 h 133"/>
              <a:gd name="T48" fmla="*/ 38 w 42"/>
              <a:gd name="T49" fmla="*/ 102 h 133"/>
              <a:gd name="T50" fmla="*/ 40 w 42"/>
              <a:gd name="T51" fmla="*/ 10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" h="133">
                <a:moveTo>
                  <a:pt x="42" y="6"/>
                </a:moveTo>
                <a:cubicBezTo>
                  <a:pt x="40" y="79"/>
                  <a:pt x="40" y="79"/>
                  <a:pt x="40" y="79"/>
                </a:cubicBezTo>
                <a:cubicBezTo>
                  <a:pt x="40" y="81"/>
                  <a:pt x="39" y="82"/>
                  <a:pt x="38" y="83"/>
                </a:cubicBezTo>
                <a:cubicBezTo>
                  <a:pt x="37" y="84"/>
                  <a:pt x="35" y="85"/>
                  <a:pt x="33" y="85"/>
                </a:cubicBezTo>
                <a:cubicBezTo>
                  <a:pt x="9" y="85"/>
                  <a:pt x="9" y="85"/>
                  <a:pt x="9" y="85"/>
                </a:cubicBezTo>
                <a:cubicBezTo>
                  <a:pt x="8" y="85"/>
                  <a:pt x="6" y="84"/>
                  <a:pt x="5" y="83"/>
                </a:cubicBezTo>
                <a:cubicBezTo>
                  <a:pt x="4" y="82"/>
                  <a:pt x="3" y="81"/>
                  <a:pt x="3" y="7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1"/>
                  <a:pt x="41" y="2"/>
                </a:cubicBezTo>
                <a:cubicBezTo>
                  <a:pt x="42" y="3"/>
                  <a:pt x="42" y="5"/>
                  <a:pt x="42" y="6"/>
                </a:cubicBezTo>
                <a:close/>
                <a:moveTo>
                  <a:pt x="40" y="106"/>
                </a:moveTo>
                <a:cubicBezTo>
                  <a:pt x="40" y="127"/>
                  <a:pt x="40" y="127"/>
                  <a:pt x="40" y="127"/>
                </a:cubicBezTo>
                <a:cubicBezTo>
                  <a:pt x="40" y="129"/>
                  <a:pt x="39" y="130"/>
                  <a:pt x="38" y="132"/>
                </a:cubicBezTo>
                <a:cubicBezTo>
                  <a:pt x="37" y="133"/>
                  <a:pt x="35" y="133"/>
                  <a:pt x="33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8" y="133"/>
                  <a:pt x="6" y="133"/>
                  <a:pt x="5" y="132"/>
                </a:cubicBezTo>
                <a:cubicBezTo>
                  <a:pt x="4" y="130"/>
                  <a:pt x="3" y="129"/>
                  <a:pt x="3" y="127"/>
                </a:cubicBezTo>
                <a:cubicBezTo>
                  <a:pt x="3" y="106"/>
                  <a:pt x="3" y="106"/>
                  <a:pt x="3" y="106"/>
                </a:cubicBezTo>
                <a:cubicBezTo>
                  <a:pt x="3" y="105"/>
                  <a:pt x="4" y="103"/>
                  <a:pt x="5" y="102"/>
                </a:cubicBezTo>
                <a:cubicBezTo>
                  <a:pt x="6" y="101"/>
                  <a:pt x="8" y="100"/>
                  <a:pt x="9" y="100"/>
                </a:cubicBezTo>
                <a:cubicBezTo>
                  <a:pt x="33" y="100"/>
                  <a:pt x="33" y="100"/>
                  <a:pt x="33" y="100"/>
                </a:cubicBezTo>
                <a:cubicBezTo>
                  <a:pt x="35" y="100"/>
                  <a:pt x="37" y="101"/>
                  <a:pt x="38" y="102"/>
                </a:cubicBezTo>
                <a:cubicBezTo>
                  <a:pt x="39" y="103"/>
                  <a:pt x="40" y="105"/>
                  <a:pt x="40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1" name="Freeform 272"/>
          <p:cNvSpPr>
            <a:spLocks noChangeAspect="1" noEditPoints="1"/>
          </p:cNvSpPr>
          <p:nvPr/>
        </p:nvSpPr>
        <p:spPr bwMode="auto">
          <a:xfrm>
            <a:off x="7095059" y="3416618"/>
            <a:ext cx="151447" cy="135834"/>
          </a:xfrm>
          <a:custGeom>
            <a:avLst/>
            <a:gdLst>
              <a:gd name="T0" fmla="*/ 84 w 145"/>
              <a:gd name="T1" fmla="*/ 116 h 131"/>
              <a:gd name="T2" fmla="*/ 84 w 145"/>
              <a:gd name="T3" fmla="*/ 131 h 131"/>
              <a:gd name="T4" fmla="*/ 61 w 145"/>
              <a:gd name="T5" fmla="*/ 131 h 131"/>
              <a:gd name="T6" fmla="*/ 46 w 145"/>
              <a:gd name="T7" fmla="*/ 108 h 131"/>
              <a:gd name="T8" fmla="*/ 44 w 145"/>
              <a:gd name="T9" fmla="*/ 104 h 131"/>
              <a:gd name="T10" fmla="*/ 43 w 145"/>
              <a:gd name="T11" fmla="*/ 102 h 131"/>
              <a:gd name="T12" fmla="*/ 42 w 145"/>
              <a:gd name="T13" fmla="*/ 102 h 131"/>
              <a:gd name="T14" fmla="*/ 41 w 145"/>
              <a:gd name="T15" fmla="*/ 104 h 131"/>
              <a:gd name="T16" fmla="*/ 39 w 145"/>
              <a:gd name="T17" fmla="*/ 108 h 131"/>
              <a:gd name="T18" fmla="*/ 24 w 145"/>
              <a:gd name="T19" fmla="*/ 131 h 131"/>
              <a:gd name="T20" fmla="*/ 0 w 145"/>
              <a:gd name="T21" fmla="*/ 131 h 131"/>
              <a:gd name="T22" fmla="*/ 0 w 145"/>
              <a:gd name="T23" fmla="*/ 116 h 131"/>
              <a:gd name="T24" fmla="*/ 12 w 145"/>
              <a:gd name="T25" fmla="*/ 116 h 131"/>
              <a:gd name="T26" fmla="*/ 31 w 145"/>
              <a:gd name="T27" fmla="*/ 88 h 131"/>
              <a:gd name="T28" fmla="*/ 13 w 145"/>
              <a:gd name="T29" fmla="*/ 62 h 131"/>
              <a:gd name="T30" fmla="*/ 0 w 145"/>
              <a:gd name="T31" fmla="*/ 62 h 131"/>
              <a:gd name="T32" fmla="*/ 0 w 145"/>
              <a:gd name="T33" fmla="*/ 47 h 131"/>
              <a:gd name="T34" fmla="*/ 26 w 145"/>
              <a:gd name="T35" fmla="*/ 47 h 131"/>
              <a:gd name="T36" fmla="*/ 40 w 145"/>
              <a:gd name="T37" fmla="*/ 68 h 131"/>
              <a:gd name="T38" fmla="*/ 42 w 145"/>
              <a:gd name="T39" fmla="*/ 72 h 131"/>
              <a:gd name="T40" fmla="*/ 43 w 145"/>
              <a:gd name="T41" fmla="*/ 74 h 131"/>
              <a:gd name="T42" fmla="*/ 43 w 145"/>
              <a:gd name="T43" fmla="*/ 74 h 131"/>
              <a:gd name="T44" fmla="*/ 44 w 145"/>
              <a:gd name="T45" fmla="*/ 72 h 131"/>
              <a:gd name="T46" fmla="*/ 46 w 145"/>
              <a:gd name="T47" fmla="*/ 68 h 131"/>
              <a:gd name="T48" fmla="*/ 60 w 145"/>
              <a:gd name="T49" fmla="*/ 47 h 131"/>
              <a:gd name="T50" fmla="*/ 84 w 145"/>
              <a:gd name="T51" fmla="*/ 47 h 131"/>
              <a:gd name="T52" fmla="*/ 84 w 145"/>
              <a:gd name="T53" fmla="*/ 62 h 131"/>
              <a:gd name="T54" fmla="*/ 72 w 145"/>
              <a:gd name="T55" fmla="*/ 62 h 131"/>
              <a:gd name="T56" fmla="*/ 55 w 145"/>
              <a:gd name="T57" fmla="*/ 88 h 131"/>
              <a:gd name="T58" fmla="*/ 74 w 145"/>
              <a:gd name="T59" fmla="*/ 116 h 131"/>
              <a:gd name="T60" fmla="*/ 84 w 145"/>
              <a:gd name="T61" fmla="*/ 116 h 131"/>
              <a:gd name="T62" fmla="*/ 145 w 145"/>
              <a:gd name="T63" fmla="*/ 51 h 131"/>
              <a:gd name="T64" fmla="*/ 145 w 145"/>
              <a:gd name="T65" fmla="*/ 71 h 131"/>
              <a:gd name="T66" fmla="*/ 96 w 145"/>
              <a:gd name="T67" fmla="*/ 71 h 131"/>
              <a:gd name="T68" fmla="*/ 96 w 145"/>
              <a:gd name="T69" fmla="*/ 68 h 131"/>
              <a:gd name="T70" fmla="*/ 95 w 145"/>
              <a:gd name="T71" fmla="*/ 64 h 131"/>
              <a:gd name="T72" fmla="*/ 98 w 145"/>
              <a:gd name="T73" fmla="*/ 53 h 131"/>
              <a:gd name="T74" fmla="*/ 104 w 145"/>
              <a:gd name="T75" fmla="*/ 45 h 131"/>
              <a:gd name="T76" fmla="*/ 112 w 145"/>
              <a:gd name="T77" fmla="*/ 39 h 131"/>
              <a:gd name="T78" fmla="*/ 120 w 145"/>
              <a:gd name="T79" fmla="*/ 33 h 131"/>
              <a:gd name="T80" fmla="*/ 126 w 145"/>
              <a:gd name="T81" fmla="*/ 28 h 131"/>
              <a:gd name="T82" fmla="*/ 128 w 145"/>
              <a:gd name="T83" fmla="*/ 22 h 131"/>
              <a:gd name="T84" fmla="*/ 126 w 145"/>
              <a:gd name="T85" fmla="*/ 16 h 131"/>
              <a:gd name="T86" fmla="*/ 119 w 145"/>
              <a:gd name="T87" fmla="*/ 14 h 131"/>
              <a:gd name="T88" fmla="*/ 110 w 145"/>
              <a:gd name="T89" fmla="*/ 18 h 131"/>
              <a:gd name="T90" fmla="*/ 106 w 145"/>
              <a:gd name="T91" fmla="*/ 21 h 131"/>
              <a:gd name="T92" fmla="*/ 97 w 145"/>
              <a:gd name="T93" fmla="*/ 13 h 131"/>
              <a:gd name="T94" fmla="*/ 102 w 145"/>
              <a:gd name="T95" fmla="*/ 6 h 131"/>
              <a:gd name="T96" fmla="*/ 120 w 145"/>
              <a:gd name="T97" fmla="*/ 0 h 131"/>
              <a:gd name="T98" fmla="*/ 137 w 145"/>
              <a:gd name="T99" fmla="*/ 6 h 131"/>
              <a:gd name="T100" fmla="*/ 143 w 145"/>
              <a:gd name="T101" fmla="*/ 21 h 131"/>
              <a:gd name="T102" fmla="*/ 141 w 145"/>
              <a:gd name="T103" fmla="*/ 31 h 131"/>
              <a:gd name="T104" fmla="*/ 135 w 145"/>
              <a:gd name="T105" fmla="*/ 38 h 131"/>
              <a:gd name="T106" fmla="*/ 128 w 145"/>
              <a:gd name="T107" fmla="*/ 43 h 131"/>
              <a:gd name="T108" fmla="*/ 120 w 145"/>
              <a:gd name="T109" fmla="*/ 48 h 131"/>
              <a:gd name="T110" fmla="*/ 114 w 145"/>
              <a:gd name="T111" fmla="*/ 53 h 131"/>
              <a:gd name="T112" fmla="*/ 111 w 145"/>
              <a:gd name="T113" fmla="*/ 59 h 131"/>
              <a:gd name="T114" fmla="*/ 133 w 145"/>
              <a:gd name="T115" fmla="*/ 59 h 131"/>
              <a:gd name="T116" fmla="*/ 133 w 145"/>
              <a:gd name="T117" fmla="*/ 51 h 131"/>
              <a:gd name="T118" fmla="*/ 145 w 145"/>
              <a:gd name="T119" fmla="*/ 51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5" h="131">
                <a:moveTo>
                  <a:pt x="84" y="116"/>
                </a:moveTo>
                <a:cubicBezTo>
                  <a:pt x="84" y="131"/>
                  <a:pt x="84" y="131"/>
                  <a:pt x="84" y="131"/>
                </a:cubicBezTo>
                <a:cubicBezTo>
                  <a:pt x="61" y="131"/>
                  <a:pt x="61" y="131"/>
                  <a:pt x="61" y="131"/>
                </a:cubicBezTo>
                <a:cubicBezTo>
                  <a:pt x="46" y="108"/>
                  <a:pt x="46" y="108"/>
                  <a:pt x="46" y="108"/>
                </a:cubicBezTo>
                <a:cubicBezTo>
                  <a:pt x="44" y="104"/>
                  <a:pt x="44" y="104"/>
                  <a:pt x="44" y="104"/>
                </a:cubicBezTo>
                <a:cubicBezTo>
                  <a:pt x="43" y="103"/>
                  <a:pt x="43" y="102"/>
                  <a:pt x="43" y="102"/>
                </a:cubicBezTo>
                <a:cubicBezTo>
                  <a:pt x="42" y="102"/>
                  <a:pt x="42" y="102"/>
                  <a:pt x="42" y="102"/>
                </a:cubicBezTo>
                <a:cubicBezTo>
                  <a:pt x="41" y="104"/>
                  <a:pt x="41" y="104"/>
                  <a:pt x="41" y="104"/>
                </a:cubicBezTo>
                <a:cubicBezTo>
                  <a:pt x="41" y="105"/>
                  <a:pt x="40" y="106"/>
                  <a:pt x="39" y="108"/>
                </a:cubicBezTo>
                <a:cubicBezTo>
                  <a:pt x="24" y="131"/>
                  <a:pt x="24" y="131"/>
                  <a:pt x="24" y="131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16"/>
                  <a:pt x="0" y="116"/>
                  <a:pt x="0" y="116"/>
                </a:cubicBezTo>
                <a:cubicBezTo>
                  <a:pt x="12" y="116"/>
                  <a:pt x="12" y="116"/>
                  <a:pt x="12" y="116"/>
                </a:cubicBezTo>
                <a:cubicBezTo>
                  <a:pt x="31" y="88"/>
                  <a:pt x="31" y="88"/>
                  <a:pt x="31" y="88"/>
                </a:cubicBezTo>
                <a:cubicBezTo>
                  <a:pt x="13" y="62"/>
                  <a:pt x="13" y="62"/>
                  <a:pt x="13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47"/>
                  <a:pt x="0" y="47"/>
                  <a:pt x="0" y="47"/>
                </a:cubicBezTo>
                <a:cubicBezTo>
                  <a:pt x="26" y="47"/>
                  <a:pt x="26" y="47"/>
                  <a:pt x="26" y="47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68"/>
                  <a:pt x="40" y="70"/>
                  <a:pt x="42" y="72"/>
                </a:cubicBezTo>
                <a:cubicBezTo>
                  <a:pt x="42" y="73"/>
                  <a:pt x="43" y="73"/>
                  <a:pt x="43" y="74"/>
                </a:cubicBezTo>
                <a:cubicBezTo>
                  <a:pt x="43" y="74"/>
                  <a:pt x="43" y="74"/>
                  <a:pt x="43" y="74"/>
                </a:cubicBezTo>
                <a:cubicBezTo>
                  <a:pt x="43" y="73"/>
                  <a:pt x="44" y="73"/>
                  <a:pt x="44" y="72"/>
                </a:cubicBezTo>
                <a:cubicBezTo>
                  <a:pt x="46" y="68"/>
                  <a:pt x="46" y="68"/>
                  <a:pt x="46" y="68"/>
                </a:cubicBezTo>
                <a:cubicBezTo>
                  <a:pt x="60" y="47"/>
                  <a:pt x="60" y="47"/>
                  <a:pt x="60" y="47"/>
                </a:cubicBezTo>
                <a:cubicBezTo>
                  <a:pt x="84" y="47"/>
                  <a:pt x="84" y="47"/>
                  <a:pt x="84" y="47"/>
                </a:cubicBezTo>
                <a:cubicBezTo>
                  <a:pt x="84" y="62"/>
                  <a:pt x="84" y="62"/>
                  <a:pt x="84" y="62"/>
                </a:cubicBezTo>
                <a:cubicBezTo>
                  <a:pt x="72" y="62"/>
                  <a:pt x="72" y="62"/>
                  <a:pt x="72" y="62"/>
                </a:cubicBezTo>
                <a:cubicBezTo>
                  <a:pt x="55" y="88"/>
                  <a:pt x="55" y="88"/>
                  <a:pt x="55" y="88"/>
                </a:cubicBezTo>
                <a:cubicBezTo>
                  <a:pt x="74" y="116"/>
                  <a:pt x="74" y="116"/>
                  <a:pt x="74" y="116"/>
                </a:cubicBezTo>
                <a:lnTo>
                  <a:pt x="84" y="116"/>
                </a:lnTo>
                <a:close/>
                <a:moveTo>
                  <a:pt x="145" y="51"/>
                </a:moveTo>
                <a:cubicBezTo>
                  <a:pt x="145" y="71"/>
                  <a:pt x="145" y="71"/>
                  <a:pt x="145" y="71"/>
                </a:cubicBezTo>
                <a:cubicBezTo>
                  <a:pt x="96" y="71"/>
                  <a:pt x="96" y="71"/>
                  <a:pt x="96" y="71"/>
                </a:cubicBezTo>
                <a:cubicBezTo>
                  <a:pt x="96" y="68"/>
                  <a:pt x="96" y="68"/>
                  <a:pt x="96" y="68"/>
                </a:cubicBezTo>
                <a:cubicBezTo>
                  <a:pt x="95" y="67"/>
                  <a:pt x="95" y="65"/>
                  <a:pt x="95" y="64"/>
                </a:cubicBezTo>
                <a:cubicBezTo>
                  <a:pt x="95" y="60"/>
                  <a:pt x="96" y="56"/>
                  <a:pt x="98" y="53"/>
                </a:cubicBezTo>
                <a:cubicBezTo>
                  <a:pt x="99" y="50"/>
                  <a:pt x="102" y="47"/>
                  <a:pt x="104" y="45"/>
                </a:cubicBezTo>
                <a:cubicBezTo>
                  <a:pt x="106" y="43"/>
                  <a:pt x="109" y="41"/>
                  <a:pt x="112" y="39"/>
                </a:cubicBezTo>
                <a:cubicBezTo>
                  <a:pt x="115" y="37"/>
                  <a:pt x="117" y="35"/>
                  <a:pt x="120" y="33"/>
                </a:cubicBezTo>
                <a:cubicBezTo>
                  <a:pt x="122" y="32"/>
                  <a:pt x="124" y="30"/>
                  <a:pt x="126" y="28"/>
                </a:cubicBezTo>
                <a:cubicBezTo>
                  <a:pt x="128" y="26"/>
                  <a:pt x="128" y="24"/>
                  <a:pt x="128" y="22"/>
                </a:cubicBezTo>
                <a:cubicBezTo>
                  <a:pt x="128" y="20"/>
                  <a:pt x="128" y="18"/>
                  <a:pt x="126" y="16"/>
                </a:cubicBezTo>
                <a:cubicBezTo>
                  <a:pt x="124" y="15"/>
                  <a:pt x="122" y="14"/>
                  <a:pt x="119" y="14"/>
                </a:cubicBezTo>
                <a:cubicBezTo>
                  <a:pt x="116" y="14"/>
                  <a:pt x="113" y="15"/>
                  <a:pt x="110" y="18"/>
                </a:cubicBezTo>
                <a:cubicBezTo>
                  <a:pt x="109" y="18"/>
                  <a:pt x="108" y="20"/>
                  <a:pt x="106" y="21"/>
                </a:cubicBezTo>
                <a:cubicBezTo>
                  <a:pt x="97" y="13"/>
                  <a:pt x="97" y="13"/>
                  <a:pt x="97" y="13"/>
                </a:cubicBezTo>
                <a:cubicBezTo>
                  <a:pt x="98" y="10"/>
                  <a:pt x="100" y="8"/>
                  <a:pt x="102" y="6"/>
                </a:cubicBezTo>
                <a:cubicBezTo>
                  <a:pt x="108" y="2"/>
                  <a:pt x="114" y="0"/>
                  <a:pt x="120" y="0"/>
                </a:cubicBezTo>
                <a:cubicBezTo>
                  <a:pt x="127" y="0"/>
                  <a:pt x="133" y="2"/>
                  <a:pt x="137" y="6"/>
                </a:cubicBezTo>
                <a:cubicBezTo>
                  <a:pt x="141" y="10"/>
                  <a:pt x="143" y="15"/>
                  <a:pt x="143" y="21"/>
                </a:cubicBezTo>
                <a:cubicBezTo>
                  <a:pt x="143" y="24"/>
                  <a:pt x="143" y="28"/>
                  <a:pt x="141" y="31"/>
                </a:cubicBezTo>
                <a:cubicBezTo>
                  <a:pt x="140" y="34"/>
                  <a:pt x="138" y="36"/>
                  <a:pt x="135" y="38"/>
                </a:cubicBezTo>
                <a:cubicBezTo>
                  <a:pt x="133" y="40"/>
                  <a:pt x="130" y="42"/>
                  <a:pt x="128" y="43"/>
                </a:cubicBezTo>
                <a:cubicBezTo>
                  <a:pt x="125" y="45"/>
                  <a:pt x="122" y="47"/>
                  <a:pt x="120" y="48"/>
                </a:cubicBezTo>
                <a:cubicBezTo>
                  <a:pt x="117" y="50"/>
                  <a:pt x="115" y="51"/>
                  <a:pt x="114" y="53"/>
                </a:cubicBezTo>
                <a:cubicBezTo>
                  <a:pt x="112" y="55"/>
                  <a:pt x="111" y="57"/>
                  <a:pt x="111" y="59"/>
                </a:cubicBezTo>
                <a:cubicBezTo>
                  <a:pt x="133" y="59"/>
                  <a:pt x="133" y="59"/>
                  <a:pt x="133" y="59"/>
                </a:cubicBezTo>
                <a:cubicBezTo>
                  <a:pt x="133" y="51"/>
                  <a:pt x="133" y="51"/>
                  <a:pt x="133" y="51"/>
                </a:cubicBezTo>
                <a:lnTo>
                  <a:pt x="145" y="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2" name="Freeform 273"/>
          <p:cNvSpPr>
            <a:spLocks noChangeAspect="1" noEditPoints="1"/>
          </p:cNvSpPr>
          <p:nvPr/>
        </p:nvSpPr>
        <p:spPr bwMode="auto">
          <a:xfrm>
            <a:off x="7291784" y="3465018"/>
            <a:ext cx="151447" cy="112414"/>
          </a:xfrm>
          <a:custGeom>
            <a:avLst/>
            <a:gdLst>
              <a:gd name="T0" fmla="*/ 85 w 145"/>
              <a:gd name="T1" fmla="*/ 69 h 109"/>
              <a:gd name="T2" fmla="*/ 85 w 145"/>
              <a:gd name="T3" fmla="*/ 84 h 109"/>
              <a:gd name="T4" fmla="*/ 61 w 145"/>
              <a:gd name="T5" fmla="*/ 84 h 109"/>
              <a:gd name="T6" fmla="*/ 46 w 145"/>
              <a:gd name="T7" fmla="*/ 61 h 109"/>
              <a:gd name="T8" fmla="*/ 44 w 145"/>
              <a:gd name="T9" fmla="*/ 57 h 109"/>
              <a:gd name="T10" fmla="*/ 43 w 145"/>
              <a:gd name="T11" fmla="*/ 55 h 109"/>
              <a:gd name="T12" fmla="*/ 43 w 145"/>
              <a:gd name="T13" fmla="*/ 55 h 109"/>
              <a:gd name="T14" fmla="*/ 42 w 145"/>
              <a:gd name="T15" fmla="*/ 57 h 109"/>
              <a:gd name="T16" fmla="*/ 39 w 145"/>
              <a:gd name="T17" fmla="*/ 61 h 109"/>
              <a:gd name="T18" fmla="*/ 25 w 145"/>
              <a:gd name="T19" fmla="*/ 84 h 109"/>
              <a:gd name="T20" fmla="*/ 0 w 145"/>
              <a:gd name="T21" fmla="*/ 84 h 109"/>
              <a:gd name="T22" fmla="*/ 0 w 145"/>
              <a:gd name="T23" fmla="*/ 69 h 109"/>
              <a:gd name="T24" fmla="*/ 12 w 145"/>
              <a:gd name="T25" fmla="*/ 69 h 109"/>
              <a:gd name="T26" fmla="*/ 31 w 145"/>
              <a:gd name="T27" fmla="*/ 41 h 109"/>
              <a:gd name="T28" fmla="*/ 13 w 145"/>
              <a:gd name="T29" fmla="*/ 15 h 109"/>
              <a:gd name="T30" fmla="*/ 1 w 145"/>
              <a:gd name="T31" fmla="*/ 15 h 109"/>
              <a:gd name="T32" fmla="*/ 1 w 145"/>
              <a:gd name="T33" fmla="*/ 0 h 109"/>
              <a:gd name="T34" fmla="*/ 27 w 145"/>
              <a:gd name="T35" fmla="*/ 0 h 109"/>
              <a:gd name="T36" fmla="*/ 40 w 145"/>
              <a:gd name="T37" fmla="*/ 21 h 109"/>
              <a:gd name="T38" fmla="*/ 42 w 145"/>
              <a:gd name="T39" fmla="*/ 25 h 109"/>
              <a:gd name="T40" fmla="*/ 43 w 145"/>
              <a:gd name="T41" fmla="*/ 27 h 109"/>
              <a:gd name="T42" fmla="*/ 43 w 145"/>
              <a:gd name="T43" fmla="*/ 27 h 109"/>
              <a:gd name="T44" fmla="*/ 44 w 145"/>
              <a:gd name="T45" fmla="*/ 25 h 109"/>
              <a:gd name="T46" fmla="*/ 47 w 145"/>
              <a:gd name="T47" fmla="*/ 21 h 109"/>
              <a:gd name="T48" fmla="*/ 60 w 145"/>
              <a:gd name="T49" fmla="*/ 0 h 109"/>
              <a:gd name="T50" fmla="*/ 84 w 145"/>
              <a:gd name="T51" fmla="*/ 0 h 109"/>
              <a:gd name="T52" fmla="*/ 84 w 145"/>
              <a:gd name="T53" fmla="*/ 15 h 109"/>
              <a:gd name="T54" fmla="*/ 72 w 145"/>
              <a:gd name="T55" fmla="*/ 15 h 109"/>
              <a:gd name="T56" fmla="*/ 55 w 145"/>
              <a:gd name="T57" fmla="*/ 41 h 109"/>
              <a:gd name="T58" fmla="*/ 74 w 145"/>
              <a:gd name="T59" fmla="*/ 69 h 109"/>
              <a:gd name="T60" fmla="*/ 85 w 145"/>
              <a:gd name="T61" fmla="*/ 69 h 109"/>
              <a:gd name="T62" fmla="*/ 145 w 145"/>
              <a:gd name="T63" fmla="*/ 89 h 109"/>
              <a:gd name="T64" fmla="*/ 145 w 145"/>
              <a:gd name="T65" fmla="*/ 109 h 109"/>
              <a:gd name="T66" fmla="*/ 96 w 145"/>
              <a:gd name="T67" fmla="*/ 109 h 109"/>
              <a:gd name="T68" fmla="*/ 96 w 145"/>
              <a:gd name="T69" fmla="*/ 106 h 109"/>
              <a:gd name="T70" fmla="*/ 96 w 145"/>
              <a:gd name="T71" fmla="*/ 102 h 109"/>
              <a:gd name="T72" fmla="*/ 98 w 145"/>
              <a:gd name="T73" fmla="*/ 91 h 109"/>
              <a:gd name="T74" fmla="*/ 104 w 145"/>
              <a:gd name="T75" fmla="*/ 83 h 109"/>
              <a:gd name="T76" fmla="*/ 112 w 145"/>
              <a:gd name="T77" fmla="*/ 76 h 109"/>
              <a:gd name="T78" fmla="*/ 120 w 145"/>
              <a:gd name="T79" fmla="*/ 71 h 109"/>
              <a:gd name="T80" fmla="*/ 126 w 145"/>
              <a:gd name="T81" fmla="*/ 66 h 109"/>
              <a:gd name="T82" fmla="*/ 129 w 145"/>
              <a:gd name="T83" fmla="*/ 60 h 109"/>
              <a:gd name="T84" fmla="*/ 126 w 145"/>
              <a:gd name="T85" fmla="*/ 54 h 109"/>
              <a:gd name="T86" fmla="*/ 119 w 145"/>
              <a:gd name="T87" fmla="*/ 52 h 109"/>
              <a:gd name="T88" fmla="*/ 110 w 145"/>
              <a:gd name="T89" fmla="*/ 56 h 109"/>
              <a:gd name="T90" fmla="*/ 107 w 145"/>
              <a:gd name="T91" fmla="*/ 59 h 109"/>
              <a:gd name="T92" fmla="*/ 97 w 145"/>
              <a:gd name="T93" fmla="*/ 50 h 109"/>
              <a:gd name="T94" fmla="*/ 103 w 145"/>
              <a:gd name="T95" fmla="*/ 44 h 109"/>
              <a:gd name="T96" fmla="*/ 121 w 145"/>
              <a:gd name="T97" fmla="*/ 38 h 109"/>
              <a:gd name="T98" fmla="*/ 137 w 145"/>
              <a:gd name="T99" fmla="*/ 44 h 109"/>
              <a:gd name="T100" fmla="*/ 144 w 145"/>
              <a:gd name="T101" fmla="*/ 59 h 109"/>
              <a:gd name="T102" fmla="*/ 141 w 145"/>
              <a:gd name="T103" fmla="*/ 70 h 109"/>
              <a:gd name="T104" fmla="*/ 133 w 145"/>
              <a:gd name="T105" fmla="*/ 78 h 109"/>
              <a:gd name="T106" fmla="*/ 123 w 145"/>
              <a:gd name="T107" fmla="*/ 84 h 109"/>
              <a:gd name="T108" fmla="*/ 115 w 145"/>
              <a:gd name="T109" fmla="*/ 90 h 109"/>
              <a:gd name="T110" fmla="*/ 111 w 145"/>
              <a:gd name="T111" fmla="*/ 97 h 109"/>
              <a:gd name="T112" fmla="*/ 133 w 145"/>
              <a:gd name="T113" fmla="*/ 97 h 109"/>
              <a:gd name="T114" fmla="*/ 133 w 145"/>
              <a:gd name="T115" fmla="*/ 89 h 109"/>
              <a:gd name="T116" fmla="*/ 145 w 145"/>
              <a:gd name="T117" fmla="*/ 89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5" h="109">
                <a:moveTo>
                  <a:pt x="85" y="69"/>
                </a:moveTo>
                <a:cubicBezTo>
                  <a:pt x="85" y="84"/>
                  <a:pt x="85" y="84"/>
                  <a:pt x="85" y="84"/>
                </a:cubicBezTo>
                <a:cubicBezTo>
                  <a:pt x="61" y="84"/>
                  <a:pt x="61" y="84"/>
                  <a:pt x="61" y="84"/>
                </a:cubicBezTo>
                <a:cubicBezTo>
                  <a:pt x="46" y="61"/>
                  <a:pt x="46" y="61"/>
                  <a:pt x="46" y="61"/>
                </a:cubicBezTo>
                <a:cubicBezTo>
                  <a:pt x="44" y="57"/>
                  <a:pt x="44" y="57"/>
                  <a:pt x="44" y="57"/>
                </a:cubicBezTo>
                <a:cubicBezTo>
                  <a:pt x="43" y="56"/>
                  <a:pt x="43" y="55"/>
                  <a:pt x="43" y="55"/>
                </a:cubicBezTo>
                <a:cubicBezTo>
                  <a:pt x="43" y="55"/>
                  <a:pt x="43" y="55"/>
                  <a:pt x="43" y="55"/>
                </a:cubicBezTo>
                <a:cubicBezTo>
                  <a:pt x="42" y="57"/>
                  <a:pt x="42" y="57"/>
                  <a:pt x="42" y="57"/>
                </a:cubicBezTo>
                <a:cubicBezTo>
                  <a:pt x="41" y="58"/>
                  <a:pt x="40" y="59"/>
                  <a:pt x="39" y="61"/>
                </a:cubicBezTo>
                <a:cubicBezTo>
                  <a:pt x="25" y="84"/>
                  <a:pt x="25" y="84"/>
                  <a:pt x="25" y="84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69"/>
                  <a:pt x="0" y="69"/>
                  <a:pt x="0" y="69"/>
                </a:cubicBezTo>
                <a:cubicBezTo>
                  <a:pt x="12" y="69"/>
                  <a:pt x="12" y="69"/>
                  <a:pt x="12" y="69"/>
                </a:cubicBezTo>
                <a:cubicBezTo>
                  <a:pt x="31" y="41"/>
                  <a:pt x="31" y="41"/>
                  <a:pt x="31" y="41"/>
                </a:cubicBezTo>
                <a:cubicBezTo>
                  <a:pt x="13" y="15"/>
                  <a:pt x="13" y="15"/>
                  <a:pt x="13" y="15"/>
                </a:cubicBezTo>
                <a:cubicBezTo>
                  <a:pt x="1" y="15"/>
                  <a:pt x="1" y="15"/>
                  <a:pt x="1" y="15"/>
                </a:cubicBezTo>
                <a:cubicBezTo>
                  <a:pt x="1" y="0"/>
                  <a:pt x="1" y="0"/>
                  <a:pt x="1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1" y="23"/>
                  <a:pt x="42" y="25"/>
                </a:cubicBezTo>
                <a:cubicBezTo>
                  <a:pt x="42" y="26"/>
                  <a:pt x="43" y="26"/>
                  <a:pt x="43" y="27"/>
                </a:cubicBezTo>
                <a:cubicBezTo>
                  <a:pt x="43" y="27"/>
                  <a:pt x="43" y="27"/>
                  <a:pt x="43" y="27"/>
                </a:cubicBezTo>
                <a:cubicBezTo>
                  <a:pt x="43" y="26"/>
                  <a:pt x="44" y="26"/>
                  <a:pt x="44" y="25"/>
                </a:cubicBezTo>
                <a:cubicBezTo>
                  <a:pt x="47" y="21"/>
                  <a:pt x="47" y="21"/>
                  <a:pt x="47" y="21"/>
                </a:cubicBezTo>
                <a:cubicBezTo>
                  <a:pt x="60" y="0"/>
                  <a:pt x="60" y="0"/>
                  <a:pt x="60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15"/>
                  <a:pt x="84" y="15"/>
                  <a:pt x="84" y="15"/>
                </a:cubicBezTo>
                <a:cubicBezTo>
                  <a:pt x="72" y="15"/>
                  <a:pt x="72" y="15"/>
                  <a:pt x="72" y="15"/>
                </a:cubicBezTo>
                <a:cubicBezTo>
                  <a:pt x="55" y="41"/>
                  <a:pt x="55" y="41"/>
                  <a:pt x="55" y="41"/>
                </a:cubicBezTo>
                <a:cubicBezTo>
                  <a:pt x="74" y="69"/>
                  <a:pt x="74" y="69"/>
                  <a:pt x="74" y="69"/>
                </a:cubicBezTo>
                <a:lnTo>
                  <a:pt x="85" y="69"/>
                </a:lnTo>
                <a:close/>
                <a:moveTo>
                  <a:pt x="145" y="89"/>
                </a:moveTo>
                <a:cubicBezTo>
                  <a:pt x="145" y="109"/>
                  <a:pt x="145" y="109"/>
                  <a:pt x="145" y="109"/>
                </a:cubicBezTo>
                <a:cubicBezTo>
                  <a:pt x="96" y="109"/>
                  <a:pt x="96" y="109"/>
                  <a:pt x="96" y="109"/>
                </a:cubicBezTo>
                <a:cubicBezTo>
                  <a:pt x="96" y="106"/>
                  <a:pt x="96" y="106"/>
                  <a:pt x="96" y="106"/>
                </a:cubicBezTo>
                <a:cubicBezTo>
                  <a:pt x="96" y="103"/>
                  <a:pt x="96" y="102"/>
                  <a:pt x="96" y="102"/>
                </a:cubicBezTo>
                <a:cubicBezTo>
                  <a:pt x="96" y="98"/>
                  <a:pt x="97" y="94"/>
                  <a:pt x="98" y="91"/>
                </a:cubicBezTo>
                <a:cubicBezTo>
                  <a:pt x="100" y="87"/>
                  <a:pt x="102" y="85"/>
                  <a:pt x="104" y="83"/>
                </a:cubicBezTo>
                <a:cubicBezTo>
                  <a:pt x="107" y="80"/>
                  <a:pt x="109" y="78"/>
                  <a:pt x="112" y="76"/>
                </a:cubicBezTo>
                <a:cubicBezTo>
                  <a:pt x="115" y="74"/>
                  <a:pt x="118" y="73"/>
                  <a:pt x="120" y="71"/>
                </a:cubicBezTo>
                <a:cubicBezTo>
                  <a:pt x="123" y="70"/>
                  <a:pt x="125" y="68"/>
                  <a:pt x="126" y="66"/>
                </a:cubicBezTo>
                <a:cubicBezTo>
                  <a:pt x="128" y="64"/>
                  <a:pt x="129" y="62"/>
                  <a:pt x="129" y="60"/>
                </a:cubicBezTo>
                <a:cubicBezTo>
                  <a:pt x="129" y="58"/>
                  <a:pt x="128" y="56"/>
                  <a:pt x="126" y="54"/>
                </a:cubicBezTo>
                <a:cubicBezTo>
                  <a:pt x="124" y="53"/>
                  <a:pt x="122" y="52"/>
                  <a:pt x="119" y="52"/>
                </a:cubicBezTo>
                <a:cubicBezTo>
                  <a:pt x="116" y="52"/>
                  <a:pt x="113" y="53"/>
                  <a:pt x="110" y="56"/>
                </a:cubicBezTo>
                <a:cubicBezTo>
                  <a:pt x="109" y="56"/>
                  <a:pt x="108" y="57"/>
                  <a:pt x="107" y="59"/>
                </a:cubicBezTo>
                <a:cubicBezTo>
                  <a:pt x="97" y="50"/>
                  <a:pt x="97" y="50"/>
                  <a:pt x="97" y="50"/>
                </a:cubicBezTo>
                <a:cubicBezTo>
                  <a:pt x="99" y="48"/>
                  <a:pt x="101" y="46"/>
                  <a:pt x="103" y="44"/>
                </a:cubicBezTo>
                <a:cubicBezTo>
                  <a:pt x="108" y="40"/>
                  <a:pt x="114" y="38"/>
                  <a:pt x="121" y="38"/>
                </a:cubicBezTo>
                <a:cubicBezTo>
                  <a:pt x="128" y="38"/>
                  <a:pt x="133" y="40"/>
                  <a:pt x="137" y="44"/>
                </a:cubicBezTo>
                <a:cubicBezTo>
                  <a:pt x="142" y="47"/>
                  <a:pt x="144" y="52"/>
                  <a:pt x="144" y="59"/>
                </a:cubicBezTo>
                <a:cubicBezTo>
                  <a:pt x="144" y="63"/>
                  <a:pt x="143" y="67"/>
                  <a:pt x="141" y="70"/>
                </a:cubicBezTo>
                <a:cubicBezTo>
                  <a:pt x="138" y="73"/>
                  <a:pt x="136" y="76"/>
                  <a:pt x="133" y="78"/>
                </a:cubicBezTo>
                <a:cubicBezTo>
                  <a:pt x="130" y="80"/>
                  <a:pt x="126" y="82"/>
                  <a:pt x="123" y="84"/>
                </a:cubicBezTo>
                <a:cubicBezTo>
                  <a:pt x="120" y="86"/>
                  <a:pt x="117" y="88"/>
                  <a:pt x="115" y="90"/>
                </a:cubicBezTo>
                <a:cubicBezTo>
                  <a:pt x="113" y="92"/>
                  <a:pt x="111" y="94"/>
                  <a:pt x="111" y="97"/>
                </a:cubicBezTo>
                <a:cubicBezTo>
                  <a:pt x="133" y="97"/>
                  <a:pt x="133" y="97"/>
                  <a:pt x="133" y="97"/>
                </a:cubicBezTo>
                <a:cubicBezTo>
                  <a:pt x="133" y="89"/>
                  <a:pt x="133" y="89"/>
                  <a:pt x="133" y="89"/>
                </a:cubicBezTo>
                <a:lnTo>
                  <a:pt x="145" y="8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3" name="Freeform 274"/>
          <p:cNvSpPr>
            <a:spLocks noChangeAspect="1" noEditPoints="1"/>
          </p:cNvSpPr>
          <p:nvPr/>
        </p:nvSpPr>
        <p:spPr bwMode="auto">
          <a:xfrm>
            <a:off x="7488508" y="3427547"/>
            <a:ext cx="188919" cy="124904"/>
          </a:xfrm>
          <a:custGeom>
            <a:avLst/>
            <a:gdLst>
              <a:gd name="T0" fmla="*/ 180 w 182"/>
              <a:gd name="T1" fmla="*/ 8 h 121"/>
              <a:gd name="T2" fmla="*/ 181 w 182"/>
              <a:gd name="T3" fmla="*/ 14 h 121"/>
              <a:gd name="T4" fmla="*/ 178 w 182"/>
              <a:gd name="T5" fmla="*/ 20 h 121"/>
              <a:gd name="T6" fmla="*/ 94 w 182"/>
              <a:gd name="T7" fmla="*/ 117 h 121"/>
              <a:gd name="T8" fmla="*/ 85 w 182"/>
              <a:gd name="T9" fmla="*/ 121 h 121"/>
              <a:gd name="T10" fmla="*/ 12 w 182"/>
              <a:gd name="T11" fmla="*/ 121 h 121"/>
              <a:gd name="T12" fmla="*/ 6 w 182"/>
              <a:gd name="T13" fmla="*/ 120 h 121"/>
              <a:gd name="T14" fmla="*/ 1 w 182"/>
              <a:gd name="T15" fmla="*/ 114 h 121"/>
              <a:gd name="T16" fmla="*/ 0 w 182"/>
              <a:gd name="T17" fmla="*/ 108 h 121"/>
              <a:gd name="T18" fmla="*/ 3 w 182"/>
              <a:gd name="T19" fmla="*/ 101 h 121"/>
              <a:gd name="T20" fmla="*/ 88 w 182"/>
              <a:gd name="T21" fmla="*/ 5 h 121"/>
              <a:gd name="T22" fmla="*/ 97 w 182"/>
              <a:gd name="T23" fmla="*/ 0 h 121"/>
              <a:gd name="T24" fmla="*/ 169 w 182"/>
              <a:gd name="T25" fmla="*/ 0 h 121"/>
              <a:gd name="T26" fmla="*/ 176 w 182"/>
              <a:gd name="T27" fmla="*/ 2 h 121"/>
              <a:gd name="T28" fmla="*/ 180 w 182"/>
              <a:gd name="T29" fmla="*/ 8 h 121"/>
              <a:gd name="T30" fmla="*/ 85 w 182"/>
              <a:gd name="T31" fmla="*/ 109 h 121"/>
              <a:gd name="T32" fmla="*/ 116 w 182"/>
              <a:gd name="T33" fmla="*/ 73 h 121"/>
              <a:gd name="T34" fmla="*/ 44 w 182"/>
              <a:gd name="T35" fmla="*/ 73 h 121"/>
              <a:gd name="T36" fmla="*/ 12 w 182"/>
              <a:gd name="T37" fmla="*/ 109 h 121"/>
              <a:gd name="T38" fmla="*/ 85 w 182"/>
              <a:gd name="T39" fmla="*/ 109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2" h="121">
                <a:moveTo>
                  <a:pt x="180" y="8"/>
                </a:moveTo>
                <a:cubicBezTo>
                  <a:pt x="181" y="10"/>
                  <a:pt x="182" y="12"/>
                  <a:pt x="181" y="14"/>
                </a:cubicBezTo>
                <a:cubicBezTo>
                  <a:pt x="181" y="17"/>
                  <a:pt x="180" y="19"/>
                  <a:pt x="178" y="20"/>
                </a:cubicBezTo>
                <a:cubicBezTo>
                  <a:pt x="94" y="117"/>
                  <a:pt x="94" y="117"/>
                  <a:pt x="94" y="117"/>
                </a:cubicBezTo>
                <a:cubicBezTo>
                  <a:pt x="91" y="120"/>
                  <a:pt x="88" y="121"/>
                  <a:pt x="85" y="12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10" y="121"/>
                  <a:pt x="7" y="121"/>
                  <a:pt x="6" y="120"/>
                </a:cubicBezTo>
                <a:cubicBezTo>
                  <a:pt x="4" y="118"/>
                  <a:pt x="2" y="116"/>
                  <a:pt x="1" y="114"/>
                </a:cubicBezTo>
                <a:cubicBezTo>
                  <a:pt x="0" y="112"/>
                  <a:pt x="0" y="110"/>
                  <a:pt x="0" y="108"/>
                </a:cubicBezTo>
                <a:cubicBezTo>
                  <a:pt x="0" y="105"/>
                  <a:pt x="1" y="103"/>
                  <a:pt x="3" y="101"/>
                </a:cubicBezTo>
                <a:cubicBezTo>
                  <a:pt x="88" y="5"/>
                  <a:pt x="88" y="5"/>
                  <a:pt x="88" y="5"/>
                </a:cubicBezTo>
                <a:cubicBezTo>
                  <a:pt x="90" y="2"/>
                  <a:pt x="93" y="0"/>
                  <a:pt x="97" y="0"/>
                </a:cubicBezTo>
                <a:cubicBezTo>
                  <a:pt x="169" y="0"/>
                  <a:pt x="169" y="0"/>
                  <a:pt x="169" y="0"/>
                </a:cubicBezTo>
                <a:cubicBezTo>
                  <a:pt x="172" y="0"/>
                  <a:pt x="174" y="1"/>
                  <a:pt x="176" y="2"/>
                </a:cubicBezTo>
                <a:cubicBezTo>
                  <a:pt x="178" y="4"/>
                  <a:pt x="179" y="5"/>
                  <a:pt x="180" y="8"/>
                </a:cubicBezTo>
                <a:close/>
                <a:moveTo>
                  <a:pt x="85" y="109"/>
                </a:moveTo>
                <a:cubicBezTo>
                  <a:pt x="116" y="73"/>
                  <a:pt x="116" y="73"/>
                  <a:pt x="116" y="73"/>
                </a:cubicBezTo>
                <a:cubicBezTo>
                  <a:pt x="44" y="73"/>
                  <a:pt x="44" y="73"/>
                  <a:pt x="44" y="73"/>
                </a:cubicBezTo>
                <a:cubicBezTo>
                  <a:pt x="12" y="109"/>
                  <a:pt x="12" y="109"/>
                  <a:pt x="12" y="109"/>
                </a:cubicBezTo>
                <a:lnTo>
                  <a:pt x="85" y="10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4" name="Freeform 275"/>
          <p:cNvSpPr>
            <a:spLocks noChangeAspect="1"/>
          </p:cNvSpPr>
          <p:nvPr/>
        </p:nvSpPr>
        <p:spPr bwMode="auto">
          <a:xfrm>
            <a:off x="7722704" y="3402566"/>
            <a:ext cx="163938" cy="154570"/>
          </a:xfrm>
          <a:custGeom>
            <a:avLst/>
            <a:gdLst>
              <a:gd name="T0" fmla="*/ 154 w 158"/>
              <a:gd name="T1" fmla="*/ 117 h 149"/>
              <a:gd name="T2" fmla="*/ 135 w 158"/>
              <a:gd name="T3" fmla="*/ 120 h 149"/>
              <a:gd name="T4" fmla="*/ 124 w 158"/>
              <a:gd name="T5" fmla="*/ 113 h 149"/>
              <a:gd name="T6" fmla="*/ 107 w 158"/>
              <a:gd name="T7" fmla="*/ 123 h 149"/>
              <a:gd name="T8" fmla="*/ 109 w 158"/>
              <a:gd name="T9" fmla="*/ 145 h 149"/>
              <a:gd name="T10" fmla="*/ 106 w 158"/>
              <a:gd name="T11" fmla="*/ 145 h 149"/>
              <a:gd name="T12" fmla="*/ 86 w 158"/>
              <a:gd name="T13" fmla="*/ 148 h 149"/>
              <a:gd name="T14" fmla="*/ 67 w 158"/>
              <a:gd name="T15" fmla="*/ 146 h 149"/>
              <a:gd name="T16" fmla="*/ 65 w 158"/>
              <a:gd name="T17" fmla="*/ 131 h 149"/>
              <a:gd name="T18" fmla="*/ 72 w 158"/>
              <a:gd name="T19" fmla="*/ 120 h 149"/>
              <a:gd name="T20" fmla="*/ 69 w 158"/>
              <a:gd name="T21" fmla="*/ 101 h 149"/>
              <a:gd name="T22" fmla="*/ 42 w 158"/>
              <a:gd name="T23" fmla="*/ 101 h 149"/>
              <a:gd name="T24" fmla="*/ 38 w 158"/>
              <a:gd name="T25" fmla="*/ 121 h 149"/>
              <a:gd name="T26" fmla="*/ 45 w 158"/>
              <a:gd name="T27" fmla="*/ 132 h 149"/>
              <a:gd name="T28" fmla="*/ 42 w 158"/>
              <a:gd name="T29" fmla="*/ 146 h 149"/>
              <a:gd name="T30" fmla="*/ 7 w 158"/>
              <a:gd name="T31" fmla="*/ 147 h 149"/>
              <a:gd name="T32" fmla="*/ 2 w 158"/>
              <a:gd name="T33" fmla="*/ 146 h 149"/>
              <a:gd name="T34" fmla="*/ 1 w 158"/>
              <a:gd name="T35" fmla="*/ 146 h 149"/>
              <a:gd name="T36" fmla="*/ 0 w 158"/>
              <a:gd name="T37" fmla="*/ 49 h 149"/>
              <a:gd name="T38" fmla="*/ 5 w 158"/>
              <a:gd name="T39" fmla="*/ 49 h 149"/>
              <a:gd name="T40" fmla="*/ 31 w 158"/>
              <a:gd name="T41" fmla="*/ 52 h 149"/>
              <a:gd name="T42" fmla="*/ 46 w 158"/>
              <a:gd name="T43" fmla="*/ 40 h 149"/>
              <a:gd name="T44" fmla="*/ 41 w 158"/>
              <a:gd name="T45" fmla="*/ 31 h 149"/>
              <a:gd name="T46" fmla="*/ 37 w 158"/>
              <a:gd name="T47" fmla="*/ 17 h 149"/>
              <a:gd name="T48" fmla="*/ 56 w 158"/>
              <a:gd name="T49" fmla="*/ 0 h 149"/>
              <a:gd name="T50" fmla="*/ 74 w 158"/>
              <a:gd name="T51" fmla="*/ 16 h 149"/>
              <a:gd name="T52" fmla="*/ 68 w 158"/>
              <a:gd name="T53" fmla="*/ 29 h 149"/>
              <a:gd name="T54" fmla="*/ 63 w 158"/>
              <a:gd name="T55" fmla="*/ 41 h 149"/>
              <a:gd name="T56" fmla="*/ 77 w 158"/>
              <a:gd name="T57" fmla="*/ 51 h 149"/>
              <a:gd name="T58" fmla="*/ 109 w 158"/>
              <a:gd name="T59" fmla="*/ 48 h 149"/>
              <a:gd name="T60" fmla="*/ 109 w 158"/>
              <a:gd name="T61" fmla="*/ 50 h 149"/>
              <a:gd name="T62" fmla="*/ 108 w 158"/>
              <a:gd name="T63" fmla="*/ 56 h 149"/>
              <a:gd name="T64" fmla="*/ 109 w 158"/>
              <a:gd name="T65" fmla="*/ 90 h 149"/>
              <a:gd name="T66" fmla="*/ 122 w 158"/>
              <a:gd name="T67" fmla="*/ 93 h 149"/>
              <a:gd name="T68" fmla="*/ 134 w 158"/>
              <a:gd name="T69" fmla="*/ 86 h 149"/>
              <a:gd name="T70" fmla="*/ 154 w 158"/>
              <a:gd name="T71" fmla="*/ 9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8" h="149">
                <a:moveTo>
                  <a:pt x="158" y="104"/>
                </a:moveTo>
                <a:cubicBezTo>
                  <a:pt x="158" y="109"/>
                  <a:pt x="156" y="113"/>
                  <a:pt x="154" y="117"/>
                </a:cubicBezTo>
                <a:cubicBezTo>
                  <a:pt x="151" y="120"/>
                  <a:pt x="147" y="122"/>
                  <a:pt x="142" y="122"/>
                </a:cubicBezTo>
                <a:cubicBezTo>
                  <a:pt x="139" y="122"/>
                  <a:pt x="137" y="121"/>
                  <a:pt x="135" y="120"/>
                </a:cubicBezTo>
                <a:cubicBezTo>
                  <a:pt x="132" y="119"/>
                  <a:pt x="130" y="118"/>
                  <a:pt x="129" y="117"/>
                </a:cubicBezTo>
                <a:cubicBezTo>
                  <a:pt x="128" y="115"/>
                  <a:pt x="126" y="114"/>
                  <a:pt x="124" y="113"/>
                </a:cubicBezTo>
                <a:cubicBezTo>
                  <a:pt x="122" y="112"/>
                  <a:pt x="119" y="111"/>
                  <a:pt x="117" y="111"/>
                </a:cubicBezTo>
                <a:cubicBezTo>
                  <a:pt x="110" y="111"/>
                  <a:pt x="107" y="115"/>
                  <a:pt x="107" y="123"/>
                </a:cubicBezTo>
                <a:cubicBezTo>
                  <a:pt x="107" y="126"/>
                  <a:pt x="107" y="129"/>
                  <a:pt x="108" y="134"/>
                </a:cubicBezTo>
                <a:cubicBezTo>
                  <a:pt x="109" y="139"/>
                  <a:pt x="110" y="142"/>
                  <a:pt x="109" y="145"/>
                </a:cubicBezTo>
                <a:cubicBezTo>
                  <a:pt x="109" y="145"/>
                  <a:pt x="109" y="145"/>
                  <a:pt x="109" y="145"/>
                </a:cubicBezTo>
                <a:cubicBezTo>
                  <a:pt x="108" y="145"/>
                  <a:pt x="107" y="145"/>
                  <a:pt x="106" y="145"/>
                </a:cubicBezTo>
                <a:cubicBezTo>
                  <a:pt x="104" y="146"/>
                  <a:pt x="101" y="146"/>
                  <a:pt x="97" y="147"/>
                </a:cubicBezTo>
                <a:cubicBezTo>
                  <a:pt x="93" y="147"/>
                  <a:pt x="90" y="147"/>
                  <a:pt x="86" y="148"/>
                </a:cubicBezTo>
                <a:cubicBezTo>
                  <a:pt x="83" y="148"/>
                  <a:pt x="80" y="148"/>
                  <a:pt x="77" y="148"/>
                </a:cubicBezTo>
                <a:cubicBezTo>
                  <a:pt x="73" y="148"/>
                  <a:pt x="70" y="147"/>
                  <a:pt x="67" y="146"/>
                </a:cubicBezTo>
                <a:cubicBezTo>
                  <a:pt x="65" y="144"/>
                  <a:pt x="63" y="141"/>
                  <a:pt x="63" y="138"/>
                </a:cubicBezTo>
                <a:cubicBezTo>
                  <a:pt x="63" y="136"/>
                  <a:pt x="64" y="133"/>
                  <a:pt x="65" y="131"/>
                </a:cubicBezTo>
                <a:cubicBezTo>
                  <a:pt x="66" y="129"/>
                  <a:pt x="67" y="127"/>
                  <a:pt x="68" y="126"/>
                </a:cubicBezTo>
                <a:cubicBezTo>
                  <a:pt x="70" y="124"/>
                  <a:pt x="71" y="123"/>
                  <a:pt x="72" y="120"/>
                </a:cubicBezTo>
                <a:cubicBezTo>
                  <a:pt x="73" y="118"/>
                  <a:pt x="74" y="116"/>
                  <a:pt x="74" y="113"/>
                </a:cubicBezTo>
                <a:cubicBezTo>
                  <a:pt x="74" y="108"/>
                  <a:pt x="72" y="104"/>
                  <a:pt x="69" y="101"/>
                </a:cubicBezTo>
                <a:cubicBezTo>
                  <a:pt x="65" y="98"/>
                  <a:pt x="61" y="97"/>
                  <a:pt x="56" y="97"/>
                </a:cubicBezTo>
                <a:cubicBezTo>
                  <a:pt x="51" y="97"/>
                  <a:pt x="46" y="98"/>
                  <a:pt x="42" y="101"/>
                </a:cubicBezTo>
                <a:cubicBezTo>
                  <a:pt x="39" y="104"/>
                  <a:pt x="37" y="108"/>
                  <a:pt x="37" y="113"/>
                </a:cubicBezTo>
                <a:cubicBezTo>
                  <a:pt x="37" y="116"/>
                  <a:pt x="37" y="119"/>
                  <a:pt x="38" y="121"/>
                </a:cubicBezTo>
                <a:cubicBezTo>
                  <a:pt x="39" y="124"/>
                  <a:pt x="40" y="126"/>
                  <a:pt x="41" y="127"/>
                </a:cubicBezTo>
                <a:cubicBezTo>
                  <a:pt x="43" y="129"/>
                  <a:pt x="44" y="131"/>
                  <a:pt x="45" y="132"/>
                </a:cubicBezTo>
                <a:cubicBezTo>
                  <a:pt x="45" y="134"/>
                  <a:pt x="46" y="136"/>
                  <a:pt x="46" y="137"/>
                </a:cubicBezTo>
                <a:cubicBezTo>
                  <a:pt x="46" y="140"/>
                  <a:pt x="45" y="143"/>
                  <a:pt x="42" y="146"/>
                </a:cubicBezTo>
                <a:cubicBezTo>
                  <a:pt x="39" y="148"/>
                  <a:pt x="36" y="149"/>
                  <a:pt x="31" y="149"/>
                </a:cubicBezTo>
                <a:cubicBezTo>
                  <a:pt x="25" y="149"/>
                  <a:pt x="17" y="148"/>
                  <a:pt x="7" y="147"/>
                </a:cubicBezTo>
                <a:cubicBezTo>
                  <a:pt x="7" y="146"/>
                  <a:pt x="6" y="146"/>
                  <a:pt x="5" y="146"/>
                </a:cubicBezTo>
                <a:cubicBezTo>
                  <a:pt x="4" y="146"/>
                  <a:pt x="3" y="146"/>
                  <a:pt x="2" y="146"/>
                </a:cubicBezTo>
                <a:cubicBezTo>
                  <a:pt x="1" y="146"/>
                  <a:pt x="1" y="146"/>
                  <a:pt x="1" y="146"/>
                </a:cubicBezTo>
                <a:cubicBezTo>
                  <a:pt x="1" y="146"/>
                  <a:pt x="1" y="146"/>
                  <a:pt x="1" y="146"/>
                </a:cubicBezTo>
                <a:cubicBezTo>
                  <a:pt x="1" y="146"/>
                  <a:pt x="0" y="146"/>
                  <a:pt x="0" y="145"/>
                </a:cubicBezTo>
                <a:cubicBezTo>
                  <a:pt x="0" y="49"/>
                  <a:pt x="0" y="49"/>
                  <a:pt x="0" y="49"/>
                </a:cubicBezTo>
                <a:cubicBezTo>
                  <a:pt x="1" y="49"/>
                  <a:pt x="1" y="49"/>
                  <a:pt x="2" y="49"/>
                </a:cubicBezTo>
                <a:cubicBezTo>
                  <a:pt x="3" y="49"/>
                  <a:pt x="4" y="49"/>
                  <a:pt x="5" y="49"/>
                </a:cubicBezTo>
                <a:cubicBezTo>
                  <a:pt x="7" y="50"/>
                  <a:pt x="7" y="50"/>
                  <a:pt x="7" y="50"/>
                </a:cubicBezTo>
                <a:cubicBezTo>
                  <a:pt x="17" y="51"/>
                  <a:pt x="25" y="52"/>
                  <a:pt x="31" y="52"/>
                </a:cubicBezTo>
                <a:cubicBezTo>
                  <a:pt x="36" y="52"/>
                  <a:pt x="39" y="51"/>
                  <a:pt x="42" y="49"/>
                </a:cubicBezTo>
                <a:cubicBezTo>
                  <a:pt x="45" y="46"/>
                  <a:pt x="46" y="43"/>
                  <a:pt x="46" y="40"/>
                </a:cubicBezTo>
                <a:cubicBezTo>
                  <a:pt x="46" y="39"/>
                  <a:pt x="45" y="37"/>
                  <a:pt x="45" y="36"/>
                </a:cubicBezTo>
                <a:cubicBezTo>
                  <a:pt x="44" y="34"/>
                  <a:pt x="43" y="32"/>
                  <a:pt x="41" y="31"/>
                </a:cubicBezTo>
                <a:cubicBezTo>
                  <a:pt x="40" y="29"/>
                  <a:pt x="39" y="27"/>
                  <a:pt x="38" y="24"/>
                </a:cubicBezTo>
                <a:cubicBezTo>
                  <a:pt x="37" y="22"/>
                  <a:pt x="37" y="19"/>
                  <a:pt x="37" y="17"/>
                </a:cubicBezTo>
                <a:cubicBezTo>
                  <a:pt x="37" y="11"/>
                  <a:pt x="39" y="7"/>
                  <a:pt x="42" y="5"/>
                </a:cubicBezTo>
                <a:cubicBezTo>
                  <a:pt x="46" y="2"/>
                  <a:pt x="51" y="0"/>
                  <a:pt x="56" y="0"/>
                </a:cubicBezTo>
                <a:cubicBezTo>
                  <a:pt x="61" y="0"/>
                  <a:pt x="65" y="2"/>
                  <a:pt x="69" y="4"/>
                </a:cubicBezTo>
                <a:cubicBezTo>
                  <a:pt x="72" y="7"/>
                  <a:pt x="74" y="11"/>
                  <a:pt x="74" y="16"/>
                </a:cubicBezTo>
                <a:cubicBezTo>
                  <a:pt x="74" y="19"/>
                  <a:pt x="73" y="21"/>
                  <a:pt x="72" y="23"/>
                </a:cubicBezTo>
                <a:cubicBezTo>
                  <a:pt x="71" y="26"/>
                  <a:pt x="70" y="28"/>
                  <a:pt x="68" y="29"/>
                </a:cubicBezTo>
                <a:cubicBezTo>
                  <a:pt x="67" y="30"/>
                  <a:pt x="66" y="32"/>
                  <a:pt x="65" y="34"/>
                </a:cubicBezTo>
                <a:cubicBezTo>
                  <a:pt x="64" y="36"/>
                  <a:pt x="63" y="39"/>
                  <a:pt x="63" y="41"/>
                </a:cubicBezTo>
                <a:cubicBezTo>
                  <a:pt x="63" y="45"/>
                  <a:pt x="65" y="47"/>
                  <a:pt x="67" y="49"/>
                </a:cubicBezTo>
                <a:cubicBezTo>
                  <a:pt x="70" y="51"/>
                  <a:pt x="73" y="51"/>
                  <a:pt x="77" y="51"/>
                </a:cubicBezTo>
                <a:cubicBezTo>
                  <a:pt x="81" y="51"/>
                  <a:pt x="87" y="51"/>
                  <a:pt x="94" y="50"/>
                </a:cubicBezTo>
                <a:cubicBezTo>
                  <a:pt x="101" y="49"/>
                  <a:pt x="106" y="49"/>
                  <a:pt x="109" y="48"/>
                </a:cubicBezTo>
                <a:cubicBezTo>
                  <a:pt x="109" y="49"/>
                  <a:pt x="109" y="49"/>
                  <a:pt x="109" y="49"/>
                </a:cubicBezTo>
                <a:cubicBezTo>
                  <a:pt x="109" y="49"/>
                  <a:pt x="109" y="49"/>
                  <a:pt x="109" y="50"/>
                </a:cubicBezTo>
                <a:cubicBezTo>
                  <a:pt x="109" y="51"/>
                  <a:pt x="109" y="52"/>
                  <a:pt x="109" y="53"/>
                </a:cubicBezTo>
                <a:cubicBezTo>
                  <a:pt x="108" y="55"/>
                  <a:pt x="108" y="55"/>
                  <a:pt x="108" y="56"/>
                </a:cubicBezTo>
                <a:cubicBezTo>
                  <a:pt x="107" y="65"/>
                  <a:pt x="106" y="73"/>
                  <a:pt x="106" y="79"/>
                </a:cubicBezTo>
                <a:cubicBezTo>
                  <a:pt x="106" y="84"/>
                  <a:pt x="107" y="87"/>
                  <a:pt x="109" y="90"/>
                </a:cubicBezTo>
                <a:cubicBezTo>
                  <a:pt x="112" y="93"/>
                  <a:pt x="115" y="94"/>
                  <a:pt x="118" y="94"/>
                </a:cubicBezTo>
                <a:cubicBezTo>
                  <a:pt x="119" y="94"/>
                  <a:pt x="121" y="94"/>
                  <a:pt x="122" y="93"/>
                </a:cubicBezTo>
                <a:cubicBezTo>
                  <a:pt x="124" y="92"/>
                  <a:pt x="126" y="91"/>
                  <a:pt x="128" y="90"/>
                </a:cubicBezTo>
                <a:cubicBezTo>
                  <a:pt x="129" y="88"/>
                  <a:pt x="131" y="87"/>
                  <a:pt x="134" y="86"/>
                </a:cubicBezTo>
                <a:cubicBezTo>
                  <a:pt x="136" y="85"/>
                  <a:pt x="139" y="85"/>
                  <a:pt x="141" y="85"/>
                </a:cubicBezTo>
                <a:cubicBezTo>
                  <a:pt x="147" y="85"/>
                  <a:pt x="151" y="87"/>
                  <a:pt x="154" y="91"/>
                </a:cubicBezTo>
                <a:cubicBezTo>
                  <a:pt x="156" y="94"/>
                  <a:pt x="158" y="99"/>
                  <a:pt x="158" y="10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5" name="Freeform 276"/>
          <p:cNvSpPr>
            <a:spLocks noChangeAspect="1" noEditPoints="1"/>
          </p:cNvSpPr>
          <p:nvPr/>
        </p:nvSpPr>
        <p:spPr bwMode="auto">
          <a:xfrm>
            <a:off x="7933481" y="3402566"/>
            <a:ext cx="112414" cy="163938"/>
          </a:xfrm>
          <a:custGeom>
            <a:avLst/>
            <a:gdLst>
              <a:gd name="T0" fmla="*/ 109 w 109"/>
              <a:gd name="T1" fmla="*/ 67 h 158"/>
              <a:gd name="T2" fmla="*/ 109 w 109"/>
              <a:gd name="T3" fmla="*/ 79 h 158"/>
              <a:gd name="T4" fmla="*/ 95 w 109"/>
              <a:gd name="T5" fmla="*/ 115 h 158"/>
              <a:gd name="T6" fmla="*/ 60 w 109"/>
              <a:gd name="T7" fmla="*/ 133 h 158"/>
              <a:gd name="T8" fmla="*/ 60 w 109"/>
              <a:gd name="T9" fmla="*/ 145 h 158"/>
              <a:gd name="T10" fmla="*/ 84 w 109"/>
              <a:gd name="T11" fmla="*/ 145 h 158"/>
              <a:gd name="T12" fmla="*/ 89 w 109"/>
              <a:gd name="T13" fmla="*/ 147 h 158"/>
              <a:gd name="T14" fmla="*/ 91 w 109"/>
              <a:gd name="T15" fmla="*/ 151 h 158"/>
              <a:gd name="T16" fmla="*/ 89 w 109"/>
              <a:gd name="T17" fmla="*/ 156 h 158"/>
              <a:gd name="T18" fmla="*/ 84 w 109"/>
              <a:gd name="T19" fmla="*/ 158 h 158"/>
              <a:gd name="T20" fmla="*/ 24 w 109"/>
              <a:gd name="T21" fmla="*/ 158 h 158"/>
              <a:gd name="T22" fmla="*/ 20 w 109"/>
              <a:gd name="T23" fmla="*/ 156 h 158"/>
              <a:gd name="T24" fmla="*/ 18 w 109"/>
              <a:gd name="T25" fmla="*/ 151 h 158"/>
              <a:gd name="T26" fmla="*/ 20 w 109"/>
              <a:gd name="T27" fmla="*/ 147 h 158"/>
              <a:gd name="T28" fmla="*/ 24 w 109"/>
              <a:gd name="T29" fmla="*/ 145 h 158"/>
              <a:gd name="T30" fmla="*/ 48 w 109"/>
              <a:gd name="T31" fmla="*/ 145 h 158"/>
              <a:gd name="T32" fmla="*/ 48 w 109"/>
              <a:gd name="T33" fmla="*/ 133 h 158"/>
              <a:gd name="T34" fmla="*/ 14 w 109"/>
              <a:gd name="T35" fmla="*/ 115 h 158"/>
              <a:gd name="T36" fmla="*/ 0 w 109"/>
              <a:gd name="T37" fmla="*/ 79 h 158"/>
              <a:gd name="T38" fmla="*/ 0 w 109"/>
              <a:gd name="T39" fmla="*/ 67 h 158"/>
              <a:gd name="T40" fmla="*/ 2 w 109"/>
              <a:gd name="T41" fmla="*/ 63 h 158"/>
              <a:gd name="T42" fmla="*/ 6 w 109"/>
              <a:gd name="T43" fmla="*/ 61 h 158"/>
              <a:gd name="T44" fmla="*/ 10 w 109"/>
              <a:gd name="T45" fmla="*/ 63 h 158"/>
              <a:gd name="T46" fmla="*/ 12 w 109"/>
              <a:gd name="T47" fmla="*/ 67 h 158"/>
              <a:gd name="T48" fmla="*/ 12 w 109"/>
              <a:gd name="T49" fmla="*/ 79 h 158"/>
              <a:gd name="T50" fmla="*/ 24 w 109"/>
              <a:gd name="T51" fmla="*/ 109 h 158"/>
              <a:gd name="T52" fmla="*/ 54 w 109"/>
              <a:gd name="T53" fmla="*/ 121 h 158"/>
              <a:gd name="T54" fmla="*/ 84 w 109"/>
              <a:gd name="T55" fmla="*/ 109 h 158"/>
              <a:gd name="T56" fmla="*/ 97 w 109"/>
              <a:gd name="T57" fmla="*/ 79 h 158"/>
              <a:gd name="T58" fmla="*/ 97 w 109"/>
              <a:gd name="T59" fmla="*/ 67 h 158"/>
              <a:gd name="T60" fmla="*/ 98 w 109"/>
              <a:gd name="T61" fmla="*/ 63 h 158"/>
              <a:gd name="T62" fmla="*/ 103 w 109"/>
              <a:gd name="T63" fmla="*/ 61 h 158"/>
              <a:gd name="T64" fmla="*/ 107 w 109"/>
              <a:gd name="T65" fmla="*/ 63 h 158"/>
              <a:gd name="T66" fmla="*/ 109 w 109"/>
              <a:gd name="T67" fmla="*/ 67 h 158"/>
              <a:gd name="T68" fmla="*/ 84 w 109"/>
              <a:gd name="T69" fmla="*/ 30 h 158"/>
              <a:gd name="T70" fmla="*/ 84 w 109"/>
              <a:gd name="T71" fmla="*/ 79 h 158"/>
              <a:gd name="T72" fmla="*/ 76 w 109"/>
              <a:gd name="T73" fmla="*/ 100 h 158"/>
              <a:gd name="T74" fmla="*/ 54 w 109"/>
              <a:gd name="T75" fmla="*/ 109 h 158"/>
              <a:gd name="T76" fmla="*/ 33 w 109"/>
              <a:gd name="T77" fmla="*/ 100 h 158"/>
              <a:gd name="T78" fmla="*/ 24 w 109"/>
              <a:gd name="T79" fmla="*/ 79 h 158"/>
              <a:gd name="T80" fmla="*/ 24 w 109"/>
              <a:gd name="T81" fmla="*/ 30 h 158"/>
              <a:gd name="T82" fmla="*/ 33 w 109"/>
              <a:gd name="T83" fmla="*/ 9 h 158"/>
              <a:gd name="T84" fmla="*/ 54 w 109"/>
              <a:gd name="T85" fmla="*/ 0 h 158"/>
              <a:gd name="T86" fmla="*/ 76 w 109"/>
              <a:gd name="T87" fmla="*/ 9 h 158"/>
              <a:gd name="T88" fmla="*/ 84 w 109"/>
              <a:gd name="T89" fmla="*/ 3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9" h="158">
                <a:moveTo>
                  <a:pt x="109" y="67"/>
                </a:moveTo>
                <a:cubicBezTo>
                  <a:pt x="109" y="79"/>
                  <a:pt x="109" y="79"/>
                  <a:pt x="109" y="79"/>
                </a:cubicBezTo>
                <a:cubicBezTo>
                  <a:pt x="109" y="93"/>
                  <a:pt x="104" y="105"/>
                  <a:pt x="95" y="115"/>
                </a:cubicBezTo>
                <a:cubicBezTo>
                  <a:pt x="85" y="126"/>
                  <a:pt x="74" y="131"/>
                  <a:pt x="60" y="133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86" y="145"/>
                  <a:pt x="88" y="146"/>
                  <a:pt x="89" y="147"/>
                </a:cubicBezTo>
                <a:cubicBezTo>
                  <a:pt x="90" y="148"/>
                  <a:pt x="91" y="150"/>
                  <a:pt x="91" y="151"/>
                </a:cubicBezTo>
                <a:cubicBezTo>
                  <a:pt x="91" y="153"/>
                  <a:pt x="90" y="155"/>
                  <a:pt x="89" y="156"/>
                </a:cubicBezTo>
                <a:cubicBezTo>
                  <a:pt x="88" y="157"/>
                  <a:pt x="86" y="158"/>
                  <a:pt x="84" y="158"/>
                </a:cubicBezTo>
                <a:cubicBezTo>
                  <a:pt x="24" y="158"/>
                  <a:pt x="24" y="158"/>
                  <a:pt x="24" y="158"/>
                </a:cubicBezTo>
                <a:cubicBezTo>
                  <a:pt x="22" y="158"/>
                  <a:pt x="21" y="157"/>
                  <a:pt x="20" y="156"/>
                </a:cubicBezTo>
                <a:cubicBezTo>
                  <a:pt x="19" y="155"/>
                  <a:pt x="18" y="153"/>
                  <a:pt x="18" y="151"/>
                </a:cubicBezTo>
                <a:cubicBezTo>
                  <a:pt x="18" y="150"/>
                  <a:pt x="19" y="148"/>
                  <a:pt x="20" y="147"/>
                </a:cubicBezTo>
                <a:cubicBezTo>
                  <a:pt x="21" y="146"/>
                  <a:pt x="22" y="145"/>
                  <a:pt x="24" y="145"/>
                </a:cubicBezTo>
                <a:cubicBezTo>
                  <a:pt x="48" y="145"/>
                  <a:pt x="48" y="145"/>
                  <a:pt x="48" y="145"/>
                </a:cubicBezTo>
                <a:cubicBezTo>
                  <a:pt x="48" y="133"/>
                  <a:pt x="48" y="133"/>
                  <a:pt x="48" y="133"/>
                </a:cubicBezTo>
                <a:cubicBezTo>
                  <a:pt x="35" y="131"/>
                  <a:pt x="23" y="126"/>
                  <a:pt x="14" y="115"/>
                </a:cubicBezTo>
                <a:cubicBezTo>
                  <a:pt x="4" y="105"/>
                  <a:pt x="0" y="93"/>
                  <a:pt x="0" y="79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65"/>
                  <a:pt x="0" y="64"/>
                  <a:pt x="2" y="63"/>
                </a:cubicBezTo>
                <a:cubicBezTo>
                  <a:pt x="3" y="61"/>
                  <a:pt x="4" y="61"/>
                  <a:pt x="6" y="61"/>
                </a:cubicBezTo>
                <a:cubicBezTo>
                  <a:pt x="7" y="61"/>
                  <a:pt x="9" y="61"/>
                  <a:pt x="10" y="63"/>
                </a:cubicBezTo>
                <a:cubicBezTo>
                  <a:pt x="11" y="64"/>
                  <a:pt x="12" y="65"/>
                  <a:pt x="12" y="67"/>
                </a:cubicBezTo>
                <a:cubicBezTo>
                  <a:pt x="12" y="79"/>
                  <a:pt x="12" y="79"/>
                  <a:pt x="12" y="79"/>
                </a:cubicBezTo>
                <a:cubicBezTo>
                  <a:pt x="12" y="91"/>
                  <a:pt x="16" y="101"/>
                  <a:pt x="24" y="109"/>
                </a:cubicBezTo>
                <a:cubicBezTo>
                  <a:pt x="33" y="117"/>
                  <a:pt x="43" y="121"/>
                  <a:pt x="54" y="121"/>
                </a:cubicBezTo>
                <a:cubicBezTo>
                  <a:pt x="66" y="121"/>
                  <a:pt x="76" y="117"/>
                  <a:pt x="84" y="109"/>
                </a:cubicBezTo>
                <a:cubicBezTo>
                  <a:pt x="92" y="101"/>
                  <a:pt x="97" y="91"/>
                  <a:pt x="97" y="79"/>
                </a:cubicBezTo>
                <a:cubicBezTo>
                  <a:pt x="97" y="67"/>
                  <a:pt x="97" y="67"/>
                  <a:pt x="97" y="67"/>
                </a:cubicBezTo>
                <a:cubicBezTo>
                  <a:pt x="97" y="65"/>
                  <a:pt x="97" y="64"/>
                  <a:pt x="98" y="63"/>
                </a:cubicBezTo>
                <a:cubicBezTo>
                  <a:pt x="100" y="61"/>
                  <a:pt x="101" y="61"/>
                  <a:pt x="103" y="61"/>
                </a:cubicBezTo>
                <a:cubicBezTo>
                  <a:pt x="104" y="61"/>
                  <a:pt x="106" y="61"/>
                  <a:pt x="107" y="63"/>
                </a:cubicBezTo>
                <a:cubicBezTo>
                  <a:pt x="108" y="64"/>
                  <a:pt x="109" y="65"/>
                  <a:pt x="109" y="67"/>
                </a:cubicBezTo>
                <a:close/>
                <a:moveTo>
                  <a:pt x="84" y="30"/>
                </a:moveTo>
                <a:cubicBezTo>
                  <a:pt x="84" y="79"/>
                  <a:pt x="84" y="79"/>
                  <a:pt x="84" y="79"/>
                </a:cubicBezTo>
                <a:cubicBezTo>
                  <a:pt x="84" y="87"/>
                  <a:pt x="82" y="94"/>
                  <a:pt x="76" y="100"/>
                </a:cubicBezTo>
                <a:cubicBezTo>
                  <a:pt x="70" y="106"/>
                  <a:pt x="63" y="109"/>
                  <a:pt x="54" y="109"/>
                </a:cubicBezTo>
                <a:cubicBezTo>
                  <a:pt x="46" y="109"/>
                  <a:pt x="39" y="106"/>
                  <a:pt x="33" y="100"/>
                </a:cubicBezTo>
                <a:cubicBezTo>
                  <a:pt x="27" y="94"/>
                  <a:pt x="24" y="87"/>
                  <a:pt x="24" y="79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22"/>
                  <a:pt x="27" y="15"/>
                  <a:pt x="33" y="9"/>
                </a:cubicBezTo>
                <a:cubicBezTo>
                  <a:pt x="39" y="3"/>
                  <a:pt x="46" y="0"/>
                  <a:pt x="54" y="0"/>
                </a:cubicBezTo>
                <a:cubicBezTo>
                  <a:pt x="63" y="0"/>
                  <a:pt x="70" y="3"/>
                  <a:pt x="76" y="9"/>
                </a:cubicBezTo>
                <a:cubicBezTo>
                  <a:pt x="82" y="15"/>
                  <a:pt x="84" y="22"/>
                  <a:pt x="84" y="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6" name="Freeform 277"/>
          <p:cNvSpPr>
            <a:spLocks noChangeAspect="1" noEditPoints="1"/>
          </p:cNvSpPr>
          <p:nvPr/>
        </p:nvSpPr>
        <p:spPr bwMode="auto">
          <a:xfrm>
            <a:off x="8094295" y="3402566"/>
            <a:ext cx="135834" cy="163938"/>
          </a:xfrm>
          <a:custGeom>
            <a:avLst/>
            <a:gdLst>
              <a:gd name="T0" fmla="*/ 130 w 131"/>
              <a:gd name="T1" fmla="*/ 33 h 158"/>
              <a:gd name="T2" fmla="*/ 95 w 131"/>
              <a:gd name="T3" fmla="*/ 67 h 158"/>
              <a:gd name="T4" fmla="*/ 95 w 131"/>
              <a:gd name="T5" fmla="*/ 79 h 158"/>
              <a:gd name="T6" fmla="*/ 87 w 131"/>
              <a:gd name="T7" fmla="*/ 100 h 158"/>
              <a:gd name="T8" fmla="*/ 65 w 131"/>
              <a:gd name="T9" fmla="*/ 109 h 158"/>
              <a:gd name="T10" fmla="*/ 55 w 131"/>
              <a:gd name="T11" fmla="*/ 107 h 158"/>
              <a:gd name="T12" fmla="*/ 46 w 131"/>
              <a:gd name="T13" fmla="*/ 116 h 158"/>
              <a:gd name="T14" fmla="*/ 65 w 131"/>
              <a:gd name="T15" fmla="*/ 121 h 158"/>
              <a:gd name="T16" fmla="*/ 95 w 131"/>
              <a:gd name="T17" fmla="*/ 109 h 158"/>
              <a:gd name="T18" fmla="*/ 108 w 131"/>
              <a:gd name="T19" fmla="*/ 79 h 158"/>
              <a:gd name="T20" fmla="*/ 108 w 131"/>
              <a:gd name="T21" fmla="*/ 67 h 158"/>
              <a:gd name="T22" fmla="*/ 109 w 131"/>
              <a:gd name="T23" fmla="*/ 63 h 158"/>
              <a:gd name="T24" fmla="*/ 114 w 131"/>
              <a:gd name="T25" fmla="*/ 61 h 158"/>
              <a:gd name="T26" fmla="*/ 118 w 131"/>
              <a:gd name="T27" fmla="*/ 63 h 158"/>
              <a:gd name="T28" fmla="*/ 120 w 131"/>
              <a:gd name="T29" fmla="*/ 67 h 158"/>
              <a:gd name="T30" fmla="*/ 120 w 131"/>
              <a:gd name="T31" fmla="*/ 79 h 158"/>
              <a:gd name="T32" fmla="*/ 106 w 131"/>
              <a:gd name="T33" fmla="*/ 115 h 158"/>
              <a:gd name="T34" fmla="*/ 71 w 131"/>
              <a:gd name="T35" fmla="*/ 133 h 158"/>
              <a:gd name="T36" fmla="*/ 71 w 131"/>
              <a:gd name="T37" fmla="*/ 145 h 158"/>
              <a:gd name="T38" fmla="*/ 95 w 131"/>
              <a:gd name="T39" fmla="*/ 145 h 158"/>
              <a:gd name="T40" fmla="*/ 100 w 131"/>
              <a:gd name="T41" fmla="*/ 147 h 158"/>
              <a:gd name="T42" fmla="*/ 102 w 131"/>
              <a:gd name="T43" fmla="*/ 151 h 158"/>
              <a:gd name="T44" fmla="*/ 100 w 131"/>
              <a:gd name="T45" fmla="*/ 156 h 158"/>
              <a:gd name="T46" fmla="*/ 95 w 131"/>
              <a:gd name="T47" fmla="*/ 158 h 158"/>
              <a:gd name="T48" fmla="*/ 35 w 131"/>
              <a:gd name="T49" fmla="*/ 158 h 158"/>
              <a:gd name="T50" fmla="*/ 31 w 131"/>
              <a:gd name="T51" fmla="*/ 156 h 158"/>
              <a:gd name="T52" fmla="*/ 29 w 131"/>
              <a:gd name="T53" fmla="*/ 151 h 158"/>
              <a:gd name="T54" fmla="*/ 31 w 131"/>
              <a:gd name="T55" fmla="*/ 147 h 158"/>
              <a:gd name="T56" fmla="*/ 35 w 131"/>
              <a:gd name="T57" fmla="*/ 145 h 158"/>
              <a:gd name="T58" fmla="*/ 59 w 131"/>
              <a:gd name="T59" fmla="*/ 145 h 158"/>
              <a:gd name="T60" fmla="*/ 59 w 131"/>
              <a:gd name="T61" fmla="*/ 133 h 158"/>
              <a:gd name="T62" fmla="*/ 37 w 131"/>
              <a:gd name="T63" fmla="*/ 125 h 158"/>
              <a:gd name="T64" fmla="*/ 13 w 131"/>
              <a:gd name="T65" fmla="*/ 149 h 158"/>
              <a:gd name="T66" fmla="*/ 11 w 131"/>
              <a:gd name="T67" fmla="*/ 150 h 158"/>
              <a:gd name="T68" fmla="*/ 9 w 131"/>
              <a:gd name="T69" fmla="*/ 149 h 158"/>
              <a:gd name="T70" fmla="*/ 1 w 131"/>
              <a:gd name="T71" fmla="*/ 142 h 158"/>
              <a:gd name="T72" fmla="*/ 0 w 131"/>
              <a:gd name="T73" fmla="*/ 139 h 158"/>
              <a:gd name="T74" fmla="*/ 1 w 131"/>
              <a:gd name="T75" fmla="*/ 137 h 158"/>
              <a:gd name="T76" fmla="*/ 118 w 131"/>
              <a:gd name="T77" fmla="*/ 21 h 158"/>
              <a:gd name="T78" fmla="*/ 120 w 131"/>
              <a:gd name="T79" fmla="*/ 20 h 158"/>
              <a:gd name="T80" fmla="*/ 122 w 131"/>
              <a:gd name="T81" fmla="*/ 21 h 158"/>
              <a:gd name="T82" fmla="*/ 130 w 131"/>
              <a:gd name="T83" fmla="*/ 28 h 158"/>
              <a:gd name="T84" fmla="*/ 131 w 131"/>
              <a:gd name="T85" fmla="*/ 30 h 158"/>
              <a:gd name="T86" fmla="*/ 130 w 131"/>
              <a:gd name="T87" fmla="*/ 33 h 158"/>
              <a:gd name="T88" fmla="*/ 24 w 131"/>
              <a:gd name="T89" fmla="*/ 90 h 158"/>
              <a:gd name="T90" fmla="*/ 15 w 131"/>
              <a:gd name="T91" fmla="*/ 99 h 158"/>
              <a:gd name="T92" fmla="*/ 11 w 131"/>
              <a:gd name="T93" fmla="*/ 79 h 158"/>
              <a:gd name="T94" fmla="*/ 11 w 131"/>
              <a:gd name="T95" fmla="*/ 67 h 158"/>
              <a:gd name="T96" fmla="*/ 13 w 131"/>
              <a:gd name="T97" fmla="*/ 63 h 158"/>
              <a:gd name="T98" fmla="*/ 17 w 131"/>
              <a:gd name="T99" fmla="*/ 61 h 158"/>
              <a:gd name="T100" fmla="*/ 21 w 131"/>
              <a:gd name="T101" fmla="*/ 63 h 158"/>
              <a:gd name="T102" fmla="*/ 23 w 131"/>
              <a:gd name="T103" fmla="*/ 67 h 158"/>
              <a:gd name="T104" fmla="*/ 23 w 131"/>
              <a:gd name="T105" fmla="*/ 79 h 158"/>
              <a:gd name="T106" fmla="*/ 24 w 131"/>
              <a:gd name="T107" fmla="*/ 90 h 158"/>
              <a:gd name="T108" fmla="*/ 94 w 131"/>
              <a:gd name="T109" fmla="*/ 20 h 158"/>
              <a:gd name="T110" fmla="*/ 35 w 131"/>
              <a:gd name="T111" fmla="*/ 79 h 158"/>
              <a:gd name="T112" fmla="*/ 35 w 131"/>
              <a:gd name="T113" fmla="*/ 30 h 158"/>
              <a:gd name="T114" fmla="*/ 44 w 131"/>
              <a:gd name="T115" fmla="*/ 9 h 158"/>
              <a:gd name="T116" fmla="*/ 65 w 131"/>
              <a:gd name="T117" fmla="*/ 0 h 158"/>
              <a:gd name="T118" fmla="*/ 83 w 131"/>
              <a:gd name="T119" fmla="*/ 6 h 158"/>
              <a:gd name="T120" fmla="*/ 94 w 131"/>
              <a:gd name="T121" fmla="*/ 2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1" h="158">
                <a:moveTo>
                  <a:pt x="130" y="33"/>
                </a:moveTo>
                <a:cubicBezTo>
                  <a:pt x="95" y="67"/>
                  <a:pt x="95" y="67"/>
                  <a:pt x="95" y="67"/>
                </a:cubicBezTo>
                <a:cubicBezTo>
                  <a:pt x="95" y="79"/>
                  <a:pt x="95" y="79"/>
                  <a:pt x="95" y="79"/>
                </a:cubicBezTo>
                <a:cubicBezTo>
                  <a:pt x="95" y="87"/>
                  <a:pt x="93" y="94"/>
                  <a:pt x="87" y="100"/>
                </a:cubicBezTo>
                <a:cubicBezTo>
                  <a:pt x="81" y="106"/>
                  <a:pt x="74" y="109"/>
                  <a:pt x="65" y="109"/>
                </a:cubicBezTo>
                <a:cubicBezTo>
                  <a:pt x="62" y="109"/>
                  <a:pt x="58" y="109"/>
                  <a:pt x="55" y="107"/>
                </a:cubicBezTo>
                <a:cubicBezTo>
                  <a:pt x="46" y="116"/>
                  <a:pt x="46" y="116"/>
                  <a:pt x="46" y="116"/>
                </a:cubicBezTo>
                <a:cubicBezTo>
                  <a:pt x="52" y="120"/>
                  <a:pt x="58" y="121"/>
                  <a:pt x="65" y="121"/>
                </a:cubicBezTo>
                <a:cubicBezTo>
                  <a:pt x="77" y="121"/>
                  <a:pt x="87" y="117"/>
                  <a:pt x="95" y="109"/>
                </a:cubicBezTo>
                <a:cubicBezTo>
                  <a:pt x="103" y="101"/>
                  <a:pt x="108" y="91"/>
                  <a:pt x="108" y="79"/>
                </a:cubicBezTo>
                <a:cubicBezTo>
                  <a:pt x="108" y="67"/>
                  <a:pt x="108" y="67"/>
                  <a:pt x="108" y="67"/>
                </a:cubicBezTo>
                <a:cubicBezTo>
                  <a:pt x="108" y="65"/>
                  <a:pt x="108" y="64"/>
                  <a:pt x="109" y="63"/>
                </a:cubicBezTo>
                <a:cubicBezTo>
                  <a:pt x="111" y="61"/>
                  <a:pt x="112" y="61"/>
                  <a:pt x="114" y="61"/>
                </a:cubicBezTo>
                <a:cubicBezTo>
                  <a:pt x="115" y="61"/>
                  <a:pt x="117" y="61"/>
                  <a:pt x="118" y="63"/>
                </a:cubicBezTo>
                <a:cubicBezTo>
                  <a:pt x="119" y="64"/>
                  <a:pt x="120" y="65"/>
                  <a:pt x="120" y="67"/>
                </a:cubicBezTo>
                <a:cubicBezTo>
                  <a:pt x="120" y="79"/>
                  <a:pt x="120" y="79"/>
                  <a:pt x="120" y="79"/>
                </a:cubicBezTo>
                <a:cubicBezTo>
                  <a:pt x="120" y="93"/>
                  <a:pt x="115" y="105"/>
                  <a:pt x="106" y="115"/>
                </a:cubicBezTo>
                <a:cubicBezTo>
                  <a:pt x="96" y="126"/>
                  <a:pt x="85" y="131"/>
                  <a:pt x="71" y="133"/>
                </a:cubicBezTo>
                <a:cubicBezTo>
                  <a:pt x="71" y="145"/>
                  <a:pt x="71" y="145"/>
                  <a:pt x="71" y="145"/>
                </a:cubicBezTo>
                <a:cubicBezTo>
                  <a:pt x="95" y="145"/>
                  <a:pt x="95" y="145"/>
                  <a:pt x="95" y="145"/>
                </a:cubicBezTo>
                <a:cubicBezTo>
                  <a:pt x="97" y="145"/>
                  <a:pt x="99" y="146"/>
                  <a:pt x="100" y="147"/>
                </a:cubicBezTo>
                <a:cubicBezTo>
                  <a:pt x="101" y="148"/>
                  <a:pt x="102" y="150"/>
                  <a:pt x="102" y="151"/>
                </a:cubicBezTo>
                <a:cubicBezTo>
                  <a:pt x="102" y="153"/>
                  <a:pt x="101" y="155"/>
                  <a:pt x="100" y="156"/>
                </a:cubicBezTo>
                <a:cubicBezTo>
                  <a:pt x="99" y="157"/>
                  <a:pt x="97" y="158"/>
                  <a:pt x="95" y="158"/>
                </a:cubicBezTo>
                <a:cubicBezTo>
                  <a:pt x="35" y="158"/>
                  <a:pt x="35" y="158"/>
                  <a:pt x="35" y="158"/>
                </a:cubicBezTo>
                <a:cubicBezTo>
                  <a:pt x="33" y="158"/>
                  <a:pt x="32" y="157"/>
                  <a:pt x="31" y="156"/>
                </a:cubicBezTo>
                <a:cubicBezTo>
                  <a:pt x="30" y="155"/>
                  <a:pt x="29" y="153"/>
                  <a:pt x="29" y="151"/>
                </a:cubicBezTo>
                <a:cubicBezTo>
                  <a:pt x="29" y="150"/>
                  <a:pt x="30" y="148"/>
                  <a:pt x="31" y="147"/>
                </a:cubicBezTo>
                <a:cubicBezTo>
                  <a:pt x="32" y="146"/>
                  <a:pt x="33" y="145"/>
                  <a:pt x="35" y="145"/>
                </a:cubicBezTo>
                <a:cubicBezTo>
                  <a:pt x="59" y="145"/>
                  <a:pt x="59" y="145"/>
                  <a:pt x="59" y="145"/>
                </a:cubicBezTo>
                <a:cubicBezTo>
                  <a:pt x="59" y="133"/>
                  <a:pt x="59" y="133"/>
                  <a:pt x="59" y="133"/>
                </a:cubicBezTo>
                <a:cubicBezTo>
                  <a:pt x="51" y="132"/>
                  <a:pt x="44" y="130"/>
                  <a:pt x="37" y="125"/>
                </a:cubicBezTo>
                <a:cubicBezTo>
                  <a:pt x="13" y="149"/>
                  <a:pt x="13" y="149"/>
                  <a:pt x="13" y="149"/>
                </a:cubicBezTo>
                <a:cubicBezTo>
                  <a:pt x="12" y="150"/>
                  <a:pt x="12" y="150"/>
                  <a:pt x="11" y="150"/>
                </a:cubicBezTo>
                <a:cubicBezTo>
                  <a:pt x="10" y="150"/>
                  <a:pt x="9" y="150"/>
                  <a:pt x="9" y="149"/>
                </a:cubicBezTo>
                <a:cubicBezTo>
                  <a:pt x="1" y="142"/>
                  <a:pt x="1" y="142"/>
                  <a:pt x="1" y="142"/>
                </a:cubicBezTo>
                <a:cubicBezTo>
                  <a:pt x="0" y="141"/>
                  <a:pt x="0" y="140"/>
                  <a:pt x="0" y="139"/>
                </a:cubicBezTo>
                <a:cubicBezTo>
                  <a:pt x="0" y="139"/>
                  <a:pt x="0" y="138"/>
                  <a:pt x="1" y="137"/>
                </a:cubicBezTo>
                <a:cubicBezTo>
                  <a:pt x="118" y="21"/>
                  <a:pt x="118" y="21"/>
                  <a:pt x="118" y="21"/>
                </a:cubicBezTo>
                <a:cubicBezTo>
                  <a:pt x="118" y="20"/>
                  <a:pt x="119" y="20"/>
                  <a:pt x="120" y="20"/>
                </a:cubicBezTo>
                <a:cubicBezTo>
                  <a:pt x="120" y="20"/>
                  <a:pt x="121" y="20"/>
                  <a:pt x="122" y="21"/>
                </a:cubicBezTo>
                <a:cubicBezTo>
                  <a:pt x="130" y="28"/>
                  <a:pt x="130" y="28"/>
                  <a:pt x="130" y="28"/>
                </a:cubicBezTo>
                <a:cubicBezTo>
                  <a:pt x="130" y="29"/>
                  <a:pt x="131" y="30"/>
                  <a:pt x="131" y="30"/>
                </a:cubicBezTo>
                <a:cubicBezTo>
                  <a:pt x="131" y="31"/>
                  <a:pt x="130" y="32"/>
                  <a:pt x="130" y="33"/>
                </a:cubicBezTo>
                <a:close/>
                <a:moveTo>
                  <a:pt x="24" y="90"/>
                </a:moveTo>
                <a:cubicBezTo>
                  <a:pt x="15" y="99"/>
                  <a:pt x="15" y="99"/>
                  <a:pt x="15" y="99"/>
                </a:cubicBezTo>
                <a:cubicBezTo>
                  <a:pt x="12" y="93"/>
                  <a:pt x="11" y="86"/>
                  <a:pt x="11" y="79"/>
                </a:cubicBezTo>
                <a:cubicBezTo>
                  <a:pt x="11" y="67"/>
                  <a:pt x="11" y="67"/>
                  <a:pt x="11" y="67"/>
                </a:cubicBezTo>
                <a:cubicBezTo>
                  <a:pt x="11" y="65"/>
                  <a:pt x="11" y="64"/>
                  <a:pt x="13" y="63"/>
                </a:cubicBezTo>
                <a:cubicBezTo>
                  <a:pt x="14" y="61"/>
                  <a:pt x="15" y="61"/>
                  <a:pt x="17" y="61"/>
                </a:cubicBezTo>
                <a:cubicBezTo>
                  <a:pt x="18" y="61"/>
                  <a:pt x="20" y="61"/>
                  <a:pt x="21" y="63"/>
                </a:cubicBezTo>
                <a:cubicBezTo>
                  <a:pt x="22" y="64"/>
                  <a:pt x="23" y="65"/>
                  <a:pt x="23" y="67"/>
                </a:cubicBezTo>
                <a:cubicBezTo>
                  <a:pt x="23" y="79"/>
                  <a:pt x="23" y="79"/>
                  <a:pt x="23" y="79"/>
                </a:cubicBezTo>
                <a:cubicBezTo>
                  <a:pt x="23" y="82"/>
                  <a:pt x="23" y="86"/>
                  <a:pt x="24" y="90"/>
                </a:cubicBezTo>
                <a:close/>
                <a:moveTo>
                  <a:pt x="94" y="20"/>
                </a:moveTo>
                <a:cubicBezTo>
                  <a:pt x="35" y="79"/>
                  <a:pt x="35" y="79"/>
                  <a:pt x="35" y="79"/>
                </a:cubicBezTo>
                <a:cubicBezTo>
                  <a:pt x="35" y="30"/>
                  <a:pt x="35" y="30"/>
                  <a:pt x="35" y="30"/>
                </a:cubicBezTo>
                <a:cubicBezTo>
                  <a:pt x="35" y="22"/>
                  <a:pt x="38" y="15"/>
                  <a:pt x="44" y="9"/>
                </a:cubicBezTo>
                <a:cubicBezTo>
                  <a:pt x="50" y="3"/>
                  <a:pt x="57" y="0"/>
                  <a:pt x="65" y="0"/>
                </a:cubicBezTo>
                <a:cubicBezTo>
                  <a:pt x="72" y="0"/>
                  <a:pt x="77" y="2"/>
                  <a:pt x="83" y="6"/>
                </a:cubicBezTo>
                <a:cubicBezTo>
                  <a:pt x="88" y="10"/>
                  <a:pt x="92" y="14"/>
                  <a:pt x="94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7" name="Freeform 278"/>
          <p:cNvSpPr>
            <a:spLocks noChangeAspect="1" noEditPoints="1"/>
          </p:cNvSpPr>
          <p:nvPr/>
        </p:nvSpPr>
        <p:spPr bwMode="auto">
          <a:xfrm>
            <a:off x="8276968" y="3415057"/>
            <a:ext cx="124905" cy="151447"/>
          </a:xfrm>
          <a:custGeom>
            <a:avLst/>
            <a:gdLst>
              <a:gd name="T0" fmla="*/ 121 w 121"/>
              <a:gd name="T1" fmla="*/ 6 h 146"/>
              <a:gd name="T2" fmla="*/ 121 w 121"/>
              <a:gd name="T3" fmla="*/ 79 h 146"/>
              <a:gd name="T4" fmla="*/ 118 w 121"/>
              <a:gd name="T5" fmla="*/ 95 h 146"/>
              <a:gd name="T6" fmla="*/ 110 w 121"/>
              <a:gd name="T7" fmla="*/ 109 h 146"/>
              <a:gd name="T8" fmla="*/ 99 w 121"/>
              <a:gd name="T9" fmla="*/ 121 h 146"/>
              <a:gd name="T10" fmla="*/ 87 w 121"/>
              <a:gd name="T11" fmla="*/ 131 h 146"/>
              <a:gd name="T12" fmla="*/ 75 w 121"/>
              <a:gd name="T13" fmla="*/ 138 h 146"/>
              <a:gd name="T14" fmla="*/ 67 w 121"/>
              <a:gd name="T15" fmla="*/ 143 h 146"/>
              <a:gd name="T16" fmla="*/ 63 w 121"/>
              <a:gd name="T17" fmla="*/ 145 h 146"/>
              <a:gd name="T18" fmla="*/ 60 w 121"/>
              <a:gd name="T19" fmla="*/ 146 h 146"/>
              <a:gd name="T20" fmla="*/ 58 w 121"/>
              <a:gd name="T21" fmla="*/ 145 h 146"/>
              <a:gd name="T22" fmla="*/ 54 w 121"/>
              <a:gd name="T23" fmla="*/ 143 h 146"/>
              <a:gd name="T24" fmla="*/ 45 w 121"/>
              <a:gd name="T25" fmla="*/ 138 h 146"/>
              <a:gd name="T26" fmla="*/ 34 w 121"/>
              <a:gd name="T27" fmla="*/ 131 h 146"/>
              <a:gd name="T28" fmla="*/ 22 w 121"/>
              <a:gd name="T29" fmla="*/ 121 h 146"/>
              <a:gd name="T30" fmla="*/ 11 w 121"/>
              <a:gd name="T31" fmla="*/ 109 h 146"/>
              <a:gd name="T32" fmla="*/ 3 w 121"/>
              <a:gd name="T33" fmla="*/ 95 h 146"/>
              <a:gd name="T34" fmla="*/ 0 w 121"/>
              <a:gd name="T35" fmla="*/ 79 h 146"/>
              <a:gd name="T36" fmla="*/ 0 w 121"/>
              <a:gd name="T37" fmla="*/ 6 h 146"/>
              <a:gd name="T38" fmla="*/ 2 w 121"/>
              <a:gd name="T39" fmla="*/ 2 h 146"/>
              <a:gd name="T40" fmla="*/ 6 w 121"/>
              <a:gd name="T41" fmla="*/ 0 h 146"/>
              <a:gd name="T42" fmla="*/ 115 w 121"/>
              <a:gd name="T43" fmla="*/ 0 h 146"/>
              <a:gd name="T44" fmla="*/ 119 w 121"/>
              <a:gd name="T45" fmla="*/ 2 h 146"/>
              <a:gd name="T46" fmla="*/ 121 w 121"/>
              <a:gd name="T47" fmla="*/ 6 h 146"/>
              <a:gd name="T48" fmla="*/ 103 w 121"/>
              <a:gd name="T49" fmla="*/ 79 h 146"/>
              <a:gd name="T50" fmla="*/ 103 w 121"/>
              <a:gd name="T51" fmla="*/ 18 h 146"/>
              <a:gd name="T52" fmla="*/ 60 w 121"/>
              <a:gd name="T53" fmla="*/ 18 h 146"/>
              <a:gd name="T54" fmla="*/ 60 w 121"/>
              <a:gd name="T55" fmla="*/ 126 h 146"/>
              <a:gd name="T56" fmla="*/ 80 w 121"/>
              <a:gd name="T57" fmla="*/ 113 h 146"/>
              <a:gd name="T58" fmla="*/ 103 w 121"/>
              <a:gd name="T59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1" h="146">
                <a:moveTo>
                  <a:pt x="121" y="6"/>
                </a:moveTo>
                <a:cubicBezTo>
                  <a:pt x="121" y="79"/>
                  <a:pt x="121" y="79"/>
                  <a:pt x="121" y="79"/>
                </a:cubicBezTo>
                <a:cubicBezTo>
                  <a:pt x="121" y="84"/>
                  <a:pt x="120" y="90"/>
                  <a:pt x="118" y="95"/>
                </a:cubicBezTo>
                <a:cubicBezTo>
                  <a:pt x="115" y="100"/>
                  <a:pt x="113" y="105"/>
                  <a:pt x="110" y="109"/>
                </a:cubicBezTo>
                <a:cubicBezTo>
                  <a:pt x="107" y="113"/>
                  <a:pt x="103" y="117"/>
                  <a:pt x="99" y="121"/>
                </a:cubicBezTo>
                <a:cubicBezTo>
                  <a:pt x="94" y="125"/>
                  <a:pt x="90" y="128"/>
                  <a:pt x="87" y="131"/>
                </a:cubicBezTo>
                <a:cubicBezTo>
                  <a:pt x="83" y="134"/>
                  <a:pt x="79" y="136"/>
                  <a:pt x="75" y="138"/>
                </a:cubicBezTo>
                <a:cubicBezTo>
                  <a:pt x="71" y="141"/>
                  <a:pt x="68" y="142"/>
                  <a:pt x="67" y="143"/>
                </a:cubicBezTo>
                <a:cubicBezTo>
                  <a:pt x="65" y="144"/>
                  <a:pt x="64" y="145"/>
                  <a:pt x="63" y="145"/>
                </a:cubicBezTo>
                <a:cubicBezTo>
                  <a:pt x="62" y="145"/>
                  <a:pt x="61" y="146"/>
                  <a:pt x="60" y="146"/>
                </a:cubicBezTo>
                <a:cubicBezTo>
                  <a:pt x="59" y="146"/>
                  <a:pt x="59" y="145"/>
                  <a:pt x="58" y="145"/>
                </a:cubicBezTo>
                <a:cubicBezTo>
                  <a:pt x="57" y="145"/>
                  <a:pt x="55" y="144"/>
                  <a:pt x="54" y="143"/>
                </a:cubicBezTo>
                <a:cubicBezTo>
                  <a:pt x="52" y="142"/>
                  <a:pt x="49" y="141"/>
                  <a:pt x="45" y="138"/>
                </a:cubicBezTo>
                <a:cubicBezTo>
                  <a:pt x="41" y="136"/>
                  <a:pt x="38" y="134"/>
                  <a:pt x="34" y="131"/>
                </a:cubicBezTo>
                <a:cubicBezTo>
                  <a:pt x="30" y="128"/>
                  <a:pt x="26" y="125"/>
                  <a:pt x="22" y="121"/>
                </a:cubicBezTo>
                <a:cubicBezTo>
                  <a:pt x="18" y="117"/>
                  <a:pt x="14" y="113"/>
                  <a:pt x="11" y="109"/>
                </a:cubicBezTo>
                <a:cubicBezTo>
                  <a:pt x="8" y="105"/>
                  <a:pt x="5" y="100"/>
                  <a:pt x="3" y="95"/>
                </a:cubicBezTo>
                <a:cubicBezTo>
                  <a:pt x="1" y="90"/>
                  <a:pt x="0" y="84"/>
                  <a:pt x="0" y="7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16" y="0"/>
                  <a:pt x="118" y="1"/>
                  <a:pt x="119" y="2"/>
                </a:cubicBezTo>
                <a:cubicBezTo>
                  <a:pt x="120" y="3"/>
                  <a:pt x="121" y="5"/>
                  <a:pt x="121" y="6"/>
                </a:cubicBezTo>
                <a:close/>
                <a:moveTo>
                  <a:pt x="103" y="79"/>
                </a:moveTo>
                <a:cubicBezTo>
                  <a:pt x="103" y="18"/>
                  <a:pt x="103" y="18"/>
                  <a:pt x="103" y="18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126"/>
                  <a:pt x="60" y="126"/>
                  <a:pt x="60" y="126"/>
                </a:cubicBezTo>
                <a:cubicBezTo>
                  <a:pt x="68" y="122"/>
                  <a:pt x="74" y="118"/>
                  <a:pt x="80" y="113"/>
                </a:cubicBezTo>
                <a:cubicBezTo>
                  <a:pt x="95" y="101"/>
                  <a:pt x="103" y="90"/>
                  <a:pt x="103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8" name="Freeform 279"/>
          <p:cNvSpPr>
            <a:spLocks noChangeAspect="1" noEditPoints="1"/>
          </p:cNvSpPr>
          <p:nvPr/>
        </p:nvSpPr>
        <p:spPr bwMode="auto">
          <a:xfrm>
            <a:off x="740541" y="3711705"/>
            <a:ext cx="162376" cy="176428"/>
          </a:xfrm>
          <a:custGeom>
            <a:avLst/>
            <a:gdLst>
              <a:gd name="T0" fmla="*/ 157 w 157"/>
              <a:gd name="T1" fmla="*/ 37 h 170"/>
              <a:gd name="T2" fmla="*/ 157 w 157"/>
              <a:gd name="T3" fmla="*/ 158 h 170"/>
              <a:gd name="T4" fmla="*/ 154 w 157"/>
              <a:gd name="T5" fmla="*/ 166 h 170"/>
              <a:gd name="T6" fmla="*/ 145 w 157"/>
              <a:gd name="T7" fmla="*/ 170 h 170"/>
              <a:gd name="T8" fmla="*/ 12 w 157"/>
              <a:gd name="T9" fmla="*/ 170 h 170"/>
              <a:gd name="T10" fmla="*/ 4 w 157"/>
              <a:gd name="T11" fmla="*/ 166 h 170"/>
              <a:gd name="T12" fmla="*/ 0 w 157"/>
              <a:gd name="T13" fmla="*/ 158 h 170"/>
              <a:gd name="T14" fmla="*/ 0 w 157"/>
              <a:gd name="T15" fmla="*/ 37 h 170"/>
              <a:gd name="T16" fmla="*/ 4 w 157"/>
              <a:gd name="T17" fmla="*/ 28 h 170"/>
              <a:gd name="T18" fmla="*/ 12 w 157"/>
              <a:gd name="T19" fmla="*/ 24 h 170"/>
              <a:gd name="T20" fmla="*/ 24 w 157"/>
              <a:gd name="T21" fmla="*/ 24 h 170"/>
              <a:gd name="T22" fmla="*/ 24 w 157"/>
              <a:gd name="T23" fmla="*/ 15 h 170"/>
              <a:gd name="T24" fmla="*/ 29 w 157"/>
              <a:gd name="T25" fmla="*/ 5 h 170"/>
              <a:gd name="T26" fmla="*/ 39 w 157"/>
              <a:gd name="T27" fmla="*/ 0 h 170"/>
              <a:gd name="T28" fmla="*/ 45 w 157"/>
              <a:gd name="T29" fmla="*/ 0 h 170"/>
              <a:gd name="T30" fmla="*/ 56 w 157"/>
              <a:gd name="T31" fmla="*/ 5 h 170"/>
              <a:gd name="T32" fmla="*/ 60 w 157"/>
              <a:gd name="T33" fmla="*/ 15 h 170"/>
              <a:gd name="T34" fmla="*/ 60 w 157"/>
              <a:gd name="T35" fmla="*/ 24 h 170"/>
              <a:gd name="T36" fmla="*/ 97 w 157"/>
              <a:gd name="T37" fmla="*/ 24 h 170"/>
              <a:gd name="T38" fmla="*/ 97 w 157"/>
              <a:gd name="T39" fmla="*/ 15 h 170"/>
              <a:gd name="T40" fmla="*/ 101 w 157"/>
              <a:gd name="T41" fmla="*/ 5 h 170"/>
              <a:gd name="T42" fmla="*/ 112 w 157"/>
              <a:gd name="T43" fmla="*/ 0 h 170"/>
              <a:gd name="T44" fmla="*/ 118 w 157"/>
              <a:gd name="T45" fmla="*/ 0 h 170"/>
              <a:gd name="T46" fmla="*/ 129 w 157"/>
              <a:gd name="T47" fmla="*/ 5 h 170"/>
              <a:gd name="T48" fmla="*/ 133 w 157"/>
              <a:gd name="T49" fmla="*/ 15 h 170"/>
              <a:gd name="T50" fmla="*/ 133 w 157"/>
              <a:gd name="T51" fmla="*/ 24 h 170"/>
              <a:gd name="T52" fmla="*/ 145 w 157"/>
              <a:gd name="T53" fmla="*/ 24 h 170"/>
              <a:gd name="T54" fmla="*/ 154 w 157"/>
              <a:gd name="T55" fmla="*/ 28 h 170"/>
              <a:gd name="T56" fmla="*/ 157 w 157"/>
              <a:gd name="T57" fmla="*/ 37 h 170"/>
              <a:gd name="T58" fmla="*/ 12 w 157"/>
              <a:gd name="T59" fmla="*/ 158 h 170"/>
              <a:gd name="T60" fmla="*/ 145 w 157"/>
              <a:gd name="T61" fmla="*/ 158 h 170"/>
              <a:gd name="T62" fmla="*/ 145 w 157"/>
              <a:gd name="T63" fmla="*/ 61 h 170"/>
              <a:gd name="T64" fmla="*/ 12 w 157"/>
              <a:gd name="T65" fmla="*/ 61 h 170"/>
              <a:gd name="T66" fmla="*/ 12 w 157"/>
              <a:gd name="T67" fmla="*/ 158 h 170"/>
              <a:gd name="T68" fmla="*/ 48 w 157"/>
              <a:gd name="T69" fmla="*/ 43 h 170"/>
              <a:gd name="T70" fmla="*/ 48 w 157"/>
              <a:gd name="T71" fmla="*/ 15 h 170"/>
              <a:gd name="T72" fmla="*/ 48 w 157"/>
              <a:gd name="T73" fmla="*/ 13 h 170"/>
              <a:gd name="T74" fmla="*/ 45 w 157"/>
              <a:gd name="T75" fmla="*/ 12 h 170"/>
              <a:gd name="T76" fmla="*/ 39 w 157"/>
              <a:gd name="T77" fmla="*/ 12 h 170"/>
              <a:gd name="T78" fmla="*/ 37 w 157"/>
              <a:gd name="T79" fmla="*/ 13 h 170"/>
              <a:gd name="T80" fmla="*/ 36 w 157"/>
              <a:gd name="T81" fmla="*/ 15 h 170"/>
              <a:gd name="T82" fmla="*/ 36 w 157"/>
              <a:gd name="T83" fmla="*/ 43 h 170"/>
              <a:gd name="T84" fmla="*/ 37 w 157"/>
              <a:gd name="T85" fmla="*/ 45 h 170"/>
              <a:gd name="T86" fmla="*/ 39 w 157"/>
              <a:gd name="T87" fmla="*/ 46 h 170"/>
              <a:gd name="T88" fmla="*/ 45 w 157"/>
              <a:gd name="T89" fmla="*/ 46 h 170"/>
              <a:gd name="T90" fmla="*/ 48 w 157"/>
              <a:gd name="T91" fmla="*/ 45 h 170"/>
              <a:gd name="T92" fmla="*/ 48 w 157"/>
              <a:gd name="T93" fmla="*/ 43 h 170"/>
              <a:gd name="T94" fmla="*/ 121 w 157"/>
              <a:gd name="T95" fmla="*/ 43 h 170"/>
              <a:gd name="T96" fmla="*/ 121 w 157"/>
              <a:gd name="T97" fmla="*/ 15 h 170"/>
              <a:gd name="T98" fmla="*/ 120 w 157"/>
              <a:gd name="T99" fmla="*/ 13 h 170"/>
              <a:gd name="T100" fmla="*/ 118 w 157"/>
              <a:gd name="T101" fmla="*/ 12 h 170"/>
              <a:gd name="T102" fmla="*/ 112 w 157"/>
              <a:gd name="T103" fmla="*/ 12 h 170"/>
              <a:gd name="T104" fmla="*/ 110 w 157"/>
              <a:gd name="T105" fmla="*/ 13 h 170"/>
              <a:gd name="T106" fmla="*/ 109 w 157"/>
              <a:gd name="T107" fmla="*/ 15 h 170"/>
              <a:gd name="T108" fmla="*/ 109 w 157"/>
              <a:gd name="T109" fmla="*/ 43 h 170"/>
              <a:gd name="T110" fmla="*/ 110 w 157"/>
              <a:gd name="T111" fmla="*/ 45 h 170"/>
              <a:gd name="T112" fmla="*/ 112 w 157"/>
              <a:gd name="T113" fmla="*/ 46 h 170"/>
              <a:gd name="T114" fmla="*/ 118 w 157"/>
              <a:gd name="T115" fmla="*/ 46 h 170"/>
              <a:gd name="T116" fmla="*/ 120 w 157"/>
              <a:gd name="T117" fmla="*/ 45 h 170"/>
              <a:gd name="T118" fmla="*/ 121 w 157"/>
              <a:gd name="T119" fmla="*/ 4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7" h="170">
                <a:moveTo>
                  <a:pt x="157" y="37"/>
                </a:moveTo>
                <a:cubicBezTo>
                  <a:pt x="157" y="158"/>
                  <a:pt x="157" y="158"/>
                  <a:pt x="157" y="158"/>
                </a:cubicBezTo>
                <a:cubicBezTo>
                  <a:pt x="157" y="161"/>
                  <a:pt x="156" y="164"/>
                  <a:pt x="154" y="166"/>
                </a:cubicBezTo>
                <a:cubicBezTo>
                  <a:pt x="151" y="168"/>
                  <a:pt x="148" y="170"/>
                  <a:pt x="145" y="170"/>
                </a:cubicBezTo>
                <a:cubicBezTo>
                  <a:pt x="12" y="170"/>
                  <a:pt x="12" y="170"/>
                  <a:pt x="12" y="170"/>
                </a:cubicBezTo>
                <a:cubicBezTo>
                  <a:pt x="9" y="170"/>
                  <a:pt x="6" y="168"/>
                  <a:pt x="4" y="166"/>
                </a:cubicBezTo>
                <a:cubicBezTo>
                  <a:pt x="1" y="164"/>
                  <a:pt x="0" y="161"/>
                  <a:pt x="0" y="15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3"/>
                  <a:pt x="1" y="30"/>
                  <a:pt x="4" y="28"/>
                </a:cubicBezTo>
                <a:cubicBezTo>
                  <a:pt x="6" y="26"/>
                  <a:pt x="9" y="24"/>
                  <a:pt x="12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15"/>
                  <a:pt x="24" y="15"/>
                  <a:pt x="24" y="15"/>
                </a:cubicBezTo>
                <a:cubicBezTo>
                  <a:pt x="24" y="11"/>
                  <a:pt x="26" y="8"/>
                  <a:pt x="29" y="5"/>
                </a:cubicBezTo>
                <a:cubicBezTo>
                  <a:pt x="32" y="2"/>
                  <a:pt x="35" y="0"/>
                  <a:pt x="3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3" y="2"/>
                  <a:pt x="56" y="5"/>
                </a:cubicBezTo>
                <a:cubicBezTo>
                  <a:pt x="59" y="8"/>
                  <a:pt x="60" y="11"/>
                  <a:pt x="60" y="15"/>
                </a:cubicBezTo>
                <a:cubicBezTo>
                  <a:pt x="60" y="24"/>
                  <a:pt x="60" y="24"/>
                  <a:pt x="60" y="24"/>
                </a:cubicBezTo>
                <a:cubicBezTo>
                  <a:pt x="97" y="24"/>
                  <a:pt x="97" y="24"/>
                  <a:pt x="97" y="24"/>
                </a:cubicBezTo>
                <a:cubicBezTo>
                  <a:pt x="97" y="15"/>
                  <a:pt x="97" y="15"/>
                  <a:pt x="97" y="15"/>
                </a:cubicBezTo>
                <a:cubicBezTo>
                  <a:pt x="97" y="11"/>
                  <a:pt x="98" y="8"/>
                  <a:pt x="101" y="5"/>
                </a:cubicBezTo>
                <a:cubicBezTo>
                  <a:pt x="104" y="2"/>
                  <a:pt x="108" y="0"/>
                  <a:pt x="112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2" y="0"/>
                  <a:pt x="126" y="2"/>
                  <a:pt x="129" y="5"/>
                </a:cubicBezTo>
                <a:cubicBezTo>
                  <a:pt x="132" y="8"/>
                  <a:pt x="133" y="11"/>
                  <a:pt x="133" y="15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145" y="24"/>
                  <a:pt x="145" y="24"/>
                  <a:pt x="145" y="24"/>
                </a:cubicBezTo>
                <a:cubicBezTo>
                  <a:pt x="148" y="24"/>
                  <a:pt x="151" y="26"/>
                  <a:pt x="154" y="28"/>
                </a:cubicBezTo>
                <a:cubicBezTo>
                  <a:pt x="156" y="30"/>
                  <a:pt x="157" y="33"/>
                  <a:pt x="157" y="37"/>
                </a:cubicBezTo>
                <a:close/>
                <a:moveTo>
                  <a:pt x="12" y="158"/>
                </a:moveTo>
                <a:cubicBezTo>
                  <a:pt x="145" y="158"/>
                  <a:pt x="145" y="158"/>
                  <a:pt x="145" y="158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2" y="61"/>
                  <a:pt x="12" y="61"/>
                  <a:pt x="12" y="61"/>
                </a:cubicBezTo>
                <a:lnTo>
                  <a:pt x="12" y="158"/>
                </a:lnTo>
                <a:close/>
                <a:moveTo>
                  <a:pt x="48" y="43"/>
                </a:moveTo>
                <a:cubicBezTo>
                  <a:pt x="48" y="15"/>
                  <a:pt x="48" y="15"/>
                  <a:pt x="48" y="15"/>
                </a:cubicBezTo>
                <a:cubicBezTo>
                  <a:pt x="48" y="14"/>
                  <a:pt x="48" y="14"/>
                  <a:pt x="48" y="13"/>
                </a:cubicBezTo>
                <a:cubicBezTo>
                  <a:pt x="47" y="13"/>
                  <a:pt x="46" y="12"/>
                  <a:pt x="45" y="12"/>
                </a:cubicBezTo>
                <a:cubicBezTo>
                  <a:pt x="39" y="12"/>
                  <a:pt x="39" y="12"/>
                  <a:pt x="39" y="12"/>
                </a:cubicBezTo>
                <a:cubicBezTo>
                  <a:pt x="38" y="12"/>
                  <a:pt x="38" y="13"/>
                  <a:pt x="37" y="13"/>
                </a:cubicBezTo>
                <a:cubicBezTo>
                  <a:pt x="37" y="14"/>
                  <a:pt x="36" y="14"/>
                  <a:pt x="36" y="15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7" y="44"/>
                  <a:pt x="37" y="45"/>
                </a:cubicBezTo>
                <a:cubicBezTo>
                  <a:pt x="38" y="45"/>
                  <a:pt x="38" y="46"/>
                  <a:pt x="39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6" y="46"/>
                  <a:pt x="47" y="45"/>
                  <a:pt x="48" y="45"/>
                </a:cubicBezTo>
                <a:cubicBezTo>
                  <a:pt x="48" y="44"/>
                  <a:pt x="48" y="43"/>
                  <a:pt x="48" y="43"/>
                </a:cubicBezTo>
                <a:close/>
                <a:moveTo>
                  <a:pt x="121" y="43"/>
                </a:moveTo>
                <a:cubicBezTo>
                  <a:pt x="121" y="15"/>
                  <a:pt x="121" y="15"/>
                  <a:pt x="121" y="15"/>
                </a:cubicBezTo>
                <a:cubicBezTo>
                  <a:pt x="121" y="14"/>
                  <a:pt x="121" y="14"/>
                  <a:pt x="120" y="13"/>
                </a:cubicBezTo>
                <a:cubicBezTo>
                  <a:pt x="120" y="13"/>
                  <a:pt x="119" y="12"/>
                  <a:pt x="118" y="12"/>
                </a:cubicBezTo>
                <a:cubicBezTo>
                  <a:pt x="112" y="12"/>
                  <a:pt x="112" y="12"/>
                  <a:pt x="112" y="12"/>
                </a:cubicBezTo>
                <a:cubicBezTo>
                  <a:pt x="111" y="12"/>
                  <a:pt x="110" y="13"/>
                  <a:pt x="110" y="13"/>
                </a:cubicBezTo>
                <a:cubicBezTo>
                  <a:pt x="109" y="14"/>
                  <a:pt x="109" y="14"/>
                  <a:pt x="109" y="15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09" y="43"/>
                  <a:pt x="109" y="44"/>
                  <a:pt x="110" y="45"/>
                </a:cubicBezTo>
                <a:cubicBezTo>
                  <a:pt x="110" y="45"/>
                  <a:pt x="111" y="46"/>
                  <a:pt x="112" y="46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9" y="46"/>
                  <a:pt x="120" y="45"/>
                  <a:pt x="120" y="45"/>
                </a:cubicBezTo>
                <a:cubicBezTo>
                  <a:pt x="121" y="44"/>
                  <a:pt x="121" y="43"/>
                  <a:pt x="121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9" name="Freeform 280"/>
          <p:cNvSpPr>
            <a:spLocks noChangeAspect="1" noEditPoints="1"/>
          </p:cNvSpPr>
          <p:nvPr/>
        </p:nvSpPr>
        <p:spPr bwMode="auto">
          <a:xfrm>
            <a:off x="948195" y="3714827"/>
            <a:ext cx="137395" cy="160815"/>
          </a:xfrm>
          <a:custGeom>
            <a:avLst/>
            <a:gdLst>
              <a:gd name="T0" fmla="*/ 133 w 133"/>
              <a:gd name="T1" fmla="*/ 12 h 155"/>
              <a:gd name="T2" fmla="*/ 133 w 133"/>
              <a:gd name="T3" fmla="*/ 43 h 155"/>
              <a:gd name="T4" fmla="*/ 132 w 133"/>
              <a:gd name="T5" fmla="*/ 45 h 155"/>
              <a:gd name="T6" fmla="*/ 130 w 133"/>
              <a:gd name="T7" fmla="*/ 46 h 155"/>
              <a:gd name="T8" fmla="*/ 130 w 133"/>
              <a:gd name="T9" fmla="*/ 46 h 155"/>
              <a:gd name="T10" fmla="*/ 87 w 133"/>
              <a:gd name="T11" fmla="*/ 36 h 155"/>
              <a:gd name="T12" fmla="*/ 86 w 133"/>
              <a:gd name="T13" fmla="*/ 35 h 155"/>
              <a:gd name="T14" fmla="*/ 85 w 133"/>
              <a:gd name="T15" fmla="*/ 34 h 155"/>
              <a:gd name="T16" fmla="*/ 61 w 133"/>
              <a:gd name="T17" fmla="*/ 34 h 155"/>
              <a:gd name="T18" fmla="*/ 61 w 133"/>
              <a:gd name="T19" fmla="*/ 43 h 155"/>
              <a:gd name="T20" fmla="*/ 78 w 133"/>
              <a:gd name="T21" fmla="*/ 54 h 155"/>
              <a:gd name="T22" fmla="*/ 85 w 133"/>
              <a:gd name="T23" fmla="*/ 73 h 155"/>
              <a:gd name="T24" fmla="*/ 85 w 133"/>
              <a:gd name="T25" fmla="*/ 148 h 155"/>
              <a:gd name="T26" fmla="*/ 83 w 133"/>
              <a:gd name="T27" fmla="*/ 153 h 155"/>
              <a:gd name="T28" fmla="*/ 79 w 133"/>
              <a:gd name="T29" fmla="*/ 155 h 155"/>
              <a:gd name="T30" fmla="*/ 31 w 133"/>
              <a:gd name="T31" fmla="*/ 155 h 155"/>
              <a:gd name="T32" fmla="*/ 26 w 133"/>
              <a:gd name="T33" fmla="*/ 153 h 155"/>
              <a:gd name="T34" fmla="*/ 25 w 133"/>
              <a:gd name="T35" fmla="*/ 148 h 155"/>
              <a:gd name="T36" fmla="*/ 25 w 133"/>
              <a:gd name="T37" fmla="*/ 73 h 155"/>
              <a:gd name="T38" fmla="*/ 30 w 133"/>
              <a:gd name="T39" fmla="*/ 55 h 155"/>
              <a:gd name="T40" fmla="*/ 46 w 133"/>
              <a:gd name="T41" fmla="*/ 44 h 155"/>
              <a:gd name="T42" fmla="*/ 46 w 133"/>
              <a:gd name="T43" fmla="*/ 34 h 155"/>
              <a:gd name="T44" fmla="*/ 43 w 133"/>
              <a:gd name="T45" fmla="*/ 34 h 155"/>
              <a:gd name="T46" fmla="*/ 32 w 133"/>
              <a:gd name="T47" fmla="*/ 36 h 155"/>
              <a:gd name="T48" fmla="*/ 23 w 133"/>
              <a:gd name="T49" fmla="*/ 41 h 155"/>
              <a:gd name="T50" fmla="*/ 17 w 133"/>
              <a:gd name="T51" fmla="*/ 47 h 155"/>
              <a:gd name="T52" fmla="*/ 13 w 133"/>
              <a:gd name="T53" fmla="*/ 52 h 155"/>
              <a:gd name="T54" fmla="*/ 12 w 133"/>
              <a:gd name="T55" fmla="*/ 54 h 155"/>
              <a:gd name="T56" fmla="*/ 6 w 133"/>
              <a:gd name="T57" fmla="*/ 58 h 155"/>
              <a:gd name="T58" fmla="*/ 4 w 133"/>
              <a:gd name="T59" fmla="*/ 57 h 155"/>
              <a:gd name="T60" fmla="*/ 1 w 133"/>
              <a:gd name="T61" fmla="*/ 54 h 155"/>
              <a:gd name="T62" fmla="*/ 1 w 133"/>
              <a:gd name="T63" fmla="*/ 49 h 155"/>
              <a:gd name="T64" fmla="*/ 2 w 133"/>
              <a:gd name="T65" fmla="*/ 46 h 155"/>
              <a:gd name="T66" fmla="*/ 6 w 133"/>
              <a:gd name="T67" fmla="*/ 41 h 155"/>
              <a:gd name="T68" fmla="*/ 12 w 133"/>
              <a:gd name="T69" fmla="*/ 35 h 155"/>
              <a:gd name="T70" fmla="*/ 20 w 133"/>
              <a:gd name="T71" fmla="*/ 28 h 155"/>
              <a:gd name="T72" fmla="*/ 30 w 133"/>
              <a:gd name="T73" fmla="*/ 23 h 155"/>
              <a:gd name="T74" fmla="*/ 28 w 133"/>
              <a:gd name="T75" fmla="*/ 15 h 155"/>
              <a:gd name="T76" fmla="*/ 32 w 133"/>
              <a:gd name="T77" fmla="*/ 5 h 155"/>
              <a:gd name="T78" fmla="*/ 43 w 133"/>
              <a:gd name="T79" fmla="*/ 0 h 155"/>
              <a:gd name="T80" fmla="*/ 53 w 133"/>
              <a:gd name="T81" fmla="*/ 5 h 155"/>
              <a:gd name="T82" fmla="*/ 58 w 133"/>
              <a:gd name="T83" fmla="*/ 15 h 155"/>
              <a:gd name="T84" fmla="*/ 57 w 133"/>
              <a:gd name="T85" fmla="*/ 21 h 155"/>
              <a:gd name="T86" fmla="*/ 85 w 133"/>
              <a:gd name="T87" fmla="*/ 21 h 155"/>
              <a:gd name="T88" fmla="*/ 86 w 133"/>
              <a:gd name="T89" fmla="*/ 20 h 155"/>
              <a:gd name="T90" fmla="*/ 87 w 133"/>
              <a:gd name="T91" fmla="*/ 18 h 155"/>
              <a:gd name="T92" fmla="*/ 130 w 133"/>
              <a:gd name="T93" fmla="*/ 9 h 155"/>
              <a:gd name="T94" fmla="*/ 130 w 133"/>
              <a:gd name="T95" fmla="*/ 9 h 155"/>
              <a:gd name="T96" fmla="*/ 132 w 133"/>
              <a:gd name="T97" fmla="*/ 10 h 155"/>
              <a:gd name="T98" fmla="*/ 133 w 133"/>
              <a:gd name="T99" fmla="*/ 12 h 155"/>
              <a:gd name="T100" fmla="*/ 47 w 133"/>
              <a:gd name="T101" fmla="*/ 20 h 155"/>
              <a:gd name="T102" fmla="*/ 49 w 133"/>
              <a:gd name="T103" fmla="*/ 15 h 155"/>
              <a:gd name="T104" fmla="*/ 47 w 133"/>
              <a:gd name="T105" fmla="*/ 11 h 155"/>
              <a:gd name="T106" fmla="*/ 43 w 133"/>
              <a:gd name="T107" fmla="*/ 9 h 155"/>
              <a:gd name="T108" fmla="*/ 38 w 133"/>
              <a:gd name="T109" fmla="*/ 11 h 155"/>
              <a:gd name="T110" fmla="*/ 37 w 133"/>
              <a:gd name="T111" fmla="*/ 15 h 155"/>
              <a:gd name="T112" fmla="*/ 38 w 133"/>
              <a:gd name="T113" fmla="*/ 20 h 155"/>
              <a:gd name="T114" fmla="*/ 43 w 133"/>
              <a:gd name="T115" fmla="*/ 21 h 155"/>
              <a:gd name="T116" fmla="*/ 47 w 133"/>
              <a:gd name="T117" fmla="*/ 2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3" h="155">
                <a:moveTo>
                  <a:pt x="133" y="12"/>
                </a:moveTo>
                <a:cubicBezTo>
                  <a:pt x="133" y="43"/>
                  <a:pt x="133" y="43"/>
                  <a:pt x="133" y="43"/>
                </a:cubicBezTo>
                <a:cubicBezTo>
                  <a:pt x="133" y="44"/>
                  <a:pt x="133" y="44"/>
                  <a:pt x="132" y="45"/>
                </a:cubicBezTo>
                <a:cubicBezTo>
                  <a:pt x="132" y="45"/>
                  <a:pt x="131" y="46"/>
                  <a:pt x="130" y="46"/>
                </a:cubicBezTo>
                <a:cubicBezTo>
                  <a:pt x="130" y="46"/>
                  <a:pt x="130" y="46"/>
                  <a:pt x="130" y="4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36"/>
                  <a:pt x="86" y="36"/>
                  <a:pt x="86" y="35"/>
                </a:cubicBezTo>
                <a:cubicBezTo>
                  <a:pt x="85" y="35"/>
                  <a:pt x="85" y="34"/>
                  <a:pt x="85" y="34"/>
                </a:cubicBezTo>
                <a:cubicBezTo>
                  <a:pt x="61" y="34"/>
                  <a:pt x="61" y="34"/>
                  <a:pt x="61" y="34"/>
                </a:cubicBezTo>
                <a:cubicBezTo>
                  <a:pt x="61" y="43"/>
                  <a:pt x="61" y="43"/>
                  <a:pt x="61" y="43"/>
                </a:cubicBezTo>
                <a:cubicBezTo>
                  <a:pt x="68" y="45"/>
                  <a:pt x="74" y="48"/>
                  <a:pt x="78" y="54"/>
                </a:cubicBezTo>
                <a:cubicBezTo>
                  <a:pt x="83" y="59"/>
                  <a:pt x="85" y="66"/>
                  <a:pt x="85" y="73"/>
                </a:cubicBezTo>
                <a:cubicBezTo>
                  <a:pt x="85" y="148"/>
                  <a:pt x="85" y="148"/>
                  <a:pt x="85" y="148"/>
                </a:cubicBezTo>
                <a:cubicBezTo>
                  <a:pt x="85" y="150"/>
                  <a:pt x="84" y="152"/>
                  <a:pt x="83" y="153"/>
                </a:cubicBezTo>
                <a:cubicBezTo>
                  <a:pt x="82" y="154"/>
                  <a:pt x="81" y="155"/>
                  <a:pt x="79" y="155"/>
                </a:cubicBezTo>
                <a:cubicBezTo>
                  <a:pt x="31" y="155"/>
                  <a:pt x="31" y="155"/>
                  <a:pt x="31" y="155"/>
                </a:cubicBezTo>
                <a:cubicBezTo>
                  <a:pt x="29" y="155"/>
                  <a:pt x="28" y="154"/>
                  <a:pt x="26" y="153"/>
                </a:cubicBezTo>
                <a:cubicBezTo>
                  <a:pt x="25" y="152"/>
                  <a:pt x="25" y="150"/>
                  <a:pt x="25" y="148"/>
                </a:cubicBezTo>
                <a:cubicBezTo>
                  <a:pt x="25" y="73"/>
                  <a:pt x="25" y="73"/>
                  <a:pt x="25" y="73"/>
                </a:cubicBezTo>
                <a:cubicBezTo>
                  <a:pt x="25" y="66"/>
                  <a:pt x="27" y="60"/>
                  <a:pt x="30" y="55"/>
                </a:cubicBezTo>
                <a:cubicBezTo>
                  <a:pt x="34" y="50"/>
                  <a:pt x="40" y="46"/>
                  <a:pt x="46" y="44"/>
                </a:cubicBezTo>
                <a:cubicBezTo>
                  <a:pt x="46" y="34"/>
                  <a:pt x="46" y="34"/>
                  <a:pt x="46" y="34"/>
                </a:cubicBezTo>
                <a:cubicBezTo>
                  <a:pt x="43" y="34"/>
                  <a:pt x="43" y="34"/>
                  <a:pt x="43" y="34"/>
                </a:cubicBezTo>
                <a:cubicBezTo>
                  <a:pt x="39" y="34"/>
                  <a:pt x="35" y="34"/>
                  <a:pt x="32" y="36"/>
                </a:cubicBezTo>
                <a:cubicBezTo>
                  <a:pt x="28" y="37"/>
                  <a:pt x="25" y="39"/>
                  <a:pt x="23" y="41"/>
                </a:cubicBezTo>
                <a:cubicBezTo>
                  <a:pt x="21" y="43"/>
                  <a:pt x="19" y="45"/>
                  <a:pt x="17" y="47"/>
                </a:cubicBezTo>
                <a:cubicBezTo>
                  <a:pt x="15" y="49"/>
                  <a:pt x="14" y="51"/>
                  <a:pt x="13" y="52"/>
                </a:cubicBezTo>
                <a:cubicBezTo>
                  <a:pt x="12" y="53"/>
                  <a:pt x="12" y="54"/>
                  <a:pt x="12" y="54"/>
                </a:cubicBezTo>
                <a:cubicBezTo>
                  <a:pt x="11" y="57"/>
                  <a:pt x="9" y="58"/>
                  <a:pt x="6" y="58"/>
                </a:cubicBezTo>
                <a:cubicBezTo>
                  <a:pt x="5" y="58"/>
                  <a:pt x="4" y="57"/>
                  <a:pt x="4" y="57"/>
                </a:cubicBezTo>
                <a:cubicBezTo>
                  <a:pt x="2" y="56"/>
                  <a:pt x="1" y="55"/>
                  <a:pt x="1" y="54"/>
                </a:cubicBezTo>
                <a:cubicBezTo>
                  <a:pt x="0" y="52"/>
                  <a:pt x="0" y="50"/>
                  <a:pt x="1" y="49"/>
                </a:cubicBezTo>
                <a:cubicBezTo>
                  <a:pt x="1" y="48"/>
                  <a:pt x="2" y="47"/>
                  <a:pt x="2" y="46"/>
                </a:cubicBezTo>
                <a:cubicBezTo>
                  <a:pt x="3" y="45"/>
                  <a:pt x="4" y="44"/>
                  <a:pt x="6" y="41"/>
                </a:cubicBezTo>
                <a:cubicBezTo>
                  <a:pt x="8" y="39"/>
                  <a:pt x="10" y="37"/>
                  <a:pt x="12" y="35"/>
                </a:cubicBezTo>
                <a:cubicBezTo>
                  <a:pt x="14" y="33"/>
                  <a:pt x="16" y="31"/>
                  <a:pt x="20" y="28"/>
                </a:cubicBezTo>
                <a:cubicBezTo>
                  <a:pt x="23" y="26"/>
                  <a:pt x="26" y="25"/>
                  <a:pt x="30" y="23"/>
                </a:cubicBezTo>
                <a:cubicBezTo>
                  <a:pt x="28" y="21"/>
                  <a:pt x="28" y="18"/>
                  <a:pt x="28" y="15"/>
                </a:cubicBezTo>
                <a:cubicBezTo>
                  <a:pt x="28" y="11"/>
                  <a:pt x="29" y="8"/>
                  <a:pt x="32" y="5"/>
                </a:cubicBezTo>
                <a:cubicBezTo>
                  <a:pt x="35" y="2"/>
                  <a:pt x="39" y="0"/>
                  <a:pt x="43" y="0"/>
                </a:cubicBezTo>
                <a:cubicBezTo>
                  <a:pt x="47" y="0"/>
                  <a:pt x="50" y="2"/>
                  <a:pt x="53" y="5"/>
                </a:cubicBezTo>
                <a:cubicBezTo>
                  <a:pt x="56" y="8"/>
                  <a:pt x="58" y="11"/>
                  <a:pt x="58" y="15"/>
                </a:cubicBezTo>
                <a:cubicBezTo>
                  <a:pt x="58" y="17"/>
                  <a:pt x="57" y="19"/>
                  <a:pt x="57" y="21"/>
                </a:cubicBezTo>
                <a:cubicBezTo>
                  <a:pt x="85" y="21"/>
                  <a:pt x="85" y="21"/>
                  <a:pt x="85" y="21"/>
                </a:cubicBezTo>
                <a:cubicBezTo>
                  <a:pt x="85" y="21"/>
                  <a:pt x="85" y="20"/>
                  <a:pt x="86" y="20"/>
                </a:cubicBezTo>
                <a:cubicBezTo>
                  <a:pt x="86" y="19"/>
                  <a:pt x="87" y="19"/>
                  <a:pt x="87" y="18"/>
                </a:cubicBezTo>
                <a:cubicBezTo>
                  <a:pt x="130" y="9"/>
                  <a:pt x="130" y="9"/>
                  <a:pt x="130" y="9"/>
                </a:cubicBezTo>
                <a:cubicBezTo>
                  <a:pt x="130" y="9"/>
                  <a:pt x="130" y="9"/>
                  <a:pt x="130" y="9"/>
                </a:cubicBezTo>
                <a:cubicBezTo>
                  <a:pt x="131" y="9"/>
                  <a:pt x="132" y="10"/>
                  <a:pt x="132" y="10"/>
                </a:cubicBezTo>
                <a:cubicBezTo>
                  <a:pt x="133" y="11"/>
                  <a:pt x="133" y="11"/>
                  <a:pt x="133" y="12"/>
                </a:cubicBezTo>
                <a:close/>
                <a:moveTo>
                  <a:pt x="47" y="20"/>
                </a:moveTo>
                <a:cubicBezTo>
                  <a:pt x="48" y="18"/>
                  <a:pt x="49" y="17"/>
                  <a:pt x="49" y="15"/>
                </a:cubicBezTo>
                <a:cubicBezTo>
                  <a:pt x="49" y="14"/>
                  <a:pt x="48" y="12"/>
                  <a:pt x="47" y="11"/>
                </a:cubicBezTo>
                <a:cubicBezTo>
                  <a:pt x="46" y="10"/>
                  <a:pt x="44" y="9"/>
                  <a:pt x="43" y="9"/>
                </a:cubicBezTo>
                <a:cubicBezTo>
                  <a:pt x="41" y="9"/>
                  <a:pt x="40" y="10"/>
                  <a:pt x="38" y="11"/>
                </a:cubicBezTo>
                <a:cubicBezTo>
                  <a:pt x="37" y="12"/>
                  <a:pt x="37" y="14"/>
                  <a:pt x="37" y="15"/>
                </a:cubicBezTo>
                <a:cubicBezTo>
                  <a:pt x="37" y="17"/>
                  <a:pt x="37" y="18"/>
                  <a:pt x="38" y="20"/>
                </a:cubicBezTo>
                <a:cubicBezTo>
                  <a:pt x="40" y="21"/>
                  <a:pt x="41" y="21"/>
                  <a:pt x="43" y="21"/>
                </a:cubicBezTo>
                <a:cubicBezTo>
                  <a:pt x="44" y="21"/>
                  <a:pt x="46" y="21"/>
                  <a:pt x="47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0" name="Freeform 281"/>
          <p:cNvSpPr>
            <a:spLocks noChangeAspect="1" noEditPoints="1"/>
          </p:cNvSpPr>
          <p:nvPr/>
        </p:nvSpPr>
        <p:spPr bwMode="auto">
          <a:xfrm>
            <a:off x="1088713" y="3724195"/>
            <a:ext cx="160815" cy="160815"/>
          </a:xfrm>
          <a:custGeom>
            <a:avLst/>
            <a:gdLst>
              <a:gd name="T0" fmla="*/ 155 w 155"/>
              <a:gd name="T1" fmla="*/ 3 h 155"/>
              <a:gd name="T2" fmla="*/ 148 w 155"/>
              <a:gd name="T3" fmla="*/ 44 h 155"/>
              <a:gd name="T4" fmla="*/ 124 w 155"/>
              <a:gd name="T5" fmla="*/ 78 h 155"/>
              <a:gd name="T6" fmla="*/ 105 w 155"/>
              <a:gd name="T7" fmla="*/ 95 h 155"/>
              <a:gd name="T8" fmla="*/ 103 w 155"/>
              <a:gd name="T9" fmla="*/ 131 h 155"/>
              <a:gd name="T10" fmla="*/ 102 w 155"/>
              <a:gd name="T11" fmla="*/ 133 h 155"/>
              <a:gd name="T12" fmla="*/ 66 w 155"/>
              <a:gd name="T13" fmla="*/ 154 h 155"/>
              <a:gd name="T14" fmla="*/ 64 w 155"/>
              <a:gd name="T15" fmla="*/ 155 h 155"/>
              <a:gd name="T16" fmla="*/ 62 w 155"/>
              <a:gd name="T17" fmla="*/ 154 h 155"/>
              <a:gd name="T18" fmla="*/ 56 w 155"/>
              <a:gd name="T19" fmla="*/ 148 h 155"/>
              <a:gd name="T20" fmla="*/ 55 w 155"/>
              <a:gd name="T21" fmla="*/ 145 h 155"/>
              <a:gd name="T22" fmla="*/ 63 w 155"/>
              <a:gd name="T23" fmla="*/ 119 h 155"/>
              <a:gd name="T24" fmla="*/ 37 w 155"/>
              <a:gd name="T25" fmla="*/ 92 h 155"/>
              <a:gd name="T26" fmla="*/ 10 w 155"/>
              <a:gd name="T27" fmla="*/ 100 h 155"/>
              <a:gd name="T28" fmla="*/ 10 w 155"/>
              <a:gd name="T29" fmla="*/ 100 h 155"/>
              <a:gd name="T30" fmla="*/ 7 w 155"/>
              <a:gd name="T31" fmla="*/ 99 h 155"/>
              <a:gd name="T32" fmla="*/ 1 w 155"/>
              <a:gd name="T33" fmla="*/ 93 h 155"/>
              <a:gd name="T34" fmla="*/ 1 w 155"/>
              <a:gd name="T35" fmla="*/ 90 h 155"/>
              <a:gd name="T36" fmla="*/ 22 w 155"/>
              <a:gd name="T37" fmla="*/ 53 h 155"/>
              <a:gd name="T38" fmla="*/ 25 w 155"/>
              <a:gd name="T39" fmla="*/ 52 h 155"/>
              <a:gd name="T40" fmla="*/ 60 w 155"/>
              <a:gd name="T41" fmla="*/ 50 h 155"/>
              <a:gd name="T42" fmla="*/ 77 w 155"/>
              <a:gd name="T43" fmla="*/ 31 h 155"/>
              <a:gd name="T44" fmla="*/ 111 w 155"/>
              <a:gd name="T45" fmla="*/ 7 h 155"/>
              <a:gd name="T46" fmla="*/ 152 w 155"/>
              <a:gd name="T47" fmla="*/ 0 h 155"/>
              <a:gd name="T48" fmla="*/ 154 w 155"/>
              <a:gd name="T49" fmla="*/ 1 h 155"/>
              <a:gd name="T50" fmla="*/ 155 w 155"/>
              <a:gd name="T51" fmla="*/ 3 h 155"/>
              <a:gd name="T52" fmla="*/ 131 w 155"/>
              <a:gd name="T53" fmla="*/ 37 h 155"/>
              <a:gd name="T54" fmla="*/ 134 w 155"/>
              <a:gd name="T55" fmla="*/ 31 h 155"/>
              <a:gd name="T56" fmla="*/ 131 w 155"/>
              <a:gd name="T57" fmla="*/ 24 h 155"/>
              <a:gd name="T58" fmla="*/ 125 w 155"/>
              <a:gd name="T59" fmla="*/ 21 h 155"/>
              <a:gd name="T60" fmla="*/ 118 w 155"/>
              <a:gd name="T61" fmla="*/ 24 h 155"/>
              <a:gd name="T62" fmla="*/ 115 w 155"/>
              <a:gd name="T63" fmla="*/ 31 h 155"/>
              <a:gd name="T64" fmla="*/ 118 w 155"/>
              <a:gd name="T65" fmla="*/ 37 h 155"/>
              <a:gd name="T66" fmla="*/ 125 w 155"/>
              <a:gd name="T67" fmla="*/ 40 h 155"/>
              <a:gd name="T68" fmla="*/ 131 w 155"/>
              <a:gd name="T69" fmla="*/ 3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3"/>
                </a:moveTo>
                <a:cubicBezTo>
                  <a:pt x="155" y="19"/>
                  <a:pt x="152" y="33"/>
                  <a:pt x="148" y="44"/>
                </a:cubicBezTo>
                <a:cubicBezTo>
                  <a:pt x="143" y="55"/>
                  <a:pt x="135" y="67"/>
                  <a:pt x="124" y="78"/>
                </a:cubicBezTo>
                <a:cubicBezTo>
                  <a:pt x="119" y="83"/>
                  <a:pt x="112" y="89"/>
                  <a:pt x="105" y="95"/>
                </a:cubicBezTo>
                <a:cubicBezTo>
                  <a:pt x="103" y="131"/>
                  <a:pt x="103" y="131"/>
                  <a:pt x="103" y="131"/>
                </a:cubicBezTo>
                <a:cubicBezTo>
                  <a:pt x="103" y="132"/>
                  <a:pt x="103" y="132"/>
                  <a:pt x="102" y="133"/>
                </a:cubicBezTo>
                <a:cubicBezTo>
                  <a:pt x="66" y="154"/>
                  <a:pt x="66" y="154"/>
                  <a:pt x="66" y="154"/>
                </a:cubicBezTo>
                <a:cubicBezTo>
                  <a:pt x="65" y="154"/>
                  <a:pt x="65" y="155"/>
                  <a:pt x="64" y="155"/>
                </a:cubicBezTo>
                <a:cubicBezTo>
                  <a:pt x="63" y="155"/>
                  <a:pt x="63" y="154"/>
                  <a:pt x="62" y="154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5" y="147"/>
                  <a:pt x="55" y="146"/>
                  <a:pt x="55" y="145"/>
                </a:cubicBezTo>
                <a:cubicBezTo>
                  <a:pt x="63" y="119"/>
                  <a:pt x="63" y="119"/>
                  <a:pt x="63" y="119"/>
                </a:cubicBezTo>
                <a:cubicBezTo>
                  <a:pt x="37" y="92"/>
                  <a:pt x="37" y="92"/>
                  <a:pt x="37" y="9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9" y="100"/>
                  <a:pt x="8" y="100"/>
                  <a:pt x="7" y="99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2"/>
                  <a:pt x="0" y="91"/>
                  <a:pt x="1" y="90"/>
                </a:cubicBezTo>
                <a:cubicBezTo>
                  <a:pt x="22" y="53"/>
                  <a:pt x="22" y="53"/>
                  <a:pt x="22" y="53"/>
                </a:cubicBezTo>
                <a:cubicBezTo>
                  <a:pt x="23" y="52"/>
                  <a:pt x="24" y="52"/>
                  <a:pt x="25" y="52"/>
                </a:cubicBezTo>
                <a:cubicBezTo>
                  <a:pt x="60" y="50"/>
                  <a:pt x="60" y="50"/>
                  <a:pt x="60" y="50"/>
                </a:cubicBezTo>
                <a:cubicBezTo>
                  <a:pt x="66" y="43"/>
                  <a:pt x="72" y="37"/>
                  <a:pt x="77" y="31"/>
                </a:cubicBezTo>
                <a:cubicBezTo>
                  <a:pt x="89" y="20"/>
                  <a:pt x="100" y="11"/>
                  <a:pt x="111" y="7"/>
                </a:cubicBezTo>
                <a:cubicBezTo>
                  <a:pt x="122" y="3"/>
                  <a:pt x="135" y="0"/>
                  <a:pt x="152" y="0"/>
                </a:cubicBezTo>
                <a:cubicBezTo>
                  <a:pt x="152" y="0"/>
                  <a:pt x="153" y="1"/>
                  <a:pt x="154" y="1"/>
                </a:cubicBezTo>
                <a:cubicBezTo>
                  <a:pt x="154" y="2"/>
                  <a:pt x="155" y="3"/>
                  <a:pt x="155" y="3"/>
                </a:cubicBezTo>
                <a:close/>
                <a:moveTo>
                  <a:pt x="131" y="37"/>
                </a:moveTo>
                <a:cubicBezTo>
                  <a:pt x="133" y="35"/>
                  <a:pt x="134" y="33"/>
                  <a:pt x="134" y="31"/>
                </a:cubicBezTo>
                <a:cubicBezTo>
                  <a:pt x="134" y="28"/>
                  <a:pt x="133" y="26"/>
                  <a:pt x="131" y="24"/>
                </a:cubicBezTo>
                <a:cubicBezTo>
                  <a:pt x="129" y="22"/>
                  <a:pt x="127" y="21"/>
                  <a:pt x="125" y="21"/>
                </a:cubicBezTo>
                <a:cubicBezTo>
                  <a:pt x="122" y="21"/>
                  <a:pt x="120" y="22"/>
                  <a:pt x="118" y="24"/>
                </a:cubicBezTo>
                <a:cubicBezTo>
                  <a:pt x="116" y="26"/>
                  <a:pt x="115" y="28"/>
                  <a:pt x="115" y="31"/>
                </a:cubicBezTo>
                <a:cubicBezTo>
                  <a:pt x="115" y="33"/>
                  <a:pt x="116" y="35"/>
                  <a:pt x="118" y="37"/>
                </a:cubicBezTo>
                <a:cubicBezTo>
                  <a:pt x="120" y="39"/>
                  <a:pt x="122" y="40"/>
                  <a:pt x="125" y="40"/>
                </a:cubicBezTo>
                <a:cubicBezTo>
                  <a:pt x="127" y="40"/>
                  <a:pt x="129" y="39"/>
                  <a:pt x="131" y="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1" name="Freeform 282"/>
          <p:cNvSpPr>
            <a:spLocks noChangeAspect="1"/>
          </p:cNvSpPr>
          <p:nvPr/>
        </p:nvSpPr>
        <p:spPr bwMode="auto">
          <a:xfrm>
            <a:off x="1293244" y="3736686"/>
            <a:ext cx="171744" cy="124904"/>
          </a:xfrm>
          <a:custGeom>
            <a:avLst/>
            <a:gdLst>
              <a:gd name="T0" fmla="*/ 165 w 166"/>
              <a:gd name="T1" fmla="*/ 49 h 121"/>
              <a:gd name="T2" fmla="*/ 149 w 166"/>
              <a:gd name="T3" fmla="*/ 121 h 121"/>
              <a:gd name="T4" fmla="*/ 118 w 166"/>
              <a:gd name="T5" fmla="*/ 121 h 121"/>
              <a:gd name="T6" fmla="*/ 135 w 166"/>
              <a:gd name="T7" fmla="*/ 43 h 121"/>
              <a:gd name="T8" fmla="*/ 133 w 166"/>
              <a:gd name="T9" fmla="*/ 34 h 121"/>
              <a:gd name="T10" fmla="*/ 125 w 166"/>
              <a:gd name="T11" fmla="*/ 31 h 121"/>
              <a:gd name="T12" fmla="*/ 109 w 166"/>
              <a:gd name="T13" fmla="*/ 31 h 121"/>
              <a:gd name="T14" fmla="*/ 90 w 166"/>
              <a:gd name="T15" fmla="*/ 121 h 121"/>
              <a:gd name="T16" fmla="*/ 59 w 166"/>
              <a:gd name="T17" fmla="*/ 121 h 121"/>
              <a:gd name="T18" fmla="*/ 78 w 166"/>
              <a:gd name="T19" fmla="*/ 31 h 121"/>
              <a:gd name="T20" fmla="*/ 51 w 166"/>
              <a:gd name="T21" fmla="*/ 31 h 121"/>
              <a:gd name="T22" fmla="*/ 31 w 166"/>
              <a:gd name="T23" fmla="*/ 121 h 121"/>
              <a:gd name="T24" fmla="*/ 0 w 166"/>
              <a:gd name="T25" fmla="*/ 121 h 121"/>
              <a:gd name="T26" fmla="*/ 19 w 166"/>
              <a:gd name="T27" fmla="*/ 31 h 121"/>
              <a:gd name="T28" fmla="*/ 5 w 166"/>
              <a:gd name="T29" fmla="*/ 0 h 121"/>
              <a:gd name="T30" fmla="*/ 125 w 166"/>
              <a:gd name="T31" fmla="*/ 0 h 121"/>
              <a:gd name="T32" fmla="*/ 143 w 166"/>
              <a:gd name="T33" fmla="*/ 4 h 121"/>
              <a:gd name="T34" fmla="*/ 157 w 166"/>
              <a:gd name="T35" fmla="*/ 15 h 121"/>
              <a:gd name="T36" fmla="*/ 165 w 166"/>
              <a:gd name="T37" fmla="*/ 31 h 121"/>
              <a:gd name="T38" fmla="*/ 165 w 166"/>
              <a:gd name="T39" fmla="*/ 49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66" h="121">
                <a:moveTo>
                  <a:pt x="165" y="49"/>
                </a:moveTo>
                <a:cubicBezTo>
                  <a:pt x="149" y="121"/>
                  <a:pt x="149" y="121"/>
                  <a:pt x="149" y="121"/>
                </a:cubicBezTo>
                <a:cubicBezTo>
                  <a:pt x="118" y="121"/>
                  <a:pt x="118" y="121"/>
                  <a:pt x="118" y="121"/>
                </a:cubicBezTo>
                <a:cubicBezTo>
                  <a:pt x="135" y="43"/>
                  <a:pt x="135" y="43"/>
                  <a:pt x="135" y="43"/>
                </a:cubicBezTo>
                <a:cubicBezTo>
                  <a:pt x="135" y="39"/>
                  <a:pt x="135" y="36"/>
                  <a:pt x="133" y="34"/>
                </a:cubicBezTo>
                <a:cubicBezTo>
                  <a:pt x="132" y="32"/>
                  <a:pt x="129" y="31"/>
                  <a:pt x="125" y="31"/>
                </a:cubicBezTo>
                <a:cubicBezTo>
                  <a:pt x="109" y="31"/>
                  <a:pt x="109" y="31"/>
                  <a:pt x="109" y="31"/>
                </a:cubicBezTo>
                <a:cubicBezTo>
                  <a:pt x="90" y="121"/>
                  <a:pt x="90" y="121"/>
                  <a:pt x="90" y="121"/>
                </a:cubicBezTo>
                <a:cubicBezTo>
                  <a:pt x="59" y="121"/>
                  <a:pt x="59" y="121"/>
                  <a:pt x="59" y="121"/>
                </a:cubicBezTo>
                <a:cubicBezTo>
                  <a:pt x="78" y="31"/>
                  <a:pt x="78" y="31"/>
                  <a:pt x="78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31" y="121"/>
                  <a:pt x="31" y="121"/>
                  <a:pt x="31" y="121"/>
                </a:cubicBezTo>
                <a:cubicBezTo>
                  <a:pt x="0" y="121"/>
                  <a:pt x="0" y="121"/>
                  <a:pt x="0" y="121"/>
                </a:cubicBezTo>
                <a:cubicBezTo>
                  <a:pt x="19" y="31"/>
                  <a:pt x="19" y="31"/>
                  <a:pt x="19" y="31"/>
                </a:cubicBezTo>
                <a:cubicBezTo>
                  <a:pt x="5" y="0"/>
                  <a:pt x="5" y="0"/>
                  <a:pt x="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32" y="0"/>
                  <a:pt x="138" y="2"/>
                  <a:pt x="143" y="4"/>
                </a:cubicBezTo>
                <a:cubicBezTo>
                  <a:pt x="149" y="7"/>
                  <a:pt x="154" y="10"/>
                  <a:pt x="157" y="15"/>
                </a:cubicBezTo>
                <a:cubicBezTo>
                  <a:pt x="161" y="20"/>
                  <a:pt x="164" y="25"/>
                  <a:pt x="165" y="31"/>
                </a:cubicBezTo>
                <a:cubicBezTo>
                  <a:pt x="166" y="37"/>
                  <a:pt x="166" y="43"/>
                  <a:pt x="165" y="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2" name="Freeform 283"/>
          <p:cNvSpPr>
            <a:spLocks noChangeAspect="1" noEditPoints="1"/>
          </p:cNvSpPr>
          <p:nvPr/>
        </p:nvSpPr>
        <p:spPr bwMode="auto">
          <a:xfrm>
            <a:off x="1513388" y="3724195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09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09 w 146"/>
              <a:gd name="T23" fmla="*/ 10 h 146"/>
              <a:gd name="T24" fmla="*/ 136 w 146"/>
              <a:gd name="T25" fmla="*/ 36 h 146"/>
              <a:gd name="T26" fmla="*/ 86 w 146"/>
              <a:gd name="T27" fmla="*/ 120 h 146"/>
              <a:gd name="T28" fmla="*/ 96 w 146"/>
              <a:gd name="T29" fmla="*/ 110 h 146"/>
              <a:gd name="T30" fmla="*/ 98 w 146"/>
              <a:gd name="T31" fmla="*/ 106 h 146"/>
              <a:gd name="T32" fmla="*/ 96 w 146"/>
              <a:gd name="T33" fmla="*/ 102 h 146"/>
              <a:gd name="T34" fmla="*/ 67 w 146"/>
              <a:gd name="T35" fmla="*/ 73 h 146"/>
              <a:gd name="T36" fmla="*/ 96 w 146"/>
              <a:gd name="T37" fmla="*/ 44 h 146"/>
              <a:gd name="T38" fmla="*/ 98 w 146"/>
              <a:gd name="T39" fmla="*/ 40 h 146"/>
              <a:gd name="T40" fmla="*/ 96 w 146"/>
              <a:gd name="T41" fmla="*/ 35 h 146"/>
              <a:gd name="T42" fmla="*/ 86 w 146"/>
              <a:gd name="T43" fmla="*/ 26 h 146"/>
              <a:gd name="T44" fmla="*/ 82 w 146"/>
              <a:gd name="T45" fmla="*/ 24 h 146"/>
              <a:gd name="T46" fmla="*/ 78 w 146"/>
              <a:gd name="T47" fmla="*/ 26 h 146"/>
              <a:gd name="T48" fmla="*/ 35 w 146"/>
              <a:gd name="T49" fmla="*/ 69 h 146"/>
              <a:gd name="T50" fmla="*/ 33 w 146"/>
              <a:gd name="T51" fmla="*/ 73 h 146"/>
              <a:gd name="T52" fmla="*/ 35 w 146"/>
              <a:gd name="T53" fmla="*/ 77 h 146"/>
              <a:gd name="T54" fmla="*/ 78 w 146"/>
              <a:gd name="T55" fmla="*/ 120 h 146"/>
              <a:gd name="T56" fmla="*/ 82 w 146"/>
              <a:gd name="T57" fmla="*/ 122 h 146"/>
              <a:gd name="T58" fmla="*/ 86 w 146"/>
              <a:gd name="T59" fmla="*/ 12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0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0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86" y="120"/>
                </a:moveTo>
                <a:cubicBezTo>
                  <a:pt x="96" y="110"/>
                  <a:pt x="96" y="110"/>
                  <a:pt x="96" y="110"/>
                </a:cubicBezTo>
                <a:cubicBezTo>
                  <a:pt x="97" y="109"/>
                  <a:pt x="98" y="108"/>
                  <a:pt x="98" y="106"/>
                </a:cubicBezTo>
                <a:cubicBezTo>
                  <a:pt x="98" y="105"/>
                  <a:pt x="97" y="103"/>
                  <a:pt x="96" y="102"/>
                </a:cubicBezTo>
                <a:cubicBezTo>
                  <a:pt x="67" y="73"/>
                  <a:pt x="67" y="73"/>
                  <a:pt x="67" y="73"/>
                </a:cubicBezTo>
                <a:cubicBezTo>
                  <a:pt x="96" y="44"/>
                  <a:pt x="96" y="44"/>
                  <a:pt x="96" y="44"/>
                </a:cubicBezTo>
                <a:cubicBezTo>
                  <a:pt x="97" y="43"/>
                  <a:pt x="98" y="41"/>
                  <a:pt x="98" y="40"/>
                </a:cubicBezTo>
                <a:cubicBezTo>
                  <a:pt x="98" y="38"/>
                  <a:pt x="97" y="37"/>
                  <a:pt x="96" y="35"/>
                </a:cubicBezTo>
                <a:cubicBezTo>
                  <a:pt x="86" y="26"/>
                  <a:pt x="86" y="26"/>
                  <a:pt x="86" y="26"/>
                </a:cubicBezTo>
                <a:cubicBezTo>
                  <a:pt x="85" y="25"/>
                  <a:pt x="84" y="24"/>
                  <a:pt x="82" y="24"/>
                </a:cubicBezTo>
                <a:cubicBezTo>
                  <a:pt x="80" y="24"/>
                  <a:pt x="79" y="25"/>
                  <a:pt x="78" y="26"/>
                </a:cubicBezTo>
                <a:cubicBezTo>
                  <a:pt x="35" y="69"/>
                  <a:pt x="35" y="69"/>
                  <a:pt x="35" y="69"/>
                </a:cubicBezTo>
                <a:cubicBezTo>
                  <a:pt x="34" y="70"/>
                  <a:pt x="33" y="71"/>
                  <a:pt x="33" y="73"/>
                </a:cubicBezTo>
                <a:cubicBezTo>
                  <a:pt x="33" y="75"/>
                  <a:pt x="34" y="76"/>
                  <a:pt x="35" y="77"/>
                </a:cubicBezTo>
                <a:cubicBezTo>
                  <a:pt x="78" y="120"/>
                  <a:pt x="78" y="120"/>
                  <a:pt x="78" y="120"/>
                </a:cubicBezTo>
                <a:cubicBezTo>
                  <a:pt x="79" y="121"/>
                  <a:pt x="80" y="122"/>
                  <a:pt x="82" y="122"/>
                </a:cubicBezTo>
                <a:cubicBezTo>
                  <a:pt x="84" y="122"/>
                  <a:pt x="85" y="121"/>
                  <a:pt x="86" y="1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3" name="Freeform 284"/>
          <p:cNvSpPr>
            <a:spLocks noChangeAspect="1" noEditPoints="1"/>
          </p:cNvSpPr>
          <p:nvPr/>
        </p:nvSpPr>
        <p:spPr bwMode="auto">
          <a:xfrm>
            <a:off x="1708551" y="3724195"/>
            <a:ext cx="149885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6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68 w 145"/>
              <a:gd name="T27" fmla="*/ 120 h 146"/>
              <a:gd name="T28" fmla="*/ 110 w 145"/>
              <a:gd name="T29" fmla="*/ 77 h 146"/>
              <a:gd name="T30" fmla="*/ 112 w 145"/>
              <a:gd name="T31" fmla="*/ 73 h 146"/>
              <a:gd name="T32" fmla="*/ 110 w 145"/>
              <a:gd name="T33" fmla="*/ 69 h 146"/>
              <a:gd name="T34" fmla="*/ 68 w 145"/>
              <a:gd name="T35" fmla="*/ 26 h 146"/>
              <a:gd name="T36" fmla="*/ 63 w 145"/>
              <a:gd name="T37" fmla="*/ 24 h 146"/>
              <a:gd name="T38" fmla="*/ 59 w 145"/>
              <a:gd name="T39" fmla="*/ 26 h 146"/>
              <a:gd name="T40" fmla="*/ 49 w 145"/>
              <a:gd name="T41" fmla="*/ 35 h 146"/>
              <a:gd name="T42" fmla="*/ 48 w 145"/>
              <a:gd name="T43" fmla="*/ 40 h 146"/>
              <a:gd name="T44" fmla="*/ 49 w 145"/>
              <a:gd name="T45" fmla="*/ 44 h 146"/>
              <a:gd name="T46" fmla="*/ 78 w 145"/>
              <a:gd name="T47" fmla="*/ 73 h 146"/>
              <a:gd name="T48" fmla="*/ 49 w 145"/>
              <a:gd name="T49" fmla="*/ 102 h 146"/>
              <a:gd name="T50" fmla="*/ 48 w 145"/>
              <a:gd name="T51" fmla="*/ 106 h 146"/>
              <a:gd name="T52" fmla="*/ 49 w 145"/>
              <a:gd name="T53" fmla="*/ 110 h 146"/>
              <a:gd name="T54" fmla="*/ 59 w 145"/>
              <a:gd name="T55" fmla="*/ 120 h 146"/>
              <a:gd name="T56" fmla="*/ 63 w 145"/>
              <a:gd name="T57" fmla="*/ 122 h 146"/>
              <a:gd name="T58" fmla="*/ 68 w 145"/>
              <a:gd name="T59" fmla="*/ 12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6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6"/>
                </a:cubicBezTo>
                <a:close/>
                <a:moveTo>
                  <a:pt x="68" y="120"/>
                </a:moveTo>
                <a:cubicBezTo>
                  <a:pt x="110" y="77"/>
                  <a:pt x="110" y="77"/>
                  <a:pt x="110" y="77"/>
                </a:cubicBezTo>
                <a:cubicBezTo>
                  <a:pt x="112" y="76"/>
                  <a:pt x="112" y="75"/>
                  <a:pt x="112" y="73"/>
                </a:cubicBezTo>
                <a:cubicBezTo>
                  <a:pt x="112" y="71"/>
                  <a:pt x="112" y="70"/>
                  <a:pt x="110" y="69"/>
                </a:cubicBezTo>
                <a:cubicBezTo>
                  <a:pt x="68" y="26"/>
                  <a:pt x="68" y="26"/>
                  <a:pt x="68" y="26"/>
                </a:cubicBezTo>
                <a:cubicBezTo>
                  <a:pt x="66" y="25"/>
                  <a:pt x="65" y="24"/>
                  <a:pt x="63" y="24"/>
                </a:cubicBezTo>
                <a:cubicBezTo>
                  <a:pt x="62" y="24"/>
                  <a:pt x="60" y="25"/>
                  <a:pt x="59" y="26"/>
                </a:cubicBezTo>
                <a:cubicBezTo>
                  <a:pt x="49" y="35"/>
                  <a:pt x="49" y="35"/>
                  <a:pt x="49" y="35"/>
                </a:cubicBezTo>
                <a:cubicBezTo>
                  <a:pt x="48" y="37"/>
                  <a:pt x="48" y="38"/>
                  <a:pt x="48" y="40"/>
                </a:cubicBezTo>
                <a:cubicBezTo>
                  <a:pt x="48" y="41"/>
                  <a:pt x="48" y="43"/>
                  <a:pt x="49" y="44"/>
                </a:cubicBezTo>
                <a:cubicBezTo>
                  <a:pt x="78" y="73"/>
                  <a:pt x="78" y="73"/>
                  <a:pt x="78" y="73"/>
                </a:cubicBezTo>
                <a:cubicBezTo>
                  <a:pt x="49" y="102"/>
                  <a:pt x="49" y="102"/>
                  <a:pt x="49" y="102"/>
                </a:cubicBezTo>
                <a:cubicBezTo>
                  <a:pt x="48" y="103"/>
                  <a:pt x="48" y="105"/>
                  <a:pt x="48" y="106"/>
                </a:cubicBezTo>
                <a:cubicBezTo>
                  <a:pt x="48" y="108"/>
                  <a:pt x="48" y="109"/>
                  <a:pt x="49" y="110"/>
                </a:cubicBezTo>
                <a:cubicBezTo>
                  <a:pt x="59" y="120"/>
                  <a:pt x="59" y="120"/>
                  <a:pt x="59" y="120"/>
                </a:cubicBezTo>
                <a:cubicBezTo>
                  <a:pt x="60" y="121"/>
                  <a:pt x="62" y="122"/>
                  <a:pt x="63" y="122"/>
                </a:cubicBezTo>
                <a:cubicBezTo>
                  <a:pt x="65" y="122"/>
                  <a:pt x="66" y="121"/>
                  <a:pt x="68" y="1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4" name="Freeform 285"/>
          <p:cNvSpPr>
            <a:spLocks noChangeAspect="1" noEditPoints="1"/>
          </p:cNvSpPr>
          <p:nvPr/>
        </p:nvSpPr>
        <p:spPr bwMode="auto">
          <a:xfrm>
            <a:off x="1903715" y="3724195"/>
            <a:ext cx="149885" cy="151447"/>
          </a:xfrm>
          <a:custGeom>
            <a:avLst/>
            <a:gdLst>
              <a:gd name="T0" fmla="*/ 136 w 145"/>
              <a:gd name="T1" fmla="*/ 36 h 146"/>
              <a:gd name="T2" fmla="*/ 145 w 145"/>
              <a:gd name="T3" fmla="*/ 73 h 146"/>
              <a:gd name="T4" fmla="*/ 136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6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6 w 145"/>
              <a:gd name="T25" fmla="*/ 36 h 146"/>
              <a:gd name="T26" fmla="*/ 110 w 145"/>
              <a:gd name="T27" fmla="*/ 96 h 146"/>
              <a:gd name="T28" fmla="*/ 120 w 145"/>
              <a:gd name="T29" fmla="*/ 86 h 146"/>
              <a:gd name="T30" fmla="*/ 122 w 145"/>
              <a:gd name="T31" fmla="*/ 82 h 146"/>
              <a:gd name="T32" fmla="*/ 120 w 145"/>
              <a:gd name="T33" fmla="*/ 78 h 146"/>
              <a:gd name="T34" fmla="*/ 77 w 145"/>
              <a:gd name="T35" fmla="*/ 35 h 146"/>
              <a:gd name="T36" fmla="*/ 73 w 145"/>
              <a:gd name="T37" fmla="*/ 33 h 146"/>
              <a:gd name="T38" fmla="*/ 68 w 145"/>
              <a:gd name="T39" fmla="*/ 35 h 146"/>
              <a:gd name="T40" fmla="*/ 25 w 145"/>
              <a:gd name="T41" fmla="*/ 78 h 146"/>
              <a:gd name="T42" fmla="*/ 24 w 145"/>
              <a:gd name="T43" fmla="*/ 82 h 146"/>
              <a:gd name="T44" fmla="*/ 25 w 145"/>
              <a:gd name="T45" fmla="*/ 86 h 146"/>
              <a:gd name="T46" fmla="*/ 35 w 145"/>
              <a:gd name="T47" fmla="*/ 96 h 146"/>
              <a:gd name="T48" fmla="*/ 39 w 145"/>
              <a:gd name="T49" fmla="*/ 98 h 146"/>
              <a:gd name="T50" fmla="*/ 44 w 145"/>
              <a:gd name="T51" fmla="*/ 96 h 146"/>
              <a:gd name="T52" fmla="*/ 73 w 145"/>
              <a:gd name="T53" fmla="*/ 67 h 146"/>
              <a:gd name="T54" fmla="*/ 102 w 145"/>
              <a:gd name="T55" fmla="*/ 96 h 146"/>
              <a:gd name="T56" fmla="*/ 106 w 145"/>
              <a:gd name="T57" fmla="*/ 98 h 146"/>
              <a:gd name="T58" fmla="*/ 110 w 145"/>
              <a:gd name="T59" fmla="*/ 9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5" h="146">
                <a:moveTo>
                  <a:pt x="136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6"/>
                </a:cubicBezTo>
                <a:close/>
                <a:moveTo>
                  <a:pt x="110" y="96"/>
                </a:moveTo>
                <a:cubicBezTo>
                  <a:pt x="120" y="86"/>
                  <a:pt x="120" y="86"/>
                  <a:pt x="120" y="86"/>
                </a:cubicBezTo>
                <a:cubicBezTo>
                  <a:pt x="121" y="85"/>
                  <a:pt x="122" y="84"/>
                  <a:pt x="122" y="82"/>
                </a:cubicBezTo>
                <a:cubicBezTo>
                  <a:pt x="122" y="80"/>
                  <a:pt x="121" y="79"/>
                  <a:pt x="120" y="78"/>
                </a:cubicBezTo>
                <a:cubicBezTo>
                  <a:pt x="77" y="35"/>
                  <a:pt x="77" y="35"/>
                  <a:pt x="77" y="35"/>
                </a:cubicBezTo>
                <a:cubicBezTo>
                  <a:pt x="76" y="34"/>
                  <a:pt x="74" y="33"/>
                  <a:pt x="73" y="33"/>
                </a:cubicBezTo>
                <a:cubicBezTo>
                  <a:pt x="71" y="33"/>
                  <a:pt x="70" y="34"/>
                  <a:pt x="68" y="35"/>
                </a:cubicBezTo>
                <a:cubicBezTo>
                  <a:pt x="25" y="78"/>
                  <a:pt x="25" y="78"/>
                  <a:pt x="25" y="78"/>
                </a:cubicBezTo>
                <a:cubicBezTo>
                  <a:pt x="24" y="79"/>
                  <a:pt x="24" y="80"/>
                  <a:pt x="24" y="82"/>
                </a:cubicBezTo>
                <a:cubicBezTo>
                  <a:pt x="24" y="84"/>
                  <a:pt x="24" y="85"/>
                  <a:pt x="25" y="86"/>
                </a:cubicBezTo>
                <a:cubicBezTo>
                  <a:pt x="35" y="96"/>
                  <a:pt x="35" y="96"/>
                  <a:pt x="35" y="96"/>
                </a:cubicBezTo>
                <a:cubicBezTo>
                  <a:pt x="36" y="97"/>
                  <a:pt x="38" y="98"/>
                  <a:pt x="39" y="98"/>
                </a:cubicBezTo>
                <a:cubicBezTo>
                  <a:pt x="41" y="98"/>
                  <a:pt x="42" y="97"/>
                  <a:pt x="44" y="96"/>
                </a:cubicBezTo>
                <a:cubicBezTo>
                  <a:pt x="73" y="67"/>
                  <a:pt x="73" y="67"/>
                  <a:pt x="73" y="67"/>
                </a:cubicBezTo>
                <a:cubicBezTo>
                  <a:pt x="102" y="96"/>
                  <a:pt x="102" y="96"/>
                  <a:pt x="102" y="96"/>
                </a:cubicBezTo>
                <a:cubicBezTo>
                  <a:pt x="103" y="97"/>
                  <a:pt x="104" y="98"/>
                  <a:pt x="106" y="98"/>
                </a:cubicBezTo>
                <a:cubicBezTo>
                  <a:pt x="108" y="98"/>
                  <a:pt x="109" y="97"/>
                  <a:pt x="110" y="9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5" name="Freeform 286"/>
          <p:cNvSpPr>
            <a:spLocks noChangeAspect="1" noEditPoints="1"/>
          </p:cNvSpPr>
          <p:nvPr/>
        </p:nvSpPr>
        <p:spPr bwMode="auto">
          <a:xfrm>
            <a:off x="2097317" y="3724195"/>
            <a:ext cx="151447" cy="151447"/>
          </a:xfrm>
          <a:custGeom>
            <a:avLst/>
            <a:gdLst>
              <a:gd name="T0" fmla="*/ 136 w 146"/>
              <a:gd name="T1" fmla="*/ 36 h 146"/>
              <a:gd name="T2" fmla="*/ 146 w 146"/>
              <a:gd name="T3" fmla="*/ 73 h 146"/>
              <a:gd name="T4" fmla="*/ 136 w 146"/>
              <a:gd name="T5" fmla="*/ 109 h 146"/>
              <a:gd name="T6" fmla="*/ 109 w 146"/>
              <a:gd name="T7" fmla="*/ 136 h 146"/>
              <a:gd name="T8" fmla="*/ 73 w 146"/>
              <a:gd name="T9" fmla="*/ 146 h 146"/>
              <a:gd name="T10" fmla="*/ 37 w 146"/>
              <a:gd name="T11" fmla="*/ 136 h 146"/>
              <a:gd name="T12" fmla="*/ 10 w 146"/>
              <a:gd name="T13" fmla="*/ 109 h 146"/>
              <a:gd name="T14" fmla="*/ 0 w 146"/>
              <a:gd name="T15" fmla="*/ 73 h 146"/>
              <a:gd name="T16" fmla="*/ 10 w 146"/>
              <a:gd name="T17" fmla="*/ 36 h 146"/>
              <a:gd name="T18" fmla="*/ 37 w 146"/>
              <a:gd name="T19" fmla="*/ 10 h 146"/>
              <a:gd name="T20" fmla="*/ 73 w 146"/>
              <a:gd name="T21" fmla="*/ 0 h 146"/>
              <a:gd name="T22" fmla="*/ 109 w 146"/>
              <a:gd name="T23" fmla="*/ 10 h 146"/>
              <a:gd name="T24" fmla="*/ 136 w 146"/>
              <a:gd name="T25" fmla="*/ 36 h 146"/>
              <a:gd name="T26" fmla="*/ 77 w 146"/>
              <a:gd name="T27" fmla="*/ 111 h 146"/>
              <a:gd name="T28" fmla="*/ 120 w 146"/>
              <a:gd name="T29" fmla="*/ 68 h 146"/>
              <a:gd name="T30" fmla="*/ 122 w 146"/>
              <a:gd name="T31" fmla="*/ 64 h 146"/>
              <a:gd name="T32" fmla="*/ 120 w 146"/>
              <a:gd name="T33" fmla="*/ 60 h 146"/>
              <a:gd name="T34" fmla="*/ 110 w 146"/>
              <a:gd name="T35" fmla="*/ 50 h 146"/>
              <a:gd name="T36" fmla="*/ 106 w 146"/>
              <a:gd name="T37" fmla="*/ 48 h 146"/>
              <a:gd name="T38" fmla="*/ 102 w 146"/>
              <a:gd name="T39" fmla="*/ 50 h 146"/>
              <a:gd name="T40" fmla="*/ 73 w 146"/>
              <a:gd name="T41" fmla="*/ 79 h 146"/>
              <a:gd name="T42" fmla="*/ 44 w 146"/>
              <a:gd name="T43" fmla="*/ 50 h 146"/>
              <a:gd name="T44" fmla="*/ 40 w 146"/>
              <a:gd name="T45" fmla="*/ 48 h 146"/>
              <a:gd name="T46" fmla="*/ 35 w 146"/>
              <a:gd name="T47" fmla="*/ 50 h 146"/>
              <a:gd name="T48" fmla="*/ 26 w 146"/>
              <a:gd name="T49" fmla="*/ 60 h 146"/>
              <a:gd name="T50" fmla="*/ 24 w 146"/>
              <a:gd name="T51" fmla="*/ 64 h 146"/>
              <a:gd name="T52" fmla="*/ 26 w 146"/>
              <a:gd name="T53" fmla="*/ 68 h 146"/>
              <a:gd name="T54" fmla="*/ 69 w 146"/>
              <a:gd name="T55" fmla="*/ 111 h 146"/>
              <a:gd name="T56" fmla="*/ 73 w 146"/>
              <a:gd name="T57" fmla="*/ 113 h 146"/>
              <a:gd name="T58" fmla="*/ 77 w 146"/>
              <a:gd name="T59" fmla="*/ 1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0"/>
                  <a:pt x="121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7" y="136"/>
                </a:cubicBezTo>
                <a:cubicBezTo>
                  <a:pt x="25" y="129"/>
                  <a:pt x="17" y="120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7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1" y="17"/>
                  <a:pt x="129" y="25"/>
                  <a:pt x="136" y="36"/>
                </a:cubicBezTo>
                <a:close/>
                <a:moveTo>
                  <a:pt x="77" y="111"/>
                </a:moveTo>
                <a:cubicBezTo>
                  <a:pt x="120" y="68"/>
                  <a:pt x="120" y="68"/>
                  <a:pt x="120" y="68"/>
                </a:cubicBezTo>
                <a:cubicBezTo>
                  <a:pt x="121" y="67"/>
                  <a:pt x="122" y="65"/>
                  <a:pt x="122" y="64"/>
                </a:cubicBezTo>
                <a:cubicBezTo>
                  <a:pt x="122" y="62"/>
                  <a:pt x="121" y="61"/>
                  <a:pt x="120" y="60"/>
                </a:cubicBezTo>
                <a:cubicBezTo>
                  <a:pt x="110" y="50"/>
                  <a:pt x="110" y="50"/>
                  <a:pt x="110" y="50"/>
                </a:cubicBezTo>
                <a:cubicBezTo>
                  <a:pt x="109" y="49"/>
                  <a:pt x="108" y="48"/>
                  <a:pt x="106" y="48"/>
                </a:cubicBezTo>
                <a:cubicBezTo>
                  <a:pt x="105" y="48"/>
                  <a:pt x="103" y="49"/>
                  <a:pt x="102" y="50"/>
                </a:cubicBezTo>
                <a:cubicBezTo>
                  <a:pt x="73" y="79"/>
                  <a:pt x="73" y="79"/>
                  <a:pt x="73" y="79"/>
                </a:cubicBezTo>
                <a:cubicBezTo>
                  <a:pt x="44" y="50"/>
                  <a:pt x="44" y="50"/>
                  <a:pt x="44" y="50"/>
                </a:cubicBezTo>
                <a:cubicBezTo>
                  <a:pt x="43" y="49"/>
                  <a:pt x="41" y="48"/>
                  <a:pt x="40" y="48"/>
                </a:cubicBezTo>
                <a:cubicBezTo>
                  <a:pt x="38" y="48"/>
                  <a:pt x="37" y="49"/>
                  <a:pt x="35" y="50"/>
                </a:cubicBezTo>
                <a:cubicBezTo>
                  <a:pt x="26" y="60"/>
                  <a:pt x="26" y="60"/>
                  <a:pt x="26" y="60"/>
                </a:cubicBezTo>
                <a:cubicBezTo>
                  <a:pt x="25" y="61"/>
                  <a:pt x="24" y="62"/>
                  <a:pt x="24" y="64"/>
                </a:cubicBezTo>
                <a:cubicBezTo>
                  <a:pt x="24" y="65"/>
                  <a:pt x="25" y="67"/>
                  <a:pt x="26" y="68"/>
                </a:cubicBezTo>
                <a:cubicBezTo>
                  <a:pt x="69" y="111"/>
                  <a:pt x="69" y="111"/>
                  <a:pt x="69" y="111"/>
                </a:cubicBezTo>
                <a:cubicBezTo>
                  <a:pt x="70" y="112"/>
                  <a:pt x="71" y="113"/>
                  <a:pt x="73" y="113"/>
                </a:cubicBezTo>
                <a:cubicBezTo>
                  <a:pt x="75" y="113"/>
                  <a:pt x="76" y="112"/>
                  <a:pt x="77" y="1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6" name="Freeform 287"/>
          <p:cNvSpPr>
            <a:spLocks noChangeAspect="1" noEditPoints="1"/>
          </p:cNvSpPr>
          <p:nvPr/>
        </p:nvSpPr>
        <p:spPr bwMode="auto">
          <a:xfrm>
            <a:off x="2294042" y="3724195"/>
            <a:ext cx="137395" cy="157692"/>
          </a:xfrm>
          <a:custGeom>
            <a:avLst/>
            <a:gdLst>
              <a:gd name="T0" fmla="*/ 0 w 88"/>
              <a:gd name="T1" fmla="*/ 0 h 101"/>
              <a:gd name="T2" fmla="*/ 88 w 88"/>
              <a:gd name="T3" fmla="*/ 0 h 101"/>
              <a:gd name="T4" fmla="*/ 80 w 88"/>
              <a:gd name="T5" fmla="*/ 90 h 101"/>
              <a:gd name="T6" fmla="*/ 44 w 88"/>
              <a:gd name="T7" fmla="*/ 101 h 101"/>
              <a:gd name="T8" fmla="*/ 8 w 88"/>
              <a:gd name="T9" fmla="*/ 90 h 101"/>
              <a:gd name="T10" fmla="*/ 0 w 88"/>
              <a:gd name="T11" fmla="*/ 0 h 101"/>
              <a:gd name="T12" fmla="*/ 71 w 88"/>
              <a:gd name="T13" fmla="*/ 30 h 101"/>
              <a:gd name="T14" fmla="*/ 71 w 88"/>
              <a:gd name="T15" fmla="*/ 19 h 101"/>
              <a:gd name="T16" fmla="*/ 16 w 88"/>
              <a:gd name="T17" fmla="*/ 19 h 101"/>
              <a:gd name="T18" fmla="*/ 19 w 88"/>
              <a:gd name="T19" fmla="*/ 52 h 101"/>
              <a:gd name="T20" fmla="*/ 57 w 88"/>
              <a:gd name="T21" fmla="*/ 52 h 101"/>
              <a:gd name="T22" fmla="*/ 56 w 88"/>
              <a:gd name="T23" fmla="*/ 66 h 101"/>
              <a:gd name="T24" fmla="*/ 44 w 88"/>
              <a:gd name="T25" fmla="*/ 70 h 101"/>
              <a:gd name="T26" fmla="*/ 32 w 88"/>
              <a:gd name="T27" fmla="*/ 66 h 101"/>
              <a:gd name="T28" fmla="*/ 30 w 88"/>
              <a:gd name="T29" fmla="*/ 58 h 101"/>
              <a:gd name="T30" fmla="*/ 20 w 88"/>
              <a:gd name="T31" fmla="*/ 58 h 101"/>
              <a:gd name="T32" fmla="*/ 21 w 88"/>
              <a:gd name="T33" fmla="*/ 75 h 101"/>
              <a:gd name="T34" fmla="*/ 44 w 88"/>
              <a:gd name="T35" fmla="*/ 82 h 101"/>
              <a:gd name="T36" fmla="*/ 44 w 88"/>
              <a:gd name="T37" fmla="*/ 82 h 101"/>
              <a:gd name="T38" fmla="*/ 44 w 88"/>
              <a:gd name="T39" fmla="*/ 82 h 101"/>
              <a:gd name="T40" fmla="*/ 66 w 88"/>
              <a:gd name="T41" fmla="*/ 75 h 101"/>
              <a:gd name="T42" fmla="*/ 69 w 88"/>
              <a:gd name="T43" fmla="*/ 41 h 101"/>
              <a:gd name="T44" fmla="*/ 29 w 88"/>
              <a:gd name="T45" fmla="*/ 41 h 101"/>
              <a:gd name="T46" fmla="*/ 28 w 88"/>
              <a:gd name="T47" fmla="*/ 30 h 101"/>
              <a:gd name="T48" fmla="*/ 71 w 88"/>
              <a:gd name="T49" fmla="*/ 3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8" h="101">
                <a:moveTo>
                  <a:pt x="0" y="0"/>
                </a:moveTo>
                <a:lnTo>
                  <a:pt x="88" y="0"/>
                </a:lnTo>
                <a:lnTo>
                  <a:pt x="80" y="90"/>
                </a:lnTo>
                <a:lnTo>
                  <a:pt x="44" y="101"/>
                </a:lnTo>
                <a:lnTo>
                  <a:pt x="8" y="90"/>
                </a:lnTo>
                <a:lnTo>
                  <a:pt x="0" y="0"/>
                </a:lnTo>
                <a:close/>
                <a:moveTo>
                  <a:pt x="71" y="30"/>
                </a:moveTo>
                <a:lnTo>
                  <a:pt x="71" y="19"/>
                </a:lnTo>
                <a:lnTo>
                  <a:pt x="16" y="19"/>
                </a:lnTo>
                <a:lnTo>
                  <a:pt x="19" y="52"/>
                </a:lnTo>
                <a:lnTo>
                  <a:pt x="57" y="52"/>
                </a:lnTo>
                <a:lnTo>
                  <a:pt x="56" y="66"/>
                </a:lnTo>
                <a:lnTo>
                  <a:pt x="44" y="70"/>
                </a:lnTo>
                <a:lnTo>
                  <a:pt x="32" y="66"/>
                </a:lnTo>
                <a:lnTo>
                  <a:pt x="30" y="58"/>
                </a:lnTo>
                <a:lnTo>
                  <a:pt x="20" y="58"/>
                </a:lnTo>
                <a:lnTo>
                  <a:pt x="21" y="75"/>
                </a:lnTo>
                <a:lnTo>
                  <a:pt x="44" y="82"/>
                </a:lnTo>
                <a:lnTo>
                  <a:pt x="44" y="82"/>
                </a:lnTo>
                <a:lnTo>
                  <a:pt x="44" y="82"/>
                </a:lnTo>
                <a:lnTo>
                  <a:pt x="66" y="75"/>
                </a:lnTo>
                <a:lnTo>
                  <a:pt x="69" y="41"/>
                </a:lnTo>
                <a:lnTo>
                  <a:pt x="29" y="41"/>
                </a:lnTo>
                <a:lnTo>
                  <a:pt x="28" y="30"/>
                </a:lnTo>
                <a:lnTo>
                  <a:pt x="71" y="3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7" name="Freeform 288"/>
          <p:cNvSpPr>
            <a:spLocks noChangeAspect="1"/>
          </p:cNvSpPr>
          <p:nvPr/>
        </p:nvSpPr>
        <p:spPr bwMode="auto">
          <a:xfrm>
            <a:off x="2476714" y="3724195"/>
            <a:ext cx="173306" cy="157692"/>
          </a:xfrm>
          <a:custGeom>
            <a:avLst/>
            <a:gdLst>
              <a:gd name="T0" fmla="*/ 17 w 111"/>
              <a:gd name="T1" fmla="*/ 0 h 101"/>
              <a:gd name="T2" fmla="*/ 111 w 111"/>
              <a:gd name="T3" fmla="*/ 0 h 101"/>
              <a:gd name="T4" fmla="*/ 94 w 111"/>
              <a:gd name="T5" fmla="*/ 84 h 101"/>
              <a:gd name="T6" fmla="*/ 44 w 111"/>
              <a:gd name="T7" fmla="*/ 101 h 101"/>
              <a:gd name="T8" fmla="*/ 0 w 111"/>
              <a:gd name="T9" fmla="*/ 84 h 101"/>
              <a:gd name="T10" fmla="*/ 5 w 111"/>
              <a:gd name="T11" fmla="*/ 62 h 101"/>
              <a:gd name="T12" fmla="*/ 23 w 111"/>
              <a:gd name="T13" fmla="*/ 62 h 101"/>
              <a:gd name="T14" fmla="*/ 21 w 111"/>
              <a:gd name="T15" fmla="*/ 71 h 101"/>
              <a:gd name="T16" fmla="*/ 48 w 111"/>
              <a:gd name="T17" fmla="*/ 81 h 101"/>
              <a:gd name="T18" fmla="*/ 78 w 111"/>
              <a:gd name="T19" fmla="*/ 71 h 101"/>
              <a:gd name="T20" fmla="*/ 82 w 111"/>
              <a:gd name="T21" fmla="*/ 50 h 101"/>
              <a:gd name="T22" fmla="*/ 7 w 111"/>
              <a:gd name="T23" fmla="*/ 50 h 101"/>
              <a:gd name="T24" fmla="*/ 11 w 111"/>
              <a:gd name="T25" fmla="*/ 31 h 101"/>
              <a:gd name="T26" fmla="*/ 86 w 111"/>
              <a:gd name="T27" fmla="*/ 31 h 101"/>
              <a:gd name="T28" fmla="*/ 89 w 111"/>
              <a:gd name="T29" fmla="*/ 19 h 101"/>
              <a:gd name="T30" fmla="*/ 13 w 111"/>
              <a:gd name="T31" fmla="*/ 19 h 101"/>
              <a:gd name="T32" fmla="*/ 17 w 111"/>
              <a:gd name="T33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1" h="101">
                <a:moveTo>
                  <a:pt x="17" y="0"/>
                </a:moveTo>
                <a:lnTo>
                  <a:pt x="111" y="0"/>
                </a:lnTo>
                <a:lnTo>
                  <a:pt x="94" y="84"/>
                </a:lnTo>
                <a:lnTo>
                  <a:pt x="44" y="101"/>
                </a:lnTo>
                <a:lnTo>
                  <a:pt x="0" y="84"/>
                </a:lnTo>
                <a:lnTo>
                  <a:pt x="5" y="62"/>
                </a:lnTo>
                <a:lnTo>
                  <a:pt x="23" y="62"/>
                </a:lnTo>
                <a:lnTo>
                  <a:pt x="21" y="71"/>
                </a:lnTo>
                <a:lnTo>
                  <a:pt x="48" y="81"/>
                </a:lnTo>
                <a:lnTo>
                  <a:pt x="78" y="71"/>
                </a:lnTo>
                <a:lnTo>
                  <a:pt x="82" y="50"/>
                </a:lnTo>
                <a:lnTo>
                  <a:pt x="7" y="50"/>
                </a:lnTo>
                <a:lnTo>
                  <a:pt x="11" y="31"/>
                </a:lnTo>
                <a:lnTo>
                  <a:pt x="86" y="31"/>
                </a:lnTo>
                <a:lnTo>
                  <a:pt x="89" y="19"/>
                </a:lnTo>
                <a:lnTo>
                  <a:pt x="13" y="19"/>
                </a:lnTo>
                <a:lnTo>
                  <a:pt x="1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8" name="Freeform 289"/>
          <p:cNvSpPr>
            <a:spLocks noChangeAspect="1" noEditPoints="1"/>
          </p:cNvSpPr>
          <p:nvPr/>
        </p:nvSpPr>
        <p:spPr bwMode="auto">
          <a:xfrm>
            <a:off x="2695297" y="3711705"/>
            <a:ext cx="176428" cy="174866"/>
          </a:xfrm>
          <a:custGeom>
            <a:avLst/>
            <a:gdLst>
              <a:gd name="T0" fmla="*/ 170 w 170"/>
              <a:gd name="T1" fmla="*/ 145 h 168"/>
              <a:gd name="T2" fmla="*/ 167 w 170"/>
              <a:gd name="T3" fmla="*/ 148 h 168"/>
              <a:gd name="T4" fmla="*/ 156 w 170"/>
              <a:gd name="T5" fmla="*/ 139 h 168"/>
              <a:gd name="T6" fmla="*/ 85 w 170"/>
              <a:gd name="T7" fmla="*/ 168 h 168"/>
              <a:gd name="T8" fmla="*/ 14 w 170"/>
              <a:gd name="T9" fmla="*/ 139 h 168"/>
              <a:gd name="T10" fmla="*/ 3 w 170"/>
              <a:gd name="T11" fmla="*/ 148 h 168"/>
              <a:gd name="T12" fmla="*/ 0 w 170"/>
              <a:gd name="T13" fmla="*/ 145 h 168"/>
              <a:gd name="T14" fmla="*/ 1 w 170"/>
              <a:gd name="T15" fmla="*/ 110 h 168"/>
              <a:gd name="T16" fmla="*/ 37 w 170"/>
              <a:gd name="T17" fmla="*/ 109 h 168"/>
              <a:gd name="T18" fmla="*/ 39 w 170"/>
              <a:gd name="T19" fmla="*/ 114 h 168"/>
              <a:gd name="T20" fmla="*/ 47 w 170"/>
              <a:gd name="T21" fmla="*/ 138 h 168"/>
              <a:gd name="T22" fmla="*/ 73 w 170"/>
              <a:gd name="T23" fmla="*/ 85 h 168"/>
              <a:gd name="T24" fmla="*/ 51 w 170"/>
              <a:gd name="T25" fmla="*/ 83 h 168"/>
              <a:gd name="T26" fmla="*/ 49 w 170"/>
              <a:gd name="T27" fmla="*/ 67 h 168"/>
              <a:gd name="T28" fmla="*/ 55 w 170"/>
              <a:gd name="T29" fmla="*/ 61 h 168"/>
              <a:gd name="T30" fmla="*/ 73 w 170"/>
              <a:gd name="T31" fmla="*/ 45 h 168"/>
              <a:gd name="T32" fmla="*/ 61 w 170"/>
              <a:gd name="T33" fmla="*/ 24 h 168"/>
              <a:gd name="T34" fmla="*/ 85 w 170"/>
              <a:gd name="T35" fmla="*/ 0 h 168"/>
              <a:gd name="T36" fmla="*/ 109 w 170"/>
              <a:gd name="T37" fmla="*/ 24 h 168"/>
              <a:gd name="T38" fmla="*/ 97 w 170"/>
              <a:gd name="T39" fmla="*/ 45 h 168"/>
              <a:gd name="T40" fmla="*/ 115 w 170"/>
              <a:gd name="T41" fmla="*/ 61 h 168"/>
              <a:gd name="T42" fmla="*/ 121 w 170"/>
              <a:gd name="T43" fmla="*/ 67 h 168"/>
              <a:gd name="T44" fmla="*/ 120 w 170"/>
              <a:gd name="T45" fmla="*/ 83 h 168"/>
              <a:gd name="T46" fmla="*/ 97 w 170"/>
              <a:gd name="T47" fmla="*/ 85 h 168"/>
              <a:gd name="T48" fmla="*/ 123 w 170"/>
              <a:gd name="T49" fmla="*/ 138 h 168"/>
              <a:gd name="T50" fmla="*/ 131 w 170"/>
              <a:gd name="T51" fmla="*/ 114 h 168"/>
              <a:gd name="T52" fmla="*/ 134 w 170"/>
              <a:gd name="T53" fmla="*/ 109 h 168"/>
              <a:gd name="T54" fmla="*/ 169 w 170"/>
              <a:gd name="T55" fmla="*/ 110 h 168"/>
              <a:gd name="T56" fmla="*/ 89 w 170"/>
              <a:gd name="T57" fmla="*/ 29 h 168"/>
              <a:gd name="T58" fmla="*/ 89 w 170"/>
              <a:gd name="T59" fmla="*/ 20 h 168"/>
              <a:gd name="T60" fmla="*/ 81 w 170"/>
              <a:gd name="T61" fmla="*/ 20 h 168"/>
              <a:gd name="T62" fmla="*/ 81 w 170"/>
              <a:gd name="T63" fmla="*/ 29 h 168"/>
              <a:gd name="T64" fmla="*/ 89 w 170"/>
              <a:gd name="T65" fmla="*/ 29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0" h="168">
                <a:moveTo>
                  <a:pt x="170" y="112"/>
                </a:moveTo>
                <a:cubicBezTo>
                  <a:pt x="170" y="145"/>
                  <a:pt x="170" y="145"/>
                  <a:pt x="170" y="145"/>
                </a:cubicBezTo>
                <a:cubicBezTo>
                  <a:pt x="170" y="147"/>
                  <a:pt x="169" y="148"/>
                  <a:pt x="168" y="148"/>
                </a:cubicBezTo>
                <a:cubicBezTo>
                  <a:pt x="167" y="148"/>
                  <a:pt x="167" y="148"/>
                  <a:pt x="167" y="148"/>
                </a:cubicBezTo>
                <a:cubicBezTo>
                  <a:pt x="166" y="148"/>
                  <a:pt x="165" y="148"/>
                  <a:pt x="165" y="148"/>
                </a:cubicBezTo>
                <a:cubicBezTo>
                  <a:pt x="156" y="139"/>
                  <a:pt x="156" y="139"/>
                  <a:pt x="156" y="139"/>
                </a:cubicBezTo>
                <a:cubicBezTo>
                  <a:pt x="148" y="148"/>
                  <a:pt x="138" y="155"/>
                  <a:pt x="126" y="160"/>
                </a:cubicBezTo>
                <a:cubicBezTo>
                  <a:pt x="113" y="165"/>
                  <a:pt x="100" y="168"/>
                  <a:pt x="85" y="168"/>
                </a:cubicBezTo>
                <a:cubicBezTo>
                  <a:pt x="71" y="168"/>
                  <a:pt x="57" y="165"/>
                  <a:pt x="44" y="160"/>
                </a:cubicBezTo>
                <a:cubicBezTo>
                  <a:pt x="32" y="155"/>
                  <a:pt x="22" y="148"/>
                  <a:pt x="14" y="139"/>
                </a:cubicBezTo>
                <a:cubicBezTo>
                  <a:pt x="6" y="148"/>
                  <a:pt x="6" y="148"/>
                  <a:pt x="6" y="148"/>
                </a:cubicBezTo>
                <a:cubicBezTo>
                  <a:pt x="5" y="148"/>
                  <a:pt x="4" y="148"/>
                  <a:pt x="3" y="148"/>
                </a:cubicBezTo>
                <a:cubicBezTo>
                  <a:pt x="3" y="148"/>
                  <a:pt x="3" y="148"/>
                  <a:pt x="2" y="148"/>
                </a:cubicBezTo>
                <a:cubicBezTo>
                  <a:pt x="1" y="148"/>
                  <a:pt x="0" y="147"/>
                  <a:pt x="0" y="145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1" y="111"/>
                  <a:pt x="1" y="110"/>
                </a:cubicBezTo>
                <a:cubicBezTo>
                  <a:pt x="2" y="109"/>
                  <a:pt x="3" y="109"/>
                  <a:pt x="3" y="109"/>
                </a:cubicBezTo>
                <a:cubicBezTo>
                  <a:pt x="37" y="109"/>
                  <a:pt x="37" y="109"/>
                  <a:pt x="37" y="109"/>
                </a:cubicBezTo>
                <a:cubicBezTo>
                  <a:pt x="38" y="109"/>
                  <a:pt x="39" y="110"/>
                  <a:pt x="40" y="111"/>
                </a:cubicBezTo>
                <a:cubicBezTo>
                  <a:pt x="40" y="112"/>
                  <a:pt x="40" y="113"/>
                  <a:pt x="39" y="114"/>
                </a:cubicBezTo>
                <a:cubicBezTo>
                  <a:pt x="29" y="124"/>
                  <a:pt x="29" y="124"/>
                  <a:pt x="29" y="124"/>
                </a:cubicBezTo>
                <a:cubicBezTo>
                  <a:pt x="34" y="130"/>
                  <a:pt x="40" y="134"/>
                  <a:pt x="47" y="138"/>
                </a:cubicBezTo>
                <a:cubicBezTo>
                  <a:pt x="55" y="142"/>
                  <a:pt x="64" y="145"/>
                  <a:pt x="73" y="146"/>
                </a:cubicBezTo>
                <a:cubicBezTo>
                  <a:pt x="73" y="85"/>
                  <a:pt x="73" y="85"/>
                  <a:pt x="73" y="85"/>
                </a:cubicBezTo>
                <a:cubicBezTo>
                  <a:pt x="55" y="85"/>
                  <a:pt x="55" y="85"/>
                  <a:pt x="55" y="85"/>
                </a:cubicBezTo>
                <a:cubicBezTo>
                  <a:pt x="53" y="85"/>
                  <a:pt x="52" y="84"/>
                  <a:pt x="51" y="83"/>
                </a:cubicBezTo>
                <a:cubicBezTo>
                  <a:pt x="49" y="82"/>
                  <a:pt x="49" y="81"/>
                  <a:pt x="49" y="79"/>
                </a:cubicBezTo>
                <a:cubicBezTo>
                  <a:pt x="49" y="67"/>
                  <a:pt x="49" y="67"/>
                  <a:pt x="49" y="67"/>
                </a:cubicBezTo>
                <a:cubicBezTo>
                  <a:pt x="49" y="65"/>
                  <a:pt x="49" y="64"/>
                  <a:pt x="51" y="63"/>
                </a:cubicBezTo>
                <a:cubicBezTo>
                  <a:pt x="52" y="61"/>
                  <a:pt x="53" y="61"/>
                  <a:pt x="55" y="61"/>
                </a:cubicBezTo>
                <a:cubicBezTo>
                  <a:pt x="73" y="61"/>
                  <a:pt x="73" y="61"/>
                  <a:pt x="73" y="61"/>
                </a:cubicBezTo>
                <a:cubicBezTo>
                  <a:pt x="73" y="45"/>
                  <a:pt x="73" y="45"/>
                  <a:pt x="73" y="45"/>
                </a:cubicBezTo>
                <a:cubicBezTo>
                  <a:pt x="69" y="43"/>
                  <a:pt x="66" y="40"/>
                  <a:pt x="64" y="37"/>
                </a:cubicBezTo>
                <a:cubicBezTo>
                  <a:pt x="62" y="33"/>
                  <a:pt x="61" y="29"/>
                  <a:pt x="61" y="24"/>
                </a:cubicBezTo>
                <a:cubicBezTo>
                  <a:pt x="61" y="18"/>
                  <a:pt x="63" y="12"/>
                  <a:pt x="68" y="7"/>
                </a:cubicBezTo>
                <a:cubicBezTo>
                  <a:pt x="73" y="3"/>
                  <a:pt x="78" y="0"/>
                  <a:pt x="85" y="0"/>
                </a:cubicBezTo>
                <a:cubicBezTo>
                  <a:pt x="92" y="0"/>
                  <a:pt x="97" y="3"/>
                  <a:pt x="102" y="7"/>
                </a:cubicBezTo>
                <a:cubicBezTo>
                  <a:pt x="107" y="12"/>
                  <a:pt x="109" y="18"/>
                  <a:pt x="109" y="24"/>
                </a:cubicBezTo>
                <a:cubicBezTo>
                  <a:pt x="109" y="29"/>
                  <a:pt x="108" y="33"/>
                  <a:pt x="106" y="37"/>
                </a:cubicBezTo>
                <a:cubicBezTo>
                  <a:pt x="104" y="40"/>
                  <a:pt x="101" y="43"/>
                  <a:pt x="97" y="45"/>
                </a:cubicBezTo>
                <a:cubicBezTo>
                  <a:pt x="97" y="61"/>
                  <a:pt x="97" y="61"/>
                  <a:pt x="97" y="61"/>
                </a:cubicBezTo>
                <a:cubicBezTo>
                  <a:pt x="115" y="61"/>
                  <a:pt x="115" y="61"/>
                  <a:pt x="115" y="61"/>
                </a:cubicBezTo>
                <a:cubicBezTo>
                  <a:pt x="117" y="61"/>
                  <a:pt x="118" y="61"/>
                  <a:pt x="120" y="63"/>
                </a:cubicBezTo>
                <a:cubicBezTo>
                  <a:pt x="121" y="64"/>
                  <a:pt x="121" y="65"/>
                  <a:pt x="121" y="67"/>
                </a:cubicBezTo>
                <a:cubicBezTo>
                  <a:pt x="121" y="79"/>
                  <a:pt x="121" y="79"/>
                  <a:pt x="121" y="79"/>
                </a:cubicBezTo>
                <a:cubicBezTo>
                  <a:pt x="121" y="81"/>
                  <a:pt x="121" y="82"/>
                  <a:pt x="120" y="83"/>
                </a:cubicBezTo>
                <a:cubicBezTo>
                  <a:pt x="118" y="84"/>
                  <a:pt x="117" y="85"/>
                  <a:pt x="115" y="85"/>
                </a:cubicBezTo>
                <a:cubicBezTo>
                  <a:pt x="97" y="85"/>
                  <a:pt x="97" y="85"/>
                  <a:pt x="97" y="85"/>
                </a:cubicBezTo>
                <a:cubicBezTo>
                  <a:pt x="97" y="146"/>
                  <a:pt x="97" y="146"/>
                  <a:pt x="97" y="146"/>
                </a:cubicBezTo>
                <a:cubicBezTo>
                  <a:pt x="107" y="145"/>
                  <a:pt x="115" y="142"/>
                  <a:pt x="123" y="138"/>
                </a:cubicBezTo>
                <a:cubicBezTo>
                  <a:pt x="131" y="134"/>
                  <a:pt x="137" y="130"/>
                  <a:pt x="141" y="124"/>
                </a:cubicBezTo>
                <a:cubicBezTo>
                  <a:pt x="131" y="114"/>
                  <a:pt x="131" y="114"/>
                  <a:pt x="131" y="114"/>
                </a:cubicBezTo>
                <a:cubicBezTo>
                  <a:pt x="130" y="113"/>
                  <a:pt x="130" y="112"/>
                  <a:pt x="131" y="111"/>
                </a:cubicBezTo>
                <a:cubicBezTo>
                  <a:pt x="131" y="110"/>
                  <a:pt x="132" y="109"/>
                  <a:pt x="134" y="109"/>
                </a:cubicBezTo>
                <a:cubicBezTo>
                  <a:pt x="167" y="109"/>
                  <a:pt x="167" y="109"/>
                  <a:pt x="167" y="109"/>
                </a:cubicBezTo>
                <a:cubicBezTo>
                  <a:pt x="168" y="109"/>
                  <a:pt x="168" y="109"/>
                  <a:pt x="169" y="110"/>
                </a:cubicBezTo>
                <a:cubicBezTo>
                  <a:pt x="170" y="111"/>
                  <a:pt x="170" y="111"/>
                  <a:pt x="170" y="112"/>
                </a:cubicBezTo>
                <a:close/>
                <a:moveTo>
                  <a:pt x="89" y="29"/>
                </a:moveTo>
                <a:cubicBezTo>
                  <a:pt x="91" y="27"/>
                  <a:pt x="91" y="26"/>
                  <a:pt x="91" y="24"/>
                </a:cubicBezTo>
                <a:cubicBezTo>
                  <a:pt x="91" y="23"/>
                  <a:pt x="91" y="21"/>
                  <a:pt x="89" y="20"/>
                </a:cubicBezTo>
                <a:cubicBezTo>
                  <a:pt x="88" y="19"/>
                  <a:pt x="87" y="18"/>
                  <a:pt x="85" y="18"/>
                </a:cubicBezTo>
                <a:cubicBezTo>
                  <a:pt x="83" y="18"/>
                  <a:pt x="82" y="19"/>
                  <a:pt x="81" y="20"/>
                </a:cubicBezTo>
                <a:cubicBezTo>
                  <a:pt x="80" y="21"/>
                  <a:pt x="79" y="23"/>
                  <a:pt x="79" y="24"/>
                </a:cubicBezTo>
                <a:cubicBezTo>
                  <a:pt x="79" y="26"/>
                  <a:pt x="80" y="27"/>
                  <a:pt x="81" y="29"/>
                </a:cubicBezTo>
                <a:cubicBezTo>
                  <a:pt x="82" y="30"/>
                  <a:pt x="83" y="30"/>
                  <a:pt x="85" y="30"/>
                </a:cubicBezTo>
                <a:cubicBezTo>
                  <a:pt x="87" y="30"/>
                  <a:pt x="88" y="30"/>
                  <a:pt x="89" y="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9" name="Freeform 290"/>
          <p:cNvSpPr>
            <a:spLocks noChangeAspect="1"/>
          </p:cNvSpPr>
          <p:nvPr/>
        </p:nvSpPr>
        <p:spPr bwMode="auto">
          <a:xfrm>
            <a:off x="2915442" y="3711705"/>
            <a:ext cx="113976" cy="149885"/>
          </a:xfrm>
          <a:custGeom>
            <a:avLst/>
            <a:gdLst>
              <a:gd name="T0" fmla="*/ 100 w 109"/>
              <a:gd name="T1" fmla="*/ 73 h 145"/>
              <a:gd name="T2" fmla="*/ 106 w 109"/>
              <a:gd name="T3" fmla="*/ 75 h 145"/>
              <a:gd name="T4" fmla="*/ 109 w 109"/>
              <a:gd name="T5" fmla="*/ 82 h 145"/>
              <a:gd name="T6" fmla="*/ 109 w 109"/>
              <a:gd name="T7" fmla="*/ 136 h 145"/>
              <a:gd name="T8" fmla="*/ 106 w 109"/>
              <a:gd name="T9" fmla="*/ 143 h 145"/>
              <a:gd name="T10" fmla="*/ 100 w 109"/>
              <a:gd name="T11" fmla="*/ 145 h 145"/>
              <a:gd name="T12" fmla="*/ 9 w 109"/>
              <a:gd name="T13" fmla="*/ 145 h 145"/>
              <a:gd name="T14" fmla="*/ 3 w 109"/>
              <a:gd name="T15" fmla="*/ 143 h 145"/>
              <a:gd name="T16" fmla="*/ 0 w 109"/>
              <a:gd name="T17" fmla="*/ 136 h 145"/>
              <a:gd name="T18" fmla="*/ 0 w 109"/>
              <a:gd name="T19" fmla="*/ 82 h 145"/>
              <a:gd name="T20" fmla="*/ 3 w 109"/>
              <a:gd name="T21" fmla="*/ 75 h 145"/>
              <a:gd name="T22" fmla="*/ 9 w 109"/>
              <a:gd name="T23" fmla="*/ 73 h 145"/>
              <a:gd name="T24" fmla="*/ 12 w 109"/>
              <a:gd name="T25" fmla="*/ 73 h 145"/>
              <a:gd name="T26" fmla="*/ 12 w 109"/>
              <a:gd name="T27" fmla="*/ 43 h 145"/>
              <a:gd name="T28" fmla="*/ 24 w 109"/>
              <a:gd name="T29" fmla="*/ 13 h 145"/>
              <a:gd name="T30" fmla="*/ 54 w 109"/>
              <a:gd name="T31" fmla="*/ 0 h 145"/>
              <a:gd name="T32" fmla="*/ 84 w 109"/>
              <a:gd name="T33" fmla="*/ 13 h 145"/>
              <a:gd name="T34" fmla="*/ 97 w 109"/>
              <a:gd name="T35" fmla="*/ 43 h 145"/>
              <a:gd name="T36" fmla="*/ 95 w 109"/>
              <a:gd name="T37" fmla="*/ 47 h 145"/>
              <a:gd name="T38" fmla="*/ 91 w 109"/>
              <a:gd name="T39" fmla="*/ 49 h 145"/>
              <a:gd name="T40" fmla="*/ 85 w 109"/>
              <a:gd name="T41" fmla="*/ 49 h 145"/>
              <a:gd name="T42" fmla="*/ 80 w 109"/>
              <a:gd name="T43" fmla="*/ 47 h 145"/>
              <a:gd name="T44" fmla="*/ 79 w 109"/>
              <a:gd name="T45" fmla="*/ 43 h 145"/>
              <a:gd name="T46" fmla="*/ 71 w 109"/>
              <a:gd name="T47" fmla="*/ 25 h 145"/>
              <a:gd name="T48" fmla="*/ 54 w 109"/>
              <a:gd name="T49" fmla="*/ 18 h 145"/>
              <a:gd name="T50" fmla="*/ 37 w 109"/>
              <a:gd name="T51" fmla="*/ 25 h 145"/>
              <a:gd name="T52" fmla="*/ 30 w 109"/>
              <a:gd name="T53" fmla="*/ 43 h 145"/>
              <a:gd name="T54" fmla="*/ 30 w 109"/>
              <a:gd name="T55" fmla="*/ 73 h 145"/>
              <a:gd name="T56" fmla="*/ 100 w 109"/>
              <a:gd name="T57" fmla="*/ 73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145">
                <a:moveTo>
                  <a:pt x="100" y="73"/>
                </a:moveTo>
                <a:cubicBezTo>
                  <a:pt x="102" y="73"/>
                  <a:pt x="104" y="74"/>
                  <a:pt x="106" y="75"/>
                </a:cubicBezTo>
                <a:cubicBezTo>
                  <a:pt x="108" y="77"/>
                  <a:pt x="109" y="79"/>
                  <a:pt x="109" y="82"/>
                </a:cubicBezTo>
                <a:cubicBezTo>
                  <a:pt x="109" y="136"/>
                  <a:pt x="109" y="136"/>
                  <a:pt x="109" y="136"/>
                </a:cubicBezTo>
                <a:cubicBezTo>
                  <a:pt x="109" y="139"/>
                  <a:pt x="108" y="141"/>
                  <a:pt x="106" y="143"/>
                </a:cubicBezTo>
                <a:cubicBezTo>
                  <a:pt x="104" y="145"/>
                  <a:pt x="102" y="145"/>
                  <a:pt x="100" y="145"/>
                </a:cubicBezTo>
                <a:cubicBezTo>
                  <a:pt x="9" y="145"/>
                  <a:pt x="9" y="145"/>
                  <a:pt x="9" y="145"/>
                </a:cubicBezTo>
                <a:cubicBezTo>
                  <a:pt x="6" y="145"/>
                  <a:pt x="4" y="145"/>
                  <a:pt x="3" y="143"/>
                </a:cubicBezTo>
                <a:cubicBezTo>
                  <a:pt x="1" y="141"/>
                  <a:pt x="0" y="139"/>
                  <a:pt x="0" y="136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79"/>
                  <a:pt x="1" y="77"/>
                  <a:pt x="3" y="75"/>
                </a:cubicBezTo>
                <a:cubicBezTo>
                  <a:pt x="4" y="74"/>
                  <a:pt x="6" y="73"/>
                  <a:pt x="9" y="73"/>
                </a:cubicBezTo>
                <a:cubicBezTo>
                  <a:pt x="12" y="73"/>
                  <a:pt x="12" y="73"/>
                  <a:pt x="12" y="73"/>
                </a:cubicBezTo>
                <a:cubicBezTo>
                  <a:pt x="12" y="43"/>
                  <a:pt x="12" y="43"/>
                  <a:pt x="12" y="43"/>
                </a:cubicBezTo>
                <a:cubicBezTo>
                  <a:pt x="12" y="31"/>
                  <a:pt x="16" y="21"/>
                  <a:pt x="24" y="13"/>
                </a:cubicBezTo>
                <a:cubicBezTo>
                  <a:pt x="33" y="4"/>
                  <a:pt x="43" y="0"/>
                  <a:pt x="54" y="0"/>
                </a:cubicBezTo>
                <a:cubicBezTo>
                  <a:pt x="66" y="0"/>
                  <a:pt x="76" y="4"/>
                  <a:pt x="84" y="13"/>
                </a:cubicBezTo>
                <a:cubicBezTo>
                  <a:pt x="93" y="21"/>
                  <a:pt x="97" y="31"/>
                  <a:pt x="97" y="43"/>
                </a:cubicBezTo>
                <a:cubicBezTo>
                  <a:pt x="97" y="44"/>
                  <a:pt x="96" y="46"/>
                  <a:pt x="95" y="47"/>
                </a:cubicBezTo>
                <a:cubicBezTo>
                  <a:pt x="94" y="48"/>
                  <a:pt x="92" y="49"/>
                  <a:pt x="91" y="49"/>
                </a:cubicBezTo>
                <a:cubicBezTo>
                  <a:pt x="85" y="49"/>
                  <a:pt x="85" y="49"/>
                  <a:pt x="85" y="49"/>
                </a:cubicBezTo>
                <a:cubicBezTo>
                  <a:pt x="83" y="49"/>
                  <a:pt x="82" y="48"/>
                  <a:pt x="80" y="47"/>
                </a:cubicBezTo>
                <a:cubicBezTo>
                  <a:pt x="79" y="46"/>
                  <a:pt x="79" y="44"/>
                  <a:pt x="79" y="43"/>
                </a:cubicBezTo>
                <a:cubicBezTo>
                  <a:pt x="79" y="36"/>
                  <a:pt x="76" y="30"/>
                  <a:pt x="71" y="25"/>
                </a:cubicBezTo>
                <a:cubicBezTo>
                  <a:pt x="67" y="21"/>
                  <a:pt x="61" y="18"/>
                  <a:pt x="54" y="18"/>
                </a:cubicBezTo>
                <a:cubicBezTo>
                  <a:pt x="48" y="18"/>
                  <a:pt x="42" y="21"/>
                  <a:pt x="37" y="25"/>
                </a:cubicBezTo>
                <a:cubicBezTo>
                  <a:pt x="33" y="30"/>
                  <a:pt x="30" y="36"/>
                  <a:pt x="30" y="43"/>
                </a:cubicBezTo>
                <a:cubicBezTo>
                  <a:pt x="30" y="73"/>
                  <a:pt x="30" y="73"/>
                  <a:pt x="30" y="73"/>
                </a:cubicBezTo>
                <a:lnTo>
                  <a:pt x="100" y="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0" name="Freeform 291"/>
          <p:cNvSpPr>
            <a:spLocks noChangeAspect="1" noEditPoints="1"/>
          </p:cNvSpPr>
          <p:nvPr/>
        </p:nvSpPr>
        <p:spPr bwMode="auto">
          <a:xfrm>
            <a:off x="3073133" y="3724195"/>
            <a:ext cx="149885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6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128 w 145"/>
              <a:gd name="T27" fmla="*/ 96 h 146"/>
              <a:gd name="T28" fmla="*/ 133 w 145"/>
              <a:gd name="T29" fmla="*/ 73 h 146"/>
              <a:gd name="T30" fmla="*/ 128 w 145"/>
              <a:gd name="T31" fmla="*/ 49 h 146"/>
              <a:gd name="T32" fmla="*/ 115 w 145"/>
              <a:gd name="T33" fmla="*/ 30 h 146"/>
              <a:gd name="T34" fmla="*/ 96 w 145"/>
              <a:gd name="T35" fmla="*/ 17 h 146"/>
              <a:gd name="T36" fmla="*/ 73 w 145"/>
              <a:gd name="T37" fmla="*/ 12 h 146"/>
              <a:gd name="T38" fmla="*/ 49 w 145"/>
              <a:gd name="T39" fmla="*/ 17 h 146"/>
              <a:gd name="T40" fmla="*/ 30 w 145"/>
              <a:gd name="T41" fmla="*/ 30 h 146"/>
              <a:gd name="T42" fmla="*/ 17 w 145"/>
              <a:gd name="T43" fmla="*/ 49 h 146"/>
              <a:gd name="T44" fmla="*/ 12 w 145"/>
              <a:gd name="T45" fmla="*/ 73 h 146"/>
              <a:gd name="T46" fmla="*/ 17 w 145"/>
              <a:gd name="T47" fmla="*/ 96 h 146"/>
              <a:gd name="T48" fmla="*/ 30 w 145"/>
              <a:gd name="T49" fmla="*/ 116 h 146"/>
              <a:gd name="T50" fmla="*/ 49 w 145"/>
              <a:gd name="T51" fmla="*/ 129 h 146"/>
              <a:gd name="T52" fmla="*/ 73 w 145"/>
              <a:gd name="T53" fmla="*/ 133 h 146"/>
              <a:gd name="T54" fmla="*/ 96 w 145"/>
              <a:gd name="T55" fmla="*/ 129 h 146"/>
              <a:gd name="T56" fmla="*/ 115 w 145"/>
              <a:gd name="T57" fmla="*/ 116 h 146"/>
              <a:gd name="T58" fmla="*/ 128 w 145"/>
              <a:gd name="T59" fmla="*/ 96 h 146"/>
              <a:gd name="T60" fmla="*/ 107 w 145"/>
              <a:gd name="T61" fmla="*/ 39 h 146"/>
              <a:gd name="T62" fmla="*/ 121 w 145"/>
              <a:gd name="T63" fmla="*/ 73 h 146"/>
              <a:gd name="T64" fmla="*/ 107 w 145"/>
              <a:gd name="T65" fmla="*/ 107 h 146"/>
              <a:gd name="T66" fmla="*/ 73 w 145"/>
              <a:gd name="T67" fmla="*/ 121 h 146"/>
              <a:gd name="T68" fmla="*/ 38 w 145"/>
              <a:gd name="T69" fmla="*/ 107 h 146"/>
              <a:gd name="T70" fmla="*/ 24 w 145"/>
              <a:gd name="T71" fmla="*/ 73 h 146"/>
              <a:gd name="T72" fmla="*/ 38 w 145"/>
              <a:gd name="T73" fmla="*/ 39 h 146"/>
              <a:gd name="T74" fmla="*/ 73 w 145"/>
              <a:gd name="T75" fmla="*/ 25 h 146"/>
              <a:gd name="T76" fmla="*/ 107 w 145"/>
              <a:gd name="T77" fmla="*/ 39 h 146"/>
              <a:gd name="T78" fmla="*/ 98 w 145"/>
              <a:gd name="T79" fmla="*/ 99 h 146"/>
              <a:gd name="T80" fmla="*/ 109 w 145"/>
              <a:gd name="T81" fmla="*/ 73 h 146"/>
              <a:gd name="T82" fmla="*/ 98 w 145"/>
              <a:gd name="T83" fmla="*/ 47 h 146"/>
              <a:gd name="T84" fmla="*/ 73 w 145"/>
              <a:gd name="T85" fmla="*/ 37 h 146"/>
              <a:gd name="T86" fmla="*/ 47 w 145"/>
              <a:gd name="T87" fmla="*/ 47 h 146"/>
              <a:gd name="T88" fmla="*/ 36 w 145"/>
              <a:gd name="T89" fmla="*/ 73 h 146"/>
              <a:gd name="T90" fmla="*/ 47 w 145"/>
              <a:gd name="T91" fmla="*/ 99 h 146"/>
              <a:gd name="T92" fmla="*/ 73 w 145"/>
              <a:gd name="T93" fmla="*/ 109 h 146"/>
              <a:gd name="T94" fmla="*/ 98 w 145"/>
              <a:gd name="T95" fmla="*/ 99 h 146"/>
              <a:gd name="T96" fmla="*/ 90 w 145"/>
              <a:gd name="T97" fmla="*/ 56 h 146"/>
              <a:gd name="T98" fmla="*/ 97 w 145"/>
              <a:gd name="T99" fmla="*/ 73 h 146"/>
              <a:gd name="T100" fmla="*/ 90 w 145"/>
              <a:gd name="T101" fmla="*/ 90 h 146"/>
              <a:gd name="T102" fmla="*/ 73 w 145"/>
              <a:gd name="T103" fmla="*/ 97 h 146"/>
              <a:gd name="T104" fmla="*/ 55 w 145"/>
              <a:gd name="T105" fmla="*/ 90 h 146"/>
              <a:gd name="T106" fmla="*/ 48 w 145"/>
              <a:gd name="T107" fmla="*/ 73 h 146"/>
              <a:gd name="T108" fmla="*/ 55 w 145"/>
              <a:gd name="T109" fmla="*/ 56 h 146"/>
              <a:gd name="T110" fmla="*/ 73 w 145"/>
              <a:gd name="T111" fmla="*/ 49 h 146"/>
              <a:gd name="T112" fmla="*/ 90 w 145"/>
              <a:gd name="T113" fmla="*/ 5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6"/>
                </a:cubicBezTo>
                <a:close/>
                <a:moveTo>
                  <a:pt x="128" y="96"/>
                </a:moveTo>
                <a:cubicBezTo>
                  <a:pt x="131" y="89"/>
                  <a:pt x="133" y="81"/>
                  <a:pt x="133" y="73"/>
                </a:cubicBezTo>
                <a:cubicBezTo>
                  <a:pt x="133" y="65"/>
                  <a:pt x="131" y="57"/>
                  <a:pt x="128" y="49"/>
                </a:cubicBezTo>
                <a:cubicBezTo>
                  <a:pt x="125" y="42"/>
                  <a:pt x="121" y="36"/>
                  <a:pt x="115" y="30"/>
                </a:cubicBezTo>
                <a:cubicBezTo>
                  <a:pt x="110" y="25"/>
                  <a:pt x="104" y="20"/>
                  <a:pt x="96" y="17"/>
                </a:cubicBezTo>
                <a:cubicBezTo>
                  <a:pt x="89" y="14"/>
                  <a:pt x="81" y="12"/>
                  <a:pt x="73" y="12"/>
                </a:cubicBezTo>
                <a:cubicBezTo>
                  <a:pt x="64" y="12"/>
                  <a:pt x="57" y="14"/>
                  <a:pt x="49" y="17"/>
                </a:cubicBezTo>
                <a:cubicBezTo>
                  <a:pt x="42" y="20"/>
                  <a:pt x="35" y="25"/>
                  <a:pt x="30" y="30"/>
                </a:cubicBezTo>
                <a:cubicBezTo>
                  <a:pt x="24" y="36"/>
                  <a:pt x="20" y="42"/>
                  <a:pt x="17" y="49"/>
                </a:cubicBezTo>
                <a:cubicBezTo>
                  <a:pt x="14" y="57"/>
                  <a:pt x="12" y="65"/>
                  <a:pt x="12" y="73"/>
                </a:cubicBezTo>
                <a:cubicBezTo>
                  <a:pt x="12" y="81"/>
                  <a:pt x="14" y="89"/>
                  <a:pt x="17" y="96"/>
                </a:cubicBezTo>
                <a:cubicBezTo>
                  <a:pt x="20" y="104"/>
                  <a:pt x="24" y="110"/>
                  <a:pt x="30" y="116"/>
                </a:cubicBezTo>
                <a:cubicBezTo>
                  <a:pt x="35" y="121"/>
                  <a:pt x="42" y="125"/>
                  <a:pt x="49" y="129"/>
                </a:cubicBezTo>
                <a:cubicBezTo>
                  <a:pt x="57" y="132"/>
                  <a:pt x="64" y="133"/>
                  <a:pt x="73" y="133"/>
                </a:cubicBezTo>
                <a:cubicBezTo>
                  <a:pt x="81" y="133"/>
                  <a:pt x="89" y="132"/>
                  <a:pt x="96" y="129"/>
                </a:cubicBezTo>
                <a:cubicBezTo>
                  <a:pt x="104" y="125"/>
                  <a:pt x="110" y="121"/>
                  <a:pt x="115" y="116"/>
                </a:cubicBezTo>
                <a:cubicBezTo>
                  <a:pt x="121" y="110"/>
                  <a:pt x="125" y="104"/>
                  <a:pt x="128" y="96"/>
                </a:cubicBezTo>
                <a:close/>
                <a:moveTo>
                  <a:pt x="107" y="39"/>
                </a:moveTo>
                <a:cubicBezTo>
                  <a:pt x="116" y="48"/>
                  <a:pt x="121" y="60"/>
                  <a:pt x="121" y="73"/>
                </a:cubicBezTo>
                <a:cubicBezTo>
                  <a:pt x="121" y="86"/>
                  <a:pt x="116" y="98"/>
                  <a:pt x="107" y="107"/>
                </a:cubicBezTo>
                <a:cubicBezTo>
                  <a:pt x="97" y="117"/>
                  <a:pt x="86" y="121"/>
                  <a:pt x="73" y="121"/>
                </a:cubicBezTo>
                <a:cubicBezTo>
                  <a:pt x="59" y="121"/>
                  <a:pt x="48" y="117"/>
                  <a:pt x="38" y="107"/>
                </a:cubicBezTo>
                <a:cubicBezTo>
                  <a:pt x="29" y="98"/>
                  <a:pt x="24" y="86"/>
                  <a:pt x="24" y="73"/>
                </a:cubicBezTo>
                <a:cubicBezTo>
                  <a:pt x="24" y="60"/>
                  <a:pt x="29" y="48"/>
                  <a:pt x="38" y="39"/>
                </a:cubicBezTo>
                <a:cubicBezTo>
                  <a:pt x="48" y="29"/>
                  <a:pt x="59" y="25"/>
                  <a:pt x="73" y="25"/>
                </a:cubicBezTo>
                <a:cubicBezTo>
                  <a:pt x="86" y="25"/>
                  <a:pt x="97" y="29"/>
                  <a:pt x="107" y="39"/>
                </a:cubicBezTo>
                <a:close/>
                <a:moveTo>
                  <a:pt x="98" y="99"/>
                </a:moveTo>
                <a:cubicBezTo>
                  <a:pt x="105" y="91"/>
                  <a:pt x="109" y="83"/>
                  <a:pt x="109" y="73"/>
                </a:cubicBezTo>
                <a:cubicBezTo>
                  <a:pt x="109" y="63"/>
                  <a:pt x="105" y="54"/>
                  <a:pt x="98" y="47"/>
                </a:cubicBezTo>
                <a:cubicBezTo>
                  <a:pt x="91" y="40"/>
                  <a:pt x="83" y="37"/>
                  <a:pt x="73" y="37"/>
                </a:cubicBezTo>
                <a:cubicBezTo>
                  <a:pt x="63" y="37"/>
                  <a:pt x="54" y="40"/>
                  <a:pt x="47" y="47"/>
                </a:cubicBezTo>
                <a:cubicBezTo>
                  <a:pt x="40" y="54"/>
                  <a:pt x="36" y="63"/>
                  <a:pt x="36" y="73"/>
                </a:cubicBezTo>
                <a:cubicBezTo>
                  <a:pt x="36" y="83"/>
                  <a:pt x="40" y="91"/>
                  <a:pt x="47" y="99"/>
                </a:cubicBezTo>
                <a:cubicBezTo>
                  <a:pt x="54" y="106"/>
                  <a:pt x="63" y="109"/>
                  <a:pt x="73" y="109"/>
                </a:cubicBezTo>
                <a:cubicBezTo>
                  <a:pt x="83" y="109"/>
                  <a:pt x="91" y="106"/>
                  <a:pt x="98" y="99"/>
                </a:cubicBezTo>
                <a:close/>
                <a:moveTo>
                  <a:pt x="90" y="56"/>
                </a:moveTo>
                <a:cubicBezTo>
                  <a:pt x="94" y="61"/>
                  <a:pt x="97" y="66"/>
                  <a:pt x="97" y="73"/>
                </a:cubicBezTo>
                <a:cubicBezTo>
                  <a:pt x="97" y="80"/>
                  <a:pt x="94" y="85"/>
                  <a:pt x="90" y="90"/>
                </a:cubicBezTo>
                <a:cubicBezTo>
                  <a:pt x="85" y="95"/>
                  <a:pt x="79" y="97"/>
                  <a:pt x="73" y="97"/>
                </a:cubicBezTo>
                <a:cubicBezTo>
                  <a:pt x="66" y="97"/>
                  <a:pt x="60" y="95"/>
                  <a:pt x="55" y="90"/>
                </a:cubicBezTo>
                <a:cubicBezTo>
                  <a:pt x="51" y="85"/>
                  <a:pt x="48" y="80"/>
                  <a:pt x="48" y="73"/>
                </a:cubicBezTo>
                <a:cubicBezTo>
                  <a:pt x="48" y="66"/>
                  <a:pt x="51" y="61"/>
                  <a:pt x="55" y="56"/>
                </a:cubicBezTo>
                <a:cubicBezTo>
                  <a:pt x="60" y="51"/>
                  <a:pt x="66" y="49"/>
                  <a:pt x="73" y="49"/>
                </a:cubicBezTo>
                <a:cubicBezTo>
                  <a:pt x="79" y="49"/>
                  <a:pt x="85" y="51"/>
                  <a:pt x="90" y="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1" name="Freeform 292"/>
          <p:cNvSpPr>
            <a:spLocks noChangeAspect="1" noEditPoints="1"/>
          </p:cNvSpPr>
          <p:nvPr/>
        </p:nvSpPr>
        <p:spPr bwMode="auto">
          <a:xfrm>
            <a:off x="3268297" y="3775719"/>
            <a:ext cx="137395" cy="35911"/>
          </a:xfrm>
          <a:custGeom>
            <a:avLst/>
            <a:gdLst>
              <a:gd name="T0" fmla="*/ 37 w 133"/>
              <a:gd name="T1" fmla="*/ 9 h 36"/>
              <a:gd name="T2" fmla="*/ 37 w 133"/>
              <a:gd name="T3" fmla="*/ 27 h 36"/>
              <a:gd name="T4" fmla="*/ 34 w 133"/>
              <a:gd name="T5" fmla="*/ 33 h 36"/>
              <a:gd name="T6" fmla="*/ 27 w 133"/>
              <a:gd name="T7" fmla="*/ 36 h 36"/>
              <a:gd name="T8" fmla="*/ 9 w 133"/>
              <a:gd name="T9" fmla="*/ 36 h 36"/>
              <a:gd name="T10" fmla="*/ 3 w 133"/>
              <a:gd name="T11" fmla="*/ 33 h 36"/>
              <a:gd name="T12" fmla="*/ 0 w 133"/>
              <a:gd name="T13" fmla="*/ 27 h 36"/>
              <a:gd name="T14" fmla="*/ 0 w 133"/>
              <a:gd name="T15" fmla="*/ 9 h 36"/>
              <a:gd name="T16" fmla="*/ 3 w 133"/>
              <a:gd name="T17" fmla="*/ 2 h 36"/>
              <a:gd name="T18" fmla="*/ 9 w 133"/>
              <a:gd name="T19" fmla="*/ 0 h 36"/>
              <a:gd name="T20" fmla="*/ 27 w 133"/>
              <a:gd name="T21" fmla="*/ 0 h 36"/>
              <a:gd name="T22" fmla="*/ 34 w 133"/>
              <a:gd name="T23" fmla="*/ 2 h 36"/>
              <a:gd name="T24" fmla="*/ 37 w 133"/>
              <a:gd name="T25" fmla="*/ 9 h 36"/>
              <a:gd name="T26" fmla="*/ 85 w 133"/>
              <a:gd name="T27" fmla="*/ 9 h 36"/>
              <a:gd name="T28" fmla="*/ 85 w 133"/>
              <a:gd name="T29" fmla="*/ 27 h 36"/>
              <a:gd name="T30" fmla="*/ 82 w 133"/>
              <a:gd name="T31" fmla="*/ 33 h 36"/>
              <a:gd name="T32" fmla="*/ 76 w 133"/>
              <a:gd name="T33" fmla="*/ 36 h 36"/>
              <a:gd name="T34" fmla="*/ 58 w 133"/>
              <a:gd name="T35" fmla="*/ 36 h 36"/>
              <a:gd name="T36" fmla="*/ 51 w 133"/>
              <a:gd name="T37" fmla="*/ 33 h 36"/>
              <a:gd name="T38" fmla="*/ 49 w 133"/>
              <a:gd name="T39" fmla="*/ 27 h 36"/>
              <a:gd name="T40" fmla="*/ 49 w 133"/>
              <a:gd name="T41" fmla="*/ 9 h 36"/>
              <a:gd name="T42" fmla="*/ 51 w 133"/>
              <a:gd name="T43" fmla="*/ 2 h 36"/>
              <a:gd name="T44" fmla="*/ 58 w 133"/>
              <a:gd name="T45" fmla="*/ 0 h 36"/>
              <a:gd name="T46" fmla="*/ 76 w 133"/>
              <a:gd name="T47" fmla="*/ 0 h 36"/>
              <a:gd name="T48" fmla="*/ 82 w 133"/>
              <a:gd name="T49" fmla="*/ 2 h 36"/>
              <a:gd name="T50" fmla="*/ 85 w 133"/>
              <a:gd name="T51" fmla="*/ 9 h 36"/>
              <a:gd name="T52" fmla="*/ 133 w 133"/>
              <a:gd name="T53" fmla="*/ 9 h 36"/>
              <a:gd name="T54" fmla="*/ 133 w 133"/>
              <a:gd name="T55" fmla="*/ 27 h 36"/>
              <a:gd name="T56" fmla="*/ 131 w 133"/>
              <a:gd name="T57" fmla="*/ 33 h 36"/>
              <a:gd name="T58" fmla="*/ 124 w 133"/>
              <a:gd name="T59" fmla="*/ 36 h 36"/>
              <a:gd name="T60" fmla="*/ 106 w 133"/>
              <a:gd name="T61" fmla="*/ 36 h 36"/>
              <a:gd name="T62" fmla="*/ 100 w 133"/>
              <a:gd name="T63" fmla="*/ 33 h 36"/>
              <a:gd name="T64" fmla="*/ 97 w 133"/>
              <a:gd name="T65" fmla="*/ 27 h 36"/>
              <a:gd name="T66" fmla="*/ 97 w 133"/>
              <a:gd name="T67" fmla="*/ 9 h 36"/>
              <a:gd name="T68" fmla="*/ 100 w 133"/>
              <a:gd name="T69" fmla="*/ 2 h 36"/>
              <a:gd name="T70" fmla="*/ 106 w 133"/>
              <a:gd name="T71" fmla="*/ 0 h 36"/>
              <a:gd name="T72" fmla="*/ 124 w 133"/>
              <a:gd name="T73" fmla="*/ 0 h 36"/>
              <a:gd name="T74" fmla="*/ 131 w 133"/>
              <a:gd name="T75" fmla="*/ 2 h 36"/>
              <a:gd name="T76" fmla="*/ 133 w 133"/>
              <a:gd name="T77" fmla="*/ 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3" h="36">
                <a:moveTo>
                  <a:pt x="37" y="9"/>
                </a:moveTo>
                <a:cubicBezTo>
                  <a:pt x="37" y="27"/>
                  <a:pt x="37" y="27"/>
                  <a:pt x="37" y="27"/>
                </a:cubicBezTo>
                <a:cubicBezTo>
                  <a:pt x="37" y="29"/>
                  <a:pt x="36" y="32"/>
                  <a:pt x="34" y="33"/>
                </a:cubicBezTo>
                <a:cubicBezTo>
                  <a:pt x="32" y="35"/>
                  <a:pt x="30" y="36"/>
                  <a:pt x="27" y="36"/>
                </a:cubicBezTo>
                <a:cubicBezTo>
                  <a:pt x="9" y="36"/>
                  <a:pt x="9" y="36"/>
                  <a:pt x="9" y="36"/>
                </a:cubicBezTo>
                <a:cubicBezTo>
                  <a:pt x="7" y="36"/>
                  <a:pt x="5" y="35"/>
                  <a:pt x="3" y="33"/>
                </a:cubicBezTo>
                <a:cubicBezTo>
                  <a:pt x="1" y="32"/>
                  <a:pt x="0" y="29"/>
                  <a:pt x="0" y="27"/>
                </a:cubicBezTo>
                <a:cubicBezTo>
                  <a:pt x="0" y="9"/>
                  <a:pt x="0" y="9"/>
                  <a:pt x="0" y="9"/>
                </a:cubicBezTo>
                <a:cubicBezTo>
                  <a:pt x="0" y="6"/>
                  <a:pt x="1" y="4"/>
                  <a:pt x="3" y="2"/>
                </a:cubicBezTo>
                <a:cubicBezTo>
                  <a:pt x="5" y="1"/>
                  <a:pt x="7" y="0"/>
                  <a:pt x="9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30" y="0"/>
                  <a:pt x="32" y="1"/>
                  <a:pt x="34" y="2"/>
                </a:cubicBezTo>
                <a:cubicBezTo>
                  <a:pt x="36" y="4"/>
                  <a:pt x="37" y="6"/>
                  <a:pt x="37" y="9"/>
                </a:cubicBezTo>
                <a:close/>
                <a:moveTo>
                  <a:pt x="85" y="9"/>
                </a:moveTo>
                <a:cubicBezTo>
                  <a:pt x="85" y="27"/>
                  <a:pt x="85" y="27"/>
                  <a:pt x="85" y="27"/>
                </a:cubicBezTo>
                <a:cubicBezTo>
                  <a:pt x="85" y="29"/>
                  <a:pt x="84" y="32"/>
                  <a:pt x="82" y="33"/>
                </a:cubicBezTo>
                <a:cubicBezTo>
                  <a:pt x="81" y="35"/>
                  <a:pt x="78" y="36"/>
                  <a:pt x="76" y="36"/>
                </a:cubicBezTo>
                <a:cubicBezTo>
                  <a:pt x="58" y="36"/>
                  <a:pt x="58" y="36"/>
                  <a:pt x="58" y="36"/>
                </a:cubicBezTo>
                <a:cubicBezTo>
                  <a:pt x="55" y="36"/>
                  <a:pt x="53" y="35"/>
                  <a:pt x="51" y="33"/>
                </a:cubicBezTo>
                <a:cubicBezTo>
                  <a:pt x="50" y="32"/>
                  <a:pt x="49" y="29"/>
                  <a:pt x="49" y="27"/>
                </a:cubicBezTo>
                <a:cubicBezTo>
                  <a:pt x="49" y="9"/>
                  <a:pt x="49" y="9"/>
                  <a:pt x="49" y="9"/>
                </a:cubicBezTo>
                <a:cubicBezTo>
                  <a:pt x="49" y="6"/>
                  <a:pt x="50" y="4"/>
                  <a:pt x="51" y="2"/>
                </a:cubicBezTo>
                <a:cubicBezTo>
                  <a:pt x="53" y="1"/>
                  <a:pt x="55" y="0"/>
                  <a:pt x="58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8" y="0"/>
                  <a:pt x="81" y="1"/>
                  <a:pt x="82" y="2"/>
                </a:cubicBezTo>
                <a:cubicBezTo>
                  <a:pt x="84" y="4"/>
                  <a:pt x="85" y="6"/>
                  <a:pt x="85" y="9"/>
                </a:cubicBezTo>
                <a:close/>
                <a:moveTo>
                  <a:pt x="133" y="9"/>
                </a:moveTo>
                <a:cubicBezTo>
                  <a:pt x="133" y="27"/>
                  <a:pt x="133" y="27"/>
                  <a:pt x="133" y="27"/>
                </a:cubicBezTo>
                <a:cubicBezTo>
                  <a:pt x="133" y="29"/>
                  <a:pt x="132" y="32"/>
                  <a:pt x="131" y="33"/>
                </a:cubicBezTo>
                <a:cubicBezTo>
                  <a:pt x="129" y="35"/>
                  <a:pt x="127" y="36"/>
                  <a:pt x="124" y="36"/>
                </a:cubicBezTo>
                <a:cubicBezTo>
                  <a:pt x="106" y="36"/>
                  <a:pt x="106" y="36"/>
                  <a:pt x="106" y="36"/>
                </a:cubicBezTo>
                <a:cubicBezTo>
                  <a:pt x="104" y="36"/>
                  <a:pt x="101" y="35"/>
                  <a:pt x="100" y="33"/>
                </a:cubicBezTo>
                <a:cubicBezTo>
                  <a:pt x="98" y="32"/>
                  <a:pt x="97" y="29"/>
                  <a:pt x="97" y="27"/>
                </a:cubicBezTo>
                <a:cubicBezTo>
                  <a:pt x="97" y="9"/>
                  <a:pt x="97" y="9"/>
                  <a:pt x="97" y="9"/>
                </a:cubicBezTo>
                <a:cubicBezTo>
                  <a:pt x="97" y="6"/>
                  <a:pt x="98" y="4"/>
                  <a:pt x="100" y="2"/>
                </a:cubicBezTo>
                <a:cubicBezTo>
                  <a:pt x="101" y="1"/>
                  <a:pt x="104" y="0"/>
                  <a:pt x="10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7" y="0"/>
                  <a:pt x="129" y="1"/>
                  <a:pt x="131" y="2"/>
                </a:cubicBezTo>
                <a:cubicBezTo>
                  <a:pt x="132" y="4"/>
                  <a:pt x="133" y="6"/>
                  <a:pt x="133" y="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2" name="Freeform 293"/>
          <p:cNvSpPr>
            <a:spLocks noChangeAspect="1" noEditPoints="1"/>
          </p:cNvSpPr>
          <p:nvPr/>
        </p:nvSpPr>
        <p:spPr bwMode="auto">
          <a:xfrm>
            <a:off x="3449408" y="3724195"/>
            <a:ext cx="39033" cy="137395"/>
          </a:xfrm>
          <a:custGeom>
            <a:avLst/>
            <a:gdLst>
              <a:gd name="T0" fmla="*/ 37 w 37"/>
              <a:gd name="T1" fmla="*/ 9 h 133"/>
              <a:gd name="T2" fmla="*/ 37 w 37"/>
              <a:gd name="T3" fmla="*/ 28 h 133"/>
              <a:gd name="T4" fmla="*/ 34 w 37"/>
              <a:gd name="T5" fmla="*/ 34 h 133"/>
              <a:gd name="T6" fmla="*/ 28 w 37"/>
              <a:gd name="T7" fmla="*/ 37 h 133"/>
              <a:gd name="T8" fmla="*/ 10 w 37"/>
              <a:gd name="T9" fmla="*/ 37 h 133"/>
              <a:gd name="T10" fmla="*/ 3 w 37"/>
              <a:gd name="T11" fmla="*/ 34 h 133"/>
              <a:gd name="T12" fmla="*/ 0 w 37"/>
              <a:gd name="T13" fmla="*/ 28 h 133"/>
              <a:gd name="T14" fmla="*/ 0 w 37"/>
              <a:gd name="T15" fmla="*/ 9 h 133"/>
              <a:gd name="T16" fmla="*/ 3 w 37"/>
              <a:gd name="T17" fmla="*/ 3 h 133"/>
              <a:gd name="T18" fmla="*/ 10 w 37"/>
              <a:gd name="T19" fmla="*/ 0 h 133"/>
              <a:gd name="T20" fmla="*/ 28 w 37"/>
              <a:gd name="T21" fmla="*/ 0 h 133"/>
              <a:gd name="T22" fmla="*/ 34 w 37"/>
              <a:gd name="T23" fmla="*/ 3 h 133"/>
              <a:gd name="T24" fmla="*/ 37 w 37"/>
              <a:gd name="T25" fmla="*/ 9 h 133"/>
              <a:gd name="T26" fmla="*/ 37 w 37"/>
              <a:gd name="T27" fmla="*/ 58 h 133"/>
              <a:gd name="T28" fmla="*/ 37 w 37"/>
              <a:gd name="T29" fmla="*/ 76 h 133"/>
              <a:gd name="T30" fmla="*/ 34 w 37"/>
              <a:gd name="T31" fmla="*/ 82 h 133"/>
              <a:gd name="T32" fmla="*/ 28 w 37"/>
              <a:gd name="T33" fmla="*/ 85 h 133"/>
              <a:gd name="T34" fmla="*/ 10 w 37"/>
              <a:gd name="T35" fmla="*/ 85 h 133"/>
              <a:gd name="T36" fmla="*/ 3 w 37"/>
              <a:gd name="T37" fmla="*/ 82 h 133"/>
              <a:gd name="T38" fmla="*/ 0 w 37"/>
              <a:gd name="T39" fmla="*/ 76 h 133"/>
              <a:gd name="T40" fmla="*/ 0 w 37"/>
              <a:gd name="T41" fmla="*/ 58 h 133"/>
              <a:gd name="T42" fmla="*/ 3 w 37"/>
              <a:gd name="T43" fmla="*/ 51 h 133"/>
              <a:gd name="T44" fmla="*/ 10 w 37"/>
              <a:gd name="T45" fmla="*/ 49 h 133"/>
              <a:gd name="T46" fmla="*/ 28 w 37"/>
              <a:gd name="T47" fmla="*/ 49 h 133"/>
              <a:gd name="T48" fmla="*/ 34 w 37"/>
              <a:gd name="T49" fmla="*/ 51 h 133"/>
              <a:gd name="T50" fmla="*/ 37 w 37"/>
              <a:gd name="T51" fmla="*/ 58 h 133"/>
              <a:gd name="T52" fmla="*/ 37 w 37"/>
              <a:gd name="T53" fmla="*/ 106 h 133"/>
              <a:gd name="T54" fmla="*/ 37 w 37"/>
              <a:gd name="T55" fmla="*/ 124 h 133"/>
              <a:gd name="T56" fmla="*/ 34 w 37"/>
              <a:gd name="T57" fmla="*/ 131 h 133"/>
              <a:gd name="T58" fmla="*/ 28 w 37"/>
              <a:gd name="T59" fmla="*/ 133 h 133"/>
              <a:gd name="T60" fmla="*/ 10 w 37"/>
              <a:gd name="T61" fmla="*/ 133 h 133"/>
              <a:gd name="T62" fmla="*/ 3 w 37"/>
              <a:gd name="T63" fmla="*/ 131 h 133"/>
              <a:gd name="T64" fmla="*/ 0 w 37"/>
              <a:gd name="T65" fmla="*/ 124 h 133"/>
              <a:gd name="T66" fmla="*/ 0 w 37"/>
              <a:gd name="T67" fmla="*/ 106 h 133"/>
              <a:gd name="T68" fmla="*/ 3 w 37"/>
              <a:gd name="T69" fmla="*/ 100 h 133"/>
              <a:gd name="T70" fmla="*/ 10 w 37"/>
              <a:gd name="T71" fmla="*/ 97 h 133"/>
              <a:gd name="T72" fmla="*/ 28 w 37"/>
              <a:gd name="T73" fmla="*/ 97 h 133"/>
              <a:gd name="T74" fmla="*/ 34 w 37"/>
              <a:gd name="T75" fmla="*/ 100 h 133"/>
              <a:gd name="T76" fmla="*/ 37 w 37"/>
              <a:gd name="T77" fmla="*/ 10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7" h="133">
                <a:moveTo>
                  <a:pt x="37" y="9"/>
                </a:moveTo>
                <a:cubicBezTo>
                  <a:pt x="37" y="28"/>
                  <a:pt x="37" y="28"/>
                  <a:pt x="37" y="28"/>
                </a:cubicBezTo>
                <a:cubicBezTo>
                  <a:pt x="37" y="30"/>
                  <a:pt x="36" y="32"/>
                  <a:pt x="34" y="34"/>
                </a:cubicBezTo>
                <a:cubicBezTo>
                  <a:pt x="32" y="36"/>
                  <a:pt x="30" y="37"/>
                  <a:pt x="28" y="37"/>
                </a:cubicBezTo>
                <a:cubicBezTo>
                  <a:pt x="10" y="37"/>
                  <a:pt x="10" y="37"/>
                  <a:pt x="10" y="37"/>
                </a:cubicBezTo>
                <a:cubicBezTo>
                  <a:pt x="7" y="37"/>
                  <a:pt x="5" y="36"/>
                  <a:pt x="3" y="34"/>
                </a:cubicBezTo>
                <a:cubicBezTo>
                  <a:pt x="1" y="32"/>
                  <a:pt x="0" y="30"/>
                  <a:pt x="0" y="28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3" y="3"/>
                </a:cubicBezTo>
                <a:cubicBezTo>
                  <a:pt x="5" y="1"/>
                  <a:pt x="7" y="0"/>
                  <a:pt x="10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30" y="0"/>
                  <a:pt x="32" y="1"/>
                  <a:pt x="34" y="3"/>
                </a:cubicBezTo>
                <a:cubicBezTo>
                  <a:pt x="36" y="5"/>
                  <a:pt x="37" y="7"/>
                  <a:pt x="37" y="9"/>
                </a:cubicBezTo>
                <a:close/>
                <a:moveTo>
                  <a:pt x="37" y="58"/>
                </a:moveTo>
                <a:cubicBezTo>
                  <a:pt x="37" y="76"/>
                  <a:pt x="37" y="76"/>
                  <a:pt x="37" y="76"/>
                </a:cubicBezTo>
                <a:cubicBezTo>
                  <a:pt x="37" y="78"/>
                  <a:pt x="36" y="81"/>
                  <a:pt x="34" y="82"/>
                </a:cubicBezTo>
                <a:cubicBezTo>
                  <a:pt x="32" y="84"/>
                  <a:pt x="30" y="85"/>
                  <a:pt x="28" y="85"/>
                </a:cubicBezTo>
                <a:cubicBezTo>
                  <a:pt x="10" y="85"/>
                  <a:pt x="10" y="85"/>
                  <a:pt x="10" y="85"/>
                </a:cubicBezTo>
                <a:cubicBezTo>
                  <a:pt x="7" y="85"/>
                  <a:pt x="5" y="84"/>
                  <a:pt x="3" y="82"/>
                </a:cubicBezTo>
                <a:cubicBezTo>
                  <a:pt x="1" y="81"/>
                  <a:pt x="0" y="78"/>
                  <a:pt x="0" y="76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5"/>
                  <a:pt x="1" y="53"/>
                  <a:pt x="3" y="51"/>
                </a:cubicBezTo>
                <a:cubicBezTo>
                  <a:pt x="5" y="50"/>
                  <a:pt x="7" y="49"/>
                  <a:pt x="10" y="49"/>
                </a:cubicBezTo>
                <a:cubicBezTo>
                  <a:pt x="28" y="49"/>
                  <a:pt x="28" y="49"/>
                  <a:pt x="28" y="49"/>
                </a:cubicBezTo>
                <a:cubicBezTo>
                  <a:pt x="30" y="49"/>
                  <a:pt x="32" y="50"/>
                  <a:pt x="34" y="51"/>
                </a:cubicBezTo>
                <a:cubicBezTo>
                  <a:pt x="36" y="53"/>
                  <a:pt x="37" y="55"/>
                  <a:pt x="37" y="58"/>
                </a:cubicBezTo>
                <a:close/>
                <a:moveTo>
                  <a:pt x="37" y="106"/>
                </a:moveTo>
                <a:cubicBezTo>
                  <a:pt x="37" y="124"/>
                  <a:pt x="37" y="124"/>
                  <a:pt x="37" y="124"/>
                </a:cubicBezTo>
                <a:cubicBezTo>
                  <a:pt x="37" y="127"/>
                  <a:pt x="36" y="129"/>
                  <a:pt x="34" y="131"/>
                </a:cubicBezTo>
                <a:cubicBezTo>
                  <a:pt x="32" y="133"/>
                  <a:pt x="30" y="133"/>
                  <a:pt x="28" y="133"/>
                </a:cubicBezTo>
                <a:cubicBezTo>
                  <a:pt x="10" y="133"/>
                  <a:pt x="10" y="133"/>
                  <a:pt x="10" y="133"/>
                </a:cubicBezTo>
                <a:cubicBezTo>
                  <a:pt x="7" y="133"/>
                  <a:pt x="5" y="133"/>
                  <a:pt x="3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4"/>
                  <a:pt x="1" y="102"/>
                  <a:pt x="3" y="100"/>
                </a:cubicBezTo>
                <a:cubicBezTo>
                  <a:pt x="5" y="98"/>
                  <a:pt x="7" y="97"/>
                  <a:pt x="10" y="97"/>
                </a:cubicBezTo>
                <a:cubicBezTo>
                  <a:pt x="28" y="97"/>
                  <a:pt x="28" y="97"/>
                  <a:pt x="28" y="97"/>
                </a:cubicBezTo>
                <a:cubicBezTo>
                  <a:pt x="30" y="97"/>
                  <a:pt x="32" y="98"/>
                  <a:pt x="34" y="100"/>
                </a:cubicBezTo>
                <a:cubicBezTo>
                  <a:pt x="36" y="102"/>
                  <a:pt x="37" y="104"/>
                  <a:pt x="37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3" name="Freeform 294"/>
          <p:cNvSpPr>
            <a:spLocks noChangeAspect="1" noEditPoints="1"/>
          </p:cNvSpPr>
          <p:nvPr/>
        </p:nvSpPr>
        <p:spPr bwMode="auto">
          <a:xfrm>
            <a:off x="3533719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18 w 145"/>
              <a:gd name="T27" fmla="*/ 118 h 146"/>
              <a:gd name="T28" fmla="*/ 112 w 145"/>
              <a:gd name="T29" fmla="*/ 90 h 146"/>
              <a:gd name="T30" fmla="*/ 99 w 145"/>
              <a:gd name="T31" fmla="*/ 66 h 146"/>
              <a:gd name="T32" fmla="*/ 80 w 145"/>
              <a:gd name="T33" fmla="*/ 46 h 146"/>
              <a:gd name="T34" fmla="*/ 55 w 145"/>
              <a:gd name="T35" fmla="*/ 33 h 146"/>
              <a:gd name="T36" fmla="*/ 27 w 145"/>
              <a:gd name="T37" fmla="*/ 28 h 146"/>
              <a:gd name="T38" fmla="*/ 25 w 145"/>
              <a:gd name="T39" fmla="*/ 28 h 146"/>
              <a:gd name="T40" fmla="*/ 24 w 145"/>
              <a:gd name="T41" fmla="*/ 31 h 146"/>
              <a:gd name="T42" fmla="*/ 24 w 145"/>
              <a:gd name="T43" fmla="*/ 43 h 146"/>
              <a:gd name="T44" fmla="*/ 25 w 145"/>
              <a:gd name="T45" fmla="*/ 45 h 146"/>
              <a:gd name="T46" fmla="*/ 27 w 145"/>
              <a:gd name="T47" fmla="*/ 46 h 146"/>
              <a:gd name="T48" fmla="*/ 63 w 145"/>
              <a:gd name="T49" fmla="*/ 56 h 146"/>
              <a:gd name="T50" fmla="*/ 89 w 145"/>
              <a:gd name="T51" fmla="*/ 83 h 146"/>
              <a:gd name="T52" fmla="*/ 100 w 145"/>
              <a:gd name="T53" fmla="*/ 118 h 146"/>
              <a:gd name="T54" fmla="*/ 101 w 145"/>
              <a:gd name="T55" fmla="*/ 120 h 146"/>
              <a:gd name="T56" fmla="*/ 103 w 145"/>
              <a:gd name="T57" fmla="*/ 121 h 146"/>
              <a:gd name="T58" fmla="*/ 115 w 145"/>
              <a:gd name="T59" fmla="*/ 121 h 146"/>
              <a:gd name="T60" fmla="*/ 117 w 145"/>
              <a:gd name="T61" fmla="*/ 120 h 146"/>
              <a:gd name="T62" fmla="*/ 118 w 145"/>
              <a:gd name="T63" fmla="*/ 118 h 146"/>
              <a:gd name="T64" fmla="*/ 81 w 145"/>
              <a:gd name="T65" fmla="*/ 118 h 146"/>
              <a:gd name="T66" fmla="*/ 65 w 145"/>
              <a:gd name="T67" fmla="*/ 81 h 146"/>
              <a:gd name="T68" fmla="*/ 27 w 145"/>
              <a:gd name="T69" fmla="*/ 64 h 146"/>
              <a:gd name="T70" fmla="*/ 25 w 145"/>
              <a:gd name="T71" fmla="*/ 65 h 146"/>
              <a:gd name="T72" fmla="*/ 24 w 145"/>
              <a:gd name="T73" fmla="*/ 67 h 146"/>
              <a:gd name="T74" fmla="*/ 24 w 145"/>
              <a:gd name="T75" fmla="*/ 79 h 146"/>
              <a:gd name="T76" fmla="*/ 25 w 145"/>
              <a:gd name="T77" fmla="*/ 81 h 146"/>
              <a:gd name="T78" fmla="*/ 27 w 145"/>
              <a:gd name="T79" fmla="*/ 82 h 146"/>
              <a:gd name="T80" fmla="*/ 52 w 145"/>
              <a:gd name="T81" fmla="*/ 94 h 146"/>
              <a:gd name="T82" fmla="*/ 63 w 145"/>
              <a:gd name="T83" fmla="*/ 118 h 146"/>
              <a:gd name="T84" fmla="*/ 64 w 145"/>
              <a:gd name="T85" fmla="*/ 121 h 146"/>
              <a:gd name="T86" fmla="*/ 66 w 145"/>
              <a:gd name="T87" fmla="*/ 121 h 146"/>
              <a:gd name="T88" fmla="*/ 78 w 145"/>
              <a:gd name="T89" fmla="*/ 121 h 146"/>
              <a:gd name="T90" fmla="*/ 81 w 145"/>
              <a:gd name="T91" fmla="*/ 120 h 146"/>
              <a:gd name="T92" fmla="*/ 81 w 145"/>
              <a:gd name="T93" fmla="*/ 118 h 146"/>
              <a:gd name="T94" fmla="*/ 45 w 145"/>
              <a:gd name="T95" fmla="*/ 118 h 146"/>
              <a:gd name="T96" fmla="*/ 48 w 145"/>
              <a:gd name="T97" fmla="*/ 109 h 146"/>
              <a:gd name="T98" fmla="*/ 45 w 145"/>
              <a:gd name="T99" fmla="*/ 101 h 146"/>
              <a:gd name="T100" fmla="*/ 36 w 145"/>
              <a:gd name="T101" fmla="*/ 97 h 146"/>
              <a:gd name="T102" fmla="*/ 28 w 145"/>
              <a:gd name="T103" fmla="*/ 101 h 146"/>
              <a:gd name="T104" fmla="*/ 24 w 145"/>
              <a:gd name="T105" fmla="*/ 109 h 146"/>
              <a:gd name="T106" fmla="*/ 28 w 145"/>
              <a:gd name="T107" fmla="*/ 118 h 146"/>
              <a:gd name="T108" fmla="*/ 36 w 145"/>
              <a:gd name="T109" fmla="*/ 121 h 146"/>
              <a:gd name="T110" fmla="*/ 45 w 145"/>
              <a:gd name="T111" fmla="*/ 11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2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118" y="118"/>
                </a:moveTo>
                <a:cubicBezTo>
                  <a:pt x="117" y="109"/>
                  <a:pt x="116" y="99"/>
                  <a:pt x="112" y="90"/>
                </a:cubicBezTo>
                <a:cubicBezTo>
                  <a:pt x="109" y="81"/>
                  <a:pt x="105" y="73"/>
                  <a:pt x="99" y="66"/>
                </a:cubicBezTo>
                <a:cubicBezTo>
                  <a:pt x="94" y="58"/>
                  <a:pt x="87" y="52"/>
                  <a:pt x="80" y="46"/>
                </a:cubicBezTo>
                <a:cubicBezTo>
                  <a:pt x="73" y="41"/>
                  <a:pt x="64" y="36"/>
                  <a:pt x="55" y="33"/>
                </a:cubicBezTo>
                <a:cubicBezTo>
                  <a:pt x="46" y="30"/>
                  <a:pt x="37" y="28"/>
                  <a:pt x="27" y="28"/>
                </a:cubicBezTo>
                <a:cubicBezTo>
                  <a:pt x="26" y="28"/>
                  <a:pt x="26" y="28"/>
                  <a:pt x="25" y="28"/>
                </a:cubicBezTo>
                <a:cubicBezTo>
                  <a:pt x="24" y="29"/>
                  <a:pt x="24" y="30"/>
                  <a:pt x="24" y="31"/>
                </a:cubicBezTo>
                <a:cubicBezTo>
                  <a:pt x="24" y="43"/>
                  <a:pt x="24" y="43"/>
                  <a:pt x="24" y="43"/>
                </a:cubicBezTo>
                <a:cubicBezTo>
                  <a:pt x="24" y="44"/>
                  <a:pt x="24" y="44"/>
                  <a:pt x="25" y="45"/>
                </a:cubicBezTo>
                <a:cubicBezTo>
                  <a:pt x="25" y="45"/>
                  <a:pt x="26" y="46"/>
                  <a:pt x="27" y="46"/>
                </a:cubicBezTo>
                <a:cubicBezTo>
                  <a:pt x="40" y="46"/>
                  <a:pt x="52" y="50"/>
                  <a:pt x="63" y="56"/>
                </a:cubicBezTo>
                <a:cubicBezTo>
                  <a:pt x="74" y="63"/>
                  <a:pt x="82" y="72"/>
                  <a:pt x="89" y="83"/>
                </a:cubicBezTo>
                <a:cubicBezTo>
                  <a:pt x="96" y="94"/>
                  <a:pt x="99" y="106"/>
                  <a:pt x="100" y="118"/>
                </a:cubicBezTo>
                <a:cubicBezTo>
                  <a:pt x="100" y="119"/>
                  <a:pt x="100" y="120"/>
                  <a:pt x="101" y="120"/>
                </a:cubicBezTo>
                <a:cubicBezTo>
                  <a:pt x="101" y="121"/>
                  <a:pt x="102" y="121"/>
                  <a:pt x="103" y="121"/>
                </a:cubicBezTo>
                <a:cubicBezTo>
                  <a:pt x="115" y="121"/>
                  <a:pt x="115" y="121"/>
                  <a:pt x="115" y="121"/>
                </a:cubicBezTo>
                <a:cubicBezTo>
                  <a:pt x="116" y="121"/>
                  <a:pt x="116" y="121"/>
                  <a:pt x="117" y="120"/>
                </a:cubicBezTo>
                <a:cubicBezTo>
                  <a:pt x="118" y="120"/>
                  <a:pt x="118" y="119"/>
                  <a:pt x="118" y="118"/>
                </a:cubicBezTo>
                <a:close/>
                <a:moveTo>
                  <a:pt x="81" y="118"/>
                </a:moveTo>
                <a:cubicBezTo>
                  <a:pt x="81" y="103"/>
                  <a:pt x="75" y="91"/>
                  <a:pt x="65" y="81"/>
                </a:cubicBezTo>
                <a:cubicBezTo>
                  <a:pt x="54" y="70"/>
                  <a:pt x="42" y="65"/>
                  <a:pt x="27" y="64"/>
                </a:cubicBezTo>
                <a:cubicBezTo>
                  <a:pt x="26" y="64"/>
                  <a:pt x="26" y="64"/>
                  <a:pt x="25" y="65"/>
                </a:cubicBezTo>
                <a:cubicBezTo>
                  <a:pt x="24" y="65"/>
                  <a:pt x="24" y="66"/>
                  <a:pt x="24" y="67"/>
                </a:cubicBezTo>
                <a:cubicBezTo>
                  <a:pt x="24" y="79"/>
                  <a:pt x="24" y="79"/>
                  <a:pt x="24" y="79"/>
                </a:cubicBezTo>
                <a:cubicBezTo>
                  <a:pt x="24" y="80"/>
                  <a:pt x="24" y="81"/>
                  <a:pt x="25" y="81"/>
                </a:cubicBezTo>
                <a:cubicBezTo>
                  <a:pt x="25" y="82"/>
                  <a:pt x="26" y="82"/>
                  <a:pt x="27" y="82"/>
                </a:cubicBezTo>
                <a:cubicBezTo>
                  <a:pt x="37" y="83"/>
                  <a:pt x="45" y="87"/>
                  <a:pt x="52" y="94"/>
                </a:cubicBezTo>
                <a:cubicBezTo>
                  <a:pt x="59" y="100"/>
                  <a:pt x="63" y="109"/>
                  <a:pt x="63" y="118"/>
                </a:cubicBezTo>
                <a:cubicBezTo>
                  <a:pt x="63" y="119"/>
                  <a:pt x="64" y="120"/>
                  <a:pt x="64" y="121"/>
                </a:cubicBezTo>
                <a:cubicBezTo>
                  <a:pt x="65" y="121"/>
                  <a:pt x="65" y="121"/>
                  <a:pt x="66" y="121"/>
                </a:cubicBezTo>
                <a:cubicBezTo>
                  <a:pt x="78" y="121"/>
                  <a:pt x="78" y="121"/>
                  <a:pt x="78" y="121"/>
                </a:cubicBezTo>
                <a:cubicBezTo>
                  <a:pt x="79" y="121"/>
                  <a:pt x="80" y="121"/>
                  <a:pt x="81" y="120"/>
                </a:cubicBezTo>
                <a:cubicBezTo>
                  <a:pt x="81" y="120"/>
                  <a:pt x="81" y="119"/>
                  <a:pt x="81" y="118"/>
                </a:cubicBezTo>
                <a:close/>
                <a:moveTo>
                  <a:pt x="45" y="118"/>
                </a:moveTo>
                <a:cubicBezTo>
                  <a:pt x="47" y="115"/>
                  <a:pt x="48" y="113"/>
                  <a:pt x="48" y="109"/>
                </a:cubicBezTo>
                <a:cubicBezTo>
                  <a:pt x="48" y="106"/>
                  <a:pt x="47" y="103"/>
                  <a:pt x="45" y="101"/>
                </a:cubicBezTo>
                <a:cubicBezTo>
                  <a:pt x="42" y="98"/>
                  <a:pt x="39" y="97"/>
                  <a:pt x="36" y="97"/>
                </a:cubicBezTo>
                <a:cubicBezTo>
                  <a:pt x="33" y="97"/>
                  <a:pt x="30" y="98"/>
                  <a:pt x="28" y="101"/>
                </a:cubicBezTo>
                <a:cubicBezTo>
                  <a:pt x="25" y="103"/>
                  <a:pt x="24" y="106"/>
                  <a:pt x="24" y="109"/>
                </a:cubicBezTo>
                <a:cubicBezTo>
                  <a:pt x="24" y="113"/>
                  <a:pt x="25" y="115"/>
                  <a:pt x="28" y="118"/>
                </a:cubicBezTo>
                <a:cubicBezTo>
                  <a:pt x="30" y="120"/>
                  <a:pt x="33" y="121"/>
                  <a:pt x="36" y="121"/>
                </a:cubicBezTo>
                <a:cubicBezTo>
                  <a:pt x="39" y="121"/>
                  <a:pt x="42" y="120"/>
                  <a:pt x="45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4" name="Freeform 295"/>
          <p:cNvSpPr>
            <a:spLocks noChangeAspect="1" noEditPoints="1"/>
          </p:cNvSpPr>
          <p:nvPr/>
        </p:nvSpPr>
        <p:spPr bwMode="auto">
          <a:xfrm>
            <a:off x="3727321" y="3724195"/>
            <a:ext cx="149885" cy="151447"/>
          </a:xfrm>
          <a:custGeom>
            <a:avLst/>
            <a:gdLst>
              <a:gd name="T0" fmla="*/ 36 w 145"/>
              <a:gd name="T1" fmla="*/ 10 h 146"/>
              <a:gd name="T2" fmla="*/ 73 w 145"/>
              <a:gd name="T3" fmla="*/ 0 h 146"/>
              <a:gd name="T4" fmla="*/ 109 w 145"/>
              <a:gd name="T5" fmla="*/ 10 h 146"/>
              <a:gd name="T6" fmla="*/ 136 w 145"/>
              <a:gd name="T7" fmla="*/ 36 h 146"/>
              <a:gd name="T8" fmla="*/ 145 w 145"/>
              <a:gd name="T9" fmla="*/ 73 h 146"/>
              <a:gd name="T10" fmla="*/ 136 w 145"/>
              <a:gd name="T11" fmla="*/ 109 h 146"/>
              <a:gd name="T12" fmla="*/ 109 w 145"/>
              <a:gd name="T13" fmla="*/ 136 h 146"/>
              <a:gd name="T14" fmla="*/ 73 w 145"/>
              <a:gd name="T15" fmla="*/ 146 h 146"/>
              <a:gd name="T16" fmla="*/ 36 w 145"/>
              <a:gd name="T17" fmla="*/ 136 h 146"/>
              <a:gd name="T18" fmla="*/ 10 w 145"/>
              <a:gd name="T19" fmla="*/ 109 h 146"/>
              <a:gd name="T20" fmla="*/ 0 w 145"/>
              <a:gd name="T21" fmla="*/ 73 h 146"/>
              <a:gd name="T22" fmla="*/ 10 w 145"/>
              <a:gd name="T23" fmla="*/ 36 h 146"/>
              <a:gd name="T24" fmla="*/ 36 w 145"/>
              <a:gd name="T25" fmla="*/ 10 h 146"/>
              <a:gd name="T26" fmla="*/ 109 w 145"/>
              <a:gd name="T27" fmla="*/ 78 h 146"/>
              <a:gd name="T28" fmla="*/ 112 w 145"/>
              <a:gd name="T29" fmla="*/ 73 h 146"/>
              <a:gd name="T30" fmla="*/ 109 w 145"/>
              <a:gd name="T31" fmla="*/ 68 h 146"/>
              <a:gd name="T32" fmla="*/ 58 w 145"/>
              <a:gd name="T33" fmla="*/ 37 h 146"/>
              <a:gd name="T34" fmla="*/ 52 w 145"/>
              <a:gd name="T35" fmla="*/ 37 h 146"/>
              <a:gd name="T36" fmla="*/ 49 w 145"/>
              <a:gd name="T37" fmla="*/ 43 h 146"/>
              <a:gd name="T38" fmla="*/ 49 w 145"/>
              <a:gd name="T39" fmla="*/ 103 h 146"/>
              <a:gd name="T40" fmla="*/ 52 w 145"/>
              <a:gd name="T41" fmla="*/ 108 h 146"/>
              <a:gd name="T42" fmla="*/ 55 w 145"/>
              <a:gd name="T43" fmla="*/ 109 h 146"/>
              <a:gd name="T44" fmla="*/ 58 w 145"/>
              <a:gd name="T45" fmla="*/ 108 h 146"/>
              <a:gd name="T46" fmla="*/ 109 w 145"/>
              <a:gd name="T47" fmla="*/ 7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5" h="146">
                <a:moveTo>
                  <a:pt x="36" y="10"/>
                </a:moveTo>
                <a:cubicBezTo>
                  <a:pt x="47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6"/>
                </a:cubicBez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6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7" y="142"/>
                  <a:pt x="36" y="136"/>
                </a:cubicBezTo>
                <a:cubicBezTo>
                  <a:pt x="25" y="129"/>
                  <a:pt x="16" y="120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6"/>
                </a:cubicBezTo>
                <a:cubicBezTo>
                  <a:pt x="16" y="25"/>
                  <a:pt x="25" y="17"/>
                  <a:pt x="36" y="10"/>
                </a:cubicBezTo>
                <a:close/>
                <a:moveTo>
                  <a:pt x="109" y="78"/>
                </a:moveTo>
                <a:cubicBezTo>
                  <a:pt x="111" y="77"/>
                  <a:pt x="112" y="75"/>
                  <a:pt x="112" y="73"/>
                </a:cubicBezTo>
                <a:cubicBezTo>
                  <a:pt x="112" y="71"/>
                  <a:pt x="111" y="69"/>
                  <a:pt x="109" y="68"/>
                </a:cubicBezTo>
                <a:cubicBezTo>
                  <a:pt x="58" y="37"/>
                  <a:pt x="58" y="37"/>
                  <a:pt x="58" y="37"/>
                </a:cubicBezTo>
                <a:cubicBezTo>
                  <a:pt x="56" y="36"/>
                  <a:pt x="54" y="36"/>
                  <a:pt x="52" y="37"/>
                </a:cubicBezTo>
                <a:cubicBezTo>
                  <a:pt x="50" y="39"/>
                  <a:pt x="49" y="40"/>
                  <a:pt x="49" y="43"/>
                </a:cubicBezTo>
                <a:cubicBezTo>
                  <a:pt x="49" y="103"/>
                  <a:pt x="49" y="103"/>
                  <a:pt x="49" y="103"/>
                </a:cubicBezTo>
                <a:cubicBezTo>
                  <a:pt x="49" y="106"/>
                  <a:pt x="50" y="107"/>
                  <a:pt x="52" y="108"/>
                </a:cubicBezTo>
                <a:cubicBezTo>
                  <a:pt x="53" y="109"/>
                  <a:pt x="54" y="109"/>
                  <a:pt x="55" y="109"/>
                </a:cubicBezTo>
                <a:cubicBezTo>
                  <a:pt x="56" y="109"/>
                  <a:pt x="57" y="109"/>
                  <a:pt x="58" y="108"/>
                </a:cubicBezTo>
                <a:lnTo>
                  <a:pt x="109" y="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5" name="Freeform 296"/>
          <p:cNvSpPr>
            <a:spLocks noChangeAspect="1" noEditPoints="1"/>
          </p:cNvSpPr>
          <p:nvPr/>
        </p:nvSpPr>
        <p:spPr bwMode="auto">
          <a:xfrm>
            <a:off x="3928729" y="3716389"/>
            <a:ext cx="163938" cy="167060"/>
          </a:xfrm>
          <a:custGeom>
            <a:avLst/>
            <a:gdLst>
              <a:gd name="T0" fmla="*/ 155 w 159"/>
              <a:gd name="T1" fmla="*/ 70 h 160"/>
              <a:gd name="T2" fmla="*/ 70 w 159"/>
              <a:gd name="T3" fmla="*/ 156 h 160"/>
              <a:gd name="T4" fmla="*/ 61 w 159"/>
              <a:gd name="T5" fmla="*/ 160 h 160"/>
              <a:gd name="T6" fmla="*/ 53 w 159"/>
              <a:gd name="T7" fmla="*/ 156 h 160"/>
              <a:gd name="T8" fmla="*/ 41 w 159"/>
              <a:gd name="T9" fmla="*/ 144 h 160"/>
              <a:gd name="T10" fmla="*/ 46 w 159"/>
              <a:gd name="T11" fmla="*/ 131 h 160"/>
              <a:gd name="T12" fmla="*/ 41 w 159"/>
              <a:gd name="T13" fmla="*/ 118 h 160"/>
              <a:gd name="T14" fmla="*/ 28 w 159"/>
              <a:gd name="T15" fmla="*/ 113 h 160"/>
              <a:gd name="T16" fmla="*/ 15 w 159"/>
              <a:gd name="T17" fmla="*/ 118 h 160"/>
              <a:gd name="T18" fmla="*/ 3 w 159"/>
              <a:gd name="T19" fmla="*/ 107 h 160"/>
              <a:gd name="T20" fmla="*/ 0 w 159"/>
              <a:gd name="T21" fmla="*/ 98 h 160"/>
              <a:gd name="T22" fmla="*/ 3 w 159"/>
              <a:gd name="T23" fmla="*/ 89 h 160"/>
              <a:gd name="T24" fmla="*/ 89 w 159"/>
              <a:gd name="T25" fmla="*/ 4 h 160"/>
              <a:gd name="T26" fmla="*/ 97 w 159"/>
              <a:gd name="T27" fmla="*/ 0 h 160"/>
              <a:gd name="T28" fmla="*/ 106 w 159"/>
              <a:gd name="T29" fmla="*/ 4 h 160"/>
              <a:gd name="T30" fmla="*/ 118 w 159"/>
              <a:gd name="T31" fmla="*/ 16 h 160"/>
              <a:gd name="T32" fmla="*/ 112 w 159"/>
              <a:gd name="T33" fmla="*/ 28 h 160"/>
              <a:gd name="T34" fmla="*/ 118 w 159"/>
              <a:gd name="T35" fmla="*/ 41 h 160"/>
              <a:gd name="T36" fmla="*/ 131 w 159"/>
              <a:gd name="T37" fmla="*/ 47 h 160"/>
              <a:gd name="T38" fmla="*/ 143 w 159"/>
              <a:gd name="T39" fmla="*/ 41 h 160"/>
              <a:gd name="T40" fmla="*/ 155 w 159"/>
              <a:gd name="T41" fmla="*/ 53 h 160"/>
              <a:gd name="T42" fmla="*/ 159 w 159"/>
              <a:gd name="T43" fmla="*/ 62 h 160"/>
              <a:gd name="T44" fmla="*/ 155 w 159"/>
              <a:gd name="T45" fmla="*/ 70 h 160"/>
              <a:gd name="T46" fmla="*/ 71 w 159"/>
              <a:gd name="T47" fmla="*/ 131 h 160"/>
              <a:gd name="T48" fmla="*/ 130 w 159"/>
              <a:gd name="T49" fmla="*/ 72 h 160"/>
              <a:gd name="T50" fmla="*/ 132 w 159"/>
              <a:gd name="T51" fmla="*/ 68 h 160"/>
              <a:gd name="T52" fmla="*/ 130 w 159"/>
              <a:gd name="T53" fmla="*/ 64 h 160"/>
              <a:gd name="T54" fmla="*/ 96 w 159"/>
              <a:gd name="T55" fmla="*/ 29 h 160"/>
              <a:gd name="T56" fmla="*/ 91 w 159"/>
              <a:gd name="T57" fmla="*/ 28 h 160"/>
              <a:gd name="T58" fmla="*/ 87 w 159"/>
              <a:gd name="T59" fmla="*/ 29 h 160"/>
              <a:gd name="T60" fmla="*/ 29 w 159"/>
              <a:gd name="T61" fmla="*/ 88 h 160"/>
              <a:gd name="T62" fmla="*/ 27 w 159"/>
              <a:gd name="T63" fmla="*/ 92 h 160"/>
              <a:gd name="T64" fmla="*/ 29 w 159"/>
              <a:gd name="T65" fmla="*/ 96 h 160"/>
              <a:gd name="T66" fmla="*/ 63 w 159"/>
              <a:gd name="T67" fmla="*/ 131 h 160"/>
              <a:gd name="T68" fmla="*/ 67 w 159"/>
              <a:gd name="T69" fmla="*/ 132 h 160"/>
              <a:gd name="T70" fmla="*/ 71 w 159"/>
              <a:gd name="T71" fmla="*/ 131 h 160"/>
              <a:gd name="T72" fmla="*/ 91 w 159"/>
              <a:gd name="T73" fmla="*/ 38 h 160"/>
              <a:gd name="T74" fmla="*/ 121 w 159"/>
              <a:gd name="T75" fmla="*/ 68 h 160"/>
              <a:gd name="T76" fmla="*/ 67 w 159"/>
              <a:gd name="T77" fmla="*/ 122 h 160"/>
              <a:gd name="T78" fmla="*/ 37 w 159"/>
              <a:gd name="T79" fmla="*/ 92 h 160"/>
              <a:gd name="T80" fmla="*/ 91 w 159"/>
              <a:gd name="T81" fmla="*/ 38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9" h="160">
                <a:moveTo>
                  <a:pt x="155" y="70"/>
                </a:moveTo>
                <a:cubicBezTo>
                  <a:pt x="70" y="156"/>
                  <a:pt x="70" y="156"/>
                  <a:pt x="70" y="156"/>
                </a:cubicBezTo>
                <a:cubicBezTo>
                  <a:pt x="67" y="158"/>
                  <a:pt x="64" y="160"/>
                  <a:pt x="61" y="160"/>
                </a:cubicBezTo>
                <a:cubicBezTo>
                  <a:pt x="58" y="160"/>
                  <a:pt x="55" y="158"/>
                  <a:pt x="53" y="156"/>
                </a:cubicBezTo>
                <a:cubicBezTo>
                  <a:pt x="41" y="144"/>
                  <a:pt x="41" y="144"/>
                  <a:pt x="41" y="144"/>
                </a:cubicBezTo>
                <a:cubicBezTo>
                  <a:pt x="44" y="141"/>
                  <a:pt x="46" y="136"/>
                  <a:pt x="46" y="131"/>
                </a:cubicBezTo>
                <a:cubicBezTo>
                  <a:pt x="46" y="126"/>
                  <a:pt x="44" y="122"/>
                  <a:pt x="41" y="118"/>
                </a:cubicBezTo>
                <a:cubicBezTo>
                  <a:pt x="37" y="115"/>
                  <a:pt x="33" y="113"/>
                  <a:pt x="28" y="113"/>
                </a:cubicBezTo>
                <a:cubicBezTo>
                  <a:pt x="23" y="113"/>
                  <a:pt x="18" y="115"/>
                  <a:pt x="15" y="118"/>
                </a:cubicBezTo>
                <a:cubicBezTo>
                  <a:pt x="3" y="107"/>
                  <a:pt x="3" y="107"/>
                  <a:pt x="3" y="107"/>
                </a:cubicBezTo>
                <a:cubicBezTo>
                  <a:pt x="1" y="104"/>
                  <a:pt x="0" y="101"/>
                  <a:pt x="0" y="98"/>
                </a:cubicBezTo>
                <a:cubicBezTo>
                  <a:pt x="0" y="95"/>
                  <a:pt x="1" y="92"/>
                  <a:pt x="3" y="89"/>
                </a:cubicBezTo>
                <a:cubicBezTo>
                  <a:pt x="89" y="4"/>
                  <a:pt x="89" y="4"/>
                  <a:pt x="89" y="4"/>
                </a:cubicBezTo>
                <a:cubicBezTo>
                  <a:pt x="91" y="1"/>
                  <a:pt x="94" y="0"/>
                  <a:pt x="97" y="0"/>
                </a:cubicBezTo>
                <a:cubicBezTo>
                  <a:pt x="101" y="0"/>
                  <a:pt x="104" y="1"/>
                  <a:pt x="106" y="4"/>
                </a:cubicBezTo>
                <a:cubicBezTo>
                  <a:pt x="118" y="16"/>
                  <a:pt x="118" y="16"/>
                  <a:pt x="118" y="16"/>
                </a:cubicBezTo>
                <a:cubicBezTo>
                  <a:pt x="114" y="19"/>
                  <a:pt x="112" y="23"/>
                  <a:pt x="112" y="28"/>
                </a:cubicBezTo>
                <a:cubicBezTo>
                  <a:pt x="112" y="34"/>
                  <a:pt x="114" y="38"/>
                  <a:pt x="118" y="41"/>
                </a:cubicBezTo>
                <a:cubicBezTo>
                  <a:pt x="121" y="45"/>
                  <a:pt x="126" y="47"/>
                  <a:pt x="131" y="47"/>
                </a:cubicBezTo>
                <a:cubicBezTo>
                  <a:pt x="136" y="47"/>
                  <a:pt x="140" y="45"/>
                  <a:pt x="143" y="41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8" y="55"/>
                  <a:pt x="159" y="58"/>
                  <a:pt x="159" y="62"/>
                </a:cubicBezTo>
                <a:cubicBezTo>
                  <a:pt x="159" y="65"/>
                  <a:pt x="158" y="68"/>
                  <a:pt x="155" y="70"/>
                </a:cubicBezTo>
                <a:close/>
                <a:moveTo>
                  <a:pt x="71" y="131"/>
                </a:moveTo>
                <a:cubicBezTo>
                  <a:pt x="130" y="72"/>
                  <a:pt x="130" y="72"/>
                  <a:pt x="130" y="72"/>
                </a:cubicBezTo>
                <a:cubicBezTo>
                  <a:pt x="131" y="71"/>
                  <a:pt x="132" y="69"/>
                  <a:pt x="132" y="68"/>
                </a:cubicBezTo>
                <a:cubicBezTo>
                  <a:pt x="132" y="66"/>
                  <a:pt x="131" y="65"/>
                  <a:pt x="130" y="64"/>
                </a:cubicBezTo>
                <a:cubicBezTo>
                  <a:pt x="96" y="29"/>
                  <a:pt x="96" y="29"/>
                  <a:pt x="96" y="29"/>
                </a:cubicBezTo>
                <a:cubicBezTo>
                  <a:pt x="94" y="28"/>
                  <a:pt x="93" y="28"/>
                  <a:pt x="91" y="28"/>
                </a:cubicBezTo>
                <a:cubicBezTo>
                  <a:pt x="90" y="28"/>
                  <a:pt x="88" y="28"/>
                  <a:pt x="87" y="29"/>
                </a:cubicBezTo>
                <a:cubicBezTo>
                  <a:pt x="29" y="88"/>
                  <a:pt x="29" y="88"/>
                  <a:pt x="29" y="88"/>
                </a:cubicBezTo>
                <a:cubicBezTo>
                  <a:pt x="27" y="89"/>
                  <a:pt x="27" y="90"/>
                  <a:pt x="27" y="92"/>
                </a:cubicBezTo>
                <a:cubicBezTo>
                  <a:pt x="27" y="94"/>
                  <a:pt x="27" y="95"/>
                  <a:pt x="29" y="96"/>
                </a:cubicBezTo>
                <a:cubicBezTo>
                  <a:pt x="63" y="131"/>
                  <a:pt x="63" y="131"/>
                  <a:pt x="63" y="131"/>
                </a:cubicBezTo>
                <a:cubicBezTo>
                  <a:pt x="64" y="132"/>
                  <a:pt x="65" y="132"/>
                  <a:pt x="67" y="132"/>
                </a:cubicBezTo>
                <a:cubicBezTo>
                  <a:pt x="69" y="132"/>
                  <a:pt x="70" y="132"/>
                  <a:pt x="71" y="131"/>
                </a:cubicBezTo>
                <a:close/>
                <a:moveTo>
                  <a:pt x="91" y="38"/>
                </a:moveTo>
                <a:cubicBezTo>
                  <a:pt x="121" y="68"/>
                  <a:pt x="121" y="68"/>
                  <a:pt x="121" y="68"/>
                </a:cubicBezTo>
                <a:cubicBezTo>
                  <a:pt x="67" y="122"/>
                  <a:pt x="67" y="122"/>
                  <a:pt x="67" y="122"/>
                </a:cubicBezTo>
                <a:cubicBezTo>
                  <a:pt x="37" y="92"/>
                  <a:pt x="37" y="92"/>
                  <a:pt x="37" y="92"/>
                </a:cubicBezTo>
                <a:lnTo>
                  <a:pt x="91" y="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6" name="Freeform 297"/>
          <p:cNvSpPr>
            <a:spLocks noChangeAspect="1" noEditPoints="1"/>
          </p:cNvSpPr>
          <p:nvPr/>
        </p:nvSpPr>
        <p:spPr bwMode="auto">
          <a:xfrm>
            <a:off x="4142629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79 h 146"/>
              <a:gd name="T28" fmla="*/ 121 w 145"/>
              <a:gd name="T29" fmla="*/ 67 h 146"/>
              <a:gd name="T30" fmla="*/ 119 w 145"/>
              <a:gd name="T31" fmla="*/ 63 h 146"/>
              <a:gd name="T32" fmla="*/ 115 w 145"/>
              <a:gd name="T33" fmla="*/ 61 h 146"/>
              <a:gd name="T34" fmla="*/ 30 w 145"/>
              <a:gd name="T35" fmla="*/ 61 h 146"/>
              <a:gd name="T36" fmla="*/ 26 w 145"/>
              <a:gd name="T37" fmla="*/ 63 h 146"/>
              <a:gd name="T38" fmla="*/ 24 w 145"/>
              <a:gd name="T39" fmla="*/ 67 h 146"/>
              <a:gd name="T40" fmla="*/ 24 w 145"/>
              <a:gd name="T41" fmla="*/ 79 h 146"/>
              <a:gd name="T42" fmla="*/ 26 w 145"/>
              <a:gd name="T43" fmla="*/ 83 h 146"/>
              <a:gd name="T44" fmla="*/ 30 w 145"/>
              <a:gd name="T45" fmla="*/ 85 h 146"/>
              <a:gd name="T46" fmla="*/ 115 w 145"/>
              <a:gd name="T47" fmla="*/ 85 h 146"/>
              <a:gd name="T48" fmla="*/ 119 w 145"/>
              <a:gd name="T49" fmla="*/ 83 h 146"/>
              <a:gd name="T50" fmla="*/ 121 w 145"/>
              <a:gd name="T51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121" y="79"/>
                </a:moveTo>
                <a:cubicBezTo>
                  <a:pt x="121" y="67"/>
                  <a:pt x="121" y="67"/>
                  <a:pt x="121" y="67"/>
                </a:cubicBezTo>
                <a:cubicBezTo>
                  <a:pt x="121" y="65"/>
                  <a:pt x="120" y="64"/>
                  <a:pt x="119" y="63"/>
                </a:cubicBezTo>
                <a:cubicBezTo>
                  <a:pt x="118" y="61"/>
                  <a:pt x="117" y="61"/>
                  <a:pt x="115" y="61"/>
                </a:cubicBezTo>
                <a:cubicBezTo>
                  <a:pt x="30" y="61"/>
                  <a:pt x="30" y="61"/>
                  <a:pt x="30" y="61"/>
                </a:cubicBezTo>
                <a:cubicBezTo>
                  <a:pt x="29" y="61"/>
                  <a:pt x="27" y="61"/>
                  <a:pt x="26" y="63"/>
                </a:cubicBezTo>
                <a:cubicBezTo>
                  <a:pt x="25" y="64"/>
                  <a:pt x="24" y="65"/>
                  <a:pt x="24" y="67"/>
                </a:cubicBezTo>
                <a:cubicBezTo>
                  <a:pt x="24" y="79"/>
                  <a:pt x="24" y="79"/>
                  <a:pt x="24" y="79"/>
                </a:cubicBezTo>
                <a:cubicBezTo>
                  <a:pt x="24" y="81"/>
                  <a:pt x="25" y="82"/>
                  <a:pt x="26" y="83"/>
                </a:cubicBezTo>
                <a:cubicBezTo>
                  <a:pt x="27" y="84"/>
                  <a:pt x="29" y="85"/>
                  <a:pt x="30" y="85"/>
                </a:cubicBezTo>
                <a:cubicBezTo>
                  <a:pt x="115" y="85"/>
                  <a:pt x="115" y="85"/>
                  <a:pt x="115" y="85"/>
                </a:cubicBezTo>
                <a:cubicBezTo>
                  <a:pt x="117" y="85"/>
                  <a:pt x="118" y="84"/>
                  <a:pt x="119" y="83"/>
                </a:cubicBezTo>
                <a:cubicBezTo>
                  <a:pt x="120" y="82"/>
                  <a:pt x="121" y="81"/>
                  <a:pt x="121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7" name="Freeform 298"/>
          <p:cNvSpPr>
            <a:spLocks noChangeAspect="1" noEditPoints="1"/>
          </p:cNvSpPr>
          <p:nvPr/>
        </p:nvSpPr>
        <p:spPr bwMode="auto">
          <a:xfrm>
            <a:off x="4337791" y="3724195"/>
            <a:ext cx="137395" cy="137395"/>
          </a:xfrm>
          <a:custGeom>
            <a:avLst/>
            <a:gdLst>
              <a:gd name="T0" fmla="*/ 133 w 133"/>
              <a:gd name="T1" fmla="*/ 28 h 133"/>
              <a:gd name="T2" fmla="*/ 133 w 133"/>
              <a:gd name="T3" fmla="*/ 106 h 133"/>
              <a:gd name="T4" fmla="*/ 125 w 133"/>
              <a:gd name="T5" fmla="*/ 125 h 133"/>
              <a:gd name="T6" fmla="*/ 106 w 133"/>
              <a:gd name="T7" fmla="*/ 133 h 133"/>
              <a:gd name="T8" fmla="*/ 28 w 133"/>
              <a:gd name="T9" fmla="*/ 133 h 133"/>
              <a:gd name="T10" fmla="*/ 8 w 133"/>
              <a:gd name="T11" fmla="*/ 125 h 133"/>
              <a:gd name="T12" fmla="*/ 0 w 133"/>
              <a:gd name="T13" fmla="*/ 106 h 133"/>
              <a:gd name="T14" fmla="*/ 0 w 133"/>
              <a:gd name="T15" fmla="*/ 28 h 133"/>
              <a:gd name="T16" fmla="*/ 8 w 133"/>
              <a:gd name="T17" fmla="*/ 8 h 133"/>
              <a:gd name="T18" fmla="*/ 28 w 133"/>
              <a:gd name="T19" fmla="*/ 0 h 133"/>
              <a:gd name="T20" fmla="*/ 106 w 133"/>
              <a:gd name="T21" fmla="*/ 0 h 133"/>
              <a:gd name="T22" fmla="*/ 125 w 133"/>
              <a:gd name="T23" fmla="*/ 8 h 133"/>
              <a:gd name="T24" fmla="*/ 133 w 133"/>
              <a:gd name="T25" fmla="*/ 28 h 133"/>
              <a:gd name="T26" fmla="*/ 121 w 133"/>
              <a:gd name="T27" fmla="*/ 106 h 133"/>
              <a:gd name="T28" fmla="*/ 121 w 133"/>
              <a:gd name="T29" fmla="*/ 28 h 133"/>
              <a:gd name="T30" fmla="*/ 117 w 133"/>
              <a:gd name="T31" fmla="*/ 17 h 133"/>
              <a:gd name="T32" fmla="*/ 106 w 133"/>
              <a:gd name="T33" fmla="*/ 12 h 133"/>
              <a:gd name="T34" fmla="*/ 28 w 133"/>
              <a:gd name="T35" fmla="*/ 12 h 133"/>
              <a:gd name="T36" fmla="*/ 17 w 133"/>
              <a:gd name="T37" fmla="*/ 17 h 133"/>
              <a:gd name="T38" fmla="*/ 12 w 133"/>
              <a:gd name="T39" fmla="*/ 28 h 133"/>
              <a:gd name="T40" fmla="*/ 12 w 133"/>
              <a:gd name="T41" fmla="*/ 106 h 133"/>
              <a:gd name="T42" fmla="*/ 17 w 133"/>
              <a:gd name="T43" fmla="*/ 117 h 133"/>
              <a:gd name="T44" fmla="*/ 28 w 133"/>
              <a:gd name="T45" fmla="*/ 121 h 133"/>
              <a:gd name="T46" fmla="*/ 106 w 133"/>
              <a:gd name="T47" fmla="*/ 121 h 133"/>
              <a:gd name="T48" fmla="*/ 117 w 133"/>
              <a:gd name="T49" fmla="*/ 117 h 133"/>
              <a:gd name="T50" fmla="*/ 121 w 133"/>
              <a:gd name="T51" fmla="*/ 106 h 133"/>
              <a:gd name="T52" fmla="*/ 109 w 133"/>
              <a:gd name="T53" fmla="*/ 64 h 133"/>
              <a:gd name="T54" fmla="*/ 109 w 133"/>
              <a:gd name="T55" fmla="*/ 70 h 133"/>
              <a:gd name="T56" fmla="*/ 108 w 133"/>
              <a:gd name="T57" fmla="*/ 72 h 133"/>
              <a:gd name="T58" fmla="*/ 106 w 133"/>
              <a:gd name="T59" fmla="*/ 73 h 133"/>
              <a:gd name="T60" fmla="*/ 28 w 133"/>
              <a:gd name="T61" fmla="*/ 73 h 133"/>
              <a:gd name="T62" fmla="*/ 25 w 133"/>
              <a:gd name="T63" fmla="*/ 72 h 133"/>
              <a:gd name="T64" fmla="*/ 24 w 133"/>
              <a:gd name="T65" fmla="*/ 70 h 133"/>
              <a:gd name="T66" fmla="*/ 24 w 133"/>
              <a:gd name="T67" fmla="*/ 64 h 133"/>
              <a:gd name="T68" fmla="*/ 25 w 133"/>
              <a:gd name="T69" fmla="*/ 62 h 133"/>
              <a:gd name="T70" fmla="*/ 28 w 133"/>
              <a:gd name="T71" fmla="*/ 61 h 133"/>
              <a:gd name="T72" fmla="*/ 106 w 133"/>
              <a:gd name="T73" fmla="*/ 61 h 133"/>
              <a:gd name="T74" fmla="*/ 108 w 133"/>
              <a:gd name="T75" fmla="*/ 62 h 133"/>
              <a:gd name="T76" fmla="*/ 109 w 133"/>
              <a:gd name="T77" fmla="*/ 64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3" h="133">
                <a:moveTo>
                  <a:pt x="133" y="28"/>
                </a:moveTo>
                <a:cubicBezTo>
                  <a:pt x="133" y="106"/>
                  <a:pt x="133" y="106"/>
                  <a:pt x="133" y="106"/>
                </a:cubicBezTo>
                <a:cubicBezTo>
                  <a:pt x="133" y="114"/>
                  <a:pt x="131" y="120"/>
                  <a:pt x="125" y="125"/>
                </a:cubicBezTo>
                <a:cubicBezTo>
                  <a:pt x="120" y="131"/>
                  <a:pt x="114" y="133"/>
                  <a:pt x="106" y="133"/>
                </a:cubicBezTo>
                <a:cubicBezTo>
                  <a:pt x="28" y="133"/>
                  <a:pt x="28" y="133"/>
                  <a:pt x="28" y="133"/>
                </a:cubicBezTo>
                <a:cubicBezTo>
                  <a:pt x="20" y="133"/>
                  <a:pt x="14" y="131"/>
                  <a:pt x="8" y="125"/>
                </a:cubicBezTo>
                <a:cubicBezTo>
                  <a:pt x="3" y="120"/>
                  <a:pt x="0" y="114"/>
                  <a:pt x="0" y="10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4" y="0"/>
                  <a:pt x="120" y="3"/>
                  <a:pt x="125" y="8"/>
                </a:cubicBezTo>
                <a:cubicBezTo>
                  <a:pt x="131" y="14"/>
                  <a:pt x="133" y="20"/>
                  <a:pt x="133" y="28"/>
                </a:cubicBezTo>
                <a:close/>
                <a:moveTo>
                  <a:pt x="121" y="106"/>
                </a:moveTo>
                <a:cubicBezTo>
                  <a:pt x="121" y="28"/>
                  <a:pt x="121" y="28"/>
                  <a:pt x="121" y="28"/>
                </a:cubicBezTo>
                <a:cubicBezTo>
                  <a:pt x="121" y="23"/>
                  <a:pt x="120" y="20"/>
                  <a:pt x="117" y="17"/>
                </a:cubicBezTo>
                <a:cubicBezTo>
                  <a:pt x="114" y="14"/>
                  <a:pt x="110" y="12"/>
                  <a:pt x="106" y="12"/>
                </a:cubicBezTo>
                <a:cubicBezTo>
                  <a:pt x="28" y="12"/>
                  <a:pt x="28" y="12"/>
                  <a:pt x="28" y="12"/>
                </a:cubicBezTo>
                <a:cubicBezTo>
                  <a:pt x="23" y="12"/>
                  <a:pt x="20" y="14"/>
                  <a:pt x="17" y="17"/>
                </a:cubicBezTo>
                <a:cubicBezTo>
                  <a:pt x="14" y="20"/>
                  <a:pt x="12" y="23"/>
                  <a:pt x="12" y="28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2" y="110"/>
                  <a:pt x="14" y="114"/>
                  <a:pt x="17" y="117"/>
                </a:cubicBezTo>
                <a:cubicBezTo>
                  <a:pt x="20" y="120"/>
                  <a:pt x="23" y="121"/>
                  <a:pt x="28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10" y="121"/>
                  <a:pt x="114" y="120"/>
                  <a:pt x="117" y="117"/>
                </a:cubicBezTo>
                <a:cubicBezTo>
                  <a:pt x="120" y="114"/>
                  <a:pt x="121" y="110"/>
                  <a:pt x="121" y="106"/>
                </a:cubicBezTo>
                <a:close/>
                <a:moveTo>
                  <a:pt x="109" y="64"/>
                </a:moveTo>
                <a:cubicBezTo>
                  <a:pt x="109" y="70"/>
                  <a:pt x="109" y="70"/>
                  <a:pt x="109" y="70"/>
                </a:cubicBezTo>
                <a:cubicBezTo>
                  <a:pt x="109" y="71"/>
                  <a:pt x="109" y="72"/>
                  <a:pt x="108" y="72"/>
                </a:cubicBezTo>
                <a:cubicBezTo>
                  <a:pt x="108" y="73"/>
                  <a:pt x="107" y="73"/>
                  <a:pt x="106" y="73"/>
                </a:cubicBezTo>
                <a:cubicBezTo>
                  <a:pt x="28" y="73"/>
                  <a:pt x="28" y="73"/>
                  <a:pt x="28" y="73"/>
                </a:cubicBezTo>
                <a:cubicBezTo>
                  <a:pt x="27" y="73"/>
                  <a:pt x="26" y="73"/>
                  <a:pt x="25" y="72"/>
                </a:cubicBezTo>
                <a:cubicBezTo>
                  <a:pt x="25" y="72"/>
                  <a:pt x="24" y="71"/>
                  <a:pt x="24" y="70"/>
                </a:cubicBezTo>
                <a:cubicBezTo>
                  <a:pt x="24" y="64"/>
                  <a:pt x="24" y="64"/>
                  <a:pt x="24" y="64"/>
                </a:cubicBezTo>
                <a:cubicBezTo>
                  <a:pt x="24" y="63"/>
                  <a:pt x="25" y="62"/>
                  <a:pt x="25" y="62"/>
                </a:cubicBezTo>
                <a:cubicBezTo>
                  <a:pt x="26" y="61"/>
                  <a:pt x="27" y="61"/>
                  <a:pt x="28" y="61"/>
                </a:cubicBezTo>
                <a:cubicBezTo>
                  <a:pt x="106" y="61"/>
                  <a:pt x="106" y="61"/>
                  <a:pt x="106" y="61"/>
                </a:cubicBezTo>
                <a:cubicBezTo>
                  <a:pt x="107" y="61"/>
                  <a:pt x="108" y="61"/>
                  <a:pt x="108" y="62"/>
                </a:cubicBezTo>
                <a:cubicBezTo>
                  <a:pt x="109" y="62"/>
                  <a:pt x="109" y="63"/>
                  <a:pt x="109" y="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8" name="Freeform 299"/>
          <p:cNvSpPr>
            <a:spLocks noChangeAspect="1"/>
          </p:cNvSpPr>
          <p:nvPr/>
        </p:nvSpPr>
        <p:spPr bwMode="auto">
          <a:xfrm>
            <a:off x="4520465" y="3724195"/>
            <a:ext cx="101485" cy="137395"/>
          </a:xfrm>
          <a:custGeom>
            <a:avLst/>
            <a:gdLst>
              <a:gd name="T0" fmla="*/ 97 w 98"/>
              <a:gd name="T1" fmla="*/ 45 h 133"/>
              <a:gd name="T2" fmla="*/ 91 w 98"/>
              <a:gd name="T3" fmla="*/ 49 h 133"/>
              <a:gd name="T4" fmla="*/ 73 w 98"/>
              <a:gd name="T5" fmla="*/ 49 h 133"/>
              <a:gd name="T6" fmla="*/ 73 w 98"/>
              <a:gd name="T7" fmla="*/ 130 h 133"/>
              <a:gd name="T8" fmla="*/ 72 w 98"/>
              <a:gd name="T9" fmla="*/ 133 h 133"/>
              <a:gd name="T10" fmla="*/ 70 w 98"/>
              <a:gd name="T11" fmla="*/ 133 h 133"/>
              <a:gd name="T12" fmla="*/ 4 w 98"/>
              <a:gd name="T13" fmla="*/ 133 h 133"/>
              <a:gd name="T14" fmla="*/ 1 w 98"/>
              <a:gd name="T15" fmla="*/ 132 h 133"/>
              <a:gd name="T16" fmla="*/ 1 w 98"/>
              <a:gd name="T17" fmla="*/ 128 h 133"/>
              <a:gd name="T18" fmla="*/ 16 w 98"/>
              <a:gd name="T19" fmla="*/ 110 h 133"/>
              <a:gd name="T20" fmla="*/ 19 w 98"/>
              <a:gd name="T21" fmla="*/ 109 h 133"/>
              <a:gd name="T22" fmla="*/ 49 w 98"/>
              <a:gd name="T23" fmla="*/ 109 h 133"/>
              <a:gd name="T24" fmla="*/ 49 w 98"/>
              <a:gd name="T25" fmla="*/ 49 h 133"/>
              <a:gd name="T26" fmla="*/ 31 w 98"/>
              <a:gd name="T27" fmla="*/ 49 h 133"/>
              <a:gd name="T28" fmla="*/ 25 w 98"/>
              <a:gd name="T29" fmla="*/ 45 h 133"/>
              <a:gd name="T30" fmla="*/ 26 w 98"/>
              <a:gd name="T31" fmla="*/ 39 h 133"/>
              <a:gd name="T32" fmla="*/ 56 w 98"/>
              <a:gd name="T33" fmla="*/ 2 h 133"/>
              <a:gd name="T34" fmla="*/ 61 w 98"/>
              <a:gd name="T35" fmla="*/ 0 h 133"/>
              <a:gd name="T36" fmla="*/ 66 w 98"/>
              <a:gd name="T37" fmla="*/ 2 h 133"/>
              <a:gd name="T38" fmla="*/ 96 w 98"/>
              <a:gd name="T39" fmla="*/ 39 h 133"/>
              <a:gd name="T40" fmla="*/ 97 w 98"/>
              <a:gd name="T41" fmla="*/ 45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8" h="133">
                <a:moveTo>
                  <a:pt x="97" y="45"/>
                </a:moveTo>
                <a:cubicBezTo>
                  <a:pt x="96" y="48"/>
                  <a:pt x="94" y="49"/>
                  <a:pt x="91" y="49"/>
                </a:cubicBezTo>
                <a:cubicBezTo>
                  <a:pt x="73" y="49"/>
                  <a:pt x="73" y="49"/>
                  <a:pt x="73" y="49"/>
                </a:cubicBezTo>
                <a:cubicBezTo>
                  <a:pt x="73" y="130"/>
                  <a:pt x="73" y="130"/>
                  <a:pt x="73" y="130"/>
                </a:cubicBezTo>
                <a:cubicBezTo>
                  <a:pt x="73" y="131"/>
                  <a:pt x="73" y="132"/>
                  <a:pt x="72" y="133"/>
                </a:cubicBezTo>
                <a:cubicBezTo>
                  <a:pt x="72" y="133"/>
                  <a:pt x="71" y="133"/>
                  <a:pt x="70" y="133"/>
                </a:cubicBezTo>
                <a:cubicBezTo>
                  <a:pt x="4" y="133"/>
                  <a:pt x="4" y="133"/>
                  <a:pt x="4" y="133"/>
                </a:cubicBezTo>
                <a:cubicBezTo>
                  <a:pt x="2" y="133"/>
                  <a:pt x="1" y="133"/>
                  <a:pt x="1" y="132"/>
                </a:cubicBezTo>
                <a:cubicBezTo>
                  <a:pt x="0" y="130"/>
                  <a:pt x="0" y="129"/>
                  <a:pt x="1" y="128"/>
                </a:cubicBezTo>
                <a:cubicBezTo>
                  <a:pt x="16" y="110"/>
                  <a:pt x="16" y="110"/>
                  <a:pt x="16" y="110"/>
                </a:cubicBezTo>
                <a:cubicBezTo>
                  <a:pt x="17" y="110"/>
                  <a:pt x="18" y="109"/>
                  <a:pt x="19" y="109"/>
                </a:cubicBezTo>
                <a:cubicBezTo>
                  <a:pt x="49" y="109"/>
                  <a:pt x="49" y="109"/>
                  <a:pt x="49" y="109"/>
                </a:cubicBezTo>
                <a:cubicBezTo>
                  <a:pt x="49" y="49"/>
                  <a:pt x="49" y="49"/>
                  <a:pt x="49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28" y="49"/>
                  <a:pt x="26" y="48"/>
                  <a:pt x="25" y="45"/>
                </a:cubicBezTo>
                <a:cubicBezTo>
                  <a:pt x="24" y="43"/>
                  <a:pt x="24" y="41"/>
                  <a:pt x="26" y="39"/>
                </a:cubicBezTo>
                <a:cubicBezTo>
                  <a:pt x="56" y="2"/>
                  <a:pt x="56" y="2"/>
                  <a:pt x="56" y="2"/>
                </a:cubicBezTo>
                <a:cubicBezTo>
                  <a:pt x="58" y="1"/>
                  <a:pt x="59" y="0"/>
                  <a:pt x="61" y="0"/>
                </a:cubicBezTo>
                <a:cubicBezTo>
                  <a:pt x="63" y="0"/>
                  <a:pt x="65" y="1"/>
                  <a:pt x="66" y="2"/>
                </a:cubicBezTo>
                <a:cubicBezTo>
                  <a:pt x="96" y="39"/>
                  <a:pt x="96" y="39"/>
                  <a:pt x="96" y="39"/>
                </a:cubicBezTo>
                <a:cubicBezTo>
                  <a:pt x="98" y="41"/>
                  <a:pt x="98" y="43"/>
                  <a:pt x="97" y="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99" name="Freeform 300"/>
          <p:cNvSpPr>
            <a:spLocks noChangeAspect="1"/>
          </p:cNvSpPr>
          <p:nvPr/>
        </p:nvSpPr>
        <p:spPr bwMode="auto">
          <a:xfrm>
            <a:off x="4664105" y="3736686"/>
            <a:ext cx="101485" cy="138957"/>
          </a:xfrm>
          <a:custGeom>
            <a:avLst/>
            <a:gdLst>
              <a:gd name="T0" fmla="*/ 3 w 98"/>
              <a:gd name="T1" fmla="*/ 0 h 134"/>
              <a:gd name="T2" fmla="*/ 70 w 98"/>
              <a:gd name="T3" fmla="*/ 0 h 134"/>
              <a:gd name="T4" fmla="*/ 72 w 98"/>
              <a:gd name="T5" fmla="*/ 1 h 134"/>
              <a:gd name="T6" fmla="*/ 73 w 98"/>
              <a:gd name="T7" fmla="*/ 4 h 134"/>
              <a:gd name="T8" fmla="*/ 73 w 98"/>
              <a:gd name="T9" fmla="*/ 85 h 134"/>
              <a:gd name="T10" fmla="*/ 91 w 98"/>
              <a:gd name="T11" fmla="*/ 85 h 134"/>
              <a:gd name="T12" fmla="*/ 97 w 98"/>
              <a:gd name="T13" fmla="*/ 89 h 134"/>
              <a:gd name="T14" fmla="*/ 96 w 98"/>
              <a:gd name="T15" fmla="*/ 95 h 134"/>
              <a:gd name="T16" fmla="*/ 66 w 98"/>
              <a:gd name="T17" fmla="*/ 131 h 134"/>
              <a:gd name="T18" fmla="*/ 61 w 98"/>
              <a:gd name="T19" fmla="*/ 134 h 134"/>
              <a:gd name="T20" fmla="*/ 56 w 98"/>
              <a:gd name="T21" fmla="*/ 131 h 134"/>
              <a:gd name="T22" fmla="*/ 26 w 98"/>
              <a:gd name="T23" fmla="*/ 95 h 134"/>
              <a:gd name="T24" fmla="*/ 25 w 98"/>
              <a:gd name="T25" fmla="*/ 89 h 134"/>
              <a:gd name="T26" fmla="*/ 31 w 98"/>
              <a:gd name="T27" fmla="*/ 85 h 134"/>
              <a:gd name="T28" fmla="*/ 49 w 98"/>
              <a:gd name="T29" fmla="*/ 85 h 134"/>
              <a:gd name="T30" fmla="*/ 49 w 98"/>
              <a:gd name="T31" fmla="*/ 25 h 134"/>
              <a:gd name="T32" fmla="*/ 19 w 98"/>
              <a:gd name="T33" fmla="*/ 25 h 134"/>
              <a:gd name="T34" fmla="*/ 16 w 98"/>
              <a:gd name="T35" fmla="*/ 24 h 134"/>
              <a:gd name="T36" fmla="*/ 1 w 98"/>
              <a:gd name="T37" fmla="*/ 5 h 134"/>
              <a:gd name="T38" fmla="*/ 1 w 98"/>
              <a:gd name="T39" fmla="*/ 2 h 134"/>
              <a:gd name="T40" fmla="*/ 3 w 98"/>
              <a:gd name="T41" fmla="*/ 0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8" h="134">
                <a:moveTo>
                  <a:pt x="3" y="0"/>
                </a:moveTo>
                <a:cubicBezTo>
                  <a:pt x="70" y="0"/>
                  <a:pt x="70" y="0"/>
                  <a:pt x="70" y="0"/>
                </a:cubicBezTo>
                <a:cubicBezTo>
                  <a:pt x="71" y="0"/>
                  <a:pt x="72" y="1"/>
                  <a:pt x="72" y="1"/>
                </a:cubicBezTo>
                <a:cubicBezTo>
                  <a:pt x="73" y="2"/>
                  <a:pt x="73" y="3"/>
                  <a:pt x="73" y="4"/>
                </a:cubicBezTo>
                <a:cubicBezTo>
                  <a:pt x="73" y="85"/>
                  <a:pt x="73" y="85"/>
                  <a:pt x="73" y="85"/>
                </a:cubicBezTo>
                <a:cubicBezTo>
                  <a:pt x="91" y="85"/>
                  <a:pt x="91" y="85"/>
                  <a:pt x="91" y="85"/>
                </a:cubicBezTo>
                <a:cubicBezTo>
                  <a:pt x="94" y="85"/>
                  <a:pt x="96" y="86"/>
                  <a:pt x="97" y="89"/>
                </a:cubicBezTo>
                <a:cubicBezTo>
                  <a:pt x="98" y="91"/>
                  <a:pt x="98" y="93"/>
                  <a:pt x="96" y="95"/>
                </a:cubicBezTo>
                <a:cubicBezTo>
                  <a:pt x="66" y="131"/>
                  <a:pt x="66" y="131"/>
                  <a:pt x="66" y="131"/>
                </a:cubicBezTo>
                <a:cubicBezTo>
                  <a:pt x="64" y="133"/>
                  <a:pt x="63" y="134"/>
                  <a:pt x="61" y="134"/>
                </a:cubicBezTo>
                <a:cubicBezTo>
                  <a:pt x="59" y="134"/>
                  <a:pt x="57" y="133"/>
                  <a:pt x="56" y="131"/>
                </a:cubicBezTo>
                <a:cubicBezTo>
                  <a:pt x="26" y="95"/>
                  <a:pt x="26" y="95"/>
                  <a:pt x="26" y="95"/>
                </a:cubicBezTo>
                <a:cubicBezTo>
                  <a:pt x="24" y="93"/>
                  <a:pt x="24" y="91"/>
                  <a:pt x="25" y="89"/>
                </a:cubicBezTo>
                <a:cubicBezTo>
                  <a:pt x="26" y="86"/>
                  <a:pt x="28" y="85"/>
                  <a:pt x="31" y="85"/>
                </a:cubicBezTo>
                <a:cubicBezTo>
                  <a:pt x="49" y="85"/>
                  <a:pt x="49" y="85"/>
                  <a:pt x="49" y="85"/>
                </a:cubicBezTo>
                <a:cubicBezTo>
                  <a:pt x="49" y="25"/>
                  <a:pt x="49" y="25"/>
                  <a:pt x="49" y="25"/>
                </a:cubicBezTo>
                <a:cubicBezTo>
                  <a:pt x="19" y="25"/>
                  <a:pt x="19" y="25"/>
                  <a:pt x="19" y="25"/>
                </a:cubicBezTo>
                <a:cubicBezTo>
                  <a:pt x="18" y="25"/>
                  <a:pt x="17" y="24"/>
                  <a:pt x="16" y="24"/>
                </a:cubicBezTo>
                <a:cubicBezTo>
                  <a:pt x="1" y="5"/>
                  <a:pt x="1" y="5"/>
                  <a:pt x="1" y="5"/>
                </a:cubicBezTo>
                <a:cubicBezTo>
                  <a:pt x="0" y="5"/>
                  <a:pt x="0" y="3"/>
                  <a:pt x="1" y="2"/>
                </a:cubicBezTo>
                <a:cubicBezTo>
                  <a:pt x="1" y="1"/>
                  <a:pt x="2" y="0"/>
                  <a:pt x="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0" name="Freeform 301"/>
          <p:cNvSpPr>
            <a:spLocks noChangeAspect="1" noEditPoints="1"/>
          </p:cNvSpPr>
          <p:nvPr/>
        </p:nvSpPr>
        <p:spPr bwMode="auto">
          <a:xfrm>
            <a:off x="4809306" y="3724195"/>
            <a:ext cx="151447" cy="151447"/>
          </a:xfrm>
          <a:custGeom>
            <a:avLst/>
            <a:gdLst>
              <a:gd name="T0" fmla="*/ 146 w 146"/>
              <a:gd name="T1" fmla="*/ 28 h 146"/>
              <a:gd name="T2" fmla="*/ 146 w 146"/>
              <a:gd name="T3" fmla="*/ 118 h 146"/>
              <a:gd name="T4" fmla="*/ 138 w 146"/>
              <a:gd name="T5" fmla="*/ 138 h 146"/>
              <a:gd name="T6" fmla="*/ 118 w 146"/>
              <a:gd name="T7" fmla="*/ 146 h 146"/>
              <a:gd name="T8" fmla="*/ 28 w 146"/>
              <a:gd name="T9" fmla="*/ 146 h 146"/>
              <a:gd name="T10" fmla="*/ 8 w 146"/>
              <a:gd name="T11" fmla="*/ 138 h 146"/>
              <a:gd name="T12" fmla="*/ 0 w 146"/>
              <a:gd name="T13" fmla="*/ 118 h 146"/>
              <a:gd name="T14" fmla="*/ 0 w 146"/>
              <a:gd name="T15" fmla="*/ 28 h 146"/>
              <a:gd name="T16" fmla="*/ 8 w 146"/>
              <a:gd name="T17" fmla="*/ 8 h 146"/>
              <a:gd name="T18" fmla="*/ 28 w 146"/>
              <a:gd name="T19" fmla="*/ 0 h 146"/>
              <a:gd name="T20" fmla="*/ 118 w 146"/>
              <a:gd name="T21" fmla="*/ 0 h 146"/>
              <a:gd name="T22" fmla="*/ 138 w 146"/>
              <a:gd name="T23" fmla="*/ 8 h 146"/>
              <a:gd name="T24" fmla="*/ 146 w 146"/>
              <a:gd name="T25" fmla="*/ 28 h 146"/>
              <a:gd name="T26" fmla="*/ 65 w 146"/>
              <a:gd name="T27" fmla="*/ 111 h 146"/>
              <a:gd name="T28" fmla="*/ 123 w 146"/>
              <a:gd name="T29" fmla="*/ 53 h 146"/>
              <a:gd name="T30" fmla="*/ 125 w 146"/>
              <a:gd name="T31" fmla="*/ 49 h 146"/>
              <a:gd name="T32" fmla="*/ 123 w 146"/>
              <a:gd name="T33" fmla="*/ 44 h 146"/>
              <a:gd name="T34" fmla="*/ 113 w 146"/>
              <a:gd name="T35" fmla="*/ 35 h 146"/>
              <a:gd name="T36" fmla="*/ 109 w 146"/>
              <a:gd name="T37" fmla="*/ 33 h 146"/>
              <a:gd name="T38" fmla="*/ 105 w 146"/>
              <a:gd name="T39" fmla="*/ 35 h 146"/>
              <a:gd name="T40" fmla="*/ 61 w 146"/>
              <a:gd name="T41" fmla="*/ 79 h 146"/>
              <a:gd name="T42" fmla="*/ 41 w 146"/>
              <a:gd name="T43" fmla="*/ 59 h 146"/>
              <a:gd name="T44" fmla="*/ 37 w 146"/>
              <a:gd name="T45" fmla="*/ 57 h 146"/>
              <a:gd name="T46" fmla="*/ 32 w 146"/>
              <a:gd name="T47" fmla="*/ 59 h 146"/>
              <a:gd name="T48" fmla="*/ 23 w 146"/>
              <a:gd name="T49" fmla="*/ 69 h 146"/>
              <a:gd name="T50" fmla="*/ 21 w 146"/>
              <a:gd name="T51" fmla="*/ 73 h 146"/>
              <a:gd name="T52" fmla="*/ 23 w 146"/>
              <a:gd name="T53" fmla="*/ 77 h 146"/>
              <a:gd name="T54" fmla="*/ 57 w 146"/>
              <a:gd name="T55" fmla="*/ 111 h 146"/>
              <a:gd name="T56" fmla="*/ 61 w 146"/>
              <a:gd name="T57" fmla="*/ 113 h 146"/>
              <a:gd name="T58" fmla="*/ 65 w 146"/>
              <a:gd name="T59" fmla="*/ 1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6" h="146">
                <a:moveTo>
                  <a:pt x="146" y="28"/>
                </a:moveTo>
                <a:cubicBezTo>
                  <a:pt x="146" y="118"/>
                  <a:pt x="146" y="118"/>
                  <a:pt x="146" y="118"/>
                </a:cubicBezTo>
                <a:cubicBezTo>
                  <a:pt x="146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6" y="20"/>
                  <a:pt x="146" y="28"/>
                </a:cubicBezTo>
                <a:close/>
                <a:moveTo>
                  <a:pt x="65" y="111"/>
                </a:moveTo>
                <a:cubicBezTo>
                  <a:pt x="123" y="53"/>
                  <a:pt x="123" y="53"/>
                  <a:pt x="123" y="53"/>
                </a:cubicBezTo>
                <a:cubicBezTo>
                  <a:pt x="124" y="52"/>
                  <a:pt x="125" y="50"/>
                  <a:pt x="125" y="49"/>
                </a:cubicBezTo>
                <a:cubicBezTo>
                  <a:pt x="125" y="47"/>
                  <a:pt x="124" y="46"/>
                  <a:pt x="123" y="44"/>
                </a:cubicBezTo>
                <a:cubicBezTo>
                  <a:pt x="113" y="35"/>
                  <a:pt x="113" y="35"/>
                  <a:pt x="113" y="35"/>
                </a:cubicBezTo>
                <a:cubicBezTo>
                  <a:pt x="112" y="34"/>
                  <a:pt x="111" y="33"/>
                  <a:pt x="109" y="33"/>
                </a:cubicBezTo>
                <a:cubicBezTo>
                  <a:pt x="108" y="33"/>
                  <a:pt x="106" y="34"/>
                  <a:pt x="105" y="35"/>
                </a:cubicBezTo>
                <a:cubicBezTo>
                  <a:pt x="61" y="79"/>
                  <a:pt x="61" y="79"/>
                  <a:pt x="61" y="79"/>
                </a:cubicBezTo>
                <a:cubicBezTo>
                  <a:pt x="41" y="59"/>
                  <a:pt x="41" y="59"/>
                  <a:pt x="41" y="59"/>
                </a:cubicBezTo>
                <a:cubicBezTo>
                  <a:pt x="40" y="58"/>
                  <a:pt x="38" y="57"/>
                  <a:pt x="37" y="57"/>
                </a:cubicBezTo>
                <a:cubicBezTo>
                  <a:pt x="35" y="57"/>
                  <a:pt x="34" y="58"/>
                  <a:pt x="32" y="59"/>
                </a:cubicBezTo>
                <a:cubicBezTo>
                  <a:pt x="23" y="69"/>
                  <a:pt x="23" y="69"/>
                  <a:pt x="23" y="69"/>
                </a:cubicBezTo>
                <a:cubicBezTo>
                  <a:pt x="22" y="70"/>
                  <a:pt x="21" y="71"/>
                  <a:pt x="21" y="73"/>
                </a:cubicBezTo>
                <a:cubicBezTo>
                  <a:pt x="21" y="75"/>
                  <a:pt x="22" y="76"/>
                  <a:pt x="23" y="77"/>
                </a:cubicBezTo>
                <a:cubicBezTo>
                  <a:pt x="57" y="111"/>
                  <a:pt x="57" y="111"/>
                  <a:pt x="57" y="111"/>
                </a:cubicBezTo>
                <a:cubicBezTo>
                  <a:pt x="58" y="112"/>
                  <a:pt x="59" y="113"/>
                  <a:pt x="61" y="113"/>
                </a:cubicBezTo>
                <a:cubicBezTo>
                  <a:pt x="62" y="113"/>
                  <a:pt x="64" y="112"/>
                  <a:pt x="65" y="1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1" name="Freeform 302"/>
          <p:cNvSpPr>
            <a:spLocks noChangeAspect="1" noEditPoints="1"/>
          </p:cNvSpPr>
          <p:nvPr/>
        </p:nvSpPr>
        <p:spPr bwMode="auto">
          <a:xfrm>
            <a:off x="5006031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51 w 145"/>
              <a:gd name="T27" fmla="*/ 121 h 146"/>
              <a:gd name="T28" fmla="*/ 102 w 145"/>
              <a:gd name="T29" fmla="*/ 70 h 146"/>
              <a:gd name="T30" fmla="*/ 75 w 145"/>
              <a:gd name="T31" fmla="*/ 43 h 146"/>
              <a:gd name="T32" fmla="*/ 24 w 145"/>
              <a:gd name="T33" fmla="*/ 94 h 146"/>
              <a:gd name="T34" fmla="*/ 24 w 145"/>
              <a:gd name="T35" fmla="*/ 121 h 146"/>
              <a:gd name="T36" fmla="*/ 51 w 145"/>
              <a:gd name="T37" fmla="*/ 121 h 146"/>
              <a:gd name="T38" fmla="*/ 38 w 145"/>
              <a:gd name="T39" fmla="*/ 93 h 146"/>
              <a:gd name="T40" fmla="*/ 52 w 145"/>
              <a:gd name="T41" fmla="*/ 107 h 146"/>
              <a:gd name="T42" fmla="*/ 47 w 145"/>
              <a:gd name="T43" fmla="*/ 112 h 146"/>
              <a:gd name="T44" fmla="*/ 42 w 145"/>
              <a:gd name="T45" fmla="*/ 112 h 146"/>
              <a:gd name="T46" fmla="*/ 42 w 145"/>
              <a:gd name="T47" fmla="*/ 103 h 146"/>
              <a:gd name="T48" fmla="*/ 33 w 145"/>
              <a:gd name="T49" fmla="*/ 103 h 146"/>
              <a:gd name="T50" fmla="*/ 33 w 145"/>
              <a:gd name="T51" fmla="*/ 98 h 146"/>
              <a:gd name="T52" fmla="*/ 38 w 145"/>
              <a:gd name="T53" fmla="*/ 93 h 146"/>
              <a:gd name="T54" fmla="*/ 77 w 145"/>
              <a:gd name="T55" fmla="*/ 56 h 146"/>
              <a:gd name="T56" fmla="*/ 77 w 145"/>
              <a:gd name="T57" fmla="*/ 59 h 146"/>
              <a:gd name="T58" fmla="*/ 49 w 145"/>
              <a:gd name="T59" fmla="*/ 86 h 146"/>
              <a:gd name="T60" fmla="*/ 46 w 145"/>
              <a:gd name="T61" fmla="*/ 87 h 146"/>
              <a:gd name="T62" fmla="*/ 47 w 145"/>
              <a:gd name="T63" fmla="*/ 84 h 146"/>
              <a:gd name="T64" fmla="*/ 74 w 145"/>
              <a:gd name="T65" fmla="*/ 56 h 146"/>
              <a:gd name="T66" fmla="*/ 77 w 145"/>
              <a:gd name="T67" fmla="*/ 56 h 146"/>
              <a:gd name="T68" fmla="*/ 109 w 145"/>
              <a:gd name="T69" fmla="*/ 64 h 146"/>
              <a:gd name="T70" fmla="*/ 117 w 145"/>
              <a:gd name="T71" fmla="*/ 55 h 146"/>
              <a:gd name="T72" fmla="*/ 120 w 145"/>
              <a:gd name="T73" fmla="*/ 49 h 146"/>
              <a:gd name="T74" fmla="*/ 117 w 145"/>
              <a:gd name="T75" fmla="*/ 42 h 146"/>
              <a:gd name="T76" fmla="*/ 103 w 145"/>
              <a:gd name="T77" fmla="*/ 28 h 146"/>
              <a:gd name="T78" fmla="*/ 96 w 145"/>
              <a:gd name="T79" fmla="*/ 25 h 146"/>
              <a:gd name="T80" fmla="*/ 90 w 145"/>
              <a:gd name="T81" fmla="*/ 28 h 146"/>
              <a:gd name="T82" fmla="*/ 81 w 145"/>
              <a:gd name="T83" fmla="*/ 37 h 146"/>
              <a:gd name="T84" fmla="*/ 109 w 145"/>
              <a:gd name="T85" fmla="*/ 6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19" y="146"/>
                  <a:pt x="13" y="143"/>
                  <a:pt x="8" y="138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2" y="14"/>
                  <a:pt x="8" y="8"/>
                </a:cubicBezTo>
                <a:cubicBezTo>
                  <a:pt x="13" y="3"/>
                  <a:pt x="19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51" y="121"/>
                </a:moveTo>
                <a:cubicBezTo>
                  <a:pt x="102" y="70"/>
                  <a:pt x="102" y="70"/>
                  <a:pt x="102" y="70"/>
                </a:cubicBezTo>
                <a:cubicBezTo>
                  <a:pt x="75" y="43"/>
                  <a:pt x="75" y="43"/>
                  <a:pt x="75" y="43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121"/>
                  <a:pt x="24" y="121"/>
                  <a:pt x="24" y="121"/>
                </a:cubicBezTo>
                <a:lnTo>
                  <a:pt x="51" y="121"/>
                </a:lnTo>
                <a:close/>
                <a:moveTo>
                  <a:pt x="38" y="93"/>
                </a:moveTo>
                <a:cubicBezTo>
                  <a:pt x="52" y="107"/>
                  <a:pt x="52" y="107"/>
                  <a:pt x="52" y="107"/>
                </a:cubicBezTo>
                <a:cubicBezTo>
                  <a:pt x="47" y="112"/>
                  <a:pt x="47" y="112"/>
                  <a:pt x="47" y="112"/>
                </a:cubicBezTo>
                <a:cubicBezTo>
                  <a:pt x="42" y="112"/>
                  <a:pt x="42" y="112"/>
                  <a:pt x="42" y="112"/>
                </a:cubicBezTo>
                <a:cubicBezTo>
                  <a:pt x="42" y="103"/>
                  <a:pt x="42" y="103"/>
                  <a:pt x="42" y="103"/>
                </a:cubicBezTo>
                <a:cubicBezTo>
                  <a:pt x="33" y="103"/>
                  <a:pt x="33" y="103"/>
                  <a:pt x="33" y="103"/>
                </a:cubicBezTo>
                <a:cubicBezTo>
                  <a:pt x="33" y="98"/>
                  <a:pt x="33" y="98"/>
                  <a:pt x="33" y="98"/>
                </a:cubicBezTo>
                <a:lnTo>
                  <a:pt x="38" y="93"/>
                </a:lnTo>
                <a:close/>
                <a:moveTo>
                  <a:pt x="77" y="56"/>
                </a:moveTo>
                <a:cubicBezTo>
                  <a:pt x="78" y="57"/>
                  <a:pt x="78" y="58"/>
                  <a:pt x="77" y="59"/>
                </a:cubicBezTo>
                <a:cubicBezTo>
                  <a:pt x="49" y="86"/>
                  <a:pt x="49" y="86"/>
                  <a:pt x="49" y="86"/>
                </a:cubicBezTo>
                <a:cubicBezTo>
                  <a:pt x="48" y="88"/>
                  <a:pt x="47" y="88"/>
                  <a:pt x="46" y="87"/>
                </a:cubicBezTo>
                <a:cubicBezTo>
                  <a:pt x="45" y="86"/>
                  <a:pt x="46" y="85"/>
                  <a:pt x="47" y="84"/>
                </a:cubicBezTo>
                <a:cubicBezTo>
                  <a:pt x="74" y="56"/>
                  <a:pt x="74" y="56"/>
                  <a:pt x="74" y="56"/>
                </a:cubicBezTo>
                <a:cubicBezTo>
                  <a:pt x="75" y="55"/>
                  <a:pt x="76" y="55"/>
                  <a:pt x="77" y="56"/>
                </a:cubicBezTo>
                <a:close/>
                <a:moveTo>
                  <a:pt x="109" y="64"/>
                </a:moveTo>
                <a:cubicBezTo>
                  <a:pt x="117" y="55"/>
                  <a:pt x="117" y="55"/>
                  <a:pt x="117" y="55"/>
                </a:cubicBezTo>
                <a:cubicBezTo>
                  <a:pt x="119" y="53"/>
                  <a:pt x="120" y="51"/>
                  <a:pt x="120" y="49"/>
                </a:cubicBezTo>
                <a:cubicBezTo>
                  <a:pt x="120" y="46"/>
                  <a:pt x="119" y="44"/>
                  <a:pt x="117" y="42"/>
                </a:cubicBezTo>
                <a:cubicBezTo>
                  <a:pt x="103" y="28"/>
                  <a:pt x="103" y="28"/>
                  <a:pt x="103" y="28"/>
                </a:cubicBezTo>
                <a:cubicBezTo>
                  <a:pt x="101" y="26"/>
                  <a:pt x="99" y="25"/>
                  <a:pt x="96" y="25"/>
                </a:cubicBezTo>
                <a:cubicBezTo>
                  <a:pt x="94" y="25"/>
                  <a:pt x="92" y="26"/>
                  <a:pt x="90" y="28"/>
                </a:cubicBezTo>
                <a:cubicBezTo>
                  <a:pt x="81" y="37"/>
                  <a:pt x="81" y="37"/>
                  <a:pt x="81" y="37"/>
                </a:cubicBezTo>
                <a:lnTo>
                  <a:pt x="109" y="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2" name="Freeform 303"/>
          <p:cNvSpPr>
            <a:spLocks noChangeAspect="1" noEditPoints="1"/>
          </p:cNvSpPr>
          <p:nvPr/>
        </p:nvSpPr>
        <p:spPr bwMode="auto">
          <a:xfrm>
            <a:off x="5199633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76 h 146"/>
              <a:gd name="T28" fmla="*/ 121 w 145"/>
              <a:gd name="T29" fmla="*/ 31 h 146"/>
              <a:gd name="T30" fmla="*/ 119 w 145"/>
              <a:gd name="T31" fmla="*/ 26 h 146"/>
              <a:gd name="T32" fmla="*/ 115 w 145"/>
              <a:gd name="T33" fmla="*/ 25 h 146"/>
              <a:gd name="T34" fmla="*/ 70 w 145"/>
              <a:gd name="T35" fmla="*/ 25 h 146"/>
              <a:gd name="T36" fmla="*/ 64 w 145"/>
              <a:gd name="T37" fmla="*/ 28 h 146"/>
              <a:gd name="T38" fmla="*/ 65 w 145"/>
              <a:gd name="T39" fmla="*/ 35 h 146"/>
              <a:gd name="T40" fmla="*/ 79 w 145"/>
              <a:gd name="T41" fmla="*/ 48 h 146"/>
              <a:gd name="T42" fmla="*/ 28 w 145"/>
              <a:gd name="T43" fmla="*/ 99 h 146"/>
              <a:gd name="T44" fmla="*/ 27 w 145"/>
              <a:gd name="T45" fmla="*/ 103 h 146"/>
              <a:gd name="T46" fmla="*/ 28 w 145"/>
              <a:gd name="T47" fmla="*/ 107 h 146"/>
              <a:gd name="T48" fmla="*/ 38 w 145"/>
              <a:gd name="T49" fmla="*/ 117 h 146"/>
              <a:gd name="T50" fmla="*/ 42 w 145"/>
              <a:gd name="T51" fmla="*/ 119 h 146"/>
              <a:gd name="T52" fmla="*/ 47 w 145"/>
              <a:gd name="T53" fmla="*/ 117 h 146"/>
              <a:gd name="T54" fmla="*/ 97 w 145"/>
              <a:gd name="T55" fmla="*/ 67 h 146"/>
              <a:gd name="T56" fmla="*/ 111 w 145"/>
              <a:gd name="T57" fmla="*/ 80 h 146"/>
              <a:gd name="T58" fmla="*/ 115 w 145"/>
              <a:gd name="T59" fmla="*/ 82 h 146"/>
              <a:gd name="T60" fmla="*/ 117 w 145"/>
              <a:gd name="T61" fmla="*/ 82 h 146"/>
              <a:gd name="T62" fmla="*/ 121 w 145"/>
              <a:gd name="T63" fmla="*/ 7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121" y="76"/>
                </a:moveTo>
                <a:cubicBezTo>
                  <a:pt x="121" y="31"/>
                  <a:pt x="121" y="31"/>
                  <a:pt x="121" y="31"/>
                </a:cubicBezTo>
                <a:cubicBezTo>
                  <a:pt x="121" y="29"/>
                  <a:pt x="120" y="28"/>
                  <a:pt x="119" y="26"/>
                </a:cubicBezTo>
                <a:cubicBezTo>
                  <a:pt x="118" y="25"/>
                  <a:pt x="117" y="25"/>
                  <a:pt x="115" y="25"/>
                </a:cubicBezTo>
                <a:cubicBezTo>
                  <a:pt x="70" y="25"/>
                  <a:pt x="70" y="25"/>
                  <a:pt x="70" y="25"/>
                </a:cubicBezTo>
                <a:cubicBezTo>
                  <a:pt x="67" y="25"/>
                  <a:pt x="65" y="26"/>
                  <a:pt x="64" y="28"/>
                </a:cubicBezTo>
                <a:cubicBezTo>
                  <a:pt x="63" y="31"/>
                  <a:pt x="63" y="33"/>
                  <a:pt x="65" y="35"/>
                </a:cubicBezTo>
                <a:cubicBezTo>
                  <a:pt x="79" y="48"/>
                  <a:pt x="79" y="48"/>
                  <a:pt x="79" y="48"/>
                </a:cubicBezTo>
                <a:cubicBezTo>
                  <a:pt x="28" y="99"/>
                  <a:pt x="28" y="99"/>
                  <a:pt x="28" y="99"/>
                </a:cubicBezTo>
                <a:cubicBezTo>
                  <a:pt x="27" y="100"/>
                  <a:pt x="27" y="102"/>
                  <a:pt x="27" y="103"/>
                </a:cubicBezTo>
                <a:cubicBezTo>
                  <a:pt x="27" y="105"/>
                  <a:pt x="27" y="106"/>
                  <a:pt x="28" y="107"/>
                </a:cubicBezTo>
                <a:cubicBezTo>
                  <a:pt x="38" y="117"/>
                  <a:pt x="38" y="117"/>
                  <a:pt x="38" y="117"/>
                </a:cubicBezTo>
                <a:cubicBezTo>
                  <a:pt x="39" y="118"/>
                  <a:pt x="41" y="119"/>
                  <a:pt x="42" y="119"/>
                </a:cubicBezTo>
                <a:cubicBezTo>
                  <a:pt x="44" y="119"/>
                  <a:pt x="45" y="118"/>
                  <a:pt x="47" y="117"/>
                </a:cubicBezTo>
                <a:cubicBezTo>
                  <a:pt x="97" y="67"/>
                  <a:pt x="97" y="67"/>
                  <a:pt x="97" y="67"/>
                </a:cubicBezTo>
                <a:cubicBezTo>
                  <a:pt x="111" y="80"/>
                  <a:pt x="111" y="80"/>
                  <a:pt x="111" y="80"/>
                </a:cubicBezTo>
                <a:cubicBezTo>
                  <a:pt x="112" y="81"/>
                  <a:pt x="113" y="82"/>
                  <a:pt x="115" y="82"/>
                </a:cubicBezTo>
                <a:cubicBezTo>
                  <a:pt x="116" y="82"/>
                  <a:pt x="116" y="82"/>
                  <a:pt x="117" y="82"/>
                </a:cubicBezTo>
                <a:cubicBezTo>
                  <a:pt x="120" y="80"/>
                  <a:pt x="121" y="79"/>
                  <a:pt x="121" y="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3" name="Freeform 304"/>
          <p:cNvSpPr>
            <a:spLocks noChangeAspect="1" noEditPoints="1"/>
          </p:cNvSpPr>
          <p:nvPr/>
        </p:nvSpPr>
        <p:spPr bwMode="auto">
          <a:xfrm>
            <a:off x="5394796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95 w 145"/>
              <a:gd name="T27" fmla="*/ 92 h 146"/>
              <a:gd name="T28" fmla="*/ 129 w 145"/>
              <a:gd name="T29" fmla="*/ 59 h 146"/>
              <a:gd name="T30" fmla="*/ 130 w 145"/>
              <a:gd name="T31" fmla="*/ 55 h 146"/>
              <a:gd name="T32" fmla="*/ 129 w 145"/>
              <a:gd name="T33" fmla="*/ 51 h 146"/>
              <a:gd name="T34" fmla="*/ 95 w 145"/>
              <a:gd name="T35" fmla="*/ 17 h 146"/>
              <a:gd name="T36" fmla="*/ 89 w 145"/>
              <a:gd name="T37" fmla="*/ 16 h 146"/>
              <a:gd name="T38" fmla="*/ 85 w 145"/>
              <a:gd name="T39" fmla="*/ 21 h 146"/>
              <a:gd name="T40" fmla="*/ 85 w 145"/>
              <a:gd name="T41" fmla="*/ 37 h 146"/>
              <a:gd name="T42" fmla="*/ 65 w 145"/>
              <a:gd name="T43" fmla="*/ 38 h 146"/>
              <a:gd name="T44" fmla="*/ 49 w 145"/>
              <a:gd name="T45" fmla="*/ 43 h 146"/>
              <a:gd name="T46" fmla="*/ 38 w 145"/>
              <a:gd name="T47" fmla="*/ 51 h 146"/>
              <a:gd name="T48" fmla="*/ 31 w 145"/>
              <a:gd name="T49" fmla="*/ 60 h 146"/>
              <a:gd name="T50" fmla="*/ 27 w 145"/>
              <a:gd name="T51" fmla="*/ 70 h 146"/>
              <a:gd name="T52" fmla="*/ 25 w 145"/>
              <a:gd name="T53" fmla="*/ 81 h 146"/>
              <a:gd name="T54" fmla="*/ 24 w 145"/>
              <a:gd name="T55" fmla="*/ 91 h 146"/>
              <a:gd name="T56" fmla="*/ 40 w 145"/>
              <a:gd name="T57" fmla="*/ 129 h 146"/>
              <a:gd name="T58" fmla="*/ 43 w 145"/>
              <a:gd name="T59" fmla="*/ 130 h 146"/>
              <a:gd name="T60" fmla="*/ 44 w 145"/>
              <a:gd name="T61" fmla="*/ 130 h 146"/>
              <a:gd name="T62" fmla="*/ 46 w 145"/>
              <a:gd name="T63" fmla="*/ 127 h 146"/>
              <a:gd name="T64" fmla="*/ 51 w 145"/>
              <a:gd name="T65" fmla="*/ 82 h 146"/>
              <a:gd name="T66" fmla="*/ 64 w 145"/>
              <a:gd name="T67" fmla="*/ 75 h 146"/>
              <a:gd name="T68" fmla="*/ 85 w 145"/>
              <a:gd name="T69" fmla="*/ 73 h 146"/>
              <a:gd name="T70" fmla="*/ 85 w 145"/>
              <a:gd name="T71" fmla="*/ 88 h 146"/>
              <a:gd name="T72" fmla="*/ 89 w 145"/>
              <a:gd name="T73" fmla="*/ 94 h 146"/>
              <a:gd name="T74" fmla="*/ 91 w 145"/>
              <a:gd name="T75" fmla="*/ 94 h 146"/>
              <a:gd name="T76" fmla="*/ 95 w 145"/>
              <a:gd name="T77" fmla="*/ 9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95" y="92"/>
                </a:moveTo>
                <a:cubicBezTo>
                  <a:pt x="129" y="59"/>
                  <a:pt x="129" y="59"/>
                  <a:pt x="129" y="59"/>
                </a:cubicBezTo>
                <a:cubicBezTo>
                  <a:pt x="130" y="58"/>
                  <a:pt x="130" y="56"/>
                  <a:pt x="130" y="55"/>
                </a:cubicBezTo>
                <a:cubicBezTo>
                  <a:pt x="130" y="53"/>
                  <a:pt x="130" y="52"/>
                  <a:pt x="129" y="51"/>
                </a:cubicBezTo>
                <a:cubicBezTo>
                  <a:pt x="95" y="17"/>
                  <a:pt x="95" y="17"/>
                  <a:pt x="95" y="17"/>
                </a:cubicBezTo>
                <a:cubicBezTo>
                  <a:pt x="93" y="15"/>
                  <a:pt x="91" y="15"/>
                  <a:pt x="89" y="16"/>
                </a:cubicBezTo>
                <a:cubicBezTo>
                  <a:pt x="86" y="17"/>
                  <a:pt x="85" y="19"/>
                  <a:pt x="85" y="21"/>
                </a:cubicBezTo>
                <a:cubicBezTo>
                  <a:pt x="85" y="37"/>
                  <a:pt x="85" y="37"/>
                  <a:pt x="85" y="37"/>
                </a:cubicBezTo>
                <a:cubicBezTo>
                  <a:pt x="77" y="37"/>
                  <a:pt x="71" y="37"/>
                  <a:pt x="65" y="38"/>
                </a:cubicBezTo>
                <a:cubicBezTo>
                  <a:pt x="58" y="40"/>
                  <a:pt x="53" y="41"/>
                  <a:pt x="49" y="43"/>
                </a:cubicBezTo>
                <a:cubicBezTo>
                  <a:pt x="45" y="45"/>
                  <a:pt x="41" y="48"/>
                  <a:pt x="38" y="51"/>
                </a:cubicBezTo>
                <a:cubicBezTo>
                  <a:pt x="35" y="54"/>
                  <a:pt x="33" y="57"/>
                  <a:pt x="31" y="60"/>
                </a:cubicBezTo>
                <a:cubicBezTo>
                  <a:pt x="29" y="63"/>
                  <a:pt x="28" y="66"/>
                  <a:pt x="27" y="70"/>
                </a:cubicBezTo>
                <a:cubicBezTo>
                  <a:pt x="26" y="74"/>
                  <a:pt x="25" y="77"/>
                  <a:pt x="25" y="81"/>
                </a:cubicBezTo>
                <a:cubicBezTo>
                  <a:pt x="25" y="84"/>
                  <a:pt x="24" y="87"/>
                  <a:pt x="24" y="91"/>
                </a:cubicBezTo>
                <a:cubicBezTo>
                  <a:pt x="24" y="102"/>
                  <a:pt x="30" y="115"/>
                  <a:pt x="40" y="129"/>
                </a:cubicBezTo>
                <a:cubicBezTo>
                  <a:pt x="41" y="130"/>
                  <a:pt x="42" y="130"/>
                  <a:pt x="43" y="130"/>
                </a:cubicBezTo>
                <a:cubicBezTo>
                  <a:pt x="43" y="130"/>
                  <a:pt x="43" y="130"/>
                  <a:pt x="44" y="130"/>
                </a:cubicBezTo>
                <a:cubicBezTo>
                  <a:pt x="45" y="130"/>
                  <a:pt x="46" y="129"/>
                  <a:pt x="46" y="127"/>
                </a:cubicBezTo>
                <a:cubicBezTo>
                  <a:pt x="43" y="105"/>
                  <a:pt x="45" y="90"/>
                  <a:pt x="51" y="82"/>
                </a:cubicBezTo>
                <a:cubicBezTo>
                  <a:pt x="54" y="79"/>
                  <a:pt x="58" y="77"/>
                  <a:pt x="64" y="75"/>
                </a:cubicBezTo>
                <a:cubicBezTo>
                  <a:pt x="69" y="74"/>
                  <a:pt x="76" y="73"/>
                  <a:pt x="85" y="73"/>
                </a:cubicBezTo>
                <a:cubicBezTo>
                  <a:pt x="85" y="88"/>
                  <a:pt x="85" y="88"/>
                  <a:pt x="85" y="88"/>
                </a:cubicBezTo>
                <a:cubicBezTo>
                  <a:pt x="85" y="91"/>
                  <a:pt x="86" y="93"/>
                  <a:pt x="89" y="94"/>
                </a:cubicBezTo>
                <a:cubicBezTo>
                  <a:pt x="89" y="94"/>
                  <a:pt x="90" y="94"/>
                  <a:pt x="91" y="94"/>
                </a:cubicBezTo>
                <a:cubicBezTo>
                  <a:pt x="93" y="94"/>
                  <a:pt x="94" y="94"/>
                  <a:pt x="95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4" name="Freeform 305"/>
          <p:cNvSpPr>
            <a:spLocks noChangeAspect="1" noEditPoints="1"/>
          </p:cNvSpPr>
          <p:nvPr/>
        </p:nvSpPr>
        <p:spPr bwMode="auto">
          <a:xfrm>
            <a:off x="5589959" y="3724195"/>
            <a:ext cx="149885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6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117 w 145"/>
              <a:gd name="T27" fmla="*/ 99 h 146"/>
              <a:gd name="T28" fmla="*/ 124 w 145"/>
              <a:gd name="T29" fmla="*/ 73 h 146"/>
              <a:gd name="T30" fmla="*/ 117 w 145"/>
              <a:gd name="T31" fmla="*/ 47 h 146"/>
              <a:gd name="T32" fmla="*/ 98 w 145"/>
              <a:gd name="T33" fmla="*/ 28 h 146"/>
              <a:gd name="T34" fmla="*/ 72 w 145"/>
              <a:gd name="T35" fmla="*/ 21 h 146"/>
              <a:gd name="T36" fmla="*/ 46 w 145"/>
              <a:gd name="T37" fmla="*/ 28 h 146"/>
              <a:gd name="T38" fmla="*/ 28 w 145"/>
              <a:gd name="T39" fmla="*/ 47 h 146"/>
              <a:gd name="T40" fmla="*/ 21 w 145"/>
              <a:gd name="T41" fmla="*/ 73 h 146"/>
              <a:gd name="T42" fmla="*/ 28 w 145"/>
              <a:gd name="T43" fmla="*/ 99 h 146"/>
              <a:gd name="T44" fmla="*/ 46 w 145"/>
              <a:gd name="T45" fmla="*/ 117 h 146"/>
              <a:gd name="T46" fmla="*/ 72 w 145"/>
              <a:gd name="T47" fmla="*/ 124 h 146"/>
              <a:gd name="T48" fmla="*/ 98 w 145"/>
              <a:gd name="T49" fmla="*/ 117 h 146"/>
              <a:gd name="T50" fmla="*/ 117 w 145"/>
              <a:gd name="T51" fmla="*/ 99 h 146"/>
              <a:gd name="T52" fmla="*/ 96 w 145"/>
              <a:gd name="T53" fmla="*/ 35 h 146"/>
              <a:gd name="T54" fmla="*/ 96 w 145"/>
              <a:gd name="T55" fmla="*/ 86 h 146"/>
              <a:gd name="T56" fmla="*/ 48 w 145"/>
              <a:gd name="T57" fmla="*/ 111 h 146"/>
              <a:gd name="T58" fmla="*/ 48 w 145"/>
              <a:gd name="T59" fmla="*/ 59 h 146"/>
              <a:gd name="T60" fmla="*/ 96 w 145"/>
              <a:gd name="T61" fmla="*/ 35 h 146"/>
              <a:gd name="T62" fmla="*/ 60 w 145"/>
              <a:gd name="T63" fmla="*/ 91 h 146"/>
              <a:gd name="T64" fmla="*/ 84 w 145"/>
              <a:gd name="T65" fmla="*/ 79 h 146"/>
              <a:gd name="T66" fmla="*/ 60 w 145"/>
              <a:gd name="T67" fmla="*/ 67 h 146"/>
              <a:gd name="T68" fmla="*/ 60 w 145"/>
              <a:gd name="T69" fmla="*/ 9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7" y="142"/>
                  <a:pt x="85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5" y="0"/>
                  <a:pt x="97" y="4"/>
                  <a:pt x="109" y="10"/>
                </a:cubicBezTo>
                <a:cubicBezTo>
                  <a:pt x="120" y="17"/>
                  <a:pt x="129" y="25"/>
                  <a:pt x="135" y="36"/>
                </a:cubicBezTo>
                <a:close/>
                <a:moveTo>
                  <a:pt x="117" y="99"/>
                </a:moveTo>
                <a:cubicBezTo>
                  <a:pt x="121" y="91"/>
                  <a:pt x="124" y="82"/>
                  <a:pt x="124" y="73"/>
                </a:cubicBezTo>
                <a:cubicBezTo>
                  <a:pt x="124" y="64"/>
                  <a:pt x="121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ubicBezTo>
                  <a:pt x="90" y="24"/>
                  <a:pt x="81" y="21"/>
                  <a:pt x="72" y="21"/>
                </a:cubicBezTo>
                <a:cubicBezTo>
                  <a:pt x="63" y="21"/>
                  <a:pt x="54" y="24"/>
                  <a:pt x="46" y="28"/>
                </a:cubicBezTo>
                <a:cubicBezTo>
                  <a:pt x="38" y="33"/>
                  <a:pt x="32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2" y="107"/>
                  <a:pt x="38" y="113"/>
                  <a:pt x="46" y="117"/>
                </a:cubicBezTo>
                <a:cubicBezTo>
                  <a:pt x="54" y="122"/>
                  <a:pt x="63" y="124"/>
                  <a:pt x="72" y="124"/>
                </a:cubicBezTo>
                <a:cubicBezTo>
                  <a:pt x="81" y="124"/>
                  <a:pt x="90" y="122"/>
                  <a:pt x="98" y="117"/>
                </a:cubicBezTo>
                <a:cubicBezTo>
                  <a:pt x="106" y="113"/>
                  <a:pt x="112" y="107"/>
                  <a:pt x="117" y="99"/>
                </a:cubicBezTo>
                <a:close/>
                <a:moveTo>
                  <a:pt x="96" y="35"/>
                </a:moveTo>
                <a:cubicBezTo>
                  <a:pt x="96" y="86"/>
                  <a:pt x="96" y="86"/>
                  <a:pt x="96" y="86"/>
                </a:cubicBezTo>
                <a:cubicBezTo>
                  <a:pt x="48" y="111"/>
                  <a:pt x="48" y="111"/>
                  <a:pt x="48" y="111"/>
                </a:cubicBezTo>
                <a:cubicBezTo>
                  <a:pt x="48" y="59"/>
                  <a:pt x="48" y="59"/>
                  <a:pt x="48" y="59"/>
                </a:cubicBezTo>
                <a:lnTo>
                  <a:pt x="96" y="35"/>
                </a:lnTo>
                <a:close/>
                <a:moveTo>
                  <a:pt x="60" y="91"/>
                </a:moveTo>
                <a:cubicBezTo>
                  <a:pt x="84" y="79"/>
                  <a:pt x="84" y="79"/>
                  <a:pt x="84" y="79"/>
                </a:cubicBezTo>
                <a:cubicBezTo>
                  <a:pt x="60" y="67"/>
                  <a:pt x="60" y="67"/>
                  <a:pt x="60" y="67"/>
                </a:cubicBezTo>
                <a:lnTo>
                  <a:pt x="60" y="9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5" name="Freeform 306"/>
          <p:cNvSpPr>
            <a:spLocks noChangeAspect="1" noEditPoints="1"/>
          </p:cNvSpPr>
          <p:nvPr/>
        </p:nvSpPr>
        <p:spPr bwMode="auto">
          <a:xfrm>
            <a:off x="5785123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118 h 146"/>
              <a:gd name="T28" fmla="*/ 121 w 145"/>
              <a:gd name="T29" fmla="*/ 28 h 146"/>
              <a:gd name="T30" fmla="*/ 120 w 145"/>
              <a:gd name="T31" fmla="*/ 25 h 146"/>
              <a:gd name="T32" fmla="*/ 118 w 145"/>
              <a:gd name="T33" fmla="*/ 25 h 146"/>
              <a:gd name="T34" fmla="*/ 27 w 145"/>
              <a:gd name="T35" fmla="*/ 25 h 146"/>
              <a:gd name="T36" fmla="*/ 25 w 145"/>
              <a:gd name="T37" fmla="*/ 25 h 146"/>
              <a:gd name="T38" fmla="*/ 24 w 145"/>
              <a:gd name="T39" fmla="*/ 28 h 146"/>
              <a:gd name="T40" fmla="*/ 24 w 145"/>
              <a:gd name="T41" fmla="*/ 118 h 146"/>
              <a:gd name="T42" fmla="*/ 25 w 145"/>
              <a:gd name="T43" fmla="*/ 120 h 146"/>
              <a:gd name="T44" fmla="*/ 27 w 145"/>
              <a:gd name="T45" fmla="*/ 121 h 146"/>
              <a:gd name="T46" fmla="*/ 118 w 145"/>
              <a:gd name="T47" fmla="*/ 121 h 146"/>
              <a:gd name="T48" fmla="*/ 120 w 145"/>
              <a:gd name="T49" fmla="*/ 120 h 146"/>
              <a:gd name="T50" fmla="*/ 121 w 145"/>
              <a:gd name="T51" fmla="*/ 118 h 146"/>
              <a:gd name="T52" fmla="*/ 108 w 145"/>
              <a:gd name="T53" fmla="*/ 52 h 146"/>
              <a:gd name="T54" fmla="*/ 108 w 145"/>
              <a:gd name="T55" fmla="*/ 58 h 146"/>
              <a:gd name="T56" fmla="*/ 77 w 145"/>
              <a:gd name="T57" fmla="*/ 101 h 146"/>
              <a:gd name="T58" fmla="*/ 72 w 145"/>
              <a:gd name="T59" fmla="*/ 103 h 146"/>
              <a:gd name="T60" fmla="*/ 68 w 145"/>
              <a:gd name="T61" fmla="*/ 101 h 146"/>
              <a:gd name="T62" fmla="*/ 37 w 145"/>
              <a:gd name="T63" fmla="*/ 58 h 146"/>
              <a:gd name="T64" fmla="*/ 37 w 145"/>
              <a:gd name="T65" fmla="*/ 52 h 146"/>
              <a:gd name="T66" fmla="*/ 42 w 145"/>
              <a:gd name="T67" fmla="*/ 49 h 146"/>
              <a:gd name="T68" fmla="*/ 103 w 145"/>
              <a:gd name="T69" fmla="*/ 49 h 146"/>
              <a:gd name="T70" fmla="*/ 108 w 145"/>
              <a:gd name="T71" fmla="*/ 5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121" y="118"/>
                </a:moveTo>
                <a:cubicBezTo>
                  <a:pt x="121" y="28"/>
                  <a:pt x="121" y="28"/>
                  <a:pt x="121" y="28"/>
                </a:cubicBezTo>
                <a:cubicBezTo>
                  <a:pt x="121" y="27"/>
                  <a:pt x="121" y="26"/>
                  <a:pt x="120" y="25"/>
                </a:cubicBezTo>
                <a:cubicBezTo>
                  <a:pt x="119" y="25"/>
                  <a:pt x="119" y="25"/>
                  <a:pt x="118" y="25"/>
                </a:cubicBezTo>
                <a:cubicBezTo>
                  <a:pt x="27" y="25"/>
                  <a:pt x="27" y="25"/>
                  <a:pt x="27" y="25"/>
                </a:cubicBezTo>
                <a:cubicBezTo>
                  <a:pt x="26" y="25"/>
                  <a:pt x="26" y="25"/>
                  <a:pt x="25" y="25"/>
                </a:cubicBezTo>
                <a:cubicBezTo>
                  <a:pt x="24" y="26"/>
                  <a:pt x="24" y="27"/>
                  <a:pt x="24" y="28"/>
                </a:cubicBezTo>
                <a:cubicBezTo>
                  <a:pt x="24" y="118"/>
                  <a:pt x="24" y="118"/>
                  <a:pt x="24" y="118"/>
                </a:cubicBezTo>
                <a:cubicBezTo>
                  <a:pt x="24" y="119"/>
                  <a:pt x="24" y="120"/>
                  <a:pt x="25" y="120"/>
                </a:cubicBezTo>
                <a:cubicBezTo>
                  <a:pt x="26" y="121"/>
                  <a:pt x="26" y="121"/>
                  <a:pt x="27" y="121"/>
                </a:cubicBezTo>
                <a:cubicBezTo>
                  <a:pt x="118" y="121"/>
                  <a:pt x="118" y="121"/>
                  <a:pt x="118" y="121"/>
                </a:cubicBezTo>
                <a:cubicBezTo>
                  <a:pt x="119" y="121"/>
                  <a:pt x="119" y="121"/>
                  <a:pt x="120" y="120"/>
                </a:cubicBezTo>
                <a:cubicBezTo>
                  <a:pt x="121" y="120"/>
                  <a:pt x="121" y="119"/>
                  <a:pt x="121" y="118"/>
                </a:cubicBezTo>
                <a:close/>
                <a:moveTo>
                  <a:pt x="108" y="52"/>
                </a:moveTo>
                <a:cubicBezTo>
                  <a:pt x="109" y="54"/>
                  <a:pt x="109" y="56"/>
                  <a:pt x="108" y="58"/>
                </a:cubicBezTo>
                <a:cubicBezTo>
                  <a:pt x="77" y="101"/>
                  <a:pt x="77" y="101"/>
                  <a:pt x="77" y="101"/>
                </a:cubicBezTo>
                <a:cubicBezTo>
                  <a:pt x="76" y="102"/>
                  <a:pt x="75" y="103"/>
                  <a:pt x="72" y="103"/>
                </a:cubicBezTo>
                <a:cubicBezTo>
                  <a:pt x="70" y="103"/>
                  <a:pt x="69" y="102"/>
                  <a:pt x="68" y="101"/>
                </a:cubicBezTo>
                <a:cubicBezTo>
                  <a:pt x="37" y="58"/>
                  <a:pt x="37" y="58"/>
                  <a:pt x="37" y="58"/>
                </a:cubicBezTo>
                <a:cubicBezTo>
                  <a:pt x="36" y="56"/>
                  <a:pt x="36" y="54"/>
                  <a:pt x="37" y="52"/>
                </a:cubicBezTo>
                <a:cubicBezTo>
                  <a:pt x="38" y="50"/>
                  <a:pt x="40" y="49"/>
                  <a:pt x="42" y="49"/>
                </a:cubicBezTo>
                <a:cubicBezTo>
                  <a:pt x="103" y="49"/>
                  <a:pt x="103" y="49"/>
                  <a:pt x="103" y="49"/>
                </a:cubicBezTo>
                <a:cubicBezTo>
                  <a:pt x="105" y="49"/>
                  <a:pt x="107" y="50"/>
                  <a:pt x="108" y="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6" name="Freeform 307"/>
          <p:cNvSpPr>
            <a:spLocks noChangeAspect="1" noEditPoints="1"/>
          </p:cNvSpPr>
          <p:nvPr/>
        </p:nvSpPr>
        <p:spPr bwMode="auto">
          <a:xfrm>
            <a:off x="5980286" y="3724195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7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7 w 145"/>
              <a:gd name="T23" fmla="*/ 8 h 146"/>
              <a:gd name="T24" fmla="*/ 145 w 145"/>
              <a:gd name="T25" fmla="*/ 28 h 146"/>
              <a:gd name="T26" fmla="*/ 121 w 145"/>
              <a:gd name="T27" fmla="*/ 118 h 146"/>
              <a:gd name="T28" fmla="*/ 121 w 145"/>
              <a:gd name="T29" fmla="*/ 28 h 146"/>
              <a:gd name="T30" fmla="*/ 120 w 145"/>
              <a:gd name="T31" fmla="*/ 25 h 146"/>
              <a:gd name="T32" fmla="*/ 118 w 145"/>
              <a:gd name="T33" fmla="*/ 25 h 146"/>
              <a:gd name="T34" fmla="*/ 27 w 145"/>
              <a:gd name="T35" fmla="*/ 25 h 146"/>
              <a:gd name="T36" fmla="*/ 25 w 145"/>
              <a:gd name="T37" fmla="*/ 25 h 146"/>
              <a:gd name="T38" fmla="*/ 24 w 145"/>
              <a:gd name="T39" fmla="*/ 28 h 146"/>
              <a:gd name="T40" fmla="*/ 24 w 145"/>
              <a:gd name="T41" fmla="*/ 118 h 146"/>
              <a:gd name="T42" fmla="*/ 25 w 145"/>
              <a:gd name="T43" fmla="*/ 120 h 146"/>
              <a:gd name="T44" fmla="*/ 27 w 145"/>
              <a:gd name="T45" fmla="*/ 121 h 146"/>
              <a:gd name="T46" fmla="*/ 118 w 145"/>
              <a:gd name="T47" fmla="*/ 121 h 146"/>
              <a:gd name="T48" fmla="*/ 120 w 145"/>
              <a:gd name="T49" fmla="*/ 120 h 146"/>
              <a:gd name="T50" fmla="*/ 121 w 145"/>
              <a:gd name="T51" fmla="*/ 118 h 146"/>
              <a:gd name="T52" fmla="*/ 108 w 145"/>
              <a:gd name="T53" fmla="*/ 94 h 146"/>
              <a:gd name="T54" fmla="*/ 103 w 145"/>
              <a:gd name="T55" fmla="*/ 97 h 146"/>
              <a:gd name="T56" fmla="*/ 43 w 145"/>
              <a:gd name="T57" fmla="*/ 97 h 146"/>
              <a:gd name="T58" fmla="*/ 37 w 145"/>
              <a:gd name="T59" fmla="*/ 94 h 146"/>
              <a:gd name="T60" fmla="*/ 38 w 145"/>
              <a:gd name="T61" fmla="*/ 88 h 146"/>
              <a:gd name="T62" fmla="*/ 68 w 145"/>
              <a:gd name="T63" fmla="*/ 45 h 146"/>
              <a:gd name="T64" fmla="*/ 73 w 145"/>
              <a:gd name="T65" fmla="*/ 43 h 146"/>
              <a:gd name="T66" fmla="*/ 78 w 145"/>
              <a:gd name="T67" fmla="*/ 45 h 146"/>
              <a:gd name="T68" fmla="*/ 108 w 145"/>
              <a:gd name="T69" fmla="*/ 88 h 146"/>
              <a:gd name="T70" fmla="*/ 108 w 145"/>
              <a:gd name="T71" fmla="*/ 9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3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3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121" y="118"/>
                </a:moveTo>
                <a:cubicBezTo>
                  <a:pt x="121" y="28"/>
                  <a:pt x="121" y="28"/>
                  <a:pt x="121" y="28"/>
                </a:cubicBezTo>
                <a:cubicBezTo>
                  <a:pt x="121" y="27"/>
                  <a:pt x="121" y="26"/>
                  <a:pt x="120" y="25"/>
                </a:cubicBezTo>
                <a:cubicBezTo>
                  <a:pt x="120" y="25"/>
                  <a:pt x="119" y="25"/>
                  <a:pt x="118" y="25"/>
                </a:cubicBezTo>
                <a:cubicBezTo>
                  <a:pt x="27" y="25"/>
                  <a:pt x="27" y="25"/>
                  <a:pt x="27" y="25"/>
                </a:cubicBezTo>
                <a:cubicBezTo>
                  <a:pt x="27" y="25"/>
                  <a:pt x="26" y="25"/>
                  <a:pt x="25" y="25"/>
                </a:cubicBezTo>
                <a:cubicBezTo>
                  <a:pt x="25" y="26"/>
                  <a:pt x="24" y="27"/>
                  <a:pt x="24" y="28"/>
                </a:cubicBezTo>
                <a:cubicBezTo>
                  <a:pt x="24" y="118"/>
                  <a:pt x="24" y="118"/>
                  <a:pt x="24" y="118"/>
                </a:cubicBezTo>
                <a:cubicBezTo>
                  <a:pt x="24" y="119"/>
                  <a:pt x="25" y="120"/>
                  <a:pt x="25" y="120"/>
                </a:cubicBezTo>
                <a:cubicBezTo>
                  <a:pt x="26" y="121"/>
                  <a:pt x="27" y="121"/>
                  <a:pt x="27" y="121"/>
                </a:cubicBezTo>
                <a:cubicBezTo>
                  <a:pt x="118" y="121"/>
                  <a:pt x="118" y="121"/>
                  <a:pt x="118" y="121"/>
                </a:cubicBezTo>
                <a:cubicBezTo>
                  <a:pt x="119" y="121"/>
                  <a:pt x="120" y="121"/>
                  <a:pt x="120" y="120"/>
                </a:cubicBezTo>
                <a:cubicBezTo>
                  <a:pt x="121" y="120"/>
                  <a:pt x="121" y="119"/>
                  <a:pt x="121" y="118"/>
                </a:cubicBezTo>
                <a:close/>
                <a:moveTo>
                  <a:pt x="108" y="94"/>
                </a:moveTo>
                <a:cubicBezTo>
                  <a:pt x="107" y="96"/>
                  <a:pt x="106" y="97"/>
                  <a:pt x="103" y="97"/>
                </a:cubicBezTo>
                <a:cubicBezTo>
                  <a:pt x="43" y="97"/>
                  <a:pt x="43" y="97"/>
                  <a:pt x="43" y="97"/>
                </a:cubicBezTo>
                <a:cubicBezTo>
                  <a:pt x="40" y="97"/>
                  <a:pt x="38" y="96"/>
                  <a:pt x="37" y="94"/>
                </a:cubicBezTo>
                <a:cubicBezTo>
                  <a:pt x="36" y="92"/>
                  <a:pt x="36" y="90"/>
                  <a:pt x="38" y="88"/>
                </a:cubicBezTo>
                <a:cubicBezTo>
                  <a:pt x="68" y="45"/>
                  <a:pt x="68" y="45"/>
                  <a:pt x="68" y="45"/>
                </a:cubicBezTo>
                <a:cubicBezTo>
                  <a:pt x="69" y="44"/>
                  <a:pt x="71" y="43"/>
                  <a:pt x="73" y="43"/>
                </a:cubicBezTo>
                <a:cubicBezTo>
                  <a:pt x="75" y="43"/>
                  <a:pt x="77" y="44"/>
                  <a:pt x="78" y="45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09" y="90"/>
                  <a:pt x="110" y="92"/>
                  <a:pt x="108" y="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7" name="Freeform 308"/>
          <p:cNvSpPr>
            <a:spLocks noChangeAspect="1" noEditPoints="1"/>
          </p:cNvSpPr>
          <p:nvPr/>
        </p:nvSpPr>
        <p:spPr bwMode="auto">
          <a:xfrm>
            <a:off x="6173888" y="3724195"/>
            <a:ext cx="151447" cy="151447"/>
          </a:xfrm>
          <a:custGeom>
            <a:avLst/>
            <a:gdLst>
              <a:gd name="T0" fmla="*/ 146 w 146"/>
              <a:gd name="T1" fmla="*/ 28 h 146"/>
              <a:gd name="T2" fmla="*/ 146 w 146"/>
              <a:gd name="T3" fmla="*/ 118 h 146"/>
              <a:gd name="T4" fmla="*/ 138 w 146"/>
              <a:gd name="T5" fmla="*/ 138 h 146"/>
              <a:gd name="T6" fmla="*/ 118 w 146"/>
              <a:gd name="T7" fmla="*/ 146 h 146"/>
              <a:gd name="T8" fmla="*/ 28 w 146"/>
              <a:gd name="T9" fmla="*/ 146 h 146"/>
              <a:gd name="T10" fmla="*/ 8 w 146"/>
              <a:gd name="T11" fmla="*/ 138 h 146"/>
              <a:gd name="T12" fmla="*/ 0 w 146"/>
              <a:gd name="T13" fmla="*/ 118 h 146"/>
              <a:gd name="T14" fmla="*/ 0 w 146"/>
              <a:gd name="T15" fmla="*/ 28 h 146"/>
              <a:gd name="T16" fmla="*/ 8 w 146"/>
              <a:gd name="T17" fmla="*/ 8 h 146"/>
              <a:gd name="T18" fmla="*/ 28 w 146"/>
              <a:gd name="T19" fmla="*/ 0 h 146"/>
              <a:gd name="T20" fmla="*/ 118 w 146"/>
              <a:gd name="T21" fmla="*/ 0 h 146"/>
              <a:gd name="T22" fmla="*/ 138 w 146"/>
              <a:gd name="T23" fmla="*/ 8 h 146"/>
              <a:gd name="T24" fmla="*/ 146 w 146"/>
              <a:gd name="T25" fmla="*/ 28 h 146"/>
              <a:gd name="T26" fmla="*/ 122 w 146"/>
              <a:gd name="T27" fmla="*/ 118 h 146"/>
              <a:gd name="T28" fmla="*/ 122 w 146"/>
              <a:gd name="T29" fmla="*/ 28 h 146"/>
              <a:gd name="T30" fmla="*/ 121 w 146"/>
              <a:gd name="T31" fmla="*/ 25 h 146"/>
              <a:gd name="T32" fmla="*/ 118 w 146"/>
              <a:gd name="T33" fmla="*/ 25 h 146"/>
              <a:gd name="T34" fmla="*/ 28 w 146"/>
              <a:gd name="T35" fmla="*/ 25 h 146"/>
              <a:gd name="T36" fmla="*/ 26 w 146"/>
              <a:gd name="T37" fmla="*/ 25 h 146"/>
              <a:gd name="T38" fmla="*/ 25 w 146"/>
              <a:gd name="T39" fmla="*/ 28 h 146"/>
              <a:gd name="T40" fmla="*/ 25 w 146"/>
              <a:gd name="T41" fmla="*/ 118 h 146"/>
              <a:gd name="T42" fmla="*/ 26 w 146"/>
              <a:gd name="T43" fmla="*/ 120 h 146"/>
              <a:gd name="T44" fmla="*/ 28 w 146"/>
              <a:gd name="T45" fmla="*/ 121 h 146"/>
              <a:gd name="T46" fmla="*/ 118 w 146"/>
              <a:gd name="T47" fmla="*/ 121 h 146"/>
              <a:gd name="T48" fmla="*/ 121 w 146"/>
              <a:gd name="T49" fmla="*/ 120 h 146"/>
              <a:gd name="T50" fmla="*/ 122 w 146"/>
              <a:gd name="T51" fmla="*/ 118 h 146"/>
              <a:gd name="T52" fmla="*/ 103 w 146"/>
              <a:gd name="T53" fmla="*/ 73 h 146"/>
              <a:gd name="T54" fmla="*/ 101 w 146"/>
              <a:gd name="T55" fmla="*/ 78 h 146"/>
              <a:gd name="T56" fmla="*/ 58 w 146"/>
              <a:gd name="T57" fmla="*/ 108 h 146"/>
              <a:gd name="T58" fmla="*/ 52 w 146"/>
              <a:gd name="T59" fmla="*/ 109 h 146"/>
              <a:gd name="T60" fmla="*/ 49 w 146"/>
              <a:gd name="T61" fmla="*/ 103 h 146"/>
              <a:gd name="T62" fmla="*/ 49 w 146"/>
              <a:gd name="T63" fmla="*/ 43 h 146"/>
              <a:gd name="T64" fmla="*/ 52 w 146"/>
              <a:gd name="T65" fmla="*/ 37 h 146"/>
              <a:gd name="T66" fmla="*/ 58 w 146"/>
              <a:gd name="T67" fmla="*/ 38 h 146"/>
              <a:gd name="T68" fmla="*/ 101 w 146"/>
              <a:gd name="T69" fmla="*/ 68 h 146"/>
              <a:gd name="T70" fmla="*/ 103 w 146"/>
              <a:gd name="T71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6" h="146">
                <a:moveTo>
                  <a:pt x="146" y="28"/>
                </a:moveTo>
                <a:cubicBezTo>
                  <a:pt x="146" y="118"/>
                  <a:pt x="146" y="118"/>
                  <a:pt x="146" y="118"/>
                </a:cubicBezTo>
                <a:cubicBezTo>
                  <a:pt x="146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6" y="20"/>
                  <a:pt x="146" y="28"/>
                </a:cubicBezTo>
                <a:close/>
                <a:moveTo>
                  <a:pt x="122" y="118"/>
                </a:moveTo>
                <a:cubicBezTo>
                  <a:pt x="122" y="28"/>
                  <a:pt x="122" y="28"/>
                  <a:pt x="122" y="28"/>
                </a:cubicBezTo>
                <a:cubicBezTo>
                  <a:pt x="122" y="27"/>
                  <a:pt x="121" y="26"/>
                  <a:pt x="121" y="25"/>
                </a:cubicBezTo>
                <a:cubicBezTo>
                  <a:pt x="120" y="25"/>
                  <a:pt x="119" y="25"/>
                  <a:pt x="118" y="25"/>
                </a:cubicBezTo>
                <a:cubicBezTo>
                  <a:pt x="28" y="25"/>
                  <a:pt x="28" y="25"/>
                  <a:pt x="28" y="25"/>
                </a:cubicBezTo>
                <a:cubicBezTo>
                  <a:pt x="27" y="25"/>
                  <a:pt x="26" y="25"/>
                  <a:pt x="26" y="25"/>
                </a:cubicBezTo>
                <a:cubicBezTo>
                  <a:pt x="25" y="26"/>
                  <a:pt x="25" y="27"/>
                  <a:pt x="25" y="28"/>
                </a:cubicBezTo>
                <a:cubicBezTo>
                  <a:pt x="25" y="118"/>
                  <a:pt x="25" y="118"/>
                  <a:pt x="25" y="118"/>
                </a:cubicBezTo>
                <a:cubicBezTo>
                  <a:pt x="25" y="119"/>
                  <a:pt x="25" y="120"/>
                  <a:pt x="26" y="120"/>
                </a:cubicBezTo>
                <a:cubicBezTo>
                  <a:pt x="26" y="121"/>
                  <a:pt x="27" y="121"/>
                  <a:pt x="28" y="121"/>
                </a:cubicBezTo>
                <a:cubicBezTo>
                  <a:pt x="118" y="121"/>
                  <a:pt x="118" y="121"/>
                  <a:pt x="118" y="121"/>
                </a:cubicBezTo>
                <a:cubicBezTo>
                  <a:pt x="119" y="121"/>
                  <a:pt x="120" y="121"/>
                  <a:pt x="121" y="120"/>
                </a:cubicBezTo>
                <a:cubicBezTo>
                  <a:pt x="121" y="120"/>
                  <a:pt x="122" y="119"/>
                  <a:pt x="122" y="118"/>
                </a:cubicBezTo>
                <a:close/>
                <a:moveTo>
                  <a:pt x="103" y="73"/>
                </a:moveTo>
                <a:cubicBezTo>
                  <a:pt x="103" y="75"/>
                  <a:pt x="103" y="77"/>
                  <a:pt x="101" y="78"/>
                </a:cubicBezTo>
                <a:cubicBezTo>
                  <a:pt x="58" y="108"/>
                  <a:pt x="58" y="108"/>
                  <a:pt x="58" y="108"/>
                </a:cubicBezTo>
                <a:cubicBezTo>
                  <a:pt x="56" y="110"/>
                  <a:pt x="54" y="110"/>
                  <a:pt x="52" y="109"/>
                </a:cubicBezTo>
                <a:cubicBezTo>
                  <a:pt x="50" y="107"/>
                  <a:pt x="49" y="106"/>
                  <a:pt x="49" y="103"/>
                </a:cubicBezTo>
                <a:cubicBezTo>
                  <a:pt x="49" y="43"/>
                  <a:pt x="49" y="43"/>
                  <a:pt x="49" y="43"/>
                </a:cubicBezTo>
                <a:cubicBezTo>
                  <a:pt x="49" y="40"/>
                  <a:pt x="50" y="38"/>
                  <a:pt x="52" y="37"/>
                </a:cubicBezTo>
                <a:cubicBezTo>
                  <a:pt x="54" y="36"/>
                  <a:pt x="56" y="36"/>
                  <a:pt x="58" y="38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103" y="69"/>
                  <a:pt x="103" y="71"/>
                  <a:pt x="103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8" name="Freeform 309"/>
          <p:cNvSpPr>
            <a:spLocks noChangeAspect="1"/>
          </p:cNvSpPr>
          <p:nvPr/>
        </p:nvSpPr>
        <p:spPr bwMode="auto">
          <a:xfrm>
            <a:off x="6370613" y="3724195"/>
            <a:ext cx="98363" cy="137395"/>
          </a:xfrm>
          <a:custGeom>
            <a:avLst/>
            <a:gdLst>
              <a:gd name="T0" fmla="*/ 95 w 96"/>
              <a:gd name="T1" fmla="*/ 127 h 133"/>
              <a:gd name="T2" fmla="*/ 93 w 96"/>
              <a:gd name="T3" fmla="*/ 130 h 133"/>
              <a:gd name="T4" fmla="*/ 92 w 96"/>
              <a:gd name="T5" fmla="*/ 131 h 133"/>
              <a:gd name="T6" fmla="*/ 88 w 96"/>
              <a:gd name="T7" fmla="*/ 132 h 133"/>
              <a:gd name="T8" fmla="*/ 83 w 96"/>
              <a:gd name="T9" fmla="*/ 133 h 133"/>
              <a:gd name="T10" fmla="*/ 77 w 96"/>
              <a:gd name="T11" fmla="*/ 133 h 133"/>
              <a:gd name="T12" fmla="*/ 34 w 96"/>
              <a:gd name="T13" fmla="*/ 121 h 133"/>
              <a:gd name="T14" fmla="*/ 3 w 96"/>
              <a:gd name="T15" fmla="*/ 88 h 133"/>
              <a:gd name="T16" fmla="*/ 0 w 96"/>
              <a:gd name="T17" fmla="*/ 85 h 133"/>
              <a:gd name="T18" fmla="*/ 1 w 96"/>
              <a:gd name="T19" fmla="*/ 72 h 133"/>
              <a:gd name="T20" fmla="*/ 9 w 96"/>
              <a:gd name="T21" fmla="*/ 71 h 133"/>
              <a:gd name="T22" fmla="*/ 3 w 96"/>
              <a:gd name="T23" fmla="*/ 61 h 133"/>
              <a:gd name="T24" fmla="*/ 0 w 96"/>
              <a:gd name="T25" fmla="*/ 58 h 133"/>
              <a:gd name="T26" fmla="*/ 1 w 96"/>
              <a:gd name="T27" fmla="*/ 45 h 133"/>
              <a:gd name="T28" fmla="*/ 12 w 96"/>
              <a:gd name="T29" fmla="*/ 44 h 133"/>
              <a:gd name="T30" fmla="*/ 73 w 96"/>
              <a:gd name="T31" fmla="*/ 0 h 133"/>
              <a:gd name="T32" fmla="*/ 93 w 96"/>
              <a:gd name="T33" fmla="*/ 4 h 133"/>
              <a:gd name="T34" fmla="*/ 89 w 96"/>
              <a:gd name="T35" fmla="*/ 21 h 133"/>
              <a:gd name="T36" fmla="*/ 86 w 96"/>
              <a:gd name="T37" fmla="*/ 23 h 133"/>
              <a:gd name="T38" fmla="*/ 84 w 96"/>
              <a:gd name="T39" fmla="*/ 23 h 133"/>
              <a:gd name="T40" fmla="*/ 81 w 96"/>
              <a:gd name="T41" fmla="*/ 22 h 133"/>
              <a:gd name="T42" fmla="*/ 75 w 96"/>
              <a:gd name="T43" fmla="*/ 22 h 133"/>
              <a:gd name="T44" fmla="*/ 51 w 96"/>
              <a:gd name="T45" fmla="*/ 28 h 133"/>
              <a:gd name="T46" fmla="*/ 81 w 96"/>
              <a:gd name="T47" fmla="*/ 44 h 133"/>
              <a:gd name="T48" fmla="*/ 84 w 96"/>
              <a:gd name="T49" fmla="*/ 48 h 133"/>
              <a:gd name="T50" fmla="*/ 79 w 96"/>
              <a:gd name="T51" fmla="*/ 61 h 133"/>
              <a:gd name="T52" fmla="*/ 33 w 96"/>
              <a:gd name="T53" fmla="*/ 71 h 133"/>
              <a:gd name="T54" fmla="*/ 79 w 96"/>
              <a:gd name="T55" fmla="*/ 72 h 133"/>
              <a:gd name="T56" fmla="*/ 77 w 96"/>
              <a:gd name="T57" fmla="*/ 85 h 133"/>
              <a:gd name="T58" fmla="*/ 74 w 96"/>
              <a:gd name="T59" fmla="*/ 88 h 133"/>
              <a:gd name="T60" fmla="*/ 52 w 96"/>
              <a:gd name="T61" fmla="*/ 105 h 133"/>
              <a:gd name="T62" fmla="*/ 77 w 96"/>
              <a:gd name="T63" fmla="*/ 112 h 133"/>
              <a:gd name="T64" fmla="*/ 83 w 96"/>
              <a:gd name="T65" fmla="*/ 111 h 133"/>
              <a:gd name="T66" fmla="*/ 87 w 96"/>
              <a:gd name="T67" fmla="*/ 110 h 133"/>
              <a:gd name="T68" fmla="*/ 88 w 96"/>
              <a:gd name="T69" fmla="*/ 110 h 133"/>
              <a:gd name="T70" fmla="*/ 92 w 96"/>
              <a:gd name="T71" fmla="*/ 11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6" h="133">
                <a:moveTo>
                  <a:pt x="92" y="112"/>
                </a:moveTo>
                <a:cubicBezTo>
                  <a:pt x="95" y="127"/>
                  <a:pt x="95" y="127"/>
                  <a:pt x="95" y="127"/>
                </a:cubicBezTo>
                <a:cubicBezTo>
                  <a:pt x="96" y="128"/>
                  <a:pt x="95" y="128"/>
                  <a:pt x="95" y="129"/>
                </a:cubicBezTo>
                <a:cubicBezTo>
                  <a:pt x="95" y="130"/>
                  <a:pt x="94" y="130"/>
                  <a:pt x="93" y="130"/>
                </a:cubicBezTo>
                <a:cubicBezTo>
                  <a:pt x="93" y="130"/>
                  <a:pt x="93" y="130"/>
                  <a:pt x="93" y="130"/>
                </a:cubicBezTo>
                <a:cubicBezTo>
                  <a:pt x="93" y="131"/>
                  <a:pt x="92" y="131"/>
                  <a:pt x="92" y="131"/>
                </a:cubicBezTo>
                <a:cubicBezTo>
                  <a:pt x="92" y="131"/>
                  <a:pt x="91" y="131"/>
                  <a:pt x="91" y="131"/>
                </a:cubicBezTo>
                <a:cubicBezTo>
                  <a:pt x="90" y="131"/>
                  <a:pt x="89" y="132"/>
                  <a:pt x="88" y="132"/>
                </a:cubicBezTo>
                <a:cubicBezTo>
                  <a:pt x="88" y="132"/>
                  <a:pt x="87" y="132"/>
                  <a:pt x="86" y="132"/>
                </a:cubicBezTo>
                <a:cubicBezTo>
                  <a:pt x="85" y="132"/>
                  <a:pt x="84" y="132"/>
                  <a:pt x="83" y="133"/>
                </a:cubicBezTo>
                <a:cubicBezTo>
                  <a:pt x="82" y="133"/>
                  <a:pt x="81" y="133"/>
                  <a:pt x="80" y="133"/>
                </a:cubicBezTo>
                <a:cubicBezTo>
                  <a:pt x="79" y="133"/>
                  <a:pt x="78" y="133"/>
                  <a:pt x="77" y="133"/>
                </a:cubicBezTo>
                <a:cubicBezTo>
                  <a:pt x="75" y="133"/>
                  <a:pt x="74" y="133"/>
                  <a:pt x="73" y="133"/>
                </a:cubicBezTo>
                <a:cubicBezTo>
                  <a:pt x="58" y="133"/>
                  <a:pt x="45" y="129"/>
                  <a:pt x="34" y="121"/>
                </a:cubicBezTo>
                <a:cubicBezTo>
                  <a:pt x="23" y="113"/>
                  <a:pt x="16" y="102"/>
                  <a:pt x="12" y="88"/>
                </a:cubicBezTo>
                <a:cubicBezTo>
                  <a:pt x="3" y="88"/>
                  <a:pt x="3" y="88"/>
                  <a:pt x="3" y="88"/>
                </a:cubicBezTo>
                <a:cubicBezTo>
                  <a:pt x="2" y="88"/>
                  <a:pt x="1" y="88"/>
                  <a:pt x="1" y="87"/>
                </a:cubicBezTo>
                <a:cubicBezTo>
                  <a:pt x="0" y="86"/>
                  <a:pt x="0" y="86"/>
                  <a:pt x="0" y="8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3"/>
                  <a:pt x="1" y="72"/>
                </a:cubicBezTo>
                <a:cubicBezTo>
                  <a:pt x="1" y="71"/>
                  <a:pt x="2" y="71"/>
                  <a:pt x="3" y="71"/>
                </a:cubicBezTo>
                <a:cubicBezTo>
                  <a:pt x="9" y="71"/>
                  <a:pt x="9" y="71"/>
                  <a:pt x="9" y="71"/>
                </a:cubicBezTo>
                <a:cubicBezTo>
                  <a:pt x="9" y="68"/>
                  <a:pt x="9" y="64"/>
                  <a:pt x="9" y="61"/>
                </a:cubicBezTo>
                <a:cubicBezTo>
                  <a:pt x="3" y="61"/>
                  <a:pt x="3" y="61"/>
                  <a:pt x="3" y="61"/>
                </a:cubicBezTo>
                <a:cubicBezTo>
                  <a:pt x="2" y="61"/>
                  <a:pt x="1" y="61"/>
                  <a:pt x="1" y="60"/>
                </a:cubicBezTo>
                <a:cubicBezTo>
                  <a:pt x="0" y="60"/>
                  <a:pt x="0" y="59"/>
                  <a:pt x="0" y="58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6"/>
                  <a:pt x="1" y="45"/>
                </a:cubicBezTo>
                <a:cubicBezTo>
                  <a:pt x="1" y="45"/>
                  <a:pt x="2" y="44"/>
                  <a:pt x="3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16" y="31"/>
                  <a:pt x="24" y="20"/>
                  <a:pt x="35" y="12"/>
                </a:cubicBezTo>
                <a:cubicBezTo>
                  <a:pt x="46" y="4"/>
                  <a:pt x="59" y="0"/>
                  <a:pt x="73" y="0"/>
                </a:cubicBezTo>
                <a:cubicBezTo>
                  <a:pt x="79" y="0"/>
                  <a:pt x="86" y="1"/>
                  <a:pt x="91" y="2"/>
                </a:cubicBezTo>
                <a:cubicBezTo>
                  <a:pt x="92" y="3"/>
                  <a:pt x="93" y="3"/>
                  <a:pt x="93" y="4"/>
                </a:cubicBezTo>
                <a:cubicBezTo>
                  <a:pt x="94" y="5"/>
                  <a:pt x="94" y="5"/>
                  <a:pt x="93" y="6"/>
                </a:cubicBezTo>
                <a:cubicBezTo>
                  <a:pt x="89" y="21"/>
                  <a:pt x="89" y="21"/>
                  <a:pt x="89" y="21"/>
                </a:cubicBezTo>
                <a:cubicBezTo>
                  <a:pt x="89" y="22"/>
                  <a:pt x="89" y="23"/>
                  <a:pt x="88" y="23"/>
                </a:cubicBezTo>
                <a:cubicBezTo>
                  <a:pt x="87" y="23"/>
                  <a:pt x="87" y="24"/>
                  <a:pt x="86" y="23"/>
                </a:cubicBezTo>
                <a:cubicBezTo>
                  <a:pt x="85" y="23"/>
                  <a:pt x="85" y="23"/>
                  <a:pt x="85" y="23"/>
                </a:cubicBezTo>
                <a:cubicBezTo>
                  <a:pt x="85" y="23"/>
                  <a:pt x="85" y="23"/>
                  <a:pt x="84" y="23"/>
                </a:cubicBezTo>
                <a:cubicBezTo>
                  <a:pt x="84" y="23"/>
                  <a:pt x="83" y="23"/>
                  <a:pt x="83" y="23"/>
                </a:cubicBezTo>
                <a:cubicBezTo>
                  <a:pt x="82" y="22"/>
                  <a:pt x="81" y="22"/>
                  <a:pt x="81" y="22"/>
                </a:cubicBezTo>
                <a:cubicBezTo>
                  <a:pt x="80" y="22"/>
                  <a:pt x="79" y="22"/>
                  <a:pt x="78" y="22"/>
                </a:cubicBezTo>
                <a:cubicBezTo>
                  <a:pt x="77" y="22"/>
                  <a:pt x="76" y="22"/>
                  <a:pt x="75" y="22"/>
                </a:cubicBezTo>
                <a:cubicBezTo>
                  <a:pt x="74" y="22"/>
                  <a:pt x="73" y="22"/>
                  <a:pt x="73" y="22"/>
                </a:cubicBezTo>
                <a:cubicBezTo>
                  <a:pt x="65" y="22"/>
                  <a:pt x="58" y="24"/>
                  <a:pt x="51" y="28"/>
                </a:cubicBezTo>
                <a:cubicBezTo>
                  <a:pt x="45" y="32"/>
                  <a:pt x="40" y="37"/>
                  <a:pt x="37" y="44"/>
                </a:cubicBezTo>
                <a:cubicBezTo>
                  <a:pt x="81" y="44"/>
                  <a:pt x="81" y="44"/>
                  <a:pt x="81" y="44"/>
                </a:cubicBezTo>
                <a:cubicBezTo>
                  <a:pt x="82" y="44"/>
                  <a:pt x="83" y="45"/>
                  <a:pt x="84" y="46"/>
                </a:cubicBezTo>
                <a:cubicBezTo>
                  <a:pt x="84" y="46"/>
                  <a:pt x="85" y="47"/>
                  <a:pt x="84" y="48"/>
                </a:cubicBezTo>
                <a:cubicBezTo>
                  <a:pt x="82" y="59"/>
                  <a:pt x="82" y="59"/>
                  <a:pt x="82" y="59"/>
                </a:cubicBezTo>
                <a:cubicBezTo>
                  <a:pt x="82" y="60"/>
                  <a:pt x="81" y="61"/>
                  <a:pt x="79" y="61"/>
                </a:cubicBezTo>
                <a:cubicBezTo>
                  <a:pt x="33" y="61"/>
                  <a:pt x="33" y="61"/>
                  <a:pt x="33" y="61"/>
                </a:cubicBezTo>
                <a:cubicBezTo>
                  <a:pt x="33" y="64"/>
                  <a:pt x="33" y="67"/>
                  <a:pt x="33" y="71"/>
                </a:cubicBezTo>
                <a:cubicBezTo>
                  <a:pt x="76" y="71"/>
                  <a:pt x="76" y="71"/>
                  <a:pt x="76" y="71"/>
                </a:cubicBezTo>
                <a:cubicBezTo>
                  <a:pt x="77" y="71"/>
                  <a:pt x="78" y="72"/>
                  <a:pt x="79" y="72"/>
                </a:cubicBezTo>
                <a:cubicBezTo>
                  <a:pt x="79" y="73"/>
                  <a:pt x="79" y="74"/>
                  <a:pt x="79" y="75"/>
                </a:cubicBezTo>
                <a:cubicBezTo>
                  <a:pt x="77" y="85"/>
                  <a:pt x="77" y="85"/>
                  <a:pt x="77" y="85"/>
                </a:cubicBezTo>
                <a:cubicBezTo>
                  <a:pt x="77" y="86"/>
                  <a:pt x="76" y="87"/>
                  <a:pt x="76" y="87"/>
                </a:cubicBezTo>
                <a:cubicBezTo>
                  <a:pt x="75" y="88"/>
                  <a:pt x="75" y="88"/>
                  <a:pt x="74" y="88"/>
                </a:cubicBezTo>
                <a:cubicBezTo>
                  <a:pt x="37" y="88"/>
                  <a:pt x="37" y="88"/>
                  <a:pt x="37" y="88"/>
                </a:cubicBezTo>
                <a:cubicBezTo>
                  <a:pt x="40" y="95"/>
                  <a:pt x="45" y="101"/>
                  <a:pt x="52" y="105"/>
                </a:cubicBezTo>
                <a:cubicBezTo>
                  <a:pt x="58" y="110"/>
                  <a:pt x="65" y="112"/>
                  <a:pt x="73" y="112"/>
                </a:cubicBezTo>
                <a:cubicBezTo>
                  <a:pt x="74" y="112"/>
                  <a:pt x="75" y="112"/>
                  <a:pt x="77" y="112"/>
                </a:cubicBezTo>
                <a:cubicBezTo>
                  <a:pt x="78" y="112"/>
                  <a:pt x="79" y="112"/>
                  <a:pt x="80" y="111"/>
                </a:cubicBezTo>
                <a:cubicBezTo>
                  <a:pt x="81" y="111"/>
                  <a:pt x="82" y="111"/>
                  <a:pt x="83" y="111"/>
                </a:cubicBezTo>
                <a:cubicBezTo>
                  <a:pt x="83" y="111"/>
                  <a:pt x="84" y="111"/>
                  <a:pt x="85" y="111"/>
                </a:cubicBezTo>
                <a:cubicBezTo>
                  <a:pt x="86" y="110"/>
                  <a:pt x="86" y="110"/>
                  <a:pt x="87" y="110"/>
                </a:cubicBezTo>
                <a:cubicBezTo>
                  <a:pt x="87" y="110"/>
                  <a:pt x="87" y="110"/>
                  <a:pt x="88" y="110"/>
                </a:cubicBezTo>
                <a:cubicBezTo>
                  <a:pt x="88" y="110"/>
                  <a:pt x="88" y="110"/>
                  <a:pt x="88" y="110"/>
                </a:cubicBezTo>
                <a:cubicBezTo>
                  <a:pt x="89" y="109"/>
                  <a:pt x="90" y="109"/>
                  <a:pt x="91" y="110"/>
                </a:cubicBezTo>
                <a:cubicBezTo>
                  <a:pt x="91" y="110"/>
                  <a:pt x="92" y="111"/>
                  <a:pt x="92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09" name="Freeform 310"/>
          <p:cNvSpPr>
            <a:spLocks noChangeAspect="1"/>
          </p:cNvSpPr>
          <p:nvPr/>
        </p:nvSpPr>
        <p:spPr bwMode="auto">
          <a:xfrm>
            <a:off x="6514253" y="3724195"/>
            <a:ext cx="99924" cy="137395"/>
          </a:xfrm>
          <a:custGeom>
            <a:avLst/>
            <a:gdLst>
              <a:gd name="T0" fmla="*/ 96 w 96"/>
              <a:gd name="T1" fmla="*/ 96 h 133"/>
              <a:gd name="T2" fmla="*/ 96 w 96"/>
              <a:gd name="T3" fmla="*/ 130 h 133"/>
              <a:gd name="T4" fmla="*/ 95 w 96"/>
              <a:gd name="T5" fmla="*/ 133 h 133"/>
              <a:gd name="T6" fmla="*/ 93 w 96"/>
              <a:gd name="T7" fmla="*/ 133 h 133"/>
              <a:gd name="T8" fmla="*/ 3 w 96"/>
              <a:gd name="T9" fmla="*/ 133 h 133"/>
              <a:gd name="T10" fmla="*/ 1 w 96"/>
              <a:gd name="T11" fmla="*/ 133 h 133"/>
              <a:gd name="T12" fmla="*/ 0 w 96"/>
              <a:gd name="T13" fmla="*/ 130 h 133"/>
              <a:gd name="T14" fmla="*/ 0 w 96"/>
              <a:gd name="T15" fmla="*/ 116 h 133"/>
              <a:gd name="T16" fmla="*/ 1 w 96"/>
              <a:gd name="T17" fmla="*/ 114 h 133"/>
              <a:gd name="T18" fmla="*/ 3 w 96"/>
              <a:gd name="T19" fmla="*/ 113 h 133"/>
              <a:gd name="T20" fmla="*/ 12 w 96"/>
              <a:gd name="T21" fmla="*/ 113 h 133"/>
              <a:gd name="T22" fmla="*/ 12 w 96"/>
              <a:gd name="T23" fmla="*/ 77 h 133"/>
              <a:gd name="T24" fmla="*/ 3 w 96"/>
              <a:gd name="T25" fmla="*/ 77 h 133"/>
              <a:gd name="T26" fmla="*/ 1 w 96"/>
              <a:gd name="T27" fmla="*/ 76 h 133"/>
              <a:gd name="T28" fmla="*/ 0 w 96"/>
              <a:gd name="T29" fmla="*/ 74 h 133"/>
              <a:gd name="T30" fmla="*/ 0 w 96"/>
              <a:gd name="T31" fmla="*/ 62 h 133"/>
              <a:gd name="T32" fmla="*/ 1 w 96"/>
              <a:gd name="T33" fmla="*/ 59 h 133"/>
              <a:gd name="T34" fmla="*/ 3 w 96"/>
              <a:gd name="T35" fmla="*/ 59 h 133"/>
              <a:gd name="T36" fmla="*/ 12 w 96"/>
              <a:gd name="T37" fmla="*/ 59 h 133"/>
              <a:gd name="T38" fmla="*/ 12 w 96"/>
              <a:gd name="T39" fmla="*/ 37 h 133"/>
              <a:gd name="T40" fmla="*/ 24 w 96"/>
              <a:gd name="T41" fmla="*/ 11 h 133"/>
              <a:gd name="T42" fmla="*/ 53 w 96"/>
              <a:gd name="T43" fmla="*/ 0 h 133"/>
              <a:gd name="T44" fmla="*/ 85 w 96"/>
              <a:gd name="T45" fmla="*/ 12 h 133"/>
              <a:gd name="T46" fmla="*/ 86 w 96"/>
              <a:gd name="T47" fmla="*/ 14 h 133"/>
              <a:gd name="T48" fmla="*/ 85 w 96"/>
              <a:gd name="T49" fmla="*/ 16 h 133"/>
              <a:gd name="T50" fmla="*/ 76 w 96"/>
              <a:gd name="T51" fmla="*/ 28 h 133"/>
              <a:gd name="T52" fmla="*/ 73 w 96"/>
              <a:gd name="T53" fmla="*/ 29 h 133"/>
              <a:gd name="T54" fmla="*/ 71 w 96"/>
              <a:gd name="T55" fmla="*/ 29 h 133"/>
              <a:gd name="T56" fmla="*/ 69 w 96"/>
              <a:gd name="T57" fmla="*/ 27 h 133"/>
              <a:gd name="T58" fmla="*/ 62 w 96"/>
              <a:gd name="T59" fmla="*/ 24 h 133"/>
              <a:gd name="T60" fmla="*/ 53 w 96"/>
              <a:gd name="T61" fmla="*/ 22 h 133"/>
              <a:gd name="T62" fmla="*/ 41 w 96"/>
              <a:gd name="T63" fmla="*/ 27 h 133"/>
              <a:gd name="T64" fmla="*/ 36 w 96"/>
              <a:gd name="T65" fmla="*/ 38 h 133"/>
              <a:gd name="T66" fmla="*/ 36 w 96"/>
              <a:gd name="T67" fmla="*/ 59 h 133"/>
              <a:gd name="T68" fmla="*/ 64 w 96"/>
              <a:gd name="T69" fmla="*/ 59 h 133"/>
              <a:gd name="T70" fmla="*/ 67 w 96"/>
              <a:gd name="T71" fmla="*/ 59 h 133"/>
              <a:gd name="T72" fmla="*/ 67 w 96"/>
              <a:gd name="T73" fmla="*/ 62 h 133"/>
              <a:gd name="T74" fmla="*/ 67 w 96"/>
              <a:gd name="T75" fmla="*/ 74 h 133"/>
              <a:gd name="T76" fmla="*/ 67 w 96"/>
              <a:gd name="T77" fmla="*/ 76 h 133"/>
              <a:gd name="T78" fmla="*/ 64 w 96"/>
              <a:gd name="T79" fmla="*/ 77 h 133"/>
              <a:gd name="T80" fmla="*/ 36 w 96"/>
              <a:gd name="T81" fmla="*/ 77 h 133"/>
              <a:gd name="T82" fmla="*/ 36 w 96"/>
              <a:gd name="T83" fmla="*/ 113 h 133"/>
              <a:gd name="T84" fmla="*/ 75 w 96"/>
              <a:gd name="T85" fmla="*/ 113 h 133"/>
              <a:gd name="T86" fmla="*/ 75 w 96"/>
              <a:gd name="T87" fmla="*/ 96 h 133"/>
              <a:gd name="T88" fmla="*/ 76 w 96"/>
              <a:gd name="T89" fmla="*/ 94 h 133"/>
              <a:gd name="T90" fmla="*/ 78 w 96"/>
              <a:gd name="T91" fmla="*/ 93 h 133"/>
              <a:gd name="T92" fmla="*/ 93 w 96"/>
              <a:gd name="T93" fmla="*/ 93 h 133"/>
              <a:gd name="T94" fmla="*/ 95 w 96"/>
              <a:gd name="T95" fmla="*/ 94 h 133"/>
              <a:gd name="T96" fmla="*/ 96 w 96"/>
              <a:gd name="T97" fmla="*/ 96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133">
                <a:moveTo>
                  <a:pt x="96" y="96"/>
                </a:moveTo>
                <a:cubicBezTo>
                  <a:pt x="96" y="130"/>
                  <a:pt x="96" y="130"/>
                  <a:pt x="96" y="130"/>
                </a:cubicBezTo>
                <a:cubicBezTo>
                  <a:pt x="96" y="131"/>
                  <a:pt x="96" y="132"/>
                  <a:pt x="95" y="133"/>
                </a:cubicBezTo>
                <a:cubicBezTo>
                  <a:pt x="95" y="133"/>
                  <a:pt x="94" y="133"/>
                  <a:pt x="93" y="133"/>
                </a:cubicBezTo>
                <a:cubicBezTo>
                  <a:pt x="3" y="133"/>
                  <a:pt x="3" y="133"/>
                  <a:pt x="3" y="133"/>
                </a:cubicBezTo>
                <a:cubicBezTo>
                  <a:pt x="2" y="133"/>
                  <a:pt x="1" y="133"/>
                  <a:pt x="1" y="133"/>
                </a:cubicBezTo>
                <a:cubicBezTo>
                  <a:pt x="0" y="132"/>
                  <a:pt x="0" y="131"/>
                  <a:pt x="0" y="130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15"/>
                  <a:pt x="0" y="115"/>
                  <a:pt x="1" y="114"/>
                </a:cubicBezTo>
                <a:cubicBezTo>
                  <a:pt x="1" y="113"/>
                  <a:pt x="2" y="113"/>
                  <a:pt x="3" y="113"/>
                </a:cubicBezTo>
                <a:cubicBezTo>
                  <a:pt x="12" y="113"/>
                  <a:pt x="12" y="113"/>
                  <a:pt x="12" y="113"/>
                </a:cubicBezTo>
                <a:cubicBezTo>
                  <a:pt x="12" y="77"/>
                  <a:pt x="12" y="77"/>
                  <a:pt x="12" y="77"/>
                </a:cubicBezTo>
                <a:cubicBezTo>
                  <a:pt x="3" y="77"/>
                  <a:pt x="3" y="77"/>
                  <a:pt x="3" y="77"/>
                </a:cubicBezTo>
                <a:cubicBezTo>
                  <a:pt x="2" y="77"/>
                  <a:pt x="1" y="77"/>
                  <a:pt x="1" y="76"/>
                </a:cubicBezTo>
                <a:cubicBezTo>
                  <a:pt x="0" y="75"/>
                  <a:pt x="0" y="75"/>
                  <a:pt x="0" y="74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1"/>
                  <a:pt x="0" y="60"/>
                  <a:pt x="1" y="59"/>
                </a:cubicBezTo>
                <a:cubicBezTo>
                  <a:pt x="1" y="59"/>
                  <a:pt x="2" y="59"/>
                  <a:pt x="3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12" y="37"/>
                  <a:pt x="12" y="37"/>
                  <a:pt x="12" y="37"/>
                </a:cubicBezTo>
                <a:cubicBezTo>
                  <a:pt x="12" y="27"/>
                  <a:pt x="16" y="18"/>
                  <a:pt x="24" y="11"/>
                </a:cubicBezTo>
                <a:cubicBezTo>
                  <a:pt x="31" y="4"/>
                  <a:pt x="41" y="0"/>
                  <a:pt x="53" y="0"/>
                </a:cubicBezTo>
                <a:cubicBezTo>
                  <a:pt x="65" y="0"/>
                  <a:pt x="76" y="4"/>
                  <a:pt x="85" y="12"/>
                </a:cubicBezTo>
                <a:cubicBezTo>
                  <a:pt x="86" y="13"/>
                  <a:pt x="86" y="13"/>
                  <a:pt x="86" y="14"/>
                </a:cubicBezTo>
                <a:cubicBezTo>
                  <a:pt x="86" y="15"/>
                  <a:pt x="86" y="16"/>
                  <a:pt x="85" y="16"/>
                </a:cubicBezTo>
                <a:cubicBezTo>
                  <a:pt x="76" y="28"/>
                  <a:pt x="76" y="28"/>
                  <a:pt x="76" y="28"/>
                </a:cubicBezTo>
                <a:cubicBezTo>
                  <a:pt x="75" y="29"/>
                  <a:pt x="74" y="29"/>
                  <a:pt x="73" y="29"/>
                </a:cubicBezTo>
                <a:cubicBezTo>
                  <a:pt x="73" y="29"/>
                  <a:pt x="72" y="29"/>
                  <a:pt x="71" y="29"/>
                </a:cubicBezTo>
                <a:cubicBezTo>
                  <a:pt x="71" y="28"/>
                  <a:pt x="70" y="28"/>
                  <a:pt x="69" y="27"/>
                </a:cubicBezTo>
                <a:cubicBezTo>
                  <a:pt x="67" y="26"/>
                  <a:pt x="65" y="25"/>
                  <a:pt x="62" y="24"/>
                </a:cubicBezTo>
                <a:cubicBezTo>
                  <a:pt x="59" y="23"/>
                  <a:pt x="56" y="22"/>
                  <a:pt x="53" y="22"/>
                </a:cubicBezTo>
                <a:cubicBezTo>
                  <a:pt x="48" y="22"/>
                  <a:pt x="44" y="24"/>
                  <a:pt x="41" y="27"/>
                </a:cubicBezTo>
                <a:cubicBezTo>
                  <a:pt x="37" y="30"/>
                  <a:pt x="36" y="33"/>
                  <a:pt x="36" y="38"/>
                </a:cubicBezTo>
                <a:cubicBezTo>
                  <a:pt x="36" y="59"/>
                  <a:pt x="36" y="59"/>
                  <a:pt x="36" y="59"/>
                </a:cubicBezTo>
                <a:cubicBezTo>
                  <a:pt x="64" y="59"/>
                  <a:pt x="64" y="59"/>
                  <a:pt x="64" y="59"/>
                </a:cubicBezTo>
                <a:cubicBezTo>
                  <a:pt x="65" y="59"/>
                  <a:pt x="66" y="59"/>
                  <a:pt x="67" y="59"/>
                </a:cubicBezTo>
                <a:cubicBezTo>
                  <a:pt x="67" y="60"/>
                  <a:pt x="67" y="61"/>
                  <a:pt x="67" y="62"/>
                </a:cubicBezTo>
                <a:cubicBezTo>
                  <a:pt x="67" y="74"/>
                  <a:pt x="67" y="74"/>
                  <a:pt x="67" y="74"/>
                </a:cubicBezTo>
                <a:cubicBezTo>
                  <a:pt x="67" y="75"/>
                  <a:pt x="67" y="75"/>
                  <a:pt x="67" y="76"/>
                </a:cubicBezTo>
                <a:cubicBezTo>
                  <a:pt x="66" y="77"/>
                  <a:pt x="65" y="77"/>
                  <a:pt x="64" y="77"/>
                </a:cubicBezTo>
                <a:cubicBezTo>
                  <a:pt x="36" y="77"/>
                  <a:pt x="36" y="77"/>
                  <a:pt x="36" y="77"/>
                </a:cubicBezTo>
                <a:cubicBezTo>
                  <a:pt x="36" y="113"/>
                  <a:pt x="36" y="113"/>
                  <a:pt x="36" y="113"/>
                </a:cubicBezTo>
                <a:cubicBezTo>
                  <a:pt x="75" y="113"/>
                  <a:pt x="75" y="113"/>
                  <a:pt x="75" y="113"/>
                </a:cubicBezTo>
                <a:cubicBezTo>
                  <a:pt x="75" y="96"/>
                  <a:pt x="75" y="96"/>
                  <a:pt x="75" y="96"/>
                </a:cubicBezTo>
                <a:cubicBezTo>
                  <a:pt x="75" y="95"/>
                  <a:pt x="75" y="94"/>
                  <a:pt x="76" y="94"/>
                </a:cubicBezTo>
                <a:cubicBezTo>
                  <a:pt x="76" y="93"/>
                  <a:pt x="77" y="93"/>
                  <a:pt x="78" y="93"/>
                </a:cubicBezTo>
                <a:cubicBezTo>
                  <a:pt x="93" y="93"/>
                  <a:pt x="93" y="93"/>
                  <a:pt x="93" y="93"/>
                </a:cubicBezTo>
                <a:cubicBezTo>
                  <a:pt x="94" y="93"/>
                  <a:pt x="95" y="93"/>
                  <a:pt x="95" y="94"/>
                </a:cubicBezTo>
                <a:cubicBezTo>
                  <a:pt x="96" y="94"/>
                  <a:pt x="96" y="95"/>
                  <a:pt x="96" y="9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0" name="Freeform 311"/>
          <p:cNvSpPr>
            <a:spLocks noChangeAspect="1"/>
          </p:cNvSpPr>
          <p:nvPr/>
        </p:nvSpPr>
        <p:spPr bwMode="auto">
          <a:xfrm>
            <a:off x="6664138" y="3711705"/>
            <a:ext cx="90556" cy="176428"/>
          </a:xfrm>
          <a:custGeom>
            <a:avLst/>
            <a:gdLst>
              <a:gd name="T0" fmla="*/ 79 w 88"/>
              <a:gd name="T1" fmla="*/ 137 h 170"/>
              <a:gd name="T2" fmla="*/ 54 w 88"/>
              <a:gd name="T3" fmla="*/ 167 h 170"/>
              <a:gd name="T4" fmla="*/ 51 w 88"/>
              <a:gd name="T5" fmla="*/ 170 h 170"/>
              <a:gd name="T6" fmla="*/ 36 w 88"/>
              <a:gd name="T7" fmla="*/ 169 h 170"/>
              <a:gd name="T8" fmla="*/ 35 w 88"/>
              <a:gd name="T9" fmla="*/ 150 h 170"/>
              <a:gd name="T10" fmla="*/ 14 w 88"/>
              <a:gd name="T11" fmla="*/ 143 h 170"/>
              <a:gd name="T12" fmla="*/ 2 w 88"/>
              <a:gd name="T13" fmla="*/ 135 h 170"/>
              <a:gd name="T14" fmla="*/ 1 w 88"/>
              <a:gd name="T15" fmla="*/ 129 h 170"/>
              <a:gd name="T16" fmla="*/ 12 w 88"/>
              <a:gd name="T17" fmla="*/ 115 h 170"/>
              <a:gd name="T18" fmla="*/ 15 w 88"/>
              <a:gd name="T19" fmla="*/ 116 h 170"/>
              <a:gd name="T20" fmla="*/ 45 w 88"/>
              <a:gd name="T21" fmla="*/ 129 h 170"/>
              <a:gd name="T22" fmla="*/ 64 w 88"/>
              <a:gd name="T23" fmla="*/ 113 h 170"/>
              <a:gd name="T24" fmla="*/ 60 w 88"/>
              <a:gd name="T25" fmla="*/ 104 h 170"/>
              <a:gd name="T26" fmla="*/ 48 w 88"/>
              <a:gd name="T27" fmla="*/ 98 h 170"/>
              <a:gd name="T28" fmla="*/ 34 w 88"/>
              <a:gd name="T29" fmla="*/ 92 h 170"/>
              <a:gd name="T30" fmla="*/ 23 w 88"/>
              <a:gd name="T31" fmla="*/ 87 h 170"/>
              <a:gd name="T32" fmla="*/ 12 w 88"/>
              <a:gd name="T33" fmla="*/ 80 h 170"/>
              <a:gd name="T34" fmla="*/ 5 w 88"/>
              <a:gd name="T35" fmla="*/ 69 h 170"/>
              <a:gd name="T36" fmla="*/ 2 w 88"/>
              <a:gd name="T37" fmla="*/ 56 h 170"/>
              <a:gd name="T38" fmla="*/ 35 w 88"/>
              <a:gd name="T39" fmla="*/ 20 h 170"/>
              <a:gd name="T40" fmla="*/ 36 w 88"/>
              <a:gd name="T41" fmla="*/ 1 h 170"/>
              <a:gd name="T42" fmla="*/ 51 w 88"/>
              <a:gd name="T43" fmla="*/ 0 h 170"/>
              <a:gd name="T44" fmla="*/ 54 w 88"/>
              <a:gd name="T45" fmla="*/ 3 h 170"/>
              <a:gd name="T46" fmla="*/ 65 w 88"/>
              <a:gd name="T47" fmla="*/ 22 h 170"/>
              <a:gd name="T48" fmla="*/ 79 w 88"/>
              <a:gd name="T49" fmla="*/ 29 h 170"/>
              <a:gd name="T50" fmla="*/ 84 w 88"/>
              <a:gd name="T51" fmla="*/ 33 h 170"/>
              <a:gd name="T52" fmla="*/ 77 w 88"/>
              <a:gd name="T53" fmla="*/ 50 h 170"/>
              <a:gd name="T54" fmla="*/ 72 w 88"/>
              <a:gd name="T55" fmla="*/ 51 h 170"/>
              <a:gd name="T56" fmla="*/ 67 w 88"/>
              <a:gd name="T57" fmla="*/ 47 h 170"/>
              <a:gd name="T58" fmla="*/ 54 w 88"/>
              <a:gd name="T59" fmla="*/ 42 h 170"/>
              <a:gd name="T60" fmla="*/ 32 w 88"/>
              <a:gd name="T61" fmla="*/ 45 h 170"/>
              <a:gd name="T62" fmla="*/ 27 w 88"/>
              <a:gd name="T63" fmla="*/ 60 h 170"/>
              <a:gd name="T64" fmla="*/ 33 w 88"/>
              <a:gd name="T65" fmla="*/ 67 h 170"/>
              <a:gd name="T66" fmla="*/ 44 w 88"/>
              <a:gd name="T67" fmla="*/ 72 h 170"/>
              <a:gd name="T68" fmla="*/ 59 w 88"/>
              <a:gd name="T69" fmla="*/ 78 h 170"/>
              <a:gd name="T70" fmla="*/ 73 w 88"/>
              <a:gd name="T71" fmla="*/ 85 h 170"/>
              <a:gd name="T72" fmla="*/ 84 w 88"/>
              <a:gd name="T73" fmla="*/ 96 h 170"/>
              <a:gd name="T74" fmla="*/ 88 w 88"/>
              <a:gd name="T75" fmla="*/ 112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" h="170">
                <a:moveTo>
                  <a:pt x="88" y="112"/>
                </a:moveTo>
                <a:cubicBezTo>
                  <a:pt x="88" y="122"/>
                  <a:pt x="85" y="130"/>
                  <a:pt x="79" y="137"/>
                </a:cubicBezTo>
                <a:cubicBezTo>
                  <a:pt x="72" y="144"/>
                  <a:pt x="64" y="148"/>
                  <a:pt x="54" y="150"/>
                </a:cubicBezTo>
                <a:cubicBezTo>
                  <a:pt x="54" y="167"/>
                  <a:pt x="54" y="167"/>
                  <a:pt x="54" y="167"/>
                </a:cubicBezTo>
                <a:cubicBezTo>
                  <a:pt x="54" y="167"/>
                  <a:pt x="54" y="168"/>
                  <a:pt x="53" y="169"/>
                </a:cubicBezTo>
                <a:cubicBezTo>
                  <a:pt x="53" y="169"/>
                  <a:pt x="52" y="170"/>
                  <a:pt x="51" y="170"/>
                </a:cubicBezTo>
                <a:cubicBezTo>
                  <a:pt x="38" y="170"/>
                  <a:pt x="38" y="170"/>
                  <a:pt x="38" y="170"/>
                </a:cubicBezTo>
                <a:cubicBezTo>
                  <a:pt x="38" y="170"/>
                  <a:pt x="37" y="169"/>
                  <a:pt x="36" y="169"/>
                </a:cubicBezTo>
                <a:cubicBezTo>
                  <a:pt x="36" y="168"/>
                  <a:pt x="35" y="167"/>
                  <a:pt x="35" y="167"/>
                </a:cubicBezTo>
                <a:cubicBezTo>
                  <a:pt x="35" y="150"/>
                  <a:pt x="35" y="150"/>
                  <a:pt x="35" y="150"/>
                </a:cubicBezTo>
                <a:cubicBezTo>
                  <a:pt x="31" y="149"/>
                  <a:pt x="27" y="149"/>
                  <a:pt x="23" y="147"/>
                </a:cubicBezTo>
                <a:cubicBezTo>
                  <a:pt x="19" y="146"/>
                  <a:pt x="16" y="144"/>
                  <a:pt x="14" y="143"/>
                </a:cubicBezTo>
                <a:cubicBezTo>
                  <a:pt x="11" y="142"/>
                  <a:pt x="9" y="140"/>
                  <a:pt x="7" y="138"/>
                </a:cubicBezTo>
                <a:cubicBezTo>
                  <a:pt x="5" y="137"/>
                  <a:pt x="3" y="136"/>
                  <a:pt x="2" y="135"/>
                </a:cubicBezTo>
                <a:cubicBezTo>
                  <a:pt x="2" y="134"/>
                  <a:pt x="1" y="134"/>
                  <a:pt x="1" y="133"/>
                </a:cubicBezTo>
                <a:cubicBezTo>
                  <a:pt x="0" y="132"/>
                  <a:pt x="0" y="131"/>
                  <a:pt x="1" y="129"/>
                </a:cubicBezTo>
                <a:cubicBezTo>
                  <a:pt x="10" y="117"/>
                  <a:pt x="10" y="117"/>
                  <a:pt x="10" y="117"/>
                </a:cubicBezTo>
                <a:cubicBezTo>
                  <a:pt x="11" y="116"/>
                  <a:pt x="11" y="115"/>
                  <a:pt x="12" y="115"/>
                </a:cubicBezTo>
                <a:cubicBezTo>
                  <a:pt x="13" y="115"/>
                  <a:pt x="14" y="116"/>
                  <a:pt x="15" y="116"/>
                </a:cubicBezTo>
                <a:cubicBezTo>
                  <a:pt x="15" y="116"/>
                  <a:pt x="15" y="116"/>
                  <a:pt x="15" y="116"/>
                </a:cubicBezTo>
                <a:cubicBezTo>
                  <a:pt x="22" y="123"/>
                  <a:pt x="30" y="127"/>
                  <a:pt x="38" y="128"/>
                </a:cubicBezTo>
                <a:cubicBezTo>
                  <a:pt x="40" y="129"/>
                  <a:pt x="43" y="129"/>
                  <a:pt x="45" y="129"/>
                </a:cubicBezTo>
                <a:cubicBezTo>
                  <a:pt x="50" y="129"/>
                  <a:pt x="54" y="128"/>
                  <a:pt x="58" y="125"/>
                </a:cubicBezTo>
                <a:cubicBezTo>
                  <a:pt x="62" y="122"/>
                  <a:pt x="64" y="118"/>
                  <a:pt x="64" y="113"/>
                </a:cubicBezTo>
                <a:cubicBezTo>
                  <a:pt x="64" y="112"/>
                  <a:pt x="64" y="110"/>
                  <a:pt x="63" y="108"/>
                </a:cubicBezTo>
                <a:cubicBezTo>
                  <a:pt x="62" y="107"/>
                  <a:pt x="61" y="105"/>
                  <a:pt x="60" y="104"/>
                </a:cubicBezTo>
                <a:cubicBezTo>
                  <a:pt x="58" y="103"/>
                  <a:pt x="57" y="102"/>
                  <a:pt x="54" y="101"/>
                </a:cubicBezTo>
                <a:cubicBezTo>
                  <a:pt x="52" y="100"/>
                  <a:pt x="49" y="99"/>
                  <a:pt x="48" y="98"/>
                </a:cubicBezTo>
                <a:cubicBezTo>
                  <a:pt x="46" y="97"/>
                  <a:pt x="44" y="96"/>
                  <a:pt x="40" y="95"/>
                </a:cubicBezTo>
                <a:cubicBezTo>
                  <a:pt x="38" y="94"/>
                  <a:pt x="36" y="93"/>
                  <a:pt x="34" y="92"/>
                </a:cubicBezTo>
                <a:cubicBezTo>
                  <a:pt x="33" y="92"/>
                  <a:pt x="31" y="91"/>
                  <a:pt x="29" y="90"/>
                </a:cubicBezTo>
                <a:cubicBezTo>
                  <a:pt x="26" y="89"/>
                  <a:pt x="24" y="88"/>
                  <a:pt x="23" y="87"/>
                </a:cubicBezTo>
                <a:cubicBezTo>
                  <a:pt x="21" y="86"/>
                  <a:pt x="19" y="85"/>
                  <a:pt x="17" y="84"/>
                </a:cubicBezTo>
                <a:cubicBezTo>
                  <a:pt x="15" y="82"/>
                  <a:pt x="14" y="81"/>
                  <a:pt x="12" y="80"/>
                </a:cubicBezTo>
                <a:cubicBezTo>
                  <a:pt x="11" y="78"/>
                  <a:pt x="10" y="77"/>
                  <a:pt x="8" y="75"/>
                </a:cubicBezTo>
                <a:cubicBezTo>
                  <a:pt x="7" y="73"/>
                  <a:pt x="6" y="71"/>
                  <a:pt x="5" y="69"/>
                </a:cubicBezTo>
                <a:cubicBezTo>
                  <a:pt x="4" y="68"/>
                  <a:pt x="3" y="66"/>
                  <a:pt x="3" y="63"/>
                </a:cubicBezTo>
                <a:cubicBezTo>
                  <a:pt x="2" y="61"/>
                  <a:pt x="2" y="58"/>
                  <a:pt x="2" y="56"/>
                </a:cubicBezTo>
                <a:cubicBezTo>
                  <a:pt x="2" y="47"/>
                  <a:pt x="5" y="39"/>
                  <a:pt x="11" y="33"/>
                </a:cubicBezTo>
                <a:cubicBezTo>
                  <a:pt x="17" y="26"/>
                  <a:pt x="26" y="22"/>
                  <a:pt x="35" y="20"/>
                </a:cubicBezTo>
                <a:cubicBezTo>
                  <a:pt x="35" y="3"/>
                  <a:pt x="35" y="3"/>
                  <a:pt x="35" y="3"/>
                </a:cubicBezTo>
                <a:cubicBezTo>
                  <a:pt x="35" y="2"/>
                  <a:pt x="36" y="2"/>
                  <a:pt x="36" y="1"/>
                </a:cubicBezTo>
                <a:cubicBezTo>
                  <a:pt x="37" y="1"/>
                  <a:pt x="38" y="0"/>
                  <a:pt x="38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2" y="0"/>
                  <a:pt x="53" y="0"/>
                  <a:pt x="53" y="1"/>
                </a:cubicBezTo>
                <a:cubicBezTo>
                  <a:pt x="54" y="2"/>
                  <a:pt x="54" y="2"/>
                  <a:pt x="54" y="3"/>
                </a:cubicBezTo>
                <a:cubicBezTo>
                  <a:pt x="54" y="20"/>
                  <a:pt x="54" y="20"/>
                  <a:pt x="54" y="20"/>
                </a:cubicBezTo>
                <a:cubicBezTo>
                  <a:pt x="58" y="20"/>
                  <a:pt x="61" y="21"/>
                  <a:pt x="65" y="22"/>
                </a:cubicBezTo>
                <a:cubicBezTo>
                  <a:pt x="68" y="23"/>
                  <a:pt x="71" y="24"/>
                  <a:pt x="73" y="25"/>
                </a:cubicBezTo>
                <a:cubicBezTo>
                  <a:pt x="75" y="26"/>
                  <a:pt x="77" y="27"/>
                  <a:pt x="79" y="29"/>
                </a:cubicBezTo>
                <a:cubicBezTo>
                  <a:pt x="81" y="30"/>
                  <a:pt x="82" y="31"/>
                  <a:pt x="83" y="32"/>
                </a:cubicBezTo>
                <a:cubicBezTo>
                  <a:pt x="83" y="32"/>
                  <a:pt x="84" y="32"/>
                  <a:pt x="84" y="33"/>
                </a:cubicBezTo>
                <a:cubicBezTo>
                  <a:pt x="85" y="34"/>
                  <a:pt x="85" y="35"/>
                  <a:pt x="84" y="36"/>
                </a:cubicBezTo>
                <a:cubicBezTo>
                  <a:pt x="77" y="50"/>
                  <a:pt x="77" y="50"/>
                  <a:pt x="77" y="50"/>
                </a:cubicBezTo>
                <a:cubicBezTo>
                  <a:pt x="76" y="51"/>
                  <a:pt x="76" y="52"/>
                  <a:pt x="75" y="52"/>
                </a:cubicBezTo>
                <a:cubicBezTo>
                  <a:pt x="74" y="52"/>
                  <a:pt x="73" y="52"/>
                  <a:pt x="72" y="51"/>
                </a:cubicBezTo>
                <a:cubicBezTo>
                  <a:pt x="72" y="51"/>
                  <a:pt x="71" y="51"/>
                  <a:pt x="71" y="50"/>
                </a:cubicBezTo>
                <a:cubicBezTo>
                  <a:pt x="70" y="49"/>
                  <a:pt x="69" y="49"/>
                  <a:pt x="67" y="47"/>
                </a:cubicBezTo>
                <a:cubicBezTo>
                  <a:pt x="65" y="46"/>
                  <a:pt x="63" y="45"/>
                  <a:pt x="62" y="44"/>
                </a:cubicBezTo>
                <a:cubicBezTo>
                  <a:pt x="60" y="43"/>
                  <a:pt x="57" y="43"/>
                  <a:pt x="54" y="42"/>
                </a:cubicBezTo>
                <a:cubicBezTo>
                  <a:pt x="52" y="41"/>
                  <a:pt x="49" y="41"/>
                  <a:pt x="46" y="41"/>
                </a:cubicBezTo>
                <a:cubicBezTo>
                  <a:pt x="40" y="41"/>
                  <a:pt x="36" y="42"/>
                  <a:pt x="32" y="45"/>
                </a:cubicBezTo>
                <a:cubicBezTo>
                  <a:pt x="28" y="48"/>
                  <a:pt x="26" y="51"/>
                  <a:pt x="26" y="55"/>
                </a:cubicBezTo>
                <a:cubicBezTo>
                  <a:pt x="26" y="57"/>
                  <a:pt x="26" y="59"/>
                  <a:pt x="27" y="60"/>
                </a:cubicBezTo>
                <a:cubicBezTo>
                  <a:pt x="27" y="61"/>
                  <a:pt x="28" y="63"/>
                  <a:pt x="30" y="64"/>
                </a:cubicBezTo>
                <a:cubicBezTo>
                  <a:pt x="31" y="65"/>
                  <a:pt x="32" y="66"/>
                  <a:pt x="33" y="67"/>
                </a:cubicBezTo>
                <a:cubicBezTo>
                  <a:pt x="35" y="68"/>
                  <a:pt x="36" y="69"/>
                  <a:pt x="39" y="70"/>
                </a:cubicBezTo>
                <a:cubicBezTo>
                  <a:pt x="41" y="71"/>
                  <a:pt x="43" y="72"/>
                  <a:pt x="44" y="72"/>
                </a:cubicBezTo>
                <a:cubicBezTo>
                  <a:pt x="46" y="73"/>
                  <a:pt x="48" y="74"/>
                  <a:pt x="51" y="75"/>
                </a:cubicBezTo>
                <a:cubicBezTo>
                  <a:pt x="54" y="76"/>
                  <a:pt x="57" y="77"/>
                  <a:pt x="59" y="78"/>
                </a:cubicBezTo>
                <a:cubicBezTo>
                  <a:pt x="60" y="79"/>
                  <a:pt x="63" y="80"/>
                  <a:pt x="66" y="81"/>
                </a:cubicBezTo>
                <a:cubicBezTo>
                  <a:pt x="69" y="83"/>
                  <a:pt x="71" y="84"/>
                  <a:pt x="73" y="85"/>
                </a:cubicBezTo>
                <a:cubicBezTo>
                  <a:pt x="75" y="87"/>
                  <a:pt x="77" y="88"/>
                  <a:pt x="79" y="90"/>
                </a:cubicBezTo>
                <a:cubicBezTo>
                  <a:pt x="81" y="92"/>
                  <a:pt x="83" y="94"/>
                  <a:pt x="84" y="96"/>
                </a:cubicBezTo>
                <a:cubicBezTo>
                  <a:pt x="85" y="98"/>
                  <a:pt x="86" y="101"/>
                  <a:pt x="87" y="103"/>
                </a:cubicBezTo>
                <a:cubicBezTo>
                  <a:pt x="88" y="106"/>
                  <a:pt x="88" y="109"/>
                  <a:pt x="88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1" name="Freeform 312"/>
          <p:cNvSpPr>
            <a:spLocks noChangeAspect="1"/>
          </p:cNvSpPr>
          <p:nvPr/>
        </p:nvSpPr>
        <p:spPr bwMode="auto">
          <a:xfrm>
            <a:off x="6804656" y="3724195"/>
            <a:ext cx="87433" cy="137395"/>
          </a:xfrm>
          <a:custGeom>
            <a:avLst/>
            <a:gdLst>
              <a:gd name="T0" fmla="*/ 84 w 84"/>
              <a:gd name="T1" fmla="*/ 33 h 133"/>
              <a:gd name="T2" fmla="*/ 84 w 84"/>
              <a:gd name="T3" fmla="*/ 42 h 133"/>
              <a:gd name="T4" fmla="*/ 84 w 84"/>
              <a:gd name="T5" fmla="*/ 44 h 133"/>
              <a:gd name="T6" fmla="*/ 81 w 84"/>
              <a:gd name="T7" fmla="*/ 45 h 133"/>
              <a:gd name="T8" fmla="*/ 66 w 84"/>
              <a:gd name="T9" fmla="*/ 45 h 133"/>
              <a:gd name="T10" fmla="*/ 53 w 84"/>
              <a:gd name="T11" fmla="*/ 67 h 133"/>
              <a:gd name="T12" fmla="*/ 27 w 84"/>
              <a:gd name="T13" fmla="*/ 78 h 133"/>
              <a:gd name="T14" fmla="*/ 71 w 84"/>
              <a:gd name="T15" fmla="*/ 129 h 133"/>
              <a:gd name="T16" fmla="*/ 71 w 84"/>
              <a:gd name="T17" fmla="*/ 132 h 133"/>
              <a:gd name="T18" fmla="*/ 68 w 84"/>
              <a:gd name="T19" fmla="*/ 133 h 133"/>
              <a:gd name="T20" fmla="*/ 50 w 84"/>
              <a:gd name="T21" fmla="*/ 133 h 133"/>
              <a:gd name="T22" fmla="*/ 47 w 84"/>
              <a:gd name="T23" fmla="*/ 132 h 133"/>
              <a:gd name="T24" fmla="*/ 0 w 84"/>
              <a:gd name="T25" fmla="*/ 78 h 133"/>
              <a:gd name="T26" fmla="*/ 0 w 84"/>
              <a:gd name="T27" fmla="*/ 76 h 133"/>
              <a:gd name="T28" fmla="*/ 0 w 84"/>
              <a:gd name="T29" fmla="*/ 64 h 133"/>
              <a:gd name="T30" fmla="*/ 0 w 84"/>
              <a:gd name="T31" fmla="*/ 62 h 133"/>
              <a:gd name="T32" fmla="*/ 3 w 84"/>
              <a:gd name="T33" fmla="*/ 61 h 133"/>
              <a:gd name="T34" fmla="*/ 13 w 84"/>
              <a:gd name="T35" fmla="*/ 61 h 133"/>
              <a:gd name="T36" fmla="*/ 33 w 84"/>
              <a:gd name="T37" fmla="*/ 57 h 133"/>
              <a:gd name="T38" fmla="*/ 43 w 84"/>
              <a:gd name="T39" fmla="*/ 45 h 133"/>
              <a:gd name="T40" fmla="*/ 3 w 84"/>
              <a:gd name="T41" fmla="*/ 45 h 133"/>
              <a:gd name="T42" fmla="*/ 0 w 84"/>
              <a:gd name="T43" fmla="*/ 44 h 133"/>
              <a:gd name="T44" fmla="*/ 0 w 84"/>
              <a:gd name="T45" fmla="*/ 42 h 133"/>
              <a:gd name="T46" fmla="*/ 0 w 84"/>
              <a:gd name="T47" fmla="*/ 33 h 133"/>
              <a:gd name="T48" fmla="*/ 0 w 84"/>
              <a:gd name="T49" fmla="*/ 30 h 133"/>
              <a:gd name="T50" fmla="*/ 3 w 84"/>
              <a:gd name="T51" fmla="*/ 30 h 133"/>
              <a:gd name="T52" fmla="*/ 42 w 84"/>
              <a:gd name="T53" fmla="*/ 30 h 133"/>
              <a:gd name="T54" fmla="*/ 16 w 84"/>
              <a:gd name="T55" fmla="*/ 19 h 133"/>
              <a:gd name="T56" fmla="*/ 3 w 84"/>
              <a:gd name="T57" fmla="*/ 19 h 133"/>
              <a:gd name="T58" fmla="*/ 0 w 84"/>
              <a:gd name="T59" fmla="*/ 18 h 133"/>
              <a:gd name="T60" fmla="*/ 0 w 84"/>
              <a:gd name="T61" fmla="*/ 16 h 133"/>
              <a:gd name="T62" fmla="*/ 0 w 84"/>
              <a:gd name="T63" fmla="*/ 3 h 133"/>
              <a:gd name="T64" fmla="*/ 0 w 84"/>
              <a:gd name="T65" fmla="*/ 1 h 133"/>
              <a:gd name="T66" fmla="*/ 3 w 84"/>
              <a:gd name="T67" fmla="*/ 0 h 133"/>
              <a:gd name="T68" fmla="*/ 81 w 84"/>
              <a:gd name="T69" fmla="*/ 0 h 133"/>
              <a:gd name="T70" fmla="*/ 83 w 84"/>
              <a:gd name="T71" fmla="*/ 1 h 133"/>
              <a:gd name="T72" fmla="*/ 84 w 84"/>
              <a:gd name="T73" fmla="*/ 3 h 133"/>
              <a:gd name="T74" fmla="*/ 84 w 84"/>
              <a:gd name="T75" fmla="*/ 13 h 133"/>
              <a:gd name="T76" fmla="*/ 83 w 84"/>
              <a:gd name="T77" fmla="*/ 15 h 133"/>
              <a:gd name="T78" fmla="*/ 81 w 84"/>
              <a:gd name="T79" fmla="*/ 16 h 133"/>
              <a:gd name="T80" fmla="*/ 59 w 84"/>
              <a:gd name="T81" fmla="*/ 16 h 133"/>
              <a:gd name="T82" fmla="*/ 65 w 84"/>
              <a:gd name="T83" fmla="*/ 30 h 133"/>
              <a:gd name="T84" fmla="*/ 81 w 84"/>
              <a:gd name="T85" fmla="*/ 30 h 133"/>
              <a:gd name="T86" fmla="*/ 84 w 84"/>
              <a:gd name="T87" fmla="*/ 30 h 133"/>
              <a:gd name="T88" fmla="*/ 84 w 84"/>
              <a:gd name="T89" fmla="*/ 3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4" h="133">
                <a:moveTo>
                  <a:pt x="84" y="33"/>
                </a:moveTo>
                <a:cubicBezTo>
                  <a:pt x="84" y="42"/>
                  <a:pt x="84" y="42"/>
                  <a:pt x="84" y="42"/>
                </a:cubicBezTo>
                <a:cubicBezTo>
                  <a:pt x="84" y="43"/>
                  <a:pt x="84" y="44"/>
                  <a:pt x="84" y="44"/>
                </a:cubicBezTo>
                <a:cubicBezTo>
                  <a:pt x="83" y="45"/>
                  <a:pt x="82" y="45"/>
                  <a:pt x="81" y="45"/>
                </a:cubicBezTo>
                <a:cubicBezTo>
                  <a:pt x="66" y="45"/>
                  <a:pt x="66" y="45"/>
                  <a:pt x="66" y="45"/>
                </a:cubicBezTo>
                <a:cubicBezTo>
                  <a:pt x="64" y="54"/>
                  <a:pt x="60" y="62"/>
                  <a:pt x="53" y="67"/>
                </a:cubicBezTo>
                <a:cubicBezTo>
                  <a:pt x="47" y="73"/>
                  <a:pt x="38" y="77"/>
                  <a:pt x="27" y="78"/>
                </a:cubicBezTo>
                <a:cubicBezTo>
                  <a:pt x="38" y="89"/>
                  <a:pt x="52" y="106"/>
                  <a:pt x="71" y="129"/>
                </a:cubicBezTo>
                <a:cubicBezTo>
                  <a:pt x="71" y="130"/>
                  <a:pt x="72" y="131"/>
                  <a:pt x="71" y="132"/>
                </a:cubicBezTo>
                <a:cubicBezTo>
                  <a:pt x="70" y="133"/>
                  <a:pt x="70" y="133"/>
                  <a:pt x="68" y="133"/>
                </a:cubicBezTo>
                <a:cubicBezTo>
                  <a:pt x="50" y="133"/>
                  <a:pt x="50" y="133"/>
                  <a:pt x="50" y="133"/>
                </a:cubicBezTo>
                <a:cubicBezTo>
                  <a:pt x="49" y="133"/>
                  <a:pt x="48" y="133"/>
                  <a:pt x="47" y="132"/>
                </a:cubicBezTo>
                <a:cubicBezTo>
                  <a:pt x="28" y="109"/>
                  <a:pt x="12" y="91"/>
                  <a:pt x="0" y="78"/>
                </a:cubicBezTo>
                <a:cubicBezTo>
                  <a:pt x="0" y="78"/>
                  <a:pt x="0" y="77"/>
                  <a:pt x="0" y="76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3"/>
                  <a:pt x="0" y="63"/>
                  <a:pt x="0" y="62"/>
                </a:cubicBezTo>
                <a:cubicBezTo>
                  <a:pt x="1" y="61"/>
                  <a:pt x="2" y="61"/>
                  <a:pt x="3" y="61"/>
                </a:cubicBezTo>
                <a:cubicBezTo>
                  <a:pt x="13" y="61"/>
                  <a:pt x="13" y="61"/>
                  <a:pt x="13" y="61"/>
                </a:cubicBezTo>
                <a:cubicBezTo>
                  <a:pt x="21" y="61"/>
                  <a:pt x="28" y="60"/>
                  <a:pt x="33" y="57"/>
                </a:cubicBezTo>
                <a:cubicBezTo>
                  <a:pt x="38" y="54"/>
                  <a:pt x="42" y="50"/>
                  <a:pt x="43" y="45"/>
                </a:cubicBezTo>
                <a:cubicBezTo>
                  <a:pt x="3" y="45"/>
                  <a:pt x="3" y="45"/>
                  <a:pt x="3" y="45"/>
                </a:cubicBezTo>
                <a:cubicBezTo>
                  <a:pt x="2" y="45"/>
                  <a:pt x="1" y="45"/>
                  <a:pt x="0" y="44"/>
                </a:cubicBezTo>
                <a:cubicBezTo>
                  <a:pt x="0" y="44"/>
                  <a:pt x="0" y="43"/>
                  <a:pt x="0" y="42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2"/>
                  <a:pt x="0" y="31"/>
                  <a:pt x="0" y="30"/>
                </a:cubicBezTo>
                <a:cubicBezTo>
                  <a:pt x="1" y="30"/>
                  <a:pt x="2" y="30"/>
                  <a:pt x="3" y="30"/>
                </a:cubicBezTo>
                <a:cubicBezTo>
                  <a:pt x="42" y="30"/>
                  <a:pt x="42" y="30"/>
                  <a:pt x="42" y="30"/>
                </a:cubicBezTo>
                <a:cubicBezTo>
                  <a:pt x="38" y="22"/>
                  <a:pt x="30" y="19"/>
                  <a:pt x="16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2" y="19"/>
                  <a:pt x="1" y="19"/>
                  <a:pt x="0" y="18"/>
                </a:cubicBezTo>
                <a:cubicBezTo>
                  <a:pt x="0" y="17"/>
                  <a:pt x="0" y="17"/>
                  <a:pt x="0" y="16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0" y="2"/>
                  <a:pt x="0" y="1"/>
                </a:cubicBezTo>
                <a:cubicBezTo>
                  <a:pt x="1" y="1"/>
                  <a:pt x="2" y="0"/>
                  <a:pt x="3" y="0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1"/>
                  <a:pt x="83" y="1"/>
                </a:cubicBezTo>
                <a:cubicBezTo>
                  <a:pt x="84" y="2"/>
                  <a:pt x="84" y="2"/>
                  <a:pt x="84" y="3"/>
                </a:cubicBezTo>
                <a:cubicBezTo>
                  <a:pt x="84" y="13"/>
                  <a:pt x="84" y="13"/>
                  <a:pt x="84" y="13"/>
                </a:cubicBezTo>
                <a:cubicBezTo>
                  <a:pt x="84" y="14"/>
                  <a:pt x="84" y="15"/>
                  <a:pt x="83" y="15"/>
                </a:cubicBezTo>
                <a:cubicBezTo>
                  <a:pt x="83" y="16"/>
                  <a:pt x="82" y="16"/>
                  <a:pt x="81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62" y="20"/>
                  <a:pt x="64" y="24"/>
                  <a:pt x="65" y="30"/>
                </a:cubicBezTo>
                <a:cubicBezTo>
                  <a:pt x="81" y="30"/>
                  <a:pt x="81" y="30"/>
                  <a:pt x="81" y="30"/>
                </a:cubicBezTo>
                <a:cubicBezTo>
                  <a:pt x="82" y="30"/>
                  <a:pt x="83" y="30"/>
                  <a:pt x="84" y="30"/>
                </a:cubicBezTo>
                <a:cubicBezTo>
                  <a:pt x="84" y="31"/>
                  <a:pt x="84" y="32"/>
                  <a:pt x="84" y="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2" name="Freeform 313"/>
          <p:cNvSpPr>
            <a:spLocks noChangeAspect="1"/>
          </p:cNvSpPr>
          <p:nvPr/>
        </p:nvSpPr>
        <p:spPr bwMode="auto">
          <a:xfrm>
            <a:off x="6935806" y="3724195"/>
            <a:ext cx="101485" cy="137395"/>
          </a:xfrm>
          <a:custGeom>
            <a:avLst/>
            <a:gdLst>
              <a:gd name="T0" fmla="*/ 58 w 98"/>
              <a:gd name="T1" fmla="*/ 133 h 133"/>
              <a:gd name="T2" fmla="*/ 41 w 98"/>
              <a:gd name="T3" fmla="*/ 133 h 133"/>
              <a:gd name="T4" fmla="*/ 39 w 98"/>
              <a:gd name="T5" fmla="*/ 133 h 133"/>
              <a:gd name="T6" fmla="*/ 38 w 98"/>
              <a:gd name="T7" fmla="*/ 130 h 133"/>
              <a:gd name="T8" fmla="*/ 38 w 98"/>
              <a:gd name="T9" fmla="*/ 99 h 133"/>
              <a:gd name="T10" fmla="*/ 11 w 98"/>
              <a:gd name="T11" fmla="*/ 99 h 133"/>
              <a:gd name="T12" fmla="*/ 9 w 98"/>
              <a:gd name="T13" fmla="*/ 98 h 133"/>
              <a:gd name="T14" fmla="*/ 8 w 98"/>
              <a:gd name="T15" fmla="*/ 96 h 133"/>
              <a:gd name="T16" fmla="*/ 8 w 98"/>
              <a:gd name="T17" fmla="*/ 86 h 133"/>
              <a:gd name="T18" fmla="*/ 9 w 98"/>
              <a:gd name="T19" fmla="*/ 84 h 133"/>
              <a:gd name="T20" fmla="*/ 11 w 98"/>
              <a:gd name="T21" fmla="*/ 83 h 133"/>
              <a:gd name="T22" fmla="*/ 38 w 98"/>
              <a:gd name="T23" fmla="*/ 83 h 133"/>
              <a:gd name="T24" fmla="*/ 38 w 98"/>
              <a:gd name="T25" fmla="*/ 75 h 133"/>
              <a:gd name="T26" fmla="*/ 11 w 98"/>
              <a:gd name="T27" fmla="*/ 75 h 133"/>
              <a:gd name="T28" fmla="*/ 9 w 98"/>
              <a:gd name="T29" fmla="*/ 75 h 133"/>
              <a:gd name="T30" fmla="*/ 8 w 98"/>
              <a:gd name="T31" fmla="*/ 72 h 133"/>
              <a:gd name="T32" fmla="*/ 8 w 98"/>
              <a:gd name="T33" fmla="*/ 63 h 133"/>
              <a:gd name="T34" fmla="*/ 9 w 98"/>
              <a:gd name="T35" fmla="*/ 60 h 133"/>
              <a:gd name="T36" fmla="*/ 11 w 98"/>
              <a:gd name="T37" fmla="*/ 59 h 133"/>
              <a:gd name="T38" fmla="*/ 31 w 98"/>
              <a:gd name="T39" fmla="*/ 59 h 133"/>
              <a:gd name="T40" fmla="*/ 1 w 98"/>
              <a:gd name="T41" fmla="*/ 5 h 133"/>
              <a:gd name="T42" fmla="*/ 1 w 98"/>
              <a:gd name="T43" fmla="*/ 2 h 133"/>
              <a:gd name="T44" fmla="*/ 4 w 98"/>
              <a:gd name="T45" fmla="*/ 0 h 133"/>
              <a:gd name="T46" fmla="*/ 22 w 98"/>
              <a:gd name="T47" fmla="*/ 0 h 133"/>
              <a:gd name="T48" fmla="*/ 25 w 98"/>
              <a:gd name="T49" fmla="*/ 2 h 133"/>
              <a:gd name="T50" fmla="*/ 45 w 98"/>
              <a:gd name="T51" fmla="*/ 42 h 133"/>
              <a:gd name="T52" fmla="*/ 50 w 98"/>
              <a:gd name="T53" fmla="*/ 54 h 133"/>
              <a:gd name="T54" fmla="*/ 53 w 98"/>
              <a:gd name="T55" fmla="*/ 48 h 133"/>
              <a:gd name="T56" fmla="*/ 56 w 98"/>
              <a:gd name="T57" fmla="*/ 42 h 133"/>
              <a:gd name="T58" fmla="*/ 74 w 98"/>
              <a:gd name="T59" fmla="*/ 2 h 133"/>
              <a:gd name="T60" fmla="*/ 77 w 98"/>
              <a:gd name="T61" fmla="*/ 0 h 133"/>
              <a:gd name="T62" fmla="*/ 95 w 98"/>
              <a:gd name="T63" fmla="*/ 0 h 133"/>
              <a:gd name="T64" fmla="*/ 97 w 98"/>
              <a:gd name="T65" fmla="*/ 2 h 133"/>
              <a:gd name="T66" fmla="*/ 97 w 98"/>
              <a:gd name="T67" fmla="*/ 5 h 133"/>
              <a:gd name="T68" fmla="*/ 68 w 98"/>
              <a:gd name="T69" fmla="*/ 59 h 133"/>
              <a:gd name="T70" fmla="*/ 88 w 98"/>
              <a:gd name="T71" fmla="*/ 59 h 133"/>
              <a:gd name="T72" fmla="*/ 90 w 98"/>
              <a:gd name="T73" fmla="*/ 60 h 133"/>
              <a:gd name="T74" fmla="*/ 91 w 98"/>
              <a:gd name="T75" fmla="*/ 63 h 133"/>
              <a:gd name="T76" fmla="*/ 91 w 98"/>
              <a:gd name="T77" fmla="*/ 72 h 133"/>
              <a:gd name="T78" fmla="*/ 90 w 98"/>
              <a:gd name="T79" fmla="*/ 75 h 133"/>
              <a:gd name="T80" fmla="*/ 88 w 98"/>
              <a:gd name="T81" fmla="*/ 75 h 133"/>
              <a:gd name="T82" fmla="*/ 61 w 98"/>
              <a:gd name="T83" fmla="*/ 75 h 133"/>
              <a:gd name="T84" fmla="*/ 61 w 98"/>
              <a:gd name="T85" fmla="*/ 83 h 133"/>
              <a:gd name="T86" fmla="*/ 88 w 98"/>
              <a:gd name="T87" fmla="*/ 83 h 133"/>
              <a:gd name="T88" fmla="*/ 90 w 98"/>
              <a:gd name="T89" fmla="*/ 84 h 133"/>
              <a:gd name="T90" fmla="*/ 91 w 98"/>
              <a:gd name="T91" fmla="*/ 86 h 133"/>
              <a:gd name="T92" fmla="*/ 91 w 98"/>
              <a:gd name="T93" fmla="*/ 96 h 133"/>
              <a:gd name="T94" fmla="*/ 90 w 98"/>
              <a:gd name="T95" fmla="*/ 98 h 133"/>
              <a:gd name="T96" fmla="*/ 88 w 98"/>
              <a:gd name="T97" fmla="*/ 99 h 133"/>
              <a:gd name="T98" fmla="*/ 61 w 98"/>
              <a:gd name="T99" fmla="*/ 99 h 133"/>
              <a:gd name="T100" fmla="*/ 61 w 98"/>
              <a:gd name="T101" fmla="*/ 130 h 133"/>
              <a:gd name="T102" fmla="*/ 60 w 98"/>
              <a:gd name="T103" fmla="*/ 133 h 133"/>
              <a:gd name="T104" fmla="*/ 58 w 98"/>
              <a:gd name="T105" fmla="*/ 13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8" h="133">
                <a:moveTo>
                  <a:pt x="58" y="133"/>
                </a:moveTo>
                <a:cubicBezTo>
                  <a:pt x="41" y="133"/>
                  <a:pt x="41" y="133"/>
                  <a:pt x="41" y="133"/>
                </a:cubicBezTo>
                <a:cubicBezTo>
                  <a:pt x="40" y="133"/>
                  <a:pt x="40" y="133"/>
                  <a:pt x="39" y="133"/>
                </a:cubicBezTo>
                <a:cubicBezTo>
                  <a:pt x="39" y="132"/>
                  <a:pt x="38" y="131"/>
                  <a:pt x="38" y="130"/>
                </a:cubicBezTo>
                <a:cubicBezTo>
                  <a:pt x="38" y="99"/>
                  <a:pt x="38" y="99"/>
                  <a:pt x="38" y="99"/>
                </a:cubicBezTo>
                <a:cubicBezTo>
                  <a:pt x="11" y="99"/>
                  <a:pt x="11" y="99"/>
                  <a:pt x="11" y="99"/>
                </a:cubicBezTo>
                <a:cubicBezTo>
                  <a:pt x="10" y="99"/>
                  <a:pt x="9" y="99"/>
                  <a:pt x="9" y="98"/>
                </a:cubicBezTo>
                <a:cubicBezTo>
                  <a:pt x="8" y="98"/>
                  <a:pt x="8" y="97"/>
                  <a:pt x="8" y="96"/>
                </a:cubicBezTo>
                <a:cubicBezTo>
                  <a:pt x="8" y="86"/>
                  <a:pt x="8" y="86"/>
                  <a:pt x="8" y="86"/>
                </a:cubicBezTo>
                <a:cubicBezTo>
                  <a:pt x="8" y="86"/>
                  <a:pt x="8" y="85"/>
                  <a:pt x="9" y="84"/>
                </a:cubicBezTo>
                <a:cubicBezTo>
                  <a:pt x="9" y="84"/>
                  <a:pt x="10" y="83"/>
                  <a:pt x="11" y="83"/>
                </a:cubicBezTo>
                <a:cubicBezTo>
                  <a:pt x="38" y="83"/>
                  <a:pt x="38" y="83"/>
                  <a:pt x="38" y="83"/>
                </a:cubicBezTo>
                <a:cubicBezTo>
                  <a:pt x="38" y="75"/>
                  <a:pt x="38" y="75"/>
                  <a:pt x="38" y="75"/>
                </a:cubicBezTo>
                <a:cubicBezTo>
                  <a:pt x="11" y="75"/>
                  <a:pt x="11" y="75"/>
                  <a:pt x="11" y="75"/>
                </a:cubicBezTo>
                <a:cubicBezTo>
                  <a:pt x="10" y="75"/>
                  <a:pt x="9" y="75"/>
                  <a:pt x="9" y="75"/>
                </a:cubicBezTo>
                <a:cubicBezTo>
                  <a:pt x="8" y="74"/>
                  <a:pt x="8" y="73"/>
                  <a:pt x="8" y="72"/>
                </a:cubicBezTo>
                <a:cubicBezTo>
                  <a:pt x="8" y="63"/>
                  <a:pt x="8" y="63"/>
                  <a:pt x="8" y="63"/>
                </a:cubicBezTo>
                <a:cubicBezTo>
                  <a:pt x="8" y="62"/>
                  <a:pt x="8" y="61"/>
                  <a:pt x="9" y="60"/>
                </a:cubicBezTo>
                <a:cubicBezTo>
                  <a:pt x="9" y="60"/>
                  <a:pt x="10" y="59"/>
                  <a:pt x="11" y="59"/>
                </a:cubicBezTo>
                <a:cubicBezTo>
                  <a:pt x="31" y="59"/>
                  <a:pt x="31" y="59"/>
                  <a:pt x="31" y="59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0" y="3"/>
                  <a:pt x="1" y="2"/>
                </a:cubicBezTo>
                <a:cubicBezTo>
                  <a:pt x="2" y="1"/>
                  <a:pt x="2" y="0"/>
                  <a:pt x="4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1"/>
                  <a:pt x="25" y="2"/>
                </a:cubicBezTo>
                <a:cubicBezTo>
                  <a:pt x="45" y="42"/>
                  <a:pt x="45" y="42"/>
                  <a:pt x="45" y="42"/>
                </a:cubicBezTo>
                <a:cubicBezTo>
                  <a:pt x="46" y="45"/>
                  <a:pt x="48" y="49"/>
                  <a:pt x="50" y="54"/>
                </a:cubicBezTo>
                <a:cubicBezTo>
                  <a:pt x="51" y="52"/>
                  <a:pt x="52" y="50"/>
                  <a:pt x="53" y="48"/>
                </a:cubicBezTo>
                <a:cubicBezTo>
                  <a:pt x="54" y="45"/>
                  <a:pt x="55" y="43"/>
                  <a:pt x="56" y="42"/>
                </a:cubicBezTo>
                <a:cubicBezTo>
                  <a:pt x="74" y="2"/>
                  <a:pt x="74" y="2"/>
                  <a:pt x="74" y="2"/>
                </a:cubicBezTo>
                <a:cubicBezTo>
                  <a:pt x="74" y="1"/>
                  <a:pt x="75" y="0"/>
                  <a:pt x="77" y="0"/>
                </a:cubicBezTo>
                <a:cubicBezTo>
                  <a:pt x="95" y="0"/>
                  <a:pt x="95" y="0"/>
                  <a:pt x="95" y="0"/>
                </a:cubicBezTo>
                <a:cubicBezTo>
                  <a:pt x="96" y="0"/>
                  <a:pt x="96" y="1"/>
                  <a:pt x="97" y="2"/>
                </a:cubicBezTo>
                <a:cubicBezTo>
                  <a:pt x="98" y="3"/>
                  <a:pt x="98" y="4"/>
                  <a:pt x="97" y="5"/>
                </a:cubicBezTo>
                <a:cubicBezTo>
                  <a:pt x="68" y="59"/>
                  <a:pt x="68" y="59"/>
                  <a:pt x="68" y="59"/>
                </a:cubicBezTo>
                <a:cubicBezTo>
                  <a:pt x="88" y="59"/>
                  <a:pt x="88" y="59"/>
                  <a:pt x="88" y="59"/>
                </a:cubicBezTo>
                <a:cubicBezTo>
                  <a:pt x="89" y="59"/>
                  <a:pt x="89" y="60"/>
                  <a:pt x="90" y="60"/>
                </a:cubicBezTo>
                <a:cubicBezTo>
                  <a:pt x="91" y="61"/>
                  <a:pt x="91" y="62"/>
                  <a:pt x="91" y="63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3"/>
                  <a:pt x="91" y="74"/>
                  <a:pt x="90" y="75"/>
                </a:cubicBezTo>
                <a:cubicBezTo>
                  <a:pt x="89" y="75"/>
                  <a:pt x="89" y="75"/>
                  <a:pt x="88" y="75"/>
                </a:cubicBezTo>
                <a:cubicBezTo>
                  <a:pt x="61" y="75"/>
                  <a:pt x="61" y="75"/>
                  <a:pt x="61" y="75"/>
                </a:cubicBezTo>
                <a:cubicBezTo>
                  <a:pt x="61" y="83"/>
                  <a:pt x="61" y="83"/>
                  <a:pt x="61" y="83"/>
                </a:cubicBezTo>
                <a:cubicBezTo>
                  <a:pt x="88" y="83"/>
                  <a:pt x="88" y="83"/>
                  <a:pt x="88" y="83"/>
                </a:cubicBezTo>
                <a:cubicBezTo>
                  <a:pt x="89" y="83"/>
                  <a:pt x="89" y="84"/>
                  <a:pt x="90" y="84"/>
                </a:cubicBezTo>
                <a:cubicBezTo>
                  <a:pt x="91" y="85"/>
                  <a:pt x="91" y="86"/>
                  <a:pt x="91" y="86"/>
                </a:cubicBezTo>
                <a:cubicBezTo>
                  <a:pt x="91" y="96"/>
                  <a:pt x="91" y="96"/>
                  <a:pt x="91" y="96"/>
                </a:cubicBezTo>
                <a:cubicBezTo>
                  <a:pt x="91" y="97"/>
                  <a:pt x="91" y="98"/>
                  <a:pt x="90" y="98"/>
                </a:cubicBezTo>
                <a:cubicBezTo>
                  <a:pt x="89" y="99"/>
                  <a:pt x="89" y="99"/>
                  <a:pt x="88" y="99"/>
                </a:cubicBezTo>
                <a:cubicBezTo>
                  <a:pt x="61" y="99"/>
                  <a:pt x="61" y="99"/>
                  <a:pt x="61" y="99"/>
                </a:cubicBezTo>
                <a:cubicBezTo>
                  <a:pt x="61" y="130"/>
                  <a:pt x="61" y="130"/>
                  <a:pt x="61" y="130"/>
                </a:cubicBezTo>
                <a:cubicBezTo>
                  <a:pt x="61" y="131"/>
                  <a:pt x="60" y="132"/>
                  <a:pt x="60" y="133"/>
                </a:cubicBezTo>
                <a:cubicBezTo>
                  <a:pt x="59" y="133"/>
                  <a:pt x="58" y="133"/>
                  <a:pt x="58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3" name="Freeform 314"/>
          <p:cNvSpPr>
            <a:spLocks noChangeAspect="1" noEditPoints="1"/>
          </p:cNvSpPr>
          <p:nvPr/>
        </p:nvSpPr>
        <p:spPr bwMode="auto">
          <a:xfrm>
            <a:off x="7082568" y="3724195"/>
            <a:ext cx="124905" cy="137395"/>
          </a:xfrm>
          <a:custGeom>
            <a:avLst/>
            <a:gdLst>
              <a:gd name="T0" fmla="*/ 109 w 121"/>
              <a:gd name="T1" fmla="*/ 12 h 133"/>
              <a:gd name="T2" fmla="*/ 121 w 121"/>
              <a:gd name="T3" fmla="*/ 42 h 133"/>
              <a:gd name="T4" fmla="*/ 109 w 121"/>
              <a:gd name="T5" fmla="*/ 71 h 133"/>
              <a:gd name="T6" fmla="*/ 78 w 121"/>
              <a:gd name="T7" fmla="*/ 83 h 133"/>
              <a:gd name="T8" fmla="*/ 46 w 121"/>
              <a:gd name="T9" fmla="*/ 83 h 133"/>
              <a:gd name="T10" fmla="*/ 46 w 121"/>
              <a:gd name="T11" fmla="*/ 94 h 133"/>
              <a:gd name="T12" fmla="*/ 93 w 121"/>
              <a:gd name="T13" fmla="*/ 94 h 133"/>
              <a:gd name="T14" fmla="*/ 96 w 121"/>
              <a:gd name="T15" fmla="*/ 95 h 133"/>
              <a:gd name="T16" fmla="*/ 96 w 121"/>
              <a:gd name="T17" fmla="*/ 97 h 133"/>
              <a:gd name="T18" fmla="*/ 96 w 121"/>
              <a:gd name="T19" fmla="*/ 109 h 133"/>
              <a:gd name="T20" fmla="*/ 96 w 121"/>
              <a:gd name="T21" fmla="*/ 111 h 133"/>
              <a:gd name="T22" fmla="*/ 93 w 121"/>
              <a:gd name="T23" fmla="*/ 112 h 133"/>
              <a:gd name="T24" fmla="*/ 46 w 121"/>
              <a:gd name="T25" fmla="*/ 112 h 133"/>
              <a:gd name="T26" fmla="*/ 46 w 121"/>
              <a:gd name="T27" fmla="*/ 130 h 133"/>
              <a:gd name="T28" fmla="*/ 45 w 121"/>
              <a:gd name="T29" fmla="*/ 133 h 133"/>
              <a:gd name="T30" fmla="*/ 43 w 121"/>
              <a:gd name="T31" fmla="*/ 133 h 133"/>
              <a:gd name="T32" fmla="*/ 27 w 121"/>
              <a:gd name="T33" fmla="*/ 133 h 133"/>
              <a:gd name="T34" fmla="*/ 25 w 121"/>
              <a:gd name="T35" fmla="*/ 133 h 133"/>
              <a:gd name="T36" fmla="*/ 24 w 121"/>
              <a:gd name="T37" fmla="*/ 130 h 133"/>
              <a:gd name="T38" fmla="*/ 24 w 121"/>
              <a:gd name="T39" fmla="*/ 112 h 133"/>
              <a:gd name="T40" fmla="*/ 3 w 121"/>
              <a:gd name="T41" fmla="*/ 112 h 133"/>
              <a:gd name="T42" fmla="*/ 1 w 121"/>
              <a:gd name="T43" fmla="*/ 111 h 133"/>
              <a:gd name="T44" fmla="*/ 0 w 121"/>
              <a:gd name="T45" fmla="*/ 109 h 133"/>
              <a:gd name="T46" fmla="*/ 0 w 121"/>
              <a:gd name="T47" fmla="*/ 97 h 133"/>
              <a:gd name="T48" fmla="*/ 1 w 121"/>
              <a:gd name="T49" fmla="*/ 95 h 133"/>
              <a:gd name="T50" fmla="*/ 3 w 121"/>
              <a:gd name="T51" fmla="*/ 94 h 133"/>
              <a:gd name="T52" fmla="*/ 24 w 121"/>
              <a:gd name="T53" fmla="*/ 94 h 133"/>
              <a:gd name="T54" fmla="*/ 24 w 121"/>
              <a:gd name="T55" fmla="*/ 83 h 133"/>
              <a:gd name="T56" fmla="*/ 3 w 121"/>
              <a:gd name="T57" fmla="*/ 83 h 133"/>
              <a:gd name="T58" fmla="*/ 1 w 121"/>
              <a:gd name="T59" fmla="*/ 82 h 133"/>
              <a:gd name="T60" fmla="*/ 0 w 121"/>
              <a:gd name="T61" fmla="*/ 80 h 133"/>
              <a:gd name="T62" fmla="*/ 0 w 121"/>
              <a:gd name="T63" fmla="*/ 66 h 133"/>
              <a:gd name="T64" fmla="*/ 1 w 121"/>
              <a:gd name="T65" fmla="*/ 64 h 133"/>
              <a:gd name="T66" fmla="*/ 3 w 121"/>
              <a:gd name="T67" fmla="*/ 63 h 133"/>
              <a:gd name="T68" fmla="*/ 24 w 121"/>
              <a:gd name="T69" fmla="*/ 63 h 133"/>
              <a:gd name="T70" fmla="*/ 24 w 121"/>
              <a:gd name="T71" fmla="*/ 3 h 133"/>
              <a:gd name="T72" fmla="*/ 25 w 121"/>
              <a:gd name="T73" fmla="*/ 1 h 133"/>
              <a:gd name="T74" fmla="*/ 27 w 121"/>
              <a:gd name="T75" fmla="*/ 0 h 133"/>
              <a:gd name="T76" fmla="*/ 78 w 121"/>
              <a:gd name="T77" fmla="*/ 0 h 133"/>
              <a:gd name="T78" fmla="*/ 109 w 121"/>
              <a:gd name="T79" fmla="*/ 12 h 133"/>
              <a:gd name="T80" fmla="*/ 92 w 121"/>
              <a:gd name="T81" fmla="*/ 57 h 133"/>
              <a:gd name="T82" fmla="*/ 98 w 121"/>
              <a:gd name="T83" fmla="*/ 42 h 133"/>
              <a:gd name="T84" fmla="*/ 92 w 121"/>
              <a:gd name="T85" fmla="*/ 26 h 133"/>
              <a:gd name="T86" fmla="*/ 76 w 121"/>
              <a:gd name="T87" fmla="*/ 20 h 133"/>
              <a:gd name="T88" fmla="*/ 46 w 121"/>
              <a:gd name="T89" fmla="*/ 20 h 133"/>
              <a:gd name="T90" fmla="*/ 46 w 121"/>
              <a:gd name="T91" fmla="*/ 63 h 133"/>
              <a:gd name="T92" fmla="*/ 76 w 121"/>
              <a:gd name="T93" fmla="*/ 63 h 133"/>
              <a:gd name="T94" fmla="*/ 92 w 121"/>
              <a:gd name="T95" fmla="*/ 57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" h="133">
                <a:moveTo>
                  <a:pt x="109" y="12"/>
                </a:moveTo>
                <a:cubicBezTo>
                  <a:pt x="117" y="20"/>
                  <a:pt x="121" y="29"/>
                  <a:pt x="121" y="42"/>
                </a:cubicBezTo>
                <a:cubicBezTo>
                  <a:pt x="121" y="54"/>
                  <a:pt x="117" y="64"/>
                  <a:pt x="109" y="71"/>
                </a:cubicBezTo>
                <a:cubicBezTo>
                  <a:pt x="101" y="79"/>
                  <a:pt x="90" y="83"/>
                  <a:pt x="78" y="83"/>
                </a:cubicBezTo>
                <a:cubicBezTo>
                  <a:pt x="46" y="83"/>
                  <a:pt x="46" y="83"/>
                  <a:pt x="46" y="83"/>
                </a:cubicBezTo>
                <a:cubicBezTo>
                  <a:pt x="46" y="94"/>
                  <a:pt x="46" y="94"/>
                  <a:pt x="46" y="94"/>
                </a:cubicBezTo>
                <a:cubicBezTo>
                  <a:pt x="93" y="94"/>
                  <a:pt x="93" y="94"/>
                  <a:pt x="93" y="94"/>
                </a:cubicBezTo>
                <a:cubicBezTo>
                  <a:pt x="94" y="94"/>
                  <a:pt x="95" y="94"/>
                  <a:pt x="96" y="95"/>
                </a:cubicBezTo>
                <a:cubicBezTo>
                  <a:pt x="96" y="96"/>
                  <a:pt x="96" y="96"/>
                  <a:pt x="96" y="97"/>
                </a:cubicBezTo>
                <a:cubicBezTo>
                  <a:pt x="96" y="109"/>
                  <a:pt x="96" y="109"/>
                  <a:pt x="96" y="109"/>
                </a:cubicBezTo>
                <a:cubicBezTo>
                  <a:pt x="96" y="110"/>
                  <a:pt x="96" y="111"/>
                  <a:pt x="96" y="111"/>
                </a:cubicBezTo>
                <a:cubicBezTo>
                  <a:pt x="95" y="112"/>
                  <a:pt x="94" y="112"/>
                  <a:pt x="93" y="112"/>
                </a:cubicBezTo>
                <a:cubicBezTo>
                  <a:pt x="46" y="112"/>
                  <a:pt x="46" y="112"/>
                  <a:pt x="46" y="112"/>
                </a:cubicBezTo>
                <a:cubicBezTo>
                  <a:pt x="46" y="130"/>
                  <a:pt x="46" y="130"/>
                  <a:pt x="46" y="130"/>
                </a:cubicBezTo>
                <a:cubicBezTo>
                  <a:pt x="46" y="131"/>
                  <a:pt x="45" y="132"/>
                  <a:pt x="45" y="133"/>
                </a:cubicBezTo>
                <a:cubicBezTo>
                  <a:pt x="44" y="133"/>
                  <a:pt x="44" y="133"/>
                  <a:pt x="43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6" y="133"/>
                  <a:pt x="25" y="133"/>
                  <a:pt x="25" y="133"/>
                </a:cubicBezTo>
                <a:cubicBezTo>
                  <a:pt x="24" y="132"/>
                  <a:pt x="24" y="131"/>
                  <a:pt x="24" y="130"/>
                </a:cubicBezTo>
                <a:cubicBezTo>
                  <a:pt x="24" y="112"/>
                  <a:pt x="24" y="112"/>
                  <a:pt x="24" y="112"/>
                </a:cubicBezTo>
                <a:cubicBezTo>
                  <a:pt x="3" y="112"/>
                  <a:pt x="3" y="112"/>
                  <a:pt x="3" y="112"/>
                </a:cubicBezTo>
                <a:cubicBezTo>
                  <a:pt x="2" y="112"/>
                  <a:pt x="1" y="112"/>
                  <a:pt x="1" y="111"/>
                </a:cubicBezTo>
                <a:cubicBezTo>
                  <a:pt x="0" y="111"/>
                  <a:pt x="0" y="110"/>
                  <a:pt x="0" y="109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6"/>
                  <a:pt x="0" y="96"/>
                  <a:pt x="1" y="95"/>
                </a:cubicBezTo>
                <a:cubicBezTo>
                  <a:pt x="1" y="94"/>
                  <a:pt x="2" y="94"/>
                  <a:pt x="3" y="94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83"/>
                  <a:pt x="24" y="83"/>
                  <a:pt x="24" y="83"/>
                </a:cubicBezTo>
                <a:cubicBezTo>
                  <a:pt x="3" y="83"/>
                  <a:pt x="3" y="83"/>
                  <a:pt x="3" y="83"/>
                </a:cubicBezTo>
                <a:cubicBezTo>
                  <a:pt x="2" y="83"/>
                  <a:pt x="1" y="83"/>
                  <a:pt x="1" y="82"/>
                </a:cubicBezTo>
                <a:cubicBezTo>
                  <a:pt x="0" y="82"/>
                  <a:pt x="0" y="81"/>
                  <a:pt x="0" y="80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5"/>
                  <a:pt x="0" y="64"/>
                  <a:pt x="1" y="64"/>
                </a:cubicBezTo>
                <a:cubicBezTo>
                  <a:pt x="1" y="63"/>
                  <a:pt x="2" y="63"/>
                  <a:pt x="3" y="63"/>
                </a:cubicBezTo>
                <a:cubicBezTo>
                  <a:pt x="24" y="63"/>
                  <a:pt x="24" y="63"/>
                  <a:pt x="24" y="63"/>
                </a:cubicBezTo>
                <a:cubicBezTo>
                  <a:pt x="24" y="3"/>
                  <a:pt x="24" y="3"/>
                  <a:pt x="24" y="3"/>
                </a:cubicBezTo>
                <a:cubicBezTo>
                  <a:pt x="24" y="2"/>
                  <a:pt x="24" y="2"/>
                  <a:pt x="25" y="1"/>
                </a:cubicBezTo>
                <a:cubicBezTo>
                  <a:pt x="25" y="1"/>
                  <a:pt x="26" y="0"/>
                  <a:pt x="27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90" y="0"/>
                  <a:pt x="101" y="4"/>
                  <a:pt x="109" y="12"/>
                </a:cubicBezTo>
                <a:close/>
                <a:moveTo>
                  <a:pt x="92" y="57"/>
                </a:moveTo>
                <a:cubicBezTo>
                  <a:pt x="96" y="53"/>
                  <a:pt x="98" y="48"/>
                  <a:pt x="98" y="42"/>
                </a:cubicBezTo>
                <a:cubicBezTo>
                  <a:pt x="98" y="35"/>
                  <a:pt x="96" y="30"/>
                  <a:pt x="92" y="26"/>
                </a:cubicBezTo>
                <a:cubicBezTo>
                  <a:pt x="88" y="22"/>
                  <a:pt x="83" y="20"/>
                  <a:pt x="76" y="20"/>
                </a:cubicBezTo>
                <a:cubicBezTo>
                  <a:pt x="46" y="20"/>
                  <a:pt x="46" y="20"/>
                  <a:pt x="46" y="20"/>
                </a:cubicBezTo>
                <a:cubicBezTo>
                  <a:pt x="46" y="63"/>
                  <a:pt x="46" y="63"/>
                  <a:pt x="46" y="63"/>
                </a:cubicBezTo>
                <a:cubicBezTo>
                  <a:pt x="76" y="63"/>
                  <a:pt x="76" y="63"/>
                  <a:pt x="76" y="63"/>
                </a:cubicBezTo>
                <a:cubicBezTo>
                  <a:pt x="83" y="63"/>
                  <a:pt x="88" y="61"/>
                  <a:pt x="92" y="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4" name="Freeform 315"/>
          <p:cNvSpPr>
            <a:spLocks noChangeAspect="1" noEditPoints="1"/>
          </p:cNvSpPr>
          <p:nvPr/>
        </p:nvSpPr>
        <p:spPr bwMode="auto">
          <a:xfrm>
            <a:off x="7252751" y="3724195"/>
            <a:ext cx="174866" cy="137395"/>
          </a:xfrm>
          <a:custGeom>
            <a:avLst/>
            <a:gdLst>
              <a:gd name="T0" fmla="*/ 169 w 169"/>
              <a:gd name="T1" fmla="*/ 70 h 133"/>
              <a:gd name="T2" fmla="*/ 166 w 169"/>
              <a:gd name="T3" fmla="*/ 73 h 133"/>
              <a:gd name="T4" fmla="*/ 131 w 169"/>
              <a:gd name="T5" fmla="*/ 131 h 133"/>
              <a:gd name="T6" fmla="*/ 113 w 169"/>
              <a:gd name="T7" fmla="*/ 133 h 133"/>
              <a:gd name="T8" fmla="*/ 94 w 169"/>
              <a:gd name="T9" fmla="*/ 73 h 133"/>
              <a:gd name="T10" fmla="*/ 58 w 169"/>
              <a:gd name="T11" fmla="*/ 131 h 133"/>
              <a:gd name="T12" fmla="*/ 40 w 169"/>
              <a:gd name="T13" fmla="*/ 133 h 133"/>
              <a:gd name="T14" fmla="*/ 38 w 169"/>
              <a:gd name="T15" fmla="*/ 131 h 133"/>
              <a:gd name="T16" fmla="*/ 3 w 169"/>
              <a:gd name="T17" fmla="*/ 73 h 133"/>
              <a:gd name="T18" fmla="*/ 0 w 169"/>
              <a:gd name="T19" fmla="*/ 70 h 133"/>
              <a:gd name="T20" fmla="*/ 1 w 169"/>
              <a:gd name="T21" fmla="*/ 62 h 133"/>
              <a:gd name="T22" fmla="*/ 19 w 169"/>
              <a:gd name="T23" fmla="*/ 61 h 133"/>
              <a:gd name="T24" fmla="*/ 3 w 169"/>
              <a:gd name="T25" fmla="*/ 49 h 133"/>
              <a:gd name="T26" fmla="*/ 0 w 169"/>
              <a:gd name="T27" fmla="*/ 46 h 133"/>
              <a:gd name="T28" fmla="*/ 1 w 169"/>
              <a:gd name="T29" fmla="*/ 37 h 133"/>
              <a:gd name="T30" fmla="*/ 13 w 169"/>
              <a:gd name="T31" fmla="*/ 37 h 133"/>
              <a:gd name="T32" fmla="*/ 5 w 169"/>
              <a:gd name="T33" fmla="*/ 1 h 133"/>
              <a:gd name="T34" fmla="*/ 21 w 169"/>
              <a:gd name="T35" fmla="*/ 0 h 133"/>
              <a:gd name="T36" fmla="*/ 32 w 169"/>
              <a:gd name="T37" fmla="*/ 37 h 133"/>
              <a:gd name="T38" fmla="*/ 75 w 169"/>
              <a:gd name="T39" fmla="*/ 3 h 133"/>
              <a:gd name="T40" fmla="*/ 90 w 169"/>
              <a:gd name="T41" fmla="*/ 0 h 133"/>
              <a:gd name="T42" fmla="*/ 102 w 169"/>
              <a:gd name="T43" fmla="*/ 37 h 133"/>
              <a:gd name="T44" fmla="*/ 145 w 169"/>
              <a:gd name="T45" fmla="*/ 3 h 133"/>
              <a:gd name="T46" fmla="*/ 161 w 169"/>
              <a:gd name="T47" fmla="*/ 0 h 133"/>
              <a:gd name="T48" fmla="*/ 164 w 169"/>
              <a:gd name="T49" fmla="*/ 4 h 133"/>
              <a:gd name="T50" fmla="*/ 166 w 169"/>
              <a:gd name="T51" fmla="*/ 37 h 133"/>
              <a:gd name="T52" fmla="*/ 169 w 169"/>
              <a:gd name="T53" fmla="*/ 40 h 133"/>
              <a:gd name="T54" fmla="*/ 168 w 169"/>
              <a:gd name="T55" fmla="*/ 48 h 133"/>
              <a:gd name="T56" fmla="*/ 152 w 169"/>
              <a:gd name="T57" fmla="*/ 49 h 133"/>
              <a:gd name="T58" fmla="*/ 166 w 169"/>
              <a:gd name="T59" fmla="*/ 61 h 133"/>
              <a:gd name="T60" fmla="*/ 169 w 169"/>
              <a:gd name="T61" fmla="*/ 64 h 133"/>
              <a:gd name="T62" fmla="*/ 63 w 169"/>
              <a:gd name="T63" fmla="*/ 49 h 133"/>
              <a:gd name="T64" fmla="*/ 38 w 169"/>
              <a:gd name="T65" fmla="*/ 61 h 133"/>
              <a:gd name="T66" fmla="*/ 48 w 169"/>
              <a:gd name="T67" fmla="*/ 101 h 133"/>
              <a:gd name="T68" fmla="*/ 41 w 169"/>
              <a:gd name="T69" fmla="*/ 73 h 133"/>
              <a:gd name="T70" fmla="*/ 48 w 169"/>
              <a:gd name="T71" fmla="*/ 102 h 133"/>
              <a:gd name="T72" fmla="*/ 48 w 169"/>
              <a:gd name="T73" fmla="*/ 102 h 133"/>
              <a:gd name="T74" fmla="*/ 78 w 169"/>
              <a:gd name="T75" fmla="*/ 61 h 133"/>
              <a:gd name="T76" fmla="*/ 87 w 169"/>
              <a:gd name="T77" fmla="*/ 49 h 133"/>
              <a:gd name="T78" fmla="*/ 78 w 169"/>
              <a:gd name="T79" fmla="*/ 61 h 133"/>
              <a:gd name="T80" fmla="*/ 134 w 169"/>
              <a:gd name="T81" fmla="*/ 49 h 133"/>
              <a:gd name="T82" fmla="*/ 109 w 169"/>
              <a:gd name="T83" fmla="*/ 61 h 133"/>
              <a:gd name="T84" fmla="*/ 120 w 169"/>
              <a:gd name="T85" fmla="*/ 101 h 133"/>
              <a:gd name="T86" fmla="*/ 112 w 169"/>
              <a:gd name="T87" fmla="*/ 73 h 133"/>
              <a:gd name="T88" fmla="*/ 120 w 169"/>
              <a:gd name="T89" fmla="*/ 102 h 133"/>
              <a:gd name="T90" fmla="*/ 120 w 169"/>
              <a:gd name="T91" fmla="*/ 10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9" h="133">
                <a:moveTo>
                  <a:pt x="169" y="64"/>
                </a:moveTo>
                <a:cubicBezTo>
                  <a:pt x="169" y="70"/>
                  <a:pt x="169" y="70"/>
                  <a:pt x="169" y="70"/>
                </a:cubicBezTo>
                <a:cubicBezTo>
                  <a:pt x="169" y="71"/>
                  <a:pt x="169" y="72"/>
                  <a:pt x="168" y="72"/>
                </a:cubicBezTo>
                <a:cubicBezTo>
                  <a:pt x="168" y="73"/>
                  <a:pt x="167" y="73"/>
                  <a:pt x="166" y="73"/>
                </a:cubicBezTo>
                <a:cubicBezTo>
                  <a:pt x="146" y="73"/>
                  <a:pt x="146" y="73"/>
                  <a:pt x="146" y="73"/>
                </a:cubicBezTo>
                <a:cubicBezTo>
                  <a:pt x="131" y="131"/>
                  <a:pt x="131" y="131"/>
                  <a:pt x="131" y="131"/>
                </a:cubicBezTo>
                <a:cubicBezTo>
                  <a:pt x="130" y="133"/>
                  <a:pt x="129" y="133"/>
                  <a:pt x="128" y="133"/>
                </a:cubicBezTo>
                <a:cubicBezTo>
                  <a:pt x="113" y="133"/>
                  <a:pt x="113" y="133"/>
                  <a:pt x="113" y="133"/>
                </a:cubicBezTo>
                <a:cubicBezTo>
                  <a:pt x="111" y="133"/>
                  <a:pt x="110" y="133"/>
                  <a:pt x="110" y="131"/>
                </a:cubicBezTo>
                <a:cubicBezTo>
                  <a:pt x="94" y="73"/>
                  <a:pt x="94" y="73"/>
                  <a:pt x="94" y="73"/>
                </a:cubicBezTo>
                <a:cubicBezTo>
                  <a:pt x="74" y="73"/>
                  <a:pt x="74" y="73"/>
                  <a:pt x="74" y="73"/>
                </a:cubicBezTo>
                <a:cubicBezTo>
                  <a:pt x="58" y="131"/>
                  <a:pt x="58" y="131"/>
                  <a:pt x="58" y="131"/>
                </a:cubicBezTo>
                <a:cubicBezTo>
                  <a:pt x="58" y="133"/>
                  <a:pt x="57" y="133"/>
                  <a:pt x="55" y="133"/>
                </a:cubicBezTo>
                <a:cubicBezTo>
                  <a:pt x="40" y="133"/>
                  <a:pt x="40" y="133"/>
                  <a:pt x="40" y="133"/>
                </a:cubicBezTo>
                <a:cubicBezTo>
                  <a:pt x="40" y="133"/>
                  <a:pt x="39" y="133"/>
                  <a:pt x="39" y="133"/>
                </a:cubicBezTo>
                <a:cubicBezTo>
                  <a:pt x="38" y="132"/>
                  <a:pt x="38" y="132"/>
                  <a:pt x="38" y="131"/>
                </a:cubicBezTo>
                <a:cubicBezTo>
                  <a:pt x="22" y="73"/>
                  <a:pt x="22" y="73"/>
                  <a:pt x="22" y="73"/>
                </a:cubicBezTo>
                <a:cubicBezTo>
                  <a:pt x="3" y="73"/>
                  <a:pt x="3" y="73"/>
                  <a:pt x="3" y="73"/>
                </a:cubicBezTo>
                <a:cubicBezTo>
                  <a:pt x="2" y="73"/>
                  <a:pt x="1" y="73"/>
                  <a:pt x="1" y="72"/>
                </a:cubicBezTo>
                <a:cubicBezTo>
                  <a:pt x="0" y="72"/>
                  <a:pt x="0" y="71"/>
                  <a:pt x="0" y="70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3"/>
                  <a:pt x="0" y="62"/>
                  <a:pt x="1" y="62"/>
                </a:cubicBezTo>
                <a:cubicBezTo>
                  <a:pt x="1" y="61"/>
                  <a:pt x="2" y="61"/>
                  <a:pt x="3" y="61"/>
                </a:cubicBezTo>
                <a:cubicBezTo>
                  <a:pt x="19" y="61"/>
                  <a:pt x="19" y="61"/>
                  <a:pt x="19" y="61"/>
                </a:cubicBezTo>
                <a:cubicBezTo>
                  <a:pt x="16" y="49"/>
                  <a:pt x="16" y="49"/>
                  <a:pt x="16" y="49"/>
                </a:cubicBezTo>
                <a:cubicBezTo>
                  <a:pt x="3" y="49"/>
                  <a:pt x="3" y="49"/>
                  <a:pt x="3" y="49"/>
                </a:cubicBezTo>
                <a:cubicBezTo>
                  <a:pt x="2" y="49"/>
                  <a:pt x="1" y="48"/>
                  <a:pt x="1" y="48"/>
                </a:cubicBezTo>
                <a:cubicBezTo>
                  <a:pt x="0" y="47"/>
                  <a:pt x="0" y="47"/>
                  <a:pt x="0" y="4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9"/>
                  <a:pt x="0" y="38"/>
                  <a:pt x="1" y="37"/>
                </a:cubicBezTo>
                <a:cubicBezTo>
                  <a:pt x="1" y="37"/>
                  <a:pt x="2" y="37"/>
                  <a:pt x="3" y="37"/>
                </a:cubicBezTo>
                <a:cubicBezTo>
                  <a:pt x="13" y="37"/>
                  <a:pt x="13" y="37"/>
                  <a:pt x="13" y="37"/>
                </a:cubicBezTo>
                <a:cubicBezTo>
                  <a:pt x="5" y="4"/>
                  <a:pt x="5" y="4"/>
                  <a:pt x="5" y="4"/>
                </a:cubicBezTo>
                <a:cubicBezTo>
                  <a:pt x="4" y="3"/>
                  <a:pt x="5" y="2"/>
                  <a:pt x="5" y="1"/>
                </a:cubicBezTo>
                <a:cubicBezTo>
                  <a:pt x="6" y="1"/>
                  <a:pt x="7" y="0"/>
                  <a:pt x="8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2" y="0"/>
                  <a:pt x="23" y="1"/>
                  <a:pt x="24" y="3"/>
                </a:cubicBezTo>
                <a:cubicBezTo>
                  <a:pt x="32" y="37"/>
                  <a:pt x="32" y="37"/>
                  <a:pt x="32" y="37"/>
                </a:cubicBezTo>
                <a:cubicBezTo>
                  <a:pt x="66" y="37"/>
                  <a:pt x="66" y="37"/>
                  <a:pt x="66" y="37"/>
                </a:cubicBezTo>
                <a:cubicBezTo>
                  <a:pt x="75" y="3"/>
                  <a:pt x="75" y="3"/>
                  <a:pt x="75" y="3"/>
                </a:cubicBezTo>
                <a:cubicBezTo>
                  <a:pt x="76" y="1"/>
                  <a:pt x="77" y="0"/>
                  <a:pt x="78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1" y="0"/>
                  <a:pt x="92" y="1"/>
                  <a:pt x="93" y="3"/>
                </a:cubicBezTo>
                <a:cubicBezTo>
                  <a:pt x="102" y="37"/>
                  <a:pt x="102" y="37"/>
                  <a:pt x="102" y="37"/>
                </a:cubicBezTo>
                <a:cubicBezTo>
                  <a:pt x="137" y="37"/>
                  <a:pt x="137" y="37"/>
                  <a:pt x="137" y="37"/>
                </a:cubicBezTo>
                <a:cubicBezTo>
                  <a:pt x="145" y="3"/>
                  <a:pt x="145" y="3"/>
                  <a:pt x="145" y="3"/>
                </a:cubicBezTo>
                <a:cubicBezTo>
                  <a:pt x="146" y="1"/>
                  <a:pt x="147" y="0"/>
                  <a:pt x="148" y="0"/>
                </a:cubicBezTo>
                <a:cubicBezTo>
                  <a:pt x="161" y="0"/>
                  <a:pt x="161" y="0"/>
                  <a:pt x="161" y="0"/>
                </a:cubicBezTo>
                <a:cubicBezTo>
                  <a:pt x="162" y="0"/>
                  <a:pt x="163" y="1"/>
                  <a:pt x="164" y="1"/>
                </a:cubicBezTo>
                <a:cubicBezTo>
                  <a:pt x="164" y="2"/>
                  <a:pt x="165" y="3"/>
                  <a:pt x="164" y="4"/>
                </a:cubicBezTo>
                <a:cubicBezTo>
                  <a:pt x="156" y="37"/>
                  <a:pt x="156" y="37"/>
                  <a:pt x="156" y="37"/>
                </a:cubicBezTo>
                <a:cubicBezTo>
                  <a:pt x="166" y="37"/>
                  <a:pt x="166" y="37"/>
                  <a:pt x="166" y="37"/>
                </a:cubicBezTo>
                <a:cubicBezTo>
                  <a:pt x="167" y="37"/>
                  <a:pt x="168" y="37"/>
                  <a:pt x="168" y="37"/>
                </a:cubicBezTo>
                <a:cubicBezTo>
                  <a:pt x="169" y="38"/>
                  <a:pt x="169" y="39"/>
                  <a:pt x="169" y="40"/>
                </a:cubicBezTo>
                <a:cubicBezTo>
                  <a:pt x="169" y="46"/>
                  <a:pt x="169" y="46"/>
                  <a:pt x="169" y="46"/>
                </a:cubicBezTo>
                <a:cubicBezTo>
                  <a:pt x="169" y="47"/>
                  <a:pt x="169" y="47"/>
                  <a:pt x="168" y="48"/>
                </a:cubicBezTo>
                <a:cubicBezTo>
                  <a:pt x="168" y="48"/>
                  <a:pt x="167" y="49"/>
                  <a:pt x="166" y="49"/>
                </a:cubicBezTo>
                <a:cubicBezTo>
                  <a:pt x="152" y="49"/>
                  <a:pt x="152" y="49"/>
                  <a:pt x="152" y="49"/>
                </a:cubicBezTo>
                <a:cubicBezTo>
                  <a:pt x="149" y="61"/>
                  <a:pt x="149" y="61"/>
                  <a:pt x="149" y="61"/>
                </a:cubicBezTo>
                <a:cubicBezTo>
                  <a:pt x="166" y="61"/>
                  <a:pt x="166" y="61"/>
                  <a:pt x="166" y="61"/>
                </a:cubicBezTo>
                <a:cubicBezTo>
                  <a:pt x="167" y="61"/>
                  <a:pt x="168" y="61"/>
                  <a:pt x="168" y="62"/>
                </a:cubicBezTo>
                <a:cubicBezTo>
                  <a:pt x="169" y="62"/>
                  <a:pt x="169" y="63"/>
                  <a:pt x="169" y="64"/>
                </a:cubicBezTo>
                <a:close/>
                <a:moveTo>
                  <a:pt x="59" y="61"/>
                </a:moveTo>
                <a:cubicBezTo>
                  <a:pt x="63" y="49"/>
                  <a:pt x="63" y="49"/>
                  <a:pt x="63" y="49"/>
                </a:cubicBezTo>
                <a:cubicBezTo>
                  <a:pt x="35" y="49"/>
                  <a:pt x="35" y="49"/>
                  <a:pt x="35" y="49"/>
                </a:cubicBezTo>
                <a:cubicBezTo>
                  <a:pt x="38" y="61"/>
                  <a:pt x="38" y="61"/>
                  <a:pt x="38" y="61"/>
                </a:cubicBezTo>
                <a:lnTo>
                  <a:pt x="59" y="61"/>
                </a:lnTo>
                <a:close/>
                <a:moveTo>
                  <a:pt x="48" y="101"/>
                </a:moveTo>
                <a:cubicBezTo>
                  <a:pt x="56" y="73"/>
                  <a:pt x="56" y="73"/>
                  <a:pt x="56" y="73"/>
                </a:cubicBezTo>
                <a:cubicBezTo>
                  <a:pt x="41" y="73"/>
                  <a:pt x="41" y="73"/>
                  <a:pt x="41" y="73"/>
                </a:cubicBezTo>
                <a:cubicBezTo>
                  <a:pt x="48" y="101"/>
                  <a:pt x="48" y="101"/>
                  <a:pt x="48" y="101"/>
                </a:cubicBezTo>
                <a:cubicBezTo>
                  <a:pt x="48" y="101"/>
                  <a:pt x="48" y="101"/>
                  <a:pt x="48" y="102"/>
                </a:cubicBezTo>
                <a:cubicBezTo>
                  <a:pt x="48" y="102"/>
                  <a:pt x="48" y="102"/>
                  <a:pt x="48" y="102"/>
                </a:cubicBezTo>
                <a:cubicBezTo>
                  <a:pt x="48" y="102"/>
                  <a:pt x="48" y="102"/>
                  <a:pt x="48" y="102"/>
                </a:cubicBezTo>
                <a:cubicBezTo>
                  <a:pt x="48" y="101"/>
                  <a:pt x="48" y="101"/>
                  <a:pt x="48" y="101"/>
                </a:cubicBezTo>
                <a:close/>
                <a:moveTo>
                  <a:pt x="78" y="61"/>
                </a:moveTo>
                <a:cubicBezTo>
                  <a:pt x="91" y="61"/>
                  <a:pt x="91" y="61"/>
                  <a:pt x="91" y="61"/>
                </a:cubicBezTo>
                <a:cubicBezTo>
                  <a:pt x="87" y="49"/>
                  <a:pt x="87" y="49"/>
                  <a:pt x="87" y="49"/>
                </a:cubicBezTo>
                <a:cubicBezTo>
                  <a:pt x="81" y="49"/>
                  <a:pt x="81" y="49"/>
                  <a:pt x="81" y="49"/>
                </a:cubicBezTo>
                <a:lnTo>
                  <a:pt x="78" y="61"/>
                </a:lnTo>
                <a:close/>
                <a:moveTo>
                  <a:pt x="130" y="61"/>
                </a:moveTo>
                <a:cubicBezTo>
                  <a:pt x="134" y="49"/>
                  <a:pt x="134" y="49"/>
                  <a:pt x="134" y="49"/>
                </a:cubicBezTo>
                <a:cubicBezTo>
                  <a:pt x="105" y="49"/>
                  <a:pt x="105" y="49"/>
                  <a:pt x="105" y="49"/>
                </a:cubicBezTo>
                <a:cubicBezTo>
                  <a:pt x="109" y="61"/>
                  <a:pt x="109" y="61"/>
                  <a:pt x="109" y="61"/>
                </a:cubicBezTo>
                <a:lnTo>
                  <a:pt x="130" y="61"/>
                </a:lnTo>
                <a:close/>
                <a:moveTo>
                  <a:pt x="120" y="101"/>
                </a:moveTo>
                <a:cubicBezTo>
                  <a:pt x="127" y="73"/>
                  <a:pt x="127" y="73"/>
                  <a:pt x="127" y="73"/>
                </a:cubicBezTo>
                <a:cubicBezTo>
                  <a:pt x="112" y="73"/>
                  <a:pt x="112" y="73"/>
                  <a:pt x="112" y="73"/>
                </a:cubicBezTo>
                <a:cubicBezTo>
                  <a:pt x="120" y="101"/>
                  <a:pt x="120" y="101"/>
                  <a:pt x="120" y="101"/>
                </a:cubicBezTo>
                <a:cubicBezTo>
                  <a:pt x="120" y="101"/>
                  <a:pt x="120" y="101"/>
                  <a:pt x="120" y="102"/>
                </a:cubicBezTo>
                <a:cubicBezTo>
                  <a:pt x="120" y="102"/>
                  <a:pt x="120" y="102"/>
                  <a:pt x="120" y="102"/>
                </a:cubicBezTo>
                <a:cubicBezTo>
                  <a:pt x="120" y="102"/>
                  <a:pt x="120" y="102"/>
                  <a:pt x="120" y="102"/>
                </a:cubicBezTo>
                <a:cubicBezTo>
                  <a:pt x="120" y="101"/>
                  <a:pt x="120" y="101"/>
                  <a:pt x="120" y="1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5" name="Freeform 316"/>
          <p:cNvSpPr>
            <a:spLocks noChangeAspect="1" noEditPoints="1"/>
          </p:cNvSpPr>
          <p:nvPr/>
        </p:nvSpPr>
        <p:spPr bwMode="auto">
          <a:xfrm>
            <a:off x="7477579" y="3724195"/>
            <a:ext cx="118659" cy="163938"/>
          </a:xfrm>
          <a:custGeom>
            <a:avLst/>
            <a:gdLst>
              <a:gd name="T0" fmla="*/ 92 w 114"/>
              <a:gd name="T1" fmla="*/ 73 h 158"/>
              <a:gd name="T2" fmla="*/ 113 w 114"/>
              <a:gd name="T3" fmla="*/ 103 h 158"/>
              <a:gd name="T4" fmla="*/ 104 w 114"/>
              <a:gd name="T5" fmla="*/ 123 h 158"/>
              <a:gd name="T6" fmla="*/ 83 w 114"/>
              <a:gd name="T7" fmla="*/ 132 h 158"/>
              <a:gd name="T8" fmla="*/ 69 w 114"/>
              <a:gd name="T9" fmla="*/ 158 h 158"/>
              <a:gd name="T10" fmla="*/ 55 w 114"/>
              <a:gd name="T11" fmla="*/ 134 h 158"/>
              <a:gd name="T12" fmla="*/ 43 w 114"/>
              <a:gd name="T13" fmla="*/ 158 h 158"/>
              <a:gd name="T14" fmla="*/ 29 w 114"/>
              <a:gd name="T15" fmla="*/ 134 h 158"/>
              <a:gd name="T16" fmla="*/ 19 w 114"/>
              <a:gd name="T17" fmla="*/ 133 h 158"/>
              <a:gd name="T18" fmla="*/ 3 w 114"/>
              <a:gd name="T19" fmla="*/ 116 h 158"/>
              <a:gd name="T20" fmla="*/ 19 w 114"/>
              <a:gd name="T21" fmla="*/ 111 h 158"/>
              <a:gd name="T22" fmla="*/ 20 w 114"/>
              <a:gd name="T23" fmla="*/ 73 h 158"/>
              <a:gd name="T24" fmla="*/ 19 w 114"/>
              <a:gd name="T25" fmla="*/ 46 h 158"/>
              <a:gd name="T26" fmla="*/ 0 w 114"/>
              <a:gd name="T27" fmla="*/ 40 h 158"/>
              <a:gd name="T28" fmla="*/ 20 w 114"/>
              <a:gd name="T29" fmla="*/ 24 h 158"/>
              <a:gd name="T30" fmla="*/ 29 w 114"/>
              <a:gd name="T31" fmla="*/ 0 h 158"/>
              <a:gd name="T32" fmla="*/ 43 w 114"/>
              <a:gd name="T33" fmla="*/ 24 h 158"/>
              <a:gd name="T34" fmla="*/ 55 w 114"/>
              <a:gd name="T35" fmla="*/ 0 h 158"/>
              <a:gd name="T36" fmla="*/ 69 w 114"/>
              <a:gd name="T37" fmla="*/ 24 h 158"/>
              <a:gd name="T38" fmla="*/ 93 w 114"/>
              <a:gd name="T39" fmla="*/ 31 h 158"/>
              <a:gd name="T40" fmla="*/ 105 w 114"/>
              <a:gd name="T41" fmla="*/ 49 h 158"/>
              <a:gd name="T42" fmla="*/ 76 w 114"/>
              <a:gd name="T43" fmla="*/ 50 h 158"/>
              <a:gd name="T44" fmla="*/ 69 w 114"/>
              <a:gd name="T45" fmla="*/ 43 h 158"/>
              <a:gd name="T46" fmla="*/ 58 w 114"/>
              <a:gd name="T47" fmla="*/ 41 h 158"/>
              <a:gd name="T48" fmla="*/ 47 w 114"/>
              <a:gd name="T49" fmla="*/ 41 h 158"/>
              <a:gd name="T50" fmla="*/ 44 w 114"/>
              <a:gd name="T51" fmla="*/ 70 h 158"/>
              <a:gd name="T52" fmla="*/ 51 w 114"/>
              <a:gd name="T53" fmla="*/ 70 h 158"/>
              <a:gd name="T54" fmla="*/ 61 w 114"/>
              <a:gd name="T55" fmla="*/ 69 h 158"/>
              <a:gd name="T56" fmla="*/ 71 w 114"/>
              <a:gd name="T57" fmla="*/ 66 h 158"/>
              <a:gd name="T58" fmla="*/ 77 w 114"/>
              <a:gd name="T59" fmla="*/ 60 h 158"/>
              <a:gd name="T60" fmla="*/ 84 w 114"/>
              <a:gd name="T61" fmla="*/ 100 h 158"/>
              <a:gd name="T62" fmla="*/ 79 w 114"/>
              <a:gd name="T63" fmla="*/ 90 h 158"/>
              <a:gd name="T64" fmla="*/ 68 w 114"/>
              <a:gd name="T65" fmla="*/ 85 h 158"/>
              <a:gd name="T66" fmla="*/ 54 w 114"/>
              <a:gd name="T67" fmla="*/ 84 h 158"/>
              <a:gd name="T68" fmla="*/ 44 w 114"/>
              <a:gd name="T69" fmla="*/ 84 h 158"/>
              <a:gd name="T70" fmla="*/ 47 w 114"/>
              <a:gd name="T71" fmla="*/ 116 h 158"/>
              <a:gd name="T72" fmla="*/ 57 w 114"/>
              <a:gd name="T73" fmla="*/ 116 h 158"/>
              <a:gd name="T74" fmla="*/ 68 w 114"/>
              <a:gd name="T75" fmla="*/ 115 h 158"/>
              <a:gd name="T76" fmla="*/ 77 w 114"/>
              <a:gd name="T77" fmla="*/ 112 h 158"/>
              <a:gd name="T78" fmla="*/ 83 w 114"/>
              <a:gd name="T79" fmla="*/ 105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4" h="158">
                <a:moveTo>
                  <a:pt x="105" y="49"/>
                </a:moveTo>
                <a:cubicBezTo>
                  <a:pt x="106" y="60"/>
                  <a:pt x="102" y="68"/>
                  <a:pt x="92" y="73"/>
                </a:cubicBezTo>
                <a:cubicBezTo>
                  <a:pt x="100" y="75"/>
                  <a:pt x="105" y="78"/>
                  <a:pt x="109" y="83"/>
                </a:cubicBezTo>
                <a:cubicBezTo>
                  <a:pt x="112" y="88"/>
                  <a:pt x="114" y="94"/>
                  <a:pt x="113" y="103"/>
                </a:cubicBezTo>
                <a:cubicBezTo>
                  <a:pt x="113" y="108"/>
                  <a:pt x="112" y="111"/>
                  <a:pt x="110" y="115"/>
                </a:cubicBezTo>
                <a:cubicBezTo>
                  <a:pt x="108" y="118"/>
                  <a:pt x="106" y="121"/>
                  <a:pt x="104" y="123"/>
                </a:cubicBezTo>
                <a:cubicBezTo>
                  <a:pt x="101" y="126"/>
                  <a:pt x="98" y="127"/>
                  <a:pt x="95" y="129"/>
                </a:cubicBezTo>
                <a:cubicBezTo>
                  <a:pt x="91" y="130"/>
                  <a:pt x="87" y="131"/>
                  <a:pt x="83" y="132"/>
                </a:cubicBezTo>
                <a:cubicBezTo>
                  <a:pt x="79" y="133"/>
                  <a:pt x="75" y="133"/>
                  <a:pt x="69" y="134"/>
                </a:cubicBezTo>
                <a:cubicBezTo>
                  <a:pt x="69" y="158"/>
                  <a:pt x="69" y="158"/>
                  <a:pt x="69" y="158"/>
                </a:cubicBezTo>
                <a:cubicBezTo>
                  <a:pt x="55" y="158"/>
                  <a:pt x="55" y="158"/>
                  <a:pt x="55" y="158"/>
                </a:cubicBezTo>
                <a:cubicBezTo>
                  <a:pt x="55" y="134"/>
                  <a:pt x="55" y="134"/>
                  <a:pt x="55" y="134"/>
                </a:cubicBezTo>
                <a:cubicBezTo>
                  <a:pt x="50" y="134"/>
                  <a:pt x="46" y="134"/>
                  <a:pt x="43" y="134"/>
                </a:cubicBezTo>
                <a:cubicBezTo>
                  <a:pt x="43" y="158"/>
                  <a:pt x="43" y="158"/>
                  <a:pt x="43" y="158"/>
                </a:cubicBezTo>
                <a:cubicBezTo>
                  <a:pt x="29" y="158"/>
                  <a:pt x="29" y="158"/>
                  <a:pt x="29" y="158"/>
                </a:cubicBezTo>
                <a:cubicBezTo>
                  <a:pt x="29" y="134"/>
                  <a:pt x="29" y="134"/>
                  <a:pt x="29" y="134"/>
                </a:cubicBezTo>
                <a:cubicBezTo>
                  <a:pt x="28" y="134"/>
                  <a:pt x="26" y="134"/>
                  <a:pt x="24" y="133"/>
                </a:cubicBezTo>
                <a:cubicBezTo>
                  <a:pt x="21" y="133"/>
                  <a:pt x="20" y="133"/>
                  <a:pt x="19" y="133"/>
                </a:cubicBezTo>
                <a:cubicBezTo>
                  <a:pt x="0" y="133"/>
                  <a:pt x="0" y="133"/>
                  <a:pt x="0" y="133"/>
                </a:cubicBezTo>
                <a:cubicBezTo>
                  <a:pt x="3" y="116"/>
                  <a:pt x="3" y="116"/>
                  <a:pt x="3" y="116"/>
                </a:cubicBezTo>
                <a:cubicBezTo>
                  <a:pt x="13" y="116"/>
                  <a:pt x="13" y="116"/>
                  <a:pt x="13" y="116"/>
                </a:cubicBezTo>
                <a:cubicBezTo>
                  <a:pt x="16" y="116"/>
                  <a:pt x="18" y="115"/>
                  <a:pt x="19" y="111"/>
                </a:cubicBezTo>
                <a:cubicBezTo>
                  <a:pt x="19" y="73"/>
                  <a:pt x="19" y="73"/>
                  <a:pt x="19" y="73"/>
                </a:cubicBezTo>
                <a:cubicBezTo>
                  <a:pt x="20" y="73"/>
                  <a:pt x="20" y="73"/>
                  <a:pt x="20" y="73"/>
                </a:cubicBezTo>
                <a:cubicBezTo>
                  <a:pt x="20" y="73"/>
                  <a:pt x="19" y="73"/>
                  <a:pt x="19" y="73"/>
                </a:cubicBezTo>
                <a:cubicBezTo>
                  <a:pt x="19" y="46"/>
                  <a:pt x="19" y="46"/>
                  <a:pt x="19" y="46"/>
                </a:cubicBezTo>
                <a:cubicBezTo>
                  <a:pt x="18" y="42"/>
                  <a:pt x="15" y="40"/>
                  <a:pt x="10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24"/>
                  <a:pt x="0" y="24"/>
                  <a:pt x="0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4" y="24"/>
                  <a:pt x="27" y="24"/>
                  <a:pt x="29" y="24"/>
                </a:cubicBezTo>
                <a:cubicBezTo>
                  <a:pt x="29" y="0"/>
                  <a:pt x="29" y="0"/>
                  <a:pt x="29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24"/>
                  <a:pt x="43" y="24"/>
                  <a:pt x="43" y="24"/>
                </a:cubicBezTo>
                <a:cubicBezTo>
                  <a:pt x="49" y="24"/>
                  <a:pt x="52" y="23"/>
                  <a:pt x="55" y="23"/>
                </a:cubicBezTo>
                <a:cubicBezTo>
                  <a:pt x="55" y="0"/>
                  <a:pt x="55" y="0"/>
                  <a:pt x="55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69" y="24"/>
                  <a:pt x="69" y="24"/>
                  <a:pt x="69" y="24"/>
                </a:cubicBezTo>
                <a:cubicBezTo>
                  <a:pt x="74" y="25"/>
                  <a:pt x="79" y="25"/>
                  <a:pt x="83" y="26"/>
                </a:cubicBezTo>
                <a:cubicBezTo>
                  <a:pt x="87" y="27"/>
                  <a:pt x="90" y="29"/>
                  <a:pt x="93" y="31"/>
                </a:cubicBezTo>
                <a:cubicBezTo>
                  <a:pt x="97" y="32"/>
                  <a:pt x="99" y="35"/>
                  <a:pt x="101" y="38"/>
                </a:cubicBezTo>
                <a:cubicBezTo>
                  <a:pt x="103" y="41"/>
                  <a:pt x="104" y="45"/>
                  <a:pt x="105" y="49"/>
                </a:cubicBezTo>
                <a:close/>
                <a:moveTo>
                  <a:pt x="78" y="55"/>
                </a:moveTo>
                <a:cubicBezTo>
                  <a:pt x="78" y="53"/>
                  <a:pt x="77" y="51"/>
                  <a:pt x="76" y="50"/>
                </a:cubicBezTo>
                <a:cubicBezTo>
                  <a:pt x="76" y="48"/>
                  <a:pt x="75" y="47"/>
                  <a:pt x="74" y="46"/>
                </a:cubicBezTo>
                <a:cubicBezTo>
                  <a:pt x="72" y="45"/>
                  <a:pt x="71" y="44"/>
                  <a:pt x="69" y="43"/>
                </a:cubicBezTo>
                <a:cubicBezTo>
                  <a:pt x="67" y="42"/>
                  <a:pt x="65" y="42"/>
                  <a:pt x="64" y="42"/>
                </a:cubicBezTo>
                <a:cubicBezTo>
                  <a:pt x="62" y="41"/>
                  <a:pt x="60" y="41"/>
                  <a:pt x="58" y="41"/>
                </a:cubicBezTo>
                <a:cubicBezTo>
                  <a:pt x="56" y="41"/>
                  <a:pt x="54" y="41"/>
                  <a:pt x="52" y="41"/>
                </a:cubicBezTo>
                <a:cubicBezTo>
                  <a:pt x="51" y="41"/>
                  <a:pt x="49" y="41"/>
                  <a:pt x="47" y="41"/>
                </a:cubicBezTo>
                <a:cubicBezTo>
                  <a:pt x="45" y="41"/>
                  <a:pt x="44" y="41"/>
                  <a:pt x="44" y="41"/>
                </a:cubicBezTo>
                <a:cubicBezTo>
                  <a:pt x="44" y="70"/>
                  <a:pt x="44" y="70"/>
                  <a:pt x="44" y="70"/>
                </a:cubicBezTo>
                <a:cubicBezTo>
                  <a:pt x="44" y="70"/>
                  <a:pt x="45" y="70"/>
                  <a:pt x="47" y="70"/>
                </a:cubicBezTo>
                <a:cubicBezTo>
                  <a:pt x="49" y="70"/>
                  <a:pt x="50" y="70"/>
                  <a:pt x="51" y="70"/>
                </a:cubicBezTo>
                <a:cubicBezTo>
                  <a:pt x="52" y="70"/>
                  <a:pt x="54" y="70"/>
                  <a:pt x="56" y="70"/>
                </a:cubicBezTo>
                <a:cubicBezTo>
                  <a:pt x="58" y="69"/>
                  <a:pt x="60" y="69"/>
                  <a:pt x="61" y="69"/>
                </a:cubicBezTo>
                <a:cubicBezTo>
                  <a:pt x="63" y="69"/>
                  <a:pt x="64" y="68"/>
                  <a:pt x="66" y="68"/>
                </a:cubicBezTo>
                <a:cubicBezTo>
                  <a:pt x="68" y="68"/>
                  <a:pt x="69" y="67"/>
                  <a:pt x="71" y="66"/>
                </a:cubicBezTo>
                <a:cubicBezTo>
                  <a:pt x="72" y="66"/>
                  <a:pt x="73" y="65"/>
                  <a:pt x="74" y="64"/>
                </a:cubicBezTo>
                <a:cubicBezTo>
                  <a:pt x="75" y="63"/>
                  <a:pt x="76" y="62"/>
                  <a:pt x="77" y="60"/>
                </a:cubicBezTo>
                <a:cubicBezTo>
                  <a:pt x="77" y="59"/>
                  <a:pt x="78" y="57"/>
                  <a:pt x="78" y="55"/>
                </a:cubicBezTo>
                <a:close/>
                <a:moveTo>
                  <a:pt x="84" y="100"/>
                </a:moveTo>
                <a:cubicBezTo>
                  <a:pt x="84" y="98"/>
                  <a:pt x="84" y="96"/>
                  <a:pt x="83" y="94"/>
                </a:cubicBezTo>
                <a:cubicBezTo>
                  <a:pt x="82" y="92"/>
                  <a:pt x="81" y="91"/>
                  <a:pt x="79" y="90"/>
                </a:cubicBezTo>
                <a:cubicBezTo>
                  <a:pt x="78" y="89"/>
                  <a:pt x="76" y="88"/>
                  <a:pt x="74" y="87"/>
                </a:cubicBezTo>
                <a:cubicBezTo>
                  <a:pt x="72" y="86"/>
                  <a:pt x="70" y="86"/>
                  <a:pt x="68" y="85"/>
                </a:cubicBezTo>
                <a:cubicBezTo>
                  <a:pt x="66" y="85"/>
                  <a:pt x="64" y="85"/>
                  <a:pt x="61" y="84"/>
                </a:cubicBezTo>
                <a:cubicBezTo>
                  <a:pt x="58" y="84"/>
                  <a:pt x="56" y="84"/>
                  <a:pt x="54" y="84"/>
                </a:cubicBezTo>
                <a:cubicBezTo>
                  <a:pt x="53" y="84"/>
                  <a:pt x="51" y="84"/>
                  <a:pt x="48" y="84"/>
                </a:cubicBezTo>
                <a:cubicBezTo>
                  <a:pt x="46" y="84"/>
                  <a:pt x="44" y="84"/>
                  <a:pt x="44" y="84"/>
                </a:cubicBezTo>
                <a:cubicBezTo>
                  <a:pt x="44" y="116"/>
                  <a:pt x="44" y="116"/>
                  <a:pt x="44" y="116"/>
                </a:cubicBezTo>
                <a:cubicBezTo>
                  <a:pt x="44" y="116"/>
                  <a:pt x="45" y="116"/>
                  <a:pt x="47" y="116"/>
                </a:cubicBezTo>
                <a:cubicBezTo>
                  <a:pt x="49" y="116"/>
                  <a:pt x="50" y="116"/>
                  <a:pt x="52" y="116"/>
                </a:cubicBezTo>
                <a:cubicBezTo>
                  <a:pt x="53" y="116"/>
                  <a:pt x="55" y="116"/>
                  <a:pt x="57" y="116"/>
                </a:cubicBezTo>
                <a:cubicBezTo>
                  <a:pt x="59" y="116"/>
                  <a:pt x="61" y="116"/>
                  <a:pt x="62" y="116"/>
                </a:cubicBezTo>
                <a:cubicBezTo>
                  <a:pt x="64" y="116"/>
                  <a:pt x="66" y="115"/>
                  <a:pt x="68" y="115"/>
                </a:cubicBezTo>
                <a:cubicBezTo>
                  <a:pt x="70" y="115"/>
                  <a:pt x="71" y="114"/>
                  <a:pt x="73" y="114"/>
                </a:cubicBezTo>
                <a:cubicBezTo>
                  <a:pt x="74" y="113"/>
                  <a:pt x="76" y="113"/>
                  <a:pt x="77" y="112"/>
                </a:cubicBezTo>
                <a:cubicBezTo>
                  <a:pt x="79" y="111"/>
                  <a:pt x="80" y="110"/>
                  <a:pt x="81" y="109"/>
                </a:cubicBezTo>
                <a:cubicBezTo>
                  <a:pt x="82" y="108"/>
                  <a:pt x="83" y="107"/>
                  <a:pt x="83" y="105"/>
                </a:cubicBezTo>
                <a:cubicBezTo>
                  <a:pt x="84" y="104"/>
                  <a:pt x="84" y="102"/>
                  <a:pt x="84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6" name="Freeform 317"/>
          <p:cNvSpPr>
            <a:spLocks noChangeAspect="1" noEditPoints="1"/>
          </p:cNvSpPr>
          <p:nvPr/>
        </p:nvSpPr>
        <p:spPr bwMode="auto">
          <a:xfrm>
            <a:off x="7641516" y="3711705"/>
            <a:ext cx="151447" cy="176428"/>
          </a:xfrm>
          <a:custGeom>
            <a:avLst/>
            <a:gdLst>
              <a:gd name="T0" fmla="*/ 85 w 146"/>
              <a:gd name="T1" fmla="*/ 52 h 170"/>
              <a:gd name="T2" fmla="*/ 88 w 146"/>
              <a:gd name="T3" fmla="*/ 58 h 170"/>
              <a:gd name="T4" fmla="*/ 94 w 146"/>
              <a:gd name="T5" fmla="*/ 61 h 170"/>
              <a:gd name="T6" fmla="*/ 146 w 146"/>
              <a:gd name="T7" fmla="*/ 61 h 170"/>
              <a:gd name="T8" fmla="*/ 146 w 146"/>
              <a:gd name="T9" fmla="*/ 161 h 170"/>
              <a:gd name="T10" fmla="*/ 143 w 146"/>
              <a:gd name="T11" fmla="*/ 167 h 170"/>
              <a:gd name="T12" fmla="*/ 137 w 146"/>
              <a:gd name="T13" fmla="*/ 170 h 170"/>
              <a:gd name="T14" fmla="*/ 9 w 146"/>
              <a:gd name="T15" fmla="*/ 170 h 170"/>
              <a:gd name="T16" fmla="*/ 3 w 146"/>
              <a:gd name="T17" fmla="*/ 167 h 170"/>
              <a:gd name="T18" fmla="*/ 0 w 146"/>
              <a:gd name="T19" fmla="*/ 161 h 170"/>
              <a:gd name="T20" fmla="*/ 0 w 146"/>
              <a:gd name="T21" fmla="*/ 9 h 170"/>
              <a:gd name="T22" fmla="*/ 3 w 146"/>
              <a:gd name="T23" fmla="*/ 3 h 170"/>
              <a:gd name="T24" fmla="*/ 9 w 146"/>
              <a:gd name="T25" fmla="*/ 0 h 170"/>
              <a:gd name="T26" fmla="*/ 85 w 146"/>
              <a:gd name="T27" fmla="*/ 0 h 170"/>
              <a:gd name="T28" fmla="*/ 85 w 146"/>
              <a:gd name="T29" fmla="*/ 52 h 170"/>
              <a:gd name="T30" fmla="*/ 97 w 146"/>
              <a:gd name="T31" fmla="*/ 49 h 170"/>
              <a:gd name="T32" fmla="*/ 97 w 146"/>
              <a:gd name="T33" fmla="*/ 4 h 170"/>
              <a:gd name="T34" fmla="*/ 101 w 146"/>
              <a:gd name="T35" fmla="*/ 7 h 170"/>
              <a:gd name="T36" fmla="*/ 139 w 146"/>
              <a:gd name="T37" fmla="*/ 45 h 170"/>
              <a:gd name="T38" fmla="*/ 142 w 146"/>
              <a:gd name="T39" fmla="*/ 49 h 170"/>
              <a:gd name="T40" fmla="*/ 97 w 146"/>
              <a:gd name="T41" fmla="*/ 4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6" h="170">
                <a:moveTo>
                  <a:pt x="85" y="52"/>
                </a:moveTo>
                <a:cubicBezTo>
                  <a:pt x="85" y="54"/>
                  <a:pt x="86" y="56"/>
                  <a:pt x="88" y="58"/>
                </a:cubicBezTo>
                <a:cubicBezTo>
                  <a:pt x="90" y="60"/>
                  <a:pt x="92" y="61"/>
                  <a:pt x="94" y="61"/>
                </a:cubicBezTo>
                <a:cubicBezTo>
                  <a:pt x="146" y="61"/>
                  <a:pt x="146" y="61"/>
                  <a:pt x="146" y="61"/>
                </a:cubicBezTo>
                <a:cubicBezTo>
                  <a:pt x="146" y="161"/>
                  <a:pt x="146" y="161"/>
                  <a:pt x="146" y="161"/>
                </a:cubicBezTo>
                <a:cubicBezTo>
                  <a:pt x="146" y="163"/>
                  <a:pt x="145" y="165"/>
                  <a:pt x="143" y="167"/>
                </a:cubicBezTo>
                <a:cubicBezTo>
                  <a:pt x="141" y="169"/>
                  <a:pt x="139" y="170"/>
                  <a:pt x="137" y="170"/>
                </a:cubicBezTo>
                <a:cubicBezTo>
                  <a:pt x="9" y="170"/>
                  <a:pt x="9" y="170"/>
                  <a:pt x="9" y="170"/>
                </a:cubicBezTo>
                <a:cubicBezTo>
                  <a:pt x="7" y="170"/>
                  <a:pt x="5" y="169"/>
                  <a:pt x="3" y="167"/>
                </a:cubicBezTo>
                <a:cubicBezTo>
                  <a:pt x="1" y="165"/>
                  <a:pt x="0" y="163"/>
                  <a:pt x="0" y="161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3" y="3"/>
                </a:cubicBezTo>
                <a:cubicBezTo>
                  <a:pt x="5" y="1"/>
                  <a:pt x="7" y="0"/>
                  <a:pt x="9" y="0"/>
                </a:cubicBezTo>
                <a:cubicBezTo>
                  <a:pt x="85" y="0"/>
                  <a:pt x="85" y="0"/>
                  <a:pt x="85" y="0"/>
                </a:cubicBezTo>
                <a:lnTo>
                  <a:pt x="85" y="52"/>
                </a:lnTo>
                <a:close/>
                <a:moveTo>
                  <a:pt x="97" y="49"/>
                </a:moveTo>
                <a:cubicBezTo>
                  <a:pt x="97" y="4"/>
                  <a:pt x="97" y="4"/>
                  <a:pt x="97" y="4"/>
                </a:cubicBezTo>
                <a:cubicBezTo>
                  <a:pt x="99" y="5"/>
                  <a:pt x="100" y="6"/>
                  <a:pt x="101" y="7"/>
                </a:cubicBezTo>
                <a:cubicBezTo>
                  <a:pt x="139" y="45"/>
                  <a:pt x="139" y="45"/>
                  <a:pt x="139" y="45"/>
                </a:cubicBezTo>
                <a:cubicBezTo>
                  <a:pt x="140" y="46"/>
                  <a:pt x="141" y="47"/>
                  <a:pt x="142" y="49"/>
                </a:cubicBezTo>
                <a:lnTo>
                  <a:pt x="97" y="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7" name="Freeform 318"/>
          <p:cNvSpPr>
            <a:spLocks noChangeAspect="1" noEditPoints="1"/>
          </p:cNvSpPr>
          <p:nvPr/>
        </p:nvSpPr>
        <p:spPr bwMode="auto">
          <a:xfrm>
            <a:off x="7836680" y="3711705"/>
            <a:ext cx="149885" cy="176428"/>
          </a:xfrm>
          <a:custGeom>
            <a:avLst/>
            <a:gdLst>
              <a:gd name="T0" fmla="*/ 94 w 145"/>
              <a:gd name="T1" fmla="*/ 61 h 170"/>
              <a:gd name="T2" fmla="*/ 145 w 145"/>
              <a:gd name="T3" fmla="*/ 61 h 170"/>
              <a:gd name="T4" fmla="*/ 145 w 145"/>
              <a:gd name="T5" fmla="*/ 161 h 170"/>
              <a:gd name="T6" fmla="*/ 142 w 145"/>
              <a:gd name="T7" fmla="*/ 167 h 170"/>
              <a:gd name="T8" fmla="*/ 136 w 145"/>
              <a:gd name="T9" fmla="*/ 170 h 170"/>
              <a:gd name="T10" fmla="*/ 9 w 145"/>
              <a:gd name="T11" fmla="*/ 170 h 170"/>
              <a:gd name="T12" fmla="*/ 2 w 145"/>
              <a:gd name="T13" fmla="*/ 167 h 170"/>
              <a:gd name="T14" fmla="*/ 0 w 145"/>
              <a:gd name="T15" fmla="*/ 161 h 170"/>
              <a:gd name="T16" fmla="*/ 0 w 145"/>
              <a:gd name="T17" fmla="*/ 9 h 170"/>
              <a:gd name="T18" fmla="*/ 2 w 145"/>
              <a:gd name="T19" fmla="*/ 3 h 170"/>
              <a:gd name="T20" fmla="*/ 9 w 145"/>
              <a:gd name="T21" fmla="*/ 0 h 170"/>
              <a:gd name="T22" fmla="*/ 84 w 145"/>
              <a:gd name="T23" fmla="*/ 0 h 170"/>
              <a:gd name="T24" fmla="*/ 84 w 145"/>
              <a:gd name="T25" fmla="*/ 52 h 170"/>
              <a:gd name="T26" fmla="*/ 87 w 145"/>
              <a:gd name="T27" fmla="*/ 58 h 170"/>
              <a:gd name="T28" fmla="*/ 94 w 145"/>
              <a:gd name="T29" fmla="*/ 61 h 170"/>
              <a:gd name="T30" fmla="*/ 109 w 145"/>
              <a:gd name="T31" fmla="*/ 82 h 170"/>
              <a:gd name="T32" fmla="*/ 109 w 145"/>
              <a:gd name="T33" fmla="*/ 76 h 170"/>
              <a:gd name="T34" fmla="*/ 108 w 145"/>
              <a:gd name="T35" fmla="*/ 74 h 170"/>
              <a:gd name="T36" fmla="*/ 106 w 145"/>
              <a:gd name="T37" fmla="*/ 73 h 170"/>
              <a:gd name="T38" fmla="*/ 39 w 145"/>
              <a:gd name="T39" fmla="*/ 73 h 170"/>
              <a:gd name="T40" fmla="*/ 37 w 145"/>
              <a:gd name="T41" fmla="*/ 74 h 170"/>
              <a:gd name="T42" fmla="*/ 36 w 145"/>
              <a:gd name="T43" fmla="*/ 76 h 170"/>
              <a:gd name="T44" fmla="*/ 36 w 145"/>
              <a:gd name="T45" fmla="*/ 82 h 170"/>
              <a:gd name="T46" fmla="*/ 37 w 145"/>
              <a:gd name="T47" fmla="*/ 84 h 170"/>
              <a:gd name="T48" fmla="*/ 39 w 145"/>
              <a:gd name="T49" fmla="*/ 85 h 170"/>
              <a:gd name="T50" fmla="*/ 106 w 145"/>
              <a:gd name="T51" fmla="*/ 85 h 170"/>
              <a:gd name="T52" fmla="*/ 108 w 145"/>
              <a:gd name="T53" fmla="*/ 84 h 170"/>
              <a:gd name="T54" fmla="*/ 109 w 145"/>
              <a:gd name="T55" fmla="*/ 82 h 170"/>
              <a:gd name="T56" fmla="*/ 109 w 145"/>
              <a:gd name="T57" fmla="*/ 106 h 170"/>
              <a:gd name="T58" fmla="*/ 109 w 145"/>
              <a:gd name="T59" fmla="*/ 100 h 170"/>
              <a:gd name="T60" fmla="*/ 108 w 145"/>
              <a:gd name="T61" fmla="*/ 98 h 170"/>
              <a:gd name="T62" fmla="*/ 106 w 145"/>
              <a:gd name="T63" fmla="*/ 97 h 170"/>
              <a:gd name="T64" fmla="*/ 39 w 145"/>
              <a:gd name="T65" fmla="*/ 97 h 170"/>
              <a:gd name="T66" fmla="*/ 37 w 145"/>
              <a:gd name="T67" fmla="*/ 98 h 170"/>
              <a:gd name="T68" fmla="*/ 36 w 145"/>
              <a:gd name="T69" fmla="*/ 100 h 170"/>
              <a:gd name="T70" fmla="*/ 36 w 145"/>
              <a:gd name="T71" fmla="*/ 106 h 170"/>
              <a:gd name="T72" fmla="*/ 37 w 145"/>
              <a:gd name="T73" fmla="*/ 108 h 170"/>
              <a:gd name="T74" fmla="*/ 39 w 145"/>
              <a:gd name="T75" fmla="*/ 109 h 170"/>
              <a:gd name="T76" fmla="*/ 106 w 145"/>
              <a:gd name="T77" fmla="*/ 109 h 170"/>
              <a:gd name="T78" fmla="*/ 108 w 145"/>
              <a:gd name="T79" fmla="*/ 108 h 170"/>
              <a:gd name="T80" fmla="*/ 109 w 145"/>
              <a:gd name="T81" fmla="*/ 106 h 170"/>
              <a:gd name="T82" fmla="*/ 109 w 145"/>
              <a:gd name="T83" fmla="*/ 130 h 170"/>
              <a:gd name="T84" fmla="*/ 109 w 145"/>
              <a:gd name="T85" fmla="*/ 124 h 170"/>
              <a:gd name="T86" fmla="*/ 108 w 145"/>
              <a:gd name="T87" fmla="*/ 122 h 170"/>
              <a:gd name="T88" fmla="*/ 106 w 145"/>
              <a:gd name="T89" fmla="*/ 121 h 170"/>
              <a:gd name="T90" fmla="*/ 39 w 145"/>
              <a:gd name="T91" fmla="*/ 121 h 170"/>
              <a:gd name="T92" fmla="*/ 37 w 145"/>
              <a:gd name="T93" fmla="*/ 122 h 170"/>
              <a:gd name="T94" fmla="*/ 36 w 145"/>
              <a:gd name="T95" fmla="*/ 124 h 170"/>
              <a:gd name="T96" fmla="*/ 36 w 145"/>
              <a:gd name="T97" fmla="*/ 130 h 170"/>
              <a:gd name="T98" fmla="*/ 37 w 145"/>
              <a:gd name="T99" fmla="*/ 132 h 170"/>
              <a:gd name="T100" fmla="*/ 39 w 145"/>
              <a:gd name="T101" fmla="*/ 133 h 170"/>
              <a:gd name="T102" fmla="*/ 106 w 145"/>
              <a:gd name="T103" fmla="*/ 133 h 170"/>
              <a:gd name="T104" fmla="*/ 108 w 145"/>
              <a:gd name="T105" fmla="*/ 132 h 170"/>
              <a:gd name="T106" fmla="*/ 109 w 145"/>
              <a:gd name="T107" fmla="*/ 130 h 170"/>
              <a:gd name="T108" fmla="*/ 139 w 145"/>
              <a:gd name="T109" fmla="*/ 45 h 170"/>
              <a:gd name="T110" fmla="*/ 141 w 145"/>
              <a:gd name="T111" fmla="*/ 49 h 170"/>
              <a:gd name="T112" fmla="*/ 97 w 145"/>
              <a:gd name="T113" fmla="*/ 49 h 170"/>
              <a:gd name="T114" fmla="*/ 97 w 145"/>
              <a:gd name="T115" fmla="*/ 4 h 170"/>
              <a:gd name="T116" fmla="*/ 100 w 145"/>
              <a:gd name="T117" fmla="*/ 7 h 170"/>
              <a:gd name="T118" fmla="*/ 139 w 145"/>
              <a:gd name="T119" fmla="*/ 45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5" h="170">
                <a:moveTo>
                  <a:pt x="94" y="61"/>
                </a:moveTo>
                <a:cubicBezTo>
                  <a:pt x="145" y="61"/>
                  <a:pt x="145" y="61"/>
                  <a:pt x="145" y="61"/>
                </a:cubicBezTo>
                <a:cubicBezTo>
                  <a:pt x="145" y="161"/>
                  <a:pt x="145" y="161"/>
                  <a:pt x="145" y="161"/>
                </a:cubicBezTo>
                <a:cubicBezTo>
                  <a:pt x="145" y="163"/>
                  <a:pt x="144" y="165"/>
                  <a:pt x="142" y="167"/>
                </a:cubicBezTo>
                <a:cubicBezTo>
                  <a:pt x="141" y="169"/>
                  <a:pt x="138" y="170"/>
                  <a:pt x="136" y="170"/>
                </a:cubicBezTo>
                <a:cubicBezTo>
                  <a:pt x="9" y="170"/>
                  <a:pt x="9" y="170"/>
                  <a:pt x="9" y="170"/>
                </a:cubicBezTo>
                <a:cubicBezTo>
                  <a:pt x="6" y="170"/>
                  <a:pt x="4" y="169"/>
                  <a:pt x="2" y="167"/>
                </a:cubicBezTo>
                <a:cubicBezTo>
                  <a:pt x="1" y="165"/>
                  <a:pt x="0" y="163"/>
                  <a:pt x="0" y="161"/>
                </a:cubicBezTo>
                <a:cubicBezTo>
                  <a:pt x="0" y="9"/>
                  <a:pt x="0" y="9"/>
                  <a:pt x="0" y="9"/>
                </a:cubicBezTo>
                <a:cubicBezTo>
                  <a:pt x="0" y="7"/>
                  <a:pt x="1" y="5"/>
                  <a:pt x="2" y="3"/>
                </a:cubicBezTo>
                <a:cubicBezTo>
                  <a:pt x="4" y="1"/>
                  <a:pt x="6" y="0"/>
                  <a:pt x="9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84" y="54"/>
                  <a:pt x="85" y="56"/>
                  <a:pt x="87" y="58"/>
                </a:cubicBezTo>
                <a:cubicBezTo>
                  <a:pt x="89" y="60"/>
                  <a:pt x="91" y="61"/>
                  <a:pt x="94" y="61"/>
                </a:cubicBezTo>
                <a:close/>
                <a:moveTo>
                  <a:pt x="109" y="82"/>
                </a:moveTo>
                <a:cubicBezTo>
                  <a:pt x="109" y="76"/>
                  <a:pt x="109" y="76"/>
                  <a:pt x="109" y="76"/>
                </a:cubicBezTo>
                <a:cubicBezTo>
                  <a:pt x="109" y="75"/>
                  <a:pt x="108" y="74"/>
                  <a:pt x="108" y="74"/>
                </a:cubicBezTo>
                <a:cubicBezTo>
                  <a:pt x="107" y="73"/>
                  <a:pt x="106" y="73"/>
                  <a:pt x="106" y="73"/>
                </a:cubicBezTo>
                <a:cubicBezTo>
                  <a:pt x="39" y="73"/>
                  <a:pt x="39" y="73"/>
                  <a:pt x="39" y="73"/>
                </a:cubicBezTo>
                <a:cubicBezTo>
                  <a:pt x="38" y="73"/>
                  <a:pt x="37" y="73"/>
                  <a:pt x="37" y="74"/>
                </a:cubicBezTo>
                <a:cubicBezTo>
                  <a:pt x="36" y="74"/>
                  <a:pt x="36" y="75"/>
                  <a:pt x="36" y="76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83"/>
                  <a:pt x="36" y="84"/>
                  <a:pt x="37" y="84"/>
                </a:cubicBezTo>
                <a:cubicBezTo>
                  <a:pt x="37" y="85"/>
                  <a:pt x="38" y="85"/>
                  <a:pt x="39" y="85"/>
                </a:cubicBezTo>
                <a:cubicBezTo>
                  <a:pt x="106" y="85"/>
                  <a:pt x="106" y="85"/>
                  <a:pt x="106" y="85"/>
                </a:cubicBezTo>
                <a:cubicBezTo>
                  <a:pt x="106" y="85"/>
                  <a:pt x="107" y="85"/>
                  <a:pt x="108" y="84"/>
                </a:cubicBezTo>
                <a:cubicBezTo>
                  <a:pt x="108" y="84"/>
                  <a:pt x="109" y="83"/>
                  <a:pt x="109" y="82"/>
                </a:cubicBezTo>
                <a:close/>
                <a:moveTo>
                  <a:pt x="109" y="106"/>
                </a:moveTo>
                <a:cubicBezTo>
                  <a:pt x="109" y="100"/>
                  <a:pt x="109" y="100"/>
                  <a:pt x="109" y="100"/>
                </a:cubicBezTo>
                <a:cubicBezTo>
                  <a:pt x="109" y="99"/>
                  <a:pt x="108" y="98"/>
                  <a:pt x="108" y="98"/>
                </a:cubicBezTo>
                <a:cubicBezTo>
                  <a:pt x="107" y="97"/>
                  <a:pt x="106" y="97"/>
                  <a:pt x="106" y="97"/>
                </a:cubicBezTo>
                <a:cubicBezTo>
                  <a:pt x="39" y="97"/>
                  <a:pt x="39" y="97"/>
                  <a:pt x="39" y="97"/>
                </a:cubicBezTo>
                <a:cubicBezTo>
                  <a:pt x="38" y="97"/>
                  <a:pt x="37" y="97"/>
                  <a:pt x="37" y="98"/>
                </a:cubicBezTo>
                <a:cubicBezTo>
                  <a:pt x="36" y="98"/>
                  <a:pt x="36" y="99"/>
                  <a:pt x="36" y="100"/>
                </a:cubicBezTo>
                <a:cubicBezTo>
                  <a:pt x="36" y="106"/>
                  <a:pt x="36" y="106"/>
                  <a:pt x="36" y="106"/>
                </a:cubicBezTo>
                <a:cubicBezTo>
                  <a:pt x="36" y="107"/>
                  <a:pt x="36" y="108"/>
                  <a:pt x="37" y="108"/>
                </a:cubicBezTo>
                <a:cubicBezTo>
                  <a:pt x="37" y="109"/>
                  <a:pt x="38" y="109"/>
                  <a:pt x="39" y="109"/>
                </a:cubicBezTo>
                <a:cubicBezTo>
                  <a:pt x="106" y="109"/>
                  <a:pt x="106" y="109"/>
                  <a:pt x="106" y="109"/>
                </a:cubicBezTo>
                <a:cubicBezTo>
                  <a:pt x="106" y="109"/>
                  <a:pt x="107" y="109"/>
                  <a:pt x="108" y="108"/>
                </a:cubicBezTo>
                <a:cubicBezTo>
                  <a:pt x="108" y="108"/>
                  <a:pt x="109" y="107"/>
                  <a:pt x="109" y="106"/>
                </a:cubicBezTo>
                <a:close/>
                <a:moveTo>
                  <a:pt x="109" y="130"/>
                </a:moveTo>
                <a:cubicBezTo>
                  <a:pt x="109" y="124"/>
                  <a:pt x="109" y="124"/>
                  <a:pt x="109" y="124"/>
                </a:cubicBezTo>
                <a:cubicBezTo>
                  <a:pt x="109" y="123"/>
                  <a:pt x="108" y="123"/>
                  <a:pt x="108" y="122"/>
                </a:cubicBezTo>
                <a:cubicBezTo>
                  <a:pt x="107" y="122"/>
                  <a:pt x="106" y="121"/>
                  <a:pt x="106" y="121"/>
                </a:cubicBezTo>
                <a:cubicBezTo>
                  <a:pt x="39" y="121"/>
                  <a:pt x="39" y="121"/>
                  <a:pt x="39" y="121"/>
                </a:cubicBezTo>
                <a:cubicBezTo>
                  <a:pt x="38" y="121"/>
                  <a:pt x="37" y="122"/>
                  <a:pt x="37" y="122"/>
                </a:cubicBezTo>
                <a:cubicBezTo>
                  <a:pt x="36" y="123"/>
                  <a:pt x="36" y="123"/>
                  <a:pt x="36" y="124"/>
                </a:cubicBezTo>
                <a:cubicBezTo>
                  <a:pt x="36" y="130"/>
                  <a:pt x="36" y="130"/>
                  <a:pt x="36" y="130"/>
                </a:cubicBezTo>
                <a:cubicBezTo>
                  <a:pt x="36" y="131"/>
                  <a:pt x="36" y="132"/>
                  <a:pt x="37" y="132"/>
                </a:cubicBezTo>
                <a:cubicBezTo>
                  <a:pt x="37" y="133"/>
                  <a:pt x="38" y="133"/>
                  <a:pt x="39" y="133"/>
                </a:cubicBezTo>
                <a:cubicBezTo>
                  <a:pt x="106" y="133"/>
                  <a:pt x="106" y="133"/>
                  <a:pt x="106" y="133"/>
                </a:cubicBezTo>
                <a:cubicBezTo>
                  <a:pt x="106" y="133"/>
                  <a:pt x="107" y="133"/>
                  <a:pt x="108" y="132"/>
                </a:cubicBezTo>
                <a:cubicBezTo>
                  <a:pt x="108" y="132"/>
                  <a:pt x="109" y="131"/>
                  <a:pt x="109" y="130"/>
                </a:cubicBezTo>
                <a:close/>
                <a:moveTo>
                  <a:pt x="139" y="45"/>
                </a:moveTo>
                <a:cubicBezTo>
                  <a:pt x="139" y="46"/>
                  <a:pt x="140" y="47"/>
                  <a:pt x="141" y="49"/>
                </a:cubicBezTo>
                <a:cubicBezTo>
                  <a:pt x="97" y="49"/>
                  <a:pt x="97" y="49"/>
                  <a:pt x="97" y="49"/>
                </a:cubicBezTo>
                <a:cubicBezTo>
                  <a:pt x="97" y="4"/>
                  <a:pt x="97" y="4"/>
                  <a:pt x="97" y="4"/>
                </a:cubicBezTo>
                <a:cubicBezTo>
                  <a:pt x="98" y="5"/>
                  <a:pt x="99" y="6"/>
                  <a:pt x="100" y="7"/>
                </a:cubicBezTo>
                <a:lnTo>
                  <a:pt x="139" y="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8" name="Freeform 319"/>
          <p:cNvSpPr>
            <a:spLocks noChangeAspect="1" noEditPoints="1"/>
          </p:cNvSpPr>
          <p:nvPr/>
        </p:nvSpPr>
        <p:spPr bwMode="auto">
          <a:xfrm>
            <a:off x="8034965" y="3711705"/>
            <a:ext cx="159253" cy="176428"/>
          </a:xfrm>
          <a:custGeom>
            <a:avLst/>
            <a:gdLst>
              <a:gd name="T0" fmla="*/ 66 w 154"/>
              <a:gd name="T1" fmla="*/ 139 h 170"/>
              <a:gd name="T2" fmla="*/ 33 w 154"/>
              <a:gd name="T3" fmla="*/ 170 h 170"/>
              <a:gd name="T4" fmla="*/ 1 w 154"/>
              <a:gd name="T5" fmla="*/ 139 h 170"/>
              <a:gd name="T6" fmla="*/ 3 w 154"/>
              <a:gd name="T7" fmla="*/ 133 h 170"/>
              <a:gd name="T8" fmla="*/ 21 w 154"/>
              <a:gd name="T9" fmla="*/ 3 h 170"/>
              <a:gd name="T10" fmla="*/ 24 w 154"/>
              <a:gd name="T11" fmla="*/ 0 h 170"/>
              <a:gd name="T12" fmla="*/ 45 w 154"/>
              <a:gd name="T13" fmla="*/ 1 h 170"/>
              <a:gd name="T14" fmla="*/ 45 w 154"/>
              <a:gd name="T15" fmla="*/ 133 h 170"/>
              <a:gd name="T16" fmla="*/ 66 w 154"/>
              <a:gd name="T17" fmla="*/ 134 h 170"/>
              <a:gd name="T18" fmla="*/ 154 w 154"/>
              <a:gd name="T19" fmla="*/ 63 h 170"/>
              <a:gd name="T20" fmla="*/ 127 w 154"/>
              <a:gd name="T21" fmla="*/ 73 h 170"/>
              <a:gd name="T22" fmla="*/ 134 w 154"/>
              <a:gd name="T23" fmla="*/ 63 h 170"/>
              <a:gd name="T24" fmla="*/ 107 w 154"/>
              <a:gd name="T25" fmla="*/ 49 h 170"/>
              <a:gd name="T26" fmla="*/ 109 w 154"/>
              <a:gd name="T27" fmla="*/ 63 h 170"/>
              <a:gd name="T28" fmla="*/ 82 w 154"/>
              <a:gd name="T29" fmla="*/ 73 h 170"/>
              <a:gd name="T30" fmla="*/ 89 w 154"/>
              <a:gd name="T31" fmla="*/ 63 h 170"/>
              <a:gd name="T32" fmla="*/ 126 w 154"/>
              <a:gd name="T33" fmla="*/ 0 h 170"/>
              <a:gd name="T34" fmla="*/ 154 w 154"/>
              <a:gd name="T35" fmla="*/ 63 h 170"/>
              <a:gd name="T36" fmla="*/ 146 w 154"/>
              <a:gd name="T37" fmla="*/ 170 h 170"/>
              <a:gd name="T38" fmla="*/ 90 w 154"/>
              <a:gd name="T39" fmla="*/ 161 h 170"/>
              <a:gd name="T40" fmla="*/ 127 w 154"/>
              <a:gd name="T41" fmla="*/ 109 h 170"/>
              <a:gd name="T42" fmla="*/ 128 w 154"/>
              <a:gd name="T43" fmla="*/ 107 h 170"/>
              <a:gd name="T44" fmla="*/ 127 w 154"/>
              <a:gd name="T45" fmla="*/ 108 h 170"/>
              <a:gd name="T46" fmla="*/ 102 w 154"/>
              <a:gd name="T47" fmla="*/ 108 h 170"/>
              <a:gd name="T48" fmla="*/ 91 w 154"/>
              <a:gd name="T49" fmla="*/ 119 h 170"/>
              <a:gd name="T50" fmla="*/ 145 w 154"/>
              <a:gd name="T51" fmla="*/ 97 h 170"/>
              <a:gd name="T52" fmla="*/ 110 w 154"/>
              <a:gd name="T53" fmla="*/ 156 h 170"/>
              <a:gd name="T54" fmla="*/ 107 w 154"/>
              <a:gd name="T55" fmla="*/ 159 h 170"/>
              <a:gd name="T56" fmla="*/ 108 w 154"/>
              <a:gd name="T57" fmla="*/ 159 h 170"/>
              <a:gd name="T58" fmla="*/ 134 w 154"/>
              <a:gd name="T59" fmla="*/ 159 h 170"/>
              <a:gd name="T60" fmla="*/ 146 w 154"/>
              <a:gd name="T61" fmla="*/ 148 h 170"/>
              <a:gd name="T62" fmla="*/ 126 w 154"/>
              <a:gd name="T63" fmla="*/ 39 h 170"/>
              <a:gd name="T64" fmla="*/ 118 w 154"/>
              <a:gd name="T65" fmla="*/ 14 h 170"/>
              <a:gd name="T66" fmla="*/ 118 w 154"/>
              <a:gd name="T67" fmla="*/ 12 h 170"/>
              <a:gd name="T68" fmla="*/ 117 w 154"/>
              <a:gd name="T69" fmla="*/ 15 h 170"/>
              <a:gd name="T70" fmla="*/ 110 w 154"/>
              <a:gd name="T71" fmla="*/ 3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4" h="170">
                <a:moveTo>
                  <a:pt x="67" y="136"/>
                </a:moveTo>
                <a:cubicBezTo>
                  <a:pt x="67" y="137"/>
                  <a:pt x="66" y="138"/>
                  <a:pt x="66" y="139"/>
                </a:cubicBezTo>
                <a:cubicBezTo>
                  <a:pt x="36" y="169"/>
                  <a:pt x="36" y="169"/>
                  <a:pt x="36" y="169"/>
                </a:cubicBezTo>
                <a:cubicBezTo>
                  <a:pt x="35" y="169"/>
                  <a:pt x="34" y="170"/>
                  <a:pt x="33" y="170"/>
                </a:cubicBezTo>
                <a:cubicBezTo>
                  <a:pt x="33" y="170"/>
                  <a:pt x="32" y="169"/>
                  <a:pt x="31" y="169"/>
                </a:cubicBezTo>
                <a:cubicBezTo>
                  <a:pt x="1" y="139"/>
                  <a:pt x="1" y="139"/>
                  <a:pt x="1" y="139"/>
                </a:cubicBezTo>
                <a:cubicBezTo>
                  <a:pt x="0" y="138"/>
                  <a:pt x="0" y="136"/>
                  <a:pt x="0" y="135"/>
                </a:cubicBezTo>
                <a:cubicBezTo>
                  <a:pt x="1" y="134"/>
                  <a:pt x="2" y="133"/>
                  <a:pt x="3" y="133"/>
                </a:cubicBezTo>
                <a:cubicBezTo>
                  <a:pt x="21" y="133"/>
                  <a:pt x="21" y="133"/>
                  <a:pt x="21" y="133"/>
                </a:cubicBezTo>
                <a:cubicBezTo>
                  <a:pt x="21" y="3"/>
                  <a:pt x="21" y="3"/>
                  <a:pt x="21" y="3"/>
                </a:cubicBezTo>
                <a:cubicBezTo>
                  <a:pt x="21" y="2"/>
                  <a:pt x="22" y="2"/>
                  <a:pt x="22" y="1"/>
                </a:cubicBezTo>
                <a:cubicBezTo>
                  <a:pt x="23" y="0"/>
                  <a:pt x="23" y="0"/>
                  <a:pt x="24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3" y="0"/>
                  <a:pt x="44" y="0"/>
                  <a:pt x="45" y="1"/>
                </a:cubicBezTo>
                <a:cubicBezTo>
                  <a:pt x="45" y="2"/>
                  <a:pt x="45" y="2"/>
                  <a:pt x="45" y="3"/>
                </a:cubicBezTo>
                <a:cubicBezTo>
                  <a:pt x="45" y="133"/>
                  <a:pt x="45" y="133"/>
                  <a:pt x="45" y="133"/>
                </a:cubicBezTo>
                <a:cubicBezTo>
                  <a:pt x="64" y="133"/>
                  <a:pt x="64" y="133"/>
                  <a:pt x="64" y="133"/>
                </a:cubicBezTo>
                <a:cubicBezTo>
                  <a:pt x="64" y="133"/>
                  <a:pt x="65" y="134"/>
                  <a:pt x="66" y="134"/>
                </a:cubicBezTo>
                <a:cubicBezTo>
                  <a:pt x="66" y="135"/>
                  <a:pt x="67" y="135"/>
                  <a:pt x="67" y="136"/>
                </a:cubicBezTo>
                <a:close/>
                <a:moveTo>
                  <a:pt x="154" y="63"/>
                </a:moveTo>
                <a:cubicBezTo>
                  <a:pt x="154" y="73"/>
                  <a:pt x="154" y="73"/>
                  <a:pt x="154" y="73"/>
                </a:cubicBezTo>
                <a:cubicBezTo>
                  <a:pt x="127" y="73"/>
                  <a:pt x="127" y="73"/>
                  <a:pt x="127" y="73"/>
                </a:cubicBezTo>
                <a:cubicBezTo>
                  <a:pt x="127" y="63"/>
                  <a:pt x="127" y="63"/>
                  <a:pt x="127" y="63"/>
                </a:cubicBezTo>
                <a:cubicBezTo>
                  <a:pt x="134" y="63"/>
                  <a:pt x="134" y="63"/>
                  <a:pt x="134" y="63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2" y="63"/>
                  <a:pt x="102" y="63"/>
                  <a:pt x="102" y="63"/>
                </a:cubicBezTo>
                <a:cubicBezTo>
                  <a:pt x="109" y="63"/>
                  <a:pt x="109" y="63"/>
                  <a:pt x="109" y="63"/>
                </a:cubicBezTo>
                <a:cubicBezTo>
                  <a:pt x="109" y="73"/>
                  <a:pt x="109" y="73"/>
                  <a:pt x="109" y="73"/>
                </a:cubicBezTo>
                <a:cubicBezTo>
                  <a:pt x="82" y="73"/>
                  <a:pt x="82" y="73"/>
                  <a:pt x="82" y="73"/>
                </a:cubicBezTo>
                <a:cubicBezTo>
                  <a:pt x="82" y="63"/>
                  <a:pt x="82" y="63"/>
                  <a:pt x="82" y="63"/>
                </a:cubicBezTo>
                <a:cubicBezTo>
                  <a:pt x="89" y="63"/>
                  <a:pt x="89" y="63"/>
                  <a:pt x="89" y="63"/>
                </a:cubicBezTo>
                <a:cubicBezTo>
                  <a:pt x="110" y="0"/>
                  <a:pt x="110" y="0"/>
                  <a:pt x="110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47" y="63"/>
                  <a:pt x="147" y="63"/>
                  <a:pt x="147" y="63"/>
                </a:cubicBezTo>
                <a:lnTo>
                  <a:pt x="154" y="63"/>
                </a:lnTo>
                <a:close/>
                <a:moveTo>
                  <a:pt x="146" y="148"/>
                </a:moveTo>
                <a:cubicBezTo>
                  <a:pt x="146" y="170"/>
                  <a:pt x="146" y="170"/>
                  <a:pt x="146" y="170"/>
                </a:cubicBezTo>
                <a:cubicBezTo>
                  <a:pt x="90" y="170"/>
                  <a:pt x="90" y="170"/>
                  <a:pt x="90" y="170"/>
                </a:cubicBezTo>
                <a:cubicBezTo>
                  <a:pt x="90" y="161"/>
                  <a:pt x="90" y="161"/>
                  <a:pt x="90" y="161"/>
                </a:cubicBezTo>
                <a:cubicBezTo>
                  <a:pt x="125" y="111"/>
                  <a:pt x="125" y="111"/>
                  <a:pt x="125" y="111"/>
                </a:cubicBezTo>
                <a:cubicBezTo>
                  <a:pt x="126" y="110"/>
                  <a:pt x="127" y="109"/>
                  <a:pt x="127" y="109"/>
                </a:cubicBezTo>
                <a:cubicBezTo>
                  <a:pt x="128" y="108"/>
                  <a:pt x="128" y="108"/>
                  <a:pt x="128" y="108"/>
                </a:cubicBezTo>
                <a:cubicBezTo>
                  <a:pt x="128" y="107"/>
                  <a:pt x="128" y="107"/>
                  <a:pt x="128" y="107"/>
                </a:cubicBezTo>
                <a:cubicBezTo>
                  <a:pt x="128" y="107"/>
                  <a:pt x="128" y="107"/>
                  <a:pt x="128" y="107"/>
                </a:cubicBezTo>
                <a:cubicBezTo>
                  <a:pt x="127" y="108"/>
                  <a:pt x="127" y="108"/>
                  <a:pt x="127" y="108"/>
                </a:cubicBezTo>
                <a:cubicBezTo>
                  <a:pt x="126" y="108"/>
                  <a:pt x="125" y="108"/>
                  <a:pt x="124" y="108"/>
                </a:cubicBezTo>
                <a:cubicBezTo>
                  <a:pt x="102" y="108"/>
                  <a:pt x="102" y="108"/>
                  <a:pt x="102" y="108"/>
                </a:cubicBezTo>
                <a:cubicBezTo>
                  <a:pt x="102" y="119"/>
                  <a:pt x="102" y="119"/>
                  <a:pt x="102" y="119"/>
                </a:cubicBezTo>
                <a:cubicBezTo>
                  <a:pt x="91" y="119"/>
                  <a:pt x="91" y="119"/>
                  <a:pt x="91" y="119"/>
                </a:cubicBezTo>
                <a:cubicBezTo>
                  <a:pt x="91" y="97"/>
                  <a:pt x="91" y="97"/>
                  <a:pt x="91" y="97"/>
                </a:cubicBezTo>
                <a:cubicBezTo>
                  <a:pt x="145" y="97"/>
                  <a:pt x="145" y="97"/>
                  <a:pt x="145" y="97"/>
                </a:cubicBezTo>
                <a:cubicBezTo>
                  <a:pt x="145" y="105"/>
                  <a:pt x="145" y="105"/>
                  <a:pt x="145" y="105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6"/>
                  <a:pt x="109" y="157"/>
                  <a:pt x="108" y="158"/>
                </a:cubicBezTo>
                <a:cubicBezTo>
                  <a:pt x="107" y="159"/>
                  <a:pt x="107" y="159"/>
                  <a:pt x="107" y="159"/>
                </a:cubicBezTo>
                <a:cubicBezTo>
                  <a:pt x="107" y="159"/>
                  <a:pt x="107" y="159"/>
                  <a:pt x="107" y="159"/>
                </a:cubicBezTo>
                <a:cubicBezTo>
                  <a:pt x="108" y="159"/>
                  <a:pt x="108" y="159"/>
                  <a:pt x="108" y="159"/>
                </a:cubicBezTo>
                <a:cubicBezTo>
                  <a:pt x="109" y="159"/>
                  <a:pt x="109" y="159"/>
                  <a:pt x="111" y="159"/>
                </a:cubicBezTo>
                <a:cubicBezTo>
                  <a:pt x="134" y="159"/>
                  <a:pt x="134" y="159"/>
                  <a:pt x="134" y="159"/>
                </a:cubicBezTo>
                <a:cubicBezTo>
                  <a:pt x="134" y="148"/>
                  <a:pt x="134" y="148"/>
                  <a:pt x="134" y="148"/>
                </a:cubicBezTo>
                <a:lnTo>
                  <a:pt x="146" y="148"/>
                </a:lnTo>
                <a:close/>
                <a:moveTo>
                  <a:pt x="110" y="39"/>
                </a:moveTo>
                <a:cubicBezTo>
                  <a:pt x="126" y="39"/>
                  <a:pt x="126" y="39"/>
                  <a:pt x="126" y="39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18" y="14"/>
                  <a:pt x="118" y="14"/>
                  <a:pt x="118" y="14"/>
                </a:cubicBezTo>
                <a:cubicBezTo>
                  <a:pt x="118" y="13"/>
                  <a:pt x="118" y="12"/>
                  <a:pt x="118" y="12"/>
                </a:cubicBezTo>
                <a:cubicBezTo>
                  <a:pt x="118" y="12"/>
                  <a:pt x="118" y="12"/>
                  <a:pt x="118" y="12"/>
                </a:cubicBezTo>
                <a:cubicBezTo>
                  <a:pt x="118" y="14"/>
                  <a:pt x="118" y="14"/>
                  <a:pt x="118" y="14"/>
                </a:cubicBezTo>
                <a:cubicBezTo>
                  <a:pt x="118" y="14"/>
                  <a:pt x="117" y="14"/>
                  <a:pt x="117" y="15"/>
                </a:cubicBezTo>
                <a:cubicBezTo>
                  <a:pt x="117" y="17"/>
                  <a:pt x="117" y="17"/>
                  <a:pt x="117" y="18"/>
                </a:cubicBezTo>
                <a:lnTo>
                  <a:pt x="110" y="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19" name="Freeform 320"/>
          <p:cNvSpPr>
            <a:spLocks noChangeAspect="1" noEditPoints="1"/>
          </p:cNvSpPr>
          <p:nvPr/>
        </p:nvSpPr>
        <p:spPr bwMode="auto">
          <a:xfrm>
            <a:off x="8242620" y="3711705"/>
            <a:ext cx="159253" cy="176428"/>
          </a:xfrm>
          <a:custGeom>
            <a:avLst/>
            <a:gdLst>
              <a:gd name="T0" fmla="*/ 66 w 154"/>
              <a:gd name="T1" fmla="*/ 139 h 170"/>
              <a:gd name="T2" fmla="*/ 34 w 154"/>
              <a:gd name="T3" fmla="*/ 170 h 170"/>
              <a:gd name="T4" fmla="*/ 1 w 154"/>
              <a:gd name="T5" fmla="*/ 139 h 170"/>
              <a:gd name="T6" fmla="*/ 4 w 154"/>
              <a:gd name="T7" fmla="*/ 133 h 170"/>
              <a:gd name="T8" fmla="*/ 22 w 154"/>
              <a:gd name="T9" fmla="*/ 3 h 170"/>
              <a:gd name="T10" fmla="*/ 25 w 154"/>
              <a:gd name="T11" fmla="*/ 0 h 170"/>
              <a:gd name="T12" fmla="*/ 45 w 154"/>
              <a:gd name="T13" fmla="*/ 1 h 170"/>
              <a:gd name="T14" fmla="*/ 46 w 154"/>
              <a:gd name="T15" fmla="*/ 133 h 170"/>
              <a:gd name="T16" fmla="*/ 66 w 154"/>
              <a:gd name="T17" fmla="*/ 134 h 170"/>
              <a:gd name="T18" fmla="*/ 154 w 154"/>
              <a:gd name="T19" fmla="*/ 160 h 170"/>
              <a:gd name="T20" fmla="*/ 127 w 154"/>
              <a:gd name="T21" fmla="*/ 170 h 170"/>
              <a:gd name="T22" fmla="*/ 134 w 154"/>
              <a:gd name="T23" fmla="*/ 160 h 170"/>
              <a:gd name="T24" fmla="*/ 107 w 154"/>
              <a:gd name="T25" fmla="*/ 146 h 170"/>
              <a:gd name="T26" fmla="*/ 110 w 154"/>
              <a:gd name="T27" fmla="*/ 160 h 170"/>
              <a:gd name="T28" fmla="*/ 82 w 154"/>
              <a:gd name="T29" fmla="*/ 170 h 170"/>
              <a:gd name="T30" fmla="*/ 89 w 154"/>
              <a:gd name="T31" fmla="*/ 160 h 170"/>
              <a:gd name="T32" fmla="*/ 126 w 154"/>
              <a:gd name="T33" fmla="*/ 97 h 170"/>
              <a:gd name="T34" fmla="*/ 154 w 154"/>
              <a:gd name="T35" fmla="*/ 160 h 170"/>
              <a:gd name="T36" fmla="*/ 146 w 154"/>
              <a:gd name="T37" fmla="*/ 73 h 170"/>
              <a:gd name="T38" fmla="*/ 91 w 154"/>
              <a:gd name="T39" fmla="*/ 64 h 170"/>
              <a:gd name="T40" fmla="*/ 128 w 154"/>
              <a:gd name="T41" fmla="*/ 12 h 170"/>
              <a:gd name="T42" fmla="*/ 129 w 154"/>
              <a:gd name="T43" fmla="*/ 11 h 170"/>
              <a:gd name="T44" fmla="*/ 127 w 154"/>
              <a:gd name="T45" fmla="*/ 11 h 170"/>
              <a:gd name="T46" fmla="*/ 103 w 154"/>
              <a:gd name="T47" fmla="*/ 11 h 170"/>
              <a:gd name="T48" fmla="*/ 91 w 154"/>
              <a:gd name="T49" fmla="*/ 22 h 170"/>
              <a:gd name="T50" fmla="*/ 145 w 154"/>
              <a:gd name="T51" fmla="*/ 0 h 170"/>
              <a:gd name="T52" fmla="*/ 110 w 154"/>
              <a:gd name="T53" fmla="*/ 59 h 170"/>
              <a:gd name="T54" fmla="*/ 107 w 154"/>
              <a:gd name="T55" fmla="*/ 62 h 170"/>
              <a:gd name="T56" fmla="*/ 108 w 154"/>
              <a:gd name="T57" fmla="*/ 62 h 170"/>
              <a:gd name="T58" fmla="*/ 135 w 154"/>
              <a:gd name="T59" fmla="*/ 62 h 170"/>
              <a:gd name="T60" fmla="*/ 146 w 154"/>
              <a:gd name="T61" fmla="*/ 51 h 170"/>
              <a:gd name="T62" fmla="*/ 127 w 154"/>
              <a:gd name="T63" fmla="*/ 136 h 170"/>
              <a:gd name="T64" fmla="*/ 119 w 154"/>
              <a:gd name="T65" fmla="*/ 111 h 170"/>
              <a:gd name="T66" fmla="*/ 118 w 154"/>
              <a:gd name="T67" fmla="*/ 109 h 170"/>
              <a:gd name="T68" fmla="*/ 118 w 154"/>
              <a:gd name="T69" fmla="*/ 112 h 170"/>
              <a:gd name="T70" fmla="*/ 110 w 154"/>
              <a:gd name="T71" fmla="*/ 13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54" h="170">
                <a:moveTo>
                  <a:pt x="67" y="136"/>
                </a:moveTo>
                <a:cubicBezTo>
                  <a:pt x="67" y="137"/>
                  <a:pt x="67" y="138"/>
                  <a:pt x="66" y="139"/>
                </a:cubicBezTo>
                <a:cubicBezTo>
                  <a:pt x="36" y="169"/>
                  <a:pt x="36" y="169"/>
                  <a:pt x="36" y="169"/>
                </a:cubicBezTo>
                <a:cubicBezTo>
                  <a:pt x="35" y="169"/>
                  <a:pt x="35" y="170"/>
                  <a:pt x="34" y="170"/>
                </a:cubicBezTo>
                <a:cubicBezTo>
                  <a:pt x="33" y="170"/>
                  <a:pt x="32" y="169"/>
                  <a:pt x="32" y="169"/>
                </a:cubicBezTo>
                <a:cubicBezTo>
                  <a:pt x="1" y="139"/>
                  <a:pt x="1" y="139"/>
                  <a:pt x="1" y="139"/>
                </a:cubicBezTo>
                <a:cubicBezTo>
                  <a:pt x="0" y="138"/>
                  <a:pt x="0" y="136"/>
                  <a:pt x="1" y="135"/>
                </a:cubicBezTo>
                <a:cubicBezTo>
                  <a:pt x="1" y="134"/>
                  <a:pt x="2" y="133"/>
                  <a:pt x="4" y="133"/>
                </a:cubicBezTo>
                <a:cubicBezTo>
                  <a:pt x="22" y="133"/>
                  <a:pt x="22" y="133"/>
                  <a:pt x="22" y="133"/>
                </a:cubicBezTo>
                <a:cubicBezTo>
                  <a:pt x="22" y="3"/>
                  <a:pt x="22" y="3"/>
                  <a:pt x="22" y="3"/>
                </a:cubicBezTo>
                <a:cubicBezTo>
                  <a:pt x="22" y="2"/>
                  <a:pt x="22" y="2"/>
                  <a:pt x="23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0"/>
                  <a:pt x="45" y="1"/>
                </a:cubicBezTo>
                <a:cubicBezTo>
                  <a:pt x="46" y="2"/>
                  <a:pt x="46" y="2"/>
                  <a:pt x="46" y="3"/>
                </a:cubicBezTo>
                <a:cubicBezTo>
                  <a:pt x="46" y="133"/>
                  <a:pt x="46" y="133"/>
                  <a:pt x="46" y="133"/>
                </a:cubicBezTo>
                <a:cubicBezTo>
                  <a:pt x="64" y="133"/>
                  <a:pt x="64" y="133"/>
                  <a:pt x="64" y="133"/>
                </a:cubicBezTo>
                <a:cubicBezTo>
                  <a:pt x="65" y="133"/>
                  <a:pt x="66" y="134"/>
                  <a:pt x="66" y="134"/>
                </a:cubicBezTo>
                <a:cubicBezTo>
                  <a:pt x="67" y="135"/>
                  <a:pt x="67" y="135"/>
                  <a:pt x="67" y="136"/>
                </a:cubicBezTo>
                <a:close/>
                <a:moveTo>
                  <a:pt x="154" y="160"/>
                </a:moveTo>
                <a:cubicBezTo>
                  <a:pt x="154" y="170"/>
                  <a:pt x="154" y="170"/>
                  <a:pt x="154" y="170"/>
                </a:cubicBezTo>
                <a:cubicBezTo>
                  <a:pt x="127" y="170"/>
                  <a:pt x="127" y="170"/>
                  <a:pt x="127" y="170"/>
                </a:cubicBezTo>
                <a:cubicBezTo>
                  <a:pt x="127" y="160"/>
                  <a:pt x="127" y="160"/>
                  <a:pt x="127" y="160"/>
                </a:cubicBezTo>
                <a:cubicBezTo>
                  <a:pt x="134" y="160"/>
                  <a:pt x="134" y="160"/>
                  <a:pt x="134" y="160"/>
                </a:cubicBezTo>
                <a:cubicBezTo>
                  <a:pt x="130" y="146"/>
                  <a:pt x="130" y="146"/>
                  <a:pt x="130" y="146"/>
                </a:cubicBezTo>
                <a:cubicBezTo>
                  <a:pt x="107" y="146"/>
                  <a:pt x="107" y="146"/>
                  <a:pt x="107" y="146"/>
                </a:cubicBezTo>
                <a:cubicBezTo>
                  <a:pt x="102" y="160"/>
                  <a:pt x="102" y="160"/>
                  <a:pt x="102" y="160"/>
                </a:cubicBezTo>
                <a:cubicBezTo>
                  <a:pt x="110" y="160"/>
                  <a:pt x="110" y="160"/>
                  <a:pt x="110" y="160"/>
                </a:cubicBezTo>
                <a:cubicBezTo>
                  <a:pt x="110" y="170"/>
                  <a:pt x="110" y="170"/>
                  <a:pt x="110" y="170"/>
                </a:cubicBezTo>
                <a:cubicBezTo>
                  <a:pt x="82" y="170"/>
                  <a:pt x="82" y="170"/>
                  <a:pt x="82" y="170"/>
                </a:cubicBezTo>
                <a:cubicBezTo>
                  <a:pt x="82" y="160"/>
                  <a:pt x="82" y="160"/>
                  <a:pt x="82" y="160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111" y="97"/>
                  <a:pt x="111" y="97"/>
                  <a:pt x="111" y="97"/>
                </a:cubicBezTo>
                <a:cubicBezTo>
                  <a:pt x="126" y="97"/>
                  <a:pt x="126" y="97"/>
                  <a:pt x="126" y="97"/>
                </a:cubicBezTo>
                <a:cubicBezTo>
                  <a:pt x="148" y="160"/>
                  <a:pt x="148" y="160"/>
                  <a:pt x="148" y="160"/>
                </a:cubicBezTo>
                <a:lnTo>
                  <a:pt x="154" y="160"/>
                </a:lnTo>
                <a:close/>
                <a:moveTo>
                  <a:pt x="146" y="51"/>
                </a:moveTo>
                <a:cubicBezTo>
                  <a:pt x="146" y="73"/>
                  <a:pt x="146" y="73"/>
                  <a:pt x="146" y="73"/>
                </a:cubicBezTo>
                <a:cubicBezTo>
                  <a:pt x="91" y="73"/>
                  <a:pt x="91" y="73"/>
                  <a:pt x="91" y="73"/>
                </a:cubicBezTo>
                <a:cubicBezTo>
                  <a:pt x="91" y="64"/>
                  <a:pt x="91" y="64"/>
                  <a:pt x="91" y="64"/>
                </a:cubicBezTo>
                <a:cubicBezTo>
                  <a:pt x="126" y="14"/>
                  <a:pt x="126" y="14"/>
                  <a:pt x="126" y="14"/>
                </a:cubicBezTo>
                <a:cubicBezTo>
                  <a:pt x="127" y="13"/>
                  <a:pt x="127" y="12"/>
                  <a:pt x="128" y="12"/>
                </a:cubicBezTo>
                <a:cubicBezTo>
                  <a:pt x="129" y="11"/>
                  <a:pt x="129" y="11"/>
                  <a:pt x="129" y="11"/>
                </a:cubicBezTo>
                <a:cubicBezTo>
                  <a:pt x="129" y="11"/>
                  <a:pt x="129" y="11"/>
                  <a:pt x="129" y="11"/>
                </a:cubicBezTo>
                <a:cubicBezTo>
                  <a:pt x="129" y="11"/>
                  <a:pt x="128" y="11"/>
                  <a:pt x="128" y="11"/>
                </a:cubicBezTo>
                <a:cubicBezTo>
                  <a:pt x="128" y="11"/>
                  <a:pt x="128" y="11"/>
                  <a:pt x="127" y="11"/>
                </a:cubicBezTo>
                <a:cubicBezTo>
                  <a:pt x="127" y="11"/>
                  <a:pt x="126" y="11"/>
                  <a:pt x="125" y="11"/>
                </a:cubicBezTo>
                <a:cubicBezTo>
                  <a:pt x="103" y="11"/>
                  <a:pt x="103" y="11"/>
                  <a:pt x="103" y="11"/>
                </a:cubicBezTo>
                <a:cubicBezTo>
                  <a:pt x="103" y="22"/>
                  <a:pt x="103" y="22"/>
                  <a:pt x="103" y="22"/>
                </a:cubicBezTo>
                <a:cubicBezTo>
                  <a:pt x="91" y="22"/>
                  <a:pt x="91" y="22"/>
                  <a:pt x="91" y="22"/>
                </a:cubicBezTo>
                <a:cubicBezTo>
                  <a:pt x="91" y="0"/>
                  <a:pt x="91" y="0"/>
                  <a:pt x="91" y="0"/>
                </a:cubicBezTo>
                <a:cubicBezTo>
                  <a:pt x="145" y="0"/>
                  <a:pt x="145" y="0"/>
                  <a:pt x="145" y="0"/>
                </a:cubicBezTo>
                <a:cubicBezTo>
                  <a:pt x="145" y="9"/>
                  <a:pt x="145" y="9"/>
                  <a:pt x="145" y="9"/>
                </a:cubicBezTo>
                <a:cubicBezTo>
                  <a:pt x="110" y="59"/>
                  <a:pt x="110" y="59"/>
                  <a:pt x="110" y="59"/>
                </a:cubicBezTo>
                <a:cubicBezTo>
                  <a:pt x="110" y="59"/>
                  <a:pt x="109" y="60"/>
                  <a:pt x="108" y="61"/>
                </a:cubicBezTo>
                <a:cubicBezTo>
                  <a:pt x="107" y="62"/>
                  <a:pt x="107" y="62"/>
                  <a:pt x="107" y="62"/>
                </a:cubicBezTo>
                <a:cubicBezTo>
                  <a:pt x="107" y="62"/>
                  <a:pt x="107" y="62"/>
                  <a:pt x="107" y="62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9" y="62"/>
                  <a:pt x="110" y="62"/>
                  <a:pt x="111" y="62"/>
                </a:cubicBezTo>
                <a:cubicBezTo>
                  <a:pt x="135" y="62"/>
                  <a:pt x="135" y="62"/>
                  <a:pt x="135" y="62"/>
                </a:cubicBezTo>
                <a:cubicBezTo>
                  <a:pt x="135" y="51"/>
                  <a:pt x="135" y="51"/>
                  <a:pt x="135" y="51"/>
                </a:cubicBezTo>
                <a:lnTo>
                  <a:pt x="146" y="51"/>
                </a:lnTo>
                <a:close/>
                <a:moveTo>
                  <a:pt x="110" y="136"/>
                </a:moveTo>
                <a:cubicBezTo>
                  <a:pt x="127" y="136"/>
                  <a:pt x="127" y="136"/>
                  <a:pt x="127" y="136"/>
                </a:cubicBezTo>
                <a:cubicBezTo>
                  <a:pt x="120" y="115"/>
                  <a:pt x="120" y="115"/>
                  <a:pt x="120" y="115"/>
                </a:cubicBezTo>
                <a:cubicBezTo>
                  <a:pt x="119" y="111"/>
                  <a:pt x="119" y="111"/>
                  <a:pt x="119" y="111"/>
                </a:cubicBezTo>
                <a:cubicBezTo>
                  <a:pt x="119" y="110"/>
                  <a:pt x="119" y="109"/>
                  <a:pt x="119" y="109"/>
                </a:cubicBezTo>
                <a:cubicBezTo>
                  <a:pt x="118" y="109"/>
                  <a:pt x="118" y="109"/>
                  <a:pt x="118" y="109"/>
                </a:cubicBezTo>
                <a:cubicBezTo>
                  <a:pt x="118" y="111"/>
                  <a:pt x="118" y="111"/>
                  <a:pt x="118" y="111"/>
                </a:cubicBezTo>
                <a:cubicBezTo>
                  <a:pt x="118" y="111"/>
                  <a:pt x="118" y="111"/>
                  <a:pt x="118" y="112"/>
                </a:cubicBezTo>
                <a:cubicBezTo>
                  <a:pt x="117" y="113"/>
                  <a:pt x="117" y="114"/>
                  <a:pt x="117" y="115"/>
                </a:cubicBezTo>
                <a:lnTo>
                  <a:pt x="110" y="1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0" name="Freeform 321"/>
          <p:cNvSpPr>
            <a:spLocks noChangeAspect="1" noEditPoints="1"/>
          </p:cNvSpPr>
          <p:nvPr/>
        </p:nvSpPr>
        <p:spPr bwMode="auto">
          <a:xfrm>
            <a:off x="743664" y="4020843"/>
            <a:ext cx="171744" cy="176428"/>
          </a:xfrm>
          <a:custGeom>
            <a:avLst/>
            <a:gdLst>
              <a:gd name="T0" fmla="*/ 66 w 166"/>
              <a:gd name="T1" fmla="*/ 139 h 170"/>
              <a:gd name="T2" fmla="*/ 33 w 166"/>
              <a:gd name="T3" fmla="*/ 170 h 170"/>
              <a:gd name="T4" fmla="*/ 1 w 166"/>
              <a:gd name="T5" fmla="*/ 139 h 170"/>
              <a:gd name="T6" fmla="*/ 3 w 166"/>
              <a:gd name="T7" fmla="*/ 133 h 170"/>
              <a:gd name="T8" fmla="*/ 21 w 166"/>
              <a:gd name="T9" fmla="*/ 3 h 170"/>
              <a:gd name="T10" fmla="*/ 24 w 166"/>
              <a:gd name="T11" fmla="*/ 0 h 170"/>
              <a:gd name="T12" fmla="*/ 45 w 166"/>
              <a:gd name="T13" fmla="*/ 1 h 170"/>
              <a:gd name="T14" fmla="*/ 45 w 166"/>
              <a:gd name="T15" fmla="*/ 133 h 170"/>
              <a:gd name="T16" fmla="*/ 66 w 166"/>
              <a:gd name="T17" fmla="*/ 134 h 170"/>
              <a:gd name="T18" fmla="*/ 112 w 166"/>
              <a:gd name="T19" fmla="*/ 3 h 170"/>
              <a:gd name="T20" fmla="*/ 111 w 166"/>
              <a:gd name="T21" fmla="*/ 24 h 170"/>
              <a:gd name="T22" fmla="*/ 85 w 166"/>
              <a:gd name="T23" fmla="*/ 24 h 170"/>
              <a:gd name="T24" fmla="*/ 82 w 166"/>
              <a:gd name="T25" fmla="*/ 21 h 170"/>
              <a:gd name="T26" fmla="*/ 83 w 166"/>
              <a:gd name="T27" fmla="*/ 1 h 170"/>
              <a:gd name="T28" fmla="*/ 109 w 166"/>
              <a:gd name="T29" fmla="*/ 0 h 170"/>
              <a:gd name="T30" fmla="*/ 112 w 166"/>
              <a:gd name="T31" fmla="*/ 3 h 170"/>
              <a:gd name="T32" fmla="*/ 130 w 166"/>
              <a:gd name="T33" fmla="*/ 70 h 170"/>
              <a:gd name="T34" fmla="*/ 127 w 166"/>
              <a:gd name="T35" fmla="*/ 73 h 170"/>
              <a:gd name="T36" fmla="*/ 83 w 166"/>
              <a:gd name="T37" fmla="*/ 72 h 170"/>
              <a:gd name="T38" fmla="*/ 82 w 166"/>
              <a:gd name="T39" fmla="*/ 52 h 170"/>
              <a:gd name="T40" fmla="*/ 85 w 166"/>
              <a:gd name="T41" fmla="*/ 49 h 170"/>
              <a:gd name="T42" fmla="*/ 129 w 166"/>
              <a:gd name="T43" fmla="*/ 49 h 170"/>
              <a:gd name="T44" fmla="*/ 148 w 166"/>
              <a:gd name="T45" fmla="*/ 100 h 170"/>
              <a:gd name="T46" fmla="*/ 147 w 166"/>
              <a:gd name="T47" fmla="*/ 120 h 170"/>
              <a:gd name="T48" fmla="*/ 85 w 166"/>
              <a:gd name="T49" fmla="*/ 121 h 170"/>
              <a:gd name="T50" fmla="*/ 82 w 166"/>
              <a:gd name="T51" fmla="*/ 118 h 170"/>
              <a:gd name="T52" fmla="*/ 83 w 166"/>
              <a:gd name="T53" fmla="*/ 98 h 170"/>
              <a:gd name="T54" fmla="*/ 145 w 166"/>
              <a:gd name="T55" fmla="*/ 97 h 170"/>
              <a:gd name="T56" fmla="*/ 148 w 166"/>
              <a:gd name="T57" fmla="*/ 100 h 170"/>
              <a:gd name="T58" fmla="*/ 166 w 166"/>
              <a:gd name="T59" fmla="*/ 167 h 170"/>
              <a:gd name="T60" fmla="*/ 163 w 166"/>
              <a:gd name="T61" fmla="*/ 170 h 170"/>
              <a:gd name="T62" fmla="*/ 83 w 166"/>
              <a:gd name="T63" fmla="*/ 169 h 170"/>
              <a:gd name="T64" fmla="*/ 82 w 166"/>
              <a:gd name="T65" fmla="*/ 148 h 170"/>
              <a:gd name="T66" fmla="*/ 85 w 166"/>
              <a:gd name="T67" fmla="*/ 145 h 170"/>
              <a:gd name="T68" fmla="*/ 166 w 166"/>
              <a:gd name="T69" fmla="*/ 14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170">
                <a:moveTo>
                  <a:pt x="67" y="136"/>
                </a:moveTo>
                <a:cubicBezTo>
                  <a:pt x="67" y="137"/>
                  <a:pt x="66" y="138"/>
                  <a:pt x="66" y="139"/>
                </a:cubicBezTo>
                <a:cubicBezTo>
                  <a:pt x="35" y="169"/>
                  <a:pt x="35" y="169"/>
                  <a:pt x="35" y="169"/>
                </a:cubicBezTo>
                <a:cubicBezTo>
                  <a:pt x="35" y="169"/>
                  <a:pt x="34" y="170"/>
                  <a:pt x="33" y="170"/>
                </a:cubicBezTo>
                <a:cubicBezTo>
                  <a:pt x="32" y="170"/>
                  <a:pt x="32" y="169"/>
                  <a:pt x="31" y="169"/>
                </a:cubicBezTo>
                <a:cubicBezTo>
                  <a:pt x="1" y="139"/>
                  <a:pt x="1" y="139"/>
                  <a:pt x="1" y="139"/>
                </a:cubicBezTo>
                <a:cubicBezTo>
                  <a:pt x="0" y="138"/>
                  <a:pt x="0" y="136"/>
                  <a:pt x="0" y="135"/>
                </a:cubicBezTo>
                <a:cubicBezTo>
                  <a:pt x="1" y="134"/>
                  <a:pt x="2" y="133"/>
                  <a:pt x="3" y="133"/>
                </a:cubicBezTo>
                <a:cubicBezTo>
                  <a:pt x="21" y="133"/>
                  <a:pt x="21" y="133"/>
                  <a:pt x="21" y="133"/>
                </a:cubicBezTo>
                <a:cubicBezTo>
                  <a:pt x="21" y="3"/>
                  <a:pt x="21" y="3"/>
                  <a:pt x="21" y="3"/>
                </a:cubicBezTo>
                <a:cubicBezTo>
                  <a:pt x="21" y="2"/>
                  <a:pt x="21" y="2"/>
                  <a:pt x="22" y="1"/>
                </a:cubicBezTo>
                <a:cubicBezTo>
                  <a:pt x="23" y="0"/>
                  <a:pt x="23" y="0"/>
                  <a:pt x="24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3" y="0"/>
                  <a:pt x="44" y="0"/>
                  <a:pt x="45" y="1"/>
                </a:cubicBezTo>
                <a:cubicBezTo>
                  <a:pt x="45" y="2"/>
                  <a:pt x="45" y="2"/>
                  <a:pt x="45" y="3"/>
                </a:cubicBezTo>
                <a:cubicBezTo>
                  <a:pt x="45" y="133"/>
                  <a:pt x="45" y="133"/>
                  <a:pt x="45" y="133"/>
                </a:cubicBezTo>
                <a:cubicBezTo>
                  <a:pt x="64" y="133"/>
                  <a:pt x="64" y="133"/>
                  <a:pt x="64" y="133"/>
                </a:cubicBezTo>
                <a:cubicBezTo>
                  <a:pt x="64" y="133"/>
                  <a:pt x="65" y="134"/>
                  <a:pt x="66" y="134"/>
                </a:cubicBezTo>
                <a:cubicBezTo>
                  <a:pt x="66" y="135"/>
                  <a:pt x="67" y="135"/>
                  <a:pt x="67" y="136"/>
                </a:cubicBezTo>
                <a:close/>
                <a:moveTo>
                  <a:pt x="112" y="3"/>
                </a:moveTo>
                <a:cubicBezTo>
                  <a:pt x="112" y="21"/>
                  <a:pt x="112" y="21"/>
                  <a:pt x="112" y="21"/>
                </a:cubicBezTo>
                <a:cubicBezTo>
                  <a:pt x="112" y="22"/>
                  <a:pt x="112" y="23"/>
                  <a:pt x="111" y="24"/>
                </a:cubicBezTo>
                <a:cubicBezTo>
                  <a:pt x="111" y="24"/>
                  <a:pt x="110" y="24"/>
                  <a:pt x="109" y="24"/>
                </a:cubicBezTo>
                <a:cubicBezTo>
                  <a:pt x="85" y="24"/>
                  <a:pt x="85" y="24"/>
                  <a:pt x="85" y="24"/>
                </a:cubicBezTo>
                <a:cubicBezTo>
                  <a:pt x="84" y="24"/>
                  <a:pt x="83" y="24"/>
                  <a:pt x="83" y="24"/>
                </a:cubicBezTo>
                <a:cubicBezTo>
                  <a:pt x="82" y="23"/>
                  <a:pt x="82" y="22"/>
                  <a:pt x="82" y="21"/>
                </a:cubicBezTo>
                <a:cubicBezTo>
                  <a:pt x="82" y="3"/>
                  <a:pt x="82" y="3"/>
                  <a:pt x="82" y="3"/>
                </a:cubicBezTo>
                <a:cubicBezTo>
                  <a:pt x="82" y="2"/>
                  <a:pt x="82" y="2"/>
                  <a:pt x="83" y="1"/>
                </a:cubicBezTo>
                <a:cubicBezTo>
                  <a:pt x="83" y="0"/>
                  <a:pt x="84" y="0"/>
                  <a:pt x="85" y="0"/>
                </a:cubicBezTo>
                <a:cubicBezTo>
                  <a:pt x="109" y="0"/>
                  <a:pt x="109" y="0"/>
                  <a:pt x="109" y="0"/>
                </a:cubicBezTo>
                <a:cubicBezTo>
                  <a:pt x="110" y="0"/>
                  <a:pt x="111" y="0"/>
                  <a:pt x="111" y="1"/>
                </a:cubicBezTo>
                <a:cubicBezTo>
                  <a:pt x="112" y="2"/>
                  <a:pt x="112" y="2"/>
                  <a:pt x="112" y="3"/>
                </a:cubicBezTo>
                <a:close/>
                <a:moveTo>
                  <a:pt x="130" y="52"/>
                </a:moveTo>
                <a:cubicBezTo>
                  <a:pt x="130" y="70"/>
                  <a:pt x="130" y="70"/>
                  <a:pt x="130" y="70"/>
                </a:cubicBezTo>
                <a:cubicBezTo>
                  <a:pt x="130" y="71"/>
                  <a:pt x="130" y="71"/>
                  <a:pt x="129" y="72"/>
                </a:cubicBezTo>
                <a:cubicBezTo>
                  <a:pt x="129" y="73"/>
                  <a:pt x="128" y="73"/>
                  <a:pt x="127" y="73"/>
                </a:cubicBezTo>
                <a:cubicBezTo>
                  <a:pt x="85" y="73"/>
                  <a:pt x="85" y="73"/>
                  <a:pt x="85" y="73"/>
                </a:cubicBezTo>
                <a:cubicBezTo>
                  <a:pt x="84" y="73"/>
                  <a:pt x="83" y="73"/>
                  <a:pt x="83" y="72"/>
                </a:cubicBezTo>
                <a:cubicBezTo>
                  <a:pt x="82" y="71"/>
                  <a:pt x="82" y="71"/>
                  <a:pt x="82" y="70"/>
                </a:cubicBezTo>
                <a:cubicBezTo>
                  <a:pt x="82" y="52"/>
                  <a:pt x="82" y="52"/>
                  <a:pt x="82" y="52"/>
                </a:cubicBezTo>
                <a:cubicBezTo>
                  <a:pt x="82" y="51"/>
                  <a:pt x="82" y="50"/>
                  <a:pt x="83" y="49"/>
                </a:cubicBezTo>
                <a:cubicBezTo>
                  <a:pt x="83" y="49"/>
                  <a:pt x="84" y="49"/>
                  <a:pt x="85" y="49"/>
                </a:cubicBezTo>
                <a:cubicBezTo>
                  <a:pt x="127" y="49"/>
                  <a:pt x="127" y="49"/>
                  <a:pt x="127" y="49"/>
                </a:cubicBezTo>
                <a:cubicBezTo>
                  <a:pt x="128" y="49"/>
                  <a:pt x="129" y="49"/>
                  <a:pt x="129" y="49"/>
                </a:cubicBezTo>
                <a:cubicBezTo>
                  <a:pt x="130" y="50"/>
                  <a:pt x="130" y="51"/>
                  <a:pt x="130" y="52"/>
                </a:cubicBezTo>
                <a:close/>
                <a:moveTo>
                  <a:pt x="148" y="100"/>
                </a:moveTo>
                <a:cubicBezTo>
                  <a:pt x="148" y="118"/>
                  <a:pt x="148" y="118"/>
                  <a:pt x="148" y="118"/>
                </a:cubicBezTo>
                <a:cubicBezTo>
                  <a:pt x="148" y="119"/>
                  <a:pt x="148" y="120"/>
                  <a:pt x="147" y="120"/>
                </a:cubicBezTo>
                <a:cubicBezTo>
                  <a:pt x="147" y="121"/>
                  <a:pt x="146" y="121"/>
                  <a:pt x="145" y="121"/>
                </a:cubicBezTo>
                <a:cubicBezTo>
                  <a:pt x="85" y="121"/>
                  <a:pt x="85" y="121"/>
                  <a:pt x="85" y="121"/>
                </a:cubicBezTo>
                <a:cubicBezTo>
                  <a:pt x="84" y="121"/>
                  <a:pt x="83" y="121"/>
                  <a:pt x="83" y="120"/>
                </a:cubicBezTo>
                <a:cubicBezTo>
                  <a:pt x="82" y="120"/>
                  <a:pt x="82" y="119"/>
                  <a:pt x="82" y="118"/>
                </a:cubicBezTo>
                <a:cubicBezTo>
                  <a:pt x="82" y="100"/>
                  <a:pt x="82" y="100"/>
                  <a:pt x="82" y="100"/>
                </a:cubicBezTo>
                <a:cubicBezTo>
                  <a:pt x="82" y="99"/>
                  <a:pt x="82" y="98"/>
                  <a:pt x="83" y="98"/>
                </a:cubicBezTo>
                <a:cubicBezTo>
                  <a:pt x="83" y="97"/>
                  <a:pt x="84" y="97"/>
                  <a:pt x="85" y="97"/>
                </a:cubicBezTo>
                <a:cubicBezTo>
                  <a:pt x="145" y="97"/>
                  <a:pt x="145" y="97"/>
                  <a:pt x="145" y="97"/>
                </a:cubicBezTo>
                <a:cubicBezTo>
                  <a:pt x="146" y="97"/>
                  <a:pt x="147" y="97"/>
                  <a:pt x="147" y="98"/>
                </a:cubicBezTo>
                <a:cubicBezTo>
                  <a:pt x="148" y="98"/>
                  <a:pt x="148" y="99"/>
                  <a:pt x="148" y="100"/>
                </a:cubicBezTo>
                <a:close/>
                <a:moveTo>
                  <a:pt x="166" y="148"/>
                </a:moveTo>
                <a:cubicBezTo>
                  <a:pt x="166" y="167"/>
                  <a:pt x="166" y="167"/>
                  <a:pt x="166" y="167"/>
                </a:cubicBezTo>
                <a:cubicBezTo>
                  <a:pt x="166" y="167"/>
                  <a:pt x="166" y="168"/>
                  <a:pt x="166" y="169"/>
                </a:cubicBezTo>
                <a:cubicBezTo>
                  <a:pt x="165" y="169"/>
                  <a:pt x="164" y="170"/>
                  <a:pt x="163" y="170"/>
                </a:cubicBezTo>
                <a:cubicBezTo>
                  <a:pt x="85" y="170"/>
                  <a:pt x="85" y="170"/>
                  <a:pt x="85" y="170"/>
                </a:cubicBezTo>
                <a:cubicBezTo>
                  <a:pt x="84" y="170"/>
                  <a:pt x="83" y="169"/>
                  <a:pt x="83" y="169"/>
                </a:cubicBezTo>
                <a:cubicBezTo>
                  <a:pt x="82" y="168"/>
                  <a:pt x="82" y="167"/>
                  <a:pt x="82" y="167"/>
                </a:cubicBezTo>
                <a:cubicBezTo>
                  <a:pt x="82" y="148"/>
                  <a:pt x="82" y="148"/>
                  <a:pt x="82" y="148"/>
                </a:cubicBezTo>
                <a:cubicBezTo>
                  <a:pt x="82" y="148"/>
                  <a:pt x="82" y="147"/>
                  <a:pt x="83" y="146"/>
                </a:cubicBezTo>
                <a:cubicBezTo>
                  <a:pt x="83" y="146"/>
                  <a:pt x="84" y="145"/>
                  <a:pt x="85" y="145"/>
                </a:cubicBezTo>
                <a:cubicBezTo>
                  <a:pt x="163" y="145"/>
                  <a:pt x="163" y="145"/>
                  <a:pt x="163" y="145"/>
                </a:cubicBezTo>
                <a:cubicBezTo>
                  <a:pt x="164" y="145"/>
                  <a:pt x="165" y="146"/>
                  <a:pt x="166" y="146"/>
                </a:cubicBezTo>
                <a:cubicBezTo>
                  <a:pt x="166" y="147"/>
                  <a:pt x="166" y="148"/>
                  <a:pt x="166" y="1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1" name="Freeform 322"/>
          <p:cNvSpPr>
            <a:spLocks noChangeAspect="1" noEditPoints="1"/>
          </p:cNvSpPr>
          <p:nvPr/>
        </p:nvSpPr>
        <p:spPr bwMode="auto">
          <a:xfrm>
            <a:off x="963808" y="4020843"/>
            <a:ext cx="173306" cy="176428"/>
          </a:xfrm>
          <a:custGeom>
            <a:avLst/>
            <a:gdLst>
              <a:gd name="T0" fmla="*/ 66 w 167"/>
              <a:gd name="T1" fmla="*/ 139 h 170"/>
              <a:gd name="T2" fmla="*/ 34 w 167"/>
              <a:gd name="T3" fmla="*/ 170 h 170"/>
              <a:gd name="T4" fmla="*/ 2 w 167"/>
              <a:gd name="T5" fmla="*/ 139 h 170"/>
              <a:gd name="T6" fmla="*/ 4 w 167"/>
              <a:gd name="T7" fmla="*/ 133 h 170"/>
              <a:gd name="T8" fmla="*/ 22 w 167"/>
              <a:gd name="T9" fmla="*/ 3 h 170"/>
              <a:gd name="T10" fmla="*/ 25 w 167"/>
              <a:gd name="T11" fmla="*/ 0 h 170"/>
              <a:gd name="T12" fmla="*/ 45 w 167"/>
              <a:gd name="T13" fmla="*/ 1 h 170"/>
              <a:gd name="T14" fmla="*/ 46 w 167"/>
              <a:gd name="T15" fmla="*/ 133 h 170"/>
              <a:gd name="T16" fmla="*/ 66 w 167"/>
              <a:gd name="T17" fmla="*/ 134 h 170"/>
              <a:gd name="T18" fmla="*/ 167 w 167"/>
              <a:gd name="T19" fmla="*/ 3 h 170"/>
              <a:gd name="T20" fmla="*/ 166 w 167"/>
              <a:gd name="T21" fmla="*/ 24 h 170"/>
              <a:gd name="T22" fmla="*/ 85 w 167"/>
              <a:gd name="T23" fmla="*/ 24 h 170"/>
              <a:gd name="T24" fmla="*/ 82 w 167"/>
              <a:gd name="T25" fmla="*/ 21 h 170"/>
              <a:gd name="T26" fmla="*/ 83 w 167"/>
              <a:gd name="T27" fmla="*/ 1 h 170"/>
              <a:gd name="T28" fmla="*/ 164 w 167"/>
              <a:gd name="T29" fmla="*/ 0 h 170"/>
              <a:gd name="T30" fmla="*/ 167 w 167"/>
              <a:gd name="T31" fmla="*/ 3 h 170"/>
              <a:gd name="T32" fmla="*/ 149 w 167"/>
              <a:gd name="T33" fmla="*/ 70 h 170"/>
              <a:gd name="T34" fmla="*/ 146 w 167"/>
              <a:gd name="T35" fmla="*/ 73 h 170"/>
              <a:gd name="T36" fmla="*/ 83 w 167"/>
              <a:gd name="T37" fmla="*/ 72 h 170"/>
              <a:gd name="T38" fmla="*/ 82 w 167"/>
              <a:gd name="T39" fmla="*/ 52 h 170"/>
              <a:gd name="T40" fmla="*/ 85 w 167"/>
              <a:gd name="T41" fmla="*/ 49 h 170"/>
              <a:gd name="T42" fmla="*/ 148 w 167"/>
              <a:gd name="T43" fmla="*/ 49 h 170"/>
              <a:gd name="T44" fmla="*/ 131 w 167"/>
              <a:gd name="T45" fmla="*/ 100 h 170"/>
              <a:gd name="T46" fmla="*/ 130 w 167"/>
              <a:gd name="T47" fmla="*/ 120 h 170"/>
              <a:gd name="T48" fmla="*/ 85 w 167"/>
              <a:gd name="T49" fmla="*/ 121 h 170"/>
              <a:gd name="T50" fmla="*/ 82 w 167"/>
              <a:gd name="T51" fmla="*/ 118 h 170"/>
              <a:gd name="T52" fmla="*/ 83 w 167"/>
              <a:gd name="T53" fmla="*/ 98 h 170"/>
              <a:gd name="T54" fmla="*/ 128 w 167"/>
              <a:gd name="T55" fmla="*/ 97 h 170"/>
              <a:gd name="T56" fmla="*/ 131 w 167"/>
              <a:gd name="T57" fmla="*/ 100 h 170"/>
              <a:gd name="T58" fmla="*/ 113 w 167"/>
              <a:gd name="T59" fmla="*/ 167 h 170"/>
              <a:gd name="T60" fmla="*/ 110 w 167"/>
              <a:gd name="T61" fmla="*/ 170 h 170"/>
              <a:gd name="T62" fmla="*/ 83 w 167"/>
              <a:gd name="T63" fmla="*/ 169 h 170"/>
              <a:gd name="T64" fmla="*/ 82 w 167"/>
              <a:gd name="T65" fmla="*/ 148 h 170"/>
              <a:gd name="T66" fmla="*/ 85 w 167"/>
              <a:gd name="T67" fmla="*/ 145 h 170"/>
              <a:gd name="T68" fmla="*/ 112 w 167"/>
              <a:gd name="T69" fmla="*/ 14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7" h="170">
                <a:moveTo>
                  <a:pt x="67" y="136"/>
                </a:moveTo>
                <a:cubicBezTo>
                  <a:pt x="67" y="137"/>
                  <a:pt x="67" y="138"/>
                  <a:pt x="66" y="139"/>
                </a:cubicBezTo>
                <a:cubicBezTo>
                  <a:pt x="36" y="169"/>
                  <a:pt x="36" y="169"/>
                  <a:pt x="36" y="169"/>
                </a:cubicBezTo>
                <a:cubicBezTo>
                  <a:pt x="36" y="169"/>
                  <a:pt x="35" y="170"/>
                  <a:pt x="34" y="170"/>
                </a:cubicBezTo>
                <a:cubicBezTo>
                  <a:pt x="33" y="170"/>
                  <a:pt x="33" y="169"/>
                  <a:pt x="32" y="169"/>
                </a:cubicBezTo>
                <a:cubicBezTo>
                  <a:pt x="2" y="139"/>
                  <a:pt x="2" y="139"/>
                  <a:pt x="2" y="139"/>
                </a:cubicBezTo>
                <a:cubicBezTo>
                  <a:pt x="1" y="138"/>
                  <a:pt x="0" y="136"/>
                  <a:pt x="1" y="135"/>
                </a:cubicBezTo>
                <a:cubicBezTo>
                  <a:pt x="1" y="134"/>
                  <a:pt x="2" y="133"/>
                  <a:pt x="4" y="133"/>
                </a:cubicBezTo>
                <a:cubicBezTo>
                  <a:pt x="22" y="133"/>
                  <a:pt x="22" y="133"/>
                  <a:pt x="22" y="133"/>
                </a:cubicBezTo>
                <a:cubicBezTo>
                  <a:pt x="22" y="3"/>
                  <a:pt x="22" y="3"/>
                  <a:pt x="22" y="3"/>
                </a:cubicBezTo>
                <a:cubicBezTo>
                  <a:pt x="22" y="2"/>
                  <a:pt x="22" y="2"/>
                  <a:pt x="23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5" y="0"/>
                  <a:pt x="45" y="1"/>
                </a:cubicBezTo>
                <a:cubicBezTo>
                  <a:pt x="46" y="2"/>
                  <a:pt x="46" y="2"/>
                  <a:pt x="46" y="3"/>
                </a:cubicBezTo>
                <a:cubicBezTo>
                  <a:pt x="46" y="133"/>
                  <a:pt x="46" y="133"/>
                  <a:pt x="46" y="133"/>
                </a:cubicBezTo>
                <a:cubicBezTo>
                  <a:pt x="64" y="133"/>
                  <a:pt x="64" y="133"/>
                  <a:pt x="64" y="133"/>
                </a:cubicBezTo>
                <a:cubicBezTo>
                  <a:pt x="65" y="133"/>
                  <a:pt x="66" y="134"/>
                  <a:pt x="66" y="134"/>
                </a:cubicBezTo>
                <a:cubicBezTo>
                  <a:pt x="67" y="135"/>
                  <a:pt x="67" y="135"/>
                  <a:pt x="67" y="136"/>
                </a:cubicBezTo>
                <a:close/>
                <a:moveTo>
                  <a:pt x="167" y="3"/>
                </a:moveTo>
                <a:cubicBezTo>
                  <a:pt x="167" y="21"/>
                  <a:pt x="167" y="21"/>
                  <a:pt x="167" y="21"/>
                </a:cubicBezTo>
                <a:cubicBezTo>
                  <a:pt x="167" y="22"/>
                  <a:pt x="167" y="23"/>
                  <a:pt x="166" y="24"/>
                </a:cubicBezTo>
                <a:cubicBezTo>
                  <a:pt x="166" y="24"/>
                  <a:pt x="165" y="24"/>
                  <a:pt x="164" y="24"/>
                </a:cubicBezTo>
                <a:cubicBezTo>
                  <a:pt x="85" y="24"/>
                  <a:pt x="85" y="24"/>
                  <a:pt x="85" y="24"/>
                </a:cubicBezTo>
                <a:cubicBezTo>
                  <a:pt x="85" y="24"/>
                  <a:pt x="84" y="24"/>
                  <a:pt x="83" y="24"/>
                </a:cubicBezTo>
                <a:cubicBezTo>
                  <a:pt x="83" y="23"/>
                  <a:pt x="82" y="22"/>
                  <a:pt x="82" y="21"/>
                </a:cubicBezTo>
                <a:cubicBezTo>
                  <a:pt x="82" y="3"/>
                  <a:pt x="82" y="3"/>
                  <a:pt x="82" y="3"/>
                </a:cubicBezTo>
                <a:cubicBezTo>
                  <a:pt x="82" y="2"/>
                  <a:pt x="83" y="2"/>
                  <a:pt x="83" y="1"/>
                </a:cubicBezTo>
                <a:cubicBezTo>
                  <a:pt x="84" y="0"/>
                  <a:pt x="85" y="0"/>
                  <a:pt x="85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65" y="0"/>
                  <a:pt x="166" y="0"/>
                  <a:pt x="166" y="1"/>
                </a:cubicBezTo>
                <a:cubicBezTo>
                  <a:pt x="167" y="2"/>
                  <a:pt x="167" y="2"/>
                  <a:pt x="167" y="3"/>
                </a:cubicBezTo>
                <a:close/>
                <a:moveTo>
                  <a:pt x="149" y="52"/>
                </a:moveTo>
                <a:cubicBezTo>
                  <a:pt x="149" y="70"/>
                  <a:pt x="149" y="70"/>
                  <a:pt x="149" y="70"/>
                </a:cubicBezTo>
                <a:cubicBezTo>
                  <a:pt x="149" y="71"/>
                  <a:pt x="149" y="71"/>
                  <a:pt x="148" y="72"/>
                </a:cubicBezTo>
                <a:cubicBezTo>
                  <a:pt x="148" y="73"/>
                  <a:pt x="147" y="73"/>
                  <a:pt x="146" y="73"/>
                </a:cubicBezTo>
                <a:cubicBezTo>
                  <a:pt x="85" y="73"/>
                  <a:pt x="85" y="73"/>
                  <a:pt x="85" y="73"/>
                </a:cubicBezTo>
                <a:cubicBezTo>
                  <a:pt x="85" y="73"/>
                  <a:pt x="84" y="73"/>
                  <a:pt x="83" y="72"/>
                </a:cubicBezTo>
                <a:cubicBezTo>
                  <a:pt x="83" y="71"/>
                  <a:pt x="82" y="71"/>
                  <a:pt x="82" y="70"/>
                </a:cubicBezTo>
                <a:cubicBezTo>
                  <a:pt x="82" y="52"/>
                  <a:pt x="82" y="52"/>
                  <a:pt x="82" y="52"/>
                </a:cubicBezTo>
                <a:cubicBezTo>
                  <a:pt x="82" y="51"/>
                  <a:pt x="83" y="50"/>
                  <a:pt x="83" y="49"/>
                </a:cubicBezTo>
                <a:cubicBezTo>
                  <a:pt x="84" y="49"/>
                  <a:pt x="85" y="49"/>
                  <a:pt x="85" y="49"/>
                </a:cubicBezTo>
                <a:cubicBezTo>
                  <a:pt x="146" y="49"/>
                  <a:pt x="146" y="49"/>
                  <a:pt x="146" y="49"/>
                </a:cubicBezTo>
                <a:cubicBezTo>
                  <a:pt x="147" y="49"/>
                  <a:pt x="148" y="49"/>
                  <a:pt x="148" y="49"/>
                </a:cubicBezTo>
                <a:cubicBezTo>
                  <a:pt x="149" y="50"/>
                  <a:pt x="149" y="51"/>
                  <a:pt x="149" y="52"/>
                </a:cubicBezTo>
                <a:close/>
                <a:moveTo>
                  <a:pt x="131" y="100"/>
                </a:moveTo>
                <a:cubicBezTo>
                  <a:pt x="131" y="118"/>
                  <a:pt x="131" y="118"/>
                  <a:pt x="131" y="118"/>
                </a:cubicBezTo>
                <a:cubicBezTo>
                  <a:pt x="131" y="119"/>
                  <a:pt x="131" y="120"/>
                  <a:pt x="130" y="120"/>
                </a:cubicBezTo>
                <a:cubicBezTo>
                  <a:pt x="129" y="121"/>
                  <a:pt x="129" y="121"/>
                  <a:pt x="128" y="121"/>
                </a:cubicBezTo>
                <a:cubicBezTo>
                  <a:pt x="85" y="121"/>
                  <a:pt x="85" y="121"/>
                  <a:pt x="85" y="121"/>
                </a:cubicBezTo>
                <a:cubicBezTo>
                  <a:pt x="85" y="121"/>
                  <a:pt x="84" y="121"/>
                  <a:pt x="83" y="120"/>
                </a:cubicBezTo>
                <a:cubicBezTo>
                  <a:pt x="83" y="120"/>
                  <a:pt x="82" y="119"/>
                  <a:pt x="82" y="118"/>
                </a:cubicBezTo>
                <a:cubicBezTo>
                  <a:pt x="82" y="100"/>
                  <a:pt x="82" y="100"/>
                  <a:pt x="82" y="100"/>
                </a:cubicBezTo>
                <a:cubicBezTo>
                  <a:pt x="82" y="99"/>
                  <a:pt x="83" y="98"/>
                  <a:pt x="83" y="98"/>
                </a:cubicBezTo>
                <a:cubicBezTo>
                  <a:pt x="84" y="97"/>
                  <a:pt x="85" y="97"/>
                  <a:pt x="85" y="97"/>
                </a:cubicBezTo>
                <a:cubicBezTo>
                  <a:pt x="128" y="97"/>
                  <a:pt x="128" y="97"/>
                  <a:pt x="128" y="97"/>
                </a:cubicBezTo>
                <a:cubicBezTo>
                  <a:pt x="129" y="97"/>
                  <a:pt x="129" y="97"/>
                  <a:pt x="130" y="98"/>
                </a:cubicBezTo>
                <a:cubicBezTo>
                  <a:pt x="131" y="98"/>
                  <a:pt x="131" y="99"/>
                  <a:pt x="131" y="100"/>
                </a:cubicBezTo>
                <a:close/>
                <a:moveTo>
                  <a:pt x="113" y="148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3" y="167"/>
                  <a:pt x="112" y="168"/>
                  <a:pt x="112" y="169"/>
                </a:cubicBezTo>
                <a:cubicBezTo>
                  <a:pt x="111" y="169"/>
                  <a:pt x="111" y="170"/>
                  <a:pt x="110" y="170"/>
                </a:cubicBezTo>
                <a:cubicBezTo>
                  <a:pt x="85" y="170"/>
                  <a:pt x="85" y="170"/>
                  <a:pt x="85" y="170"/>
                </a:cubicBezTo>
                <a:cubicBezTo>
                  <a:pt x="85" y="170"/>
                  <a:pt x="84" y="169"/>
                  <a:pt x="83" y="169"/>
                </a:cubicBezTo>
                <a:cubicBezTo>
                  <a:pt x="83" y="168"/>
                  <a:pt x="82" y="167"/>
                  <a:pt x="82" y="167"/>
                </a:cubicBezTo>
                <a:cubicBezTo>
                  <a:pt x="82" y="148"/>
                  <a:pt x="82" y="148"/>
                  <a:pt x="82" y="148"/>
                </a:cubicBezTo>
                <a:cubicBezTo>
                  <a:pt x="82" y="148"/>
                  <a:pt x="83" y="147"/>
                  <a:pt x="83" y="146"/>
                </a:cubicBezTo>
                <a:cubicBezTo>
                  <a:pt x="84" y="146"/>
                  <a:pt x="85" y="145"/>
                  <a:pt x="85" y="145"/>
                </a:cubicBezTo>
                <a:cubicBezTo>
                  <a:pt x="110" y="145"/>
                  <a:pt x="110" y="145"/>
                  <a:pt x="110" y="145"/>
                </a:cubicBezTo>
                <a:cubicBezTo>
                  <a:pt x="111" y="145"/>
                  <a:pt x="111" y="146"/>
                  <a:pt x="112" y="146"/>
                </a:cubicBezTo>
                <a:cubicBezTo>
                  <a:pt x="112" y="147"/>
                  <a:pt x="113" y="148"/>
                  <a:pt x="113" y="1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2" name="Freeform 323"/>
          <p:cNvSpPr>
            <a:spLocks noChangeAspect="1" noEditPoints="1"/>
          </p:cNvSpPr>
          <p:nvPr/>
        </p:nvSpPr>
        <p:spPr bwMode="auto">
          <a:xfrm>
            <a:off x="1185514" y="4020843"/>
            <a:ext cx="143640" cy="176428"/>
          </a:xfrm>
          <a:custGeom>
            <a:avLst/>
            <a:gdLst>
              <a:gd name="T0" fmla="*/ 66 w 138"/>
              <a:gd name="T1" fmla="*/ 139 h 170"/>
              <a:gd name="T2" fmla="*/ 34 w 138"/>
              <a:gd name="T3" fmla="*/ 170 h 170"/>
              <a:gd name="T4" fmla="*/ 1 w 138"/>
              <a:gd name="T5" fmla="*/ 139 h 170"/>
              <a:gd name="T6" fmla="*/ 3 w 138"/>
              <a:gd name="T7" fmla="*/ 133 h 170"/>
              <a:gd name="T8" fmla="*/ 22 w 138"/>
              <a:gd name="T9" fmla="*/ 3 h 170"/>
              <a:gd name="T10" fmla="*/ 25 w 138"/>
              <a:gd name="T11" fmla="*/ 0 h 170"/>
              <a:gd name="T12" fmla="*/ 45 w 138"/>
              <a:gd name="T13" fmla="*/ 1 h 170"/>
              <a:gd name="T14" fmla="*/ 46 w 138"/>
              <a:gd name="T15" fmla="*/ 133 h 170"/>
              <a:gd name="T16" fmla="*/ 66 w 138"/>
              <a:gd name="T17" fmla="*/ 134 h 170"/>
              <a:gd name="T18" fmla="*/ 138 w 138"/>
              <a:gd name="T19" fmla="*/ 130 h 170"/>
              <a:gd name="T20" fmla="*/ 133 w 138"/>
              <a:gd name="T21" fmla="*/ 152 h 170"/>
              <a:gd name="T22" fmla="*/ 117 w 138"/>
              <a:gd name="T23" fmla="*/ 167 h 170"/>
              <a:gd name="T24" fmla="*/ 95 w 138"/>
              <a:gd name="T25" fmla="*/ 168 h 170"/>
              <a:gd name="T26" fmla="*/ 95 w 138"/>
              <a:gd name="T27" fmla="*/ 156 h 170"/>
              <a:gd name="T28" fmla="*/ 105 w 138"/>
              <a:gd name="T29" fmla="*/ 158 h 170"/>
              <a:gd name="T30" fmla="*/ 124 w 138"/>
              <a:gd name="T31" fmla="*/ 139 h 170"/>
              <a:gd name="T32" fmla="*/ 118 w 138"/>
              <a:gd name="T33" fmla="*/ 143 h 170"/>
              <a:gd name="T34" fmla="*/ 93 w 138"/>
              <a:gd name="T35" fmla="*/ 137 h 170"/>
              <a:gd name="T36" fmla="*/ 94 w 138"/>
              <a:gd name="T37" fmla="*/ 104 h 170"/>
              <a:gd name="T38" fmla="*/ 130 w 138"/>
              <a:gd name="T39" fmla="*/ 106 h 170"/>
              <a:gd name="T40" fmla="*/ 135 w 138"/>
              <a:gd name="T41" fmla="*/ 62 h 170"/>
              <a:gd name="T42" fmla="*/ 91 w 138"/>
              <a:gd name="T43" fmla="*/ 73 h 170"/>
              <a:gd name="T44" fmla="*/ 107 w 138"/>
              <a:gd name="T45" fmla="*/ 62 h 170"/>
              <a:gd name="T46" fmla="*/ 107 w 138"/>
              <a:gd name="T47" fmla="*/ 19 h 170"/>
              <a:gd name="T48" fmla="*/ 107 w 138"/>
              <a:gd name="T49" fmla="*/ 16 h 170"/>
              <a:gd name="T50" fmla="*/ 106 w 138"/>
              <a:gd name="T51" fmla="*/ 17 h 170"/>
              <a:gd name="T52" fmla="*/ 97 w 138"/>
              <a:gd name="T53" fmla="*/ 26 h 170"/>
              <a:gd name="T54" fmla="*/ 108 w 138"/>
              <a:gd name="T55" fmla="*/ 0 h 170"/>
              <a:gd name="T56" fmla="*/ 119 w 138"/>
              <a:gd name="T57" fmla="*/ 62 h 170"/>
              <a:gd name="T58" fmla="*/ 125 w 138"/>
              <a:gd name="T59" fmla="*/ 124 h 170"/>
              <a:gd name="T60" fmla="*/ 111 w 138"/>
              <a:gd name="T61" fmla="*/ 108 h 170"/>
              <a:gd name="T62" fmla="*/ 100 w 138"/>
              <a:gd name="T63" fmla="*/ 121 h 170"/>
              <a:gd name="T64" fmla="*/ 113 w 138"/>
              <a:gd name="T65" fmla="*/ 133 h 170"/>
              <a:gd name="T66" fmla="*/ 125 w 138"/>
              <a:gd name="T67" fmla="*/ 124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170">
                <a:moveTo>
                  <a:pt x="67" y="136"/>
                </a:moveTo>
                <a:cubicBezTo>
                  <a:pt x="67" y="137"/>
                  <a:pt x="67" y="138"/>
                  <a:pt x="66" y="139"/>
                </a:cubicBezTo>
                <a:cubicBezTo>
                  <a:pt x="36" y="169"/>
                  <a:pt x="36" y="169"/>
                  <a:pt x="36" y="169"/>
                </a:cubicBezTo>
                <a:cubicBezTo>
                  <a:pt x="35" y="169"/>
                  <a:pt x="35" y="170"/>
                  <a:pt x="34" y="170"/>
                </a:cubicBezTo>
                <a:cubicBezTo>
                  <a:pt x="33" y="170"/>
                  <a:pt x="32" y="169"/>
                  <a:pt x="32" y="169"/>
                </a:cubicBezTo>
                <a:cubicBezTo>
                  <a:pt x="1" y="139"/>
                  <a:pt x="1" y="139"/>
                  <a:pt x="1" y="139"/>
                </a:cubicBezTo>
                <a:cubicBezTo>
                  <a:pt x="0" y="138"/>
                  <a:pt x="0" y="136"/>
                  <a:pt x="1" y="135"/>
                </a:cubicBezTo>
                <a:cubicBezTo>
                  <a:pt x="1" y="134"/>
                  <a:pt x="2" y="133"/>
                  <a:pt x="3" y="133"/>
                </a:cubicBezTo>
                <a:cubicBezTo>
                  <a:pt x="22" y="133"/>
                  <a:pt x="22" y="133"/>
                  <a:pt x="22" y="133"/>
                </a:cubicBezTo>
                <a:cubicBezTo>
                  <a:pt x="22" y="3"/>
                  <a:pt x="22" y="3"/>
                  <a:pt x="22" y="3"/>
                </a:cubicBezTo>
                <a:cubicBezTo>
                  <a:pt x="22" y="2"/>
                  <a:pt x="22" y="2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0"/>
                  <a:pt x="45" y="1"/>
                </a:cubicBezTo>
                <a:cubicBezTo>
                  <a:pt x="46" y="2"/>
                  <a:pt x="46" y="2"/>
                  <a:pt x="46" y="3"/>
                </a:cubicBezTo>
                <a:cubicBezTo>
                  <a:pt x="46" y="133"/>
                  <a:pt x="46" y="133"/>
                  <a:pt x="46" y="133"/>
                </a:cubicBezTo>
                <a:cubicBezTo>
                  <a:pt x="64" y="133"/>
                  <a:pt x="64" y="133"/>
                  <a:pt x="64" y="133"/>
                </a:cubicBezTo>
                <a:cubicBezTo>
                  <a:pt x="65" y="133"/>
                  <a:pt x="66" y="134"/>
                  <a:pt x="66" y="134"/>
                </a:cubicBezTo>
                <a:cubicBezTo>
                  <a:pt x="67" y="135"/>
                  <a:pt x="67" y="135"/>
                  <a:pt x="67" y="136"/>
                </a:cubicBezTo>
                <a:close/>
                <a:moveTo>
                  <a:pt x="138" y="130"/>
                </a:moveTo>
                <a:cubicBezTo>
                  <a:pt x="138" y="134"/>
                  <a:pt x="138" y="138"/>
                  <a:pt x="137" y="141"/>
                </a:cubicBezTo>
                <a:cubicBezTo>
                  <a:pt x="136" y="145"/>
                  <a:pt x="135" y="149"/>
                  <a:pt x="133" y="152"/>
                </a:cubicBezTo>
                <a:cubicBezTo>
                  <a:pt x="131" y="156"/>
                  <a:pt x="129" y="159"/>
                  <a:pt x="126" y="161"/>
                </a:cubicBezTo>
                <a:cubicBezTo>
                  <a:pt x="124" y="164"/>
                  <a:pt x="121" y="166"/>
                  <a:pt x="117" y="167"/>
                </a:cubicBezTo>
                <a:cubicBezTo>
                  <a:pt x="113" y="169"/>
                  <a:pt x="109" y="170"/>
                  <a:pt x="105" y="170"/>
                </a:cubicBezTo>
                <a:cubicBezTo>
                  <a:pt x="101" y="170"/>
                  <a:pt x="98" y="169"/>
                  <a:pt x="95" y="168"/>
                </a:cubicBezTo>
                <a:cubicBezTo>
                  <a:pt x="93" y="168"/>
                  <a:pt x="92" y="167"/>
                  <a:pt x="91" y="167"/>
                </a:cubicBezTo>
                <a:cubicBezTo>
                  <a:pt x="95" y="156"/>
                  <a:pt x="95" y="156"/>
                  <a:pt x="95" y="156"/>
                </a:cubicBezTo>
                <a:cubicBezTo>
                  <a:pt x="95" y="156"/>
                  <a:pt x="96" y="157"/>
                  <a:pt x="97" y="157"/>
                </a:cubicBezTo>
                <a:cubicBezTo>
                  <a:pt x="100" y="158"/>
                  <a:pt x="102" y="158"/>
                  <a:pt x="105" y="158"/>
                </a:cubicBezTo>
                <a:cubicBezTo>
                  <a:pt x="110" y="158"/>
                  <a:pt x="114" y="156"/>
                  <a:pt x="117" y="153"/>
                </a:cubicBezTo>
                <a:cubicBezTo>
                  <a:pt x="120" y="149"/>
                  <a:pt x="123" y="144"/>
                  <a:pt x="124" y="139"/>
                </a:cubicBezTo>
                <a:cubicBezTo>
                  <a:pt x="123" y="139"/>
                  <a:pt x="123" y="139"/>
                  <a:pt x="123" y="139"/>
                </a:cubicBezTo>
                <a:cubicBezTo>
                  <a:pt x="122" y="140"/>
                  <a:pt x="120" y="142"/>
                  <a:pt x="118" y="143"/>
                </a:cubicBezTo>
                <a:cubicBezTo>
                  <a:pt x="115" y="143"/>
                  <a:pt x="112" y="144"/>
                  <a:pt x="110" y="144"/>
                </a:cubicBezTo>
                <a:cubicBezTo>
                  <a:pt x="103" y="144"/>
                  <a:pt x="97" y="142"/>
                  <a:pt x="93" y="137"/>
                </a:cubicBezTo>
                <a:cubicBezTo>
                  <a:pt x="89" y="133"/>
                  <a:pt x="87" y="127"/>
                  <a:pt x="87" y="121"/>
                </a:cubicBezTo>
                <a:cubicBezTo>
                  <a:pt x="87" y="114"/>
                  <a:pt x="89" y="109"/>
                  <a:pt x="94" y="104"/>
                </a:cubicBezTo>
                <a:cubicBezTo>
                  <a:pt x="98" y="99"/>
                  <a:pt x="104" y="97"/>
                  <a:pt x="111" y="97"/>
                </a:cubicBezTo>
                <a:cubicBezTo>
                  <a:pt x="119" y="97"/>
                  <a:pt x="125" y="100"/>
                  <a:pt x="130" y="106"/>
                </a:cubicBezTo>
                <a:cubicBezTo>
                  <a:pt x="135" y="112"/>
                  <a:pt x="138" y="120"/>
                  <a:pt x="138" y="130"/>
                </a:cubicBezTo>
                <a:close/>
                <a:moveTo>
                  <a:pt x="135" y="62"/>
                </a:moveTo>
                <a:cubicBezTo>
                  <a:pt x="135" y="73"/>
                  <a:pt x="135" y="73"/>
                  <a:pt x="135" y="73"/>
                </a:cubicBezTo>
                <a:cubicBezTo>
                  <a:pt x="91" y="73"/>
                  <a:pt x="91" y="73"/>
                  <a:pt x="91" y="73"/>
                </a:cubicBezTo>
                <a:cubicBezTo>
                  <a:pt x="91" y="62"/>
                  <a:pt x="91" y="62"/>
                  <a:pt x="91" y="62"/>
                </a:cubicBezTo>
                <a:cubicBezTo>
                  <a:pt x="107" y="62"/>
                  <a:pt x="107" y="62"/>
                  <a:pt x="107" y="62"/>
                </a:cubicBezTo>
                <a:cubicBezTo>
                  <a:pt x="107" y="21"/>
                  <a:pt x="107" y="21"/>
                  <a:pt x="107" y="21"/>
                </a:cubicBezTo>
                <a:cubicBezTo>
                  <a:pt x="107" y="21"/>
                  <a:pt x="107" y="20"/>
                  <a:pt x="107" y="19"/>
                </a:cubicBezTo>
                <a:cubicBezTo>
                  <a:pt x="107" y="19"/>
                  <a:pt x="107" y="18"/>
                  <a:pt x="107" y="18"/>
                </a:cubicBezTo>
                <a:cubicBezTo>
                  <a:pt x="107" y="16"/>
                  <a:pt x="107" y="16"/>
                  <a:pt x="107" y="16"/>
                </a:cubicBezTo>
                <a:cubicBezTo>
                  <a:pt x="106" y="16"/>
                  <a:pt x="106" y="16"/>
                  <a:pt x="106" y="16"/>
                </a:cubicBezTo>
                <a:cubicBezTo>
                  <a:pt x="106" y="17"/>
                  <a:pt x="106" y="17"/>
                  <a:pt x="106" y="17"/>
                </a:cubicBezTo>
                <a:cubicBezTo>
                  <a:pt x="105" y="18"/>
                  <a:pt x="104" y="19"/>
                  <a:pt x="103" y="20"/>
                </a:cubicBezTo>
                <a:cubicBezTo>
                  <a:pt x="97" y="26"/>
                  <a:pt x="97" y="26"/>
                  <a:pt x="97" y="26"/>
                </a:cubicBezTo>
                <a:cubicBezTo>
                  <a:pt x="90" y="18"/>
                  <a:pt x="90" y="18"/>
                  <a:pt x="90" y="18"/>
                </a:cubicBezTo>
                <a:cubicBezTo>
                  <a:pt x="108" y="0"/>
                  <a:pt x="108" y="0"/>
                  <a:pt x="108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62"/>
                  <a:pt x="119" y="62"/>
                  <a:pt x="119" y="62"/>
                </a:cubicBezTo>
                <a:lnTo>
                  <a:pt x="135" y="62"/>
                </a:lnTo>
                <a:close/>
                <a:moveTo>
                  <a:pt x="125" y="124"/>
                </a:moveTo>
                <a:cubicBezTo>
                  <a:pt x="125" y="120"/>
                  <a:pt x="123" y="117"/>
                  <a:pt x="121" y="113"/>
                </a:cubicBezTo>
                <a:cubicBezTo>
                  <a:pt x="118" y="110"/>
                  <a:pt x="115" y="108"/>
                  <a:pt x="111" y="108"/>
                </a:cubicBezTo>
                <a:cubicBezTo>
                  <a:pt x="108" y="108"/>
                  <a:pt x="105" y="110"/>
                  <a:pt x="103" y="112"/>
                </a:cubicBezTo>
                <a:cubicBezTo>
                  <a:pt x="101" y="114"/>
                  <a:pt x="100" y="117"/>
                  <a:pt x="100" y="121"/>
                </a:cubicBezTo>
                <a:cubicBezTo>
                  <a:pt x="100" y="124"/>
                  <a:pt x="101" y="127"/>
                  <a:pt x="103" y="130"/>
                </a:cubicBezTo>
                <a:cubicBezTo>
                  <a:pt x="106" y="132"/>
                  <a:pt x="109" y="133"/>
                  <a:pt x="113" y="133"/>
                </a:cubicBezTo>
                <a:cubicBezTo>
                  <a:pt x="116" y="133"/>
                  <a:pt x="119" y="132"/>
                  <a:pt x="121" y="131"/>
                </a:cubicBezTo>
                <a:cubicBezTo>
                  <a:pt x="124" y="129"/>
                  <a:pt x="125" y="127"/>
                  <a:pt x="125" y="1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3" name="Freeform 324"/>
          <p:cNvSpPr>
            <a:spLocks noChangeAspect="1" noEditPoints="1"/>
          </p:cNvSpPr>
          <p:nvPr/>
        </p:nvSpPr>
        <p:spPr bwMode="auto">
          <a:xfrm>
            <a:off x="1382239" y="4020843"/>
            <a:ext cx="142079" cy="176428"/>
          </a:xfrm>
          <a:custGeom>
            <a:avLst/>
            <a:gdLst>
              <a:gd name="T0" fmla="*/ 66 w 137"/>
              <a:gd name="T1" fmla="*/ 139 h 170"/>
              <a:gd name="T2" fmla="*/ 33 w 137"/>
              <a:gd name="T3" fmla="*/ 170 h 170"/>
              <a:gd name="T4" fmla="*/ 1 w 137"/>
              <a:gd name="T5" fmla="*/ 139 h 170"/>
              <a:gd name="T6" fmla="*/ 3 w 137"/>
              <a:gd name="T7" fmla="*/ 133 h 170"/>
              <a:gd name="T8" fmla="*/ 21 w 137"/>
              <a:gd name="T9" fmla="*/ 3 h 170"/>
              <a:gd name="T10" fmla="*/ 24 w 137"/>
              <a:gd name="T11" fmla="*/ 0 h 170"/>
              <a:gd name="T12" fmla="*/ 45 w 137"/>
              <a:gd name="T13" fmla="*/ 1 h 170"/>
              <a:gd name="T14" fmla="*/ 45 w 137"/>
              <a:gd name="T15" fmla="*/ 133 h 170"/>
              <a:gd name="T16" fmla="*/ 66 w 137"/>
              <a:gd name="T17" fmla="*/ 134 h 170"/>
              <a:gd name="T18" fmla="*/ 137 w 137"/>
              <a:gd name="T19" fmla="*/ 33 h 170"/>
              <a:gd name="T20" fmla="*/ 132 w 137"/>
              <a:gd name="T21" fmla="*/ 55 h 170"/>
              <a:gd name="T22" fmla="*/ 117 w 137"/>
              <a:gd name="T23" fmla="*/ 70 h 170"/>
              <a:gd name="T24" fmla="*/ 94 w 137"/>
              <a:gd name="T25" fmla="*/ 71 h 170"/>
              <a:gd name="T26" fmla="*/ 94 w 137"/>
              <a:gd name="T27" fmla="*/ 59 h 170"/>
              <a:gd name="T28" fmla="*/ 104 w 137"/>
              <a:gd name="T29" fmla="*/ 61 h 170"/>
              <a:gd name="T30" fmla="*/ 123 w 137"/>
              <a:gd name="T31" fmla="*/ 42 h 170"/>
              <a:gd name="T32" fmla="*/ 117 w 137"/>
              <a:gd name="T33" fmla="*/ 46 h 170"/>
              <a:gd name="T34" fmla="*/ 93 w 137"/>
              <a:gd name="T35" fmla="*/ 40 h 170"/>
              <a:gd name="T36" fmla="*/ 93 w 137"/>
              <a:gd name="T37" fmla="*/ 7 h 170"/>
              <a:gd name="T38" fmla="*/ 130 w 137"/>
              <a:gd name="T39" fmla="*/ 9 h 170"/>
              <a:gd name="T40" fmla="*/ 135 w 137"/>
              <a:gd name="T41" fmla="*/ 159 h 170"/>
              <a:gd name="T42" fmla="*/ 90 w 137"/>
              <a:gd name="T43" fmla="*/ 170 h 170"/>
              <a:gd name="T44" fmla="*/ 106 w 137"/>
              <a:gd name="T45" fmla="*/ 159 h 170"/>
              <a:gd name="T46" fmla="*/ 106 w 137"/>
              <a:gd name="T47" fmla="*/ 116 h 170"/>
              <a:gd name="T48" fmla="*/ 106 w 137"/>
              <a:gd name="T49" fmla="*/ 113 h 170"/>
              <a:gd name="T50" fmla="*/ 105 w 137"/>
              <a:gd name="T51" fmla="*/ 114 h 170"/>
              <a:gd name="T52" fmla="*/ 97 w 137"/>
              <a:gd name="T53" fmla="*/ 123 h 170"/>
              <a:gd name="T54" fmla="*/ 107 w 137"/>
              <a:gd name="T55" fmla="*/ 97 h 170"/>
              <a:gd name="T56" fmla="*/ 119 w 137"/>
              <a:gd name="T57" fmla="*/ 159 h 170"/>
              <a:gd name="T58" fmla="*/ 124 w 137"/>
              <a:gd name="T59" fmla="*/ 28 h 170"/>
              <a:gd name="T60" fmla="*/ 110 w 137"/>
              <a:gd name="T61" fmla="*/ 12 h 170"/>
              <a:gd name="T62" fmla="*/ 100 w 137"/>
              <a:gd name="T63" fmla="*/ 24 h 170"/>
              <a:gd name="T64" fmla="*/ 113 w 137"/>
              <a:gd name="T65" fmla="*/ 37 h 170"/>
              <a:gd name="T66" fmla="*/ 124 w 137"/>
              <a:gd name="T67" fmla="*/ 28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7" h="170">
                <a:moveTo>
                  <a:pt x="67" y="136"/>
                </a:moveTo>
                <a:cubicBezTo>
                  <a:pt x="67" y="137"/>
                  <a:pt x="66" y="138"/>
                  <a:pt x="66" y="139"/>
                </a:cubicBezTo>
                <a:cubicBezTo>
                  <a:pt x="35" y="169"/>
                  <a:pt x="35" y="169"/>
                  <a:pt x="35" y="169"/>
                </a:cubicBezTo>
                <a:cubicBezTo>
                  <a:pt x="35" y="169"/>
                  <a:pt x="34" y="170"/>
                  <a:pt x="33" y="170"/>
                </a:cubicBezTo>
                <a:cubicBezTo>
                  <a:pt x="33" y="170"/>
                  <a:pt x="32" y="169"/>
                  <a:pt x="31" y="169"/>
                </a:cubicBezTo>
                <a:cubicBezTo>
                  <a:pt x="1" y="139"/>
                  <a:pt x="1" y="139"/>
                  <a:pt x="1" y="139"/>
                </a:cubicBezTo>
                <a:cubicBezTo>
                  <a:pt x="0" y="138"/>
                  <a:pt x="0" y="136"/>
                  <a:pt x="0" y="135"/>
                </a:cubicBezTo>
                <a:cubicBezTo>
                  <a:pt x="1" y="134"/>
                  <a:pt x="2" y="133"/>
                  <a:pt x="3" y="133"/>
                </a:cubicBezTo>
                <a:cubicBezTo>
                  <a:pt x="21" y="133"/>
                  <a:pt x="21" y="133"/>
                  <a:pt x="21" y="133"/>
                </a:cubicBezTo>
                <a:cubicBezTo>
                  <a:pt x="21" y="3"/>
                  <a:pt x="21" y="3"/>
                  <a:pt x="21" y="3"/>
                </a:cubicBezTo>
                <a:cubicBezTo>
                  <a:pt x="21" y="2"/>
                  <a:pt x="21" y="2"/>
                  <a:pt x="22" y="1"/>
                </a:cubicBezTo>
                <a:cubicBezTo>
                  <a:pt x="23" y="0"/>
                  <a:pt x="23" y="0"/>
                  <a:pt x="24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3" y="0"/>
                  <a:pt x="44" y="0"/>
                  <a:pt x="45" y="1"/>
                </a:cubicBezTo>
                <a:cubicBezTo>
                  <a:pt x="45" y="2"/>
                  <a:pt x="45" y="2"/>
                  <a:pt x="45" y="3"/>
                </a:cubicBezTo>
                <a:cubicBezTo>
                  <a:pt x="45" y="133"/>
                  <a:pt x="45" y="133"/>
                  <a:pt x="45" y="133"/>
                </a:cubicBezTo>
                <a:cubicBezTo>
                  <a:pt x="64" y="133"/>
                  <a:pt x="64" y="133"/>
                  <a:pt x="64" y="133"/>
                </a:cubicBezTo>
                <a:cubicBezTo>
                  <a:pt x="64" y="133"/>
                  <a:pt x="65" y="134"/>
                  <a:pt x="66" y="134"/>
                </a:cubicBezTo>
                <a:cubicBezTo>
                  <a:pt x="66" y="135"/>
                  <a:pt x="67" y="135"/>
                  <a:pt x="67" y="136"/>
                </a:cubicBezTo>
                <a:close/>
                <a:moveTo>
                  <a:pt x="137" y="33"/>
                </a:moveTo>
                <a:cubicBezTo>
                  <a:pt x="137" y="37"/>
                  <a:pt x="137" y="41"/>
                  <a:pt x="136" y="45"/>
                </a:cubicBezTo>
                <a:cubicBezTo>
                  <a:pt x="135" y="48"/>
                  <a:pt x="134" y="52"/>
                  <a:pt x="132" y="55"/>
                </a:cubicBezTo>
                <a:cubicBezTo>
                  <a:pt x="131" y="59"/>
                  <a:pt x="128" y="62"/>
                  <a:pt x="126" y="64"/>
                </a:cubicBezTo>
                <a:cubicBezTo>
                  <a:pt x="123" y="67"/>
                  <a:pt x="120" y="69"/>
                  <a:pt x="117" y="70"/>
                </a:cubicBezTo>
                <a:cubicBezTo>
                  <a:pt x="113" y="72"/>
                  <a:pt x="109" y="73"/>
                  <a:pt x="105" y="73"/>
                </a:cubicBezTo>
                <a:cubicBezTo>
                  <a:pt x="101" y="73"/>
                  <a:pt x="97" y="72"/>
                  <a:pt x="94" y="71"/>
                </a:cubicBezTo>
                <a:cubicBezTo>
                  <a:pt x="93" y="71"/>
                  <a:pt x="92" y="70"/>
                  <a:pt x="90" y="70"/>
                </a:cubicBezTo>
                <a:cubicBezTo>
                  <a:pt x="94" y="59"/>
                  <a:pt x="94" y="59"/>
                  <a:pt x="94" y="59"/>
                </a:cubicBezTo>
                <a:cubicBezTo>
                  <a:pt x="95" y="60"/>
                  <a:pt x="96" y="60"/>
                  <a:pt x="97" y="60"/>
                </a:cubicBezTo>
                <a:cubicBezTo>
                  <a:pt x="99" y="61"/>
                  <a:pt x="102" y="61"/>
                  <a:pt x="104" y="61"/>
                </a:cubicBezTo>
                <a:cubicBezTo>
                  <a:pt x="109" y="61"/>
                  <a:pt x="114" y="60"/>
                  <a:pt x="117" y="56"/>
                </a:cubicBezTo>
                <a:cubicBezTo>
                  <a:pt x="120" y="52"/>
                  <a:pt x="122" y="48"/>
                  <a:pt x="123" y="42"/>
                </a:cubicBezTo>
                <a:cubicBezTo>
                  <a:pt x="123" y="42"/>
                  <a:pt x="123" y="42"/>
                  <a:pt x="123" y="42"/>
                </a:cubicBezTo>
                <a:cubicBezTo>
                  <a:pt x="122" y="44"/>
                  <a:pt x="120" y="45"/>
                  <a:pt x="117" y="46"/>
                </a:cubicBezTo>
                <a:cubicBezTo>
                  <a:pt x="115" y="47"/>
                  <a:pt x="112" y="47"/>
                  <a:pt x="109" y="47"/>
                </a:cubicBezTo>
                <a:cubicBezTo>
                  <a:pt x="102" y="47"/>
                  <a:pt x="97" y="45"/>
                  <a:pt x="93" y="40"/>
                </a:cubicBezTo>
                <a:cubicBezTo>
                  <a:pt x="89" y="36"/>
                  <a:pt x="86" y="30"/>
                  <a:pt x="86" y="24"/>
                </a:cubicBezTo>
                <a:cubicBezTo>
                  <a:pt x="86" y="17"/>
                  <a:pt x="89" y="12"/>
                  <a:pt x="93" y="7"/>
                </a:cubicBezTo>
                <a:cubicBezTo>
                  <a:pt x="98" y="3"/>
                  <a:pt x="103" y="0"/>
                  <a:pt x="110" y="0"/>
                </a:cubicBezTo>
                <a:cubicBezTo>
                  <a:pt x="118" y="0"/>
                  <a:pt x="125" y="3"/>
                  <a:pt x="130" y="9"/>
                </a:cubicBezTo>
                <a:cubicBezTo>
                  <a:pt x="135" y="15"/>
                  <a:pt x="137" y="23"/>
                  <a:pt x="137" y="33"/>
                </a:cubicBezTo>
                <a:close/>
                <a:moveTo>
                  <a:pt x="135" y="159"/>
                </a:moveTo>
                <a:cubicBezTo>
                  <a:pt x="135" y="170"/>
                  <a:pt x="135" y="170"/>
                  <a:pt x="135" y="170"/>
                </a:cubicBezTo>
                <a:cubicBezTo>
                  <a:pt x="90" y="170"/>
                  <a:pt x="90" y="170"/>
                  <a:pt x="90" y="170"/>
                </a:cubicBezTo>
                <a:cubicBezTo>
                  <a:pt x="90" y="159"/>
                  <a:pt x="90" y="159"/>
                  <a:pt x="90" y="159"/>
                </a:cubicBezTo>
                <a:cubicBezTo>
                  <a:pt x="106" y="159"/>
                  <a:pt x="106" y="159"/>
                  <a:pt x="106" y="159"/>
                </a:cubicBezTo>
                <a:cubicBezTo>
                  <a:pt x="106" y="118"/>
                  <a:pt x="106" y="118"/>
                  <a:pt x="106" y="118"/>
                </a:cubicBezTo>
                <a:cubicBezTo>
                  <a:pt x="106" y="118"/>
                  <a:pt x="106" y="117"/>
                  <a:pt x="106" y="116"/>
                </a:cubicBezTo>
                <a:cubicBezTo>
                  <a:pt x="106" y="115"/>
                  <a:pt x="106" y="115"/>
                  <a:pt x="106" y="115"/>
                </a:cubicBezTo>
                <a:cubicBezTo>
                  <a:pt x="106" y="113"/>
                  <a:pt x="106" y="113"/>
                  <a:pt x="106" y="113"/>
                </a:cubicBezTo>
                <a:cubicBezTo>
                  <a:pt x="106" y="113"/>
                  <a:pt x="106" y="113"/>
                  <a:pt x="106" y="113"/>
                </a:cubicBezTo>
                <a:cubicBezTo>
                  <a:pt x="105" y="114"/>
                  <a:pt x="105" y="114"/>
                  <a:pt x="105" y="114"/>
                </a:cubicBezTo>
                <a:cubicBezTo>
                  <a:pt x="105" y="115"/>
                  <a:pt x="104" y="116"/>
                  <a:pt x="103" y="117"/>
                </a:cubicBezTo>
                <a:cubicBezTo>
                  <a:pt x="97" y="123"/>
                  <a:pt x="97" y="123"/>
                  <a:pt x="97" y="123"/>
                </a:cubicBezTo>
                <a:cubicBezTo>
                  <a:pt x="89" y="115"/>
                  <a:pt x="89" y="115"/>
                  <a:pt x="89" y="115"/>
                </a:cubicBezTo>
                <a:cubicBezTo>
                  <a:pt x="107" y="97"/>
                  <a:pt x="107" y="97"/>
                  <a:pt x="107" y="97"/>
                </a:cubicBezTo>
                <a:cubicBezTo>
                  <a:pt x="119" y="97"/>
                  <a:pt x="119" y="97"/>
                  <a:pt x="119" y="97"/>
                </a:cubicBezTo>
                <a:cubicBezTo>
                  <a:pt x="119" y="159"/>
                  <a:pt x="119" y="159"/>
                  <a:pt x="119" y="159"/>
                </a:cubicBezTo>
                <a:lnTo>
                  <a:pt x="135" y="159"/>
                </a:lnTo>
                <a:close/>
                <a:moveTo>
                  <a:pt x="124" y="28"/>
                </a:moveTo>
                <a:cubicBezTo>
                  <a:pt x="124" y="24"/>
                  <a:pt x="123" y="20"/>
                  <a:pt x="120" y="17"/>
                </a:cubicBezTo>
                <a:cubicBezTo>
                  <a:pt x="117" y="13"/>
                  <a:pt x="114" y="12"/>
                  <a:pt x="110" y="12"/>
                </a:cubicBezTo>
                <a:cubicBezTo>
                  <a:pt x="107" y="12"/>
                  <a:pt x="104" y="13"/>
                  <a:pt x="102" y="15"/>
                </a:cubicBezTo>
                <a:cubicBezTo>
                  <a:pt x="101" y="17"/>
                  <a:pt x="100" y="20"/>
                  <a:pt x="100" y="24"/>
                </a:cubicBezTo>
                <a:cubicBezTo>
                  <a:pt x="100" y="28"/>
                  <a:pt x="101" y="31"/>
                  <a:pt x="103" y="33"/>
                </a:cubicBezTo>
                <a:cubicBezTo>
                  <a:pt x="105" y="35"/>
                  <a:pt x="109" y="37"/>
                  <a:pt x="113" y="37"/>
                </a:cubicBezTo>
                <a:cubicBezTo>
                  <a:pt x="116" y="37"/>
                  <a:pt x="119" y="36"/>
                  <a:pt x="121" y="34"/>
                </a:cubicBezTo>
                <a:cubicBezTo>
                  <a:pt x="123" y="32"/>
                  <a:pt x="124" y="30"/>
                  <a:pt x="124" y="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4" name="Freeform 325"/>
          <p:cNvSpPr>
            <a:spLocks noChangeAspect="1" noEditPoints="1"/>
          </p:cNvSpPr>
          <p:nvPr/>
        </p:nvSpPr>
        <p:spPr bwMode="auto">
          <a:xfrm>
            <a:off x="1575841" y="4033334"/>
            <a:ext cx="156131" cy="151447"/>
          </a:xfrm>
          <a:custGeom>
            <a:avLst/>
            <a:gdLst>
              <a:gd name="T0" fmla="*/ 40 w 152"/>
              <a:gd name="T1" fmla="*/ 127 h 146"/>
              <a:gd name="T2" fmla="*/ 34 w 152"/>
              <a:gd name="T3" fmla="*/ 133 h 146"/>
              <a:gd name="T4" fmla="*/ 2 w 152"/>
              <a:gd name="T5" fmla="*/ 132 h 146"/>
              <a:gd name="T6" fmla="*/ 0 w 152"/>
              <a:gd name="T7" fmla="*/ 67 h 146"/>
              <a:gd name="T8" fmla="*/ 7 w 152"/>
              <a:gd name="T9" fmla="*/ 61 h 146"/>
              <a:gd name="T10" fmla="*/ 38 w 152"/>
              <a:gd name="T11" fmla="*/ 63 h 146"/>
              <a:gd name="T12" fmla="*/ 25 w 152"/>
              <a:gd name="T13" fmla="*/ 115 h 146"/>
              <a:gd name="T14" fmla="*/ 19 w 152"/>
              <a:gd name="T15" fmla="*/ 109 h 146"/>
              <a:gd name="T16" fmla="*/ 13 w 152"/>
              <a:gd name="T17" fmla="*/ 115 h 146"/>
              <a:gd name="T18" fmla="*/ 19 w 152"/>
              <a:gd name="T19" fmla="*/ 121 h 146"/>
              <a:gd name="T20" fmla="*/ 25 w 152"/>
              <a:gd name="T21" fmla="*/ 115 h 146"/>
              <a:gd name="T22" fmla="*/ 147 w 152"/>
              <a:gd name="T23" fmla="*/ 81 h 146"/>
              <a:gd name="T24" fmla="*/ 144 w 152"/>
              <a:gd name="T25" fmla="*/ 101 h 146"/>
              <a:gd name="T26" fmla="*/ 139 w 152"/>
              <a:gd name="T27" fmla="*/ 121 h 146"/>
              <a:gd name="T28" fmla="*/ 116 w 152"/>
              <a:gd name="T29" fmla="*/ 146 h 146"/>
              <a:gd name="T30" fmla="*/ 105 w 152"/>
              <a:gd name="T31" fmla="*/ 146 h 146"/>
              <a:gd name="T32" fmla="*/ 90 w 152"/>
              <a:gd name="T33" fmla="*/ 144 h 146"/>
              <a:gd name="T34" fmla="*/ 67 w 152"/>
              <a:gd name="T35" fmla="*/ 138 h 146"/>
              <a:gd name="T36" fmla="*/ 48 w 152"/>
              <a:gd name="T37" fmla="*/ 132 h 146"/>
              <a:gd name="T38" fmla="*/ 46 w 152"/>
              <a:gd name="T39" fmla="*/ 67 h 146"/>
              <a:gd name="T40" fmla="*/ 52 w 152"/>
              <a:gd name="T41" fmla="*/ 61 h 146"/>
              <a:gd name="T42" fmla="*/ 68 w 152"/>
              <a:gd name="T43" fmla="*/ 44 h 146"/>
              <a:gd name="T44" fmla="*/ 81 w 152"/>
              <a:gd name="T45" fmla="*/ 28 h 146"/>
              <a:gd name="T46" fmla="*/ 84 w 152"/>
              <a:gd name="T47" fmla="*/ 18 h 146"/>
              <a:gd name="T48" fmla="*/ 87 w 152"/>
              <a:gd name="T49" fmla="*/ 7 h 146"/>
              <a:gd name="T50" fmla="*/ 94 w 152"/>
              <a:gd name="T51" fmla="*/ 0 h 146"/>
              <a:gd name="T52" fmla="*/ 108 w 152"/>
              <a:gd name="T53" fmla="*/ 4 h 146"/>
              <a:gd name="T54" fmla="*/ 114 w 152"/>
              <a:gd name="T55" fmla="*/ 12 h 146"/>
              <a:gd name="T56" fmla="*/ 115 w 152"/>
              <a:gd name="T57" fmla="*/ 21 h 146"/>
              <a:gd name="T58" fmla="*/ 115 w 152"/>
              <a:gd name="T59" fmla="*/ 32 h 146"/>
              <a:gd name="T60" fmla="*/ 110 w 152"/>
              <a:gd name="T61" fmla="*/ 43 h 146"/>
              <a:gd name="T62" fmla="*/ 108 w 152"/>
              <a:gd name="T63" fmla="*/ 46 h 146"/>
              <a:gd name="T64" fmla="*/ 134 w 152"/>
              <a:gd name="T65" fmla="*/ 49 h 146"/>
              <a:gd name="T66" fmla="*/ 152 w 152"/>
              <a:gd name="T67" fmla="*/ 6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2" h="146">
                <a:moveTo>
                  <a:pt x="40" y="67"/>
                </a:moveTo>
                <a:cubicBezTo>
                  <a:pt x="40" y="127"/>
                  <a:pt x="40" y="127"/>
                  <a:pt x="40" y="127"/>
                </a:cubicBezTo>
                <a:cubicBezTo>
                  <a:pt x="40" y="129"/>
                  <a:pt x="39" y="130"/>
                  <a:pt x="38" y="132"/>
                </a:cubicBezTo>
                <a:cubicBezTo>
                  <a:pt x="37" y="133"/>
                  <a:pt x="35" y="133"/>
                  <a:pt x="34" y="133"/>
                </a:cubicBezTo>
                <a:cubicBezTo>
                  <a:pt x="7" y="133"/>
                  <a:pt x="7" y="133"/>
                  <a:pt x="7" y="133"/>
                </a:cubicBezTo>
                <a:cubicBezTo>
                  <a:pt x="5" y="133"/>
                  <a:pt x="3" y="133"/>
                  <a:pt x="2" y="132"/>
                </a:cubicBezTo>
                <a:cubicBezTo>
                  <a:pt x="1" y="130"/>
                  <a:pt x="0" y="129"/>
                  <a:pt x="0" y="127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65"/>
                  <a:pt x="1" y="64"/>
                  <a:pt x="2" y="63"/>
                </a:cubicBezTo>
                <a:cubicBezTo>
                  <a:pt x="3" y="61"/>
                  <a:pt x="5" y="61"/>
                  <a:pt x="7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5" y="61"/>
                  <a:pt x="37" y="61"/>
                  <a:pt x="38" y="63"/>
                </a:cubicBezTo>
                <a:cubicBezTo>
                  <a:pt x="39" y="64"/>
                  <a:pt x="40" y="65"/>
                  <a:pt x="40" y="67"/>
                </a:cubicBezTo>
                <a:close/>
                <a:moveTo>
                  <a:pt x="25" y="115"/>
                </a:moveTo>
                <a:cubicBezTo>
                  <a:pt x="25" y="114"/>
                  <a:pt x="24" y="112"/>
                  <a:pt x="23" y="111"/>
                </a:cubicBezTo>
                <a:cubicBezTo>
                  <a:pt x="22" y="110"/>
                  <a:pt x="20" y="109"/>
                  <a:pt x="19" y="109"/>
                </a:cubicBezTo>
                <a:cubicBezTo>
                  <a:pt x="17" y="109"/>
                  <a:pt x="16" y="110"/>
                  <a:pt x="14" y="111"/>
                </a:cubicBezTo>
                <a:cubicBezTo>
                  <a:pt x="13" y="112"/>
                  <a:pt x="13" y="114"/>
                  <a:pt x="13" y="115"/>
                </a:cubicBezTo>
                <a:cubicBezTo>
                  <a:pt x="13" y="117"/>
                  <a:pt x="13" y="118"/>
                  <a:pt x="14" y="120"/>
                </a:cubicBezTo>
                <a:cubicBezTo>
                  <a:pt x="16" y="121"/>
                  <a:pt x="17" y="121"/>
                  <a:pt x="19" y="121"/>
                </a:cubicBezTo>
                <a:cubicBezTo>
                  <a:pt x="20" y="121"/>
                  <a:pt x="22" y="121"/>
                  <a:pt x="23" y="120"/>
                </a:cubicBezTo>
                <a:cubicBezTo>
                  <a:pt x="24" y="118"/>
                  <a:pt x="25" y="117"/>
                  <a:pt x="25" y="115"/>
                </a:cubicBezTo>
                <a:close/>
                <a:moveTo>
                  <a:pt x="152" y="67"/>
                </a:moveTo>
                <a:cubicBezTo>
                  <a:pt x="152" y="72"/>
                  <a:pt x="150" y="77"/>
                  <a:pt x="147" y="81"/>
                </a:cubicBezTo>
                <a:cubicBezTo>
                  <a:pt x="148" y="84"/>
                  <a:pt x="148" y="86"/>
                  <a:pt x="148" y="88"/>
                </a:cubicBezTo>
                <a:cubicBezTo>
                  <a:pt x="148" y="93"/>
                  <a:pt x="147" y="97"/>
                  <a:pt x="144" y="101"/>
                </a:cubicBezTo>
                <a:cubicBezTo>
                  <a:pt x="145" y="105"/>
                  <a:pt x="145" y="108"/>
                  <a:pt x="144" y="112"/>
                </a:cubicBezTo>
                <a:cubicBezTo>
                  <a:pt x="143" y="116"/>
                  <a:pt x="141" y="119"/>
                  <a:pt x="139" y="121"/>
                </a:cubicBezTo>
                <a:cubicBezTo>
                  <a:pt x="139" y="128"/>
                  <a:pt x="138" y="134"/>
                  <a:pt x="134" y="138"/>
                </a:cubicBezTo>
                <a:cubicBezTo>
                  <a:pt x="130" y="143"/>
                  <a:pt x="124" y="145"/>
                  <a:pt x="116" y="146"/>
                </a:cubicBezTo>
                <a:cubicBezTo>
                  <a:pt x="112" y="146"/>
                  <a:pt x="112" y="146"/>
                  <a:pt x="112" y="146"/>
                </a:cubicBezTo>
                <a:cubicBezTo>
                  <a:pt x="105" y="146"/>
                  <a:pt x="105" y="146"/>
                  <a:pt x="105" y="146"/>
                </a:cubicBezTo>
                <a:cubicBezTo>
                  <a:pt x="103" y="146"/>
                  <a:pt x="103" y="146"/>
                  <a:pt x="103" y="146"/>
                </a:cubicBezTo>
                <a:cubicBezTo>
                  <a:pt x="99" y="146"/>
                  <a:pt x="95" y="145"/>
                  <a:pt x="90" y="144"/>
                </a:cubicBezTo>
                <a:cubicBezTo>
                  <a:pt x="85" y="143"/>
                  <a:pt x="81" y="142"/>
                  <a:pt x="78" y="141"/>
                </a:cubicBezTo>
                <a:cubicBezTo>
                  <a:pt x="76" y="140"/>
                  <a:pt x="72" y="139"/>
                  <a:pt x="67" y="138"/>
                </a:cubicBezTo>
                <a:cubicBezTo>
                  <a:pt x="59" y="135"/>
                  <a:pt x="54" y="133"/>
                  <a:pt x="52" y="133"/>
                </a:cubicBezTo>
                <a:cubicBezTo>
                  <a:pt x="50" y="133"/>
                  <a:pt x="49" y="133"/>
                  <a:pt x="48" y="132"/>
                </a:cubicBezTo>
                <a:cubicBezTo>
                  <a:pt x="46" y="130"/>
                  <a:pt x="46" y="129"/>
                  <a:pt x="46" y="127"/>
                </a:cubicBezTo>
                <a:cubicBezTo>
                  <a:pt x="46" y="67"/>
                  <a:pt x="46" y="67"/>
                  <a:pt x="46" y="67"/>
                </a:cubicBezTo>
                <a:cubicBezTo>
                  <a:pt x="46" y="65"/>
                  <a:pt x="46" y="64"/>
                  <a:pt x="48" y="63"/>
                </a:cubicBezTo>
                <a:cubicBezTo>
                  <a:pt x="49" y="61"/>
                  <a:pt x="50" y="61"/>
                  <a:pt x="52" y="61"/>
                </a:cubicBezTo>
                <a:cubicBezTo>
                  <a:pt x="53" y="61"/>
                  <a:pt x="56" y="59"/>
                  <a:pt x="59" y="55"/>
                </a:cubicBezTo>
                <a:cubicBezTo>
                  <a:pt x="62" y="52"/>
                  <a:pt x="65" y="48"/>
                  <a:pt x="68" y="44"/>
                </a:cubicBezTo>
                <a:cubicBezTo>
                  <a:pt x="73" y="38"/>
                  <a:pt x="76" y="34"/>
                  <a:pt x="78" y="32"/>
                </a:cubicBezTo>
                <a:cubicBezTo>
                  <a:pt x="79" y="31"/>
                  <a:pt x="80" y="30"/>
                  <a:pt x="81" y="28"/>
                </a:cubicBezTo>
                <a:cubicBezTo>
                  <a:pt x="82" y="26"/>
                  <a:pt x="82" y="24"/>
                  <a:pt x="83" y="23"/>
                </a:cubicBezTo>
                <a:cubicBezTo>
                  <a:pt x="83" y="22"/>
                  <a:pt x="83" y="20"/>
                  <a:pt x="84" y="18"/>
                </a:cubicBezTo>
                <a:cubicBezTo>
                  <a:pt x="84" y="15"/>
                  <a:pt x="85" y="13"/>
                  <a:pt x="85" y="12"/>
                </a:cubicBezTo>
                <a:cubicBezTo>
                  <a:pt x="85" y="10"/>
                  <a:pt x="86" y="9"/>
                  <a:pt x="87" y="7"/>
                </a:cubicBezTo>
                <a:cubicBezTo>
                  <a:pt x="88" y="5"/>
                  <a:pt x="89" y="3"/>
                  <a:pt x="90" y="2"/>
                </a:cubicBezTo>
                <a:cubicBezTo>
                  <a:pt x="91" y="1"/>
                  <a:pt x="93" y="0"/>
                  <a:pt x="94" y="0"/>
                </a:cubicBezTo>
                <a:cubicBezTo>
                  <a:pt x="97" y="0"/>
                  <a:pt x="100" y="1"/>
                  <a:pt x="102" y="1"/>
                </a:cubicBezTo>
                <a:cubicBezTo>
                  <a:pt x="104" y="2"/>
                  <a:pt x="106" y="3"/>
                  <a:pt x="108" y="4"/>
                </a:cubicBezTo>
                <a:cubicBezTo>
                  <a:pt x="109" y="5"/>
                  <a:pt x="111" y="6"/>
                  <a:pt x="112" y="8"/>
                </a:cubicBezTo>
                <a:cubicBezTo>
                  <a:pt x="113" y="9"/>
                  <a:pt x="113" y="11"/>
                  <a:pt x="114" y="12"/>
                </a:cubicBezTo>
                <a:cubicBezTo>
                  <a:pt x="114" y="13"/>
                  <a:pt x="115" y="15"/>
                  <a:pt x="115" y="17"/>
                </a:cubicBezTo>
                <a:cubicBezTo>
                  <a:pt x="115" y="18"/>
                  <a:pt x="115" y="20"/>
                  <a:pt x="115" y="21"/>
                </a:cubicBezTo>
                <a:cubicBezTo>
                  <a:pt x="115" y="22"/>
                  <a:pt x="115" y="23"/>
                  <a:pt x="115" y="25"/>
                </a:cubicBezTo>
                <a:cubicBezTo>
                  <a:pt x="115" y="27"/>
                  <a:pt x="115" y="29"/>
                  <a:pt x="115" y="32"/>
                </a:cubicBezTo>
                <a:cubicBezTo>
                  <a:pt x="114" y="34"/>
                  <a:pt x="113" y="36"/>
                  <a:pt x="113" y="37"/>
                </a:cubicBezTo>
                <a:cubicBezTo>
                  <a:pt x="112" y="39"/>
                  <a:pt x="111" y="41"/>
                  <a:pt x="110" y="43"/>
                </a:cubicBezTo>
                <a:cubicBezTo>
                  <a:pt x="110" y="43"/>
                  <a:pt x="110" y="44"/>
                  <a:pt x="109" y="44"/>
                </a:cubicBezTo>
                <a:cubicBezTo>
                  <a:pt x="109" y="45"/>
                  <a:pt x="108" y="46"/>
                  <a:pt x="108" y="46"/>
                </a:cubicBezTo>
                <a:cubicBezTo>
                  <a:pt x="108" y="47"/>
                  <a:pt x="108" y="48"/>
                  <a:pt x="107" y="49"/>
                </a:cubicBezTo>
                <a:cubicBezTo>
                  <a:pt x="134" y="49"/>
                  <a:pt x="134" y="49"/>
                  <a:pt x="134" y="49"/>
                </a:cubicBezTo>
                <a:cubicBezTo>
                  <a:pt x="139" y="49"/>
                  <a:pt x="143" y="51"/>
                  <a:pt x="146" y="54"/>
                </a:cubicBezTo>
                <a:cubicBezTo>
                  <a:pt x="150" y="58"/>
                  <a:pt x="152" y="62"/>
                  <a:pt x="152" y="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5" name="Freeform 326"/>
          <p:cNvSpPr>
            <a:spLocks noChangeAspect="1" noEditPoints="1"/>
          </p:cNvSpPr>
          <p:nvPr/>
        </p:nvSpPr>
        <p:spPr bwMode="auto">
          <a:xfrm>
            <a:off x="1783494" y="4045824"/>
            <a:ext cx="157692" cy="151447"/>
          </a:xfrm>
          <a:custGeom>
            <a:avLst/>
            <a:gdLst>
              <a:gd name="T0" fmla="*/ 33 w 151"/>
              <a:gd name="T1" fmla="*/ 85 h 146"/>
              <a:gd name="T2" fmla="*/ 2 w 151"/>
              <a:gd name="T3" fmla="*/ 83 h 146"/>
              <a:gd name="T4" fmla="*/ 0 w 151"/>
              <a:gd name="T5" fmla="*/ 19 h 146"/>
              <a:gd name="T6" fmla="*/ 6 w 151"/>
              <a:gd name="T7" fmla="*/ 13 h 146"/>
              <a:gd name="T8" fmla="*/ 38 w 151"/>
              <a:gd name="T9" fmla="*/ 14 h 146"/>
              <a:gd name="T10" fmla="*/ 39 w 151"/>
              <a:gd name="T11" fmla="*/ 79 h 146"/>
              <a:gd name="T12" fmla="*/ 23 w 151"/>
              <a:gd name="T13" fmla="*/ 26 h 146"/>
              <a:gd name="T14" fmla="*/ 14 w 151"/>
              <a:gd name="T15" fmla="*/ 26 h 146"/>
              <a:gd name="T16" fmla="*/ 14 w 151"/>
              <a:gd name="T17" fmla="*/ 35 h 146"/>
              <a:gd name="T18" fmla="*/ 23 w 151"/>
              <a:gd name="T19" fmla="*/ 35 h 146"/>
              <a:gd name="T20" fmla="*/ 23 w 151"/>
              <a:gd name="T21" fmla="*/ 26 h 146"/>
              <a:gd name="T22" fmla="*/ 144 w 151"/>
              <a:gd name="T23" fmla="*/ 45 h 146"/>
              <a:gd name="T24" fmla="*/ 138 w 151"/>
              <a:gd name="T25" fmla="*/ 25 h 146"/>
              <a:gd name="T26" fmla="*/ 115 w 151"/>
              <a:gd name="T27" fmla="*/ 0 h 146"/>
              <a:gd name="T28" fmla="*/ 105 w 151"/>
              <a:gd name="T29" fmla="*/ 0 h 146"/>
              <a:gd name="T30" fmla="*/ 89 w 151"/>
              <a:gd name="T31" fmla="*/ 2 h 146"/>
              <a:gd name="T32" fmla="*/ 67 w 151"/>
              <a:gd name="T33" fmla="*/ 8 h 146"/>
              <a:gd name="T34" fmla="*/ 47 w 151"/>
              <a:gd name="T35" fmla="*/ 14 h 146"/>
              <a:gd name="T36" fmla="*/ 46 w 151"/>
              <a:gd name="T37" fmla="*/ 79 h 146"/>
              <a:gd name="T38" fmla="*/ 51 w 151"/>
              <a:gd name="T39" fmla="*/ 85 h 146"/>
              <a:gd name="T40" fmla="*/ 68 w 151"/>
              <a:gd name="T41" fmla="*/ 102 h 146"/>
              <a:gd name="T42" fmla="*/ 80 w 151"/>
              <a:gd name="T43" fmla="*/ 118 h 146"/>
              <a:gd name="T44" fmla="*/ 83 w 151"/>
              <a:gd name="T45" fmla="*/ 128 h 146"/>
              <a:gd name="T46" fmla="*/ 86 w 151"/>
              <a:gd name="T47" fmla="*/ 139 h 146"/>
              <a:gd name="T48" fmla="*/ 94 w 151"/>
              <a:gd name="T49" fmla="*/ 146 h 146"/>
              <a:gd name="T50" fmla="*/ 107 w 151"/>
              <a:gd name="T51" fmla="*/ 142 h 146"/>
              <a:gd name="T52" fmla="*/ 113 w 151"/>
              <a:gd name="T53" fmla="*/ 134 h 146"/>
              <a:gd name="T54" fmla="*/ 115 w 151"/>
              <a:gd name="T55" fmla="*/ 125 h 146"/>
              <a:gd name="T56" fmla="*/ 114 w 151"/>
              <a:gd name="T57" fmla="*/ 114 h 146"/>
              <a:gd name="T58" fmla="*/ 110 w 151"/>
              <a:gd name="T59" fmla="*/ 103 h 146"/>
              <a:gd name="T60" fmla="*/ 108 w 151"/>
              <a:gd name="T61" fmla="*/ 99 h 146"/>
              <a:gd name="T62" fmla="*/ 133 w 151"/>
              <a:gd name="T63" fmla="*/ 97 h 146"/>
              <a:gd name="T64" fmla="*/ 151 w 151"/>
              <a:gd name="T65" fmla="*/ 79 h 146"/>
              <a:gd name="T66" fmla="*/ 148 w 151"/>
              <a:gd name="T67" fmla="*/ 5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1" h="146">
                <a:moveTo>
                  <a:pt x="38" y="83"/>
                </a:moveTo>
                <a:cubicBezTo>
                  <a:pt x="36" y="85"/>
                  <a:pt x="35" y="85"/>
                  <a:pt x="33" y="85"/>
                </a:cubicBezTo>
                <a:cubicBezTo>
                  <a:pt x="6" y="85"/>
                  <a:pt x="6" y="85"/>
                  <a:pt x="6" y="85"/>
                </a:cubicBezTo>
                <a:cubicBezTo>
                  <a:pt x="5" y="85"/>
                  <a:pt x="3" y="85"/>
                  <a:pt x="2" y="83"/>
                </a:cubicBezTo>
                <a:cubicBezTo>
                  <a:pt x="1" y="82"/>
                  <a:pt x="0" y="81"/>
                  <a:pt x="0" y="79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7"/>
                  <a:pt x="1" y="16"/>
                  <a:pt x="2" y="14"/>
                </a:cubicBezTo>
                <a:cubicBezTo>
                  <a:pt x="3" y="13"/>
                  <a:pt x="5" y="13"/>
                  <a:pt x="6" y="13"/>
                </a:cubicBezTo>
                <a:cubicBezTo>
                  <a:pt x="33" y="13"/>
                  <a:pt x="33" y="13"/>
                  <a:pt x="33" y="13"/>
                </a:cubicBezTo>
                <a:cubicBezTo>
                  <a:pt x="35" y="13"/>
                  <a:pt x="36" y="13"/>
                  <a:pt x="38" y="14"/>
                </a:cubicBezTo>
                <a:cubicBezTo>
                  <a:pt x="39" y="16"/>
                  <a:pt x="39" y="17"/>
                  <a:pt x="39" y="19"/>
                </a:cubicBezTo>
                <a:cubicBezTo>
                  <a:pt x="39" y="79"/>
                  <a:pt x="39" y="79"/>
                  <a:pt x="39" y="79"/>
                </a:cubicBezTo>
                <a:cubicBezTo>
                  <a:pt x="39" y="81"/>
                  <a:pt x="39" y="82"/>
                  <a:pt x="38" y="83"/>
                </a:cubicBezTo>
                <a:close/>
                <a:moveTo>
                  <a:pt x="23" y="26"/>
                </a:moveTo>
                <a:cubicBezTo>
                  <a:pt x="21" y="25"/>
                  <a:pt x="20" y="25"/>
                  <a:pt x="18" y="25"/>
                </a:cubicBezTo>
                <a:cubicBezTo>
                  <a:pt x="17" y="25"/>
                  <a:pt x="15" y="25"/>
                  <a:pt x="14" y="26"/>
                </a:cubicBezTo>
                <a:cubicBezTo>
                  <a:pt x="13" y="28"/>
                  <a:pt x="12" y="29"/>
                  <a:pt x="12" y="31"/>
                </a:cubicBezTo>
                <a:cubicBezTo>
                  <a:pt x="12" y="32"/>
                  <a:pt x="13" y="34"/>
                  <a:pt x="14" y="35"/>
                </a:cubicBezTo>
                <a:cubicBezTo>
                  <a:pt x="15" y="36"/>
                  <a:pt x="17" y="37"/>
                  <a:pt x="18" y="37"/>
                </a:cubicBezTo>
                <a:cubicBezTo>
                  <a:pt x="20" y="37"/>
                  <a:pt x="21" y="36"/>
                  <a:pt x="23" y="35"/>
                </a:cubicBezTo>
                <a:cubicBezTo>
                  <a:pt x="24" y="34"/>
                  <a:pt x="24" y="32"/>
                  <a:pt x="24" y="31"/>
                </a:cubicBezTo>
                <a:cubicBezTo>
                  <a:pt x="24" y="29"/>
                  <a:pt x="24" y="28"/>
                  <a:pt x="23" y="26"/>
                </a:cubicBezTo>
                <a:close/>
                <a:moveTo>
                  <a:pt x="148" y="58"/>
                </a:moveTo>
                <a:cubicBezTo>
                  <a:pt x="148" y="53"/>
                  <a:pt x="146" y="49"/>
                  <a:pt x="144" y="45"/>
                </a:cubicBezTo>
                <a:cubicBezTo>
                  <a:pt x="145" y="41"/>
                  <a:pt x="145" y="38"/>
                  <a:pt x="144" y="34"/>
                </a:cubicBezTo>
                <a:cubicBezTo>
                  <a:pt x="143" y="30"/>
                  <a:pt x="141" y="27"/>
                  <a:pt x="138" y="25"/>
                </a:cubicBezTo>
                <a:cubicBezTo>
                  <a:pt x="139" y="18"/>
                  <a:pt x="137" y="12"/>
                  <a:pt x="134" y="8"/>
                </a:cubicBezTo>
                <a:cubicBezTo>
                  <a:pt x="130" y="3"/>
                  <a:pt x="124" y="1"/>
                  <a:pt x="115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05" y="0"/>
                  <a:pt x="105" y="0"/>
                  <a:pt x="105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99" y="0"/>
                  <a:pt x="94" y="1"/>
                  <a:pt x="89" y="2"/>
                </a:cubicBezTo>
                <a:cubicBezTo>
                  <a:pt x="84" y="3"/>
                  <a:pt x="81" y="4"/>
                  <a:pt x="78" y="5"/>
                </a:cubicBezTo>
                <a:cubicBezTo>
                  <a:pt x="75" y="5"/>
                  <a:pt x="71" y="7"/>
                  <a:pt x="67" y="8"/>
                </a:cubicBezTo>
                <a:cubicBezTo>
                  <a:pt x="59" y="11"/>
                  <a:pt x="54" y="12"/>
                  <a:pt x="52" y="13"/>
                </a:cubicBezTo>
                <a:cubicBezTo>
                  <a:pt x="50" y="13"/>
                  <a:pt x="49" y="13"/>
                  <a:pt x="47" y="14"/>
                </a:cubicBezTo>
                <a:cubicBezTo>
                  <a:pt x="46" y="16"/>
                  <a:pt x="46" y="17"/>
                  <a:pt x="46" y="19"/>
                </a:cubicBezTo>
                <a:cubicBezTo>
                  <a:pt x="46" y="79"/>
                  <a:pt x="46" y="79"/>
                  <a:pt x="46" y="79"/>
                </a:cubicBezTo>
                <a:cubicBezTo>
                  <a:pt x="46" y="81"/>
                  <a:pt x="46" y="82"/>
                  <a:pt x="47" y="83"/>
                </a:cubicBezTo>
                <a:cubicBezTo>
                  <a:pt x="48" y="84"/>
                  <a:pt x="50" y="85"/>
                  <a:pt x="51" y="85"/>
                </a:cubicBezTo>
                <a:cubicBezTo>
                  <a:pt x="53" y="85"/>
                  <a:pt x="55" y="87"/>
                  <a:pt x="58" y="91"/>
                </a:cubicBezTo>
                <a:cubicBezTo>
                  <a:pt x="62" y="94"/>
                  <a:pt x="65" y="98"/>
                  <a:pt x="68" y="102"/>
                </a:cubicBezTo>
                <a:cubicBezTo>
                  <a:pt x="72" y="108"/>
                  <a:pt x="75" y="112"/>
                  <a:pt x="78" y="114"/>
                </a:cubicBezTo>
                <a:cubicBezTo>
                  <a:pt x="79" y="115"/>
                  <a:pt x="80" y="116"/>
                  <a:pt x="80" y="118"/>
                </a:cubicBezTo>
                <a:cubicBezTo>
                  <a:pt x="81" y="120"/>
                  <a:pt x="82" y="122"/>
                  <a:pt x="82" y="123"/>
                </a:cubicBezTo>
                <a:cubicBezTo>
                  <a:pt x="82" y="124"/>
                  <a:pt x="83" y="126"/>
                  <a:pt x="83" y="128"/>
                </a:cubicBezTo>
                <a:cubicBezTo>
                  <a:pt x="84" y="131"/>
                  <a:pt x="84" y="133"/>
                  <a:pt x="85" y="134"/>
                </a:cubicBezTo>
                <a:cubicBezTo>
                  <a:pt x="85" y="136"/>
                  <a:pt x="86" y="137"/>
                  <a:pt x="86" y="139"/>
                </a:cubicBezTo>
                <a:cubicBezTo>
                  <a:pt x="87" y="141"/>
                  <a:pt x="88" y="143"/>
                  <a:pt x="90" y="144"/>
                </a:cubicBezTo>
                <a:cubicBezTo>
                  <a:pt x="91" y="145"/>
                  <a:pt x="92" y="146"/>
                  <a:pt x="94" y="146"/>
                </a:cubicBezTo>
                <a:cubicBezTo>
                  <a:pt x="97" y="146"/>
                  <a:pt x="99" y="145"/>
                  <a:pt x="102" y="145"/>
                </a:cubicBezTo>
                <a:cubicBezTo>
                  <a:pt x="104" y="144"/>
                  <a:pt x="106" y="143"/>
                  <a:pt x="107" y="142"/>
                </a:cubicBezTo>
                <a:cubicBezTo>
                  <a:pt x="109" y="141"/>
                  <a:pt x="110" y="140"/>
                  <a:pt x="111" y="138"/>
                </a:cubicBezTo>
                <a:cubicBezTo>
                  <a:pt x="112" y="137"/>
                  <a:pt x="113" y="135"/>
                  <a:pt x="113" y="134"/>
                </a:cubicBezTo>
                <a:cubicBezTo>
                  <a:pt x="114" y="133"/>
                  <a:pt x="114" y="131"/>
                  <a:pt x="115" y="129"/>
                </a:cubicBezTo>
                <a:cubicBezTo>
                  <a:pt x="115" y="127"/>
                  <a:pt x="115" y="126"/>
                  <a:pt x="115" y="125"/>
                </a:cubicBezTo>
                <a:cubicBezTo>
                  <a:pt x="115" y="124"/>
                  <a:pt x="115" y="123"/>
                  <a:pt x="115" y="121"/>
                </a:cubicBezTo>
                <a:cubicBezTo>
                  <a:pt x="115" y="119"/>
                  <a:pt x="115" y="117"/>
                  <a:pt x="114" y="114"/>
                </a:cubicBezTo>
                <a:cubicBezTo>
                  <a:pt x="114" y="112"/>
                  <a:pt x="113" y="110"/>
                  <a:pt x="112" y="109"/>
                </a:cubicBezTo>
                <a:cubicBezTo>
                  <a:pt x="112" y="107"/>
                  <a:pt x="111" y="106"/>
                  <a:pt x="110" y="103"/>
                </a:cubicBezTo>
                <a:cubicBezTo>
                  <a:pt x="110" y="103"/>
                  <a:pt x="109" y="102"/>
                  <a:pt x="109" y="102"/>
                </a:cubicBezTo>
                <a:cubicBezTo>
                  <a:pt x="108" y="101"/>
                  <a:pt x="108" y="100"/>
                  <a:pt x="108" y="99"/>
                </a:cubicBezTo>
                <a:cubicBezTo>
                  <a:pt x="108" y="99"/>
                  <a:pt x="107" y="98"/>
                  <a:pt x="107" y="97"/>
                </a:cubicBezTo>
                <a:cubicBezTo>
                  <a:pt x="133" y="97"/>
                  <a:pt x="133" y="97"/>
                  <a:pt x="133" y="97"/>
                </a:cubicBezTo>
                <a:cubicBezTo>
                  <a:pt x="138" y="97"/>
                  <a:pt x="142" y="95"/>
                  <a:pt x="146" y="92"/>
                </a:cubicBezTo>
                <a:cubicBezTo>
                  <a:pt x="150" y="88"/>
                  <a:pt x="151" y="84"/>
                  <a:pt x="151" y="79"/>
                </a:cubicBezTo>
                <a:cubicBezTo>
                  <a:pt x="151" y="74"/>
                  <a:pt x="150" y="69"/>
                  <a:pt x="146" y="65"/>
                </a:cubicBezTo>
                <a:cubicBezTo>
                  <a:pt x="147" y="62"/>
                  <a:pt x="148" y="60"/>
                  <a:pt x="148" y="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6" name="Freeform 327"/>
          <p:cNvSpPr>
            <a:spLocks noChangeAspect="1" noEditPoints="1"/>
          </p:cNvSpPr>
          <p:nvPr/>
        </p:nvSpPr>
        <p:spPr bwMode="auto">
          <a:xfrm>
            <a:off x="1992709" y="4033334"/>
            <a:ext cx="151447" cy="151447"/>
          </a:xfrm>
          <a:custGeom>
            <a:avLst/>
            <a:gdLst>
              <a:gd name="T0" fmla="*/ 137 w 145"/>
              <a:gd name="T1" fmla="*/ 138 h 146"/>
              <a:gd name="T2" fmla="*/ 8 w 145"/>
              <a:gd name="T3" fmla="*/ 138 h 146"/>
              <a:gd name="T4" fmla="*/ 8 w 145"/>
              <a:gd name="T5" fmla="*/ 8 h 146"/>
              <a:gd name="T6" fmla="*/ 137 w 145"/>
              <a:gd name="T7" fmla="*/ 8 h 146"/>
              <a:gd name="T8" fmla="*/ 123 w 145"/>
              <a:gd name="T9" fmla="*/ 74 h 146"/>
              <a:gd name="T10" fmla="*/ 72 w 145"/>
              <a:gd name="T11" fmla="*/ 63 h 146"/>
              <a:gd name="T12" fmla="*/ 22 w 145"/>
              <a:gd name="T13" fmla="*/ 74 h 146"/>
              <a:gd name="T14" fmla="*/ 26 w 145"/>
              <a:gd name="T15" fmla="*/ 130 h 146"/>
              <a:gd name="T16" fmla="*/ 111 w 145"/>
              <a:gd name="T17" fmla="*/ 134 h 146"/>
              <a:gd name="T18" fmla="*/ 124 w 145"/>
              <a:gd name="T19" fmla="*/ 99 h 146"/>
              <a:gd name="T20" fmla="*/ 43 w 145"/>
              <a:gd name="T21" fmla="*/ 81 h 146"/>
              <a:gd name="T22" fmla="*/ 36 w 145"/>
              <a:gd name="T23" fmla="*/ 81 h 146"/>
              <a:gd name="T24" fmla="*/ 50 w 145"/>
              <a:gd name="T25" fmla="*/ 75 h 146"/>
              <a:gd name="T26" fmla="*/ 54 w 145"/>
              <a:gd name="T27" fmla="*/ 9 h 146"/>
              <a:gd name="T28" fmla="*/ 37 w 145"/>
              <a:gd name="T29" fmla="*/ 9 h 146"/>
              <a:gd name="T30" fmla="*/ 46 w 145"/>
              <a:gd name="T31" fmla="*/ 37 h 146"/>
              <a:gd name="T32" fmla="*/ 53 w 145"/>
              <a:gd name="T33" fmla="*/ 37 h 146"/>
              <a:gd name="T34" fmla="*/ 63 w 145"/>
              <a:gd name="T35" fmla="*/ 121 h 146"/>
              <a:gd name="T36" fmla="*/ 52 w 145"/>
              <a:gd name="T37" fmla="*/ 119 h 146"/>
              <a:gd name="T38" fmla="*/ 57 w 145"/>
              <a:gd name="T39" fmla="*/ 87 h 146"/>
              <a:gd name="T40" fmla="*/ 59 w 145"/>
              <a:gd name="T41" fmla="*/ 116 h 146"/>
              <a:gd name="T42" fmla="*/ 69 w 145"/>
              <a:gd name="T43" fmla="*/ 87 h 146"/>
              <a:gd name="T44" fmla="*/ 78 w 145"/>
              <a:gd name="T45" fmla="*/ 24 h 146"/>
              <a:gd name="T46" fmla="*/ 62 w 145"/>
              <a:gd name="T47" fmla="*/ 33 h 146"/>
              <a:gd name="T48" fmla="*/ 71 w 145"/>
              <a:gd name="T49" fmla="*/ 57 h 146"/>
              <a:gd name="T50" fmla="*/ 74 w 145"/>
              <a:gd name="T51" fmla="*/ 31 h 146"/>
              <a:gd name="T52" fmla="*/ 68 w 145"/>
              <a:gd name="T53" fmla="*/ 46 h 146"/>
              <a:gd name="T54" fmla="*/ 74 w 145"/>
              <a:gd name="T55" fmla="*/ 31 h 146"/>
              <a:gd name="T56" fmla="*/ 92 w 145"/>
              <a:gd name="T57" fmla="*/ 118 h 146"/>
              <a:gd name="T58" fmla="*/ 81 w 145"/>
              <a:gd name="T59" fmla="*/ 121 h 146"/>
              <a:gd name="T60" fmla="*/ 81 w 145"/>
              <a:gd name="T61" fmla="*/ 75 h 146"/>
              <a:gd name="T62" fmla="*/ 92 w 145"/>
              <a:gd name="T63" fmla="*/ 90 h 146"/>
              <a:gd name="T64" fmla="*/ 87 w 145"/>
              <a:gd name="T65" fmla="*/ 97 h 146"/>
              <a:gd name="T66" fmla="*/ 81 w 145"/>
              <a:gd name="T67" fmla="*/ 115 h 146"/>
              <a:gd name="T68" fmla="*/ 97 w 145"/>
              <a:gd name="T69" fmla="*/ 56 h 146"/>
              <a:gd name="T70" fmla="*/ 97 w 145"/>
              <a:gd name="T71" fmla="*/ 21 h 146"/>
              <a:gd name="T72" fmla="*/ 92 w 145"/>
              <a:gd name="T73" fmla="*/ 49 h 146"/>
              <a:gd name="T74" fmla="*/ 86 w 145"/>
              <a:gd name="T75" fmla="*/ 21 h 146"/>
              <a:gd name="T76" fmla="*/ 90 w 145"/>
              <a:gd name="T77" fmla="*/ 57 h 146"/>
              <a:gd name="T78" fmla="*/ 117 w 145"/>
              <a:gd name="T79" fmla="*/ 109 h 146"/>
              <a:gd name="T80" fmla="*/ 115 w 145"/>
              <a:gd name="T81" fmla="*/ 118 h 146"/>
              <a:gd name="T82" fmla="*/ 98 w 145"/>
              <a:gd name="T83" fmla="*/ 110 h 146"/>
              <a:gd name="T84" fmla="*/ 107 w 145"/>
              <a:gd name="T85" fmla="*/ 86 h 146"/>
              <a:gd name="T86" fmla="*/ 117 w 145"/>
              <a:gd name="T87" fmla="*/ 105 h 146"/>
              <a:gd name="T88" fmla="*/ 107 w 145"/>
              <a:gd name="T89" fmla="*/ 116 h 146"/>
              <a:gd name="T90" fmla="*/ 110 w 145"/>
              <a:gd name="T91" fmla="*/ 111 h 146"/>
              <a:gd name="T92" fmla="*/ 104 w 145"/>
              <a:gd name="T93" fmla="*/ 100 h 146"/>
              <a:gd name="T94" fmla="*/ 107 w 145"/>
              <a:gd name="T95" fmla="*/ 9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19" y="146"/>
                  <a:pt x="13" y="143"/>
                  <a:pt x="8" y="138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2" y="14"/>
                  <a:pt x="8" y="8"/>
                </a:cubicBezTo>
                <a:cubicBezTo>
                  <a:pt x="13" y="3"/>
                  <a:pt x="19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124" y="99"/>
                </a:moveTo>
                <a:cubicBezTo>
                  <a:pt x="124" y="88"/>
                  <a:pt x="124" y="79"/>
                  <a:pt x="123" y="74"/>
                </a:cubicBezTo>
                <a:cubicBezTo>
                  <a:pt x="122" y="71"/>
                  <a:pt x="121" y="69"/>
                  <a:pt x="119" y="67"/>
                </a:cubicBezTo>
                <a:cubicBezTo>
                  <a:pt x="116" y="65"/>
                  <a:pt x="114" y="64"/>
                  <a:pt x="111" y="64"/>
                </a:cubicBezTo>
                <a:cubicBezTo>
                  <a:pt x="103" y="63"/>
                  <a:pt x="90" y="63"/>
                  <a:pt x="72" y="63"/>
                </a:cubicBezTo>
                <a:cubicBezTo>
                  <a:pt x="55" y="63"/>
                  <a:pt x="42" y="63"/>
                  <a:pt x="34" y="64"/>
                </a:cubicBezTo>
                <a:cubicBezTo>
                  <a:pt x="31" y="64"/>
                  <a:pt x="28" y="65"/>
                  <a:pt x="26" y="67"/>
                </a:cubicBezTo>
                <a:cubicBezTo>
                  <a:pt x="24" y="69"/>
                  <a:pt x="23" y="71"/>
                  <a:pt x="22" y="74"/>
                </a:cubicBezTo>
                <a:cubicBezTo>
                  <a:pt x="21" y="80"/>
                  <a:pt x="20" y="88"/>
                  <a:pt x="20" y="99"/>
                </a:cubicBezTo>
                <a:cubicBezTo>
                  <a:pt x="20" y="110"/>
                  <a:pt x="21" y="118"/>
                  <a:pt x="22" y="123"/>
                </a:cubicBezTo>
                <a:cubicBezTo>
                  <a:pt x="23" y="126"/>
                  <a:pt x="24" y="128"/>
                  <a:pt x="26" y="130"/>
                </a:cubicBezTo>
                <a:cubicBezTo>
                  <a:pt x="28" y="132"/>
                  <a:pt x="31" y="133"/>
                  <a:pt x="33" y="134"/>
                </a:cubicBezTo>
                <a:cubicBezTo>
                  <a:pt x="42" y="135"/>
                  <a:pt x="55" y="135"/>
                  <a:pt x="72" y="135"/>
                </a:cubicBezTo>
                <a:cubicBezTo>
                  <a:pt x="90" y="135"/>
                  <a:pt x="103" y="135"/>
                  <a:pt x="111" y="134"/>
                </a:cubicBezTo>
                <a:cubicBezTo>
                  <a:pt x="114" y="133"/>
                  <a:pt x="116" y="132"/>
                  <a:pt x="118" y="130"/>
                </a:cubicBezTo>
                <a:cubicBezTo>
                  <a:pt x="121" y="128"/>
                  <a:pt x="122" y="126"/>
                  <a:pt x="122" y="123"/>
                </a:cubicBezTo>
                <a:cubicBezTo>
                  <a:pt x="124" y="118"/>
                  <a:pt x="124" y="110"/>
                  <a:pt x="124" y="99"/>
                </a:cubicBezTo>
                <a:close/>
                <a:moveTo>
                  <a:pt x="50" y="75"/>
                </a:moveTo>
                <a:cubicBezTo>
                  <a:pt x="50" y="81"/>
                  <a:pt x="50" y="81"/>
                  <a:pt x="50" y="81"/>
                </a:cubicBezTo>
                <a:cubicBezTo>
                  <a:pt x="43" y="81"/>
                  <a:pt x="43" y="81"/>
                  <a:pt x="43" y="81"/>
                </a:cubicBezTo>
                <a:cubicBezTo>
                  <a:pt x="43" y="121"/>
                  <a:pt x="43" y="121"/>
                  <a:pt x="43" y="121"/>
                </a:cubicBezTo>
                <a:cubicBezTo>
                  <a:pt x="36" y="121"/>
                  <a:pt x="36" y="121"/>
                  <a:pt x="36" y="121"/>
                </a:cubicBezTo>
                <a:cubicBezTo>
                  <a:pt x="36" y="81"/>
                  <a:pt x="36" y="81"/>
                  <a:pt x="36" y="81"/>
                </a:cubicBezTo>
                <a:cubicBezTo>
                  <a:pt x="28" y="81"/>
                  <a:pt x="28" y="81"/>
                  <a:pt x="28" y="81"/>
                </a:cubicBezTo>
                <a:cubicBezTo>
                  <a:pt x="28" y="75"/>
                  <a:pt x="28" y="75"/>
                  <a:pt x="28" y="75"/>
                </a:cubicBezTo>
                <a:lnTo>
                  <a:pt x="50" y="75"/>
                </a:lnTo>
                <a:close/>
                <a:moveTo>
                  <a:pt x="53" y="37"/>
                </a:moveTo>
                <a:cubicBezTo>
                  <a:pt x="62" y="9"/>
                  <a:pt x="62" y="9"/>
                  <a:pt x="62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0" y="28"/>
                  <a:pt x="50" y="28"/>
                  <a:pt x="50" y="28"/>
                </a:cubicBezTo>
                <a:cubicBezTo>
                  <a:pt x="45" y="9"/>
                  <a:pt x="45" y="9"/>
                  <a:pt x="45" y="9"/>
                </a:cubicBezTo>
                <a:cubicBezTo>
                  <a:pt x="37" y="9"/>
                  <a:pt x="37" y="9"/>
                  <a:pt x="37" y="9"/>
                </a:cubicBezTo>
                <a:cubicBezTo>
                  <a:pt x="38" y="11"/>
                  <a:pt x="38" y="13"/>
                  <a:pt x="39" y="16"/>
                </a:cubicBezTo>
                <a:cubicBezTo>
                  <a:pt x="40" y="19"/>
                  <a:pt x="41" y="21"/>
                  <a:pt x="42" y="22"/>
                </a:cubicBezTo>
                <a:cubicBezTo>
                  <a:pt x="44" y="29"/>
                  <a:pt x="45" y="34"/>
                  <a:pt x="46" y="37"/>
                </a:cubicBezTo>
                <a:cubicBezTo>
                  <a:pt x="46" y="56"/>
                  <a:pt x="46" y="56"/>
                  <a:pt x="46" y="56"/>
                </a:cubicBezTo>
                <a:cubicBezTo>
                  <a:pt x="53" y="56"/>
                  <a:pt x="53" y="56"/>
                  <a:pt x="53" y="56"/>
                </a:cubicBezTo>
                <a:lnTo>
                  <a:pt x="53" y="37"/>
                </a:lnTo>
                <a:close/>
                <a:moveTo>
                  <a:pt x="69" y="87"/>
                </a:moveTo>
                <a:cubicBezTo>
                  <a:pt x="69" y="121"/>
                  <a:pt x="69" y="121"/>
                  <a:pt x="69" y="121"/>
                </a:cubicBezTo>
                <a:cubicBezTo>
                  <a:pt x="63" y="121"/>
                  <a:pt x="63" y="121"/>
                  <a:pt x="63" y="121"/>
                </a:cubicBezTo>
                <a:cubicBezTo>
                  <a:pt x="63" y="118"/>
                  <a:pt x="63" y="118"/>
                  <a:pt x="63" y="118"/>
                </a:cubicBezTo>
                <a:cubicBezTo>
                  <a:pt x="60" y="120"/>
                  <a:pt x="58" y="122"/>
                  <a:pt x="56" y="122"/>
                </a:cubicBezTo>
                <a:cubicBezTo>
                  <a:pt x="53" y="122"/>
                  <a:pt x="52" y="121"/>
                  <a:pt x="52" y="119"/>
                </a:cubicBezTo>
                <a:cubicBezTo>
                  <a:pt x="51" y="118"/>
                  <a:pt x="51" y="116"/>
                  <a:pt x="51" y="114"/>
                </a:cubicBezTo>
                <a:cubicBezTo>
                  <a:pt x="51" y="87"/>
                  <a:pt x="51" y="87"/>
                  <a:pt x="51" y="87"/>
                </a:cubicBezTo>
                <a:cubicBezTo>
                  <a:pt x="57" y="87"/>
                  <a:pt x="57" y="87"/>
                  <a:pt x="57" y="87"/>
                </a:cubicBezTo>
                <a:cubicBezTo>
                  <a:pt x="57" y="112"/>
                  <a:pt x="57" y="112"/>
                  <a:pt x="57" y="112"/>
                </a:cubicBezTo>
                <a:cubicBezTo>
                  <a:pt x="57" y="114"/>
                  <a:pt x="57" y="114"/>
                  <a:pt x="57" y="115"/>
                </a:cubicBezTo>
                <a:cubicBezTo>
                  <a:pt x="57" y="116"/>
                  <a:pt x="58" y="116"/>
                  <a:pt x="59" y="116"/>
                </a:cubicBezTo>
                <a:cubicBezTo>
                  <a:pt x="60" y="116"/>
                  <a:pt x="61" y="115"/>
                  <a:pt x="63" y="113"/>
                </a:cubicBezTo>
                <a:cubicBezTo>
                  <a:pt x="63" y="87"/>
                  <a:pt x="63" y="87"/>
                  <a:pt x="63" y="87"/>
                </a:cubicBezTo>
                <a:lnTo>
                  <a:pt x="69" y="87"/>
                </a:lnTo>
                <a:close/>
                <a:moveTo>
                  <a:pt x="80" y="45"/>
                </a:moveTo>
                <a:cubicBezTo>
                  <a:pt x="80" y="33"/>
                  <a:pt x="80" y="33"/>
                  <a:pt x="80" y="33"/>
                </a:cubicBezTo>
                <a:cubicBezTo>
                  <a:pt x="80" y="29"/>
                  <a:pt x="80" y="26"/>
                  <a:pt x="78" y="24"/>
                </a:cubicBezTo>
                <a:cubicBezTo>
                  <a:pt x="77" y="22"/>
                  <a:pt x="74" y="21"/>
                  <a:pt x="71" y="21"/>
                </a:cubicBezTo>
                <a:cubicBezTo>
                  <a:pt x="68" y="21"/>
                  <a:pt x="65" y="22"/>
                  <a:pt x="64" y="24"/>
                </a:cubicBezTo>
                <a:cubicBezTo>
                  <a:pt x="62" y="26"/>
                  <a:pt x="62" y="29"/>
                  <a:pt x="62" y="33"/>
                </a:cubicBezTo>
                <a:cubicBezTo>
                  <a:pt x="62" y="45"/>
                  <a:pt x="62" y="45"/>
                  <a:pt x="62" y="45"/>
                </a:cubicBezTo>
                <a:cubicBezTo>
                  <a:pt x="62" y="49"/>
                  <a:pt x="62" y="51"/>
                  <a:pt x="64" y="53"/>
                </a:cubicBezTo>
                <a:cubicBezTo>
                  <a:pt x="65" y="56"/>
                  <a:pt x="68" y="57"/>
                  <a:pt x="71" y="57"/>
                </a:cubicBezTo>
                <a:cubicBezTo>
                  <a:pt x="74" y="57"/>
                  <a:pt x="77" y="56"/>
                  <a:pt x="78" y="53"/>
                </a:cubicBezTo>
                <a:cubicBezTo>
                  <a:pt x="80" y="51"/>
                  <a:pt x="80" y="49"/>
                  <a:pt x="80" y="45"/>
                </a:cubicBezTo>
                <a:close/>
                <a:moveTo>
                  <a:pt x="74" y="31"/>
                </a:moveTo>
                <a:cubicBezTo>
                  <a:pt x="74" y="46"/>
                  <a:pt x="74" y="46"/>
                  <a:pt x="74" y="46"/>
                </a:cubicBezTo>
                <a:cubicBezTo>
                  <a:pt x="74" y="49"/>
                  <a:pt x="73" y="51"/>
                  <a:pt x="71" y="51"/>
                </a:cubicBezTo>
                <a:cubicBezTo>
                  <a:pt x="69" y="51"/>
                  <a:pt x="68" y="49"/>
                  <a:pt x="68" y="46"/>
                </a:cubicBezTo>
                <a:cubicBezTo>
                  <a:pt x="68" y="31"/>
                  <a:pt x="68" y="31"/>
                  <a:pt x="68" y="31"/>
                </a:cubicBezTo>
                <a:cubicBezTo>
                  <a:pt x="68" y="28"/>
                  <a:pt x="69" y="26"/>
                  <a:pt x="71" y="26"/>
                </a:cubicBezTo>
                <a:cubicBezTo>
                  <a:pt x="73" y="26"/>
                  <a:pt x="74" y="28"/>
                  <a:pt x="74" y="31"/>
                </a:cubicBezTo>
                <a:close/>
                <a:moveTo>
                  <a:pt x="93" y="97"/>
                </a:moveTo>
                <a:cubicBezTo>
                  <a:pt x="93" y="111"/>
                  <a:pt x="93" y="111"/>
                  <a:pt x="93" y="111"/>
                </a:cubicBezTo>
                <a:cubicBezTo>
                  <a:pt x="93" y="114"/>
                  <a:pt x="93" y="117"/>
                  <a:pt x="92" y="118"/>
                </a:cubicBezTo>
                <a:cubicBezTo>
                  <a:pt x="91" y="120"/>
                  <a:pt x="90" y="122"/>
                  <a:pt x="87" y="122"/>
                </a:cubicBezTo>
                <a:cubicBezTo>
                  <a:pt x="85" y="122"/>
                  <a:pt x="83" y="121"/>
                  <a:pt x="81" y="118"/>
                </a:cubicBezTo>
                <a:cubicBezTo>
                  <a:pt x="81" y="121"/>
                  <a:pt x="81" y="121"/>
                  <a:pt x="81" y="121"/>
                </a:cubicBezTo>
                <a:cubicBezTo>
                  <a:pt x="74" y="121"/>
                  <a:pt x="74" y="121"/>
                  <a:pt x="74" y="121"/>
                </a:cubicBezTo>
                <a:cubicBezTo>
                  <a:pt x="74" y="75"/>
                  <a:pt x="74" y="75"/>
                  <a:pt x="74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81" y="90"/>
                  <a:pt x="81" y="90"/>
                  <a:pt x="81" y="90"/>
                </a:cubicBezTo>
                <a:cubicBezTo>
                  <a:pt x="83" y="87"/>
                  <a:pt x="85" y="86"/>
                  <a:pt x="87" y="86"/>
                </a:cubicBezTo>
                <a:cubicBezTo>
                  <a:pt x="90" y="86"/>
                  <a:pt x="91" y="87"/>
                  <a:pt x="92" y="90"/>
                </a:cubicBezTo>
                <a:cubicBezTo>
                  <a:pt x="93" y="91"/>
                  <a:pt x="93" y="94"/>
                  <a:pt x="93" y="97"/>
                </a:cubicBezTo>
                <a:close/>
                <a:moveTo>
                  <a:pt x="87" y="111"/>
                </a:moveTo>
                <a:cubicBezTo>
                  <a:pt x="87" y="97"/>
                  <a:pt x="87" y="97"/>
                  <a:pt x="87" y="97"/>
                </a:cubicBezTo>
                <a:cubicBezTo>
                  <a:pt x="87" y="93"/>
                  <a:pt x="86" y="92"/>
                  <a:pt x="84" y="92"/>
                </a:cubicBezTo>
                <a:cubicBezTo>
                  <a:pt x="83" y="92"/>
                  <a:pt x="82" y="92"/>
                  <a:pt x="81" y="93"/>
                </a:cubicBezTo>
                <a:cubicBezTo>
                  <a:pt x="81" y="115"/>
                  <a:pt x="81" y="115"/>
                  <a:pt x="81" y="115"/>
                </a:cubicBezTo>
                <a:cubicBezTo>
                  <a:pt x="82" y="116"/>
                  <a:pt x="83" y="116"/>
                  <a:pt x="84" y="116"/>
                </a:cubicBezTo>
                <a:cubicBezTo>
                  <a:pt x="86" y="116"/>
                  <a:pt x="87" y="114"/>
                  <a:pt x="87" y="111"/>
                </a:cubicBezTo>
                <a:close/>
                <a:moveTo>
                  <a:pt x="97" y="56"/>
                </a:moveTo>
                <a:cubicBezTo>
                  <a:pt x="104" y="56"/>
                  <a:pt x="104" y="56"/>
                  <a:pt x="104" y="56"/>
                </a:cubicBezTo>
                <a:cubicBezTo>
                  <a:pt x="104" y="21"/>
                  <a:pt x="104" y="21"/>
                  <a:pt x="104" y="21"/>
                </a:cubicBezTo>
                <a:cubicBezTo>
                  <a:pt x="97" y="21"/>
                  <a:pt x="97" y="21"/>
                  <a:pt x="97" y="21"/>
                </a:cubicBezTo>
                <a:cubicBezTo>
                  <a:pt x="97" y="48"/>
                  <a:pt x="97" y="48"/>
                  <a:pt x="97" y="48"/>
                </a:cubicBezTo>
                <a:cubicBezTo>
                  <a:pt x="96" y="50"/>
                  <a:pt x="95" y="51"/>
                  <a:pt x="93" y="51"/>
                </a:cubicBezTo>
                <a:cubicBezTo>
                  <a:pt x="93" y="51"/>
                  <a:pt x="92" y="50"/>
                  <a:pt x="92" y="49"/>
                </a:cubicBezTo>
                <a:cubicBezTo>
                  <a:pt x="92" y="49"/>
                  <a:pt x="92" y="49"/>
                  <a:pt x="92" y="47"/>
                </a:cubicBezTo>
                <a:cubicBezTo>
                  <a:pt x="92" y="21"/>
                  <a:pt x="92" y="21"/>
                  <a:pt x="92" y="21"/>
                </a:cubicBezTo>
                <a:cubicBezTo>
                  <a:pt x="86" y="21"/>
                  <a:pt x="86" y="21"/>
                  <a:pt x="86" y="21"/>
                </a:cubicBezTo>
                <a:cubicBezTo>
                  <a:pt x="86" y="49"/>
                  <a:pt x="86" y="49"/>
                  <a:pt x="86" y="49"/>
                </a:cubicBezTo>
                <a:cubicBezTo>
                  <a:pt x="86" y="51"/>
                  <a:pt x="86" y="53"/>
                  <a:pt x="86" y="54"/>
                </a:cubicBezTo>
                <a:cubicBezTo>
                  <a:pt x="87" y="56"/>
                  <a:pt x="88" y="57"/>
                  <a:pt x="90" y="57"/>
                </a:cubicBezTo>
                <a:cubicBezTo>
                  <a:pt x="92" y="57"/>
                  <a:pt x="95" y="55"/>
                  <a:pt x="97" y="53"/>
                </a:cubicBezTo>
                <a:lnTo>
                  <a:pt x="97" y="56"/>
                </a:lnTo>
                <a:close/>
                <a:moveTo>
                  <a:pt x="117" y="109"/>
                </a:moveTo>
                <a:cubicBezTo>
                  <a:pt x="117" y="110"/>
                  <a:pt x="117" y="110"/>
                  <a:pt x="117" y="110"/>
                </a:cubicBezTo>
                <a:cubicBezTo>
                  <a:pt x="117" y="112"/>
                  <a:pt x="117" y="113"/>
                  <a:pt x="116" y="114"/>
                </a:cubicBezTo>
                <a:cubicBezTo>
                  <a:pt x="116" y="116"/>
                  <a:pt x="116" y="117"/>
                  <a:pt x="115" y="118"/>
                </a:cubicBezTo>
                <a:cubicBezTo>
                  <a:pt x="113" y="121"/>
                  <a:pt x="111" y="122"/>
                  <a:pt x="107" y="122"/>
                </a:cubicBezTo>
                <a:cubicBezTo>
                  <a:pt x="104" y="122"/>
                  <a:pt x="102" y="121"/>
                  <a:pt x="100" y="118"/>
                </a:cubicBezTo>
                <a:cubicBezTo>
                  <a:pt x="98" y="117"/>
                  <a:pt x="98" y="114"/>
                  <a:pt x="98" y="110"/>
                </a:cubicBezTo>
                <a:cubicBezTo>
                  <a:pt x="98" y="98"/>
                  <a:pt x="98" y="98"/>
                  <a:pt x="98" y="98"/>
                </a:cubicBezTo>
                <a:cubicBezTo>
                  <a:pt x="98" y="94"/>
                  <a:pt x="98" y="91"/>
                  <a:pt x="100" y="90"/>
                </a:cubicBezTo>
                <a:cubicBezTo>
                  <a:pt x="102" y="87"/>
                  <a:pt x="104" y="86"/>
                  <a:pt x="107" y="86"/>
                </a:cubicBezTo>
                <a:cubicBezTo>
                  <a:pt x="110" y="86"/>
                  <a:pt x="113" y="87"/>
                  <a:pt x="115" y="90"/>
                </a:cubicBezTo>
                <a:cubicBezTo>
                  <a:pt x="116" y="92"/>
                  <a:pt x="117" y="94"/>
                  <a:pt x="117" y="98"/>
                </a:cubicBezTo>
                <a:cubicBezTo>
                  <a:pt x="117" y="105"/>
                  <a:pt x="117" y="105"/>
                  <a:pt x="117" y="105"/>
                </a:cubicBezTo>
                <a:cubicBezTo>
                  <a:pt x="104" y="105"/>
                  <a:pt x="104" y="105"/>
                  <a:pt x="104" y="105"/>
                </a:cubicBezTo>
                <a:cubicBezTo>
                  <a:pt x="104" y="111"/>
                  <a:pt x="104" y="111"/>
                  <a:pt x="104" y="111"/>
                </a:cubicBezTo>
                <a:cubicBezTo>
                  <a:pt x="104" y="114"/>
                  <a:pt x="105" y="116"/>
                  <a:pt x="107" y="116"/>
                </a:cubicBezTo>
                <a:cubicBezTo>
                  <a:pt x="109" y="116"/>
                  <a:pt x="110" y="115"/>
                  <a:pt x="110" y="114"/>
                </a:cubicBezTo>
                <a:cubicBezTo>
                  <a:pt x="110" y="114"/>
                  <a:pt x="110" y="113"/>
                  <a:pt x="110" y="113"/>
                </a:cubicBezTo>
                <a:cubicBezTo>
                  <a:pt x="110" y="113"/>
                  <a:pt x="110" y="112"/>
                  <a:pt x="110" y="111"/>
                </a:cubicBezTo>
                <a:cubicBezTo>
                  <a:pt x="110" y="111"/>
                  <a:pt x="110" y="110"/>
                  <a:pt x="110" y="109"/>
                </a:cubicBezTo>
                <a:lnTo>
                  <a:pt x="117" y="109"/>
                </a:lnTo>
                <a:close/>
                <a:moveTo>
                  <a:pt x="104" y="100"/>
                </a:moveTo>
                <a:cubicBezTo>
                  <a:pt x="110" y="100"/>
                  <a:pt x="110" y="100"/>
                  <a:pt x="110" y="100"/>
                </a:cubicBezTo>
                <a:cubicBezTo>
                  <a:pt x="110" y="97"/>
                  <a:pt x="110" y="97"/>
                  <a:pt x="110" y="97"/>
                </a:cubicBezTo>
                <a:cubicBezTo>
                  <a:pt x="110" y="93"/>
                  <a:pt x="109" y="92"/>
                  <a:pt x="107" y="92"/>
                </a:cubicBezTo>
                <a:cubicBezTo>
                  <a:pt x="105" y="92"/>
                  <a:pt x="104" y="93"/>
                  <a:pt x="104" y="97"/>
                </a:cubicBezTo>
                <a:lnTo>
                  <a:pt x="104" y="1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7" name="Freeform 328"/>
          <p:cNvSpPr>
            <a:spLocks noChangeAspect="1" noEditPoints="1"/>
          </p:cNvSpPr>
          <p:nvPr/>
        </p:nvSpPr>
        <p:spPr bwMode="auto">
          <a:xfrm>
            <a:off x="2192556" y="4020843"/>
            <a:ext cx="145202" cy="176428"/>
          </a:xfrm>
          <a:custGeom>
            <a:avLst/>
            <a:gdLst>
              <a:gd name="T0" fmla="*/ 132 w 140"/>
              <a:gd name="T1" fmla="*/ 163 h 170"/>
              <a:gd name="T2" fmla="*/ 17 w 140"/>
              <a:gd name="T3" fmla="*/ 168 h 170"/>
              <a:gd name="T4" fmla="*/ 0 w 140"/>
              <a:gd name="T5" fmla="*/ 121 h 170"/>
              <a:gd name="T6" fmla="*/ 18 w 140"/>
              <a:gd name="T7" fmla="*/ 74 h 170"/>
              <a:gd name="T8" fmla="*/ 132 w 140"/>
              <a:gd name="T9" fmla="*/ 78 h 170"/>
              <a:gd name="T10" fmla="*/ 30 w 140"/>
              <a:gd name="T11" fmla="*/ 97 h 170"/>
              <a:gd name="T12" fmla="*/ 10 w 140"/>
              <a:gd name="T13" fmla="*/ 88 h 170"/>
              <a:gd name="T14" fmla="*/ 20 w 140"/>
              <a:gd name="T15" fmla="*/ 151 h 170"/>
              <a:gd name="T16" fmla="*/ 46 w 140"/>
              <a:gd name="T17" fmla="*/ 0 h 170"/>
              <a:gd name="T18" fmla="*/ 44 w 140"/>
              <a:gd name="T19" fmla="*/ 64 h 170"/>
              <a:gd name="T20" fmla="*/ 29 w 140"/>
              <a:gd name="T21" fmla="*/ 18 h 170"/>
              <a:gd name="T22" fmla="*/ 39 w 140"/>
              <a:gd name="T23" fmla="*/ 25 h 170"/>
              <a:gd name="T24" fmla="*/ 65 w 140"/>
              <a:gd name="T25" fmla="*/ 151 h 170"/>
              <a:gd name="T26" fmla="*/ 57 w 140"/>
              <a:gd name="T27" fmla="*/ 140 h 170"/>
              <a:gd name="T28" fmla="*/ 49 w 140"/>
              <a:gd name="T29" fmla="*/ 139 h 170"/>
              <a:gd name="T30" fmla="*/ 41 w 140"/>
              <a:gd name="T31" fmla="*/ 141 h 170"/>
              <a:gd name="T32" fmla="*/ 57 w 140"/>
              <a:gd name="T33" fmla="*/ 146 h 170"/>
              <a:gd name="T34" fmla="*/ 81 w 140"/>
              <a:gd name="T35" fmla="*/ 48 h 170"/>
              <a:gd name="T36" fmla="*/ 58 w 140"/>
              <a:gd name="T37" fmla="*/ 59 h 170"/>
              <a:gd name="T38" fmla="*/ 58 w 140"/>
              <a:gd name="T39" fmla="*/ 21 h 170"/>
              <a:gd name="T40" fmla="*/ 81 w 140"/>
              <a:gd name="T41" fmla="*/ 32 h 170"/>
              <a:gd name="T42" fmla="*/ 68 w 140"/>
              <a:gd name="T43" fmla="*/ 23 h 170"/>
              <a:gd name="T44" fmla="*/ 68 w 140"/>
              <a:gd name="T45" fmla="*/ 56 h 170"/>
              <a:gd name="T46" fmla="*/ 98 w 140"/>
              <a:gd name="T47" fmla="*/ 118 h 170"/>
              <a:gd name="T48" fmla="*/ 81 w 140"/>
              <a:gd name="T49" fmla="*/ 109 h 170"/>
              <a:gd name="T50" fmla="*/ 73 w 140"/>
              <a:gd name="T51" fmla="*/ 151 h 170"/>
              <a:gd name="T52" fmla="*/ 90 w 140"/>
              <a:gd name="T53" fmla="*/ 152 h 170"/>
              <a:gd name="T54" fmla="*/ 89 w 140"/>
              <a:gd name="T55" fmla="*/ 118 h 170"/>
              <a:gd name="T56" fmla="*/ 81 w 140"/>
              <a:gd name="T57" fmla="*/ 142 h 170"/>
              <a:gd name="T58" fmla="*/ 89 w 140"/>
              <a:gd name="T59" fmla="*/ 118 h 170"/>
              <a:gd name="T60" fmla="*/ 104 w 140"/>
              <a:gd name="T61" fmla="*/ 64 h 170"/>
              <a:gd name="T62" fmla="*/ 88 w 140"/>
              <a:gd name="T63" fmla="*/ 61 h 170"/>
              <a:gd name="T64" fmla="*/ 96 w 140"/>
              <a:gd name="T65" fmla="*/ 16 h 170"/>
              <a:gd name="T66" fmla="*/ 98 w 140"/>
              <a:gd name="T67" fmla="*/ 56 h 170"/>
              <a:gd name="T68" fmla="*/ 112 w 140"/>
              <a:gd name="T69" fmla="*/ 16 h 170"/>
              <a:gd name="T70" fmla="*/ 121 w 140"/>
              <a:gd name="T71" fmla="*/ 135 h 170"/>
              <a:gd name="T72" fmla="*/ 113 w 140"/>
              <a:gd name="T73" fmla="*/ 138 h 170"/>
              <a:gd name="T74" fmla="*/ 129 w 140"/>
              <a:gd name="T75" fmla="*/ 120 h 170"/>
              <a:gd name="T76" fmla="*/ 107 w 140"/>
              <a:gd name="T77" fmla="*/ 109 h 170"/>
              <a:gd name="T78" fmla="*/ 107 w 140"/>
              <a:gd name="T79" fmla="*/ 147 h 170"/>
              <a:gd name="T80" fmla="*/ 129 w 140"/>
              <a:gd name="T81" fmla="*/ 142 h 170"/>
              <a:gd name="T82" fmla="*/ 121 w 140"/>
              <a:gd name="T83" fmla="*/ 122 h 170"/>
              <a:gd name="T84" fmla="*/ 117 w 140"/>
              <a:gd name="T85" fmla="*/ 11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0" h="170">
                <a:moveTo>
                  <a:pt x="140" y="121"/>
                </a:moveTo>
                <a:cubicBezTo>
                  <a:pt x="140" y="136"/>
                  <a:pt x="139" y="147"/>
                  <a:pt x="138" y="154"/>
                </a:cubicBezTo>
                <a:cubicBezTo>
                  <a:pt x="137" y="158"/>
                  <a:pt x="135" y="161"/>
                  <a:pt x="132" y="163"/>
                </a:cubicBezTo>
                <a:cubicBezTo>
                  <a:pt x="129" y="166"/>
                  <a:pt x="126" y="167"/>
                  <a:pt x="122" y="168"/>
                </a:cubicBezTo>
                <a:cubicBezTo>
                  <a:pt x="111" y="169"/>
                  <a:pt x="93" y="170"/>
                  <a:pt x="70" y="170"/>
                </a:cubicBezTo>
                <a:cubicBezTo>
                  <a:pt x="47" y="170"/>
                  <a:pt x="29" y="169"/>
                  <a:pt x="17" y="168"/>
                </a:cubicBezTo>
                <a:cubicBezTo>
                  <a:pt x="14" y="167"/>
                  <a:pt x="11" y="166"/>
                  <a:pt x="8" y="163"/>
                </a:cubicBezTo>
                <a:cubicBezTo>
                  <a:pt x="5" y="161"/>
                  <a:pt x="3" y="158"/>
                  <a:pt x="2" y="154"/>
                </a:cubicBezTo>
                <a:cubicBezTo>
                  <a:pt x="1" y="147"/>
                  <a:pt x="0" y="136"/>
                  <a:pt x="0" y="121"/>
                </a:cubicBezTo>
                <a:cubicBezTo>
                  <a:pt x="0" y="106"/>
                  <a:pt x="1" y="95"/>
                  <a:pt x="2" y="88"/>
                </a:cubicBezTo>
                <a:cubicBezTo>
                  <a:pt x="3" y="84"/>
                  <a:pt x="5" y="81"/>
                  <a:pt x="8" y="78"/>
                </a:cubicBezTo>
                <a:cubicBezTo>
                  <a:pt x="11" y="76"/>
                  <a:pt x="14" y="74"/>
                  <a:pt x="18" y="74"/>
                </a:cubicBezTo>
                <a:cubicBezTo>
                  <a:pt x="29" y="73"/>
                  <a:pt x="47" y="72"/>
                  <a:pt x="70" y="72"/>
                </a:cubicBezTo>
                <a:cubicBezTo>
                  <a:pt x="93" y="72"/>
                  <a:pt x="111" y="73"/>
                  <a:pt x="122" y="74"/>
                </a:cubicBezTo>
                <a:cubicBezTo>
                  <a:pt x="126" y="74"/>
                  <a:pt x="129" y="76"/>
                  <a:pt x="132" y="78"/>
                </a:cubicBezTo>
                <a:cubicBezTo>
                  <a:pt x="135" y="81"/>
                  <a:pt x="137" y="84"/>
                  <a:pt x="138" y="88"/>
                </a:cubicBezTo>
                <a:cubicBezTo>
                  <a:pt x="139" y="95"/>
                  <a:pt x="140" y="106"/>
                  <a:pt x="140" y="121"/>
                </a:cubicBezTo>
                <a:close/>
                <a:moveTo>
                  <a:pt x="30" y="97"/>
                </a:moveTo>
                <a:cubicBezTo>
                  <a:pt x="40" y="97"/>
                  <a:pt x="40" y="97"/>
                  <a:pt x="40" y="97"/>
                </a:cubicBezTo>
                <a:cubicBezTo>
                  <a:pt x="40" y="88"/>
                  <a:pt x="40" y="88"/>
                  <a:pt x="40" y="88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97"/>
                  <a:pt x="10" y="97"/>
                  <a:pt x="10" y="97"/>
                </a:cubicBezTo>
                <a:cubicBezTo>
                  <a:pt x="20" y="97"/>
                  <a:pt x="20" y="97"/>
                  <a:pt x="20" y="97"/>
                </a:cubicBezTo>
                <a:cubicBezTo>
                  <a:pt x="20" y="151"/>
                  <a:pt x="20" y="151"/>
                  <a:pt x="20" y="151"/>
                </a:cubicBezTo>
                <a:cubicBezTo>
                  <a:pt x="30" y="151"/>
                  <a:pt x="30" y="151"/>
                  <a:pt x="30" y="151"/>
                </a:cubicBezTo>
                <a:lnTo>
                  <a:pt x="30" y="97"/>
                </a:lnTo>
                <a:close/>
                <a:moveTo>
                  <a:pt x="46" y="0"/>
                </a:moveTo>
                <a:cubicBezTo>
                  <a:pt x="55" y="0"/>
                  <a:pt x="55" y="0"/>
                  <a:pt x="55" y="0"/>
                </a:cubicBezTo>
                <a:cubicBezTo>
                  <a:pt x="44" y="38"/>
                  <a:pt x="44" y="38"/>
                  <a:pt x="44" y="38"/>
                </a:cubicBezTo>
                <a:cubicBezTo>
                  <a:pt x="44" y="64"/>
                  <a:pt x="44" y="64"/>
                  <a:pt x="44" y="64"/>
                </a:cubicBezTo>
                <a:cubicBezTo>
                  <a:pt x="34" y="64"/>
                  <a:pt x="34" y="64"/>
                  <a:pt x="34" y="64"/>
                </a:cubicBezTo>
                <a:cubicBezTo>
                  <a:pt x="34" y="38"/>
                  <a:pt x="34" y="38"/>
                  <a:pt x="34" y="38"/>
                </a:cubicBezTo>
                <a:cubicBezTo>
                  <a:pt x="33" y="33"/>
                  <a:pt x="32" y="27"/>
                  <a:pt x="29" y="18"/>
                </a:cubicBezTo>
                <a:cubicBezTo>
                  <a:pt x="26" y="11"/>
                  <a:pt x="24" y="6"/>
                  <a:pt x="22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9" y="25"/>
                  <a:pt x="39" y="25"/>
                  <a:pt x="39" y="25"/>
                </a:cubicBezTo>
                <a:lnTo>
                  <a:pt x="46" y="0"/>
                </a:lnTo>
                <a:close/>
                <a:moveTo>
                  <a:pt x="57" y="151"/>
                </a:moveTo>
                <a:cubicBezTo>
                  <a:pt x="65" y="151"/>
                  <a:pt x="65" y="151"/>
                  <a:pt x="65" y="151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57" y="104"/>
                  <a:pt x="57" y="104"/>
                  <a:pt x="57" y="104"/>
                </a:cubicBezTo>
                <a:cubicBezTo>
                  <a:pt x="57" y="140"/>
                  <a:pt x="57" y="140"/>
                  <a:pt x="57" y="140"/>
                </a:cubicBezTo>
                <a:cubicBezTo>
                  <a:pt x="55" y="143"/>
                  <a:pt x="53" y="144"/>
                  <a:pt x="52" y="144"/>
                </a:cubicBezTo>
                <a:cubicBezTo>
                  <a:pt x="50" y="144"/>
                  <a:pt x="50" y="143"/>
                  <a:pt x="50" y="142"/>
                </a:cubicBezTo>
                <a:cubicBezTo>
                  <a:pt x="50" y="142"/>
                  <a:pt x="49" y="141"/>
                  <a:pt x="49" y="139"/>
                </a:cubicBezTo>
                <a:cubicBezTo>
                  <a:pt x="49" y="104"/>
                  <a:pt x="49" y="104"/>
                  <a:pt x="49" y="104"/>
                </a:cubicBezTo>
                <a:cubicBezTo>
                  <a:pt x="41" y="104"/>
                  <a:pt x="41" y="104"/>
                  <a:pt x="41" y="104"/>
                </a:cubicBezTo>
                <a:cubicBezTo>
                  <a:pt x="41" y="141"/>
                  <a:pt x="41" y="141"/>
                  <a:pt x="41" y="141"/>
                </a:cubicBezTo>
                <a:cubicBezTo>
                  <a:pt x="41" y="144"/>
                  <a:pt x="41" y="147"/>
                  <a:pt x="42" y="148"/>
                </a:cubicBezTo>
                <a:cubicBezTo>
                  <a:pt x="43" y="151"/>
                  <a:pt x="44" y="152"/>
                  <a:pt x="47" y="152"/>
                </a:cubicBezTo>
                <a:cubicBezTo>
                  <a:pt x="50" y="152"/>
                  <a:pt x="54" y="150"/>
                  <a:pt x="57" y="146"/>
                </a:cubicBezTo>
                <a:lnTo>
                  <a:pt x="57" y="151"/>
                </a:lnTo>
                <a:close/>
                <a:moveTo>
                  <a:pt x="81" y="32"/>
                </a:moveTo>
                <a:cubicBezTo>
                  <a:pt x="81" y="48"/>
                  <a:pt x="81" y="48"/>
                  <a:pt x="81" y="48"/>
                </a:cubicBezTo>
                <a:cubicBezTo>
                  <a:pt x="81" y="53"/>
                  <a:pt x="80" y="57"/>
                  <a:pt x="78" y="59"/>
                </a:cubicBezTo>
                <a:cubicBezTo>
                  <a:pt x="76" y="63"/>
                  <a:pt x="72" y="64"/>
                  <a:pt x="68" y="64"/>
                </a:cubicBezTo>
                <a:cubicBezTo>
                  <a:pt x="64" y="64"/>
                  <a:pt x="60" y="63"/>
                  <a:pt x="58" y="59"/>
                </a:cubicBezTo>
                <a:cubicBezTo>
                  <a:pt x="56" y="57"/>
                  <a:pt x="55" y="53"/>
                  <a:pt x="55" y="48"/>
                </a:cubicBezTo>
                <a:cubicBezTo>
                  <a:pt x="55" y="32"/>
                  <a:pt x="55" y="32"/>
                  <a:pt x="55" y="32"/>
                </a:cubicBezTo>
                <a:cubicBezTo>
                  <a:pt x="55" y="27"/>
                  <a:pt x="56" y="23"/>
                  <a:pt x="58" y="21"/>
                </a:cubicBezTo>
                <a:cubicBezTo>
                  <a:pt x="60" y="17"/>
                  <a:pt x="64" y="16"/>
                  <a:pt x="68" y="16"/>
                </a:cubicBezTo>
                <a:cubicBezTo>
                  <a:pt x="72" y="16"/>
                  <a:pt x="76" y="17"/>
                  <a:pt x="78" y="21"/>
                </a:cubicBezTo>
                <a:cubicBezTo>
                  <a:pt x="80" y="23"/>
                  <a:pt x="81" y="27"/>
                  <a:pt x="81" y="32"/>
                </a:cubicBezTo>
                <a:close/>
                <a:moveTo>
                  <a:pt x="72" y="50"/>
                </a:moveTo>
                <a:cubicBezTo>
                  <a:pt x="72" y="30"/>
                  <a:pt x="72" y="30"/>
                  <a:pt x="72" y="30"/>
                </a:cubicBezTo>
                <a:cubicBezTo>
                  <a:pt x="72" y="26"/>
                  <a:pt x="71" y="23"/>
                  <a:pt x="68" y="23"/>
                </a:cubicBezTo>
                <a:cubicBezTo>
                  <a:pt x="65" y="23"/>
                  <a:pt x="64" y="26"/>
                  <a:pt x="64" y="30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54"/>
                  <a:pt x="65" y="56"/>
                  <a:pt x="68" y="56"/>
                </a:cubicBezTo>
                <a:cubicBezTo>
                  <a:pt x="71" y="56"/>
                  <a:pt x="72" y="54"/>
                  <a:pt x="72" y="50"/>
                </a:cubicBezTo>
                <a:close/>
                <a:moveTo>
                  <a:pt x="98" y="137"/>
                </a:moveTo>
                <a:cubicBezTo>
                  <a:pt x="98" y="118"/>
                  <a:pt x="98" y="118"/>
                  <a:pt x="98" y="118"/>
                </a:cubicBezTo>
                <a:cubicBezTo>
                  <a:pt x="98" y="114"/>
                  <a:pt x="97" y="111"/>
                  <a:pt x="97" y="109"/>
                </a:cubicBezTo>
                <a:cubicBezTo>
                  <a:pt x="96" y="106"/>
                  <a:pt x="93" y="104"/>
                  <a:pt x="90" y="104"/>
                </a:cubicBezTo>
                <a:cubicBezTo>
                  <a:pt x="87" y="104"/>
                  <a:pt x="84" y="106"/>
                  <a:pt x="81" y="109"/>
                </a:cubicBezTo>
                <a:cubicBezTo>
                  <a:pt x="81" y="88"/>
                  <a:pt x="81" y="88"/>
                  <a:pt x="81" y="88"/>
                </a:cubicBezTo>
                <a:cubicBezTo>
                  <a:pt x="73" y="88"/>
                  <a:pt x="73" y="88"/>
                  <a:pt x="73" y="88"/>
                </a:cubicBezTo>
                <a:cubicBezTo>
                  <a:pt x="73" y="151"/>
                  <a:pt x="73" y="151"/>
                  <a:pt x="73" y="151"/>
                </a:cubicBezTo>
                <a:cubicBezTo>
                  <a:pt x="81" y="151"/>
                  <a:pt x="81" y="151"/>
                  <a:pt x="81" y="151"/>
                </a:cubicBezTo>
                <a:cubicBezTo>
                  <a:pt x="81" y="147"/>
                  <a:pt x="81" y="147"/>
                  <a:pt x="81" y="147"/>
                </a:cubicBezTo>
                <a:cubicBezTo>
                  <a:pt x="84" y="150"/>
                  <a:pt x="87" y="152"/>
                  <a:pt x="90" y="152"/>
                </a:cubicBezTo>
                <a:cubicBezTo>
                  <a:pt x="93" y="152"/>
                  <a:pt x="96" y="150"/>
                  <a:pt x="97" y="147"/>
                </a:cubicBezTo>
                <a:cubicBezTo>
                  <a:pt x="97" y="145"/>
                  <a:pt x="98" y="142"/>
                  <a:pt x="98" y="137"/>
                </a:cubicBezTo>
                <a:close/>
                <a:moveTo>
                  <a:pt x="89" y="118"/>
                </a:moveTo>
                <a:cubicBezTo>
                  <a:pt x="89" y="138"/>
                  <a:pt x="89" y="138"/>
                  <a:pt x="89" y="138"/>
                </a:cubicBezTo>
                <a:cubicBezTo>
                  <a:pt x="89" y="142"/>
                  <a:pt x="88" y="144"/>
                  <a:pt x="85" y="144"/>
                </a:cubicBezTo>
                <a:cubicBezTo>
                  <a:pt x="84" y="144"/>
                  <a:pt x="83" y="143"/>
                  <a:pt x="81" y="142"/>
                </a:cubicBezTo>
                <a:cubicBezTo>
                  <a:pt x="81" y="114"/>
                  <a:pt x="81" y="114"/>
                  <a:pt x="81" y="114"/>
                </a:cubicBezTo>
                <a:cubicBezTo>
                  <a:pt x="83" y="112"/>
                  <a:pt x="84" y="111"/>
                  <a:pt x="85" y="111"/>
                </a:cubicBezTo>
                <a:cubicBezTo>
                  <a:pt x="88" y="111"/>
                  <a:pt x="89" y="114"/>
                  <a:pt x="89" y="118"/>
                </a:cubicBezTo>
                <a:close/>
                <a:moveTo>
                  <a:pt x="112" y="16"/>
                </a:moveTo>
                <a:cubicBezTo>
                  <a:pt x="112" y="64"/>
                  <a:pt x="112" y="64"/>
                  <a:pt x="112" y="64"/>
                </a:cubicBezTo>
                <a:cubicBezTo>
                  <a:pt x="104" y="64"/>
                  <a:pt x="104" y="64"/>
                  <a:pt x="104" y="64"/>
                </a:cubicBezTo>
                <a:cubicBezTo>
                  <a:pt x="104" y="58"/>
                  <a:pt x="104" y="58"/>
                  <a:pt x="104" y="58"/>
                </a:cubicBezTo>
                <a:cubicBezTo>
                  <a:pt x="100" y="62"/>
                  <a:pt x="97" y="64"/>
                  <a:pt x="94" y="64"/>
                </a:cubicBezTo>
                <a:cubicBezTo>
                  <a:pt x="91" y="64"/>
                  <a:pt x="89" y="63"/>
                  <a:pt x="88" y="61"/>
                </a:cubicBezTo>
                <a:cubicBezTo>
                  <a:pt x="88" y="59"/>
                  <a:pt x="88" y="57"/>
                  <a:pt x="88" y="54"/>
                </a:cubicBezTo>
                <a:cubicBezTo>
                  <a:pt x="88" y="16"/>
                  <a:pt x="88" y="16"/>
                  <a:pt x="88" y="16"/>
                </a:cubicBezTo>
                <a:cubicBezTo>
                  <a:pt x="96" y="16"/>
                  <a:pt x="96" y="16"/>
                  <a:pt x="96" y="16"/>
                </a:cubicBezTo>
                <a:cubicBezTo>
                  <a:pt x="96" y="51"/>
                  <a:pt x="96" y="51"/>
                  <a:pt x="96" y="51"/>
                </a:cubicBezTo>
                <a:cubicBezTo>
                  <a:pt x="96" y="53"/>
                  <a:pt x="96" y="54"/>
                  <a:pt x="96" y="54"/>
                </a:cubicBezTo>
                <a:cubicBezTo>
                  <a:pt x="96" y="56"/>
                  <a:pt x="97" y="56"/>
                  <a:pt x="98" y="56"/>
                </a:cubicBezTo>
                <a:cubicBezTo>
                  <a:pt x="100" y="56"/>
                  <a:pt x="102" y="55"/>
                  <a:pt x="104" y="52"/>
                </a:cubicBezTo>
                <a:cubicBezTo>
                  <a:pt x="104" y="16"/>
                  <a:pt x="104" y="16"/>
                  <a:pt x="104" y="16"/>
                </a:cubicBezTo>
                <a:lnTo>
                  <a:pt x="112" y="16"/>
                </a:lnTo>
                <a:close/>
                <a:moveTo>
                  <a:pt x="129" y="136"/>
                </a:moveTo>
                <a:cubicBezTo>
                  <a:pt x="129" y="135"/>
                  <a:pt x="129" y="135"/>
                  <a:pt x="129" y="135"/>
                </a:cubicBezTo>
                <a:cubicBezTo>
                  <a:pt x="121" y="135"/>
                  <a:pt x="121" y="135"/>
                  <a:pt x="121" y="135"/>
                </a:cubicBezTo>
                <a:cubicBezTo>
                  <a:pt x="121" y="138"/>
                  <a:pt x="121" y="140"/>
                  <a:pt x="121" y="141"/>
                </a:cubicBezTo>
                <a:cubicBezTo>
                  <a:pt x="120" y="143"/>
                  <a:pt x="119" y="144"/>
                  <a:pt x="117" y="144"/>
                </a:cubicBezTo>
                <a:cubicBezTo>
                  <a:pt x="114" y="144"/>
                  <a:pt x="113" y="142"/>
                  <a:pt x="113" y="138"/>
                </a:cubicBezTo>
                <a:cubicBezTo>
                  <a:pt x="113" y="129"/>
                  <a:pt x="113" y="129"/>
                  <a:pt x="113" y="129"/>
                </a:cubicBezTo>
                <a:cubicBezTo>
                  <a:pt x="129" y="129"/>
                  <a:pt x="129" y="129"/>
                  <a:pt x="129" y="129"/>
                </a:cubicBezTo>
                <a:cubicBezTo>
                  <a:pt x="129" y="120"/>
                  <a:pt x="129" y="120"/>
                  <a:pt x="129" y="120"/>
                </a:cubicBezTo>
                <a:cubicBezTo>
                  <a:pt x="129" y="115"/>
                  <a:pt x="129" y="111"/>
                  <a:pt x="127" y="109"/>
                </a:cubicBezTo>
                <a:cubicBezTo>
                  <a:pt x="124" y="105"/>
                  <a:pt x="121" y="104"/>
                  <a:pt x="117" y="104"/>
                </a:cubicBezTo>
                <a:cubicBezTo>
                  <a:pt x="113" y="104"/>
                  <a:pt x="109" y="105"/>
                  <a:pt x="107" y="109"/>
                </a:cubicBezTo>
                <a:cubicBezTo>
                  <a:pt x="105" y="111"/>
                  <a:pt x="104" y="115"/>
                  <a:pt x="104" y="120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104" y="141"/>
                  <a:pt x="105" y="145"/>
                  <a:pt x="107" y="147"/>
                </a:cubicBezTo>
                <a:cubicBezTo>
                  <a:pt x="109" y="150"/>
                  <a:pt x="113" y="152"/>
                  <a:pt x="117" y="152"/>
                </a:cubicBezTo>
                <a:cubicBezTo>
                  <a:pt x="122" y="152"/>
                  <a:pt x="125" y="150"/>
                  <a:pt x="127" y="147"/>
                </a:cubicBezTo>
                <a:cubicBezTo>
                  <a:pt x="128" y="145"/>
                  <a:pt x="129" y="143"/>
                  <a:pt x="129" y="142"/>
                </a:cubicBezTo>
                <a:cubicBezTo>
                  <a:pt x="129" y="141"/>
                  <a:pt x="129" y="139"/>
                  <a:pt x="129" y="136"/>
                </a:cubicBezTo>
                <a:close/>
                <a:moveTo>
                  <a:pt x="121" y="118"/>
                </a:moveTo>
                <a:cubicBezTo>
                  <a:pt x="121" y="122"/>
                  <a:pt x="121" y="122"/>
                  <a:pt x="121" y="122"/>
                </a:cubicBezTo>
                <a:cubicBezTo>
                  <a:pt x="113" y="122"/>
                  <a:pt x="113" y="122"/>
                  <a:pt x="113" y="122"/>
                </a:cubicBezTo>
                <a:cubicBezTo>
                  <a:pt x="113" y="118"/>
                  <a:pt x="113" y="118"/>
                  <a:pt x="113" y="118"/>
                </a:cubicBezTo>
                <a:cubicBezTo>
                  <a:pt x="113" y="114"/>
                  <a:pt x="114" y="111"/>
                  <a:pt x="117" y="111"/>
                </a:cubicBezTo>
                <a:cubicBezTo>
                  <a:pt x="120" y="111"/>
                  <a:pt x="121" y="114"/>
                  <a:pt x="121" y="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8" name="Freeform 329"/>
          <p:cNvSpPr>
            <a:spLocks noChangeAspect="1" noEditPoints="1"/>
          </p:cNvSpPr>
          <p:nvPr/>
        </p:nvSpPr>
        <p:spPr bwMode="auto">
          <a:xfrm>
            <a:off x="2386158" y="4022405"/>
            <a:ext cx="137395" cy="162376"/>
          </a:xfrm>
          <a:custGeom>
            <a:avLst/>
            <a:gdLst>
              <a:gd name="T0" fmla="*/ 56 w 133"/>
              <a:gd name="T1" fmla="*/ 62 h 157"/>
              <a:gd name="T2" fmla="*/ 32 w 133"/>
              <a:gd name="T3" fmla="*/ 105 h 157"/>
              <a:gd name="T4" fmla="*/ 26 w 133"/>
              <a:gd name="T5" fmla="*/ 110 h 157"/>
              <a:gd name="T6" fmla="*/ 3 w 133"/>
              <a:gd name="T7" fmla="*/ 110 h 157"/>
              <a:gd name="T8" fmla="*/ 0 w 133"/>
              <a:gd name="T9" fmla="*/ 108 h 157"/>
              <a:gd name="T10" fmla="*/ 0 w 133"/>
              <a:gd name="T11" fmla="*/ 105 h 157"/>
              <a:gd name="T12" fmla="*/ 24 w 133"/>
              <a:gd name="T13" fmla="*/ 62 h 157"/>
              <a:gd name="T14" fmla="*/ 24 w 133"/>
              <a:gd name="T15" fmla="*/ 62 h 157"/>
              <a:gd name="T16" fmla="*/ 9 w 133"/>
              <a:gd name="T17" fmla="*/ 36 h 157"/>
              <a:gd name="T18" fmla="*/ 9 w 133"/>
              <a:gd name="T19" fmla="*/ 32 h 157"/>
              <a:gd name="T20" fmla="*/ 12 w 133"/>
              <a:gd name="T21" fmla="*/ 31 h 157"/>
              <a:gd name="T22" fmla="*/ 35 w 133"/>
              <a:gd name="T23" fmla="*/ 31 h 157"/>
              <a:gd name="T24" fmla="*/ 41 w 133"/>
              <a:gd name="T25" fmla="*/ 35 h 157"/>
              <a:gd name="T26" fmla="*/ 56 w 133"/>
              <a:gd name="T27" fmla="*/ 62 h 157"/>
              <a:gd name="T28" fmla="*/ 132 w 133"/>
              <a:gd name="T29" fmla="*/ 2 h 157"/>
              <a:gd name="T30" fmla="*/ 132 w 133"/>
              <a:gd name="T31" fmla="*/ 5 h 157"/>
              <a:gd name="T32" fmla="*/ 83 w 133"/>
              <a:gd name="T33" fmla="*/ 93 h 157"/>
              <a:gd name="T34" fmla="*/ 83 w 133"/>
              <a:gd name="T35" fmla="*/ 93 h 157"/>
              <a:gd name="T36" fmla="*/ 114 w 133"/>
              <a:gd name="T37" fmla="*/ 152 h 157"/>
              <a:gd name="T38" fmla="*/ 114 w 133"/>
              <a:gd name="T39" fmla="*/ 155 h 157"/>
              <a:gd name="T40" fmla="*/ 111 w 133"/>
              <a:gd name="T41" fmla="*/ 157 h 157"/>
              <a:gd name="T42" fmla="*/ 89 w 133"/>
              <a:gd name="T43" fmla="*/ 157 h 157"/>
              <a:gd name="T44" fmla="*/ 83 w 133"/>
              <a:gd name="T45" fmla="*/ 152 h 157"/>
              <a:gd name="T46" fmla="*/ 51 w 133"/>
              <a:gd name="T47" fmla="*/ 93 h 157"/>
              <a:gd name="T48" fmla="*/ 101 w 133"/>
              <a:gd name="T49" fmla="*/ 4 h 157"/>
              <a:gd name="T50" fmla="*/ 107 w 133"/>
              <a:gd name="T51" fmla="*/ 0 h 157"/>
              <a:gd name="T52" fmla="*/ 130 w 133"/>
              <a:gd name="T53" fmla="*/ 0 h 157"/>
              <a:gd name="T54" fmla="*/ 132 w 133"/>
              <a:gd name="T55" fmla="*/ 2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33" h="157">
                <a:moveTo>
                  <a:pt x="56" y="62"/>
                </a:moveTo>
                <a:cubicBezTo>
                  <a:pt x="56" y="63"/>
                  <a:pt x="48" y="78"/>
                  <a:pt x="32" y="105"/>
                </a:cubicBezTo>
                <a:cubicBezTo>
                  <a:pt x="30" y="108"/>
                  <a:pt x="28" y="110"/>
                  <a:pt x="26" y="110"/>
                </a:cubicBezTo>
                <a:cubicBezTo>
                  <a:pt x="3" y="110"/>
                  <a:pt x="3" y="110"/>
                  <a:pt x="3" y="110"/>
                </a:cubicBezTo>
                <a:cubicBezTo>
                  <a:pt x="2" y="110"/>
                  <a:pt x="1" y="109"/>
                  <a:pt x="0" y="108"/>
                </a:cubicBezTo>
                <a:cubicBezTo>
                  <a:pt x="0" y="107"/>
                  <a:pt x="0" y="106"/>
                  <a:pt x="0" y="105"/>
                </a:cubicBezTo>
                <a:cubicBezTo>
                  <a:pt x="24" y="62"/>
                  <a:pt x="24" y="62"/>
                  <a:pt x="24" y="62"/>
                </a:cubicBezTo>
                <a:cubicBezTo>
                  <a:pt x="24" y="62"/>
                  <a:pt x="24" y="62"/>
                  <a:pt x="24" y="62"/>
                </a:cubicBezTo>
                <a:cubicBezTo>
                  <a:pt x="9" y="36"/>
                  <a:pt x="9" y="36"/>
                  <a:pt x="9" y="36"/>
                </a:cubicBezTo>
                <a:cubicBezTo>
                  <a:pt x="8" y="35"/>
                  <a:pt x="8" y="33"/>
                  <a:pt x="9" y="32"/>
                </a:cubicBezTo>
                <a:cubicBezTo>
                  <a:pt x="9" y="31"/>
                  <a:pt x="10" y="31"/>
                  <a:pt x="12" y="31"/>
                </a:cubicBezTo>
                <a:cubicBezTo>
                  <a:pt x="35" y="31"/>
                  <a:pt x="35" y="31"/>
                  <a:pt x="35" y="31"/>
                </a:cubicBezTo>
                <a:cubicBezTo>
                  <a:pt x="37" y="31"/>
                  <a:pt x="39" y="32"/>
                  <a:pt x="41" y="35"/>
                </a:cubicBezTo>
                <a:lnTo>
                  <a:pt x="56" y="62"/>
                </a:lnTo>
                <a:close/>
                <a:moveTo>
                  <a:pt x="132" y="2"/>
                </a:moveTo>
                <a:cubicBezTo>
                  <a:pt x="133" y="3"/>
                  <a:pt x="133" y="4"/>
                  <a:pt x="132" y="5"/>
                </a:cubicBezTo>
                <a:cubicBezTo>
                  <a:pt x="83" y="93"/>
                  <a:pt x="83" y="93"/>
                  <a:pt x="83" y="93"/>
                </a:cubicBezTo>
                <a:cubicBezTo>
                  <a:pt x="83" y="93"/>
                  <a:pt x="83" y="93"/>
                  <a:pt x="83" y="93"/>
                </a:cubicBezTo>
                <a:cubicBezTo>
                  <a:pt x="114" y="152"/>
                  <a:pt x="114" y="152"/>
                  <a:pt x="114" y="152"/>
                </a:cubicBezTo>
                <a:cubicBezTo>
                  <a:pt x="115" y="153"/>
                  <a:pt x="115" y="154"/>
                  <a:pt x="114" y="155"/>
                </a:cubicBezTo>
                <a:cubicBezTo>
                  <a:pt x="114" y="156"/>
                  <a:pt x="113" y="157"/>
                  <a:pt x="111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6" y="157"/>
                  <a:pt x="84" y="155"/>
                  <a:pt x="83" y="152"/>
                </a:cubicBezTo>
                <a:cubicBezTo>
                  <a:pt x="51" y="93"/>
                  <a:pt x="51" y="93"/>
                  <a:pt x="51" y="93"/>
                </a:cubicBezTo>
                <a:cubicBezTo>
                  <a:pt x="52" y="91"/>
                  <a:pt x="68" y="62"/>
                  <a:pt x="101" y="4"/>
                </a:cubicBezTo>
                <a:cubicBezTo>
                  <a:pt x="102" y="2"/>
                  <a:pt x="104" y="0"/>
                  <a:pt x="107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131" y="0"/>
                  <a:pt x="132" y="1"/>
                  <a:pt x="132" y="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9" name="Freeform 330"/>
          <p:cNvSpPr>
            <a:spLocks noChangeAspect="1" noEditPoints="1"/>
          </p:cNvSpPr>
          <p:nvPr/>
        </p:nvSpPr>
        <p:spPr bwMode="auto">
          <a:xfrm>
            <a:off x="2568832" y="4033334"/>
            <a:ext cx="149885" cy="151447"/>
          </a:xfrm>
          <a:custGeom>
            <a:avLst/>
            <a:gdLst>
              <a:gd name="T0" fmla="*/ 145 w 145"/>
              <a:gd name="T1" fmla="*/ 28 h 146"/>
              <a:gd name="T2" fmla="*/ 145 w 145"/>
              <a:gd name="T3" fmla="*/ 118 h 146"/>
              <a:gd name="T4" fmla="*/ 138 w 145"/>
              <a:gd name="T5" fmla="*/ 138 h 146"/>
              <a:gd name="T6" fmla="*/ 118 w 145"/>
              <a:gd name="T7" fmla="*/ 146 h 146"/>
              <a:gd name="T8" fmla="*/ 27 w 145"/>
              <a:gd name="T9" fmla="*/ 146 h 146"/>
              <a:gd name="T10" fmla="*/ 8 w 145"/>
              <a:gd name="T11" fmla="*/ 138 h 146"/>
              <a:gd name="T12" fmla="*/ 0 w 145"/>
              <a:gd name="T13" fmla="*/ 118 h 146"/>
              <a:gd name="T14" fmla="*/ 0 w 145"/>
              <a:gd name="T15" fmla="*/ 28 h 146"/>
              <a:gd name="T16" fmla="*/ 8 w 145"/>
              <a:gd name="T17" fmla="*/ 8 h 146"/>
              <a:gd name="T18" fmla="*/ 27 w 145"/>
              <a:gd name="T19" fmla="*/ 0 h 146"/>
              <a:gd name="T20" fmla="*/ 118 w 145"/>
              <a:gd name="T21" fmla="*/ 0 h 146"/>
              <a:gd name="T22" fmla="*/ 138 w 145"/>
              <a:gd name="T23" fmla="*/ 8 h 146"/>
              <a:gd name="T24" fmla="*/ 145 w 145"/>
              <a:gd name="T25" fmla="*/ 28 h 146"/>
              <a:gd name="T26" fmla="*/ 65 w 145"/>
              <a:gd name="T27" fmla="*/ 61 h 146"/>
              <a:gd name="T28" fmla="*/ 53 w 145"/>
              <a:gd name="T29" fmla="*/ 40 h 146"/>
              <a:gd name="T30" fmla="*/ 48 w 145"/>
              <a:gd name="T31" fmla="*/ 36 h 146"/>
              <a:gd name="T32" fmla="*/ 31 w 145"/>
              <a:gd name="T33" fmla="*/ 36 h 146"/>
              <a:gd name="T34" fmla="*/ 28 w 145"/>
              <a:gd name="T35" fmla="*/ 37 h 146"/>
              <a:gd name="T36" fmla="*/ 28 w 145"/>
              <a:gd name="T37" fmla="*/ 40 h 146"/>
              <a:gd name="T38" fmla="*/ 40 w 145"/>
              <a:gd name="T39" fmla="*/ 61 h 146"/>
              <a:gd name="T40" fmla="*/ 40 w 145"/>
              <a:gd name="T41" fmla="*/ 61 h 146"/>
              <a:gd name="T42" fmla="*/ 22 w 145"/>
              <a:gd name="T43" fmla="*/ 93 h 146"/>
              <a:gd name="T44" fmla="*/ 22 w 145"/>
              <a:gd name="T45" fmla="*/ 96 h 146"/>
              <a:gd name="T46" fmla="*/ 24 w 145"/>
              <a:gd name="T47" fmla="*/ 97 h 146"/>
              <a:gd name="T48" fmla="*/ 41 w 145"/>
              <a:gd name="T49" fmla="*/ 97 h 146"/>
              <a:gd name="T50" fmla="*/ 46 w 145"/>
              <a:gd name="T51" fmla="*/ 94 h 146"/>
              <a:gd name="T52" fmla="*/ 65 w 145"/>
              <a:gd name="T53" fmla="*/ 61 h 146"/>
              <a:gd name="T54" fmla="*/ 124 w 145"/>
              <a:gd name="T55" fmla="*/ 14 h 146"/>
              <a:gd name="T56" fmla="*/ 122 w 145"/>
              <a:gd name="T57" fmla="*/ 12 h 146"/>
              <a:gd name="T58" fmla="*/ 104 w 145"/>
              <a:gd name="T59" fmla="*/ 12 h 146"/>
              <a:gd name="T60" fmla="*/ 99 w 145"/>
              <a:gd name="T61" fmla="*/ 16 h 146"/>
              <a:gd name="T62" fmla="*/ 61 w 145"/>
              <a:gd name="T63" fmla="*/ 85 h 146"/>
              <a:gd name="T64" fmla="*/ 85 w 145"/>
              <a:gd name="T65" fmla="*/ 130 h 146"/>
              <a:gd name="T66" fmla="*/ 90 w 145"/>
              <a:gd name="T67" fmla="*/ 133 h 146"/>
              <a:gd name="T68" fmla="*/ 108 w 145"/>
              <a:gd name="T69" fmla="*/ 133 h 146"/>
              <a:gd name="T70" fmla="*/ 110 w 145"/>
              <a:gd name="T71" fmla="*/ 132 h 146"/>
              <a:gd name="T72" fmla="*/ 110 w 145"/>
              <a:gd name="T73" fmla="*/ 130 h 146"/>
              <a:gd name="T74" fmla="*/ 85 w 145"/>
              <a:gd name="T75" fmla="*/ 85 h 146"/>
              <a:gd name="T76" fmla="*/ 85 w 145"/>
              <a:gd name="T77" fmla="*/ 85 h 146"/>
              <a:gd name="T78" fmla="*/ 124 w 145"/>
              <a:gd name="T79" fmla="*/ 16 h 146"/>
              <a:gd name="T80" fmla="*/ 124 w 145"/>
              <a:gd name="T81" fmla="*/ 1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5" y="20"/>
                  <a:pt x="145" y="28"/>
                </a:cubicBezTo>
                <a:close/>
                <a:moveTo>
                  <a:pt x="65" y="61"/>
                </a:moveTo>
                <a:cubicBezTo>
                  <a:pt x="65" y="60"/>
                  <a:pt x="61" y="53"/>
                  <a:pt x="53" y="40"/>
                </a:cubicBezTo>
                <a:cubicBezTo>
                  <a:pt x="52" y="37"/>
                  <a:pt x="50" y="36"/>
                  <a:pt x="48" y="36"/>
                </a:cubicBezTo>
                <a:cubicBezTo>
                  <a:pt x="31" y="36"/>
                  <a:pt x="31" y="36"/>
                  <a:pt x="31" y="36"/>
                </a:cubicBezTo>
                <a:cubicBezTo>
                  <a:pt x="30" y="36"/>
                  <a:pt x="29" y="37"/>
                  <a:pt x="28" y="37"/>
                </a:cubicBezTo>
                <a:cubicBezTo>
                  <a:pt x="28" y="38"/>
                  <a:pt x="28" y="39"/>
                  <a:pt x="28" y="40"/>
                </a:cubicBezTo>
                <a:cubicBezTo>
                  <a:pt x="40" y="61"/>
                  <a:pt x="40" y="61"/>
                  <a:pt x="40" y="61"/>
                </a:cubicBezTo>
                <a:cubicBezTo>
                  <a:pt x="40" y="61"/>
                  <a:pt x="40" y="61"/>
                  <a:pt x="40" y="61"/>
                </a:cubicBezTo>
                <a:cubicBezTo>
                  <a:pt x="22" y="93"/>
                  <a:pt x="22" y="93"/>
                  <a:pt x="22" y="93"/>
                </a:cubicBezTo>
                <a:cubicBezTo>
                  <a:pt x="21" y="94"/>
                  <a:pt x="21" y="95"/>
                  <a:pt x="22" y="96"/>
                </a:cubicBezTo>
                <a:cubicBezTo>
                  <a:pt x="22" y="97"/>
                  <a:pt x="23" y="97"/>
                  <a:pt x="24" y="97"/>
                </a:cubicBezTo>
                <a:cubicBezTo>
                  <a:pt x="41" y="97"/>
                  <a:pt x="41" y="97"/>
                  <a:pt x="41" y="97"/>
                </a:cubicBezTo>
                <a:cubicBezTo>
                  <a:pt x="43" y="97"/>
                  <a:pt x="45" y="96"/>
                  <a:pt x="46" y="94"/>
                </a:cubicBezTo>
                <a:lnTo>
                  <a:pt x="65" y="61"/>
                </a:lnTo>
                <a:close/>
                <a:moveTo>
                  <a:pt x="124" y="14"/>
                </a:moveTo>
                <a:cubicBezTo>
                  <a:pt x="124" y="13"/>
                  <a:pt x="123" y="12"/>
                  <a:pt x="122" y="12"/>
                </a:cubicBezTo>
                <a:cubicBezTo>
                  <a:pt x="104" y="12"/>
                  <a:pt x="104" y="12"/>
                  <a:pt x="104" y="12"/>
                </a:cubicBezTo>
                <a:cubicBezTo>
                  <a:pt x="102" y="12"/>
                  <a:pt x="101" y="14"/>
                  <a:pt x="99" y="16"/>
                </a:cubicBezTo>
                <a:cubicBezTo>
                  <a:pt x="61" y="85"/>
                  <a:pt x="61" y="85"/>
                  <a:pt x="61" y="85"/>
                </a:cubicBezTo>
                <a:cubicBezTo>
                  <a:pt x="61" y="85"/>
                  <a:pt x="69" y="100"/>
                  <a:pt x="85" y="130"/>
                </a:cubicBezTo>
                <a:cubicBezTo>
                  <a:pt x="87" y="132"/>
                  <a:pt x="88" y="133"/>
                  <a:pt x="90" y="133"/>
                </a:cubicBezTo>
                <a:cubicBezTo>
                  <a:pt x="108" y="133"/>
                  <a:pt x="108" y="133"/>
                  <a:pt x="108" y="133"/>
                </a:cubicBezTo>
                <a:cubicBezTo>
                  <a:pt x="109" y="133"/>
                  <a:pt x="110" y="133"/>
                  <a:pt x="110" y="132"/>
                </a:cubicBezTo>
                <a:cubicBezTo>
                  <a:pt x="111" y="131"/>
                  <a:pt x="111" y="131"/>
                  <a:pt x="110" y="130"/>
                </a:cubicBezTo>
                <a:cubicBezTo>
                  <a:pt x="85" y="85"/>
                  <a:pt x="85" y="85"/>
                  <a:pt x="85" y="85"/>
                </a:cubicBezTo>
                <a:cubicBezTo>
                  <a:pt x="85" y="85"/>
                  <a:pt x="85" y="85"/>
                  <a:pt x="85" y="85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5" y="15"/>
                  <a:pt x="125" y="14"/>
                  <a:pt x="124" y="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0" name="Freeform 331"/>
          <p:cNvSpPr>
            <a:spLocks noChangeAspect="1" noEditPoints="1"/>
          </p:cNvSpPr>
          <p:nvPr/>
        </p:nvSpPr>
        <p:spPr bwMode="auto">
          <a:xfrm>
            <a:off x="2765556" y="4045824"/>
            <a:ext cx="174866" cy="126466"/>
          </a:xfrm>
          <a:custGeom>
            <a:avLst/>
            <a:gdLst>
              <a:gd name="T0" fmla="*/ 169 w 169"/>
              <a:gd name="T1" fmla="*/ 47 h 121"/>
              <a:gd name="T2" fmla="*/ 169 w 169"/>
              <a:gd name="T3" fmla="*/ 61 h 121"/>
              <a:gd name="T4" fmla="*/ 169 w 169"/>
              <a:gd name="T5" fmla="*/ 75 h 121"/>
              <a:gd name="T6" fmla="*/ 168 w 169"/>
              <a:gd name="T7" fmla="*/ 88 h 121"/>
              <a:gd name="T8" fmla="*/ 166 w 169"/>
              <a:gd name="T9" fmla="*/ 102 h 121"/>
              <a:gd name="T10" fmla="*/ 160 w 169"/>
              <a:gd name="T11" fmla="*/ 114 h 121"/>
              <a:gd name="T12" fmla="*/ 148 w 169"/>
              <a:gd name="T13" fmla="*/ 119 h 121"/>
              <a:gd name="T14" fmla="*/ 85 w 169"/>
              <a:gd name="T15" fmla="*/ 121 h 121"/>
              <a:gd name="T16" fmla="*/ 21 w 169"/>
              <a:gd name="T17" fmla="*/ 119 h 121"/>
              <a:gd name="T18" fmla="*/ 9 w 169"/>
              <a:gd name="T19" fmla="*/ 114 h 121"/>
              <a:gd name="T20" fmla="*/ 3 w 169"/>
              <a:gd name="T21" fmla="*/ 102 h 121"/>
              <a:gd name="T22" fmla="*/ 1 w 169"/>
              <a:gd name="T23" fmla="*/ 88 h 121"/>
              <a:gd name="T24" fmla="*/ 0 w 169"/>
              <a:gd name="T25" fmla="*/ 75 h 121"/>
              <a:gd name="T26" fmla="*/ 0 w 169"/>
              <a:gd name="T27" fmla="*/ 61 h 121"/>
              <a:gd name="T28" fmla="*/ 0 w 169"/>
              <a:gd name="T29" fmla="*/ 47 h 121"/>
              <a:gd name="T30" fmla="*/ 1 w 169"/>
              <a:gd name="T31" fmla="*/ 34 h 121"/>
              <a:gd name="T32" fmla="*/ 3 w 169"/>
              <a:gd name="T33" fmla="*/ 20 h 121"/>
              <a:gd name="T34" fmla="*/ 9 w 169"/>
              <a:gd name="T35" fmla="*/ 8 h 121"/>
              <a:gd name="T36" fmla="*/ 21 w 169"/>
              <a:gd name="T37" fmla="*/ 3 h 121"/>
              <a:gd name="T38" fmla="*/ 85 w 169"/>
              <a:gd name="T39" fmla="*/ 0 h 121"/>
              <a:gd name="T40" fmla="*/ 148 w 169"/>
              <a:gd name="T41" fmla="*/ 3 h 121"/>
              <a:gd name="T42" fmla="*/ 160 w 169"/>
              <a:gd name="T43" fmla="*/ 8 h 121"/>
              <a:gd name="T44" fmla="*/ 166 w 169"/>
              <a:gd name="T45" fmla="*/ 20 h 121"/>
              <a:gd name="T46" fmla="*/ 168 w 169"/>
              <a:gd name="T47" fmla="*/ 34 h 121"/>
              <a:gd name="T48" fmla="*/ 169 w 169"/>
              <a:gd name="T49" fmla="*/ 47 h 121"/>
              <a:gd name="T50" fmla="*/ 121 w 169"/>
              <a:gd name="T51" fmla="*/ 61 h 121"/>
              <a:gd name="T52" fmla="*/ 118 w 169"/>
              <a:gd name="T53" fmla="*/ 56 h 121"/>
              <a:gd name="T54" fmla="*/ 70 w 169"/>
              <a:gd name="T55" fmla="*/ 26 h 121"/>
              <a:gd name="T56" fmla="*/ 63 w 169"/>
              <a:gd name="T57" fmla="*/ 25 h 121"/>
              <a:gd name="T58" fmla="*/ 60 w 169"/>
              <a:gd name="T59" fmla="*/ 31 h 121"/>
              <a:gd name="T60" fmla="*/ 60 w 169"/>
              <a:gd name="T61" fmla="*/ 91 h 121"/>
              <a:gd name="T62" fmla="*/ 63 w 169"/>
              <a:gd name="T63" fmla="*/ 96 h 121"/>
              <a:gd name="T64" fmla="*/ 66 w 169"/>
              <a:gd name="T65" fmla="*/ 97 h 121"/>
              <a:gd name="T66" fmla="*/ 70 w 169"/>
              <a:gd name="T67" fmla="*/ 96 h 121"/>
              <a:gd name="T68" fmla="*/ 118 w 169"/>
              <a:gd name="T69" fmla="*/ 66 h 121"/>
              <a:gd name="T70" fmla="*/ 121 w 169"/>
              <a:gd name="T71" fmla="*/ 6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69" h="121">
                <a:moveTo>
                  <a:pt x="169" y="47"/>
                </a:moveTo>
                <a:cubicBezTo>
                  <a:pt x="169" y="50"/>
                  <a:pt x="169" y="55"/>
                  <a:pt x="169" y="61"/>
                </a:cubicBezTo>
                <a:cubicBezTo>
                  <a:pt x="169" y="67"/>
                  <a:pt x="169" y="72"/>
                  <a:pt x="169" y="75"/>
                </a:cubicBezTo>
                <a:cubicBezTo>
                  <a:pt x="169" y="79"/>
                  <a:pt x="169" y="83"/>
                  <a:pt x="168" y="88"/>
                </a:cubicBezTo>
                <a:cubicBezTo>
                  <a:pt x="168" y="93"/>
                  <a:pt x="167" y="98"/>
                  <a:pt x="166" y="102"/>
                </a:cubicBezTo>
                <a:cubicBezTo>
                  <a:pt x="165" y="107"/>
                  <a:pt x="163" y="110"/>
                  <a:pt x="160" y="114"/>
                </a:cubicBezTo>
                <a:cubicBezTo>
                  <a:pt x="156" y="117"/>
                  <a:pt x="152" y="119"/>
                  <a:pt x="148" y="119"/>
                </a:cubicBezTo>
                <a:cubicBezTo>
                  <a:pt x="134" y="121"/>
                  <a:pt x="113" y="121"/>
                  <a:pt x="85" y="121"/>
                </a:cubicBezTo>
                <a:cubicBezTo>
                  <a:pt x="56" y="121"/>
                  <a:pt x="35" y="121"/>
                  <a:pt x="21" y="119"/>
                </a:cubicBezTo>
                <a:cubicBezTo>
                  <a:pt x="17" y="119"/>
                  <a:pt x="13" y="117"/>
                  <a:pt x="9" y="114"/>
                </a:cubicBezTo>
                <a:cubicBezTo>
                  <a:pt x="6" y="110"/>
                  <a:pt x="4" y="107"/>
                  <a:pt x="3" y="102"/>
                </a:cubicBezTo>
                <a:cubicBezTo>
                  <a:pt x="2" y="98"/>
                  <a:pt x="1" y="93"/>
                  <a:pt x="1" y="88"/>
                </a:cubicBezTo>
                <a:cubicBezTo>
                  <a:pt x="0" y="83"/>
                  <a:pt x="0" y="79"/>
                  <a:pt x="0" y="75"/>
                </a:cubicBezTo>
                <a:cubicBezTo>
                  <a:pt x="0" y="72"/>
                  <a:pt x="0" y="67"/>
                  <a:pt x="0" y="61"/>
                </a:cubicBezTo>
                <a:cubicBezTo>
                  <a:pt x="0" y="55"/>
                  <a:pt x="0" y="50"/>
                  <a:pt x="0" y="47"/>
                </a:cubicBezTo>
                <a:cubicBezTo>
                  <a:pt x="0" y="43"/>
                  <a:pt x="0" y="39"/>
                  <a:pt x="1" y="34"/>
                </a:cubicBezTo>
                <a:cubicBezTo>
                  <a:pt x="1" y="29"/>
                  <a:pt x="2" y="24"/>
                  <a:pt x="3" y="20"/>
                </a:cubicBezTo>
                <a:cubicBezTo>
                  <a:pt x="4" y="15"/>
                  <a:pt x="6" y="11"/>
                  <a:pt x="9" y="8"/>
                </a:cubicBezTo>
                <a:cubicBezTo>
                  <a:pt x="13" y="5"/>
                  <a:pt x="17" y="3"/>
                  <a:pt x="21" y="3"/>
                </a:cubicBezTo>
                <a:cubicBezTo>
                  <a:pt x="35" y="1"/>
                  <a:pt x="56" y="0"/>
                  <a:pt x="85" y="0"/>
                </a:cubicBezTo>
                <a:cubicBezTo>
                  <a:pt x="113" y="0"/>
                  <a:pt x="134" y="1"/>
                  <a:pt x="148" y="3"/>
                </a:cubicBezTo>
                <a:cubicBezTo>
                  <a:pt x="152" y="3"/>
                  <a:pt x="156" y="5"/>
                  <a:pt x="160" y="8"/>
                </a:cubicBezTo>
                <a:cubicBezTo>
                  <a:pt x="163" y="11"/>
                  <a:pt x="165" y="15"/>
                  <a:pt x="166" y="20"/>
                </a:cubicBezTo>
                <a:cubicBezTo>
                  <a:pt x="167" y="24"/>
                  <a:pt x="168" y="29"/>
                  <a:pt x="168" y="34"/>
                </a:cubicBezTo>
                <a:cubicBezTo>
                  <a:pt x="169" y="39"/>
                  <a:pt x="169" y="43"/>
                  <a:pt x="169" y="47"/>
                </a:cubicBezTo>
                <a:close/>
                <a:moveTo>
                  <a:pt x="121" y="61"/>
                </a:moveTo>
                <a:cubicBezTo>
                  <a:pt x="121" y="59"/>
                  <a:pt x="120" y="57"/>
                  <a:pt x="118" y="56"/>
                </a:cubicBezTo>
                <a:cubicBezTo>
                  <a:pt x="70" y="26"/>
                  <a:pt x="70" y="26"/>
                  <a:pt x="70" y="26"/>
                </a:cubicBezTo>
                <a:cubicBezTo>
                  <a:pt x="68" y="24"/>
                  <a:pt x="66" y="24"/>
                  <a:pt x="63" y="25"/>
                </a:cubicBezTo>
                <a:cubicBezTo>
                  <a:pt x="61" y="27"/>
                  <a:pt x="60" y="28"/>
                  <a:pt x="60" y="31"/>
                </a:cubicBezTo>
                <a:cubicBezTo>
                  <a:pt x="60" y="91"/>
                  <a:pt x="60" y="91"/>
                  <a:pt x="60" y="91"/>
                </a:cubicBezTo>
                <a:cubicBezTo>
                  <a:pt x="60" y="94"/>
                  <a:pt x="61" y="95"/>
                  <a:pt x="63" y="96"/>
                </a:cubicBezTo>
                <a:cubicBezTo>
                  <a:pt x="64" y="97"/>
                  <a:pt x="65" y="97"/>
                  <a:pt x="66" y="97"/>
                </a:cubicBezTo>
                <a:cubicBezTo>
                  <a:pt x="68" y="97"/>
                  <a:pt x="69" y="97"/>
                  <a:pt x="70" y="96"/>
                </a:cubicBezTo>
                <a:cubicBezTo>
                  <a:pt x="118" y="66"/>
                  <a:pt x="118" y="66"/>
                  <a:pt x="118" y="66"/>
                </a:cubicBezTo>
                <a:cubicBezTo>
                  <a:pt x="120" y="65"/>
                  <a:pt x="121" y="63"/>
                  <a:pt x="121" y="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1" name="Freeform 332"/>
          <p:cNvSpPr>
            <a:spLocks noChangeAspect="1" noEditPoints="1"/>
          </p:cNvSpPr>
          <p:nvPr/>
        </p:nvSpPr>
        <p:spPr bwMode="auto">
          <a:xfrm>
            <a:off x="2993507" y="4033334"/>
            <a:ext cx="162376" cy="151447"/>
          </a:xfrm>
          <a:custGeom>
            <a:avLst/>
            <a:gdLst>
              <a:gd name="T0" fmla="*/ 31 w 104"/>
              <a:gd name="T1" fmla="*/ 0 h 97"/>
              <a:gd name="T2" fmla="*/ 52 w 104"/>
              <a:gd name="T3" fmla="*/ 18 h 97"/>
              <a:gd name="T4" fmla="*/ 21 w 104"/>
              <a:gd name="T5" fmla="*/ 37 h 97"/>
              <a:gd name="T6" fmla="*/ 0 w 104"/>
              <a:gd name="T7" fmla="*/ 20 h 97"/>
              <a:gd name="T8" fmla="*/ 31 w 104"/>
              <a:gd name="T9" fmla="*/ 0 h 97"/>
              <a:gd name="T10" fmla="*/ 21 w 104"/>
              <a:gd name="T11" fmla="*/ 37 h 97"/>
              <a:gd name="T12" fmla="*/ 52 w 104"/>
              <a:gd name="T13" fmla="*/ 56 h 97"/>
              <a:gd name="T14" fmla="*/ 31 w 104"/>
              <a:gd name="T15" fmla="*/ 74 h 97"/>
              <a:gd name="T16" fmla="*/ 0 w 104"/>
              <a:gd name="T17" fmla="*/ 54 h 97"/>
              <a:gd name="T18" fmla="*/ 21 w 104"/>
              <a:gd name="T19" fmla="*/ 37 h 97"/>
              <a:gd name="T20" fmla="*/ 83 w 104"/>
              <a:gd name="T21" fmla="*/ 72 h 97"/>
              <a:gd name="T22" fmla="*/ 83 w 104"/>
              <a:gd name="T23" fmla="*/ 79 h 97"/>
              <a:gd name="T24" fmla="*/ 52 w 104"/>
              <a:gd name="T25" fmla="*/ 97 h 97"/>
              <a:gd name="T26" fmla="*/ 52 w 104"/>
              <a:gd name="T27" fmla="*/ 97 h 97"/>
              <a:gd name="T28" fmla="*/ 52 w 104"/>
              <a:gd name="T29" fmla="*/ 97 h 97"/>
              <a:gd name="T30" fmla="*/ 52 w 104"/>
              <a:gd name="T31" fmla="*/ 97 h 97"/>
              <a:gd name="T32" fmla="*/ 52 w 104"/>
              <a:gd name="T33" fmla="*/ 97 h 97"/>
              <a:gd name="T34" fmla="*/ 21 w 104"/>
              <a:gd name="T35" fmla="*/ 79 h 97"/>
              <a:gd name="T36" fmla="*/ 21 w 104"/>
              <a:gd name="T37" fmla="*/ 72 h 97"/>
              <a:gd name="T38" fmla="*/ 31 w 104"/>
              <a:gd name="T39" fmla="*/ 78 h 97"/>
              <a:gd name="T40" fmla="*/ 52 w 104"/>
              <a:gd name="T41" fmla="*/ 60 h 97"/>
              <a:gd name="T42" fmla="*/ 52 w 104"/>
              <a:gd name="T43" fmla="*/ 60 h 97"/>
              <a:gd name="T44" fmla="*/ 52 w 104"/>
              <a:gd name="T45" fmla="*/ 60 h 97"/>
              <a:gd name="T46" fmla="*/ 52 w 104"/>
              <a:gd name="T47" fmla="*/ 60 h 97"/>
              <a:gd name="T48" fmla="*/ 52 w 104"/>
              <a:gd name="T49" fmla="*/ 60 h 97"/>
              <a:gd name="T50" fmla="*/ 74 w 104"/>
              <a:gd name="T51" fmla="*/ 78 h 97"/>
              <a:gd name="T52" fmla="*/ 83 w 104"/>
              <a:gd name="T53" fmla="*/ 72 h 97"/>
              <a:gd name="T54" fmla="*/ 74 w 104"/>
              <a:gd name="T55" fmla="*/ 0 h 97"/>
              <a:gd name="T56" fmla="*/ 104 w 104"/>
              <a:gd name="T57" fmla="*/ 20 h 97"/>
              <a:gd name="T58" fmla="*/ 83 w 104"/>
              <a:gd name="T59" fmla="*/ 37 h 97"/>
              <a:gd name="T60" fmla="*/ 52 w 104"/>
              <a:gd name="T61" fmla="*/ 18 h 97"/>
              <a:gd name="T62" fmla="*/ 74 w 104"/>
              <a:gd name="T63" fmla="*/ 0 h 97"/>
              <a:gd name="T64" fmla="*/ 83 w 104"/>
              <a:gd name="T65" fmla="*/ 37 h 97"/>
              <a:gd name="T66" fmla="*/ 104 w 104"/>
              <a:gd name="T67" fmla="*/ 54 h 97"/>
              <a:gd name="T68" fmla="*/ 74 w 104"/>
              <a:gd name="T69" fmla="*/ 74 h 97"/>
              <a:gd name="T70" fmla="*/ 52 w 104"/>
              <a:gd name="T71" fmla="*/ 56 h 97"/>
              <a:gd name="T72" fmla="*/ 83 w 104"/>
              <a:gd name="T73" fmla="*/ 37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4" h="97">
                <a:moveTo>
                  <a:pt x="31" y="0"/>
                </a:moveTo>
                <a:lnTo>
                  <a:pt x="52" y="18"/>
                </a:lnTo>
                <a:lnTo>
                  <a:pt x="21" y="37"/>
                </a:lnTo>
                <a:lnTo>
                  <a:pt x="0" y="20"/>
                </a:lnTo>
                <a:lnTo>
                  <a:pt x="31" y="0"/>
                </a:lnTo>
                <a:close/>
                <a:moveTo>
                  <a:pt x="21" y="37"/>
                </a:moveTo>
                <a:lnTo>
                  <a:pt x="52" y="56"/>
                </a:lnTo>
                <a:lnTo>
                  <a:pt x="31" y="74"/>
                </a:lnTo>
                <a:lnTo>
                  <a:pt x="0" y="54"/>
                </a:lnTo>
                <a:lnTo>
                  <a:pt x="21" y="37"/>
                </a:lnTo>
                <a:close/>
                <a:moveTo>
                  <a:pt x="83" y="72"/>
                </a:moveTo>
                <a:lnTo>
                  <a:pt x="83" y="79"/>
                </a:lnTo>
                <a:lnTo>
                  <a:pt x="52" y="97"/>
                </a:lnTo>
                <a:lnTo>
                  <a:pt x="52" y="97"/>
                </a:lnTo>
                <a:lnTo>
                  <a:pt x="52" y="97"/>
                </a:lnTo>
                <a:lnTo>
                  <a:pt x="52" y="97"/>
                </a:lnTo>
                <a:lnTo>
                  <a:pt x="52" y="97"/>
                </a:lnTo>
                <a:lnTo>
                  <a:pt x="21" y="79"/>
                </a:lnTo>
                <a:lnTo>
                  <a:pt x="21" y="72"/>
                </a:lnTo>
                <a:lnTo>
                  <a:pt x="31" y="78"/>
                </a:lnTo>
                <a:lnTo>
                  <a:pt x="52" y="60"/>
                </a:lnTo>
                <a:lnTo>
                  <a:pt x="52" y="60"/>
                </a:lnTo>
                <a:lnTo>
                  <a:pt x="52" y="60"/>
                </a:lnTo>
                <a:lnTo>
                  <a:pt x="52" y="60"/>
                </a:lnTo>
                <a:lnTo>
                  <a:pt x="52" y="60"/>
                </a:lnTo>
                <a:lnTo>
                  <a:pt x="74" y="78"/>
                </a:lnTo>
                <a:lnTo>
                  <a:pt x="83" y="72"/>
                </a:lnTo>
                <a:close/>
                <a:moveTo>
                  <a:pt x="74" y="0"/>
                </a:moveTo>
                <a:lnTo>
                  <a:pt x="104" y="20"/>
                </a:lnTo>
                <a:lnTo>
                  <a:pt x="83" y="37"/>
                </a:lnTo>
                <a:lnTo>
                  <a:pt x="52" y="18"/>
                </a:lnTo>
                <a:lnTo>
                  <a:pt x="74" y="0"/>
                </a:lnTo>
                <a:close/>
                <a:moveTo>
                  <a:pt x="83" y="37"/>
                </a:moveTo>
                <a:lnTo>
                  <a:pt x="104" y="54"/>
                </a:lnTo>
                <a:lnTo>
                  <a:pt x="74" y="74"/>
                </a:lnTo>
                <a:lnTo>
                  <a:pt x="52" y="56"/>
                </a:lnTo>
                <a:lnTo>
                  <a:pt x="83" y="3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2" name="Freeform 333"/>
          <p:cNvSpPr>
            <a:spLocks noChangeAspect="1" noEditPoints="1"/>
          </p:cNvSpPr>
          <p:nvPr/>
        </p:nvSpPr>
        <p:spPr bwMode="auto">
          <a:xfrm>
            <a:off x="3207405" y="4020843"/>
            <a:ext cx="138957" cy="176428"/>
          </a:xfrm>
          <a:custGeom>
            <a:avLst/>
            <a:gdLst>
              <a:gd name="T0" fmla="*/ 74 w 89"/>
              <a:gd name="T1" fmla="*/ 67 h 113"/>
              <a:gd name="T2" fmla="*/ 74 w 89"/>
              <a:gd name="T3" fmla="*/ 111 h 113"/>
              <a:gd name="T4" fmla="*/ 74 w 89"/>
              <a:gd name="T5" fmla="*/ 113 h 113"/>
              <a:gd name="T6" fmla="*/ 74 w 89"/>
              <a:gd name="T7" fmla="*/ 113 h 113"/>
              <a:gd name="T8" fmla="*/ 3 w 89"/>
              <a:gd name="T9" fmla="*/ 113 h 113"/>
              <a:gd name="T10" fmla="*/ 0 w 89"/>
              <a:gd name="T11" fmla="*/ 113 h 113"/>
              <a:gd name="T12" fmla="*/ 0 w 89"/>
              <a:gd name="T13" fmla="*/ 113 h 113"/>
              <a:gd name="T14" fmla="*/ 0 w 89"/>
              <a:gd name="T15" fmla="*/ 67 h 113"/>
              <a:gd name="T16" fmla="*/ 8 w 89"/>
              <a:gd name="T17" fmla="*/ 67 h 113"/>
              <a:gd name="T18" fmla="*/ 8 w 89"/>
              <a:gd name="T19" fmla="*/ 105 h 113"/>
              <a:gd name="T20" fmla="*/ 66 w 89"/>
              <a:gd name="T21" fmla="*/ 105 h 113"/>
              <a:gd name="T22" fmla="*/ 66 w 89"/>
              <a:gd name="T23" fmla="*/ 67 h 113"/>
              <a:gd name="T24" fmla="*/ 74 w 89"/>
              <a:gd name="T25" fmla="*/ 67 h 113"/>
              <a:gd name="T26" fmla="*/ 59 w 89"/>
              <a:gd name="T27" fmla="*/ 89 h 113"/>
              <a:gd name="T28" fmla="*/ 59 w 89"/>
              <a:gd name="T29" fmla="*/ 98 h 113"/>
              <a:gd name="T30" fmla="*/ 14 w 89"/>
              <a:gd name="T31" fmla="*/ 98 h 113"/>
              <a:gd name="T32" fmla="*/ 14 w 89"/>
              <a:gd name="T33" fmla="*/ 89 h 113"/>
              <a:gd name="T34" fmla="*/ 59 w 89"/>
              <a:gd name="T35" fmla="*/ 89 h 113"/>
              <a:gd name="T36" fmla="*/ 16 w 89"/>
              <a:gd name="T37" fmla="*/ 72 h 113"/>
              <a:gd name="T38" fmla="*/ 60 w 89"/>
              <a:gd name="T39" fmla="*/ 76 h 113"/>
              <a:gd name="T40" fmla="*/ 59 w 89"/>
              <a:gd name="T41" fmla="*/ 86 h 113"/>
              <a:gd name="T42" fmla="*/ 15 w 89"/>
              <a:gd name="T43" fmla="*/ 81 h 113"/>
              <a:gd name="T44" fmla="*/ 16 w 89"/>
              <a:gd name="T45" fmla="*/ 72 h 113"/>
              <a:gd name="T46" fmla="*/ 20 w 89"/>
              <a:gd name="T47" fmla="*/ 52 h 113"/>
              <a:gd name="T48" fmla="*/ 63 w 89"/>
              <a:gd name="T49" fmla="*/ 64 h 113"/>
              <a:gd name="T50" fmla="*/ 60 w 89"/>
              <a:gd name="T51" fmla="*/ 73 h 113"/>
              <a:gd name="T52" fmla="*/ 18 w 89"/>
              <a:gd name="T53" fmla="*/ 62 h 113"/>
              <a:gd name="T54" fmla="*/ 20 w 89"/>
              <a:gd name="T55" fmla="*/ 52 h 113"/>
              <a:gd name="T56" fmla="*/ 30 w 89"/>
              <a:gd name="T57" fmla="*/ 30 h 113"/>
              <a:gd name="T58" fmla="*/ 68 w 89"/>
              <a:gd name="T59" fmla="*/ 53 h 113"/>
              <a:gd name="T60" fmla="*/ 63 w 89"/>
              <a:gd name="T61" fmla="*/ 62 h 113"/>
              <a:gd name="T62" fmla="*/ 26 w 89"/>
              <a:gd name="T63" fmla="*/ 39 h 113"/>
              <a:gd name="T64" fmla="*/ 30 w 89"/>
              <a:gd name="T65" fmla="*/ 30 h 113"/>
              <a:gd name="T66" fmla="*/ 53 w 89"/>
              <a:gd name="T67" fmla="*/ 10 h 113"/>
              <a:gd name="T68" fmla="*/ 78 w 89"/>
              <a:gd name="T69" fmla="*/ 46 h 113"/>
              <a:gd name="T70" fmla="*/ 70 w 89"/>
              <a:gd name="T71" fmla="*/ 52 h 113"/>
              <a:gd name="T72" fmla="*/ 45 w 89"/>
              <a:gd name="T73" fmla="*/ 15 h 113"/>
              <a:gd name="T74" fmla="*/ 53 w 89"/>
              <a:gd name="T75" fmla="*/ 10 h 113"/>
              <a:gd name="T76" fmla="*/ 81 w 89"/>
              <a:gd name="T77" fmla="*/ 0 h 113"/>
              <a:gd name="T78" fmla="*/ 89 w 89"/>
              <a:gd name="T79" fmla="*/ 44 h 113"/>
              <a:gd name="T80" fmla="*/ 79 w 89"/>
              <a:gd name="T81" fmla="*/ 46 h 113"/>
              <a:gd name="T82" fmla="*/ 72 w 89"/>
              <a:gd name="T83" fmla="*/ 2 h 113"/>
              <a:gd name="T84" fmla="*/ 81 w 89"/>
              <a:gd name="T85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9" h="113">
                <a:moveTo>
                  <a:pt x="74" y="67"/>
                </a:moveTo>
                <a:lnTo>
                  <a:pt x="74" y="111"/>
                </a:lnTo>
                <a:lnTo>
                  <a:pt x="74" y="113"/>
                </a:lnTo>
                <a:lnTo>
                  <a:pt x="74" y="113"/>
                </a:lnTo>
                <a:lnTo>
                  <a:pt x="3" y="113"/>
                </a:lnTo>
                <a:lnTo>
                  <a:pt x="0" y="113"/>
                </a:lnTo>
                <a:lnTo>
                  <a:pt x="0" y="113"/>
                </a:lnTo>
                <a:lnTo>
                  <a:pt x="0" y="67"/>
                </a:lnTo>
                <a:lnTo>
                  <a:pt x="8" y="67"/>
                </a:lnTo>
                <a:lnTo>
                  <a:pt x="8" y="105"/>
                </a:lnTo>
                <a:lnTo>
                  <a:pt x="66" y="105"/>
                </a:lnTo>
                <a:lnTo>
                  <a:pt x="66" y="67"/>
                </a:lnTo>
                <a:lnTo>
                  <a:pt x="74" y="67"/>
                </a:lnTo>
                <a:close/>
                <a:moveTo>
                  <a:pt x="59" y="89"/>
                </a:moveTo>
                <a:lnTo>
                  <a:pt x="59" y="98"/>
                </a:lnTo>
                <a:lnTo>
                  <a:pt x="14" y="98"/>
                </a:lnTo>
                <a:lnTo>
                  <a:pt x="14" y="89"/>
                </a:lnTo>
                <a:lnTo>
                  <a:pt x="59" y="89"/>
                </a:lnTo>
                <a:close/>
                <a:moveTo>
                  <a:pt x="16" y="72"/>
                </a:moveTo>
                <a:lnTo>
                  <a:pt x="60" y="76"/>
                </a:lnTo>
                <a:lnTo>
                  <a:pt x="59" y="86"/>
                </a:lnTo>
                <a:lnTo>
                  <a:pt x="15" y="81"/>
                </a:lnTo>
                <a:lnTo>
                  <a:pt x="16" y="72"/>
                </a:lnTo>
                <a:close/>
                <a:moveTo>
                  <a:pt x="20" y="52"/>
                </a:moveTo>
                <a:lnTo>
                  <a:pt x="63" y="64"/>
                </a:lnTo>
                <a:lnTo>
                  <a:pt x="60" y="73"/>
                </a:lnTo>
                <a:lnTo>
                  <a:pt x="18" y="62"/>
                </a:lnTo>
                <a:lnTo>
                  <a:pt x="20" y="52"/>
                </a:lnTo>
                <a:close/>
                <a:moveTo>
                  <a:pt x="30" y="30"/>
                </a:moveTo>
                <a:lnTo>
                  <a:pt x="68" y="53"/>
                </a:lnTo>
                <a:lnTo>
                  <a:pt x="63" y="62"/>
                </a:lnTo>
                <a:lnTo>
                  <a:pt x="26" y="39"/>
                </a:lnTo>
                <a:lnTo>
                  <a:pt x="30" y="30"/>
                </a:lnTo>
                <a:close/>
                <a:moveTo>
                  <a:pt x="53" y="10"/>
                </a:moveTo>
                <a:lnTo>
                  <a:pt x="78" y="46"/>
                </a:lnTo>
                <a:lnTo>
                  <a:pt x="70" y="52"/>
                </a:lnTo>
                <a:lnTo>
                  <a:pt x="45" y="15"/>
                </a:lnTo>
                <a:lnTo>
                  <a:pt x="53" y="10"/>
                </a:lnTo>
                <a:close/>
                <a:moveTo>
                  <a:pt x="81" y="0"/>
                </a:moveTo>
                <a:lnTo>
                  <a:pt x="89" y="44"/>
                </a:lnTo>
                <a:lnTo>
                  <a:pt x="79" y="46"/>
                </a:lnTo>
                <a:lnTo>
                  <a:pt x="72" y="2"/>
                </a:lnTo>
                <a:lnTo>
                  <a:pt x="8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3" name="Freeform 334"/>
          <p:cNvSpPr>
            <a:spLocks noChangeAspect="1" noEditPoints="1"/>
          </p:cNvSpPr>
          <p:nvPr/>
        </p:nvSpPr>
        <p:spPr bwMode="auto">
          <a:xfrm>
            <a:off x="3391640" y="4033334"/>
            <a:ext cx="151447" cy="151447"/>
          </a:xfrm>
          <a:custGeom>
            <a:avLst/>
            <a:gdLst>
              <a:gd name="T0" fmla="*/ 145 w 145"/>
              <a:gd name="T1" fmla="*/ 19 h 146"/>
              <a:gd name="T2" fmla="*/ 145 w 145"/>
              <a:gd name="T3" fmla="*/ 127 h 146"/>
              <a:gd name="T4" fmla="*/ 139 w 145"/>
              <a:gd name="T5" fmla="*/ 140 h 146"/>
              <a:gd name="T6" fmla="*/ 126 w 145"/>
              <a:gd name="T7" fmla="*/ 146 h 146"/>
              <a:gd name="T8" fmla="*/ 18 w 145"/>
              <a:gd name="T9" fmla="*/ 146 h 146"/>
              <a:gd name="T10" fmla="*/ 5 w 145"/>
              <a:gd name="T11" fmla="*/ 140 h 146"/>
              <a:gd name="T12" fmla="*/ 0 w 145"/>
              <a:gd name="T13" fmla="*/ 127 h 146"/>
              <a:gd name="T14" fmla="*/ 0 w 145"/>
              <a:gd name="T15" fmla="*/ 19 h 146"/>
              <a:gd name="T16" fmla="*/ 5 w 145"/>
              <a:gd name="T17" fmla="*/ 6 h 146"/>
              <a:gd name="T18" fmla="*/ 18 w 145"/>
              <a:gd name="T19" fmla="*/ 0 h 146"/>
              <a:gd name="T20" fmla="*/ 126 w 145"/>
              <a:gd name="T21" fmla="*/ 0 h 146"/>
              <a:gd name="T22" fmla="*/ 139 w 145"/>
              <a:gd name="T23" fmla="*/ 6 h 146"/>
              <a:gd name="T24" fmla="*/ 145 w 145"/>
              <a:gd name="T25" fmla="*/ 19 h 146"/>
              <a:gd name="T26" fmla="*/ 128 w 145"/>
              <a:gd name="T27" fmla="*/ 123 h 146"/>
              <a:gd name="T28" fmla="*/ 128 w 145"/>
              <a:gd name="T29" fmla="*/ 62 h 146"/>
              <a:gd name="T30" fmla="*/ 116 w 145"/>
              <a:gd name="T31" fmla="*/ 62 h 146"/>
              <a:gd name="T32" fmla="*/ 118 w 145"/>
              <a:gd name="T33" fmla="*/ 74 h 146"/>
              <a:gd name="T34" fmla="*/ 112 w 145"/>
              <a:gd name="T35" fmla="*/ 96 h 146"/>
              <a:gd name="T36" fmla="*/ 95 w 145"/>
              <a:gd name="T37" fmla="*/ 112 h 146"/>
              <a:gd name="T38" fmla="*/ 72 w 145"/>
              <a:gd name="T39" fmla="*/ 118 h 146"/>
              <a:gd name="T40" fmla="*/ 41 w 145"/>
              <a:gd name="T41" fmla="*/ 105 h 146"/>
              <a:gd name="T42" fmla="*/ 27 w 145"/>
              <a:gd name="T43" fmla="*/ 74 h 146"/>
              <a:gd name="T44" fmla="*/ 29 w 145"/>
              <a:gd name="T45" fmla="*/ 62 h 146"/>
              <a:gd name="T46" fmla="*/ 16 w 145"/>
              <a:gd name="T47" fmla="*/ 62 h 146"/>
              <a:gd name="T48" fmla="*/ 16 w 145"/>
              <a:gd name="T49" fmla="*/ 123 h 146"/>
              <a:gd name="T50" fmla="*/ 18 w 145"/>
              <a:gd name="T51" fmla="*/ 127 h 146"/>
              <a:gd name="T52" fmla="*/ 22 w 145"/>
              <a:gd name="T53" fmla="*/ 129 h 146"/>
              <a:gd name="T54" fmla="*/ 123 w 145"/>
              <a:gd name="T55" fmla="*/ 129 h 146"/>
              <a:gd name="T56" fmla="*/ 127 w 145"/>
              <a:gd name="T57" fmla="*/ 127 h 146"/>
              <a:gd name="T58" fmla="*/ 128 w 145"/>
              <a:gd name="T59" fmla="*/ 123 h 146"/>
              <a:gd name="T60" fmla="*/ 93 w 145"/>
              <a:gd name="T61" fmla="*/ 93 h 146"/>
              <a:gd name="T62" fmla="*/ 102 w 145"/>
              <a:gd name="T63" fmla="*/ 73 h 146"/>
              <a:gd name="T64" fmla="*/ 93 w 145"/>
              <a:gd name="T65" fmla="*/ 53 h 146"/>
              <a:gd name="T66" fmla="*/ 72 w 145"/>
              <a:gd name="T67" fmla="*/ 44 h 146"/>
              <a:gd name="T68" fmla="*/ 52 w 145"/>
              <a:gd name="T69" fmla="*/ 53 h 146"/>
              <a:gd name="T70" fmla="*/ 43 w 145"/>
              <a:gd name="T71" fmla="*/ 73 h 146"/>
              <a:gd name="T72" fmla="*/ 52 w 145"/>
              <a:gd name="T73" fmla="*/ 93 h 146"/>
              <a:gd name="T74" fmla="*/ 72 w 145"/>
              <a:gd name="T75" fmla="*/ 101 h 146"/>
              <a:gd name="T76" fmla="*/ 93 w 145"/>
              <a:gd name="T77" fmla="*/ 93 h 146"/>
              <a:gd name="T78" fmla="*/ 128 w 145"/>
              <a:gd name="T79" fmla="*/ 39 h 146"/>
              <a:gd name="T80" fmla="*/ 128 w 145"/>
              <a:gd name="T81" fmla="*/ 23 h 146"/>
              <a:gd name="T82" fmla="*/ 127 w 145"/>
              <a:gd name="T83" fmla="*/ 18 h 146"/>
              <a:gd name="T84" fmla="*/ 122 w 145"/>
              <a:gd name="T85" fmla="*/ 16 h 146"/>
              <a:gd name="T86" fmla="*/ 106 w 145"/>
              <a:gd name="T87" fmla="*/ 16 h 146"/>
              <a:gd name="T88" fmla="*/ 101 w 145"/>
              <a:gd name="T89" fmla="*/ 18 h 146"/>
              <a:gd name="T90" fmla="*/ 99 w 145"/>
              <a:gd name="T91" fmla="*/ 23 h 146"/>
              <a:gd name="T92" fmla="*/ 99 w 145"/>
              <a:gd name="T93" fmla="*/ 39 h 146"/>
              <a:gd name="T94" fmla="*/ 101 w 145"/>
              <a:gd name="T95" fmla="*/ 43 h 146"/>
              <a:gd name="T96" fmla="*/ 106 w 145"/>
              <a:gd name="T97" fmla="*/ 45 h 146"/>
              <a:gd name="T98" fmla="*/ 122 w 145"/>
              <a:gd name="T99" fmla="*/ 45 h 146"/>
              <a:gd name="T100" fmla="*/ 127 w 145"/>
              <a:gd name="T101" fmla="*/ 43 h 146"/>
              <a:gd name="T102" fmla="*/ 128 w 145"/>
              <a:gd name="T103" fmla="*/ 3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5" h="146">
                <a:moveTo>
                  <a:pt x="145" y="19"/>
                </a:moveTo>
                <a:cubicBezTo>
                  <a:pt x="145" y="127"/>
                  <a:pt x="145" y="127"/>
                  <a:pt x="145" y="127"/>
                </a:cubicBezTo>
                <a:cubicBezTo>
                  <a:pt x="145" y="132"/>
                  <a:pt x="143" y="136"/>
                  <a:pt x="139" y="140"/>
                </a:cubicBezTo>
                <a:cubicBezTo>
                  <a:pt x="136" y="144"/>
                  <a:pt x="131" y="146"/>
                  <a:pt x="126" y="146"/>
                </a:cubicBezTo>
                <a:cubicBezTo>
                  <a:pt x="18" y="146"/>
                  <a:pt x="18" y="146"/>
                  <a:pt x="18" y="146"/>
                </a:cubicBezTo>
                <a:cubicBezTo>
                  <a:pt x="13" y="146"/>
                  <a:pt x="9" y="144"/>
                  <a:pt x="5" y="140"/>
                </a:cubicBezTo>
                <a:cubicBezTo>
                  <a:pt x="2" y="136"/>
                  <a:pt x="0" y="132"/>
                  <a:pt x="0" y="127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4"/>
                  <a:pt x="2" y="9"/>
                  <a:pt x="5" y="6"/>
                </a:cubicBezTo>
                <a:cubicBezTo>
                  <a:pt x="9" y="2"/>
                  <a:pt x="13" y="0"/>
                  <a:pt x="18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31" y="0"/>
                  <a:pt x="136" y="2"/>
                  <a:pt x="139" y="6"/>
                </a:cubicBezTo>
                <a:cubicBezTo>
                  <a:pt x="143" y="9"/>
                  <a:pt x="145" y="14"/>
                  <a:pt x="145" y="19"/>
                </a:cubicBezTo>
                <a:close/>
                <a:moveTo>
                  <a:pt x="128" y="123"/>
                </a:moveTo>
                <a:cubicBezTo>
                  <a:pt x="128" y="62"/>
                  <a:pt x="128" y="62"/>
                  <a:pt x="128" y="62"/>
                </a:cubicBezTo>
                <a:cubicBezTo>
                  <a:pt x="116" y="62"/>
                  <a:pt x="116" y="62"/>
                  <a:pt x="116" y="62"/>
                </a:cubicBezTo>
                <a:cubicBezTo>
                  <a:pt x="117" y="66"/>
                  <a:pt x="118" y="70"/>
                  <a:pt x="118" y="74"/>
                </a:cubicBezTo>
                <a:cubicBezTo>
                  <a:pt x="118" y="82"/>
                  <a:pt x="116" y="89"/>
                  <a:pt x="112" y="96"/>
                </a:cubicBezTo>
                <a:cubicBezTo>
                  <a:pt x="108" y="103"/>
                  <a:pt x="102" y="108"/>
                  <a:pt x="95" y="112"/>
                </a:cubicBezTo>
                <a:cubicBezTo>
                  <a:pt x="88" y="116"/>
                  <a:pt x="81" y="118"/>
                  <a:pt x="72" y="118"/>
                </a:cubicBezTo>
                <a:cubicBezTo>
                  <a:pt x="60" y="118"/>
                  <a:pt x="49" y="114"/>
                  <a:pt x="41" y="105"/>
                </a:cubicBezTo>
                <a:cubicBezTo>
                  <a:pt x="32" y="97"/>
                  <a:pt x="27" y="86"/>
                  <a:pt x="27" y="74"/>
                </a:cubicBezTo>
                <a:cubicBezTo>
                  <a:pt x="27" y="70"/>
                  <a:pt x="28" y="66"/>
                  <a:pt x="29" y="62"/>
                </a:cubicBezTo>
                <a:cubicBezTo>
                  <a:pt x="16" y="62"/>
                  <a:pt x="16" y="62"/>
                  <a:pt x="16" y="62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5"/>
                  <a:pt x="16" y="126"/>
                  <a:pt x="18" y="127"/>
                </a:cubicBezTo>
                <a:cubicBezTo>
                  <a:pt x="19" y="128"/>
                  <a:pt x="20" y="129"/>
                  <a:pt x="22" y="129"/>
                </a:cubicBezTo>
                <a:cubicBezTo>
                  <a:pt x="123" y="129"/>
                  <a:pt x="123" y="129"/>
                  <a:pt x="123" y="129"/>
                </a:cubicBezTo>
                <a:cubicBezTo>
                  <a:pt x="124" y="129"/>
                  <a:pt x="126" y="128"/>
                  <a:pt x="127" y="127"/>
                </a:cubicBezTo>
                <a:cubicBezTo>
                  <a:pt x="128" y="126"/>
                  <a:pt x="128" y="125"/>
                  <a:pt x="128" y="123"/>
                </a:cubicBezTo>
                <a:close/>
                <a:moveTo>
                  <a:pt x="93" y="93"/>
                </a:moveTo>
                <a:cubicBezTo>
                  <a:pt x="99" y="87"/>
                  <a:pt x="102" y="80"/>
                  <a:pt x="102" y="73"/>
                </a:cubicBezTo>
                <a:cubicBezTo>
                  <a:pt x="102" y="65"/>
                  <a:pt x="99" y="58"/>
                  <a:pt x="93" y="53"/>
                </a:cubicBezTo>
                <a:cubicBezTo>
                  <a:pt x="87" y="47"/>
                  <a:pt x="80" y="44"/>
                  <a:pt x="72" y="44"/>
                </a:cubicBezTo>
                <a:cubicBezTo>
                  <a:pt x="64" y="44"/>
                  <a:pt x="58" y="47"/>
                  <a:pt x="52" y="53"/>
                </a:cubicBezTo>
                <a:cubicBezTo>
                  <a:pt x="46" y="58"/>
                  <a:pt x="43" y="65"/>
                  <a:pt x="43" y="73"/>
                </a:cubicBezTo>
                <a:cubicBezTo>
                  <a:pt x="43" y="80"/>
                  <a:pt x="46" y="87"/>
                  <a:pt x="52" y="93"/>
                </a:cubicBezTo>
                <a:cubicBezTo>
                  <a:pt x="58" y="98"/>
                  <a:pt x="64" y="101"/>
                  <a:pt x="72" y="101"/>
                </a:cubicBezTo>
                <a:cubicBezTo>
                  <a:pt x="80" y="101"/>
                  <a:pt x="87" y="98"/>
                  <a:pt x="93" y="93"/>
                </a:cubicBezTo>
                <a:close/>
                <a:moveTo>
                  <a:pt x="128" y="39"/>
                </a:moveTo>
                <a:cubicBezTo>
                  <a:pt x="128" y="23"/>
                  <a:pt x="128" y="23"/>
                  <a:pt x="128" y="23"/>
                </a:cubicBezTo>
                <a:cubicBezTo>
                  <a:pt x="128" y="21"/>
                  <a:pt x="128" y="20"/>
                  <a:pt x="127" y="18"/>
                </a:cubicBezTo>
                <a:cubicBezTo>
                  <a:pt x="125" y="17"/>
                  <a:pt x="124" y="16"/>
                  <a:pt x="122" y="16"/>
                </a:cubicBezTo>
                <a:cubicBezTo>
                  <a:pt x="106" y="16"/>
                  <a:pt x="106" y="16"/>
                  <a:pt x="106" y="16"/>
                </a:cubicBezTo>
                <a:cubicBezTo>
                  <a:pt x="104" y="16"/>
                  <a:pt x="102" y="17"/>
                  <a:pt x="101" y="18"/>
                </a:cubicBezTo>
                <a:cubicBezTo>
                  <a:pt x="100" y="20"/>
                  <a:pt x="99" y="21"/>
                  <a:pt x="99" y="23"/>
                </a:cubicBezTo>
                <a:cubicBezTo>
                  <a:pt x="99" y="39"/>
                  <a:pt x="99" y="39"/>
                  <a:pt x="99" y="39"/>
                </a:cubicBezTo>
                <a:cubicBezTo>
                  <a:pt x="99" y="40"/>
                  <a:pt x="100" y="42"/>
                  <a:pt x="101" y="43"/>
                </a:cubicBezTo>
                <a:cubicBezTo>
                  <a:pt x="102" y="44"/>
                  <a:pt x="104" y="45"/>
                  <a:pt x="106" y="45"/>
                </a:cubicBezTo>
                <a:cubicBezTo>
                  <a:pt x="122" y="45"/>
                  <a:pt x="122" y="45"/>
                  <a:pt x="122" y="45"/>
                </a:cubicBezTo>
                <a:cubicBezTo>
                  <a:pt x="124" y="45"/>
                  <a:pt x="125" y="44"/>
                  <a:pt x="127" y="43"/>
                </a:cubicBezTo>
                <a:cubicBezTo>
                  <a:pt x="128" y="42"/>
                  <a:pt x="128" y="40"/>
                  <a:pt x="128" y="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4" name="Freeform 335"/>
          <p:cNvSpPr>
            <a:spLocks noChangeAspect="1" noEditPoints="1"/>
          </p:cNvSpPr>
          <p:nvPr/>
        </p:nvSpPr>
        <p:spPr bwMode="auto">
          <a:xfrm>
            <a:off x="3588364" y="4033334"/>
            <a:ext cx="149885" cy="151447"/>
          </a:xfrm>
          <a:custGeom>
            <a:avLst/>
            <a:gdLst>
              <a:gd name="T0" fmla="*/ 118 w 145"/>
              <a:gd name="T1" fmla="*/ 0 h 146"/>
              <a:gd name="T2" fmla="*/ 137 w 145"/>
              <a:gd name="T3" fmla="*/ 8 h 146"/>
              <a:gd name="T4" fmla="*/ 145 w 145"/>
              <a:gd name="T5" fmla="*/ 28 h 146"/>
              <a:gd name="T6" fmla="*/ 145 w 145"/>
              <a:gd name="T7" fmla="*/ 118 h 146"/>
              <a:gd name="T8" fmla="*/ 137 w 145"/>
              <a:gd name="T9" fmla="*/ 138 h 146"/>
              <a:gd name="T10" fmla="*/ 118 w 145"/>
              <a:gd name="T11" fmla="*/ 146 h 146"/>
              <a:gd name="T12" fmla="*/ 27 w 145"/>
              <a:gd name="T13" fmla="*/ 146 h 146"/>
              <a:gd name="T14" fmla="*/ 8 w 145"/>
              <a:gd name="T15" fmla="*/ 138 h 146"/>
              <a:gd name="T16" fmla="*/ 0 w 145"/>
              <a:gd name="T17" fmla="*/ 118 h 146"/>
              <a:gd name="T18" fmla="*/ 0 w 145"/>
              <a:gd name="T19" fmla="*/ 28 h 146"/>
              <a:gd name="T20" fmla="*/ 8 w 145"/>
              <a:gd name="T21" fmla="*/ 8 h 146"/>
              <a:gd name="T22" fmla="*/ 27 w 145"/>
              <a:gd name="T23" fmla="*/ 0 h 146"/>
              <a:gd name="T24" fmla="*/ 118 w 145"/>
              <a:gd name="T25" fmla="*/ 0 h 146"/>
              <a:gd name="T26" fmla="*/ 60 w 145"/>
              <a:gd name="T27" fmla="*/ 87 h 146"/>
              <a:gd name="T28" fmla="*/ 66 w 145"/>
              <a:gd name="T29" fmla="*/ 73 h 146"/>
              <a:gd name="T30" fmla="*/ 60 w 145"/>
              <a:gd name="T31" fmla="*/ 59 h 146"/>
              <a:gd name="T32" fmla="*/ 46 w 145"/>
              <a:gd name="T33" fmla="*/ 53 h 146"/>
              <a:gd name="T34" fmla="*/ 32 w 145"/>
              <a:gd name="T35" fmla="*/ 59 h 146"/>
              <a:gd name="T36" fmla="*/ 26 w 145"/>
              <a:gd name="T37" fmla="*/ 73 h 146"/>
              <a:gd name="T38" fmla="*/ 32 w 145"/>
              <a:gd name="T39" fmla="*/ 87 h 146"/>
              <a:gd name="T40" fmla="*/ 46 w 145"/>
              <a:gd name="T41" fmla="*/ 93 h 146"/>
              <a:gd name="T42" fmla="*/ 60 w 145"/>
              <a:gd name="T43" fmla="*/ 87 h 146"/>
              <a:gd name="T44" fmla="*/ 114 w 145"/>
              <a:gd name="T45" fmla="*/ 87 h 146"/>
              <a:gd name="T46" fmla="*/ 120 w 145"/>
              <a:gd name="T47" fmla="*/ 73 h 146"/>
              <a:gd name="T48" fmla="*/ 114 w 145"/>
              <a:gd name="T49" fmla="*/ 59 h 146"/>
              <a:gd name="T50" fmla="*/ 100 w 145"/>
              <a:gd name="T51" fmla="*/ 53 h 146"/>
              <a:gd name="T52" fmla="*/ 85 w 145"/>
              <a:gd name="T53" fmla="*/ 59 h 146"/>
              <a:gd name="T54" fmla="*/ 79 w 145"/>
              <a:gd name="T55" fmla="*/ 73 h 146"/>
              <a:gd name="T56" fmla="*/ 85 w 145"/>
              <a:gd name="T57" fmla="*/ 87 h 146"/>
              <a:gd name="T58" fmla="*/ 100 w 145"/>
              <a:gd name="T59" fmla="*/ 93 h 146"/>
              <a:gd name="T60" fmla="*/ 114 w 145"/>
              <a:gd name="T61" fmla="*/ 8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5" h="146">
                <a:moveTo>
                  <a:pt x="118" y="0"/>
                </a:moveTo>
                <a:cubicBezTo>
                  <a:pt x="126" y="0"/>
                  <a:pt x="132" y="3"/>
                  <a:pt x="137" y="8"/>
                </a:cubicBezTo>
                <a:cubicBezTo>
                  <a:pt x="143" y="14"/>
                  <a:pt x="145" y="20"/>
                  <a:pt x="145" y="28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3" y="132"/>
                  <a:pt x="137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7" y="0"/>
                </a:cubicBezTo>
                <a:lnTo>
                  <a:pt x="118" y="0"/>
                </a:lnTo>
                <a:close/>
                <a:moveTo>
                  <a:pt x="60" y="87"/>
                </a:moveTo>
                <a:cubicBezTo>
                  <a:pt x="64" y="83"/>
                  <a:pt x="66" y="78"/>
                  <a:pt x="66" y="73"/>
                </a:cubicBezTo>
                <a:cubicBezTo>
                  <a:pt x="66" y="67"/>
                  <a:pt x="64" y="63"/>
                  <a:pt x="60" y="59"/>
                </a:cubicBezTo>
                <a:cubicBezTo>
                  <a:pt x="56" y="55"/>
                  <a:pt x="52" y="53"/>
                  <a:pt x="46" y="53"/>
                </a:cubicBezTo>
                <a:cubicBezTo>
                  <a:pt x="41" y="53"/>
                  <a:pt x="36" y="55"/>
                  <a:pt x="32" y="59"/>
                </a:cubicBezTo>
                <a:cubicBezTo>
                  <a:pt x="28" y="63"/>
                  <a:pt x="26" y="67"/>
                  <a:pt x="26" y="73"/>
                </a:cubicBezTo>
                <a:cubicBezTo>
                  <a:pt x="26" y="78"/>
                  <a:pt x="28" y="83"/>
                  <a:pt x="32" y="87"/>
                </a:cubicBezTo>
                <a:cubicBezTo>
                  <a:pt x="36" y="91"/>
                  <a:pt x="41" y="93"/>
                  <a:pt x="46" y="93"/>
                </a:cubicBezTo>
                <a:cubicBezTo>
                  <a:pt x="52" y="93"/>
                  <a:pt x="56" y="91"/>
                  <a:pt x="60" y="87"/>
                </a:cubicBezTo>
                <a:close/>
                <a:moveTo>
                  <a:pt x="114" y="87"/>
                </a:moveTo>
                <a:cubicBezTo>
                  <a:pt x="118" y="83"/>
                  <a:pt x="120" y="78"/>
                  <a:pt x="120" y="73"/>
                </a:cubicBezTo>
                <a:cubicBezTo>
                  <a:pt x="120" y="67"/>
                  <a:pt x="118" y="63"/>
                  <a:pt x="114" y="59"/>
                </a:cubicBezTo>
                <a:cubicBezTo>
                  <a:pt x="110" y="55"/>
                  <a:pt x="105" y="53"/>
                  <a:pt x="100" y="53"/>
                </a:cubicBezTo>
                <a:cubicBezTo>
                  <a:pt x="94" y="53"/>
                  <a:pt x="89" y="55"/>
                  <a:pt x="85" y="59"/>
                </a:cubicBezTo>
                <a:cubicBezTo>
                  <a:pt x="81" y="63"/>
                  <a:pt x="79" y="67"/>
                  <a:pt x="79" y="73"/>
                </a:cubicBezTo>
                <a:cubicBezTo>
                  <a:pt x="79" y="78"/>
                  <a:pt x="81" y="83"/>
                  <a:pt x="85" y="87"/>
                </a:cubicBezTo>
                <a:cubicBezTo>
                  <a:pt x="89" y="91"/>
                  <a:pt x="94" y="93"/>
                  <a:pt x="100" y="93"/>
                </a:cubicBezTo>
                <a:cubicBezTo>
                  <a:pt x="105" y="93"/>
                  <a:pt x="110" y="91"/>
                  <a:pt x="114" y="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5" name="Freeform 336"/>
          <p:cNvSpPr>
            <a:spLocks noChangeAspect="1" noEditPoints="1"/>
          </p:cNvSpPr>
          <p:nvPr/>
        </p:nvSpPr>
        <p:spPr bwMode="auto">
          <a:xfrm>
            <a:off x="3785089" y="4033334"/>
            <a:ext cx="149885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6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107 w 145"/>
              <a:gd name="T27" fmla="*/ 97 h 146"/>
              <a:gd name="T28" fmla="*/ 116 w 145"/>
              <a:gd name="T29" fmla="*/ 97 h 146"/>
              <a:gd name="T30" fmla="*/ 72 w 145"/>
              <a:gd name="T31" fmla="*/ 32 h 146"/>
              <a:gd name="T32" fmla="*/ 29 w 145"/>
              <a:gd name="T33" fmla="*/ 97 h 146"/>
              <a:gd name="T34" fmla="*/ 38 w 145"/>
              <a:gd name="T35" fmla="*/ 97 h 146"/>
              <a:gd name="T36" fmla="*/ 48 w 145"/>
              <a:gd name="T37" fmla="*/ 82 h 146"/>
              <a:gd name="T38" fmla="*/ 97 w 145"/>
              <a:gd name="T39" fmla="*/ 82 h 146"/>
              <a:gd name="T40" fmla="*/ 107 w 145"/>
              <a:gd name="T41" fmla="*/ 97 h 146"/>
              <a:gd name="T42" fmla="*/ 72 w 145"/>
              <a:gd name="T43" fmla="*/ 47 h 146"/>
              <a:gd name="T44" fmla="*/ 91 w 145"/>
              <a:gd name="T45" fmla="*/ 76 h 146"/>
              <a:gd name="T46" fmla="*/ 53 w 145"/>
              <a:gd name="T47" fmla="*/ 76 h 146"/>
              <a:gd name="T48" fmla="*/ 72 w 145"/>
              <a:gd name="T49" fmla="*/ 4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6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6"/>
                </a:cubicBezTo>
                <a:close/>
                <a:moveTo>
                  <a:pt x="107" y="97"/>
                </a:moveTo>
                <a:cubicBezTo>
                  <a:pt x="116" y="97"/>
                  <a:pt x="116" y="97"/>
                  <a:pt x="116" y="97"/>
                </a:cubicBezTo>
                <a:cubicBezTo>
                  <a:pt x="72" y="32"/>
                  <a:pt x="72" y="32"/>
                  <a:pt x="72" y="32"/>
                </a:cubicBezTo>
                <a:cubicBezTo>
                  <a:pt x="29" y="97"/>
                  <a:pt x="29" y="97"/>
                  <a:pt x="29" y="97"/>
                </a:cubicBezTo>
                <a:cubicBezTo>
                  <a:pt x="38" y="97"/>
                  <a:pt x="38" y="97"/>
                  <a:pt x="38" y="97"/>
                </a:cubicBezTo>
                <a:cubicBezTo>
                  <a:pt x="48" y="82"/>
                  <a:pt x="48" y="82"/>
                  <a:pt x="48" y="82"/>
                </a:cubicBezTo>
                <a:cubicBezTo>
                  <a:pt x="97" y="82"/>
                  <a:pt x="97" y="82"/>
                  <a:pt x="97" y="82"/>
                </a:cubicBezTo>
                <a:lnTo>
                  <a:pt x="107" y="97"/>
                </a:lnTo>
                <a:close/>
                <a:moveTo>
                  <a:pt x="72" y="47"/>
                </a:moveTo>
                <a:cubicBezTo>
                  <a:pt x="91" y="76"/>
                  <a:pt x="91" y="76"/>
                  <a:pt x="91" y="76"/>
                </a:cubicBezTo>
                <a:cubicBezTo>
                  <a:pt x="53" y="76"/>
                  <a:pt x="53" y="76"/>
                  <a:pt x="53" y="76"/>
                </a:cubicBezTo>
                <a:lnTo>
                  <a:pt x="72" y="4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6" name="Freeform 337"/>
          <p:cNvSpPr>
            <a:spLocks noChangeAspect="1" noEditPoints="1"/>
          </p:cNvSpPr>
          <p:nvPr/>
        </p:nvSpPr>
        <p:spPr bwMode="auto">
          <a:xfrm>
            <a:off x="3980253" y="4028650"/>
            <a:ext cx="138957" cy="160815"/>
          </a:xfrm>
          <a:custGeom>
            <a:avLst/>
            <a:gdLst>
              <a:gd name="T0" fmla="*/ 122 w 134"/>
              <a:gd name="T1" fmla="*/ 90 h 155"/>
              <a:gd name="T2" fmla="*/ 116 w 134"/>
              <a:gd name="T3" fmla="*/ 99 h 155"/>
              <a:gd name="T4" fmla="*/ 53 w 134"/>
              <a:gd name="T5" fmla="*/ 110 h 155"/>
              <a:gd name="T6" fmla="*/ 13 w 134"/>
              <a:gd name="T7" fmla="*/ 95 h 155"/>
              <a:gd name="T8" fmla="*/ 11 w 134"/>
              <a:gd name="T9" fmla="*/ 88 h 155"/>
              <a:gd name="T10" fmla="*/ 10 w 134"/>
              <a:gd name="T11" fmla="*/ 81 h 155"/>
              <a:gd name="T12" fmla="*/ 5 w 134"/>
              <a:gd name="T13" fmla="*/ 52 h 155"/>
              <a:gd name="T14" fmla="*/ 0 w 134"/>
              <a:gd name="T15" fmla="*/ 23 h 155"/>
              <a:gd name="T16" fmla="*/ 5 w 134"/>
              <a:gd name="T17" fmla="*/ 15 h 155"/>
              <a:gd name="T18" fmla="*/ 14 w 134"/>
              <a:gd name="T19" fmla="*/ 10 h 155"/>
              <a:gd name="T20" fmla="*/ 48 w 134"/>
              <a:gd name="T21" fmla="*/ 2 h 155"/>
              <a:gd name="T22" fmla="*/ 132 w 134"/>
              <a:gd name="T23" fmla="*/ 18 h 155"/>
              <a:gd name="T24" fmla="*/ 133 w 134"/>
              <a:gd name="T25" fmla="*/ 28 h 155"/>
              <a:gd name="T26" fmla="*/ 114 w 134"/>
              <a:gd name="T27" fmla="*/ 126 h 155"/>
              <a:gd name="T28" fmla="*/ 110 w 134"/>
              <a:gd name="T29" fmla="*/ 141 h 155"/>
              <a:gd name="T30" fmla="*/ 87 w 134"/>
              <a:gd name="T31" fmla="*/ 153 h 155"/>
              <a:gd name="T32" fmla="*/ 49 w 134"/>
              <a:gd name="T33" fmla="*/ 153 h 155"/>
              <a:gd name="T34" fmla="*/ 34 w 134"/>
              <a:gd name="T35" fmla="*/ 149 h 155"/>
              <a:gd name="T36" fmla="*/ 22 w 134"/>
              <a:gd name="T37" fmla="*/ 139 h 155"/>
              <a:gd name="T38" fmla="*/ 17 w 134"/>
              <a:gd name="T39" fmla="*/ 110 h 155"/>
              <a:gd name="T40" fmla="*/ 67 w 134"/>
              <a:gd name="T41" fmla="*/ 123 h 155"/>
              <a:gd name="T42" fmla="*/ 117 w 134"/>
              <a:gd name="T43" fmla="*/ 111 h 155"/>
              <a:gd name="T44" fmla="*/ 116 w 134"/>
              <a:gd name="T45" fmla="*/ 119 h 155"/>
              <a:gd name="T46" fmla="*/ 105 w 134"/>
              <a:gd name="T47" fmla="*/ 17 h 155"/>
              <a:gd name="T48" fmla="*/ 93 w 134"/>
              <a:gd name="T49" fmla="*/ 14 h 155"/>
              <a:gd name="T50" fmla="*/ 33 w 134"/>
              <a:gd name="T51" fmla="*/ 15 h 155"/>
              <a:gd name="T52" fmla="*/ 23 w 134"/>
              <a:gd name="T53" fmla="*/ 21 h 155"/>
              <a:gd name="T54" fmla="*/ 37 w 134"/>
              <a:gd name="T55" fmla="*/ 28 h 155"/>
              <a:gd name="T56" fmla="*/ 88 w 134"/>
              <a:gd name="T57" fmla="*/ 29 h 155"/>
              <a:gd name="T58" fmla="*/ 103 w 134"/>
              <a:gd name="T59" fmla="*/ 26 h 155"/>
              <a:gd name="T60" fmla="*/ 88 w 134"/>
              <a:gd name="T61" fmla="*/ 72 h 155"/>
              <a:gd name="T62" fmla="*/ 59 w 134"/>
              <a:gd name="T63" fmla="*/ 56 h 155"/>
              <a:gd name="T64" fmla="*/ 46 w 134"/>
              <a:gd name="T65" fmla="*/ 76 h 155"/>
              <a:gd name="T66" fmla="*/ 69 w 134"/>
              <a:gd name="T67" fmla="*/ 96 h 155"/>
              <a:gd name="T68" fmla="*/ 88 w 134"/>
              <a:gd name="T69" fmla="*/ 72 h 155"/>
              <a:gd name="T70" fmla="*/ 73 w 134"/>
              <a:gd name="T71" fmla="*/ 84 h 155"/>
              <a:gd name="T72" fmla="*/ 57 w 134"/>
              <a:gd name="T73" fmla="*/ 79 h 155"/>
              <a:gd name="T74" fmla="*/ 62 w 134"/>
              <a:gd name="T75" fmla="*/ 66 h 155"/>
              <a:gd name="T76" fmla="*/ 75 w 134"/>
              <a:gd name="T77" fmla="*/ 6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4" h="155">
                <a:moveTo>
                  <a:pt x="133" y="28"/>
                </a:moveTo>
                <a:cubicBezTo>
                  <a:pt x="131" y="39"/>
                  <a:pt x="128" y="59"/>
                  <a:pt x="122" y="90"/>
                </a:cubicBezTo>
                <a:cubicBezTo>
                  <a:pt x="122" y="92"/>
                  <a:pt x="121" y="94"/>
                  <a:pt x="120" y="95"/>
                </a:cubicBezTo>
                <a:cubicBezTo>
                  <a:pt x="119" y="97"/>
                  <a:pt x="117" y="98"/>
                  <a:pt x="116" y="99"/>
                </a:cubicBezTo>
                <a:cubicBezTo>
                  <a:pt x="114" y="100"/>
                  <a:pt x="113" y="101"/>
                  <a:pt x="111" y="102"/>
                </a:cubicBezTo>
                <a:cubicBezTo>
                  <a:pt x="95" y="110"/>
                  <a:pt x="76" y="113"/>
                  <a:pt x="53" y="110"/>
                </a:cubicBezTo>
                <a:cubicBezTo>
                  <a:pt x="37" y="109"/>
                  <a:pt x="25" y="104"/>
                  <a:pt x="16" y="97"/>
                </a:cubicBezTo>
                <a:cubicBezTo>
                  <a:pt x="15" y="97"/>
                  <a:pt x="14" y="96"/>
                  <a:pt x="13" y="95"/>
                </a:cubicBezTo>
                <a:cubicBezTo>
                  <a:pt x="13" y="94"/>
                  <a:pt x="12" y="93"/>
                  <a:pt x="12" y="91"/>
                </a:cubicBezTo>
                <a:cubicBezTo>
                  <a:pt x="11" y="90"/>
                  <a:pt x="11" y="89"/>
                  <a:pt x="11" y="88"/>
                </a:cubicBezTo>
                <a:cubicBezTo>
                  <a:pt x="11" y="87"/>
                  <a:pt x="11" y="86"/>
                  <a:pt x="10" y="85"/>
                </a:cubicBezTo>
                <a:cubicBezTo>
                  <a:pt x="10" y="83"/>
                  <a:pt x="10" y="82"/>
                  <a:pt x="10" y="81"/>
                </a:cubicBezTo>
                <a:cubicBezTo>
                  <a:pt x="9" y="78"/>
                  <a:pt x="8" y="73"/>
                  <a:pt x="7" y="67"/>
                </a:cubicBezTo>
                <a:cubicBezTo>
                  <a:pt x="6" y="61"/>
                  <a:pt x="5" y="56"/>
                  <a:pt x="5" y="52"/>
                </a:cubicBezTo>
                <a:cubicBezTo>
                  <a:pt x="4" y="48"/>
                  <a:pt x="3" y="43"/>
                  <a:pt x="2" y="38"/>
                </a:cubicBezTo>
                <a:cubicBezTo>
                  <a:pt x="2" y="32"/>
                  <a:pt x="1" y="27"/>
                  <a:pt x="0" y="23"/>
                </a:cubicBezTo>
                <a:cubicBezTo>
                  <a:pt x="1" y="21"/>
                  <a:pt x="1" y="20"/>
                  <a:pt x="2" y="18"/>
                </a:cubicBezTo>
                <a:cubicBezTo>
                  <a:pt x="3" y="17"/>
                  <a:pt x="4" y="16"/>
                  <a:pt x="5" y="15"/>
                </a:cubicBezTo>
                <a:cubicBezTo>
                  <a:pt x="6" y="14"/>
                  <a:pt x="7" y="13"/>
                  <a:pt x="9" y="12"/>
                </a:cubicBezTo>
                <a:cubicBezTo>
                  <a:pt x="11" y="11"/>
                  <a:pt x="12" y="10"/>
                  <a:pt x="14" y="10"/>
                </a:cubicBezTo>
                <a:cubicBezTo>
                  <a:pt x="15" y="9"/>
                  <a:pt x="16" y="9"/>
                  <a:pt x="18" y="8"/>
                </a:cubicBezTo>
                <a:cubicBezTo>
                  <a:pt x="26" y="5"/>
                  <a:pt x="36" y="3"/>
                  <a:pt x="48" y="2"/>
                </a:cubicBezTo>
                <a:cubicBezTo>
                  <a:pt x="72" y="0"/>
                  <a:pt x="93" y="1"/>
                  <a:pt x="112" y="7"/>
                </a:cubicBezTo>
                <a:cubicBezTo>
                  <a:pt x="121" y="10"/>
                  <a:pt x="128" y="13"/>
                  <a:pt x="132" y="18"/>
                </a:cubicBezTo>
                <a:cubicBezTo>
                  <a:pt x="133" y="20"/>
                  <a:pt x="133" y="21"/>
                  <a:pt x="133" y="23"/>
                </a:cubicBezTo>
                <a:cubicBezTo>
                  <a:pt x="134" y="25"/>
                  <a:pt x="133" y="27"/>
                  <a:pt x="133" y="28"/>
                </a:cubicBezTo>
                <a:close/>
                <a:moveTo>
                  <a:pt x="116" y="119"/>
                </a:moveTo>
                <a:cubicBezTo>
                  <a:pt x="115" y="121"/>
                  <a:pt x="115" y="123"/>
                  <a:pt x="114" y="126"/>
                </a:cubicBezTo>
                <a:cubicBezTo>
                  <a:pt x="114" y="129"/>
                  <a:pt x="113" y="132"/>
                  <a:pt x="113" y="134"/>
                </a:cubicBezTo>
                <a:cubicBezTo>
                  <a:pt x="113" y="136"/>
                  <a:pt x="112" y="139"/>
                  <a:pt x="110" y="141"/>
                </a:cubicBezTo>
                <a:cubicBezTo>
                  <a:pt x="109" y="143"/>
                  <a:pt x="107" y="145"/>
                  <a:pt x="105" y="146"/>
                </a:cubicBezTo>
                <a:cubicBezTo>
                  <a:pt x="99" y="149"/>
                  <a:pt x="93" y="151"/>
                  <a:pt x="87" y="153"/>
                </a:cubicBezTo>
                <a:cubicBezTo>
                  <a:pt x="80" y="154"/>
                  <a:pt x="74" y="155"/>
                  <a:pt x="68" y="155"/>
                </a:cubicBezTo>
                <a:cubicBezTo>
                  <a:pt x="62" y="155"/>
                  <a:pt x="55" y="154"/>
                  <a:pt x="49" y="153"/>
                </a:cubicBezTo>
                <a:cubicBezTo>
                  <a:pt x="46" y="153"/>
                  <a:pt x="43" y="152"/>
                  <a:pt x="41" y="152"/>
                </a:cubicBezTo>
                <a:cubicBezTo>
                  <a:pt x="39" y="151"/>
                  <a:pt x="36" y="150"/>
                  <a:pt x="34" y="149"/>
                </a:cubicBezTo>
                <a:cubicBezTo>
                  <a:pt x="31" y="148"/>
                  <a:pt x="29" y="147"/>
                  <a:pt x="27" y="145"/>
                </a:cubicBezTo>
                <a:cubicBezTo>
                  <a:pt x="25" y="143"/>
                  <a:pt x="23" y="141"/>
                  <a:pt x="22" y="139"/>
                </a:cubicBezTo>
                <a:cubicBezTo>
                  <a:pt x="20" y="133"/>
                  <a:pt x="19" y="124"/>
                  <a:pt x="17" y="111"/>
                </a:cubicBezTo>
                <a:cubicBezTo>
                  <a:pt x="17" y="110"/>
                  <a:pt x="17" y="110"/>
                  <a:pt x="17" y="110"/>
                </a:cubicBezTo>
                <a:cubicBezTo>
                  <a:pt x="19" y="109"/>
                  <a:pt x="19" y="109"/>
                  <a:pt x="19" y="109"/>
                </a:cubicBezTo>
                <a:cubicBezTo>
                  <a:pt x="33" y="118"/>
                  <a:pt x="49" y="123"/>
                  <a:pt x="67" y="123"/>
                </a:cubicBezTo>
                <a:cubicBezTo>
                  <a:pt x="85" y="123"/>
                  <a:pt x="101" y="118"/>
                  <a:pt x="115" y="109"/>
                </a:cubicBezTo>
                <a:cubicBezTo>
                  <a:pt x="116" y="109"/>
                  <a:pt x="117" y="110"/>
                  <a:pt x="117" y="111"/>
                </a:cubicBezTo>
                <a:cubicBezTo>
                  <a:pt x="117" y="112"/>
                  <a:pt x="117" y="114"/>
                  <a:pt x="117" y="116"/>
                </a:cubicBezTo>
                <a:cubicBezTo>
                  <a:pt x="116" y="117"/>
                  <a:pt x="116" y="118"/>
                  <a:pt x="116" y="119"/>
                </a:cubicBezTo>
                <a:close/>
                <a:moveTo>
                  <a:pt x="110" y="21"/>
                </a:moveTo>
                <a:cubicBezTo>
                  <a:pt x="109" y="19"/>
                  <a:pt x="107" y="18"/>
                  <a:pt x="105" y="17"/>
                </a:cubicBezTo>
                <a:cubicBezTo>
                  <a:pt x="103" y="16"/>
                  <a:pt x="101" y="15"/>
                  <a:pt x="100" y="15"/>
                </a:cubicBezTo>
                <a:cubicBezTo>
                  <a:pt x="98" y="15"/>
                  <a:pt x="96" y="14"/>
                  <a:pt x="93" y="14"/>
                </a:cubicBezTo>
                <a:cubicBezTo>
                  <a:pt x="75" y="11"/>
                  <a:pt x="57" y="11"/>
                  <a:pt x="39" y="14"/>
                </a:cubicBezTo>
                <a:cubicBezTo>
                  <a:pt x="37" y="14"/>
                  <a:pt x="35" y="15"/>
                  <a:pt x="33" y="15"/>
                </a:cubicBezTo>
                <a:cubicBezTo>
                  <a:pt x="32" y="15"/>
                  <a:pt x="30" y="16"/>
                  <a:pt x="28" y="17"/>
                </a:cubicBezTo>
                <a:cubicBezTo>
                  <a:pt x="26" y="18"/>
                  <a:pt x="24" y="20"/>
                  <a:pt x="23" y="21"/>
                </a:cubicBezTo>
                <a:cubicBezTo>
                  <a:pt x="25" y="23"/>
                  <a:pt x="28" y="24"/>
                  <a:pt x="30" y="25"/>
                </a:cubicBezTo>
                <a:cubicBezTo>
                  <a:pt x="33" y="27"/>
                  <a:pt x="36" y="27"/>
                  <a:pt x="37" y="28"/>
                </a:cubicBezTo>
                <a:cubicBezTo>
                  <a:pt x="39" y="28"/>
                  <a:pt x="42" y="28"/>
                  <a:pt x="46" y="29"/>
                </a:cubicBezTo>
                <a:cubicBezTo>
                  <a:pt x="60" y="30"/>
                  <a:pt x="74" y="31"/>
                  <a:pt x="88" y="29"/>
                </a:cubicBezTo>
                <a:cubicBezTo>
                  <a:pt x="92" y="28"/>
                  <a:pt x="95" y="28"/>
                  <a:pt x="97" y="28"/>
                </a:cubicBezTo>
                <a:cubicBezTo>
                  <a:pt x="98" y="27"/>
                  <a:pt x="100" y="27"/>
                  <a:pt x="103" y="26"/>
                </a:cubicBezTo>
                <a:cubicBezTo>
                  <a:pt x="106" y="24"/>
                  <a:pt x="109" y="23"/>
                  <a:pt x="110" y="21"/>
                </a:cubicBezTo>
                <a:close/>
                <a:moveTo>
                  <a:pt x="88" y="72"/>
                </a:moveTo>
                <a:cubicBezTo>
                  <a:pt x="87" y="66"/>
                  <a:pt x="83" y="61"/>
                  <a:pt x="77" y="57"/>
                </a:cubicBezTo>
                <a:cubicBezTo>
                  <a:pt x="71" y="53"/>
                  <a:pt x="65" y="53"/>
                  <a:pt x="59" y="56"/>
                </a:cubicBezTo>
                <a:cubicBezTo>
                  <a:pt x="55" y="57"/>
                  <a:pt x="51" y="60"/>
                  <a:pt x="49" y="64"/>
                </a:cubicBezTo>
                <a:cubicBezTo>
                  <a:pt x="47" y="68"/>
                  <a:pt x="46" y="72"/>
                  <a:pt x="46" y="76"/>
                </a:cubicBezTo>
                <a:cubicBezTo>
                  <a:pt x="46" y="82"/>
                  <a:pt x="48" y="87"/>
                  <a:pt x="53" y="91"/>
                </a:cubicBezTo>
                <a:cubicBezTo>
                  <a:pt x="58" y="95"/>
                  <a:pt x="63" y="97"/>
                  <a:pt x="69" y="96"/>
                </a:cubicBezTo>
                <a:cubicBezTo>
                  <a:pt x="75" y="96"/>
                  <a:pt x="79" y="93"/>
                  <a:pt x="83" y="88"/>
                </a:cubicBezTo>
                <a:cubicBezTo>
                  <a:pt x="87" y="84"/>
                  <a:pt x="89" y="78"/>
                  <a:pt x="88" y="72"/>
                </a:cubicBezTo>
                <a:close/>
                <a:moveTo>
                  <a:pt x="77" y="74"/>
                </a:moveTo>
                <a:cubicBezTo>
                  <a:pt x="78" y="78"/>
                  <a:pt x="76" y="82"/>
                  <a:pt x="73" y="84"/>
                </a:cubicBezTo>
                <a:cubicBezTo>
                  <a:pt x="69" y="86"/>
                  <a:pt x="65" y="87"/>
                  <a:pt x="62" y="85"/>
                </a:cubicBezTo>
                <a:cubicBezTo>
                  <a:pt x="60" y="83"/>
                  <a:pt x="58" y="82"/>
                  <a:pt x="57" y="79"/>
                </a:cubicBezTo>
                <a:cubicBezTo>
                  <a:pt x="56" y="76"/>
                  <a:pt x="56" y="74"/>
                  <a:pt x="57" y="71"/>
                </a:cubicBezTo>
                <a:cubicBezTo>
                  <a:pt x="58" y="69"/>
                  <a:pt x="59" y="67"/>
                  <a:pt x="62" y="66"/>
                </a:cubicBezTo>
                <a:cubicBezTo>
                  <a:pt x="64" y="65"/>
                  <a:pt x="66" y="64"/>
                  <a:pt x="69" y="65"/>
                </a:cubicBezTo>
                <a:cubicBezTo>
                  <a:pt x="71" y="65"/>
                  <a:pt x="73" y="66"/>
                  <a:pt x="75" y="68"/>
                </a:cubicBezTo>
                <a:cubicBezTo>
                  <a:pt x="77" y="70"/>
                  <a:pt x="77" y="72"/>
                  <a:pt x="77" y="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7" name="Freeform 338"/>
          <p:cNvSpPr>
            <a:spLocks noChangeAspect="1" noEditPoints="1"/>
          </p:cNvSpPr>
          <p:nvPr/>
        </p:nvSpPr>
        <p:spPr bwMode="auto">
          <a:xfrm>
            <a:off x="4164487" y="4033334"/>
            <a:ext cx="149885" cy="151447"/>
          </a:xfrm>
          <a:custGeom>
            <a:avLst/>
            <a:gdLst>
              <a:gd name="T0" fmla="*/ 145 w 145"/>
              <a:gd name="T1" fmla="*/ 118 h 146"/>
              <a:gd name="T2" fmla="*/ 118 w 145"/>
              <a:gd name="T3" fmla="*/ 146 h 146"/>
              <a:gd name="T4" fmla="*/ 8 w 145"/>
              <a:gd name="T5" fmla="*/ 138 h 146"/>
              <a:gd name="T6" fmla="*/ 0 w 145"/>
              <a:gd name="T7" fmla="*/ 28 h 146"/>
              <a:gd name="T8" fmla="*/ 27 w 145"/>
              <a:gd name="T9" fmla="*/ 0 h 146"/>
              <a:gd name="T10" fmla="*/ 137 w 145"/>
              <a:gd name="T11" fmla="*/ 8 h 146"/>
              <a:gd name="T12" fmla="*/ 120 w 145"/>
              <a:gd name="T13" fmla="*/ 37 h 146"/>
              <a:gd name="T14" fmla="*/ 105 w 145"/>
              <a:gd name="T15" fmla="*/ 22 h 146"/>
              <a:gd name="T16" fmla="*/ 37 w 145"/>
              <a:gd name="T17" fmla="*/ 23 h 146"/>
              <a:gd name="T18" fmla="*/ 27 w 145"/>
              <a:gd name="T19" fmla="*/ 28 h 146"/>
              <a:gd name="T20" fmla="*/ 26 w 145"/>
              <a:gd name="T21" fmla="*/ 46 h 146"/>
              <a:gd name="T22" fmla="*/ 31 w 145"/>
              <a:gd name="T23" fmla="*/ 75 h 146"/>
              <a:gd name="T24" fmla="*/ 32 w 145"/>
              <a:gd name="T25" fmla="*/ 82 h 146"/>
              <a:gd name="T26" fmla="*/ 35 w 145"/>
              <a:gd name="T27" fmla="*/ 87 h 146"/>
              <a:gd name="T28" fmla="*/ 104 w 145"/>
              <a:gd name="T29" fmla="*/ 90 h 146"/>
              <a:gd name="T30" fmla="*/ 111 w 145"/>
              <a:gd name="T31" fmla="*/ 85 h 146"/>
              <a:gd name="T32" fmla="*/ 120 w 145"/>
              <a:gd name="T33" fmla="*/ 37 h 146"/>
              <a:gd name="T34" fmla="*/ 108 w 145"/>
              <a:gd name="T35" fmla="*/ 100 h 146"/>
              <a:gd name="T36" fmla="*/ 107 w 145"/>
              <a:gd name="T37" fmla="*/ 95 h 146"/>
              <a:gd name="T38" fmla="*/ 38 w 145"/>
              <a:gd name="T39" fmla="*/ 95 h 146"/>
              <a:gd name="T40" fmla="*/ 36 w 145"/>
              <a:gd name="T41" fmla="*/ 97 h 146"/>
              <a:gd name="T42" fmla="*/ 59 w 145"/>
              <a:gd name="T43" fmla="*/ 127 h 146"/>
              <a:gd name="T44" fmla="*/ 104 w 145"/>
              <a:gd name="T45" fmla="*/ 117 h 146"/>
              <a:gd name="T46" fmla="*/ 108 w 145"/>
              <a:gd name="T47" fmla="*/ 103 h 146"/>
              <a:gd name="T48" fmla="*/ 99 w 145"/>
              <a:gd name="T49" fmla="*/ 35 h 146"/>
              <a:gd name="T50" fmla="*/ 88 w 145"/>
              <a:gd name="T51" fmla="*/ 37 h 146"/>
              <a:gd name="T52" fmla="*/ 51 w 145"/>
              <a:gd name="T53" fmla="*/ 37 h 146"/>
              <a:gd name="T54" fmla="*/ 41 w 145"/>
              <a:gd name="T55" fmla="*/ 32 h 146"/>
              <a:gd name="T56" fmla="*/ 48 w 145"/>
              <a:gd name="T57" fmla="*/ 28 h 146"/>
              <a:gd name="T58" fmla="*/ 91 w 145"/>
              <a:gd name="T59" fmla="*/ 27 h 146"/>
              <a:gd name="T60" fmla="*/ 100 w 145"/>
              <a:gd name="T61" fmla="*/ 29 h 146"/>
              <a:gd name="T62" fmla="*/ 87 w 145"/>
              <a:gd name="T63" fmla="*/ 69 h 146"/>
              <a:gd name="T64" fmla="*/ 74 w 145"/>
              <a:gd name="T65" fmla="*/ 86 h 146"/>
              <a:gd name="T66" fmla="*/ 57 w 145"/>
              <a:gd name="T67" fmla="*/ 72 h 146"/>
              <a:gd name="T68" fmla="*/ 66 w 145"/>
              <a:gd name="T69" fmla="*/ 57 h 146"/>
              <a:gd name="T70" fmla="*/ 87 w 145"/>
              <a:gd name="T71" fmla="*/ 69 h 146"/>
              <a:gd name="T72" fmla="*/ 76 w 145"/>
              <a:gd name="T73" fmla="*/ 64 h 146"/>
              <a:gd name="T74" fmla="*/ 65 w 145"/>
              <a:gd name="T75" fmla="*/ 71 h 146"/>
              <a:gd name="T76" fmla="*/ 77 w 145"/>
              <a:gd name="T77" fmla="*/ 7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19" y="146"/>
                  <a:pt x="13" y="143"/>
                  <a:pt x="8" y="138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2" y="14"/>
                  <a:pt x="8" y="8"/>
                </a:cubicBezTo>
                <a:cubicBezTo>
                  <a:pt x="13" y="3"/>
                  <a:pt x="19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120" y="37"/>
                </a:moveTo>
                <a:cubicBezTo>
                  <a:pt x="121" y="34"/>
                  <a:pt x="120" y="31"/>
                  <a:pt x="119" y="30"/>
                </a:cubicBezTo>
                <a:cubicBezTo>
                  <a:pt x="117" y="26"/>
                  <a:pt x="112" y="24"/>
                  <a:pt x="105" y="22"/>
                </a:cubicBezTo>
                <a:cubicBezTo>
                  <a:pt x="91" y="18"/>
                  <a:pt x="76" y="16"/>
                  <a:pt x="59" y="18"/>
                </a:cubicBezTo>
                <a:cubicBezTo>
                  <a:pt x="50" y="19"/>
                  <a:pt x="43" y="20"/>
                  <a:pt x="37" y="23"/>
                </a:cubicBezTo>
                <a:cubicBezTo>
                  <a:pt x="35" y="23"/>
                  <a:pt x="33" y="24"/>
                  <a:pt x="32" y="25"/>
                </a:cubicBezTo>
                <a:cubicBezTo>
                  <a:pt x="30" y="26"/>
                  <a:pt x="29" y="27"/>
                  <a:pt x="27" y="28"/>
                </a:cubicBezTo>
                <a:cubicBezTo>
                  <a:pt x="26" y="30"/>
                  <a:pt x="25" y="31"/>
                  <a:pt x="24" y="33"/>
                </a:cubicBezTo>
                <a:cubicBezTo>
                  <a:pt x="25" y="37"/>
                  <a:pt x="25" y="42"/>
                  <a:pt x="26" y="46"/>
                </a:cubicBezTo>
                <a:cubicBezTo>
                  <a:pt x="27" y="51"/>
                  <a:pt x="28" y="56"/>
                  <a:pt x="29" y="62"/>
                </a:cubicBezTo>
                <a:cubicBezTo>
                  <a:pt x="30" y="69"/>
                  <a:pt x="31" y="73"/>
                  <a:pt x="31" y="75"/>
                </a:cubicBezTo>
                <a:cubicBezTo>
                  <a:pt x="31" y="76"/>
                  <a:pt x="31" y="77"/>
                  <a:pt x="32" y="78"/>
                </a:cubicBezTo>
                <a:cubicBezTo>
                  <a:pt x="32" y="80"/>
                  <a:pt x="32" y="81"/>
                  <a:pt x="32" y="82"/>
                </a:cubicBezTo>
                <a:cubicBezTo>
                  <a:pt x="32" y="82"/>
                  <a:pt x="33" y="83"/>
                  <a:pt x="33" y="84"/>
                </a:cubicBezTo>
                <a:cubicBezTo>
                  <a:pt x="34" y="85"/>
                  <a:pt x="35" y="86"/>
                  <a:pt x="35" y="87"/>
                </a:cubicBezTo>
                <a:cubicBezTo>
                  <a:pt x="42" y="92"/>
                  <a:pt x="51" y="95"/>
                  <a:pt x="62" y="96"/>
                </a:cubicBezTo>
                <a:cubicBezTo>
                  <a:pt x="79" y="98"/>
                  <a:pt x="93" y="96"/>
                  <a:pt x="104" y="90"/>
                </a:cubicBezTo>
                <a:cubicBezTo>
                  <a:pt x="105" y="90"/>
                  <a:pt x="107" y="89"/>
                  <a:pt x="108" y="88"/>
                </a:cubicBezTo>
                <a:cubicBezTo>
                  <a:pt x="109" y="88"/>
                  <a:pt x="110" y="87"/>
                  <a:pt x="111" y="85"/>
                </a:cubicBezTo>
                <a:cubicBezTo>
                  <a:pt x="112" y="84"/>
                  <a:pt x="112" y="83"/>
                  <a:pt x="112" y="82"/>
                </a:cubicBezTo>
                <a:cubicBezTo>
                  <a:pt x="115" y="65"/>
                  <a:pt x="118" y="50"/>
                  <a:pt x="120" y="37"/>
                </a:cubicBezTo>
                <a:close/>
                <a:moveTo>
                  <a:pt x="108" y="103"/>
                </a:moveTo>
                <a:cubicBezTo>
                  <a:pt x="108" y="102"/>
                  <a:pt x="108" y="101"/>
                  <a:pt x="108" y="100"/>
                </a:cubicBezTo>
                <a:cubicBezTo>
                  <a:pt x="109" y="99"/>
                  <a:pt x="109" y="98"/>
                  <a:pt x="109" y="97"/>
                </a:cubicBezTo>
                <a:cubicBezTo>
                  <a:pt x="108" y="96"/>
                  <a:pt x="108" y="96"/>
                  <a:pt x="107" y="95"/>
                </a:cubicBezTo>
                <a:cubicBezTo>
                  <a:pt x="97" y="102"/>
                  <a:pt x="85" y="105"/>
                  <a:pt x="72" y="105"/>
                </a:cubicBezTo>
                <a:cubicBezTo>
                  <a:pt x="60" y="105"/>
                  <a:pt x="48" y="102"/>
                  <a:pt x="38" y="95"/>
                </a:cubicBezTo>
                <a:cubicBezTo>
                  <a:pt x="37" y="96"/>
                  <a:pt x="37" y="96"/>
                  <a:pt x="37" y="96"/>
                </a:cubicBezTo>
                <a:cubicBezTo>
                  <a:pt x="36" y="97"/>
                  <a:pt x="36" y="97"/>
                  <a:pt x="36" y="97"/>
                </a:cubicBezTo>
                <a:cubicBezTo>
                  <a:pt x="38" y="107"/>
                  <a:pt x="39" y="113"/>
                  <a:pt x="40" y="117"/>
                </a:cubicBezTo>
                <a:cubicBezTo>
                  <a:pt x="43" y="122"/>
                  <a:pt x="49" y="125"/>
                  <a:pt x="59" y="127"/>
                </a:cubicBezTo>
                <a:cubicBezTo>
                  <a:pt x="75" y="130"/>
                  <a:pt x="89" y="128"/>
                  <a:pt x="100" y="122"/>
                </a:cubicBezTo>
                <a:cubicBezTo>
                  <a:pt x="102" y="121"/>
                  <a:pt x="103" y="119"/>
                  <a:pt x="104" y="117"/>
                </a:cubicBezTo>
                <a:cubicBezTo>
                  <a:pt x="105" y="115"/>
                  <a:pt x="106" y="113"/>
                  <a:pt x="107" y="109"/>
                </a:cubicBezTo>
                <a:cubicBezTo>
                  <a:pt x="107" y="106"/>
                  <a:pt x="107" y="104"/>
                  <a:pt x="108" y="103"/>
                </a:cubicBezTo>
                <a:close/>
                <a:moveTo>
                  <a:pt x="104" y="32"/>
                </a:moveTo>
                <a:cubicBezTo>
                  <a:pt x="102" y="33"/>
                  <a:pt x="101" y="34"/>
                  <a:pt x="99" y="35"/>
                </a:cubicBezTo>
                <a:cubicBezTo>
                  <a:pt x="97" y="36"/>
                  <a:pt x="95" y="37"/>
                  <a:pt x="94" y="37"/>
                </a:cubicBezTo>
                <a:cubicBezTo>
                  <a:pt x="92" y="37"/>
                  <a:pt x="90" y="37"/>
                  <a:pt x="88" y="37"/>
                </a:cubicBezTo>
                <a:cubicBezTo>
                  <a:pt x="78" y="39"/>
                  <a:pt x="68" y="39"/>
                  <a:pt x="57" y="37"/>
                </a:cubicBezTo>
                <a:cubicBezTo>
                  <a:pt x="54" y="37"/>
                  <a:pt x="52" y="37"/>
                  <a:pt x="51" y="37"/>
                </a:cubicBezTo>
                <a:cubicBezTo>
                  <a:pt x="50" y="36"/>
                  <a:pt x="48" y="36"/>
                  <a:pt x="46" y="35"/>
                </a:cubicBezTo>
                <a:cubicBezTo>
                  <a:pt x="44" y="34"/>
                  <a:pt x="42" y="33"/>
                  <a:pt x="41" y="32"/>
                </a:cubicBezTo>
                <a:cubicBezTo>
                  <a:pt x="42" y="31"/>
                  <a:pt x="43" y="30"/>
                  <a:pt x="44" y="29"/>
                </a:cubicBezTo>
                <a:cubicBezTo>
                  <a:pt x="46" y="28"/>
                  <a:pt x="47" y="28"/>
                  <a:pt x="48" y="28"/>
                </a:cubicBezTo>
                <a:cubicBezTo>
                  <a:pt x="49" y="27"/>
                  <a:pt x="51" y="27"/>
                  <a:pt x="53" y="27"/>
                </a:cubicBezTo>
                <a:cubicBezTo>
                  <a:pt x="65" y="25"/>
                  <a:pt x="78" y="25"/>
                  <a:pt x="91" y="27"/>
                </a:cubicBezTo>
                <a:cubicBezTo>
                  <a:pt x="93" y="27"/>
                  <a:pt x="95" y="27"/>
                  <a:pt x="96" y="27"/>
                </a:cubicBezTo>
                <a:cubicBezTo>
                  <a:pt x="97" y="28"/>
                  <a:pt x="98" y="28"/>
                  <a:pt x="100" y="29"/>
                </a:cubicBezTo>
                <a:cubicBezTo>
                  <a:pt x="102" y="30"/>
                  <a:pt x="103" y="31"/>
                  <a:pt x="104" y="32"/>
                </a:cubicBezTo>
                <a:close/>
                <a:moveTo>
                  <a:pt x="87" y="69"/>
                </a:moveTo>
                <a:cubicBezTo>
                  <a:pt x="88" y="73"/>
                  <a:pt x="87" y="77"/>
                  <a:pt x="84" y="80"/>
                </a:cubicBezTo>
                <a:cubicBezTo>
                  <a:pt x="81" y="84"/>
                  <a:pt x="78" y="86"/>
                  <a:pt x="74" y="86"/>
                </a:cubicBezTo>
                <a:cubicBezTo>
                  <a:pt x="70" y="87"/>
                  <a:pt x="66" y="85"/>
                  <a:pt x="62" y="82"/>
                </a:cubicBezTo>
                <a:cubicBezTo>
                  <a:pt x="59" y="79"/>
                  <a:pt x="57" y="76"/>
                  <a:pt x="57" y="72"/>
                </a:cubicBezTo>
                <a:cubicBezTo>
                  <a:pt x="57" y="69"/>
                  <a:pt x="58" y="66"/>
                  <a:pt x="60" y="63"/>
                </a:cubicBezTo>
                <a:cubicBezTo>
                  <a:pt x="61" y="60"/>
                  <a:pt x="64" y="58"/>
                  <a:pt x="66" y="57"/>
                </a:cubicBezTo>
                <a:cubicBezTo>
                  <a:pt x="71" y="55"/>
                  <a:pt x="75" y="55"/>
                  <a:pt x="80" y="58"/>
                </a:cubicBezTo>
                <a:cubicBezTo>
                  <a:pt x="84" y="60"/>
                  <a:pt x="87" y="64"/>
                  <a:pt x="87" y="69"/>
                </a:cubicBezTo>
                <a:close/>
                <a:moveTo>
                  <a:pt x="80" y="70"/>
                </a:moveTo>
                <a:cubicBezTo>
                  <a:pt x="80" y="68"/>
                  <a:pt x="79" y="66"/>
                  <a:pt x="76" y="64"/>
                </a:cubicBezTo>
                <a:cubicBezTo>
                  <a:pt x="73" y="63"/>
                  <a:pt x="71" y="63"/>
                  <a:pt x="69" y="64"/>
                </a:cubicBezTo>
                <a:cubicBezTo>
                  <a:pt x="66" y="65"/>
                  <a:pt x="65" y="68"/>
                  <a:pt x="65" y="71"/>
                </a:cubicBezTo>
                <a:cubicBezTo>
                  <a:pt x="65" y="74"/>
                  <a:pt x="66" y="77"/>
                  <a:pt x="69" y="78"/>
                </a:cubicBezTo>
                <a:cubicBezTo>
                  <a:pt x="71" y="79"/>
                  <a:pt x="74" y="79"/>
                  <a:pt x="77" y="77"/>
                </a:cubicBezTo>
                <a:cubicBezTo>
                  <a:pt x="79" y="76"/>
                  <a:pt x="80" y="73"/>
                  <a:pt x="80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8" name="Freeform 339"/>
          <p:cNvSpPr>
            <a:spLocks noChangeAspect="1"/>
          </p:cNvSpPr>
          <p:nvPr/>
        </p:nvSpPr>
        <p:spPr bwMode="auto">
          <a:xfrm>
            <a:off x="4367457" y="4020843"/>
            <a:ext cx="93678" cy="163938"/>
          </a:xfrm>
          <a:custGeom>
            <a:avLst/>
            <a:gdLst>
              <a:gd name="T0" fmla="*/ 83 w 90"/>
              <a:gd name="T1" fmla="*/ 126 h 158"/>
              <a:gd name="T2" fmla="*/ 90 w 90"/>
              <a:gd name="T3" fmla="*/ 148 h 158"/>
              <a:gd name="T4" fmla="*/ 80 w 90"/>
              <a:gd name="T5" fmla="*/ 155 h 158"/>
              <a:gd name="T6" fmla="*/ 63 w 90"/>
              <a:gd name="T7" fmla="*/ 158 h 158"/>
              <a:gd name="T8" fmla="*/ 45 w 90"/>
              <a:gd name="T9" fmla="*/ 155 h 158"/>
              <a:gd name="T10" fmla="*/ 31 w 90"/>
              <a:gd name="T11" fmla="*/ 148 h 158"/>
              <a:gd name="T12" fmla="*/ 22 w 90"/>
              <a:gd name="T13" fmla="*/ 138 h 158"/>
              <a:gd name="T14" fmla="*/ 17 w 90"/>
              <a:gd name="T15" fmla="*/ 127 h 158"/>
              <a:gd name="T16" fmla="*/ 16 w 90"/>
              <a:gd name="T17" fmla="*/ 116 h 158"/>
              <a:gd name="T18" fmla="*/ 16 w 90"/>
              <a:gd name="T19" fmla="*/ 64 h 158"/>
              <a:gd name="T20" fmla="*/ 0 w 90"/>
              <a:gd name="T21" fmla="*/ 64 h 158"/>
              <a:gd name="T22" fmla="*/ 0 w 90"/>
              <a:gd name="T23" fmla="*/ 44 h 158"/>
              <a:gd name="T24" fmla="*/ 12 w 90"/>
              <a:gd name="T25" fmla="*/ 37 h 158"/>
              <a:gd name="T26" fmla="*/ 21 w 90"/>
              <a:gd name="T27" fmla="*/ 29 h 158"/>
              <a:gd name="T28" fmla="*/ 26 w 90"/>
              <a:gd name="T29" fmla="*/ 19 h 158"/>
              <a:gd name="T30" fmla="*/ 29 w 90"/>
              <a:gd name="T31" fmla="*/ 10 h 158"/>
              <a:gd name="T32" fmla="*/ 31 w 90"/>
              <a:gd name="T33" fmla="*/ 1 h 158"/>
              <a:gd name="T34" fmla="*/ 31 w 90"/>
              <a:gd name="T35" fmla="*/ 1 h 158"/>
              <a:gd name="T36" fmla="*/ 32 w 90"/>
              <a:gd name="T37" fmla="*/ 0 h 158"/>
              <a:gd name="T38" fmla="*/ 55 w 90"/>
              <a:gd name="T39" fmla="*/ 0 h 158"/>
              <a:gd name="T40" fmla="*/ 55 w 90"/>
              <a:gd name="T41" fmla="*/ 40 h 158"/>
              <a:gd name="T42" fmla="*/ 86 w 90"/>
              <a:gd name="T43" fmla="*/ 40 h 158"/>
              <a:gd name="T44" fmla="*/ 86 w 90"/>
              <a:gd name="T45" fmla="*/ 64 h 158"/>
              <a:gd name="T46" fmla="*/ 55 w 90"/>
              <a:gd name="T47" fmla="*/ 64 h 158"/>
              <a:gd name="T48" fmla="*/ 55 w 90"/>
              <a:gd name="T49" fmla="*/ 113 h 158"/>
              <a:gd name="T50" fmla="*/ 55 w 90"/>
              <a:gd name="T51" fmla="*/ 118 h 158"/>
              <a:gd name="T52" fmla="*/ 57 w 90"/>
              <a:gd name="T53" fmla="*/ 123 h 158"/>
              <a:gd name="T54" fmla="*/ 62 w 90"/>
              <a:gd name="T55" fmla="*/ 127 h 158"/>
              <a:gd name="T56" fmla="*/ 70 w 90"/>
              <a:gd name="T57" fmla="*/ 129 h 158"/>
              <a:gd name="T58" fmla="*/ 83 w 90"/>
              <a:gd name="T59" fmla="*/ 12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90" h="158">
                <a:moveTo>
                  <a:pt x="83" y="126"/>
                </a:moveTo>
                <a:cubicBezTo>
                  <a:pt x="90" y="148"/>
                  <a:pt x="90" y="148"/>
                  <a:pt x="90" y="148"/>
                </a:cubicBezTo>
                <a:cubicBezTo>
                  <a:pt x="89" y="150"/>
                  <a:pt x="85" y="153"/>
                  <a:pt x="80" y="155"/>
                </a:cubicBezTo>
                <a:cubicBezTo>
                  <a:pt x="74" y="156"/>
                  <a:pt x="68" y="157"/>
                  <a:pt x="63" y="158"/>
                </a:cubicBezTo>
                <a:cubicBezTo>
                  <a:pt x="56" y="158"/>
                  <a:pt x="50" y="157"/>
                  <a:pt x="45" y="155"/>
                </a:cubicBezTo>
                <a:cubicBezTo>
                  <a:pt x="39" y="153"/>
                  <a:pt x="35" y="151"/>
                  <a:pt x="31" y="148"/>
                </a:cubicBezTo>
                <a:cubicBezTo>
                  <a:pt x="28" y="145"/>
                  <a:pt x="25" y="142"/>
                  <a:pt x="22" y="138"/>
                </a:cubicBezTo>
                <a:cubicBezTo>
                  <a:pt x="20" y="134"/>
                  <a:pt x="18" y="130"/>
                  <a:pt x="17" y="127"/>
                </a:cubicBezTo>
                <a:cubicBezTo>
                  <a:pt x="16" y="123"/>
                  <a:pt x="16" y="119"/>
                  <a:pt x="16" y="116"/>
                </a:cubicBezTo>
                <a:cubicBezTo>
                  <a:pt x="16" y="64"/>
                  <a:pt x="16" y="64"/>
                  <a:pt x="16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44"/>
                  <a:pt x="0" y="44"/>
                  <a:pt x="0" y="44"/>
                </a:cubicBezTo>
                <a:cubicBezTo>
                  <a:pt x="4" y="42"/>
                  <a:pt x="8" y="40"/>
                  <a:pt x="12" y="37"/>
                </a:cubicBezTo>
                <a:cubicBezTo>
                  <a:pt x="16" y="34"/>
                  <a:pt x="18" y="32"/>
                  <a:pt x="21" y="29"/>
                </a:cubicBezTo>
                <a:cubicBezTo>
                  <a:pt x="23" y="26"/>
                  <a:pt x="24" y="23"/>
                  <a:pt x="26" y="19"/>
                </a:cubicBezTo>
                <a:cubicBezTo>
                  <a:pt x="28" y="16"/>
                  <a:pt x="29" y="12"/>
                  <a:pt x="29" y="10"/>
                </a:cubicBezTo>
                <a:cubicBezTo>
                  <a:pt x="30" y="7"/>
                  <a:pt x="30" y="4"/>
                  <a:pt x="31" y="1"/>
                </a:cubicBezTo>
                <a:cubicBezTo>
                  <a:pt x="31" y="1"/>
                  <a:pt x="31" y="1"/>
                  <a:pt x="31" y="1"/>
                </a:cubicBezTo>
                <a:cubicBezTo>
                  <a:pt x="31" y="0"/>
                  <a:pt x="32" y="0"/>
                  <a:pt x="32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5" y="40"/>
                  <a:pt x="55" y="40"/>
                  <a:pt x="55" y="40"/>
                </a:cubicBezTo>
                <a:cubicBezTo>
                  <a:pt x="86" y="40"/>
                  <a:pt x="86" y="40"/>
                  <a:pt x="86" y="40"/>
                </a:cubicBezTo>
                <a:cubicBezTo>
                  <a:pt x="86" y="64"/>
                  <a:pt x="86" y="64"/>
                  <a:pt x="86" y="64"/>
                </a:cubicBezTo>
                <a:cubicBezTo>
                  <a:pt x="55" y="64"/>
                  <a:pt x="55" y="64"/>
                  <a:pt x="55" y="64"/>
                </a:cubicBezTo>
                <a:cubicBezTo>
                  <a:pt x="55" y="113"/>
                  <a:pt x="55" y="113"/>
                  <a:pt x="55" y="113"/>
                </a:cubicBezTo>
                <a:cubicBezTo>
                  <a:pt x="55" y="115"/>
                  <a:pt x="55" y="117"/>
                  <a:pt x="55" y="118"/>
                </a:cubicBezTo>
                <a:cubicBezTo>
                  <a:pt x="56" y="120"/>
                  <a:pt x="56" y="122"/>
                  <a:pt x="57" y="123"/>
                </a:cubicBezTo>
                <a:cubicBezTo>
                  <a:pt x="58" y="125"/>
                  <a:pt x="60" y="126"/>
                  <a:pt x="62" y="127"/>
                </a:cubicBezTo>
                <a:cubicBezTo>
                  <a:pt x="64" y="128"/>
                  <a:pt x="67" y="129"/>
                  <a:pt x="70" y="129"/>
                </a:cubicBezTo>
                <a:cubicBezTo>
                  <a:pt x="75" y="128"/>
                  <a:pt x="79" y="128"/>
                  <a:pt x="83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39" name="Freeform 340"/>
          <p:cNvSpPr>
            <a:spLocks noChangeAspect="1" noEditPoints="1"/>
          </p:cNvSpPr>
          <p:nvPr/>
        </p:nvSpPr>
        <p:spPr bwMode="auto">
          <a:xfrm>
            <a:off x="4506413" y="4033334"/>
            <a:ext cx="151447" cy="151447"/>
          </a:xfrm>
          <a:custGeom>
            <a:avLst/>
            <a:gdLst>
              <a:gd name="T0" fmla="*/ 146 w 146"/>
              <a:gd name="T1" fmla="*/ 28 h 146"/>
              <a:gd name="T2" fmla="*/ 146 w 146"/>
              <a:gd name="T3" fmla="*/ 118 h 146"/>
              <a:gd name="T4" fmla="*/ 138 w 146"/>
              <a:gd name="T5" fmla="*/ 138 h 146"/>
              <a:gd name="T6" fmla="*/ 118 w 146"/>
              <a:gd name="T7" fmla="*/ 146 h 146"/>
              <a:gd name="T8" fmla="*/ 28 w 146"/>
              <a:gd name="T9" fmla="*/ 146 h 146"/>
              <a:gd name="T10" fmla="*/ 8 w 146"/>
              <a:gd name="T11" fmla="*/ 138 h 146"/>
              <a:gd name="T12" fmla="*/ 0 w 146"/>
              <a:gd name="T13" fmla="*/ 118 h 146"/>
              <a:gd name="T14" fmla="*/ 0 w 146"/>
              <a:gd name="T15" fmla="*/ 28 h 146"/>
              <a:gd name="T16" fmla="*/ 8 w 146"/>
              <a:gd name="T17" fmla="*/ 8 h 146"/>
              <a:gd name="T18" fmla="*/ 28 w 146"/>
              <a:gd name="T19" fmla="*/ 0 h 146"/>
              <a:gd name="T20" fmla="*/ 118 w 146"/>
              <a:gd name="T21" fmla="*/ 0 h 146"/>
              <a:gd name="T22" fmla="*/ 138 w 146"/>
              <a:gd name="T23" fmla="*/ 8 h 146"/>
              <a:gd name="T24" fmla="*/ 146 w 146"/>
              <a:gd name="T25" fmla="*/ 28 h 146"/>
              <a:gd name="T26" fmla="*/ 108 w 146"/>
              <a:gd name="T27" fmla="*/ 126 h 146"/>
              <a:gd name="T28" fmla="*/ 102 w 146"/>
              <a:gd name="T29" fmla="*/ 109 h 146"/>
              <a:gd name="T30" fmla="*/ 92 w 146"/>
              <a:gd name="T31" fmla="*/ 111 h 146"/>
              <a:gd name="T32" fmla="*/ 86 w 146"/>
              <a:gd name="T33" fmla="*/ 110 h 146"/>
              <a:gd name="T34" fmla="*/ 83 w 146"/>
              <a:gd name="T35" fmla="*/ 107 h 146"/>
              <a:gd name="T36" fmla="*/ 81 w 146"/>
              <a:gd name="T37" fmla="*/ 103 h 146"/>
              <a:gd name="T38" fmla="*/ 81 w 146"/>
              <a:gd name="T39" fmla="*/ 99 h 146"/>
              <a:gd name="T40" fmla="*/ 81 w 146"/>
              <a:gd name="T41" fmla="*/ 62 h 146"/>
              <a:gd name="T42" fmla="*/ 105 w 146"/>
              <a:gd name="T43" fmla="*/ 62 h 146"/>
              <a:gd name="T44" fmla="*/ 105 w 146"/>
              <a:gd name="T45" fmla="*/ 43 h 146"/>
              <a:gd name="T46" fmla="*/ 81 w 146"/>
              <a:gd name="T47" fmla="*/ 43 h 146"/>
              <a:gd name="T48" fmla="*/ 81 w 146"/>
              <a:gd name="T49" fmla="*/ 12 h 146"/>
              <a:gd name="T50" fmla="*/ 63 w 146"/>
              <a:gd name="T51" fmla="*/ 12 h 146"/>
              <a:gd name="T52" fmla="*/ 62 w 146"/>
              <a:gd name="T53" fmla="*/ 13 h 146"/>
              <a:gd name="T54" fmla="*/ 60 w 146"/>
              <a:gd name="T55" fmla="*/ 22 h 146"/>
              <a:gd name="T56" fmla="*/ 57 w 146"/>
              <a:gd name="T57" fmla="*/ 31 h 146"/>
              <a:gd name="T58" fmla="*/ 49 w 146"/>
              <a:gd name="T59" fmla="*/ 40 h 146"/>
              <a:gd name="T60" fmla="*/ 38 w 146"/>
              <a:gd name="T61" fmla="*/ 46 h 146"/>
              <a:gd name="T62" fmla="*/ 38 w 146"/>
              <a:gd name="T63" fmla="*/ 62 h 146"/>
              <a:gd name="T64" fmla="*/ 51 w 146"/>
              <a:gd name="T65" fmla="*/ 62 h 146"/>
              <a:gd name="T66" fmla="*/ 51 w 146"/>
              <a:gd name="T67" fmla="*/ 101 h 146"/>
              <a:gd name="T68" fmla="*/ 53 w 146"/>
              <a:gd name="T69" fmla="*/ 112 h 146"/>
              <a:gd name="T70" fmla="*/ 59 w 146"/>
              <a:gd name="T71" fmla="*/ 122 h 146"/>
              <a:gd name="T72" fmla="*/ 70 w 146"/>
              <a:gd name="T73" fmla="*/ 131 h 146"/>
              <a:gd name="T74" fmla="*/ 87 w 146"/>
              <a:gd name="T75" fmla="*/ 133 h 146"/>
              <a:gd name="T76" fmla="*/ 100 w 146"/>
              <a:gd name="T77" fmla="*/ 131 h 146"/>
              <a:gd name="T78" fmla="*/ 108 w 146"/>
              <a:gd name="T79" fmla="*/ 12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46" h="146">
                <a:moveTo>
                  <a:pt x="146" y="28"/>
                </a:moveTo>
                <a:cubicBezTo>
                  <a:pt x="146" y="118"/>
                  <a:pt x="146" y="118"/>
                  <a:pt x="146" y="118"/>
                </a:cubicBezTo>
                <a:cubicBezTo>
                  <a:pt x="146" y="126"/>
                  <a:pt x="143" y="132"/>
                  <a:pt x="138" y="138"/>
                </a:cubicBezTo>
                <a:cubicBezTo>
                  <a:pt x="132" y="143"/>
                  <a:pt x="126" y="146"/>
                  <a:pt x="118" y="146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0" y="146"/>
                  <a:pt x="14" y="143"/>
                  <a:pt x="8" y="138"/>
                </a:cubicBezTo>
                <a:cubicBezTo>
                  <a:pt x="3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3" y="14"/>
                  <a:pt x="8" y="8"/>
                </a:cubicBezTo>
                <a:cubicBezTo>
                  <a:pt x="14" y="3"/>
                  <a:pt x="20" y="0"/>
                  <a:pt x="28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6" y="0"/>
                  <a:pt x="132" y="3"/>
                  <a:pt x="138" y="8"/>
                </a:cubicBezTo>
                <a:cubicBezTo>
                  <a:pt x="143" y="14"/>
                  <a:pt x="146" y="20"/>
                  <a:pt x="146" y="28"/>
                </a:cubicBezTo>
                <a:close/>
                <a:moveTo>
                  <a:pt x="108" y="126"/>
                </a:moveTo>
                <a:cubicBezTo>
                  <a:pt x="102" y="109"/>
                  <a:pt x="102" y="109"/>
                  <a:pt x="102" y="109"/>
                </a:cubicBezTo>
                <a:cubicBezTo>
                  <a:pt x="99" y="110"/>
                  <a:pt x="96" y="111"/>
                  <a:pt x="92" y="111"/>
                </a:cubicBezTo>
                <a:cubicBezTo>
                  <a:pt x="90" y="111"/>
                  <a:pt x="88" y="111"/>
                  <a:pt x="86" y="110"/>
                </a:cubicBezTo>
                <a:cubicBezTo>
                  <a:pt x="85" y="109"/>
                  <a:pt x="84" y="108"/>
                  <a:pt x="83" y="107"/>
                </a:cubicBezTo>
                <a:cubicBezTo>
                  <a:pt x="82" y="106"/>
                  <a:pt x="81" y="105"/>
                  <a:pt x="81" y="103"/>
                </a:cubicBezTo>
                <a:cubicBezTo>
                  <a:pt x="81" y="102"/>
                  <a:pt x="81" y="101"/>
                  <a:pt x="81" y="99"/>
                </a:cubicBezTo>
                <a:cubicBezTo>
                  <a:pt x="81" y="62"/>
                  <a:pt x="81" y="62"/>
                  <a:pt x="81" y="62"/>
                </a:cubicBezTo>
                <a:cubicBezTo>
                  <a:pt x="105" y="62"/>
                  <a:pt x="105" y="62"/>
                  <a:pt x="105" y="62"/>
                </a:cubicBezTo>
                <a:cubicBezTo>
                  <a:pt x="105" y="43"/>
                  <a:pt x="105" y="43"/>
                  <a:pt x="105" y="43"/>
                </a:cubicBezTo>
                <a:cubicBezTo>
                  <a:pt x="81" y="43"/>
                  <a:pt x="81" y="43"/>
                  <a:pt x="81" y="43"/>
                </a:cubicBezTo>
                <a:cubicBezTo>
                  <a:pt x="81" y="12"/>
                  <a:pt x="81" y="12"/>
                  <a:pt x="81" y="12"/>
                </a:cubicBezTo>
                <a:cubicBezTo>
                  <a:pt x="63" y="12"/>
                  <a:pt x="63" y="12"/>
                  <a:pt x="63" y="12"/>
                </a:cubicBezTo>
                <a:cubicBezTo>
                  <a:pt x="62" y="12"/>
                  <a:pt x="62" y="13"/>
                  <a:pt x="62" y="13"/>
                </a:cubicBezTo>
                <a:cubicBezTo>
                  <a:pt x="62" y="16"/>
                  <a:pt x="61" y="19"/>
                  <a:pt x="60" y="22"/>
                </a:cubicBezTo>
                <a:cubicBezTo>
                  <a:pt x="60" y="24"/>
                  <a:pt x="58" y="27"/>
                  <a:pt x="57" y="31"/>
                </a:cubicBezTo>
                <a:cubicBezTo>
                  <a:pt x="55" y="34"/>
                  <a:pt x="53" y="37"/>
                  <a:pt x="49" y="40"/>
                </a:cubicBezTo>
                <a:cubicBezTo>
                  <a:pt x="46" y="42"/>
                  <a:pt x="43" y="44"/>
                  <a:pt x="38" y="46"/>
                </a:cubicBezTo>
                <a:cubicBezTo>
                  <a:pt x="38" y="62"/>
                  <a:pt x="38" y="62"/>
                  <a:pt x="38" y="62"/>
                </a:cubicBezTo>
                <a:cubicBezTo>
                  <a:pt x="51" y="62"/>
                  <a:pt x="51" y="62"/>
                  <a:pt x="51" y="62"/>
                </a:cubicBezTo>
                <a:cubicBezTo>
                  <a:pt x="51" y="101"/>
                  <a:pt x="51" y="101"/>
                  <a:pt x="51" y="101"/>
                </a:cubicBezTo>
                <a:cubicBezTo>
                  <a:pt x="51" y="105"/>
                  <a:pt x="51" y="108"/>
                  <a:pt x="53" y="112"/>
                </a:cubicBezTo>
                <a:cubicBezTo>
                  <a:pt x="54" y="116"/>
                  <a:pt x="56" y="119"/>
                  <a:pt x="59" y="122"/>
                </a:cubicBezTo>
                <a:cubicBezTo>
                  <a:pt x="61" y="126"/>
                  <a:pt x="65" y="128"/>
                  <a:pt x="70" y="131"/>
                </a:cubicBezTo>
                <a:cubicBezTo>
                  <a:pt x="75" y="133"/>
                  <a:pt x="81" y="134"/>
                  <a:pt x="87" y="133"/>
                </a:cubicBezTo>
                <a:cubicBezTo>
                  <a:pt x="91" y="133"/>
                  <a:pt x="95" y="133"/>
                  <a:pt x="100" y="131"/>
                </a:cubicBezTo>
                <a:cubicBezTo>
                  <a:pt x="104" y="130"/>
                  <a:pt x="107" y="128"/>
                  <a:pt x="108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0" name="Freeform 341"/>
          <p:cNvSpPr>
            <a:spLocks noChangeAspect="1"/>
          </p:cNvSpPr>
          <p:nvPr/>
        </p:nvSpPr>
        <p:spPr bwMode="auto">
          <a:xfrm>
            <a:off x="4703137" y="4020843"/>
            <a:ext cx="74943" cy="170183"/>
          </a:xfrm>
          <a:custGeom>
            <a:avLst/>
            <a:gdLst>
              <a:gd name="T0" fmla="*/ 72 w 73"/>
              <a:gd name="T1" fmla="*/ 123 h 164"/>
              <a:gd name="T2" fmla="*/ 72 w 73"/>
              <a:gd name="T3" fmla="*/ 126 h 164"/>
              <a:gd name="T4" fmla="*/ 39 w 73"/>
              <a:gd name="T5" fmla="*/ 163 h 164"/>
              <a:gd name="T6" fmla="*/ 37 w 73"/>
              <a:gd name="T7" fmla="*/ 164 h 164"/>
              <a:gd name="T8" fmla="*/ 34 w 73"/>
              <a:gd name="T9" fmla="*/ 163 h 164"/>
              <a:gd name="T10" fmla="*/ 1 w 73"/>
              <a:gd name="T11" fmla="*/ 126 h 164"/>
              <a:gd name="T12" fmla="*/ 0 w 73"/>
              <a:gd name="T13" fmla="*/ 123 h 164"/>
              <a:gd name="T14" fmla="*/ 3 w 73"/>
              <a:gd name="T15" fmla="*/ 121 h 164"/>
              <a:gd name="T16" fmla="*/ 24 w 73"/>
              <a:gd name="T17" fmla="*/ 121 h 164"/>
              <a:gd name="T18" fmla="*/ 24 w 73"/>
              <a:gd name="T19" fmla="*/ 3 h 164"/>
              <a:gd name="T20" fmla="*/ 25 w 73"/>
              <a:gd name="T21" fmla="*/ 1 h 164"/>
              <a:gd name="T22" fmla="*/ 27 w 73"/>
              <a:gd name="T23" fmla="*/ 0 h 164"/>
              <a:gd name="T24" fmla="*/ 45 w 73"/>
              <a:gd name="T25" fmla="*/ 0 h 164"/>
              <a:gd name="T26" fmla="*/ 48 w 73"/>
              <a:gd name="T27" fmla="*/ 1 h 164"/>
              <a:gd name="T28" fmla="*/ 48 w 73"/>
              <a:gd name="T29" fmla="*/ 3 h 164"/>
              <a:gd name="T30" fmla="*/ 48 w 73"/>
              <a:gd name="T31" fmla="*/ 121 h 164"/>
              <a:gd name="T32" fmla="*/ 70 w 73"/>
              <a:gd name="T33" fmla="*/ 121 h 164"/>
              <a:gd name="T34" fmla="*/ 72 w 73"/>
              <a:gd name="T35" fmla="*/ 123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164">
                <a:moveTo>
                  <a:pt x="72" y="123"/>
                </a:moveTo>
                <a:cubicBezTo>
                  <a:pt x="73" y="124"/>
                  <a:pt x="73" y="125"/>
                  <a:pt x="72" y="126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38" y="163"/>
                  <a:pt x="37" y="164"/>
                  <a:pt x="37" y="164"/>
                </a:cubicBezTo>
                <a:cubicBezTo>
                  <a:pt x="36" y="164"/>
                  <a:pt x="35" y="163"/>
                  <a:pt x="34" y="163"/>
                </a:cubicBezTo>
                <a:cubicBezTo>
                  <a:pt x="1" y="126"/>
                  <a:pt x="1" y="126"/>
                  <a:pt x="1" y="126"/>
                </a:cubicBezTo>
                <a:cubicBezTo>
                  <a:pt x="0" y="125"/>
                  <a:pt x="0" y="124"/>
                  <a:pt x="0" y="123"/>
                </a:cubicBezTo>
                <a:cubicBezTo>
                  <a:pt x="1" y="122"/>
                  <a:pt x="2" y="121"/>
                  <a:pt x="3" y="121"/>
                </a:cubicBezTo>
                <a:cubicBezTo>
                  <a:pt x="24" y="121"/>
                  <a:pt x="24" y="121"/>
                  <a:pt x="24" y="121"/>
                </a:cubicBezTo>
                <a:cubicBezTo>
                  <a:pt x="24" y="3"/>
                  <a:pt x="24" y="3"/>
                  <a:pt x="24" y="3"/>
                </a:cubicBezTo>
                <a:cubicBezTo>
                  <a:pt x="24" y="2"/>
                  <a:pt x="24" y="2"/>
                  <a:pt x="25" y="1"/>
                </a:cubicBezTo>
                <a:cubicBezTo>
                  <a:pt x="26" y="0"/>
                  <a:pt x="26" y="0"/>
                  <a:pt x="27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6" y="0"/>
                  <a:pt x="47" y="0"/>
                  <a:pt x="48" y="1"/>
                </a:cubicBezTo>
                <a:cubicBezTo>
                  <a:pt x="48" y="2"/>
                  <a:pt x="48" y="2"/>
                  <a:pt x="48" y="3"/>
                </a:cubicBezTo>
                <a:cubicBezTo>
                  <a:pt x="48" y="121"/>
                  <a:pt x="48" y="121"/>
                  <a:pt x="48" y="121"/>
                </a:cubicBezTo>
                <a:cubicBezTo>
                  <a:pt x="70" y="121"/>
                  <a:pt x="70" y="121"/>
                  <a:pt x="70" y="121"/>
                </a:cubicBezTo>
                <a:cubicBezTo>
                  <a:pt x="71" y="121"/>
                  <a:pt x="72" y="122"/>
                  <a:pt x="72" y="1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1" name="Freeform 342"/>
          <p:cNvSpPr>
            <a:spLocks noChangeAspect="1"/>
          </p:cNvSpPr>
          <p:nvPr/>
        </p:nvSpPr>
        <p:spPr bwMode="auto">
          <a:xfrm>
            <a:off x="4823358" y="4027089"/>
            <a:ext cx="76505" cy="170183"/>
          </a:xfrm>
          <a:custGeom>
            <a:avLst/>
            <a:gdLst>
              <a:gd name="T0" fmla="*/ 72 w 73"/>
              <a:gd name="T1" fmla="*/ 41 h 164"/>
              <a:gd name="T2" fmla="*/ 69 w 73"/>
              <a:gd name="T3" fmla="*/ 43 h 164"/>
              <a:gd name="T4" fmla="*/ 48 w 73"/>
              <a:gd name="T5" fmla="*/ 43 h 164"/>
              <a:gd name="T6" fmla="*/ 48 w 73"/>
              <a:gd name="T7" fmla="*/ 161 h 164"/>
              <a:gd name="T8" fmla="*/ 47 w 73"/>
              <a:gd name="T9" fmla="*/ 163 h 164"/>
              <a:gd name="T10" fmla="*/ 45 w 73"/>
              <a:gd name="T11" fmla="*/ 164 h 164"/>
              <a:gd name="T12" fmla="*/ 27 w 73"/>
              <a:gd name="T13" fmla="*/ 164 h 164"/>
              <a:gd name="T14" fmla="*/ 25 w 73"/>
              <a:gd name="T15" fmla="*/ 163 h 164"/>
              <a:gd name="T16" fmla="*/ 24 w 73"/>
              <a:gd name="T17" fmla="*/ 161 h 164"/>
              <a:gd name="T18" fmla="*/ 24 w 73"/>
              <a:gd name="T19" fmla="*/ 43 h 164"/>
              <a:gd name="T20" fmla="*/ 3 w 73"/>
              <a:gd name="T21" fmla="*/ 43 h 164"/>
              <a:gd name="T22" fmla="*/ 0 w 73"/>
              <a:gd name="T23" fmla="*/ 41 h 164"/>
              <a:gd name="T24" fmla="*/ 1 w 73"/>
              <a:gd name="T25" fmla="*/ 38 h 164"/>
              <a:gd name="T26" fmla="*/ 34 w 73"/>
              <a:gd name="T27" fmla="*/ 1 h 164"/>
              <a:gd name="T28" fmla="*/ 36 w 73"/>
              <a:gd name="T29" fmla="*/ 0 h 164"/>
              <a:gd name="T30" fmla="*/ 38 w 73"/>
              <a:gd name="T31" fmla="*/ 1 h 164"/>
              <a:gd name="T32" fmla="*/ 72 w 73"/>
              <a:gd name="T33" fmla="*/ 38 h 164"/>
              <a:gd name="T34" fmla="*/ 72 w 73"/>
              <a:gd name="T35" fmla="*/ 41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164">
                <a:moveTo>
                  <a:pt x="72" y="41"/>
                </a:moveTo>
                <a:cubicBezTo>
                  <a:pt x="72" y="42"/>
                  <a:pt x="71" y="43"/>
                  <a:pt x="69" y="43"/>
                </a:cubicBezTo>
                <a:cubicBezTo>
                  <a:pt x="48" y="43"/>
                  <a:pt x="48" y="43"/>
                  <a:pt x="48" y="43"/>
                </a:cubicBezTo>
                <a:cubicBezTo>
                  <a:pt x="48" y="161"/>
                  <a:pt x="48" y="161"/>
                  <a:pt x="48" y="161"/>
                </a:cubicBezTo>
                <a:cubicBezTo>
                  <a:pt x="48" y="161"/>
                  <a:pt x="48" y="162"/>
                  <a:pt x="47" y="163"/>
                </a:cubicBezTo>
                <a:cubicBezTo>
                  <a:pt x="47" y="163"/>
                  <a:pt x="46" y="164"/>
                  <a:pt x="45" y="164"/>
                </a:cubicBezTo>
                <a:cubicBezTo>
                  <a:pt x="27" y="164"/>
                  <a:pt x="27" y="164"/>
                  <a:pt x="27" y="164"/>
                </a:cubicBezTo>
                <a:cubicBezTo>
                  <a:pt x="26" y="164"/>
                  <a:pt x="25" y="163"/>
                  <a:pt x="25" y="163"/>
                </a:cubicBezTo>
                <a:cubicBezTo>
                  <a:pt x="24" y="162"/>
                  <a:pt x="24" y="161"/>
                  <a:pt x="24" y="161"/>
                </a:cubicBezTo>
                <a:cubicBezTo>
                  <a:pt x="24" y="43"/>
                  <a:pt x="24" y="43"/>
                  <a:pt x="24" y="43"/>
                </a:cubicBezTo>
                <a:cubicBezTo>
                  <a:pt x="3" y="43"/>
                  <a:pt x="3" y="43"/>
                  <a:pt x="3" y="43"/>
                </a:cubicBezTo>
                <a:cubicBezTo>
                  <a:pt x="2" y="43"/>
                  <a:pt x="1" y="42"/>
                  <a:pt x="0" y="41"/>
                </a:cubicBezTo>
                <a:cubicBezTo>
                  <a:pt x="0" y="40"/>
                  <a:pt x="0" y="39"/>
                  <a:pt x="1" y="38"/>
                </a:cubicBezTo>
                <a:cubicBezTo>
                  <a:pt x="34" y="1"/>
                  <a:pt x="34" y="1"/>
                  <a:pt x="34" y="1"/>
                </a:cubicBezTo>
                <a:cubicBezTo>
                  <a:pt x="34" y="1"/>
                  <a:pt x="35" y="0"/>
                  <a:pt x="36" y="0"/>
                </a:cubicBezTo>
                <a:cubicBezTo>
                  <a:pt x="37" y="0"/>
                  <a:pt x="38" y="1"/>
                  <a:pt x="38" y="1"/>
                </a:cubicBezTo>
                <a:cubicBezTo>
                  <a:pt x="72" y="38"/>
                  <a:pt x="72" y="38"/>
                  <a:pt x="72" y="38"/>
                </a:cubicBezTo>
                <a:cubicBezTo>
                  <a:pt x="73" y="39"/>
                  <a:pt x="73" y="40"/>
                  <a:pt x="72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2" name="Freeform 343"/>
          <p:cNvSpPr>
            <a:spLocks noChangeAspect="1"/>
          </p:cNvSpPr>
          <p:nvPr/>
        </p:nvSpPr>
        <p:spPr bwMode="auto">
          <a:xfrm>
            <a:off x="4951385" y="4070805"/>
            <a:ext cx="168621" cy="76504"/>
          </a:xfrm>
          <a:custGeom>
            <a:avLst/>
            <a:gdLst>
              <a:gd name="T0" fmla="*/ 163 w 163"/>
              <a:gd name="T1" fmla="*/ 28 h 73"/>
              <a:gd name="T2" fmla="*/ 163 w 163"/>
              <a:gd name="T3" fmla="*/ 46 h 73"/>
              <a:gd name="T4" fmla="*/ 162 w 163"/>
              <a:gd name="T5" fmla="*/ 48 h 73"/>
              <a:gd name="T6" fmla="*/ 160 w 163"/>
              <a:gd name="T7" fmla="*/ 49 h 73"/>
              <a:gd name="T8" fmla="*/ 42 w 163"/>
              <a:gd name="T9" fmla="*/ 49 h 73"/>
              <a:gd name="T10" fmla="*/ 42 w 163"/>
              <a:gd name="T11" fmla="*/ 70 h 73"/>
              <a:gd name="T12" fmla="*/ 40 w 163"/>
              <a:gd name="T13" fmla="*/ 73 h 73"/>
              <a:gd name="T14" fmla="*/ 37 w 163"/>
              <a:gd name="T15" fmla="*/ 72 h 73"/>
              <a:gd name="T16" fmla="*/ 1 w 163"/>
              <a:gd name="T17" fmla="*/ 39 h 73"/>
              <a:gd name="T18" fmla="*/ 0 w 163"/>
              <a:gd name="T19" fmla="*/ 37 h 73"/>
              <a:gd name="T20" fmla="*/ 1 w 163"/>
              <a:gd name="T21" fmla="*/ 35 h 73"/>
              <a:gd name="T22" fmla="*/ 37 w 163"/>
              <a:gd name="T23" fmla="*/ 1 h 73"/>
              <a:gd name="T24" fmla="*/ 40 w 163"/>
              <a:gd name="T25" fmla="*/ 1 h 73"/>
              <a:gd name="T26" fmla="*/ 42 w 163"/>
              <a:gd name="T27" fmla="*/ 4 h 73"/>
              <a:gd name="T28" fmla="*/ 42 w 163"/>
              <a:gd name="T29" fmla="*/ 25 h 73"/>
              <a:gd name="T30" fmla="*/ 160 w 163"/>
              <a:gd name="T31" fmla="*/ 25 h 73"/>
              <a:gd name="T32" fmla="*/ 162 w 163"/>
              <a:gd name="T33" fmla="*/ 26 h 73"/>
              <a:gd name="T34" fmla="*/ 163 w 163"/>
              <a:gd name="T35" fmla="*/ 28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63" h="73">
                <a:moveTo>
                  <a:pt x="163" y="28"/>
                </a:moveTo>
                <a:cubicBezTo>
                  <a:pt x="163" y="46"/>
                  <a:pt x="163" y="46"/>
                  <a:pt x="163" y="46"/>
                </a:cubicBezTo>
                <a:cubicBezTo>
                  <a:pt x="163" y="47"/>
                  <a:pt x="163" y="48"/>
                  <a:pt x="162" y="48"/>
                </a:cubicBezTo>
                <a:cubicBezTo>
                  <a:pt x="162" y="49"/>
                  <a:pt x="161" y="49"/>
                  <a:pt x="160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2" y="70"/>
                  <a:pt x="42" y="70"/>
                  <a:pt x="42" y="70"/>
                </a:cubicBezTo>
                <a:cubicBezTo>
                  <a:pt x="42" y="72"/>
                  <a:pt x="42" y="72"/>
                  <a:pt x="40" y="73"/>
                </a:cubicBezTo>
                <a:cubicBezTo>
                  <a:pt x="39" y="73"/>
                  <a:pt x="38" y="73"/>
                  <a:pt x="37" y="72"/>
                </a:cubicBezTo>
                <a:cubicBezTo>
                  <a:pt x="1" y="39"/>
                  <a:pt x="1" y="39"/>
                  <a:pt x="1" y="39"/>
                </a:cubicBezTo>
                <a:cubicBezTo>
                  <a:pt x="0" y="39"/>
                  <a:pt x="0" y="38"/>
                  <a:pt x="0" y="37"/>
                </a:cubicBezTo>
                <a:cubicBezTo>
                  <a:pt x="0" y="36"/>
                  <a:pt x="0" y="36"/>
                  <a:pt x="1" y="35"/>
                </a:cubicBezTo>
                <a:cubicBezTo>
                  <a:pt x="37" y="1"/>
                  <a:pt x="37" y="1"/>
                  <a:pt x="37" y="1"/>
                </a:cubicBezTo>
                <a:cubicBezTo>
                  <a:pt x="38" y="1"/>
                  <a:pt x="39" y="0"/>
                  <a:pt x="40" y="1"/>
                </a:cubicBezTo>
                <a:cubicBezTo>
                  <a:pt x="42" y="1"/>
                  <a:pt x="42" y="2"/>
                  <a:pt x="42" y="4"/>
                </a:cubicBezTo>
                <a:cubicBezTo>
                  <a:pt x="42" y="25"/>
                  <a:pt x="42" y="25"/>
                  <a:pt x="42" y="25"/>
                </a:cubicBezTo>
                <a:cubicBezTo>
                  <a:pt x="160" y="25"/>
                  <a:pt x="160" y="25"/>
                  <a:pt x="160" y="25"/>
                </a:cubicBezTo>
                <a:cubicBezTo>
                  <a:pt x="161" y="25"/>
                  <a:pt x="162" y="25"/>
                  <a:pt x="162" y="26"/>
                </a:cubicBezTo>
                <a:cubicBezTo>
                  <a:pt x="163" y="26"/>
                  <a:pt x="163" y="27"/>
                  <a:pt x="163" y="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3" name="Freeform 344"/>
          <p:cNvSpPr>
            <a:spLocks noChangeAspect="1"/>
          </p:cNvSpPr>
          <p:nvPr/>
        </p:nvSpPr>
        <p:spPr bwMode="auto">
          <a:xfrm>
            <a:off x="5166846" y="4070805"/>
            <a:ext cx="168621" cy="76504"/>
          </a:xfrm>
          <a:custGeom>
            <a:avLst/>
            <a:gdLst>
              <a:gd name="T0" fmla="*/ 163 w 163"/>
              <a:gd name="T1" fmla="*/ 37 h 73"/>
              <a:gd name="T2" fmla="*/ 162 w 163"/>
              <a:gd name="T3" fmla="*/ 39 h 73"/>
              <a:gd name="T4" fmla="*/ 126 w 163"/>
              <a:gd name="T5" fmla="*/ 72 h 73"/>
              <a:gd name="T6" fmla="*/ 122 w 163"/>
              <a:gd name="T7" fmla="*/ 73 h 73"/>
              <a:gd name="T8" fmla="*/ 121 w 163"/>
              <a:gd name="T9" fmla="*/ 70 h 73"/>
              <a:gd name="T10" fmla="*/ 121 w 163"/>
              <a:gd name="T11" fmla="*/ 49 h 73"/>
              <a:gd name="T12" fmla="*/ 3 w 163"/>
              <a:gd name="T13" fmla="*/ 49 h 73"/>
              <a:gd name="T14" fmla="*/ 0 w 163"/>
              <a:gd name="T15" fmla="*/ 48 h 73"/>
              <a:gd name="T16" fmla="*/ 0 w 163"/>
              <a:gd name="T17" fmla="*/ 46 h 73"/>
              <a:gd name="T18" fmla="*/ 0 w 163"/>
              <a:gd name="T19" fmla="*/ 28 h 73"/>
              <a:gd name="T20" fmla="*/ 0 w 163"/>
              <a:gd name="T21" fmla="*/ 26 h 73"/>
              <a:gd name="T22" fmla="*/ 3 w 163"/>
              <a:gd name="T23" fmla="*/ 25 h 73"/>
              <a:gd name="T24" fmla="*/ 121 w 163"/>
              <a:gd name="T25" fmla="*/ 25 h 73"/>
              <a:gd name="T26" fmla="*/ 121 w 163"/>
              <a:gd name="T27" fmla="*/ 4 h 73"/>
              <a:gd name="T28" fmla="*/ 122 w 163"/>
              <a:gd name="T29" fmla="*/ 1 h 73"/>
              <a:gd name="T30" fmla="*/ 126 w 163"/>
              <a:gd name="T31" fmla="*/ 1 h 73"/>
              <a:gd name="T32" fmla="*/ 162 w 163"/>
              <a:gd name="T33" fmla="*/ 34 h 73"/>
              <a:gd name="T34" fmla="*/ 163 w 163"/>
              <a:gd name="T35" fmla="*/ 37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63" h="73">
                <a:moveTo>
                  <a:pt x="163" y="37"/>
                </a:moveTo>
                <a:cubicBezTo>
                  <a:pt x="163" y="38"/>
                  <a:pt x="163" y="38"/>
                  <a:pt x="162" y="39"/>
                </a:cubicBezTo>
                <a:cubicBezTo>
                  <a:pt x="126" y="72"/>
                  <a:pt x="126" y="72"/>
                  <a:pt x="126" y="72"/>
                </a:cubicBezTo>
                <a:cubicBezTo>
                  <a:pt x="125" y="73"/>
                  <a:pt x="124" y="73"/>
                  <a:pt x="122" y="73"/>
                </a:cubicBezTo>
                <a:cubicBezTo>
                  <a:pt x="121" y="72"/>
                  <a:pt x="121" y="71"/>
                  <a:pt x="121" y="70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3" y="49"/>
                  <a:pt x="3" y="49"/>
                  <a:pt x="3" y="49"/>
                </a:cubicBezTo>
                <a:cubicBezTo>
                  <a:pt x="2" y="49"/>
                  <a:pt x="1" y="49"/>
                  <a:pt x="0" y="48"/>
                </a:cubicBezTo>
                <a:cubicBezTo>
                  <a:pt x="0" y="48"/>
                  <a:pt x="0" y="47"/>
                  <a:pt x="0" y="4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6"/>
                  <a:pt x="0" y="26"/>
                </a:cubicBezTo>
                <a:cubicBezTo>
                  <a:pt x="1" y="25"/>
                  <a:pt x="2" y="25"/>
                  <a:pt x="3" y="25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21" y="4"/>
                  <a:pt x="121" y="4"/>
                  <a:pt x="121" y="4"/>
                </a:cubicBezTo>
                <a:cubicBezTo>
                  <a:pt x="121" y="2"/>
                  <a:pt x="121" y="1"/>
                  <a:pt x="122" y="1"/>
                </a:cubicBezTo>
                <a:cubicBezTo>
                  <a:pt x="124" y="0"/>
                  <a:pt x="125" y="1"/>
                  <a:pt x="126" y="1"/>
                </a:cubicBezTo>
                <a:cubicBezTo>
                  <a:pt x="162" y="34"/>
                  <a:pt x="162" y="34"/>
                  <a:pt x="162" y="34"/>
                </a:cubicBezTo>
                <a:cubicBezTo>
                  <a:pt x="163" y="35"/>
                  <a:pt x="163" y="36"/>
                  <a:pt x="163" y="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4" name="Freeform 345"/>
          <p:cNvSpPr>
            <a:spLocks noChangeAspect="1" noEditPoints="1"/>
          </p:cNvSpPr>
          <p:nvPr/>
        </p:nvSpPr>
        <p:spPr bwMode="auto">
          <a:xfrm>
            <a:off x="5386989" y="4020843"/>
            <a:ext cx="137395" cy="163938"/>
          </a:xfrm>
          <a:custGeom>
            <a:avLst/>
            <a:gdLst>
              <a:gd name="T0" fmla="*/ 132 w 132"/>
              <a:gd name="T1" fmla="*/ 115 h 158"/>
              <a:gd name="T2" fmla="*/ 120 w 132"/>
              <a:gd name="T3" fmla="*/ 139 h 158"/>
              <a:gd name="T4" fmla="*/ 96 w 132"/>
              <a:gd name="T5" fmla="*/ 157 h 158"/>
              <a:gd name="T6" fmla="*/ 83 w 132"/>
              <a:gd name="T7" fmla="*/ 154 h 158"/>
              <a:gd name="T8" fmla="*/ 69 w 132"/>
              <a:gd name="T9" fmla="*/ 151 h 158"/>
              <a:gd name="T10" fmla="*/ 55 w 132"/>
              <a:gd name="T11" fmla="*/ 154 h 158"/>
              <a:gd name="T12" fmla="*/ 43 w 132"/>
              <a:gd name="T13" fmla="*/ 158 h 158"/>
              <a:gd name="T14" fmla="*/ 14 w 132"/>
              <a:gd name="T15" fmla="*/ 133 h 158"/>
              <a:gd name="T16" fmla="*/ 0 w 132"/>
              <a:gd name="T17" fmla="*/ 85 h 158"/>
              <a:gd name="T18" fmla="*/ 11 w 132"/>
              <a:gd name="T19" fmla="*/ 50 h 158"/>
              <a:gd name="T20" fmla="*/ 38 w 132"/>
              <a:gd name="T21" fmla="*/ 37 h 158"/>
              <a:gd name="T22" fmla="*/ 55 w 132"/>
              <a:gd name="T23" fmla="*/ 39 h 158"/>
              <a:gd name="T24" fmla="*/ 68 w 132"/>
              <a:gd name="T25" fmla="*/ 42 h 158"/>
              <a:gd name="T26" fmla="*/ 81 w 132"/>
              <a:gd name="T27" fmla="*/ 39 h 158"/>
              <a:gd name="T28" fmla="*/ 97 w 132"/>
              <a:gd name="T29" fmla="*/ 36 h 158"/>
              <a:gd name="T30" fmla="*/ 118 w 132"/>
              <a:gd name="T31" fmla="*/ 42 h 158"/>
              <a:gd name="T32" fmla="*/ 127 w 132"/>
              <a:gd name="T33" fmla="*/ 51 h 158"/>
              <a:gd name="T34" fmla="*/ 117 w 132"/>
              <a:gd name="T35" fmla="*/ 63 h 158"/>
              <a:gd name="T36" fmla="*/ 111 w 132"/>
              <a:gd name="T37" fmla="*/ 82 h 158"/>
              <a:gd name="T38" fmla="*/ 117 w 132"/>
              <a:gd name="T39" fmla="*/ 103 h 158"/>
              <a:gd name="T40" fmla="*/ 132 w 132"/>
              <a:gd name="T41" fmla="*/ 115 h 158"/>
              <a:gd name="T42" fmla="*/ 96 w 132"/>
              <a:gd name="T43" fmla="*/ 4 h 158"/>
              <a:gd name="T44" fmla="*/ 94 w 132"/>
              <a:gd name="T45" fmla="*/ 17 h 158"/>
              <a:gd name="T46" fmla="*/ 85 w 132"/>
              <a:gd name="T47" fmla="*/ 30 h 158"/>
              <a:gd name="T48" fmla="*/ 75 w 132"/>
              <a:gd name="T49" fmla="*/ 37 h 158"/>
              <a:gd name="T50" fmla="*/ 65 w 132"/>
              <a:gd name="T51" fmla="*/ 38 h 158"/>
              <a:gd name="T52" fmla="*/ 72 w 132"/>
              <a:gd name="T53" fmla="*/ 14 h 158"/>
              <a:gd name="T54" fmla="*/ 96 w 132"/>
              <a:gd name="T55" fmla="*/ 0 h 158"/>
              <a:gd name="T56" fmla="*/ 96 w 132"/>
              <a:gd name="T57" fmla="*/ 1 h 158"/>
              <a:gd name="T58" fmla="*/ 96 w 132"/>
              <a:gd name="T59" fmla="*/ 2 h 158"/>
              <a:gd name="T60" fmla="*/ 96 w 132"/>
              <a:gd name="T61" fmla="*/ 3 h 158"/>
              <a:gd name="T62" fmla="*/ 96 w 132"/>
              <a:gd name="T63" fmla="*/ 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2" h="158">
                <a:moveTo>
                  <a:pt x="132" y="115"/>
                </a:moveTo>
                <a:cubicBezTo>
                  <a:pt x="130" y="123"/>
                  <a:pt x="126" y="131"/>
                  <a:pt x="120" y="139"/>
                </a:cubicBezTo>
                <a:cubicBezTo>
                  <a:pt x="112" y="151"/>
                  <a:pt x="104" y="157"/>
                  <a:pt x="96" y="157"/>
                </a:cubicBezTo>
                <a:cubicBezTo>
                  <a:pt x="93" y="157"/>
                  <a:pt x="89" y="156"/>
                  <a:pt x="83" y="154"/>
                </a:cubicBezTo>
                <a:cubicBezTo>
                  <a:pt x="77" y="152"/>
                  <a:pt x="73" y="151"/>
                  <a:pt x="69" y="151"/>
                </a:cubicBezTo>
                <a:cubicBezTo>
                  <a:pt x="65" y="151"/>
                  <a:pt x="60" y="152"/>
                  <a:pt x="55" y="154"/>
                </a:cubicBezTo>
                <a:cubicBezTo>
                  <a:pt x="50" y="156"/>
                  <a:pt x="46" y="158"/>
                  <a:pt x="43" y="158"/>
                </a:cubicBezTo>
                <a:cubicBezTo>
                  <a:pt x="33" y="158"/>
                  <a:pt x="24" y="149"/>
                  <a:pt x="14" y="133"/>
                </a:cubicBezTo>
                <a:cubicBezTo>
                  <a:pt x="5" y="117"/>
                  <a:pt x="0" y="101"/>
                  <a:pt x="0" y="85"/>
                </a:cubicBezTo>
                <a:cubicBezTo>
                  <a:pt x="0" y="71"/>
                  <a:pt x="4" y="59"/>
                  <a:pt x="11" y="50"/>
                </a:cubicBezTo>
                <a:cubicBezTo>
                  <a:pt x="18" y="41"/>
                  <a:pt x="27" y="37"/>
                  <a:pt x="38" y="37"/>
                </a:cubicBezTo>
                <a:cubicBezTo>
                  <a:pt x="42" y="37"/>
                  <a:pt x="48" y="37"/>
                  <a:pt x="55" y="39"/>
                </a:cubicBezTo>
                <a:cubicBezTo>
                  <a:pt x="61" y="41"/>
                  <a:pt x="65" y="42"/>
                  <a:pt x="68" y="42"/>
                </a:cubicBezTo>
                <a:cubicBezTo>
                  <a:pt x="70" y="42"/>
                  <a:pt x="75" y="41"/>
                  <a:pt x="81" y="39"/>
                </a:cubicBezTo>
                <a:cubicBezTo>
                  <a:pt x="88" y="37"/>
                  <a:pt x="93" y="36"/>
                  <a:pt x="97" y="36"/>
                </a:cubicBezTo>
                <a:cubicBezTo>
                  <a:pt x="105" y="36"/>
                  <a:pt x="112" y="38"/>
                  <a:pt x="118" y="42"/>
                </a:cubicBezTo>
                <a:cubicBezTo>
                  <a:pt x="121" y="44"/>
                  <a:pt x="124" y="47"/>
                  <a:pt x="127" y="51"/>
                </a:cubicBezTo>
                <a:cubicBezTo>
                  <a:pt x="122" y="56"/>
                  <a:pt x="119" y="59"/>
                  <a:pt x="117" y="63"/>
                </a:cubicBezTo>
                <a:cubicBezTo>
                  <a:pt x="113" y="68"/>
                  <a:pt x="111" y="75"/>
                  <a:pt x="111" y="82"/>
                </a:cubicBezTo>
                <a:cubicBezTo>
                  <a:pt x="111" y="90"/>
                  <a:pt x="113" y="97"/>
                  <a:pt x="117" y="103"/>
                </a:cubicBezTo>
                <a:cubicBezTo>
                  <a:pt x="121" y="109"/>
                  <a:pt x="126" y="113"/>
                  <a:pt x="132" y="115"/>
                </a:cubicBezTo>
                <a:close/>
                <a:moveTo>
                  <a:pt x="96" y="4"/>
                </a:moveTo>
                <a:cubicBezTo>
                  <a:pt x="96" y="8"/>
                  <a:pt x="96" y="12"/>
                  <a:pt x="94" y="17"/>
                </a:cubicBezTo>
                <a:cubicBezTo>
                  <a:pt x="92" y="22"/>
                  <a:pt x="89" y="26"/>
                  <a:pt x="85" y="30"/>
                </a:cubicBezTo>
                <a:cubicBezTo>
                  <a:pt x="81" y="33"/>
                  <a:pt x="78" y="36"/>
                  <a:pt x="75" y="37"/>
                </a:cubicBezTo>
                <a:cubicBezTo>
                  <a:pt x="72" y="38"/>
                  <a:pt x="69" y="38"/>
                  <a:pt x="65" y="38"/>
                </a:cubicBezTo>
                <a:cubicBezTo>
                  <a:pt x="65" y="29"/>
                  <a:pt x="67" y="21"/>
                  <a:pt x="72" y="14"/>
                </a:cubicBezTo>
                <a:cubicBezTo>
                  <a:pt x="77" y="7"/>
                  <a:pt x="85" y="3"/>
                  <a:pt x="96" y="0"/>
                </a:cubicBezTo>
                <a:cubicBezTo>
                  <a:pt x="96" y="0"/>
                  <a:pt x="96" y="1"/>
                  <a:pt x="96" y="1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3"/>
                  <a:pt x="96" y="3"/>
                  <a:pt x="96" y="3"/>
                </a:cubicBezTo>
                <a:cubicBezTo>
                  <a:pt x="96" y="4"/>
                  <a:pt x="96" y="4"/>
                  <a:pt x="96" y="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5" name="Freeform 346"/>
          <p:cNvSpPr>
            <a:spLocks noChangeAspect="1" noEditPoints="1"/>
          </p:cNvSpPr>
          <p:nvPr/>
        </p:nvSpPr>
        <p:spPr bwMode="auto">
          <a:xfrm>
            <a:off x="5571224" y="4033334"/>
            <a:ext cx="162376" cy="163938"/>
          </a:xfrm>
          <a:custGeom>
            <a:avLst/>
            <a:gdLst>
              <a:gd name="T0" fmla="*/ 43 w 104"/>
              <a:gd name="T1" fmla="*/ 9 h 105"/>
              <a:gd name="T2" fmla="*/ 43 w 104"/>
              <a:gd name="T3" fmla="*/ 50 h 105"/>
              <a:gd name="T4" fmla="*/ 0 w 104"/>
              <a:gd name="T5" fmla="*/ 50 h 105"/>
              <a:gd name="T6" fmla="*/ 0 w 104"/>
              <a:gd name="T7" fmla="*/ 15 h 105"/>
              <a:gd name="T8" fmla="*/ 43 w 104"/>
              <a:gd name="T9" fmla="*/ 9 h 105"/>
              <a:gd name="T10" fmla="*/ 43 w 104"/>
              <a:gd name="T11" fmla="*/ 55 h 105"/>
              <a:gd name="T12" fmla="*/ 43 w 104"/>
              <a:gd name="T13" fmla="*/ 97 h 105"/>
              <a:gd name="T14" fmla="*/ 0 w 104"/>
              <a:gd name="T15" fmla="*/ 91 h 105"/>
              <a:gd name="T16" fmla="*/ 0 w 104"/>
              <a:gd name="T17" fmla="*/ 55 h 105"/>
              <a:gd name="T18" fmla="*/ 43 w 104"/>
              <a:gd name="T19" fmla="*/ 55 h 105"/>
              <a:gd name="T20" fmla="*/ 104 w 104"/>
              <a:gd name="T21" fmla="*/ 0 h 105"/>
              <a:gd name="T22" fmla="*/ 104 w 104"/>
              <a:gd name="T23" fmla="*/ 50 h 105"/>
              <a:gd name="T24" fmla="*/ 47 w 104"/>
              <a:gd name="T25" fmla="*/ 50 h 105"/>
              <a:gd name="T26" fmla="*/ 47 w 104"/>
              <a:gd name="T27" fmla="*/ 8 h 105"/>
              <a:gd name="T28" fmla="*/ 104 w 104"/>
              <a:gd name="T29" fmla="*/ 0 h 105"/>
              <a:gd name="T30" fmla="*/ 104 w 104"/>
              <a:gd name="T31" fmla="*/ 55 h 105"/>
              <a:gd name="T32" fmla="*/ 104 w 104"/>
              <a:gd name="T33" fmla="*/ 105 h 105"/>
              <a:gd name="T34" fmla="*/ 47 w 104"/>
              <a:gd name="T35" fmla="*/ 97 h 105"/>
              <a:gd name="T36" fmla="*/ 47 w 104"/>
              <a:gd name="T37" fmla="*/ 55 h 105"/>
              <a:gd name="T38" fmla="*/ 104 w 104"/>
              <a:gd name="T39" fmla="*/ 5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4" h="105">
                <a:moveTo>
                  <a:pt x="43" y="9"/>
                </a:moveTo>
                <a:lnTo>
                  <a:pt x="43" y="50"/>
                </a:lnTo>
                <a:lnTo>
                  <a:pt x="0" y="50"/>
                </a:lnTo>
                <a:lnTo>
                  <a:pt x="0" y="15"/>
                </a:lnTo>
                <a:lnTo>
                  <a:pt x="43" y="9"/>
                </a:lnTo>
                <a:close/>
                <a:moveTo>
                  <a:pt x="43" y="55"/>
                </a:moveTo>
                <a:lnTo>
                  <a:pt x="43" y="97"/>
                </a:lnTo>
                <a:lnTo>
                  <a:pt x="0" y="91"/>
                </a:lnTo>
                <a:lnTo>
                  <a:pt x="0" y="55"/>
                </a:lnTo>
                <a:lnTo>
                  <a:pt x="43" y="55"/>
                </a:lnTo>
                <a:close/>
                <a:moveTo>
                  <a:pt x="104" y="0"/>
                </a:moveTo>
                <a:lnTo>
                  <a:pt x="104" y="50"/>
                </a:lnTo>
                <a:lnTo>
                  <a:pt x="47" y="50"/>
                </a:lnTo>
                <a:lnTo>
                  <a:pt x="47" y="8"/>
                </a:lnTo>
                <a:lnTo>
                  <a:pt x="104" y="0"/>
                </a:lnTo>
                <a:close/>
                <a:moveTo>
                  <a:pt x="104" y="55"/>
                </a:moveTo>
                <a:lnTo>
                  <a:pt x="104" y="105"/>
                </a:lnTo>
                <a:lnTo>
                  <a:pt x="47" y="97"/>
                </a:lnTo>
                <a:lnTo>
                  <a:pt x="47" y="55"/>
                </a:lnTo>
                <a:lnTo>
                  <a:pt x="104" y="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6" name="Freeform 347"/>
          <p:cNvSpPr>
            <a:spLocks noChangeAspect="1" noEditPoints="1"/>
          </p:cNvSpPr>
          <p:nvPr/>
        </p:nvSpPr>
        <p:spPr bwMode="auto">
          <a:xfrm>
            <a:off x="5780439" y="4033334"/>
            <a:ext cx="137395" cy="163938"/>
          </a:xfrm>
          <a:custGeom>
            <a:avLst/>
            <a:gdLst>
              <a:gd name="T0" fmla="*/ 17 w 133"/>
              <a:gd name="T1" fmla="*/ 54 h 158"/>
              <a:gd name="T2" fmla="*/ 20 w 133"/>
              <a:gd name="T3" fmla="*/ 102 h 158"/>
              <a:gd name="T4" fmla="*/ 10 w 133"/>
              <a:gd name="T5" fmla="*/ 111 h 158"/>
              <a:gd name="T6" fmla="*/ 0 w 133"/>
              <a:gd name="T7" fmla="*/ 102 h 158"/>
              <a:gd name="T8" fmla="*/ 3 w 133"/>
              <a:gd name="T9" fmla="*/ 54 h 158"/>
              <a:gd name="T10" fmla="*/ 88 w 133"/>
              <a:gd name="T11" fmla="*/ 15 h 158"/>
              <a:gd name="T12" fmla="*/ 111 w 133"/>
              <a:gd name="T13" fmla="*/ 50 h 158"/>
              <a:gd name="T14" fmla="*/ 29 w 133"/>
              <a:gd name="T15" fmla="*/ 29 h 158"/>
              <a:gd name="T16" fmla="*/ 39 w 133"/>
              <a:gd name="T17" fmla="*/ 2 h 158"/>
              <a:gd name="T18" fmla="*/ 41 w 133"/>
              <a:gd name="T19" fmla="*/ 1 h 158"/>
              <a:gd name="T20" fmla="*/ 67 w 133"/>
              <a:gd name="T21" fmla="*/ 10 h 158"/>
              <a:gd name="T22" fmla="*/ 93 w 133"/>
              <a:gd name="T23" fmla="*/ 1 h 158"/>
              <a:gd name="T24" fmla="*/ 95 w 133"/>
              <a:gd name="T25" fmla="*/ 2 h 158"/>
              <a:gd name="T26" fmla="*/ 110 w 133"/>
              <a:gd name="T27" fmla="*/ 53 h 158"/>
              <a:gd name="T28" fmla="*/ 107 w 133"/>
              <a:gd name="T29" fmla="*/ 123 h 158"/>
              <a:gd name="T30" fmla="*/ 93 w 133"/>
              <a:gd name="T31" fmla="*/ 126 h 158"/>
              <a:gd name="T32" fmla="*/ 90 w 133"/>
              <a:gd name="T33" fmla="*/ 155 h 158"/>
              <a:gd name="T34" fmla="*/ 76 w 133"/>
              <a:gd name="T35" fmla="*/ 155 h 158"/>
              <a:gd name="T36" fmla="*/ 73 w 133"/>
              <a:gd name="T37" fmla="*/ 126 h 158"/>
              <a:gd name="T38" fmla="*/ 60 w 133"/>
              <a:gd name="T39" fmla="*/ 148 h 158"/>
              <a:gd name="T40" fmla="*/ 51 w 133"/>
              <a:gd name="T41" fmla="*/ 158 h 158"/>
              <a:gd name="T42" fmla="*/ 41 w 133"/>
              <a:gd name="T43" fmla="*/ 148 h 158"/>
              <a:gd name="T44" fmla="*/ 34 w 133"/>
              <a:gd name="T45" fmla="*/ 126 h 158"/>
              <a:gd name="T46" fmla="*/ 23 w 133"/>
              <a:gd name="T47" fmla="*/ 116 h 158"/>
              <a:gd name="T48" fmla="*/ 110 w 133"/>
              <a:gd name="T49" fmla="*/ 53 h 158"/>
              <a:gd name="T50" fmla="*/ 47 w 133"/>
              <a:gd name="T51" fmla="*/ 34 h 158"/>
              <a:gd name="T52" fmla="*/ 51 w 133"/>
              <a:gd name="T53" fmla="*/ 30 h 158"/>
              <a:gd name="T54" fmla="*/ 47 w 133"/>
              <a:gd name="T55" fmla="*/ 26 h 158"/>
              <a:gd name="T56" fmla="*/ 43 w 133"/>
              <a:gd name="T57" fmla="*/ 30 h 158"/>
              <a:gd name="T58" fmla="*/ 84 w 133"/>
              <a:gd name="T59" fmla="*/ 33 h 158"/>
              <a:gd name="T60" fmla="*/ 89 w 133"/>
              <a:gd name="T61" fmla="*/ 33 h 158"/>
              <a:gd name="T62" fmla="*/ 89 w 133"/>
              <a:gd name="T63" fmla="*/ 28 h 158"/>
              <a:gd name="T64" fmla="*/ 84 w 133"/>
              <a:gd name="T65" fmla="*/ 28 h 158"/>
              <a:gd name="T66" fmla="*/ 84 w 133"/>
              <a:gd name="T67" fmla="*/ 33 h 158"/>
              <a:gd name="T68" fmla="*/ 133 w 133"/>
              <a:gd name="T69" fmla="*/ 102 h 158"/>
              <a:gd name="T70" fmla="*/ 124 w 133"/>
              <a:gd name="T71" fmla="*/ 111 h 158"/>
              <a:gd name="T72" fmla="*/ 114 w 133"/>
              <a:gd name="T73" fmla="*/ 102 h 158"/>
              <a:gd name="T74" fmla="*/ 117 w 133"/>
              <a:gd name="T75" fmla="*/ 54 h 158"/>
              <a:gd name="T76" fmla="*/ 131 w 133"/>
              <a:gd name="T77" fmla="*/ 5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3" h="158">
                <a:moveTo>
                  <a:pt x="10" y="51"/>
                </a:moveTo>
                <a:cubicBezTo>
                  <a:pt x="13" y="51"/>
                  <a:pt x="15" y="52"/>
                  <a:pt x="17" y="54"/>
                </a:cubicBezTo>
                <a:cubicBezTo>
                  <a:pt x="19" y="56"/>
                  <a:pt x="20" y="58"/>
                  <a:pt x="20" y="61"/>
                </a:cubicBezTo>
                <a:cubicBezTo>
                  <a:pt x="20" y="102"/>
                  <a:pt x="20" y="102"/>
                  <a:pt x="20" y="102"/>
                </a:cubicBezTo>
                <a:cubicBezTo>
                  <a:pt x="20" y="104"/>
                  <a:pt x="19" y="107"/>
                  <a:pt x="17" y="108"/>
                </a:cubicBezTo>
                <a:cubicBezTo>
                  <a:pt x="15" y="110"/>
                  <a:pt x="13" y="111"/>
                  <a:pt x="10" y="111"/>
                </a:cubicBezTo>
                <a:cubicBezTo>
                  <a:pt x="7" y="111"/>
                  <a:pt x="5" y="110"/>
                  <a:pt x="3" y="108"/>
                </a:cubicBezTo>
                <a:cubicBezTo>
                  <a:pt x="1" y="107"/>
                  <a:pt x="0" y="104"/>
                  <a:pt x="0" y="102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58"/>
                  <a:pt x="1" y="56"/>
                  <a:pt x="3" y="54"/>
                </a:cubicBezTo>
                <a:cubicBezTo>
                  <a:pt x="5" y="52"/>
                  <a:pt x="7" y="51"/>
                  <a:pt x="10" y="51"/>
                </a:cubicBezTo>
                <a:close/>
                <a:moveTo>
                  <a:pt x="88" y="15"/>
                </a:moveTo>
                <a:cubicBezTo>
                  <a:pt x="95" y="18"/>
                  <a:pt x="100" y="23"/>
                  <a:pt x="105" y="29"/>
                </a:cubicBezTo>
                <a:cubicBezTo>
                  <a:pt x="109" y="35"/>
                  <a:pt x="111" y="42"/>
                  <a:pt x="111" y="50"/>
                </a:cubicBezTo>
                <a:cubicBezTo>
                  <a:pt x="23" y="50"/>
                  <a:pt x="23" y="50"/>
                  <a:pt x="23" y="50"/>
                </a:cubicBezTo>
                <a:cubicBezTo>
                  <a:pt x="23" y="42"/>
                  <a:pt x="25" y="35"/>
                  <a:pt x="29" y="29"/>
                </a:cubicBezTo>
                <a:cubicBezTo>
                  <a:pt x="33" y="23"/>
                  <a:pt x="39" y="18"/>
                  <a:pt x="45" y="15"/>
                </a:cubicBezTo>
                <a:cubicBezTo>
                  <a:pt x="39" y="2"/>
                  <a:pt x="39" y="2"/>
                  <a:pt x="39" y="2"/>
                </a:cubicBezTo>
                <a:cubicBezTo>
                  <a:pt x="38" y="2"/>
                  <a:pt x="38" y="1"/>
                  <a:pt x="39" y="0"/>
                </a:cubicBezTo>
                <a:cubicBezTo>
                  <a:pt x="40" y="0"/>
                  <a:pt x="41" y="0"/>
                  <a:pt x="41" y="1"/>
                </a:cubicBezTo>
                <a:cubicBezTo>
                  <a:pt x="48" y="14"/>
                  <a:pt x="48" y="14"/>
                  <a:pt x="48" y="14"/>
                </a:cubicBezTo>
                <a:cubicBezTo>
                  <a:pt x="54" y="11"/>
                  <a:pt x="60" y="10"/>
                  <a:pt x="67" y="10"/>
                </a:cubicBezTo>
                <a:cubicBezTo>
                  <a:pt x="74" y="10"/>
                  <a:pt x="80" y="11"/>
                  <a:pt x="86" y="14"/>
                </a:cubicBezTo>
                <a:cubicBezTo>
                  <a:pt x="93" y="1"/>
                  <a:pt x="93" y="1"/>
                  <a:pt x="93" y="1"/>
                </a:cubicBezTo>
                <a:cubicBezTo>
                  <a:pt x="93" y="0"/>
                  <a:pt x="94" y="0"/>
                  <a:pt x="95" y="0"/>
                </a:cubicBezTo>
                <a:cubicBezTo>
                  <a:pt x="95" y="1"/>
                  <a:pt x="96" y="2"/>
                  <a:pt x="95" y="2"/>
                </a:cubicBezTo>
                <a:lnTo>
                  <a:pt x="88" y="15"/>
                </a:lnTo>
                <a:close/>
                <a:moveTo>
                  <a:pt x="110" y="53"/>
                </a:moveTo>
                <a:cubicBezTo>
                  <a:pt x="110" y="116"/>
                  <a:pt x="110" y="116"/>
                  <a:pt x="110" y="116"/>
                </a:cubicBezTo>
                <a:cubicBezTo>
                  <a:pt x="110" y="119"/>
                  <a:pt x="109" y="121"/>
                  <a:pt x="107" y="123"/>
                </a:cubicBezTo>
                <a:cubicBezTo>
                  <a:pt x="105" y="125"/>
                  <a:pt x="103" y="126"/>
                  <a:pt x="100" y="126"/>
                </a:cubicBezTo>
                <a:cubicBezTo>
                  <a:pt x="93" y="126"/>
                  <a:pt x="93" y="126"/>
                  <a:pt x="93" y="126"/>
                </a:cubicBezTo>
                <a:cubicBezTo>
                  <a:pt x="93" y="148"/>
                  <a:pt x="93" y="148"/>
                  <a:pt x="93" y="148"/>
                </a:cubicBezTo>
                <a:cubicBezTo>
                  <a:pt x="93" y="151"/>
                  <a:pt x="92" y="153"/>
                  <a:pt x="90" y="155"/>
                </a:cubicBezTo>
                <a:cubicBezTo>
                  <a:pt x="88" y="157"/>
                  <a:pt x="86" y="158"/>
                  <a:pt x="83" y="158"/>
                </a:cubicBezTo>
                <a:cubicBezTo>
                  <a:pt x="80" y="158"/>
                  <a:pt x="78" y="157"/>
                  <a:pt x="76" y="155"/>
                </a:cubicBezTo>
                <a:cubicBezTo>
                  <a:pt x="74" y="153"/>
                  <a:pt x="73" y="151"/>
                  <a:pt x="73" y="148"/>
                </a:cubicBezTo>
                <a:cubicBezTo>
                  <a:pt x="73" y="126"/>
                  <a:pt x="73" y="126"/>
                  <a:pt x="73" y="126"/>
                </a:cubicBezTo>
                <a:cubicBezTo>
                  <a:pt x="60" y="126"/>
                  <a:pt x="60" y="126"/>
                  <a:pt x="60" y="126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60" y="151"/>
                  <a:pt x="59" y="153"/>
                  <a:pt x="58" y="155"/>
                </a:cubicBezTo>
                <a:cubicBezTo>
                  <a:pt x="56" y="157"/>
                  <a:pt x="53" y="158"/>
                  <a:pt x="51" y="158"/>
                </a:cubicBezTo>
                <a:cubicBezTo>
                  <a:pt x="48" y="158"/>
                  <a:pt x="46" y="157"/>
                  <a:pt x="44" y="155"/>
                </a:cubicBezTo>
                <a:cubicBezTo>
                  <a:pt x="42" y="153"/>
                  <a:pt x="41" y="151"/>
                  <a:pt x="41" y="148"/>
                </a:cubicBezTo>
                <a:cubicBezTo>
                  <a:pt x="41" y="126"/>
                  <a:pt x="41" y="126"/>
                  <a:pt x="41" y="126"/>
                </a:cubicBezTo>
                <a:cubicBezTo>
                  <a:pt x="34" y="126"/>
                  <a:pt x="34" y="126"/>
                  <a:pt x="34" y="126"/>
                </a:cubicBezTo>
                <a:cubicBezTo>
                  <a:pt x="31" y="126"/>
                  <a:pt x="29" y="125"/>
                  <a:pt x="27" y="123"/>
                </a:cubicBezTo>
                <a:cubicBezTo>
                  <a:pt x="25" y="121"/>
                  <a:pt x="23" y="119"/>
                  <a:pt x="23" y="116"/>
                </a:cubicBezTo>
                <a:cubicBezTo>
                  <a:pt x="23" y="53"/>
                  <a:pt x="23" y="53"/>
                  <a:pt x="23" y="53"/>
                </a:cubicBezTo>
                <a:lnTo>
                  <a:pt x="110" y="53"/>
                </a:lnTo>
                <a:close/>
                <a:moveTo>
                  <a:pt x="44" y="33"/>
                </a:moveTo>
                <a:cubicBezTo>
                  <a:pt x="45" y="34"/>
                  <a:pt x="46" y="34"/>
                  <a:pt x="47" y="34"/>
                </a:cubicBezTo>
                <a:cubicBezTo>
                  <a:pt x="48" y="34"/>
                  <a:pt x="49" y="34"/>
                  <a:pt x="50" y="33"/>
                </a:cubicBezTo>
                <a:cubicBezTo>
                  <a:pt x="50" y="32"/>
                  <a:pt x="51" y="31"/>
                  <a:pt x="51" y="30"/>
                </a:cubicBezTo>
                <a:cubicBezTo>
                  <a:pt x="51" y="29"/>
                  <a:pt x="50" y="28"/>
                  <a:pt x="50" y="28"/>
                </a:cubicBezTo>
                <a:cubicBezTo>
                  <a:pt x="49" y="27"/>
                  <a:pt x="48" y="26"/>
                  <a:pt x="47" y="26"/>
                </a:cubicBezTo>
                <a:cubicBezTo>
                  <a:pt x="46" y="26"/>
                  <a:pt x="45" y="27"/>
                  <a:pt x="44" y="28"/>
                </a:cubicBezTo>
                <a:cubicBezTo>
                  <a:pt x="44" y="28"/>
                  <a:pt x="43" y="29"/>
                  <a:pt x="43" y="30"/>
                </a:cubicBezTo>
                <a:cubicBezTo>
                  <a:pt x="43" y="31"/>
                  <a:pt x="44" y="32"/>
                  <a:pt x="44" y="33"/>
                </a:cubicBezTo>
                <a:close/>
                <a:moveTo>
                  <a:pt x="84" y="33"/>
                </a:moveTo>
                <a:cubicBezTo>
                  <a:pt x="85" y="34"/>
                  <a:pt x="86" y="34"/>
                  <a:pt x="87" y="34"/>
                </a:cubicBezTo>
                <a:cubicBezTo>
                  <a:pt x="88" y="34"/>
                  <a:pt x="89" y="34"/>
                  <a:pt x="89" y="33"/>
                </a:cubicBezTo>
                <a:cubicBezTo>
                  <a:pt x="90" y="32"/>
                  <a:pt x="90" y="31"/>
                  <a:pt x="90" y="30"/>
                </a:cubicBezTo>
                <a:cubicBezTo>
                  <a:pt x="90" y="29"/>
                  <a:pt x="90" y="28"/>
                  <a:pt x="89" y="28"/>
                </a:cubicBezTo>
                <a:cubicBezTo>
                  <a:pt x="89" y="27"/>
                  <a:pt x="88" y="26"/>
                  <a:pt x="87" y="26"/>
                </a:cubicBezTo>
                <a:cubicBezTo>
                  <a:pt x="86" y="26"/>
                  <a:pt x="85" y="27"/>
                  <a:pt x="84" y="28"/>
                </a:cubicBezTo>
                <a:cubicBezTo>
                  <a:pt x="84" y="28"/>
                  <a:pt x="83" y="29"/>
                  <a:pt x="83" y="30"/>
                </a:cubicBezTo>
                <a:cubicBezTo>
                  <a:pt x="83" y="31"/>
                  <a:pt x="84" y="32"/>
                  <a:pt x="84" y="33"/>
                </a:cubicBezTo>
                <a:close/>
                <a:moveTo>
                  <a:pt x="133" y="61"/>
                </a:moveTo>
                <a:cubicBezTo>
                  <a:pt x="133" y="102"/>
                  <a:pt x="133" y="102"/>
                  <a:pt x="133" y="102"/>
                </a:cubicBezTo>
                <a:cubicBezTo>
                  <a:pt x="133" y="104"/>
                  <a:pt x="133" y="107"/>
                  <a:pt x="131" y="108"/>
                </a:cubicBezTo>
                <a:cubicBezTo>
                  <a:pt x="129" y="110"/>
                  <a:pt x="126" y="111"/>
                  <a:pt x="124" y="111"/>
                </a:cubicBezTo>
                <a:cubicBezTo>
                  <a:pt x="121" y="111"/>
                  <a:pt x="119" y="110"/>
                  <a:pt x="117" y="108"/>
                </a:cubicBezTo>
                <a:cubicBezTo>
                  <a:pt x="115" y="107"/>
                  <a:pt x="114" y="104"/>
                  <a:pt x="114" y="102"/>
                </a:cubicBezTo>
                <a:cubicBezTo>
                  <a:pt x="114" y="61"/>
                  <a:pt x="114" y="61"/>
                  <a:pt x="114" y="61"/>
                </a:cubicBezTo>
                <a:cubicBezTo>
                  <a:pt x="114" y="58"/>
                  <a:pt x="115" y="56"/>
                  <a:pt x="117" y="54"/>
                </a:cubicBezTo>
                <a:cubicBezTo>
                  <a:pt x="119" y="52"/>
                  <a:pt x="121" y="51"/>
                  <a:pt x="124" y="51"/>
                </a:cubicBezTo>
                <a:cubicBezTo>
                  <a:pt x="126" y="51"/>
                  <a:pt x="129" y="52"/>
                  <a:pt x="131" y="54"/>
                </a:cubicBezTo>
                <a:cubicBezTo>
                  <a:pt x="133" y="56"/>
                  <a:pt x="133" y="58"/>
                  <a:pt x="133" y="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7" name="Freeform 348"/>
          <p:cNvSpPr>
            <a:spLocks noChangeAspect="1" noEditPoints="1"/>
          </p:cNvSpPr>
          <p:nvPr/>
        </p:nvSpPr>
        <p:spPr bwMode="auto">
          <a:xfrm>
            <a:off x="5964673" y="4020843"/>
            <a:ext cx="148325" cy="176428"/>
          </a:xfrm>
          <a:custGeom>
            <a:avLst/>
            <a:gdLst>
              <a:gd name="T0" fmla="*/ 140 w 144"/>
              <a:gd name="T1" fmla="*/ 150 h 170"/>
              <a:gd name="T2" fmla="*/ 114 w 144"/>
              <a:gd name="T3" fmla="*/ 168 h 170"/>
              <a:gd name="T4" fmla="*/ 88 w 144"/>
              <a:gd name="T5" fmla="*/ 161 h 170"/>
              <a:gd name="T6" fmla="*/ 48 w 144"/>
              <a:gd name="T7" fmla="*/ 168 h 170"/>
              <a:gd name="T8" fmla="*/ 6 w 144"/>
              <a:gd name="T9" fmla="*/ 160 h 170"/>
              <a:gd name="T10" fmla="*/ 2 w 144"/>
              <a:gd name="T11" fmla="*/ 137 h 170"/>
              <a:gd name="T12" fmla="*/ 19 w 144"/>
              <a:gd name="T13" fmla="*/ 120 h 170"/>
              <a:gd name="T14" fmla="*/ 6 w 144"/>
              <a:gd name="T15" fmla="*/ 142 h 170"/>
              <a:gd name="T16" fmla="*/ 15 w 144"/>
              <a:gd name="T17" fmla="*/ 159 h 170"/>
              <a:gd name="T18" fmla="*/ 52 w 144"/>
              <a:gd name="T19" fmla="*/ 158 h 170"/>
              <a:gd name="T20" fmla="*/ 20 w 144"/>
              <a:gd name="T21" fmla="*/ 116 h 170"/>
              <a:gd name="T22" fmla="*/ 30 w 144"/>
              <a:gd name="T23" fmla="*/ 85 h 170"/>
              <a:gd name="T24" fmla="*/ 59 w 144"/>
              <a:gd name="T25" fmla="*/ 2 h 170"/>
              <a:gd name="T26" fmla="*/ 102 w 144"/>
              <a:gd name="T27" fmla="*/ 51 h 170"/>
              <a:gd name="T28" fmla="*/ 127 w 144"/>
              <a:gd name="T29" fmla="*/ 120 h 170"/>
              <a:gd name="T30" fmla="*/ 108 w 144"/>
              <a:gd name="T31" fmla="*/ 128 h 170"/>
              <a:gd name="T32" fmla="*/ 98 w 144"/>
              <a:gd name="T33" fmla="*/ 134 h 170"/>
              <a:gd name="T34" fmla="*/ 133 w 144"/>
              <a:gd name="T35" fmla="*/ 151 h 170"/>
              <a:gd name="T36" fmla="*/ 129 w 144"/>
              <a:gd name="T37" fmla="*/ 128 h 170"/>
              <a:gd name="T38" fmla="*/ 139 w 144"/>
              <a:gd name="T39" fmla="*/ 139 h 170"/>
              <a:gd name="T40" fmla="*/ 115 w 144"/>
              <a:gd name="T41" fmla="*/ 104 h 170"/>
              <a:gd name="T42" fmla="*/ 113 w 144"/>
              <a:gd name="T43" fmla="*/ 91 h 170"/>
              <a:gd name="T44" fmla="*/ 104 w 144"/>
              <a:gd name="T45" fmla="*/ 110 h 170"/>
              <a:gd name="T46" fmla="*/ 96 w 144"/>
              <a:gd name="T47" fmla="*/ 78 h 170"/>
              <a:gd name="T48" fmla="*/ 86 w 144"/>
              <a:gd name="T49" fmla="*/ 50 h 170"/>
              <a:gd name="T50" fmla="*/ 74 w 144"/>
              <a:gd name="T51" fmla="*/ 33 h 170"/>
              <a:gd name="T52" fmla="*/ 87 w 144"/>
              <a:gd name="T53" fmla="*/ 37 h 170"/>
              <a:gd name="T54" fmla="*/ 70 w 144"/>
              <a:gd name="T55" fmla="*/ 37 h 170"/>
              <a:gd name="T56" fmla="*/ 57 w 144"/>
              <a:gd name="T57" fmla="*/ 25 h 170"/>
              <a:gd name="T58" fmla="*/ 56 w 144"/>
              <a:gd name="T59" fmla="*/ 40 h 170"/>
              <a:gd name="T60" fmla="*/ 60 w 144"/>
              <a:gd name="T61" fmla="*/ 32 h 170"/>
              <a:gd name="T62" fmla="*/ 52 w 144"/>
              <a:gd name="T63" fmla="*/ 47 h 170"/>
              <a:gd name="T64" fmla="*/ 71 w 144"/>
              <a:gd name="T65" fmla="*/ 52 h 170"/>
              <a:gd name="T66" fmla="*/ 84 w 144"/>
              <a:gd name="T67" fmla="*/ 48 h 170"/>
              <a:gd name="T68" fmla="*/ 58 w 144"/>
              <a:gd name="T69" fmla="*/ 56 h 170"/>
              <a:gd name="T70" fmla="*/ 75 w 144"/>
              <a:gd name="T71" fmla="*/ 56 h 170"/>
              <a:gd name="T72" fmla="*/ 82 w 144"/>
              <a:gd name="T73" fmla="*/ 55 h 170"/>
              <a:gd name="T74" fmla="*/ 72 w 144"/>
              <a:gd name="T75" fmla="*/ 62 h 170"/>
              <a:gd name="T76" fmla="*/ 51 w 144"/>
              <a:gd name="T77" fmla="*/ 63 h 170"/>
              <a:gd name="T78" fmla="*/ 37 w 144"/>
              <a:gd name="T79" fmla="*/ 108 h 170"/>
              <a:gd name="T80" fmla="*/ 30 w 144"/>
              <a:gd name="T81" fmla="*/ 99 h 170"/>
              <a:gd name="T82" fmla="*/ 56 w 144"/>
              <a:gd name="T83" fmla="*/ 138 h 170"/>
              <a:gd name="T84" fmla="*/ 57 w 144"/>
              <a:gd name="T85" fmla="*/ 152 h 170"/>
              <a:gd name="T86" fmla="*/ 74 w 144"/>
              <a:gd name="T87" fmla="*/ 151 h 170"/>
              <a:gd name="T88" fmla="*/ 94 w 144"/>
              <a:gd name="T89" fmla="*/ 159 h 170"/>
              <a:gd name="T90" fmla="*/ 103 w 144"/>
              <a:gd name="T91" fmla="*/ 119 h 170"/>
              <a:gd name="T92" fmla="*/ 37 w 144"/>
              <a:gd name="T93" fmla="*/ 82 h 170"/>
              <a:gd name="T94" fmla="*/ 37 w 144"/>
              <a:gd name="T95" fmla="*/ 83 h 170"/>
              <a:gd name="T96" fmla="*/ 37 w 144"/>
              <a:gd name="T97" fmla="*/ 81 h 170"/>
              <a:gd name="T98" fmla="*/ 58 w 144"/>
              <a:gd name="T99" fmla="*/ 35 h 170"/>
              <a:gd name="T100" fmla="*/ 60 w 144"/>
              <a:gd name="T101" fmla="*/ 40 h 170"/>
              <a:gd name="T102" fmla="*/ 71 w 144"/>
              <a:gd name="T103" fmla="*/ 40 h 170"/>
              <a:gd name="T104" fmla="*/ 79 w 144"/>
              <a:gd name="T105" fmla="*/ 32 h 170"/>
              <a:gd name="T106" fmla="*/ 86 w 144"/>
              <a:gd name="T107" fmla="*/ 12 h 170"/>
              <a:gd name="T108" fmla="*/ 81 w 144"/>
              <a:gd name="T109" fmla="*/ 14 h 170"/>
              <a:gd name="T110" fmla="*/ 85 w 144"/>
              <a:gd name="T111" fmla="*/ 14 h 170"/>
              <a:gd name="T112" fmla="*/ 95 w 144"/>
              <a:gd name="T113" fmla="*/ 53 h 170"/>
              <a:gd name="T114" fmla="*/ 93 w 144"/>
              <a:gd name="T115" fmla="*/ 55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4" h="170">
                <a:moveTo>
                  <a:pt x="140" y="140"/>
                </a:moveTo>
                <a:cubicBezTo>
                  <a:pt x="142" y="141"/>
                  <a:pt x="143" y="141"/>
                  <a:pt x="143" y="142"/>
                </a:cubicBezTo>
                <a:cubicBezTo>
                  <a:pt x="144" y="143"/>
                  <a:pt x="144" y="144"/>
                  <a:pt x="144" y="144"/>
                </a:cubicBezTo>
                <a:cubicBezTo>
                  <a:pt x="144" y="145"/>
                  <a:pt x="144" y="146"/>
                  <a:pt x="144" y="146"/>
                </a:cubicBezTo>
                <a:cubicBezTo>
                  <a:pt x="144" y="147"/>
                  <a:pt x="143" y="148"/>
                  <a:pt x="143" y="149"/>
                </a:cubicBezTo>
                <a:cubicBezTo>
                  <a:pt x="142" y="149"/>
                  <a:pt x="141" y="150"/>
                  <a:pt x="140" y="150"/>
                </a:cubicBezTo>
                <a:cubicBezTo>
                  <a:pt x="140" y="151"/>
                  <a:pt x="139" y="152"/>
                  <a:pt x="138" y="152"/>
                </a:cubicBezTo>
                <a:cubicBezTo>
                  <a:pt x="136" y="153"/>
                  <a:pt x="135" y="153"/>
                  <a:pt x="135" y="154"/>
                </a:cubicBezTo>
                <a:cubicBezTo>
                  <a:pt x="134" y="154"/>
                  <a:pt x="133" y="155"/>
                  <a:pt x="132" y="155"/>
                </a:cubicBezTo>
                <a:cubicBezTo>
                  <a:pt x="130" y="156"/>
                  <a:pt x="130" y="156"/>
                  <a:pt x="129" y="156"/>
                </a:cubicBezTo>
                <a:cubicBezTo>
                  <a:pt x="127" y="158"/>
                  <a:pt x="124" y="159"/>
                  <a:pt x="121" y="162"/>
                </a:cubicBezTo>
                <a:cubicBezTo>
                  <a:pt x="118" y="164"/>
                  <a:pt x="116" y="166"/>
                  <a:pt x="114" y="168"/>
                </a:cubicBezTo>
                <a:cubicBezTo>
                  <a:pt x="113" y="169"/>
                  <a:pt x="111" y="169"/>
                  <a:pt x="107" y="170"/>
                </a:cubicBezTo>
                <a:cubicBezTo>
                  <a:pt x="104" y="170"/>
                  <a:pt x="101" y="169"/>
                  <a:pt x="99" y="168"/>
                </a:cubicBezTo>
                <a:cubicBezTo>
                  <a:pt x="98" y="168"/>
                  <a:pt x="97" y="167"/>
                  <a:pt x="96" y="166"/>
                </a:cubicBezTo>
                <a:cubicBezTo>
                  <a:pt x="95" y="165"/>
                  <a:pt x="95" y="164"/>
                  <a:pt x="95" y="164"/>
                </a:cubicBezTo>
                <a:cubicBezTo>
                  <a:pt x="94" y="163"/>
                  <a:pt x="94" y="162"/>
                  <a:pt x="93" y="162"/>
                </a:cubicBezTo>
                <a:cubicBezTo>
                  <a:pt x="91" y="161"/>
                  <a:pt x="90" y="161"/>
                  <a:pt x="88" y="161"/>
                </a:cubicBezTo>
                <a:cubicBezTo>
                  <a:pt x="85" y="161"/>
                  <a:pt x="81" y="161"/>
                  <a:pt x="76" y="161"/>
                </a:cubicBezTo>
                <a:cubicBezTo>
                  <a:pt x="75" y="161"/>
                  <a:pt x="73" y="161"/>
                  <a:pt x="70" y="161"/>
                </a:cubicBezTo>
                <a:cubicBezTo>
                  <a:pt x="68" y="161"/>
                  <a:pt x="66" y="161"/>
                  <a:pt x="65" y="161"/>
                </a:cubicBezTo>
                <a:cubicBezTo>
                  <a:pt x="62" y="161"/>
                  <a:pt x="60" y="162"/>
                  <a:pt x="57" y="163"/>
                </a:cubicBezTo>
                <a:cubicBezTo>
                  <a:pt x="55" y="163"/>
                  <a:pt x="53" y="164"/>
                  <a:pt x="52" y="165"/>
                </a:cubicBezTo>
                <a:cubicBezTo>
                  <a:pt x="51" y="166"/>
                  <a:pt x="50" y="167"/>
                  <a:pt x="48" y="168"/>
                </a:cubicBezTo>
                <a:cubicBezTo>
                  <a:pt x="47" y="169"/>
                  <a:pt x="45" y="169"/>
                  <a:pt x="43" y="169"/>
                </a:cubicBezTo>
                <a:cubicBezTo>
                  <a:pt x="41" y="169"/>
                  <a:pt x="38" y="168"/>
                  <a:pt x="33" y="166"/>
                </a:cubicBezTo>
                <a:cubicBezTo>
                  <a:pt x="27" y="164"/>
                  <a:pt x="23" y="163"/>
                  <a:pt x="19" y="162"/>
                </a:cubicBezTo>
                <a:cubicBezTo>
                  <a:pt x="18" y="162"/>
                  <a:pt x="16" y="162"/>
                  <a:pt x="14" y="161"/>
                </a:cubicBezTo>
                <a:cubicBezTo>
                  <a:pt x="12" y="161"/>
                  <a:pt x="10" y="161"/>
                  <a:pt x="9" y="160"/>
                </a:cubicBezTo>
                <a:cubicBezTo>
                  <a:pt x="8" y="160"/>
                  <a:pt x="7" y="160"/>
                  <a:pt x="6" y="160"/>
                </a:cubicBezTo>
                <a:cubicBezTo>
                  <a:pt x="4" y="159"/>
                  <a:pt x="3" y="159"/>
                  <a:pt x="2" y="158"/>
                </a:cubicBezTo>
                <a:cubicBezTo>
                  <a:pt x="2" y="158"/>
                  <a:pt x="1" y="157"/>
                  <a:pt x="1" y="156"/>
                </a:cubicBezTo>
                <a:cubicBezTo>
                  <a:pt x="0" y="155"/>
                  <a:pt x="0" y="153"/>
                  <a:pt x="1" y="150"/>
                </a:cubicBezTo>
                <a:cubicBezTo>
                  <a:pt x="3" y="147"/>
                  <a:pt x="3" y="146"/>
                  <a:pt x="3" y="145"/>
                </a:cubicBezTo>
                <a:cubicBezTo>
                  <a:pt x="3" y="144"/>
                  <a:pt x="3" y="143"/>
                  <a:pt x="3" y="141"/>
                </a:cubicBezTo>
                <a:cubicBezTo>
                  <a:pt x="2" y="140"/>
                  <a:pt x="2" y="138"/>
                  <a:pt x="2" y="137"/>
                </a:cubicBezTo>
                <a:cubicBezTo>
                  <a:pt x="2" y="136"/>
                  <a:pt x="1" y="135"/>
                  <a:pt x="1" y="134"/>
                </a:cubicBezTo>
                <a:cubicBezTo>
                  <a:pt x="1" y="132"/>
                  <a:pt x="2" y="132"/>
                  <a:pt x="2" y="131"/>
                </a:cubicBezTo>
                <a:cubicBezTo>
                  <a:pt x="3" y="130"/>
                  <a:pt x="5" y="130"/>
                  <a:pt x="8" y="130"/>
                </a:cubicBezTo>
                <a:cubicBezTo>
                  <a:pt x="11" y="130"/>
                  <a:pt x="12" y="129"/>
                  <a:pt x="13" y="129"/>
                </a:cubicBezTo>
                <a:cubicBezTo>
                  <a:pt x="15" y="127"/>
                  <a:pt x="17" y="126"/>
                  <a:pt x="17" y="125"/>
                </a:cubicBezTo>
                <a:cubicBezTo>
                  <a:pt x="18" y="124"/>
                  <a:pt x="19" y="123"/>
                  <a:pt x="19" y="120"/>
                </a:cubicBezTo>
                <a:cubicBezTo>
                  <a:pt x="20" y="125"/>
                  <a:pt x="19" y="128"/>
                  <a:pt x="16" y="130"/>
                </a:cubicBezTo>
                <a:cubicBezTo>
                  <a:pt x="14" y="132"/>
                  <a:pt x="11" y="132"/>
                  <a:pt x="8" y="132"/>
                </a:cubicBezTo>
                <a:cubicBezTo>
                  <a:pt x="6" y="132"/>
                  <a:pt x="4" y="132"/>
                  <a:pt x="4" y="133"/>
                </a:cubicBezTo>
                <a:cubicBezTo>
                  <a:pt x="3" y="134"/>
                  <a:pt x="3" y="136"/>
                  <a:pt x="4" y="138"/>
                </a:cubicBezTo>
                <a:cubicBezTo>
                  <a:pt x="4" y="139"/>
                  <a:pt x="5" y="139"/>
                  <a:pt x="5" y="140"/>
                </a:cubicBezTo>
                <a:cubicBezTo>
                  <a:pt x="5" y="141"/>
                  <a:pt x="6" y="141"/>
                  <a:pt x="6" y="142"/>
                </a:cubicBezTo>
                <a:cubicBezTo>
                  <a:pt x="6" y="142"/>
                  <a:pt x="6" y="143"/>
                  <a:pt x="6" y="143"/>
                </a:cubicBezTo>
                <a:cubicBezTo>
                  <a:pt x="6" y="144"/>
                  <a:pt x="6" y="145"/>
                  <a:pt x="6" y="145"/>
                </a:cubicBezTo>
                <a:cubicBezTo>
                  <a:pt x="6" y="146"/>
                  <a:pt x="6" y="148"/>
                  <a:pt x="5" y="150"/>
                </a:cubicBezTo>
                <a:cubicBezTo>
                  <a:pt x="4" y="152"/>
                  <a:pt x="3" y="154"/>
                  <a:pt x="3" y="155"/>
                </a:cubicBezTo>
                <a:cubicBezTo>
                  <a:pt x="3" y="156"/>
                  <a:pt x="5" y="156"/>
                  <a:pt x="7" y="157"/>
                </a:cubicBezTo>
                <a:cubicBezTo>
                  <a:pt x="8" y="157"/>
                  <a:pt x="11" y="158"/>
                  <a:pt x="15" y="159"/>
                </a:cubicBezTo>
                <a:cubicBezTo>
                  <a:pt x="19" y="160"/>
                  <a:pt x="22" y="160"/>
                  <a:pt x="24" y="161"/>
                </a:cubicBezTo>
                <a:cubicBezTo>
                  <a:pt x="26" y="161"/>
                  <a:pt x="28" y="162"/>
                  <a:pt x="31" y="163"/>
                </a:cubicBezTo>
                <a:cubicBezTo>
                  <a:pt x="34" y="164"/>
                  <a:pt x="37" y="164"/>
                  <a:pt x="39" y="165"/>
                </a:cubicBezTo>
                <a:cubicBezTo>
                  <a:pt x="41" y="165"/>
                  <a:pt x="43" y="165"/>
                  <a:pt x="44" y="165"/>
                </a:cubicBezTo>
                <a:cubicBezTo>
                  <a:pt x="47" y="165"/>
                  <a:pt x="49" y="164"/>
                  <a:pt x="50" y="163"/>
                </a:cubicBezTo>
                <a:cubicBezTo>
                  <a:pt x="52" y="161"/>
                  <a:pt x="52" y="160"/>
                  <a:pt x="52" y="158"/>
                </a:cubicBezTo>
                <a:cubicBezTo>
                  <a:pt x="53" y="156"/>
                  <a:pt x="52" y="155"/>
                  <a:pt x="52" y="153"/>
                </a:cubicBezTo>
                <a:cubicBezTo>
                  <a:pt x="51" y="151"/>
                  <a:pt x="51" y="149"/>
                  <a:pt x="50" y="148"/>
                </a:cubicBezTo>
                <a:cubicBezTo>
                  <a:pt x="49" y="146"/>
                  <a:pt x="49" y="145"/>
                  <a:pt x="48" y="144"/>
                </a:cubicBezTo>
                <a:cubicBezTo>
                  <a:pt x="40" y="132"/>
                  <a:pt x="35" y="125"/>
                  <a:pt x="32" y="121"/>
                </a:cubicBezTo>
                <a:cubicBezTo>
                  <a:pt x="28" y="117"/>
                  <a:pt x="24" y="115"/>
                  <a:pt x="21" y="118"/>
                </a:cubicBezTo>
                <a:cubicBezTo>
                  <a:pt x="21" y="118"/>
                  <a:pt x="20" y="118"/>
                  <a:pt x="20" y="116"/>
                </a:cubicBezTo>
                <a:cubicBezTo>
                  <a:pt x="20" y="115"/>
                  <a:pt x="20" y="114"/>
                  <a:pt x="20" y="113"/>
                </a:cubicBezTo>
                <a:cubicBezTo>
                  <a:pt x="20" y="111"/>
                  <a:pt x="20" y="109"/>
                  <a:pt x="21" y="108"/>
                </a:cubicBezTo>
                <a:cubicBezTo>
                  <a:pt x="21" y="106"/>
                  <a:pt x="22" y="105"/>
                  <a:pt x="23" y="103"/>
                </a:cubicBezTo>
                <a:cubicBezTo>
                  <a:pt x="24" y="102"/>
                  <a:pt x="25" y="100"/>
                  <a:pt x="25" y="99"/>
                </a:cubicBezTo>
                <a:cubicBezTo>
                  <a:pt x="26" y="98"/>
                  <a:pt x="26" y="96"/>
                  <a:pt x="28" y="92"/>
                </a:cubicBezTo>
                <a:cubicBezTo>
                  <a:pt x="29" y="89"/>
                  <a:pt x="30" y="87"/>
                  <a:pt x="30" y="85"/>
                </a:cubicBezTo>
                <a:cubicBezTo>
                  <a:pt x="31" y="83"/>
                  <a:pt x="32" y="81"/>
                  <a:pt x="33" y="79"/>
                </a:cubicBezTo>
                <a:cubicBezTo>
                  <a:pt x="34" y="77"/>
                  <a:pt x="36" y="75"/>
                  <a:pt x="37" y="74"/>
                </a:cubicBezTo>
                <a:cubicBezTo>
                  <a:pt x="44" y="65"/>
                  <a:pt x="48" y="59"/>
                  <a:pt x="49" y="56"/>
                </a:cubicBezTo>
                <a:cubicBezTo>
                  <a:pt x="48" y="49"/>
                  <a:pt x="47" y="39"/>
                  <a:pt x="47" y="26"/>
                </a:cubicBezTo>
                <a:cubicBezTo>
                  <a:pt x="47" y="21"/>
                  <a:pt x="48" y="16"/>
                  <a:pt x="49" y="12"/>
                </a:cubicBezTo>
                <a:cubicBezTo>
                  <a:pt x="51" y="8"/>
                  <a:pt x="54" y="5"/>
                  <a:pt x="59" y="2"/>
                </a:cubicBezTo>
                <a:cubicBezTo>
                  <a:pt x="62" y="1"/>
                  <a:pt x="65" y="0"/>
                  <a:pt x="69" y="0"/>
                </a:cubicBezTo>
                <a:cubicBezTo>
                  <a:pt x="73" y="0"/>
                  <a:pt x="76" y="1"/>
                  <a:pt x="79" y="1"/>
                </a:cubicBezTo>
                <a:cubicBezTo>
                  <a:pt x="83" y="2"/>
                  <a:pt x="85" y="4"/>
                  <a:pt x="88" y="5"/>
                </a:cubicBezTo>
                <a:cubicBezTo>
                  <a:pt x="91" y="8"/>
                  <a:pt x="94" y="12"/>
                  <a:pt x="96" y="17"/>
                </a:cubicBezTo>
                <a:cubicBezTo>
                  <a:pt x="99" y="22"/>
                  <a:pt x="99" y="27"/>
                  <a:pt x="99" y="31"/>
                </a:cubicBezTo>
                <a:cubicBezTo>
                  <a:pt x="99" y="37"/>
                  <a:pt x="100" y="44"/>
                  <a:pt x="102" y="51"/>
                </a:cubicBezTo>
                <a:cubicBezTo>
                  <a:pt x="104" y="58"/>
                  <a:pt x="108" y="65"/>
                  <a:pt x="115" y="72"/>
                </a:cubicBezTo>
                <a:cubicBezTo>
                  <a:pt x="118" y="75"/>
                  <a:pt x="121" y="81"/>
                  <a:pt x="124" y="87"/>
                </a:cubicBezTo>
                <a:cubicBezTo>
                  <a:pt x="127" y="94"/>
                  <a:pt x="129" y="100"/>
                  <a:pt x="130" y="105"/>
                </a:cubicBezTo>
                <a:cubicBezTo>
                  <a:pt x="130" y="108"/>
                  <a:pt x="130" y="111"/>
                  <a:pt x="130" y="113"/>
                </a:cubicBezTo>
                <a:cubicBezTo>
                  <a:pt x="130" y="115"/>
                  <a:pt x="129" y="117"/>
                  <a:pt x="129" y="118"/>
                </a:cubicBezTo>
                <a:cubicBezTo>
                  <a:pt x="128" y="120"/>
                  <a:pt x="128" y="120"/>
                  <a:pt x="127" y="120"/>
                </a:cubicBezTo>
                <a:cubicBezTo>
                  <a:pt x="126" y="121"/>
                  <a:pt x="126" y="121"/>
                  <a:pt x="125" y="122"/>
                </a:cubicBezTo>
                <a:cubicBezTo>
                  <a:pt x="124" y="123"/>
                  <a:pt x="123" y="124"/>
                  <a:pt x="122" y="126"/>
                </a:cubicBezTo>
                <a:cubicBezTo>
                  <a:pt x="121" y="127"/>
                  <a:pt x="120" y="128"/>
                  <a:pt x="118" y="129"/>
                </a:cubicBezTo>
                <a:cubicBezTo>
                  <a:pt x="117" y="130"/>
                  <a:pt x="115" y="130"/>
                  <a:pt x="113" y="130"/>
                </a:cubicBezTo>
                <a:cubicBezTo>
                  <a:pt x="112" y="130"/>
                  <a:pt x="111" y="130"/>
                  <a:pt x="110" y="130"/>
                </a:cubicBezTo>
                <a:cubicBezTo>
                  <a:pt x="109" y="129"/>
                  <a:pt x="108" y="129"/>
                  <a:pt x="108" y="128"/>
                </a:cubicBezTo>
                <a:cubicBezTo>
                  <a:pt x="107" y="128"/>
                  <a:pt x="107" y="127"/>
                  <a:pt x="106" y="127"/>
                </a:cubicBezTo>
                <a:cubicBezTo>
                  <a:pt x="106" y="127"/>
                  <a:pt x="106" y="126"/>
                  <a:pt x="105" y="125"/>
                </a:cubicBezTo>
                <a:cubicBezTo>
                  <a:pt x="105" y="124"/>
                  <a:pt x="104" y="123"/>
                  <a:pt x="104" y="123"/>
                </a:cubicBezTo>
                <a:cubicBezTo>
                  <a:pt x="103" y="121"/>
                  <a:pt x="102" y="120"/>
                  <a:pt x="100" y="120"/>
                </a:cubicBezTo>
                <a:cubicBezTo>
                  <a:pt x="99" y="121"/>
                  <a:pt x="98" y="122"/>
                  <a:pt x="98" y="125"/>
                </a:cubicBezTo>
                <a:cubicBezTo>
                  <a:pt x="97" y="128"/>
                  <a:pt x="97" y="131"/>
                  <a:pt x="98" y="134"/>
                </a:cubicBezTo>
                <a:cubicBezTo>
                  <a:pt x="100" y="139"/>
                  <a:pt x="100" y="145"/>
                  <a:pt x="99" y="153"/>
                </a:cubicBezTo>
                <a:cubicBezTo>
                  <a:pt x="98" y="157"/>
                  <a:pt x="99" y="160"/>
                  <a:pt x="100" y="162"/>
                </a:cubicBezTo>
                <a:cubicBezTo>
                  <a:pt x="102" y="164"/>
                  <a:pt x="104" y="165"/>
                  <a:pt x="107" y="165"/>
                </a:cubicBezTo>
                <a:cubicBezTo>
                  <a:pt x="110" y="165"/>
                  <a:pt x="113" y="164"/>
                  <a:pt x="115" y="162"/>
                </a:cubicBezTo>
                <a:cubicBezTo>
                  <a:pt x="119" y="159"/>
                  <a:pt x="122" y="157"/>
                  <a:pt x="124" y="156"/>
                </a:cubicBezTo>
                <a:cubicBezTo>
                  <a:pt x="126" y="154"/>
                  <a:pt x="129" y="153"/>
                  <a:pt x="133" y="151"/>
                </a:cubicBezTo>
                <a:cubicBezTo>
                  <a:pt x="137" y="150"/>
                  <a:pt x="139" y="149"/>
                  <a:pt x="141" y="148"/>
                </a:cubicBezTo>
                <a:cubicBezTo>
                  <a:pt x="142" y="147"/>
                  <a:pt x="143" y="146"/>
                  <a:pt x="142" y="145"/>
                </a:cubicBezTo>
                <a:cubicBezTo>
                  <a:pt x="142" y="144"/>
                  <a:pt x="141" y="143"/>
                  <a:pt x="140" y="142"/>
                </a:cubicBezTo>
                <a:cubicBezTo>
                  <a:pt x="139" y="141"/>
                  <a:pt x="137" y="141"/>
                  <a:pt x="135" y="140"/>
                </a:cubicBezTo>
                <a:cubicBezTo>
                  <a:pt x="133" y="139"/>
                  <a:pt x="132" y="138"/>
                  <a:pt x="131" y="135"/>
                </a:cubicBezTo>
                <a:cubicBezTo>
                  <a:pt x="130" y="133"/>
                  <a:pt x="129" y="131"/>
                  <a:pt x="129" y="128"/>
                </a:cubicBezTo>
                <a:cubicBezTo>
                  <a:pt x="129" y="126"/>
                  <a:pt x="130" y="125"/>
                  <a:pt x="131" y="124"/>
                </a:cubicBezTo>
                <a:cubicBezTo>
                  <a:pt x="131" y="126"/>
                  <a:pt x="131" y="128"/>
                  <a:pt x="131" y="129"/>
                </a:cubicBezTo>
                <a:cubicBezTo>
                  <a:pt x="132" y="131"/>
                  <a:pt x="132" y="132"/>
                  <a:pt x="133" y="133"/>
                </a:cubicBezTo>
                <a:cubicBezTo>
                  <a:pt x="133" y="134"/>
                  <a:pt x="134" y="135"/>
                  <a:pt x="135" y="136"/>
                </a:cubicBezTo>
                <a:cubicBezTo>
                  <a:pt x="136" y="137"/>
                  <a:pt x="136" y="137"/>
                  <a:pt x="137" y="138"/>
                </a:cubicBezTo>
                <a:cubicBezTo>
                  <a:pt x="137" y="138"/>
                  <a:pt x="138" y="138"/>
                  <a:pt x="139" y="139"/>
                </a:cubicBezTo>
                <a:cubicBezTo>
                  <a:pt x="140" y="139"/>
                  <a:pt x="140" y="140"/>
                  <a:pt x="140" y="140"/>
                </a:cubicBezTo>
                <a:close/>
                <a:moveTo>
                  <a:pt x="118" y="115"/>
                </a:moveTo>
                <a:cubicBezTo>
                  <a:pt x="118" y="114"/>
                  <a:pt x="117" y="112"/>
                  <a:pt x="113" y="111"/>
                </a:cubicBezTo>
                <a:cubicBezTo>
                  <a:pt x="113" y="110"/>
                  <a:pt x="114" y="109"/>
                  <a:pt x="114" y="108"/>
                </a:cubicBezTo>
                <a:cubicBezTo>
                  <a:pt x="114" y="107"/>
                  <a:pt x="114" y="107"/>
                  <a:pt x="114" y="106"/>
                </a:cubicBezTo>
                <a:cubicBezTo>
                  <a:pt x="114" y="105"/>
                  <a:pt x="115" y="104"/>
                  <a:pt x="115" y="104"/>
                </a:cubicBezTo>
                <a:cubicBezTo>
                  <a:pt x="115" y="103"/>
                  <a:pt x="115" y="102"/>
                  <a:pt x="115" y="102"/>
                </a:cubicBezTo>
                <a:cubicBezTo>
                  <a:pt x="115" y="101"/>
                  <a:pt x="115" y="100"/>
                  <a:pt x="115" y="100"/>
                </a:cubicBezTo>
                <a:cubicBezTo>
                  <a:pt x="115" y="99"/>
                  <a:pt x="114" y="99"/>
                  <a:pt x="114" y="98"/>
                </a:cubicBezTo>
                <a:cubicBezTo>
                  <a:pt x="114" y="97"/>
                  <a:pt x="114" y="96"/>
                  <a:pt x="114" y="96"/>
                </a:cubicBezTo>
                <a:cubicBezTo>
                  <a:pt x="114" y="95"/>
                  <a:pt x="114" y="95"/>
                  <a:pt x="113" y="93"/>
                </a:cubicBezTo>
                <a:cubicBezTo>
                  <a:pt x="113" y="92"/>
                  <a:pt x="113" y="91"/>
                  <a:pt x="113" y="91"/>
                </a:cubicBezTo>
                <a:cubicBezTo>
                  <a:pt x="112" y="88"/>
                  <a:pt x="111" y="85"/>
                  <a:pt x="108" y="81"/>
                </a:cubicBezTo>
                <a:cubicBezTo>
                  <a:pt x="106" y="78"/>
                  <a:pt x="104" y="75"/>
                  <a:pt x="102" y="74"/>
                </a:cubicBezTo>
                <a:cubicBezTo>
                  <a:pt x="103" y="75"/>
                  <a:pt x="105" y="78"/>
                  <a:pt x="107" y="82"/>
                </a:cubicBezTo>
                <a:cubicBezTo>
                  <a:pt x="112" y="92"/>
                  <a:pt x="114" y="101"/>
                  <a:pt x="112" y="108"/>
                </a:cubicBezTo>
                <a:cubicBezTo>
                  <a:pt x="111" y="111"/>
                  <a:pt x="110" y="112"/>
                  <a:pt x="107" y="112"/>
                </a:cubicBezTo>
                <a:cubicBezTo>
                  <a:pt x="105" y="112"/>
                  <a:pt x="104" y="112"/>
                  <a:pt x="104" y="110"/>
                </a:cubicBezTo>
                <a:cubicBezTo>
                  <a:pt x="103" y="109"/>
                  <a:pt x="103" y="106"/>
                  <a:pt x="103" y="102"/>
                </a:cubicBezTo>
                <a:cubicBezTo>
                  <a:pt x="103" y="99"/>
                  <a:pt x="103" y="95"/>
                  <a:pt x="102" y="92"/>
                </a:cubicBezTo>
                <a:cubicBezTo>
                  <a:pt x="101" y="90"/>
                  <a:pt x="101" y="88"/>
                  <a:pt x="100" y="86"/>
                </a:cubicBezTo>
                <a:cubicBezTo>
                  <a:pt x="99" y="84"/>
                  <a:pt x="99" y="82"/>
                  <a:pt x="98" y="81"/>
                </a:cubicBezTo>
                <a:cubicBezTo>
                  <a:pt x="98" y="80"/>
                  <a:pt x="97" y="80"/>
                  <a:pt x="97" y="79"/>
                </a:cubicBezTo>
                <a:cubicBezTo>
                  <a:pt x="96" y="79"/>
                  <a:pt x="96" y="78"/>
                  <a:pt x="96" y="78"/>
                </a:cubicBezTo>
                <a:cubicBezTo>
                  <a:pt x="95" y="77"/>
                  <a:pt x="95" y="77"/>
                  <a:pt x="95" y="77"/>
                </a:cubicBezTo>
                <a:cubicBezTo>
                  <a:pt x="94" y="73"/>
                  <a:pt x="93" y="70"/>
                  <a:pt x="92" y="67"/>
                </a:cubicBezTo>
                <a:cubicBezTo>
                  <a:pt x="91" y="65"/>
                  <a:pt x="90" y="63"/>
                  <a:pt x="89" y="62"/>
                </a:cubicBezTo>
                <a:cubicBezTo>
                  <a:pt x="88" y="61"/>
                  <a:pt x="88" y="60"/>
                  <a:pt x="87" y="59"/>
                </a:cubicBezTo>
                <a:cubicBezTo>
                  <a:pt x="86" y="58"/>
                  <a:pt x="86" y="57"/>
                  <a:pt x="85" y="55"/>
                </a:cubicBezTo>
                <a:cubicBezTo>
                  <a:pt x="85" y="54"/>
                  <a:pt x="85" y="52"/>
                  <a:pt x="86" y="50"/>
                </a:cubicBezTo>
                <a:cubicBezTo>
                  <a:pt x="87" y="48"/>
                  <a:pt x="87" y="46"/>
                  <a:pt x="86" y="45"/>
                </a:cubicBezTo>
                <a:cubicBezTo>
                  <a:pt x="86" y="44"/>
                  <a:pt x="85" y="44"/>
                  <a:pt x="82" y="43"/>
                </a:cubicBezTo>
                <a:cubicBezTo>
                  <a:pt x="81" y="43"/>
                  <a:pt x="80" y="42"/>
                  <a:pt x="78" y="41"/>
                </a:cubicBezTo>
                <a:cubicBezTo>
                  <a:pt x="76" y="40"/>
                  <a:pt x="75" y="40"/>
                  <a:pt x="75" y="40"/>
                </a:cubicBezTo>
                <a:cubicBezTo>
                  <a:pt x="74" y="40"/>
                  <a:pt x="74" y="39"/>
                  <a:pt x="74" y="37"/>
                </a:cubicBezTo>
                <a:cubicBezTo>
                  <a:pt x="73" y="36"/>
                  <a:pt x="74" y="34"/>
                  <a:pt x="74" y="33"/>
                </a:cubicBezTo>
                <a:cubicBezTo>
                  <a:pt x="75" y="31"/>
                  <a:pt x="76" y="30"/>
                  <a:pt x="78" y="30"/>
                </a:cubicBezTo>
                <a:cubicBezTo>
                  <a:pt x="80" y="30"/>
                  <a:pt x="82" y="31"/>
                  <a:pt x="83" y="33"/>
                </a:cubicBezTo>
                <a:cubicBezTo>
                  <a:pt x="83" y="35"/>
                  <a:pt x="84" y="37"/>
                  <a:pt x="83" y="38"/>
                </a:cubicBezTo>
                <a:cubicBezTo>
                  <a:pt x="82" y="40"/>
                  <a:pt x="82" y="40"/>
                  <a:pt x="83" y="41"/>
                </a:cubicBezTo>
                <a:cubicBezTo>
                  <a:pt x="83" y="41"/>
                  <a:pt x="84" y="41"/>
                  <a:pt x="86" y="41"/>
                </a:cubicBezTo>
                <a:cubicBezTo>
                  <a:pt x="86" y="41"/>
                  <a:pt x="87" y="39"/>
                  <a:pt x="87" y="37"/>
                </a:cubicBezTo>
                <a:cubicBezTo>
                  <a:pt x="87" y="35"/>
                  <a:pt x="87" y="34"/>
                  <a:pt x="87" y="34"/>
                </a:cubicBezTo>
                <a:cubicBezTo>
                  <a:pt x="87" y="32"/>
                  <a:pt x="86" y="30"/>
                  <a:pt x="86" y="29"/>
                </a:cubicBezTo>
                <a:cubicBezTo>
                  <a:pt x="85" y="28"/>
                  <a:pt x="84" y="27"/>
                  <a:pt x="84" y="26"/>
                </a:cubicBezTo>
                <a:cubicBezTo>
                  <a:pt x="83" y="26"/>
                  <a:pt x="82" y="25"/>
                  <a:pt x="81" y="25"/>
                </a:cubicBezTo>
                <a:cubicBezTo>
                  <a:pt x="81" y="25"/>
                  <a:pt x="80" y="24"/>
                  <a:pt x="79" y="24"/>
                </a:cubicBezTo>
                <a:cubicBezTo>
                  <a:pt x="72" y="25"/>
                  <a:pt x="69" y="29"/>
                  <a:pt x="70" y="37"/>
                </a:cubicBezTo>
                <a:cubicBezTo>
                  <a:pt x="70" y="38"/>
                  <a:pt x="70" y="38"/>
                  <a:pt x="70" y="38"/>
                </a:cubicBezTo>
                <a:cubicBezTo>
                  <a:pt x="70" y="38"/>
                  <a:pt x="69" y="37"/>
                  <a:pt x="68" y="37"/>
                </a:cubicBezTo>
                <a:cubicBezTo>
                  <a:pt x="66" y="37"/>
                  <a:pt x="65" y="37"/>
                  <a:pt x="64" y="37"/>
                </a:cubicBezTo>
                <a:cubicBezTo>
                  <a:pt x="64" y="37"/>
                  <a:pt x="63" y="37"/>
                  <a:pt x="63" y="37"/>
                </a:cubicBezTo>
                <a:cubicBezTo>
                  <a:pt x="63" y="33"/>
                  <a:pt x="62" y="30"/>
                  <a:pt x="61" y="28"/>
                </a:cubicBezTo>
                <a:cubicBezTo>
                  <a:pt x="60" y="26"/>
                  <a:pt x="59" y="25"/>
                  <a:pt x="57" y="25"/>
                </a:cubicBezTo>
                <a:cubicBezTo>
                  <a:pt x="55" y="25"/>
                  <a:pt x="54" y="26"/>
                  <a:pt x="53" y="28"/>
                </a:cubicBezTo>
                <a:cubicBezTo>
                  <a:pt x="52" y="30"/>
                  <a:pt x="52" y="31"/>
                  <a:pt x="52" y="33"/>
                </a:cubicBezTo>
                <a:cubicBezTo>
                  <a:pt x="52" y="34"/>
                  <a:pt x="52" y="36"/>
                  <a:pt x="52" y="37"/>
                </a:cubicBezTo>
                <a:cubicBezTo>
                  <a:pt x="52" y="38"/>
                  <a:pt x="53" y="39"/>
                  <a:pt x="53" y="40"/>
                </a:cubicBezTo>
                <a:cubicBezTo>
                  <a:pt x="54" y="41"/>
                  <a:pt x="54" y="42"/>
                  <a:pt x="55" y="42"/>
                </a:cubicBezTo>
                <a:cubicBezTo>
                  <a:pt x="55" y="42"/>
                  <a:pt x="56" y="41"/>
                  <a:pt x="56" y="40"/>
                </a:cubicBezTo>
                <a:cubicBezTo>
                  <a:pt x="56" y="40"/>
                  <a:pt x="56" y="40"/>
                  <a:pt x="56" y="40"/>
                </a:cubicBezTo>
                <a:cubicBezTo>
                  <a:pt x="55" y="40"/>
                  <a:pt x="55" y="39"/>
                  <a:pt x="54" y="38"/>
                </a:cubicBezTo>
                <a:cubicBezTo>
                  <a:pt x="54" y="37"/>
                  <a:pt x="53" y="36"/>
                  <a:pt x="53" y="35"/>
                </a:cubicBezTo>
                <a:cubicBezTo>
                  <a:pt x="53" y="34"/>
                  <a:pt x="53" y="33"/>
                  <a:pt x="54" y="32"/>
                </a:cubicBezTo>
                <a:cubicBezTo>
                  <a:pt x="55" y="31"/>
                  <a:pt x="56" y="30"/>
                  <a:pt x="57" y="30"/>
                </a:cubicBezTo>
                <a:cubicBezTo>
                  <a:pt x="58" y="30"/>
                  <a:pt x="59" y="31"/>
                  <a:pt x="60" y="32"/>
                </a:cubicBezTo>
                <a:cubicBezTo>
                  <a:pt x="60" y="34"/>
                  <a:pt x="61" y="35"/>
                  <a:pt x="61" y="36"/>
                </a:cubicBezTo>
                <a:cubicBezTo>
                  <a:pt x="61" y="37"/>
                  <a:pt x="61" y="38"/>
                  <a:pt x="61" y="38"/>
                </a:cubicBezTo>
                <a:cubicBezTo>
                  <a:pt x="59" y="39"/>
                  <a:pt x="58" y="40"/>
                  <a:pt x="58" y="41"/>
                </a:cubicBezTo>
                <a:cubicBezTo>
                  <a:pt x="57" y="42"/>
                  <a:pt x="56" y="42"/>
                  <a:pt x="55" y="43"/>
                </a:cubicBezTo>
                <a:cubicBezTo>
                  <a:pt x="54" y="44"/>
                  <a:pt x="53" y="44"/>
                  <a:pt x="53" y="44"/>
                </a:cubicBezTo>
                <a:cubicBezTo>
                  <a:pt x="52" y="45"/>
                  <a:pt x="52" y="46"/>
                  <a:pt x="52" y="47"/>
                </a:cubicBezTo>
                <a:cubicBezTo>
                  <a:pt x="51" y="48"/>
                  <a:pt x="52" y="48"/>
                  <a:pt x="52" y="48"/>
                </a:cubicBezTo>
                <a:cubicBezTo>
                  <a:pt x="53" y="49"/>
                  <a:pt x="54" y="50"/>
                  <a:pt x="55" y="50"/>
                </a:cubicBezTo>
                <a:cubicBezTo>
                  <a:pt x="55" y="51"/>
                  <a:pt x="56" y="52"/>
                  <a:pt x="56" y="52"/>
                </a:cubicBezTo>
                <a:cubicBezTo>
                  <a:pt x="57" y="53"/>
                  <a:pt x="57" y="53"/>
                  <a:pt x="58" y="53"/>
                </a:cubicBezTo>
                <a:cubicBezTo>
                  <a:pt x="59" y="54"/>
                  <a:pt x="60" y="54"/>
                  <a:pt x="61" y="54"/>
                </a:cubicBezTo>
                <a:cubicBezTo>
                  <a:pt x="64" y="54"/>
                  <a:pt x="68" y="54"/>
                  <a:pt x="71" y="52"/>
                </a:cubicBezTo>
                <a:cubicBezTo>
                  <a:pt x="71" y="52"/>
                  <a:pt x="72" y="52"/>
                  <a:pt x="73" y="52"/>
                </a:cubicBezTo>
                <a:cubicBezTo>
                  <a:pt x="74" y="51"/>
                  <a:pt x="76" y="51"/>
                  <a:pt x="76" y="51"/>
                </a:cubicBezTo>
                <a:cubicBezTo>
                  <a:pt x="77" y="51"/>
                  <a:pt x="78" y="50"/>
                  <a:pt x="79" y="50"/>
                </a:cubicBezTo>
                <a:cubicBezTo>
                  <a:pt x="80" y="49"/>
                  <a:pt x="81" y="49"/>
                  <a:pt x="81" y="48"/>
                </a:cubicBezTo>
                <a:cubicBezTo>
                  <a:pt x="82" y="47"/>
                  <a:pt x="82" y="47"/>
                  <a:pt x="83" y="47"/>
                </a:cubicBezTo>
                <a:cubicBezTo>
                  <a:pt x="83" y="47"/>
                  <a:pt x="84" y="48"/>
                  <a:pt x="84" y="48"/>
                </a:cubicBezTo>
                <a:cubicBezTo>
                  <a:pt x="84" y="48"/>
                  <a:pt x="84" y="49"/>
                  <a:pt x="83" y="49"/>
                </a:cubicBezTo>
                <a:cubicBezTo>
                  <a:pt x="83" y="50"/>
                  <a:pt x="83" y="50"/>
                  <a:pt x="82" y="50"/>
                </a:cubicBezTo>
                <a:cubicBezTo>
                  <a:pt x="81" y="50"/>
                  <a:pt x="79" y="51"/>
                  <a:pt x="76" y="52"/>
                </a:cubicBezTo>
                <a:cubicBezTo>
                  <a:pt x="74" y="53"/>
                  <a:pt x="73" y="54"/>
                  <a:pt x="72" y="54"/>
                </a:cubicBezTo>
                <a:cubicBezTo>
                  <a:pt x="69" y="55"/>
                  <a:pt x="67" y="56"/>
                  <a:pt x="66" y="56"/>
                </a:cubicBezTo>
                <a:cubicBezTo>
                  <a:pt x="64" y="56"/>
                  <a:pt x="62" y="56"/>
                  <a:pt x="58" y="56"/>
                </a:cubicBezTo>
                <a:cubicBezTo>
                  <a:pt x="57" y="56"/>
                  <a:pt x="57" y="56"/>
                  <a:pt x="57" y="56"/>
                </a:cubicBezTo>
                <a:cubicBezTo>
                  <a:pt x="57" y="56"/>
                  <a:pt x="58" y="57"/>
                  <a:pt x="59" y="58"/>
                </a:cubicBezTo>
                <a:cubicBezTo>
                  <a:pt x="60" y="59"/>
                  <a:pt x="63" y="60"/>
                  <a:pt x="65" y="60"/>
                </a:cubicBezTo>
                <a:cubicBezTo>
                  <a:pt x="66" y="60"/>
                  <a:pt x="67" y="60"/>
                  <a:pt x="69" y="59"/>
                </a:cubicBezTo>
                <a:cubicBezTo>
                  <a:pt x="70" y="59"/>
                  <a:pt x="71" y="58"/>
                  <a:pt x="72" y="58"/>
                </a:cubicBezTo>
                <a:cubicBezTo>
                  <a:pt x="73" y="57"/>
                  <a:pt x="74" y="57"/>
                  <a:pt x="75" y="56"/>
                </a:cubicBezTo>
                <a:cubicBezTo>
                  <a:pt x="76" y="56"/>
                  <a:pt x="77" y="55"/>
                  <a:pt x="78" y="55"/>
                </a:cubicBezTo>
                <a:cubicBezTo>
                  <a:pt x="79" y="54"/>
                  <a:pt x="80" y="54"/>
                  <a:pt x="80" y="54"/>
                </a:cubicBezTo>
                <a:cubicBezTo>
                  <a:pt x="81" y="53"/>
                  <a:pt x="82" y="53"/>
                  <a:pt x="82" y="53"/>
                </a:cubicBezTo>
                <a:cubicBezTo>
                  <a:pt x="82" y="53"/>
                  <a:pt x="83" y="54"/>
                  <a:pt x="83" y="54"/>
                </a:cubicBezTo>
                <a:cubicBezTo>
                  <a:pt x="83" y="55"/>
                  <a:pt x="83" y="55"/>
                  <a:pt x="83" y="55"/>
                </a:cubicBezTo>
                <a:cubicBezTo>
                  <a:pt x="83" y="55"/>
                  <a:pt x="82" y="55"/>
                  <a:pt x="82" y="55"/>
                </a:cubicBezTo>
                <a:cubicBezTo>
                  <a:pt x="82" y="55"/>
                  <a:pt x="82" y="56"/>
                  <a:pt x="82" y="56"/>
                </a:cubicBezTo>
                <a:cubicBezTo>
                  <a:pt x="82" y="56"/>
                  <a:pt x="81" y="56"/>
                  <a:pt x="81" y="56"/>
                </a:cubicBezTo>
                <a:cubicBezTo>
                  <a:pt x="81" y="56"/>
                  <a:pt x="80" y="57"/>
                  <a:pt x="80" y="57"/>
                </a:cubicBezTo>
                <a:cubicBezTo>
                  <a:pt x="80" y="57"/>
                  <a:pt x="80" y="57"/>
                  <a:pt x="79" y="57"/>
                </a:cubicBezTo>
                <a:cubicBezTo>
                  <a:pt x="79" y="57"/>
                  <a:pt x="78" y="57"/>
                  <a:pt x="78" y="58"/>
                </a:cubicBezTo>
                <a:cubicBezTo>
                  <a:pt x="76" y="58"/>
                  <a:pt x="74" y="60"/>
                  <a:pt x="72" y="62"/>
                </a:cubicBezTo>
                <a:cubicBezTo>
                  <a:pt x="69" y="64"/>
                  <a:pt x="67" y="65"/>
                  <a:pt x="66" y="66"/>
                </a:cubicBezTo>
                <a:cubicBezTo>
                  <a:pt x="64" y="67"/>
                  <a:pt x="62" y="67"/>
                  <a:pt x="61" y="66"/>
                </a:cubicBezTo>
                <a:cubicBezTo>
                  <a:pt x="60" y="65"/>
                  <a:pt x="58" y="63"/>
                  <a:pt x="55" y="59"/>
                </a:cubicBezTo>
                <a:cubicBezTo>
                  <a:pt x="54" y="57"/>
                  <a:pt x="53" y="56"/>
                  <a:pt x="53" y="57"/>
                </a:cubicBezTo>
                <a:cubicBezTo>
                  <a:pt x="53" y="57"/>
                  <a:pt x="53" y="57"/>
                  <a:pt x="53" y="58"/>
                </a:cubicBezTo>
                <a:cubicBezTo>
                  <a:pt x="53" y="59"/>
                  <a:pt x="52" y="61"/>
                  <a:pt x="51" y="63"/>
                </a:cubicBezTo>
                <a:cubicBezTo>
                  <a:pt x="50" y="65"/>
                  <a:pt x="49" y="67"/>
                  <a:pt x="48" y="68"/>
                </a:cubicBezTo>
                <a:cubicBezTo>
                  <a:pt x="47" y="70"/>
                  <a:pt x="47" y="72"/>
                  <a:pt x="46" y="74"/>
                </a:cubicBezTo>
                <a:cubicBezTo>
                  <a:pt x="46" y="76"/>
                  <a:pt x="46" y="78"/>
                  <a:pt x="47" y="80"/>
                </a:cubicBezTo>
                <a:cubicBezTo>
                  <a:pt x="46" y="80"/>
                  <a:pt x="44" y="83"/>
                  <a:pt x="42" y="88"/>
                </a:cubicBezTo>
                <a:cubicBezTo>
                  <a:pt x="39" y="94"/>
                  <a:pt x="38" y="98"/>
                  <a:pt x="37" y="102"/>
                </a:cubicBezTo>
                <a:cubicBezTo>
                  <a:pt x="37" y="103"/>
                  <a:pt x="37" y="105"/>
                  <a:pt x="37" y="108"/>
                </a:cubicBezTo>
                <a:cubicBezTo>
                  <a:pt x="37" y="111"/>
                  <a:pt x="37" y="113"/>
                  <a:pt x="36" y="114"/>
                </a:cubicBezTo>
                <a:cubicBezTo>
                  <a:pt x="36" y="115"/>
                  <a:pt x="35" y="115"/>
                  <a:pt x="34" y="114"/>
                </a:cubicBezTo>
                <a:cubicBezTo>
                  <a:pt x="32" y="112"/>
                  <a:pt x="30" y="109"/>
                  <a:pt x="30" y="105"/>
                </a:cubicBezTo>
                <a:cubicBezTo>
                  <a:pt x="30" y="103"/>
                  <a:pt x="30" y="102"/>
                  <a:pt x="31" y="100"/>
                </a:cubicBezTo>
                <a:cubicBezTo>
                  <a:pt x="31" y="99"/>
                  <a:pt x="31" y="98"/>
                  <a:pt x="30" y="98"/>
                </a:cubicBezTo>
                <a:cubicBezTo>
                  <a:pt x="30" y="99"/>
                  <a:pt x="30" y="99"/>
                  <a:pt x="30" y="99"/>
                </a:cubicBezTo>
                <a:cubicBezTo>
                  <a:pt x="28" y="103"/>
                  <a:pt x="28" y="108"/>
                  <a:pt x="31" y="114"/>
                </a:cubicBezTo>
                <a:cubicBezTo>
                  <a:pt x="31" y="115"/>
                  <a:pt x="32" y="116"/>
                  <a:pt x="33" y="117"/>
                </a:cubicBezTo>
                <a:cubicBezTo>
                  <a:pt x="35" y="118"/>
                  <a:pt x="35" y="119"/>
                  <a:pt x="36" y="119"/>
                </a:cubicBezTo>
                <a:cubicBezTo>
                  <a:pt x="37" y="120"/>
                  <a:pt x="40" y="123"/>
                  <a:pt x="46" y="127"/>
                </a:cubicBezTo>
                <a:cubicBezTo>
                  <a:pt x="51" y="132"/>
                  <a:pt x="54" y="134"/>
                  <a:pt x="54" y="135"/>
                </a:cubicBezTo>
                <a:cubicBezTo>
                  <a:pt x="55" y="136"/>
                  <a:pt x="56" y="137"/>
                  <a:pt x="56" y="138"/>
                </a:cubicBezTo>
                <a:cubicBezTo>
                  <a:pt x="56" y="140"/>
                  <a:pt x="56" y="141"/>
                  <a:pt x="55" y="142"/>
                </a:cubicBezTo>
                <a:cubicBezTo>
                  <a:pt x="54" y="144"/>
                  <a:pt x="52" y="144"/>
                  <a:pt x="50" y="144"/>
                </a:cubicBezTo>
                <a:cubicBezTo>
                  <a:pt x="51" y="145"/>
                  <a:pt x="52" y="147"/>
                  <a:pt x="53" y="149"/>
                </a:cubicBezTo>
                <a:cubicBezTo>
                  <a:pt x="54" y="151"/>
                  <a:pt x="55" y="152"/>
                  <a:pt x="56" y="154"/>
                </a:cubicBezTo>
                <a:cubicBezTo>
                  <a:pt x="56" y="155"/>
                  <a:pt x="56" y="158"/>
                  <a:pt x="56" y="160"/>
                </a:cubicBezTo>
                <a:cubicBezTo>
                  <a:pt x="59" y="159"/>
                  <a:pt x="60" y="156"/>
                  <a:pt x="57" y="152"/>
                </a:cubicBezTo>
                <a:cubicBezTo>
                  <a:pt x="57" y="151"/>
                  <a:pt x="56" y="151"/>
                  <a:pt x="56" y="150"/>
                </a:cubicBezTo>
                <a:cubicBezTo>
                  <a:pt x="56" y="150"/>
                  <a:pt x="55" y="149"/>
                  <a:pt x="55" y="149"/>
                </a:cubicBezTo>
                <a:cubicBezTo>
                  <a:pt x="55" y="149"/>
                  <a:pt x="55" y="149"/>
                  <a:pt x="55" y="149"/>
                </a:cubicBezTo>
                <a:cubicBezTo>
                  <a:pt x="55" y="148"/>
                  <a:pt x="56" y="148"/>
                  <a:pt x="56" y="148"/>
                </a:cubicBezTo>
                <a:cubicBezTo>
                  <a:pt x="57" y="147"/>
                  <a:pt x="57" y="147"/>
                  <a:pt x="58" y="148"/>
                </a:cubicBezTo>
                <a:cubicBezTo>
                  <a:pt x="61" y="151"/>
                  <a:pt x="66" y="152"/>
                  <a:pt x="74" y="151"/>
                </a:cubicBezTo>
                <a:cubicBezTo>
                  <a:pt x="82" y="150"/>
                  <a:pt x="88" y="148"/>
                  <a:pt x="91" y="143"/>
                </a:cubicBezTo>
                <a:cubicBezTo>
                  <a:pt x="92" y="141"/>
                  <a:pt x="93" y="140"/>
                  <a:pt x="94" y="140"/>
                </a:cubicBezTo>
                <a:cubicBezTo>
                  <a:pt x="95" y="141"/>
                  <a:pt x="95" y="142"/>
                  <a:pt x="95" y="145"/>
                </a:cubicBezTo>
                <a:cubicBezTo>
                  <a:pt x="95" y="147"/>
                  <a:pt x="94" y="150"/>
                  <a:pt x="93" y="154"/>
                </a:cubicBezTo>
                <a:cubicBezTo>
                  <a:pt x="92" y="155"/>
                  <a:pt x="92" y="156"/>
                  <a:pt x="92" y="157"/>
                </a:cubicBezTo>
                <a:cubicBezTo>
                  <a:pt x="92" y="158"/>
                  <a:pt x="93" y="159"/>
                  <a:pt x="94" y="159"/>
                </a:cubicBezTo>
                <a:cubicBezTo>
                  <a:pt x="94" y="158"/>
                  <a:pt x="95" y="155"/>
                  <a:pt x="96" y="152"/>
                </a:cubicBezTo>
                <a:cubicBezTo>
                  <a:pt x="96" y="148"/>
                  <a:pt x="97" y="145"/>
                  <a:pt x="97" y="143"/>
                </a:cubicBezTo>
                <a:cubicBezTo>
                  <a:pt x="97" y="142"/>
                  <a:pt x="97" y="139"/>
                  <a:pt x="96" y="136"/>
                </a:cubicBezTo>
                <a:cubicBezTo>
                  <a:pt x="96" y="133"/>
                  <a:pt x="95" y="130"/>
                  <a:pt x="96" y="127"/>
                </a:cubicBezTo>
                <a:cubicBezTo>
                  <a:pt x="96" y="124"/>
                  <a:pt x="96" y="122"/>
                  <a:pt x="98" y="120"/>
                </a:cubicBezTo>
                <a:cubicBezTo>
                  <a:pt x="99" y="119"/>
                  <a:pt x="100" y="119"/>
                  <a:pt x="103" y="119"/>
                </a:cubicBezTo>
                <a:cubicBezTo>
                  <a:pt x="103" y="116"/>
                  <a:pt x="104" y="115"/>
                  <a:pt x="106" y="114"/>
                </a:cubicBezTo>
                <a:cubicBezTo>
                  <a:pt x="108" y="113"/>
                  <a:pt x="110" y="112"/>
                  <a:pt x="113" y="113"/>
                </a:cubicBezTo>
                <a:cubicBezTo>
                  <a:pt x="115" y="113"/>
                  <a:pt x="117" y="114"/>
                  <a:pt x="118" y="115"/>
                </a:cubicBezTo>
                <a:close/>
                <a:moveTo>
                  <a:pt x="37" y="81"/>
                </a:moveTo>
                <a:cubicBezTo>
                  <a:pt x="37" y="81"/>
                  <a:pt x="37" y="81"/>
                  <a:pt x="37" y="81"/>
                </a:cubicBezTo>
                <a:cubicBezTo>
                  <a:pt x="37" y="81"/>
                  <a:pt x="37" y="82"/>
                  <a:pt x="37" y="82"/>
                </a:cubicBezTo>
                <a:cubicBezTo>
                  <a:pt x="36" y="83"/>
                  <a:pt x="36" y="83"/>
                  <a:pt x="36" y="84"/>
                </a:cubicBezTo>
                <a:cubicBezTo>
                  <a:pt x="36" y="84"/>
                  <a:pt x="35" y="84"/>
                  <a:pt x="35" y="85"/>
                </a:cubicBezTo>
                <a:cubicBezTo>
                  <a:pt x="35" y="85"/>
                  <a:pt x="35" y="86"/>
                  <a:pt x="35" y="86"/>
                </a:cubicBezTo>
                <a:cubicBezTo>
                  <a:pt x="35" y="86"/>
                  <a:pt x="36" y="86"/>
                  <a:pt x="36" y="85"/>
                </a:cubicBezTo>
                <a:cubicBezTo>
                  <a:pt x="37" y="85"/>
                  <a:pt x="37" y="84"/>
                  <a:pt x="37" y="84"/>
                </a:cubicBezTo>
                <a:cubicBezTo>
                  <a:pt x="37" y="83"/>
                  <a:pt x="37" y="83"/>
                  <a:pt x="37" y="83"/>
                </a:cubicBezTo>
                <a:cubicBezTo>
                  <a:pt x="38" y="83"/>
                  <a:pt x="38" y="82"/>
                  <a:pt x="38" y="82"/>
                </a:cubicBezTo>
                <a:cubicBezTo>
                  <a:pt x="38" y="82"/>
                  <a:pt x="38" y="82"/>
                  <a:pt x="38" y="82"/>
                </a:cubicBezTo>
                <a:cubicBezTo>
                  <a:pt x="38" y="82"/>
                  <a:pt x="38" y="82"/>
                  <a:pt x="38" y="81"/>
                </a:cubicBezTo>
                <a:cubicBezTo>
                  <a:pt x="38" y="81"/>
                  <a:pt x="38" y="81"/>
                  <a:pt x="38" y="81"/>
                </a:cubicBezTo>
                <a:cubicBezTo>
                  <a:pt x="38" y="81"/>
                  <a:pt x="38" y="81"/>
                  <a:pt x="38" y="81"/>
                </a:cubicBezTo>
                <a:cubicBezTo>
                  <a:pt x="38" y="81"/>
                  <a:pt x="38" y="81"/>
                  <a:pt x="37" y="81"/>
                </a:cubicBezTo>
                <a:close/>
                <a:moveTo>
                  <a:pt x="59" y="37"/>
                </a:moveTo>
                <a:cubicBezTo>
                  <a:pt x="59" y="35"/>
                  <a:pt x="59" y="34"/>
                  <a:pt x="59" y="34"/>
                </a:cubicBezTo>
                <a:cubicBezTo>
                  <a:pt x="58" y="33"/>
                  <a:pt x="58" y="32"/>
                  <a:pt x="58" y="32"/>
                </a:cubicBezTo>
                <a:cubicBezTo>
                  <a:pt x="57" y="32"/>
                  <a:pt x="57" y="32"/>
                  <a:pt x="57" y="33"/>
                </a:cubicBezTo>
                <a:cubicBezTo>
                  <a:pt x="57" y="33"/>
                  <a:pt x="57" y="33"/>
                  <a:pt x="57" y="33"/>
                </a:cubicBezTo>
                <a:cubicBezTo>
                  <a:pt x="58" y="33"/>
                  <a:pt x="58" y="34"/>
                  <a:pt x="58" y="35"/>
                </a:cubicBezTo>
                <a:cubicBezTo>
                  <a:pt x="58" y="36"/>
                  <a:pt x="58" y="37"/>
                  <a:pt x="59" y="37"/>
                </a:cubicBezTo>
                <a:cubicBezTo>
                  <a:pt x="59" y="37"/>
                  <a:pt x="59" y="37"/>
                  <a:pt x="59" y="37"/>
                </a:cubicBezTo>
                <a:close/>
                <a:moveTo>
                  <a:pt x="62" y="39"/>
                </a:moveTo>
                <a:cubicBezTo>
                  <a:pt x="62" y="39"/>
                  <a:pt x="61" y="39"/>
                  <a:pt x="61" y="40"/>
                </a:cubicBezTo>
                <a:cubicBezTo>
                  <a:pt x="61" y="41"/>
                  <a:pt x="60" y="41"/>
                  <a:pt x="60" y="41"/>
                </a:cubicBezTo>
                <a:cubicBezTo>
                  <a:pt x="60" y="41"/>
                  <a:pt x="60" y="41"/>
                  <a:pt x="60" y="40"/>
                </a:cubicBezTo>
                <a:cubicBezTo>
                  <a:pt x="60" y="40"/>
                  <a:pt x="60" y="39"/>
                  <a:pt x="62" y="39"/>
                </a:cubicBezTo>
                <a:cubicBezTo>
                  <a:pt x="62" y="39"/>
                  <a:pt x="62" y="39"/>
                  <a:pt x="62" y="39"/>
                </a:cubicBezTo>
                <a:close/>
                <a:moveTo>
                  <a:pt x="71" y="40"/>
                </a:moveTo>
                <a:cubicBezTo>
                  <a:pt x="70" y="40"/>
                  <a:pt x="70" y="40"/>
                  <a:pt x="70" y="40"/>
                </a:cubicBezTo>
                <a:cubicBezTo>
                  <a:pt x="69" y="39"/>
                  <a:pt x="69" y="39"/>
                  <a:pt x="68" y="39"/>
                </a:cubicBezTo>
                <a:cubicBezTo>
                  <a:pt x="69" y="39"/>
                  <a:pt x="70" y="39"/>
                  <a:pt x="71" y="40"/>
                </a:cubicBezTo>
                <a:cubicBezTo>
                  <a:pt x="71" y="40"/>
                  <a:pt x="71" y="40"/>
                  <a:pt x="71" y="40"/>
                </a:cubicBezTo>
                <a:close/>
                <a:moveTo>
                  <a:pt x="82" y="35"/>
                </a:moveTo>
                <a:cubicBezTo>
                  <a:pt x="82" y="34"/>
                  <a:pt x="82" y="34"/>
                  <a:pt x="81" y="33"/>
                </a:cubicBezTo>
                <a:cubicBezTo>
                  <a:pt x="81" y="33"/>
                  <a:pt x="81" y="32"/>
                  <a:pt x="80" y="32"/>
                </a:cubicBezTo>
                <a:cubicBezTo>
                  <a:pt x="80" y="32"/>
                  <a:pt x="80" y="32"/>
                  <a:pt x="79" y="32"/>
                </a:cubicBezTo>
                <a:cubicBezTo>
                  <a:pt x="78" y="32"/>
                  <a:pt x="78" y="32"/>
                  <a:pt x="79" y="32"/>
                </a:cubicBezTo>
                <a:cubicBezTo>
                  <a:pt x="79" y="32"/>
                  <a:pt x="79" y="32"/>
                  <a:pt x="79" y="33"/>
                </a:cubicBezTo>
                <a:cubicBezTo>
                  <a:pt x="80" y="33"/>
                  <a:pt x="81" y="34"/>
                  <a:pt x="81" y="35"/>
                </a:cubicBezTo>
                <a:cubicBezTo>
                  <a:pt x="81" y="36"/>
                  <a:pt x="81" y="36"/>
                  <a:pt x="82" y="35"/>
                </a:cubicBezTo>
                <a:close/>
                <a:moveTo>
                  <a:pt x="87" y="13"/>
                </a:moveTo>
                <a:cubicBezTo>
                  <a:pt x="87" y="13"/>
                  <a:pt x="87" y="13"/>
                  <a:pt x="87" y="12"/>
                </a:cubicBezTo>
                <a:cubicBezTo>
                  <a:pt x="86" y="12"/>
                  <a:pt x="86" y="12"/>
                  <a:pt x="86" y="12"/>
                </a:cubicBezTo>
                <a:cubicBezTo>
                  <a:pt x="85" y="12"/>
                  <a:pt x="85" y="11"/>
                  <a:pt x="85" y="11"/>
                </a:cubicBezTo>
                <a:cubicBezTo>
                  <a:pt x="84" y="10"/>
                  <a:pt x="83" y="10"/>
                  <a:pt x="83" y="10"/>
                </a:cubicBezTo>
                <a:cubicBezTo>
                  <a:pt x="82" y="10"/>
                  <a:pt x="82" y="10"/>
                  <a:pt x="82" y="11"/>
                </a:cubicBezTo>
                <a:cubicBezTo>
                  <a:pt x="81" y="11"/>
                  <a:pt x="81" y="11"/>
                  <a:pt x="81" y="12"/>
                </a:cubicBezTo>
                <a:cubicBezTo>
                  <a:pt x="82" y="12"/>
                  <a:pt x="81" y="13"/>
                  <a:pt x="81" y="13"/>
                </a:cubicBezTo>
                <a:cubicBezTo>
                  <a:pt x="81" y="13"/>
                  <a:pt x="81" y="14"/>
                  <a:pt x="81" y="14"/>
                </a:cubicBezTo>
                <a:cubicBezTo>
                  <a:pt x="80" y="14"/>
                  <a:pt x="80" y="15"/>
                  <a:pt x="80" y="15"/>
                </a:cubicBezTo>
                <a:cubicBezTo>
                  <a:pt x="80" y="15"/>
                  <a:pt x="80" y="15"/>
                  <a:pt x="81" y="16"/>
                </a:cubicBezTo>
                <a:cubicBezTo>
                  <a:pt x="81" y="16"/>
                  <a:pt x="81" y="16"/>
                  <a:pt x="81" y="16"/>
                </a:cubicBezTo>
                <a:cubicBezTo>
                  <a:pt x="82" y="15"/>
                  <a:pt x="82" y="15"/>
                  <a:pt x="82" y="15"/>
                </a:cubicBezTo>
                <a:cubicBezTo>
                  <a:pt x="83" y="14"/>
                  <a:pt x="83" y="14"/>
                  <a:pt x="84" y="14"/>
                </a:cubicBezTo>
                <a:cubicBezTo>
                  <a:pt x="84" y="14"/>
                  <a:pt x="84" y="14"/>
                  <a:pt x="85" y="14"/>
                </a:cubicBezTo>
                <a:cubicBezTo>
                  <a:pt x="85" y="14"/>
                  <a:pt x="86" y="14"/>
                  <a:pt x="86" y="14"/>
                </a:cubicBezTo>
                <a:cubicBezTo>
                  <a:pt x="86" y="14"/>
                  <a:pt x="87" y="13"/>
                  <a:pt x="87" y="13"/>
                </a:cubicBezTo>
                <a:close/>
                <a:moveTo>
                  <a:pt x="99" y="55"/>
                </a:moveTo>
                <a:cubicBezTo>
                  <a:pt x="98" y="55"/>
                  <a:pt x="98" y="54"/>
                  <a:pt x="98" y="54"/>
                </a:cubicBezTo>
                <a:cubicBezTo>
                  <a:pt x="98" y="54"/>
                  <a:pt x="97" y="54"/>
                  <a:pt x="97" y="54"/>
                </a:cubicBezTo>
                <a:cubicBezTo>
                  <a:pt x="96" y="53"/>
                  <a:pt x="96" y="53"/>
                  <a:pt x="95" y="53"/>
                </a:cubicBezTo>
                <a:cubicBezTo>
                  <a:pt x="95" y="53"/>
                  <a:pt x="95" y="53"/>
                  <a:pt x="94" y="52"/>
                </a:cubicBezTo>
                <a:cubicBezTo>
                  <a:pt x="94" y="52"/>
                  <a:pt x="94" y="52"/>
                  <a:pt x="94" y="52"/>
                </a:cubicBezTo>
                <a:cubicBezTo>
                  <a:pt x="94" y="51"/>
                  <a:pt x="93" y="51"/>
                  <a:pt x="93" y="51"/>
                </a:cubicBezTo>
                <a:cubicBezTo>
                  <a:pt x="93" y="51"/>
                  <a:pt x="93" y="51"/>
                  <a:pt x="93" y="51"/>
                </a:cubicBezTo>
                <a:cubicBezTo>
                  <a:pt x="93" y="51"/>
                  <a:pt x="93" y="51"/>
                  <a:pt x="93" y="51"/>
                </a:cubicBezTo>
                <a:cubicBezTo>
                  <a:pt x="92" y="52"/>
                  <a:pt x="92" y="53"/>
                  <a:pt x="93" y="55"/>
                </a:cubicBezTo>
                <a:cubicBezTo>
                  <a:pt x="95" y="57"/>
                  <a:pt x="96" y="58"/>
                  <a:pt x="97" y="58"/>
                </a:cubicBezTo>
                <a:cubicBezTo>
                  <a:pt x="97" y="58"/>
                  <a:pt x="98" y="58"/>
                  <a:pt x="98" y="57"/>
                </a:cubicBezTo>
                <a:cubicBezTo>
                  <a:pt x="99" y="56"/>
                  <a:pt x="99" y="56"/>
                  <a:pt x="99" y="5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8" name="Freeform 349"/>
          <p:cNvSpPr>
            <a:spLocks noChangeAspect="1" noEditPoints="1"/>
          </p:cNvSpPr>
          <p:nvPr/>
        </p:nvSpPr>
        <p:spPr bwMode="auto">
          <a:xfrm>
            <a:off x="6159837" y="4033334"/>
            <a:ext cx="151447" cy="151447"/>
          </a:xfrm>
          <a:custGeom>
            <a:avLst/>
            <a:gdLst>
              <a:gd name="T0" fmla="*/ 146 w 146"/>
              <a:gd name="T1" fmla="*/ 73 h 146"/>
              <a:gd name="T2" fmla="*/ 109 w 146"/>
              <a:gd name="T3" fmla="*/ 136 h 146"/>
              <a:gd name="T4" fmla="*/ 36 w 146"/>
              <a:gd name="T5" fmla="*/ 136 h 146"/>
              <a:gd name="T6" fmla="*/ 0 w 146"/>
              <a:gd name="T7" fmla="*/ 73 h 146"/>
              <a:gd name="T8" fmla="*/ 36 w 146"/>
              <a:gd name="T9" fmla="*/ 10 h 146"/>
              <a:gd name="T10" fmla="*/ 109 w 146"/>
              <a:gd name="T11" fmla="*/ 10 h 146"/>
              <a:gd name="T12" fmla="*/ 80 w 146"/>
              <a:gd name="T13" fmla="*/ 73 h 146"/>
              <a:gd name="T14" fmla="*/ 11 w 146"/>
              <a:gd name="T15" fmla="*/ 71 h 146"/>
              <a:gd name="T16" fmla="*/ 15 w 146"/>
              <a:gd name="T17" fmla="*/ 95 h 146"/>
              <a:gd name="T18" fmla="*/ 38 w 146"/>
              <a:gd name="T19" fmla="*/ 99 h 146"/>
              <a:gd name="T20" fmla="*/ 64 w 146"/>
              <a:gd name="T21" fmla="*/ 79 h 146"/>
              <a:gd name="T22" fmla="*/ 77 w 146"/>
              <a:gd name="T23" fmla="*/ 73 h 146"/>
              <a:gd name="T24" fmla="*/ 80 w 146"/>
              <a:gd name="T25" fmla="*/ 73 h 146"/>
              <a:gd name="T26" fmla="*/ 46 w 146"/>
              <a:gd name="T27" fmla="*/ 17 h 146"/>
              <a:gd name="T28" fmla="*/ 12 w 146"/>
              <a:gd name="T29" fmla="*/ 60 h 146"/>
              <a:gd name="T30" fmla="*/ 97 w 146"/>
              <a:gd name="T31" fmla="*/ 130 h 146"/>
              <a:gd name="T32" fmla="*/ 84 w 146"/>
              <a:gd name="T33" fmla="*/ 83 h 146"/>
              <a:gd name="T34" fmla="*/ 79 w 146"/>
              <a:gd name="T35" fmla="*/ 85 h 146"/>
              <a:gd name="T36" fmla="*/ 57 w 146"/>
              <a:gd name="T37" fmla="*/ 97 h 146"/>
              <a:gd name="T38" fmla="*/ 35 w 146"/>
              <a:gd name="T39" fmla="*/ 122 h 146"/>
              <a:gd name="T40" fmla="*/ 73 w 146"/>
              <a:gd name="T41" fmla="*/ 135 h 146"/>
              <a:gd name="T42" fmla="*/ 58 w 146"/>
              <a:gd name="T43" fmla="*/ 13 h 146"/>
              <a:gd name="T44" fmla="*/ 58 w 146"/>
              <a:gd name="T45" fmla="*/ 13 h 146"/>
              <a:gd name="T46" fmla="*/ 73 w 146"/>
              <a:gd name="T47" fmla="*/ 11 h 146"/>
              <a:gd name="T48" fmla="*/ 82 w 146"/>
              <a:gd name="T49" fmla="*/ 49 h 146"/>
              <a:gd name="T50" fmla="*/ 103 w 146"/>
              <a:gd name="T51" fmla="*/ 37 h 146"/>
              <a:gd name="T52" fmla="*/ 113 w 146"/>
              <a:gd name="T53" fmla="*/ 28 h 146"/>
              <a:gd name="T54" fmla="*/ 135 w 146"/>
              <a:gd name="T55" fmla="*/ 72 h 146"/>
              <a:gd name="T56" fmla="*/ 121 w 146"/>
              <a:gd name="T57" fmla="*/ 34 h 146"/>
              <a:gd name="T58" fmla="*/ 115 w 146"/>
              <a:gd name="T59" fmla="*/ 40 h 146"/>
              <a:gd name="T60" fmla="*/ 99 w 146"/>
              <a:gd name="T61" fmla="*/ 52 h 146"/>
              <a:gd name="T62" fmla="*/ 90 w 146"/>
              <a:gd name="T63" fmla="*/ 67 h 146"/>
              <a:gd name="T64" fmla="*/ 92 w 146"/>
              <a:gd name="T65" fmla="*/ 70 h 146"/>
              <a:gd name="T66" fmla="*/ 106 w 146"/>
              <a:gd name="T67" fmla="*/ 69 h 146"/>
              <a:gd name="T68" fmla="*/ 118 w 146"/>
              <a:gd name="T69" fmla="*/ 70 h 146"/>
              <a:gd name="T70" fmla="*/ 128 w 146"/>
              <a:gd name="T71" fmla="*/ 71 h 146"/>
              <a:gd name="T72" fmla="*/ 134 w 146"/>
              <a:gd name="T73" fmla="*/ 72 h 146"/>
              <a:gd name="T74" fmla="*/ 134 w 146"/>
              <a:gd name="T75" fmla="*/ 83 h 146"/>
              <a:gd name="T76" fmla="*/ 108 w 146"/>
              <a:gd name="T77" fmla="*/ 124 h 146"/>
              <a:gd name="T78" fmla="*/ 134 w 146"/>
              <a:gd name="T79" fmla="*/ 8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46" h="146">
                <a:moveTo>
                  <a:pt x="136" y="36"/>
                </a:moveTo>
                <a:cubicBezTo>
                  <a:pt x="142" y="48"/>
                  <a:pt x="146" y="60"/>
                  <a:pt x="146" y="73"/>
                </a:cubicBezTo>
                <a:cubicBezTo>
                  <a:pt x="146" y="86"/>
                  <a:pt x="142" y="98"/>
                  <a:pt x="136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60" y="146"/>
                  <a:pt x="48" y="142"/>
                  <a:pt x="36" y="136"/>
                </a:cubicBezTo>
                <a:cubicBezTo>
                  <a:pt x="25" y="129"/>
                  <a:pt x="17" y="120"/>
                  <a:pt x="10" y="109"/>
                </a:cubicBezTo>
                <a:cubicBezTo>
                  <a:pt x="4" y="98"/>
                  <a:pt x="0" y="86"/>
                  <a:pt x="0" y="73"/>
                </a:cubicBezTo>
                <a:cubicBezTo>
                  <a:pt x="0" y="60"/>
                  <a:pt x="4" y="48"/>
                  <a:pt x="10" y="36"/>
                </a:cubicBezTo>
                <a:cubicBezTo>
                  <a:pt x="17" y="25"/>
                  <a:pt x="25" y="17"/>
                  <a:pt x="36" y="10"/>
                </a:cubicBezTo>
                <a:cubicBezTo>
                  <a:pt x="48" y="4"/>
                  <a:pt x="60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6" y="36"/>
                </a:cubicBezTo>
                <a:close/>
                <a:moveTo>
                  <a:pt x="80" y="73"/>
                </a:moveTo>
                <a:cubicBezTo>
                  <a:pt x="78" y="70"/>
                  <a:pt x="77" y="66"/>
                  <a:pt x="75" y="62"/>
                </a:cubicBezTo>
                <a:cubicBezTo>
                  <a:pt x="55" y="68"/>
                  <a:pt x="34" y="71"/>
                  <a:pt x="11" y="71"/>
                </a:cubicBezTo>
                <a:cubicBezTo>
                  <a:pt x="11" y="71"/>
                  <a:pt x="11" y="72"/>
                  <a:pt x="11" y="73"/>
                </a:cubicBezTo>
                <a:cubicBezTo>
                  <a:pt x="11" y="81"/>
                  <a:pt x="12" y="88"/>
                  <a:pt x="15" y="95"/>
                </a:cubicBezTo>
                <a:cubicBezTo>
                  <a:pt x="18" y="102"/>
                  <a:pt x="22" y="109"/>
                  <a:pt x="27" y="114"/>
                </a:cubicBezTo>
                <a:cubicBezTo>
                  <a:pt x="30" y="109"/>
                  <a:pt x="34" y="103"/>
                  <a:pt x="38" y="99"/>
                </a:cubicBezTo>
                <a:cubicBezTo>
                  <a:pt x="43" y="94"/>
                  <a:pt x="48" y="90"/>
                  <a:pt x="52" y="87"/>
                </a:cubicBezTo>
                <a:cubicBezTo>
                  <a:pt x="56" y="84"/>
                  <a:pt x="60" y="81"/>
                  <a:pt x="64" y="79"/>
                </a:cubicBezTo>
                <a:cubicBezTo>
                  <a:pt x="68" y="77"/>
                  <a:pt x="71" y="76"/>
                  <a:pt x="74" y="75"/>
                </a:cubicBezTo>
                <a:cubicBezTo>
                  <a:pt x="77" y="73"/>
                  <a:pt x="77" y="73"/>
                  <a:pt x="77" y="73"/>
                </a:cubicBezTo>
                <a:cubicBezTo>
                  <a:pt x="77" y="73"/>
                  <a:pt x="78" y="73"/>
                  <a:pt x="78" y="73"/>
                </a:cubicBezTo>
                <a:cubicBezTo>
                  <a:pt x="79" y="73"/>
                  <a:pt x="79" y="73"/>
                  <a:pt x="80" y="73"/>
                </a:cubicBezTo>
                <a:close/>
                <a:moveTo>
                  <a:pt x="70" y="53"/>
                </a:moveTo>
                <a:cubicBezTo>
                  <a:pt x="62" y="39"/>
                  <a:pt x="54" y="27"/>
                  <a:pt x="46" y="17"/>
                </a:cubicBezTo>
                <a:cubicBezTo>
                  <a:pt x="38" y="21"/>
                  <a:pt x="30" y="27"/>
                  <a:pt x="24" y="34"/>
                </a:cubicBezTo>
                <a:cubicBezTo>
                  <a:pt x="18" y="42"/>
                  <a:pt x="14" y="51"/>
                  <a:pt x="12" y="60"/>
                </a:cubicBezTo>
                <a:cubicBezTo>
                  <a:pt x="31" y="60"/>
                  <a:pt x="50" y="58"/>
                  <a:pt x="70" y="53"/>
                </a:cubicBezTo>
                <a:close/>
                <a:moveTo>
                  <a:pt x="97" y="130"/>
                </a:moveTo>
                <a:cubicBezTo>
                  <a:pt x="94" y="115"/>
                  <a:pt x="90" y="99"/>
                  <a:pt x="84" y="83"/>
                </a:cubicBezTo>
                <a:cubicBezTo>
                  <a:pt x="84" y="83"/>
                  <a:pt x="84" y="83"/>
                  <a:pt x="84" y="83"/>
                </a:cubicBezTo>
                <a:cubicBezTo>
                  <a:pt x="84" y="83"/>
                  <a:pt x="84" y="83"/>
                  <a:pt x="84" y="83"/>
                </a:cubicBezTo>
                <a:cubicBezTo>
                  <a:pt x="83" y="83"/>
                  <a:pt x="81" y="84"/>
                  <a:pt x="79" y="85"/>
                </a:cubicBezTo>
                <a:cubicBezTo>
                  <a:pt x="78" y="85"/>
                  <a:pt x="75" y="87"/>
                  <a:pt x="70" y="89"/>
                </a:cubicBezTo>
                <a:cubicBezTo>
                  <a:pt x="65" y="92"/>
                  <a:pt x="61" y="94"/>
                  <a:pt x="57" y="97"/>
                </a:cubicBezTo>
                <a:cubicBezTo>
                  <a:pt x="53" y="100"/>
                  <a:pt x="49" y="103"/>
                  <a:pt x="45" y="108"/>
                </a:cubicBezTo>
                <a:cubicBezTo>
                  <a:pt x="40" y="112"/>
                  <a:pt x="37" y="117"/>
                  <a:pt x="35" y="122"/>
                </a:cubicBezTo>
                <a:cubicBezTo>
                  <a:pt x="33" y="121"/>
                  <a:pt x="33" y="121"/>
                  <a:pt x="33" y="121"/>
                </a:cubicBezTo>
                <a:cubicBezTo>
                  <a:pt x="45" y="130"/>
                  <a:pt x="58" y="135"/>
                  <a:pt x="73" y="135"/>
                </a:cubicBezTo>
                <a:cubicBezTo>
                  <a:pt x="81" y="135"/>
                  <a:pt x="89" y="133"/>
                  <a:pt x="97" y="130"/>
                </a:cubicBezTo>
                <a:close/>
                <a:moveTo>
                  <a:pt x="58" y="13"/>
                </a:moveTo>
                <a:cubicBezTo>
                  <a:pt x="58" y="13"/>
                  <a:pt x="58" y="13"/>
                  <a:pt x="58" y="13"/>
                </a:cubicBezTo>
                <a:cubicBezTo>
                  <a:pt x="58" y="13"/>
                  <a:pt x="58" y="13"/>
                  <a:pt x="58" y="13"/>
                </a:cubicBezTo>
                <a:close/>
                <a:moveTo>
                  <a:pt x="114" y="26"/>
                </a:moveTo>
                <a:cubicBezTo>
                  <a:pt x="102" y="16"/>
                  <a:pt x="89" y="11"/>
                  <a:pt x="73" y="11"/>
                </a:cubicBezTo>
                <a:cubicBezTo>
                  <a:pt x="68" y="11"/>
                  <a:pt x="63" y="11"/>
                  <a:pt x="58" y="13"/>
                </a:cubicBezTo>
                <a:cubicBezTo>
                  <a:pt x="67" y="23"/>
                  <a:pt x="74" y="35"/>
                  <a:pt x="82" y="49"/>
                </a:cubicBezTo>
                <a:cubicBezTo>
                  <a:pt x="86" y="47"/>
                  <a:pt x="90" y="45"/>
                  <a:pt x="94" y="43"/>
                </a:cubicBezTo>
                <a:cubicBezTo>
                  <a:pt x="98" y="41"/>
                  <a:pt x="101" y="39"/>
                  <a:pt x="103" y="37"/>
                </a:cubicBezTo>
                <a:cubicBezTo>
                  <a:pt x="105" y="36"/>
                  <a:pt x="107" y="34"/>
                  <a:pt x="109" y="32"/>
                </a:cubicBezTo>
                <a:cubicBezTo>
                  <a:pt x="111" y="30"/>
                  <a:pt x="112" y="29"/>
                  <a:pt x="113" y="28"/>
                </a:cubicBezTo>
                <a:cubicBezTo>
                  <a:pt x="113" y="27"/>
                  <a:pt x="114" y="27"/>
                  <a:pt x="114" y="26"/>
                </a:cubicBezTo>
                <a:close/>
                <a:moveTo>
                  <a:pt x="135" y="72"/>
                </a:moveTo>
                <a:cubicBezTo>
                  <a:pt x="135" y="58"/>
                  <a:pt x="130" y="45"/>
                  <a:pt x="121" y="33"/>
                </a:cubicBezTo>
                <a:cubicBezTo>
                  <a:pt x="121" y="34"/>
                  <a:pt x="121" y="34"/>
                  <a:pt x="121" y="34"/>
                </a:cubicBezTo>
                <a:cubicBezTo>
                  <a:pt x="120" y="34"/>
                  <a:pt x="120" y="35"/>
                  <a:pt x="119" y="36"/>
                </a:cubicBezTo>
                <a:cubicBezTo>
                  <a:pt x="118" y="37"/>
                  <a:pt x="117" y="38"/>
                  <a:pt x="115" y="40"/>
                </a:cubicBezTo>
                <a:cubicBezTo>
                  <a:pt x="113" y="42"/>
                  <a:pt x="111" y="44"/>
                  <a:pt x="108" y="46"/>
                </a:cubicBezTo>
                <a:cubicBezTo>
                  <a:pt x="106" y="48"/>
                  <a:pt x="103" y="50"/>
                  <a:pt x="99" y="52"/>
                </a:cubicBezTo>
                <a:cubicBezTo>
                  <a:pt x="95" y="54"/>
                  <a:pt x="91" y="56"/>
                  <a:pt x="86" y="58"/>
                </a:cubicBezTo>
                <a:cubicBezTo>
                  <a:pt x="88" y="61"/>
                  <a:pt x="89" y="64"/>
                  <a:pt x="90" y="67"/>
                </a:cubicBezTo>
                <a:cubicBezTo>
                  <a:pt x="91" y="67"/>
                  <a:pt x="91" y="68"/>
                  <a:pt x="91" y="69"/>
                </a:cubicBezTo>
                <a:cubicBezTo>
                  <a:pt x="91" y="69"/>
                  <a:pt x="92" y="70"/>
                  <a:pt x="92" y="70"/>
                </a:cubicBezTo>
                <a:cubicBezTo>
                  <a:pt x="94" y="70"/>
                  <a:pt x="96" y="70"/>
                  <a:pt x="99" y="70"/>
                </a:cubicBezTo>
                <a:cubicBezTo>
                  <a:pt x="101" y="69"/>
                  <a:pt x="104" y="69"/>
                  <a:pt x="106" y="69"/>
                </a:cubicBezTo>
                <a:cubicBezTo>
                  <a:pt x="108" y="69"/>
                  <a:pt x="110" y="69"/>
                  <a:pt x="112" y="70"/>
                </a:cubicBezTo>
                <a:cubicBezTo>
                  <a:pt x="114" y="70"/>
                  <a:pt x="116" y="70"/>
                  <a:pt x="118" y="70"/>
                </a:cubicBezTo>
                <a:cubicBezTo>
                  <a:pt x="120" y="70"/>
                  <a:pt x="122" y="70"/>
                  <a:pt x="124" y="70"/>
                </a:cubicBezTo>
                <a:cubicBezTo>
                  <a:pt x="125" y="71"/>
                  <a:pt x="127" y="71"/>
                  <a:pt x="128" y="71"/>
                </a:cubicBezTo>
                <a:cubicBezTo>
                  <a:pt x="130" y="71"/>
                  <a:pt x="131" y="71"/>
                  <a:pt x="132" y="72"/>
                </a:cubicBezTo>
                <a:cubicBezTo>
                  <a:pt x="133" y="72"/>
                  <a:pt x="133" y="72"/>
                  <a:pt x="134" y="72"/>
                </a:cubicBezTo>
                <a:lnTo>
                  <a:pt x="135" y="72"/>
                </a:lnTo>
                <a:close/>
                <a:moveTo>
                  <a:pt x="134" y="83"/>
                </a:moveTo>
                <a:cubicBezTo>
                  <a:pt x="121" y="79"/>
                  <a:pt x="108" y="78"/>
                  <a:pt x="96" y="80"/>
                </a:cubicBezTo>
                <a:cubicBezTo>
                  <a:pt x="101" y="95"/>
                  <a:pt x="105" y="110"/>
                  <a:pt x="108" y="124"/>
                </a:cubicBezTo>
                <a:cubicBezTo>
                  <a:pt x="115" y="120"/>
                  <a:pt x="120" y="114"/>
                  <a:pt x="125" y="106"/>
                </a:cubicBezTo>
                <a:cubicBezTo>
                  <a:pt x="130" y="99"/>
                  <a:pt x="133" y="91"/>
                  <a:pt x="134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49" name="Freeform 350"/>
          <p:cNvSpPr>
            <a:spLocks noChangeAspect="1" noEditPoints="1"/>
          </p:cNvSpPr>
          <p:nvPr/>
        </p:nvSpPr>
        <p:spPr bwMode="auto">
          <a:xfrm>
            <a:off x="6356561" y="4033334"/>
            <a:ext cx="149885" cy="151447"/>
          </a:xfrm>
          <a:custGeom>
            <a:avLst/>
            <a:gdLst>
              <a:gd name="T0" fmla="*/ 134 w 145"/>
              <a:gd name="T1" fmla="*/ 135 h 146"/>
              <a:gd name="T2" fmla="*/ 87 w 145"/>
              <a:gd name="T3" fmla="*/ 138 h 146"/>
              <a:gd name="T4" fmla="*/ 47 w 145"/>
              <a:gd name="T5" fmla="*/ 134 h 146"/>
              <a:gd name="T6" fmla="*/ 11 w 145"/>
              <a:gd name="T7" fmla="*/ 99 h 146"/>
              <a:gd name="T8" fmla="*/ 7 w 145"/>
              <a:gd name="T9" fmla="*/ 59 h 146"/>
              <a:gd name="T10" fmla="*/ 10 w 145"/>
              <a:gd name="T11" fmla="*/ 11 h 146"/>
              <a:gd name="T12" fmla="*/ 58 w 145"/>
              <a:gd name="T13" fmla="*/ 8 h 146"/>
              <a:gd name="T14" fmla="*/ 98 w 145"/>
              <a:gd name="T15" fmla="*/ 12 h 146"/>
              <a:gd name="T16" fmla="*/ 134 w 145"/>
              <a:gd name="T17" fmla="*/ 47 h 146"/>
              <a:gd name="T18" fmla="*/ 137 w 145"/>
              <a:gd name="T19" fmla="*/ 87 h 146"/>
              <a:gd name="T20" fmla="*/ 111 w 145"/>
              <a:gd name="T21" fmla="*/ 89 h 146"/>
              <a:gd name="T22" fmla="*/ 104 w 145"/>
              <a:gd name="T23" fmla="*/ 74 h 146"/>
              <a:gd name="T24" fmla="*/ 90 w 145"/>
              <a:gd name="T25" fmla="*/ 66 h 146"/>
              <a:gd name="T26" fmla="*/ 71 w 145"/>
              <a:gd name="T27" fmla="*/ 61 h 146"/>
              <a:gd name="T28" fmla="*/ 64 w 145"/>
              <a:gd name="T29" fmla="*/ 59 h 146"/>
              <a:gd name="T30" fmla="*/ 60 w 145"/>
              <a:gd name="T31" fmla="*/ 56 h 146"/>
              <a:gd name="T32" fmla="*/ 73 w 145"/>
              <a:gd name="T33" fmla="*/ 46 h 146"/>
              <a:gd name="T34" fmla="*/ 85 w 145"/>
              <a:gd name="T35" fmla="*/ 49 h 146"/>
              <a:gd name="T36" fmla="*/ 92 w 145"/>
              <a:gd name="T37" fmla="*/ 55 h 146"/>
              <a:gd name="T38" fmla="*/ 104 w 145"/>
              <a:gd name="T39" fmla="*/ 53 h 146"/>
              <a:gd name="T40" fmla="*/ 101 w 145"/>
              <a:gd name="T41" fmla="*/ 37 h 146"/>
              <a:gd name="T42" fmla="*/ 71 w 145"/>
              <a:gd name="T43" fmla="*/ 28 h 146"/>
              <a:gd name="T44" fmla="*/ 47 w 145"/>
              <a:gd name="T45" fmla="*/ 34 h 146"/>
              <a:gd name="T46" fmla="*/ 35 w 145"/>
              <a:gd name="T47" fmla="*/ 54 h 146"/>
              <a:gd name="T48" fmla="*/ 42 w 145"/>
              <a:gd name="T49" fmla="*/ 72 h 146"/>
              <a:gd name="T50" fmla="*/ 60 w 145"/>
              <a:gd name="T51" fmla="*/ 79 h 146"/>
              <a:gd name="T52" fmla="*/ 84 w 145"/>
              <a:gd name="T53" fmla="*/ 86 h 146"/>
              <a:gd name="T54" fmla="*/ 83 w 145"/>
              <a:gd name="T55" fmla="*/ 98 h 146"/>
              <a:gd name="T56" fmla="*/ 65 w 145"/>
              <a:gd name="T57" fmla="*/ 99 h 146"/>
              <a:gd name="T58" fmla="*/ 54 w 145"/>
              <a:gd name="T59" fmla="*/ 91 h 146"/>
              <a:gd name="T60" fmla="*/ 45 w 145"/>
              <a:gd name="T61" fmla="*/ 86 h 146"/>
              <a:gd name="T62" fmla="*/ 35 w 145"/>
              <a:gd name="T63" fmla="*/ 96 h 146"/>
              <a:gd name="T64" fmla="*/ 74 w 145"/>
              <a:gd name="T65" fmla="*/ 117 h 146"/>
              <a:gd name="T66" fmla="*/ 99 w 145"/>
              <a:gd name="T67" fmla="*/ 110 h 146"/>
              <a:gd name="T68" fmla="*/ 111 w 145"/>
              <a:gd name="T69" fmla="*/ 8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45" h="146">
                <a:moveTo>
                  <a:pt x="145" y="109"/>
                </a:moveTo>
                <a:cubicBezTo>
                  <a:pt x="145" y="119"/>
                  <a:pt x="142" y="128"/>
                  <a:pt x="134" y="135"/>
                </a:cubicBezTo>
                <a:cubicBezTo>
                  <a:pt x="127" y="142"/>
                  <a:pt x="119" y="146"/>
                  <a:pt x="109" y="146"/>
                </a:cubicBezTo>
                <a:cubicBezTo>
                  <a:pt x="101" y="146"/>
                  <a:pt x="93" y="143"/>
                  <a:pt x="87" y="138"/>
                </a:cubicBezTo>
                <a:cubicBezTo>
                  <a:pt x="82" y="139"/>
                  <a:pt x="77" y="139"/>
                  <a:pt x="72" y="139"/>
                </a:cubicBezTo>
                <a:cubicBezTo>
                  <a:pt x="63" y="139"/>
                  <a:pt x="55" y="138"/>
                  <a:pt x="47" y="134"/>
                </a:cubicBezTo>
                <a:cubicBezTo>
                  <a:pt x="38" y="131"/>
                  <a:pt x="31" y="126"/>
                  <a:pt x="25" y="120"/>
                </a:cubicBezTo>
                <a:cubicBezTo>
                  <a:pt x="19" y="114"/>
                  <a:pt x="15" y="107"/>
                  <a:pt x="11" y="99"/>
                </a:cubicBezTo>
                <a:cubicBezTo>
                  <a:pt x="8" y="91"/>
                  <a:pt x="6" y="82"/>
                  <a:pt x="6" y="73"/>
                </a:cubicBezTo>
                <a:cubicBezTo>
                  <a:pt x="6" y="68"/>
                  <a:pt x="6" y="64"/>
                  <a:pt x="7" y="59"/>
                </a:cubicBezTo>
                <a:cubicBezTo>
                  <a:pt x="2" y="52"/>
                  <a:pt x="0" y="45"/>
                  <a:pt x="0" y="37"/>
                </a:cubicBezTo>
                <a:cubicBezTo>
                  <a:pt x="0" y="27"/>
                  <a:pt x="3" y="18"/>
                  <a:pt x="10" y="11"/>
                </a:cubicBezTo>
                <a:cubicBezTo>
                  <a:pt x="18" y="4"/>
                  <a:pt x="26" y="0"/>
                  <a:pt x="36" y="0"/>
                </a:cubicBezTo>
                <a:cubicBezTo>
                  <a:pt x="44" y="0"/>
                  <a:pt x="52" y="3"/>
                  <a:pt x="58" y="8"/>
                </a:cubicBezTo>
                <a:cubicBezTo>
                  <a:pt x="63" y="7"/>
                  <a:pt x="68" y="6"/>
                  <a:pt x="72" y="6"/>
                </a:cubicBezTo>
                <a:cubicBezTo>
                  <a:pt x="81" y="6"/>
                  <a:pt x="90" y="8"/>
                  <a:pt x="98" y="12"/>
                </a:cubicBezTo>
                <a:cubicBezTo>
                  <a:pt x="107" y="15"/>
                  <a:pt x="114" y="20"/>
                  <a:pt x="120" y="26"/>
                </a:cubicBezTo>
                <a:cubicBezTo>
                  <a:pt x="126" y="32"/>
                  <a:pt x="130" y="39"/>
                  <a:pt x="134" y="47"/>
                </a:cubicBezTo>
                <a:cubicBezTo>
                  <a:pt x="137" y="55"/>
                  <a:pt x="139" y="64"/>
                  <a:pt x="139" y="73"/>
                </a:cubicBezTo>
                <a:cubicBezTo>
                  <a:pt x="139" y="78"/>
                  <a:pt x="139" y="82"/>
                  <a:pt x="137" y="87"/>
                </a:cubicBezTo>
                <a:cubicBezTo>
                  <a:pt x="143" y="94"/>
                  <a:pt x="145" y="101"/>
                  <a:pt x="145" y="109"/>
                </a:cubicBezTo>
                <a:close/>
                <a:moveTo>
                  <a:pt x="111" y="89"/>
                </a:moveTo>
                <a:cubicBezTo>
                  <a:pt x="111" y="86"/>
                  <a:pt x="110" y="83"/>
                  <a:pt x="109" y="80"/>
                </a:cubicBezTo>
                <a:cubicBezTo>
                  <a:pt x="108" y="77"/>
                  <a:pt x="106" y="75"/>
                  <a:pt x="104" y="74"/>
                </a:cubicBezTo>
                <a:cubicBezTo>
                  <a:pt x="102" y="72"/>
                  <a:pt x="100" y="70"/>
                  <a:pt x="97" y="69"/>
                </a:cubicBezTo>
                <a:cubicBezTo>
                  <a:pt x="95" y="68"/>
                  <a:pt x="92" y="66"/>
                  <a:pt x="90" y="66"/>
                </a:cubicBezTo>
                <a:cubicBezTo>
                  <a:pt x="87" y="65"/>
                  <a:pt x="84" y="64"/>
                  <a:pt x="81" y="64"/>
                </a:cubicBezTo>
                <a:cubicBezTo>
                  <a:pt x="71" y="61"/>
                  <a:pt x="71" y="61"/>
                  <a:pt x="71" y="61"/>
                </a:cubicBezTo>
                <a:cubicBezTo>
                  <a:pt x="70" y="61"/>
                  <a:pt x="68" y="61"/>
                  <a:pt x="67" y="60"/>
                </a:cubicBezTo>
                <a:cubicBezTo>
                  <a:pt x="66" y="60"/>
                  <a:pt x="65" y="60"/>
                  <a:pt x="64" y="59"/>
                </a:cubicBezTo>
                <a:cubicBezTo>
                  <a:pt x="63" y="59"/>
                  <a:pt x="62" y="58"/>
                  <a:pt x="61" y="58"/>
                </a:cubicBezTo>
                <a:cubicBezTo>
                  <a:pt x="61" y="57"/>
                  <a:pt x="60" y="57"/>
                  <a:pt x="60" y="56"/>
                </a:cubicBezTo>
                <a:cubicBezTo>
                  <a:pt x="59" y="55"/>
                  <a:pt x="59" y="54"/>
                  <a:pt x="59" y="53"/>
                </a:cubicBezTo>
                <a:cubicBezTo>
                  <a:pt x="59" y="48"/>
                  <a:pt x="63" y="46"/>
                  <a:pt x="73" y="46"/>
                </a:cubicBezTo>
                <a:cubicBezTo>
                  <a:pt x="75" y="46"/>
                  <a:pt x="78" y="46"/>
                  <a:pt x="80" y="47"/>
                </a:cubicBezTo>
                <a:cubicBezTo>
                  <a:pt x="82" y="47"/>
                  <a:pt x="84" y="48"/>
                  <a:pt x="85" y="49"/>
                </a:cubicBezTo>
                <a:cubicBezTo>
                  <a:pt x="86" y="50"/>
                  <a:pt x="87" y="52"/>
                  <a:pt x="89" y="53"/>
                </a:cubicBezTo>
                <a:cubicBezTo>
                  <a:pt x="90" y="54"/>
                  <a:pt x="91" y="55"/>
                  <a:pt x="92" y="55"/>
                </a:cubicBezTo>
                <a:cubicBezTo>
                  <a:pt x="94" y="56"/>
                  <a:pt x="95" y="56"/>
                  <a:pt x="97" y="56"/>
                </a:cubicBezTo>
                <a:cubicBezTo>
                  <a:pt x="100" y="56"/>
                  <a:pt x="102" y="55"/>
                  <a:pt x="104" y="53"/>
                </a:cubicBezTo>
                <a:cubicBezTo>
                  <a:pt x="106" y="51"/>
                  <a:pt x="107" y="49"/>
                  <a:pt x="107" y="46"/>
                </a:cubicBezTo>
                <a:cubicBezTo>
                  <a:pt x="107" y="43"/>
                  <a:pt x="105" y="40"/>
                  <a:pt x="101" y="37"/>
                </a:cubicBezTo>
                <a:cubicBezTo>
                  <a:pt x="98" y="34"/>
                  <a:pt x="93" y="32"/>
                  <a:pt x="88" y="30"/>
                </a:cubicBezTo>
                <a:cubicBezTo>
                  <a:pt x="83" y="29"/>
                  <a:pt x="77" y="28"/>
                  <a:pt x="71" y="28"/>
                </a:cubicBezTo>
                <a:cubicBezTo>
                  <a:pt x="66" y="28"/>
                  <a:pt x="62" y="29"/>
                  <a:pt x="58" y="30"/>
                </a:cubicBezTo>
                <a:cubicBezTo>
                  <a:pt x="54" y="31"/>
                  <a:pt x="50" y="32"/>
                  <a:pt x="47" y="34"/>
                </a:cubicBezTo>
                <a:cubicBezTo>
                  <a:pt x="43" y="36"/>
                  <a:pt x="41" y="39"/>
                  <a:pt x="39" y="42"/>
                </a:cubicBezTo>
                <a:cubicBezTo>
                  <a:pt x="36" y="46"/>
                  <a:pt x="35" y="50"/>
                  <a:pt x="35" y="54"/>
                </a:cubicBezTo>
                <a:cubicBezTo>
                  <a:pt x="35" y="58"/>
                  <a:pt x="36" y="62"/>
                  <a:pt x="37" y="65"/>
                </a:cubicBezTo>
                <a:cubicBezTo>
                  <a:pt x="38" y="67"/>
                  <a:pt x="40" y="70"/>
                  <a:pt x="42" y="72"/>
                </a:cubicBezTo>
                <a:cubicBezTo>
                  <a:pt x="45" y="74"/>
                  <a:pt x="47" y="75"/>
                  <a:pt x="50" y="76"/>
                </a:cubicBezTo>
                <a:cubicBezTo>
                  <a:pt x="53" y="77"/>
                  <a:pt x="56" y="78"/>
                  <a:pt x="60" y="79"/>
                </a:cubicBezTo>
                <a:cubicBezTo>
                  <a:pt x="74" y="83"/>
                  <a:pt x="74" y="83"/>
                  <a:pt x="74" y="83"/>
                </a:cubicBezTo>
                <a:cubicBezTo>
                  <a:pt x="79" y="84"/>
                  <a:pt x="83" y="85"/>
                  <a:pt x="84" y="86"/>
                </a:cubicBezTo>
                <a:cubicBezTo>
                  <a:pt x="86" y="87"/>
                  <a:pt x="87" y="89"/>
                  <a:pt x="87" y="92"/>
                </a:cubicBezTo>
                <a:cubicBezTo>
                  <a:pt x="87" y="94"/>
                  <a:pt x="86" y="96"/>
                  <a:pt x="83" y="98"/>
                </a:cubicBezTo>
                <a:cubicBezTo>
                  <a:pt x="81" y="100"/>
                  <a:pt x="78" y="100"/>
                  <a:pt x="73" y="100"/>
                </a:cubicBezTo>
                <a:cubicBezTo>
                  <a:pt x="70" y="100"/>
                  <a:pt x="67" y="100"/>
                  <a:pt x="65" y="99"/>
                </a:cubicBezTo>
                <a:cubicBezTo>
                  <a:pt x="62" y="98"/>
                  <a:pt x="60" y="97"/>
                  <a:pt x="59" y="95"/>
                </a:cubicBezTo>
                <a:cubicBezTo>
                  <a:pt x="57" y="94"/>
                  <a:pt x="56" y="92"/>
                  <a:pt x="54" y="91"/>
                </a:cubicBezTo>
                <a:cubicBezTo>
                  <a:pt x="53" y="90"/>
                  <a:pt x="52" y="88"/>
                  <a:pt x="50" y="87"/>
                </a:cubicBezTo>
                <a:cubicBezTo>
                  <a:pt x="48" y="86"/>
                  <a:pt x="47" y="86"/>
                  <a:pt x="45" y="86"/>
                </a:cubicBezTo>
                <a:cubicBezTo>
                  <a:pt x="42" y="86"/>
                  <a:pt x="39" y="87"/>
                  <a:pt x="38" y="89"/>
                </a:cubicBezTo>
                <a:cubicBezTo>
                  <a:pt x="36" y="91"/>
                  <a:pt x="35" y="93"/>
                  <a:pt x="35" y="96"/>
                </a:cubicBezTo>
                <a:cubicBezTo>
                  <a:pt x="35" y="102"/>
                  <a:pt x="39" y="106"/>
                  <a:pt x="47" y="111"/>
                </a:cubicBezTo>
                <a:cubicBezTo>
                  <a:pt x="55" y="115"/>
                  <a:pt x="64" y="117"/>
                  <a:pt x="74" y="117"/>
                </a:cubicBezTo>
                <a:cubicBezTo>
                  <a:pt x="79" y="117"/>
                  <a:pt x="83" y="116"/>
                  <a:pt x="88" y="115"/>
                </a:cubicBezTo>
                <a:cubicBezTo>
                  <a:pt x="92" y="114"/>
                  <a:pt x="96" y="112"/>
                  <a:pt x="99" y="110"/>
                </a:cubicBezTo>
                <a:cubicBezTo>
                  <a:pt x="103" y="108"/>
                  <a:pt x="106" y="105"/>
                  <a:pt x="108" y="101"/>
                </a:cubicBezTo>
                <a:cubicBezTo>
                  <a:pt x="110" y="97"/>
                  <a:pt x="111" y="93"/>
                  <a:pt x="111" y="8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0" name="Freeform 351"/>
          <p:cNvSpPr>
            <a:spLocks noChangeAspect="1" noEditPoints="1"/>
          </p:cNvSpPr>
          <p:nvPr/>
        </p:nvSpPr>
        <p:spPr bwMode="auto">
          <a:xfrm>
            <a:off x="6557969" y="4020843"/>
            <a:ext cx="117098" cy="163938"/>
          </a:xfrm>
          <a:custGeom>
            <a:avLst/>
            <a:gdLst>
              <a:gd name="T0" fmla="*/ 111 w 113"/>
              <a:gd name="T1" fmla="*/ 20 h 158"/>
              <a:gd name="T2" fmla="*/ 106 w 113"/>
              <a:gd name="T3" fmla="*/ 45 h 158"/>
              <a:gd name="T4" fmla="*/ 100 w 113"/>
              <a:gd name="T5" fmla="*/ 79 h 158"/>
              <a:gd name="T6" fmla="*/ 96 w 113"/>
              <a:gd name="T7" fmla="*/ 95 h 158"/>
              <a:gd name="T8" fmla="*/ 96 w 113"/>
              <a:gd name="T9" fmla="*/ 98 h 158"/>
              <a:gd name="T10" fmla="*/ 94 w 113"/>
              <a:gd name="T11" fmla="*/ 101 h 158"/>
              <a:gd name="T12" fmla="*/ 92 w 113"/>
              <a:gd name="T13" fmla="*/ 104 h 158"/>
              <a:gd name="T14" fmla="*/ 88 w 113"/>
              <a:gd name="T15" fmla="*/ 106 h 158"/>
              <a:gd name="T16" fmla="*/ 83 w 113"/>
              <a:gd name="T17" fmla="*/ 107 h 158"/>
              <a:gd name="T18" fmla="*/ 57 w 113"/>
              <a:gd name="T19" fmla="*/ 107 h 158"/>
              <a:gd name="T20" fmla="*/ 55 w 113"/>
              <a:gd name="T21" fmla="*/ 108 h 158"/>
              <a:gd name="T22" fmla="*/ 15 w 113"/>
              <a:gd name="T23" fmla="*/ 155 h 158"/>
              <a:gd name="T24" fmla="*/ 9 w 113"/>
              <a:gd name="T25" fmla="*/ 157 h 158"/>
              <a:gd name="T26" fmla="*/ 5 w 113"/>
              <a:gd name="T27" fmla="*/ 157 h 158"/>
              <a:gd name="T28" fmla="*/ 0 w 113"/>
              <a:gd name="T29" fmla="*/ 148 h 158"/>
              <a:gd name="T30" fmla="*/ 0 w 113"/>
              <a:gd name="T31" fmla="*/ 14 h 158"/>
              <a:gd name="T32" fmla="*/ 3 w 113"/>
              <a:gd name="T33" fmla="*/ 5 h 158"/>
              <a:gd name="T34" fmla="*/ 14 w 113"/>
              <a:gd name="T35" fmla="*/ 0 h 158"/>
              <a:gd name="T36" fmla="*/ 98 w 113"/>
              <a:gd name="T37" fmla="*/ 0 h 158"/>
              <a:gd name="T38" fmla="*/ 110 w 113"/>
              <a:gd name="T39" fmla="*/ 5 h 158"/>
              <a:gd name="T40" fmla="*/ 111 w 113"/>
              <a:gd name="T41" fmla="*/ 20 h 158"/>
              <a:gd name="T42" fmla="*/ 90 w 113"/>
              <a:gd name="T43" fmla="*/ 41 h 158"/>
              <a:gd name="T44" fmla="*/ 93 w 113"/>
              <a:gd name="T45" fmla="*/ 23 h 158"/>
              <a:gd name="T46" fmla="*/ 93 w 113"/>
              <a:gd name="T47" fmla="*/ 19 h 158"/>
              <a:gd name="T48" fmla="*/ 89 w 113"/>
              <a:gd name="T49" fmla="*/ 18 h 158"/>
              <a:gd name="T50" fmla="*/ 22 w 113"/>
              <a:gd name="T51" fmla="*/ 18 h 158"/>
              <a:gd name="T52" fmla="*/ 18 w 113"/>
              <a:gd name="T53" fmla="*/ 19 h 158"/>
              <a:gd name="T54" fmla="*/ 17 w 113"/>
              <a:gd name="T55" fmla="*/ 23 h 158"/>
              <a:gd name="T56" fmla="*/ 17 w 113"/>
              <a:gd name="T57" fmla="*/ 127 h 158"/>
              <a:gd name="T58" fmla="*/ 17 w 113"/>
              <a:gd name="T59" fmla="*/ 127 h 158"/>
              <a:gd name="T60" fmla="*/ 45 w 113"/>
              <a:gd name="T61" fmla="*/ 94 h 158"/>
              <a:gd name="T62" fmla="*/ 49 w 113"/>
              <a:gd name="T63" fmla="*/ 90 h 158"/>
              <a:gd name="T64" fmla="*/ 53 w 113"/>
              <a:gd name="T65" fmla="*/ 90 h 158"/>
              <a:gd name="T66" fmla="*/ 76 w 113"/>
              <a:gd name="T67" fmla="*/ 90 h 158"/>
              <a:gd name="T68" fmla="*/ 79 w 113"/>
              <a:gd name="T69" fmla="*/ 88 h 158"/>
              <a:gd name="T70" fmla="*/ 81 w 113"/>
              <a:gd name="T71" fmla="*/ 85 h 158"/>
              <a:gd name="T72" fmla="*/ 84 w 113"/>
              <a:gd name="T73" fmla="*/ 67 h 158"/>
              <a:gd name="T74" fmla="*/ 83 w 113"/>
              <a:gd name="T75" fmla="*/ 64 h 158"/>
              <a:gd name="T76" fmla="*/ 80 w 113"/>
              <a:gd name="T77" fmla="*/ 62 h 158"/>
              <a:gd name="T78" fmla="*/ 52 w 113"/>
              <a:gd name="T79" fmla="*/ 62 h 158"/>
              <a:gd name="T80" fmla="*/ 47 w 113"/>
              <a:gd name="T81" fmla="*/ 60 h 158"/>
              <a:gd name="T82" fmla="*/ 46 w 113"/>
              <a:gd name="T83" fmla="*/ 56 h 158"/>
              <a:gd name="T84" fmla="*/ 46 w 113"/>
              <a:gd name="T85" fmla="*/ 52 h 158"/>
              <a:gd name="T86" fmla="*/ 47 w 113"/>
              <a:gd name="T87" fmla="*/ 47 h 158"/>
              <a:gd name="T88" fmla="*/ 52 w 113"/>
              <a:gd name="T89" fmla="*/ 45 h 158"/>
              <a:gd name="T90" fmla="*/ 85 w 113"/>
              <a:gd name="T91" fmla="*/ 45 h 158"/>
              <a:gd name="T92" fmla="*/ 88 w 113"/>
              <a:gd name="T93" fmla="*/ 44 h 158"/>
              <a:gd name="T94" fmla="*/ 90 w 113"/>
              <a:gd name="T95" fmla="*/ 41 h 158"/>
              <a:gd name="T96" fmla="*/ 111 w 113"/>
              <a:gd name="T97" fmla="*/ 20 h 158"/>
              <a:gd name="T98" fmla="*/ 96 w 113"/>
              <a:gd name="T99" fmla="*/ 95 h 158"/>
              <a:gd name="T100" fmla="*/ 100 w 113"/>
              <a:gd name="T101" fmla="*/ 79 h 158"/>
              <a:gd name="T102" fmla="*/ 106 w 113"/>
              <a:gd name="T103" fmla="*/ 45 h 158"/>
              <a:gd name="T104" fmla="*/ 111 w 113"/>
              <a:gd name="T105" fmla="*/ 2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3" h="158">
                <a:moveTo>
                  <a:pt x="111" y="20"/>
                </a:moveTo>
                <a:cubicBezTo>
                  <a:pt x="110" y="25"/>
                  <a:pt x="109" y="33"/>
                  <a:pt x="106" y="45"/>
                </a:cubicBezTo>
                <a:cubicBezTo>
                  <a:pt x="104" y="58"/>
                  <a:pt x="102" y="69"/>
                  <a:pt x="100" y="79"/>
                </a:cubicBezTo>
                <a:cubicBezTo>
                  <a:pt x="98" y="88"/>
                  <a:pt x="97" y="94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5" y="99"/>
                  <a:pt x="95" y="100"/>
                  <a:pt x="94" y="101"/>
                </a:cubicBezTo>
                <a:cubicBezTo>
                  <a:pt x="94" y="102"/>
                  <a:pt x="93" y="104"/>
                  <a:pt x="92" y="104"/>
                </a:cubicBezTo>
                <a:cubicBezTo>
                  <a:pt x="91" y="105"/>
                  <a:pt x="90" y="106"/>
                  <a:pt x="88" y="106"/>
                </a:cubicBezTo>
                <a:cubicBezTo>
                  <a:pt x="87" y="107"/>
                  <a:pt x="85" y="107"/>
                  <a:pt x="83" y="107"/>
                </a:cubicBezTo>
                <a:cubicBezTo>
                  <a:pt x="57" y="107"/>
                  <a:pt x="57" y="107"/>
                  <a:pt x="57" y="107"/>
                </a:cubicBezTo>
                <a:cubicBezTo>
                  <a:pt x="56" y="107"/>
                  <a:pt x="56" y="107"/>
                  <a:pt x="55" y="108"/>
                </a:cubicBezTo>
                <a:cubicBezTo>
                  <a:pt x="55" y="109"/>
                  <a:pt x="41" y="124"/>
                  <a:pt x="15" y="155"/>
                </a:cubicBezTo>
                <a:cubicBezTo>
                  <a:pt x="13" y="156"/>
                  <a:pt x="12" y="157"/>
                  <a:pt x="9" y="157"/>
                </a:cubicBezTo>
                <a:cubicBezTo>
                  <a:pt x="7" y="158"/>
                  <a:pt x="5" y="158"/>
                  <a:pt x="5" y="157"/>
                </a:cubicBezTo>
                <a:cubicBezTo>
                  <a:pt x="1" y="156"/>
                  <a:pt x="0" y="152"/>
                  <a:pt x="0" y="148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1"/>
                  <a:pt x="1" y="8"/>
                  <a:pt x="3" y="5"/>
                </a:cubicBezTo>
                <a:cubicBezTo>
                  <a:pt x="6" y="2"/>
                  <a:pt x="9" y="0"/>
                  <a:pt x="14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104" y="0"/>
                  <a:pt x="108" y="2"/>
                  <a:pt x="110" y="5"/>
                </a:cubicBezTo>
                <a:cubicBezTo>
                  <a:pt x="112" y="9"/>
                  <a:pt x="113" y="14"/>
                  <a:pt x="111" y="20"/>
                </a:cubicBezTo>
                <a:close/>
                <a:moveTo>
                  <a:pt x="90" y="41"/>
                </a:moveTo>
                <a:cubicBezTo>
                  <a:pt x="93" y="23"/>
                  <a:pt x="93" y="23"/>
                  <a:pt x="93" y="23"/>
                </a:cubicBezTo>
                <a:cubicBezTo>
                  <a:pt x="94" y="21"/>
                  <a:pt x="93" y="20"/>
                  <a:pt x="93" y="19"/>
                </a:cubicBezTo>
                <a:cubicBezTo>
                  <a:pt x="92" y="18"/>
                  <a:pt x="91" y="18"/>
                  <a:pt x="89" y="18"/>
                </a:cubicBezTo>
                <a:cubicBezTo>
                  <a:pt x="22" y="18"/>
                  <a:pt x="22" y="18"/>
                  <a:pt x="22" y="18"/>
                </a:cubicBezTo>
                <a:cubicBezTo>
                  <a:pt x="20" y="18"/>
                  <a:pt x="19" y="18"/>
                  <a:pt x="18" y="19"/>
                </a:cubicBezTo>
                <a:cubicBezTo>
                  <a:pt x="17" y="20"/>
                  <a:pt x="17" y="21"/>
                  <a:pt x="17" y="23"/>
                </a:cubicBezTo>
                <a:cubicBezTo>
                  <a:pt x="17" y="127"/>
                  <a:pt x="17" y="127"/>
                  <a:pt x="17" y="127"/>
                </a:cubicBezTo>
                <a:cubicBezTo>
                  <a:pt x="17" y="127"/>
                  <a:pt x="17" y="127"/>
                  <a:pt x="17" y="127"/>
                </a:cubicBezTo>
                <a:cubicBezTo>
                  <a:pt x="45" y="94"/>
                  <a:pt x="45" y="94"/>
                  <a:pt x="45" y="94"/>
                </a:cubicBezTo>
                <a:cubicBezTo>
                  <a:pt x="46" y="92"/>
                  <a:pt x="48" y="91"/>
                  <a:pt x="49" y="90"/>
                </a:cubicBezTo>
                <a:cubicBezTo>
                  <a:pt x="49" y="90"/>
                  <a:pt x="51" y="90"/>
                  <a:pt x="53" y="90"/>
                </a:cubicBezTo>
                <a:cubicBezTo>
                  <a:pt x="76" y="90"/>
                  <a:pt x="76" y="90"/>
                  <a:pt x="76" y="90"/>
                </a:cubicBezTo>
                <a:cubicBezTo>
                  <a:pt x="77" y="90"/>
                  <a:pt x="78" y="89"/>
                  <a:pt x="79" y="88"/>
                </a:cubicBezTo>
                <a:cubicBezTo>
                  <a:pt x="80" y="87"/>
                  <a:pt x="81" y="86"/>
                  <a:pt x="81" y="85"/>
                </a:cubicBezTo>
                <a:cubicBezTo>
                  <a:pt x="82" y="77"/>
                  <a:pt x="84" y="71"/>
                  <a:pt x="84" y="67"/>
                </a:cubicBezTo>
                <a:cubicBezTo>
                  <a:pt x="85" y="66"/>
                  <a:pt x="84" y="65"/>
                  <a:pt x="83" y="64"/>
                </a:cubicBezTo>
                <a:cubicBezTo>
                  <a:pt x="82" y="62"/>
                  <a:pt x="81" y="62"/>
                  <a:pt x="80" y="62"/>
                </a:cubicBezTo>
                <a:cubicBezTo>
                  <a:pt x="52" y="62"/>
                  <a:pt x="52" y="62"/>
                  <a:pt x="52" y="62"/>
                </a:cubicBezTo>
                <a:cubicBezTo>
                  <a:pt x="50" y="62"/>
                  <a:pt x="49" y="61"/>
                  <a:pt x="47" y="60"/>
                </a:cubicBezTo>
                <a:cubicBezTo>
                  <a:pt x="46" y="59"/>
                  <a:pt x="46" y="57"/>
                  <a:pt x="46" y="56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50"/>
                  <a:pt x="46" y="48"/>
                  <a:pt x="47" y="47"/>
                </a:cubicBezTo>
                <a:cubicBezTo>
                  <a:pt x="49" y="46"/>
                  <a:pt x="50" y="45"/>
                  <a:pt x="52" y="45"/>
                </a:cubicBezTo>
                <a:cubicBezTo>
                  <a:pt x="85" y="45"/>
                  <a:pt x="85" y="45"/>
                  <a:pt x="85" y="45"/>
                </a:cubicBezTo>
                <a:cubicBezTo>
                  <a:pt x="86" y="45"/>
                  <a:pt x="87" y="45"/>
                  <a:pt x="88" y="44"/>
                </a:cubicBezTo>
                <a:cubicBezTo>
                  <a:pt x="89" y="43"/>
                  <a:pt x="90" y="42"/>
                  <a:pt x="90" y="41"/>
                </a:cubicBezTo>
                <a:close/>
                <a:moveTo>
                  <a:pt x="111" y="20"/>
                </a:moveTo>
                <a:cubicBezTo>
                  <a:pt x="96" y="95"/>
                  <a:pt x="96" y="95"/>
                  <a:pt x="96" y="95"/>
                </a:cubicBezTo>
                <a:cubicBezTo>
                  <a:pt x="97" y="94"/>
                  <a:pt x="98" y="88"/>
                  <a:pt x="100" y="79"/>
                </a:cubicBezTo>
                <a:cubicBezTo>
                  <a:pt x="102" y="69"/>
                  <a:pt x="104" y="58"/>
                  <a:pt x="106" y="45"/>
                </a:cubicBezTo>
                <a:cubicBezTo>
                  <a:pt x="109" y="33"/>
                  <a:pt x="110" y="25"/>
                  <a:pt x="111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1" name="Freeform 352"/>
          <p:cNvSpPr>
            <a:spLocks noChangeAspect="1" noEditPoints="1"/>
          </p:cNvSpPr>
          <p:nvPr/>
        </p:nvSpPr>
        <p:spPr bwMode="auto">
          <a:xfrm>
            <a:off x="6723468" y="4033334"/>
            <a:ext cx="151447" cy="151447"/>
          </a:xfrm>
          <a:custGeom>
            <a:avLst/>
            <a:gdLst>
              <a:gd name="T0" fmla="*/ 145 w 145"/>
              <a:gd name="T1" fmla="*/ 6 h 146"/>
              <a:gd name="T2" fmla="*/ 145 w 145"/>
              <a:gd name="T3" fmla="*/ 139 h 146"/>
              <a:gd name="T4" fmla="*/ 143 w 145"/>
              <a:gd name="T5" fmla="*/ 144 h 146"/>
              <a:gd name="T6" fmla="*/ 139 w 145"/>
              <a:gd name="T7" fmla="*/ 146 h 146"/>
              <a:gd name="T8" fmla="*/ 6 w 145"/>
              <a:gd name="T9" fmla="*/ 146 h 146"/>
              <a:gd name="T10" fmla="*/ 2 w 145"/>
              <a:gd name="T11" fmla="*/ 144 h 146"/>
              <a:gd name="T12" fmla="*/ 0 w 145"/>
              <a:gd name="T13" fmla="*/ 139 h 146"/>
              <a:gd name="T14" fmla="*/ 0 w 145"/>
              <a:gd name="T15" fmla="*/ 6 h 146"/>
              <a:gd name="T16" fmla="*/ 2 w 145"/>
              <a:gd name="T17" fmla="*/ 2 h 146"/>
              <a:gd name="T18" fmla="*/ 6 w 145"/>
              <a:gd name="T19" fmla="*/ 0 h 146"/>
              <a:gd name="T20" fmla="*/ 139 w 145"/>
              <a:gd name="T21" fmla="*/ 0 h 146"/>
              <a:gd name="T22" fmla="*/ 143 w 145"/>
              <a:gd name="T23" fmla="*/ 2 h 146"/>
              <a:gd name="T24" fmla="*/ 145 w 145"/>
              <a:gd name="T25" fmla="*/ 6 h 146"/>
              <a:gd name="T26" fmla="*/ 66 w 145"/>
              <a:gd name="T27" fmla="*/ 115 h 146"/>
              <a:gd name="T28" fmla="*/ 66 w 145"/>
              <a:gd name="T29" fmla="*/ 18 h 146"/>
              <a:gd name="T30" fmla="*/ 65 w 145"/>
              <a:gd name="T31" fmla="*/ 16 h 146"/>
              <a:gd name="T32" fmla="*/ 63 w 145"/>
              <a:gd name="T33" fmla="*/ 15 h 146"/>
              <a:gd name="T34" fmla="*/ 18 w 145"/>
              <a:gd name="T35" fmla="*/ 15 h 146"/>
              <a:gd name="T36" fmla="*/ 16 w 145"/>
              <a:gd name="T37" fmla="*/ 16 h 146"/>
              <a:gd name="T38" fmla="*/ 15 w 145"/>
              <a:gd name="T39" fmla="*/ 18 h 146"/>
              <a:gd name="T40" fmla="*/ 15 w 145"/>
              <a:gd name="T41" fmla="*/ 115 h 146"/>
              <a:gd name="T42" fmla="*/ 16 w 145"/>
              <a:gd name="T43" fmla="*/ 117 h 146"/>
              <a:gd name="T44" fmla="*/ 18 w 145"/>
              <a:gd name="T45" fmla="*/ 118 h 146"/>
              <a:gd name="T46" fmla="*/ 63 w 145"/>
              <a:gd name="T47" fmla="*/ 118 h 146"/>
              <a:gd name="T48" fmla="*/ 65 w 145"/>
              <a:gd name="T49" fmla="*/ 117 h 146"/>
              <a:gd name="T50" fmla="*/ 66 w 145"/>
              <a:gd name="T51" fmla="*/ 115 h 146"/>
              <a:gd name="T52" fmla="*/ 130 w 145"/>
              <a:gd name="T53" fmla="*/ 79 h 146"/>
              <a:gd name="T54" fmla="*/ 130 w 145"/>
              <a:gd name="T55" fmla="*/ 18 h 146"/>
              <a:gd name="T56" fmla="*/ 129 w 145"/>
              <a:gd name="T57" fmla="*/ 16 h 146"/>
              <a:gd name="T58" fmla="*/ 127 w 145"/>
              <a:gd name="T59" fmla="*/ 15 h 146"/>
              <a:gd name="T60" fmla="*/ 81 w 145"/>
              <a:gd name="T61" fmla="*/ 15 h 146"/>
              <a:gd name="T62" fmla="*/ 79 w 145"/>
              <a:gd name="T63" fmla="*/ 16 h 146"/>
              <a:gd name="T64" fmla="*/ 78 w 145"/>
              <a:gd name="T65" fmla="*/ 18 h 146"/>
              <a:gd name="T66" fmla="*/ 78 w 145"/>
              <a:gd name="T67" fmla="*/ 79 h 146"/>
              <a:gd name="T68" fmla="*/ 79 w 145"/>
              <a:gd name="T69" fmla="*/ 81 h 146"/>
              <a:gd name="T70" fmla="*/ 81 w 145"/>
              <a:gd name="T71" fmla="*/ 82 h 146"/>
              <a:gd name="T72" fmla="*/ 127 w 145"/>
              <a:gd name="T73" fmla="*/ 82 h 146"/>
              <a:gd name="T74" fmla="*/ 129 w 145"/>
              <a:gd name="T75" fmla="*/ 81 h 146"/>
              <a:gd name="T76" fmla="*/ 130 w 145"/>
              <a:gd name="T77" fmla="*/ 7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46">
                <a:moveTo>
                  <a:pt x="145" y="6"/>
                </a:moveTo>
                <a:cubicBezTo>
                  <a:pt x="145" y="139"/>
                  <a:pt x="145" y="139"/>
                  <a:pt x="145" y="139"/>
                </a:cubicBezTo>
                <a:cubicBezTo>
                  <a:pt x="145" y="141"/>
                  <a:pt x="144" y="143"/>
                  <a:pt x="143" y="144"/>
                </a:cubicBezTo>
                <a:cubicBezTo>
                  <a:pt x="142" y="145"/>
                  <a:pt x="141" y="146"/>
                  <a:pt x="139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4" y="146"/>
                  <a:pt x="3" y="145"/>
                  <a:pt x="2" y="144"/>
                </a:cubicBezTo>
                <a:cubicBezTo>
                  <a:pt x="0" y="143"/>
                  <a:pt x="0" y="141"/>
                  <a:pt x="0" y="13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1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lose/>
                <a:moveTo>
                  <a:pt x="66" y="115"/>
                </a:moveTo>
                <a:cubicBezTo>
                  <a:pt x="66" y="18"/>
                  <a:pt x="66" y="18"/>
                  <a:pt x="66" y="18"/>
                </a:cubicBezTo>
                <a:cubicBezTo>
                  <a:pt x="66" y="18"/>
                  <a:pt x="66" y="17"/>
                  <a:pt x="65" y="16"/>
                </a:cubicBezTo>
                <a:cubicBezTo>
                  <a:pt x="65" y="16"/>
                  <a:pt x="64" y="15"/>
                  <a:pt x="63" y="15"/>
                </a:cubicBezTo>
                <a:cubicBezTo>
                  <a:pt x="18" y="15"/>
                  <a:pt x="18" y="15"/>
                  <a:pt x="18" y="15"/>
                </a:cubicBezTo>
                <a:cubicBezTo>
                  <a:pt x="17" y="15"/>
                  <a:pt x="16" y="16"/>
                  <a:pt x="16" y="16"/>
                </a:cubicBezTo>
                <a:cubicBezTo>
                  <a:pt x="15" y="17"/>
                  <a:pt x="15" y="18"/>
                  <a:pt x="15" y="18"/>
                </a:cubicBezTo>
                <a:cubicBezTo>
                  <a:pt x="15" y="115"/>
                  <a:pt x="15" y="115"/>
                  <a:pt x="15" y="115"/>
                </a:cubicBezTo>
                <a:cubicBezTo>
                  <a:pt x="15" y="116"/>
                  <a:pt x="15" y="117"/>
                  <a:pt x="16" y="117"/>
                </a:cubicBezTo>
                <a:cubicBezTo>
                  <a:pt x="16" y="118"/>
                  <a:pt x="17" y="118"/>
                  <a:pt x="18" y="118"/>
                </a:cubicBezTo>
                <a:cubicBezTo>
                  <a:pt x="63" y="118"/>
                  <a:pt x="63" y="118"/>
                  <a:pt x="63" y="118"/>
                </a:cubicBezTo>
                <a:cubicBezTo>
                  <a:pt x="64" y="118"/>
                  <a:pt x="65" y="118"/>
                  <a:pt x="65" y="117"/>
                </a:cubicBezTo>
                <a:cubicBezTo>
                  <a:pt x="66" y="117"/>
                  <a:pt x="66" y="116"/>
                  <a:pt x="66" y="115"/>
                </a:cubicBezTo>
                <a:close/>
                <a:moveTo>
                  <a:pt x="130" y="79"/>
                </a:moveTo>
                <a:cubicBezTo>
                  <a:pt x="130" y="18"/>
                  <a:pt x="130" y="18"/>
                  <a:pt x="130" y="18"/>
                </a:cubicBezTo>
                <a:cubicBezTo>
                  <a:pt x="130" y="18"/>
                  <a:pt x="130" y="17"/>
                  <a:pt x="129" y="16"/>
                </a:cubicBezTo>
                <a:cubicBezTo>
                  <a:pt x="128" y="16"/>
                  <a:pt x="128" y="15"/>
                  <a:pt x="127" y="15"/>
                </a:cubicBezTo>
                <a:cubicBezTo>
                  <a:pt x="81" y="15"/>
                  <a:pt x="81" y="15"/>
                  <a:pt x="81" y="15"/>
                </a:cubicBezTo>
                <a:cubicBezTo>
                  <a:pt x="81" y="15"/>
                  <a:pt x="80" y="16"/>
                  <a:pt x="79" y="16"/>
                </a:cubicBezTo>
                <a:cubicBezTo>
                  <a:pt x="79" y="17"/>
                  <a:pt x="78" y="18"/>
                  <a:pt x="78" y="18"/>
                </a:cubicBezTo>
                <a:cubicBezTo>
                  <a:pt x="78" y="79"/>
                  <a:pt x="78" y="79"/>
                  <a:pt x="78" y="79"/>
                </a:cubicBezTo>
                <a:cubicBezTo>
                  <a:pt x="78" y="80"/>
                  <a:pt x="79" y="81"/>
                  <a:pt x="79" y="81"/>
                </a:cubicBezTo>
                <a:cubicBezTo>
                  <a:pt x="80" y="82"/>
                  <a:pt x="81" y="82"/>
                  <a:pt x="81" y="82"/>
                </a:cubicBezTo>
                <a:cubicBezTo>
                  <a:pt x="127" y="82"/>
                  <a:pt x="127" y="82"/>
                  <a:pt x="127" y="82"/>
                </a:cubicBezTo>
                <a:cubicBezTo>
                  <a:pt x="128" y="82"/>
                  <a:pt x="128" y="82"/>
                  <a:pt x="129" y="81"/>
                </a:cubicBezTo>
                <a:cubicBezTo>
                  <a:pt x="130" y="81"/>
                  <a:pt x="130" y="80"/>
                  <a:pt x="130" y="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2" name="Freeform 353"/>
          <p:cNvSpPr>
            <a:spLocks noChangeAspect="1" noEditPoints="1"/>
          </p:cNvSpPr>
          <p:nvPr/>
        </p:nvSpPr>
        <p:spPr bwMode="auto">
          <a:xfrm>
            <a:off x="6920193" y="4023966"/>
            <a:ext cx="124905" cy="173305"/>
          </a:xfrm>
          <a:custGeom>
            <a:avLst/>
            <a:gdLst>
              <a:gd name="T0" fmla="*/ 121 w 121"/>
              <a:gd name="T1" fmla="*/ 97 h 167"/>
              <a:gd name="T2" fmla="*/ 119 w 121"/>
              <a:gd name="T3" fmla="*/ 103 h 167"/>
              <a:gd name="T4" fmla="*/ 112 w 121"/>
              <a:gd name="T5" fmla="*/ 106 h 167"/>
              <a:gd name="T6" fmla="*/ 105 w 121"/>
              <a:gd name="T7" fmla="*/ 102 h 167"/>
              <a:gd name="T8" fmla="*/ 83 w 121"/>
              <a:gd name="T9" fmla="*/ 70 h 167"/>
              <a:gd name="T10" fmla="*/ 79 w 121"/>
              <a:gd name="T11" fmla="*/ 70 h 167"/>
              <a:gd name="T12" fmla="*/ 79 w 121"/>
              <a:gd name="T13" fmla="*/ 82 h 167"/>
              <a:gd name="T14" fmla="*/ 102 w 121"/>
              <a:gd name="T15" fmla="*/ 121 h 167"/>
              <a:gd name="T16" fmla="*/ 103 w 121"/>
              <a:gd name="T17" fmla="*/ 124 h 167"/>
              <a:gd name="T18" fmla="*/ 101 w 121"/>
              <a:gd name="T19" fmla="*/ 129 h 167"/>
              <a:gd name="T20" fmla="*/ 97 w 121"/>
              <a:gd name="T21" fmla="*/ 130 h 167"/>
              <a:gd name="T22" fmla="*/ 79 w 121"/>
              <a:gd name="T23" fmla="*/ 130 h 167"/>
              <a:gd name="T24" fmla="*/ 79 w 121"/>
              <a:gd name="T25" fmla="*/ 156 h 167"/>
              <a:gd name="T26" fmla="*/ 76 w 121"/>
              <a:gd name="T27" fmla="*/ 164 h 167"/>
              <a:gd name="T28" fmla="*/ 68 w 121"/>
              <a:gd name="T29" fmla="*/ 167 h 167"/>
              <a:gd name="T30" fmla="*/ 53 w 121"/>
              <a:gd name="T31" fmla="*/ 167 h 167"/>
              <a:gd name="T32" fmla="*/ 46 w 121"/>
              <a:gd name="T33" fmla="*/ 164 h 167"/>
              <a:gd name="T34" fmla="*/ 43 w 121"/>
              <a:gd name="T35" fmla="*/ 156 h 167"/>
              <a:gd name="T36" fmla="*/ 43 w 121"/>
              <a:gd name="T37" fmla="*/ 130 h 167"/>
              <a:gd name="T38" fmla="*/ 24 w 121"/>
              <a:gd name="T39" fmla="*/ 130 h 167"/>
              <a:gd name="T40" fmla="*/ 20 w 121"/>
              <a:gd name="T41" fmla="*/ 129 h 167"/>
              <a:gd name="T42" fmla="*/ 18 w 121"/>
              <a:gd name="T43" fmla="*/ 124 h 167"/>
              <a:gd name="T44" fmla="*/ 19 w 121"/>
              <a:gd name="T45" fmla="*/ 121 h 167"/>
              <a:gd name="T46" fmla="*/ 43 w 121"/>
              <a:gd name="T47" fmla="*/ 82 h 167"/>
              <a:gd name="T48" fmla="*/ 43 w 121"/>
              <a:gd name="T49" fmla="*/ 70 h 167"/>
              <a:gd name="T50" fmla="*/ 38 w 121"/>
              <a:gd name="T51" fmla="*/ 70 h 167"/>
              <a:gd name="T52" fmla="*/ 17 w 121"/>
              <a:gd name="T53" fmla="*/ 102 h 167"/>
              <a:gd name="T54" fmla="*/ 9 w 121"/>
              <a:gd name="T55" fmla="*/ 106 h 167"/>
              <a:gd name="T56" fmla="*/ 3 w 121"/>
              <a:gd name="T57" fmla="*/ 103 h 167"/>
              <a:gd name="T58" fmla="*/ 0 w 121"/>
              <a:gd name="T59" fmla="*/ 97 h 167"/>
              <a:gd name="T60" fmla="*/ 2 w 121"/>
              <a:gd name="T61" fmla="*/ 92 h 167"/>
              <a:gd name="T62" fmla="*/ 26 w 121"/>
              <a:gd name="T63" fmla="*/ 56 h 167"/>
              <a:gd name="T64" fmla="*/ 43 w 121"/>
              <a:gd name="T65" fmla="*/ 46 h 167"/>
              <a:gd name="T66" fmla="*/ 79 w 121"/>
              <a:gd name="T67" fmla="*/ 46 h 167"/>
              <a:gd name="T68" fmla="*/ 96 w 121"/>
              <a:gd name="T69" fmla="*/ 56 h 167"/>
              <a:gd name="T70" fmla="*/ 120 w 121"/>
              <a:gd name="T71" fmla="*/ 92 h 167"/>
              <a:gd name="T72" fmla="*/ 121 w 121"/>
              <a:gd name="T73" fmla="*/ 97 h 167"/>
              <a:gd name="T74" fmla="*/ 76 w 121"/>
              <a:gd name="T75" fmla="*/ 6 h 167"/>
              <a:gd name="T76" fmla="*/ 82 w 121"/>
              <a:gd name="T77" fmla="*/ 21 h 167"/>
              <a:gd name="T78" fmla="*/ 76 w 121"/>
              <a:gd name="T79" fmla="*/ 36 h 167"/>
              <a:gd name="T80" fmla="*/ 61 w 121"/>
              <a:gd name="T81" fmla="*/ 43 h 167"/>
              <a:gd name="T82" fmla="*/ 46 w 121"/>
              <a:gd name="T83" fmla="*/ 36 h 167"/>
              <a:gd name="T84" fmla="*/ 40 w 121"/>
              <a:gd name="T85" fmla="*/ 21 h 167"/>
              <a:gd name="T86" fmla="*/ 46 w 121"/>
              <a:gd name="T87" fmla="*/ 6 h 167"/>
              <a:gd name="T88" fmla="*/ 61 w 121"/>
              <a:gd name="T89" fmla="*/ 0 h 167"/>
              <a:gd name="T90" fmla="*/ 76 w 121"/>
              <a:gd name="T91" fmla="*/ 6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1" h="167">
                <a:moveTo>
                  <a:pt x="121" y="97"/>
                </a:moveTo>
                <a:cubicBezTo>
                  <a:pt x="121" y="100"/>
                  <a:pt x="120" y="102"/>
                  <a:pt x="119" y="103"/>
                </a:cubicBezTo>
                <a:cubicBezTo>
                  <a:pt x="117" y="105"/>
                  <a:pt x="115" y="106"/>
                  <a:pt x="112" y="106"/>
                </a:cubicBezTo>
                <a:cubicBezTo>
                  <a:pt x="109" y="106"/>
                  <a:pt x="106" y="105"/>
                  <a:pt x="105" y="102"/>
                </a:cubicBezTo>
                <a:cubicBezTo>
                  <a:pt x="83" y="70"/>
                  <a:pt x="83" y="70"/>
                  <a:pt x="83" y="70"/>
                </a:cubicBezTo>
                <a:cubicBezTo>
                  <a:pt x="79" y="70"/>
                  <a:pt x="79" y="70"/>
                  <a:pt x="79" y="70"/>
                </a:cubicBezTo>
                <a:cubicBezTo>
                  <a:pt x="79" y="82"/>
                  <a:pt x="79" y="82"/>
                  <a:pt x="79" y="82"/>
                </a:cubicBezTo>
                <a:cubicBezTo>
                  <a:pt x="102" y="121"/>
                  <a:pt x="102" y="121"/>
                  <a:pt x="102" y="121"/>
                </a:cubicBezTo>
                <a:cubicBezTo>
                  <a:pt x="103" y="122"/>
                  <a:pt x="103" y="123"/>
                  <a:pt x="103" y="124"/>
                </a:cubicBezTo>
                <a:cubicBezTo>
                  <a:pt x="103" y="126"/>
                  <a:pt x="103" y="127"/>
                  <a:pt x="101" y="129"/>
                </a:cubicBezTo>
                <a:cubicBezTo>
                  <a:pt x="100" y="130"/>
                  <a:pt x="99" y="130"/>
                  <a:pt x="97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56"/>
                  <a:pt x="79" y="156"/>
                  <a:pt x="79" y="156"/>
                </a:cubicBezTo>
                <a:cubicBezTo>
                  <a:pt x="79" y="159"/>
                  <a:pt x="78" y="161"/>
                  <a:pt x="76" y="164"/>
                </a:cubicBezTo>
                <a:cubicBezTo>
                  <a:pt x="74" y="166"/>
                  <a:pt x="71" y="167"/>
                  <a:pt x="68" y="167"/>
                </a:cubicBezTo>
                <a:cubicBezTo>
                  <a:pt x="53" y="167"/>
                  <a:pt x="53" y="167"/>
                  <a:pt x="53" y="167"/>
                </a:cubicBezTo>
                <a:cubicBezTo>
                  <a:pt x="50" y="167"/>
                  <a:pt x="48" y="166"/>
                  <a:pt x="46" y="164"/>
                </a:cubicBezTo>
                <a:cubicBezTo>
                  <a:pt x="44" y="161"/>
                  <a:pt x="43" y="159"/>
                  <a:pt x="43" y="156"/>
                </a:cubicBezTo>
                <a:cubicBezTo>
                  <a:pt x="43" y="130"/>
                  <a:pt x="43" y="130"/>
                  <a:pt x="43" y="130"/>
                </a:cubicBezTo>
                <a:cubicBezTo>
                  <a:pt x="24" y="130"/>
                  <a:pt x="24" y="130"/>
                  <a:pt x="24" y="130"/>
                </a:cubicBezTo>
                <a:cubicBezTo>
                  <a:pt x="23" y="130"/>
                  <a:pt x="21" y="130"/>
                  <a:pt x="20" y="129"/>
                </a:cubicBezTo>
                <a:cubicBezTo>
                  <a:pt x="19" y="127"/>
                  <a:pt x="18" y="126"/>
                  <a:pt x="18" y="124"/>
                </a:cubicBezTo>
                <a:cubicBezTo>
                  <a:pt x="18" y="123"/>
                  <a:pt x="19" y="122"/>
                  <a:pt x="19" y="121"/>
                </a:cubicBezTo>
                <a:cubicBezTo>
                  <a:pt x="43" y="82"/>
                  <a:pt x="43" y="82"/>
                  <a:pt x="43" y="82"/>
                </a:cubicBezTo>
                <a:cubicBezTo>
                  <a:pt x="43" y="70"/>
                  <a:pt x="43" y="70"/>
                  <a:pt x="43" y="70"/>
                </a:cubicBezTo>
                <a:cubicBezTo>
                  <a:pt x="38" y="70"/>
                  <a:pt x="38" y="70"/>
                  <a:pt x="38" y="70"/>
                </a:cubicBezTo>
                <a:cubicBezTo>
                  <a:pt x="17" y="102"/>
                  <a:pt x="17" y="102"/>
                  <a:pt x="17" y="102"/>
                </a:cubicBezTo>
                <a:cubicBezTo>
                  <a:pt x="15" y="105"/>
                  <a:pt x="13" y="106"/>
                  <a:pt x="9" y="106"/>
                </a:cubicBezTo>
                <a:cubicBezTo>
                  <a:pt x="7" y="106"/>
                  <a:pt x="5" y="105"/>
                  <a:pt x="3" y="103"/>
                </a:cubicBezTo>
                <a:cubicBezTo>
                  <a:pt x="1" y="102"/>
                  <a:pt x="0" y="100"/>
                  <a:pt x="0" y="97"/>
                </a:cubicBezTo>
                <a:cubicBezTo>
                  <a:pt x="0" y="95"/>
                  <a:pt x="1" y="94"/>
                  <a:pt x="2" y="92"/>
                </a:cubicBezTo>
                <a:cubicBezTo>
                  <a:pt x="26" y="56"/>
                  <a:pt x="26" y="56"/>
                  <a:pt x="26" y="56"/>
                </a:cubicBezTo>
                <a:cubicBezTo>
                  <a:pt x="31" y="49"/>
                  <a:pt x="36" y="46"/>
                  <a:pt x="43" y="46"/>
                </a:cubicBezTo>
                <a:cubicBezTo>
                  <a:pt x="79" y="46"/>
                  <a:pt x="79" y="46"/>
                  <a:pt x="79" y="46"/>
                </a:cubicBezTo>
                <a:cubicBezTo>
                  <a:pt x="85" y="46"/>
                  <a:pt x="91" y="49"/>
                  <a:pt x="96" y="56"/>
                </a:cubicBezTo>
                <a:cubicBezTo>
                  <a:pt x="120" y="92"/>
                  <a:pt x="120" y="92"/>
                  <a:pt x="120" y="92"/>
                </a:cubicBezTo>
                <a:cubicBezTo>
                  <a:pt x="121" y="94"/>
                  <a:pt x="121" y="95"/>
                  <a:pt x="121" y="97"/>
                </a:cubicBezTo>
                <a:close/>
                <a:moveTo>
                  <a:pt x="76" y="6"/>
                </a:moveTo>
                <a:cubicBezTo>
                  <a:pt x="80" y="11"/>
                  <a:pt x="82" y="16"/>
                  <a:pt x="82" y="21"/>
                </a:cubicBezTo>
                <a:cubicBezTo>
                  <a:pt x="82" y="27"/>
                  <a:pt x="80" y="32"/>
                  <a:pt x="76" y="36"/>
                </a:cubicBezTo>
                <a:cubicBezTo>
                  <a:pt x="72" y="41"/>
                  <a:pt x="67" y="43"/>
                  <a:pt x="61" y="43"/>
                </a:cubicBezTo>
                <a:cubicBezTo>
                  <a:pt x="55" y="43"/>
                  <a:pt x="50" y="41"/>
                  <a:pt x="46" y="36"/>
                </a:cubicBezTo>
                <a:cubicBezTo>
                  <a:pt x="42" y="32"/>
                  <a:pt x="40" y="27"/>
                  <a:pt x="40" y="21"/>
                </a:cubicBezTo>
                <a:cubicBezTo>
                  <a:pt x="40" y="16"/>
                  <a:pt x="42" y="11"/>
                  <a:pt x="46" y="6"/>
                </a:cubicBezTo>
                <a:cubicBezTo>
                  <a:pt x="50" y="2"/>
                  <a:pt x="55" y="0"/>
                  <a:pt x="61" y="0"/>
                </a:cubicBezTo>
                <a:cubicBezTo>
                  <a:pt x="67" y="0"/>
                  <a:pt x="72" y="2"/>
                  <a:pt x="76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3" name="Freeform 354"/>
          <p:cNvSpPr>
            <a:spLocks noChangeAspect="1" noEditPoints="1"/>
          </p:cNvSpPr>
          <p:nvPr/>
        </p:nvSpPr>
        <p:spPr bwMode="auto">
          <a:xfrm>
            <a:off x="7091936" y="4023966"/>
            <a:ext cx="98363" cy="173305"/>
          </a:xfrm>
          <a:custGeom>
            <a:avLst/>
            <a:gdLst>
              <a:gd name="T0" fmla="*/ 96 w 96"/>
              <a:gd name="T1" fmla="*/ 64 h 167"/>
              <a:gd name="T2" fmla="*/ 96 w 96"/>
              <a:gd name="T3" fmla="*/ 103 h 167"/>
              <a:gd name="T4" fmla="*/ 94 w 96"/>
              <a:gd name="T5" fmla="*/ 110 h 167"/>
              <a:gd name="T6" fmla="*/ 87 w 96"/>
              <a:gd name="T7" fmla="*/ 112 h 167"/>
              <a:gd name="T8" fmla="*/ 81 w 96"/>
              <a:gd name="T9" fmla="*/ 110 h 167"/>
              <a:gd name="T10" fmla="*/ 78 w 96"/>
              <a:gd name="T11" fmla="*/ 103 h 167"/>
              <a:gd name="T12" fmla="*/ 78 w 96"/>
              <a:gd name="T13" fmla="*/ 70 h 167"/>
              <a:gd name="T14" fmla="*/ 72 w 96"/>
              <a:gd name="T15" fmla="*/ 70 h 167"/>
              <a:gd name="T16" fmla="*/ 72 w 96"/>
              <a:gd name="T17" fmla="*/ 156 h 167"/>
              <a:gd name="T18" fmla="*/ 69 w 96"/>
              <a:gd name="T19" fmla="*/ 164 h 167"/>
              <a:gd name="T20" fmla="*/ 62 w 96"/>
              <a:gd name="T21" fmla="*/ 167 h 167"/>
              <a:gd name="T22" fmla="*/ 54 w 96"/>
              <a:gd name="T23" fmla="*/ 164 h 167"/>
              <a:gd name="T24" fmla="*/ 51 w 96"/>
              <a:gd name="T25" fmla="*/ 156 h 167"/>
              <a:gd name="T26" fmla="*/ 51 w 96"/>
              <a:gd name="T27" fmla="*/ 112 h 167"/>
              <a:gd name="T28" fmla="*/ 45 w 96"/>
              <a:gd name="T29" fmla="*/ 112 h 167"/>
              <a:gd name="T30" fmla="*/ 45 w 96"/>
              <a:gd name="T31" fmla="*/ 156 h 167"/>
              <a:gd name="T32" fmla="*/ 42 w 96"/>
              <a:gd name="T33" fmla="*/ 164 h 167"/>
              <a:gd name="T34" fmla="*/ 34 w 96"/>
              <a:gd name="T35" fmla="*/ 167 h 167"/>
              <a:gd name="T36" fmla="*/ 27 w 96"/>
              <a:gd name="T37" fmla="*/ 164 h 167"/>
              <a:gd name="T38" fmla="*/ 24 w 96"/>
              <a:gd name="T39" fmla="*/ 156 h 167"/>
              <a:gd name="T40" fmla="*/ 24 w 96"/>
              <a:gd name="T41" fmla="*/ 70 h 167"/>
              <a:gd name="T42" fmla="*/ 18 w 96"/>
              <a:gd name="T43" fmla="*/ 70 h 167"/>
              <a:gd name="T44" fmla="*/ 18 w 96"/>
              <a:gd name="T45" fmla="*/ 103 h 167"/>
              <a:gd name="T46" fmla="*/ 15 w 96"/>
              <a:gd name="T47" fmla="*/ 110 h 167"/>
              <a:gd name="T48" fmla="*/ 9 w 96"/>
              <a:gd name="T49" fmla="*/ 112 h 167"/>
              <a:gd name="T50" fmla="*/ 2 w 96"/>
              <a:gd name="T51" fmla="*/ 110 h 167"/>
              <a:gd name="T52" fmla="*/ 0 w 96"/>
              <a:gd name="T53" fmla="*/ 103 h 167"/>
              <a:gd name="T54" fmla="*/ 0 w 96"/>
              <a:gd name="T55" fmla="*/ 64 h 167"/>
              <a:gd name="T56" fmla="*/ 5 w 96"/>
              <a:gd name="T57" fmla="*/ 51 h 167"/>
              <a:gd name="T58" fmla="*/ 18 w 96"/>
              <a:gd name="T59" fmla="*/ 46 h 167"/>
              <a:gd name="T60" fmla="*/ 78 w 96"/>
              <a:gd name="T61" fmla="*/ 46 h 167"/>
              <a:gd name="T62" fmla="*/ 91 w 96"/>
              <a:gd name="T63" fmla="*/ 51 h 167"/>
              <a:gd name="T64" fmla="*/ 96 w 96"/>
              <a:gd name="T65" fmla="*/ 64 h 167"/>
              <a:gd name="T66" fmla="*/ 63 w 96"/>
              <a:gd name="T67" fmla="*/ 6 h 167"/>
              <a:gd name="T68" fmla="*/ 69 w 96"/>
              <a:gd name="T69" fmla="*/ 21 h 167"/>
              <a:gd name="T70" fmla="*/ 63 w 96"/>
              <a:gd name="T71" fmla="*/ 36 h 167"/>
              <a:gd name="T72" fmla="*/ 48 w 96"/>
              <a:gd name="T73" fmla="*/ 43 h 167"/>
              <a:gd name="T74" fmla="*/ 33 w 96"/>
              <a:gd name="T75" fmla="*/ 36 h 167"/>
              <a:gd name="T76" fmla="*/ 27 w 96"/>
              <a:gd name="T77" fmla="*/ 21 h 167"/>
              <a:gd name="T78" fmla="*/ 33 w 96"/>
              <a:gd name="T79" fmla="*/ 6 h 167"/>
              <a:gd name="T80" fmla="*/ 48 w 96"/>
              <a:gd name="T81" fmla="*/ 0 h 167"/>
              <a:gd name="T82" fmla="*/ 63 w 96"/>
              <a:gd name="T83" fmla="*/ 6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6" h="167">
                <a:moveTo>
                  <a:pt x="96" y="64"/>
                </a:moveTo>
                <a:cubicBezTo>
                  <a:pt x="96" y="103"/>
                  <a:pt x="96" y="103"/>
                  <a:pt x="96" y="103"/>
                </a:cubicBezTo>
                <a:cubicBezTo>
                  <a:pt x="96" y="106"/>
                  <a:pt x="96" y="108"/>
                  <a:pt x="94" y="110"/>
                </a:cubicBezTo>
                <a:cubicBezTo>
                  <a:pt x="92" y="111"/>
                  <a:pt x="90" y="112"/>
                  <a:pt x="87" y="112"/>
                </a:cubicBezTo>
                <a:cubicBezTo>
                  <a:pt x="85" y="112"/>
                  <a:pt x="83" y="111"/>
                  <a:pt x="81" y="110"/>
                </a:cubicBezTo>
                <a:cubicBezTo>
                  <a:pt x="79" y="108"/>
                  <a:pt x="78" y="106"/>
                  <a:pt x="78" y="103"/>
                </a:cubicBezTo>
                <a:cubicBezTo>
                  <a:pt x="78" y="70"/>
                  <a:pt x="78" y="70"/>
                  <a:pt x="78" y="70"/>
                </a:cubicBezTo>
                <a:cubicBezTo>
                  <a:pt x="72" y="70"/>
                  <a:pt x="72" y="70"/>
                  <a:pt x="72" y="70"/>
                </a:cubicBezTo>
                <a:cubicBezTo>
                  <a:pt x="72" y="156"/>
                  <a:pt x="72" y="156"/>
                  <a:pt x="72" y="156"/>
                </a:cubicBezTo>
                <a:cubicBezTo>
                  <a:pt x="72" y="159"/>
                  <a:pt x="71" y="161"/>
                  <a:pt x="69" y="164"/>
                </a:cubicBezTo>
                <a:cubicBezTo>
                  <a:pt x="67" y="166"/>
                  <a:pt x="64" y="167"/>
                  <a:pt x="62" y="167"/>
                </a:cubicBezTo>
                <a:cubicBezTo>
                  <a:pt x="59" y="167"/>
                  <a:pt x="56" y="166"/>
                  <a:pt x="54" y="164"/>
                </a:cubicBezTo>
                <a:cubicBezTo>
                  <a:pt x="52" y="161"/>
                  <a:pt x="51" y="159"/>
                  <a:pt x="51" y="156"/>
                </a:cubicBezTo>
                <a:cubicBezTo>
                  <a:pt x="51" y="112"/>
                  <a:pt x="51" y="112"/>
                  <a:pt x="51" y="112"/>
                </a:cubicBezTo>
                <a:cubicBezTo>
                  <a:pt x="45" y="112"/>
                  <a:pt x="45" y="112"/>
                  <a:pt x="45" y="112"/>
                </a:cubicBezTo>
                <a:cubicBezTo>
                  <a:pt x="45" y="156"/>
                  <a:pt x="45" y="156"/>
                  <a:pt x="45" y="156"/>
                </a:cubicBezTo>
                <a:cubicBezTo>
                  <a:pt x="45" y="159"/>
                  <a:pt x="44" y="161"/>
                  <a:pt x="42" y="164"/>
                </a:cubicBezTo>
                <a:cubicBezTo>
                  <a:pt x="40" y="166"/>
                  <a:pt x="37" y="167"/>
                  <a:pt x="34" y="167"/>
                </a:cubicBezTo>
                <a:cubicBezTo>
                  <a:pt x="31" y="167"/>
                  <a:pt x="29" y="166"/>
                  <a:pt x="27" y="164"/>
                </a:cubicBezTo>
                <a:cubicBezTo>
                  <a:pt x="25" y="161"/>
                  <a:pt x="24" y="159"/>
                  <a:pt x="24" y="156"/>
                </a:cubicBezTo>
                <a:cubicBezTo>
                  <a:pt x="24" y="70"/>
                  <a:pt x="24" y="70"/>
                  <a:pt x="24" y="70"/>
                </a:cubicBezTo>
                <a:cubicBezTo>
                  <a:pt x="18" y="70"/>
                  <a:pt x="18" y="70"/>
                  <a:pt x="18" y="70"/>
                </a:cubicBezTo>
                <a:cubicBezTo>
                  <a:pt x="18" y="103"/>
                  <a:pt x="18" y="103"/>
                  <a:pt x="18" y="103"/>
                </a:cubicBezTo>
                <a:cubicBezTo>
                  <a:pt x="18" y="106"/>
                  <a:pt x="17" y="108"/>
                  <a:pt x="15" y="110"/>
                </a:cubicBezTo>
                <a:cubicBezTo>
                  <a:pt x="13" y="111"/>
                  <a:pt x="11" y="112"/>
                  <a:pt x="9" y="112"/>
                </a:cubicBezTo>
                <a:cubicBezTo>
                  <a:pt x="6" y="112"/>
                  <a:pt x="4" y="111"/>
                  <a:pt x="2" y="110"/>
                </a:cubicBezTo>
                <a:cubicBezTo>
                  <a:pt x="0" y="108"/>
                  <a:pt x="0" y="106"/>
                  <a:pt x="0" y="103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59"/>
                  <a:pt x="1" y="54"/>
                  <a:pt x="5" y="51"/>
                </a:cubicBezTo>
                <a:cubicBezTo>
                  <a:pt x="8" y="47"/>
                  <a:pt x="13" y="46"/>
                  <a:pt x="18" y="46"/>
                </a:cubicBezTo>
                <a:cubicBezTo>
                  <a:pt x="78" y="46"/>
                  <a:pt x="78" y="46"/>
                  <a:pt x="78" y="46"/>
                </a:cubicBezTo>
                <a:cubicBezTo>
                  <a:pt x="83" y="46"/>
                  <a:pt x="88" y="47"/>
                  <a:pt x="91" y="51"/>
                </a:cubicBezTo>
                <a:cubicBezTo>
                  <a:pt x="95" y="54"/>
                  <a:pt x="96" y="59"/>
                  <a:pt x="96" y="64"/>
                </a:cubicBezTo>
                <a:close/>
                <a:moveTo>
                  <a:pt x="63" y="6"/>
                </a:moveTo>
                <a:cubicBezTo>
                  <a:pt x="67" y="11"/>
                  <a:pt x="69" y="16"/>
                  <a:pt x="69" y="21"/>
                </a:cubicBezTo>
                <a:cubicBezTo>
                  <a:pt x="69" y="27"/>
                  <a:pt x="67" y="32"/>
                  <a:pt x="63" y="36"/>
                </a:cubicBezTo>
                <a:cubicBezTo>
                  <a:pt x="59" y="41"/>
                  <a:pt x="54" y="43"/>
                  <a:pt x="48" y="43"/>
                </a:cubicBezTo>
                <a:cubicBezTo>
                  <a:pt x="42" y="43"/>
                  <a:pt x="37" y="41"/>
                  <a:pt x="33" y="36"/>
                </a:cubicBezTo>
                <a:cubicBezTo>
                  <a:pt x="29" y="32"/>
                  <a:pt x="27" y="27"/>
                  <a:pt x="27" y="21"/>
                </a:cubicBezTo>
                <a:cubicBezTo>
                  <a:pt x="27" y="16"/>
                  <a:pt x="29" y="11"/>
                  <a:pt x="33" y="6"/>
                </a:cubicBezTo>
                <a:cubicBezTo>
                  <a:pt x="37" y="2"/>
                  <a:pt x="42" y="0"/>
                  <a:pt x="48" y="0"/>
                </a:cubicBezTo>
                <a:cubicBezTo>
                  <a:pt x="54" y="0"/>
                  <a:pt x="59" y="2"/>
                  <a:pt x="63" y="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4" name="Freeform 355"/>
          <p:cNvSpPr>
            <a:spLocks noChangeAspect="1" noEditPoints="1"/>
          </p:cNvSpPr>
          <p:nvPr/>
        </p:nvSpPr>
        <p:spPr bwMode="auto">
          <a:xfrm>
            <a:off x="7237138" y="4033334"/>
            <a:ext cx="149885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6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73 w 145"/>
              <a:gd name="T27" fmla="*/ 111 h 146"/>
              <a:gd name="T28" fmla="*/ 106 w 145"/>
              <a:gd name="T29" fmla="*/ 67 h 146"/>
              <a:gd name="T30" fmla="*/ 108 w 145"/>
              <a:gd name="T31" fmla="*/ 61 h 146"/>
              <a:gd name="T32" fmla="*/ 108 w 145"/>
              <a:gd name="T33" fmla="*/ 53 h 146"/>
              <a:gd name="T34" fmla="*/ 102 w 145"/>
              <a:gd name="T35" fmla="*/ 46 h 146"/>
              <a:gd name="T36" fmla="*/ 94 w 145"/>
              <a:gd name="T37" fmla="*/ 43 h 146"/>
              <a:gd name="T38" fmla="*/ 87 w 145"/>
              <a:gd name="T39" fmla="*/ 45 h 146"/>
              <a:gd name="T40" fmla="*/ 82 w 145"/>
              <a:gd name="T41" fmla="*/ 49 h 146"/>
              <a:gd name="T42" fmla="*/ 73 w 145"/>
              <a:gd name="T43" fmla="*/ 53 h 146"/>
              <a:gd name="T44" fmla="*/ 64 w 145"/>
              <a:gd name="T45" fmla="*/ 49 h 146"/>
              <a:gd name="T46" fmla="*/ 59 w 145"/>
              <a:gd name="T47" fmla="*/ 45 h 146"/>
              <a:gd name="T48" fmla="*/ 52 w 145"/>
              <a:gd name="T49" fmla="*/ 43 h 146"/>
              <a:gd name="T50" fmla="*/ 44 w 145"/>
              <a:gd name="T51" fmla="*/ 46 h 146"/>
              <a:gd name="T52" fmla="*/ 38 w 145"/>
              <a:gd name="T53" fmla="*/ 53 h 146"/>
              <a:gd name="T54" fmla="*/ 37 w 145"/>
              <a:gd name="T55" fmla="*/ 61 h 146"/>
              <a:gd name="T56" fmla="*/ 40 w 145"/>
              <a:gd name="T57" fmla="*/ 67 h 146"/>
              <a:gd name="T58" fmla="*/ 73 w 145"/>
              <a:gd name="T59" fmla="*/ 1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0"/>
                  <a:pt x="120" y="129"/>
                  <a:pt x="109" y="136"/>
                </a:cubicBezTo>
                <a:cubicBezTo>
                  <a:pt x="98" y="142"/>
                  <a:pt x="85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5" y="0"/>
                  <a:pt x="98" y="4"/>
                  <a:pt x="109" y="10"/>
                </a:cubicBezTo>
                <a:cubicBezTo>
                  <a:pt x="120" y="17"/>
                  <a:pt x="129" y="25"/>
                  <a:pt x="135" y="36"/>
                </a:cubicBezTo>
                <a:close/>
                <a:moveTo>
                  <a:pt x="73" y="111"/>
                </a:moveTo>
                <a:cubicBezTo>
                  <a:pt x="106" y="67"/>
                  <a:pt x="106" y="67"/>
                  <a:pt x="106" y="67"/>
                </a:cubicBezTo>
                <a:cubicBezTo>
                  <a:pt x="107" y="65"/>
                  <a:pt x="108" y="63"/>
                  <a:pt x="108" y="61"/>
                </a:cubicBezTo>
                <a:cubicBezTo>
                  <a:pt x="109" y="59"/>
                  <a:pt x="109" y="56"/>
                  <a:pt x="108" y="53"/>
                </a:cubicBezTo>
                <a:cubicBezTo>
                  <a:pt x="107" y="50"/>
                  <a:pt x="105" y="47"/>
                  <a:pt x="102" y="46"/>
                </a:cubicBezTo>
                <a:cubicBezTo>
                  <a:pt x="99" y="44"/>
                  <a:pt x="97" y="43"/>
                  <a:pt x="94" y="43"/>
                </a:cubicBezTo>
                <a:cubicBezTo>
                  <a:pt x="91" y="43"/>
                  <a:pt x="89" y="44"/>
                  <a:pt x="87" y="45"/>
                </a:cubicBezTo>
                <a:cubicBezTo>
                  <a:pt x="85" y="46"/>
                  <a:pt x="83" y="47"/>
                  <a:pt x="82" y="49"/>
                </a:cubicBezTo>
                <a:cubicBezTo>
                  <a:pt x="80" y="52"/>
                  <a:pt x="77" y="53"/>
                  <a:pt x="73" y="53"/>
                </a:cubicBezTo>
                <a:cubicBezTo>
                  <a:pt x="69" y="53"/>
                  <a:pt x="66" y="52"/>
                  <a:pt x="64" y="49"/>
                </a:cubicBezTo>
                <a:cubicBezTo>
                  <a:pt x="62" y="47"/>
                  <a:pt x="61" y="46"/>
                  <a:pt x="59" y="45"/>
                </a:cubicBezTo>
                <a:cubicBezTo>
                  <a:pt x="57" y="44"/>
                  <a:pt x="54" y="43"/>
                  <a:pt x="52" y="43"/>
                </a:cubicBezTo>
                <a:cubicBezTo>
                  <a:pt x="49" y="43"/>
                  <a:pt x="46" y="44"/>
                  <a:pt x="44" y="46"/>
                </a:cubicBezTo>
                <a:cubicBezTo>
                  <a:pt x="41" y="47"/>
                  <a:pt x="39" y="50"/>
                  <a:pt x="38" y="53"/>
                </a:cubicBezTo>
                <a:cubicBezTo>
                  <a:pt x="37" y="56"/>
                  <a:pt x="37" y="59"/>
                  <a:pt x="37" y="61"/>
                </a:cubicBezTo>
                <a:cubicBezTo>
                  <a:pt x="38" y="63"/>
                  <a:pt x="39" y="65"/>
                  <a:pt x="40" y="67"/>
                </a:cubicBezTo>
                <a:lnTo>
                  <a:pt x="73" y="11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5" name="Freeform 356"/>
          <p:cNvSpPr>
            <a:spLocks noChangeAspect="1" noEditPoints="1"/>
          </p:cNvSpPr>
          <p:nvPr/>
        </p:nvSpPr>
        <p:spPr bwMode="auto">
          <a:xfrm>
            <a:off x="7436986" y="4020843"/>
            <a:ext cx="168621" cy="176428"/>
          </a:xfrm>
          <a:custGeom>
            <a:avLst/>
            <a:gdLst>
              <a:gd name="T0" fmla="*/ 161 w 162"/>
              <a:gd name="T1" fmla="*/ 111 h 170"/>
              <a:gd name="T2" fmla="*/ 160 w 162"/>
              <a:gd name="T3" fmla="*/ 113 h 170"/>
              <a:gd name="T4" fmla="*/ 132 w 162"/>
              <a:gd name="T5" fmla="*/ 122 h 170"/>
              <a:gd name="T6" fmla="*/ 132 w 162"/>
              <a:gd name="T7" fmla="*/ 151 h 170"/>
              <a:gd name="T8" fmla="*/ 131 w 162"/>
              <a:gd name="T9" fmla="*/ 153 h 170"/>
              <a:gd name="T10" fmla="*/ 128 w 162"/>
              <a:gd name="T11" fmla="*/ 154 h 170"/>
              <a:gd name="T12" fmla="*/ 100 w 162"/>
              <a:gd name="T13" fmla="*/ 145 h 170"/>
              <a:gd name="T14" fmla="*/ 83 w 162"/>
              <a:gd name="T15" fmla="*/ 168 h 170"/>
              <a:gd name="T16" fmla="*/ 81 w 162"/>
              <a:gd name="T17" fmla="*/ 170 h 170"/>
              <a:gd name="T18" fmla="*/ 78 w 162"/>
              <a:gd name="T19" fmla="*/ 168 h 170"/>
              <a:gd name="T20" fmla="*/ 61 w 162"/>
              <a:gd name="T21" fmla="*/ 145 h 170"/>
              <a:gd name="T22" fmla="*/ 34 w 162"/>
              <a:gd name="T23" fmla="*/ 154 h 170"/>
              <a:gd name="T24" fmla="*/ 31 w 162"/>
              <a:gd name="T25" fmla="*/ 153 h 170"/>
              <a:gd name="T26" fmla="*/ 30 w 162"/>
              <a:gd name="T27" fmla="*/ 151 h 170"/>
              <a:gd name="T28" fmla="*/ 30 w 162"/>
              <a:gd name="T29" fmla="*/ 122 h 170"/>
              <a:gd name="T30" fmla="*/ 2 w 162"/>
              <a:gd name="T31" fmla="*/ 113 h 170"/>
              <a:gd name="T32" fmla="*/ 0 w 162"/>
              <a:gd name="T33" fmla="*/ 111 h 170"/>
              <a:gd name="T34" fmla="*/ 1 w 162"/>
              <a:gd name="T35" fmla="*/ 108 h 170"/>
              <a:gd name="T36" fmla="*/ 18 w 162"/>
              <a:gd name="T37" fmla="*/ 85 h 170"/>
              <a:gd name="T38" fmla="*/ 1 w 162"/>
              <a:gd name="T39" fmla="*/ 61 h 170"/>
              <a:gd name="T40" fmla="*/ 0 w 162"/>
              <a:gd name="T41" fmla="*/ 59 h 170"/>
              <a:gd name="T42" fmla="*/ 2 w 162"/>
              <a:gd name="T43" fmla="*/ 57 h 170"/>
              <a:gd name="T44" fmla="*/ 30 w 162"/>
              <a:gd name="T45" fmla="*/ 48 h 170"/>
              <a:gd name="T46" fmla="*/ 30 w 162"/>
              <a:gd name="T47" fmla="*/ 19 h 170"/>
              <a:gd name="T48" fmla="*/ 31 w 162"/>
              <a:gd name="T49" fmla="*/ 16 h 170"/>
              <a:gd name="T50" fmla="*/ 34 w 162"/>
              <a:gd name="T51" fmla="*/ 16 h 170"/>
              <a:gd name="T52" fmla="*/ 61 w 162"/>
              <a:gd name="T53" fmla="*/ 25 h 170"/>
              <a:gd name="T54" fmla="*/ 78 w 162"/>
              <a:gd name="T55" fmla="*/ 1 h 170"/>
              <a:gd name="T56" fmla="*/ 81 w 162"/>
              <a:gd name="T57" fmla="*/ 0 h 170"/>
              <a:gd name="T58" fmla="*/ 83 w 162"/>
              <a:gd name="T59" fmla="*/ 1 h 170"/>
              <a:gd name="T60" fmla="*/ 100 w 162"/>
              <a:gd name="T61" fmla="*/ 25 h 170"/>
              <a:gd name="T62" fmla="*/ 128 w 162"/>
              <a:gd name="T63" fmla="*/ 16 h 170"/>
              <a:gd name="T64" fmla="*/ 131 w 162"/>
              <a:gd name="T65" fmla="*/ 16 h 170"/>
              <a:gd name="T66" fmla="*/ 132 w 162"/>
              <a:gd name="T67" fmla="*/ 19 h 170"/>
              <a:gd name="T68" fmla="*/ 132 w 162"/>
              <a:gd name="T69" fmla="*/ 48 h 170"/>
              <a:gd name="T70" fmla="*/ 160 w 162"/>
              <a:gd name="T71" fmla="*/ 57 h 170"/>
              <a:gd name="T72" fmla="*/ 161 w 162"/>
              <a:gd name="T73" fmla="*/ 59 h 170"/>
              <a:gd name="T74" fmla="*/ 161 w 162"/>
              <a:gd name="T75" fmla="*/ 61 h 170"/>
              <a:gd name="T76" fmla="*/ 144 w 162"/>
              <a:gd name="T77" fmla="*/ 85 h 170"/>
              <a:gd name="T78" fmla="*/ 161 w 162"/>
              <a:gd name="T79" fmla="*/ 108 h 170"/>
              <a:gd name="T80" fmla="*/ 161 w 162"/>
              <a:gd name="T81" fmla="*/ 111 h 170"/>
              <a:gd name="T82" fmla="*/ 131 w 162"/>
              <a:gd name="T83" fmla="*/ 106 h 170"/>
              <a:gd name="T84" fmla="*/ 135 w 162"/>
              <a:gd name="T85" fmla="*/ 85 h 170"/>
              <a:gd name="T86" fmla="*/ 131 w 162"/>
              <a:gd name="T87" fmla="*/ 64 h 170"/>
              <a:gd name="T88" fmla="*/ 119 w 162"/>
              <a:gd name="T89" fmla="*/ 46 h 170"/>
              <a:gd name="T90" fmla="*/ 102 w 162"/>
              <a:gd name="T91" fmla="*/ 35 h 170"/>
              <a:gd name="T92" fmla="*/ 81 w 162"/>
              <a:gd name="T93" fmla="*/ 30 h 170"/>
              <a:gd name="T94" fmla="*/ 60 w 162"/>
              <a:gd name="T95" fmla="*/ 35 h 170"/>
              <a:gd name="T96" fmla="*/ 42 w 162"/>
              <a:gd name="T97" fmla="*/ 46 h 170"/>
              <a:gd name="T98" fmla="*/ 31 w 162"/>
              <a:gd name="T99" fmla="*/ 64 h 170"/>
              <a:gd name="T100" fmla="*/ 26 w 162"/>
              <a:gd name="T101" fmla="*/ 85 h 170"/>
              <a:gd name="T102" fmla="*/ 31 w 162"/>
              <a:gd name="T103" fmla="*/ 106 h 170"/>
              <a:gd name="T104" fmla="*/ 42 w 162"/>
              <a:gd name="T105" fmla="*/ 123 h 170"/>
              <a:gd name="T106" fmla="*/ 60 w 162"/>
              <a:gd name="T107" fmla="*/ 135 h 170"/>
              <a:gd name="T108" fmla="*/ 81 w 162"/>
              <a:gd name="T109" fmla="*/ 139 h 170"/>
              <a:gd name="T110" fmla="*/ 102 w 162"/>
              <a:gd name="T111" fmla="*/ 135 h 170"/>
              <a:gd name="T112" fmla="*/ 119 w 162"/>
              <a:gd name="T113" fmla="*/ 123 h 170"/>
              <a:gd name="T114" fmla="*/ 131 w 162"/>
              <a:gd name="T115" fmla="*/ 10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2" h="170">
                <a:moveTo>
                  <a:pt x="161" y="111"/>
                </a:moveTo>
                <a:cubicBezTo>
                  <a:pt x="161" y="112"/>
                  <a:pt x="161" y="113"/>
                  <a:pt x="160" y="113"/>
                </a:cubicBezTo>
                <a:cubicBezTo>
                  <a:pt x="132" y="122"/>
                  <a:pt x="132" y="122"/>
                  <a:pt x="132" y="122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2"/>
                  <a:pt x="132" y="153"/>
                  <a:pt x="131" y="153"/>
                </a:cubicBezTo>
                <a:cubicBezTo>
                  <a:pt x="130" y="154"/>
                  <a:pt x="129" y="154"/>
                  <a:pt x="128" y="154"/>
                </a:cubicBezTo>
                <a:cubicBezTo>
                  <a:pt x="100" y="145"/>
                  <a:pt x="100" y="145"/>
                  <a:pt x="100" y="145"/>
                </a:cubicBezTo>
                <a:cubicBezTo>
                  <a:pt x="83" y="168"/>
                  <a:pt x="83" y="168"/>
                  <a:pt x="83" y="168"/>
                </a:cubicBezTo>
                <a:cubicBezTo>
                  <a:pt x="83" y="169"/>
                  <a:pt x="82" y="170"/>
                  <a:pt x="81" y="170"/>
                </a:cubicBezTo>
                <a:cubicBezTo>
                  <a:pt x="80" y="170"/>
                  <a:pt x="79" y="169"/>
                  <a:pt x="78" y="168"/>
                </a:cubicBezTo>
                <a:cubicBezTo>
                  <a:pt x="61" y="145"/>
                  <a:pt x="61" y="145"/>
                  <a:pt x="61" y="145"/>
                </a:cubicBezTo>
                <a:cubicBezTo>
                  <a:pt x="34" y="154"/>
                  <a:pt x="34" y="154"/>
                  <a:pt x="34" y="154"/>
                </a:cubicBezTo>
                <a:cubicBezTo>
                  <a:pt x="33" y="154"/>
                  <a:pt x="32" y="154"/>
                  <a:pt x="31" y="153"/>
                </a:cubicBezTo>
                <a:cubicBezTo>
                  <a:pt x="30" y="153"/>
                  <a:pt x="30" y="152"/>
                  <a:pt x="30" y="151"/>
                </a:cubicBezTo>
                <a:cubicBezTo>
                  <a:pt x="30" y="122"/>
                  <a:pt x="30" y="122"/>
                  <a:pt x="30" y="122"/>
                </a:cubicBezTo>
                <a:cubicBezTo>
                  <a:pt x="2" y="113"/>
                  <a:pt x="2" y="113"/>
                  <a:pt x="2" y="113"/>
                </a:cubicBezTo>
                <a:cubicBezTo>
                  <a:pt x="1" y="113"/>
                  <a:pt x="1" y="112"/>
                  <a:pt x="0" y="111"/>
                </a:cubicBezTo>
                <a:cubicBezTo>
                  <a:pt x="0" y="110"/>
                  <a:pt x="0" y="109"/>
                  <a:pt x="1" y="108"/>
                </a:cubicBezTo>
                <a:cubicBezTo>
                  <a:pt x="18" y="85"/>
                  <a:pt x="18" y="85"/>
                  <a:pt x="18" y="85"/>
                </a:cubicBezTo>
                <a:cubicBezTo>
                  <a:pt x="1" y="61"/>
                  <a:pt x="1" y="61"/>
                  <a:pt x="1" y="61"/>
                </a:cubicBezTo>
                <a:cubicBezTo>
                  <a:pt x="0" y="61"/>
                  <a:pt x="0" y="60"/>
                  <a:pt x="0" y="59"/>
                </a:cubicBezTo>
                <a:cubicBezTo>
                  <a:pt x="1" y="58"/>
                  <a:pt x="1" y="57"/>
                  <a:pt x="2" y="57"/>
                </a:cubicBezTo>
                <a:cubicBezTo>
                  <a:pt x="30" y="48"/>
                  <a:pt x="30" y="48"/>
                  <a:pt x="30" y="48"/>
                </a:cubicBezTo>
                <a:cubicBezTo>
                  <a:pt x="30" y="19"/>
                  <a:pt x="30" y="19"/>
                  <a:pt x="30" y="19"/>
                </a:cubicBezTo>
                <a:cubicBezTo>
                  <a:pt x="30" y="18"/>
                  <a:pt x="30" y="17"/>
                  <a:pt x="31" y="16"/>
                </a:cubicBezTo>
                <a:cubicBezTo>
                  <a:pt x="32" y="16"/>
                  <a:pt x="33" y="16"/>
                  <a:pt x="34" y="16"/>
                </a:cubicBezTo>
                <a:cubicBezTo>
                  <a:pt x="61" y="25"/>
                  <a:pt x="61" y="25"/>
                  <a:pt x="61" y="25"/>
                </a:cubicBezTo>
                <a:cubicBezTo>
                  <a:pt x="78" y="1"/>
                  <a:pt x="78" y="1"/>
                  <a:pt x="78" y="1"/>
                </a:cubicBezTo>
                <a:cubicBezTo>
                  <a:pt x="79" y="1"/>
                  <a:pt x="80" y="0"/>
                  <a:pt x="81" y="0"/>
                </a:cubicBezTo>
                <a:cubicBezTo>
                  <a:pt x="82" y="0"/>
                  <a:pt x="83" y="1"/>
                  <a:pt x="83" y="1"/>
                </a:cubicBezTo>
                <a:cubicBezTo>
                  <a:pt x="100" y="25"/>
                  <a:pt x="100" y="25"/>
                  <a:pt x="100" y="25"/>
                </a:cubicBezTo>
                <a:cubicBezTo>
                  <a:pt x="128" y="16"/>
                  <a:pt x="128" y="16"/>
                  <a:pt x="128" y="16"/>
                </a:cubicBezTo>
                <a:cubicBezTo>
                  <a:pt x="129" y="16"/>
                  <a:pt x="130" y="16"/>
                  <a:pt x="131" y="16"/>
                </a:cubicBezTo>
                <a:cubicBezTo>
                  <a:pt x="132" y="17"/>
                  <a:pt x="132" y="18"/>
                  <a:pt x="132" y="19"/>
                </a:cubicBezTo>
                <a:cubicBezTo>
                  <a:pt x="132" y="48"/>
                  <a:pt x="132" y="48"/>
                  <a:pt x="132" y="48"/>
                </a:cubicBezTo>
                <a:cubicBezTo>
                  <a:pt x="160" y="57"/>
                  <a:pt x="160" y="57"/>
                  <a:pt x="160" y="57"/>
                </a:cubicBezTo>
                <a:cubicBezTo>
                  <a:pt x="161" y="57"/>
                  <a:pt x="161" y="58"/>
                  <a:pt x="161" y="59"/>
                </a:cubicBezTo>
                <a:cubicBezTo>
                  <a:pt x="162" y="60"/>
                  <a:pt x="162" y="61"/>
                  <a:pt x="161" y="61"/>
                </a:cubicBezTo>
                <a:cubicBezTo>
                  <a:pt x="144" y="85"/>
                  <a:pt x="144" y="85"/>
                  <a:pt x="144" y="85"/>
                </a:cubicBezTo>
                <a:cubicBezTo>
                  <a:pt x="161" y="108"/>
                  <a:pt x="161" y="108"/>
                  <a:pt x="161" y="108"/>
                </a:cubicBezTo>
                <a:cubicBezTo>
                  <a:pt x="162" y="109"/>
                  <a:pt x="162" y="110"/>
                  <a:pt x="161" y="111"/>
                </a:cubicBezTo>
                <a:close/>
                <a:moveTo>
                  <a:pt x="131" y="106"/>
                </a:moveTo>
                <a:cubicBezTo>
                  <a:pt x="134" y="99"/>
                  <a:pt x="135" y="92"/>
                  <a:pt x="135" y="85"/>
                </a:cubicBezTo>
                <a:cubicBezTo>
                  <a:pt x="135" y="78"/>
                  <a:pt x="134" y="70"/>
                  <a:pt x="131" y="64"/>
                </a:cubicBezTo>
                <a:cubicBezTo>
                  <a:pt x="128" y="57"/>
                  <a:pt x="124" y="51"/>
                  <a:pt x="119" y="46"/>
                </a:cubicBezTo>
                <a:cubicBezTo>
                  <a:pt x="115" y="42"/>
                  <a:pt x="109" y="38"/>
                  <a:pt x="102" y="35"/>
                </a:cubicBezTo>
                <a:cubicBezTo>
                  <a:pt x="95" y="32"/>
                  <a:pt x="88" y="30"/>
                  <a:pt x="81" y="30"/>
                </a:cubicBezTo>
                <a:cubicBezTo>
                  <a:pt x="74" y="30"/>
                  <a:pt x="67" y="32"/>
                  <a:pt x="60" y="35"/>
                </a:cubicBezTo>
                <a:cubicBezTo>
                  <a:pt x="53" y="38"/>
                  <a:pt x="47" y="42"/>
                  <a:pt x="42" y="46"/>
                </a:cubicBezTo>
                <a:cubicBezTo>
                  <a:pt x="38" y="51"/>
                  <a:pt x="34" y="57"/>
                  <a:pt x="31" y="64"/>
                </a:cubicBezTo>
                <a:cubicBezTo>
                  <a:pt x="28" y="70"/>
                  <a:pt x="26" y="78"/>
                  <a:pt x="26" y="85"/>
                </a:cubicBezTo>
                <a:cubicBezTo>
                  <a:pt x="26" y="92"/>
                  <a:pt x="28" y="99"/>
                  <a:pt x="31" y="106"/>
                </a:cubicBezTo>
                <a:cubicBezTo>
                  <a:pt x="34" y="113"/>
                  <a:pt x="38" y="119"/>
                  <a:pt x="42" y="123"/>
                </a:cubicBezTo>
                <a:cubicBezTo>
                  <a:pt x="47" y="128"/>
                  <a:pt x="53" y="132"/>
                  <a:pt x="60" y="135"/>
                </a:cubicBezTo>
                <a:cubicBezTo>
                  <a:pt x="67" y="138"/>
                  <a:pt x="74" y="139"/>
                  <a:pt x="81" y="139"/>
                </a:cubicBezTo>
                <a:cubicBezTo>
                  <a:pt x="88" y="139"/>
                  <a:pt x="95" y="138"/>
                  <a:pt x="102" y="135"/>
                </a:cubicBezTo>
                <a:cubicBezTo>
                  <a:pt x="109" y="132"/>
                  <a:pt x="115" y="128"/>
                  <a:pt x="119" y="123"/>
                </a:cubicBezTo>
                <a:cubicBezTo>
                  <a:pt x="124" y="119"/>
                  <a:pt x="128" y="113"/>
                  <a:pt x="131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6" name="Freeform 357"/>
          <p:cNvSpPr>
            <a:spLocks noChangeAspect="1" noEditPoints="1"/>
          </p:cNvSpPr>
          <p:nvPr/>
        </p:nvSpPr>
        <p:spPr bwMode="auto">
          <a:xfrm>
            <a:off x="7655568" y="4033334"/>
            <a:ext cx="143640" cy="151447"/>
          </a:xfrm>
          <a:custGeom>
            <a:avLst/>
            <a:gdLst>
              <a:gd name="T0" fmla="*/ 138 w 139"/>
              <a:gd name="T1" fmla="*/ 103 h 146"/>
              <a:gd name="T2" fmla="*/ 112 w 139"/>
              <a:gd name="T3" fmla="*/ 134 h 146"/>
              <a:gd name="T4" fmla="*/ 73 w 139"/>
              <a:gd name="T5" fmla="*/ 146 h 146"/>
              <a:gd name="T6" fmla="*/ 44 w 139"/>
              <a:gd name="T7" fmla="*/ 140 h 146"/>
              <a:gd name="T8" fmla="*/ 21 w 139"/>
              <a:gd name="T9" fmla="*/ 124 h 146"/>
              <a:gd name="T10" fmla="*/ 6 w 139"/>
              <a:gd name="T11" fmla="*/ 101 h 146"/>
              <a:gd name="T12" fmla="*/ 0 w 139"/>
              <a:gd name="T13" fmla="*/ 73 h 146"/>
              <a:gd name="T14" fmla="*/ 5 w 139"/>
              <a:gd name="T15" fmla="*/ 45 h 146"/>
              <a:gd name="T16" fmla="*/ 20 w 139"/>
              <a:gd name="T17" fmla="*/ 22 h 146"/>
              <a:gd name="T18" fmla="*/ 42 w 139"/>
              <a:gd name="T19" fmla="*/ 7 h 146"/>
              <a:gd name="T20" fmla="*/ 70 w 139"/>
              <a:gd name="T21" fmla="*/ 0 h 146"/>
              <a:gd name="T22" fmla="*/ 76 w 139"/>
              <a:gd name="T23" fmla="*/ 4 h 146"/>
              <a:gd name="T24" fmla="*/ 74 w 139"/>
              <a:gd name="T25" fmla="*/ 11 h 146"/>
              <a:gd name="T26" fmla="*/ 62 w 139"/>
              <a:gd name="T27" fmla="*/ 28 h 146"/>
              <a:gd name="T28" fmla="*/ 57 w 139"/>
              <a:gd name="T29" fmla="*/ 49 h 146"/>
              <a:gd name="T30" fmla="*/ 64 w 139"/>
              <a:gd name="T31" fmla="*/ 75 h 146"/>
              <a:gd name="T32" fmla="*/ 83 w 139"/>
              <a:gd name="T33" fmla="*/ 93 h 146"/>
              <a:gd name="T34" fmla="*/ 109 w 139"/>
              <a:gd name="T35" fmla="*/ 100 h 146"/>
              <a:gd name="T36" fmla="*/ 130 w 139"/>
              <a:gd name="T37" fmla="*/ 95 h 146"/>
              <a:gd name="T38" fmla="*/ 137 w 139"/>
              <a:gd name="T39" fmla="*/ 97 h 146"/>
              <a:gd name="T40" fmla="*/ 139 w 139"/>
              <a:gd name="T41" fmla="*/ 100 h 146"/>
              <a:gd name="T42" fmla="*/ 138 w 139"/>
              <a:gd name="T43" fmla="*/ 103 h 146"/>
              <a:gd name="T44" fmla="*/ 119 w 139"/>
              <a:gd name="T45" fmla="*/ 111 h 146"/>
              <a:gd name="T46" fmla="*/ 109 w 139"/>
              <a:gd name="T47" fmla="*/ 112 h 146"/>
              <a:gd name="T48" fmla="*/ 77 w 139"/>
              <a:gd name="T49" fmla="*/ 104 h 146"/>
              <a:gd name="T50" fmla="*/ 54 w 139"/>
              <a:gd name="T51" fmla="*/ 81 h 146"/>
              <a:gd name="T52" fmla="*/ 45 w 139"/>
              <a:gd name="T53" fmla="*/ 49 h 146"/>
              <a:gd name="T54" fmla="*/ 55 w 139"/>
              <a:gd name="T55" fmla="*/ 15 h 146"/>
              <a:gd name="T56" fmla="*/ 24 w 139"/>
              <a:gd name="T57" fmla="*/ 37 h 146"/>
              <a:gd name="T58" fmla="*/ 12 w 139"/>
              <a:gd name="T59" fmla="*/ 73 h 146"/>
              <a:gd name="T60" fmla="*/ 17 w 139"/>
              <a:gd name="T61" fmla="*/ 96 h 146"/>
              <a:gd name="T62" fmla="*/ 30 w 139"/>
              <a:gd name="T63" fmla="*/ 116 h 146"/>
              <a:gd name="T64" fmla="*/ 49 w 139"/>
              <a:gd name="T65" fmla="*/ 129 h 146"/>
              <a:gd name="T66" fmla="*/ 73 w 139"/>
              <a:gd name="T67" fmla="*/ 133 h 146"/>
              <a:gd name="T68" fmla="*/ 98 w 139"/>
              <a:gd name="T69" fmla="*/ 128 h 146"/>
              <a:gd name="T70" fmla="*/ 119 w 139"/>
              <a:gd name="T71" fmla="*/ 1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39" h="146">
                <a:moveTo>
                  <a:pt x="138" y="103"/>
                </a:moveTo>
                <a:cubicBezTo>
                  <a:pt x="133" y="116"/>
                  <a:pt x="124" y="126"/>
                  <a:pt x="112" y="134"/>
                </a:cubicBezTo>
                <a:cubicBezTo>
                  <a:pt x="100" y="142"/>
                  <a:pt x="87" y="146"/>
                  <a:pt x="73" y="146"/>
                </a:cubicBezTo>
                <a:cubicBezTo>
                  <a:pt x="63" y="146"/>
                  <a:pt x="53" y="144"/>
                  <a:pt x="44" y="140"/>
                </a:cubicBezTo>
                <a:cubicBezTo>
                  <a:pt x="35" y="136"/>
                  <a:pt x="28" y="131"/>
                  <a:pt x="21" y="124"/>
                </a:cubicBezTo>
                <a:cubicBezTo>
                  <a:pt x="15" y="118"/>
                  <a:pt x="10" y="110"/>
                  <a:pt x="6" y="101"/>
                </a:cubicBezTo>
                <a:cubicBezTo>
                  <a:pt x="2" y="92"/>
                  <a:pt x="0" y="83"/>
                  <a:pt x="0" y="73"/>
                </a:cubicBezTo>
                <a:cubicBezTo>
                  <a:pt x="0" y="63"/>
                  <a:pt x="2" y="54"/>
                  <a:pt x="5" y="45"/>
                </a:cubicBezTo>
                <a:cubicBezTo>
                  <a:pt x="9" y="36"/>
                  <a:pt x="14" y="29"/>
                  <a:pt x="20" y="22"/>
                </a:cubicBezTo>
                <a:cubicBezTo>
                  <a:pt x="26" y="16"/>
                  <a:pt x="34" y="11"/>
                  <a:pt x="42" y="7"/>
                </a:cubicBezTo>
                <a:cubicBezTo>
                  <a:pt x="51" y="3"/>
                  <a:pt x="60" y="1"/>
                  <a:pt x="70" y="0"/>
                </a:cubicBezTo>
                <a:cubicBezTo>
                  <a:pt x="73" y="0"/>
                  <a:pt x="75" y="2"/>
                  <a:pt x="76" y="4"/>
                </a:cubicBezTo>
                <a:cubicBezTo>
                  <a:pt x="77" y="7"/>
                  <a:pt x="76" y="9"/>
                  <a:pt x="74" y="11"/>
                </a:cubicBezTo>
                <a:cubicBezTo>
                  <a:pt x="69" y="16"/>
                  <a:pt x="65" y="22"/>
                  <a:pt x="62" y="28"/>
                </a:cubicBezTo>
                <a:cubicBezTo>
                  <a:pt x="59" y="35"/>
                  <a:pt x="57" y="41"/>
                  <a:pt x="57" y="49"/>
                </a:cubicBezTo>
                <a:cubicBezTo>
                  <a:pt x="57" y="58"/>
                  <a:pt x="60" y="67"/>
                  <a:pt x="64" y="75"/>
                </a:cubicBezTo>
                <a:cubicBezTo>
                  <a:pt x="69" y="82"/>
                  <a:pt x="75" y="89"/>
                  <a:pt x="83" y="93"/>
                </a:cubicBezTo>
                <a:cubicBezTo>
                  <a:pt x="91" y="98"/>
                  <a:pt x="100" y="100"/>
                  <a:pt x="109" y="100"/>
                </a:cubicBezTo>
                <a:cubicBezTo>
                  <a:pt x="116" y="100"/>
                  <a:pt x="124" y="99"/>
                  <a:pt x="130" y="95"/>
                </a:cubicBezTo>
                <a:cubicBezTo>
                  <a:pt x="133" y="94"/>
                  <a:pt x="135" y="95"/>
                  <a:pt x="137" y="97"/>
                </a:cubicBezTo>
                <a:cubicBezTo>
                  <a:pt x="138" y="97"/>
                  <a:pt x="139" y="99"/>
                  <a:pt x="139" y="100"/>
                </a:cubicBezTo>
                <a:cubicBezTo>
                  <a:pt x="139" y="101"/>
                  <a:pt x="139" y="102"/>
                  <a:pt x="138" y="103"/>
                </a:cubicBezTo>
                <a:close/>
                <a:moveTo>
                  <a:pt x="119" y="111"/>
                </a:moveTo>
                <a:cubicBezTo>
                  <a:pt x="116" y="112"/>
                  <a:pt x="112" y="112"/>
                  <a:pt x="109" y="112"/>
                </a:cubicBezTo>
                <a:cubicBezTo>
                  <a:pt x="97" y="112"/>
                  <a:pt x="87" y="109"/>
                  <a:pt x="77" y="104"/>
                </a:cubicBezTo>
                <a:cubicBezTo>
                  <a:pt x="67" y="98"/>
                  <a:pt x="60" y="90"/>
                  <a:pt x="54" y="81"/>
                </a:cubicBezTo>
                <a:cubicBezTo>
                  <a:pt x="48" y="71"/>
                  <a:pt x="45" y="60"/>
                  <a:pt x="45" y="49"/>
                </a:cubicBezTo>
                <a:cubicBezTo>
                  <a:pt x="45" y="37"/>
                  <a:pt x="49" y="25"/>
                  <a:pt x="55" y="15"/>
                </a:cubicBezTo>
                <a:cubicBezTo>
                  <a:pt x="43" y="19"/>
                  <a:pt x="32" y="26"/>
                  <a:pt x="24" y="37"/>
                </a:cubicBezTo>
                <a:cubicBezTo>
                  <a:pt x="16" y="47"/>
                  <a:pt x="12" y="59"/>
                  <a:pt x="12" y="73"/>
                </a:cubicBezTo>
                <a:cubicBezTo>
                  <a:pt x="12" y="81"/>
                  <a:pt x="14" y="89"/>
                  <a:pt x="17" y="96"/>
                </a:cubicBezTo>
                <a:cubicBezTo>
                  <a:pt x="20" y="104"/>
                  <a:pt x="24" y="110"/>
                  <a:pt x="30" y="116"/>
                </a:cubicBezTo>
                <a:cubicBezTo>
                  <a:pt x="35" y="121"/>
                  <a:pt x="42" y="125"/>
                  <a:pt x="49" y="129"/>
                </a:cubicBezTo>
                <a:cubicBezTo>
                  <a:pt x="57" y="132"/>
                  <a:pt x="64" y="133"/>
                  <a:pt x="73" y="133"/>
                </a:cubicBezTo>
                <a:cubicBezTo>
                  <a:pt x="82" y="133"/>
                  <a:pt x="90" y="131"/>
                  <a:pt x="98" y="128"/>
                </a:cubicBezTo>
                <a:cubicBezTo>
                  <a:pt x="107" y="124"/>
                  <a:pt x="114" y="118"/>
                  <a:pt x="119" y="1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7" name="Freeform 358"/>
          <p:cNvSpPr>
            <a:spLocks noChangeAspect="1" noEditPoints="1"/>
          </p:cNvSpPr>
          <p:nvPr/>
        </p:nvSpPr>
        <p:spPr bwMode="auto">
          <a:xfrm>
            <a:off x="7858538" y="4033334"/>
            <a:ext cx="162376" cy="151447"/>
          </a:xfrm>
          <a:custGeom>
            <a:avLst/>
            <a:gdLst>
              <a:gd name="T0" fmla="*/ 157 w 157"/>
              <a:gd name="T1" fmla="*/ 6 h 146"/>
              <a:gd name="T2" fmla="*/ 157 w 157"/>
              <a:gd name="T3" fmla="*/ 31 h 146"/>
              <a:gd name="T4" fmla="*/ 155 w 157"/>
              <a:gd name="T5" fmla="*/ 35 h 146"/>
              <a:gd name="T6" fmla="*/ 151 w 157"/>
              <a:gd name="T7" fmla="*/ 37 h 146"/>
              <a:gd name="T8" fmla="*/ 6 w 157"/>
              <a:gd name="T9" fmla="*/ 37 h 146"/>
              <a:gd name="T10" fmla="*/ 1 w 157"/>
              <a:gd name="T11" fmla="*/ 35 h 146"/>
              <a:gd name="T12" fmla="*/ 0 w 157"/>
              <a:gd name="T13" fmla="*/ 31 h 146"/>
              <a:gd name="T14" fmla="*/ 0 w 157"/>
              <a:gd name="T15" fmla="*/ 6 h 146"/>
              <a:gd name="T16" fmla="*/ 1 w 157"/>
              <a:gd name="T17" fmla="*/ 2 h 146"/>
              <a:gd name="T18" fmla="*/ 6 w 157"/>
              <a:gd name="T19" fmla="*/ 0 h 146"/>
              <a:gd name="T20" fmla="*/ 151 w 157"/>
              <a:gd name="T21" fmla="*/ 0 h 146"/>
              <a:gd name="T22" fmla="*/ 155 w 157"/>
              <a:gd name="T23" fmla="*/ 2 h 146"/>
              <a:gd name="T24" fmla="*/ 157 w 157"/>
              <a:gd name="T25" fmla="*/ 6 h 146"/>
              <a:gd name="T26" fmla="*/ 151 w 157"/>
              <a:gd name="T27" fmla="*/ 49 h 146"/>
              <a:gd name="T28" fmla="*/ 151 w 157"/>
              <a:gd name="T29" fmla="*/ 139 h 146"/>
              <a:gd name="T30" fmla="*/ 149 w 157"/>
              <a:gd name="T31" fmla="*/ 144 h 146"/>
              <a:gd name="T32" fmla="*/ 145 w 157"/>
              <a:gd name="T33" fmla="*/ 146 h 146"/>
              <a:gd name="T34" fmla="*/ 12 w 157"/>
              <a:gd name="T35" fmla="*/ 146 h 146"/>
              <a:gd name="T36" fmla="*/ 7 w 157"/>
              <a:gd name="T37" fmla="*/ 144 h 146"/>
              <a:gd name="T38" fmla="*/ 6 w 157"/>
              <a:gd name="T39" fmla="*/ 139 h 146"/>
              <a:gd name="T40" fmla="*/ 6 w 157"/>
              <a:gd name="T41" fmla="*/ 49 h 146"/>
              <a:gd name="T42" fmla="*/ 7 w 157"/>
              <a:gd name="T43" fmla="*/ 44 h 146"/>
              <a:gd name="T44" fmla="*/ 12 w 157"/>
              <a:gd name="T45" fmla="*/ 43 h 146"/>
              <a:gd name="T46" fmla="*/ 145 w 157"/>
              <a:gd name="T47" fmla="*/ 43 h 146"/>
              <a:gd name="T48" fmla="*/ 149 w 157"/>
              <a:gd name="T49" fmla="*/ 44 h 146"/>
              <a:gd name="T50" fmla="*/ 151 w 157"/>
              <a:gd name="T51" fmla="*/ 49 h 146"/>
              <a:gd name="T52" fmla="*/ 95 w 157"/>
              <a:gd name="T53" fmla="*/ 71 h 146"/>
              <a:gd name="T54" fmla="*/ 96 w 157"/>
              <a:gd name="T55" fmla="*/ 67 h 146"/>
              <a:gd name="T56" fmla="*/ 95 w 157"/>
              <a:gd name="T57" fmla="*/ 63 h 146"/>
              <a:gd name="T58" fmla="*/ 90 w 157"/>
              <a:gd name="T59" fmla="*/ 61 h 146"/>
              <a:gd name="T60" fmla="*/ 66 w 157"/>
              <a:gd name="T61" fmla="*/ 61 h 146"/>
              <a:gd name="T62" fmla="*/ 62 w 157"/>
              <a:gd name="T63" fmla="*/ 63 h 146"/>
              <a:gd name="T64" fmla="*/ 60 w 157"/>
              <a:gd name="T65" fmla="*/ 67 h 146"/>
              <a:gd name="T66" fmla="*/ 62 w 157"/>
              <a:gd name="T67" fmla="*/ 71 h 146"/>
              <a:gd name="T68" fmla="*/ 66 w 157"/>
              <a:gd name="T69" fmla="*/ 73 h 146"/>
              <a:gd name="T70" fmla="*/ 90 w 157"/>
              <a:gd name="T71" fmla="*/ 73 h 146"/>
              <a:gd name="T72" fmla="*/ 95 w 157"/>
              <a:gd name="T73" fmla="*/ 7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7" h="146">
                <a:moveTo>
                  <a:pt x="157" y="6"/>
                </a:moveTo>
                <a:cubicBezTo>
                  <a:pt x="157" y="31"/>
                  <a:pt x="157" y="31"/>
                  <a:pt x="157" y="31"/>
                </a:cubicBezTo>
                <a:cubicBezTo>
                  <a:pt x="157" y="32"/>
                  <a:pt x="156" y="34"/>
                  <a:pt x="155" y="35"/>
                </a:cubicBezTo>
                <a:cubicBezTo>
                  <a:pt x="154" y="36"/>
                  <a:pt x="152" y="37"/>
                  <a:pt x="151" y="37"/>
                </a:cubicBezTo>
                <a:cubicBezTo>
                  <a:pt x="6" y="37"/>
                  <a:pt x="6" y="37"/>
                  <a:pt x="6" y="37"/>
                </a:cubicBezTo>
                <a:cubicBezTo>
                  <a:pt x="4" y="37"/>
                  <a:pt x="3" y="36"/>
                  <a:pt x="1" y="35"/>
                </a:cubicBezTo>
                <a:cubicBezTo>
                  <a:pt x="0" y="34"/>
                  <a:pt x="0" y="32"/>
                  <a:pt x="0" y="31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2" y="0"/>
                  <a:pt x="154" y="1"/>
                  <a:pt x="155" y="2"/>
                </a:cubicBezTo>
                <a:cubicBezTo>
                  <a:pt x="156" y="3"/>
                  <a:pt x="157" y="5"/>
                  <a:pt x="157" y="6"/>
                </a:cubicBezTo>
                <a:close/>
                <a:moveTo>
                  <a:pt x="151" y="49"/>
                </a:moveTo>
                <a:cubicBezTo>
                  <a:pt x="151" y="139"/>
                  <a:pt x="151" y="139"/>
                  <a:pt x="151" y="139"/>
                </a:cubicBezTo>
                <a:cubicBezTo>
                  <a:pt x="151" y="141"/>
                  <a:pt x="150" y="143"/>
                  <a:pt x="149" y="144"/>
                </a:cubicBezTo>
                <a:cubicBezTo>
                  <a:pt x="148" y="145"/>
                  <a:pt x="146" y="146"/>
                  <a:pt x="145" y="146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10" y="146"/>
                  <a:pt x="9" y="145"/>
                  <a:pt x="7" y="144"/>
                </a:cubicBezTo>
                <a:cubicBezTo>
                  <a:pt x="6" y="143"/>
                  <a:pt x="6" y="141"/>
                  <a:pt x="6" y="139"/>
                </a:cubicBezTo>
                <a:cubicBezTo>
                  <a:pt x="6" y="49"/>
                  <a:pt x="6" y="49"/>
                  <a:pt x="6" y="49"/>
                </a:cubicBezTo>
                <a:cubicBezTo>
                  <a:pt x="6" y="47"/>
                  <a:pt x="6" y="46"/>
                  <a:pt x="7" y="44"/>
                </a:cubicBezTo>
                <a:cubicBezTo>
                  <a:pt x="9" y="43"/>
                  <a:pt x="10" y="43"/>
                  <a:pt x="12" y="43"/>
                </a:cubicBezTo>
                <a:cubicBezTo>
                  <a:pt x="145" y="43"/>
                  <a:pt x="145" y="43"/>
                  <a:pt x="145" y="43"/>
                </a:cubicBezTo>
                <a:cubicBezTo>
                  <a:pt x="146" y="43"/>
                  <a:pt x="148" y="43"/>
                  <a:pt x="149" y="44"/>
                </a:cubicBezTo>
                <a:cubicBezTo>
                  <a:pt x="150" y="46"/>
                  <a:pt x="151" y="47"/>
                  <a:pt x="151" y="49"/>
                </a:cubicBezTo>
                <a:close/>
                <a:moveTo>
                  <a:pt x="95" y="71"/>
                </a:moveTo>
                <a:cubicBezTo>
                  <a:pt x="96" y="70"/>
                  <a:pt x="96" y="69"/>
                  <a:pt x="96" y="67"/>
                </a:cubicBezTo>
                <a:cubicBezTo>
                  <a:pt x="96" y="65"/>
                  <a:pt x="96" y="64"/>
                  <a:pt x="95" y="63"/>
                </a:cubicBezTo>
                <a:cubicBezTo>
                  <a:pt x="93" y="61"/>
                  <a:pt x="92" y="61"/>
                  <a:pt x="90" y="61"/>
                </a:cubicBezTo>
                <a:cubicBezTo>
                  <a:pt x="66" y="61"/>
                  <a:pt x="66" y="61"/>
                  <a:pt x="66" y="61"/>
                </a:cubicBezTo>
                <a:cubicBezTo>
                  <a:pt x="64" y="61"/>
                  <a:pt x="63" y="61"/>
                  <a:pt x="62" y="63"/>
                </a:cubicBezTo>
                <a:cubicBezTo>
                  <a:pt x="61" y="64"/>
                  <a:pt x="60" y="65"/>
                  <a:pt x="60" y="67"/>
                </a:cubicBezTo>
                <a:cubicBezTo>
                  <a:pt x="60" y="69"/>
                  <a:pt x="61" y="70"/>
                  <a:pt x="62" y="71"/>
                </a:cubicBezTo>
                <a:cubicBezTo>
                  <a:pt x="63" y="72"/>
                  <a:pt x="64" y="73"/>
                  <a:pt x="66" y="73"/>
                </a:cubicBezTo>
                <a:cubicBezTo>
                  <a:pt x="90" y="73"/>
                  <a:pt x="90" y="73"/>
                  <a:pt x="90" y="73"/>
                </a:cubicBezTo>
                <a:cubicBezTo>
                  <a:pt x="92" y="73"/>
                  <a:pt x="93" y="72"/>
                  <a:pt x="95" y="7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8" name="Freeform 359"/>
          <p:cNvSpPr>
            <a:spLocks noChangeAspect="1"/>
          </p:cNvSpPr>
          <p:nvPr/>
        </p:nvSpPr>
        <p:spPr bwMode="auto">
          <a:xfrm>
            <a:off x="8078682" y="4020843"/>
            <a:ext cx="62452" cy="176428"/>
          </a:xfrm>
          <a:custGeom>
            <a:avLst/>
            <a:gdLst>
              <a:gd name="T0" fmla="*/ 61 w 61"/>
              <a:gd name="T1" fmla="*/ 30 h 170"/>
              <a:gd name="T2" fmla="*/ 59 w 61"/>
              <a:gd name="T3" fmla="*/ 35 h 170"/>
              <a:gd name="T4" fmla="*/ 55 w 61"/>
              <a:gd name="T5" fmla="*/ 37 h 170"/>
              <a:gd name="T6" fmla="*/ 43 w 61"/>
              <a:gd name="T7" fmla="*/ 37 h 170"/>
              <a:gd name="T8" fmla="*/ 43 w 61"/>
              <a:gd name="T9" fmla="*/ 133 h 170"/>
              <a:gd name="T10" fmla="*/ 55 w 61"/>
              <a:gd name="T11" fmla="*/ 133 h 170"/>
              <a:gd name="T12" fmla="*/ 59 w 61"/>
              <a:gd name="T13" fmla="*/ 135 h 170"/>
              <a:gd name="T14" fmla="*/ 61 w 61"/>
              <a:gd name="T15" fmla="*/ 139 h 170"/>
              <a:gd name="T16" fmla="*/ 59 w 61"/>
              <a:gd name="T17" fmla="*/ 144 h 170"/>
              <a:gd name="T18" fmla="*/ 35 w 61"/>
              <a:gd name="T19" fmla="*/ 168 h 170"/>
              <a:gd name="T20" fmla="*/ 31 w 61"/>
              <a:gd name="T21" fmla="*/ 170 h 170"/>
              <a:gd name="T22" fmla="*/ 26 w 61"/>
              <a:gd name="T23" fmla="*/ 168 h 170"/>
              <a:gd name="T24" fmla="*/ 2 w 61"/>
              <a:gd name="T25" fmla="*/ 144 h 170"/>
              <a:gd name="T26" fmla="*/ 0 w 61"/>
              <a:gd name="T27" fmla="*/ 139 h 170"/>
              <a:gd name="T28" fmla="*/ 2 w 61"/>
              <a:gd name="T29" fmla="*/ 135 h 170"/>
              <a:gd name="T30" fmla="*/ 6 w 61"/>
              <a:gd name="T31" fmla="*/ 133 h 170"/>
              <a:gd name="T32" fmla="*/ 18 w 61"/>
              <a:gd name="T33" fmla="*/ 133 h 170"/>
              <a:gd name="T34" fmla="*/ 18 w 61"/>
              <a:gd name="T35" fmla="*/ 37 h 170"/>
              <a:gd name="T36" fmla="*/ 6 w 61"/>
              <a:gd name="T37" fmla="*/ 37 h 170"/>
              <a:gd name="T38" fmla="*/ 2 w 61"/>
              <a:gd name="T39" fmla="*/ 35 h 170"/>
              <a:gd name="T40" fmla="*/ 0 w 61"/>
              <a:gd name="T41" fmla="*/ 30 h 170"/>
              <a:gd name="T42" fmla="*/ 2 w 61"/>
              <a:gd name="T43" fmla="*/ 26 h 170"/>
              <a:gd name="T44" fmla="*/ 26 w 61"/>
              <a:gd name="T45" fmla="*/ 2 h 170"/>
              <a:gd name="T46" fmla="*/ 31 w 61"/>
              <a:gd name="T47" fmla="*/ 0 h 170"/>
              <a:gd name="T48" fmla="*/ 35 w 61"/>
              <a:gd name="T49" fmla="*/ 2 h 170"/>
              <a:gd name="T50" fmla="*/ 59 w 61"/>
              <a:gd name="T51" fmla="*/ 26 h 170"/>
              <a:gd name="T52" fmla="*/ 61 w 61"/>
              <a:gd name="T53" fmla="*/ 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1" h="170">
                <a:moveTo>
                  <a:pt x="61" y="30"/>
                </a:moveTo>
                <a:cubicBezTo>
                  <a:pt x="61" y="32"/>
                  <a:pt x="60" y="34"/>
                  <a:pt x="59" y="35"/>
                </a:cubicBezTo>
                <a:cubicBezTo>
                  <a:pt x="58" y="36"/>
                  <a:pt x="56" y="37"/>
                  <a:pt x="55" y="37"/>
                </a:cubicBezTo>
                <a:cubicBezTo>
                  <a:pt x="43" y="37"/>
                  <a:pt x="43" y="37"/>
                  <a:pt x="43" y="37"/>
                </a:cubicBezTo>
                <a:cubicBezTo>
                  <a:pt x="43" y="133"/>
                  <a:pt x="43" y="133"/>
                  <a:pt x="43" y="133"/>
                </a:cubicBezTo>
                <a:cubicBezTo>
                  <a:pt x="55" y="133"/>
                  <a:pt x="55" y="133"/>
                  <a:pt x="55" y="133"/>
                </a:cubicBezTo>
                <a:cubicBezTo>
                  <a:pt x="56" y="133"/>
                  <a:pt x="58" y="134"/>
                  <a:pt x="59" y="135"/>
                </a:cubicBezTo>
                <a:cubicBezTo>
                  <a:pt x="60" y="136"/>
                  <a:pt x="61" y="138"/>
                  <a:pt x="61" y="139"/>
                </a:cubicBezTo>
                <a:cubicBezTo>
                  <a:pt x="61" y="141"/>
                  <a:pt x="60" y="142"/>
                  <a:pt x="59" y="144"/>
                </a:cubicBezTo>
                <a:cubicBezTo>
                  <a:pt x="35" y="168"/>
                  <a:pt x="35" y="168"/>
                  <a:pt x="35" y="168"/>
                </a:cubicBezTo>
                <a:cubicBezTo>
                  <a:pt x="34" y="169"/>
                  <a:pt x="32" y="170"/>
                  <a:pt x="31" y="170"/>
                </a:cubicBezTo>
                <a:cubicBezTo>
                  <a:pt x="29" y="170"/>
                  <a:pt x="27" y="169"/>
                  <a:pt x="26" y="168"/>
                </a:cubicBezTo>
                <a:cubicBezTo>
                  <a:pt x="2" y="144"/>
                  <a:pt x="2" y="144"/>
                  <a:pt x="2" y="144"/>
                </a:cubicBezTo>
                <a:cubicBezTo>
                  <a:pt x="1" y="142"/>
                  <a:pt x="0" y="141"/>
                  <a:pt x="0" y="139"/>
                </a:cubicBezTo>
                <a:cubicBezTo>
                  <a:pt x="0" y="138"/>
                  <a:pt x="1" y="136"/>
                  <a:pt x="2" y="135"/>
                </a:cubicBezTo>
                <a:cubicBezTo>
                  <a:pt x="3" y="134"/>
                  <a:pt x="5" y="133"/>
                  <a:pt x="6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8" y="37"/>
                  <a:pt x="18" y="37"/>
                  <a:pt x="18" y="37"/>
                </a:cubicBezTo>
                <a:cubicBezTo>
                  <a:pt x="6" y="37"/>
                  <a:pt x="6" y="37"/>
                  <a:pt x="6" y="37"/>
                </a:cubicBezTo>
                <a:cubicBezTo>
                  <a:pt x="5" y="37"/>
                  <a:pt x="3" y="36"/>
                  <a:pt x="2" y="35"/>
                </a:cubicBezTo>
                <a:cubicBezTo>
                  <a:pt x="1" y="34"/>
                  <a:pt x="0" y="32"/>
                  <a:pt x="0" y="30"/>
                </a:cubicBezTo>
                <a:cubicBezTo>
                  <a:pt x="0" y="29"/>
                  <a:pt x="1" y="27"/>
                  <a:pt x="2" y="26"/>
                </a:cubicBezTo>
                <a:cubicBezTo>
                  <a:pt x="26" y="2"/>
                  <a:pt x="26" y="2"/>
                  <a:pt x="26" y="2"/>
                </a:cubicBezTo>
                <a:cubicBezTo>
                  <a:pt x="27" y="1"/>
                  <a:pt x="29" y="0"/>
                  <a:pt x="31" y="0"/>
                </a:cubicBezTo>
                <a:cubicBezTo>
                  <a:pt x="32" y="0"/>
                  <a:pt x="34" y="1"/>
                  <a:pt x="35" y="2"/>
                </a:cubicBezTo>
                <a:cubicBezTo>
                  <a:pt x="59" y="26"/>
                  <a:pt x="59" y="26"/>
                  <a:pt x="59" y="26"/>
                </a:cubicBezTo>
                <a:cubicBezTo>
                  <a:pt x="60" y="27"/>
                  <a:pt x="61" y="29"/>
                  <a:pt x="61" y="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9" name="Freeform 360"/>
          <p:cNvSpPr>
            <a:spLocks noChangeAspect="1"/>
          </p:cNvSpPr>
          <p:nvPr/>
        </p:nvSpPr>
        <p:spPr bwMode="auto">
          <a:xfrm>
            <a:off x="8250426" y="4033334"/>
            <a:ext cx="140518" cy="151447"/>
          </a:xfrm>
          <a:custGeom>
            <a:avLst/>
            <a:gdLst>
              <a:gd name="T0" fmla="*/ 130 w 136"/>
              <a:gd name="T1" fmla="*/ 87 h 146"/>
              <a:gd name="T2" fmla="*/ 135 w 136"/>
              <a:gd name="T3" fmla="*/ 95 h 146"/>
              <a:gd name="T4" fmla="*/ 134 w 136"/>
              <a:gd name="T5" fmla="*/ 104 h 146"/>
              <a:gd name="T6" fmla="*/ 128 w 136"/>
              <a:gd name="T7" fmla="*/ 114 h 146"/>
              <a:gd name="T8" fmla="*/ 121 w 136"/>
              <a:gd name="T9" fmla="*/ 120 h 146"/>
              <a:gd name="T10" fmla="*/ 111 w 136"/>
              <a:gd name="T11" fmla="*/ 119 h 146"/>
              <a:gd name="T12" fmla="*/ 86 w 136"/>
              <a:gd name="T13" fmla="*/ 104 h 146"/>
              <a:gd name="T14" fmla="*/ 86 w 136"/>
              <a:gd name="T15" fmla="*/ 133 h 146"/>
              <a:gd name="T16" fmla="*/ 83 w 136"/>
              <a:gd name="T17" fmla="*/ 142 h 146"/>
              <a:gd name="T18" fmla="*/ 74 w 136"/>
              <a:gd name="T19" fmla="*/ 146 h 146"/>
              <a:gd name="T20" fmla="*/ 62 w 136"/>
              <a:gd name="T21" fmla="*/ 146 h 146"/>
              <a:gd name="T22" fmla="*/ 54 w 136"/>
              <a:gd name="T23" fmla="*/ 142 h 146"/>
              <a:gd name="T24" fmla="*/ 50 w 136"/>
              <a:gd name="T25" fmla="*/ 133 h 146"/>
              <a:gd name="T26" fmla="*/ 50 w 136"/>
              <a:gd name="T27" fmla="*/ 104 h 146"/>
              <a:gd name="T28" fmla="*/ 25 w 136"/>
              <a:gd name="T29" fmla="*/ 119 h 146"/>
              <a:gd name="T30" fmla="*/ 16 w 136"/>
              <a:gd name="T31" fmla="*/ 120 h 146"/>
              <a:gd name="T32" fmla="*/ 8 w 136"/>
              <a:gd name="T33" fmla="*/ 114 h 146"/>
              <a:gd name="T34" fmla="*/ 2 w 136"/>
              <a:gd name="T35" fmla="*/ 104 h 146"/>
              <a:gd name="T36" fmla="*/ 1 w 136"/>
              <a:gd name="T37" fmla="*/ 95 h 146"/>
              <a:gd name="T38" fmla="*/ 7 w 136"/>
              <a:gd name="T39" fmla="*/ 87 h 146"/>
              <a:gd name="T40" fmla="*/ 32 w 136"/>
              <a:gd name="T41" fmla="*/ 73 h 146"/>
              <a:gd name="T42" fmla="*/ 7 w 136"/>
              <a:gd name="T43" fmla="*/ 58 h 146"/>
              <a:gd name="T44" fmla="*/ 1 w 136"/>
              <a:gd name="T45" fmla="*/ 51 h 146"/>
              <a:gd name="T46" fmla="*/ 2 w 136"/>
              <a:gd name="T47" fmla="*/ 42 h 146"/>
              <a:gd name="T48" fmla="*/ 8 w 136"/>
              <a:gd name="T49" fmla="*/ 31 h 146"/>
              <a:gd name="T50" fmla="*/ 16 w 136"/>
              <a:gd name="T51" fmla="*/ 26 h 146"/>
              <a:gd name="T52" fmla="*/ 25 w 136"/>
              <a:gd name="T53" fmla="*/ 27 h 146"/>
              <a:gd name="T54" fmla="*/ 50 w 136"/>
              <a:gd name="T55" fmla="*/ 41 h 146"/>
              <a:gd name="T56" fmla="*/ 50 w 136"/>
              <a:gd name="T57" fmla="*/ 12 h 146"/>
              <a:gd name="T58" fmla="*/ 54 w 136"/>
              <a:gd name="T59" fmla="*/ 4 h 146"/>
              <a:gd name="T60" fmla="*/ 62 w 136"/>
              <a:gd name="T61" fmla="*/ 0 h 146"/>
              <a:gd name="T62" fmla="*/ 74 w 136"/>
              <a:gd name="T63" fmla="*/ 0 h 146"/>
              <a:gd name="T64" fmla="*/ 83 w 136"/>
              <a:gd name="T65" fmla="*/ 4 h 146"/>
              <a:gd name="T66" fmla="*/ 86 w 136"/>
              <a:gd name="T67" fmla="*/ 12 h 146"/>
              <a:gd name="T68" fmla="*/ 86 w 136"/>
              <a:gd name="T69" fmla="*/ 41 h 146"/>
              <a:gd name="T70" fmla="*/ 111 w 136"/>
              <a:gd name="T71" fmla="*/ 27 h 146"/>
              <a:gd name="T72" fmla="*/ 121 w 136"/>
              <a:gd name="T73" fmla="*/ 26 h 146"/>
              <a:gd name="T74" fmla="*/ 128 w 136"/>
              <a:gd name="T75" fmla="*/ 31 h 146"/>
              <a:gd name="T76" fmla="*/ 134 w 136"/>
              <a:gd name="T77" fmla="*/ 42 h 146"/>
              <a:gd name="T78" fmla="*/ 135 w 136"/>
              <a:gd name="T79" fmla="*/ 51 h 146"/>
              <a:gd name="T80" fmla="*/ 130 w 136"/>
              <a:gd name="T81" fmla="*/ 58 h 146"/>
              <a:gd name="T82" fmla="*/ 104 w 136"/>
              <a:gd name="T83" fmla="*/ 73 h 146"/>
              <a:gd name="T84" fmla="*/ 130 w 136"/>
              <a:gd name="T85" fmla="*/ 8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6" h="146">
                <a:moveTo>
                  <a:pt x="130" y="87"/>
                </a:moveTo>
                <a:cubicBezTo>
                  <a:pt x="132" y="89"/>
                  <a:pt x="134" y="92"/>
                  <a:pt x="135" y="95"/>
                </a:cubicBezTo>
                <a:cubicBezTo>
                  <a:pt x="136" y="98"/>
                  <a:pt x="136" y="101"/>
                  <a:pt x="134" y="104"/>
                </a:cubicBezTo>
                <a:cubicBezTo>
                  <a:pt x="128" y="114"/>
                  <a:pt x="128" y="114"/>
                  <a:pt x="128" y="114"/>
                </a:cubicBezTo>
                <a:cubicBezTo>
                  <a:pt x="126" y="117"/>
                  <a:pt x="124" y="119"/>
                  <a:pt x="121" y="120"/>
                </a:cubicBezTo>
                <a:cubicBezTo>
                  <a:pt x="117" y="121"/>
                  <a:pt x="114" y="121"/>
                  <a:pt x="111" y="119"/>
                </a:cubicBezTo>
                <a:cubicBezTo>
                  <a:pt x="86" y="104"/>
                  <a:pt x="86" y="104"/>
                  <a:pt x="86" y="104"/>
                </a:cubicBezTo>
                <a:cubicBezTo>
                  <a:pt x="86" y="133"/>
                  <a:pt x="86" y="133"/>
                  <a:pt x="86" y="133"/>
                </a:cubicBezTo>
                <a:cubicBezTo>
                  <a:pt x="86" y="137"/>
                  <a:pt x="85" y="140"/>
                  <a:pt x="83" y="142"/>
                </a:cubicBezTo>
                <a:cubicBezTo>
                  <a:pt x="80" y="144"/>
                  <a:pt x="77" y="146"/>
                  <a:pt x="74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59" y="146"/>
                  <a:pt x="56" y="144"/>
                  <a:pt x="54" y="142"/>
                </a:cubicBezTo>
                <a:cubicBezTo>
                  <a:pt x="51" y="140"/>
                  <a:pt x="50" y="137"/>
                  <a:pt x="50" y="133"/>
                </a:cubicBezTo>
                <a:cubicBezTo>
                  <a:pt x="50" y="104"/>
                  <a:pt x="50" y="104"/>
                  <a:pt x="50" y="104"/>
                </a:cubicBezTo>
                <a:cubicBezTo>
                  <a:pt x="25" y="119"/>
                  <a:pt x="25" y="119"/>
                  <a:pt x="25" y="119"/>
                </a:cubicBezTo>
                <a:cubicBezTo>
                  <a:pt x="22" y="121"/>
                  <a:pt x="19" y="121"/>
                  <a:pt x="16" y="120"/>
                </a:cubicBezTo>
                <a:cubicBezTo>
                  <a:pt x="12" y="119"/>
                  <a:pt x="10" y="117"/>
                  <a:pt x="8" y="114"/>
                </a:cubicBezTo>
                <a:cubicBezTo>
                  <a:pt x="2" y="104"/>
                  <a:pt x="2" y="104"/>
                  <a:pt x="2" y="104"/>
                </a:cubicBezTo>
                <a:cubicBezTo>
                  <a:pt x="1" y="101"/>
                  <a:pt x="0" y="98"/>
                  <a:pt x="1" y="95"/>
                </a:cubicBezTo>
                <a:cubicBezTo>
                  <a:pt x="2" y="92"/>
                  <a:pt x="4" y="89"/>
                  <a:pt x="7" y="87"/>
                </a:cubicBezTo>
                <a:cubicBezTo>
                  <a:pt x="32" y="73"/>
                  <a:pt x="32" y="73"/>
                  <a:pt x="32" y="73"/>
                </a:cubicBezTo>
                <a:cubicBezTo>
                  <a:pt x="7" y="58"/>
                  <a:pt x="7" y="58"/>
                  <a:pt x="7" y="58"/>
                </a:cubicBezTo>
                <a:cubicBezTo>
                  <a:pt x="4" y="57"/>
                  <a:pt x="2" y="54"/>
                  <a:pt x="1" y="51"/>
                </a:cubicBezTo>
                <a:cubicBezTo>
                  <a:pt x="0" y="48"/>
                  <a:pt x="1" y="45"/>
                  <a:pt x="2" y="42"/>
                </a:cubicBezTo>
                <a:cubicBezTo>
                  <a:pt x="8" y="31"/>
                  <a:pt x="8" y="31"/>
                  <a:pt x="8" y="31"/>
                </a:cubicBezTo>
                <a:cubicBezTo>
                  <a:pt x="10" y="29"/>
                  <a:pt x="12" y="27"/>
                  <a:pt x="16" y="26"/>
                </a:cubicBezTo>
                <a:cubicBezTo>
                  <a:pt x="19" y="25"/>
                  <a:pt x="22" y="25"/>
                  <a:pt x="25" y="27"/>
                </a:cubicBezTo>
                <a:cubicBezTo>
                  <a:pt x="50" y="41"/>
                  <a:pt x="50" y="41"/>
                  <a:pt x="50" y="41"/>
                </a:cubicBezTo>
                <a:cubicBezTo>
                  <a:pt x="50" y="12"/>
                  <a:pt x="50" y="12"/>
                  <a:pt x="50" y="12"/>
                </a:cubicBezTo>
                <a:cubicBezTo>
                  <a:pt x="50" y="9"/>
                  <a:pt x="51" y="6"/>
                  <a:pt x="54" y="4"/>
                </a:cubicBezTo>
                <a:cubicBezTo>
                  <a:pt x="56" y="2"/>
                  <a:pt x="59" y="0"/>
                  <a:pt x="62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7" y="0"/>
                  <a:pt x="80" y="2"/>
                  <a:pt x="83" y="4"/>
                </a:cubicBezTo>
                <a:cubicBezTo>
                  <a:pt x="85" y="6"/>
                  <a:pt x="86" y="9"/>
                  <a:pt x="86" y="12"/>
                </a:cubicBezTo>
                <a:cubicBezTo>
                  <a:pt x="86" y="41"/>
                  <a:pt x="86" y="41"/>
                  <a:pt x="86" y="41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14" y="25"/>
                  <a:pt x="117" y="25"/>
                  <a:pt x="121" y="26"/>
                </a:cubicBezTo>
                <a:cubicBezTo>
                  <a:pt x="124" y="27"/>
                  <a:pt x="126" y="29"/>
                  <a:pt x="128" y="31"/>
                </a:cubicBezTo>
                <a:cubicBezTo>
                  <a:pt x="134" y="42"/>
                  <a:pt x="134" y="42"/>
                  <a:pt x="134" y="42"/>
                </a:cubicBezTo>
                <a:cubicBezTo>
                  <a:pt x="136" y="45"/>
                  <a:pt x="136" y="48"/>
                  <a:pt x="135" y="51"/>
                </a:cubicBezTo>
                <a:cubicBezTo>
                  <a:pt x="134" y="54"/>
                  <a:pt x="132" y="57"/>
                  <a:pt x="130" y="58"/>
                </a:cubicBezTo>
                <a:cubicBezTo>
                  <a:pt x="104" y="73"/>
                  <a:pt x="104" y="73"/>
                  <a:pt x="104" y="73"/>
                </a:cubicBezTo>
                <a:lnTo>
                  <a:pt x="130" y="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0" name="Freeform 361"/>
          <p:cNvSpPr>
            <a:spLocks noChangeAspect="1" noEditPoints="1"/>
          </p:cNvSpPr>
          <p:nvPr/>
        </p:nvSpPr>
        <p:spPr bwMode="auto">
          <a:xfrm>
            <a:off x="1232353" y="4344034"/>
            <a:ext cx="199847" cy="157692"/>
          </a:xfrm>
          <a:custGeom>
            <a:avLst/>
            <a:gdLst>
              <a:gd name="T0" fmla="*/ 193 w 193"/>
              <a:gd name="T1" fmla="*/ 82 h 152"/>
              <a:gd name="T2" fmla="*/ 193 w 193"/>
              <a:gd name="T3" fmla="*/ 118 h 152"/>
              <a:gd name="T4" fmla="*/ 192 w 193"/>
              <a:gd name="T5" fmla="*/ 120 h 152"/>
              <a:gd name="T6" fmla="*/ 190 w 193"/>
              <a:gd name="T7" fmla="*/ 121 h 152"/>
              <a:gd name="T8" fmla="*/ 181 w 193"/>
              <a:gd name="T9" fmla="*/ 121 h 152"/>
              <a:gd name="T10" fmla="*/ 181 w 193"/>
              <a:gd name="T11" fmla="*/ 133 h 152"/>
              <a:gd name="T12" fmla="*/ 176 w 193"/>
              <a:gd name="T13" fmla="*/ 146 h 152"/>
              <a:gd name="T14" fmla="*/ 163 w 193"/>
              <a:gd name="T15" fmla="*/ 152 h 152"/>
              <a:gd name="T16" fmla="*/ 150 w 193"/>
              <a:gd name="T17" fmla="*/ 146 h 152"/>
              <a:gd name="T18" fmla="*/ 145 w 193"/>
              <a:gd name="T19" fmla="*/ 133 h 152"/>
              <a:gd name="T20" fmla="*/ 145 w 193"/>
              <a:gd name="T21" fmla="*/ 121 h 152"/>
              <a:gd name="T22" fmla="*/ 48 w 193"/>
              <a:gd name="T23" fmla="*/ 121 h 152"/>
              <a:gd name="T24" fmla="*/ 48 w 193"/>
              <a:gd name="T25" fmla="*/ 133 h 152"/>
              <a:gd name="T26" fmla="*/ 43 w 193"/>
              <a:gd name="T27" fmla="*/ 146 h 152"/>
              <a:gd name="T28" fmla="*/ 30 w 193"/>
              <a:gd name="T29" fmla="*/ 152 h 152"/>
              <a:gd name="T30" fmla="*/ 17 w 193"/>
              <a:gd name="T31" fmla="*/ 146 h 152"/>
              <a:gd name="T32" fmla="*/ 12 w 193"/>
              <a:gd name="T33" fmla="*/ 133 h 152"/>
              <a:gd name="T34" fmla="*/ 12 w 193"/>
              <a:gd name="T35" fmla="*/ 121 h 152"/>
              <a:gd name="T36" fmla="*/ 3 w 193"/>
              <a:gd name="T37" fmla="*/ 121 h 152"/>
              <a:gd name="T38" fmla="*/ 1 w 193"/>
              <a:gd name="T39" fmla="*/ 120 h 152"/>
              <a:gd name="T40" fmla="*/ 0 w 193"/>
              <a:gd name="T41" fmla="*/ 118 h 152"/>
              <a:gd name="T42" fmla="*/ 0 w 193"/>
              <a:gd name="T43" fmla="*/ 82 h 152"/>
              <a:gd name="T44" fmla="*/ 6 w 193"/>
              <a:gd name="T45" fmla="*/ 67 h 152"/>
              <a:gd name="T46" fmla="*/ 21 w 193"/>
              <a:gd name="T47" fmla="*/ 61 h 152"/>
              <a:gd name="T48" fmla="*/ 23 w 193"/>
              <a:gd name="T49" fmla="*/ 61 h 152"/>
              <a:gd name="T50" fmla="*/ 33 w 193"/>
              <a:gd name="T51" fmla="*/ 21 h 152"/>
              <a:gd name="T52" fmla="*/ 43 w 193"/>
              <a:gd name="T53" fmla="*/ 6 h 152"/>
              <a:gd name="T54" fmla="*/ 60 w 193"/>
              <a:gd name="T55" fmla="*/ 0 h 152"/>
              <a:gd name="T56" fmla="*/ 133 w 193"/>
              <a:gd name="T57" fmla="*/ 0 h 152"/>
              <a:gd name="T58" fmla="*/ 150 w 193"/>
              <a:gd name="T59" fmla="*/ 6 h 152"/>
              <a:gd name="T60" fmla="*/ 160 w 193"/>
              <a:gd name="T61" fmla="*/ 21 h 152"/>
              <a:gd name="T62" fmla="*/ 169 w 193"/>
              <a:gd name="T63" fmla="*/ 61 h 152"/>
              <a:gd name="T64" fmla="*/ 172 w 193"/>
              <a:gd name="T65" fmla="*/ 61 h 152"/>
              <a:gd name="T66" fmla="*/ 187 w 193"/>
              <a:gd name="T67" fmla="*/ 67 h 152"/>
              <a:gd name="T68" fmla="*/ 193 w 193"/>
              <a:gd name="T69" fmla="*/ 82 h 152"/>
              <a:gd name="T70" fmla="*/ 41 w 193"/>
              <a:gd name="T71" fmla="*/ 102 h 152"/>
              <a:gd name="T72" fmla="*/ 45 w 193"/>
              <a:gd name="T73" fmla="*/ 91 h 152"/>
              <a:gd name="T74" fmla="*/ 41 w 193"/>
              <a:gd name="T75" fmla="*/ 80 h 152"/>
              <a:gd name="T76" fmla="*/ 30 w 193"/>
              <a:gd name="T77" fmla="*/ 76 h 152"/>
              <a:gd name="T78" fmla="*/ 19 w 193"/>
              <a:gd name="T79" fmla="*/ 80 h 152"/>
              <a:gd name="T80" fmla="*/ 15 w 193"/>
              <a:gd name="T81" fmla="*/ 91 h 152"/>
              <a:gd name="T82" fmla="*/ 19 w 193"/>
              <a:gd name="T83" fmla="*/ 102 h 152"/>
              <a:gd name="T84" fmla="*/ 30 w 193"/>
              <a:gd name="T85" fmla="*/ 106 h 152"/>
              <a:gd name="T86" fmla="*/ 41 w 193"/>
              <a:gd name="T87" fmla="*/ 102 h 152"/>
              <a:gd name="T88" fmla="*/ 48 w 193"/>
              <a:gd name="T89" fmla="*/ 61 h 152"/>
              <a:gd name="T90" fmla="*/ 145 w 193"/>
              <a:gd name="T91" fmla="*/ 61 h 152"/>
              <a:gd name="T92" fmla="*/ 136 w 193"/>
              <a:gd name="T93" fmla="*/ 27 h 152"/>
              <a:gd name="T94" fmla="*/ 135 w 193"/>
              <a:gd name="T95" fmla="*/ 25 h 152"/>
              <a:gd name="T96" fmla="*/ 133 w 193"/>
              <a:gd name="T97" fmla="*/ 25 h 152"/>
              <a:gd name="T98" fmla="*/ 60 w 193"/>
              <a:gd name="T99" fmla="*/ 25 h 152"/>
              <a:gd name="T100" fmla="*/ 58 w 193"/>
              <a:gd name="T101" fmla="*/ 25 h 152"/>
              <a:gd name="T102" fmla="*/ 57 w 193"/>
              <a:gd name="T103" fmla="*/ 27 h 152"/>
              <a:gd name="T104" fmla="*/ 48 w 193"/>
              <a:gd name="T105" fmla="*/ 61 h 152"/>
              <a:gd name="T106" fmla="*/ 174 w 193"/>
              <a:gd name="T107" fmla="*/ 102 h 152"/>
              <a:gd name="T108" fmla="*/ 178 w 193"/>
              <a:gd name="T109" fmla="*/ 91 h 152"/>
              <a:gd name="T110" fmla="*/ 174 w 193"/>
              <a:gd name="T111" fmla="*/ 80 h 152"/>
              <a:gd name="T112" fmla="*/ 163 w 193"/>
              <a:gd name="T113" fmla="*/ 76 h 152"/>
              <a:gd name="T114" fmla="*/ 152 w 193"/>
              <a:gd name="T115" fmla="*/ 80 h 152"/>
              <a:gd name="T116" fmla="*/ 148 w 193"/>
              <a:gd name="T117" fmla="*/ 91 h 152"/>
              <a:gd name="T118" fmla="*/ 152 w 193"/>
              <a:gd name="T119" fmla="*/ 102 h 152"/>
              <a:gd name="T120" fmla="*/ 163 w 193"/>
              <a:gd name="T121" fmla="*/ 106 h 152"/>
              <a:gd name="T122" fmla="*/ 174 w 193"/>
              <a:gd name="T123" fmla="*/ 102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3" h="152">
                <a:moveTo>
                  <a:pt x="193" y="82"/>
                </a:moveTo>
                <a:cubicBezTo>
                  <a:pt x="193" y="118"/>
                  <a:pt x="193" y="118"/>
                  <a:pt x="193" y="118"/>
                </a:cubicBezTo>
                <a:cubicBezTo>
                  <a:pt x="193" y="119"/>
                  <a:pt x="193" y="120"/>
                  <a:pt x="192" y="120"/>
                </a:cubicBezTo>
                <a:cubicBezTo>
                  <a:pt x="192" y="121"/>
                  <a:pt x="191" y="121"/>
                  <a:pt x="190" y="121"/>
                </a:cubicBezTo>
                <a:cubicBezTo>
                  <a:pt x="181" y="121"/>
                  <a:pt x="181" y="121"/>
                  <a:pt x="181" y="121"/>
                </a:cubicBezTo>
                <a:cubicBezTo>
                  <a:pt x="181" y="133"/>
                  <a:pt x="181" y="133"/>
                  <a:pt x="181" y="133"/>
                </a:cubicBezTo>
                <a:cubicBezTo>
                  <a:pt x="181" y="138"/>
                  <a:pt x="179" y="143"/>
                  <a:pt x="176" y="146"/>
                </a:cubicBezTo>
                <a:cubicBezTo>
                  <a:pt x="172" y="150"/>
                  <a:pt x="168" y="152"/>
                  <a:pt x="163" y="152"/>
                </a:cubicBezTo>
                <a:cubicBezTo>
                  <a:pt x="158" y="152"/>
                  <a:pt x="154" y="150"/>
                  <a:pt x="150" y="146"/>
                </a:cubicBezTo>
                <a:cubicBezTo>
                  <a:pt x="147" y="143"/>
                  <a:pt x="145" y="138"/>
                  <a:pt x="145" y="133"/>
                </a:cubicBezTo>
                <a:cubicBezTo>
                  <a:pt x="145" y="121"/>
                  <a:pt x="145" y="121"/>
                  <a:pt x="145" y="121"/>
                </a:cubicBezTo>
                <a:cubicBezTo>
                  <a:pt x="48" y="121"/>
                  <a:pt x="48" y="121"/>
                  <a:pt x="48" y="121"/>
                </a:cubicBezTo>
                <a:cubicBezTo>
                  <a:pt x="48" y="133"/>
                  <a:pt x="48" y="133"/>
                  <a:pt x="48" y="133"/>
                </a:cubicBezTo>
                <a:cubicBezTo>
                  <a:pt x="48" y="138"/>
                  <a:pt x="46" y="143"/>
                  <a:pt x="43" y="146"/>
                </a:cubicBezTo>
                <a:cubicBezTo>
                  <a:pt x="39" y="150"/>
                  <a:pt x="35" y="152"/>
                  <a:pt x="30" y="152"/>
                </a:cubicBezTo>
                <a:cubicBezTo>
                  <a:pt x="25" y="152"/>
                  <a:pt x="21" y="150"/>
                  <a:pt x="17" y="146"/>
                </a:cubicBezTo>
                <a:cubicBezTo>
                  <a:pt x="14" y="143"/>
                  <a:pt x="12" y="138"/>
                  <a:pt x="12" y="133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3" y="121"/>
                  <a:pt x="3" y="121"/>
                  <a:pt x="3" y="121"/>
                </a:cubicBezTo>
                <a:cubicBezTo>
                  <a:pt x="2" y="121"/>
                  <a:pt x="1" y="121"/>
                  <a:pt x="1" y="120"/>
                </a:cubicBezTo>
                <a:cubicBezTo>
                  <a:pt x="0" y="120"/>
                  <a:pt x="0" y="119"/>
                  <a:pt x="0" y="118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76"/>
                  <a:pt x="2" y="71"/>
                  <a:pt x="6" y="67"/>
                </a:cubicBezTo>
                <a:cubicBezTo>
                  <a:pt x="10" y="63"/>
                  <a:pt x="15" y="61"/>
                  <a:pt x="21" y="61"/>
                </a:cubicBezTo>
                <a:cubicBezTo>
                  <a:pt x="23" y="61"/>
                  <a:pt x="23" y="61"/>
                  <a:pt x="23" y="61"/>
                </a:cubicBezTo>
                <a:cubicBezTo>
                  <a:pt x="33" y="21"/>
                  <a:pt x="33" y="21"/>
                  <a:pt x="33" y="21"/>
                </a:cubicBezTo>
                <a:cubicBezTo>
                  <a:pt x="35" y="15"/>
                  <a:pt x="38" y="10"/>
                  <a:pt x="43" y="6"/>
                </a:cubicBezTo>
                <a:cubicBezTo>
                  <a:pt x="48" y="2"/>
                  <a:pt x="54" y="0"/>
                  <a:pt x="60" y="0"/>
                </a:cubicBezTo>
                <a:cubicBezTo>
                  <a:pt x="133" y="0"/>
                  <a:pt x="133" y="0"/>
                  <a:pt x="133" y="0"/>
                </a:cubicBezTo>
                <a:cubicBezTo>
                  <a:pt x="139" y="0"/>
                  <a:pt x="145" y="2"/>
                  <a:pt x="150" y="6"/>
                </a:cubicBezTo>
                <a:cubicBezTo>
                  <a:pt x="155" y="10"/>
                  <a:pt x="158" y="15"/>
                  <a:pt x="160" y="21"/>
                </a:cubicBezTo>
                <a:cubicBezTo>
                  <a:pt x="169" y="61"/>
                  <a:pt x="169" y="61"/>
                  <a:pt x="169" y="61"/>
                </a:cubicBezTo>
                <a:cubicBezTo>
                  <a:pt x="172" y="61"/>
                  <a:pt x="172" y="61"/>
                  <a:pt x="172" y="61"/>
                </a:cubicBezTo>
                <a:cubicBezTo>
                  <a:pt x="178" y="61"/>
                  <a:pt x="183" y="63"/>
                  <a:pt x="187" y="67"/>
                </a:cubicBezTo>
                <a:cubicBezTo>
                  <a:pt x="191" y="71"/>
                  <a:pt x="193" y="76"/>
                  <a:pt x="193" y="82"/>
                </a:cubicBezTo>
                <a:close/>
                <a:moveTo>
                  <a:pt x="41" y="102"/>
                </a:moveTo>
                <a:cubicBezTo>
                  <a:pt x="44" y="99"/>
                  <a:pt x="45" y="95"/>
                  <a:pt x="45" y="91"/>
                </a:cubicBezTo>
                <a:cubicBezTo>
                  <a:pt x="45" y="87"/>
                  <a:pt x="44" y="83"/>
                  <a:pt x="41" y="80"/>
                </a:cubicBezTo>
                <a:cubicBezTo>
                  <a:pt x="38" y="77"/>
                  <a:pt x="34" y="76"/>
                  <a:pt x="30" y="76"/>
                </a:cubicBezTo>
                <a:cubicBezTo>
                  <a:pt x="26" y="76"/>
                  <a:pt x="22" y="77"/>
                  <a:pt x="19" y="80"/>
                </a:cubicBezTo>
                <a:cubicBezTo>
                  <a:pt x="16" y="83"/>
                  <a:pt x="15" y="87"/>
                  <a:pt x="15" y="91"/>
                </a:cubicBezTo>
                <a:cubicBezTo>
                  <a:pt x="15" y="95"/>
                  <a:pt x="16" y="99"/>
                  <a:pt x="19" y="102"/>
                </a:cubicBezTo>
                <a:cubicBezTo>
                  <a:pt x="22" y="105"/>
                  <a:pt x="26" y="106"/>
                  <a:pt x="30" y="106"/>
                </a:cubicBezTo>
                <a:cubicBezTo>
                  <a:pt x="34" y="106"/>
                  <a:pt x="38" y="105"/>
                  <a:pt x="41" y="102"/>
                </a:cubicBezTo>
                <a:close/>
                <a:moveTo>
                  <a:pt x="48" y="61"/>
                </a:moveTo>
                <a:cubicBezTo>
                  <a:pt x="145" y="61"/>
                  <a:pt x="145" y="61"/>
                  <a:pt x="145" y="61"/>
                </a:cubicBezTo>
                <a:cubicBezTo>
                  <a:pt x="136" y="27"/>
                  <a:pt x="136" y="27"/>
                  <a:pt x="136" y="27"/>
                </a:cubicBezTo>
                <a:cubicBezTo>
                  <a:pt x="136" y="27"/>
                  <a:pt x="136" y="26"/>
                  <a:pt x="135" y="25"/>
                </a:cubicBezTo>
                <a:cubicBezTo>
                  <a:pt x="134" y="25"/>
                  <a:pt x="133" y="25"/>
                  <a:pt x="133" y="25"/>
                </a:cubicBezTo>
                <a:cubicBezTo>
                  <a:pt x="60" y="25"/>
                  <a:pt x="60" y="25"/>
                  <a:pt x="60" y="25"/>
                </a:cubicBezTo>
                <a:cubicBezTo>
                  <a:pt x="60" y="25"/>
                  <a:pt x="59" y="25"/>
                  <a:pt x="58" y="25"/>
                </a:cubicBezTo>
                <a:cubicBezTo>
                  <a:pt x="57" y="26"/>
                  <a:pt x="57" y="27"/>
                  <a:pt x="57" y="27"/>
                </a:cubicBezTo>
                <a:lnTo>
                  <a:pt x="48" y="61"/>
                </a:lnTo>
                <a:close/>
                <a:moveTo>
                  <a:pt x="174" y="102"/>
                </a:moveTo>
                <a:cubicBezTo>
                  <a:pt x="177" y="99"/>
                  <a:pt x="178" y="95"/>
                  <a:pt x="178" y="91"/>
                </a:cubicBezTo>
                <a:cubicBezTo>
                  <a:pt x="178" y="87"/>
                  <a:pt x="177" y="83"/>
                  <a:pt x="174" y="80"/>
                </a:cubicBezTo>
                <a:cubicBezTo>
                  <a:pt x="171" y="77"/>
                  <a:pt x="167" y="76"/>
                  <a:pt x="163" y="76"/>
                </a:cubicBezTo>
                <a:cubicBezTo>
                  <a:pt x="159" y="76"/>
                  <a:pt x="155" y="77"/>
                  <a:pt x="152" y="80"/>
                </a:cubicBezTo>
                <a:cubicBezTo>
                  <a:pt x="149" y="83"/>
                  <a:pt x="148" y="87"/>
                  <a:pt x="148" y="91"/>
                </a:cubicBezTo>
                <a:cubicBezTo>
                  <a:pt x="148" y="95"/>
                  <a:pt x="149" y="99"/>
                  <a:pt x="152" y="102"/>
                </a:cubicBezTo>
                <a:cubicBezTo>
                  <a:pt x="155" y="105"/>
                  <a:pt x="159" y="106"/>
                  <a:pt x="163" y="106"/>
                </a:cubicBezTo>
                <a:cubicBezTo>
                  <a:pt x="167" y="106"/>
                  <a:pt x="171" y="105"/>
                  <a:pt x="174" y="1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1" name="Freeform 362"/>
          <p:cNvSpPr>
            <a:spLocks noChangeAspect="1"/>
          </p:cNvSpPr>
          <p:nvPr/>
        </p:nvSpPr>
        <p:spPr bwMode="auto">
          <a:xfrm>
            <a:off x="1532124" y="4344034"/>
            <a:ext cx="149885" cy="151447"/>
          </a:xfrm>
          <a:custGeom>
            <a:avLst/>
            <a:gdLst>
              <a:gd name="T0" fmla="*/ 141 w 145"/>
              <a:gd name="T1" fmla="*/ 2 h 146"/>
              <a:gd name="T2" fmla="*/ 144 w 145"/>
              <a:gd name="T3" fmla="*/ 0 h 146"/>
              <a:gd name="T4" fmla="*/ 145 w 145"/>
              <a:gd name="T5" fmla="*/ 3 h 146"/>
              <a:gd name="T6" fmla="*/ 145 w 145"/>
              <a:gd name="T7" fmla="*/ 143 h 146"/>
              <a:gd name="T8" fmla="*/ 144 w 145"/>
              <a:gd name="T9" fmla="*/ 146 h 146"/>
              <a:gd name="T10" fmla="*/ 141 w 145"/>
              <a:gd name="T11" fmla="*/ 144 h 146"/>
              <a:gd name="T12" fmla="*/ 74 w 145"/>
              <a:gd name="T13" fmla="*/ 77 h 146"/>
              <a:gd name="T14" fmla="*/ 73 w 145"/>
              <a:gd name="T15" fmla="*/ 75 h 146"/>
              <a:gd name="T16" fmla="*/ 73 w 145"/>
              <a:gd name="T17" fmla="*/ 143 h 146"/>
              <a:gd name="T18" fmla="*/ 72 w 145"/>
              <a:gd name="T19" fmla="*/ 146 h 146"/>
              <a:gd name="T20" fmla="*/ 68 w 145"/>
              <a:gd name="T21" fmla="*/ 144 h 146"/>
              <a:gd name="T22" fmla="*/ 1 w 145"/>
              <a:gd name="T23" fmla="*/ 77 h 146"/>
              <a:gd name="T24" fmla="*/ 0 w 145"/>
              <a:gd name="T25" fmla="*/ 73 h 146"/>
              <a:gd name="T26" fmla="*/ 1 w 145"/>
              <a:gd name="T27" fmla="*/ 69 h 146"/>
              <a:gd name="T28" fmla="*/ 68 w 145"/>
              <a:gd name="T29" fmla="*/ 2 h 146"/>
              <a:gd name="T30" fmla="*/ 72 w 145"/>
              <a:gd name="T31" fmla="*/ 0 h 146"/>
              <a:gd name="T32" fmla="*/ 73 w 145"/>
              <a:gd name="T33" fmla="*/ 3 h 146"/>
              <a:gd name="T34" fmla="*/ 73 w 145"/>
              <a:gd name="T35" fmla="*/ 70 h 146"/>
              <a:gd name="T36" fmla="*/ 74 w 145"/>
              <a:gd name="T37" fmla="*/ 69 h 146"/>
              <a:gd name="T38" fmla="*/ 141 w 145"/>
              <a:gd name="T39" fmla="*/ 2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5" h="146">
                <a:moveTo>
                  <a:pt x="141" y="2"/>
                </a:moveTo>
                <a:cubicBezTo>
                  <a:pt x="142" y="0"/>
                  <a:pt x="143" y="0"/>
                  <a:pt x="144" y="0"/>
                </a:cubicBezTo>
                <a:cubicBezTo>
                  <a:pt x="145" y="1"/>
                  <a:pt x="145" y="2"/>
                  <a:pt x="145" y="3"/>
                </a:cubicBezTo>
                <a:cubicBezTo>
                  <a:pt x="145" y="143"/>
                  <a:pt x="145" y="143"/>
                  <a:pt x="145" y="143"/>
                </a:cubicBezTo>
                <a:cubicBezTo>
                  <a:pt x="145" y="144"/>
                  <a:pt x="145" y="145"/>
                  <a:pt x="144" y="146"/>
                </a:cubicBezTo>
                <a:cubicBezTo>
                  <a:pt x="143" y="146"/>
                  <a:pt x="142" y="145"/>
                  <a:pt x="141" y="144"/>
                </a:cubicBezTo>
                <a:cubicBezTo>
                  <a:pt x="74" y="77"/>
                  <a:pt x="74" y="77"/>
                  <a:pt x="74" y="77"/>
                </a:cubicBezTo>
                <a:cubicBezTo>
                  <a:pt x="73" y="77"/>
                  <a:pt x="73" y="76"/>
                  <a:pt x="73" y="75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44"/>
                  <a:pt x="72" y="145"/>
                  <a:pt x="72" y="146"/>
                </a:cubicBezTo>
                <a:cubicBezTo>
                  <a:pt x="71" y="146"/>
                  <a:pt x="70" y="145"/>
                  <a:pt x="68" y="144"/>
                </a:cubicBezTo>
                <a:cubicBezTo>
                  <a:pt x="1" y="77"/>
                  <a:pt x="1" y="77"/>
                  <a:pt x="1" y="77"/>
                </a:cubicBezTo>
                <a:cubicBezTo>
                  <a:pt x="0" y="76"/>
                  <a:pt x="0" y="75"/>
                  <a:pt x="0" y="73"/>
                </a:cubicBezTo>
                <a:cubicBezTo>
                  <a:pt x="0" y="71"/>
                  <a:pt x="0" y="70"/>
                  <a:pt x="1" y="69"/>
                </a:cubicBezTo>
                <a:cubicBezTo>
                  <a:pt x="68" y="2"/>
                  <a:pt x="68" y="2"/>
                  <a:pt x="68" y="2"/>
                </a:cubicBezTo>
                <a:cubicBezTo>
                  <a:pt x="70" y="0"/>
                  <a:pt x="71" y="0"/>
                  <a:pt x="72" y="0"/>
                </a:cubicBezTo>
                <a:cubicBezTo>
                  <a:pt x="72" y="1"/>
                  <a:pt x="73" y="2"/>
                  <a:pt x="73" y="3"/>
                </a:cubicBezTo>
                <a:cubicBezTo>
                  <a:pt x="73" y="70"/>
                  <a:pt x="73" y="70"/>
                  <a:pt x="73" y="70"/>
                </a:cubicBezTo>
                <a:cubicBezTo>
                  <a:pt x="73" y="70"/>
                  <a:pt x="73" y="69"/>
                  <a:pt x="74" y="69"/>
                </a:cubicBezTo>
                <a:lnTo>
                  <a:pt x="141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2" name="Freeform 363"/>
          <p:cNvSpPr>
            <a:spLocks noChangeAspect="1" noEditPoints="1"/>
          </p:cNvSpPr>
          <p:nvPr/>
        </p:nvSpPr>
        <p:spPr bwMode="auto">
          <a:xfrm>
            <a:off x="1771003" y="4344034"/>
            <a:ext cx="149885" cy="151447"/>
          </a:xfrm>
          <a:custGeom>
            <a:avLst/>
            <a:gdLst>
              <a:gd name="T0" fmla="*/ 140 w 145"/>
              <a:gd name="T1" fmla="*/ 44 h 146"/>
              <a:gd name="T2" fmla="*/ 145 w 145"/>
              <a:gd name="T3" fmla="*/ 73 h 146"/>
              <a:gd name="T4" fmla="*/ 140 w 145"/>
              <a:gd name="T5" fmla="*/ 101 h 146"/>
              <a:gd name="T6" fmla="*/ 124 w 145"/>
              <a:gd name="T7" fmla="*/ 124 h 146"/>
              <a:gd name="T8" fmla="*/ 101 w 145"/>
              <a:gd name="T9" fmla="*/ 140 h 146"/>
              <a:gd name="T10" fmla="*/ 73 w 145"/>
              <a:gd name="T11" fmla="*/ 146 h 146"/>
              <a:gd name="T12" fmla="*/ 44 w 145"/>
              <a:gd name="T13" fmla="*/ 140 h 146"/>
              <a:gd name="T14" fmla="*/ 21 w 145"/>
              <a:gd name="T15" fmla="*/ 124 h 146"/>
              <a:gd name="T16" fmla="*/ 6 w 145"/>
              <a:gd name="T17" fmla="*/ 101 h 146"/>
              <a:gd name="T18" fmla="*/ 0 w 145"/>
              <a:gd name="T19" fmla="*/ 73 h 146"/>
              <a:gd name="T20" fmla="*/ 6 w 145"/>
              <a:gd name="T21" fmla="*/ 44 h 146"/>
              <a:gd name="T22" fmla="*/ 21 w 145"/>
              <a:gd name="T23" fmla="*/ 21 h 146"/>
              <a:gd name="T24" fmla="*/ 44 w 145"/>
              <a:gd name="T25" fmla="*/ 6 h 146"/>
              <a:gd name="T26" fmla="*/ 73 w 145"/>
              <a:gd name="T27" fmla="*/ 0 h 146"/>
              <a:gd name="T28" fmla="*/ 101 w 145"/>
              <a:gd name="T29" fmla="*/ 6 h 146"/>
              <a:gd name="T30" fmla="*/ 124 w 145"/>
              <a:gd name="T31" fmla="*/ 21 h 146"/>
              <a:gd name="T32" fmla="*/ 140 w 145"/>
              <a:gd name="T33" fmla="*/ 44 h 146"/>
              <a:gd name="T34" fmla="*/ 30 w 145"/>
              <a:gd name="T35" fmla="*/ 101 h 146"/>
              <a:gd name="T36" fmla="*/ 101 w 145"/>
              <a:gd name="T37" fmla="*/ 30 h 146"/>
              <a:gd name="T38" fmla="*/ 73 w 145"/>
              <a:gd name="T39" fmla="*/ 21 h 146"/>
              <a:gd name="T40" fmla="*/ 47 w 145"/>
              <a:gd name="T41" fmla="*/ 28 h 146"/>
              <a:gd name="T42" fmla="*/ 28 w 145"/>
              <a:gd name="T43" fmla="*/ 47 h 146"/>
              <a:gd name="T44" fmla="*/ 21 w 145"/>
              <a:gd name="T45" fmla="*/ 73 h 146"/>
              <a:gd name="T46" fmla="*/ 30 w 145"/>
              <a:gd name="T47" fmla="*/ 101 h 146"/>
              <a:gd name="T48" fmla="*/ 124 w 145"/>
              <a:gd name="T49" fmla="*/ 73 h 146"/>
              <a:gd name="T50" fmla="*/ 116 w 145"/>
              <a:gd name="T51" fmla="*/ 45 h 146"/>
              <a:gd name="T52" fmla="*/ 45 w 145"/>
              <a:gd name="T53" fmla="*/ 116 h 146"/>
              <a:gd name="T54" fmla="*/ 73 w 145"/>
              <a:gd name="T55" fmla="*/ 124 h 146"/>
              <a:gd name="T56" fmla="*/ 93 w 145"/>
              <a:gd name="T57" fmla="*/ 120 h 146"/>
              <a:gd name="T58" fmla="*/ 109 w 145"/>
              <a:gd name="T59" fmla="*/ 109 h 146"/>
              <a:gd name="T60" fmla="*/ 120 w 145"/>
              <a:gd name="T61" fmla="*/ 93 h 146"/>
              <a:gd name="T62" fmla="*/ 124 w 145"/>
              <a:gd name="T63" fmla="*/ 73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5" h="146">
                <a:moveTo>
                  <a:pt x="140" y="44"/>
                </a:moveTo>
                <a:cubicBezTo>
                  <a:pt x="143" y="53"/>
                  <a:pt x="145" y="63"/>
                  <a:pt x="145" y="73"/>
                </a:cubicBezTo>
                <a:cubicBezTo>
                  <a:pt x="145" y="83"/>
                  <a:pt x="143" y="92"/>
                  <a:pt x="140" y="101"/>
                </a:cubicBezTo>
                <a:cubicBezTo>
                  <a:pt x="136" y="110"/>
                  <a:pt x="131" y="118"/>
                  <a:pt x="124" y="124"/>
                </a:cubicBezTo>
                <a:cubicBezTo>
                  <a:pt x="118" y="131"/>
                  <a:pt x="110" y="136"/>
                  <a:pt x="101" y="140"/>
                </a:cubicBezTo>
                <a:cubicBezTo>
                  <a:pt x="92" y="144"/>
                  <a:pt x="83" y="146"/>
                  <a:pt x="73" y="146"/>
                </a:cubicBezTo>
                <a:cubicBezTo>
                  <a:pt x="63" y="146"/>
                  <a:pt x="53" y="144"/>
                  <a:pt x="44" y="140"/>
                </a:cubicBezTo>
                <a:cubicBezTo>
                  <a:pt x="35" y="136"/>
                  <a:pt x="28" y="131"/>
                  <a:pt x="21" y="124"/>
                </a:cubicBezTo>
                <a:cubicBezTo>
                  <a:pt x="15" y="118"/>
                  <a:pt x="10" y="110"/>
                  <a:pt x="6" y="101"/>
                </a:cubicBezTo>
                <a:cubicBezTo>
                  <a:pt x="2" y="92"/>
                  <a:pt x="0" y="83"/>
                  <a:pt x="0" y="73"/>
                </a:cubicBezTo>
                <a:cubicBezTo>
                  <a:pt x="0" y="63"/>
                  <a:pt x="2" y="53"/>
                  <a:pt x="6" y="44"/>
                </a:cubicBezTo>
                <a:cubicBezTo>
                  <a:pt x="10" y="35"/>
                  <a:pt x="15" y="28"/>
                  <a:pt x="21" y="21"/>
                </a:cubicBezTo>
                <a:cubicBezTo>
                  <a:pt x="28" y="15"/>
                  <a:pt x="35" y="9"/>
                  <a:pt x="44" y="6"/>
                </a:cubicBezTo>
                <a:cubicBezTo>
                  <a:pt x="53" y="2"/>
                  <a:pt x="63" y="0"/>
                  <a:pt x="73" y="0"/>
                </a:cubicBezTo>
                <a:cubicBezTo>
                  <a:pt x="83" y="0"/>
                  <a:pt x="92" y="2"/>
                  <a:pt x="101" y="6"/>
                </a:cubicBezTo>
                <a:cubicBezTo>
                  <a:pt x="110" y="9"/>
                  <a:pt x="118" y="15"/>
                  <a:pt x="124" y="21"/>
                </a:cubicBezTo>
                <a:cubicBezTo>
                  <a:pt x="131" y="28"/>
                  <a:pt x="136" y="35"/>
                  <a:pt x="140" y="44"/>
                </a:cubicBezTo>
                <a:close/>
                <a:moveTo>
                  <a:pt x="30" y="101"/>
                </a:moveTo>
                <a:cubicBezTo>
                  <a:pt x="101" y="30"/>
                  <a:pt x="101" y="30"/>
                  <a:pt x="101" y="30"/>
                </a:cubicBezTo>
                <a:cubicBezTo>
                  <a:pt x="93" y="24"/>
                  <a:pt x="83" y="21"/>
                  <a:pt x="73" y="21"/>
                </a:cubicBezTo>
                <a:cubicBezTo>
                  <a:pt x="63" y="21"/>
                  <a:pt x="55" y="23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4" y="55"/>
                  <a:pt x="21" y="63"/>
                  <a:pt x="21" y="73"/>
                </a:cubicBezTo>
                <a:cubicBezTo>
                  <a:pt x="21" y="83"/>
                  <a:pt x="24" y="92"/>
                  <a:pt x="30" y="101"/>
                </a:cubicBezTo>
                <a:close/>
                <a:moveTo>
                  <a:pt x="124" y="73"/>
                </a:moveTo>
                <a:cubicBezTo>
                  <a:pt x="124" y="62"/>
                  <a:pt x="121" y="53"/>
                  <a:pt x="116" y="45"/>
                </a:cubicBezTo>
                <a:cubicBezTo>
                  <a:pt x="45" y="116"/>
                  <a:pt x="45" y="116"/>
                  <a:pt x="45" y="116"/>
                </a:cubicBezTo>
                <a:cubicBezTo>
                  <a:pt x="53" y="122"/>
                  <a:pt x="63" y="124"/>
                  <a:pt x="73" y="124"/>
                </a:cubicBezTo>
                <a:cubicBezTo>
                  <a:pt x="80" y="124"/>
                  <a:pt x="86" y="123"/>
                  <a:pt x="93" y="120"/>
                </a:cubicBezTo>
                <a:cubicBezTo>
                  <a:pt x="99" y="117"/>
                  <a:pt x="104" y="114"/>
                  <a:pt x="109" y="109"/>
                </a:cubicBezTo>
                <a:cubicBezTo>
                  <a:pt x="114" y="105"/>
                  <a:pt x="117" y="99"/>
                  <a:pt x="120" y="93"/>
                </a:cubicBezTo>
                <a:cubicBezTo>
                  <a:pt x="123" y="86"/>
                  <a:pt x="124" y="80"/>
                  <a:pt x="124" y="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3" name="Freeform 364"/>
          <p:cNvSpPr>
            <a:spLocks noChangeAspect="1" noEditPoints="1"/>
          </p:cNvSpPr>
          <p:nvPr/>
        </p:nvSpPr>
        <p:spPr bwMode="auto">
          <a:xfrm>
            <a:off x="2008322" y="4331544"/>
            <a:ext cx="188919" cy="176428"/>
          </a:xfrm>
          <a:custGeom>
            <a:avLst/>
            <a:gdLst>
              <a:gd name="T0" fmla="*/ 91 w 182"/>
              <a:gd name="T1" fmla="*/ 0 h 170"/>
              <a:gd name="T2" fmla="*/ 182 w 182"/>
              <a:gd name="T3" fmla="*/ 37 h 170"/>
              <a:gd name="T4" fmla="*/ 182 w 182"/>
              <a:gd name="T5" fmla="*/ 49 h 170"/>
              <a:gd name="T6" fmla="*/ 169 w 182"/>
              <a:gd name="T7" fmla="*/ 49 h 170"/>
              <a:gd name="T8" fmla="*/ 167 w 182"/>
              <a:gd name="T9" fmla="*/ 53 h 170"/>
              <a:gd name="T10" fmla="*/ 163 w 182"/>
              <a:gd name="T11" fmla="*/ 55 h 170"/>
              <a:gd name="T12" fmla="*/ 19 w 182"/>
              <a:gd name="T13" fmla="*/ 55 h 170"/>
              <a:gd name="T14" fmla="*/ 14 w 182"/>
              <a:gd name="T15" fmla="*/ 53 h 170"/>
              <a:gd name="T16" fmla="*/ 12 w 182"/>
              <a:gd name="T17" fmla="*/ 49 h 170"/>
              <a:gd name="T18" fmla="*/ 0 w 182"/>
              <a:gd name="T19" fmla="*/ 49 h 170"/>
              <a:gd name="T20" fmla="*/ 0 w 182"/>
              <a:gd name="T21" fmla="*/ 37 h 170"/>
              <a:gd name="T22" fmla="*/ 91 w 182"/>
              <a:gd name="T23" fmla="*/ 0 h 170"/>
              <a:gd name="T24" fmla="*/ 175 w 182"/>
              <a:gd name="T25" fmla="*/ 151 h 170"/>
              <a:gd name="T26" fmla="*/ 180 w 182"/>
              <a:gd name="T27" fmla="*/ 153 h 170"/>
              <a:gd name="T28" fmla="*/ 182 w 182"/>
              <a:gd name="T29" fmla="*/ 158 h 170"/>
              <a:gd name="T30" fmla="*/ 182 w 182"/>
              <a:gd name="T31" fmla="*/ 170 h 170"/>
              <a:gd name="T32" fmla="*/ 0 w 182"/>
              <a:gd name="T33" fmla="*/ 170 h 170"/>
              <a:gd name="T34" fmla="*/ 0 w 182"/>
              <a:gd name="T35" fmla="*/ 158 h 170"/>
              <a:gd name="T36" fmla="*/ 2 w 182"/>
              <a:gd name="T37" fmla="*/ 153 h 170"/>
              <a:gd name="T38" fmla="*/ 7 w 182"/>
              <a:gd name="T39" fmla="*/ 151 h 170"/>
              <a:gd name="T40" fmla="*/ 175 w 182"/>
              <a:gd name="T41" fmla="*/ 151 h 170"/>
              <a:gd name="T42" fmla="*/ 24 w 182"/>
              <a:gd name="T43" fmla="*/ 61 h 170"/>
              <a:gd name="T44" fmla="*/ 48 w 182"/>
              <a:gd name="T45" fmla="*/ 61 h 170"/>
              <a:gd name="T46" fmla="*/ 48 w 182"/>
              <a:gd name="T47" fmla="*/ 133 h 170"/>
              <a:gd name="T48" fmla="*/ 61 w 182"/>
              <a:gd name="T49" fmla="*/ 133 h 170"/>
              <a:gd name="T50" fmla="*/ 61 w 182"/>
              <a:gd name="T51" fmla="*/ 61 h 170"/>
              <a:gd name="T52" fmla="*/ 85 w 182"/>
              <a:gd name="T53" fmla="*/ 61 h 170"/>
              <a:gd name="T54" fmla="*/ 85 w 182"/>
              <a:gd name="T55" fmla="*/ 133 h 170"/>
              <a:gd name="T56" fmla="*/ 97 w 182"/>
              <a:gd name="T57" fmla="*/ 133 h 170"/>
              <a:gd name="T58" fmla="*/ 97 w 182"/>
              <a:gd name="T59" fmla="*/ 61 h 170"/>
              <a:gd name="T60" fmla="*/ 121 w 182"/>
              <a:gd name="T61" fmla="*/ 61 h 170"/>
              <a:gd name="T62" fmla="*/ 121 w 182"/>
              <a:gd name="T63" fmla="*/ 133 h 170"/>
              <a:gd name="T64" fmla="*/ 133 w 182"/>
              <a:gd name="T65" fmla="*/ 133 h 170"/>
              <a:gd name="T66" fmla="*/ 133 w 182"/>
              <a:gd name="T67" fmla="*/ 61 h 170"/>
              <a:gd name="T68" fmla="*/ 157 w 182"/>
              <a:gd name="T69" fmla="*/ 61 h 170"/>
              <a:gd name="T70" fmla="*/ 157 w 182"/>
              <a:gd name="T71" fmla="*/ 133 h 170"/>
              <a:gd name="T72" fmla="*/ 163 w 182"/>
              <a:gd name="T73" fmla="*/ 133 h 170"/>
              <a:gd name="T74" fmla="*/ 167 w 182"/>
              <a:gd name="T75" fmla="*/ 135 h 170"/>
              <a:gd name="T76" fmla="*/ 169 w 182"/>
              <a:gd name="T77" fmla="*/ 139 h 170"/>
              <a:gd name="T78" fmla="*/ 169 w 182"/>
              <a:gd name="T79" fmla="*/ 145 h 170"/>
              <a:gd name="T80" fmla="*/ 12 w 182"/>
              <a:gd name="T81" fmla="*/ 145 h 170"/>
              <a:gd name="T82" fmla="*/ 12 w 182"/>
              <a:gd name="T83" fmla="*/ 139 h 170"/>
              <a:gd name="T84" fmla="*/ 14 w 182"/>
              <a:gd name="T85" fmla="*/ 135 h 170"/>
              <a:gd name="T86" fmla="*/ 19 w 182"/>
              <a:gd name="T87" fmla="*/ 133 h 170"/>
              <a:gd name="T88" fmla="*/ 24 w 182"/>
              <a:gd name="T89" fmla="*/ 133 h 170"/>
              <a:gd name="T90" fmla="*/ 24 w 182"/>
              <a:gd name="T91" fmla="*/ 6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2" h="170">
                <a:moveTo>
                  <a:pt x="91" y="0"/>
                </a:moveTo>
                <a:cubicBezTo>
                  <a:pt x="182" y="37"/>
                  <a:pt x="182" y="37"/>
                  <a:pt x="182" y="37"/>
                </a:cubicBezTo>
                <a:cubicBezTo>
                  <a:pt x="182" y="49"/>
                  <a:pt x="182" y="49"/>
                  <a:pt x="182" y="49"/>
                </a:cubicBezTo>
                <a:cubicBezTo>
                  <a:pt x="169" y="49"/>
                  <a:pt x="169" y="49"/>
                  <a:pt x="169" y="49"/>
                </a:cubicBezTo>
                <a:cubicBezTo>
                  <a:pt x="169" y="50"/>
                  <a:pt x="169" y="52"/>
                  <a:pt x="167" y="53"/>
                </a:cubicBezTo>
                <a:cubicBezTo>
                  <a:pt x="166" y="54"/>
                  <a:pt x="165" y="55"/>
                  <a:pt x="163" y="55"/>
                </a:cubicBezTo>
                <a:cubicBezTo>
                  <a:pt x="19" y="55"/>
                  <a:pt x="19" y="55"/>
                  <a:pt x="19" y="55"/>
                </a:cubicBezTo>
                <a:cubicBezTo>
                  <a:pt x="17" y="55"/>
                  <a:pt x="15" y="54"/>
                  <a:pt x="14" y="53"/>
                </a:cubicBezTo>
                <a:cubicBezTo>
                  <a:pt x="13" y="52"/>
                  <a:pt x="12" y="50"/>
                  <a:pt x="12" y="49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37"/>
                  <a:pt x="0" y="37"/>
                  <a:pt x="0" y="37"/>
                </a:cubicBezTo>
                <a:lnTo>
                  <a:pt x="91" y="0"/>
                </a:lnTo>
                <a:close/>
                <a:moveTo>
                  <a:pt x="175" y="151"/>
                </a:moveTo>
                <a:cubicBezTo>
                  <a:pt x="177" y="151"/>
                  <a:pt x="178" y="152"/>
                  <a:pt x="180" y="153"/>
                </a:cubicBezTo>
                <a:cubicBezTo>
                  <a:pt x="181" y="154"/>
                  <a:pt x="182" y="156"/>
                  <a:pt x="182" y="158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0" y="170"/>
                  <a:pt x="0" y="170"/>
                  <a:pt x="0" y="170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6"/>
                  <a:pt x="1" y="154"/>
                  <a:pt x="2" y="153"/>
                </a:cubicBezTo>
                <a:cubicBezTo>
                  <a:pt x="3" y="152"/>
                  <a:pt x="5" y="151"/>
                  <a:pt x="7" y="151"/>
                </a:cubicBezTo>
                <a:lnTo>
                  <a:pt x="175" y="151"/>
                </a:lnTo>
                <a:close/>
                <a:moveTo>
                  <a:pt x="24" y="61"/>
                </a:moveTo>
                <a:cubicBezTo>
                  <a:pt x="48" y="61"/>
                  <a:pt x="48" y="61"/>
                  <a:pt x="48" y="61"/>
                </a:cubicBezTo>
                <a:cubicBezTo>
                  <a:pt x="48" y="133"/>
                  <a:pt x="48" y="133"/>
                  <a:pt x="48" y="133"/>
                </a:cubicBezTo>
                <a:cubicBezTo>
                  <a:pt x="61" y="133"/>
                  <a:pt x="61" y="133"/>
                  <a:pt x="61" y="133"/>
                </a:cubicBezTo>
                <a:cubicBezTo>
                  <a:pt x="61" y="61"/>
                  <a:pt x="61" y="61"/>
                  <a:pt x="61" y="61"/>
                </a:cubicBezTo>
                <a:cubicBezTo>
                  <a:pt x="85" y="61"/>
                  <a:pt x="85" y="61"/>
                  <a:pt x="85" y="61"/>
                </a:cubicBezTo>
                <a:cubicBezTo>
                  <a:pt x="85" y="133"/>
                  <a:pt x="85" y="133"/>
                  <a:pt x="85" y="133"/>
                </a:cubicBezTo>
                <a:cubicBezTo>
                  <a:pt x="97" y="133"/>
                  <a:pt x="97" y="133"/>
                  <a:pt x="97" y="133"/>
                </a:cubicBezTo>
                <a:cubicBezTo>
                  <a:pt x="97" y="61"/>
                  <a:pt x="97" y="61"/>
                  <a:pt x="97" y="61"/>
                </a:cubicBezTo>
                <a:cubicBezTo>
                  <a:pt x="121" y="61"/>
                  <a:pt x="121" y="61"/>
                  <a:pt x="121" y="61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33" y="133"/>
                  <a:pt x="133" y="133"/>
                  <a:pt x="133" y="133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57" y="61"/>
                  <a:pt x="157" y="61"/>
                  <a:pt x="157" y="61"/>
                </a:cubicBezTo>
                <a:cubicBezTo>
                  <a:pt x="157" y="133"/>
                  <a:pt x="157" y="133"/>
                  <a:pt x="157" y="133"/>
                </a:cubicBezTo>
                <a:cubicBezTo>
                  <a:pt x="163" y="133"/>
                  <a:pt x="163" y="133"/>
                  <a:pt x="163" y="133"/>
                </a:cubicBezTo>
                <a:cubicBezTo>
                  <a:pt x="165" y="133"/>
                  <a:pt x="166" y="134"/>
                  <a:pt x="167" y="135"/>
                </a:cubicBezTo>
                <a:cubicBezTo>
                  <a:pt x="169" y="136"/>
                  <a:pt x="169" y="138"/>
                  <a:pt x="169" y="139"/>
                </a:cubicBezTo>
                <a:cubicBezTo>
                  <a:pt x="169" y="145"/>
                  <a:pt x="169" y="145"/>
                  <a:pt x="169" y="145"/>
                </a:cubicBezTo>
                <a:cubicBezTo>
                  <a:pt x="12" y="145"/>
                  <a:pt x="12" y="145"/>
                  <a:pt x="12" y="145"/>
                </a:cubicBezTo>
                <a:cubicBezTo>
                  <a:pt x="12" y="139"/>
                  <a:pt x="12" y="139"/>
                  <a:pt x="12" y="139"/>
                </a:cubicBezTo>
                <a:cubicBezTo>
                  <a:pt x="12" y="138"/>
                  <a:pt x="13" y="136"/>
                  <a:pt x="14" y="135"/>
                </a:cubicBezTo>
                <a:cubicBezTo>
                  <a:pt x="15" y="134"/>
                  <a:pt x="17" y="133"/>
                  <a:pt x="19" y="133"/>
                </a:cubicBezTo>
                <a:cubicBezTo>
                  <a:pt x="24" y="133"/>
                  <a:pt x="24" y="133"/>
                  <a:pt x="24" y="133"/>
                </a:cubicBezTo>
                <a:lnTo>
                  <a:pt x="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4" name="Freeform 365"/>
          <p:cNvSpPr>
            <a:spLocks noChangeAspect="1" noEditPoints="1"/>
          </p:cNvSpPr>
          <p:nvPr/>
        </p:nvSpPr>
        <p:spPr bwMode="auto">
          <a:xfrm>
            <a:off x="2297164" y="4344034"/>
            <a:ext cx="199847" cy="151447"/>
          </a:xfrm>
          <a:custGeom>
            <a:avLst/>
            <a:gdLst>
              <a:gd name="T0" fmla="*/ 128 w 128"/>
              <a:gd name="T1" fmla="*/ 88 h 97"/>
              <a:gd name="T2" fmla="*/ 128 w 128"/>
              <a:gd name="T3" fmla="*/ 97 h 97"/>
              <a:gd name="T4" fmla="*/ 0 w 128"/>
              <a:gd name="T5" fmla="*/ 97 h 97"/>
              <a:gd name="T6" fmla="*/ 0 w 128"/>
              <a:gd name="T7" fmla="*/ 0 h 97"/>
              <a:gd name="T8" fmla="*/ 8 w 128"/>
              <a:gd name="T9" fmla="*/ 0 h 97"/>
              <a:gd name="T10" fmla="*/ 8 w 128"/>
              <a:gd name="T11" fmla="*/ 88 h 97"/>
              <a:gd name="T12" fmla="*/ 128 w 128"/>
              <a:gd name="T13" fmla="*/ 88 h 97"/>
              <a:gd name="T14" fmla="*/ 40 w 128"/>
              <a:gd name="T15" fmla="*/ 48 h 97"/>
              <a:gd name="T16" fmla="*/ 40 w 128"/>
              <a:gd name="T17" fmla="*/ 80 h 97"/>
              <a:gd name="T18" fmla="*/ 24 w 128"/>
              <a:gd name="T19" fmla="*/ 80 h 97"/>
              <a:gd name="T20" fmla="*/ 24 w 128"/>
              <a:gd name="T21" fmla="*/ 48 h 97"/>
              <a:gd name="T22" fmla="*/ 40 w 128"/>
              <a:gd name="T23" fmla="*/ 48 h 97"/>
              <a:gd name="T24" fmla="*/ 64 w 128"/>
              <a:gd name="T25" fmla="*/ 16 h 97"/>
              <a:gd name="T26" fmla="*/ 64 w 128"/>
              <a:gd name="T27" fmla="*/ 80 h 97"/>
              <a:gd name="T28" fmla="*/ 48 w 128"/>
              <a:gd name="T29" fmla="*/ 80 h 97"/>
              <a:gd name="T30" fmla="*/ 48 w 128"/>
              <a:gd name="T31" fmla="*/ 16 h 97"/>
              <a:gd name="T32" fmla="*/ 64 w 128"/>
              <a:gd name="T33" fmla="*/ 16 h 97"/>
              <a:gd name="T34" fmla="*/ 88 w 128"/>
              <a:gd name="T35" fmla="*/ 32 h 97"/>
              <a:gd name="T36" fmla="*/ 88 w 128"/>
              <a:gd name="T37" fmla="*/ 80 h 97"/>
              <a:gd name="T38" fmla="*/ 72 w 128"/>
              <a:gd name="T39" fmla="*/ 80 h 97"/>
              <a:gd name="T40" fmla="*/ 72 w 128"/>
              <a:gd name="T41" fmla="*/ 32 h 97"/>
              <a:gd name="T42" fmla="*/ 88 w 128"/>
              <a:gd name="T43" fmla="*/ 32 h 97"/>
              <a:gd name="T44" fmla="*/ 112 w 128"/>
              <a:gd name="T45" fmla="*/ 8 h 97"/>
              <a:gd name="T46" fmla="*/ 112 w 128"/>
              <a:gd name="T47" fmla="*/ 80 h 97"/>
              <a:gd name="T48" fmla="*/ 97 w 128"/>
              <a:gd name="T49" fmla="*/ 80 h 97"/>
              <a:gd name="T50" fmla="*/ 97 w 128"/>
              <a:gd name="T51" fmla="*/ 8 h 97"/>
              <a:gd name="T52" fmla="*/ 112 w 128"/>
              <a:gd name="T53" fmla="*/ 8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8" h="97">
                <a:moveTo>
                  <a:pt x="128" y="88"/>
                </a:moveTo>
                <a:lnTo>
                  <a:pt x="128" y="97"/>
                </a:lnTo>
                <a:lnTo>
                  <a:pt x="0" y="97"/>
                </a:lnTo>
                <a:lnTo>
                  <a:pt x="0" y="0"/>
                </a:lnTo>
                <a:lnTo>
                  <a:pt x="8" y="0"/>
                </a:lnTo>
                <a:lnTo>
                  <a:pt x="8" y="88"/>
                </a:lnTo>
                <a:lnTo>
                  <a:pt x="128" y="88"/>
                </a:lnTo>
                <a:close/>
                <a:moveTo>
                  <a:pt x="40" y="48"/>
                </a:moveTo>
                <a:lnTo>
                  <a:pt x="40" y="80"/>
                </a:lnTo>
                <a:lnTo>
                  <a:pt x="24" y="80"/>
                </a:lnTo>
                <a:lnTo>
                  <a:pt x="24" y="48"/>
                </a:lnTo>
                <a:lnTo>
                  <a:pt x="40" y="48"/>
                </a:lnTo>
                <a:close/>
                <a:moveTo>
                  <a:pt x="64" y="16"/>
                </a:moveTo>
                <a:lnTo>
                  <a:pt x="64" y="80"/>
                </a:lnTo>
                <a:lnTo>
                  <a:pt x="48" y="80"/>
                </a:lnTo>
                <a:lnTo>
                  <a:pt x="48" y="16"/>
                </a:lnTo>
                <a:lnTo>
                  <a:pt x="64" y="16"/>
                </a:lnTo>
                <a:close/>
                <a:moveTo>
                  <a:pt x="88" y="32"/>
                </a:moveTo>
                <a:lnTo>
                  <a:pt x="88" y="80"/>
                </a:lnTo>
                <a:lnTo>
                  <a:pt x="72" y="80"/>
                </a:lnTo>
                <a:lnTo>
                  <a:pt x="72" y="32"/>
                </a:lnTo>
                <a:lnTo>
                  <a:pt x="88" y="32"/>
                </a:lnTo>
                <a:close/>
                <a:moveTo>
                  <a:pt x="112" y="8"/>
                </a:moveTo>
                <a:lnTo>
                  <a:pt x="112" y="80"/>
                </a:lnTo>
                <a:lnTo>
                  <a:pt x="97" y="80"/>
                </a:lnTo>
                <a:lnTo>
                  <a:pt x="97" y="8"/>
                </a:lnTo>
                <a:lnTo>
                  <a:pt x="112" y="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5" name="Freeform 366"/>
          <p:cNvSpPr>
            <a:spLocks noChangeAspect="1" noEditPoints="1"/>
          </p:cNvSpPr>
          <p:nvPr/>
        </p:nvSpPr>
        <p:spPr bwMode="auto">
          <a:xfrm>
            <a:off x="2586005" y="4344034"/>
            <a:ext cx="199847" cy="151447"/>
          </a:xfrm>
          <a:custGeom>
            <a:avLst/>
            <a:gdLst>
              <a:gd name="T0" fmla="*/ 128 w 128"/>
              <a:gd name="T1" fmla="*/ 88 h 97"/>
              <a:gd name="T2" fmla="*/ 128 w 128"/>
              <a:gd name="T3" fmla="*/ 97 h 97"/>
              <a:gd name="T4" fmla="*/ 0 w 128"/>
              <a:gd name="T5" fmla="*/ 97 h 97"/>
              <a:gd name="T6" fmla="*/ 0 w 128"/>
              <a:gd name="T7" fmla="*/ 0 h 97"/>
              <a:gd name="T8" fmla="*/ 8 w 128"/>
              <a:gd name="T9" fmla="*/ 0 h 97"/>
              <a:gd name="T10" fmla="*/ 8 w 128"/>
              <a:gd name="T11" fmla="*/ 88 h 97"/>
              <a:gd name="T12" fmla="*/ 128 w 128"/>
              <a:gd name="T13" fmla="*/ 88 h 97"/>
              <a:gd name="T14" fmla="*/ 40 w 128"/>
              <a:gd name="T15" fmla="*/ 48 h 97"/>
              <a:gd name="T16" fmla="*/ 40 w 128"/>
              <a:gd name="T17" fmla="*/ 80 h 97"/>
              <a:gd name="T18" fmla="*/ 24 w 128"/>
              <a:gd name="T19" fmla="*/ 80 h 97"/>
              <a:gd name="T20" fmla="*/ 24 w 128"/>
              <a:gd name="T21" fmla="*/ 48 h 97"/>
              <a:gd name="T22" fmla="*/ 40 w 128"/>
              <a:gd name="T23" fmla="*/ 48 h 97"/>
              <a:gd name="T24" fmla="*/ 64 w 128"/>
              <a:gd name="T25" fmla="*/ 16 h 97"/>
              <a:gd name="T26" fmla="*/ 64 w 128"/>
              <a:gd name="T27" fmla="*/ 80 h 97"/>
              <a:gd name="T28" fmla="*/ 48 w 128"/>
              <a:gd name="T29" fmla="*/ 80 h 97"/>
              <a:gd name="T30" fmla="*/ 48 w 128"/>
              <a:gd name="T31" fmla="*/ 16 h 97"/>
              <a:gd name="T32" fmla="*/ 64 w 128"/>
              <a:gd name="T33" fmla="*/ 16 h 97"/>
              <a:gd name="T34" fmla="*/ 88 w 128"/>
              <a:gd name="T35" fmla="*/ 32 h 97"/>
              <a:gd name="T36" fmla="*/ 88 w 128"/>
              <a:gd name="T37" fmla="*/ 80 h 97"/>
              <a:gd name="T38" fmla="*/ 72 w 128"/>
              <a:gd name="T39" fmla="*/ 80 h 97"/>
              <a:gd name="T40" fmla="*/ 72 w 128"/>
              <a:gd name="T41" fmla="*/ 32 h 97"/>
              <a:gd name="T42" fmla="*/ 88 w 128"/>
              <a:gd name="T43" fmla="*/ 32 h 97"/>
              <a:gd name="T44" fmla="*/ 112 w 128"/>
              <a:gd name="T45" fmla="*/ 8 h 97"/>
              <a:gd name="T46" fmla="*/ 112 w 128"/>
              <a:gd name="T47" fmla="*/ 80 h 97"/>
              <a:gd name="T48" fmla="*/ 96 w 128"/>
              <a:gd name="T49" fmla="*/ 80 h 97"/>
              <a:gd name="T50" fmla="*/ 96 w 128"/>
              <a:gd name="T51" fmla="*/ 8 h 97"/>
              <a:gd name="T52" fmla="*/ 112 w 128"/>
              <a:gd name="T53" fmla="*/ 8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8" h="97">
                <a:moveTo>
                  <a:pt x="128" y="88"/>
                </a:moveTo>
                <a:lnTo>
                  <a:pt x="128" y="97"/>
                </a:lnTo>
                <a:lnTo>
                  <a:pt x="0" y="97"/>
                </a:lnTo>
                <a:lnTo>
                  <a:pt x="0" y="0"/>
                </a:lnTo>
                <a:lnTo>
                  <a:pt x="8" y="0"/>
                </a:lnTo>
                <a:lnTo>
                  <a:pt x="8" y="88"/>
                </a:lnTo>
                <a:lnTo>
                  <a:pt x="128" y="88"/>
                </a:lnTo>
                <a:close/>
                <a:moveTo>
                  <a:pt x="40" y="48"/>
                </a:moveTo>
                <a:lnTo>
                  <a:pt x="40" y="80"/>
                </a:lnTo>
                <a:lnTo>
                  <a:pt x="24" y="80"/>
                </a:lnTo>
                <a:lnTo>
                  <a:pt x="24" y="48"/>
                </a:lnTo>
                <a:lnTo>
                  <a:pt x="40" y="48"/>
                </a:lnTo>
                <a:close/>
                <a:moveTo>
                  <a:pt x="64" y="16"/>
                </a:moveTo>
                <a:lnTo>
                  <a:pt x="64" y="80"/>
                </a:lnTo>
                <a:lnTo>
                  <a:pt x="48" y="80"/>
                </a:lnTo>
                <a:lnTo>
                  <a:pt x="48" y="16"/>
                </a:lnTo>
                <a:lnTo>
                  <a:pt x="64" y="16"/>
                </a:lnTo>
                <a:close/>
                <a:moveTo>
                  <a:pt x="88" y="32"/>
                </a:moveTo>
                <a:lnTo>
                  <a:pt x="88" y="80"/>
                </a:lnTo>
                <a:lnTo>
                  <a:pt x="72" y="80"/>
                </a:lnTo>
                <a:lnTo>
                  <a:pt x="72" y="32"/>
                </a:lnTo>
                <a:lnTo>
                  <a:pt x="88" y="32"/>
                </a:lnTo>
                <a:close/>
                <a:moveTo>
                  <a:pt x="112" y="8"/>
                </a:moveTo>
                <a:lnTo>
                  <a:pt x="112" y="80"/>
                </a:lnTo>
                <a:lnTo>
                  <a:pt x="96" y="80"/>
                </a:lnTo>
                <a:lnTo>
                  <a:pt x="96" y="8"/>
                </a:lnTo>
                <a:lnTo>
                  <a:pt x="112" y="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6" name="Freeform 367"/>
          <p:cNvSpPr>
            <a:spLocks noChangeAspect="1" noEditPoints="1"/>
          </p:cNvSpPr>
          <p:nvPr/>
        </p:nvSpPr>
        <p:spPr bwMode="auto">
          <a:xfrm>
            <a:off x="2873286" y="4344034"/>
            <a:ext cx="174866" cy="137395"/>
          </a:xfrm>
          <a:custGeom>
            <a:avLst/>
            <a:gdLst>
              <a:gd name="T0" fmla="*/ 0 w 112"/>
              <a:gd name="T1" fmla="*/ 88 h 88"/>
              <a:gd name="T2" fmla="*/ 4 w 112"/>
              <a:gd name="T3" fmla="*/ 0 h 88"/>
              <a:gd name="T4" fmla="*/ 8 w 112"/>
              <a:gd name="T5" fmla="*/ 88 h 88"/>
              <a:gd name="T6" fmla="*/ 6 w 112"/>
              <a:gd name="T7" fmla="*/ 0 h 88"/>
              <a:gd name="T8" fmla="*/ 8 w 112"/>
              <a:gd name="T9" fmla="*/ 88 h 88"/>
              <a:gd name="T10" fmla="*/ 12 w 112"/>
              <a:gd name="T11" fmla="*/ 88 h 88"/>
              <a:gd name="T12" fmla="*/ 14 w 112"/>
              <a:gd name="T13" fmla="*/ 0 h 88"/>
              <a:gd name="T14" fmla="*/ 24 w 112"/>
              <a:gd name="T15" fmla="*/ 88 h 88"/>
              <a:gd name="T16" fmla="*/ 22 w 112"/>
              <a:gd name="T17" fmla="*/ 0 h 88"/>
              <a:gd name="T18" fmla="*/ 24 w 112"/>
              <a:gd name="T19" fmla="*/ 88 h 88"/>
              <a:gd name="T20" fmla="*/ 30 w 112"/>
              <a:gd name="T21" fmla="*/ 88 h 88"/>
              <a:gd name="T22" fmla="*/ 34 w 112"/>
              <a:gd name="T23" fmla="*/ 0 h 88"/>
              <a:gd name="T24" fmla="*/ 41 w 112"/>
              <a:gd name="T25" fmla="*/ 88 h 88"/>
              <a:gd name="T26" fmla="*/ 40 w 112"/>
              <a:gd name="T27" fmla="*/ 0 h 88"/>
              <a:gd name="T28" fmla="*/ 41 w 112"/>
              <a:gd name="T29" fmla="*/ 88 h 88"/>
              <a:gd name="T30" fmla="*/ 43 w 112"/>
              <a:gd name="T31" fmla="*/ 88 h 88"/>
              <a:gd name="T32" fmla="*/ 45 w 112"/>
              <a:gd name="T33" fmla="*/ 0 h 88"/>
              <a:gd name="T34" fmla="*/ 49 w 112"/>
              <a:gd name="T35" fmla="*/ 88 h 88"/>
              <a:gd name="T36" fmla="*/ 47 w 112"/>
              <a:gd name="T37" fmla="*/ 0 h 88"/>
              <a:gd name="T38" fmla="*/ 49 w 112"/>
              <a:gd name="T39" fmla="*/ 88 h 88"/>
              <a:gd name="T40" fmla="*/ 55 w 112"/>
              <a:gd name="T41" fmla="*/ 88 h 88"/>
              <a:gd name="T42" fmla="*/ 59 w 112"/>
              <a:gd name="T43" fmla="*/ 0 h 88"/>
              <a:gd name="T44" fmla="*/ 69 w 112"/>
              <a:gd name="T45" fmla="*/ 88 h 88"/>
              <a:gd name="T46" fmla="*/ 65 w 112"/>
              <a:gd name="T47" fmla="*/ 0 h 88"/>
              <a:gd name="T48" fmla="*/ 69 w 112"/>
              <a:gd name="T49" fmla="*/ 88 h 88"/>
              <a:gd name="T50" fmla="*/ 73 w 112"/>
              <a:gd name="T51" fmla="*/ 88 h 88"/>
              <a:gd name="T52" fmla="*/ 77 w 112"/>
              <a:gd name="T53" fmla="*/ 0 h 88"/>
              <a:gd name="T54" fmla="*/ 85 w 112"/>
              <a:gd name="T55" fmla="*/ 88 h 88"/>
              <a:gd name="T56" fmla="*/ 81 w 112"/>
              <a:gd name="T57" fmla="*/ 0 h 88"/>
              <a:gd name="T58" fmla="*/ 85 w 112"/>
              <a:gd name="T59" fmla="*/ 88 h 88"/>
              <a:gd name="T60" fmla="*/ 87 w 112"/>
              <a:gd name="T61" fmla="*/ 88 h 88"/>
              <a:gd name="T62" fmla="*/ 91 w 112"/>
              <a:gd name="T63" fmla="*/ 0 h 88"/>
              <a:gd name="T64" fmla="*/ 103 w 112"/>
              <a:gd name="T65" fmla="*/ 88 h 88"/>
              <a:gd name="T66" fmla="*/ 97 w 112"/>
              <a:gd name="T67" fmla="*/ 0 h 88"/>
              <a:gd name="T68" fmla="*/ 103 w 112"/>
              <a:gd name="T69" fmla="*/ 88 h 88"/>
              <a:gd name="T70" fmla="*/ 105 w 112"/>
              <a:gd name="T71" fmla="*/ 88 h 88"/>
              <a:gd name="T72" fmla="*/ 107 w 112"/>
              <a:gd name="T73" fmla="*/ 0 h 88"/>
              <a:gd name="T74" fmla="*/ 112 w 112"/>
              <a:gd name="T75" fmla="*/ 88 h 88"/>
              <a:gd name="T76" fmla="*/ 109 w 112"/>
              <a:gd name="T77" fmla="*/ 0 h 88"/>
              <a:gd name="T78" fmla="*/ 112 w 112"/>
              <a:gd name="T79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2" h="88">
                <a:moveTo>
                  <a:pt x="4" y="88"/>
                </a:moveTo>
                <a:lnTo>
                  <a:pt x="0" y="88"/>
                </a:lnTo>
                <a:lnTo>
                  <a:pt x="0" y="0"/>
                </a:lnTo>
                <a:lnTo>
                  <a:pt x="4" y="0"/>
                </a:lnTo>
                <a:lnTo>
                  <a:pt x="4" y="88"/>
                </a:lnTo>
                <a:close/>
                <a:moveTo>
                  <a:pt x="8" y="88"/>
                </a:moveTo>
                <a:lnTo>
                  <a:pt x="6" y="88"/>
                </a:lnTo>
                <a:lnTo>
                  <a:pt x="6" y="0"/>
                </a:lnTo>
                <a:lnTo>
                  <a:pt x="8" y="0"/>
                </a:lnTo>
                <a:lnTo>
                  <a:pt x="8" y="88"/>
                </a:lnTo>
                <a:close/>
                <a:moveTo>
                  <a:pt x="14" y="88"/>
                </a:moveTo>
                <a:lnTo>
                  <a:pt x="12" y="88"/>
                </a:lnTo>
                <a:lnTo>
                  <a:pt x="12" y="0"/>
                </a:lnTo>
                <a:lnTo>
                  <a:pt x="14" y="0"/>
                </a:lnTo>
                <a:lnTo>
                  <a:pt x="14" y="88"/>
                </a:lnTo>
                <a:close/>
                <a:moveTo>
                  <a:pt x="24" y="88"/>
                </a:moveTo>
                <a:lnTo>
                  <a:pt x="22" y="88"/>
                </a:lnTo>
                <a:lnTo>
                  <a:pt x="22" y="0"/>
                </a:lnTo>
                <a:lnTo>
                  <a:pt x="24" y="0"/>
                </a:lnTo>
                <a:lnTo>
                  <a:pt x="24" y="88"/>
                </a:lnTo>
                <a:close/>
                <a:moveTo>
                  <a:pt x="34" y="88"/>
                </a:moveTo>
                <a:lnTo>
                  <a:pt x="30" y="88"/>
                </a:lnTo>
                <a:lnTo>
                  <a:pt x="30" y="0"/>
                </a:lnTo>
                <a:lnTo>
                  <a:pt x="34" y="0"/>
                </a:lnTo>
                <a:lnTo>
                  <a:pt x="34" y="88"/>
                </a:lnTo>
                <a:close/>
                <a:moveTo>
                  <a:pt x="41" y="88"/>
                </a:moveTo>
                <a:lnTo>
                  <a:pt x="40" y="88"/>
                </a:lnTo>
                <a:lnTo>
                  <a:pt x="40" y="0"/>
                </a:lnTo>
                <a:lnTo>
                  <a:pt x="41" y="0"/>
                </a:lnTo>
                <a:lnTo>
                  <a:pt x="41" y="88"/>
                </a:lnTo>
                <a:close/>
                <a:moveTo>
                  <a:pt x="45" y="88"/>
                </a:moveTo>
                <a:lnTo>
                  <a:pt x="43" y="88"/>
                </a:lnTo>
                <a:lnTo>
                  <a:pt x="43" y="0"/>
                </a:lnTo>
                <a:lnTo>
                  <a:pt x="45" y="0"/>
                </a:lnTo>
                <a:lnTo>
                  <a:pt x="45" y="88"/>
                </a:lnTo>
                <a:close/>
                <a:moveTo>
                  <a:pt x="49" y="88"/>
                </a:moveTo>
                <a:lnTo>
                  <a:pt x="47" y="88"/>
                </a:lnTo>
                <a:lnTo>
                  <a:pt x="47" y="0"/>
                </a:lnTo>
                <a:lnTo>
                  <a:pt x="49" y="0"/>
                </a:lnTo>
                <a:lnTo>
                  <a:pt x="49" y="88"/>
                </a:lnTo>
                <a:close/>
                <a:moveTo>
                  <a:pt x="59" y="88"/>
                </a:moveTo>
                <a:lnTo>
                  <a:pt x="55" y="88"/>
                </a:lnTo>
                <a:lnTo>
                  <a:pt x="55" y="0"/>
                </a:lnTo>
                <a:lnTo>
                  <a:pt x="59" y="0"/>
                </a:lnTo>
                <a:lnTo>
                  <a:pt x="59" y="88"/>
                </a:lnTo>
                <a:close/>
                <a:moveTo>
                  <a:pt x="69" y="88"/>
                </a:moveTo>
                <a:lnTo>
                  <a:pt x="65" y="88"/>
                </a:lnTo>
                <a:lnTo>
                  <a:pt x="65" y="0"/>
                </a:lnTo>
                <a:lnTo>
                  <a:pt x="69" y="0"/>
                </a:lnTo>
                <a:lnTo>
                  <a:pt x="69" y="88"/>
                </a:lnTo>
                <a:close/>
                <a:moveTo>
                  <a:pt x="77" y="88"/>
                </a:moveTo>
                <a:lnTo>
                  <a:pt x="73" y="88"/>
                </a:lnTo>
                <a:lnTo>
                  <a:pt x="73" y="0"/>
                </a:lnTo>
                <a:lnTo>
                  <a:pt x="77" y="0"/>
                </a:lnTo>
                <a:lnTo>
                  <a:pt x="77" y="88"/>
                </a:lnTo>
                <a:close/>
                <a:moveTo>
                  <a:pt x="85" y="88"/>
                </a:moveTo>
                <a:lnTo>
                  <a:pt x="81" y="88"/>
                </a:lnTo>
                <a:lnTo>
                  <a:pt x="81" y="0"/>
                </a:lnTo>
                <a:lnTo>
                  <a:pt x="85" y="0"/>
                </a:lnTo>
                <a:lnTo>
                  <a:pt x="85" y="88"/>
                </a:lnTo>
                <a:close/>
                <a:moveTo>
                  <a:pt x="91" y="88"/>
                </a:moveTo>
                <a:lnTo>
                  <a:pt x="87" y="88"/>
                </a:lnTo>
                <a:lnTo>
                  <a:pt x="87" y="0"/>
                </a:lnTo>
                <a:lnTo>
                  <a:pt x="91" y="0"/>
                </a:lnTo>
                <a:lnTo>
                  <a:pt x="91" y="88"/>
                </a:lnTo>
                <a:close/>
                <a:moveTo>
                  <a:pt x="103" y="88"/>
                </a:moveTo>
                <a:lnTo>
                  <a:pt x="97" y="88"/>
                </a:lnTo>
                <a:lnTo>
                  <a:pt x="97" y="0"/>
                </a:lnTo>
                <a:lnTo>
                  <a:pt x="103" y="0"/>
                </a:lnTo>
                <a:lnTo>
                  <a:pt x="103" y="88"/>
                </a:lnTo>
                <a:close/>
                <a:moveTo>
                  <a:pt x="107" y="88"/>
                </a:moveTo>
                <a:lnTo>
                  <a:pt x="105" y="88"/>
                </a:lnTo>
                <a:lnTo>
                  <a:pt x="105" y="0"/>
                </a:lnTo>
                <a:lnTo>
                  <a:pt x="107" y="0"/>
                </a:lnTo>
                <a:lnTo>
                  <a:pt x="107" y="88"/>
                </a:lnTo>
                <a:close/>
                <a:moveTo>
                  <a:pt x="112" y="88"/>
                </a:moveTo>
                <a:lnTo>
                  <a:pt x="109" y="88"/>
                </a:lnTo>
                <a:lnTo>
                  <a:pt x="109" y="0"/>
                </a:lnTo>
                <a:lnTo>
                  <a:pt x="112" y="0"/>
                </a:lnTo>
                <a:lnTo>
                  <a:pt x="112" y="8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7" name="Freeform 368"/>
          <p:cNvSpPr>
            <a:spLocks noChangeAspect="1" noEditPoints="1"/>
          </p:cNvSpPr>
          <p:nvPr/>
        </p:nvSpPr>
        <p:spPr bwMode="auto">
          <a:xfrm>
            <a:off x="3137147" y="4356525"/>
            <a:ext cx="149885" cy="124904"/>
          </a:xfrm>
          <a:custGeom>
            <a:avLst/>
            <a:gdLst>
              <a:gd name="T0" fmla="*/ 145 w 145"/>
              <a:gd name="T1" fmla="*/ 6 h 121"/>
              <a:gd name="T2" fmla="*/ 145 w 145"/>
              <a:gd name="T3" fmla="*/ 19 h 121"/>
              <a:gd name="T4" fmla="*/ 144 w 145"/>
              <a:gd name="T5" fmla="*/ 23 h 121"/>
              <a:gd name="T6" fmla="*/ 139 w 145"/>
              <a:gd name="T7" fmla="*/ 25 h 121"/>
              <a:gd name="T8" fmla="*/ 6 w 145"/>
              <a:gd name="T9" fmla="*/ 25 h 121"/>
              <a:gd name="T10" fmla="*/ 2 w 145"/>
              <a:gd name="T11" fmla="*/ 23 h 121"/>
              <a:gd name="T12" fmla="*/ 0 w 145"/>
              <a:gd name="T13" fmla="*/ 19 h 121"/>
              <a:gd name="T14" fmla="*/ 0 w 145"/>
              <a:gd name="T15" fmla="*/ 6 h 121"/>
              <a:gd name="T16" fmla="*/ 2 w 145"/>
              <a:gd name="T17" fmla="*/ 2 h 121"/>
              <a:gd name="T18" fmla="*/ 6 w 145"/>
              <a:gd name="T19" fmla="*/ 0 h 121"/>
              <a:gd name="T20" fmla="*/ 139 w 145"/>
              <a:gd name="T21" fmla="*/ 0 h 121"/>
              <a:gd name="T22" fmla="*/ 144 w 145"/>
              <a:gd name="T23" fmla="*/ 2 h 121"/>
              <a:gd name="T24" fmla="*/ 145 w 145"/>
              <a:gd name="T25" fmla="*/ 6 h 121"/>
              <a:gd name="T26" fmla="*/ 145 w 145"/>
              <a:gd name="T27" fmla="*/ 55 h 121"/>
              <a:gd name="T28" fmla="*/ 145 w 145"/>
              <a:gd name="T29" fmla="*/ 67 h 121"/>
              <a:gd name="T30" fmla="*/ 144 w 145"/>
              <a:gd name="T31" fmla="*/ 71 h 121"/>
              <a:gd name="T32" fmla="*/ 139 w 145"/>
              <a:gd name="T33" fmla="*/ 73 h 121"/>
              <a:gd name="T34" fmla="*/ 6 w 145"/>
              <a:gd name="T35" fmla="*/ 73 h 121"/>
              <a:gd name="T36" fmla="*/ 2 w 145"/>
              <a:gd name="T37" fmla="*/ 71 h 121"/>
              <a:gd name="T38" fmla="*/ 0 w 145"/>
              <a:gd name="T39" fmla="*/ 67 h 121"/>
              <a:gd name="T40" fmla="*/ 0 w 145"/>
              <a:gd name="T41" fmla="*/ 55 h 121"/>
              <a:gd name="T42" fmla="*/ 2 w 145"/>
              <a:gd name="T43" fmla="*/ 51 h 121"/>
              <a:gd name="T44" fmla="*/ 6 w 145"/>
              <a:gd name="T45" fmla="*/ 49 h 121"/>
              <a:gd name="T46" fmla="*/ 139 w 145"/>
              <a:gd name="T47" fmla="*/ 49 h 121"/>
              <a:gd name="T48" fmla="*/ 144 w 145"/>
              <a:gd name="T49" fmla="*/ 51 h 121"/>
              <a:gd name="T50" fmla="*/ 145 w 145"/>
              <a:gd name="T51" fmla="*/ 55 h 121"/>
              <a:gd name="T52" fmla="*/ 145 w 145"/>
              <a:gd name="T53" fmla="*/ 103 h 121"/>
              <a:gd name="T54" fmla="*/ 145 w 145"/>
              <a:gd name="T55" fmla="*/ 115 h 121"/>
              <a:gd name="T56" fmla="*/ 144 w 145"/>
              <a:gd name="T57" fmla="*/ 120 h 121"/>
              <a:gd name="T58" fmla="*/ 139 w 145"/>
              <a:gd name="T59" fmla="*/ 121 h 121"/>
              <a:gd name="T60" fmla="*/ 6 w 145"/>
              <a:gd name="T61" fmla="*/ 121 h 121"/>
              <a:gd name="T62" fmla="*/ 2 w 145"/>
              <a:gd name="T63" fmla="*/ 120 h 121"/>
              <a:gd name="T64" fmla="*/ 0 w 145"/>
              <a:gd name="T65" fmla="*/ 115 h 121"/>
              <a:gd name="T66" fmla="*/ 0 w 145"/>
              <a:gd name="T67" fmla="*/ 103 h 121"/>
              <a:gd name="T68" fmla="*/ 2 w 145"/>
              <a:gd name="T69" fmla="*/ 99 h 121"/>
              <a:gd name="T70" fmla="*/ 6 w 145"/>
              <a:gd name="T71" fmla="*/ 97 h 121"/>
              <a:gd name="T72" fmla="*/ 139 w 145"/>
              <a:gd name="T73" fmla="*/ 97 h 121"/>
              <a:gd name="T74" fmla="*/ 144 w 145"/>
              <a:gd name="T75" fmla="*/ 99 h 121"/>
              <a:gd name="T76" fmla="*/ 145 w 145"/>
              <a:gd name="T77" fmla="*/ 103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21">
                <a:moveTo>
                  <a:pt x="145" y="6"/>
                </a:moveTo>
                <a:cubicBezTo>
                  <a:pt x="145" y="19"/>
                  <a:pt x="145" y="19"/>
                  <a:pt x="145" y="19"/>
                </a:cubicBezTo>
                <a:cubicBezTo>
                  <a:pt x="145" y="20"/>
                  <a:pt x="145" y="22"/>
                  <a:pt x="144" y="23"/>
                </a:cubicBezTo>
                <a:cubicBezTo>
                  <a:pt x="142" y="24"/>
                  <a:pt x="141" y="25"/>
                  <a:pt x="139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5" y="25"/>
                  <a:pt x="3" y="24"/>
                  <a:pt x="2" y="23"/>
                </a:cubicBezTo>
                <a:cubicBezTo>
                  <a:pt x="1" y="22"/>
                  <a:pt x="0" y="20"/>
                  <a:pt x="0" y="19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1" y="0"/>
                  <a:pt x="142" y="1"/>
                  <a:pt x="144" y="2"/>
                </a:cubicBezTo>
                <a:cubicBezTo>
                  <a:pt x="145" y="3"/>
                  <a:pt x="145" y="5"/>
                  <a:pt x="145" y="6"/>
                </a:cubicBezTo>
                <a:close/>
                <a:moveTo>
                  <a:pt x="145" y="55"/>
                </a:moveTo>
                <a:cubicBezTo>
                  <a:pt x="145" y="67"/>
                  <a:pt x="145" y="67"/>
                  <a:pt x="145" y="67"/>
                </a:cubicBezTo>
                <a:cubicBezTo>
                  <a:pt x="145" y="69"/>
                  <a:pt x="145" y="70"/>
                  <a:pt x="144" y="71"/>
                </a:cubicBezTo>
                <a:cubicBezTo>
                  <a:pt x="142" y="72"/>
                  <a:pt x="141" y="73"/>
                  <a:pt x="139" y="73"/>
                </a:cubicBezTo>
                <a:cubicBezTo>
                  <a:pt x="6" y="73"/>
                  <a:pt x="6" y="73"/>
                  <a:pt x="6" y="73"/>
                </a:cubicBezTo>
                <a:cubicBezTo>
                  <a:pt x="5" y="73"/>
                  <a:pt x="3" y="72"/>
                  <a:pt x="2" y="71"/>
                </a:cubicBezTo>
                <a:cubicBezTo>
                  <a:pt x="1" y="70"/>
                  <a:pt x="0" y="69"/>
                  <a:pt x="0" y="67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5" y="49"/>
                  <a:pt x="6" y="49"/>
                </a:cubicBezTo>
                <a:cubicBezTo>
                  <a:pt x="139" y="49"/>
                  <a:pt x="139" y="49"/>
                  <a:pt x="139" y="49"/>
                </a:cubicBezTo>
                <a:cubicBezTo>
                  <a:pt x="141" y="49"/>
                  <a:pt x="142" y="49"/>
                  <a:pt x="144" y="51"/>
                </a:cubicBezTo>
                <a:cubicBezTo>
                  <a:pt x="145" y="52"/>
                  <a:pt x="145" y="53"/>
                  <a:pt x="145" y="55"/>
                </a:cubicBezTo>
                <a:close/>
                <a:moveTo>
                  <a:pt x="145" y="103"/>
                </a:moveTo>
                <a:cubicBezTo>
                  <a:pt x="145" y="115"/>
                  <a:pt x="145" y="115"/>
                  <a:pt x="145" y="115"/>
                </a:cubicBezTo>
                <a:cubicBezTo>
                  <a:pt x="145" y="117"/>
                  <a:pt x="145" y="118"/>
                  <a:pt x="144" y="120"/>
                </a:cubicBezTo>
                <a:cubicBezTo>
                  <a:pt x="142" y="121"/>
                  <a:pt x="141" y="121"/>
                  <a:pt x="139" y="121"/>
                </a:cubicBezTo>
                <a:cubicBezTo>
                  <a:pt x="6" y="121"/>
                  <a:pt x="6" y="121"/>
                  <a:pt x="6" y="121"/>
                </a:cubicBezTo>
                <a:cubicBezTo>
                  <a:pt x="5" y="121"/>
                  <a:pt x="3" y="121"/>
                  <a:pt x="2" y="120"/>
                </a:cubicBezTo>
                <a:cubicBezTo>
                  <a:pt x="1" y="118"/>
                  <a:pt x="0" y="117"/>
                  <a:pt x="0" y="115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102"/>
                  <a:pt x="1" y="100"/>
                  <a:pt x="2" y="99"/>
                </a:cubicBezTo>
                <a:cubicBezTo>
                  <a:pt x="3" y="98"/>
                  <a:pt x="5" y="97"/>
                  <a:pt x="6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4" y="99"/>
                </a:cubicBezTo>
                <a:cubicBezTo>
                  <a:pt x="145" y="100"/>
                  <a:pt x="145" y="102"/>
                  <a:pt x="145" y="1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8" name="Freeform 369"/>
          <p:cNvSpPr>
            <a:spLocks noChangeAspect="1" noEditPoints="1"/>
          </p:cNvSpPr>
          <p:nvPr/>
        </p:nvSpPr>
        <p:spPr bwMode="auto">
          <a:xfrm>
            <a:off x="3380711" y="4344034"/>
            <a:ext cx="156131" cy="137395"/>
          </a:xfrm>
          <a:custGeom>
            <a:avLst/>
            <a:gdLst>
              <a:gd name="T0" fmla="*/ 151 w 151"/>
              <a:gd name="T1" fmla="*/ 115 h 133"/>
              <a:gd name="T2" fmla="*/ 151 w 151"/>
              <a:gd name="T3" fmla="*/ 133 h 133"/>
              <a:gd name="T4" fmla="*/ 43 w 151"/>
              <a:gd name="T5" fmla="*/ 133 h 133"/>
              <a:gd name="T6" fmla="*/ 43 w 151"/>
              <a:gd name="T7" fmla="*/ 115 h 133"/>
              <a:gd name="T8" fmla="*/ 55 w 151"/>
              <a:gd name="T9" fmla="*/ 97 h 133"/>
              <a:gd name="T10" fmla="*/ 43 w 151"/>
              <a:gd name="T11" fmla="*/ 97 h 133"/>
              <a:gd name="T12" fmla="*/ 17 w 151"/>
              <a:gd name="T13" fmla="*/ 86 h 133"/>
              <a:gd name="T14" fmla="*/ 6 w 151"/>
              <a:gd name="T15" fmla="*/ 61 h 133"/>
              <a:gd name="T16" fmla="*/ 6 w 151"/>
              <a:gd name="T17" fmla="*/ 31 h 133"/>
              <a:gd name="T18" fmla="*/ 0 w 151"/>
              <a:gd name="T19" fmla="*/ 25 h 133"/>
              <a:gd name="T20" fmla="*/ 3 w 151"/>
              <a:gd name="T21" fmla="*/ 12 h 133"/>
              <a:gd name="T22" fmla="*/ 49 w 151"/>
              <a:gd name="T23" fmla="*/ 12 h 133"/>
              <a:gd name="T24" fmla="*/ 52 w 151"/>
              <a:gd name="T25" fmla="*/ 0 h 133"/>
              <a:gd name="T26" fmla="*/ 142 w 151"/>
              <a:gd name="T27" fmla="*/ 0 h 133"/>
              <a:gd name="T28" fmla="*/ 145 w 151"/>
              <a:gd name="T29" fmla="*/ 18 h 133"/>
              <a:gd name="T30" fmla="*/ 139 w 151"/>
              <a:gd name="T31" fmla="*/ 21 h 133"/>
              <a:gd name="T32" fmla="*/ 139 w 151"/>
              <a:gd name="T33" fmla="*/ 97 h 133"/>
              <a:gd name="T34" fmla="*/ 151 w 151"/>
              <a:gd name="T35" fmla="*/ 115 h 133"/>
              <a:gd name="T36" fmla="*/ 55 w 151"/>
              <a:gd name="T37" fmla="*/ 73 h 133"/>
              <a:gd name="T38" fmla="*/ 55 w 151"/>
              <a:gd name="T39" fmla="*/ 37 h 133"/>
              <a:gd name="T40" fmla="*/ 30 w 151"/>
              <a:gd name="T41" fmla="*/ 37 h 133"/>
              <a:gd name="T42" fmla="*/ 30 w 151"/>
              <a:gd name="T43" fmla="*/ 61 h 133"/>
              <a:gd name="T44" fmla="*/ 34 w 151"/>
              <a:gd name="T45" fmla="*/ 69 h 133"/>
              <a:gd name="T46" fmla="*/ 43 w 151"/>
              <a:gd name="T47" fmla="*/ 73 h 133"/>
              <a:gd name="T48" fmla="*/ 55 w 151"/>
              <a:gd name="T49" fmla="*/ 7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1" h="133">
                <a:moveTo>
                  <a:pt x="151" y="115"/>
                </a:moveTo>
                <a:cubicBezTo>
                  <a:pt x="151" y="133"/>
                  <a:pt x="151" y="133"/>
                  <a:pt x="151" y="133"/>
                </a:cubicBezTo>
                <a:cubicBezTo>
                  <a:pt x="43" y="133"/>
                  <a:pt x="43" y="133"/>
                  <a:pt x="43" y="133"/>
                </a:cubicBezTo>
                <a:cubicBezTo>
                  <a:pt x="43" y="115"/>
                  <a:pt x="43" y="115"/>
                  <a:pt x="43" y="115"/>
                </a:cubicBezTo>
                <a:cubicBezTo>
                  <a:pt x="55" y="97"/>
                  <a:pt x="55" y="97"/>
                  <a:pt x="55" y="97"/>
                </a:cubicBezTo>
                <a:cubicBezTo>
                  <a:pt x="43" y="97"/>
                  <a:pt x="43" y="97"/>
                  <a:pt x="43" y="97"/>
                </a:cubicBezTo>
                <a:cubicBezTo>
                  <a:pt x="33" y="97"/>
                  <a:pt x="24" y="94"/>
                  <a:pt x="17" y="86"/>
                </a:cubicBezTo>
                <a:cubicBezTo>
                  <a:pt x="10" y="79"/>
                  <a:pt x="6" y="71"/>
                  <a:pt x="6" y="61"/>
                </a:cubicBezTo>
                <a:cubicBezTo>
                  <a:pt x="6" y="31"/>
                  <a:pt x="6" y="31"/>
                  <a:pt x="6" y="31"/>
                </a:cubicBezTo>
                <a:cubicBezTo>
                  <a:pt x="0" y="25"/>
                  <a:pt x="0" y="25"/>
                  <a:pt x="0" y="25"/>
                </a:cubicBezTo>
                <a:cubicBezTo>
                  <a:pt x="3" y="12"/>
                  <a:pt x="3" y="12"/>
                  <a:pt x="3" y="12"/>
                </a:cubicBezTo>
                <a:cubicBezTo>
                  <a:pt x="49" y="12"/>
                  <a:pt x="49" y="12"/>
                  <a:pt x="49" y="12"/>
                </a:cubicBezTo>
                <a:cubicBezTo>
                  <a:pt x="52" y="0"/>
                  <a:pt x="52" y="0"/>
                  <a:pt x="52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39" y="21"/>
                  <a:pt x="139" y="21"/>
                  <a:pt x="139" y="21"/>
                </a:cubicBezTo>
                <a:cubicBezTo>
                  <a:pt x="139" y="97"/>
                  <a:pt x="139" y="97"/>
                  <a:pt x="139" y="97"/>
                </a:cubicBezTo>
                <a:lnTo>
                  <a:pt x="151" y="115"/>
                </a:lnTo>
                <a:close/>
                <a:moveTo>
                  <a:pt x="55" y="73"/>
                </a:moveTo>
                <a:cubicBezTo>
                  <a:pt x="55" y="37"/>
                  <a:pt x="55" y="37"/>
                  <a:pt x="55" y="37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61"/>
                  <a:pt x="30" y="61"/>
                  <a:pt x="30" y="61"/>
                </a:cubicBezTo>
                <a:cubicBezTo>
                  <a:pt x="30" y="64"/>
                  <a:pt x="32" y="67"/>
                  <a:pt x="34" y="69"/>
                </a:cubicBezTo>
                <a:cubicBezTo>
                  <a:pt x="36" y="72"/>
                  <a:pt x="39" y="73"/>
                  <a:pt x="43" y="73"/>
                </a:cubicBezTo>
                <a:lnTo>
                  <a:pt x="55" y="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9" name="Freeform 370"/>
          <p:cNvSpPr>
            <a:spLocks noChangeAspect="1" noEditPoints="1"/>
          </p:cNvSpPr>
          <p:nvPr/>
        </p:nvSpPr>
        <p:spPr bwMode="auto">
          <a:xfrm>
            <a:off x="3625836" y="4356525"/>
            <a:ext cx="199847" cy="126466"/>
          </a:xfrm>
          <a:custGeom>
            <a:avLst/>
            <a:gdLst>
              <a:gd name="T0" fmla="*/ 0 w 194"/>
              <a:gd name="T1" fmla="*/ 0 h 122"/>
              <a:gd name="T2" fmla="*/ 56 w 194"/>
              <a:gd name="T3" fmla="*/ 0 h 122"/>
              <a:gd name="T4" fmla="*/ 71 w 194"/>
              <a:gd name="T5" fmla="*/ 2 h 122"/>
              <a:gd name="T6" fmla="*/ 83 w 194"/>
              <a:gd name="T7" fmla="*/ 6 h 122"/>
              <a:gd name="T8" fmla="*/ 91 w 194"/>
              <a:gd name="T9" fmla="*/ 15 h 122"/>
              <a:gd name="T10" fmla="*/ 94 w 194"/>
              <a:gd name="T11" fmla="*/ 30 h 122"/>
              <a:gd name="T12" fmla="*/ 78 w 194"/>
              <a:gd name="T13" fmla="*/ 55 h 122"/>
              <a:gd name="T14" fmla="*/ 94 w 194"/>
              <a:gd name="T15" fmla="*/ 65 h 122"/>
              <a:gd name="T16" fmla="*/ 100 w 194"/>
              <a:gd name="T17" fmla="*/ 85 h 122"/>
              <a:gd name="T18" fmla="*/ 98 w 194"/>
              <a:gd name="T19" fmla="*/ 98 h 122"/>
              <a:gd name="T20" fmla="*/ 91 w 194"/>
              <a:gd name="T21" fmla="*/ 107 h 122"/>
              <a:gd name="T22" fmla="*/ 82 w 194"/>
              <a:gd name="T23" fmla="*/ 114 h 122"/>
              <a:gd name="T24" fmla="*/ 71 w 194"/>
              <a:gd name="T25" fmla="*/ 118 h 122"/>
              <a:gd name="T26" fmla="*/ 58 w 194"/>
              <a:gd name="T27" fmla="*/ 119 h 122"/>
              <a:gd name="T28" fmla="*/ 0 w 194"/>
              <a:gd name="T29" fmla="*/ 119 h 122"/>
              <a:gd name="T30" fmla="*/ 0 w 194"/>
              <a:gd name="T31" fmla="*/ 0 h 122"/>
              <a:gd name="T32" fmla="*/ 26 w 194"/>
              <a:gd name="T33" fmla="*/ 48 h 122"/>
              <a:gd name="T34" fmla="*/ 53 w 194"/>
              <a:gd name="T35" fmla="*/ 48 h 122"/>
              <a:gd name="T36" fmla="*/ 65 w 194"/>
              <a:gd name="T37" fmla="*/ 45 h 122"/>
              <a:gd name="T38" fmla="*/ 69 w 194"/>
              <a:gd name="T39" fmla="*/ 34 h 122"/>
              <a:gd name="T40" fmla="*/ 51 w 194"/>
              <a:gd name="T41" fmla="*/ 21 h 122"/>
              <a:gd name="T42" fmla="*/ 26 w 194"/>
              <a:gd name="T43" fmla="*/ 21 h 122"/>
              <a:gd name="T44" fmla="*/ 26 w 194"/>
              <a:gd name="T45" fmla="*/ 48 h 122"/>
              <a:gd name="T46" fmla="*/ 26 w 194"/>
              <a:gd name="T47" fmla="*/ 99 h 122"/>
              <a:gd name="T48" fmla="*/ 54 w 194"/>
              <a:gd name="T49" fmla="*/ 99 h 122"/>
              <a:gd name="T50" fmla="*/ 74 w 194"/>
              <a:gd name="T51" fmla="*/ 83 h 122"/>
              <a:gd name="T52" fmla="*/ 55 w 194"/>
              <a:gd name="T53" fmla="*/ 66 h 122"/>
              <a:gd name="T54" fmla="*/ 26 w 194"/>
              <a:gd name="T55" fmla="*/ 66 h 122"/>
              <a:gd name="T56" fmla="*/ 26 w 194"/>
              <a:gd name="T57" fmla="*/ 99 h 122"/>
              <a:gd name="T58" fmla="*/ 153 w 194"/>
              <a:gd name="T59" fmla="*/ 104 h 122"/>
              <a:gd name="T60" fmla="*/ 164 w 194"/>
              <a:gd name="T61" fmla="*/ 101 h 122"/>
              <a:gd name="T62" fmla="*/ 171 w 194"/>
              <a:gd name="T63" fmla="*/ 93 h 122"/>
              <a:gd name="T64" fmla="*/ 192 w 194"/>
              <a:gd name="T65" fmla="*/ 93 h 122"/>
              <a:gd name="T66" fmla="*/ 152 w 194"/>
              <a:gd name="T67" fmla="*/ 122 h 122"/>
              <a:gd name="T68" fmla="*/ 120 w 194"/>
              <a:gd name="T69" fmla="*/ 109 h 122"/>
              <a:gd name="T70" fmla="*/ 108 w 194"/>
              <a:gd name="T71" fmla="*/ 76 h 122"/>
              <a:gd name="T72" fmla="*/ 120 w 194"/>
              <a:gd name="T73" fmla="*/ 44 h 122"/>
              <a:gd name="T74" fmla="*/ 152 w 194"/>
              <a:gd name="T75" fmla="*/ 31 h 122"/>
              <a:gd name="T76" fmla="*/ 175 w 194"/>
              <a:gd name="T77" fmla="*/ 37 h 122"/>
              <a:gd name="T78" fmla="*/ 189 w 194"/>
              <a:gd name="T79" fmla="*/ 54 h 122"/>
              <a:gd name="T80" fmla="*/ 194 w 194"/>
              <a:gd name="T81" fmla="*/ 77 h 122"/>
              <a:gd name="T82" fmla="*/ 194 w 194"/>
              <a:gd name="T83" fmla="*/ 82 h 122"/>
              <a:gd name="T84" fmla="*/ 131 w 194"/>
              <a:gd name="T85" fmla="*/ 82 h 122"/>
              <a:gd name="T86" fmla="*/ 137 w 194"/>
              <a:gd name="T87" fmla="*/ 98 h 122"/>
              <a:gd name="T88" fmla="*/ 153 w 194"/>
              <a:gd name="T89" fmla="*/ 104 h 122"/>
              <a:gd name="T90" fmla="*/ 175 w 194"/>
              <a:gd name="T91" fmla="*/ 8 h 122"/>
              <a:gd name="T92" fmla="*/ 127 w 194"/>
              <a:gd name="T93" fmla="*/ 8 h 122"/>
              <a:gd name="T94" fmla="*/ 127 w 194"/>
              <a:gd name="T95" fmla="*/ 20 h 122"/>
              <a:gd name="T96" fmla="*/ 175 w 194"/>
              <a:gd name="T97" fmla="*/ 20 h 122"/>
              <a:gd name="T98" fmla="*/ 175 w 194"/>
              <a:gd name="T99" fmla="*/ 8 h 122"/>
              <a:gd name="T100" fmla="*/ 151 w 194"/>
              <a:gd name="T101" fmla="*/ 49 h 122"/>
              <a:gd name="T102" fmla="*/ 137 w 194"/>
              <a:gd name="T103" fmla="*/ 53 h 122"/>
              <a:gd name="T104" fmla="*/ 131 w 194"/>
              <a:gd name="T105" fmla="*/ 67 h 122"/>
              <a:gd name="T106" fmla="*/ 170 w 194"/>
              <a:gd name="T107" fmla="*/ 67 h 122"/>
              <a:gd name="T108" fmla="*/ 151 w 194"/>
              <a:gd name="T109" fmla="*/ 49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4" h="122">
                <a:moveTo>
                  <a:pt x="0" y="0"/>
                </a:moveTo>
                <a:cubicBezTo>
                  <a:pt x="56" y="0"/>
                  <a:pt x="56" y="0"/>
                  <a:pt x="56" y="0"/>
                </a:cubicBezTo>
                <a:cubicBezTo>
                  <a:pt x="62" y="0"/>
                  <a:pt x="67" y="1"/>
                  <a:pt x="71" y="2"/>
                </a:cubicBezTo>
                <a:cubicBezTo>
                  <a:pt x="75" y="2"/>
                  <a:pt x="79" y="4"/>
                  <a:pt x="83" y="6"/>
                </a:cubicBezTo>
                <a:cubicBezTo>
                  <a:pt x="87" y="8"/>
                  <a:pt x="89" y="11"/>
                  <a:pt x="91" y="15"/>
                </a:cubicBezTo>
                <a:cubicBezTo>
                  <a:pt x="93" y="19"/>
                  <a:pt x="94" y="24"/>
                  <a:pt x="94" y="30"/>
                </a:cubicBezTo>
                <a:cubicBezTo>
                  <a:pt x="94" y="41"/>
                  <a:pt x="89" y="49"/>
                  <a:pt x="78" y="55"/>
                </a:cubicBezTo>
                <a:cubicBezTo>
                  <a:pt x="85" y="57"/>
                  <a:pt x="91" y="60"/>
                  <a:pt x="94" y="65"/>
                </a:cubicBezTo>
                <a:cubicBezTo>
                  <a:pt x="98" y="71"/>
                  <a:pt x="100" y="77"/>
                  <a:pt x="100" y="85"/>
                </a:cubicBezTo>
                <a:cubicBezTo>
                  <a:pt x="100" y="89"/>
                  <a:pt x="99" y="94"/>
                  <a:pt x="98" y="98"/>
                </a:cubicBezTo>
                <a:cubicBezTo>
                  <a:pt x="96" y="102"/>
                  <a:pt x="94" y="105"/>
                  <a:pt x="91" y="107"/>
                </a:cubicBezTo>
                <a:cubicBezTo>
                  <a:pt x="89" y="110"/>
                  <a:pt x="86" y="112"/>
                  <a:pt x="82" y="114"/>
                </a:cubicBezTo>
                <a:cubicBezTo>
                  <a:pt x="78" y="116"/>
                  <a:pt x="75" y="117"/>
                  <a:pt x="71" y="118"/>
                </a:cubicBezTo>
                <a:cubicBezTo>
                  <a:pt x="67" y="119"/>
                  <a:pt x="62" y="119"/>
                  <a:pt x="58" y="119"/>
                </a:cubicBezTo>
                <a:cubicBezTo>
                  <a:pt x="0" y="119"/>
                  <a:pt x="0" y="119"/>
                  <a:pt x="0" y="119"/>
                </a:cubicBezTo>
                <a:lnTo>
                  <a:pt x="0" y="0"/>
                </a:lnTo>
                <a:close/>
                <a:moveTo>
                  <a:pt x="26" y="48"/>
                </a:moveTo>
                <a:cubicBezTo>
                  <a:pt x="53" y="48"/>
                  <a:pt x="53" y="48"/>
                  <a:pt x="53" y="48"/>
                </a:cubicBezTo>
                <a:cubicBezTo>
                  <a:pt x="58" y="48"/>
                  <a:pt x="62" y="47"/>
                  <a:pt x="65" y="45"/>
                </a:cubicBezTo>
                <a:cubicBezTo>
                  <a:pt x="67" y="43"/>
                  <a:pt x="69" y="39"/>
                  <a:pt x="69" y="34"/>
                </a:cubicBezTo>
                <a:cubicBezTo>
                  <a:pt x="69" y="25"/>
                  <a:pt x="63" y="21"/>
                  <a:pt x="51" y="21"/>
                </a:cubicBezTo>
                <a:cubicBezTo>
                  <a:pt x="26" y="21"/>
                  <a:pt x="26" y="21"/>
                  <a:pt x="26" y="21"/>
                </a:cubicBezTo>
                <a:lnTo>
                  <a:pt x="26" y="48"/>
                </a:lnTo>
                <a:close/>
                <a:moveTo>
                  <a:pt x="26" y="99"/>
                </a:moveTo>
                <a:cubicBezTo>
                  <a:pt x="54" y="99"/>
                  <a:pt x="54" y="99"/>
                  <a:pt x="54" y="99"/>
                </a:cubicBezTo>
                <a:cubicBezTo>
                  <a:pt x="67" y="99"/>
                  <a:pt x="74" y="94"/>
                  <a:pt x="74" y="83"/>
                </a:cubicBezTo>
                <a:cubicBezTo>
                  <a:pt x="74" y="72"/>
                  <a:pt x="67" y="66"/>
                  <a:pt x="55" y="66"/>
                </a:cubicBezTo>
                <a:cubicBezTo>
                  <a:pt x="26" y="66"/>
                  <a:pt x="26" y="66"/>
                  <a:pt x="26" y="66"/>
                </a:cubicBezTo>
                <a:lnTo>
                  <a:pt x="26" y="99"/>
                </a:lnTo>
                <a:close/>
                <a:moveTo>
                  <a:pt x="153" y="104"/>
                </a:moveTo>
                <a:cubicBezTo>
                  <a:pt x="157" y="104"/>
                  <a:pt x="160" y="103"/>
                  <a:pt x="164" y="101"/>
                </a:cubicBezTo>
                <a:cubicBezTo>
                  <a:pt x="168" y="99"/>
                  <a:pt x="170" y="96"/>
                  <a:pt x="171" y="93"/>
                </a:cubicBezTo>
                <a:cubicBezTo>
                  <a:pt x="192" y="93"/>
                  <a:pt x="192" y="93"/>
                  <a:pt x="192" y="93"/>
                </a:cubicBezTo>
                <a:cubicBezTo>
                  <a:pt x="186" y="112"/>
                  <a:pt x="172" y="122"/>
                  <a:pt x="152" y="122"/>
                </a:cubicBezTo>
                <a:cubicBezTo>
                  <a:pt x="138" y="122"/>
                  <a:pt x="128" y="117"/>
                  <a:pt x="120" y="109"/>
                </a:cubicBezTo>
                <a:cubicBezTo>
                  <a:pt x="112" y="101"/>
                  <a:pt x="108" y="90"/>
                  <a:pt x="108" y="76"/>
                </a:cubicBezTo>
                <a:cubicBezTo>
                  <a:pt x="108" y="63"/>
                  <a:pt x="112" y="52"/>
                  <a:pt x="120" y="44"/>
                </a:cubicBezTo>
                <a:cubicBezTo>
                  <a:pt x="128" y="35"/>
                  <a:pt x="139" y="31"/>
                  <a:pt x="152" y="31"/>
                </a:cubicBezTo>
                <a:cubicBezTo>
                  <a:pt x="161" y="31"/>
                  <a:pt x="168" y="33"/>
                  <a:pt x="175" y="37"/>
                </a:cubicBezTo>
                <a:cubicBezTo>
                  <a:pt x="181" y="41"/>
                  <a:pt x="186" y="47"/>
                  <a:pt x="189" y="54"/>
                </a:cubicBezTo>
                <a:cubicBezTo>
                  <a:pt x="192" y="61"/>
                  <a:pt x="194" y="69"/>
                  <a:pt x="194" y="77"/>
                </a:cubicBezTo>
                <a:cubicBezTo>
                  <a:pt x="194" y="79"/>
                  <a:pt x="194" y="80"/>
                  <a:pt x="194" y="82"/>
                </a:cubicBezTo>
                <a:cubicBezTo>
                  <a:pt x="131" y="82"/>
                  <a:pt x="131" y="82"/>
                  <a:pt x="131" y="82"/>
                </a:cubicBezTo>
                <a:cubicBezTo>
                  <a:pt x="131" y="89"/>
                  <a:pt x="133" y="94"/>
                  <a:pt x="137" y="98"/>
                </a:cubicBezTo>
                <a:cubicBezTo>
                  <a:pt x="140" y="102"/>
                  <a:pt x="146" y="104"/>
                  <a:pt x="153" y="104"/>
                </a:cubicBezTo>
                <a:close/>
                <a:moveTo>
                  <a:pt x="175" y="8"/>
                </a:moveTo>
                <a:cubicBezTo>
                  <a:pt x="127" y="8"/>
                  <a:pt x="127" y="8"/>
                  <a:pt x="127" y="8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75" y="20"/>
                  <a:pt x="175" y="20"/>
                  <a:pt x="175" y="20"/>
                </a:cubicBezTo>
                <a:lnTo>
                  <a:pt x="175" y="8"/>
                </a:lnTo>
                <a:close/>
                <a:moveTo>
                  <a:pt x="151" y="49"/>
                </a:moveTo>
                <a:cubicBezTo>
                  <a:pt x="145" y="49"/>
                  <a:pt x="141" y="50"/>
                  <a:pt x="137" y="53"/>
                </a:cubicBezTo>
                <a:cubicBezTo>
                  <a:pt x="134" y="57"/>
                  <a:pt x="132" y="61"/>
                  <a:pt x="131" y="67"/>
                </a:cubicBezTo>
                <a:cubicBezTo>
                  <a:pt x="170" y="67"/>
                  <a:pt x="170" y="67"/>
                  <a:pt x="170" y="67"/>
                </a:cubicBezTo>
                <a:cubicBezTo>
                  <a:pt x="169" y="55"/>
                  <a:pt x="163" y="49"/>
                  <a:pt x="151" y="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0" name="Freeform 371"/>
          <p:cNvSpPr>
            <a:spLocks noChangeAspect="1" noEditPoints="1"/>
          </p:cNvSpPr>
          <p:nvPr/>
        </p:nvSpPr>
        <p:spPr bwMode="auto">
          <a:xfrm>
            <a:off x="3920923" y="4331544"/>
            <a:ext cx="162376" cy="176428"/>
          </a:xfrm>
          <a:custGeom>
            <a:avLst/>
            <a:gdLst>
              <a:gd name="T0" fmla="*/ 157 w 157"/>
              <a:gd name="T1" fmla="*/ 133 h 170"/>
              <a:gd name="T2" fmla="*/ 153 w 157"/>
              <a:gd name="T3" fmla="*/ 142 h 170"/>
              <a:gd name="T4" fmla="*/ 145 w 157"/>
              <a:gd name="T5" fmla="*/ 145 h 170"/>
              <a:gd name="T6" fmla="*/ 102 w 157"/>
              <a:gd name="T7" fmla="*/ 145 h 170"/>
              <a:gd name="T8" fmla="*/ 95 w 157"/>
              <a:gd name="T9" fmla="*/ 163 h 170"/>
              <a:gd name="T10" fmla="*/ 78 w 157"/>
              <a:gd name="T11" fmla="*/ 170 h 170"/>
              <a:gd name="T12" fmla="*/ 61 w 157"/>
              <a:gd name="T13" fmla="*/ 163 h 170"/>
              <a:gd name="T14" fmla="*/ 54 w 157"/>
              <a:gd name="T15" fmla="*/ 145 h 170"/>
              <a:gd name="T16" fmla="*/ 12 w 157"/>
              <a:gd name="T17" fmla="*/ 145 h 170"/>
              <a:gd name="T18" fmla="*/ 3 w 157"/>
              <a:gd name="T19" fmla="*/ 142 h 170"/>
              <a:gd name="T20" fmla="*/ 0 w 157"/>
              <a:gd name="T21" fmla="*/ 133 h 170"/>
              <a:gd name="T22" fmla="*/ 8 w 157"/>
              <a:gd name="T23" fmla="*/ 125 h 170"/>
              <a:gd name="T24" fmla="*/ 16 w 157"/>
              <a:gd name="T25" fmla="*/ 114 h 170"/>
              <a:gd name="T26" fmla="*/ 23 w 157"/>
              <a:gd name="T27" fmla="*/ 99 h 170"/>
              <a:gd name="T28" fmla="*/ 28 w 157"/>
              <a:gd name="T29" fmla="*/ 79 h 170"/>
              <a:gd name="T30" fmla="*/ 30 w 157"/>
              <a:gd name="T31" fmla="*/ 55 h 170"/>
              <a:gd name="T32" fmla="*/ 41 w 157"/>
              <a:gd name="T33" fmla="*/ 28 h 170"/>
              <a:gd name="T34" fmla="*/ 70 w 157"/>
              <a:gd name="T35" fmla="*/ 13 h 170"/>
              <a:gd name="T36" fmla="*/ 69 w 157"/>
              <a:gd name="T37" fmla="*/ 9 h 170"/>
              <a:gd name="T38" fmla="*/ 72 w 157"/>
              <a:gd name="T39" fmla="*/ 3 h 170"/>
              <a:gd name="T40" fmla="*/ 78 w 157"/>
              <a:gd name="T41" fmla="*/ 0 h 170"/>
              <a:gd name="T42" fmla="*/ 85 w 157"/>
              <a:gd name="T43" fmla="*/ 3 h 170"/>
              <a:gd name="T44" fmla="*/ 87 w 157"/>
              <a:gd name="T45" fmla="*/ 9 h 170"/>
              <a:gd name="T46" fmla="*/ 87 w 157"/>
              <a:gd name="T47" fmla="*/ 13 h 170"/>
              <a:gd name="T48" fmla="*/ 116 w 157"/>
              <a:gd name="T49" fmla="*/ 28 h 170"/>
              <a:gd name="T50" fmla="*/ 127 w 157"/>
              <a:gd name="T51" fmla="*/ 55 h 170"/>
              <a:gd name="T52" fmla="*/ 128 w 157"/>
              <a:gd name="T53" fmla="*/ 79 h 170"/>
              <a:gd name="T54" fmla="*/ 133 w 157"/>
              <a:gd name="T55" fmla="*/ 99 h 170"/>
              <a:gd name="T56" fmla="*/ 140 w 157"/>
              <a:gd name="T57" fmla="*/ 114 h 170"/>
              <a:gd name="T58" fmla="*/ 148 w 157"/>
              <a:gd name="T59" fmla="*/ 125 h 170"/>
              <a:gd name="T60" fmla="*/ 157 w 157"/>
              <a:gd name="T61" fmla="*/ 133 h 170"/>
              <a:gd name="T62" fmla="*/ 80 w 157"/>
              <a:gd name="T63" fmla="*/ 161 h 170"/>
              <a:gd name="T64" fmla="*/ 78 w 157"/>
              <a:gd name="T65" fmla="*/ 159 h 170"/>
              <a:gd name="T66" fmla="*/ 69 w 157"/>
              <a:gd name="T67" fmla="*/ 155 h 170"/>
              <a:gd name="T68" fmla="*/ 65 w 157"/>
              <a:gd name="T69" fmla="*/ 145 h 170"/>
              <a:gd name="T70" fmla="*/ 63 w 157"/>
              <a:gd name="T71" fmla="*/ 144 h 170"/>
              <a:gd name="T72" fmla="*/ 62 w 157"/>
              <a:gd name="T73" fmla="*/ 145 h 170"/>
              <a:gd name="T74" fmla="*/ 66 w 157"/>
              <a:gd name="T75" fmla="*/ 157 h 170"/>
              <a:gd name="T76" fmla="*/ 78 w 157"/>
              <a:gd name="T77" fmla="*/ 162 h 170"/>
              <a:gd name="T78" fmla="*/ 80 w 157"/>
              <a:gd name="T79" fmla="*/ 16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7" h="170">
                <a:moveTo>
                  <a:pt x="157" y="133"/>
                </a:moveTo>
                <a:cubicBezTo>
                  <a:pt x="157" y="137"/>
                  <a:pt x="156" y="139"/>
                  <a:pt x="153" y="142"/>
                </a:cubicBezTo>
                <a:cubicBezTo>
                  <a:pt x="151" y="144"/>
                  <a:pt x="148" y="145"/>
                  <a:pt x="145" y="145"/>
                </a:cubicBezTo>
                <a:cubicBezTo>
                  <a:pt x="102" y="145"/>
                  <a:pt x="102" y="145"/>
                  <a:pt x="102" y="145"/>
                </a:cubicBezTo>
                <a:cubicBezTo>
                  <a:pt x="102" y="152"/>
                  <a:pt x="100" y="158"/>
                  <a:pt x="95" y="163"/>
                </a:cubicBezTo>
                <a:cubicBezTo>
                  <a:pt x="91" y="167"/>
                  <a:pt x="85" y="170"/>
                  <a:pt x="78" y="170"/>
                </a:cubicBezTo>
                <a:cubicBezTo>
                  <a:pt x="72" y="170"/>
                  <a:pt x="66" y="167"/>
                  <a:pt x="61" y="163"/>
                </a:cubicBezTo>
                <a:cubicBezTo>
                  <a:pt x="56" y="158"/>
                  <a:pt x="54" y="152"/>
                  <a:pt x="54" y="145"/>
                </a:cubicBezTo>
                <a:cubicBezTo>
                  <a:pt x="12" y="145"/>
                  <a:pt x="12" y="145"/>
                  <a:pt x="12" y="145"/>
                </a:cubicBezTo>
                <a:cubicBezTo>
                  <a:pt x="8" y="145"/>
                  <a:pt x="6" y="144"/>
                  <a:pt x="3" y="142"/>
                </a:cubicBezTo>
                <a:cubicBezTo>
                  <a:pt x="1" y="139"/>
                  <a:pt x="0" y="137"/>
                  <a:pt x="0" y="133"/>
                </a:cubicBezTo>
                <a:cubicBezTo>
                  <a:pt x="3" y="131"/>
                  <a:pt x="6" y="128"/>
                  <a:pt x="8" y="125"/>
                </a:cubicBezTo>
                <a:cubicBezTo>
                  <a:pt x="11" y="122"/>
                  <a:pt x="13" y="118"/>
                  <a:pt x="16" y="114"/>
                </a:cubicBezTo>
                <a:cubicBezTo>
                  <a:pt x="19" y="109"/>
                  <a:pt x="21" y="104"/>
                  <a:pt x="23" y="99"/>
                </a:cubicBezTo>
                <a:cubicBezTo>
                  <a:pt x="25" y="93"/>
                  <a:pt x="27" y="87"/>
                  <a:pt x="28" y="79"/>
                </a:cubicBezTo>
                <a:cubicBezTo>
                  <a:pt x="29" y="72"/>
                  <a:pt x="30" y="63"/>
                  <a:pt x="30" y="55"/>
                </a:cubicBezTo>
                <a:cubicBezTo>
                  <a:pt x="30" y="45"/>
                  <a:pt x="34" y="36"/>
                  <a:pt x="41" y="28"/>
                </a:cubicBezTo>
                <a:cubicBezTo>
                  <a:pt x="48" y="20"/>
                  <a:pt x="58" y="15"/>
                  <a:pt x="70" y="13"/>
                </a:cubicBezTo>
                <a:cubicBezTo>
                  <a:pt x="69" y="12"/>
                  <a:pt x="69" y="11"/>
                  <a:pt x="69" y="9"/>
                </a:cubicBezTo>
                <a:cubicBezTo>
                  <a:pt x="69" y="7"/>
                  <a:pt x="70" y="5"/>
                  <a:pt x="72" y="3"/>
                </a:cubicBezTo>
                <a:cubicBezTo>
                  <a:pt x="74" y="1"/>
                  <a:pt x="76" y="0"/>
                  <a:pt x="78" y="0"/>
                </a:cubicBezTo>
                <a:cubicBezTo>
                  <a:pt x="81" y="0"/>
                  <a:pt x="83" y="1"/>
                  <a:pt x="85" y="3"/>
                </a:cubicBezTo>
                <a:cubicBezTo>
                  <a:pt x="86" y="5"/>
                  <a:pt x="87" y="7"/>
                  <a:pt x="87" y="9"/>
                </a:cubicBezTo>
                <a:cubicBezTo>
                  <a:pt x="87" y="11"/>
                  <a:pt x="87" y="12"/>
                  <a:pt x="87" y="13"/>
                </a:cubicBezTo>
                <a:cubicBezTo>
                  <a:pt x="99" y="15"/>
                  <a:pt x="108" y="20"/>
                  <a:pt x="116" y="28"/>
                </a:cubicBezTo>
                <a:cubicBezTo>
                  <a:pt x="123" y="36"/>
                  <a:pt x="127" y="45"/>
                  <a:pt x="127" y="55"/>
                </a:cubicBezTo>
                <a:cubicBezTo>
                  <a:pt x="127" y="63"/>
                  <a:pt x="127" y="72"/>
                  <a:pt x="128" y="79"/>
                </a:cubicBezTo>
                <a:cubicBezTo>
                  <a:pt x="130" y="87"/>
                  <a:pt x="131" y="93"/>
                  <a:pt x="133" y="99"/>
                </a:cubicBezTo>
                <a:cubicBezTo>
                  <a:pt x="135" y="104"/>
                  <a:pt x="137" y="109"/>
                  <a:pt x="140" y="114"/>
                </a:cubicBezTo>
                <a:cubicBezTo>
                  <a:pt x="143" y="118"/>
                  <a:pt x="146" y="122"/>
                  <a:pt x="148" y="125"/>
                </a:cubicBezTo>
                <a:cubicBezTo>
                  <a:pt x="151" y="128"/>
                  <a:pt x="154" y="131"/>
                  <a:pt x="157" y="133"/>
                </a:cubicBezTo>
                <a:close/>
                <a:moveTo>
                  <a:pt x="80" y="161"/>
                </a:moveTo>
                <a:cubicBezTo>
                  <a:pt x="80" y="160"/>
                  <a:pt x="79" y="159"/>
                  <a:pt x="78" y="159"/>
                </a:cubicBezTo>
                <a:cubicBezTo>
                  <a:pt x="75" y="159"/>
                  <a:pt x="71" y="158"/>
                  <a:pt x="69" y="155"/>
                </a:cubicBezTo>
                <a:cubicBezTo>
                  <a:pt x="66" y="152"/>
                  <a:pt x="65" y="149"/>
                  <a:pt x="65" y="145"/>
                </a:cubicBezTo>
                <a:cubicBezTo>
                  <a:pt x="65" y="144"/>
                  <a:pt x="64" y="144"/>
                  <a:pt x="63" y="144"/>
                </a:cubicBezTo>
                <a:cubicBezTo>
                  <a:pt x="62" y="144"/>
                  <a:pt x="62" y="144"/>
                  <a:pt x="62" y="145"/>
                </a:cubicBezTo>
                <a:cubicBezTo>
                  <a:pt x="62" y="150"/>
                  <a:pt x="63" y="154"/>
                  <a:pt x="66" y="157"/>
                </a:cubicBezTo>
                <a:cubicBezTo>
                  <a:pt x="70" y="160"/>
                  <a:pt x="74" y="162"/>
                  <a:pt x="78" y="162"/>
                </a:cubicBezTo>
                <a:cubicBezTo>
                  <a:pt x="79" y="162"/>
                  <a:pt x="80" y="162"/>
                  <a:pt x="80" y="1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1" name="Freeform 372"/>
          <p:cNvSpPr>
            <a:spLocks noChangeAspect="1" noEditPoints="1"/>
          </p:cNvSpPr>
          <p:nvPr/>
        </p:nvSpPr>
        <p:spPr bwMode="auto">
          <a:xfrm>
            <a:off x="4183223" y="4331544"/>
            <a:ext cx="162376" cy="176428"/>
          </a:xfrm>
          <a:custGeom>
            <a:avLst/>
            <a:gdLst>
              <a:gd name="T0" fmla="*/ 157 w 157"/>
              <a:gd name="T1" fmla="*/ 133 h 170"/>
              <a:gd name="T2" fmla="*/ 153 w 157"/>
              <a:gd name="T3" fmla="*/ 142 h 170"/>
              <a:gd name="T4" fmla="*/ 145 w 157"/>
              <a:gd name="T5" fmla="*/ 145 h 170"/>
              <a:gd name="T6" fmla="*/ 103 w 157"/>
              <a:gd name="T7" fmla="*/ 145 h 170"/>
              <a:gd name="T8" fmla="*/ 96 w 157"/>
              <a:gd name="T9" fmla="*/ 163 h 170"/>
              <a:gd name="T10" fmla="*/ 78 w 157"/>
              <a:gd name="T11" fmla="*/ 170 h 170"/>
              <a:gd name="T12" fmla="*/ 61 w 157"/>
              <a:gd name="T13" fmla="*/ 163 h 170"/>
              <a:gd name="T14" fmla="*/ 54 w 157"/>
              <a:gd name="T15" fmla="*/ 145 h 170"/>
              <a:gd name="T16" fmla="*/ 12 w 157"/>
              <a:gd name="T17" fmla="*/ 145 h 170"/>
              <a:gd name="T18" fmla="*/ 3 w 157"/>
              <a:gd name="T19" fmla="*/ 142 h 170"/>
              <a:gd name="T20" fmla="*/ 0 w 157"/>
              <a:gd name="T21" fmla="*/ 133 h 170"/>
              <a:gd name="T22" fmla="*/ 8 w 157"/>
              <a:gd name="T23" fmla="*/ 125 h 170"/>
              <a:gd name="T24" fmla="*/ 16 w 157"/>
              <a:gd name="T25" fmla="*/ 114 h 170"/>
              <a:gd name="T26" fmla="*/ 23 w 157"/>
              <a:gd name="T27" fmla="*/ 99 h 170"/>
              <a:gd name="T28" fmla="*/ 28 w 157"/>
              <a:gd name="T29" fmla="*/ 79 h 170"/>
              <a:gd name="T30" fmla="*/ 30 w 157"/>
              <a:gd name="T31" fmla="*/ 55 h 170"/>
              <a:gd name="T32" fmla="*/ 41 w 157"/>
              <a:gd name="T33" fmla="*/ 28 h 170"/>
              <a:gd name="T34" fmla="*/ 70 w 157"/>
              <a:gd name="T35" fmla="*/ 13 h 170"/>
              <a:gd name="T36" fmla="*/ 69 w 157"/>
              <a:gd name="T37" fmla="*/ 9 h 170"/>
              <a:gd name="T38" fmla="*/ 72 w 157"/>
              <a:gd name="T39" fmla="*/ 3 h 170"/>
              <a:gd name="T40" fmla="*/ 78 w 157"/>
              <a:gd name="T41" fmla="*/ 0 h 170"/>
              <a:gd name="T42" fmla="*/ 85 w 157"/>
              <a:gd name="T43" fmla="*/ 3 h 170"/>
              <a:gd name="T44" fmla="*/ 87 w 157"/>
              <a:gd name="T45" fmla="*/ 9 h 170"/>
              <a:gd name="T46" fmla="*/ 87 w 157"/>
              <a:gd name="T47" fmla="*/ 13 h 170"/>
              <a:gd name="T48" fmla="*/ 116 w 157"/>
              <a:gd name="T49" fmla="*/ 28 h 170"/>
              <a:gd name="T50" fmla="*/ 127 w 157"/>
              <a:gd name="T51" fmla="*/ 55 h 170"/>
              <a:gd name="T52" fmla="*/ 129 w 157"/>
              <a:gd name="T53" fmla="*/ 79 h 170"/>
              <a:gd name="T54" fmla="*/ 133 w 157"/>
              <a:gd name="T55" fmla="*/ 99 h 170"/>
              <a:gd name="T56" fmla="*/ 140 w 157"/>
              <a:gd name="T57" fmla="*/ 114 h 170"/>
              <a:gd name="T58" fmla="*/ 148 w 157"/>
              <a:gd name="T59" fmla="*/ 125 h 170"/>
              <a:gd name="T60" fmla="*/ 157 w 157"/>
              <a:gd name="T61" fmla="*/ 133 h 170"/>
              <a:gd name="T62" fmla="*/ 17 w 157"/>
              <a:gd name="T63" fmla="*/ 133 h 170"/>
              <a:gd name="T64" fmla="*/ 140 w 157"/>
              <a:gd name="T65" fmla="*/ 133 h 170"/>
              <a:gd name="T66" fmla="*/ 115 w 157"/>
              <a:gd name="T67" fmla="*/ 55 h 170"/>
              <a:gd name="T68" fmla="*/ 112 w 157"/>
              <a:gd name="T69" fmla="*/ 45 h 170"/>
              <a:gd name="T70" fmla="*/ 106 w 157"/>
              <a:gd name="T71" fmla="*/ 35 h 170"/>
              <a:gd name="T72" fmla="*/ 94 w 157"/>
              <a:gd name="T73" fmla="*/ 27 h 170"/>
              <a:gd name="T74" fmla="*/ 78 w 157"/>
              <a:gd name="T75" fmla="*/ 24 h 170"/>
              <a:gd name="T76" fmla="*/ 62 w 157"/>
              <a:gd name="T77" fmla="*/ 27 h 170"/>
              <a:gd name="T78" fmla="*/ 51 w 157"/>
              <a:gd name="T79" fmla="*/ 35 h 170"/>
              <a:gd name="T80" fmla="*/ 44 w 157"/>
              <a:gd name="T81" fmla="*/ 45 h 170"/>
              <a:gd name="T82" fmla="*/ 42 w 157"/>
              <a:gd name="T83" fmla="*/ 55 h 170"/>
              <a:gd name="T84" fmla="*/ 17 w 157"/>
              <a:gd name="T85" fmla="*/ 133 h 170"/>
              <a:gd name="T86" fmla="*/ 80 w 157"/>
              <a:gd name="T87" fmla="*/ 161 h 170"/>
              <a:gd name="T88" fmla="*/ 78 w 157"/>
              <a:gd name="T89" fmla="*/ 159 h 170"/>
              <a:gd name="T90" fmla="*/ 69 w 157"/>
              <a:gd name="T91" fmla="*/ 155 h 170"/>
              <a:gd name="T92" fmla="*/ 65 w 157"/>
              <a:gd name="T93" fmla="*/ 145 h 170"/>
              <a:gd name="T94" fmla="*/ 63 w 157"/>
              <a:gd name="T95" fmla="*/ 144 h 170"/>
              <a:gd name="T96" fmla="*/ 62 w 157"/>
              <a:gd name="T97" fmla="*/ 145 h 170"/>
              <a:gd name="T98" fmla="*/ 67 w 157"/>
              <a:gd name="T99" fmla="*/ 157 h 170"/>
              <a:gd name="T100" fmla="*/ 78 w 157"/>
              <a:gd name="T101" fmla="*/ 162 h 170"/>
              <a:gd name="T102" fmla="*/ 80 w 157"/>
              <a:gd name="T103" fmla="*/ 16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7" h="170">
                <a:moveTo>
                  <a:pt x="157" y="133"/>
                </a:moveTo>
                <a:cubicBezTo>
                  <a:pt x="157" y="137"/>
                  <a:pt x="156" y="139"/>
                  <a:pt x="153" y="142"/>
                </a:cubicBezTo>
                <a:cubicBezTo>
                  <a:pt x="151" y="144"/>
                  <a:pt x="148" y="145"/>
                  <a:pt x="145" y="145"/>
                </a:cubicBezTo>
                <a:cubicBezTo>
                  <a:pt x="103" y="145"/>
                  <a:pt x="103" y="145"/>
                  <a:pt x="103" y="145"/>
                </a:cubicBezTo>
                <a:cubicBezTo>
                  <a:pt x="103" y="152"/>
                  <a:pt x="100" y="158"/>
                  <a:pt x="96" y="163"/>
                </a:cubicBezTo>
                <a:cubicBezTo>
                  <a:pt x="91" y="167"/>
                  <a:pt x="85" y="170"/>
                  <a:pt x="78" y="170"/>
                </a:cubicBezTo>
                <a:cubicBezTo>
                  <a:pt x="72" y="170"/>
                  <a:pt x="66" y="167"/>
                  <a:pt x="61" y="163"/>
                </a:cubicBezTo>
                <a:cubicBezTo>
                  <a:pt x="57" y="158"/>
                  <a:pt x="54" y="152"/>
                  <a:pt x="54" y="145"/>
                </a:cubicBezTo>
                <a:cubicBezTo>
                  <a:pt x="12" y="145"/>
                  <a:pt x="12" y="145"/>
                  <a:pt x="12" y="145"/>
                </a:cubicBezTo>
                <a:cubicBezTo>
                  <a:pt x="9" y="145"/>
                  <a:pt x="6" y="144"/>
                  <a:pt x="3" y="142"/>
                </a:cubicBezTo>
                <a:cubicBezTo>
                  <a:pt x="1" y="139"/>
                  <a:pt x="0" y="137"/>
                  <a:pt x="0" y="133"/>
                </a:cubicBezTo>
                <a:cubicBezTo>
                  <a:pt x="3" y="131"/>
                  <a:pt x="6" y="128"/>
                  <a:pt x="8" y="125"/>
                </a:cubicBezTo>
                <a:cubicBezTo>
                  <a:pt x="11" y="122"/>
                  <a:pt x="14" y="118"/>
                  <a:pt x="16" y="114"/>
                </a:cubicBezTo>
                <a:cubicBezTo>
                  <a:pt x="19" y="109"/>
                  <a:pt x="21" y="104"/>
                  <a:pt x="23" y="99"/>
                </a:cubicBezTo>
                <a:cubicBezTo>
                  <a:pt x="25" y="93"/>
                  <a:pt x="27" y="87"/>
                  <a:pt x="28" y="79"/>
                </a:cubicBezTo>
                <a:cubicBezTo>
                  <a:pt x="29" y="72"/>
                  <a:pt x="30" y="63"/>
                  <a:pt x="30" y="55"/>
                </a:cubicBezTo>
                <a:cubicBezTo>
                  <a:pt x="30" y="45"/>
                  <a:pt x="34" y="36"/>
                  <a:pt x="41" y="28"/>
                </a:cubicBezTo>
                <a:cubicBezTo>
                  <a:pt x="48" y="20"/>
                  <a:pt x="58" y="15"/>
                  <a:pt x="70" y="13"/>
                </a:cubicBezTo>
                <a:cubicBezTo>
                  <a:pt x="70" y="12"/>
                  <a:pt x="69" y="11"/>
                  <a:pt x="69" y="9"/>
                </a:cubicBezTo>
                <a:cubicBezTo>
                  <a:pt x="69" y="7"/>
                  <a:pt x="70" y="5"/>
                  <a:pt x="72" y="3"/>
                </a:cubicBezTo>
                <a:cubicBezTo>
                  <a:pt x="74" y="1"/>
                  <a:pt x="76" y="0"/>
                  <a:pt x="78" y="0"/>
                </a:cubicBezTo>
                <a:cubicBezTo>
                  <a:pt x="81" y="0"/>
                  <a:pt x="83" y="1"/>
                  <a:pt x="85" y="3"/>
                </a:cubicBezTo>
                <a:cubicBezTo>
                  <a:pt x="87" y="5"/>
                  <a:pt x="87" y="7"/>
                  <a:pt x="87" y="9"/>
                </a:cubicBezTo>
                <a:cubicBezTo>
                  <a:pt x="87" y="11"/>
                  <a:pt x="87" y="12"/>
                  <a:pt x="87" y="13"/>
                </a:cubicBezTo>
                <a:cubicBezTo>
                  <a:pt x="99" y="15"/>
                  <a:pt x="108" y="20"/>
                  <a:pt x="116" y="28"/>
                </a:cubicBezTo>
                <a:cubicBezTo>
                  <a:pt x="123" y="36"/>
                  <a:pt x="127" y="45"/>
                  <a:pt x="127" y="55"/>
                </a:cubicBezTo>
                <a:cubicBezTo>
                  <a:pt x="127" y="63"/>
                  <a:pt x="127" y="72"/>
                  <a:pt x="129" y="79"/>
                </a:cubicBezTo>
                <a:cubicBezTo>
                  <a:pt x="130" y="87"/>
                  <a:pt x="131" y="93"/>
                  <a:pt x="133" y="99"/>
                </a:cubicBezTo>
                <a:cubicBezTo>
                  <a:pt x="135" y="104"/>
                  <a:pt x="138" y="109"/>
                  <a:pt x="140" y="114"/>
                </a:cubicBezTo>
                <a:cubicBezTo>
                  <a:pt x="143" y="118"/>
                  <a:pt x="146" y="122"/>
                  <a:pt x="148" y="125"/>
                </a:cubicBezTo>
                <a:cubicBezTo>
                  <a:pt x="151" y="128"/>
                  <a:pt x="154" y="131"/>
                  <a:pt x="157" y="133"/>
                </a:cubicBezTo>
                <a:close/>
                <a:moveTo>
                  <a:pt x="17" y="133"/>
                </a:moveTo>
                <a:cubicBezTo>
                  <a:pt x="140" y="133"/>
                  <a:pt x="140" y="133"/>
                  <a:pt x="140" y="133"/>
                </a:cubicBezTo>
                <a:cubicBezTo>
                  <a:pt x="123" y="114"/>
                  <a:pt x="115" y="88"/>
                  <a:pt x="115" y="55"/>
                </a:cubicBezTo>
                <a:cubicBezTo>
                  <a:pt x="115" y="51"/>
                  <a:pt x="114" y="48"/>
                  <a:pt x="112" y="45"/>
                </a:cubicBezTo>
                <a:cubicBezTo>
                  <a:pt x="111" y="41"/>
                  <a:pt x="109" y="38"/>
                  <a:pt x="106" y="35"/>
                </a:cubicBezTo>
                <a:cubicBezTo>
                  <a:pt x="103" y="32"/>
                  <a:pt x="99" y="29"/>
                  <a:pt x="94" y="27"/>
                </a:cubicBezTo>
                <a:cubicBezTo>
                  <a:pt x="90" y="25"/>
                  <a:pt x="84" y="24"/>
                  <a:pt x="78" y="24"/>
                </a:cubicBezTo>
                <a:cubicBezTo>
                  <a:pt x="73" y="24"/>
                  <a:pt x="67" y="25"/>
                  <a:pt x="62" y="27"/>
                </a:cubicBezTo>
                <a:cubicBezTo>
                  <a:pt x="58" y="29"/>
                  <a:pt x="54" y="32"/>
                  <a:pt x="51" y="35"/>
                </a:cubicBezTo>
                <a:cubicBezTo>
                  <a:pt x="48" y="38"/>
                  <a:pt x="46" y="41"/>
                  <a:pt x="44" y="45"/>
                </a:cubicBezTo>
                <a:cubicBezTo>
                  <a:pt x="43" y="48"/>
                  <a:pt x="42" y="51"/>
                  <a:pt x="42" y="55"/>
                </a:cubicBezTo>
                <a:cubicBezTo>
                  <a:pt x="42" y="88"/>
                  <a:pt x="34" y="114"/>
                  <a:pt x="17" y="133"/>
                </a:cubicBezTo>
                <a:close/>
                <a:moveTo>
                  <a:pt x="80" y="161"/>
                </a:moveTo>
                <a:cubicBezTo>
                  <a:pt x="80" y="160"/>
                  <a:pt x="79" y="159"/>
                  <a:pt x="78" y="159"/>
                </a:cubicBezTo>
                <a:cubicBezTo>
                  <a:pt x="75" y="159"/>
                  <a:pt x="71" y="158"/>
                  <a:pt x="69" y="155"/>
                </a:cubicBezTo>
                <a:cubicBezTo>
                  <a:pt x="66" y="152"/>
                  <a:pt x="65" y="149"/>
                  <a:pt x="65" y="145"/>
                </a:cubicBezTo>
                <a:cubicBezTo>
                  <a:pt x="65" y="144"/>
                  <a:pt x="64" y="144"/>
                  <a:pt x="63" y="144"/>
                </a:cubicBezTo>
                <a:cubicBezTo>
                  <a:pt x="62" y="144"/>
                  <a:pt x="62" y="144"/>
                  <a:pt x="62" y="145"/>
                </a:cubicBezTo>
                <a:cubicBezTo>
                  <a:pt x="62" y="150"/>
                  <a:pt x="63" y="154"/>
                  <a:pt x="67" y="157"/>
                </a:cubicBezTo>
                <a:cubicBezTo>
                  <a:pt x="70" y="160"/>
                  <a:pt x="74" y="162"/>
                  <a:pt x="78" y="162"/>
                </a:cubicBezTo>
                <a:cubicBezTo>
                  <a:pt x="79" y="162"/>
                  <a:pt x="80" y="162"/>
                  <a:pt x="80" y="1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2" name="Freeform 373"/>
          <p:cNvSpPr>
            <a:spLocks noChangeAspect="1" noEditPoints="1"/>
          </p:cNvSpPr>
          <p:nvPr/>
        </p:nvSpPr>
        <p:spPr bwMode="auto">
          <a:xfrm>
            <a:off x="4439277" y="4337789"/>
            <a:ext cx="138957" cy="160815"/>
          </a:xfrm>
          <a:custGeom>
            <a:avLst/>
            <a:gdLst>
              <a:gd name="T0" fmla="*/ 122 w 133"/>
              <a:gd name="T1" fmla="*/ 90 h 155"/>
              <a:gd name="T2" fmla="*/ 115 w 133"/>
              <a:gd name="T3" fmla="*/ 99 h 155"/>
              <a:gd name="T4" fmla="*/ 52 w 133"/>
              <a:gd name="T5" fmla="*/ 110 h 155"/>
              <a:gd name="T6" fmla="*/ 13 w 133"/>
              <a:gd name="T7" fmla="*/ 95 h 155"/>
              <a:gd name="T8" fmla="*/ 10 w 133"/>
              <a:gd name="T9" fmla="*/ 88 h 155"/>
              <a:gd name="T10" fmla="*/ 9 w 133"/>
              <a:gd name="T11" fmla="*/ 81 h 155"/>
              <a:gd name="T12" fmla="*/ 4 w 133"/>
              <a:gd name="T13" fmla="*/ 52 h 155"/>
              <a:gd name="T14" fmla="*/ 0 w 133"/>
              <a:gd name="T15" fmla="*/ 23 h 155"/>
              <a:gd name="T16" fmla="*/ 4 w 133"/>
              <a:gd name="T17" fmla="*/ 15 h 155"/>
              <a:gd name="T18" fmla="*/ 13 w 133"/>
              <a:gd name="T19" fmla="*/ 10 h 155"/>
              <a:gd name="T20" fmla="*/ 47 w 133"/>
              <a:gd name="T21" fmla="*/ 2 h 155"/>
              <a:gd name="T22" fmla="*/ 131 w 133"/>
              <a:gd name="T23" fmla="*/ 18 h 155"/>
              <a:gd name="T24" fmla="*/ 132 w 133"/>
              <a:gd name="T25" fmla="*/ 28 h 155"/>
              <a:gd name="T26" fmla="*/ 114 w 133"/>
              <a:gd name="T27" fmla="*/ 126 h 155"/>
              <a:gd name="T28" fmla="*/ 110 w 133"/>
              <a:gd name="T29" fmla="*/ 141 h 155"/>
              <a:gd name="T30" fmla="*/ 86 w 133"/>
              <a:gd name="T31" fmla="*/ 153 h 155"/>
              <a:gd name="T32" fmla="*/ 48 w 133"/>
              <a:gd name="T33" fmla="*/ 153 h 155"/>
              <a:gd name="T34" fmla="*/ 33 w 133"/>
              <a:gd name="T35" fmla="*/ 149 h 155"/>
              <a:gd name="T36" fmla="*/ 22 w 133"/>
              <a:gd name="T37" fmla="*/ 139 h 155"/>
              <a:gd name="T38" fmla="*/ 17 w 133"/>
              <a:gd name="T39" fmla="*/ 110 h 155"/>
              <a:gd name="T40" fmla="*/ 66 w 133"/>
              <a:gd name="T41" fmla="*/ 123 h 155"/>
              <a:gd name="T42" fmla="*/ 117 w 133"/>
              <a:gd name="T43" fmla="*/ 111 h 155"/>
              <a:gd name="T44" fmla="*/ 115 w 133"/>
              <a:gd name="T45" fmla="*/ 119 h 155"/>
              <a:gd name="T46" fmla="*/ 105 w 133"/>
              <a:gd name="T47" fmla="*/ 17 h 155"/>
              <a:gd name="T48" fmla="*/ 92 w 133"/>
              <a:gd name="T49" fmla="*/ 14 h 155"/>
              <a:gd name="T50" fmla="*/ 33 w 133"/>
              <a:gd name="T51" fmla="*/ 15 h 155"/>
              <a:gd name="T52" fmla="*/ 23 w 133"/>
              <a:gd name="T53" fmla="*/ 21 h 155"/>
              <a:gd name="T54" fmla="*/ 37 w 133"/>
              <a:gd name="T55" fmla="*/ 28 h 155"/>
              <a:gd name="T56" fmla="*/ 88 w 133"/>
              <a:gd name="T57" fmla="*/ 29 h 155"/>
              <a:gd name="T58" fmla="*/ 103 w 133"/>
              <a:gd name="T59" fmla="*/ 26 h 155"/>
              <a:gd name="T60" fmla="*/ 87 w 133"/>
              <a:gd name="T61" fmla="*/ 72 h 155"/>
              <a:gd name="T62" fmla="*/ 58 w 133"/>
              <a:gd name="T63" fmla="*/ 56 h 155"/>
              <a:gd name="T64" fmla="*/ 45 w 133"/>
              <a:gd name="T65" fmla="*/ 76 h 155"/>
              <a:gd name="T66" fmla="*/ 68 w 133"/>
              <a:gd name="T67" fmla="*/ 96 h 155"/>
              <a:gd name="T68" fmla="*/ 87 w 133"/>
              <a:gd name="T69" fmla="*/ 72 h 155"/>
              <a:gd name="T70" fmla="*/ 72 w 133"/>
              <a:gd name="T71" fmla="*/ 84 h 155"/>
              <a:gd name="T72" fmla="*/ 56 w 133"/>
              <a:gd name="T73" fmla="*/ 79 h 155"/>
              <a:gd name="T74" fmla="*/ 61 w 133"/>
              <a:gd name="T75" fmla="*/ 66 h 155"/>
              <a:gd name="T76" fmla="*/ 74 w 133"/>
              <a:gd name="T77" fmla="*/ 6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3" h="155">
                <a:moveTo>
                  <a:pt x="132" y="28"/>
                </a:moveTo>
                <a:cubicBezTo>
                  <a:pt x="131" y="39"/>
                  <a:pt x="127" y="59"/>
                  <a:pt x="122" y="90"/>
                </a:cubicBezTo>
                <a:cubicBezTo>
                  <a:pt x="122" y="92"/>
                  <a:pt x="121" y="94"/>
                  <a:pt x="119" y="95"/>
                </a:cubicBezTo>
                <a:cubicBezTo>
                  <a:pt x="118" y="97"/>
                  <a:pt x="117" y="98"/>
                  <a:pt x="115" y="99"/>
                </a:cubicBezTo>
                <a:cubicBezTo>
                  <a:pt x="114" y="100"/>
                  <a:pt x="112" y="101"/>
                  <a:pt x="110" y="102"/>
                </a:cubicBezTo>
                <a:cubicBezTo>
                  <a:pt x="94" y="110"/>
                  <a:pt x="75" y="113"/>
                  <a:pt x="52" y="110"/>
                </a:cubicBezTo>
                <a:cubicBezTo>
                  <a:pt x="37" y="109"/>
                  <a:pt x="24" y="104"/>
                  <a:pt x="15" y="97"/>
                </a:cubicBezTo>
                <a:cubicBezTo>
                  <a:pt x="14" y="97"/>
                  <a:pt x="13" y="96"/>
                  <a:pt x="13" y="95"/>
                </a:cubicBezTo>
                <a:cubicBezTo>
                  <a:pt x="12" y="94"/>
                  <a:pt x="12" y="93"/>
                  <a:pt x="11" y="91"/>
                </a:cubicBezTo>
                <a:cubicBezTo>
                  <a:pt x="11" y="90"/>
                  <a:pt x="11" y="89"/>
                  <a:pt x="10" y="88"/>
                </a:cubicBezTo>
                <a:cubicBezTo>
                  <a:pt x="10" y="87"/>
                  <a:pt x="10" y="86"/>
                  <a:pt x="10" y="85"/>
                </a:cubicBezTo>
                <a:cubicBezTo>
                  <a:pt x="10" y="83"/>
                  <a:pt x="9" y="82"/>
                  <a:pt x="9" y="81"/>
                </a:cubicBezTo>
                <a:cubicBezTo>
                  <a:pt x="9" y="78"/>
                  <a:pt x="8" y="73"/>
                  <a:pt x="7" y="67"/>
                </a:cubicBezTo>
                <a:cubicBezTo>
                  <a:pt x="6" y="61"/>
                  <a:pt x="5" y="56"/>
                  <a:pt x="4" y="52"/>
                </a:cubicBezTo>
                <a:cubicBezTo>
                  <a:pt x="3" y="48"/>
                  <a:pt x="3" y="43"/>
                  <a:pt x="2" y="38"/>
                </a:cubicBezTo>
                <a:cubicBezTo>
                  <a:pt x="1" y="32"/>
                  <a:pt x="0" y="27"/>
                  <a:pt x="0" y="23"/>
                </a:cubicBezTo>
                <a:cubicBezTo>
                  <a:pt x="0" y="21"/>
                  <a:pt x="1" y="20"/>
                  <a:pt x="1" y="18"/>
                </a:cubicBezTo>
                <a:cubicBezTo>
                  <a:pt x="2" y="17"/>
                  <a:pt x="3" y="16"/>
                  <a:pt x="4" y="15"/>
                </a:cubicBezTo>
                <a:cubicBezTo>
                  <a:pt x="6" y="14"/>
                  <a:pt x="7" y="13"/>
                  <a:pt x="9" y="12"/>
                </a:cubicBezTo>
                <a:cubicBezTo>
                  <a:pt x="10" y="11"/>
                  <a:pt x="12" y="10"/>
                  <a:pt x="13" y="10"/>
                </a:cubicBezTo>
                <a:cubicBezTo>
                  <a:pt x="14" y="9"/>
                  <a:pt x="16" y="9"/>
                  <a:pt x="18" y="8"/>
                </a:cubicBezTo>
                <a:cubicBezTo>
                  <a:pt x="25" y="5"/>
                  <a:pt x="35" y="3"/>
                  <a:pt x="47" y="2"/>
                </a:cubicBezTo>
                <a:cubicBezTo>
                  <a:pt x="71" y="0"/>
                  <a:pt x="92" y="1"/>
                  <a:pt x="111" y="7"/>
                </a:cubicBezTo>
                <a:cubicBezTo>
                  <a:pt x="121" y="10"/>
                  <a:pt x="128" y="13"/>
                  <a:pt x="131" y="18"/>
                </a:cubicBezTo>
                <a:cubicBezTo>
                  <a:pt x="132" y="20"/>
                  <a:pt x="133" y="21"/>
                  <a:pt x="133" y="23"/>
                </a:cubicBezTo>
                <a:cubicBezTo>
                  <a:pt x="133" y="25"/>
                  <a:pt x="133" y="27"/>
                  <a:pt x="132" y="28"/>
                </a:cubicBezTo>
                <a:close/>
                <a:moveTo>
                  <a:pt x="115" y="119"/>
                </a:moveTo>
                <a:cubicBezTo>
                  <a:pt x="115" y="121"/>
                  <a:pt x="114" y="123"/>
                  <a:pt x="114" y="126"/>
                </a:cubicBezTo>
                <a:cubicBezTo>
                  <a:pt x="113" y="129"/>
                  <a:pt x="113" y="132"/>
                  <a:pt x="113" y="134"/>
                </a:cubicBezTo>
                <a:cubicBezTo>
                  <a:pt x="112" y="136"/>
                  <a:pt x="111" y="139"/>
                  <a:pt x="110" y="141"/>
                </a:cubicBezTo>
                <a:cubicBezTo>
                  <a:pt x="108" y="143"/>
                  <a:pt x="107" y="145"/>
                  <a:pt x="104" y="146"/>
                </a:cubicBezTo>
                <a:cubicBezTo>
                  <a:pt x="99" y="149"/>
                  <a:pt x="93" y="151"/>
                  <a:pt x="86" y="153"/>
                </a:cubicBezTo>
                <a:cubicBezTo>
                  <a:pt x="80" y="154"/>
                  <a:pt x="74" y="155"/>
                  <a:pt x="67" y="155"/>
                </a:cubicBezTo>
                <a:cubicBezTo>
                  <a:pt x="61" y="155"/>
                  <a:pt x="55" y="154"/>
                  <a:pt x="48" y="153"/>
                </a:cubicBezTo>
                <a:cubicBezTo>
                  <a:pt x="45" y="153"/>
                  <a:pt x="43" y="152"/>
                  <a:pt x="41" y="152"/>
                </a:cubicBezTo>
                <a:cubicBezTo>
                  <a:pt x="38" y="151"/>
                  <a:pt x="36" y="150"/>
                  <a:pt x="33" y="149"/>
                </a:cubicBezTo>
                <a:cubicBezTo>
                  <a:pt x="31" y="148"/>
                  <a:pt x="28" y="147"/>
                  <a:pt x="26" y="145"/>
                </a:cubicBezTo>
                <a:cubicBezTo>
                  <a:pt x="24" y="143"/>
                  <a:pt x="23" y="141"/>
                  <a:pt x="22" y="139"/>
                </a:cubicBezTo>
                <a:cubicBezTo>
                  <a:pt x="20" y="133"/>
                  <a:pt x="18" y="124"/>
                  <a:pt x="16" y="111"/>
                </a:cubicBezTo>
                <a:cubicBezTo>
                  <a:pt x="17" y="110"/>
                  <a:pt x="17" y="110"/>
                  <a:pt x="17" y="110"/>
                </a:cubicBezTo>
                <a:cubicBezTo>
                  <a:pt x="18" y="109"/>
                  <a:pt x="18" y="109"/>
                  <a:pt x="18" y="109"/>
                </a:cubicBezTo>
                <a:cubicBezTo>
                  <a:pt x="32" y="118"/>
                  <a:pt x="48" y="123"/>
                  <a:pt x="66" y="123"/>
                </a:cubicBezTo>
                <a:cubicBezTo>
                  <a:pt x="84" y="123"/>
                  <a:pt x="100" y="118"/>
                  <a:pt x="114" y="109"/>
                </a:cubicBezTo>
                <a:cubicBezTo>
                  <a:pt x="116" y="109"/>
                  <a:pt x="116" y="110"/>
                  <a:pt x="117" y="111"/>
                </a:cubicBezTo>
                <a:cubicBezTo>
                  <a:pt x="117" y="112"/>
                  <a:pt x="117" y="114"/>
                  <a:pt x="116" y="116"/>
                </a:cubicBezTo>
                <a:cubicBezTo>
                  <a:pt x="116" y="117"/>
                  <a:pt x="115" y="118"/>
                  <a:pt x="115" y="119"/>
                </a:cubicBezTo>
                <a:close/>
                <a:moveTo>
                  <a:pt x="110" y="21"/>
                </a:moveTo>
                <a:cubicBezTo>
                  <a:pt x="109" y="19"/>
                  <a:pt x="107" y="18"/>
                  <a:pt x="105" y="17"/>
                </a:cubicBezTo>
                <a:cubicBezTo>
                  <a:pt x="102" y="16"/>
                  <a:pt x="101" y="15"/>
                  <a:pt x="99" y="15"/>
                </a:cubicBezTo>
                <a:cubicBezTo>
                  <a:pt x="98" y="15"/>
                  <a:pt x="96" y="14"/>
                  <a:pt x="92" y="14"/>
                </a:cubicBezTo>
                <a:cubicBezTo>
                  <a:pt x="74" y="11"/>
                  <a:pt x="56" y="11"/>
                  <a:pt x="39" y="14"/>
                </a:cubicBezTo>
                <a:cubicBezTo>
                  <a:pt x="36" y="14"/>
                  <a:pt x="34" y="15"/>
                  <a:pt x="33" y="15"/>
                </a:cubicBezTo>
                <a:cubicBezTo>
                  <a:pt x="31" y="15"/>
                  <a:pt x="30" y="16"/>
                  <a:pt x="28" y="17"/>
                </a:cubicBezTo>
                <a:cubicBezTo>
                  <a:pt x="26" y="18"/>
                  <a:pt x="24" y="20"/>
                  <a:pt x="23" y="21"/>
                </a:cubicBezTo>
                <a:cubicBezTo>
                  <a:pt x="25" y="23"/>
                  <a:pt x="27" y="24"/>
                  <a:pt x="30" y="25"/>
                </a:cubicBezTo>
                <a:cubicBezTo>
                  <a:pt x="33" y="27"/>
                  <a:pt x="35" y="27"/>
                  <a:pt x="37" y="28"/>
                </a:cubicBezTo>
                <a:cubicBezTo>
                  <a:pt x="39" y="28"/>
                  <a:pt x="41" y="28"/>
                  <a:pt x="45" y="29"/>
                </a:cubicBezTo>
                <a:cubicBezTo>
                  <a:pt x="60" y="30"/>
                  <a:pt x="74" y="31"/>
                  <a:pt x="88" y="29"/>
                </a:cubicBezTo>
                <a:cubicBezTo>
                  <a:pt x="92" y="28"/>
                  <a:pt x="94" y="28"/>
                  <a:pt x="96" y="28"/>
                </a:cubicBezTo>
                <a:cubicBezTo>
                  <a:pt x="98" y="27"/>
                  <a:pt x="100" y="27"/>
                  <a:pt x="103" y="26"/>
                </a:cubicBezTo>
                <a:cubicBezTo>
                  <a:pt x="106" y="24"/>
                  <a:pt x="108" y="23"/>
                  <a:pt x="110" y="21"/>
                </a:cubicBezTo>
                <a:close/>
                <a:moveTo>
                  <a:pt x="87" y="72"/>
                </a:moveTo>
                <a:cubicBezTo>
                  <a:pt x="86" y="66"/>
                  <a:pt x="83" y="61"/>
                  <a:pt x="77" y="57"/>
                </a:cubicBezTo>
                <a:cubicBezTo>
                  <a:pt x="70" y="53"/>
                  <a:pt x="64" y="53"/>
                  <a:pt x="58" y="56"/>
                </a:cubicBezTo>
                <a:cubicBezTo>
                  <a:pt x="54" y="57"/>
                  <a:pt x="51" y="60"/>
                  <a:pt x="49" y="64"/>
                </a:cubicBezTo>
                <a:cubicBezTo>
                  <a:pt x="46" y="68"/>
                  <a:pt x="45" y="72"/>
                  <a:pt x="45" y="76"/>
                </a:cubicBezTo>
                <a:cubicBezTo>
                  <a:pt x="46" y="82"/>
                  <a:pt x="48" y="87"/>
                  <a:pt x="53" y="91"/>
                </a:cubicBezTo>
                <a:cubicBezTo>
                  <a:pt x="57" y="95"/>
                  <a:pt x="62" y="97"/>
                  <a:pt x="68" y="96"/>
                </a:cubicBezTo>
                <a:cubicBezTo>
                  <a:pt x="74" y="96"/>
                  <a:pt x="79" y="93"/>
                  <a:pt x="83" y="88"/>
                </a:cubicBezTo>
                <a:cubicBezTo>
                  <a:pt x="86" y="84"/>
                  <a:pt x="88" y="78"/>
                  <a:pt x="87" y="72"/>
                </a:cubicBezTo>
                <a:close/>
                <a:moveTo>
                  <a:pt x="77" y="74"/>
                </a:moveTo>
                <a:cubicBezTo>
                  <a:pt x="77" y="78"/>
                  <a:pt x="76" y="82"/>
                  <a:pt x="72" y="84"/>
                </a:cubicBezTo>
                <a:cubicBezTo>
                  <a:pt x="68" y="86"/>
                  <a:pt x="65" y="87"/>
                  <a:pt x="62" y="85"/>
                </a:cubicBezTo>
                <a:cubicBezTo>
                  <a:pt x="59" y="83"/>
                  <a:pt x="57" y="82"/>
                  <a:pt x="56" y="79"/>
                </a:cubicBezTo>
                <a:cubicBezTo>
                  <a:pt x="56" y="76"/>
                  <a:pt x="56" y="74"/>
                  <a:pt x="56" y="71"/>
                </a:cubicBezTo>
                <a:cubicBezTo>
                  <a:pt x="57" y="69"/>
                  <a:pt x="59" y="67"/>
                  <a:pt x="61" y="66"/>
                </a:cubicBezTo>
                <a:cubicBezTo>
                  <a:pt x="64" y="65"/>
                  <a:pt x="66" y="64"/>
                  <a:pt x="68" y="65"/>
                </a:cubicBezTo>
                <a:cubicBezTo>
                  <a:pt x="71" y="65"/>
                  <a:pt x="73" y="66"/>
                  <a:pt x="74" y="68"/>
                </a:cubicBezTo>
                <a:cubicBezTo>
                  <a:pt x="76" y="70"/>
                  <a:pt x="77" y="72"/>
                  <a:pt x="77" y="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3" name="Freeform 374"/>
          <p:cNvSpPr>
            <a:spLocks noChangeAspect="1" noEditPoints="1"/>
          </p:cNvSpPr>
          <p:nvPr/>
        </p:nvSpPr>
        <p:spPr bwMode="auto">
          <a:xfrm>
            <a:off x="4665666" y="4344034"/>
            <a:ext cx="149885" cy="151447"/>
          </a:xfrm>
          <a:custGeom>
            <a:avLst/>
            <a:gdLst>
              <a:gd name="T0" fmla="*/ 145 w 145"/>
              <a:gd name="T1" fmla="*/ 118 h 146"/>
              <a:gd name="T2" fmla="*/ 118 w 145"/>
              <a:gd name="T3" fmla="*/ 146 h 146"/>
              <a:gd name="T4" fmla="*/ 8 w 145"/>
              <a:gd name="T5" fmla="*/ 138 h 146"/>
              <a:gd name="T6" fmla="*/ 0 w 145"/>
              <a:gd name="T7" fmla="*/ 28 h 146"/>
              <a:gd name="T8" fmla="*/ 27 w 145"/>
              <a:gd name="T9" fmla="*/ 0 h 146"/>
              <a:gd name="T10" fmla="*/ 137 w 145"/>
              <a:gd name="T11" fmla="*/ 8 h 146"/>
              <a:gd name="T12" fmla="*/ 120 w 145"/>
              <a:gd name="T13" fmla="*/ 37 h 146"/>
              <a:gd name="T14" fmla="*/ 105 w 145"/>
              <a:gd name="T15" fmla="*/ 22 h 146"/>
              <a:gd name="T16" fmla="*/ 37 w 145"/>
              <a:gd name="T17" fmla="*/ 23 h 146"/>
              <a:gd name="T18" fmla="*/ 27 w 145"/>
              <a:gd name="T19" fmla="*/ 28 h 146"/>
              <a:gd name="T20" fmla="*/ 26 w 145"/>
              <a:gd name="T21" fmla="*/ 46 h 146"/>
              <a:gd name="T22" fmla="*/ 31 w 145"/>
              <a:gd name="T23" fmla="*/ 75 h 146"/>
              <a:gd name="T24" fmla="*/ 32 w 145"/>
              <a:gd name="T25" fmla="*/ 82 h 146"/>
              <a:gd name="T26" fmla="*/ 35 w 145"/>
              <a:gd name="T27" fmla="*/ 87 h 146"/>
              <a:gd name="T28" fmla="*/ 104 w 145"/>
              <a:gd name="T29" fmla="*/ 90 h 146"/>
              <a:gd name="T30" fmla="*/ 111 w 145"/>
              <a:gd name="T31" fmla="*/ 85 h 146"/>
              <a:gd name="T32" fmla="*/ 120 w 145"/>
              <a:gd name="T33" fmla="*/ 37 h 146"/>
              <a:gd name="T34" fmla="*/ 108 w 145"/>
              <a:gd name="T35" fmla="*/ 100 h 146"/>
              <a:gd name="T36" fmla="*/ 107 w 145"/>
              <a:gd name="T37" fmla="*/ 95 h 146"/>
              <a:gd name="T38" fmla="*/ 38 w 145"/>
              <a:gd name="T39" fmla="*/ 95 h 146"/>
              <a:gd name="T40" fmla="*/ 36 w 145"/>
              <a:gd name="T41" fmla="*/ 97 h 146"/>
              <a:gd name="T42" fmla="*/ 59 w 145"/>
              <a:gd name="T43" fmla="*/ 127 h 146"/>
              <a:gd name="T44" fmla="*/ 104 w 145"/>
              <a:gd name="T45" fmla="*/ 117 h 146"/>
              <a:gd name="T46" fmla="*/ 108 w 145"/>
              <a:gd name="T47" fmla="*/ 103 h 146"/>
              <a:gd name="T48" fmla="*/ 99 w 145"/>
              <a:gd name="T49" fmla="*/ 35 h 146"/>
              <a:gd name="T50" fmla="*/ 88 w 145"/>
              <a:gd name="T51" fmla="*/ 37 h 146"/>
              <a:gd name="T52" fmla="*/ 51 w 145"/>
              <a:gd name="T53" fmla="*/ 37 h 146"/>
              <a:gd name="T54" fmla="*/ 41 w 145"/>
              <a:gd name="T55" fmla="*/ 32 h 146"/>
              <a:gd name="T56" fmla="*/ 48 w 145"/>
              <a:gd name="T57" fmla="*/ 28 h 146"/>
              <a:gd name="T58" fmla="*/ 91 w 145"/>
              <a:gd name="T59" fmla="*/ 27 h 146"/>
              <a:gd name="T60" fmla="*/ 100 w 145"/>
              <a:gd name="T61" fmla="*/ 29 h 146"/>
              <a:gd name="T62" fmla="*/ 87 w 145"/>
              <a:gd name="T63" fmla="*/ 69 h 146"/>
              <a:gd name="T64" fmla="*/ 74 w 145"/>
              <a:gd name="T65" fmla="*/ 86 h 146"/>
              <a:gd name="T66" fmla="*/ 57 w 145"/>
              <a:gd name="T67" fmla="*/ 72 h 146"/>
              <a:gd name="T68" fmla="*/ 66 w 145"/>
              <a:gd name="T69" fmla="*/ 57 h 146"/>
              <a:gd name="T70" fmla="*/ 87 w 145"/>
              <a:gd name="T71" fmla="*/ 69 h 146"/>
              <a:gd name="T72" fmla="*/ 76 w 145"/>
              <a:gd name="T73" fmla="*/ 64 h 146"/>
              <a:gd name="T74" fmla="*/ 65 w 145"/>
              <a:gd name="T75" fmla="*/ 71 h 146"/>
              <a:gd name="T76" fmla="*/ 76 w 145"/>
              <a:gd name="T77" fmla="*/ 7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5" h="146">
                <a:moveTo>
                  <a:pt x="145" y="28"/>
                </a:moveTo>
                <a:cubicBezTo>
                  <a:pt x="145" y="118"/>
                  <a:pt x="145" y="118"/>
                  <a:pt x="145" y="118"/>
                </a:cubicBezTo>
                <a:cubicBezTo>
                  <a:pt x="145" y="126"/>
                  <a:pt x="142" y="132"/>
                  <a:pt x="137" y="138"/>
                </a:cubicBezTo>
                <a:cubicBezTo>
                  <a:pt x="132" y="143"/>
                  <a:pt x="125" y="146"/>
                  <a:pt x="118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19" y="146"/>
                  <a:pt x="13" y="143"/>
                  <a:pt x="8" y="138"/>
                </a:cubicBezTo>
                <a:cubicBezTo>
                  <a:pt x="2" y="132"/>
                  <a:pt x="0" y="126"/>
                  <a:pt x="0" y="11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0"/>
                  <a:pt x="2" y="14"/>
                  <a:pt x="8" y="8"/>
                </a:cubicBezTo>
                <a:cubicBezTo>
                  <a:pt x="13" y="3"/>
                  <a:pt x="19" y="0"/>
                  <a:pt x="27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2" y="3"/>
                  <a:pt x="137" y="8"/>
                </a:cubicBezTo>
                <a:cubicBezTo>
                  <a:pt x="142" y="14"/>
                  <a:pt x="145" y="20"/>
                  <a:pt x="145" y="28"/>
                </a:cubicBezTo>
                <a:close/>
                <a:moveTo>
                  <a:pt x="120" y="37"/>
                </a:moveTo>
                <a:cubicBezTo>
                  <a:pt x="120" y="34"/>
                  <a:pt x="120" y="31"/>
                  <a:pt x="119" y="30"/>
                </a:cubicBezTo>
                <a:cubicBezTo>
                  <a:pt x="116" y="26"/>
                  <a:pt x="112" y="24"/>
                  <a:pt x="105" y="22"/>
                </a:cubicBezTo>
                <a:cubicBezTo>
                  <a:pt x="91" y="18"/>
                  <a:pt x="76" y="16"/>
                  <a:pt x="58" y="18"/>
                </a:cubicBezTo>
                <a:cubicBezTo>
                  <a:pt x="50" y="19"/>
                  <a:pt x="43" y="20"/>
                  <a:pt x="37" y="23"/>
                </a:cubicBezTo>
                <a:cubicBezTo>
                  <a:pt x="35" y="23"/>
                  <a:pt x="33" y="24"/>
                  <a:pt x="31" y="25"/>
                </a:cubicBezTo>
                <a:cubicBezTo>
                  <a:pt x="30" y="26"/>
                  <a:pt x="29" y="27"/>
                  <a:pt x="27" y="28"/>
                </a:cubicBezTo>
                <a:cubicBezTo>
                  <a:pt x="25" y="30"/>
                  <a:pt x="24" y="31"/>
                  <a:pt x="24" y="33"/>
                </a:cubicBezTo>
                <a:cubicBezTo>
                  <a:pt x="25" y="37"/>
                  <a:pt x="25" y="42"/>
                  <a:pt x="26" y="46"/>
                </a:cubicBezTo>
                <a:cubicBezTo>
                  <a:pt x="27" y="51"/>
                  <a:pt x="28" y="56"/>
                  <a:pt x="29" y="62"/>
                </a:cubicBezTo>
                <a:cubicBezTo>
                  <a:pt x="30" y="69"/>
                  <a:pt x="31" y="73"/>
                  <a:pt x="31" y="75"/>
                </a:cubicBezTo>
                <a:cubicBezTo>
                  <a:pt x="31" y="76"/>
                  <a:pt x="31" y="77"/>
                  <a:pt x="32" y="78"/>
                </a:cubicBezTo>
                <a:cubicBezTo>
                  <a:pt x="32" y="80"/>
                  <a:pt x="32" y="81"/>
                  <a:pt x="32" y="82"/>
                </a:cubicBezTo>
                <a:cubicBezTo>
                  <a:pt x="32" y="82"/>
                  <a:pt x="33" y="83"/>
                  <a:pt x="33" y="84"/>
                </a:cubicBezTo>
                <a:cubicBezTo>
                  <a:pt x="34" y="85"/>
                  <a:pt x="35" y="86"/>
                  <a:pt x="35" y="87"/>
                </a:cubicBezTo>
                <a:cubicBezTo>
                  <a:pt x="42" y="92"/>
                  <a:pt x="51" y="95"/>
                  <a:pt x="62" y="96"/>
                </a:cubicBezTo>
                <a:cubicBezTo>
                  <a:pt x="79" y="98"/>
                  <a:pt x="92" y="96"/>
                  <a:pt x="104" y="90"/>
                </a:cubicBezTo>
                <a:cubicBezTo>
                  <a:pt x="105" y="90"/>
                  <a:pt x="107" y="89"/>
                  <a:pt x="108" y="88"/>
                </a:cubicBezTo>
                <a:cubicBezTo>
                  <a:pt x="109" y="88"/>
                  <a:pt x="110" y="87"/>
                  <a:pt x="111" y="85"/>
                </a:cubicBezTo>
                <a:cubicBezTo>
                  <a:pt x="111" y="84"/>
                  <a:pt x="112" y="83"/>
                  <a:pt x="112" y="82"/>
                </a:cubicBezTo>
                <a:cubicBezTo>
                  <a:pt x="115" y="65"/>
                  <a:pt x="118" y="50"/>
                  <a:pt x="120" y="37"/>
                </a:cubicBezTo>
                <a:close/>
                <a:moveTo>
                  <a:pt x="108" y="103"/>
                </a:moveTo>
                <a:cubicBezTo>
                  <a:pt x="108" y="102"/>
                  <a:pt x="108" y="101"/>
                  <a:pt x="108" y="100"/>
                </a:cubicBezTo>
                <a:cubicBezTo>
                  <a:pt x="108" y="99"/>
                  <a:pt x="109" y="98"/>
                  <a:pt x="108" y="97"/>
                </a:cubicBezTo>
                <a:cubicBezTo>
                  <a:pt x="108" y="96"/>
                  <a:pt x="108" y="96"/>
                  <a:pt x="107" y="95"/>
                </a:cubicBezTo>
                <a:cubicBezTo>
                  <a:pt x="97" y="102"/>
                  <a:pt x="85" y="105"/>
                  <a:pt x="72" y="105"/>
                </a:cubicBezTo>
                <a:cubicBezTo>
                  <a:pt x="59" y="105"/>
                  <a:pt x="48" y="102"/>
                  <a:pt x="38" y="95"/>
                </a:cubicBezTo>
                <a:cubicBezTo>
                  <a:pt x="37" y="96"/>
                  <a:pt x="37" y="96"/>
                  <a:pt x="37" y="96"/>
                </a:cubicBezTo>
                <a:cubicBezTo>
                  <a:pt x="36" y="97"/>
                  <a:pt x="36" y="97"/>
                  <a:pt x="36" y="97"/>
                </a:cubicBezTo>
                <a:cubicBezTo>
                  <a:pt x="38" y="107"/>
                  <a:pt x="39" y="113"/>
                  <a:pt x="40" y="117"/>
                </a:cubicBezTo>
                <a:cubicBezTo>
                  <a:pt x="43" y="122"/>
                  <a:pt x="49" y="125"/>
                  <a:pt x="59" y="127"/>
                </a:cubicBezTo>
                <a:cubicBezTo>
                  <a:pt x="75" y="130"/>
                  <a:pt x="88" y="128"/>
                  <a:pt x="100" y="122"/>
                </a:cubicBezTo>
                <a:cubicBezTo>
                  <a:pt x="102" y="121"/>
                  <a:pt x="103" y="119"/>
                  <a:pt x="104" y="117"/>
                </a:cubicBezTo>
                <a:cubicBezTo>
                  <a:pt x="105" y="115"/>
                  <a:pt x="106" y="113"/>
                  <a:pt x="106" y="109"/>
                </a:cubicBezTo>
                <a:cubicBezTo>
                  <a:pt x="107" y="106"/>
                  <a:pt x="107" y="104"/>
                  <a:pt x="108" y="103"/>
                </a:cubicBezTo>
                <a:close/>
                <a:moveTo>
                  <a:pt x="104" y="32"/>
                </a:moveTo>
                <a:cubicBezTo>
                  <a:pt x="102" y="33"/>
                  <a:pt x="101" y="34"/>
                  <a:pt x="99" y="35"/>
                </a:cubicBezTo>
                <a:cubicBezTo>
                  <a:pt x="96" y="36"/>
                  <a:pt x="95" y="37"/>
                  <a:pt x="94" y="37"/>
                </a:cubicBezTo>
                <a:cubicBezTo>
                  <a:pt x="92" y="37"/>
                  <a:pt x="90" y="37"/>
                  <a:pt x="88" y="37"/>
                </a:cubicBezTo>
                <a:cubicBezTo>
                  <a:pt x="78" y="39"/>
                  <a:pt x="68" y="39"/>
                  <a:pt x="57" y="37"/>
                </a:cubicBezTo>
                <a:cubicBezTo>
                  <a:pt x="54" y="37"/>
                  <a:pt x="52" y="37"/>
                  <a:pt x="51" y="37"/>
                </a:cubicBezTo>
                <a:cubicBezTo>
                  <a:pt x="50" y="36"/>
                  <a:pt x="48" y="36"/>
                  <a:pt x="46" y="35"/>
                </a:cubicBezTo>
                <a:cubicBezTo>
                  <a:pt x="44" y="34"/>
                  <a:pt x="42" y="33"/>
                  <a:pt x="41" y="32"/>
                </a:cubicBezTo>
                <a:cubicBezTo>
                  <a:pt x="42" y="31"/>
                  <a:pt x="43" y="30"/>
                  <a:pt x="44" y="29"/>
                </a:cubicBezTo>
                <a:cubicBezTo>
                  <a:pt x="46" y="28"/>
                  <a:pt x="47" y="28"/>
                  <a:pt x="48" y="28"/>
                </a:cubicBezTo>
                <a:cubicBezTo>
                  <a:pt x="49" y="27"/>
                  <a:pt x="51" y="27"/>
                  <a:pt x="53" y="27"/>
                </a:cubicBezTo>
                <a:cubicBezTo>
                  <a:pt x="65" y="25"/>
                  <a:pt x="78" y="25"/>
                  <a:pt x="91" y="27"/>
                </a:cubicBezTo>
                <a:cubicBezTo>
                  <a:pt x="93" y="27"/>
                  <a:pt x="95" y="27"/>
                  <a:pt x="96" y="27"/>
                </a:cubicBezTo>
                <a:cubicBezTo>
                  <a:pt x="97" y="28"/>
                  <a:pt x="98" y="28"/>
                  <a:pt x="100" y="29"/>
                </a:cubicBezTo>
                <a:cubicBezTo>
                  <a:pt x="102" y="30"/>
                  <a:pt x="103" y="31"/>
                  <a:pt x="104" y="32"/>
                </a:cubicBezTo>
                <a:close/>
                <a:moveTo>
                  <a:pt x="87" y="69"/>
                </a:moveTo>
                <a:cubicBezTo>
                  <a:pt x="88" y="73"/>
                  <a:pt x="87" y="77"/>
                  <a:pt x="84" y="80"/>
                </a:cubicBezTo>
                <a:cubicBezTo>
                  <a:pt x="81" y="84"/>
                  <a:pt x="78" y="86"/>
                  <a:pt x="74" y="86"/>
                </a:cubicBezTo>
                <a:cubicBezTo>
                  <a:pt x="69" y="87"/>
                  <a:pt x="66" y="85"/>
                  <a:pt x="62" y="82"/>
                </a:cubicBezTo>
                <a:cubicBezTo>
                  <a:pt x="59" y="79"/>
                  <a:pt x="57" y="76"/>
                  <a:pt x="57" y="72"/>
                </a:cubicBezTo>
                <a:cubicBezTo>
                  <a:pt x="57" y="69"/>
                  <a:pt x="58" y="66"/>
                  <a:pt x="59" y="63"/>
                </a:cubicBezTo>
                <a:cubicBezTo>
                  <a:pt x="61" y="60"/>
                  <a:pt x="63" y="58"/>
                  <a:pt x="66" y="57"/>
                </a:cubicBezTo>
                <a:cubicBezTo>
                  <a:pt x="71" y="55"/>
                  <a:pt x="75" y="55"/>
                  <a:pt x="80" y="58"/>
                </a:cubicBezTo>
                <a:cubicBezTo>
                  <a:pt x="84" y="60"/>
                  <a:pt x="87" y="64"/>
                  <a:pt x="87" y="69"/>
                </a:cubicBezTo>
                <a:close/>
                <a:moveTo>
                  <a:pt x="80" y="70"/>
                </a:moveTo>
                <a:cubicBezTo>
                  <a:pt x="80" y="68"/>
                  <a:pt x="79" y="66"/>
                  <a:pt x="76" y="64"/>
                </a:cubicBezTo>
                <a:cubicBezTo>
                  <a:pt x="73" y="63"/>
                  <a:pt x="71" y="63"/>
                  <a:pt x="69" y="64"/>
                </a:cubicBezTo>
                <a:cubicBezTo>
                  <a:pt x="66" y="65"/>
                  <a:pt x="65" y="68"/>
                  <a:pt x="65" y="71"/>
                </a:cubicBezTo>
                <a:cubicBezTo>
                  <a:pt x="65" y="74"/>
                  <a:pt x="66" y="77"/>
                  <a:pt x="69" y="78"/>
                </a:cubicBezTo>
                <a:cubicBezTo>
                  <a:pt x="71" y="79"/>
                  <a:pt x="74" y="79"/>
                  <a:pt x="76" y="77"/>
                </a:cubicBezTo>
                <a:cubicBezTo>
                  <a:pt x="79" y="76"/>
                  <a:pt x="80" y="73"/>
                  <a:pt x="80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4" name="Freeform 375"/>
          <p:cNvSpPr>
            <a:spLocks noChangeAspect="1" noEditPoints="1"/>
          </p:cNvSpPr>
          <p:nvPr/>
        </p:nvSpPr>
        <p:spPr bwMode="auto">
          <a:xfrm>
            <a:off x="4909230" y="4344034"/>
            <a:ext cx="117098" cy="163938"/>
          </a:xfrm>
          <a:custGeom>
            <a:avLst/>
            <a:gdLst>
              <a:gd name="T0" fmla="*/ 93 w 114"/>
              <a:gd name="T1" fmla="*/ 73 h 158"/>
              <a:gd name="T2" fmla="*/ 113 w 114"/>
              <a:gd name="T3" fmla="*/ 103 h 158"/>
              <a:gd name="T4" fmla="*/ 104 w 114"/>
              <a:gd name="T5" fmla="*/ 123 h 158"/>
              <a:gd name="T6" fmla="*/ 84 w 114"/>
              <a:gd name="T7" fmla="*/ 132 h 158"/>
              <a:gd name="T8" fmla="*/ 70 w 114"/>
              <a:gd name="T9" fmla="*/ 158 h 158"/>
              <a:gd name="T10" fmla="*/ 55 w 114"/>
              <a:gd name="T11" fmla="*/ 134 h 158"/>
              <a:gd name="T12" fmla="*/ 44 w 114"/>
              <a:gd name="T13" fmla="*/ 158 h 158"/>
              <a:gd name="T14" fmla="*/ 29 w 114"/>
              <a:gd name="T15" fmla="*/ 134 h 158"/>
              <a:gd name="T16" fmla="*/ 19 w 114"/>
              <a:gd name="T17" fmla="*/ 133 h 158"/>
              <a:gd name="T18" fmla="*/ 3 w 114"/>
              <a:gd name="T19" fmla="*/ 116 h 158"/>
              <a:gd name="T20" fmla="*/ 19 w 114"/>
              <a:gd name="T21" fmla="*/ 111 h 158"/>
              <a:gd name="T22" fmla="*/ 20 w 114"/>
              <a:gd name="T23" fmla="*/ 73 h 158"/>
              <a:gd name="T24" fmla="*/ 19 w 114"/>
              <a:gd name="T25" fmla="*/ 46 h 158"/>
              <a:gd name="T26" fmla="*/ 0 w 114"/>
              <a:gd name="T27" fmla="*/ 40 h 158"/>
              <a:gd name="T28" fmla="*/ 20 w 114"/>
              <a:gd name="T29" fmla="*/ 24 h 158"/>
              <a:gd name="T30" fmla="*/ 29 w 114"/>
              <a:gd name="T31" fmla="*/ 0 h 158"/>
              <a:gd name="T32" fmla="*/ 44 w 114"/>
              <a:gd name="T33" fmla="*/ 24 h 158"/>
              <a:gd name="T34" fmla="*/ 55 w 114"/>
              <a:gd name="T35" fmla="*/ 0 h 158"/>
              <a:gd name="T36" fmla="*/ 70 w 114"/>
              <a:gd name="T37" fmla="*/ 24 h 158"/>
              <a:gd name="T38" fmla="*/ 94 w 114"/>
              <a:gd name="T39" fmla="*/ 31 h 158"/>
              <a:gd name="T40" fmla="*/ 105 w 114"/>
              <a:gd name="T41" fmla="*/ 49 h 158"/>
              <a:gd name="T42" fmla="*/ 77 w 114"/>
              <a:gd name="T43" fmla="*/ 50 h 158"/>
              <a:gd name="T44" fmla="*/ 69 w 114"/>
              <a:gd name="T45" fmla="*/ 43 h 158"/>
              <a:gd name="T46" fmla="*/ 58 w 114"/>
              <a:gd name="T47" fmla="*/ 41 h 158"/>
              <a:gd name="T48" fmla="*/ 48 w 114"/>
              <a:gd name="T49" fmla="*/ 41 h 158"/>
              <a:gd name="T50" fmla="*/ 44 w 114"/>
              <a:gd name="T51" fmla="*/ 70 h 158"/>
              <a:gd name="T52" fmla="*/ 52 w 114"/>
              <a:gd name="T53" fmla="*/ 70 h 158"/>
              <a:gd name="T54" fmla="*/ 62 w 114"/>
              <a:gd name="T55" fmla="*/ 69 h 158"/>
              <a:gd name="T56" fmla="*/ 71 w 114"/>
              <a:gd name="T57" fmla="*/ 66 h 158"/>
              <a:gd name="T58" fmla="*/ 77 w 114"/>
              <a:gd name="T59" fmla="*/ 60 h 158"/>
              <a:gd name="T60" fmla="*/ 85 w 114"/>
              <a:gd name="T61" fmla="*/ 100 h 158"/>
              <a:gd name="T62" fmla="*/ 80 w 114"/>
              <a:gd name="T63" fmla="*/ 90 h 158"/>
              <a:gd name="T64" fmla="*/ 68 w 114"/>
              <a:gd name="T65" fmla="*/ 85 h 158"/>
              <a:gd name="T66" fmla="*/ 55 w 114"/>
              <a:gd name="T67" fmla="*/ 84 h 158"/>
              <a:gd name="T68" fmla="*/ 44 w 114"/>
              <a:gd name="T69" fmla="*/ 84 h 158"/>
              <a:gd name="T70" fmla="*/ 47 w 114"/>
              <a:gd name="T71" fmla="*/ 116 h 158"/>
              <a:gd name="T72" fmla="*/ 57 w 114"/>
              <a:gd name="T73" fmla="*/ 116 h 158"/>
              <a:gd name="T74" fmla="*/ 68 w 114"/>
              <a:gd name="T75" fmla="*/ 115 h 158"/>
              <a:gd name="T76" fmla="*/ 78 w 114"/>
              <a:gd name="T77" fmla="*/ 112 h 158"/>
              <a:gd name="T78" fmla="*/ 84 w 114"/>
              <a:gd name="T79" fmla="*/ 105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4" h="158">
                <a:moveTo>
                  <a:pt x="105" y="49"/>
                </a:moveTo>
                <a:cubicBezTo>
                  <a:pt x="106" y="60"/>
                  <a:pt x="102" y="68"/>
                  <a:pt x="93" y="73"/>
                </a:cubicBezTo>
                <a:cubicBezTo>
                  <a:pt x="100" y="75"/>
                  <a:pt x="105" y="78"/>
                  <a:pt x="109" y="83"/>
                </a:cubicBezTo>
                <a:cubicBezTo>
                  <a:pt x="113" y="88"/>
                  <a:pt x="114" y="94"/>
                  <a:pt x="113" y="103"/>
                </a:cubicBezTo>
                <a:cubicBezTo>
                  <a:pt x="113" y="108"/>
                  <a:pt x="112" y="111"/>
                  <a:pt x="110" y="115"/>
                </a:cubicBezTo>
                <a:cubicBezTo>
                  <a:pt x="109" y="118"/>
                  <a:pt x="107" y="121"/>
                  <a:pt x="104" y="123"/>
                </a:cubicBezTo>
                <a:cubicBezTo>
                  <a:pt x="102" y="126"/>
                  <a:pt x="99" y="127"/>
                  <a:pt x="95" y="129"/>
                </a:cubicBezTo>
                <a:cubicBezTo>
                  <a:pt x="91" y="130"/>
                  <a:pt x="88" y="131"/>
                  <a:pt x="84" y="132"/>
                </a:cubicBezTo>
                <a:cubicBezTo>
                  <a:pt x="80" y="133"/>
                  <a:pt x="75" y="133"/>
                  <a:pt x="70" y="134"/>
                </a:cubicBezTo>
                <a:cubicBezTo>
                  <a:pt x="70" y="158"/>
                  <a:pt x="70" y="158"/>
                  <a:pt x="70" y="158"/>
                </a:cubicBezTo>
                <a:cubicBezTo>
                  <a:pt x="55" y="158"/>
                  <a:pt x="55" y="158"/>
                  <a:pt x="55" y="158"/>
                </a:cubicBezTo>
                <a:cubicBezTo>
                  <a:pt x="55" y="134"/>
                  <a:pt x="55" y="134"/>
                  <a:pt x="55" y="134"/>
                </a:cubicBezTo>
                <a:cubicBezTo>
                  <a:pt x="50" y="134"/>
                  <a:pt x="46" y="134"/>
                  <a:pt x="44" y="134"/>
                </a:cubicBezTo>
                <a:cubicBezTo>
                  <a:pt x="44" y="158"/>
                  <a:pt x="44" y="158"/>
                  <a:pt x="44" y="158"/>
                </a:cubicBezTo>
                <a:cubicBezTo>
                  <a:pt x="29" y="158"/>
                  <a:pt x="29" y="158"/>
                  <a:pt x="29" y="158"/>
                </a:cubicBezTo>
                <a:cubicBezTo>
                  <a:pt x="29" y="134"/>
                  <a:pt x="29" y="134"/>
                  <a:pt x="29" y="134"/>
                </a:cubicBezTo>
                <a:cubicBezTo>
                  <a:pt x="28" y="134"/>
                  <a:pt x="26" y="134"/>
                  <a:pt x="24" y="133"/>
                </a:cubicBezTo>
                <a:cubicBezTo>
                  <a:pt x="22" y="133"/>
                  <a:pt x="20" y="133"/>
                  <a:pt x="19" y="133"/>
                </a:cubicBezTo>
                <a:cubicBezTo>
                  <a:pt x="0" y="133"/>
                  <a:pt x="0" y="133"/>
                  <a:pt x="0" y="133"/>
                </a:cubicBezTo>
                <a:cubicBezTo>
                  <a:pt x="3" y="116"/>
                  <a:pt x="3" y="116"/>
                  <a:pt x="3" y="116"/>
                </a:cubicBezTo>
                <a:cubicBezTo>
                  <a:pt x="13" y="116"/>
                  <a:pt x="13" y="116"/>
                  <a:pt x="13" y="116"/>
                </a:cubicBezTo>
                <a:cubicBezTo>
                  <a:pt x="16" y="116"/>
                  <a:pt x="18" y="115"/>
                  <a:pt x="19" y="111"/>
                </a:cubicBezTo>
                <a:cubicBezTo>
                  <a:pt x="19" y="73"/>
                  <a:pt x="19" y="73"/>
                  <a:pt x="19" y="73"/>
                </a:cubicBezTo>
                <a:cubicBezTo>
                  <a:pt x="20" y="73"/>
                  <a:pt x="20" y="73"/>
                  <a:pt x="20" y="73"/>
                </a:cubicBezTo>
                <a:cubicBezTo>
                  <a:pt x="20" y="73"/>
                  <a:pt x="19" y="73"/>
                  <a:pt x="19" y="73"/>
                </a:cubicBezTo>
                <a:cubicBezTo>
                  <a:pt x="19" y="46"/>
                  <a:pt x="19" y="46"/>
                  <a:pt x="19" y="46"/>
                </a:cubicBezTo>
                <a:cubicBezTo>
                  <a:pt x="18" y="42"/>
                  <a:pt x="15" y="40"/>
                  <a:pt x="10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24"/>
                  <a:pt x="0" y="24"/>
                  <a:pt x="0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4" y="24"/>
                  <a:pt x="27" y="24"/>
                  <a:pt x="29" y="24"/>
                </a:cubicBezTo>
                <a:cubicBezTo>
                  <a:pt x="29" y="0"/>
                  <a:pt x="29" y="0"/>
                  <a:pt x="29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24"/>
                  <a:pt x="44" y="24"/>
                  <a:pt x="44" y="24"/>
                </a:cubicBezTo>
                <a:cubicBezTo>
                  <a:pt x="49" y="24"/>
                  <a:pt x="53" y="23"/>
                  <a:pt x="55" y="23"/>
                </a:cubicBezTo>
                <a:cubicBezTo>
                  <a:pt x="55" y="0"/>
                  <a:pt x="55" y="0"/>
                  <a:pt x="55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0" y="24"/>
                  <a:pt x="70" y="24"/>
                  <a:pt x="70" y="24"/>
                </a:cubicBezTo>
                <a:cubicBezTo>
                  <a:pt x="75" y="25"/>
                  <a:pt x="79" y="25"/>
                  <a:pt x="83" y="26"/>
                </a:cubicBezTo>
                <a:cubicBezTo>
                  <a:pt x="87" y="27"/>
                  <a:pt x="90" y="29"/>
                  <a:pt x="94" y="31"/>
                </a:cubicBezTo>
                <a:cubicBezTo>
                  <a:pt x="97" y="32"/>
                  <a:pt x="100" y="35"/>
                  <a:pt x="101" y="38"/>
                </a:cubicBezTo>
                <a:cubicBezTo>
                  <a:pt x="103" y="41"/>
                  <a:pt x="105" y="45"/>
                  <a:pt x="105" y="49"/>
                </a:cubicBezTo>
                <a:close/>
                <a:moveTo>
                  <a:pt x="78" y="55"/>
                </a:moveTo>
                <a:cubicBezTo>
                  <a:pt x="78" y="53"/>
                  <a:pt x="77" y="51"/>
                  <a:pt x="77" y="50"/>
                </a:cubicBezTo>
                <a:cubicBezTo>
                  <a:pt x="76" y="48"/>
                  <a:pt x="75" y="47"/>
                  <a:pt x="74" y="46"/>
                </a:cubicBezTo>
                <a:cubicBezTo>
                  <a:pt x="73" y="45"/>
                  <a:pt x="71" y="44"/>
                  <a:pt x="69" y="43"/>
                </a:cubicBezTo>
                <a:cubicBezTo>
                  <a:pt x="67" y="42"/>
                  <a:pt x="66" y="42"/>
                  <a:pt x="64" y="42"/>
                </a:cubicBezTo>
                <a:cubicBezTo>
                  <a:pt x="63" y="41"/>
                  <a:pt x="61" y="41"/>
                  <a:pt x="58" y="41"/>
                </a:cubicBezTo>
                <a:cubicBezTo>
                  <a:pt x="56" y="41"/>
                  <a:pt x="54" y="41"/>
                  <a:pt x="53" y="41"/>
                </a:cubicBezTo>
                <a:cubicBezTo>
                  <a:pt x="51" y="41"/>
                  <a:pt x="50" y="41"/>
                  <a:pt x="48" y="41"/>
                </a:cubicBezTo>
                <a:cubicBezTo>
                  <a:pt x="46" y="41"/>
                  <a:pt x="44" y="41"/>
                  <a:pt x="44" y="41"/>
                </a:cubicBezTo>
                <a:cubicBezTo>
                  <a:pt x="44" y="70"/>
                  <a:pt x="44" y="70"/>
                  <a:pt x="44" y="70"/>
                </a:cubicBezTo>
                <a:cubicBezTo>
                  <a:pt x="44" y="70"/>
                  <a:pt x="45" y="70"/>
                  <a:pt x="47" y="70"/>
                </a:cubicBezTo>
                <a:cubicBezTo>
                  <a:pt x="49" y="70"/>
                  <a:pt x="51" y="70"/>
                  <a:pt x="52" y="70"/>
                </a:cubicBezTo>
                <a:cubicBezTo>
                  <a:pt x="53" y="70"/>
                  <a:pt x="54" y="70"/>
                  <a:pt x="56" y="70"/>
                </a:cubicBezTo>
                <a:cubicBezTo>
                  <a:pt x="58" y="69"/>
                  <a:pt x="60" y="69"/>
                  <a:pt x="62" y="69"/>
                </a:cubicBezTo>
                <a:cubicBezTo>
                  <a:pt x="63" y="69"/>
                  <a:pt x="65" y="68"/>
                  <a:pt x="66" y="68"/>
                </a:cubicBezTo>
                <a:cubicBezTo>
                  <a:pt x="68" y="68"/>
                  <a:pt x="70" y="67"/>
                  <a:pt x="71" y="66"/>
                </a:cubicBezTo>
                <a:cubicBezTo>
                  <a:pt x="72" y="66"/>
                  <a:pt x="73" y="65"/>
                  <a:pt x="74" y="64"/>
                </a:cubicBezTo>
                <a:cubicBezTo>
                  <a:pt x="76" y="63"/>
                  <a:pt x="76" y="62"/>
                  <a:pt x="77" y="60"/>
                </a:cubicBezTo>
                <a:cubicBezTo>
                  <a:pt x="78" y="59"/>
                  <a:pt x="78" y="57"/>
                  <a:pt x="78" y="55"/>
                </a:cubicBezTo>
                <a:close/>
                <a:moveTo>
                  <a:pt x="85" y="100"/>
                </a:moveTo>
                <a:cubicBezTo>
                  <a:pt x="85" y="98"/>
                  <a:pt x="84" y="96"/>
                  <a:pt x="83" y="94"/>
                </a:cubicBezTo>
                <a:cubicBezTo>
                  <a:pt x="82" y="92"/>
                  <a:pt x="81" y="91"/>
                  <a:pt x="80" y="90"/>
                </a:cubicBezTo>
                <a:cubicBezTo>
                  <a:pt x="78" y="89"/>
                  <a:pt x="76" y="88"/>
                  <a:pt x="74" y="87"/>
                </a:cubicBezTo>
                <a:cubicBezTo>
                  <a:pt x="72" y="86"/>
                  <a:pt x="70" y="86"/>
                  <a:pt x="68" y="85"/>
                </a:cubicBezTo>
                <a:cubicBezTo>
                  <a:pt x="66" y="85"/>
                  <a:pt x="64" y="85"/>
                  <a:pt x="61" y="84"/>
                </a:cubicBezTo>
                <a:cubicBezTo>
                  <a:pt x="58" y="84"/>
                  <a:pt x="56" y="84"/>
                  <a:pt x="55" y="84"/>
                </a:cubicBezTo>
                <a:cubicBezTo>
                  <a:pt x="53" y="84"/>
                  <a:pt x="51" y="84"/>
                  <a:pt x="48" y="84"/>
                </a:cubicBezTo>
                <a:cubicBezTo>
                  <a:pt x="46" y="84"/>
                  <a:pt x="44" y="84"/>
                  <a:pt x="44" y="84"/>
                </a:cubicBezTo>
                <a:cubicBezTo>
                  <a:pt x="44" y="116"/>
                  <a:pt x="44" y="116"/>
                  <a:pt x="44" y="116"/>
                </a:cubicBezTo>
                <a:cubicBezTo>
                  <a:pt x="44" y="116"/>
                  <a:pt x="46" y="116"/>
                  <a:pt x="47" y="116"/>
                </a:cubicBezTo>
                <a:cubicBezTo>
                  <a:pt x="49" y="116"/>
                  <a:pt x="51" y="116"/>
                  <a:pt x="52" y="116"/>
                </a:cubicBezTo>
                <a:cubicBezTo>
                  <a:pt x="53" y="116"/>
                  <a:pt x="55" y="116"/>
                  <a:pt x="57" y="116"/>
                </a:cubicBezTo>
                <a:cubicBezTo>
                  <a:pt x="59" y="116"/>
                  <a:pt x="61" y="116"/>
                  <a:pt x="63" y="116"/>
                </a:cubicBezTo>
                <a:cubicBezTo>
                  <a:pt x="64" y="116"/>
                  <a:pt x="66" y="115"/>
                  <a:pt x="68" y="115"/>
                </a:cubicBezTo>
                <a:cubicBezTo>
                  <a:pt x="70" y="115"/>
                  <a:pt x="72" y="114"/>
                  <a:pt x="73" y="114"/>
                </a:cubicBezTo>
                <a:cubicBezTo>
                  <a:pt x="75" y="113"/>
                  <a:pt x="76" y="112"/>
                  <a:pt x="78" y="112"/>
                </a:cubicBezTo>
                <a:cubicBezTo>
                  <a:pt x="79" y="111"/>
                  <a:pt x="80" y="110"/>
                  <a:pt x="81" y="109"/>
                </a:cubicBezTo>
                <a:cubicBezTo>
                  <a:pt x="82" y="108"/>
                  <a:pt x="83" y="107"/>
                  <a:pt x="84" y="105"/>
                </a:cubicBezTo>
                <a:cubicBezTo>
                  <a:pt x="84" y="104"/>
                  <a:pt x="85" y="102"/>
                  <a:pt x="85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5" name="Freeform 376"/>
          <p:cNvSpPr>
            <a:spLocks noChangeAspect="1"/>
          </p:cNvSpPr>
          <p:nvPr/>
        </p:nvSpPr>
        <p:spPr bwMode="auto">
          <a:xfrm>
            <a:off x="5116884" y="4344034"/>
            <a:ext cx="87433" cy="163938"/>
          </a:xfrm>
          <a:custGeom>
            <a:avLst/>
            <a:gdLst>
              <a:gd name="T0" fmla="*/ 84 w 85"/>
              <a:gd name="T1" fmla="*/ 42 h 158"/>
              <a:gd name="T2" fmla="*/ 85 w 85"/>
              <a:gd name="T3" fmla="*/ 46 h 158"/>
              <a:gd name="T4" fmla="*/ 34 w 85"/>
              <a:gd name="T5" fmla="*/ 155 h 158"/>
              <a:gd name="T6" fmla="*/ 30 w 85"/>
              <a:gd name="T7" fmla="*/ 158 h 158"/>
              <a:gd name="T8" fmla="*/ 28 w 85"/>
              <a:gd name="T9" fmla="*/ 157 h 158"/>
              <a:gd name="T10" fmla="*/ 26 w 85"/>
              <a:gd name="T11" fmla="*/ 156 h 158"/>
              <a:gd name="T12" fmla="*/ 25 w 85"/>
              <a:gd name="T13" fmla="*/ 153 h 158"/>
              <a:gd name="T14" fmla="*/ 44 w 85"/>
              <a:gd name="T15" fmla="*/ 76 h 158"/>
              <a:gd name="T16" fmla="*/ 6 w 85"/>
              <a:gd name="T17" fmla="*/ 86 h 158"/>
              <a:gd name="T18" fmla="*/ 5 w 85"/>
              <a:gd name="T19" fmla="*/ 86 h 158"/>
              <a:gd name="T20" fmla="*/ 2 w 85"/>
              <a:gd name="T21" fmla="*/ 85 h 158"/>
              <a:gd name="T22" fmla="*/ 0 w 85"/>
              <a:gd name="T23" fmla="*/ 81 h 158"/>
              <a:gd name="T24" fmla="*/ 19 w 85"/>
              <a:gd name="T25" fmla="*/ 3 h 158"/>
              <a:gd name="T26" fmla="*/ 21 w 85"/>
              <a:gd name="T27" fmla="*/ 1 h 158"/>
              <a:gd name="T28" fmla="*/ 24 w 85"/>
              <a:gd name="T29" fmla="*/ 0 h 158"/>
              <a:gd name="T30" fmla="*/ 55 w 85"/>
              <a:gd name="T31" fmla="*/ 0 h 158"/>
              <a:gd name="T32" fmla="*/ 58 w 85"/>
              <a:gd name="T33" fmla="*/ 1 h 158"/>
              <a:gd name="T34" fmla="*/ 59 w 85"/>
              <a:gd name="T35" fmla="*/ 4 h 158"/>
              <a:gd name="T36" fmla="*/ 58 w 85"/>
              <a:gd name="T37" fmla="*/ 6 h 158"/>
              <a:gd name="T38" fmla="*/ 42 w 85"/>
              <a:gd name="T39" fmla="*/ 50 h 158"/>
              <a:gd name="T40" fmla="*/ 80 w 85"/>
              <a:gd name="T41" fmla="*/ 40 h 158"/>
              <a:gd name="T42" fmla="*/ 81 w 85"/>
              <a:gd name="T43" fmla="*/ 40 h 158"/>
              <a:gd name="T44" fmla="*/ 84 w 85"/>
              <a:gd name="T45" fmla="*/ 42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5" h="158">
                <a:moveTo>
                  <a:pt x="84" y="42"/>
                </a:moveTo>
                <a:cubicBezTo>
                  <a:pt x="85" y="43"/>
                  <a:pt x="85" y="44"/>
                  <a:pt x="85" y="46"/>
                </a:cubicBezTo>
                <a:cubicBezTo>
                  <a:pt x="34" y="155"/>
                  <a:pt x="34" y="155"/>
                  <a:pt x="34" y="155"/>
                </a:cubicBezTo>
                <a:cubicBezTo>
                  <a:pt x="33" y="157"/>
                  <a:pt x="31" y="158"/>
                  <a:pt x="30" y="158"/>
                </a:cubicBezTo>
                <a:cubicBezTo>
                  <a:pt x="29" y="158"/>
                  <a:pt x="29" y="158"/>
                  <a:pt x="28" y="157"/>
                </a:cubicBezTo>
                <a:cubicBezTo>
                  <a:pt x="27" y="157"/>
                  <a:pt x="26" y="157"/>
                  <a:pt x="26" y="156"/>
                </a:cubicBezTo>
                <a:cubicBezTo>
                  <a:pt x="25" y="155"/>
                  <a:pt x="25" y="154"/>
                  <a:pt x="25" y="153"/>
                </a:cubicBezTo>
                <a:cubicBezTo>
                  <a:pt x="44" y="76"/>
                  <a:pt x="44" y="76"/>
                  <a:pt x="44" y="76"/>
                </a:cubicBezTo>
                <a:cubicBezTo>
                  <a:pt x="6" y="86"/>
                  <a:pt x="6" y="86"/>
                  <a:pt x="6" y="86"/>
                </a:cubicBezTo>
                <a:cubicBezTo>
                  <a:pt x="5" y="86"/>
                  <a:pt x="5" y="86"/>
                  <a:pt x="5" y="86"/>
                </a:cubicBezTo>
                <a:cubicBezTo>
                  <a:pt x="3" y="86"/>
                  <a:pt x="2" y="86"/>
                  <a:pt x="2" y="85"/>
                </a:cubicBezTo>
                <a:cubicBezTo>
                  <a:pt x="1" y="84"/>
                  <a:pt x="0" y="83"/>
                  <a:pt x="0" y="81"/>
                </a:cubicBezTo>
                <a:cubicBezTo>
                  <a:pt x="19" y="3"/>
                  <a:pt x="19" y="3"/>
                  <a:pt x="19" y="3"/>
                </a:cubicBezTo>
                <a:cubicBezTo>
                  <a:pt x="20" y="2"/>
                  <a:pt x="20" y="2"/>
                  <a:pt x="21" y="1"/>
                </a:cubicBezTo>
                <a:cubicBezTo>
                  <a:pt x="22" y="1"/>
                  <a:pt x="23" y="0"/>
                  <a:pt x="24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6" y="0"/>
                  <a:pt x="57" y="1"/>
                  <a:pt x="58" y="1"/>
                </a:cubicBezTo>
                <a:cubicBezTo>
                  <a:pt x="58" y="2"/>
                  <a:pt x="59" y="3"/>
                  <a:pt x="59" y="4"/>
                </a:cubicBezTo>
                <a:cubicBezTo>
                  <a:pt x="59" y="5"/>
                  <a:pt x="59" y="5"/>
                  <a:pt x="58" y="6"/>
                </a:cubicBezTo>
                <a:cubicBezTo>
                  <a:pt x="42" y="50"/>
                  <a:pt x="42" y="50"/>
                  <a:pt x="42" y="50"/>
                </a:cubicBezTo>
                <a:cubicBezTo>
                  <a:pt x="80" y="40"/>
                  <a:pt x="80" y="40"/>
                  <a:pt x="80" y="40"/>
                </a:cubicBezTo>
                <a:cubicBezTo>
                  <a:pt x="80" y="40"/>
                  <a:pt x="81" y="40"/>
                  <a:pt x="81" y="40"/>
                </a:cubicBezTo>
                <a:cubicBezTo>
                  <a:pt x="82" y="40"/>
                  <a:pt x="83" y="41"/>
                  <a:pt x="84" y="4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6" name="Freeform 377"/>
          <p:cNvSpPr>
            <a:spLocks noChangeAspect="1" noEditPoints="1"/>
          </p:cNvSpPr>
          <p:nvPr/>
        </p:nvSpPr>
        <p:spPr bwMode="auto">
          <a:xfrm>
            <a:off x="5291750" y="4331544"/>
            <a:ext cx="174866" cy="176428"/>
          </a:xfrm>
          <a:custGeom>
            <a:avLst/>
            <a:gdLst>
              <a:gd name="T0" fmla="*/ 147 w 169"/>
              <a:gd name="T1" fmla="*/ 27 h 170"/>
              <a:gd name="T2" fmla="*/ 131 w 169"/>
              <a:gd name="T3" fmla="*/ 56 h 170"/>
              <a:gd name="T4" fmla="*/ 131 w 169"/>
              <a:gd name="T5" fmla="*/ 65 h 170"/>
              <a:gd name="T6" fmla="*/ 133 w 169"/>
              <a:gd name="T7" fmla="*/ 103 h 170"/>
              <a:gd name="T8" fmla="*/ 113 w 169"/>
              <a:gd name="T9" fmla="*/ 150 h 170"/>
              <a:gd name="T10" fmla="*/ 66 w 169"/>
              <a:gd name="T11" fmla="*/ 170 h 170"/>
              <a:gd name="T12" fmla="*/ 19 w 169"/>
              <a:gd name="T13" fmla="*/ 150 h 170"/>
              <a:gd name="T14" fmla="*/ 0 w 169"/>
              <a:gd name="T15" fmla="*/ 103 h 170"/>
              <a:gd name="T16" fmla="*/ 19 w 169"/>
              <a:gd name="T17" fmla="*/ 56 h 170"/>
              <a:gd name="T18" fmla="*/ 66 w 169"/>
              <a:gd name="T19" fmla="*/ 37 h 170"/>
              <a:gd name="T20" fmla="*/ 105 w 169"/>
              <a:gd name="T21" fmla="*/ 39 h 170"/>
              <a:gd name="T22" fmla="*/ 113 w 169"/>
              <a:gd name="T23" fmla="*/ 39 h 170"/>
              <a:gd name="T24" fmla="*/ 143 w 169"/>
              <a:gd name="T25" fmla="*/ 22 h 170"/>
              <a:gd name="T26" fmla="*/ 54 w 169"/>
              <a:gd name="T27" fmla="*/ 56 h 170"/>
              <a:gd name="T28" fmla="*/ 46 w 169"/>
              <a:gd name="T29" fmla="*/ 53 h 170"/>
              <a:gd name="T30" fmla="*/ 16 w 169"/>
              <a:gd name="T31" fmla="*/ 83 h 170"/>
              <a:gd name="T32" fmla="*/ 19 w 169"/>
              <a:gd name="T33" fmla="*/ 90 h 170"/>
              <a:gd name="T34" fmla="*/ 27 w 169"/>
              <a:gd name="T35" fmla="*/ 87 h 170"/>
              <a:gd name="T36" fmla="*/ 50 w 169"/>
              <a:gd name="T37" fmla="*/ 64 h 170"/>
              <a:gd name="T38" fmla="*/ 144 w 169"/>
              <a:gd name="T39" fmla="*/ 17 h 170"/>
              <a:gd name="T40" fmla="*/ 139 w 169"/>
              <a:gd name="T41" fmla="*/ 17 h 170"/>
              <a:gd name="T42" fmla="*/ 130 w 169"/>
              <a:gd name="T43" fmla="*/ 6 h 170"/>
              <a:gd name="T44" fmla="*/ 133 w 169"/>
              <a:gd name="T45" fmla="*/ 3 h 170"/>
              <a:gd name="T46" fmla="*/ 144 w 169"/>
              <a:gd name="T47" fmla="*/ 13 h 170"/>
              <a:gd name="T48" fmla="*/ 144 w 169"/>
              <a:gd name="T49" fmla="*/ 17 h 170"/>
              <a:gd name="T50" fmla="*/ 151 w 169"/>
              <a:gd name="T51" fmla="*/ 12 h 170"/>
              <a:gd name="T52" fmla="*/ 148 w 169"/>
              <a:gd name="T53" fmla="*/ 15 h 170"/>
              <a:gd name="T54" fmla="*/ 145 w 169"/>
              <a:gd name="T55" fmla="*/ 12 h 170"/>
              <a:gd name="T56" fmla="*/ 146 w 169"/>
              <a:gd name="T57" fmla="*/ 1 h 170"/>
              <a:gd name="T58" fmla="*/ 150 w 169"/>
              <a:gd name="T59" fmla="*/ 1 h 170"/>
              <a:gd name="T60" fmla="*/ 165 w 169"/>
              <a:gd name="T61" fmla="*/ 8 h 170"/>
              <a:gd name="T62" fmla="*/ 155 w 169"/>
              <a:gd name="T63" fmla="*/ 18 h 170"/>
              <a:gd name="T64" fmla="*/ 151 w 169"/>
              <a:gd name="T65" fmla="*/ 15 h 170"/>
              <a:gd name="T66" fmla="*/ 161 w 169"/>
              <a:gd name="T67" fmla="*/ 4 h 170"/>
              <a:gd name="T68" fmla="*/ 165 w 169"/>
              <a:gd name="T69" fmla="*/ 4 h 170"/>
              <a:gd name="T70" fmla="*/ 165 w 169"/>
              <a:gd name="T71" fmla="*/ 8 h 170"/>
              <a:gd name="T72" fmla="*/ 163 w 169"/>
              <a:gd name="T73" fmla="*/ 40 h 170"/>
              <a:gd name="T74" fmla="*/ 152 w 169"/>
              <a:gd name="T75" fmla="*/ 30 h 170"/>
              <a:gd name="T76" fmla="*/ 152 w 169"/>
              <a:gd name="T77" fmla="*/ 26 h 170"/>
              <a:gd name="T78" fmla="*/ 157 w 169"/>
              <a:gd name="T79" fmla="*/ 26 h 170"/>
              <a:gd name="T80" fmla="*/ 166 w 169"/>
              <a:gd name="T81" fmla="*/ 37 h 170"/>
              <a:gd name="T82" fmla="*/ 168 w 169"/>
              <a:gd name="T83" fmla="*/ 19 h 170"/>
              <a:gd name="T84" fmla="*/ 168 w 169"/>
              <a:gd name="T85" fmla="*/ 24 h 170"/>
              <a:gd name="T86" fmla="*/ 157 w 169"/>
              <a:gd name="T87" fmla="*/ 24 h 170"/>
              <a:gd name="T88" fmla="*/ 154 w 169"/>
              <a:gd name="T89" fmla="*/ 21 h 170"/>
              <a:gd name="T90" fmla="*/ 157 w 169"/>
              <a:gd name="T91" fmla="*/ 18 h 170"/>
              <a:gd name="T92" fmla="*/ 168 w 169"/>
              <a:gd name="T93" fmla="*/ 1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9" h="170">
                <a:moveTo>
                  <a:pt x="143" y="22"/>
                </a:moveTo>
                <a:cubicBezTo>
                  <a:pt x="147" y="27"/>
                  <a:pt x="147" y="27"/>
                  <a:pt x="147" y="27"/>
                </a:cubicBezTo>
                <a:cubicBezTo>
                  <a:pt x="124" y="50"/>
                  <a:pt x="124" y="50"/>
                  <a:pt x="124" y="50"/>
                </a:cubicBezTo>
                <a:cubicBezTo>
                  <a:pt x="131" y="56"/>
                  <a:pt x="131" y="56"/>
                  <a:pt x="131" y="56"/>
                </a:cubicBezTo>
                <a:cubicBezTo>
                  <a:pt x="132" y="57"/>
                  <a:pt x="132" y="59"/>
                  <a:pt x="132" y="60"/>
                </a:cubicBezTo>
                <a:cubicBezTo>
                  <a:pt x="132" y="62"/>
                  <a:pt x="132" y="63"/>
                  <a:pt x="131" y="65"/>
                </a:cubicBezTo>
                <a:cubicBezTo>
                  <a:pt x="124" y="71"/>
                  <a:pt x="124" y="71"/>
                  <a:pt x="124" y="71"/>
                </a:cubicBezTo>
                <a:cubicBezTo>
                  <a:pt x="130" y="81"/>
                  <a:pt x="133" y="92"/>
                  <a:pt x="133" y="103"/>
                </a:cubicBezTo>
                <a:cubicBezTo>
                  <a:pt x="133" y="112"/>
                  <a:pt x="131" y="121"/>
                  <a:pt x="128" y="129"/>
                </a:cubicBezTo>
                <a:cubicBezTo>
                  <a:pt x="124" y="137"/>
                  <a:pt x="119" y="144"/>
                  <a:pt x="113" y="150"/>
                </a:cubicBezTo>
                <a:cubicBezTo>
                  <a:pt x="107" y="156"/>
                  <a:pt x="100" y="161"/>
                  <a:pt x="92" y="164"/>
                </a:cubicBezTo>
                <a:cubicBezTo>
                  <a:pt x="84" y="168"/>
                  <a:pt x="75" y="170"/>
                  <a:pt x="66" y="170"/>
                </a:cubicBezTo>
                <a:cubicBezTo>
                  <a:pt x="57" y="170"/>
                  <a:pt x="49" y="168"/>
                  <a:pt x="40" y="164"/>
                </a:cubicBezTo>
                <a:cubicBezTo>
                  <a:pt x="32" y="161"/>
                  <a:pt x="25" y="156"/>
                  <a:pt x="19" y="150"/>
                </a:cubicBezTo>
                <a:cubicBezTo>
                  <a:pt x="13" y="144"/>
                  <a:pt x="9" y="137"/>
                  <a:pt x="5" y="129"/>
                </a:cubicBezTo>
                <a:cubicBezTo>
                  <a:pt x="2" y="121"/>
                  <a:pt x="0" y="112"/>
                  <a:pt x="0" y="103"/>
                </a:cubicBezTo>
                <a:cubicBezTo>
                  <a:pt x="0" y="94"/>
                  <a:pt x="2" y="85"/>
                  <a:pt x="5" y="77"/>
                </a:cubicBezTo>
                <a:cubicBezTo>
                  <a:pt x="9" y="69"/>
                  <a:pt x="13" y="62"/>
                  <a:pt x="19" y="56"/>
                </a:cubicBezTo>
                <a:cubicBezTo>
                  <a:pt x="25" y="50"/>
                  <a:pt x="32" y="45"/>
                  <a:pt x="40" y="42"/>
                </a:cubicBezTo>
                <a:cubicBezTo>
                  <a:pt x="49" y="38"/>
                  <a:pt x="57" y="37"/>
                  <a:pt x="66" y="37"/>
                </a:cubicBezTo>
                <a:cubicBezTo>
                  <a:pt x="78" y="37"/>
                  <a:pt x="89" y="39"/>
                  <a:pt x="99" y="45"/>
                </a:cubicBezTo>
                <a:cubicBezTo>
                  <a:pt x="105" y="39"/>
                  <a:pt x="105" y="39"/>
                  <a:pt x="105" y="39"/>
                </a:cubicBezTo>
                <a:cubicBezTo>
                  <a:pt x="106" y="38"/>
                  <a:pt x="107" y="37"/>
                  <a:pt x="109" y="37"/>
                </a:cubicBezTo>
                <a:cubicBezTo>
                  <a:pt x="111" y="37"/>
                  <a:pt x="112" y="38"/>
                  <a:pt x="113" y="39"/>
                </a:cubicBezTo>
                <a:cubicBezTo>
                  <a:pt x="120" y="45"/>
                  <a:pt x="120" y="45"/>
                  <a:pt x="120" y="45"/>
                </a:cubicBezTo>
                <a:lnTo>
                  <a:pt x="143" y="22"/>
                </a:lnTo>
                <a:close/>
                <a:moveTo>
                  <a:pt x="54" y="61"/>
                </a:moveTo>
                <a:cubicBezTo>
                  <a:pt x="54" y="59"/>
                  <a:pt x="54" y="57"/>
                  <a:pt x="54" y="56"/>
                </a:cubicBezTo>
                <a:cubicBezTo>
                  <a:pt x="53" y="54"/>
                  <a:pt x="52" y="53"/>
                  <a:pt x="51" y="53"/>
                </a:cubicBezTo>
                <a:cubicBezTo>
                  <a:pt x="49" y="52"/>
                  <a:pt x="47" y="52"/>
                  <a:pt x="46" y="53"/>
                </a:cubicBezTo>
                <a:cubicBezTo>
                  <a:pt x="39" y="55"/>
                  <a:pt x="33" y="59"/>
                  <a:pt x="28" y="65"/>
                </a:cubicBezTo>
                <a:cubicBezTo>
                  <a:pt x="23" y="70"/>
                  <a:pt x="19" y="76"/>
                  <a:pt x="16" y="83"/>
                </a:cubicBezTo>
                <a:cubicBezTo>
                  <a:pt x="15" y="84"/>
                  <a:pt x="15" y="86"/>
                  <a:pt x="16" y="87"/>
                </a:cubicBezTo>
                <a:cubicBezTo>
                  <a:pt x="16" y="89"/>
                  <a:pt x="18" y="90"/>
                  <a:pt x="19" y="90"/>
                </a:cubicBezTo>
                <a:cubicBezTo>
                  <a:pt x="20" y="91"/>
                  <a:pt x="21" y="91"/>
                  <a:pt x="21" y="91"/>
                </a:cubicBezTo>
                <a:cubicBezTo>
                  <a:pt x="24" y="91"/>
                  <a:pt x="26" y="90"/>
                  <a:pt x="27" y="87"/>
                </a:cubicBezTo>
                <a:cubicBezTo>
                  <a:pt x="29" y="82"/>
                  <a:pt x="32" y="77"/>
                  <a:pt x="36" y="73"/>
                </a:cubicBezTo>
                <a:cubicBezTo>
                  <a:pt x="40" y="69"/>
                  <a:pt x="45" y="66"/>
                  <a:pt x="50" y="64"/>
                </a:cubicBezTo>
                <a:cubicBezTo>
                  <a:pt x="52" y="63"/>
                  <a:pt x="53" y="62"/>
                  <a:pt x="54" y="61"/>
                </a:cubicBezTo>
                <a:close/>
                <a:moveTo>
                  <a:pt x="144" y="17"/>
                </a:moveTo>
                <a:cubicBezTo>
                  <a:pt x="143" y="18"/>
                  <a:pt x="142" y="18"/>
                  <a:pt x="141" y="18"/>
                </a:cubicBezTo>
                <a:cubicBezTo>
                  <a:pt x="141" y="18"/>
                  <a:pt x="140" y="18"/>
                  <a:pt x="139" y="17"/>
                </a:cubicBezTo>
                <a:cubicBezTo>
                  <a:pt x="131" y="8"/>
                  <a:pt x="131" y="8"/>
                  <a:pt x="131" y="8"/>
                </a:cubicBezTo>
                <a:cubicBezTo>
                  <a:pt x="130" y="8"/>
                  <a:pt x="130" y="7"/>
                  <a:pt x="130" y="6"/>
                </a:cubicBezTo>
                <a:cubicBezTo>
                  <a:pt x="130" y="5"/>
                  <a:pt x="130" y="5"/>
                  <a:pt x="131" y="4"/>
                </a:cubicBezTo>
                <a:cubicBezTo>
                  <a:pt x="131" y="4"/>
                  <a:pt x="132" y="3"/>
                  <a:pt x="133" y="3"/>
                </a:cubicBezTo>
                <a:cubicBezTo>
                  <a:pt x="134" y="3"/>
                  <a:pt x="134" y="4"/>
                  <a:pt x="135" y="4"/>
                </a:cubicBezTo>
                <a:cubicBezTo>
                  <a:pt x="144" y="13"/>
                  <a:pt x="144" y="13"/>
                  <a:pt x="144" y="13"/>
                </a:cubicBezTo>
                <a:cubicBezTo>
                  <a:pt x="144" y="13"/>
                  <a:pt x="145" y="14"/>
                  <a:pt x="145" y="15"/>
                </a:cubicBezTo>
                <a:cubicBezTo>
                  <a:pt x="145" y="16"/>
                  <a:pt x="144" y="16"/>
                  <a:pt x="144" y="17"/>
                </a:cubicBezTo>
                <a:close/>
                <a:moveTo>
                  <a:pt x="151" y="3"/>
                </a:moveTo>
                <a:cubicBezTo>
                  <a:pt x="151" y="12"/>
                  <a:pt x="151" y="12"/>
                  <a:pt x="151" y="12"/>
                </a:cubicBezTo>
                <a:cubicBezTo>
                  <a:pt x="151" y="13"/>
                  <a:pt x="151" y="14"/>
                  <a:pt x="150" y="14"/>
                </a:cubicBezTo>
                <a:cubicBezTo>
                  <a:pt x="150" y="15"/>
                  <a:pt x="149" y="15"/>
                  <a:pt x="148" y="15"/>
                </a:cubicBezTo>
                <a:cubicBezTo>
                  <a:pt x="147" y="15"/>
                  <a:pt x="146" y="15"/>
                  <a:pt x="146" y="14"/>
                </a:cubicBezTo>
                <a:cubicBezTo>
                  <a:pt x="145" y="14"/>
                  <a:pt x="145" y="13"/>
                  <a:pt x="145" y="12"/>
                </a:cubicBezTo>
                <a:cubicBezTo>
                  <a:pt x="145" y="3"/>
                  <a:pt x="145" y="3"/>
                  <a:pt x="145" y="3"/>
                </a:cubicBezTo>
                <a:cubicBezTo>
                  <a:pt x="145" y="2"/>
                  <a:pt x="145" y="2"/>
                  <a:pt x="146" y="1"/>
                </a:cubicBezTo>
                <a:cubicBezTo>
                  <a:pt x="146" y="0"/>
                  <a:pt x="147" y="0"/>
                  <a:pt x="148" y="0"/>
                </a:cubicBezTo>
                <a:cubicBezTo>
                  <a:pt x="149" y="0"/>
                  <a:pt x="150" y="0"/>
                  <a:pt x="150" y="1"/>
                </a:cubicBezTo>
                <a:cubicBezTo>
                  <a:pt x="151" y="2"/>
                  <a:pt x="151" y="2"/>
                  <a:pt x="151" y="3"/>
                </a:cubicBezTo>
                <a:close/>
                <a:moveTo>
                  <a:pt x="165" y="8"/>
                </a:moveTo>
                <a:cubicBezTo>
                  <a:pt x="157" y="17"/>
                  <a:pt x="157" y="17"/>
                  <a:pt x="157" y="17"/>
                </a:cubicBezTo>
                <a:cubicBezTo>
                  <a:pt x="156" y="18"/>
                  <a:pt x="155" y="18"/>
                  <a:pt x="155" y="18"/>
                </a:cubicBezTo>
                <a:cubicBezTo>
                  <a:pt x="154" y="18"/>
                  <a:pt x="153" y="18"/>
                  <a:pt x="152" y="17"/>
                </a:cubicBezTo>
                <a:cubicBezTo>
                  <a:pt x="152" y="16"/>
                  <a:pt x="151" y="16"/>
                  <a:pt x="151" y="15"/>
                </a:cubicBezTo>
                <a:cubicBezTo>
                  <a:pt x="151" y="14"/>
                  <a:pt x="152" y="13"/>
                  <a:pt x="152" y="13"/>
                </a:cubicBezTo>
                <a:cubicBezTo>
                  <a:pt x="161" y="4"/>
                  <a:pt x="161" y="4"/>
                  <a:pt x="161" y="4"/>
                </a:cubicBezTo>
                <a:cubicBezTo>
                  <a:pt x="162" y="4"/>
                  <a:pt x="162" y="3"/>
                  <a:pt x="163" y="3"/>
                </a:cubicBezTo>
                <a:cubicBezTo>
                  <a:pt x="164" y="3"/>
                  <a:pt x="165" y="4"/>
                  <a:pt x="165" y="4"/>
                </a:cubicBezTo>
                <a:cubicBezTo>
                  <a:pt x="166" y="5"/>
                  <a:pt x="166" y="5"/>
                  <a:pt x="166" y="6"/>
                </a:cubicBezTo>
                <a:cubicBezTo>
                  <a:pt x="166" y="7"/>
                  <a:pt x="166" y="8"/>
                  <a:pt x="165" y="8"/>
                </a:cubicBezTo>
                <a:close/>
                <a:moveTo>
                  <a:pt x="165" y="39"/>
                </a:moveTo>
                <a:cubicBezTo>
                  <a:pt x="165" y="39"/>
                  <a:pt x="164" y="40"/>
                  <a:pt x="163" y="40"/>
                </a:cubicBezTo>
                <a:cubicBezTo>
                  <a:pt x="162" y="40"/>
                  <a:pt x="162" y="39"/>
                  <a:pt x="161" y="39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52" y="30"/>
                  <a:pt x="151" y="29"/>
                  <a:pt x="151" y="28"/>
                </a:cubicBezTo>
                <a:cubicBezTo>
                  <a:pt x="151" y="27"/>
                  <a:pt x="152" y="26"/>
                  <a:pt x="152" y="26"/>
                </a:cubicBezTo>
                <a:cubicBezTo>
                  <a:pt x="153" y="25"/>
                  <a:pt x="154" y="25"/>
                  <a:pt x="155" y="25"/>
                </a:cubicBezTo>
                <a:cubicBezTo>
                  <a:pt x="155" y="25"/>
                  <a:pt x="156" y="25"/>
                  <a:pt x="157" y="26"/>
                </a:cubicBezTo>
                <a:cubicBezTo>
                  <a:pt x="165" y="34"/>
                  <a:pt x="165" y="34"/>
                  <a:pt x="165" y="34"/>
                </a:cubicBezTo>
                <a:cubicBezTo>
                  <a:pt x="166" y="35"/>
                  <a:pt x="166" y="36"/>
                  <a:pt x="166" y="37"/>
                </a:cubicBezTo>
                <a:cubicBezTo>
                  <a:pt x="166" y="37"/>
                  <a:pt x="166" y="38"/>
                  <a:pt x="165" y="39"/>
                </a:cubicBezTo>
                <a:close/>
                <a:moveTo>
                  <a:pt x="168" y="19"/>
                </a:moveTo>
                <a:cubicBezTo>
                  <a:pt x="169" y="20"/>
                  <a:pt x="169" y="20"/>
                  <a:pt x="169" y="21"/>
                </a:cubicBezTo>
                <a:cubicBezTo>
                  <a:pt x="169" y="22"/>
                  <a:pt x="169" y="23"/>
                  <a:pt x="168" y="24"/>
                </a:cubicBezTo>
                <a:cubicBezTo>
                  <a:pt x="168" y="24"/>
                  <a:pt x="167" y="24"/>
                  <a:pt x="166" y="24"/>
                </a:cubicBezTo>
                <a:cubicBezTo>
                  <a:pt x="157" y="24"/>
                  <a:pt x="157" y="24"/>
                  <a:pt x="157" y="24"/>
                </a:cubicBezTo>
                <a:cubicBezTo>
                  <a:pt x="156" y="24"/>
                  <a:pt x="155" y="24"/>
                  <a:pt x="155" y="24"/>
                </a:cubicBezTo>
                <a:cubicBezTo>
                  <a:pt x="154" y="23"/>
                  <a:pt x="154" y="22"/>
                  <a:pt x="154" y="21"/>
                </a:cubicBezTo>
                <a:cubicBezTo>
                  <a:pt x="154" y="20"/>
                  <a:pt x="154" y="20"/>
                  <a:pt x="155" y="19"/>
                </a:cubicBezTo>
                <a:cubicBezTo>
                  <a:pt x="155" y="19"/>
                  <a:pt x="156" y="18"/>
                  <a:pt x="157" y="18"/>
                </a:cubicBezTo>
                <a:cubicBezTo>
                  <a:pt x="166" y="18"/>
                  <a:pt x="166" y="18"/>
                  <a:pt x="166" y="18"/>
                </a:cubicBezTo>
                <a:cubicBezTo>
                  <a:pt x="167" y="18"/>
                  <a:pt x="168" y="19"/>
                  <a:pt x="168" y="1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7" name="Freeform 378"/>
          <p:cNvSpPr>
            <a:spLocks noChangeAspect="1" noEditPoints="1"/>
          </p:cNvSpPr>
          <p:nvPr/>
        </p:nvSpPr>
        <p:spPr bwMode="auto">
          <a:xfrm>
            <a:off x="5554050" y="4344034"/>
            <a:ext cx="163938" cy="151447"/>
          </a:xfrm>
          <a:custGeom>
            <a:avLst/>
            <a:gdLst>
              <a:gd name="T0" fmla="*/ 158 w 159"/>
              <a:gd name="T1" fmla="*/ 46 h 146"/>
              <a:gd name="T2" fmla="*/ 124 w 159"/>
              <a:gd name="T3" fmla="*/ 141 h 146"/>
              <a:gd name="T4" fmla="*/ 25 w 159"/>
              <a:gd name="T5" fmla="*/ 146 h 146"/>
              <a:gd name="T6" fmla="*/ 2 w 159"/>
              <a:gd name="T7" fmla="*/ 128 h 146"/>
              <a:gd name="T8" fmla="*/ 2 w 159"/>
              <a:gd name="T9" fmla="*/ 113 h 146"/>
              <a:gd name="T10" fmla="*/ 2 w 159"/>
              <a:gd name="T11" fmla="*/ 108 h 146"/>
              <a:gd name="T12" fmla="*/ 3 w 159"/>
              <a:gd name="T13" fmla="*/ 104 h 146"/>
              <a:gd name="T14" fmla="*/ 6 w 159"/>
              <a:gd name="T15" fmla="*/ 100 h 146"/>
              <a:gd name="T16" fmla="*/ 13 w 159"/>
              <a:gd name="T17" fmla="*/ 82 h 146"/>
              <a:gd name="T18" fmla="*/ 13 w 159"/>
              <a:gd name="T19" fmla="*/ 77 h 146"/>
              <a:gd name="T20" fmla="*/ 16 w 159"/>
              <a:gd name="T21" fmla="*/ 72 h 146"/>
              <a:gd name="T22" fmla="*/ 22 w 159"/>
              <a:gd name="T23" fmla="*/ 55 h 146"/>
              <a:gd name="T24" fmla="*/ 22 w 159"/>
              <a:gd name="T25" fmla="*/ 49 h 146"/>
              <a:gd name="T26" fmla="*/ 26 w 159"/>
              <a:gd name="T27" fmla="*/ 44 h 146"/>
              <a:gd name="T28" fmla="*/ 33 w 159"/>
              <a:gd name="T29" fmla="*/ 27 h 146"/>
              <a:gd name="T30" fmla="*/ 33 w 159"/>
              <a:gd name="T31" fmla="*/ 22 h 146"/>
              <a:gd name="T32" fmla="*/ 35 w 159"/>
              <a:gd name="T33" fmla="*/ 18 h 146"/>
              <a:gd name="T34" fmla="*/ 38 w 159"/>
              <a:gd name="T35" fmla="*/ 13 h 146"/>
              <a:gd name="T36" fmla="*/ 41 w 159"/>
              <a:gd name="T37" fmla="*/ 7 h 146"/>
              <a:gd name="T38" fmla="*/ 46 w 159"/>
              <a:gd name="T39" fmla="*/ 1 h 146"/>
              <a:gd name="T40" fmla="*/ 53 w 159"/>
              <a:gd name="T41" fmla="*/ 1 h 146"/>
              <a:gd name="T42" fmla="*/ 58 w 159"/>
              <a:gd name="T43" fmla="*/ 0 h 146"/>
              <a:gd name="T44" fmla="*/ 141 w 159"/>
              <a:gd name="T45" fmla="*/ 6 h 146"/>
              <a:gd name="T46" fmla="*/ 117 w 159"/>
              <a:gd name="T47" fmla="*/ 104 h 146"/>
              <a:gd name="T48" fmla="*/ 98 w 159"/>
              <a:gd name="T49" fmla="*/ 121 h 146"/>
              <a:gd name="T50" fmla="*/ 12 w 159"/>
              <a:gd name="T51" fmla="*/ 123 h 146"/>
              <a:gd name="T52" fmla="*/ 26 w 159"/>
              <a:gd name="T53" fmla="*/ 133 h 146"/>
              <a:gd name="T54" fmla="*/ 118 w 159"/>
              <a:gd name="T55" fmla="*/ 132 h 146"/>
              <a:gd name="T56" fmla="*/ 150 w 159"/>
              <a:gd name="T57" fmla="*/ 35 h 146"/>
              <a:gd name="T58" fmla="*/ 156 w 159"/>
              <a:gd name="T59" fmla="*/ 33 h 146"/>
              <a:gd name="T60" fmla="*/ 48 w 159"/>
              <a:gd name="T61" fmla="*/ 60 h 146"/>
              <a:gd name="T62" fmla="*/ 107 w 159"/>
              <a:gd name="T63" fmla="*/ 61 h 146"/>
              <a:gd name="T64" fmla="*/ 111 w 159"/>
              <a:gd name="T65" fmla="*/ 58 h 146"/>
              <a:gd name="T66" fmla="*/ 113 w 159"/>
              <a:gd name="T67" fmla="*/ 50 h 146"/>
              <a:gd name="T68" fmla="*/ 53 w 159"/>
              <a:gd name="T69" fmla="*/ 49 h 146"/>
              <a:gd name="T70" fmla="*/ 49 w 159"/>
              <a:gd name="T71" fmla="*/ 52 h 146"/>
              <a:gd name="T72" fmla="*/ 55 w 159"/>
              <a:gd name="T73" fmla="*/ 34 h 146"/>
              <a:gd name="T74" fmla="*/ 57 w 159"/>
              <a:gd name="T75" fmla="*/ 37 h 146"/>
              <a:gd name="T76" fmla="*/ 117 w 159"/>
              <a:gd name="T77" fmla="*/ 36 h 146"/>
              <a:gd name="T78" fmla="*/ 121 w 159"/>
              <a:gd name="T79" fmla="*/ 28 h 146"/>
              <a:gd name="T80" fmla="*/ 119 w 159"/>
              <a:gd name="T81" fmla="*/ 25 h 146"/>
              <a:gd name="T82" fmla="*/ 59 w 159"/>
              <a:gd name="T83" fmla="*/ 25 h 146"/>
              <a:gd name="T84" fmla="*/ 55 w 159"/>
              <a:gd name="T85" fmla="*/ 3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9" h="146">
                <a:moveTo>
                  <a:pt x="156" y="33"/>
                </a:moveTo>
                <a:cubicBezTo>
                  <a:pt x="158" y="37"/>
                  <a:pt x="159" y="41"/>
                  <a:pt x="158" y="46"/>
                </a:cubicBezTo>
                <a:cubicBezTo>
                  <a:pt x="132" y="131"/>
                  <a:pt x="132" y="131"/>
                  <a:pt x="132" y="131"/>
                </a:cubicBezTo>
                <a:cubicBezTo>
                  <a:pt x="130" y="135"/>
                  <a:pt x="128" y="139"/>
                  <a:pt x="124" y="141"/>
                </a:cubicBezTo>
                <a:cubicBezTo>
                  <a:pt x="121" y="144"/>
                  <a:pt x="117" y="146"/>
                  <a:pt x="113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21" y="146"/>
                  <a:pt x="16" y="144"/>
                  <a:pt x="11" y="140"/>
                </a:cubicBezTo>
                <a:cubicBezTo>
                  <a:pt x="7" y="137"/>
                  <a:pt x="4" y="133"/>
                  <a:pt x="2" y="128"/>
                </a:cubicBezTo>
                <a:cubicBezTo>
                  <a:pt x="1" y="124"/>
                  <a:pt x="0" y="120"/>
                  <a:pt x="2" y="116"/>
                </a:cubicBezTo>
                <a:cubicBezTo>
                  <a:pt x="2" y="116"/>
                  <a:pt x="2" y="115"/>
                  <a:pt x="2" y="113"/>
                </a:cubicBezTo>
                <a:cubicBezTo>
                  <a:pt x="2" y="112"/>
                  <a:pt x="2" y="111"/>
                  <a:pt x="3" y="110"/>
                </a:cubicBezTo>
                <a:cubicBezTo>
                  <a:pt x="3" y="109"/>
                  <a:pt x="2" y="109"/>
                  <a:pt x="2" y="108"/>
                </a:cubicBezTo>
                <a:cubicBezTo>
                  <a:pt x="2" y="107"/>
                  <a:pt x="2" y="106"/>
                  <a:pt x="2" y="106"/>
                </a:cubicBezTo>
                <a:cubicBezTo>
                  <a:pt x="2" y="105"/>
                  <a:pt x="2" y="105"/>
                  <a:pt x="3" y="104"/>
                </a:cubicBezTo>
                <a:cubicBezTo>
                  <a:pt x="3" y="103"/>
                  <a:pt x="4" y="103"/>
                  <a:pt x="4" y="102"/>
                </a:cubicBezTo>
                <a:cubicBezTo>
                  <a:pt x="5" y="101"/>
                  <a:pt x="5" y="100"/>
                  <a:pt x="6" y="100"/>
                </a:cubicBezTo>
                <a:cubicBezTo>
                  <a:pt x="7" y="97"/>
                  <a:pt x="9" y="94"/>
                  <a:pt x="10" y="91"/>
                </a:cubicBezTo>
                <a:cubicBezTo>
                  <a:pt x="11" y="88"/>
                  <a:pt x="12" y="85"/>
                  <a:pt x="13" y="82"/>
                </a:cubicBezTo>
                <a:cubicBezTo>
                  <a:pt x="13" y="82"/>
                  <a:pt x="13" y="81"/>
                  <a:pt x="13" y="80"/>
                </a:cubicBezTo>
                <a:cubicBezTo>
                  <a:pt x="13" y="78"/>
                  <a:pt x="13" y="77"/>
                  <a:pt x="13" y="77"/>
                </a:cubicBezTo>
                <a:cubicBezTo>
                  <a:pt x="13" y="76"/>
                  <a:pt x="14" y="75"/>
                  <a:pt x="15" y="74"/>
                </a:cubicBezTo>
                <a:cubicBezTo>
                  <a:pt x="15" y="73"/>
                  <a:pt x="16" y="72"/>
                  <a:pt x="16" y="72"/>
                </a:cubicBezTo>
                <a:cubicBezTo>
                  <a:pt x="17" y="70"/>
                  <a:pt x="19" y="67"/>
                  <a:pt x="20" y="63"/>
                </a:cubicBezTo>
                <a:cubicBezTo>
                  <a:pt x="21" y="60"/>
                  <a:pt x="22" y="57"/>
                  <a:pt x="22" y="55"/>
                </a:cubicBezTo>
                <a:cubicBezTo>
                  <a:pt x="23" y="54"/>
                  <a:pt x="22" y="53"/>
                  <a:pt x="22" y="52"/>
                </a:cubicBezTo>
                <a:cubicBezTo>
                  <a:pt x="22" y="50"/>
                  <a:pt x="22" y="49"/>
                  <a:pt x="22" y="49"/>
                </a:cubicBezTo>
                <a:cubicBezTo>
                  <a:pt x="23" y="48"/>
                  <a:pt x="23" y="47"/>
                  <a:pt x="24" y="46"/>
                </a:cubicBezTo>
                <a:cubicBezTo>
                  <a:pt x="25" y="45"/>
                  <a:pt x="26" y="44"/>
                  <a:pt x="26" y="44"/>
                </a:cubicBezTo>
                <a:cubicBezTo>
                  <a:pt x="28" y="43"/>
                  <a:pt x="29" y="40"/>
                  <a:pt x="30" y="36"/>
                </a:cubicBezTo>
                <a:cubicBezTo>
                  <a:pt x="32" y="32"/>
                  <a:pt x="33" y="29"/>
                  <a:pt x="33" y="27"/>
                </a:cubicBezTo>
                <a:cubicBezTo>
                  <a:pt x="33" y="27"/>
                  <a:pt x="33" y="26"/>
                  <a:pt x="33" y="25"/>
                </a:cubicBezTo>
                <a:cubicBezTo>
                  <a:pt x="33" y="24"/>
                  <a:pt x="32" y="23"/>
                  <a:pt x="33" y="22"/>
                </a:cubicBezTo>
                <a:cubicBezTo>
                  <a:pt x="33" y="22"/>
                  <a:pt x="33" y="21"/>
                  <a:pt x="33" y="20"/>
                </a:cubicBezTo>
                <a:cubicBezTo>
                  <a:pt x="34" y="20"/>
                  <a:pt x="34" y="19"/>
                  <a:pt x="35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7" y="16"/>
                  <a:pt x="38" y="15"/>
                  <a:pt x="38" y="13"/>
                </a:cubicBezTo>
                <a:cubicBezTo>
                  <a:pt x="39" y="12"/>
                  <a:pt x="39" y="11"/>
                  <a:pt x="40" y="10"/>
                </a:cubicBezTo>
                <a:cubicBezTo>
                  <a:pt x="40" y="9"/>
                  <a:pt x="41" y="8"/>
                  <a:pt x="41" y="7"/>
                </a:cubicBezTo>
                <a:cubicBezTo>
                  <a:pt x="42" y="5"/>
                  <a:pt x="42" y="4"/>
                  <a:pt x="43" y="4"/>
                </a:cubicBezTo>
                <a:cubicBezTo>
                  <a:pt x="44" y="3"/>
                  <a:pt x="45" y="2"/>
                  <a:pt x="46" y="1"/>
                </a:cubicBezTo>
                <a:cubicBezTo>
                  <a:pt x="47" y="1"/>
                  <a:pt x="48" y="0"/>
                  <a:pt x="49" y="0"/>
                </a:cubicBezTo>
                <a:cubicBezTo>
                  <a:pt x="50" y="0"/>
                  <a:pt x="52" y="0"/>
                  <a:pt x="53" y="1"/>
                </a:cubicBezTo>
                <a:cubicBezTo>
                  <a:pt x="53" y="1"/>
                  <a:pt x="53" y="1"/>
                  <a:pt x="53" y="1"/>
                </a:cubicBezTo>
                <a:cubicBezTo>
                  <a:pt x="56" y="1"/>
                  <a:pt x="57" y="0"/>
                  <a:pt x="58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135" y="0"/>
                  <a:pt x="138" y="2"/>
                  <a:pt x="141" y="6"/>
                </a:cubicBezTo>
                <a:cubicBezTo>
                  <a:pt x="143" y="9"/>
                  <a:pt x="144" y="13"/>
                  <a:pt x="143" y="18"/>
                </a:cubicBezTo>
                <a:cubicBezTo>
                  <a:pt x="117" y="104"/>
                  <a:pt x="117" y="104"/>
                  <a:pt x="117" y="104"/>
                </a:cubicBezTo>
                <a:cubicBezTo>
                  <a:pt x="114" y="111"/>
                  <a:pt x="112" y="116"/>
                  <a:pt x="110" y="118"/>
                </a:cubicBezTo>
                <a:cubicBezTo>
                  <a:pt x="108" y="120"/>
                  <a:pt x="104" y="121"/>
                  <a:pt x="98" y="121"/>
                </a:cubicBezTo>
                <a:cubicBezTo>
                  <a:pt x="16" y="121"/>
                  <a:pt x="16" y="121"/>
                  <a:pt x="16" y="121"/>
                </a:cubicBezTo>
                <a:cubicBezTo>
                  <a:pt x="14" y="121"/>
                  <a:pt x="13" y="122"/>
                  <a:pt x="12" y="123"/>
                </a:cubicBezTo>
                <a:cubicBezTo>
                  <a:pt x="11" y="124"/>
                  <a:pt x="11" y="125"/>
                  <a:pt x="12" y="127"/>
                </a:cubicBezTo>
                <a:cubicBezTo>
                  <a:pt x="13" y="131"/>
                  <a:pt x="18" y="133"/>
                  <a:pt x="26" y="133"/>
                </a:cubicBezTo>
                <a:cubicBezTo>
                  <a:pt x="113" y="133"/>
                  <a:pt x="113" y="133"/>
                  <a:pt x="113" y="133"/>
                </a:cubicBezTo>
                <a:cubicBezTo>
                  <a:pt x="115" y="133"/>
                  <a:pt x="116" y="133"/>
                  <a:pt x="118" y="132"/>
                </a:cubicBezTo>
                <a:cubicBezTo>
                  <a:pt x="120" y="131"/>
                  <a:pt x="121" y="130"/>
                  <a:pt x="121" y="128"/>
                </a:cubicBezTo>
                <a:cubicBezTo>
                  <a:pt x="150" y="35"/>
                  <a:pt x="150" y="35"/>
                  <a:pt x="150" y="35"/>
                </a:cubicBezTo>
                <a:cubicBezTo>
                  <a:pt x="150" y="33"/>
                  <a:pt x="150" y="32"/>
                  <a:pt x="150" y="29"/>
                </a:cubicBezTo>
                <a:cubicBezTo>
                  <a:pt x="153" y="30"/>
                  <a:pt x="155" y="32"/>
                  <a:pt x="156" y="33"/>
                </a:cubicBezTo>
                <a:close/>
                <a:moveTo>
                  <a:pt x="47" y="58"/>
                </a:moveTo>
                <a:cubicBezTo>
                  <a:pt x="47" y="59"/>
                  <a:pt x="47" y="59"/>
                  <a:pt x="48" y="60"/>
                </a:cubicBezTo>
                <a:cubicBezTo>
                  <a:pt x="48" y="61"/>
                  <a:pt x="49" y="61"/>
                  <a:pt x="49" y="61"/>
                </a:cubicBezTo>
                <a:cubicBezTo>
                  <a:pt x="107" y="61"/>
                  <a:pt x="107" y="61"/>
                  <a:pt x="107" y="61"/>
                </a:cubicBezTo>
                <a:cubicBezTo>
                  <a:pt x="108" y="61"/>
                  <a:pt x="109" y="61"/>
                  <a:pt x="109" y="60"/>
                </a:cubicBezTo>
                <a:cubicBezTo>
                  <a:pt x="110" y="59"/>
                  <a:pt x="111" y="59"/>
                  <a:pt x="111" y="58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3" y="51"/>
                  <a:pt x="113" y="50"/>
                  <a:pt x="113" y="50"/>
                </a:cubicBezTo>
                <a:cubicBezTo>
                  <a:pt x="112" y="49"/>
                  <a:pt x="112" y="49"/>
                  <a:pt x="111" y="49"/>
                </a:cubicBezTo>
                <a:cubicBezTo>
                  <a:pt x="53" y="49"/>
                  <a:pt x="53" y="49"/>
                  <a:pt x="53" y="49"/>
                </a:cubicBezTo>
                <a:cubicBezTo>
                  <a:pt x="53" y="49"/>
                  <a:pt x="52" y="49"/>
                  <a:pt x="51" y="50"/>
                </a:cubicBezTo>
                <a:cubicBezTo>
                  <a:pt x="50" y="50"/>
                  <a:pt x="50" y="51"/>
                  <a:pt x="49" y="52"/>
                </a:cubicBezTo>
                <a:lnTo>
                  <a:pt x="47" y="58"/>
                </a:lnTo>
                <a:close/>
                <a:moveTo>
                  <a:pt x="55" y="34"/>
                </a:moveTo>
                <a:cubicBezTo>
                  <a:pt x="55" y="34"/>
                  <a:pt x="55" y="35"/>
                  <a:pt x="55" y="36"/>
                </a:cubicBezTo>
                <a:cubicBezTo>
                  <a:pt x="56" y="36"/>
                  <a:pt x="56" y="37"/>
                  <a:pt x="57" y="37"/>
                </a:cubicBezTo>
                <a:cubicBezTo>
                  <a:pt x="115" y="37"/>
                  <a:pt x="115" y="37"/>
                  <a:pt x="115" y="37"/>
                </a:cubicBezTo>
                <a:cubicBezTo>
                  <a:pt x="116" y="37"/>
                  <a:pt x="116" y="36"/>
                  <a:pt x="117" y="36"/>
                </a:cubicBezTo>
                <a:cubicBezTo>
                  <a:pt x="118" y="35"/>
                  <a:pt x="119" y="34"/>
                  <a:pt x="119" y="34"/>
                </a:cubicBezTo>
                <a:cubicBezTo>
                  <a:pt x="121" y="28"/>
                  <a:pt x="121" y="28"/>
                  <a:pt x="121" y="28"/>
                </a:cubicBezTo>
                <a:cubicBezTo>
                  <a:pt x="121" y="27"/>
                  <a:pt x="121" y="26"/>
                  <a:pt x="121" y="25"/>
                </a:cubicBezTo>
                <a:cubicBezTo>
                  <a:pt x="120" y="25"/>
                  <a:pt x="120" y="25"/>
                  <a:pt x="119" y="25"/>
                </a:cubicBezTo>
                <a:cubicBezTo>
                  <a:pt x="61" y="25"/>
                  <a:pt x="61" y="25"/>
                  <a:pt x="61" y="25"/>
                </a:cubicBezTo>
                <a:cubicBezTo>
                  <a:pt x="60" y="25"/>
                  <a:pt x="60" y="25"/>
                  <a:pt x="59" y="25"/>
                </a:cubicBezTo>
                <a:cubicBezTo>
                  <a:pt x="58" y="26"/>
                  <a:pt x="58" y="27"/>
                  <a:pt x="57" y="28"/>
                </a:cubicBezTo>
                <a:lnTo>
                  <a:pt x="55" y="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8" name="Freeform 379"/>
          <p:cNvSpPr>
            <a:spLocks noChangeAspect="1"/>
          </p:cNvSpPr>
          <p:nvPr/>
        </p:nvSpPr>
        <p:spPr bwMode="auto">
          <a:xfrm>
            <a:off x="5805420" y="4344034"/>
            <a:ext cx="124905" cy="148325"/>
          </a:xfrm>
          <a:custGeom>
            <a:avLst/>
            <a:gdLst>
              <a:gd name="T0" fmla="*/ 110 w 121"/>
              <a:gd name="T1" fmla="*/ 0 h 143"/>
              <a:gd name="T2" fmla="*/ 114 w 121"/>
              <a:gd name="T3" fmla="*/ 1 h 143"/>
              <a:gd name="T4" fmla="*/ 119 w 121"/>
              <a:gd name="T5" fmla="*/ 5 h 143"/>
              <a:gd name="T6" fmla="*/ 121 w 121"/>
              <a:gd name="T7" fmla="*/ 11 h 143"/>
              <a:gd name="T8" fmla="*/ 121 w 121"/>
              <a:gd name="T9" fmla="*/ 133 h 143"/>
              <a:gd name="T10" fmla="*/ 119 w 121"/>
              <a:gd name="T11" fmla="*/ 139 h 143"/>
              <a:gd name="T12" fmla="*/ 114 w 121"/>
              <a:gd name="T13" fmla="*/ 143 h 143"/>
              <a:gd name="T14" fmla="*/ 110 w 121"/>
              <a:gd name="T15" fmla="*/ 143 h 143"/>
              <a:gd name="T16" fmla="*/ 102 w 121"/>
              <a:gd name="T17" fmla="*/ 140 h 143"/>
              <a:gd name="T18" fmla="*/ 60 w 121"/>
              <a:gd name="T19" fmla="*/ 100 h 143"/>
              <a:gd name="T20" fmla="*/ 19 w 121"/>
              <a:gd name="T21" fmla="*/ 140 h 143"/>
              <a:gd name="T22" fmla="*/ 11 w 121"/>
              <a:gd name="T23" fmla="*/ 143 h 143"/>
              <a:gd name="T24" fmla="*/ 7 w 121"/>
              <a:gd name="T25" fmla="*/ 143 h 143"/>
              <a:gd name="T26" fmla="*/ 2 w 121"/>
              <a:gd name="T27" fmla="*/ 139 h 143"/>
              <a:gd name="T28" fmla="*/ 0 w 121"/>
              <a:gd name="T29" fmla="*/ 133 h 143"/>
              <a:gd name="T30" fmla="*/ 0 w 121"/>
              <a:gd name="T31" fmla="*/ 11 h 143"/>
              <a:gd name="T32" fmla="*/ 2 w 121"/>
              <a:gd name="T33" fmla="*/ 5 h 143"/>
              <a:gd name="T34" fmla="*/ 7 w 121"/>
              <a:gd name="T35" fmla="*/ 1 h 143"/>
              <a:gd name="T36" fmla="*/ 11 w 121"/>
              <a:gd name="T37" fmla="*/ 0 h 143"/>
              <a:gd name="T38" fmla="*/ 110 w 121"/>
              <a:gd name="T39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1" h="143">
                <a:moveTo>
                  <a:pt x="110" y="0"/>
                </a:moveTo>
                <a:cubicBezTo>
                  <a:pt x="111" y="0"/>
                  <a:pt x="113" y="1"/>
                  <a:pt x="114" y="1"/>
                </a:cubicBezTo>
                <a:cubicBezTo>
                  <a:pt x="116" y="2"/>
                  <a:pt x="118" y="3"/>
                  <a:pt x="119" y="5"/>
                </a:cubicBezTo>
                <a:cubicBezTo>
                  <a:pt x="120" y="7"/>
                  <a:pt x="121" y="9"/>
                  <a:pt x="121" y="11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21" y="135"/>
                  <a:pt x="120" y="137"/>
                  <a:pt x="119" y="139"/>
                </a:cubicBezTo>
                <a:cubicBezTo>
                  <a:pt x="118" y="140"/>
                  <a:pt x="116" y="142"/>
                  <a:pt x="114" y="143"/>
                </a:cubicBezTo>
                <a:cubicBezTo>
                  <a:pt x="113" y="143"/>
                  <a:pt x="112" y="143"/>
                  <a:pt x="110" y="143"/>
                </a:cubicBezTo>
                <a:cubicBezTo>
                  <a:pt x="107" y="143"/>
                  <a:pt x="104" y="142"/>
                  <a:pt x="102" y="140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6" y="142"/>
                  <a:pt x="14" y="143"/>
                  <a:pt x="11" y="143"/>
                </a:cubicBezTo>
                <a:cubicBezTo>
                  <a:pt x="9" y="143"/>
                  <a:pt x="8" y="143"/>
                  <a:pt x="7" y="143"/>
                </a:cubicBezTo>
                <a:cubicBezTo>
                  <a:pt x="5" y="142"/>
                  <a:pt x="3" y="140"/>
                  <a:pt x="2" y="139"/>
                </a:cubicBezTo>
                <a:cubicBezTo>
                  <a:pt x="1" y="137"/>
                  <a:pt x="0" y="135"/>
                  <a:pt x="0" y="133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9"/>
                  <a:pt x="1" y="7"/>
                  <a:pt x="2" y="5"/>
                </a:cubicBezTo>
                <a:cubicBezTo>
                  <a:pt x="3" y="3"/>
                  <a:pt x="5" y="2"/>
                  <a:pt x="7" y="1"/>
                </a:cubicBezTo>
                <a:cubicBezTo>
                  <a:pt x="8" y="1"/>
                  <a:pt x="9" y="0"/>
                  <a:pt x="11" y="0"/>
                </a:cubicBezTo>
                <a:lnTo>
                  <a:pt x="11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9" name="Freeform 380"/>
          <p:cNvSpPr>
            <a:spLocks noChangeAspect="1" noEditPoints="1"/>
          </p:cNvSpPr>
          <p:nvPr/>
        </p:nvSpPr>
        <p:spPr bwMode="auto">
          <a:xfrm>
            <a:off x="6019319" y="4344034"/>
            <a:ext cx="124905" cy="148325"/>
          </a:xfrm>
          <a:custGeom>
            <a:avLst/>
            <a:gdLst>
              <a:gd name="T0" fmla="*/ 110 w 121"/>
              <a:gd name="T1" fmla="*/ 0 h 143"/>
              <a:gd name="T2" fmla="*/ 114 w 121"/>
              <a:gd name="T3" fmla="*/ 1 h 143"/>
              <a:gd name="T4" fmla="*/ 119 w 121"/>
              <a:gd name="T5" fmla="*/ 5 h 143"/>
              <a:gd name="T6" fmla="*/ 121 w 121"/>
              <a:gd name="T7" fmla="*/ 11 h 143"/>
              <a:gd name="T8" fmla="*/ 121 w 121"/>
              <a:gd name="T9" fmla="*/ 133 h 143"/>
              <a:gd name="T10" fmla="*/ 119 w 121"/>
              <a:gd name="T11" fmla="*/ 139 h 143"/>
              <a:gd name="T12" fmla="*/ 114 w 121"/>
              <a:gd name="T13" fmla="*/ 143 h 143"/>
              <a:gd name="T14" fmla="*/ 110 w 121"/>
              <a:gd name="T15" fmla="*/ 143 h 143"/>
              <a:gd name="T16" fmla="*/ 102 w 121"/>
              <a:gd name="T17" fmla="*/ 140 h 143"/>
              <a:gd name="T18" fmla="*/ 60 w 121"/>
              <a:gd name="T19" fmla="*/ 100 h 143"/>
              <a:gd name="T20" fmla="*/ 18 w 121"/>
              <a:gd name="T21" fmla="*/ 140 h 143"/>
              <a:gd name="T22" fmla="*/ 11 w 121"/>
              <a:gd name="T23" fmla="*/ 143 h 143"/>
              <a:gd name="T24" fmla="*/ 6 w 121"/>
              <a:gd name="T25" fmla="*/ 143 h 143"/>
              <a:gd name="T26" fmla="*/ 2 w 121"/>
              <a:gd name="T27" fmla="*/ 139 h 143"/>
              <a:gd name="T28" fmla="*/ 0 w 121"/>
              <a:gd name="T29" fmla="*/ 133 h 143"/>
              <a:gd name="T30" fmla="*/ 0 w 121"/>
              <a:gd name="T31" fmla="*/ 11 h 143"/>
              <a:gd name="T32" fmla="*/ 2 w 121"/>
              <a:gd name="T33" fmla="*/ 5 h 143"/>
              <a:gd name="T34" fmla="*/ 6 w 121"/>
              <a:gd name="T35" fmla="*/ 1 h 143"/>
              <a:gd name="T36" fmla="*/ 11 w 121"/>
              <a:gd name="T37" fmla="*/ 0 h 143"/>
              <a:gd name="T38" fmla="*/ 110 w 121"/>
              <a:gd name="T39" fmla="*/ 0 h 143"/>
              <a:gd name="T40" fmla="*/ 109 w 121"/>
              <a:gd name="T41" fmla="*/ 12 h 143"/>
              <a:gd name="T42" fmla="*/ 12 w 121"/>
              <a:gd name="T43" fmla="*/ 12 h 143"/>
              <a:gd name="T44" fmla="*/ 12 w 121"/>
              <a:gd name="T45" fmla="*/ 130 h 143"/>
              <a:gd name="T46" fmla="*/ 52 w 121"/>
              <a:gd name="T47" fmla="*/ 91 h 143"/>
              <a:gd name="T48" fmla="*/ 60 w 121"/>
              <a:gd name="T49" fmla="*/ 83 h 143"/>
              <a:gd name="T50" fmla="*/ 69 w 121"/>
              <a:gd name="T51" fmla="*/ 91 h 143"/>
              <a:gd name="T52" fmla="*/ 109 w 121"/>
              <a:gd name="T53" fmla="*/ 130 h 143"/>
              <a:gd name="T54" fmla="*/ 109 w 121"/>
              <a:gd name="T55" fmla="*/ 1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1" h="143">
                <a:moveTo>
                  <a:pt x="110" y="0"/>
                </a:moveTo>
                <a:cubicBezTo>
                  <a:pt x="111" y="0"/>
                  <a:pt x="113" y="1"/>
                  <a:pt x="114" y="1"/>
                </a:cubicBezTo>
                <a:cubicBezTo>
                  <a:pt x="116" y="2"/>
                  <a:pt x="118" y="3"/>
                  <a:pt x="119" y="5"/>
                </a:cubicBezTo>
                <a:cubicBezTo>
                  <a:pt x="120" y="7"/>
                  <a:pt x="121" y="9"/>
                  <a:pt x="121" y="11"/>
                </a:cubicBezTo>
                <a:cubicBezTo>
                  <a:pt x="121" y="133"/>
                  <a:pt x="121" y="133"/>
                  <a:pt x="121" y="133"/>
                </a:cubicBezTo>
                <a:cubicBezTo>
                  <a:pt x="121" y="135"/>
                  <a:pt x="120" y="137"/>
                  <a:pt x="119" y="139"/>
                </a:cubicBezTo>
                <a:cubicBezTo>
                  <a:pt x="118" y="140"/>
                  <a:pt x="116" y="142"/>
                  <a:pt x="114" y="143"/>
                </a:cubicBezTo>
                <a:cubicBezTo>
                  <a:pt x="113" y="143"/>
                  <a:pt x="111" y="143"/>
                  <a:pt x="110" y="143"/>
                </a:cubicBezTo>
                <a:cubicBezTo>
                  <a:pt x="107" y="143"/>
                  <a:pt x="104" y="142"/>
                  <a:pt x="102" y="140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16" y="142"/>
                  <a:pt x="14" y="143"/>
                  <a:pt x="11" y="143"/>
                </a:cubicBezTo>
                <a:cubicBezTo>
                  <a:pt x="9" y="143"/>
                  <a:pt x="8" y="143"/>
                  <a:pt x="6" y="143"/>
                </a:cubicBezTo>
                <a:cubicBezTo>
                  <a:pt x="4" y="142"/>
                  <a:pt x="3" y="140"/>
                  <a:pt x="2" y="139"/>
                </a:cubicBezTo>
                <a:cubicBezTo>
                  <a:pt x="0" y="137"/>
                  <a:pt x="0" y="135"/>
                  <a:pt x="0" y="133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9"/>
                  <a:pt x="0" y="7"/>
                  <a:pt x="2" y="5"/>
                </a:cubicBezTo>
                <a:cubicBezTo>
                  <a:pt x="3" y="3"/>
                  <a:pt x="4" y="2"/>
                  <a:pt x="6" y="1"/>
                </a:cubicBezTo>
                <a:cubicBezTo>
                  <a:pt x="8" y="1"/>
                  <a:pt x="9" y="0"/>
                  <a:pt x="11" y="0"/>
                </a:cubicBezTo>
                <a:lnTo>
                  <a:pt x="110" y="0"/>
                </a:lnTo>
                <a:close/>
                <a:moveTo>
                  <a:pt x="109" y="12"/>
                </a:moveTo>
                <a:cubicBezTo>
                  <a:pt x="12" y="12"/>
                  <a:pt x="12" y="12"/>
                  <a:pt x="12" y="12"/>
                </a:cubicBezTo>
                <a:cubicBezTo>
                  <a:pt x="12" y="130"/>
                  <a:pt x="12" y="130"/>
                  <a:pt x="12" y="130"/>
                </a:cubicBezTo>
                <a:cubicBezTo>
                  <a:pt x="52" y="91"/>
                  <a:pt x="52" y="91"/>
                  <a:pt x="52" y="91"/>
                </a:cubicBezTo>
                <a:cubicBezTo>
                  <a:pt x="60" y="83"/>
                  <a:pt x="60" y="83"/>
                  <a:pt x="60" y="83"/>
                </a:cubicBezTo>
                <a:cubicBezTo>
                  <a:pt x="69" y="91"/>
                  <a:pt x="69" y="91"/>
                  <a:pt x="69" y="91"/>
                </a:cubicBezTo>
                <a:cubicBezTo>
                  <a:pt x="109" y="130"/>
                  <a:pt x="109" y="130"/>
                  <a:pt x="109" y="130"/>
                </a:cubicBezTo>
                <a:lnTo>
                  <a:pt x="109" y="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0" name="Freeform 381"/>
          <p:cNvSpPr>
            <a:spLocks noChangeAspect="1" noEditPoints="1"/>
          </p:cNvSpPr>
          <p:nvPr/>
        </p:nvSpPr>
        <p:spPr bwMode="auto">
          <a:xfrm>
            <a:off x="6231657" y="4331544"/>
            <a:ext cx="174866" cy="149885"/>
          </a:xfrm>
          <a:custGeom>
            <a:avLst/>
            <a:gdLst>
              <a:gd name="T0" fmla="*/ 170 w 170"/>
              <a:gd name="T1" fmla="*/ 40 h 145"/>
              <a:gd name="T2" fmla="*/ 170 w 170"/>
              <a:gd name="T3" fmla="*/ 76 h 145"/>
              <a:gd name="T4" fmla="*/ 0 w 170"/>
              <a:gd name="T5" fmla="*/ 76 h 145"/>
              <a:gd name="T6" fmla="*/ 0 w 170"/>
              <a:gd name="T7" fmla="*/ 40 h 145"/>
              <a:gd name="T8" fmla="*/ 5 w 170"/>
              <a:gd name="T9" fmla="*/ 29 h 145"/>
              <a:gd name="T10" fmla="*/ 16 w 170"/>
              <a:gd name="T11" fmla="*/ 24 h 145"/>
              <a:gd name="T12" fmla="*/ 49 w 170"/>
              <a:gd name="T13" fmla="*/ 24 h 145"/>
              <a:gd name="T14" fmla="*/ 49 w 170"/>
              <a:gd name="T15" fmla="*/ 9 h 145"/>
              <a:gd name="T16" fmla="*/ 51 w 170"/>
              <a:gd name="T17" fmla="*/ 3 h 145"/>
              <a:gd name="T18" fmla="*/ 58 w 170"/>
              <a:gd name="T19" fmla="*/ 0 h 145"/>
              <a:gd name="T20" fmla="*/ 112 w 170"/>
              <a:gd name="T21" fmla="*/ 0 h 145"/>
              <a:gd name="T22" fmla="*/ 119 w 170"/>
              <a:gd name="T23" fmla="*/ 3 h 145"/>
              <a:gd name="T24" fmla="*/ 121 w 170"/>
              <a:gd name="T25" fmla="*/ 9 h 145"/>
              <a:gd name="T26" fmla="*/ 121 w 170"/>
              <a:gd name="T27" fmla="*/ 24 h 145"/>
              <a:gd name="T28" fmla="*/ 155 w 170"/>
              <a:gd name="T29" fmla="*/ 24 h 145"/>
              <a:gd name="T30" fmla="*/ 165 w 170"/>
              <a:gd name="T31" fmla="*/ 29 h 145"/>
              <a:gd name="T32" fmla="*/ 170 w 170"/>
              <a:gd name="T33" fmla="*/ 40 h 145"/>
              <a:gd name="T34" fmla="*/ 170 w 170"/>
              <a:gd name="T35" fmla="*/ 85 h 145"/>
              <a:gd name="T36" fmla="*/ 170 w 170"/>
              <a:gd name="T37" fmla="*/ 130 h 145"/>
              <a:gd name="T38" fmla="*/ 165 w 170"/>
              <a:gd name="T39" fmla="*/ 141 h 145"/>
              <a:gd name="T40" fmla="*/ 155 w 170"/>
              <a:gd name="T41" fmla="*/ 145 h 145"/>
              <a:gd name="T42" fmla="*/ 16 w 170"/>
              <a:gd name="T43" fmla="*/ 145 h 145"/>
              <a:gd name="T44" fmla="*/ 5 w 170"/>
              <a:gd name="T45" fmla="*/ 141 h 145"/>
              <a:gd name="T46" fmla="*/ 0 w 170"/>
              <a:gd name="T47" fmla="*/ 130 h 145"/>
              <a:gd name="T48" fmla="*/ 0 w 170"/>
              <a:gd name="T49" fmla="*/ 85 h 145"/>
              <a:gd name="T50" fmla="*/ 64 w 170"/>
              <a:gd name="T51" fmla="*/ 85 h 145"/>
              <a:gd name="T52" fmla="*/ 64 w 170"/>
              <a:gd name="T53" fmla="*/ 100 h 145"/>
              <a:gd name="T54" fmla="*/ 66 w 170"/>
              <a:gd name="T55" fmla="*/ 104 h 145"/>
              <a:gd name="T56" fmla="*/ 70 w 170"/>
              <a:gd name="T57" fmla="*/ 106 h 145"/>
              <a:gd name="T58" fmla="*/ 100 w 170"/>
              <a:gd name="T59" fmla="*/ 106 h 145"/>
              <a:gd name="T60" fmla="*/ 104 w 170"/>
              <a:gd name="T61" fmla="*/ 104 h 145"/>
              <a:gd name="T62" fmla="*/ 106 w 170"/>
              <a:gd name="T63" fmla="*/ 100 h 145"/>
              <a:gd name="T64" fmla="*/ 106 w 170"/>
              <a:gd name="T65" fmla="*/ 85 h 145"/>
              <a:gd name="T66" fmla="*/ 170 w 170"/>
              <a:gd name="T67" fmla="*/ 85 h 145"/>
              <a:gd name="T68" fmla="*/ 61 w 170"/>
              <a:gd name="T69" fmla="*/ 24 h 145"/>
              <a:gd name="T70" fmla="*/ 109 w 170"/>
              <a:gd name="T71" fmla="*/ 24 h 145"/>
              <a:gd name="T72" fmla="*/ 109 w 170"/>
              <a:gd name="T73" fmla="*/ 12 h 145"/>
              <a:gd name="T74" fmla="*/ 61 w 170"/>
              <a:gd name="T75" fmla="*/ 12 h 145"/>
              <a:gd name="T76" fmla="*/ 61 w 170"/>
              <a:gd name="T77" fmla="*/ 24 h 145"/>
              <a:gd name="T78" fmla="*/ 97 w 170"/>
              <a:gd name="T79" fmla="*/ 85 h 145"/>
              <a:gd name="T80" fmla="*/ 97 w 170"/>
              <a:gd name="T81" fmla="*/ 97 h 145"/>
              <a:gd name="T82" fmla="*/ 73 w 170"/>
              <a:gd name="T83" fmla="*/ 97 h 145"/>
              <a:gd name="T84" fmla="*/ 73 w 170"/>
              <a:gd name="T85" fmla="*/ 85 h 145"/>
              <a:gd name="T86" fmla="*/ 97 w 170"/>
              <a:gd name="T87" fmla="*/ 8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70" h="145">
                <a:moveTo>
                  <a:pt x="170" y="40"/>
                </a:moveTo>
                <a:cubicBezTo>
                  <a:pt x="170" y="76"/>
                  <a:pt x="170" y="76"/>
                  <a:pt x="170" y="76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5"/>
                  <a:pt x="2" y="32"/>
                  <a:pt x="5" y="29"/>
                </a:cubicBezTo>
                <a:cubicBezTo>
                  <a:pt x="8" y="26"/>
                  <a:pt x="11" y="24"/>
                  <a:pt x="16" y="24"/>
                </a:cubicBezTo>
                <a:cubicBezTo>
                  <a:pt x="49" y="24"/>
                  <a:pt x="49" y="24"/>
                  <a:pt x="49" y="24"/>
                </a:cubicBezTo>
                <a:cubicBezTo>
                  <a:pt x="49" y="9"/>
                  <a:pt x="49" y="9"/>
                  <a:pt x="49" y="9"/>
                </a:cubicBezTo>
                <a:cubicBezTo>
                  <a:pt x="49" y="7"/>
                  <a:pt x="50" y="5"/>
                  <a:pt x="51" y="3"/>
                </a:cubicBezTo>
                <a:cubicBezTo>
                  <a:pt x="53" y="1"/>
                  <a:pt x="55" y="0"/>
                  <a:pt x="58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5" y="0"/>
                  <a:pt x="117" y="1"/>
                  <a:pt x="119" y="3"/>
                </a:cubicBezTo>
                <a:cubicBezTo>
                  <a:pt x="121" y="5"/>
                  <a:pt x="121" y="7"/>
                  <a:pt x="121" y="9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55" y="24"/>
                  <a:pt x="155" y="24"/>
                  <a:pt x="155" y="24"/>
                </a:cubicBezTo>
                <a:cubicBezTo>
                  <a:pt x="159" y="24"/>
                  <a:pt x="162" y="26"/>
                  <a:pt x="165" y="29"/>
                </a:cubicBezTo>
                <a:cubicBezTo>
                  <a:pt x="168" y="32"/>
                  <a:pt x="170" y="35"/>
                  <a:pt x="170" y="40"/>
                </a:cubicBezTo>
                <a:close/>
                <a:moveTo>
                  <a:pt x="170" y="85"/>
                </a:moveTo>
                <a:cubicBezTo>
                  <a:pt x="170" y="130"/>
                  <a:pt x="170" y="130"/>
                  <a:pt x="170" y="130"/>
                </a:cubicBezTo>
                <a:cubicBezTo>
                  <a:pt x="170" y="134"/>
                  <a:pt x="168" y="138"/>
                  <a:pt x="165" y="141"/>
                </a:cubicBezTo>
                <a:cubicBezTo>
                  <a:pt x="162" y="144"/>
                  <a:pt x="159" y="145"/>
                  <a:pt x="155" y="145"/>
                </a:cubicBezTo>
                <a:cubicBezTo>
                  <a:pt x="16" y="145"/>
                  <a:pt x="16" y="145"/>
                  <a:pt x="16" y="145"/>
                </a:cubicBezTo>
                <a:cubicBezTo>
                  <a:pt x="11" y="145"/>
                  <a:pt x="8" y="144"/>
                  <a:pt x="5" y="141"/>
                </a:cubicBezTo>
                <a:cubicBezTo>
                  <a:pt x="2" y="138"/>
                  <a:pt x="0" y="134"/>
                  <a:pt x="0" y="130"/>
                </a:cubicBezTo>
                <a:cubicBezTo>
                  <a:pt x="0" y="85"/>
                  <a:pt x="0" y="85"/>
                  <a:pt x="0" y="85"/>
                </a:cubicBezTo>
                <a:cubicBezTo>
                  <a:pt x="64" y="85"/>
                  <a:pt x="64" y="85"/>
                  <a:pt x="64" y="85"/>
                </a:cubicBezTo>
                <a:cubicBezTo>
                  <a:pt x="64" y="100"/>
                  <a:pt x="64" y="100"/>
                  <a:pt x="64" y="100"/>
                </a:cubicBezTo>
                <a:cubicBezTo>
                  <a:pt x="64" y="102"/>
                  <a:pt x="65" y="103"/>
                  <a:pt x="66" y="104"/>
                </a:cubicBezTo>
                <a:cubicBezTo>
                  <a:pt x="67" y="105"/>
                  <a:pt x="68" y="106"/>
                  <a:pt x="70" y="106"/>
                </a:cubicBezTo>
                <a:cubicBezTo>
                  <a:pt x="100" y="106"/>
                  <a:pt x="100" y="106"/>
                  <a:pt x="100" y="106"/>
                </a:cubicBezTo>
                <a:cubicBezTo>
                  <a:pt x="102" y="106"/>
                  <a:pt x="103" y="105"/>
                  <a:pt x="104" y="104"/>
                </a:cubicBezTo>
                <a:cubicBezTo>
                  <a:pt x="106" y="103"/>
                  <a:pt x="106" y="102"/>
                  <a:pt x="106" y="100"/>
                </a:cubicBezTo>
                <a:cubicBezTo>
                  <a:pt x="106" y="85"/>
                  <a:pt x="106" y="85"/>
                  <a:pt x="106" y="85"/>
                </a:cubicBezTo>
                <a:lnTo>
                  <a:pt x="170" y="85"/>
                </a:lnTo>
                <a:close/>
                <a:moveTo>
                  <a:pt x="61" y="24"/>
                </a:moveTo>
                <a:cubicBezTo>
                  <a:pt x="109" y="24"/>
                  <a:pt x="109" y="24"/>
                  <a:pt x="109" y="24"/>
                </a:cubicBezTo>
                <a:cubicBezTo>
                  <a:pt x="109" y="12"/>
                  <a:pt x="109" y="12"/>
                  <a:pt x="109" y="12"/>
                </a:cubicBezTo>
                <a:cubicBezTo>
                  <a:pt x="61" y="12"/>
                  <a:pt x="61" y="12"/>
                  <a:pt x="61" y="12"/>
                </a:cubicBezTo>
                <a:lnTo>
                  <a:pt x="61" y="24"/>
                </a:lnTo>
                <a:close/>
                <a:moveTo>
                  <a:pt x="97" y="85"/>
                </a:moveTo>
                <a:cubicBezTo>
                  <a:pt x="97" y="97"/>
                  <a:pt x="97" y="97"/>
                  <a:pt x="97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3" y="85"/>
                  <a:pt x="73" y="85"/>
                  <a:pt x="73" y="85"/>
                </a:cubicBezTo>
                <a:lnTo>
                  <a:pt x="97" y="8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1" name="Freeform 382"/>
          <p:cNvSpPr>
            <a:spLocks noChangeAspect="1" noEditPoints="1"/>
          </p:cNvSpPr>
          <p:nvPr/>
        </p:nvSpPr>
        <p:spPr bwMode="auto">
          <a:xfrm>
            <a:off x="6498640" y="4337789"/>
            <a:ext cx="156131" cy="154570"/>
          </a:xfrm>
          <a:custGeom>
            <a:avLst/>
            <a:gdLst>
              <a:gd name="T0" fmla="*/ 149 w 151"/>
              <a:gd name="T1" fmla="*/ 81 h 149"/>
              <a:gd name="T2" fmla="*/ 151 w 151"/>
              <a:gd name="T3" fmla="*/ 85 h 149"/>
              <a:gd name="T4" fmla="*/ 149 w 151"/>
              <a:gd name="T5" fmla="*/ 89 h 149"/>
              <a:gd name="T6" fmla="*/ 145 w 151"/>
              <a:gd name="T7" fmla="*/ 91 h 149"/>
              <a:gd name="T8" fmla="*/ 124 w 151"/>
              <a:gd name="T9" fmla="*/ 91 h 149"/>
              <a:gd name="T10" fmla="*/ 117 w 151"/>
              <a:gd name="T11" fmla="*/ 118 h 149"/>
              <a:gd name="T12" fmla="*/ 137 w 151"/>
              <a:gd name="T13" fmla="*/ 138 h 149"/>
              <a:gd name="T14" fmla="*/ 139 w 151"/>
              <a:gd name="T15" fmla="*/ 142 h 149"/>
              <a:gd name="T16" fmla="*/ 137 w 151"/>
              <a:gd name="T17" fmla="*/ 147 h 149"/>
              <a:gd name="T18" fmla="*/ 133 w 151"/>
              <a:gd name="T19" fmla="*/ 149 h 149"/>
              <a:gd name="T20" fmla="*/ 128 w 151"/>
              <a:gd name="T21" fmla="*/ 147 h 149"/>
              <a:gd name="T22" fmla="*/ 110 w 151"/>
              <a:gd name="T23" fmla="*/ 128 h 149"/>
              <a:gd name="T24" fmla="*/ 108 w 151"/>
              <a:gd name="T25" fmla="*/ 129 h 149"/>
              <a:gd name="T26" fmla="*/ 104 w 151"/>
              <a:gd name="T27" fmla="*/ 132 h 149"/>
              <a:gd name="T28" fmla="*/ 98 w 151"/>
              <a:gd name="T29" fmla="*/ 135 h 149"/>
              <a:gd name="T30" fmla="*/ 90 w 151"/>
              <a:gd name="T31" fmla="*/ 138 h 149"/>
              <a:gd name="T32" fmla="*/ 81 w 151"/>
              <a:gd name="T33" fmla="*/ 139 h 149"/>
              <a:gd name="T34" fmla="*/ 81 w 151"/>
              <a:gd name="T35" fmla="*/ 55 h 149"/>
              <a:gd name="T36" fmla="*/ 69 w 151"/>
              <a:gd name="T37" fmla="*/ 55 h 149"/>
              <a:gd name="T38" fmla="*/ 69 w 151"/>
              <a:gd name="T39" fmla="*/ 139 h 149"/>
              <a:gd name="T40" fmla="*/ 60 w 151"/>
              <a:gd name="T41" fmla="*/ 138 h 149"/>
              <a:gd name="T42" fmla="*/ 51 w 151"/>
              <a:gd name="T43" fmla="*/ 135 h 149"/>
              <a:gd name="T44" fmla="*/ 45 w 151"/>
              <a:gd name="T45" fmla="*/ 131 h 149"/>
              <a:gd name="T46" fmla="*/ 41 w 151"/>
              <a:gd name="T47" fmla="*/ 128 h 149"/>
              <a:gd name="T48" fmla="*/ 40 w 151"/>
              <a:gd name="T49" fmla="*/ 127 h 149"/>
              <a:gd name="T50" fmla="*/ 22 w 151"/>
              <a:gd name="T51" fmla="*/ 147 h 149"/>
              <a:gd name="T52" fmla="*/ 18 w 151"/>
              <a:gd name="T53" fmla="*/ 149 h 149"/>
              <a:gd name="T54" fmla="*/ 14 w 151"/>
              <a:gd name="T55" fmla="*/ 147 h 149"/>
              <a:gd name="T56" fmla="*/ 12 w 151"/>
              <a:gd name="T57" fmla="*/ 143 h 149"/>
              <a:gd name="T58" fmla="*/ 13 w 151"/>
              <a:gd name="T59" fmla="*/ 138 h 149"/>
              <a:gd name="T60" fmla="*/ 32 w 151"/>
              <a:gd name="T61" fmla="*/ 117 h 149"/>
              <a:gd name="T62" fmla="*/ 27 w 151"/>
              <a:gd name="T63" fmla="*/ 91 h 149"/>
              <a:gd name="T64" fmla="*/ 6 w 151"/>
              <a:gd name="T65" fmla="*/ 91 h 149"/>
              <a:gd name="T66" fmla="*/ 1 w 151"/>
              <a:gd name="T67" fmla="*/ 89 h 149"/>
              <a:gd name="T68" fmla="*/ 0 w 151"/>
              <a:gd name="T69" fmla="*/ 85 h 149"/>
              <a:gd name="T70" fmla="*/ 1 w 151"/>
              <a:gd name="T71" fmla="*/ 81 h 149"/>
              <a:gd name="T72" fmla="*/ 6 w 151"/>
              <a:gd name="T73" fmla="*/ 79 h 149"/>
              <a:gd name="T74" fmla="*/ 27 w 151"/>
              <a:gd name="T75" fmla="*/ 79 h 149"/>
              <a:gd name="T76" fmla="*/ 27 w 151"/>
              <a:gd name="T77" fmla="*/ 51 h 149"/>
              <a:gd name="T78" fmla="*/ 10 w 151"/>
              <a:gd name="T79" fmla="*/ 35 h 149"/>
              <a:gd name="T80" fmla="*/ 9 w 151"/>
              <a:gd name="T81" fmla="*/ 31 h 149"/>
              <a:gd name="T82" fmla="*/ 10 w 151"/>
              <a:gd name="T83" fmla="*/ 26 h 149"/>
              <a:gd name="T84" fmla="*/ 15 w 151"/>
              <a:gd name="T85" fmla="*/ 24 h 149"/>
              <a:gd name="T86" fmla="*/ 19 w 151"/>
              <a:gd name="T87" fmla="*/ 26 h 149"/>
              <a:gd name="T88" fmla="*/ 35 w 151"/>
              <a:gd name="T89" fmla="*/ 43 h 149"/>
              <a:gd name="T90" fmla="*/ 115 w 151"/>
              <a:gd name="T91" fmla="*/ 43 h 149"/>
              <a:gd name="T92" fmla="*/ 131 w 151"/>
              <a:gd name="T93" fmla="*/ 26 h 149"/>
              <a:gd name="T94" fmla="*/ 136 w 151"/>
              <a:gd name="T95" fmla="*/ 24 h 149"/>
              <a:gd name="T96" fmla="*/ 140 w 151"/>
              <a:gd name="T97" fmla="*/ 26 h 149"/>
              <a:gd name="T98" fmla="*/ 142 w 151"/>
              <a:gd name="T99" fmla="*/ 31 h 149"/>
              <a:gd name="T100" fmla="*/ 140 w 151"/>
              <a:gd name="T101" fmla="*/ 35 h 149"/>
              <a:gd name="T102" fmla="*/ 124 w 151"/>
              <a:gd name="T103" fmla="*/ 51 h 149"/>
              <a:gd name="T104" fmla="*/ 124 w 151"/>
              <a:gd name="T105" fmla="*/ 79 h 149"/>
              <a:gd name="T106" fmla="*/ 145 w 151"/>
              <a:gd name="T107" fmla="*/ 79 h 149"/>
              <a:gd name="T108" fmla="*/ 149 w 151"/>
              <a:gd name="T109" fmla="*/ 81 h 149"/>
              <a:gd name="T110" fmla="*/ 105 w 151"/>
              <a:gd name="T111" fmla="*/ 31 h 149"/>
              <a:gd name="T112" fmla="*/ 45 w 151"/>
              <a:gd name="T113" fmla="*/ 31 h 149"/>
              <a:gd name="T114" fmla="*/ 54 w 151"/>
              <a:gd name="T115" fmla="*/ 9 h 149"/>
              <a:gd name="T116" fmla="*/ 75 w 151"/>
              <a:gd name="T117" fmla="*/ 0 h 149"/>
              <a:gd name="T118" fmla="*/ 97 w 151"/>
              <a:gd name="T119" fmla="*/ 9 h 149"/>
              <a:gd name="T120" fmla="*/ 105 w 151"/>
              <a:gd name="T121" fmla="*/ 31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1" h="149">
                <a:moveTo>
                  <a:pt x="149" y="81"/>
                </a:moveTo>
                <a:cubicBezTo>
                  <a:pt x="150" y="82"/>
                  <a:pt x="151" y="83"/>
                  <a:pt x="151" y="85"/>
                </a:cubicBezTo>
                <a:cubicBezTo>
                  <a:pt x="151" y="87"/>
                  <a:pt x="150" y="88"/>
                  <a:pt x="149" y="89"/>
                </a:cubicBezTo>
                <a:cubicBezTo>
                  <a:pt x="148" y="90"/>
                  <a:pt x="146" y="91"/>
                  <a:pt x="145" y="91"/>
                </a:cubicBezTo>
                <a:cubicBezTo>
                  <a:pt x="124" y="91"/>
                  <a:pt x="124" y="91"/>
                  <a:pt x="124" y="91"/>
                </a:cubicBezTo>
                <a:cubicBezTo>
                  <a:pt x="124" y="102"/>
                  <a:pt x="122" y="111"/>
                  <a:pt x="117" y="118"/>
                </a:cubicBezTo>
                <a:cubicBezTo>
                  <a:pt x="137" y="138"/>
                  <a:pt x="137" y="138"/>
                  <a:pt x="137" y="138"/>
                </a:cubicBezTo>
                <a:cubicBezTo>
                  <a:pt x="138" y="139"/>
                  <a:pt x="139" y="141"/>
                  <a:pt x="139" y="142"/>
                </a:cubicBezTo>
                <a:cubicBezTo>
                  <a:pt x="139" y="144"/>
                  <a:pt x="138" y="146"/>
                  <a:pt x="137" y="147"/>
                </a:cubicBezTo>
                <a:cubicBezTo>
                  <a:pt x="136" y="148"/>
                  <a:pt x="134" y="149"/>
                  <a:pt x="133" y="149"/>
                </a:cubicBezTo>
                <a:cubicBezTo>
                  <a:pt x="131" y="149"/>
                  <a:pt x="130" y="148"/>
                  <a:pt x="128" y="147"/>
                </a:cubicBezTo>
                <a:cubicBezTo>
                  <a:pt x="110" y="128"/>
                  <a:pt x="110" y="128"/>
                  <a:pt x="110" y="128"/>
                </a:cubicBezTo>
                <a:cubicBezTo>
                  <a:pt x="109" y="128"/>
                  <a:pt x="109" y="129"/>
                  <a:pt x="108" y="129"/>
                </a:cubicBezTo>
                <a:cubicBezTo>
                  <a:pt x="108" y="130"/>
                  <a:pt x="106" y="131"/>
                  <a:pt x="104" y="132"/>
                </a:cubicBezTo>
                <a:cubicBezTo>
                  <a:pt x="102" y="133"/>
                  <a:pt x="100" y="134"/>
                  <a:pt x="98" y="135"/>
                </a:cubicBezTo>
                <a:cubicBezTo>
                  <a:pt x="96" y="136"/>
                  <a:pt x="94" y="137"/>
                  <a:pt x="90" y="138"/>
                </a:cubicBezTo>
                <a:cubicBezTo>
                  <a:pt x="87" y="139"/>
                  <a:pt x="84" y="139"/>
                  <a:pt x="81" y="139"/>
                </a:cubicBezTo>
                <a:cubicBezTo>
                  <a:pt x="81" y="55"/>
                  <a:pt x="81" y="55"/>
                  <a:pt x="81" y="55"/>
                </a:cubicBezTo>
                <a:cubicBezTo>
                  <a:pt x="69" y="55"/>
                  <a:pt x="69" y="55"/>
                  <a:pt x="69" y="55"/>
                </a:cubicBezTo>
                <a:cubicBezTo>
                  <a:pt x="69" y="139"/>
                  <a:pt x="69" y="139"/>
                  <a:pt x="69" y="139"/>
                </a:cubicBezTo>
                <a:cubicBezTo>
                  <a:pt x="66" y="139"/>
                  <a:pt x="63" y="139"/>
                  <a:pt x="60" y="138"/>
                </a:cubicBezTo>
                <a:cubicBezTo>
                  <a:pt x="56" y="137"/>
                  <a:pt x="54" y="136"/>
                  <a:pt x="51" y="135"/>
                </a:cubicBezTo>
                <a:cubicBezTo>
                  <a:pt x="49" y="134"/>
                  <a:pt x="47" y="133"/>
                  <a:pt x="45" y="131"/>
                </a:cubicBezTo>
                <a:cubicBezTo>
                  <a:pt x="43" y="130"/>
                  <a:pt x="42" y="129"/>
                  <a:pt x="41" y="128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22" y="147"/>
                  <a:pt x="22" y="147"/>
                  <a:pt x="22" y="147"/>
                </a:cubicBezTo>
                <a:cubicBezTo>
                  <a:pt x="21" y="148"/>
                  <a:pt x="19" y="149"/>
                  <a:pt x="18" y="149"/>
                </a:cubicBezTo>
                <a:cubicBezTo>
                  <a:pt x="16" y="149"/>
                  <a:pt x="15" y="148"/>
                  <a:pt x="14" y="147"/>
                </a:cubicBezTo>
                <a:cubicBezTo>
                  <a:pt x="12" y="146"/>
                  <a:pt x="12" y="144"/>
                  <a:pt x="12" y="143"/>
                </a:cubicBezTo>
                <a:cubicBezTo>
                  <a:pt x="12" y="141"/>
                  <a:pt x="12" y="140"/>
                  <a:pt x="13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29" y="110"/>
                  <a:pt x="27" y="101"/>
                  <a:pt x="27" y="91"/>
                </a:cubicBezTo>
                <a:cubicBezTo>
                  <a:pt x="6" y="91"/>
                  <a:pt x="6" y="91"/>
                  <a:pt x="6" y="91"/>
                </a:cubicBezTo>
                <a:cubicBezTo>
                  <a:pt x="4" y="91"/>
                  <a:pt x="3" y="90"/>
                  <a:pt x="1" y="89"/>
                </a:cubicBezTo>
                <a:cubicBezTo>
                  <a:pt x="0" y="88"/>
                  <a:pt x="0" y="87"/>
                  <a:pt x="0" y="85"/>
                </a:cubicBezTo>
                <a:cubicBezTo>
                  <a:pt x="0" y="83"/>
                  <a:pt x="0" y="82"/>
                  <a:pt x="1" y="81"/>
                </a:cubicBezTo>
                <a:cubicBezTo>
                  <a:pt x="3" y="80"/>
                  <a:pt x="4" y="79"/>
                  <a:pt x="6" y="79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51"/>
                  <a:pt x="27" y="51"/>
                  <a:pt x="27" y="51"/>
                </a:cubicBezTo>
                <a:cubicBezTo>
                  <a:pt x="10" y="35"/>
                  <a:pt x="10" y="35"/>
                  <a:pt x="10" y="35"/>
                </a:cubicBezTo>
                <a:cubicBezTo>
                  <a:pt x="9" y="34"/>
                  <a:pt x="9" y="32"/>
                  <a:pt x="9" y="31"/>
                </a:cubicBezTo>
                <a:cubicBezTo>
                  <a:pt x="9" y="29"/>
                  <a:pt x="9" y="27"/>
                  <a:pt x="10" y="26"/>
                </a:cubicBezTo>
                <a:cubicBezTo>
                  <a:pt x="12" y="25"/>
                  <a:pt x="13" y="24"/>
                  <a:pt x="15" y="24"/>
                </a:cubicBezTo>
                <a:cubicBezTo>
                  <a:pt x="16" y="24"/>
                  <a:pt x="18" y="25"/>
                  <a:pt x="19" y="26"/>
                </a:cubicBezTo>
                <a:cubicBezTo>
                  <a:pt x="35" y="43"/>
                  <a:pt x="35" y="43"/>
                  <a:pt x="35" y="43"/>
                </a:cubicBezTo>
                <a:cubicBezTo>
                  <a:pt x="115" y="43"/>
                  <a:pt x="115" y="43"/>
                  <a:pt x="115" y="43"/>
                </a:cubicBezTo>
                <a:cubicBezTo>
                  <a:pt x="131" y="26"/>
                  <a:pt x="131" y="26"/>
                  <a:pt x="131" y="26"/>
                </a:cubicBezTo>
                <a:cubicBezTo>
                  <a:pt x="133" y="25"/>
                  <a:pt x="134" y="24"/>
                  <a:pt x="136" y="24"/>
                </a:cubicBezTo>
                <a:cubicBezTo>
                  <a:pt x="137" y="24"/>
                  <a:pt x="139" y="25"/>
                  <a:pt x="140" y="26"/>
                </a:cubicBezTo>
                <a:cubicBezTo>
                  <a:pt x="141" y="27"/>
                  <a:pt x="142" y="29"/>
                  <a:pt x="142" y="31"/>
                </a:cubicBezTo>
                <a:cubicBezTo>
                  <a:pt x="142" y="32"/>
                  <a:pt x="141" y="34"/>
                  <a:pt x="140" y="35"/>
                </a:cubicBezTo>
                <a:cubicBezTo>
                  <a:pt x="124" y="51"/>
                  <a:pt x="124" y="51"/>
                  <a:pt x="124" y="51"/>
                </a:cubicBezTo>
                <a:cubicBezTo>
                  <a:pt x="124" y="79"/>
                  <a:pt x="124" y="79"/>
                  <a:pt x="124" y="79"/>
                </a:cubicBezTo>
                <a:cubicBezTo>
                  <a:pt x="145" y="79"/>
                  <a:pt x="145" y="79"/>
                  <a:pt x="145" y="79"/>
                </a:cubicBezTo>
                <a:cubicBezTo>
                  <a:pt x="146" y="79"/>
                  <a:pt x="148" y="80"/>
                  <a:pt x="149" y="81"/>
                </a:cubicBezTo>
                <a:close/>
                <a:moveTo>
                  <a:pt x="105" y="31"/>
                </a:moveTo>
                <a:cubicBezTo>
                  <a:pt x="45" y="31"/>
                  <a:pt x="45" y="31"/>
                  <a:pt x="45" y="31"/>
                </a:cubicBezTo>
                <a:cubicBezTo>
                  <a:pt x="45" y="22"/>
                  <a:pt x="48" y="15"/>
                  <a:pt x="54" y="9"/>
                </a:cubicBezTo>
                <a:cubicBezTo>
                  <a:pt x="60" y="3"/>
                  <a:pt x="67" y="0"/>
                  <a:pt x="75" y="0"/>
                </a:cubicBezTo>
                <a:cubicBezTo>
                  <a:pt x="84" y="0"/>
                  <a:pt x="91" y="3"/>
                  <a:pt x="97" y="9"/>
                </a:cubicBezTo>
                <a:cubicBezTo>
                  <a:pt x="103" y="15"/>
                  <a:pt x="105" y="22"/>
                  <a:pt x="105" y="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2" name="Freeform 383"/>
          <p:cNvSpPr>
            <a:spLocks noChangeAspect="1" noEditPoints="1"/>
          </p:cNvSpPr>
          <p:nvPr/>
        </p:nvSpPr>
        <p:spPr bwMode="auto">
          <a:xfrm>
            <a:off x="6745326" y="4331544"/>
            <a:ext cx="138957" cy="176428"/>
          </a:xfrm>
          <a:custGeom>
            <a:avLst/>
            <a:gdLst>
              <a:gd name="T0" fmla="*/ 131 w 133"/>
              <a:gd name="T1" fmla="*/ 168 h 170"/>
              <a:gd name="T2" fmla="*/ 0 w 133"/>
              <a:gd name="T3" fmla="*/ 6 h 170"/>
              <a:gd name="T4" fmla="*/ 36 w 133"/>
              <a:gd name="T5" fmla="*/ 27 h 170"/>
              <a:gd name="T6" fmla="*/ 24 w 133"/>
              <a:gd name="T7" fmla="*/ 27 h 170"/>
              <a:gd name="T8" fmla="*/ 35 w 133"/>
              <a:gd name="T9" fmla="*/ 36 h 170"/>
              <a:gd name="T10" fmla="*/ 33 w 133"/>
              <a:gd name="T11" fmla="*/ 49 h 170"/>
              <a:gd name="T12" fmla="*/ 25 w 133"/>
              <a:gd name="T13" fmla="*/ 60 h 170"/>
              <a:gd name="T14" fmla="*/ 36 w 133"/>
              <a:gd name="T15" fmla="*/ 82 h 170"/>
              <a:gd name="T16" fmla="*/ 25 w 133"/>
              <a:gd name="T17" fmla="*/ 74 h 170"/>
              <a:gd name="T18" fmla="*/ 33 w 133"/>
              <a:gd name="T19" fmla="*/ 85 h 170"/>
              <a:gd name="T20" fmla="*/ 35 w 133"/>
              <a:gd name="T21" fmla="*/ 98 h 170"/>
              <a:gd name="T22" fmla="*/ 24 w 133"/>
              <a:gd name="T23" fmla="*/ 106 h 170"/>
              <a:gd name="T24" fmla="*/ 36 w 133"/>
              <a:gd name="T25" fmla="*/ 106 h 170"/>
              <a:gd name="T26" fmla="*/ 27 w 133"/>
              <a:gd name="T27" fmla="*/ 121 h 170"/>
              <a:gd name="T28" fmla="*/ 27 w 133"/>
              <a:gd name="T29" fmla="*/ 133 h 170"/>
              <a:gd name="T30" fmla="*/ 48 w 133"/>
              <a:gd name="T31" fmla="*/ 33 h 170"/>
              <a:gd name="T32" fmla="*/ 60 w 133"/>
              <a:gd name="T33" fmla="*/ 33 h 170"/>
              <a:gd name="T34" fmla="*/ 49 w 133"/>
              <a:gd name="T35" fmla="*/ 25 h 170"/>
              <a:gd name="T36" fmla="*/ 51 w 133"/>
              <a:gd name="T37" fmla="*/ 61 h 170"/>
              <a:gd name="T38" fmla="*/ 59 w 133"/>
              <a:gd name="T39" fmla="*/ 49 h 170"/>
              <a:gd name="T40" fmla="*/ 48 w 133"/>
              <a:gd name="T41" fmla="*/ 76 h 170"/>
              <a:gd name="T42" fmla="*/ 59 w 133"/>
              <a:gd name="T43" fmla="*/ 84 h 170"/>
              <a:gd name="T44" fmla="*/ 51 w 133"/>
              <a:gd name="T45" fmla="*/ 73 h 170"/>
              <a:gd name="T46" fmla="*/ 49 w 133"/>
              <a:gd name="T47" fmla="*/ 108 h 170"/>
              <a:gd name="T48" fmla="*/ 60 w 133"/>
              <a:gd name="T49" fmla="*/ 100 h 170"/>
              <a:gd name="T50" fmla="*/ 48 w 133"/>
              <a:gd name="T51" fmla="*/ 100 h 170"/>
              <a:gd name="T52" fmla="*/ 51 w 133"/>
              <a:gd name="T53" fmla="*/ 133 h 170"/>
              <a:gd name="T54" fmla="*/ 51 w 133"/>
              <a:gd name="T55" fmla="*/ 158 h 170"/>
              <a:gd name="T56" fmla="*/ 84 w 133"/>
              <a:gd name="T57" fmla="*/ 27 h 170"/>
              <a:gd name="T58" fmla="*/ 72 w 133"/>
              <a:gd name="T59" fmla="*/ 27 h 170"/>
              <a:gd name="T60" fmla="*/ 83 w 133"/>
              <a:gd name="T61" fmla="*/ 36 h 170"/>
              <a:gd name="T62" fmla="*/ 81 w 133"/>
              <a:gd name="T63" fmla="*/ 49 h 170"/>
              <a:gd name="T64" fmla="*/ 73 w 133"/>
              <a:gd name="T65" fmla="*/ 60 h 170"/>
              <a:gd name="T66" fmla="*/ 84 w 133"/>
              <a:gd name="T67" fmla="*/ 82 h 170"/>
              <a:gd name="T68" fmla="*/ 73 w 133"/>
              <a:gd name="T69" fmla="*/ 74 h 170"/>
              <a:gd name="T70" fmla="*/ 81 w 133"/>
              <a:gd name="T71" fmla="*/ 85 h 170"/>
              <a:gd name="T72" fmla="*/ 83 w 133"/>
              <a:gd name="T73" fmla="*/ 98 h 170"/>
              <a:gd name="T74" fmla="*/ 72 w 133"/>
              <a:gd name="T75" fmla="*/ 106 h 170"/>
              <a:gd name="T76" fmla="*/ 84 w 133"/>
              <a:gd name="T77" fmla="*/ 106 h 170"/>
              <a:gd name="T78" fmla="*/ 99 w 133"/>
              <a:gd name="T79" fmla="*/ 24 h 170"/>
              <a:gd name="T80" fmla="*/ 99 w 133"/>
              <a:gd name="T81" fmla="*/ 37 h 170"/>
              <a:gd name="T82" fmla="*/ 109 w 133"/>
              <a:gd name="T83" fmla="*/ 52 h 170"/>
              <a:gd name="T84" fmla="*/ 96 w 133"/>
              <a:gd name="T85" fmla="*/ 52 h 170"/>
              <a:gd name="T86" fmla="*/ 108 w 133"/>
              <a:gd name="T87" fmla="*/ 60 h 170"/>
              <a:gd name="T88" fmla="*/ 105 w 133"/>
              <a:gd name="T89" fmla="*/ 73 h 170"/>
              <a:gd name="T90" fmla="*/ 97 w 133"/>
              <a:gd name="T91" fmla="*/ 84 h 170"/>
              <a:gd name="T92" fmla="*/ 109 w 133"/>
              <a:gd name="T93" fmla="*/ 106 h 170"/>
              <a:gd name="T94" fmla="*/ 97 w 133"/>
              <a:gd name="T95" fmla="*/ 98 h 170"/>
              <a:gd name="T96" fmla="*/ 105 w 133"/>
              <a:gd name="T97" fmla="*/ 109 h 170"/>
              <a:gd name="T98" fmla="*/ 108 w 133"/>
              <a:gd name="T99" fmla="*/ 122 h 170"/>
              <a:gd name="T100" fmla="*/ 96 w 133"/>
              <a:gd name="T101" fmla="*/ 130 h 170"/>
              <a:gd name="T102" fmla="*/ 109 w 133"/>
              <a:gd name="T103" fmla="*/ 1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3" h="170">
                <a:moveTo>
                  <a:pt x="127" y="0"/>
                </a:moveTo>
                <a:cubicBezTo>
                  <a:pt x="128" y="0"/>
                  <a:pt x="130" y="1"/>
                  <a:pt x="131" y="2"/>
                </a:cubicBezTo>
                <a:cubicBezTo>
                  <a:pt x="132" y="3"/>
                  <a:pt x="133" y="5"/>
                  <a:pt x="133" y="6"/>
                </a:cubicBezTo>
                <a:cubicBezTo>
                  <a:pt x="133" y="164"/>
                  <a:pt x="133" y="164"/>
                  <a:pt x="133" y="164"/>
                </a:cubicBezTo>
                <a:cubicBezTo>
                  <a:pt x="133" y="165"/>
                  <a:pt x="132" y="167"/>
                  <a:pt x="131" y="168"/>
                </a:cubicBezTo>
                <a:cubicBezTo>
                  <a:pt x="130" y="169"/>
                  <a:pt x="128" y="170"/>
                  <a:pt x="127" y="170"/>
                </a:cubicBezTo>
                <a:cubicBezTo>
                  <a:pt x="6" y="170"/>
                  <a:pt x="6" y="170"/>
                  <a:pt x="6" y="170"/>
                </a:cubicBezTo>
                <a:cubicBezTo>
                  <a:pt x="4" y="170"/>
                  <a:pt x="3" y="169"/>
                  <a:pt x="1" y="168"/>
                </a:cubicBezTo>
                <a:cubicBezTo>
                  <a:pt x="0" y="167"/>
                  <a:pt x="0" y="165"/>
                  <a:pt x="0" y="164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lnTo>
                  <a:pt x="127" y="0"/>
                </a:lnTo>
                <a:close/>
                <a:moveTo>
                  <a:pt x="36" y="33"/>
                </a:moveTo>
                <a:cubicBezTo>
                  <a:pt x="36" y="27"/>
                  <a:pt x="36" y="27"/>
                  <a:pt x="36" y="27"/>
                </a:cubicBezTo>
                <a:cubicBezTo>
                  <a:pt x="36" y="27"/>
                  <a:pt x="36" y="26"/>
                  <a:pt x="35" y="25"/>
                </a:cubicBezTo>
                <a:cubicBezTo>
                  <a:pt x="34" y="25"/>
                  <a:pt x="34" y="24"/>
                  <a:pt x="33" y="24"/>
                </a:cubicBezTo>
                <a:cubicBezTo>
                  <a:pt x="27" y="24"/>
                  <a:pt x="27" y="24"/>
                  <a:pt x="27" y="24"/>
                </a:cubicBezTo>
                <a:cubicBezTo>
                  <a:pt x="26" y="24"/>
                  <a:pt x="25" y="25"/>
                  <a:pt x="25" y="25"/>
                </a:cubicBezTo>
                <a:cubicBezTo>
                  <a:pt x="24" y="26"/>
                  <a:pt x="24" y="27"/>
                  <a:pt x="24" y="27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34"/>
                  <a:pt x="24" y="35"/>
                  <a:pt x="25" y="36"/>
                </a:cubicBezTo>
                <a:cubicBezTo>
                  <a:pt x="25" y="36"/>
                  <a:pt x="26" y="37"/>
                  <a:pt x="27" y="37"/>
                </a:cubicBezTo>
                <a:cubicBezTo>
                  <a:pt x="33" y="37"/>
                  <a:pt x="33" y="37"/>
                  <a:pt x="33" y="37"/>
                </a:cubicBezTo>
                <a:cubicBezTo>
                  <a:pt x="34" y="37"/>
                  <a:pt x="34" y="36"/>
                  <a:pt x="35" y="36"/>
                </a:cubicBezTo>
                <a:cubicBezTo>
                  <a:pt x="36" y="35"/>
                  <a:pt x="36" y="34"/>
                  <a:pt x="36" y="33"/>
                </a:cubicBezTo>
                <a:close/>
                <a:moveTo>
                  <a:pt x="36" y="58"/>
                </a:moveTo>
                <a:cubicBezTo>
                  <a:pt x="36" y="52"/>
                  <a:pt x="36" y="52"/>
                  <a:pt x="36" y="52"/>
                </a:cubicBezTo>
                <a:cubicBezTo>
                  <a:pt x="36" y="51"/>
                  <a:pt x="36" y="50"/>
                  <a:pt x="35" y="49"/>
                </a:cubicBezTo>
                <a:cubicBezTo>
                  <a:pt x="34" y="49"/>
                  <a:pt x="34" y="49"/>
                  <a:pt x="33" y="49"/>
                </a:cubicBezTo>
                <a:cubicBezTo>
                  <a:pt x="27" y="49"/>
                  <a:pt x="27" y="49"/>
                  <a:pt x="27" y="49"/>
                </a:cubicBezTo>
                <a:cubicBezTo>
                  <a:pt x="26" y="49"/>
                  <a:pt x="25" y="49"/>
                  <a:pt x="25" y="49"/>
                </a:cubicBezTo>
                <a:cubicBezTo>
                  <a:pt x="24" y="50"/>
                  <a:pt x="24" y="51"/>
                  <a:pt x="24" y="52"/>
                </a:cubicBezTo>
                <a:cubicBezTo>
                  <a:pt x="24" y="58"/>
                  <a:pt x="24" y="58"/>
                  <a:pt x="24" y="58"/>
                </a:cubicBezTo>
                <a:cubicBezTo>
                  <a:pt x="24" y="59"/>
                  <a:pt x="24" y="59"/>
                  <a:pt x="25" y="60"/>
                </a:cubicBezTo>
                <a:cubicBezTo>
                  <a:pt x="25" y="60"/>
                  <a:pt x="26" y="61"/>
                  <a:pt x="27" y="61"/>
                </a:cubicBezTo>
                <a:cubicBezTo>
                  <a:pt x="33" y="61"/>
                  <a:pt x="33" y="61"/>
                  <a:pt x="33" y="61"/>
                </a:cubicBezTo>
                <a:cubicBezTo>
                  <a:pt x="34" y="61"/>
                  <a:pt x="34" y="60"/>
                  <a:pt x="35" y="60"/>
                </a:cubicBezTo>
                <a:cubicBezTo>
                  <a:pt x="36" y="59"/>
                  <a:pt x="36" y="59"/>
                  <a:pt x="36" y="58"/>
                </a:cubicBezTo>
                <a:close/>
                <a:moveTo>
                  <a:pt x="36" y="82"/>
                </a:moveTo>
                <a:cubicBezTo>
                  <a:pt x="36" y="76"/>
                  <a:pt x="36" y="76"/>
                  <a:pt x="36" y="76"/>
                </a:cubicBezTo>
                <a:cubicBezTo>
                  <a:pt x="36" y="75"/>
                  <a:pt x="36" y="74"/>
                  <a:pt x="35" y="74"/>
                </a:cubicBezTo>
                <a:cubicBezTo>
                  <a:pt x="34" y="73"/>
                  <a:pt x="34" y="73"/>
                  <a:pt x="33" y="73"/>
                </a:cubicBezTo>
                <a:cubicBezTo>
                  <a:pt x="27" y="73"/>
                  <a:pt x="27" y="73"/>
                  <a:pt x="27" y="73"/>
                </a:cubicBezTo>
                <a:cubicBezTo>
                  <a:pt x="26" y="73"/>
                  <a:pt x="25" y="73"/>
                  <a:pt x="25" y="74"/>
                </a:cubicBezTo>
                <a:cubicBezTo>
                  <a:pt x="24" y="74"/>
                  <a:pt x="24" y="75"/>
                  <a:pt x="24" y="76"/>
                </a:cubicBezTo>
                <a:cubicBezTo>
                  <a:pt x="24" y="82"/>
                  <a:pt x="24" y="82"/>
                  <a:pt x="24" y="82"/>
                </a:cubicBezTo>
                <a:cubicBezTo>
                  <a:pt x="24" y="83"/>
                  <a:pt x="24" y="83"/>
                  <a:pt x="25" y="84"/>
                </a:cubicBezTo>
                <a:cubicBezTo>
                  <a:pt x="25" y="85"/>
                  <a:pt x="26" y="85"/>
                  <a:pt x="27" y="85"/>
                </a:cubicBezTo>
                <a:cubicBezTo>
                  <a:pt x="33" y="85"/>
                  <a:pt x="33" y="85"/>
                  <a:pt x="33" y="85"/>
                </a:cubicBezTo>
                <a:cubicBezTo>
                  <a:pt x="34" y="85"/>
                  <a:pt x="34" y="85"/>
                  <a:pt x="35" y="84"/>
                </a:cubicBezTo>
                <a:cubicBezTo>
                  <a:pt x="36" y="83"/>
                  <a:pt x="36" y="83"/>
                  <a:pt x="36" y="82"/>
                </a:cubicBezTo>
                <a:close/>
                <a:moveTo>
                  <a:pt x="36" y="106"/>
                </a:moveTo>
                <a:cubicBezTo>
                  <a:pt x="36" y="100"/>
                  <a:pt x="36" y="100"/>
                  <a:pt x="36" y="100"/>
                </a:cubicBezTo>
                <a:cubicBezTo>
                  <a:pt x="36" y="99"/>
                  <a:pt x="36" y="98"/>
                  <a:pt x="35" y="98"/>
                </a:cubicBezTo>
                <a:cubicBezTo>
                  <a:pt x="34" y="97"/>
                  <a:pt x="34" y="97"/>
                  <a:pt x="33" y="97"/>
                </a:cubicBezTo>
                <a:cubicBezTo>
                  <a:pt x="27" y="97"/>
                  <a:pt x="27" y="97"/>
                  <a:pt x="27" y="97"/>
                </a:cubicBezTo>
                <a:cubicBezTo>
                  <a:pt x="26" y="97"/>
                  <a:pt x="25" y="97"/>
                  <a:pt x="25" y="98"/>
                </a:cubicBezTo>
                <a:cubicBezTo>
                  <a:pt x="24" y="98"/>
                  <a:pt x="24" y="99"/>
                  <a:pt x="24" y="100"/>
                </a:cubicBezTo>
                <a:cubicBezTo>
                  <a:pt x="24" y="106"/>
                  <a:pt x="24" y="106"/>
                  <a:pt x="24" y="106"/>
                </a:cubicBezTo>
                <a:cubicBezTo>
                  <a:pt x="24" y="107"/>
                  <a:pt x="24" y="108"/>
                  <a:pt x="25" y="108"/>
                </a:cubicBezTo>
                <a:cubicBezTo>
                  <a:pt x="25" y="109"/>
                  <a:pt x="26" y="109"/>
                  <a:pt x="27" y="109"/>
                </a:cubicBezTo>
                <a:cubicBezTo>
                  <a:pt x="33" y="109"/>
                  <a:pt x="33" y="109"/>
                  <a:pt x="33" y="109"/>
                </a:cubicBezTo>
                <a:cubicBezTo>
                  <a:pt x="34" y="109"/>
                  <a:pt x="34" y="109"/>
                  <a:pt x="35" y="108"/>
                </a:cubicBezTo>
                <a:cubicBezTo>
                  <a:pt x="36" y="108"/>
                  <a:pt x="36" y="107"/>
                  <a:pt x="36" y="106"/>
                </a:cubicBezTo>
                <a:close/>
                <a:moveTo>
                  <a:pt x="36" y="130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23"/>
                  <a:pt x="36" y="123"/>
                  <a:pt x="35" y="122"/>
                </a:cubicBezTo>
                <a:cubicBezTo>
                  <a:pt x="34" y="122"/>
                  <a:pt x="34" y="121"/>
                  <a:pt x="33" y="121"/>
                </a:cubicBezTo>
                <a:cubicBezTo>
                  <a:pt x="27" y="121"/>
                  <a:pt x="27" y="121"/>
                  <a:pt x="27" y="121"/>
                </a:cubicBezTo>
                <a:cubicBezTo>
                  <a:pt x="26" y="121"/>
                  <a:pt x="25" y="122"/>
                  <a:pt x="25" y="122"/>
                </a:cubicBezTo>
                <a:cubicBezTo>
                  <a:pt x="24" y="123"/>
                  <a:pt x="24" y="123"/>
                  <a:pt x="24" y="124"/>
                </a:cubicBezTo>
                <a:cubicBezTo>
                  <a:pt x="24" y="130"/>
                  <a:pt x="24" y="130"/>
                  <a:pt x="24" y="130"/>
                </a:cubicBezTo>
                <a:cubicBezTo>
                  <a:pt x="24" y="131"/>
                  <a:pt x="24" y="132"/>
                  <a:pt x="25" y="132"/>
                </a:cubicBezTo>
                <a:cubicBezTo>
                  <a:pt x="25" y="133"/>
                  <a:pt x="26" y="133"/>
                  <a:pt x="27" y="133"/>
                </a:cubicBezTo>
                <a:cubicBezTo>
                  <a:pt x="33" y="133"/>
                  <a:pt x="33" y="133"/>
                  <a:pt x="33" y="133"/>
                </a:cubicBezTo>
                <a:cubicBezTo>
                  <a:pt x="34" y="133"/>
                  <a:pt x="34" y="133"/>
                  <a:pt x="35" y="132"/>
                </a:cubicBezTo>
                <a:cubicBezTo>
                  <a:pt x="36" y="132"/>
                  <a:pt x="36" y="131"/>
                  <a:pt x="36" y="130"/>
                </a:cubicBezTo>
                <a:close/>
                <a:moveTo>
                  <a:pt x="48" y="27"/>
                </a:moveTo>
                <a:cubicBezTo>
                  <a:pt x="48" y="33"/>
                  <a:pt x="48" y="33"/>
                  <a:pt x="48" y="33"/>
                </a:cubicBezTo>
                <a:cubicBezTo>
                  <a:pt x="48" y="34"/>
                  <a:pt x="48" y="35"/>
                  <a:pt x="49" y="36"/>
                </a:cubicBezTo>
                <a:cubicBezTo>
                  <a:pt x="49" y="36"/>
                  <a:pt x="50" y="37"/>
                  <a:pt x="51" y="37"/>
                </a:cubicBezTo>
                <a:cubicBezTo>
                  <a:pt x="57" y="37"/>
                  <a:pt x="57" y="37"/>
                  <a:pt x="57" y="37"/>
                </a:cubicBezTo>
                <a:cubicBezTo>
                  <a:pt x="58" y="37"/>
                  <a:pt x="59" y="36"/>
                  <a:pt x="59" y="36"/>
                </a:cubicBezTo>
                <a:cubicBezTo>
                  <a:pt x="60" y="35"/>
                  <a:pt x="60" y="34"/>
                  <a:pt x="60" y="33"/>
                </a:cubicBezTo>
                <a:cubicBezTo>
                  <a:pt x="60" y="27"/>
                  <a:pt x="60" y="27"/>
                  <a:pt x="60" y="27"/>
                </a:cubicBezTo>
                <a:cubicBezTo>
                  <a:pt x="60" y="27"/>
                  <a:pt x="60" y="26"/>
                  <a:pt x="59" y="25"/>
                </a:cubicBezTo>
                <a:cubicBezTo>
                  <a:pt x="59" y="25"/>
                  <a:pt x="58" y="24"/>
                  <a:pt x="57" y="24"/>
                </a:cubicBezTo>
                <a:cubicBezTo>
                  <a:pt x="51" y="24"/>
                  <a:pt x="51" y="24"/>
                  <a:pt x="51" y="24"/>
                </a:cubicBezTo>
                <a:cubicBezTo>
                  <a:pt x="50" y="24"/>
                  <a:pt x="49" y="25"/>
                  <a:pt x="49" y="25"/>
                </a:cubicBezTo>
                <a:cubicBezTo>
                  <a:pt x="48" y="26"/>
                  <a:pt x="48" y="27"/>
                  <a:pt x="48" y="27"/>
                </a:cubicBezTo>
                <a:close/>
                <a:moveTo>
                  <a:pt x="48" y="52"/>
                </a:moveTo>
                <a:cubicBezTo>
                  <a:pt x="48" y="58"/>
                  <a:pt x="48" y="58"/>
                  <a:pt x="48" y="58"/>
                </a:cubicBezTo>
                <a:cubicBezTo>
                  <a:pt x="48" y="59"/>
                  <a:pt x="48" y="59"/>
                  <a:pt x="49" y="60"/>
                </a:cubicBezTo>
                <a:cubicBezTo>
                  <a:pt x="49" y="60"/>
                  <a:pt x="50" y="61"/>
                  <a:pt x="51" y="61"/>
                </a:cubicBezTo>
                <a:cubicBezTo>
                  <a:pt x="57" y="61"/>
                  <a:pt x="57" y="61"/>
                  <a:pt x="57" y="61"/>
                </a:cubicBezTo>
                <a:cubicBezTo>
                  <a:pt x="58" y="61"/>
                  <a:pt x="59" y="60"/>
                  <a:pt x="59" y="60"/>
                </a:cubicBezTo>
                <a:cubicBezTo>
                  <a:pt x="60" y="59"/>
                  <a:pt x="60" y="59"/>
                  <a:pt x="60" y="58"/>
                </a:cubicBezTo>
                <a:cubicBezTo>
                  <a:pt x="60" y="52"/>
                  <a:pt x="60" y="52"/>
                  <a:pt x="60" y="52"/>
                </a:cubicBezTo>
                <a:cubicBezTo>
                  <a:pt x="60" y="51"/>
                  <a:pt x="60" y="50"/>
                  <a:pt x="59" y="49"/>
                </a:cubicBezTo>
                <a:cubicBezTo>
                  <a:pt x="59" y="49"/>
                  <a:pt x="58" y="49"/>
                  <a:pt x="57" y="49"/>
                </a:cubicBezTo>
                <a:cubicBezTo>
                  <a:pt x="51" y="49"/>
                  <a:pt x="51" y="49"/>
                  <a:pt x="51" y="49"/>
                </a:cubicBezTo>
                <a:cubicBezTo>
                  <a:pt x="50" y="49"/>
                  <a:pt x="49" y="49"/>
                  <a:pt x="49" y="49"/>
                </a:cubicBezTo>
                <a:cubicBezTo>
                  <a:pt x="48" y="50"/>
                  <a:pt x="48" y="51"/>
                  <a:pt x="48" y="52"/>
                </a:cubicBezTo>
                <a:close/>
                <a:moveTo>
                  <a:pt x="48" y="76"/>
                </a:moveTo>
                <a:cubicBezTo>
                  <a:pt x="48" y="82"/>
                  <a:pt x="48" y="82"/>
                  <a:pt x="48" y="82"/>
                </a:cubicBezTo>
                <a:cubicBezTo>
                  <a:pt x="48" y="83"/>
                  <a:pt x="48" y="83"/>
                  <a:pt x="49" y="84"/>
                </a:cubicBezTo>
                <a:cubicBezTo>
                  <a:pt x="49" y="85"/>
                  <a:pt x="50" y="85"/>
                  <a:pt x="51" y="85"/>
                </a:cubicBezTo>
                <a:cubicBezTo>
                  <a:pt x="57" y="85"/>
                  <a:pt x="57" y="85"/>
                  <a:pt x="57" y="85"/>
                </a:cubicBezTo>
                <a:cubicBezTo>
                  <a:pt x="58" y="85"/>
                  <a:pt x="59" y="85"/>
                  <a:pt x="59" y="84"/>
                </a:cubicBezTo>
                <a:cubicBezTo>
                  <a:pt x="60" y="83"/>
                  <a:pt x="60" y="83"/>
                  <a:pt x="60" y="82"/>
                </a:cubicBezTo>
                <a:cubicBezTo>
                  <a:pt x="60" y="76"/>
                  <a:pt x="60" y="76"/>
                  <a:pt x="60" y="76"/>
                </a:cubicBezTo>
                <a:cubicBezTo>
                  <a:pt x="60" y="75"/>
                  <a:pt x="60" y="74"/>
                  <a:pt x="59" y="74"/>
                </a:cubicBezTo>
                <a:cubicBezTo>
                  <a:pt x="59" y="73"/>
                  <a:pt x="58" y="73"/>
                  <a:pt x="57" y="73"/>
                </a:cubicBezTo>
                <a:cubicBezTo>
                  <a:pt x="51" y="73"/>
                  <a:pt x="51" y="73"/>
                  <a:pt x="51" y="73"/>
                </a:cubicBezTo>
                <a:cubicBezTo>
                  <a:pt x="50" y="73"/>
                  <a:pt x="49" y="73"/>
                  <a:pt x="49" y="74"/>
                </a:cubicBezTo>
                <a:cubicBezTo>
                  <a:pt x="48" y="74"/>
                  <a:pt x="48" y="75"/>
                  <a:pt x="48" y="76"/>
                </a:cubicBezTo>
                <a:close/>
                <a:moveTo>
                  <a:pt x="48" y="100"/>
                </a:moveTo>
                <a:cubicBezTo>
                  <a:pt x="48" y="106"/>
                  <a:pt x="48" y="106"/>
                  <a:pt x="48" y="106"/>
                </a:cubicBezTo>
                <a:cubicBezTo>
                  <a:pt x="48" y="107"/>
                  <a:pt x="48" y="108"/>
                  <a:pt x="49" y="108"/>
                </a:cubicBezTo>
                <a:cubicBezTo>
                  <a:pt x="49" y="109"/>
                  <a:pt x="50" y="109"/>
                  <a:pt x="51" y="109"/>
                </a:cubicBezTo>
                <a:cubicBezTo>
                  <a:pt x="57" y="109"/>
                  <a:pt x="57" y="109"/>
                  <a:pt x="57" y="109"/>
                </a:cubicBezTo>
                <a:cubicBezTo>
                  <a:pt x="58" y="109"/>
                  <a:pt x="59" y="109"/>
                  <a:pt x="59" y="108"/>
                </a:cubicBezTo>
                <a:cubicBezTo>
                  <a:pt x="60" y="108"/>
                  <a:pt x="60" y="107"/>
                  <a:pt x="60" y="106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60" y="99"/>
                  <a:pt x="60" y="98"/>
                  <a:pt x="59" y="98"/>
                </a:cubicBezTo>
                <a:cubicBezTo>
                  <a:pt x="59" y="97"/>
                  <a:pt x="58" y="97"/>
                  <a:pt x="57" y="97"/>
                </a:cubicBezTo>
                <a:cubicBezTo>
                  <a:pt x="51" y="97"/>
                  <a:pt x="51" y="97"/>
                  <a:pt x="51" y="97"/>
                </a:cubicBezTo>
                <a:cubicBezTo>
                  <a:pt x="50" y="97"/>
                  <a:pt x="49" y="97"/>
                  <a:pt x="49" y="98"/>
                </a:cubicBezTo>
                <a:cubicBezTo>
                  <a:pt x="48" y="98"/>
                  <a:pt x="48" y="99"/>
                  <a:pt x="48" y="100"/>
                </a:cubicBezTo>
                <a:close/>
                <a:moveTo>
                  <a:pt x="84" y="155"/>
                </a:moveTo>
                <a:cubicBezTo>
                  <a:pt x="84" y="136"/>
                  <a:pt x="84" y="136"/>
                  <a:pt x="84" y="136"/>
                </a:cubicBezTo>
                <a:cubicBezTo>
                  <a:pt x="84" y="135"/>
                  <a:pt x="84" y="135"/>
                  <a:pt x="83" y="134"/>
                </a:cubicBezTo>
                <a:cubicBezTo>
                  <a:pt x="83" y="134"/>
                  <a:pt x="82" y="133"/>
                  <a:pt x="81" y="133"/>
                </a:cubicBezTo>
                <a:cubicBezTo>
                  <a:pt x="51" y="133"/>
                  <a:pt x="51" y="133"/>
                  <a:pt x="51" y="133"/>
                </a:cubicBezTo>
                <a:cubicBezTo>
                  <a:pt x="50" y="133"/>
                  <a:pt x="49" y="134"/>
                  <a:pt x="49" y="134"/>
                </a:cubicBezTo>
                <a:cubicBezTo>
                  <a:pt x="48" y="135"/>
                  <a:pt x="48" y="135"/>
                  <a:pt x="48" y="136"/>
                </a:cubicBezTo>
                <a:cubicBezTo>
                  <a:pt x="48" y="155"/>
                  <a:pt x="48" y="155"/>
                  <a:pt x="48" y="155"/>
                </a:cubicBezTo>
                <a:cubicBezTo>
                  <a:pt x="48" y="155"/>
                  <a:pt x="48" y="156"/>
                  <a:pt x="49" y="157"/>
                </a:cubicBezTo>
                <a:cubicBezTo>
                  <a:pt x="49" y="157"/>
                  <a:pt x="50" y="158"/>
                  <a:pt x="51" y="158"/>
                </a:cubicBezTo>
                <a:cubicBezTo>
                  <a:pt x="81" y="158"/>
                  <a:pt x="81" y="158"/>
                  <a:pt x="81" y="158"/>
                </a:cubicBezTo>
                <a:cubicBezTo>
                  <a:pt x="82" y="158"/>
                  <a:pt x="83" y="157"/>
                  <a:pt x="83" y="157"/>
                </a:cubicBezTo>
                <a:cubicBezTo>
                  <a:pt x="84" y="156"/>
                  <a:pt x="84" y="155"/>
                  <a:pt x="84" y="155"/>
                </a:cubicBezTo>
                <a:close/>
                <a:moveTo>
                  <a:pt x="84" y="33"/>
                </a:moveTo>
                <a:cubicBezTo>
                  <a:pt x="84" y="27"/>
                  <a:pt x="84" y="27"/>
                  <a:pt x="84" y="27"/>
                </a:cubicBezTo>
                <a:cubicBezTo>
                  <a:pt x="84" y="27"/>
                  <a:pt x="84" y="26"/>
                  <a:pt x="83" y="25"/>
                </a:cubicBezTo>
                <a:cubicBezTo>
                  <a:pt x="83" y="25"/>
                  <a:pt x="82" y="24"/>
                  <a:pt x="81" y="24"/>
                </a:cubicBezTo>
                <a:cubicBezTo>
                  <a:pt x="75" y="24"/>
                  <a:pt x="75" y="24"/>
                  <a:pt x="75" y="24"/>
                </a:cubicBezTo>
                <a:cubicBezTo>
                  <a:pt x="74" y="24"/>
                  <a:pt x="74" y="25"/>
                  <a:pt x="73" y="25"/>
                </a:cubicBezTo>
                <a:cubicBezTo>
                  <a:pt x="72" y="26"/>
                  <a:pt x="72" y="27"/>
                  <a:pt x="72" y="27"/>
                </a:cubicBezTo>
                <a:cubicBezTo>
                  <a:pt x="72" y="33"/>
                  <a:pt x="72" y="33"/>
                  <a:pt x="72" y="33"/>
                </a:cubicBezTo>
                <a:cubicBezTo>
                  <a:pt x="72" y="34"/>
                  <a:pt x="72" y="35"/>
                  <a:pt x="73" y="36"/>
                </a:cubicBezTo>
                <a:cubicBezTo>
                  <a:pt x="74" y="36"/>
                  <a:pt x="74" y="37"/>
                  <a:pt x="75" y="37"/>
                </a:cubicBezTo>
                <a:cubicBezTo>
                  <a:pt x="81" y="37"/>
                  <a:pt x="81" y="37"/>
                  <a:pt x="81" y="37"/>
                </a:cubicBezTo>
                <a:cubicBezTo>
                  <a:pt x="82" y="37"/>
                  <a:pt x="83" y="36"/>
                  <a:pt x="83" y="36"/>
                </a:cubicBezTo>
                <a:cubicBezTo>
                  <a:pt x="84" y="35"/>
                  <a:pt x="84" y="34"/>
                  <a:pt x="84" y="33"/>
                </a:cubicBezTo>
                <a:close/>
                <a:moveTo>
                  <a:pt x="84" y="58"/>
                </a:moveTo>
                <a:cubicBezTo>
                  <a:pt x="84" y="52"/>
                  <a:pt x="84" y="52"/>
                  <a:pt x="84" y="52"/>
                </a:cubicBezTo>
                <a:cubicBezTo>
                  <a:pt x="84" y="51"/>
                  <a:pt x="84" y="50"/>
                  <a:pt x="83" y="49"/>
                </a:cubicBezTo>
                <a:cubicBezTo>
                  <a:pt x="83" y="49"/>
                  <a:pt x="82" y="49"/>
                  <a:pt x="81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4" y="49"/>
                  <a:pt x="74" y="49"/>
                  <a:pt x="73" y="49"/>
                </a:cubicBezTo>
                <a:cubicBezTo>
                  <a:pt x="72" y="50"/>
                  <a:pt x="72" y="51"/>
                  <a:pt x="72" y="52"/>
                </a:cubicBezTo>
                <a:cubicBezTo>
                  <a:pt x="72" y="58"/>
                  <a:pt x="72" y="58"/>
                  <a:pt x="72" y="58"/>
                </a:cubicBezTo>
                <a:cubicBezTo>
                  <a:pt x="72" y="59"/>
                  <a:pt x="72" y="59"/>
                  <a:pt x="73" y="60"/>
                </a:cubicBezTo>
                <a:cubicBezTo>
                  <a:pt x="74" y="60"/>
                  <a:pt x="74" y="61"/>
                  <a:pt x="75" y="61"/>
                </a:cubicBezTo>
                <a:cubicBezTo>
                  <a:pt x="81" y="61"/>
                  <a:pt x="81" y="61"/>
                  <a:pt x="81" y="61"/>
                </a:cubicBezTo>
                <a:cubicBezTo>
                  <a:pt x="82" y="61"/>
                  <a:pt x="83" y="60"/>
                  <a:pt x="83" y="60"/>
                </a:cubicBezTo>
                <a:cubicBezTo>
                  <a:pt x="84" y="59"/>
                  <a:pt x="84" y="59"/>
                  <a:pt x="84" y="58"/>
                </a:cubicBezTo>
                <a:close/>
                <a:moveTo>
                  <a:pt x="84" y="82"/>
                </a:moveTo>
                <a:cubicBezTo>
                  <a:pt x="84" y="76"/>
                  <a:pt x="84" y="76"/>
                  <a:pt x="84" y="76"/>
                </a:cubicBezTo>
                <a:cubicBezTo>
                  <a:pt x="84" y="75"/>
                  <a:pt x="84" y="74"/>
                  <a:pt x="83" y="74"/>
                </a:cubicBezTo>
                <a:cubicBezTo>
                  <a:pt x="83" y="73"/>
                  <a:pt x="82" y="73"/>
                  <a:pt x="81" y="73"/>
                </a:cubicBezTo>
                <a:cubicBezTo>
                  <a:pt x="75" y="73"/>
                  <a:pt x="75" y="73"/>
                  <a:pt x="75" y="73"/>
                </a:cubicBezTo>
                <a:cubicBezTo>
                  <a:pt x="74" y="73"/>
                  <a:pt x="74" y="73"/>
                  <a:pt x="73" y="74"/>
                </a:cubicBezTo>
                <a:cubicBezTo>
                  <a:pt x="72" y="74"/>
                  <a:pt x="72" y="75"/>
                  <a:pt x="72" y="76"/>
                </a:cubicBezTo>
                <a:cubicBezTo>
                  <a:pt x="72" y="82"/>
                  <a:pt x="72" y="82"/>
                  <a:pt x="72" y="82"/>
                </a:cubicBezTo>
                <a:cubicBezTo>
                  <a:pt x="72" y="83"/>
                  <a:pt x="72" y="83"/>
                  <a:pt x="73" y="84"/>
                </a:cubicBezTo>
                <a:cubicBezTo>
                  <a:pt x="74" y="85"/>
                  <a:pt x="74" y="85"/>
                  <a:pt x="75" y="85"/>
                </a:cubicBezTo>
                <a:cubicBezTo>
                  <a:pt x="81" y="85"/>
                  <a:pt x="81" y="85"/>
                  <a:pt x="81" y="85"/>
                </a:cubicBezTo>
                <a:cubicBezTo>
                  <a:pt x="82" y="85"/>
                  <a:pt x="83" y="85"/>
                  <a:pt x="83" y="84"/>
                </a:cubicBezTo>
                <a:cubicBezTo>
                  <a:pt x="84" y="83"/>
                  <a:pt x="84" y="83"/>
                  <a:pt x="84" y="82"/>
                </a:cubicBezTo>
                <a:close/>
                <a:moveTo>
                  <a:pt x="84" y="106"/>
                </a:moveTo>
                <a:cubicBezTo>
                  <a:pt x="84" y="100"/>
                  <a:pt x="84" y="100"/>
                  <a:pt x="84" y="100"/>
                </a:cubicBezTo>
                <a:cubicBezTo>
                  <a:pt x="84" y="99"/>
                  <a:pt x="84" y="98"/>
                  <a:pt x="83" y="98"/>
                </a:cubicBezTo>
                <a:cubicBezTo>
                  <a:pt x="83" y="97"/>
                  <a:pt x="82" y="97"/>
                  <a:pt x="81" y="97"/>
                </a:cubicBezTo>
                <a:cubicBezTo>
                  <a:pt x="75" y="97"/>
                  <a:pt x="75" y="97"/>
                  <a:pt x="75" y="97"/>
                </a:cubicBezTo>
                <a:cubicBezTo>
                  <a:pt x="74" y="97"/>
                  <a:pt x="74" y="97"/>
                  <a:pt x="73" y="98"/>
                </a:cubicBezTo>
                <a:cubicBezTo>
                  <a:pt x="72" y="98"/>
                  <a:pt x="72" y="99"/>
                  <a:pt x="72" y="100"/>
                </a:cubicBezTo>
                <a:cubicBezTo>
                  <a:pt x="72" y="106"/>
                  <a:pt x="72" y="106"/>
                  <a:pt x="72" y="106"/>
                </a:cubicBezTo>
                <a:cubicBezTo>
                  <a:pt x="72" y="107"/>
                  <a:pt x="72" y="108"/>
                  <a:pt x="73" y="108"/>
                </a:cubicBezTo>
                <a:cubicBezTo>
                  <a:pt x="74" y="109"/>
                  <a:pt x="74" y="109"/>
                  <a:pt x="75" y="109"/>
                </a:cubicBezTo>
                <a:cubicBezTo>
                  <a:pt x="81" y="109"/>
                  <a:pt x="81" y="109"/>
                  <a:pt x="81" y="109"/>
                </a:cubicBezTo>
                <a:cubicBezTo>
                  <a:pt x="82" y="109"/>
                  <a:pt x="83" y="109"/>
                  <a:pt x="83" y="108"/>
                </a:cubicBezTo>
                <a:cubicBezTo>
                  <a:pt x="84" y="108"/>
                  <a:pt x="84" y="107"/>
                  <a:pt x="84" y="106"/>
                </a:cubicBezTo>
                <a:close/>
                <a:moveTo>
                  <a:pt x="109" y="33"/>
                </a:moveTo>
                <a:cubicBezTo>
                  <a:pt x="109" y="27"/>
                  <a:pt x="109" y="27"/>
                  <a:pt x="109" y="27"/>
                </a:cubicBezTo>
                <a:cubicBezTo>
                  <a:pt x="109" y="27"/>
                  <a:pt x="108" y="26"/>
                  <a:pt x="108" y="25"/>
                </a:cubicBezTo>
                <a:cubicBezTo>
                  <a:pt x="107" y="25"/>
                  <a:pt x="106" y="24"/>
                  <a:pt x="105" y="24"/>
                </a:cubicBezTo>
                <a:cubicBezTo>
                  <a:pt x="99" y="24"/>
                  <a:pt x="99" y="24"/>
                  <a:pt x="99" y="24"/>
                </a:cubicBezTo>
                <a:cubicBezTo>
                  <a:pt x="99" y="24"/>
                  <a:pt x="98" y="25"/>
                  <a:pt x="97" y="25"/>
                </a:cubicBezTo>
                <a:cubicBezTo>
                  <a:pt x="97" y="26"/>
                  <a:pt x="96" y="27"/>
                  <a:pt x="96" y="27"/>
                </a:cubicBezTo>
                <a:cubicBezTo>
                  <a:pt x="96" y="33"/>
                  <a:pt x="96" y="33"/>
                  <a:pt x="96" y="33"/>
                </a:cubicBezTo>
                <a:cubicBezTo>
                  <a:pt x="96" y="34"/>
                  <a:pt x="97" y="35"/>
                  <a:pt x="97" y="36"/>
                </a:cubicBezTo>
                <a:cubicBezTo>
                  <a:pt x="98" y="36"/>
                  <a:pt x="99" y="37"/>
                  <a:pt x="99" y="37"/>
                </a:cubicBezTo>
                <a:cubicBezTo>
                  <a:pt x="105" y="37"/>
                  <a:pt x="105" y="37"/>
                  <a:pt x="105" y="37"/>
                </a:cubicBezTo>
                <a:cubicBezTo>
                  <a:pt x="106" y="37"/>
                  <a:pt x="107" y="36"/>
                  <a:pt x="108" y="36"/>
                </a:cubicBezTo>
                <a:cubicBezTo>
                  <a:pt x="108" y="35"/>
                  <a:pt x="109" y="34"/>
                  <a:pt x="109" y="33"/>
                </a:cubicBezTo>
                <a:close/>
                <a:moveTo>
                  <a:pt x="109" y="58"/>
                </a:moveTo>
                <a:cubicBezTo>
                  <a:pt x="109" y="52"/>
                  <a:pt x="109" y="52"/>
                  <a:pt x="109" y="52"/>
                </a:cubicBezTo>
                <a:cubicBezTo>
                  <a:pt x="109" y="51"/>
                  <a:pt x="108" y="50"/>
                  <a:pt x="108" y="49"/>
                </a:cubicBezTo>
                <a:cubicBezTo>
                  <a:pt x="107" y="49"/>
                  <a:pt x="106" y="49"/>
                  <a:pt x="105" y="49"/>
                </a:cubicBezTo>
                <a:cubicBezTo>
                  <a:pt x="99" y="49"/>
                  <a:pt x="99" y="49"/>
                  <a:pt x="99" y="49"/>
                </a:cubicBezTo>
                <a:cubicBezTo>
                  <a:pt x="99" y="49"/>
                  <a:pt x="98" y="49"/>
                  <a:pt x="97" y="49"/>
                </a:cubicBezTo>
                <a:cubicBezTo>
                  <a:pt x="97" y="50"/>
                  <a:pt x="96" y="51"/>
                  <a:pt x="96" y="52"/>
                </a:cubicBezTo>
                <a:cubicBezTo>
                  <a:pt x="96" y="58"/>
                  <a:pt x="96" y="58"/>
                  <a:pt x="96" y="58"/>
                </a:cubicBezTo>
                <a:cubicBezTo>
                  <a:pt x="96" y="59"/>
                  <a:pt x="97" y="59"/>
                  <a:pt x="97" y="60"/>
                </a:cubicBezTo>
                <a:cubicBezTo>
                  <a:pt x="98" y="60"/>
                  <a:pt x="99" y="61"/>
                  <a:pt x="99" y="61"/>
                </a:cubicBezTo>
                <a:cubicBezTo>
                  <a:pt x="105" y="61"/>
                  <a:pt x="105" y="61"/>
                  <a:pt x="105" y="61"/>
                </a:cubicBezTo>
                <a:cubicBezTo>
                  <a:pt x="106" y="61"/>
                  <a:pt x="107" y="60"/>
                  <a:pt x="108" y="60"/>
                </a:cubicBezTo>
                <a:cubicBezTo>
                  <a:pt x="108" y="59"/>
                  <a:pt x="109" y="59"/>
                  <a:pt x="109" y="58"/>
                </a:cubicBezTo>
                <a:close/>
                <a:moveTo>
                  <a:pt x="109" y="82"/>
                </a:moveTo>
                <a:cubicBezTo>
                  <a:pt x="109" y="76"/>
                  <a:pt x="109" y="76"/>
                  <a:pt x="109" y="76"/>
                </a:cubicBezTo>
                <a:cubicBezTo>
                  <a:pt x="109" y="75"/>
                  <a:pt x="108" y="74"/>
                  <a:pt x="108" y="74"/>
                </a:cubicBezTo>
                <a:cubicBezTo>
                  <a:pt x="107" y="73"/>
                  <a:pt x="106" y="73"/>
                  <a:pt x="105" y="73"/>
                </a:cubicBezTo>
                <a:cubicBezTo>
                  <a:pt x="99" y="73"/>
                  <a:pt x="99" y="73"/>
                  <a:pt x="99" y="73"/>
                </a:cubicBezTo>
                <a:cubicBezTo>
                  <a:pt x="99" y="73"/>
                  <a:pt x="98" y="73"/>
                  <a:pt x="97" y="74"/>
                </a:cubicBezTo>
                <a:cubicBezTo>
                  <a:pt x="97" y="74"/>
                  <a:pt x="96" y="75"/>
                  <a:pt x="96" y="76"/>
                </a:cubicBezTo>
                <a:cubicBezTo>
                  <a:pt x="96" y="82"/>
                  <a:pt x="96" y="82"/>
                  <a:pt x="96" y="82"/>
                </a:cubicBezTo>
                <a:cubicBezTo>
                  <a:pt x="96" y="83"/>
                  <a:pt x="97" y="83"/>
                  <a:pt x="97" y="84"/>
                </a:cubicBezTo>
                <a:cubicBezTo>
                  <a:pt x="98" y="85"/>
                  <a:pt x="99" y="85"/>
                  <a:pt x="99" y="85"/>
                </a:cubicBezTo>
                <a:cubicBezTo>
                  <a:pt x="105" y="85"/>
                  <a:pt x="105" y="85"/>
                  <a:pt x="105" y="85"/>
                </a:cubicBezTo>
                <a:cubicBezTo>
                  <a:pt x="106" y="85"/>
                  <a:pt x="107" y="85"/>
                  <a:pt x="108" y="84"/>
                </a:cubicBezTo>
                <a:cubicBezTo>
                  <a:pt x="108" y="83"/>
                  <a:pt x="109" y="83"/>
                  <a:pt x="109" y="82"/>
                </a:cubicBezTo>
                <a:close/>
                <a:moveTo>
                  <a:pt x="109" y="106"/>
                </a:moveTo>
                <a:cubicBezTo>
                  <a:pt x="109" y="100"/>
                  <a:pt x="109" y="100"/>
                  <a:pt x="109" y="100"/>
                </a:cubicBezTo>
                <a:cubicBezTo>
                  <a:pt x="109" y="99"/>
                  <a:pt x="108" y="98"/>
                  <a:pt x="108" y="98"/>
                </a:cubicBezTo>
                <a:cubicBezTo>
                  <a:pt x="107" y="97"/>
                  <a:pt x="106" y="97"/>
                  <a:pt x="105" y="97"/>
                </a:cubicBezTo>
                <a:cubicBezTo>
                  <a:pt x="99" y="97"/>
                  <a:pt x="99" y="97"/>
                  <a:pt x="99" y="97"/>
                </a:cubicBezTo>
                <a:cubicBezTo>
                  <a:pt x="99" y="97"/>
                  <a:pt x="98" y="97"/>
                  <a:pt x="97" y="98"/>
                </a:cubicBezTo>
                <a:cubicBezTo>
                  <a:pt x="97" y="98"/>
                  <a:pt x="96" y="99"/>
                  <a:pt x="96" y="100"/>
                </a:cubicBezTo>
                <a:cubicBezTo>
                  <a:pt x="96" y="106"/>
                  <a:pt x="96" y="106"/>
                  <a:pt x="96" y="106"/>
                </a:cubicBezTo>
                <a:cubicBezTo>
                  <a:pt x="96" y="107"/>
                  <a:pt x="97" y="108"/>
                  <a:pt x="97" y="108"/>
                </a:cubicBezTo>
                <a:cubicBezTo>
                  <a:pt x="98" y="109"/>
                  <a:pt x="99" y="109"/>
                  <a:pt x="99" y="109"/>
                </a:cubicBezTo>
                <a:cubicBezTo>
                  <a:pt x="105" y="109"/>
                  <a:pt x="105" y="109"/>
                  <a:pt x="105" y="109"/>
                </a:cubicBezTo>
                <a:cubicBezTo>
                  <a:pt x="106" y="109"/>
                  <a:pt x="107" y="109"/>
                  <a:pt x="108" y="108"/>
                </a:cubicBezTo>
                <a:cubicBezTo>
                  <a:pt x="108" y="108"/>
                  <a:pt x="109" y="107"/>
                  <a:pt x="109" y="106"/>
                </a:cubicBezTo>
                <a:close/>
                <a:moveTo>
                  <a:pt x="109" y="130"/>
                </a:moveTo>
                <a:cubicBezTo>
                  <a:pt x="109" y="124"/>
                  <a:pt x="109" y="124"/>
                  <a:pt x="109" y="124"/>
                </a:cubicBezTo>
                <a:cubicBezTo>
                  <a:pt x="109" y="123"/>
                  <a:pt x="108" y="123"/>
                  <a:pt x="108" y="122"/>
                </a:cubicBezTo>
                <a:cubicBezTo>
                  <a:pt x="107" y="122"/>
                  <a:pt x="106" y="121"/>
                  <a:pt x="105" y="121"/>
                </a:cubicBezTo>
                <a:cubicBezTo>
                  <a:pt x="99" y="121"/>
                  <a:pt x="99" y="121"/>
                  <a:pt x="99" y="121"/>
                </a:cubicBezTo>
                <a:cubicBezTo>
                  <a:pt x="99" y="121"/>
                  <a:pt x="98" y="122"/>
                  <a:pt x="97" y="122"/>
                </a:cubicBezTo>
                <a:cubicBezTo>
                  <a:pt x="97" y="123"/>
                  <a:pt x="96" y="123"/>
                  <a:pt x="96" y="124"/>
                </a:cubicBezTo>
                <a:cubicBezTo>
                  <a:pt x="96" y="130"/>
                  <a:pt x="96" y="130"/>
                  <a:pt x="96" y="130"/>
                </a:cubicBezTo>
                <a:cubicBezTo>
                  <a:pt x="96" y="131"/>
                  <a:pt x="97" y="132"/>
                  <a:pt x="97" y="132"/>
                </a:cubicBezTo>
                <a:cubicBezTo>
                  <a:pt x="98" y="133"/>
                  <a:pt x="99" y="133"/>
                  <a:pt x="99" y="133"/>
                </a:cubicBezTo>
                <a:cubicBezTo>
                  <a:pt x="105" y="133"/>
                  <a:pt x="105" y="133"/>
                  <a:pt x="105" y="133"/>
                </a:cubicBezTo>
                <a:cubicBezTo>
                  <a:pt x="106" y="133"/>
                  <a:pt x="107" y="133"/>
                  <a:pt x="108" y="132"/>
                </a:cubicBezTo>
                <a:cubicBezTo>
                  <a:pt x="108" y="132"/>
                  <a:pt x="109" y="131"/>
                  <a:pt x="109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3" name="Freeform 384"/>
          <p:cNvSpPr>
            <a:spLocks noChangeAspect="1" noEditPoints="1"/>
          </p:cNvSpPr>
          <p:nvPr/>
        </p:nvSpPr>
        <p:spPr bwMode="auto">
          <a:xfrm>
            <a:off x="6984207" y="4331544"/>
            <a:ext cx="137395" cy="176428"/>
          </a:xfrm>
          <a:custGeom>
            <a:avLst/>
            <a:gdLst>
              <a:gd name="T0" fmla="*/ 6 w 133"/>
              <a:gd name="T1" fmla="*/ 170 h 170"/>
              <a:gd name="T2" fmla="*/ 6 w 133"/>
              <a:gd name="T3" fmla="*/ 0 h 170"/>
              <a:gd name="T4" fmla="*/ 121 w 133"/>
              <a:gd name="T5" fmla="*/ 158 h 170"/>
              <a:gd name="T6" fmla="*/ 48 w 133"/>
              <a:gd name="T7" fmla="*/ 136 h 170"/>
              <a:gd name="T8" fmla="*/ 84 w 133"/>
              <a:gd name="T9" fmla="*/ 136 h 170"/>
              <a:gd name="T10" fmla="*/ 33 w 133"/>
              <a:gd name="T11" fmla="*/ 37 h 170"/>
              <a:gd name="T12" fmla="*/ 25 w 133"/>
              <a:gd name="T13" fmla="*/ 25 h 170"/>
              <a:gd name="T14" fmla="*/ 36 w 133"/>
              <a:gd name="T15" fmla="*/ 52 h 170"/>
              <a:gd name="T16" fmla="*/ 25 w 133"/>
              <a:gd name="T17" fmla="*/ 60 h 170"/>
              <a:gd name="T18" fmla="*/ 33 w 133"/>
              <a:gd name="T19" fmla="*/ 49 h 170"/>
              <a:gd name="T20" fmla="*/ 35 w 133"/>
              <a:gd name="T21" fmla="*/ 84 h 170"/>
              <a:gd name="T22" fmla="*/ 24 w 133"/>
              <a:gd name="T23" fmla="*/ 76 h 170"/>
              <a:gd name="T24" fmla="*/ 36 w 133"/>
              <a:gd name="T25" fmla="*/ 76 h 170"/>
              <a:gd name="T26" fmla="*/ 27 w 133"/>
              <a:gd name="T27" fmla="*/ 109 h 170"/>
              <a:gd name="T28" fmla="*/ 27 w 133"/>
              <a:gd name="T29" fmla="*/ 97 h 170"/>
              <a:gd name="T30" fmla="*/ 36 w 133"/>
              <a:gd name="T31" fmla="*/ 130 h 170"/>
              <a:gd name="T32" fmla="*/ 24 w 133"/>
              <a:gd name="T33" fmla="*/ 130 h 170"/>
              <a:gd name="T34" fmla="*/ 35 w 133"/>
              <a:gd name="T35" fmla="*/ 122 h 170"/>
              <a:gd name="T36" fmla="*/ 57 w 133"/>
              <a:gd name="T37" fmla="*/ 37 h 170"/>
              <a:gd name="T38" fmla="*/ 49 w 133"/>
              <a:gd name="T39" fmla="*/ 25 h 170"/>
              <a:gd name="T40" fmla="*/ 60 w 133"/>
              <a:gd name="T41" fmla="*/ 52 h 170"/>
              <a:gd name="T42" fmla="*/ 49 w 133"/>
              <a:gd name="T43" fmla="*/ 60 h 170"/>
              <a:gd name="T44" fmla="*/ 57 w 133"/>
              <a:gd name="T45" fmla="*/ 49 h 170"/>
              <a:gd name="T46" fmla="*/ 59 w 133"/>
              <a:gd name="T47" fmla="*/ 84 h 170"/>
              <a:gd name="T48" fmla="*/ 48 w 133"/>
              <a:gd name="T49" fmla="*/ 76 h 170"/>
              <a:gd name="T50" fmla="*/ 60 w 133"/>
              <a:gd name="T51" fmla="*/ 76 h 170"/>
              <a:gd name="T52" fmla="*/ 51 w 133"/>
              <a:gd name="T53" fmla="*/ 109 h 170"/>
              <a:gd name="T54" fmla="*/ 51 w 133"/>
              <a:gd name="T55" fmla="*/ 97 h 170"/>
              <a:gd name="T56" fmla="*/ 84 w 133"/>
              <a:gd name="T57" fmla="*/ 33 h 170"/>
              <a:gd name="T58" fmla="*/ 72 w 133"/>
              <a:gd name="T59" fmla="*/ 33 h 170"/>
              <a:gd name="T60" fmla="*/ 83 w 133"/>
              <a:gd name="T61" fmla="*/ 25 h 170"/>
              <a:gd name="T62" fmla="*/ 81 w 133"/>
              <a:gd name="T63" fmla="*/ 61 h 170"/>
              <a:gd name="T64" fmla="*/ 73 w 133"/>
              <a:gd name="T65" fmla="*/ 50 h 170"/>
              <a:gd name="T66" fmla="*/ 84 w 133"/>
              <a:gd name="T67" fmla="*/ 76 h 170"/>
              <a:gd name="T68" fmla="*/ 73 w 133"/>
              <a:gd name="T69" fmla="*/ 84 h 170"/>
              <a:gd name="T70" fmla="*/ 81 w 133"/>
              <a:gd name="T71" fmla="*/ 73 h 170"/>
              <a:gd name="T72" fmla="*/ 83 w 133"/>
              <a:gd name="T73" fmla="*/ 108 h 170"/>
              <a:gd name="T74" fmla="*/ 72 w 133"/>
              <a:gd name="T75" fmla="*/ 100 h 170"/>
              <a:gd name="T76" fmla="*/ 84 w 133"/>
              <a:gd name="T77" fmla="*/ 100 h 170"/>
              <a:gd name="T78" fmla="*/ 99 w 133"/>
              <a:gd name="T79" fmla="*/ 37 h 170"/>
              <a:gd name="T80" fmla="*/ 99 w 133"/>
              <a:gd name="T81" fmla="*/ 24 h 170"/>
              <a:gd name="T82" fmla="*/ 108 w 133"/>
              <a:gd name="T83" fmla="*/ 58 h 170"/>
              <a:gd name="T84" fmla="*/ 96 w 133"/>
              <a:gd name="T85" fmla="*/ 58 h 170"/>
              <a:gd name="T86" fmla="*/ 108 w 133"/>
              <a:gd name="T87" fmla="*/ 50 h 170"/>
              <a:gd name="T88" fmla="*/ 105 w 133"/>
              <a:gd name="T89" fmla="*/ 85 h 170"/>
              <a:gd name="T90" fmla="*/ 97 w 133"/>
              <a:gd name="T91" fmla="*/ 74 h 170"/>
              <a:gd name="T92" fmla="*/ 108 w 133"/>
              <a:gd name="T93" fmla="*/ 100 h 170"/>
              <a:gd name="T94" fmla="*/ 97 w 133"/>
              <a:gd name="T95" fmla="*/ 108 h 170"/>
              <a:gd name="T96" fmla="*/ 105 w 133"/>
              <a:gd name="T97" fmla="*/ 97 h 170"/>
              <a:gd name="T98" fmla="*/ 108 w 133"/>
              <a:gd name="T99" fmla="*/ 132 h 170"/>
              <a:gd name="T100" fmla="*/ 96 w 133"/>
              <a:gd name="T101" fmla="*/ 124 h 170"/>
              <a:gd name="T102" fmla="*/ 108 w 133"/>
              <a:gd name="T103" fmla="*/ 124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3" h="170">
                <a:moveTo>
                  <a:pt x="133" y="6"/>
                </a:moveTo>
                <a:cubicBezTo>
                  <a:pt x="133" y="164"/>
                  <a:pt x="133" y="164"/>
                  <a:pt x="133" y="164"/>
                </a:cubicBezTo>
                <a:cubicBezTo>
                  <a:pt x="133" y="165"/>
                  <a:pt x="132" y="167"/>
                  <a:pt x="131" y="168"/>
                </a:cubicBezTo>
                <a:cubicBezTo>
                  <a:pt x="130" y="169"/>
                  <a:pt x="128" y="170"/>
                  <a:pt x="127" y="170"/>
                </a:cubicBezTo>
                <a:cubicBezTo>
                  <a:pt x="6" y="170"/>
                  <a:pt x="6" y="170"/>
                  <a:pt x="6" y="170"/>
                </a:cubicBezTo>
                <a:cubicBezTo>
                  <a:pt x="4" y="170"/>
                  <a:pt x="3" y="169"/>
                  <a:pt x="1" y="168"/>
                </a:cubicBezTo>
                <a:cubicBezTo>
                  <a:pt x="0" y="167"/>
                  <a:pt x="0" y="165"/>
                  <a:pt x="0" y="164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0" y="3"/>
                  <a:pt x="1" y="2"/>
                </a:cubicBezTo>
                <a:cubicBezTo>
                  <a:pt x="3" y="1"/>
                  <a:pt x="4" y="0"/>
                  <a:pt x="6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8" y="0"/>
                  <a:pt x="130" y="1"/>
                  <a:pt x="131" y="2"/>
                </a:cubicBezTo>
                <a:cubicBezTo>
                  <a:pt x="132" y="3"/>
                  <a:pt x="133" y="5"/>
                  <a:pt x="133" y="6"/>
                </a:cubicBezTo>
                <a:close/>
                <a:moveTo>
                  <a:pt x="84" y="158"/>
                </a:moveTo>
                <a:cubicBezTo>
                  <a:pt x="121" y="158"/>
                  <a:pt x="121" y="158"/>
                  <a:pt x="121" y="158"/>
                </a:cubicBezTo>
                <a:cubicBezTo>
                  <a:pt x="121" y="12"/>
                  <a:pt x="121" y="12"/>
                  <a:pt x="121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158"/>
                  <a:pt x="12" y="158"/>
                  <a:pt x="12" y="158"/>
                </a:cubicBezTo>
                <a:cubicBezTo>
                  <a:pt x="48" y="158"/>
                  <a:pt x="48" y="158"/>
                  <a:pt x="48" y="158"/>
                </a:cubicBezTo>
                <a:cubicBezTo>
                  <a:pt x="48" y="136"/>
                  <a:pt x="48" y="136"/>
                  <a:pt x="48" y="136"/>
                </a:cubicBezTo>
                <a:cubicBezTo>
                  <a:pt x="48" y="136"/>
                  <a:pt x="48" y="135"/>
                  <a:pt x="49" y="134"/>
                </a:cubicBezTo>
                <a:cubicBezTo>
                  <a:pt x="49" y="134"/>
                  <a:pt x="50" y="133"/>
                  <a:pt x="51" y="133"/>
                </a:cubicBezTo>
                <a:cubicBezTo>
                  <a:pt x="81" y="133"/>
                  <a:pt x="81" y="133"/>
                  <a:pt x="81" y="133"/>
                </a:cubicBezTo>
                <a:cubicBezTo>
                  <a:pt x="82" y="133"/>
                  <a:pt x="83" y="134"/>
                  <a:pt x="83" y="134"/>
                </a:cubicBezTo>
                <a:cubicBezTo>
                  <a:pt x="84" y="135"/>
                  <a:pt x="84" y="136"/>
                  <a:pt x="84" y="136"/>
                </a:cubicBezTo>
                <a:lnTo>
                  <a:pt x="84" y="158"/>
                </a:lnTo>
                <a:close/>
                <a:moveTo>
                  <a:pt x="36" y="27"/>
                </a:moveTo>
                <a:cubicBezTo>
                  <a:pt x="36" y="33"/>
                  <a:pt x="36" y="33"/>
                  <a:pt x="36" y="33"/>
                </a:cubicBezTo>
                <a:cubicBezTo>
                  <a:pt x="36" y="34"/>
                  <a:pt x="36" y="35"/>
                  <a:pt x="35" y="36"/>
                </a:cubicBezTo>
                <a:cubicBezTo>
                  <a:pt x="34" y="36"/>
                  <a:pt x="34" y="37"/>
                  <a:pt x="33" y="37"/>
                </a:cubicBezTo>
                <a:cubicBezTo>
                  <a:pt x="27" y="37"/>
                  <a:pt x="27" y="37"/>
                  <a:pt x="27" y="37"/>
                </a:cubicBezTo>
                <a:cubicBezTo>
                  <a:pt x="26" y="37"/>
                  <a:pt x="25" y="36"/>
                  <a:pt x="25" y="36"/>
                </a:cubicBezTo>
                <a:cubicBezTo>
                  <a:pt x="24" y="35"/>
                  <a:pt x="24" y="34"/>
                  <a:pt x="24" y="33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27"/>
                  <a:pt x="24" y="26"/>
                  <a:pt x="25" y="25"/>
                </a:cubicBezTo>
                <a:cubicBezTo>
                  <a:pt x="25" y="25"/>
                  <a:pt x="26" y="24"/>
                  <a:pt x="27" y="24"/>
                </a:cubicBezTo>
                <a:cubicBezTo>
                  <a:pt x="33" y="24"/>
                  <a:pt x="33" y="24"/>
                  <a:pt x="33" y="24"/>
                </a:cubicBezTo>
                <a:cubicBezTo>
                  <a:pt x="34" y="24"/>
                  <a:pt x="34" y="25"/>
                  <a:pt x="35" y="25"/>
                </a:cubicBezTo>
                <a:cubicBezTo>
                  <a:pt x="36" y="26"/>
                  <a:pt x="36" y="27"/>
                  <a:pt x="36" y="27"/>
                </a:cubicBezTo>
                <a:close/>
                <a:moveTo>
                  <a:pt x="36" y="52"/>
                </a:move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6" y="59"/>
                  <a:pt x="35" y="60"/>
                </a:cubicBezTo>
                <a:cubicBezTo>
                  <a:pt x="34" y="60"/>
                  <a:pt x="34" y="61"/>
                  <a:pt x="33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6" y="61"/>
                  <a:pt x="25" y="60"/>
                  <a:pt x="25" y="60"/>
                </a:cubicBezTo>
                <a:cubicBezTo>
                  <a:pt x="24" y="59"/>
                  <a:pt x="24" y="58"/>
                  <a:pt x="24" y="58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1"/>
                  <a:pt x="24" y="50"/>
                  <a:pt x="25" y="50"/>
                </a:cubicBezTo>
                <a:cubicBezTo>
                  <a:pt x="25" y="49"/>
                  <a:pt x="26" y="49"/>
                  <a:pt x="27" y="49"/>
                </a:cubicBezTo>
                <a:cubicBezTo>
                  <a:pt x="33" y="49"/>
                  <a:pt x="33" y="49"/>
                  <a:pt x="33" y="49"/>
                </a:cubicBezTo>
                <a:cubicBezTo>
                  <a:pt x="34" y="49"/>
                  <a:pt x="34" y="49"/>
                  <a:pt x="35" y="50"/>
                </a:cubicBezTo>
                <a:cubicBezTo>
                  <a:pt x="36" y="50"/>
                  <a:pt x="36" y="51"/>
                  <a:pt x="36" y="52"/>
                </a:cubicBezTo>
                <a:close/>
                <a:moveTo>
                  <a:pt x="36" y="76"/>
                </a:moveTo>
                <a:cubicBezTo>
                  <a:pt x="36" y="82"/>
                  <a:pt x="36" y="82"/>
                  <a:pt x="36" y="82"/>
                </a:cubicBezTo>
                <a:cubicBezTo>
                  <a:pt x="36" y="83"/>
                  <a:pt x="36" y="83"/>
                  <a:pt x="35" y="84"/>
                </a:cubicBezTo>
                <a:cubicBezTo>
                  <a:pt x="34" y="85"/>
                  <a:pt x="34" y="85"/>
                  <a:pt x="33" y="85"/>
                </a:cubicBezTo>
                <a:cubicBezTo>
                  <a:pt x="27" y="85"/>
                  <a:pt x="27" y="85"/>
                  <a:pt x="27" y="85"/>
                </a:cubicBezTo>
                <a:cubicBezTo>
                  <a:pt x="26" y="85"/>
                  <a:pt x="25" y="85"/>
                  <a:pt x="25" y="84"/>
                </a:cubicBezTo>
                <a:cubicBezTo>
                  <a:pt x="24" y="83"/>
                  <a:pt x="24" y="83"/>
                  <a:pt x="24" y="82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75"/>
                  <a:pt x="24" y="74"/>
                  <a:pt x="25" y="74"/>
                </a:cubicBezTo>
                <a:cubicBezTo>
                  <a:pt x="25" y="73"/>
                  <a:pt x="26" y="73"/>
                  <a:pt x="27" y="73"/>
                </a:cubicBezTo>
                <a:cubicBezTo>
                  <a:pt x="33" y="73"/>
                  <a:pt x="33" y="73"/>
                  <a:pt x="33" y="73"/>
                </a:cubicBezTo>
                <a:cubicBezTo>
                  <a:pt x="34" y="73"/>
                  <a:pt x="34" y="73"/>
                  <a:pt x="35" y="74"/>
                </a:cubicBezTo>
                <a:cubicBezTo>
                  <a:pt x="36" y="74"/>
                  <a:pt x="36" y="75"/>
                  <a:pt x="36" y="76"/>
                </a:cubicBezTo>
                <a:close/>
                <a:moveTo>
                  <a:pt x="36" y="100"/>
                </a:moveTo>
                <a:cubicBezTo>
                  <a:pt x="36" y="106"/>
                  <a:pt x="36" y="106"/>
                  <a:pt x="36" y="106"/>
                </a:cubicBezTo>
                <a:cubicBezTo>
                  <a:pt x="36" y="107"/>
                  <a:pt x="36" y="108"/>
                  <a:pt x="35" y="108"/>
                </a:cubicBezTo>
                <a:cubicBezTo>
                  <a:pt x="34" y="109"/>
                  <a:pt x="34" y="109"/>
                  <a:pt x="33" y="109"/>
                </a:cubicBezTo>
                <a:cubicBezTo>
                  <a:pt x="27" y="109"/>
                  <a:pt x="27" y="109"/>
                  <a:pt x="27" y="109"/>
                </a:cubicBezTo>
                <a:cubicBezTo>
                  <a:pt x="26" y="109"/>
                  <a:pt x="25" y="109"/>
                  <a:pt x="25" y="108"/>
                </a:cubicBezTo>
                <a:cubicBezTo>
                  <a:pt x="24" y="108"/>
                  <a:pt x="24" y="107"/>
                  <a:pt x="24" y="106"/>
                </a:cubicBezTo>
                <a:cubicBezTo>
                  <a:pt x="24" y="100"/>
                  <a:pt x="24" y="100"/>
                  <a:pt x="24" y="100"/>
                </a:cubicBezTo>
                <a:cubicBezTo>
                  <a:pt x="24" y="99"/>
                  <a:pt x="24" y="99"/>
                  <a:pt x="25" y="98"/>
                </a:cubicBezTo>
                <a:cubicBezTo>
                  <a:pt x="25" y="97"/>
                  <a:pt x="26" y="97"/>
                  <a:pt x="27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4" y="97"/>
                  <a:pt x="34" y="97"/>
                  <a:pt x="35" y="98"/>
                </a:cubicBezTo>
                <a:cubicBezTo>
                  <a:pt x="36" y="99"/>
                  <a:pt x="36" y="99"/>
                  <a:pt x="36" y="100"/>
                </a:cubicBezTo>
                <a:close/>
                <a:moveTo>
                  <a:pt x="36" y="124"/>
                </a:moveTo>
                <a:cubicBezTo>
                  <a:pt x="36" y="130"/>
                  <a:pt x="36" y="130"/>
                  <a:pt x="36" y="130"/>
                </a:cubicBezTo>
                <a:cubicBezTo>
                  <a:pt x="36" y="131"/>
                  <a:pt x="36" y="132"/>
                  <a:pt x="35" y="132"/>
                </a:cubicBezTo>
                <a:cubicBezTo>
                  <a:pt x="34" y="133"/>
                  <a:pt x="34" y="133"/>
                  <a:pt x="33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6" y="133"/>
                  <a:pt x="25" y="133"/>
                  <a:pt x="25" y="132"/>
                </a:cubicBezTo>
                <a:cubicBezTo>
                  <a:pt x="24" y="132"/>
                  <a:pt x="24" y="131"/>
                  <a:pt x="24" y="130"/>
                </a:cubicBezTo>
                <a:cubicBezTo>
                  <a:pt x="24" y="124"/>
                  <a:pt x="24" y="124"/>
                  <a:pt x="24" y="124"/>
                </a:cubicBezTo>
                <a:cubicBezTo>
                  <a:pt x="24" y="123"/>
                  <a:pt x="24" y="123"/>
                  <a:pt x="25" y="122"/>
                </a:cubicBezTo>
                <a:cubicBezTo>
                  <a:pt x="25" y="122"/>
                  <a:pt x="26" y="121"/>
                  <a:pt x="27" y="121"/>
                </a:cubicBezTo>
                <a:cubicBezTo>
                  <a:pt x="33" y="121"/>
                  <a:pt x="33" y="121"/>
                  <a:pt x="33" y="121"/>
                </a:cubicBezTo>
                <a:cubicBezTo>
                  <a:pt x="34" y="121"/>
                  <a:pt x="34" y="122"/>
                  <a:pt x="35" y="122"/>
                </a:cubicBezTo>
                <a:cubicBezTo>
                  <a:pt x="36" y="123"/>
                  <a:pt x="36" y="123"/>
                  <a:pt x="36" y="124"/>
                </a:cubicBezTo>
                <a:close/>
                <a:moveTo>
                  <a:pt x="60" y="27"/>
                </a:moveTo>
                <a:cubicBezTo>
                  <a:pt x="60" y="33"/>
                  <a:pt x="60" y="33"/>
                  <a:pt x="60" y="33"/>
                </a:cubicBezTo>
                <a:cubicBezTo>
                  <a:pt x="60" y="34"/>
                  <a:pt x="60" y="35"/>
                  <a:pt x="59" y="36"/>
                </a:cubicBezTo>
                <a:cubicBezTo>
                  <a:pt x="59" y="36"/>
                  <a:pt x="58" y="37"/>
                  <a:pt x="57" y="37"/>
                </a:cubicBezTo>
                <a:cubicBezTo>
                  <a:pt x="51" y="37"/>
                  <a:pt x="51" y="37"/>
                  <a:pt x="51" y="37"/>
                </a:cubicBezTo>
                <a:cubicBezTo>
                  <a:pt x="50" y="37"/>
                  <a:pt x="49" y="36"/>
                  <a:pt x="49" y="36"/>
                </a:cubicBezTo>
                <a:cubicBezTo>
                  <a:pt x="48" y="35"/>
                  <a:pt x="48" y="34"/>
                  <a:pt x="48" y="33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6"/>
                  <a:pt x="49" y="25"/>
                </a:cubicBezTo>
                <a:cubicBezTo>
                  <a:pt x="49" y="25"/>
                  <a:pt x="50" y="24"/>
                  <a:pt x="51" y="24"/>
                </a:cubicBezTo>
                <a:cubicBezTo>
                  <a:pt x="57" y="24"/>
                  <a:pt x="57" y="24"/>
                  <a:pt x="57" y="24"/>
                </a:cubicBezTo>
                <a:cubicBezTo>
                  <a:pt x="58" y="24"/>
                  <a:pt x="59" y="25"/>
                  <a:pt x="59" y="25"/>
                </a:cubicBezTo>
                <a:cubicBezTo>
                  <a:pt x="60" y="26"/>
                  <a:pt x="60" y="27"/>
                  <a:pt x="60" y="27"/>
                </a:cubicBezTo>
                <a:close/>
                <a:moveTo>
                  <a:pt x="60" y="52"/>
                </a:moveTo>
                <a:cubicBezTo>
                  <a:pt x="60" y="58"/>
                  <a:pt x="60" y="58"/>
                  <a:pt x="60" y="58"/>
                </a:cubicBezTo>
                <a:cubicBezTo>
                  <a:pt x="60" y="58"/>
                  <a:pt x="60" y="59"/>
                  <a:pt x="59" y="60"/>
                </a:cubicBezTo>
                <a:cubicBezTo>
                  <a:pt x="59" y="60"/>
                  <a:pt x="58" y="61"/>
                  <a:pt x="57" y="61"/>
                </a:cubicBezTo>
                <a:cubicBezTo>
                  <a:pt x="51" y="61"/>
                  <a:pt x="51" y="61"/>
                  <a:pt x="51" y="61"/>
                </a:cubicBezTo>
                <a:cubicBezTo>
                  <a:pt x="50" y="61"/>
                  <a:pt x="49" y="60"/>
                  <a:pt x="49" y="60"/>
                </a:cubicBezTo>
                <a:cubicBezTo>
                  <a:pt x="48" y="59"/>
                  <a:pt x="48" y="58"/>
                  <a:pt x="48" y="58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51"/>
                  <a:pt x="48" y="50"/>
                  <a:pt x="49" y="50"/>
                </a:cubicBezTo>
                <a:cubicBezTo>
                  <a:pt x="49" y="49"/>
                  <a:pt x="50" y="49"/>
                  <a:pt x="51" y="49"/>
                </a:cubicBezTo>
                <a:cubicBezTo>
                  <a:pt x="57" y="49"/>
                  <a:pt x="57" y="49"/>
                  <a:pt x="57" y="49"/>
                </a:cubicBezTo>
                <a:cubicBezTo>
                  <a:pt x="58" y="49"/>
                  <a:pt x="59" y="49"/>
                  <a:pt x="59" y="50"/>
                </a:cubicBezTo>
                <a:cubicBezTo>
                  <a:pt x="60" y="50"/>
                  <a:pt x="60" y="51"/>
                  <a:pt x="60" y="52"/>
                </a:cubicBezTo>
                <a:close/>
                <a:moveTo>
                  <a:pt x="60" y="76"/>
                </a:moveTo>
                <a:cubicBezTo>
                  <a:pt x="60" y="82"/>
                  <a:pt x="60" y="82"/>
                  <a:pt x="60" y="82"/>
                </a:cubicBezTo>
                <a:cubicBezTo>
                  <a:pt x="60" y="83"/>
                  <a:pt x="60" y="83"/>
                  <a:pt x="59" y="84"/>
                </a:cubicBezTo>
                <a:cubicBezTo>
                  <a:pt x="59" y="85"/>
                  <a:pt x="58" y="85"/>
                  <a:pt x="57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0" y="85"/>
                  <a:pt x="49" y="85"/>
                  <a:pt x="49" y="84"/>
                </a:cubicBezTo>
                <a:cubicBezTo>
                  <a:pt x="48" y="83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8" y="74"/>
                  <a:pt x="49" y="74"/>
                </a:cubicBezTo>
                <a:cubicBezTo>
                  <a:pt x="49" y="73"/>
                  <a:pt x="50" y="73"/>
                  <a:pt x="51" y="73"/>
                </a:cubicBezTo>
                <a:cubicBezTo>
                  <a:pt x="57" y="73"/>
                  <a:pt x="57" y="73"/>
                  <a:pt x="57" y="73"/>
                </a:cubicBezTo>
                <a:cubicBezTo>
                  <a:pt x="58" y="73"/>
                  <a:pt x="59" y="73"/>
                  <a:pt x="59" y="74"/>
                </a:cubicBezTo>
                <a:cubicBezTo>
                  <a:pt x="60" y="74"/>
                  <a:pt x="60" y="75"/>
                  <a:pt x="60" y="76"/>
                </a:cubicBezTo>
                <a:close/>
                <a:moveTo>
                  <a:pt x="60" y="100"/>
                </a:moveTo>
                <a:cubicBezTo>
                  <a:pt x="60" y="106"/>
                  <a:pt x="60" y="106"/>
                  <a:pt x="60" y="106"/>
                </a:cubicBezTo>
                <a:cubicBezTo>
                  <a:pt x="60" y="107"/>
                  <a:pt x="60" y="108"/>
                  <a:pt x="59" y="108"/>
                </a:cubicBezTo>
                <a:cubicBezTo>
                  <a:pt x="59" y="109"/>
                  <a:pt x="58" y="109"/>
                  <a:pt x="57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0" y="109"/>
                  <a:pt x="49" y="109"/>
                  <a:pt x="49" y="108"/>
                </a:cubicBezTo>
                <a:cubicBezTo>
                  <a:pt x="48" y="108"/>
                  <a:pt x="48" y="107"/>
                  <a:pt x="48" y="106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8" y="99"/>
                  <a:pt x="48" y="99"/>
                  <a:pt x="49" y="98"/>
                </a:cubicBezTo>
                <a:cubicBezTo>
                  <a:pt x="49" y="97"/>
                  <a:pt x="50" y="97"/>
                  <a:pt x="51" y="97"/>
                </a:cubicBezTo>
                <a:cubicBezTo>
                  <a:pt x="57" y="97"/>
                  <a:pt x="57" y="97"/>
                  <a:pt x="57" y="97"/>
                </a:cubicBezTo>
                <a:cubicBezTo>
                  <a:pt x="58" y="97"/>
                  <a:pt x="59" y="97"/>
                  <a:pt x="59" y="98"/>
                </a:cubicBezTo>
                <a:cubicBezTo>
                  <a:pt x="60" y="99"/>
                  <a:pt x="60" y="99"/>
                  <a:pt x="60" y="100"/>
                </a:cubicBezTo>
                <a:close/>
                <a:moveTo>
                  <a:pt x="84" y="27"/>
                </a:moveTo>
                <a:cubicBezTo>
                  <a:pt x="84" y="33"/>
                  <a:pt x="84" y="33"/>
                  <a:pt x="84" y="33"/>
                </a:cubicBezTo>
                <a:cubicBezTo>
                  <a:pt x="84" y="34"/>
                  <a:pt x="84" y="35"/>
                  <a:pt x="83" y="36"/>
                </a:cubicBezTo>
                <a:cubicBezTo>
                  <a:pt x="83" y="36"/>
                  <a:pt x="82" y="37"/>
                  <a:pt x="81" y="37"/>
                </a:cubicBezTo>
                <a:cubicBezTo>
                  <a:pt x="75" y="37"/>
                  <a:pt x="75" y="37"/>
                  <a:pt x="75" y="37"/>
                </a:cubicBezTo>
                <a:cubicBezTo>
                  <a:pt x="74" y="37"/>
                  <a:pt x="74" y="36"/>
                  <a:pt x="73" y="36"/>
                </a:cubicBezTo>
                <a:cubicBezTo>
                  <a:pt x="72" y="35"/>
                  <a:pt x="72" y="34"/>
                  <a:pt x="72" y="33"/>
                </a:cubicBezTo>
                <a:cubicBezTo>
                  <a:pt x="72" y="27"/>
                  <a:pt x="72" y="27"/>
                  <a:pt x="72" y="27"/>
                </a:cubicBezTo>
                <a:cubicBezTo>
                  <a:pt x="72" y="27"/>
                  <a:pt x="72" y="26"/>
                  <a:pt x="73" y="25"/>
                </a:cubicBezTo>
                <a:cubicBezTo>
                  <a:pt x="74" y="25"/>
                  <a:pt x="74" y="24"/>
                  <a:pt x="75" y="24"/>
                </a:cubicBezTo>
                <a:cubicBezTo>
                  <a:pt x="81" y="24"/>
                  <a:pt x="81" y="24"/>
                  <a:pt x="81" y="24"/>
                </a:cubicBezTo>
                <a:cubicBezTo>
                  <a:pt x="82" y="24"/>
                  <a:pt x="83" y="25"/>
                  <a:pt x="83" y="25"/>
                </a:cubicBezTo>
                <a:cubicBezTo>
                  <a:pt x="84" y="26"/>
                  <a:pt x="84" y="27"/>
                  <a:pt x="84" y="27"/>
                </a:cubicBezTo>
                <a:close/>
                <a:moveTo>
                  <a:pt x="84" y="52"/>
                </a:moveTo>
                <a:cubicBezTo>
                  <a:pt x="84" y="58"/>
                  <a:pt x="84" y="58"/>
                  <a:pt x="84" y="58"/>
                </a:cubicBezTo>
                <a:cubicBezTo>
                  <a:pt x="84" y="58"/>
                  <a:pt x="84" y="59"/>
                  <a:pt x="83" y="60"/>
                </a:cubicBezTo>
                <a:cubicBezTo>
                  <a:pt x="83" y="60"/>
                  <a:pt x="82" y="61"/>
                  <a:pt x="81" y="61"/>
                </a:cubicBezTo>
                <a:cubicBezTo>
                  <a:pt x="75" y="61"/>
                  <a:pt x="75" y="61"/>
                  <a:pt x="75" y="61"/>
                </a:cubicBezTo>
                <a:cubicBezTo>
                  <a:pt x="74" y="61"/>
                  <a:pt x="74" y="60"/>
                  <a:pt x="73" y="60"/>
                </a:cubicBezTo>
                <a:cubicBezTo>
                  <a:pt x="72" y="59"/>
                  <a:pt x="72" y="58"/>
                  <a:pt x="72" y="58"/>
                </a:cubicBezTo>
                <a:cubicBezTo>
                  <a:pt x="72" y="52"/>
                  <a:pt x="72" y="52"/>
                  <a:pt x="72" y="52"/>
                </a:cubicBezTo>
                <a:cubicBezTo>
                  <a:pt x="72" y="51"/>
                  <a:pt x="72" y="50"/>
                  <a:pt x="73" y="50"/>
                </a:cubicBezTo>
                <a:cubicBezTo>
                  <a:pt x="74" y="49"/>
                  <a:pt x="74" y="49"/>
                  <a:pt x="75" y="49"/>
                </a:cubicBezTo>
                <a:cubicBezTo>
                  <a:pt x="81" y="49"/>
                  <a:pt x="81" y="49"/>
                  <a:pt x="81" y="49"/>
                </a:cubicBezTo>
                <a:cubicBezTo>
                  <a:pt x="82" y="49"/>
                  <a:pt x="83" y="49"/>
                  <a:pt x="83" y="50"/>
                </a:cubicBezTo>
                <a:cubicBezTo>
                  <a:pt x="84" y="50"/>
                  <a:pt x="84" y="51"/>
                  <a:pt x="84" y="52"/>
                </a:cubicBezTo>
                <a:close/>
                <a:moveTo>
                  <a:pt x="84" y="76"/>
                </a:moveTo>
                <a:cubicBezTo>
                  <a:pt x="84" y="82"/>
                  <a:pt x="84" y="82"/>
                  <a:pt x="84" y="82"/>
                </a:cubicBezTo>
                <a:cubicBezTo>
                  <a:pt x="84" y="83"/>
                  <a:pt x="84" y="83"/>
                  <a:pt x="83" y="84"/>
                </a:cubicBezTo>
                <a:cubicBezTo>
                  <a:pt x="83" y="85"/>
                  <a:pt x="82" y="85"/>
                  <a:pt x="81" y="85"/>
                </a:cubicBezTo>
                <a:cubicBezTo>
                  <a:pt x="75" y="85"/>
                  <a:pt x="75" y="85"/>
                  <a:pt x="75" y="85"/>
                </a:cubicBezTo>
                <a:cubicBezTo>
                  <a:pt x="74" y="85"/>
                  <a:pt x="74" y="85"/>
                  <a:pt x="73" y="84"/>
                </a:cubicBezTo>
                <a:cubicBezTo>
                  <a:pt x="72" y="83"/>
                  <a:pt x="72" y="83"/>
                  <a:pt x="72" y="82"/>
                </a:cubicBezTo>
                <a:cubicBezTo>
                  <a:pt x="72" y="76"/>
                  <a:pt x="72" y="76"/>
                  <a:pt x="72" y="76"/>
                </a:cubicBezTo>
                <a:cubicBezTo>
                  <a:pt x="72" y="75"/>
                  <a:pt x="72" y="74"/>
                  <a:pt x="73" y="74"/>
                </a:cubicBezTo>
                <a:cubicBezTo>
                  <a:pt x="74" y="73"/>
                  <a:pt x="74" y="73"/>
                  <a:pt x="75" y="73"/>
                </a:cubicBezTo>
                <a:cubicBezTo>
                  <a:pt x="81" y="73"/>
                  <a:pt x="81" y="73"/>
                  <a:pt x="81" y="73"/>
                </a:cubicBezTo>
                <a:cubicBezTo>
                  <a:pt x="82" y="73"/>
                  <a:pt x="83" y="73"/>
                  <a:pt x="83" y="74"/>
                </a:cubicBezTo>
                <a:cubicBezTo>
                  <a:pt x="84" y="74"/>
                  <a:pt x="84" y="75"/>
                  <a:pt x="84" y="76"/>
                </a:cubicBezTo>
                <a:close/>
                <a:moveTo>
                  <a:pt x="84" y="100"/>
                </a:moveTo>
                <a:cubicBezTo>
                  <a:pt x="84" y="106"/>
                  <a:pt x="84" y="106"/>
                  <a:pt x="84" y="106"/>
                </a:cubicBezTo>
                <a:cubicBezTo>
                  <a:pt x="84" y="107"/>
                  <a:pt x="84" y="108"/>
                  <a:pt x="83" y="108"/>
                </a:cubicBezTo>
                <a:cubicBezTo>
                  <a:pt x="83" y="109"/>
                  <a:pt x="82" y="109"/>
                  <a:pt x="81" y="109"/>
                </a:cubicBezTo>
                <a:cubicBezTo>
                  <a:pt x="75" y="109"/>
                  <a:pt x="75" y="109"/>
                  <a:pt x="75" y="109"/>
                </a:cubicBezTo>
                <a:cubicBezTo>
                  <a:pt x="74" y="109"/>
                  <a:pt x="74" y="109"/>
                  <a:pt x="73" y="108"/>
                </a:cubicBezTo>
                <a:cubicBezTo>
                  <a:pt x="72" y="108"/>
                  <a:pt x="72" y="107"/>
                  <a:pt x="72" y="106"/>
                </a:cubicBezTo>
                <a:cubicBezTo>
                  <a:pt x="72" y="100"/>
                  <a:pt x="72" y="100"/>
                  <a:pt x="72" y="100"/>
                </a:cubicBezTo>
                <a:cubicBezTo>
                  <a:pt x="72" y="99"/>
                  <a:pt x="72" y="99"/>
                  <a:pt x="73" y="98"/>
                </a:cubicBezTo>
                <a:cubicBezTo>
                  <a:pt x="74" y="97"/>
                  <a:pt x="74" y="97"/>
                  <a:pt x="75" y="97"/>
                </a:cubicBezTo>
                <a:cubicBezTo>
                  <a:pt x="81" y="97"/>
                  <a:pt x="81" y="97"/>
                  <a:pt x="81" y="97"/>
                </a:cubicBezTo>
                <a:cubicBezTo>
                  <a:pt x="82" y="97"/>
                  <a:pt x="83" y="97"/>
                  <a:pt x="83" y="98"/>
                </a:cubicBezTo>
                <a:cubicBezTo>
                  <a:pt x="84" y="99"/>
                  <a:pt x="84" y="99"/>
                  <a:pt x="84" y="100"/>
                </a:cubicBezTo>
                <a:close/>
                <a:moveTo>
                  <a:pt x="108" y="27"/>
                </a:moveTo>
                <a:cubicBezTo>
                  <a:pt x="108" y="33"/>
                  <a:pt x="108" y="33"/>
                  <a:pt x="108" y="33"/>
                </a:cubicBezTo>
                <a:cubicBezTo>
                  <a:pt x="108" y="34"/>
                  <a:pt x="108" y="35"/>
                  <a:pt x="108" y="36"/>
                </a:cubicBezTo>
                <a:cubicBezTo>
                  <a:pt x="107" y="36"/>
                  <a:pt x="106" y="37"/>
                  <a:pt x="105" y="37"/>
                </a:cubicBezTo>
                <a:cubicBezTo>
                  <a:pt x="99" y="37"/>
                  <a:pt x="99" y="37"/>
                  <a:pt x="99" y="37"/>
                </a:cubicBezTo>
                <a:cubicBezTo>
                  <a:pt x="99" y="37"/>
                  <a:pt x="98" y="36"/>
                  <a:pt x="97" y="36"/>
                </a:cubicBezTo>
                <a:cubicBezTo>
                  <a:pt x="97" y="35"/>
                  <a:pt x="96" y="34"/>
                  <a:pt x="96" y="33"/>
                </a:cubicBezTo>
                <a:cubicBezTo>
                  <a:pt x="96" y="27"/>
                  <a:pt x="96" y="27"/>
                  <a:pt x="96" y="27"/>
                </a:cubicBezTo>
                <a:cubicBezTo>
                  <a:pt x="96" y="27"/>
                  <a:pt x="97" y="26"/>
                  <a:pt x="97" y="25"/>
                </a:cubicBezTo>
                <a:cubicBezTo>
                  <a:pt x="98" y="25"/>
                  <a:pt x="99" y="24"/>
                  <a:pt x="99" y="24"/>
                </a:cubicBezTo>
                <a:cubicBezTo>
                  <a:pt x="105" y="24"/>
                  <a:pt x="105" y="24"/>
                  <a:pt x="105" y="24"/>
                </a:cubicBezTo>
                <a:cubicBezTo>
                  <a:pt x="106" y="24"/>
                  <a:pt x="107" y="25"/>
                  <a:pt x="108" y="25"/>
                </a:cubicBezTo>
                <a:cubicBezTo>
                  <a:pt x="108" y="26"/>
                  <a:pt x="108" y="27"/>
                  <a:pt x="108" y="27"/>
                </a:cubicBezTo>
                <a:close/>
                <a:moveTo>
                  <a:pt x="108" y="52"/>
                </a:moveTo>
                <a:cubicBezTo>
                  <a:pt x="108" y="58"/>
                  <a:pt x="108" y="58"/>
                  <a:pt x="108" y="58"/>
                </a:cubicBezTo>
                <a:cubicBezTo>
                  <a:pt x="108" y="58"/>
                  <a:pt x="108" y="59"/>
                  <a:pt x="108" y="60"/>
                </a:cubicBezTo>
                <a:cubicBezTo>
                  <a:pt x="107" y="60"/>
                  <a:pt x="106" y="61"/>
                  <a:pt x="105" y="61"/>
                </a:cubicBezTo>
                <a:cubicBezTo>
                  <a:pt x="99" y="61"/>
                  <a:pt x="99" y="61"/>
                  <a:pt x="99" y="61"/>
                </a:cubicBezTo>
                <a:cubicBezTo>
                  <a:pt x="99" y="61"/>
                  <a:pt x="98" y="60"/>
                  <a:pt x="97" y="60"/>
                </a:cubicBezTo>
                <a:cubicBezTo>
                  <a:pt x="97" y="59"/>
                  <a:pt x="96" y="58"/>
                  <a:pt x="96" y="58"/>
                </a:cubicBezTo>
                <a:cubicBezTo>
                  <a:pt x="96" y="52"/>
                  <a:pt x="96" y="52"/>
                  <a:pt x="96" y="52"/>
                </a:cubicBezTo>
                <a:cubicBezTo>
                  <a:pt x="96" y="51"/>
                  <a:pt x="97" y="50"/>
                  <a:pt x="97" y="50"/>
                </a:cubicBezTo>
                <a:cubicBezTo>
                  <a:pt x="98" y="49"/>
                  <a:pt x="99" y="49"/>
                  <a:pt x="99" y="49"/>
                </a:cubicBezTo>
                <a:cubicBezTo>
                  <a:pt x="105" y="49"/>
                  <a:pt x="105" y="49"/>
                  <a:pt x="105" y="49"/>
                </a:cubicBezTo>
                <a:cubicBezTo>
                  <a:pt x="106" y="49"/>
                  <a:pt x="107" y="49"/>
                  <a:pt x="108" y="50"/>
                </a:cubicBezTo>
                <a:cubicBezTo>
                  <a:pt x="108" y="50"/>
                  <a:pt x="108" y="51"/>
                  <a:pt x="108" y="52"/>
                </a:cubicBezTo>
                <a:close/>
                <a:moveTo>
                  <a:pt x="108" y="76"/>
                </a:moveTo>
                <a:cubicBezTo>
                  <a:pt x="108" y="82"/>
                  <a:pt x="108" y="82"/>
                  <a:pt x="108" y="82"/>
                </a:cubicBezTo>
                <a:cubicBezTo>
                  <a:pt x="108" y="83"/>
                  <a:pt x="108" y="83"/>
                  <a:pt x="108" y="84"/>
                </a:cubicBezTo>
                <a:cubicBezTo>
                  <a:pt x="107" y="85"/>
                  <a:pt x="106" y="85"/>
                  <a:pt x="105" y="85"/>
                </a:cubicBezTo>
                <a:cubicBezTo>
                  <a:pt x="99" y="85"/>
                  <a:pt x="99" y="85"/>
                  <a:pt x="99" y="85"/>
                </a:cubicBezTo>
                <a:cubicBezTo>
                  <a:pt x="99" y="85"/>
                  <a:pt x="98" y="85"/>
                  <a:pt x="97" y="84"/>
                </a:cubicBezTo>
                <a:cubicBezTo>
                  <a:pt x="97" y="83"/>
                  <a:pt x="96" y="83"/>
                  <a:pt x="96" y="82"/>
                </a:cubicBezTo>
                <a:cubicBezTo>
                  <a:pt x="96" y="76"/>
                  <a:pt x="96" y="76"/>
                  <a:pt x="96" y="76"/>
                </a:cubicBezTo>
                <a:cubicBezTo>
                  <a:pt x="96" y="75"/>
                  <a:pt x="97" y="74"/>
                  <a:pt x="97" y="74"/>
                </a:cubicBezTo>
                <a:cubicBezTo>
                  <a:pt x="98" y="73"/>
                  <a:pt x="99" y="73"/>
                  <a:pt x="99" y="73"/>
                </a:cubicBezTo>
                <a:cubicBezTo>
                  <a:pt x="105" y="73"/>
                  <a:pt x="105" y="73"/>
                  <a:pt x="105" y="73"/>
                </a:cubicBezTo>
                <a:cubicBezTo>
                  <a:pt x="106" y="73"/>
                  <a:pt x="107" y="73"/>
                  <a:pt x="108" y="74"/>
                </a:cubicBezTo>
                <a:cubicBezTo>
                  <a:pt x="108" y="74"/>
                  <a:pt x="108" y="75"/>
                  <a:pt x="108" y="76"/>
                </a:cubicBezTo>
                <a:close/>
                <a:moveTo>
                  <a:pt x="108" y="100"/>
                </a:moveTo>
                <a:cubicBezTo>
                  <a:pt x="108" y="106"/>
                  <a:pt x="108" y="106"/>
                  <a:pt x="108" y="106"/>
                </a:cubicBezTo>
                <a:cubicBezTo>
                  <a:pt x="108" y="107"/>
                  <a:pt x="108" y="108"/>
                  <a:pt x="108" y="108"/>
                </a:cubicBezTo>
                <a:cubicBezTo>
                  <a:pt x="107" y="109"/>
                  <a:pt x="106" y="109"/>
                  <a:pt x="105" y="109"/>
                </a:cubicBezTo>
                <a:cubicBezTo>
                  <a:pt x="99" y="109"/>
                  <a:pt x="99" y="109"/>
                  <a:pt x="99" y="109"/>
                </a:cubicBezTo>
                <a:cubicBezTo>
                  <a:pt x="99" y="109"/>
                  <a:pt x="98" y="109"/>
                  <a:pt x="97" y="108"/>
                </a:cubicBezTo>
                <a:cubicBezTo>
                  <a:pt x="97" y="108"/>
                  <a:pt x="96" y="107"/>
                  <a:pt x="96" y="106"/>
                </a:cubicBezTo>
                <a:cubicBezTo>
                  <a:pt x="96" y="100"/>
                  <a:pt x="96" y="100"/>
                  <a:pt x="96" y="100"/>
                </a:cubicBezTo>
                <a:cubicBezTo>
                  <a:pt x="96" y="99"/>
                  <a:pt x="97" y="99"/>
                  <a:pt x="97" y="98"/>
                </a:cubicBezTo>
                <a:cubicBezTo>
                  <a:pt x="98" y="97"/>
                  <a:pt x="99" y="97"/>
                  <a:pt x="99" y="97"/>
                </a:cubicBezTo>
                <a:cubicBezTo>
                  <a:pt x="105" y="97"/>
                  <a:pt x="105" y="97"/>
                  <a:pt x="105" y="97"/>
                </a:cubicBezTo>
                <a:cubicBezTo>
                  <a:pt x="106" y="97"/>
                  <a:pt x="107" y="97"/>
                  <a:pt x="108" y="98"/>
                </a:cubicBezTo>
                <a:cubicBezTo>
                  <a:pt x="108" y="99"/>
                  <a:pt x="108" y="99"/>
                  <a:pt x="108" y="100"/>
                </a:cubicBezTo>
                <a:close/>
                <a:moveTo>
                  <a:pt x="108" y="124"/>
                </a:moveTo>
                <a:cubicBezTo>
                  <a:pt x="108" y="130"/>
                  <a:pt x="108" y="130"/>
                  <a:pt x="108" y="130"/>
                </a:cubicBezTo>
                <a:cubicBezTo>
                  <a:pt x="108" y="131"/>
                  <a:pt x="108" y="132"/>
                  <a:pt x="108" y="132"/>
                </a:cubicBezTo>
                <a:cubicBezTo>
                  <a:pt x="107" y="133"/>
                  <a:pt x="106" y="133"/>
                  <a:pt x="105" y="133"/>
                </a:cubicBezTo>
                <a:cubicBezTo>
                  <a:pt x="99" y="133"/>
                  <a:pt x="99" y="133"/>
                  <a:pt x="99" y="133"/>
                </a:cubicBezTo>
                <a:cubicBezTo>
                  <a:pt x="99" y="133"/>
                  <a:pt x="98" y="133"/>
                  <a:pt x="97" y="132"/>
                </a:cubicBezTo>
                <a:cubicBezTo>
                  <a:pt x="97" y="132"/>
                  <a:pt x="96" y="131"/>
                  <a:pt x="96" y="130"/>
                </a:cubicBezTo>
                <a:cubicBezTo>
                  <a:pt x="96" y="124"/>
                  <a:pt x="96" y="124"/>
                  <a:pt x="96" y="124"/>
                </a:cubicBezTo>
                <a:cubicBezTo>
                  <a:pt x="96" y="123"/>
                  <a:pt x="97" y="123"/>
                  <a:pt x="97" y="122"/>
                </a:cubicBezTo>
                <a:cubicBezTo>
                  <a:pt x="98" y="122"/>
                  <a:pt x="99" y="121"/>
                  <a:pt x="99" y="121"/>
                </a:cubicBezTo>
                <a:cubicBezTo>
                  <a:pt x="105" y="121"/>
                  <a:pt x="105" y="121"/>
                  <a:pt x="105" y="121"/>
                </a:cubicBezTo>
                <a:cubicBezTo>
                  <a:pt x="106" y="121"/>
                  <a:pt x="107" y="122"/>
                  <a:pt x="108" y="122"/>
                </a:cubicBezTo>
                <a:cubicBezTo>
                  <a:pt x="108" y="123"/>
                  <a:pt x="108" y="123"/>
                  <a:pt x="108" y="1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4" name="Freeform 385"/>
          <p:cNvSpPr>
            <a:spLocks noChangeAspect="1" noEditPoints="1"/>
          </p:cNvSpPr>
          <p:nvPr/>
        </p:nvSpPr>
        <p:spPr bwMode="auto">
          <a:xfrm>
            <a:off x="7209035" y="4344034"/>
            <a:ext cx="174866" cy="151447"/>
          </a:xfrm>
          <a:custGeom>
            <a:avLst/>
            <a:gdLst>
              <a:gd name="T0" fmla="*/ 158 w 170"/>
              <a:gd name="T1" fmla="*/ 49 h 146"/>
              <a:gd name="T2" fmla="*/ 166 w 170"/>
              <a:gd name="T3" fmla="*/ 52 h 146"/>
              <a:gd name="T4" fmla="*/ 170 w 170"/>
              <a:gd name="T5" fmla="*/ 61 h 146"/>
              <a:gd name="T6" fmla="*/ 166 w 170"/>
              <a:gd name="T7" fmla="*/ 69 h 146"/>
              <a:gd name="T8" fmla="*/ 158 w 170"/>
              <a:gd name="T9" fmla="*/ 73 h 146"/>
              <a:gd name="T10" fmla="*/ 158 w 170"/>
              <a:gd name="T11" fmla="*/ 109 h 146"/>
              <a:gd name="T12" fmla="*/ 154 w 170"/>
              <a:gd name="T13" fmla="*/ 118 h 146"/>
              <a:gd name="T14" fmla="*/ 146 w 170"/>
              <a:gd name="T15" fmla="*/ 121 h 146"/>
              <a:gd name="T16" fmla="*/ 69 w 170"/>
              <a:gd name="T17" fmla="*/ 85 h 146"/>
              <a:gd name="T18" fmla="*/ 60 w 170"/>
              <a:gd name="T19" fmla="*/ 92 h 146"/>
              <a:gd name="T20" fmla="*/ 57 w 170"/>
              <a:gd name="T21" fmla="*/ 101 h 146"/>
              <a:gd name="T22" fmla="*/ 61 w 170"/>
              <a:gd name="T23" fmla="*/ 110 h 146"/>
              <a:gd name="T24" fmla="*/ 59 w 170"/>
              <a:gd name="T25" fmla="*/ 116 h 146"/>
              <a:gd name="T26" fmla="*/ 59 w 170"/>
              <a:gd name="T27" fmla="*/ 122 h 146"/>
              <a:gd name="T28" fmla="*/ 63 w 170"/>
              <a:gd name="T29" fmla="*/ 127 h 146"/>
              <a:gd name="T30" fmla="*/ 67 w 170"/>
              <a:gd name="T31" fmla="*/ 131 h 146"/>
              <a:gd name="T32" fmla="*/ 73 w 170"/>
              <a:gd name="T33" fmla="*/ 136 h 146"/>
              <a:gd name="T34" fmla="*/ 62 w 170"/>
              <a:gd name="T35" fmla="*/ 144 h 146"/>
              <a:gd name="T36" fmla="*/ 47 w 170"/>
              <a:gd name="T37" fmla="*/ 145 h 146"/>
              <a:gd name="T38" fmla="*/ 34 w 170"/>
              <a:gd name="T39" fmla="*/ 140 h 146"/>
              <a:gd name="T40" fmla="*/ 31 w 170"/>
              <a:gd name="T41" fmla="*/ 132 h 146"/>
              <a:gd name="T42" fmla="*/ 28 w 170"/>
              <a:gd name="T43" fmla="*/ 123 h 146"/>
              <a:gd name="T44" fmla="*/ 26 w 170"/>
              <a:gd name="T45" fmla="*/ 114 h 146"/>
              <a:gd name="T46" fmla="*/ 25 w 170"/>
              <a:gd name="T47" fmla="*/ 105 h 146"/>
              <a:gd name="T48" fmla="*/ 25 w 170"/>
              <a:gd name="T49" fmla="*/ 95 h 146"/>
              <a:gd name="T50" fmla="*/ 27 w 170"/>
              <a:gd name="T51" fmla="*/ 85 h 146"/>
              <a:gd name="T52" fmla="*/ 15 w 170"/>
              <a:gd name="T53" fmla="*/ 85 h 146"/>
              <a:gd name="T54" fmla="*/ 5 w 170"/>
              <a:gd name="T55" fmla="*/ 81 h 146"/>
              <a:gd name="T56" fmla="*/ 0 w 170"/>
              <a:gd name="T57" fmla="*/ 70 h 146"/>
              <a:gd name="T58" fmla="*/ 0 w 170"/>
              <a:gd name="T59" fmla="*/ 52 h 146"/>
              <a:gd name="T60" fmla="*/ 5 w 170"/>
              <a:gd name="T61" fmla="*/ 41 h 146"/>
              <a:gd name="T62" fmla="*/ 15 w 170"/>
              <a:gd name="T63" fmla="*/ 37 h 146"/>
              <a:gd name="T64" fmla="*/ 61 w 170"/>
              <a:gd name="T65" fmla="*/ 37 h 146"/>
              <a:gd name="T66" fmla="*/ 146 w 170"/>
              <a:gd name="T67" fmla="*/ 0 h 146"/>
              <a:gd name="T68" fmla="*/ 154 w 170"/>
              <a:gd name="T69" fmla="*/ 4 h 146"/>
              <a:gd name="T70" fmla="*/ 158 w 170"/>
              <a:gd name="T71" fmla="*/ 12 h 146"/>
              <a:gd name="T72" fmla="*/ 158 w 170"/>
              <a:gd name="T73" fmla="*/ 49 h 146"/>
              <a:gd name="T74" fmla="*/ 146 w 170"/>
              <a:gd name="T75" fmla="*/ 106 h 146"/>
              <a:gd name="T76" fmla="*/ 146 w 170"/>
              <a:gd name="T77" fmla="*/ 16 h 146"/>
              <a:gd name="T78" fmla="*/ 73 w 170"/>
              <a:gd name="T79" fmla="*/ 48 h 146"/>
              <a:gd name="T80" fmla="*/ 73 w 170"/>
              <a:gd name="T81" fmla="*/ 74 h 146"/>
              <a:gd name="T82" fmla="*/ 146 w 170"/>
              <a:gd name="T83" fmla="*/ 10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0" h="146">
                <a:moveTo>
                  <a:pt x="158" y="49"/>
                </a:moveTo>
                <a:cubicBezTo>
                  <a:pt x="161" y="49"/>
                  <a:pt x="164" y="50"/>
                  <a:pt x="166" y="52"/>
                </a:cubicBezTo>
                <a:cubicBezTo>
                  <a:pt x="169" y="55"/>
                  <a:pt x="170" y="57"/>
                  <a:pt x="170" y="61"/>
                </a:cubicBezTo>
                <a:cubicBezTo>
                  <a:pt x="170" y="64"/>
                  <a:pt x="169" y="67"/>
                  <a:pt x="166" y="69"/>
                </a:cubicBezTo>
                <a:cubicBezTo>
                  <a:pt x="164" y="72"/>
                  <a:pt x="161" y="73"/>
                  <a:pt x="158" y="73"/>
                </a:cubicBezTo>
                <a:cubicBezTo>
                  <a:pt x="158" y="109"/>
                  <a:pt x="158" y="109"/>
                  <a:pt x="158" y="109"/>
                </a:cubicBezTo>
                <a:cubicBezTo>
                  <a:pt x="158" y="112"/>
                  <a:pt x="156" y="115"/>
                  <a:pt x="154" y="118"/>
                </a:cubicBezTo>
                <a:cubicBezTo>
                  <a:pt x="152" y="120"/>
                  <a:pt x="149" y="121"/>
                  <a:pt x="146" y="121"/>
                </a:cubicBezTo>
                <a:cubicBezTo>
                  <a:pt x="119" y="99"/>
                  <a:pt x="94" y="87"/>
                  <a:pt x="69" y="85"/>
                </a:cubicBezTo>
                <a:cubicBezTo>
                  <a:pt x="65" y="87"/>
                  <a:pt x="62" y="89"/>
                  <a:pt x="60" y="92"/>
                </a:cubicBezTo>
                <a:cubicBezTo>
                  <a:pt x="58" y="95"/>
                  <a:pt x="57" y="98"/>
                  <a:pt x="57" y="101"/>
                </a:cubicBezTo>
                <a:cubicBezTo>
                  <a:pt x="57" y="105"/>
                  <a:pt x="59" y="107"/>
                  <a:pt x="61" y="110"/>
                </a:cubicBezTo>
                <a:cubicBezTo>
                  <a:pt x="60" y="112"/>
                  <a:pt x="59" y="114"/>
                  <a:pt x="59" y="116"/>
                </a:cubicBezTo>
                <a:cubicBezTo>
                  <a:pt x="59" y="118"/>
                  <a:pt x="59" y="120"/>
                  <a:pt x="59" y="122"/>
                </a:cubicBezTo>
                <a:cubicBezTo>
                  <a:pt x="60" y="123"/>
                  <a:pt x="61" y="125"/>
                  <a:pt x="63" y="127"/>
                </a:cubicBezTo>
                <a:cubicBezTo>
                  <a:pt x="64" y="129"/>
                  <a:pt x="66" y="130"/>
                  <a:pt x="67" y="131"/>
                </a:cubicBezTo>
                <a:cubicBezTo>
                  <a:pt x="69" y="133"/>
                  <a:pt x="71" y="134"/>
                  <a:pt x="73" y="136"/>
                </a:cubicBezTo>
                <a:cubicBezTo>
                  <a:pt x="71" y="140"/>
                  <a:pt x="68" y="143"/>
                  <a:pt x="62" y="144"/>
                </a:cubicBezTo>
                <a:cubicBezTo>
                  <a:pt x="57" y="146"/>
                  <a:pt x="52" y="146"/>
                  <a:pt x="47" y="145"/>
                </a:cubicBezTo>
                <a:cubicBezTo>
                  <a:pt x="41" y="144"/>
                  <a:pt x="37" y="143"/>
                  <a:pt x="34" y="140"/>
                </a:cubicBezTo>
                <a:cubicBezTo>
                  <a:pt x="34" y="138"/>
                  <a:pt x="33" y="136"/>
                  <a:pt x="31" y="132"/>
                </a:cubicBezTo>
                <a:cubicBezTo>
                  <a:pt x="30" y="128"/>
                  <a:pt x="29" y="125"/>
                  <a:pt x="28" y="123"/>
                </a:cubicBezTo>
                <a:cubicBezTo>
                  <a:pt x="28" y="121"/>
                  <a:pt x="27" y="118"/>
                  <a:pt x="26" y="114"/>
                </a:cubicBezTo>
                <a:cubicBezTo>
                  <a:pt x="25" y="111"/>
                  <a:pt x="25" y="107"/>
                  <a:pt x="25" y="105"/>
                </a:cubicBezTo>
                <a:cubicBezTo>
                  <a:pt x="25" y="102"/>
                  <a:pt x="25" y="99"/>
                  <a:pt x="25" y="95"/>
                </a:cubicBezTo>
                <a:cubicBezTo>
                  <a:pt x="25" y="92"/>
                  <a:pt x="26" y="88"/>
                  <a:pt x="27" y="85"/>
                </a:cubicBezTo>
                <a:cubicBezTo>
                  <a:pt x="15" y="85"/>
                  <a:pt x="15" y="85"/>
                  <a:pt x="15" y="85"/>
                </a:cubicBezTo>
                <a:cubicBezTo>
                  <a:pt x="11" y="85"/>
                  <a:pt x="8" y="84"/>
                  <a:pt x="5" y="81"/>
                </a:cubicBezTo>
                <a:cubicBezTo>
                  <a:pt x="2" y="78"/>
                  <a:pt x="0" y="74"/>
                  <a:pt x="0" y="70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48"/>
                  <a:pt x="2" y="44"/>
                  <a:pt x="5" y="41"/>
                </a:cubicBezTo>
                <a:cubicBezTo>
                  <a:pt x="8" y="38"/>
                  <a:pt x="11" y="37"/>
                  <a:pt x="15" y="37"/>
                </a:cubicBezTo>
                <a:cubicBezTo>
                  <a:pt x="61" y="37"/>
                  <a:pt x="61" y="37"/>
                  <a:pt x="61" y="37"/>
                </a:cubicBezTo>
                <a:cubicBezTo>
                  <a:pt x="88" y="37"/>
                  <a:pt x="117" y="25"/>
                  <a:pt x="146" y="0"/>
                </a:cubicBezTo>
                <a:cubicBezTo>
                  <a:pt x="149" y="0"/>
                  <a:pt x="152" y="1"/>
                  <a:pt x="154" y="4"/>
                </a:cubicBezTo>
                <a:cubicBezTo>
                  <a:pt x="156" y="6"/>
                  <a:pt x="158" y="9"/>
                  <a:pt x="158" y="12"/>
                </a:cubicBezTo>
                <a:lnTo>
                  <a:pt x="158" y="49"/>
                </a:lnTo>
                <a:close/>
                <a:moveTo>
                  <a:pt x="146" y="106"/>
                </a:moveTo>
                <a:cubicBezTo>
                  <a:pt x="146" y="16"/>
                  <a:pt x="146" y="16"/>
                  <a:pt x="146" y="16"/>
                </a:cubicBezTo>
                <a:cubicBezTo>
                  <a:pt x="121" y="35"/>
                  <a:pt x="97" y="45"/>
                  <a:pt x="73" y="48"/>
                </a:cubicBezTo>
                <a:cubicBezTo>
                  <a:pt x="73" y="74"/>
                  <a:pt x="73" y="74"/>
                  <a:pt x="73" y="74"/>
                </a:cubicBezTo>
                <a:cubicBezTo>
                  <a:pt x="97" y="76"/>
                  <a:pt x="121" y="87"/>
                  <a:pt x="146" y="1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5" name="Freeform 386"/>
          <p:cNvSpPr>
            <a:spLocks noChangeAspect="1" noEditPoints="1"/>
          </p:cNvSpPr>
          <p:nvPr/>
        </p:nvSpPr>
        <p:spPr bwMode="auto">
          <a:xfrm>
            <a:off x="7472895" y="4344034"/>
            <a:ext cx="149885" cy="151447"/>
          </a:xfrm>
          <a:custGeom>
            <a:avLst/>
            <a:gdLst>
              <a:gd name="T0" fmla="*/ 135 w 145"/>
              <a:gd name="T1" fmla="*/ 36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2 w 145"/>
              <a:gd name="T9" fmla="*/ 146 h 146"/>
              <a:gd name="T10" fmla="*/ 36 w 145"/>
              <a:gd name="T11" fmla="*/ 136 h 146"/>
              <a:gd name="T12" fmla="*/ 9 w 145"/>
              <a:gd name="T13" fmla="*/ 109 h 146"/>
              <a:gd name="T14" fmla="*/ 0 w 145"/>
              <a:gd name="T15" fmla="*/ 73 h 146"/>
              <a:gd name="T16" fmla="*/ 9 w 145"/>
              <a:gd name="T17" fmla="*/ 36 h 146"/>
              <a:gd name="T18" fmla="*/ 36 w 145"/>
              <a:gd name="T19" fmla="*/ 10 h 146"/>
              <a:gd name="T20" fmla="*/ 72 w 145"/>
              <a:gd name="T21" fmla="*/ 0 h 146"/>
              <a:gd name="T22" fmla="*/ 109 w 145"/>
              <a:gd name="T23" fmla="*/ 10 h 146"/>
              <a:gd name="T24" fmla="*/ 135 w 145"/>
              <a:gd name="T25" fmla="*/ 36 h 146"/>
              <a:gd name="T26" fmla="*/ 128 w 145"/>
              <a:gd name="T27" fmla="*/ 96 h 146"/>
              <a:gd name="T28" fmla="*/ 133 w 145"/>
              <a:gd name="T29" fmla="*/ 73 h 146"/>
              <a:gd name="T30" fmla="*/ 128 w 145"/>
              <a:gd name="T31" fmla="*/ 49 h 146"/>
              <a:gd name="T32" fmla="*/ 115 w 145"/>
              <a:gd name="T33" fmla="*/ 30 h 146"/>
              <a:gd name="T34" fmla="*/ 96 w 145"/>
              <a:gd name="T35" fmla="*/ 17 h 146"/>
              <a:gd name="T36" fmla="*/ 72 w 145"/>
              <a:gd name="T37" fmla="*/ 12 h 146"/>
              <a:gd name="T38" fmla="*/ 49 w 145"/>
              <a:gd name="T39" fmla="*/ 17 h 146"/>
              <a:gd name="T40" fmla="*/ 29 w 145"/>
              <a:gd name="T41" fmla="*/ 30 h 146"/>
              <a:gd name="T42" fmla="*/ 16 w 145"/>
              <a:gd name="T43" fmla="*/ 49 h 146"/>
              <a:gd name="T44" fmla="*/ 12 w 145"/>
              <a:gd name="T45" fmla="*/ 73 h 146"/>
              <a:gd name="T46" fmla="*/ 16 w 145"/>
              <a:gd name="T47" fmla="*/ 96 h 146"/>
              <a:gd name="T48" fmla="*/ 29 w 145"/>
              <a:gd name="T49" fmla="*/ 116 h 146"/>
              <a:gd name="T50" fmla="*/ 49 w 145"/>
              <a:gd name="T51" fmla="*/ 129 h 146"/>
              <a:gd name="T52" fmla="*/ 72 w 145"/>
              <a:gd name="T53" fmla="*/ 133 h 146"/>
              <a:gd name="T54" fmla="*/ 96 w 145"/>
              <a:gd name="T55" fmla="*/ 129 h 146"/>
              <a:gd name="T56" fmla="*/ 115 w 145"/>
              <a:gd name="T57" fmla="*/ 116 h 146"/>
              <a:gd name="T58" fmla="*/ 128 w 145"/>
              <a:gd name="T59" fmla="*/ 96 h 146"/>
              <a:gd name="T60" fmla="*/ 106 w 145"/>
              <a:gd name="T61" fmla="*/ 39 h 146"/>
              <a:gd name="T62" fmla="*/ 121 w 145"/>
              <a:gd name="T63" fmla="*/ 73 h 146"/>
              <a:gd name="T64" fmla="*/ 106 w 145"/>
              <a:gd name="T65" fmla="*/ 107 h 146"/>
              <a:gd name="T66" fmla="*/ 72 w 145"/>
              <a:gd name="T67" fmla="*/ 121 h 146"/>
              <a:gd name="T68" fmla="*/ 38 w 145"/>
              <a:gd name="T69" fmla="*/ 107 h 146"/>
              <a:gd name="T70" fmla="*/ 24 w 145"/>
              <a:gd name="T71" fmla="*/ 73 h 146"/>
              <a:gd name="T72" fmla="*/ 38 w 145"/>
              <a:gd name="T73" fmla="*/ 39 h 146"/>
              <a:gd name="T74" fmla="*/ 72 w 145"/>
              <a:gd name="T75" fmla="*/ 25 h 146"/>
              <a:gd name="T76" fmla="*/ 106 w 145"/>
              <a:gd name="T77" fmla="*/ 39 h 146"/>
              <a:gd name="T78" fmla="*/ 98 w 145"/>
              <a:gd name="T79" fmla="*/ 99 h 146"/>
              <a:gd name="T80" fmla="*/ 108 w 145"/>
              <a:gd name="T81" fmla="*/ 73 h 146"/>
              <a:gd name="T82" fmla="*/ 98 w 145"/>
              <a:gd name="T83" fmla="*/ 47 h 146"/>
              <a:gd name="T84" fmla="*/ 72 w 145"/>
              <a:gd name="T85" fmla="*/ 37 h 146"/>
              <a:gd name="T86" fmla="*/ 46 w 145"/>
              <a:gd name="T87" fmla="*/ 47 h 146"/>
              <a:gd name="T88" fmla="*/ 36 w 145"/>
              <a:gd name="T89" fmla="*/ 73 h 146"/>
              <a:gd name="T90" fmla="*/ 46 w 145"/>
              <a:gd name="T91" fmla="*/ 99 h 146"/>
              <a:gd name="T92" fmla="*/ 72 w 145"/>
              <a:gd name="T93" fmla="*/ 109 h 146"/>
              <a:gd name="T94" fmla="*/ 98 w 145"/>
              <a:gd name="T95" fmla="*/ 99 h 146"/>
              <a:gd name="T96" fmla="*/ 89 w 145"/>
              <a:gd name="T97" fmla="*/ 56 h 146"/>
              <a:gd name="T98" fmla="*/ 96 w 145"/>
              <a:gd name="T99" fmla="*/ 73 h 146"/>
              <a:gd name="T100" fmla="*/ 89 w 145"/>
              <a:gd name="T101" fmla="*/ 90 h 146"/>
              <a:gd name="T102" fmla="*/ 72 w 145"/>
              <a:gd name="T103" fmla="*/ 97 h 146"/>
              <a:gd name="T104" fmla="*/ 55 w 145"/>
              <a:gd name="T105" fmla="*/ 90 h 146"/>
              <a:gd name="T106" fmla="*/ 48 w 145"/>
              <a:gd name="T107" fmla="*/ 73 h 146"/>
              <a:gd name="T108" fmla="*/ 55 w 145"/>
              <a:gd name="T109" fmla="*/ 56 h 146"/>
              <a:gd name="T110" fmla="*/ 72 w 145"/>
              <a:gd name="T111" fmla="*/ 49 h 146"/>
              <a:gd name="T112" fmla="*/ 89 w 145"/>
              <a:gd name="T113" fmla="*/ 5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5" h="146">
                <a:moveTo>
                  <a:pt x="135" y="36"/>
                </a:moveTo>
                <a:cubicBezTo>
                  <a:pt x="141" y="48"/>
                  <a:pt x="145" y="60"/>
                  <a:pt x="145" y="73"/>
                </a:cubicBezTo>
                <a:cubicBezTo>
                  <a:pt x="145" y="86"/>
                  <a:pt x="141" y="98"/>
                  <a:pt x="135" y="109"/>
                </a:cubicBezTo>
                <a:cubicBezTo>
                  <a:pt x="128" y="120"/>
                  <a:pt x="120" y="129"/>
                  <a:pt x="109" y="136"/>
                </a:cubicBezTo>
                <a:cubicBezTo>
                  <a:pt x="97" y="142"/>
                  <a:pt x="85" y="146"/>
                  <a:pt x="72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0"/>
                  <a:pt x="9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9" y="36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2" y="0"/>
                </a:cubicBezTo>
                <a:cubicBezTo>
                  <a:pt x="85" y="0"/>
                  <a:pt x="97" y="4"/>
                  <a:pt x="109" y="10"/>
                </a:cubicBezTo>
                <a:cubicBezTo>
                  <a:pt x="120" y="17"/>
                  <a:pt x="128" y="25"/>
                  <a:pt x="135" y="36"/>
                </a:cubicBezTo>
                <a:close/>
                <a:moveTo>
                  <a:pt x="128" y="96"/>
                </a:moveTo>
                <a:cubicBezTo>
                  <a:pt x="131" y="89"/>
                  <a:pt x="133" y="81"/>
                  <a:pt x="133" y="73"/>
                </a:cubicBezTo>
                <a:cubicBezTo>
                  <a:pt x="133" y="65"/>
                  <a:pt x="131" y="57"/>
                  <a:pt x="128" y="49"/>
                </a:cubicBezTo>
                <a:cubicBezTo>
                  <a:pt x="125" y="42"/>
                  <a:pt x="120" y="36"/>
                  <a:pt x="115" y="30"/>
                </a:cubicBezTo>
                <a:cubicBezTo>
                  <a:pt x="110" y="25"/>
                  <a:pt x="103" y="20"/>
                  <a:pt x="96" y="17"/>
                </a:cubicBezTo>
                <a:cubicBezTo>
                  <a:pt x="88" y="14"/>
                  <a:pt x="80" y="12"/>
                  <a:pt x="72" y="12"/>
                </a:cubicBezTo>
                <a:cubicBezTo>
                  <a:pt x="64" y="12"/>
                  <a:pt x="56" y="14"/>
                  <a:pt x="49" y="17"/>
                </a:cubicBezTo>
                <a:cubicBezTo>
                  <a:pt x="41" y="20"/>
                  <a:pt x="35" y="25"/>
                  <a:pt x="29" y="30"/>
                </a:cubicBezTo>
                <a:cubicBezTo>
                  <a:pt x="24" y="36"/>
                  <a:pt x="20" y="42"/>
                  <a:pt x="16" y="49"/>
                </a:cubicBezTo>
                <a:cubicBezTo>
                  <a:pt x="13" y="57"/>
                  <a:pt x="12" y="65"/>
                  <a:pt x="12" y="73"/>
                </a:cubicBezTo>
                <a:cubicBezTo>
                  <a:pt x="12" y="81"/>
                  <a:pt x="13" y="89"/>
                  <a:pt x="16" y="96"/>
                </a:cubicBezTo>
                <a:cubicBezTo>
                  <a:pt x="20" y="104"/>
                  <a:pt x="24" y="110"/>
                  <a:pt x="29" y="116"/>
                </a:cubicBezTo>
                <a:cubicBezTo>
                  <a:pt x="35" y="121"/>
                  <a:pt x="41" y="125"/>
                  <a:pt x="49" y="129"/>
                </a:cubicBezTo>
                <a:cubicBezTo>
                  <a:pt x="56" y="132"/>
                  <a:pt x="64" y="133"/>
                  <a:pt x="72" y="133"/>
                </a:cubicBezTo>
                <a:cubicBezTo>
                  <a:pt x="80" y="133"/>
                  <a:pt x="88" y="132"/>
                  <a:pt x="96" y="129"/>
                </a:cubicBezTo>
                <a:cubicBezTo>
                  <a:pt x="103" y="125"/>
                  <a:pt x="110" y="121"/>
                  <a:pt x="115" y="116"/>
                </a:cubicBezTo>
                <a:cubicBezTo>
                  <a:pt x="120" y="110"/>
                  <a:pt x="125" y="104"/>
                  <a:pt x="128" y="96"/>
                </a:cubicBezTo>
                <a:close/>
                <a:moveTo>
                  <a:pt x="106" y="39"/>
                </a:moveTo>
                <a:cubicBezTo>
                  <a:pt x="116" y="48"/>
                  <a:pt x="121" y="60"/>
                  <a:pt x="121" y="73"/>
                </a:cubicBezTo>
                <a:cubicBezTo>
                  <a:pt x="121" y="86"/>
                  <a:pt x="116" y="98"/>
                  <a:pt x="106" y="107"/>
                </a:cubicBezTo>
                <a:cubicBezTo>
                  <a:pt x="97" y="117"/>
                  <a:pt x="85" y="121"/>
                  <a:pt x="72" y="121"/>
                </a:cubicBezTo>
                <a:cubicBezTo>
                  <a:pt x="59" y="121"/>
                  <a:pt x="47" y="117"/>
                  <a:pt x="38" y="107"/>
                </a:cubicBezTo>
                <a:cubicBezTo>
                  <a:pt x="28" y="98"/>
                  <a:pt x="24" y="86"/>
                  <a:pt x="24" y="73"/>
                </a:cubicBezTo>
                <a:cubicBezTo>
                  <a:pt x="24" y="60"/>
                  <a:pt x="28" y="48"/>
                  <a:pt x="38" y="39"/>
                </a:cubicBezTo>
                <a:cubicBezTo>
                  <a:pt x="47" y="29"/>
                  <a:pt x="59" y="25"/>
                  <a:pt x="72" y="25"/>
                </a:cubicBezTo>
                <a:cubicBezTo>
                  <a:pt x="85" y="25"/>
                  <a:pt x="97" y="29"/>
                  <a:pt x="106" y="39"/>
                </a:cubicBezTo>
                <a:close/>
                <a:moveTo>
                  <a:pt x="98" y="99"/>
                </a:moveTo>
                <a:cubicBezTo>
                  <a:pt x="105" y="91"/>
                  <a:pt x="108" y="83"/>
                  <a:pt x="108" y="73"/>
                </a:cubicBezTo>
                <a:cubicBezTo>
                  <a:pt x="108" y="63"/>
                  <a:pt x="105" y="54"/>
                  <a:pt x="98" y="47"/>
                </a:cubicBezTo>
                <a:cubicBezTo>
                  <a:pt x="91" y="40"/>
                  <a:pt x="82" y="37"/>
                  <a:pt x="72" y="37"/>
                </a:cubicBezTo>
                <a:cubicBezTo>
                  <a:pt x="62" y="37"/>
                  <a:pt x="54" y="40"/>
                  <a:pt x="46" y="47"/>
                </a:cubicBezTo>
                <a:cubicBezTo>
                  <a:pt x="39" y="54"/>
                  <a:pt x="36" y="63"/>
                  <a:pt x="36" y="73"/>
                </a:cubicBezTo>
                <a:cubicBezTo>
                  <a:pt x="36" y="83"/>
                  <a:pt x="39" y="91"/>
                  <a:pt x="46" y="99"/>
                </a:cubicBezTo>
                <a:cubicBezTo>
                  <a:pt x="54" y="106"/>
                  <a:pt x="62" y="109"/>
                  <a:pt x="72" y="109"/>
                </a:cubicBezTo>
                <a:cubicBezTo>
                  <a:pt x="82" y="109"/>
                  <a:pt x="91" y="106"/>
                  <a:pt x="98" y="99"/>
                </a:cubicBezTo>
                <a:close/>
                <a:moveTo>
                  <a:pt x="89" y="56"/>
                </a:moveTo>
                <a:cubicBezTo>
                  <a:pt x="94" y="61"/>
                  <a:pt x="96" y="66"/>
                  <a:pt x="96" y="73"/>
                </a:cubicBezTo>
                <a:cubicBezTo>
                  <a:pt x="96" y="80"/>
                  <a:pt x="94" y="85"/>
                  <a:pt x="89" y="90"/>
                </a:cubicBezTo>
                <a:cubicBezTo>
                  <a:pt x="85" y="95"/>
                  <a:pt x="79" y="97"/>
                  <a:pt x="72" y="97"/>
                </a:cubicBezTo>
                <a:cubicBezTo>
                  <a:pt x="65" y="97"/>
                  <a:pt x="60" y="95"/>
                  <a:pt x="55" y="90"/>
                </a:cubicBezTo>
                <a:cubicBezTo>
                  <a:pt x="50" y="85"/>
                  <a:pt x="48" y="80"/>
                  <a:pt x="48" y="73"/>
                </a:cubicBezTo>
                <a:cubicBezTo>
                  <a:pt x="48" y="66"/>
                  <a:pt x="50" y="61"/>
                  <a:pt x="55" y="56"/>
                </a:cubicBezTo>
                <a:cubicBezTo>
                  <a:pt x="60" y="51"/>
                  <a:pt x="65" y="49"/>
                  <a:pt x="72" y="49"/>
                </a:cubicBezTo>
                <a:cubicBezTo>
                  <a:pt x="79" y="49"/>
                  <a:pt x="85" y="51"/>
                  <a:pt x="89" y="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6" name="Freeform 387"/>
          <p:cNvSpPr>
            <a:spLocks noChangeAspect="1" noEditPoints="1"/>
          </p:cNvSpPr>
          <p:nvPr/>
        </p:nvSpPr>
        <p:spPr bwMode="auto">
          <a:xfrm>
            <a:off x="7710214" y="4331544"/>
            <a:ext cx="199847" cy="176428"/>
          </a:xfrm>
          <a:custGeom>
            <a:avLst/>
            <a:gdLst>
              <a:gd name="T0" fmla="*/ 188 w 194"/>
              <a:gd name="T1" fmla="*/ 91 h 170"/>
              <a:gd name="T2" fmla="*/ 194 w 194"/>
              <a:gd name="T3" fmla="*/ 142 h 170"/>
              <a:gd name="T4" fmla="*/ 191 w 194"/>
              <a:gd name="T5" fmla="*/ 145 h 170"/>
              <a:gd name="T6" fmla="*/ 182 w 194"/>
              <a:gd name="T7" fmla="*/ 151 h 170"/>
              <a:gd name="T8" fmla="*/ 164 w 194"/>
              <a:gd name="T9" fmla="*/ 170 h 170"/>
              <a:gd name="T10" fmla="*/ 146 w 194"/>
              <a:gd name="T11" fmla="*/ 151 h 170"/>
              <a:gd name="T12" fmla="*/ 49 w 194"/>
              <a:gd name="T13" fmla="*/ 145 h 170"/>
              <a:gd name="T14" fmla="*/ 44 w 194"/>
              <a:gd name="T15" fmla="*/ 164 h 170"/>
              <a:gd name="T16" fmla="*/ 18 w 194"/>
              <a:gd name="T17" fmla="*/ 164 h 170"/>
              <a:gd name="T18" fmla="*/ 13 w 194"/>
              <a:gd name="T19" fmla="*/ 145 h 170"/>
              <a:gd name="T20" fmla="*/ 1 w 194"/>
              <a:gd name="T21" fmla="*/ 145 h 170"/>
              <a:gd name="T22" fmla="*/ 0 w 194"/>
              <a:gd name="T23" fmla="*/ 106 h 170"/>
              <a:gd name="T24" fmla="*/ 22 w 194"/>
              <a:gd name="T25" fmla="*/ 85 h 170"/>
              <a:gd name="T26" fmla="*/ 34 w 194"/>
              <a:gd name="T27" fmla="*/ 45 h 170"/>
              <a:gd name="T28" fmla="*/ 61 w 194"/>
              <a:gd name="T29" fmla="*/ 24 h 170"/>
              <a:gd name="T30" fmla="*/ 73 w 194"/>
              <a:gd name="T31" fmla="*/ 3 h 170"/>
              <a:gd name="T32" fmla="*/ 76 w 194"/>
              <a:gd name="T33" fmla="*/ 0 h 170"/>
              <a:gd name="T34" fmla="*/ 121 w 194"/>
              <a:gd name="T35" fmla="*/ 1 h 170"/>
              <a:gd name="T36" fmla="*/ 121 w 194"/>
              <a:gd name="T37" fmla="*/ 24 h 170"/>
              <a:gd name="T38" fmla="*/ 150 w 194"/>
              <a:gd name="T39" fmla="*/ 30 h 170"/>
              <a:gd name="T40" fmla="*/ 170 w 194"/>
              <a:gd name="T41" fmla="*/ 85 h 170"/>
              <a:gd name="T42" fmla="*/ 20 w 194"/>
              <a:gd name="T43" fmla="*/ 126 h 170"/>
              <a:gd name="T44" fmla="*/ 41 w 194"/>
              <a:gd name="T45" fmla="*/ 126 h 170"/>
              <a:gd name="T46" fmla="*/ 41 w 194"/>
              <a:gd name="T47" fmla="*/ 104 h 170"/>
              <a:gd name="T48" fmla="*/ 20 w 194"/>
              <a:gd name="T49" fmla="*/ 104 h 170"/>
              <a:gd name="T50" fmla="*/ 20 w 194"/>
              <a:gd name="T51" fmla="*/ 126 h 170"/>
              <a:gd name="T52" fmla="*/ 145 w 194"/>
              <a:gd name="T53" fmla="*/ 85 h 170"/>
              <a:gd name="T54" fmla="*/ 136 w 194"/>
              <a:gd name="T55" fmla="*/ 50 h 170"/>
              <a:gd name="T56" fmla="*/ 61 w 194"/>
              <a:gd name="T57" fmla="*/ 49 h 170"/>
              <a:gd name="T58" fmla="*/ 58 w 194"/>
              <a:gd name="T59" fmla="*/ 51 h 170"/>
              <a:gd name="T60" fmla="*/ 153 w 194"/>
              <a:gd name="T61" fmla="*/ 126 h 170"/>
              <a:gd name="T62" fmla="*/ 175 w 194"/>
              <a:gd name="T63" fmla="*/ 126 h 170"/>
              <a:gd name="T64" fmla="*/ 175 w 194"/>
              <a:gd name="T65" fmla="*/ 104 h 170"/>
              <a:gd name="T66" fmla="*/ 153 w 194"/>
              <a:gd name="T67" fmla="*/ 104 h 170"/>
              <a:gd name="T68" fmla="*/ 153 w 194"/>
              <a:gd name="T69" fmla="*/ 12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4" h="170">
                <a:moveTo>
                  <a:pt x="173" y="85"/>
                </a:moveTo>
                <a:cubicBezTo>
                  <a:pt x="179" y="85"/>
                  <a:pt x="184" y="87"/>
                  <a:pt x="188" y="91"/>
                </a:cubicBezTo>
                <a:cubicBezTo>
                  <a:pt x="192" y="95"/>
                  <a:pt x="194" y="100"/>
                  <a:pt x="194" y="106"/>
                </a:cubicBezTo>
                <a:cubicBezTo>
                  <a:pt x="194" y="142"/>
                  <a:pt x="194" y="142"/>
                  <a:pt x="194" y="142"/>
                </a:cubicBezTo>
                <a:cubicBezTo>
                  <a:pt x="194" y="143"/>
                  <a:pt x="194" y="144"/>
                  <a:pt x="193" y="145"/>
                </a:cubicBezTo>
                <a:cubicBezTo>
                  <a:pt x="193" y="145"/>
                  <a:pt x="192" y="145"/>
                  <a:pt x="191" y="145"/>
                </a:cubicBezTo>
                <a:cubicBezTo>
                  <a:pt x="182" y="145"/>
                  <a:pt x="182" y="145"/>
                  <a:pt x="182" y="145"/>
                </a:cubicBezTo>
                <a:cubicBezTo>
                  <a:pt x="182" y="151"/>
                  <a:pt x="182" y="151"/>
                  <a:pt x="182" y="151"/>
                </a:cubicBezTo>
                <a:cubicBezTo>
                  <a:pt x="182" y="157"/>
                  <a:pt x="180" y="161"/>
                  <a:pt x="177" y="164"/>
                </a:cubicBezTo>
                <a:cubicBezTo>
                  <a:pt x="173" y="168"/>
                  <a:pt x="169" y="170"/>
                  <a:pt x="164" y="170"/>
                </a:cubicBezTo>
                <a:cubicBezTo>
                  <a:pt x="159" y="170"/>
                  <a:pt x="154" y="168"/>
                  <a:pt x="151" y="164"/>
                </a:cubicBezTo>
                <a:cubicBezTo>
                  <a:pt x="147" y="161"/>
                  <a:pt x="146" y="157"/>
                  <a:pt x="146" y="151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49" y="145"/>
                  <a:pt x="49" y="145"/>
                  <a:pt x="49" y="145"/>
                </a:cubicBezTo>
                <a:cubicBezTo>
                  <a:pt x="49" y="151"/>
                  <a:pt x="49" y="151"/>
                  <a:pt x="49" y="151"/>
                </a:cubicBezTo>
                <a:cubicBezTo>
                  <a:pt x="49" y="157"/>
                  <a:pt x="47" y="161"/>
                  <a:pt x="44" y="164"/>
                </a:cubicBezTo>
                <a:cubicBezTo>
                  <a:pt x="40" y="168"/>
                  <a:pt x="36" y="170"/>
                  <a:pt x="31" y="170"/>
                </a:cubicBezTo>
                <a:cubicBezTo>
                  <a:pt x="26" y="170"/>
                  <a:pt x="21" y="168"/>
                  <a:pt x="18" y="164"/>
                </a:cubicBezTo>
                <a:cubicBezTo>
                  <a:pt x="14" y="161"/>
                  <a:pt x="13" y="157"/>
                  <a:pt x="13" y="151"/>
                </a:cubicBezTo>
                <a:cubicBezTo>
                  <a:pt x="13" y="145"/>
                  <a:pt x="13" y="145"/>
                  <a:pt x="13" y="145"/>
                </a:cubicBezTo>
                <a:cubicBezTo>
                  <a:pt x="3" y="145"/>
                  <a:pt x="3" y="145"/>
                  <a:pt x="3" y="145"/>
                </a:cubicBezTo>
                <a:cubicBezTo>
                  <a:pt x="3" y="145"/>
                  <a:pt x="2" y="145"/>
                  <a:pt x="1" y="145"/>
                </a:cubicBezTo>
                <a:cubicBezTo>
                  <a:pt x="1" y="144"/>
                  <a:pt x="0" y="143"/>
                  <a:pt x="0" y="142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0"/>
                  <a:pt x="3" y="95"/>
                  <a:pt x="7" y="91"/>
                </a:cubicBezTo>
                <a:cubicBezTo>
                  <a:pt x="11" y="87"/>
                  <a:pt x="16" y="85"/>
                  <a:pt x="22" y="85"/>
                </a:cubicBezTo>
                <a:cubicBezTo>
                  <a:pt x="24" y="85"/>
                  <a:pt x="24" y="85"/>
                  <a:pt x="24" y="85"/>
                </a:cubicBezTo>
                <a:cubicBezTo>
                  <a:pt x="34" y="45"/>
                  <a:pt x="34" y="45"/>
                  <a:pt x="34" y="45"/>
                </a:cubicBezTo>
                <a:cubicBezTo>
                  <a:pt x="36" y="39"/>
                  <a:pt x="39" y="34"/>
                  <a:pt x="44" y="30"/>
                </a:cubicBezTo>
                <a:cubicBezTo>
                  <a:pt x="49" y="26"/>
                  <a:pt x="55" y="24"/>
                  <a:pt x="61" y="24"/>
                </a:cubicBezTo>
                <a:cubicBezTo>
                  <a:pt x="73" y="24"/>
                  <a:pt x="73" y="24"/>
                  <a:pt x="73" y="24"/>
                </a:cubicBezTo>
                <a:cubicBezTo>
                  <a:pt x="73" y="3"/>
                  <a:pt x="73" y="3"/>
                  <a:pt x="73" y="3"/>
                </a:cubicBezTo>
                <a:cubicBezTo>
                  <a:pt x="73" y="2"/>
                  <a:pt x="73" y="2"/>
                  <a:pt x="74" y="1"/>
                </a:cubicBezTo>
                <a:cubicBezTo>
                  <a:pt x="74" y="0"/>
                  <a:pt x="75" y="0"/>
                  <a:pt x="76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19" y="0"/>
                  <a:pt x="120" y="0"/>
                  <a:pt x="121" y="1"/>
                </a:cubicBezTo>
                <a:cubicBezTo>
                  <a:pt x="121" y="2"/>
                  <a:pt x="121" y="2"/>
                  <a:pt x="121" y="3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34" y="24"/>
                  <a:pt x="134" y="24"/>
                  <a:pt x="134" y="24"/>
                </a:cubicBezTo>
                <a:cubicBezTo>
                  <a:pt x="140" y="24"/>
                  <a:pt x="145" y="26"/>
                  <a:pt x="150" y="30"/>
                </a:cubicBezTo>
                <a:cubicBezTo>
                  <a:pt x="156" y="34"/>
                  <a:pt x="159" y="39"/>
                  <a:pt x="160" y="45"/>
                </a:cubicBezTo>
                <a:cubicBezTo>
                  <a:pt x="170" y="85"/>
                  <a:pt x="170" y="85"/>
                  <a:pt x="170" y="85"/>
                </a:cubicBezTo>
                <a:lnTo>
                  <a:pt x="173" y="85"/>
                </a:lnTo>
                <a:close/>
                <a:moveTo>
                  <a:pt x="20" y="126"/>
                </a:moveTo>
                <a:cubicBezTo>
                  <a:pt x="23" y="129"/>
                  <a:pt x="27" y="130"/>
                  <a:pt x="31" y="130"/>
                </a:cubicBezTo>
                <a:cubicBezTo>
                  <a:pt x="35" y="130"/>
                  <a:pt x="38" y="129"/>
                  <a:pt x="41" y="126"/>
                </a:cubicBezTo>
                <a:cubicBezTo>
                  <a:pt x="44" y="123"/>
                  <a:pt x="46" y="119"/>
                  <a:pt x="46" y="115"/>
                </a:cubicBezTo>
                <a:cubicBezTo>
                  <a:pt x="46" y="111"/>
                  <a:pt x="44" y="107"/>
                  <a:pt x="41" y="104"/>
                </a:cubicBezTo>
                <a:cubicBezTo>
                  <a:pt x="38" y="102"/>
                  <a:pt x="35" y="100"/>
                  <a:pt x="31" y="100"/>
                </a:cubicBezTo>
                <a:cubicBezTo>
                  <a:pt x="27" y="100"/>
                  <a:pt x="23" y="102"/>
                  <a:pt x="20" y="104"/>
                </a:cubicBezTo>
                <a:cubicBezTo>
                  <a:pt x="17" y="107"/>
                  <a:pt x="16" y="111"/>
                  <a:pt x="16" y="115"/>
                </a:cubicBezTo>
                <a:cubicBezTo>
                  <a:pt x="16" y="119"/>
                  <a:pt x="17" y="123"/>
                  <a:pt x="20" y="126"/>
                </a:cubicBezTo>
                <a:close/>
                <a:moveTo>
                  <a:pt x="49" y="85"/>
                </a:moveTo>
                <a:cubicBezTo>
                  <a:pt x="145" y="85"/>
                  <a:pt x="145" y="85"/>
                  <a:pt x="145" y="85"/>
                </a:cubicBezTo>
                <a:cubicBezTo>
                  <a:pt x="137" y="51"/>
                  <a:pt x="137" y="51"/>
                  <a:pt x="137" y="51"/>
                </a:cubicBezTo>
                <a:cubicBezTo>
                  <a:pt x="137" y="51"/>
                  <a:pt x="136" y="50"/>
                  <a:pt x="136" y="50"/>
                </a:cubicBezTo>
                <a:cubicBezTo>
                  <a:pt x="135" y="49"/>
                  <a:pt x="134" y="49"/>
                  <a:pt x="134" y="49"/>
                </a:cubicBezTo>
                <a:cubicBezTo>
                  <a:pt x="61" y="49"/>
                  <a:pt x="61" y="49"/>
                  <a:pt x="61" y="49"/>
                </a:cubicBezTo>
                <a:cubicBezTo>
                  <a:pt x="60" y="49"/>
                  <a:pt x="60" y="49"/>
                  <a:pt x="59" y="50"/>
                </a:cubicBezTo>
                <a:cubicBezTo>
                  <a:pt x="58" y="50"/>
                  <a:pt x="58" y="51"/>
                  <a:pt x="58" y="51"/>
                </a:cubicBezTo>
                <a:lnTo>
                  <a:pt x="49" y="85"/>
                </a:lnTo>
                <a:close/>
                <a:moveTo>
                  <a:pt x="153" y="126"/>
                </a:moveTo>
                <a:cubicBezTo>
                  <a:pt x="156" y="129"/>
                  <a:pt x="160" y="130"/>
                  <a:pt x="164" y="130"/>
                </a:cubicBezTo>
                <a:cubicBezTo>
                  <a:pt x="168" y="130"/>
                  <a:pt x="172" y="129"/>
                  <a:pt x="175" y="126"/>
                </a:cubicBezTo>
                <a:cubicBezTo>
                  <a:pt x="177" y="123"/>
                  <a:pt x="179" y="119"/>
                  <a:pt x="179" y="115"/>
                </a:cubicBezTo>
                <a:cubicBezTo>
                  <a:pt x="179" y="111"/>
                  <a:pt x="177" y="107"/>
                  <a:pt x="175" y="104"/>
                </a:cubicBezTo>
                <a:cubicBezTo>
                  <a:pt x="172" y="102"/>
                  <a:pt x="168" y="100"/>
                  <a:pt x="164" y="100"/>
                </a:cubicBezTo>
                <a:cubicBezTo>
                  <a:pt x="160" y="100"/>
                  <a:pt x="156" y="102"/>
                  <a:pt x="153" y="104"/>
                </a:cubicBezTo>
                <a:cubicBezTo>
                  <a:pt x="150" y="107"/>
                  <a:pt x="149" y="111"/>
                  <a:pt x="149" y="115"/>
                </a:cubicBezTo>
                <a:cubicBezTo>
                  <a:pt x="149" y="119"/>
                  <a:pt x="150" y="123"/>
                  <a:pt x="153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614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0" name="Google Shape;3330;p35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 dirty="0"/>
              <a:t>Enabling style-transfer.</a:t>
            </a:r>
            <a:endParaRPr dirty="0"/>
          </a:p>
        </p:txBody>
      </p:sp>
      <p:sp>
        <p:nvSpPr>
          <p:cNvPr id="3331" name="Google Shape;3331;p35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 cap="all" spc="50" dirty="0">
                <a:latin typeface="+mj-lt"/>
                <a:cs typeface="Arial" panose="020B0604020202020204" pitchFamily="34" charset="0"/>
              </a:rPr>
              <a:t>So we chose </a:t>
            </a:r>
            <a:r>
              <a:rPr lang="en" cap="all" spc="5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Autoencoder-GAN</a:t>
            </a:r>
            <a:endParaRPr cap="all" spc="5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332" name="Google Shape;3332;p35"/>
          <p:cNvSpPr txBox="1">
            <a:spLocks noGrp="1"/>
          </p:cNvSpPr>
          <p:nvPr>
            <p:ph type="body" idx="3"/>
          </p:nvPr>
        </p:nvSpPr>
        <p:spPr>
          <a:xfrm>
            <a:off x="294024" y="1276351"/>
            <a:ext cx="8569200" cy="291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 dirty="0">
                <a:solidFill>
                  <a:schemeClr val="accent2"/>
                </a:solidFill>
              </a:rPr>
              <a:t>Autoencoder (AE)</a:t>
            </a:r>
            <a:r>
              <a:rPr lang="en" dirty="0"/>
              <a:t>: Learns to </a:t>
            </a:r>
            <a:r>
              <a:rPr lang="en" b="1" dirty="0"/>
              <a:t>capture essential image features</a:t>
            </a:r>
            <a:r>
              <a:rPr lang="en" dirty="0"/>
              <a:t> for reconstruction</a:t>
            </a:r>
            <a:endParaRPr dirty="0"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 dirty="0">
                <a:solidFill>
                  <a:schemeClr val="accent2"/>
                </a:solidFill>
              </a:rPr>
              <a:t>GAN</a:t>
            </a:r>
            <a:r>
              <a:rPr lang="en" dirty="0"/>
              <a:t>: Forces AE to convert input into </a:t>
            </a:r>
            <a:r>
              <a:rPr lang="en" b="1" dirty="0" err="1"/>
              <a:t>monet</a:t>
            </a:r>
            <a:r>
              <a:rPr lang="en" b="1" dirty="0"/>
              <a:t>-style </a:t>
            </a:r>
            <a:r>
              <a:rPr lang="en" dirty="0"/>
              <a:t>images</a:t>
            </a:r>
            <a:endParaRPr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3C9BFE-9805-0D31-08BC-02576EF40796}"/>
              </a:ext>
            </a:extLst>
          </p:cNvPr>
          <p:cNvGrpSpPr/>
          <p:nvPr/>
        </p:nvGrpSpPr>
        <p:grpSpPr>
          <a:xfrm>
            <a:off x="3036583" y="2156828"/>
            <a:ext cx="324000" cy="829844"/>
            <a:chOff x="1335024" y="1657350"/>
            <a:chExt cx="560832" cy="9144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CBCA47F-E47E-D5F9-77A8-A5124C5764B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F0A3B75-9968-68C3-136D-08077ED928E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7415008-115F-0A6F-00A0-82F71B75E3E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31" name="Right Arrow 30">
            <a:extLst>
              <a:ext uri="{FF2B5EF4-FFF2-40B4-BE49-F238E27FC236}">
                <a16:creationId xmlns:a16="http://schemas.microsoft.com/office/drawing/2014/main" id="{EBA13EA5-1C50-F2A3-E2F4-41FE4AE1B5FD}"/>
              </a:ext>
            </a:extLst>
          </p:cNvPr>
          <p:cNvSpPr/>
          <p:nvPr/>
        </p:nvSpPr>
        <p:spPr>
          <a:xfrm>
            <a:off x="3407133" y="250761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271EBC5-6394-8BCD-DE5B-5BCA9FF32DF5}"/>
              </a:ext>
            </a:extLst>
          </p:cNvPr>
          <p:cNvSpPr/>
          <p:nvPr/>
        </p:nvSpPr>
        <p:spPr>
          <a:xfrm>
            <a:off x="3650845" y="226989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F58BC0A7-1E02-3F06-F6D0-32539EC7F46C}"/>
              </a:ext>
            </a:extLst>
          </p:cNvPr>
          <p:cNvSpPr/>
          <p:nvPr/>
        </p:nvSpPr>
        <p:spPr>
          <a:xfrm>
            <a:off x="2800216" y="250185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53DA590-C729-1F35-0C65-9E5616086C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6731" y="2147348"/>
            <a:ext cx="867766" cy="86114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845F03AC-2679-541F-41E4-D50A461F835F}"/>
              </a:ext>
            </a:extLst>
          </p:cNvPr>
          <p:cNvSpPr txBox="1"/>
          <p:nvPr/>
        </p:nvSpPr>
        <p:spPr>
          <a:xfrm>
            <a:off x="2757976" y="180541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pic>
        <p:nvPicPr>
          <p:cNvPr id="36" name="Picture 35" descr="A purple and black stripes&#10;&#10;Description automatically generated">
            <a:extLst>
              <a:ext uri="{FF2B5EF4-FFF2-40B4-BE49-F238E27FC236}">
                <a16:creationId xmlns:a16="http://schemas.microsoft.com/office/drawing/2014/main" id="{7D4C6A0D-E368-1799-276F-C2DC034576FB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588301" y="2145303"/>
            <a:ext cx="324000" cy="841369"/>
          </a:xfrm>
          <a:prstGeom prst="rect">
            <a:avLst/>
          </a:prstGeom>
        </p:spPr>
      </p:pic>
      <p:sp>
        <p:nvSpPr>
          <p:cNvPr id="37" name="Right Arrow 36">
            <a:extLst>
              <a:ext uri="{FF2B5EF4-FFF2-40B4-BE49-F238E27FC236}">
                <a16:creationId xmlns:a16="http://schemas.microsoft.com/office/drawing/2014/main" id="{2F44F256-A7CF-E133-782D-E6EAB770C948}"/>
              </a:ext>
            </a:extLst>
          </p:cNvPr>
          <p:cNvSpPr/>
          <p:nvPr/>
        </p:nvSpPr>
        <p:spPr>
          <a:xfrm>
            <a:off x="4330259" y="250761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5CEE2B0D-8023-1962-0BE8-17705EE2008B}"/>
              </a:ext>
            </a:extLst>
          </p:cNvPr>
          <p:cNvSpPr/>
          <p:nvPr/>
        </p:nvSpPr>
        <p:spPr>
          <a:xfrm>
            <a:off x="4963921" y="250185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04CD483-9D85-A736-88EB-20D98D52270C}"/>
              </a:ext>
            </a:extLst>
          </p:cNvPr>
          <p:cNvGrpSpPr/>
          <p:nvPr/>
        </p:nvGrpSpPr>
        <p:grpSpPr>
          <a:xfrm>
            <a:off x="6367623" y="3456821"/>
            <a:ext cx="324000" cy="829843"/>
            <a:chOff x="1335024" y="1657350"/>
            <a:chExt cx="560832" cy="9144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39E7DA5-89BF-F652-413A-C9BF37D1963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4A00DAA-0EC9-DE91-F69C-59AAF3AE89C1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5923004-0ADA-D0C5-F474-8F622EE21C4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3" name="Right Arrow 42">
            <a:extLst>
              <a:ext uri="{FF2B5EF4-FFF2-40B4-BE49-F238E27FC236}">
                <a16:creationId xmlns:a16="http://schemas.microsoft.com/office/drawing/2014/main" id="{624DCE08-8D96-DB04-F798-DBC446915ACF}"/>
              </a:ext>
            </a:extLst>
          </p:cNvPr>
          <p:cNvSpPr/>
          <p:nvPr/>
        </p:nvSpPr>
        <p:spPr>
          <a:xfrm>
            <a:off x="6900733" y="380760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4" name="Right Arrow 43">
            <a:extLst>
              <a:ext uri="{FF2B5EF4-FFF2-40B4-BE49-F238E27FC236}">
                <a16:creationId xmlns:a16="http://schemas.microsoft.com/office/drawing/2014/main" id="{D30F59BF-4851-40C9-41DD-8994153239E0}"/>
              </a:ext>
            </a:extLst>
          </p:cNvPr>
          <p:cNvSpPr/>
          <p:nvPr/>
        </p:nvSpPr>
        <p:spPr>
          <a:xfrm rot="3456229">
            <a:off x="5570223" y="334019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5" name="Right Arrow 44">
            <a:extLst>
              <a:ext uri="{FF2B5EF4-FFF2-40B4-BE49-F238E27FC236}">
                <a16:creationId xmlns:a16="http://schemas.microsoft.com/office/drawing/2014/main" id="{05DAA7BA-8142-7250-5E66-D0A956DB4C24}"/>
              </a:ext>
            </a:extLst>
          </p:cNvPr>
          <p:cNvSpPr/>
          <p:nvPr/>
        </p:nvSpPr>
        <p:spPr>
          <a:xfrm rot="20303528">
            <a:off x="5645711" y="407010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2579BF3-0A50-FF50-19D3-3EB04CCDDBB8}"/>
              </a:ext>
            </a:extLst>
          </p:cNvPr>
          <p:cNvSpPr txBox="1"/>
          <p:nvPr/>
        </p:nvSpPr>
        <p:spPr>
          <a:xfrm>
            <a:off x="4301961" y="181707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95FE97F-4AD1-4B4C-118E-C9ADAF841E23}"/>
              </a:ext>
            </a:extLst>
          </p:cNvPr>
          <p:cNvSpPr txBox="1"/>
          <p:nvPr/>
        </p:nvSpPr>
        <p:spPr>
          <a:xfrm>
            <a:off x="6178074" y="316297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4555432-7626-88FC-F1C4-6BD92FC9245F}"/>
              </a:ext>
            </a:extLst>
          </p:cNvPr>
          <p:cNvSpPr txBox="1"/>
          <p:nvPr/>
        </p:nvSpPr>
        <p:spPr>
          <a:xfrm>
            <a:off x="7133720" y="354604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pic>
        <p:nvPicPr>
          <p:cNvPr id="49" name="Picture 48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E0B0E00F-870A-994D-DE5E-9CDDCE44AF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144" y="3797532"/>
            <a:ext cx="864000" cy="86400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E5BAEFD8-0A55-37D0-561F-A389E669F0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7417" y="2140306"/>
            <a:ext cx="823980" cy="81773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" name="Google Shape;3338;p36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/>
              <a:t>Introducing </a:t>
            </a:r>
            <a:r>
              <a:rPr lang="en">
                <a:solidFill>
                  <a:schemeClr val="accent2"/>
                </a:solidFill>
              </a:rPr>
              <a:t>Autoencoder</a:t>
            </a:r>
            <a:endParaRPr/>
          </a:p>
        </p:txBody>
      </p:sp>
      <p:sp>
        <p:nvSpPr>
          <p:cNvPr id="3339" name="Google Shape;3339;p36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Learning the important features of monet images.</a:t>
            </a:r>
            <a:endParaRPr/>
          </a:p>
        </p:txBody>
      </p:sp>
      <p:sp>
        <p:nvSpPr>
          <p:cNvPr id="3340" name="Google Shape;3340;p36"/>
          <p:cNvSpPr txBox="1">
            <a:spLocks noGrp="1"/>
          </p:cNvSpPr>
          <p:nvPr>
            <p:ph type="body" idx="3"/>
          </p:nvPr>
        </p:nvSpPr>
        <p:spPr>
          <a:xfrm>
            <a:off x="294024" y="1276351"/>
            <a:ext cx="8569200" cy="291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>
                <a:solidFill>
                  <a:schemeClr val="accent2"/>
                </a:solidFill>
              </a:rPr>
              <a:t>Encoder</a:t>
            </a:r>
            <a:r>
              <a:rPr lang="en"/>
              <a:t>: Learns an efficient, </a:t>
            </a:r>
            <a:r>
              <a:rPr lang="en" b="1"/>
              <a:t>compressed representation</a:t>
            </a:r>
            <a:r>
              <a:rPr lang="en"/>
              <a:t> of input data</a:t>
            </a: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>
                <a:solidFill>
                  <a:schemeClr val="accent2"/>
                </a:solidFill>
              </a:rPr>
              <a:t>Decoder</a:t>
            </a:r>
            <a:r>
              <a:rPr lang="en"/>
              <a:t>: </a:t>
            </a:r>
            <a:r>
              <a:rPr lang="en" b="1"/>
              <a:t>Reconstructs </a:t>
            </a:r>
            <a:r>
              <a:rPr lang="en"/>
              <a:t>original data from compressed representations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>
                <a:solidFill>
                  <a:schemeClr val="accent2"/>
                </a:solidFill>
              </a:rPr>
              <a:t>Goal</a:t>
            </a:r>
            <a:r>
              <a:rPr lang="en"/>
              <a:t>: Minimizing reconstruction loss → Output is as close to input as possible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1" name="Google Shape;3341;p36"/>
          <p:cNvSpPr txBox="1">
            <a:spLocks noGrp="1"/>
          </p:cNvSpPr>
          <p:nvPr>
            <p:ph type="body" idx="4"/>
          </p:nvPr>
        </p:nvSpPr>
        <p:spPr>
          <a:xfrm>
            <a:off x="287338" y="4264025"/>
            <a:ext cx="8562900" cy="5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</a:pPr>
            <a:r>
              <a:rPr lang="en"/>
              <a:t>Learn to </a:t>
            </a:r>
            <a:r>
              <a:rPr lang="en" b="1" u="sng"/>
              <a:t>compress data</a:t>
            </a:r>
            <a:r>
              <a:rPr lang="en"/>
              <a:t> into a compact representation and </a:t>
            </a:r>
            <a:r>
              <a:rPr lang="en" b="1" u="sng"/>
              <a:t>reconstruct it back</a:t>
            </a:r>
            <a:r>
              <a:rPr lang="en"/>
              <a:t> with minimal loss.</a:t>
            </a:r>
            <a:endParaRPr/>
          </a:p>
        </p:txBody>
      </p:sp>
      <p:sp>
        <p:nvSpPr>
          <p:cNvPr id="3342" name="Google Shape;3342;p36"/>
          <p:cNvSpPr/>
          <p:nvPr/>
        </p:nvSpPr>
        <p:spPr>
          <a:xfrm>
            <a:off x="3457575" y="2455250"/>
            <a:ext cx="134400" cy="14874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3" name="Google Shape;3343;p36"/>
          <p:cNvSpPr/>
          <p:nvPr/>
        </p:nvSpPr>
        <p:spPr>
          <a:xfrm>
            <a:off x="3672700" y="2599550"/>
            <a:ext cx="134400" cy="11988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4" name="Google Shape;3344;p36"/>
          <p:cNvSpPr/>
          <p:nvPr/>
        </p:nvSpPr>
        <p:spPr>
          <a:xfrm>
            <a:off x="3887825" y="2727650"/>
            <a:ext cx="134400" cy="9426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5" name="Google Shape;3345;p36"/>
          <p:cNvSpPr/>
          <p:nvPr/>
        </p:nvSpPr>
        <p:spPr>
          <a:xfrm rot="10800000">
            <a:off x="5545625" y="2455250"/>
            <a:ext cx="134400" cy="14874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6" name="Google Shape;3346;p36"/>
          <p:cNvSpPr/>
          <p:nvPr/>
        </p:nvSpPr>
        <p:spPr>
          <a:xfrm rot="10800000">
            <a:off x="5330500" y="2599550"/>
            <a:ext cx="134400" cy="11988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7" name="Google Shape;3347;p36"/>
          <p:cNvSpPr/>
          <p:nvPr/>
        </p:nvSpPr>
        <p:spPr>
          <a:xfrm rot="10800000">
            <a:off x="5115375" y="2727650"/>
            <a:ext cx="134400" cy="9426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8" name="Google Shape;3348;p36"/>
          <p:cNvSpPr/>
          <p:nvPr/>
        </p:nvSpPr>
        <p:spPr>
          <a:xfrm>
            <a:off x="4152101" y="3028700"/>
            <a:ext cx="833400" cy="3405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2"/>
                </a:solidFill>
              </a:rPr>
              <a:t>IMAGE EMBEDDING</a:t>
            </a:r>
            <a:endParaRPr sz="800" b="1">
              <a:solidFill>
                <a:schemeClr val="accent2"/>
              </a:solidFill>
            </a:endParaRPr>
          </a:p>
        </p:txBody>
      </p:sp>
      <p:pic>
        <p:nvPicPr>
          <p:cNvPr id="3349" name="Google Shape;3349;p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19125" y="2727650"/>
            <a:ext cx="942600" cy="9426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350" name="Google Shape;3350;p3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975875" y="2727650"/>
            <a:ext cx="942600" cy="9426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351" name="Google Shape;3351;p36"/>
          <p:cNvSpPr/>
          <p:nvPr/>
        </p:nvSpPr>
        <p:spPr>
          <a:xfrm>
            <a:off x="3206588" y="3128300"/>
            <a:ext cx="206100" cy="141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52" name="Google Shape;3352;p36"/>
          <p:cNvSpPr/>
          <p:nvPr/>
        </p:nvSpPr>
        <p:spPr>
          <a:xfrm>
            <a:off x="5724888" y="3128300"/>
            <a:ext cx="206100" cy="141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53" name="Google Shape;3353;p36"/>
          <p:cNvSpPr txBox="1"/>
          <p:nvPr/>
        </p:nvSpPr>
        <p:spPr>
          <a:xfrm>
            <a:off x="3925563" y="2316650"/>
            <a:ext cx="1324200" cy="60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accent2"/>
                </a:solidFill>
              </a:rPr>
              <a:t>Autoencoder</a:t>
            </a:r>
            <a:endParaRPr b="1">
              <a:solidFill>
                <a:schemeClr val="accent2"/>
              </a:solidFill>
            </a:endParaRPr>
          </a:p>
        </p:txBody>
      </p:sp>
      <p:sp>
        <p:nvSpPr>
          <p:cNvPr id="3354" name="Google Shape;3354;p36"/>
          <p:cNvSpPr txBox="1"/>
          <p:nvPr/>
        </p:nvSpPr>
        <p:spPr>
          <a:xfrm>
            <a:off x="3077788" y="3875925"/>
            <a:ext cx="1324200" cy="60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Compression</a:t>
            </a:r>
            <a:endParaRPr sz="1100">
              <a:solidFill>
                <a:schemeClr val="accent2"/>
              </a:solidFill>
            </a:endParaRPr>
          </a:p>
        </p:txBody>
      </p:sp>
      <p:sp>
        <p:nvSpPr>
          <p:cNvPr id="3355" name="Google Shape;3355;p36"/>
          <p:cNvSpPr txBox="1"/>
          <p:nvPr/>
        </p:nvSpPr>
        <p:spPr>
          <a:xfrm>
            <a:off x="4735588" y="3875925"/>
            <a:ext cx="1324200" cy="60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Reconstruction</a:t>
            </a:r>
            <a:endParaRPr sz="1100">
              <a:solidFill>
                <a:schemeClr val="accent2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0" name="Google Shape;3360;p37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Good start but room for improvements.</a:t>
            </a:r>
            <a:endParaRPr/>
          </a:p>
        </p:txBody>
      </p:sp>
      <p:sp>
        <p:nvSpPr>
          <p:cNvPr id="3361" name="Google Shape;3361;p37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/>
              <a:t>AE-GAN: </a:t>
            </a:r>
            <a:r>
              <a:rPr lang="en">
                <a:solidFill>
                  <a:schemeClr val="accent2"/>
                </a:solidFill>
              </a:rPr>
              <a:t>Results and Limitations</a:t>
            </a:r>
            <a:endParaRPr>
              <a:solidFill>
                <a:schemeClr val="accent2"/>
              </a:solidFill>
            </a:endParaRPr>
          </a:p>
        </p:txBody>
      </p:sp>
      <p:pic>
        <p:nvPicPr>
          <p:cNvPr id="3362" name="Google Shape;3362;p3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025" y="1715925"/>
            <a:ext cx="6694800" cy="2679175"/>
          </a:xfrm>
          <a:prstGeom prst="rect">
            <a:avLst/>
          </a:prstGeom>
          <a:noFill/>
          <a:ln>
            <a:noFill/>
          </a:ln>
        </p:spPr>
      </p:pic>
      <p:sp>
        <p:nvSpPr>
          <p:cNvPr id="3363" name="Google Shape;3363;p37"/>
          <p:cNvSpPr/>
          <p:nvPr/>
        </p:nvSpPr>
        <p:spPr>
          <a:xfrm>
            <a:off x="8165000" y="2771413"/>
            <a:ext cx="54390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chemeClr val="lt1"/>
                </a:solidFill>
              </a:rPr>
              <a:t>98</a:t>
            </a:r>
            <a:endParaRPr sz="1700" b="1">
              <a:solidFill>
                <a:schemeClr val="lt1"/>
              </a:solidFill>
            </a:endParaRPr>
          </a:p>
        </p:txBody>
      </p:sp>
      <p:sp>
        <p:nvSpPr>
          <p:cNvPr id="3364" name="Google Shape;3364;p37"/>
          <p:cNvSpPr/>
          <p:nvPr/>
        </p:nvSpPr>
        <p:spPr>
          <a:xfrm>
            <a:off x="8165000" y="3348138"/>
            <a:ext cx="76860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113</a:t>
            </a:r>
            <a:r>
              <a:rPr lang="en" sz="800" dirty="0">
                <a:solidFill>
                  <a:schemeClr val="lt1"/>
                </a:solidFill>
              </a:rPr>
              <a:t>/170</a:t>
            </a:r>
            <a:endParaRPr sz="800" dirty="0">
              <a:solidFill>
                <a:schemeClr val="lt1"/>
              </a:solidFill>
            </a:endParaRPr>
          </a:p>
        </p:txBody>
      </p:sp>
      <p:sp>
        <p:nvSpPr>
          <p:cNvPr id="3365" name="Google Shape;3365;p37"/>
          <p:cNvSpPr txBox="1"/>
          <p:nvPr/>
        </p:nvSpPr>
        <p:spPr>
          <a:xfrm>
            <a:off x="7267425" y="2805763"/>
            <a:ext cx="969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Score:</a:t>
            </a:r>
            <a:endParaRPr/>
          </a:p>
        </p:txBody>
      </p:sp>
      <p:sp>
        <p:nvSpPr>
          <p:cNvPr id="3366" name="Google Shape;3366;p37"/>
          <p:cNvSpPr txBox="1"/>
          <p:nvPr/>
        </p:nvSpPr>
        <p:spPr>
          <a:xfrm>
            <a:off x="7051525" y="3416838"/>
            <a:ext cx="1104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Position</a:t>
            </a:r>
            <a:r>
              <a:rPr lang="en" sz="1300" b="1">
                <a:solidFill>
                  <a:schemeClr val="accent2"/>
                </a:solidFill>
              </a:rPr>
              <a:t>:</a:t>
            </a:r>
            <a:endParaRPr sz="1200"/>
          </a:p>
        </p:txBody>
      </p:sp>
      <p:sp>
        <p:nvSpPr>
          <p:cNvPr id="3367" name="Google Shape;3367;p37"/>
          <p:cNvSpPr txBox="1"/>
          <p:nvPr/>
        </p:nvSpPr>
        <p:spPr>
          <a:xfrm>
            <a:off x="7051525" y="2278688"/>
            <a:ext cx="131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accent2"/>
                </a:solidFill>
              </a:rPr>
              <a:t>Competition</a:t>
            </a:r>
            <a:r>
              <a:rPr lang="en">
                <a:solidFill>
                  <a:schemeClr val="accent1"/>
                </a:solidFill>
              </a:rPr>
              <a:t>:</a:t>
            </a:r>
            <a:endParaRPr sz="130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6" name="Google Shape;3396;p41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 dirty="0"/>
              <a:t>Other Models / Experiences</a:t>
            </a:r>
            <a:endParaRPr dirty="0"/>
          </a:p>
        </p:txBody>
      </p:sp>
      <p:sp>
        <p:nvSpPr>
          <p:cNvPr id="3397" name="Google Shape;3397;p41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38" cy="141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sp>
        <p:nvSpPr>
          <p:cNvPr id="3398" name="Google Shape;3398;p41"/>
          <p:cNvSpPr/>
          <p:nvPr/>
        </p:nvSpPr>
        <p:spPr>
          <a:xfrm>
            <a:off x="861038" y="1543125"/>
            <a:ext cx="3575400" cy="2518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stA="50000" endPos="10000" dist="38100" dir="5400000" fadeDir="5400012" sy="-100000" algn="bl" rotWithShape="0"/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chemeClr val="lt1"/>
                </a:solidFill>
              </a:rPr>
              <a:t>Variational Autoencoder</a:t>
            </a:r>
            <a:endParaRPr sz="1300">
              <a:solidFill>
                <a:schemeClr val="lt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</a:rPr>
              <a:t>The unconventional approach.</a:t>
            </a:r>
            <a:endParaRPr sz="1300">
              <a:solidFill>
                <a:schemeClr val="lt1"/>
              </a:solidFill>
            </a:endParaRPr>
          </a:p>
        </p:txBody>
      </p:sp>
      <p:sp>
        <p:nvSpPr>
          <p:cNvPr id="3399" name="Google Shape;3399;p41"/>
          <p:cNvSpPr/>
          <p:nvPr/>
        </p:nvSpPr>
        <p:spPr>
          <a:xfrm>
            <a:off x="4714238" y="1543125"/>
            <a:ext cx="3575400" cy="2518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stA="50000" endPos="10000" dist="38100" dir="5400000" fadeDir="5400012" sy="-100000" algn="bl" rotWithShape="0"/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chemeClr val="lt1"/>
                </a:solidFill>
              </a:rPr>
              <a:t>Diffusion Model</a:t>
            </a:r>
            <a:endParaRPr sz="1300" b="1">
              <a:solidFill>
                <a:schemeClr val="lt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</a:rPr>
              <a:t>The cutting edge of image generation.</a:t>
            </a:r>
            <a:endParaRPr sz="130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4" name="Google Shape;3404;p42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Variational Autoencoders</a:t>
            </a:r>
            <a:endParaRPr>
              <a:solidFill>
                <a:schemeClr val="accent2"/>
              </a:solidFill>
            </a:endParaRPr>
          </a:p>
        </p:txBody>
      </p:sp>
      <p:sp>
        <p:nvSpPr>
          <p:cNvPr id="3405" name="Google Shape;3405;p42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sp>
        <p:nvSpPr>
          <p:cNvPr id="3406" name="Google Shape;3406;p42"/>
          <p:cNvSpPr/>
          <p:nvPr/>
        </p:nvSpPr>
        <p:spPr>
          <a:xfrm>
            <a:off x="1317937" y="2380050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7" name="Google Shape;3407;p42"/>
          <p:cNvSpPr/>
          <p:nvPr/>
        </p:nvSpPr>
        <p:spPr>
          <a:xfrm>
            <a:off x="1496959" y="2481267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8" name="Google Shape;3408;p42"/>
          <p:cNvSpPr/>
          <p:nvPr/>
        </p:nvSpPr>
        <p:spPr>
          <a:xfrm>
            <a:off x="1675982" y="2571121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9" name="Google Shape;3409;p42"/>
          <p:cNvSpPr/>
          <p:nvPr/>
        </p:nvSpPr>
        <p:spPr>
          <a:xfrm rot="10800000">
            <a:off x="3055813" y="2380263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0" name="Google Shape;3410;p42"/>
          <p:cNvSpPr/>
          <p:nvPr/>
        </p:nvSpPr>
        <p:spPr>
          <a:xfrm rot="10800000">
            <a:off x="2876790" y="2480946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1" name="Google Shape;3411;p42"/>
          <p:cNvSpPr/>
          <p:nvPr/>
        </p:nvSpPr>
        <p:spPr>
          <a:xfrm rot="10800000">
            <a:off x="2697768" y="2571092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2" name="Google Shape;3412;p42"/>
          <p:cNvSpPr/>
          <p:nvPr/>
        </p:nvSpPr>
        <p:spPr>
          <a:xfrm>
            <a:off x="1850636" y="2697921"/>
            <a:ext cx="784200" cy="4077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2"/>
                </a:solidFill>
              </a:rPr>
              <a:t>Distribution</a:t>
            </a: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</p:txBody>
      </p:sp>
      <p:pic>
        <p:nvPicPr>
          <p:cNvPr id="3413" name="Google Shape;3413;p4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87325" y="252603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14" name="Google Shape;3414;p4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413625" y="252603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15" name="Google Shape;3415;p42"/>
          <p:cNvSpPr/>
          <p:nvPr/>
        </p:nvSpPr>
        <p:spPr>
          <a:xfrm>
            <a:off x="1109070" y="2852150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6" name="Google Shape;3416;p42"/>
          <p:cNvSpPr/>
          <p:nvPr/>
        </p:nvSpPr>
        <p:spPr>
          <a:xfrm>
            <a:off x="3204747" y="2852150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7" name="Google Shape;3417;p42"/>
          <p:cNvSpPr txBox="1"/>
          <p:nvPr/>
        </p:nvSpPr>
        <p:spPr>
          <a:xfrm>
            <a:off x="1619765" y="223400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 b="1">
                <a:solidFill>
                  <a:schemeClr val="accent2"/>
                </a:solidFill>
              </a:rPr>
              <a:t>Variational Autoencoder</a:t>
            </a:r>
            <a:endParaRPr sz="900" b="1">
              <a:solidFill>
                <a:schemeClr val="accent2"/>
              </a:solidFill>
            </a:endParaRPr>
          </a:p>
        </p:txBody>
      </p:sp>
      <p:sp>
        <p:nvSpPr>
          <p:cNvPr id="3418" name="Google Shape;3418;p42"/>
          <p:cNvSpPr txBox="1"/>
          <p:nvPr/>
        </p:nvSpPr>
        <p:spPr>
          <a:xfrm>
            <a:off x="912273" y="3481145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Compression</a:t>
            </a:r>
            <a:endParaRPr sz="1100">
              <a:solidFill>
                <a:schemeClr val="accent2"/>
              </a:solidFill>
            </a:endParaRPr>
          </a:p>
        </p:txBody>
      </p:sp>
      <p:sp>
        <p:nvSpPr>
          <p:cNvPr id="3419" name="Google Shape;3419;p42"/>
          <p:cNvSpPr txBox="1"/>
          <p:nvPr/>
        </p:nvSpPr>
        <p:spPr>
          <a:xfrm>
            <a:off x="2471928" y="3481145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Reconstruction</a:t>
            </a:r>
            <a:endParaRPr sz="1100">
              <a:solidFill>
                <a:schemeClr val="accent2"/>
              </a:solidFill>
            </a:endParaRPr>
          </a:p>
        </p:txBody>
      </p:sp>
      <p:pic>
        <p:nvPicPr>
          <p:cNvPr id="3420" name="Google Shape;3420;p4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110338" y="2852150"/>
            <a:ext cx="264674" cy="22309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421" name="Google Shape;3421;p42"/>
          <p:cNvCxnSpPr/>
          <p:nvPr/>
        </p:nvCxnSpPr>
        <p:spPr>
          <a:xfrm>
            <a:off x="2180095" y="2977041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2" name="Google Shape;3422;p42"/>
          <p:cNvCxnSpPr/>
          <p:nvPr/>
        </p:nvCxnSpPr>
        <p:spPr>
          <a:xfrm>
            <a:off x="2210698" y="2917226"/>
            <a:ext cx="600" cy="108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3" name="Google Shape;3423;p42"/>
          <p:cNvCxnSpPr/>
          <p:nvPr/>
        </p:nvCxnSpPr>
        <p:spPr>
          <a:xfrm>
            <a:off x="2269221" y="2912053"/>
            <a:ext cx="600" cy="114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4" name="Google Shape;3424;p42"/>
          <p:cNvCxnSpPr/>
          <p:nvPr/>
        </p:nvCxnSpPr>
        <p:spPr>
          <a:xfrm>
            <a:off x="2241801" y="2898760"/>
            <a:ext cx="1500" cy="125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5" name="Google Shape;3425;p42"/>
          <p:cNvCxnSpPr/>
          <p:nvPr/>
        </p:nvCxnSpPr>
        <p:spPr>
          <a:xfrm>
            <a:off x="2297328" y="2977041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6" name="Google Shape;3426;p42"/>
          <p:cNvCxnSpPr/>
          <p:nvPr/>
        </p:nvCxnSpPr>
        <p:spPr>
          <a:xfrm flipH="1">
            <a:off x="2324669" y="2994436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7" name="Google Shape;3427;p42"/>
          <p:cNvCxnSpPr/>
          <p:nvPr/>
        </p:nvCxnSpPr>
        <p:spPr>
          <a:xfrm flipH="1">
            <a:off x="2152813" y="2992086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28" name="Google Shape;3428;p42"/>
          <p:cNvSpPr txBox="1"/>
          <p:nvPr/>
        </p:nvSpPr>
        <p:spPr>
          <a:xfrm>
            <a:off x="170625" y="1455563"/>
            <a:ext cx="425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Training: </a:t>
            </a:r>
            <a:r>
              <a:rPr lang="en" sz="1500">
                <a:solidFill>
                  <a:schemeClr val="accent1"/>
                </a:solidFill>
              </a:rPr>
              <a:t>Feed with real Monet images.</a:t>
            </a:r>
            <a:endParaRPr sz="1500">
              <a:solidFill>
                <a:schemeClr val="accent1"/>
              </a:solidFill>
            </a:endParaRPr>
          </a:p>
        </p:txBody>
      </p:sp>
      <p:sp>
        <p:nvSpPr>
          <p:cNvPr id="3429" name="Google Shape;3429;p42"/>
          <p:cNvSpPr/>
          <p:nvPr/>
        </p:nvSpPr>
        <p:spPr>
          <a:xfrm>
            <a:off x="5874337" y="2380075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0" name="Google Shape;3430;p42"/>
          <p:cNvSpPr/>
          <p:nvPr/>
        </p:nvSpPr>
        <p:spPr>
          <a:xfrm>
            <a:off x="6053359" y="24812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1" name="Google Shape;3431;p42"/>
          <p:cNvSpPr/>
          <p:nvPr/>
        </p:nvSpPr>
        <p:spPr>
          <a:xfrm>
            <a:off x="6232382" y="2571146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2" name="Google Shape;3432;p42"/>
          <p:cNvSpPr/>
          <p:nvPr/>
        </p:nvSpPr>
        <p:spPr>
          <a:xfrm rot="10800000">
            <a:off x="7612213" y="2380288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3" name="Google Shape;3433;p42"/>
          <p:cNvSpPr/>
          <p:nvPr/>
        </p:nvSpPr>
        <p:spPr>
          <a:xfrm rot="10800000">
            <a:off x="7433190" y="2480971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4" name="Google Shape;3434;p42"/>
          <p:cNvSpPr/>
          <p:nvPr/>
        </p:nvSpPr>
        <p:spPr>
          <a:xfrm rot="10800000">
            <a:off x="7254168" y="2571117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5" name="Google Shape;3435;p42"/>
          <p:cNvSpPr/>
          <p:nvPr/>
        </p:nvSpPr>
        <p:spPr>
          <a:xfrm>
            <a:off x="6407036" y="2697946"/>
            <a:ext cx="784200" cy="4077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2"/>
                </a:solidFill>
              </a:rPr>
              <a:t>Distribution</a:t>
            </a: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</p:txBody>
      </p:sp>
      <p:sp>
        <p:nvSpPr>
          <p:cNvPr id="3436" name="Google Shape;3436;p42"/>
          <p:cNvSpPr/>
          <p:nvPr/>
        </p:nvSpPr>
        <p:spPr>
          <a:xfrm>
            <a:off x="5665470" y="2852175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7" name="Google Shape;3437;p42"/>
          <p:cNvSpPr/>
          <p:nvPr/>
        </p:nvSpPr>
        <p:spPr>
          <a:xfrm>
            <a:off x="7761147" y="2852175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8" name="Google Shape;3438;p42"/>
          <p:cNvSpPr txBox="1"/>
          <p:nvPr/>
        </p:nvSpPr>
        <p:spPr>
          <a:xfrm>
            <a:off x="6176165" y="2234025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 b="1">
                <a:solidFill>
                  <a:schemeClr val="accent2"/>
                </a:solidFill>
              </a:rPr>
              <a:t>Variational Autoencoder</a:t>
            </a:r>
            <a:endParaRPr sz="900" b="1">
              <a:solidFill>
                <a:schemeClr val="accent2"/>
              </a:solidFill>
            </a:endParaRPr>
          </a:p>
        </p:txBody>
      </p:sp>
      <p:sp>
        <p:nvSpPr>
          <p:cNvPr id="3439" name="Google Shape;3439;p42"/>
          <p:cNvSpPr txBox="1"/>
          <p:nvPr/>
        </p:nvSpPr>
        <p:spPr>
          <a:xfrm>
            <a:off x="5468673" y="34811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Compression</a:t>
            </a:r>
            <a:endParaRPr sz="1100">
              <a:solidFill>
                <a:schemeClr val="accent2"/>
              </a:solidFill>
            </a:endParaRPr>
          </a:p>
        </p:txBody>
      </p:sp>
      <p:sp>
        <p:nvSpPr>
          <p:cNvPr id="3440" name="Google Shape;3440;p42"/>
          <p:cNvSpPr txBox="1"/>
          <p:nvPr/>
        </p:nvSpPr>
        <p:spPr>
          <a:xfrm>
            <a:off x="7028328" y="34811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Reconstruction</a:t>
            </a:r>
            <a:endParaRPr sz="1100">
              <a:solidFill>
                <a:schemeClr val="accent2"/>
              </a:solidFill>
            </a:endParaRPr>
          </a:p>
        </p:txBody>
      </p:sp>
      <p:pic>
        <p:nvPicPr>
          <p:cNvPr id="3441" name="Google Shape;3441;p4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666738" y="2852175"/>
            <a:ext cx="264674" cy="22309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442" name="Google Shape;3442;p42"/>
          <p:cNvCxnSpPr/>
          <p:nvPr/>
        </p:nvCxnSpPr>
        <p:spPr>
          <a:xfrm>
            <a:off x="6736495" y="2977066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3" name="Google Shape;3443;p42"/>
          <p:cNvCxnSpPr/>
          <p:nvPr/>
        </p:nvCxnSpPr>
        <p:spPr>
          <a:xfrm>
            <a:off x="6767098" y="2917251"/>
            <a:ext cx="600" cy="108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4" name="Google Shape;3444;p42"/>
          <p:cNvCxnSpPr/>
          <p:nvPr/>
        </p:nvCxnSpPr>
        <p:spPr>
          <a:xfrm>
            <a:off x="6825621" y="2912078"/>
            <a:ext cx="600" cy="114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5" name="Google Shape;3445;p42"/>
          <p:cNvCxnSpPr/>
          <p:nvPr/>
        </p:nvCxnSpPr>
        <p:spPr>
          <a:xfrm>
            <a:off x="6798201" y="2898785"/>
            <a:ext cx="1500" cy="125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6" name="Google Shape;3446;p42"/>
          <p:cNvCxnSpPr/>
          <p:nvPr/>
        </p:nvCxnSpPr>
        <p:spPr>
          <a:xfrm>
            <a:off x="6853728" y="2977066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7" name="Google Shape;3447;p42"/>
          <p:cNvCxnSpPr/>
          <p:nvPr/>
        </p:nvCxnSpPr>
        <p:spPr>
          <a:xfrm flipH="1">
            <a:off x="6881069" y="2994461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8" name="Google Shape;3448;p42"/>
          <p:cNvCxnSpPr/>
          <p:nvPr/>
        </p:nvCxnSpPr>
        <p:spPr>
          <a:xfrm flipH="1">
            <a:off x="6709213" y="2992111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49" name="Google Shape;3449;p42"/>
          <p:cNvSpPr/>
          <p:nvPr/>
        </p:nvSpPr>
        <p:spPr>
          <a:xfrm>
            <a:off x="4490900" y="1065600"/>
            <a:ext cx="31200" cy="3672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0" name="Google Shape;3450;p42"/>
          <p:cNvSpPr txBox="1"/>
          <p:nvPr/>
        </p:nvSpPr>
        <p:spPr>
          <a:xfrm>
            <a:off x="4802275" y="1455575"/>
            <a:ext cx="425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Inference: </a:t>
            </a:r>
            <a:r>
              <a:rPr lang="en" sz="1500">
                <a:solidFill>
                  <a:schemeClr val="accent1"/>
                </a:solidFill>
              </a:rPr>
              <a:t>Feed with normal pictures.</a:t>
            </a:r>
            <a:endParaRPr sz="1500">
              <a:solidFill>
                <a:schemeClr val="accent1"/>
              </a:solidFill>
            </a:endParaRPr>
          </a:p>
        </p:txBody>
      </p:sp>
      <p:pic>
        <p:nvPicPr>
          <p:cNvPr id="3451" name="Google Shape;3451;p42"/>
          <p:cNvPicPr preferRelativeResize="0"/>
          <p:nvPr/>
        </p:nvPicPr>
        <p:blipFill rotWithShape="1">
          <a:blip r:embed="rId6">
            <a:alphaModFix/>
          </a:blip>
          <a:srcRect l="10674" r="80252" b="59844"/>
          <a:stretch/>
        </p:blipFill>
        <p:spPr>
          <a:xfrm>
            <a:off x="4815000" y="2279400"/>
            <a:ext cx="829675" cy="10431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52" name="Google Shape;3452;p42"/>
          <p:cNvPicPr preferRelativeResize="0"/>
          <p:nvPr/>
        </p:nvPicPr>
        <p:blipFill rotWithShape="1">
          <a:blip r:embed="rId6">
            <a:alphaModFix/>
          </a:blip>
          <a:srcRect l="10634" t="57829" r="80291"/>
          <a:stretch/>
        </p:blipFill>
        <p:spPr>
          <a:xfrm>
            <a:off x="7970075" y="2234013"/>
            <a:ext cx="829675" cy="109547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A4990DF-ACA8-4FAA-AEC9-350C0922E088}"/>
              </a:ext>
            </a:extLst>
          </p:cNvPr>
          <p:cNvGrpSpPr/>
          <p:nvPr/>
        </p:nvGrpSpPr>
        <p:grpSpPr>
          <a:xfrm>
            <a:off x="4572000" y="1553817"/>
            <a:ext cx="357790" cy="357790"/>
            <a:chOff x="5570868" y="1680332"/>
            <a:chExt cx="357790" cy="3577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D807AB0-665A-4421-953C-AF80DA13CD50}"/>
                </a:ext>
              </a:extLst>
            </p:cNvPr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B90B675-B8B5-403A-8CD1-4FC8AD8404EC}"/>
                </a:ext>
              </a:extLst>
            </p:cNvPr>
            <p:cNvSpPr txBox="1"/>
            <p:nvPr/>
          </p:nvSpPr>
          <p:spPr>
            <a:xfrm>
              <a:off x="5606168" y="1761087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BD07D3A-D980-47CC-9A3A-2F612A0B67A4}"/>
              </a:ext>
            </a:extLst>
          </p:cNvPr>
          <p:cNvGrpSpPr/>
          <p:nvPr/>
        </p:nvGrpSpPr>
        <p:grpSpPr>
          <a:xfrm>
            <a:off x="4572000" y="2446503"/>
            <a:ext cx="357790" cy="357790"/>
            <a:chOff x="5570868" y="2573018"/>
            <a:chExt cx="357790" cy="35779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C7E965A-68CD-4421-B08A-5D6EBEDAF3A4}"/>
                </a:ext>
              </a:extLst>
            </p:cNvPr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C437FF6-2136-436C-B644-CD24254F8B84}"/>
                </a:ext>
              </a:extLst>
            </p:cNvPr>
            <p:cNvSpPr txBox="1"/>
            <p:nvPr/>
          </p:nvSpPr>
          <p:spPr>
            <a:xfrm>
              <a:off x="5606168" y="2653773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</a:rPr>
                <a:t>06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F0539B-3219-4E1C-BCDD-3B65263756E6}"/>
              </a:ext>
            </a:extLst>
          </p:cNvPr>
          <p:cNvGrpSpPr/>
          <p:nvPr/>
        </p:nvGrpSpPr>
        <p:grpSpPr>
          <a:xfrm>
            <a:off x="4572000" y="3319376"/>
            <a:ext cx="357790" cy="357790"/>
            <a:chOff x="5570868" y="3445891"/>
            <a:chExt cx="357790" cy="35779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29CE893-8B38-4844-A2DC-07B9CB5F45AC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DAD0995-FD8A-424C-A06C-7B4BCB23D465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</a:rPr>
                <a:t>07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8FAF115-E081-4B22-9B1A-A2643450813C}"/>
              </a:ext>
            </a:extLst>
          </p:cNvPr>
          <p:cNvSpPr txBox="1"/>
          <p:nvPr/>
        </p:nvSpPr>
        <p:spPr>
          <a:xfrm>
            <a:off x="5174584" y="1640780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at other methods are possible to solve this challenge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D595DB-EFAF-49B0-8233-3EA383044B7F}"/>
              </a:ext>
            </a:extLst>
          </p:cNvPr>
          <p:cNvSpPr txBox="1"/>
          <p:nvPr/>
        </p:nvSpPr>
        <p:spPr>
          <a:xfrm>
            <a:off x="5171902" y="1442367"/>
            <a:ext cx="228648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Other method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EBC9CB-E099-4E8A-8F40-6FE7356BB113}"/>
              </a:ext>
            </a:extLst>
          </p:cNvPr>
          <p:cNvSpPr txBox="1"/>
          <p:nvPr/>
        </p:nvSpPr>
        <p:spPr>
          <a:xfrm>
            <a:off x="5174584" y="2546274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at is a Cycle GAN in comparison to a normal DC GAN and what can it do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8434F1E-AE97-45D8-8C21-CD52D49C2088}"/>
              </a:ext>
            </a:extLst>
          </p:cNvPr>
          <p:cNvSpPr txBox="1"/>
          <p:nvPr/>
        </p:nvSpPr>
        <p:spPr>
          <a:xfrm>
            <a:off x="5171902" y="2335053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Cycle </a:t>
            </a:r>
            <a:r>
              <a:rPr lang="en-US" sz="1000" b="1" cap="all" spc="20" dirty="0" err="1">
                <a:solidFill>
                  <a:schemeClr val="accent1"/>
                </a:solidFill>
              </a:rPr>
              <a:t>GAn</a:t>
            </a:r>
            <a:endParaRPr lang="en-US" sz="1000" b="1" cap="all" spc="20" dirty="0">
              <a:solidFill>
                <a:schemeClr val="accent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A8DE0CC-4865-470D-BC17-1415458778D6}"/>
              </a:ext>
            </a:extLst>
          </p:cNvPr>
          <p:cNvSpPr txBox="1"/>
          <p:nvPr/>
        </p:nvSpPr>
        <p:spPr>
          <a:xfrm>
            <a:off x="5174584" y="3419147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How do these methods perform and compare to each other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56F3C9-EA29-44EB-BCFD-D85885965D97}"/>
              </a:ext>
            </a:extLst>
          </p:cNvPr>
          <p:cNvSpPr txBox="1"/>
          <p:nvPr/>
        </p:nvSpPr>
        <p:spPr>
          <a:xfrm>
            <a:off x="5171902" y="3207926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Comparison Model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855A85A-0A6F-481D-B65C-65D219E8A9EA}"/>
              </a:ext>
            </a:extLst>
          </p:cNvPr>
          <p:cNvGrpSpPr/>
          <p:nvPr/>
        </p:nvGrpSpPr>
        <p:grpSpPr>
          <a:xfrm>
            <a:off x="282284" y="1553817"/>
            <a:ext cx="357790" cy="357790"/>
            <a:chOff x="5570868" y="1680332"/>
            <a:chExt cx="357790" cy="35779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4EEF69E-3293-4C16-AC78-B705DD4CE3A4}"/>
                </a:ext>
              </a:extLst>
            </p:cNvPr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27068EC-56E4-43C5-AA63-4D8C5E81D1A3}"/>
                </a:ext>
              </a:extLst>
            </p:cNvPr>
            <p:cNvSpPr txBox="1"/>
            <p:nvPr/>
          </p:nvSpPr>
          <p:spPr>
            <a:xfrm>
              <a:off x="5606168" y="1761087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90E4453-0993-4440-86AE-52D51DC67492}"/>
              </a:ext>
            </a:extLst>
          </p:cNvPr>
          <p:cNvGrpSpPr/>
          <p:nvPr/>
        </p:nvGrpSpPr>
        <p:grpSpPr>
          <a:xfrm>
            <a:off x="282284" y="2446503"/>
            <a:ext cx="357790" cy="357790"/>
            <a:chOff x="5570868" y="2573018"/>
            <a:chExt cx="357790" cy="35779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580470D-2F0A-4474-B5B7-73F4922766A0}"/>
                </a:ext>
              </a:extLst>
            </p:cNvPr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FB9A5EC-B628-4675-8344-E12935B95D7B}"/>
                </a:ext>
              </a:extLst>
            </p:cNvPr>
            <p:cNvSpPr txBox="1"/>
            <p:nvPr/>
          </p:nvSpPr>
          <p:spPr>
            <a:xfrm>
              <a:off x="5606168" y="2653773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13475B3-3683-4252-A2EF-F1F0CDEBED76}"/>
              </a:ext>
            </a:extLst>
          </p:cNvPr>
          <p:cNvGrpSpPr/>
          <p:nvPr/>
        </p:nvGrpSpPr>
        <p:grpSpPr>
          <a:xfrm>
            <a:off x="282284" y="3319376"/>
            <a:ext cx="357790" cy="357790"/>
            <a:chOff x="5570868" y="3445891"/>
            <a:chExt cx="357790" cy="35779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327E109-BCF8-4C85-8FC0-8D21F6EFA408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C17536B-2360-4A65-9460-1199E8FC633B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3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217ACC1-9E62-4990-AC18-F576A3B435C4}"/>
              </a:ext>
            </a:extLst>
          </p:cNvPr>
          <p:cNvSpPr txBox="1"/>
          <p:nvPr/>
        </p:nvSpPr>
        <p:spPr>
          <a:xfrm>
            <a:off x="884868" y="1653588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o are we and how will our presentation look like?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134480-2AA7-481C-ADDE-05A7FB030318}"/>
              </a:ext>
            </a:extLst>
          </p:cNvPr>
          <p:cNvSpPr txBox="1"/>
          <p:nvPr/>
        </p:nvSpPr>
        <p:spPr>
          <a:xfrm>
            <a:off x="882186" y="1442367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Introduc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880E8EB-F80E-41D1-BE33-D06B98C39AE5}"/>
              </a:ext>
            </a:extLst>
          </p:cNvPr>
          <p:cNvSpPr txBox="1"/>
          <p:nvPr/>
        </p:nvSpPr>
        <p:spPr>
          <a:xfrm>
            <a:off x="884868" y="2546274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at is our competition and its challenges?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F123358-E3CA-4BB2-A6DF-26FA25B5E94A}"/>
              </a:ext>
            </a:extLst>
          </p:cNvPr>
          <p:cNvSpPr txBox="1"/>
          <p:nvPr/>
        </p:nvSpPr>
        <p:spPr>
          <a:xfrm>
            <a:off x="882186" y="2335053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Competi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2AEA261-81C1-47AF-A87D-6F1E4AC099F4}"/>
              </a:ext>
            </a:extLst>
          </p:cNvPr>
          <p:cNvSpPr txBox="1"/>
          <p:nvPr/>
        </p:nvSpPr>
        <p:spPr>
          <a:xfrm>
            <a:off x="884868" y="3419147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at is a DCGAN and why is it useful for our competi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0AA3CE3-6485-49F7-9ED8-26CD89C830B3}"/>
              </a:ext>
            </a:extLst>
          </p:cNvPr>
          <p:cNvSpPr txBox="1"/>
          <p:nvPr/>
        </p:nvSpPr>
        <p:spPr>
          <a:xfrm>
            <a:off x="882186" y="3207926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DCGA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0C2B7BE-E8BA-E570-0632-1EC13F6BA21C}"/>
              </a:ext>
            </a:extLst>
          </p:cNvPr>
          <p:cNvGrpSpPr/>
          <p:nvPr/>
        </p:nvGrpSpPr>
        <p:grpSpPr>
          <a:xfrm>
            <a:off x="4569771" y="4192249"/>
            <a:ext cx="357790" cy="357790"/>
            <a:chOff x="5570868" y="3445891"/>
            <a:chExt cx="357790" cy="35779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CEBC204B-B4C3-AE3B-D294-49DE8ABAFFC8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0A16026-5627-A85C-08C9-8CB8DFF9A7AC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</a:rPr>
                <a:t>08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B41891E3-FF77-AE16-CE51-414BDE7E9F53}"/>
              </a:ext>
            </a:extLst>
          </p:cNvPr>
          <p:cNvSpPr txBox="1"/>
          <p:nvPr/>
        </p:nvSpPr>
        <p:spPr>
          <a:xfrm>
            <a:off x="5172355" y="4292020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at is the best method and what can we take away from the challenge?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A876513-C582-390A-A83A-67DDC0E96E83}"/>
              </a:ext>
            </a:extLst>
          </p:cNvPr>
          <p:cNvSpPr txBox="1"/>
          <p:nvPr/>
        </p:nvSpPr>
        <p:spPr>
          <a:xfrm>
            <a:off x="5169673" y="4080799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Summary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FD73591-F0E0-B308-1793-FCBE1B24C230}"/>
              </a:ext>
            </a:extLst>
          </p:cNvPr>
          <p:cNvGrpSpPr/>
          <p:nvPr/>
        </p:nvGrpSpPr>
        <p:grpSpPr>
          <a:xfrm>
            <a:off x="280055" y="4192249"/>
            <a:ext cx="357790" cy="357790"/>
            <a:chOff x="5570868" y="3445891"/>
            <a:chExt cx="357790" cy="35779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7D1349BD-7B32-C0C0-52D0-17F141FA214A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3420103-3DAB-BD76-8C42-20A489E3367F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5B965450-1C69-2AA4-E347-5B236422488D}"/>
              </a:ext>
            </a:extLst>
          </p:cNvPr>
          <p:cNvSpPr txBox="1"/>
          <p:nvPr/>
        </p:nvSpPr>
        <p:spPr>
          <a:xfrm>
            <a:off x="882639" y="4292020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dirty="0">
                <a:solidFill>
                  <a:schemeClr val="accent1"/>
                </a:solidFill>
              </a:rPr>
              <a:t>What is an Auto-Encoder DCGAN and what can it do?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54BE571-C7DE-99A6-EB53-2675132F3034}"/>
              </a:ext>
            </a:extLst>
          </p:cNvPr>
          <p:cNvSpPr txBox="1"/>
          <p:nvPr/>
        </p:nvSpPr>
        <p:spPr>
          <a:xfrm>
            <a:off x="879957" y="4080799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 dirty="0">
                <a:solidFill>
                  <a:schemeClr val="accent1"/>
                </a:solidFill>
              </a:rPr>
              <a:t>Auto-</a:t>
            </a:r>
            <a:r>
              <a:rPr lang="en-US" sz="1000" b="1" cap="all" spc="20" dirty="0" err="1">
                <a:solidFill>
                  <a:schemeClr val="accent1"/>
                </a:solidFill>
              </a:rPr>
              <a:t>Endcoder</a:t>
            </a:r>
            <a:r>
              <a:rPr lang="en-US" sz="1000" b="1" cap="all" spc="20" dirty="0">
                <a:solidFill>
                  <a:schemeClr val="accent1"/>
                </a:solidFill>
              </a:rPr>
              <a:t> DCGAN</a:t>
            </a:r>
          </a:p>
        </p:txBody>
      </p:sp>
    </p:spTree>
    <p:extLst>
      <p:ext uri="{BB962C8B-B14F-4D97-AF65-F5344CB8AC3E}">
        <p14:creationId xmlns:p14="http://schemas.microsoft.com/office/powerpoint/2010/main" val="195776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7" name="Google Shape;3457;p43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 dirty="0">
                <a:solidFill>
                  <a:schemeClr val="accent2"/>
                </a:solidFill>
              </a:rPr>
              <a:t>Variational Autoencoders</a:t>
            </a:r>
            <a:r>
              <a:rPr lang="en" dirty="0"/>
              <a:t>: Some Results</a:t>
            </a:r>
            <a:endParaRPr dirty="0"/>
          </a:p>
        </p:txBody>
      </p:sp>
      <p:sp>
        <p:nvSpPr>
          <p:cNvPr id="3458" name="Google Shape;3458;p43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pic>
        <p:nvPicPr>
          <p:cNvPr id="3459" name="Google Shape;3459;p43"/>
          <p:cNvPicPr preferRelativeResize="0"/>
          <p:nvPr/>
        </p:nvPicPr>
        <p:blipFill rotWithShape="1">
          <a:blip r:embed="rId3">
            <a:alphaModFix/>
          </a:blip>
          <a:srcRect l="10674" r="80252" b="59844"/>
          <a:stretch/>
        </p:blipFill>
        <p:spPr>
          <a:xfrm>
            <a:off x="534228" y="1367635"/>
            <a:ext cx="905852" cy="974206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0" name="Google Shape;3460;p43"/>
          <p:cNvPicPr preferRelativeResize="0"/>
          <p:nvPr/>
        </p:nvPicPr>
        <p:blipFill rotWithShape="1">
          <a:blip r:embed="rId3">
            <a:alphaModFix/>
          </a:blip>
          <a:srcRect l="10634" t="57829" r="80291"/>
          <a:stretch/>
        </p:blipFill>
        <p:spPr>
          <a:xfrm>
            <a:off x="1752584" y="1343175"/>
            <a:ext cx="905852" cy="10231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1" name="Google Shape;3461;p43"/>
          <p:cNvPicPr preferRelativeResize="0"/>
          <p:nvPr/>
        </p:nvPicPr>
        <p:blipFill rotWithShape="1">
          <a:blip r:embed="rId3">
            <a:alphaModFix/>
          </a:blip>
          <a:srcRect l="60464" t="58752" r="30375" b="1971"/>
          <a:stretch/>
        </p:blipFill>
        <p:spPr>
          <a:xfrm>
            <a:off x="1752575" y="2503900"/>
            <a:ext cx="905852" cy="9439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2" name="Google Shape;3462;p43"/>
          <p:cNvPicPr preferRelativeResize="0"/>
          <p:nvPr/>
        </p:nvPicPr>
        <p:blipFill rotWithShape="1">
          <a:blip r:embed="rId3">
            <a:alphaModFix/>
          </a:blip>
          <a:srcRect l="60342" r="30322" b="59874"/>
          <a:stretch/>
        </p:blipFill>
        <p:spPr>
          <a:xfrm>
            <a:off x="525450" y="2503896"/>
            <a:ext cx="905852" cy="946278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3" name="Google Shape;3463;p43"/>
          <p:cNvPicPr preferRelativeResize="0"/>
          <p:nvPr/>
        </p:nvPicPr>
        <p:blipFill rotWithShape="1">
          <a:blip r:embed="rId3">
            <a:alphaModFix/>
          </a:blip>
          <a:srcRect l="30871" t="59451" r="60306" b="2627"/>
          <a:stretch/>
        </p:blipFill>
        <p:spPr>
          <a:xfrm>
            <a:off x="1752581" y="3647489"/>
            <a:ext cx="905852" cy="946273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4" name="Google Shape;3464;p43"/>
          <p:cNvPicPr preferRelativeResize="0"/>
          <p:nvPr/>
        </p:nvPicPr>
        <p:blipFill rotWithShape="1">
          <a:blip r:embed="rId3">
            <a:alphaModFix/>
          </a:blip>
          <a:srcRect l="30871" r="60306" b="60960"/>
          <a:stretch/>
        </p:blipFill>
        <p:spPr>
          <a:xfrm>
            <a:off x="554076" y="3633518"/>
            <a:ext cx="905852" cy="974206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65" name="Google Shape;3465;p43"/>
          <p:cNvSpPr/>
          <p:nvPr/>
        </p:nvSpPr>
        <p:spPr>
          <a:xfrm>
            <a:off x="4300550" y="2446575"/>
            <a:ext cx="58795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chemeClr val="lt1"/>
                </a:solidFill>
              </a:rPr>
              <a:t>184</a:t>
            </a:r>
            <a:endParaRPr sz="1700" b="1">
              <a:solidFill>
                <a:schemeClr val="lt1"/>
              </a:solidFill>
            </a:endParaRPr>
          </a:p>
        </p:txBody>
      </p:sp>
      <p:sp>
        <p:nvSpPr>
          <p:cNvPr id="3466" name="Google Shape;3466;p43"/>
          <p:cNvSpPr/>
          <p:nvPr/>
        </p:nvSpPr>
        <p:spPr>
          <a:xfrm>
            <a:off x="4300550" y="3023300"/>
            <a:ext cx="76860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chemeClr val="lt1"/>
                </a:solidFill>
              </a:rPr>
              <a:t>137</a:t>
            </a:r>
            <a:r>
              <a:rPr lang="en" sz="800">
                <a:solidFill>
                  <a:schemeClr val="lt1"/>
                </a:solidFill>
              </a:rPr>
              <a:t>/170</a:t>
            </a:r>
            <a:endParaRPr sz="800">
              <a:solidFill>
                <a:schemeClr val="lt1"/>
              </a:solidFill>
            </a:endParaRPr>
          </a:p>
        </p:txBody>
      </p:sp>
      <p:sp>
        <p:nvSpPr>
          <p:cNvPr id="3467" name="Google Shape;3467;p43"/>
          <p:cNvSpPr txBox="1"/>
          <p:nvPr/>
        </p:nvSpPr>
        <p:spPr>
          <a:xfrm>
            <a:off x="3402975" y="2480925"/>
            <a:ext cx="969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Score:</a:t>
            </a:r>
            <a:endParaRPr/>
          </a:p>
        </p:txBody>
      </p:sp>
      <p:sp>
        <p:nvSpPr>
          <p:cNvPr id="3468" name="Google Shape;3468;p43"/>
          <p:cNvSpPr txBox="1"/>
          <p:nvPr/>
        </p:nvSpPr>
        <p:spPr>
          <a:xfrm>
            <a:off x="3187075" y="3092000"/>
            <a:ext cx="1104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Position</a:t>
            </a:r>
            <a:r>
              <a:rPr lang="en" sz="1300" b="1">
                <a:solidFill>
                  <a:schemeClr val="accent2"/>
                </a:solidFill>
              </a:rPr>
              <a:t>:</a:t>
            </a:r>
            <a:endParaRPr sz="1200"/>
          </a:p>
        </p:txBody>
      </p:sp>
      <p:sp>
        <p:nvSpPr>
          <p:cNvPr id="3469" name="Google Shape;3469;p43"/>
          <p:cNvSpPr txBox="1">
            <a:spLocks noGrp="1"/>
          </p:cNvSpPr>
          <p:nvPr>
            <p:ph type="body" idx="3"/>
          </p:nvPr>
        </p:nvSpPr>
        <p:spPr>
          <a:xfrm>
            <a:off x="5585675" y="1348025"/>
            <a:ext cx="3169800" cy="3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accent2"/>
                </a:solidFill>
              </a:rPr>
              <a:t>Key Takeaways</a:t>
            </a:r>
            <a:r>
              <a:rPr lang="en"/>
              <a:t>: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Blurry outputs, typical for VAE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(V)AEs are not designed for this use-case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Model somehow learned to create “monet-like” images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Possible Improvements:</a:t>
            </a:r>
            <a:endParaRPr/>
          </a:p>
          <a:p>
            <a:pPr marL="914400" lvl="1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▪"/>
            </a:pPr>
            <a:r>
              <a:rPr lang="en"/>
              <a:t>Consider using AE</a:t>
            </a:r>
            <a:endParaRPr/>
          </a:p>
          <a:p>
            <a:pPr marL="914400" lvl="1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▪"/>
            </a:pPr>
            <a:r>
              <a:rPr lang="en"/>
              <a:t>Further hyperparameter tuning</a:t>
            </a:r>
            <a:endParaRPr/>
          </a:p>
        </p:txBody>
      </p:sp>
      <p:sp>
        <p:nvSpPr>
          <p:cNvPr id="3470" name="Google Shape;3470;p43"/>
          <p:cNvSpPr txBox="1"/>
          <p:nvPr/>
        </p:nvSpPr>
        <p:spPr>
          <a:xfrm>
            <a:off x="3187075" y="1953850"/>
            <a:ext cx="131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accent2"/>
                </a:solidFill>
              </a:rPr>
              <a:t>Competition</a:t>
            </a:r>
            <a:r>
              <a:rPr lang="en">
                <a:solidFill>
                  <a:schemeClr val="accent1"/>
                </a:solidFill>
              </a:rPr>
              <a:t>:</a:t>
            </a:r>
            <a:endParaRPr sz="13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5" name="Google Shape;3475;p44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Diffusion Model</a:t>
            </a:r>
            <a:endParaRPr/>
          </a:p>
        </p:txBody>
      </p:sp>
      <p:sp>
        <p:nvSpPr>
          <p:cNvPr id="3476" name="Google Shape;3476;p44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sp>
        <p:nvSpPr>
          <p:cNvPr id="3477" name="Google Shape;3477;p44"/>
          <p:cNvSpPr/>
          <p:nvPr/>
        </p:nvSpPr>
        <p:spPr>
          <a:xfrm>
            <a:off x="2363437" y="2641575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8" name="Google Shape;3478;p44"/>
          <p:cNvSpPr/>
          <p:nvPr/>
        </p:nvSpPr>
        <p:spPr>
          <a:xfrm>
            <a:off x="2542459" y="27427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79" name="Google Shape;3479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2825" y="2787563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80" name="Google Shape;3480;p44"/>
          <p:cNvSpPr/>
          <p:nvPr/>
        </p:nvSpPr>
        <p:spPr>
          <a:xfrm>
            <a:off x="2154570" y="3113675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1" name="Google Shape;3481;p44"/>
          <p:cNvSpPr txBox="1"/>
          <p:nvPr/>
        </p:nvSpPr>
        <p:spPr>
          <a:xfrm>
            <a:off x="2669748" y="36846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solidFill>
                  <a:schemeClr val="accent2"/>
                </a:solidFill>
              </a:rPr>
              <a:t>Adding Noise</a:t>
            </a:r>
            <a:endParaRPr sz="1600" b="1">
              <a:solidFill>
                <a:schemeClr val="accent2"/>
              </a:solidFill>
            </a:endParaRPr>
          </a:p>
        </p:txBody>
      </p:sp>
      <p:pic>
        <p:nvPicPr>
          <p:cNvPr id="3482" name="Google Shape;3482;p44"/>
          <p:cNvPicPr preferRelativeResize="0"/>
          <p:nvPr/>
        </p:nvPicPr>
        <p:blipFill rotWithShape="1">
          <a:blip r:embed="rId4">
            <a:alphaModFix/>
          </a:blip>
          <a:srcRect l="73436" t="41937" r="17987" b="37845"/>
          <a:stretch/>
        </p:blipFill>
        <p:spPr>
          <a:xfrm>
            <a:off x="4153025" y="2787900"/>
            <a:ext cx="784399" cy="751200"/>
          </a:xfrm>
          <a:prstGeom prst="rect">
            <a:avLst/>
          </a:prstGeom>
          <a:noFill/>
          <a:ln>
            <a:noFill/>
          </a:ln>
        </p:spPr>
      </p:pic>
      <p:sp>
        <p:nvSpPr>
          <p:cNvPr id="3483" name="Google Shape;3483;p44"/>
          <p:cNvSpPr/>
          <p:nvPr/>
        </p:nvSpPr>
        <p:spPr>
          <a:xfrm>
            <a:off x="2721484" y="2742479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4" name="Google Shape;3484;p44"/>
          <p:cNvSpPr/>
          <p:nvPr/>
        </p:nvSpPr>
        <p:spPr>
          <a:xfrm>
            <a:off x="3752334" y="2742467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85" name="Google Shape;3485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00488" y="278788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86" name="Google Shape;3486;p44"/>
          <p:cNvPicPr preferRelativeResize="0"/>
          <p:nvPr/>
        </p:nvPicPr>
        <p:blipFill rotWithShape="1">
          <a:blip r:embed="rId4">
            <a:alphaModFix amt="52000"/>
          </a:blip>
          <a:srcRect l="73436" t="41937" r="17987" b="37845"/>
          <a:stretch/>
        </p:blipFill>
        <p:spPr>
          <a:xfrm>
            <a:off x="2900488" y="2787900"/>
            <a:ext cx="784399" cy="751192"/>
          </a:xfrm>
          <a:prstGeom prst="rect">
            <a:avLst/>
          </a:prstGeom>
          <a:noFill/>
          <a:ln>
            <a:noFill/>
          </a:ln>
        </p:spPr>
      </p:pic>
      <p:sp>
        <p:nvSpPr>
          <p:cNvPr id="3487" name="Google Shape;3487;p44"/>
          <p:cNvSpPr/>
          <p:nvPr/>
        </p:nvSpPr>
        <p:spPr>
          <a:xfrm>
            <a:off x="3946422" y="27428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8" name="Google Shape;3488;p44"/>
          <p:cNvSpPr/>
          <p:nvPr/>
        </p:nvSpPr>
        <p:spPr>
          <a:xfrm flipH="1">
            <a:off x="6645562" y="2641475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9" name="Google Shape;3489;p44"/>
          <p:cNvSpPr/>
          <p:nvPr/>
        </p:nvSpPr>
        <p:spPr>
          <a:xfrm flipH="1">
            <a:off x="6466540" y="27426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0" name="Google Shape;3490;p44"/>
          <p:cNvSpPr/>
          <p:nvPr/>
        </p:nvSpPr>
        <p:spPr>
          <a:xfrm flipH="1">
            <a:off x="6287515" y="2742379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1" name="Google Shape;3491;p44"/>
          <p:cNvSpPr/>
          <p:nvPr/>
        </p:nvSpPr>
        <p:spPr>
          <a:xfrm flipH="1">
            <a:off x="5226515" y="2742417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92" name="Google Shape;3492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420637" y="278778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93" name="Google Shape;3493;p44"/>
          <p:cNvPicPr preferRelativeResize="0"/>
          <p:nvPr/>
        </p:nvPicPr>
        <p:blipFill rotWithShape="1">
          <a:blip r:embed="rId4">
            <a:alphaModFix amt="52000"/>
          </a:blip>
          <a:srcRect l="73436" t="41937" r="17987" b="37845"/>
          <a:stretch/>
        </p:blipFill>
        <p:spPr>
          <a:xfrm>
            <a:off x="5420625" y="2787850"/>
            <a:ext cx="784399" cy="751192"/>
          </a:xfrm>
          <a:prstGeom prst="rect">
            <a:avLst/>
          </a:prstGeom>
          <a:noFill/>
          <a:ln>
            <a:noFill/>
          </a:ln>
        </p:spPr>
      </p:pic>
      <p:sp>
        <p:nvSpPr>
          <p:cNvPr id="3494" name="Google Shape;3494;p44"/>
          <p:cNvSpPr/>
          <p:nvPr/>
        </p:nvSpPr>
        <p:spPr>
          <a:xfrm flipH="1">
            <a:off x="5032427" y="274284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95" name="Google Shape;3495;p4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033425" y="2787451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96" name="Google Shape;3496;p44"/>
          <p:cNvSpPr/>
          <p:nvPr/>
        </p:nvSpPr>
        <p:spPr>
          <a:xfrm>
            <a:off x="6824547" y="3113563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7" name="Google Shape;3497;p44"/>
          <p:cNvSpPr txBox="1"/>
          <p:nvPr/>
        </p:nvSpPr>
        <p:spPr>
          <a:xfrm>
            <a:off x="5189885" y="36846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solidFill>
                  <a:schemeClr val="accent2"/>
                </a:solidFill>
              </a:rPr>
              <a:t>Reverse Noising</a:t>
            </a:r>
            <a:endParaRPr sz="1600" b="1">
              <a:solidFill>
                <a:schemeClr val="accent2"/>
              </a:solidFill>
            </a:endParaRPr>
          </a:p>
        </p:txBody>
      </p:sp>
      <p:sp>
        <p:nvSpPr>
          <p:cNvPr id="3498" name="Google Shape;3498;p44"/>
          <p:cNvSpPr txBox="1">
            <a:spLocks noGrp="1"/>
          </p:cNvSpPr>
          <p:nvPr>
            <p:ph type="body" idx="3"/>
          </p:nvPr>
        </p:nvSpPr>
        <p:spPr>
          <a:xfrm>
            <a:off x="495300" y="1499225"/>
            <a:ext cx="7810500" cy="132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chemeClr val="accent2"/>
              </a:solidFill>
            </a:endParaRPr>
          </a:p>
          <a:p>
            <a:pPr marL="457200" lvl="0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▪"/>
            </a:pPr>
            <a:r>
              <a:rPr lang="en" sz="1300">
                <a:solidFill>
                  <a:schemeClr val="accent2"/>
                </a:solidFill>
              </a:rPr>
              <a:t>Forward Process</a:t>
            </a:r>
            <a:r>
              <a:rPr lang="en" sz="1300"/>
              <a:t>: Gradually add noise to Monet images</a:t>
            </a:r>
            <a:endParaRPr sz="1300"/>
          </a:p>
          <a:p>
            <a:pPr marL="457200" lvl="0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▪"/>
            </a:pPr>
            <a:r>
              <a:rPr lang="en" sz="1300">
                <a:solidFill>
                  <a:schemeClr val="accent2"/>
                </a:solidFill>
              </a:rPr>
              <a:t>Denoising</a:t>
            </a:r>
            <a:r>
              <a:rPr lang="en" sz="1300"/>
              <a:t>: Learn to reverse it to generate new samples.</a:t>
            </a:r>
            <a:endParaRPr sz="130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3" name="Google Shape;3503;p45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Diffusion Model</a:t>
            </a:r>
            <a:endParaRPr/>
          </a:p>
        </p:txBody>
      </p:sp>
      <p:sp>
        <p:nvSpPr>
          <p:cNvPr id="3504" name="Google Shape;3504;p45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pic>
        <p:nvPicPr>
          <p:cNvPr id="3505" name="Google Shape;3505;p45"/>
          <p:cNvPicPr preferRelativeResize="0"/>
          <p:nvPr/>
        </p:nvPicPr>
        <p:blipFill rotWithShape="1">
          <a:blip r:embed="rId3">
            <a:alphaModFix/>
          </a:blip>
          <a:srcRect l="1422" r="70954" b="68652"/>
          <a:stretch/>
        </p:blipFill>
        <p:spPr>
          <a:xfrm>
            <a:off x="1302425" y="1390732"/>
            <a:ext cx="864588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6" name="Google Shape;3506;p45"/>
          <p:cNvPicPr preferRelativeResize="0"/>
          <p:nvPr/>
        </p:nvPicPr>
        <p:blipFill rotWithShape="1">
          <a:blip r:embed="rId3">
            <a:alphaModFix/>
          </a:blip>
          <a:srcRect l="69192" t="67385" r="3184" b="1266"/>
          <a:stretch/>
        </p:blipFill>
        <p:spPr>
          <a:xfrm>
            <a:off x="2381312" y="3719127"/>
            <a:ext cx="864588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7" name="Google Shape;3507;p45"/>
          <p:cNvPicPr preferRelativeResize="0"/>
          <p:nvPr/>
        </p:nvPicPr>
        <p:blipFill rotWithShape="1">
          <a:blip r:embed="rId3">
            <a:alphaModFix/>
          </a:blip>
          <a:srcRect l="1422" t="67384" r="70954"/>
          <a:stretch/>
        </p:blipFill>
        <p:spPr>
          <a:xfrm>
            <a:off x="2381312" y="1369388"/>
            <a:ext cx="864588" cy="1098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8" name="Google Shape;3508;p45"/>
          <p:cNvPicPr preferRelativeResize="0"/>
          <p:nvPr/>
        </p:nvPicPr>
        <p:blipFill rotWithShape="1">
          <a:blip r:embed="rId3">
            <a:alphaModFix/>
          </a:blip>
          <a:srcRect l="35277" r="37100" b="68652"/>
          <a:stretch/>
        </p:blipFill>
        <p:spPr>
          <a:xfrm>
            <a:off x="1302436" y="2554929"/>
            <a:ext cx="864566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9" name="Google Shape;3509;p45"/>
          <p:cNvPicPr preferRelativeResize="0"/>
          <p:nvPr/>
        </p:nvPicPr>
        <p:blipFill rotWithShape="1">
          <a:blip r:embed="rId3">
            <a:alphaModFix/>
          </a:blip>
          <a:srcRect l="35277" t="67385" r="37100" b="1266"/>
          <a:stretch/>
        </p:blipFill>
        <p:spPr>
          <a:xfrm>
            <a:off x="2381323" y="2554929"/>
            <a:ext cx="864566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0" name="Google Shape;3510;p45"/>
          <p:cNvPicPr preferRelativeResize="0"/>
          <p:nvPr/>
        </p:nvPicPr>
        <p:blipFill rotWithShape="1">
          <a:blip r:embed="rId3">
            <a:alphaModFix/>
          </a:blip>
          <a:srcRect l="69192" r="3184" b="68652"/>
          <a:stretch/>
        </p:blipFill>
        <p:spPr>
          <a:xfrm>
            <a:off x="1302436" y="3719127"/>
            <a:ext cx="864588" cy="1055385"/>
          </a:xfrm>
          <a:prstGeom prst="rect">
            <a:avLst/>
          </a:prstGeom>
          <a:noFill/>
          <a:ln>
            <a:noFill/>
          </a:ln>
        </p:spPr>
      </p:pic>
      <p:sp>
        <p:nvSpPr>
          <p:cNvPr id="3511" name="Google Shape;3511;p45"/>
          <p:cNvSpPr txBox="1">
            <a:spLocks noGrp="1"/>
          </p:cNvSpPr>
          <p:nvPr>
            <p:ph type="body" idx="3"/>
          </p:nvPr>
        </p:nvSpPr>
        <p:spPr>
          <a:xfrm>
            <a:off x="4500575" y="1483738"/>
            <a:ext cx="3826800" cy="3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accent2"/>
                </a:solidFill>
              </a:rPr>
              <a:t>Challenges</a:t>
            </a:r>
            <a:r>
              <a:rPr lang="en"/>
              <a:t>: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/>
              <a:t>Slow Generation</a:t>
            </a:r>
            <a:r>
              <a:rPr lang="en"/>
              <a:t>: Requires many iterative steps for generation. ~1 min per gen.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/>
              <a:t>High Computational Cost</a:t>
            </a:r>
            <a:r>
              <a:rPr lang="en"/>
              <a:t>: Training and sampling are very resource-intensive.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/>
              <a:t>Very Large Dataset Required</a:t>
            </a:r>
            <a:r>
              <a:rPr lang="en"/>
              <a:t>: Too few training resources available.</a:t>
            </a:r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9">
          <a:extLst>
            <a:ext uri="{FF2B5EF4-FFF2-40B4-BE49-F238E27FC236}">
              <a16:creationId xmlns:a16="http://schemas.microsoft.com/office/drawing/2014/main" id="{E2F4F05F-4618-7D51-24FE-331CE19DD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7" name="Right Arrow 40">
            <a:extLst>
              <a:ext uri="{FF2B5EF4-FFF2-40B4-BE49-F238E27FC236}">
                <a16:creationId xmlns:a16="http://schemas.microsoft.com/office/drawing/2014/main" id="{820C244C-B4CC-8BF4-58C1-71BEB946740F}"/>
              </a:ext>
            </a:extLst>
          </p:cNvPr>
          <p:cNvSpPr/>
          <p:nvPr/>
        </p:nvSpPr>
        <p:spPr>
          <a:xfrm>
            <a:off x="3410786" y="2174898"/>
            <a:ext cx="77728" cy="21280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0" name="Google Shape;3330;p35">
            <a:extLst>
              <a:ext uri="{FF2B5EF4-FFF2-40B4-BE49-F238E27FC236}">
                <a16:creationId xmlns:a16="http://schemas.microsoft.com/office/drawing/2014/main" id="{C7CC565D-BB5E-55F7-E6E9-E550F05A6ED2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sp>
        <p:nvSpPr>
          <p:cNvPr id="3331" name="Google Shape;3331;p35">
            <a:extLst>
              <a:ext uri="{FF2B5EF4-FFF2-40B4-BE49-F238E27FC236}">
                <a16:creationId xmlns:a16="http://schemas.microsoft.com/office/drawing/2014/main" id="{D8FA989F-748B-B8D4-D963-32E01BA8AD6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-GB" dirty="0"/>
              <a:t>Introducing the </a:t>
            </a:r>
            <a:r>
              <a:rPr lang="en-GB" dirty="0" err="1">
                <a:solidFill>
                  <a:schemeClr val="accent2"/>
                </a:solidFill>
              </a:rPr>
              <a:t>Cyclegan</a:t>
            </a:r>
            <a:endParaRPr lang="en-GB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FFFC0CA-7521-2D75-0CD1-44FC3CE5F13A}"/>
              </a:ext>
            </a:extLst>
          </p:cNvPr>
          <p:cNvSpPr/>
          <p:nvPr/>
        </p:nvSpPr>
        <p:spPr>
          <a:xfrm>
            <a:off x="3286001" y="1940658"/>
            <a:ext cx="680561" cy="53906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D092B1C-B74F-A6FB-E82C-8C71316AC428}"/>
              </a:ext>
            </a:extLst>
          </p:cNvPr>
          <p:cNvGrpSpPr/>
          <p:nvPr/>
        </p:nvGrpSpPr>
        <p:grpSpPr>
          <a:xfrm>
            <a:off x="7340700" y="2163131"/>
            <a:ext cx="633634" cy="1750384"/>
            <a:chOff x="1335024" y="1657350"/>
            <a:chExt cx="560832" cy="91440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74A6E42-D0C9-2610-310A-DD62BD14558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40AA0F4-7EE4-2AC3-970C-9134C575D32D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3D8D913-ECE9-42B6-0CE3-296CDC0B53C6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C01E6D6E-3A13-2F2D-E3C3-476BC1E4B976}"/>
              </a:ext>
            </a:extLst>
          </p:cNvPr>
          <p:cNvSpPr txBox="1"/>
          <p:nvPr/>
        </p:nvSpPr>
        <p:spPr>
          <a:xfrm>
            <a:off x="3147355" y="1451934"/>
            <a:ext cx="957852" cy="299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1EC9100-5FDA-317F-9625-8F43B95716E9}"/>
              </a:ext>
            </a:extLst>
          </p:cNvPr>
          <p:cNvSpPr txBox="1"/>
          <p:nvPr/>
        </p:nvSpPr>
        <p:spPr>
          <a:xfrm>
            <a:off x="7037332" y="1745348"/>
            <a:ext cx="12205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B60C8FD-9AA9-545F-250B-4C38ECF78A10}"/>
              </a:ext>
            </a:extLst>
          </p:cNvPr>
          <p:cNvSpPr txBox="1"/>
          <p:nvPr/>
        </p:nvSpPr>
        <p:spPr>
          <a:xfrm>
            <a:off x="8348829" y="2820246"/>
            <a:ext cx="107794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al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4674894-F0D6-4A1F-5A8C-C07EAF1AD24B}"/>
              </a:ext>
            </a:extLst>
          </p:cNvPr>
          <p:cNvGrpSpPr/>
          <p:nvPr/>
        </p:nvGrpSpPr>
        <p:grpSpPr>
          <a:xfrm rot="10800000">
            <a:off x="4041341" y="1396940"/>
            <a:ext cx="562714" cy="1602899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ACC65AB-B54D-7BAD-E93F-556A21F80A8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5DC65B4-BF5F-0F28-F1D8-5ECC59574A9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C0DB318-20BF-E6AD-11B3-57F439B1A07C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927B5E-FFFF-5E14-9C46-1590D3EEF7B5}"/>
              </a:ext>
            </a:extLst>
          </p:cNvPr>
          <p:cNvGrpSpPr/>
          <p:nvPr/>
        </p:nvGrpSpPr>
        <p:grpSpPr>
          <a:xfrm>
            <a:off x="2653798" y="1423517"/>
            <a:ext cx="560220" cy="1588120"/>
            <a:chOff x="1335024" y="1657350"/>
            <a:chExt cx="560832" cy="91440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CB1E935-A87B-4E20-66BD-1DEADA625EC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D8475FD-0514-1523-4BAA-74823382CF7E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CE7632F-C631-A371-AF98-6000A3A991A0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61" name="Picture 60">
            <a:extLst>
              <a:ext uri="{FF2B5EF4-FFF2-40B4-BE49-F238E27FC236}">
                <a16:creationId xmlns:a16="http://schemas.microsoft.com/office/drawing/2014/main" id="{01A5D8D1-9E04-E2FA-1FA2-E9CA779828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841" y="1423517"/>
            <a:ext cx="1795155" cy="1781450"/>
          </a:xfrm>
          <a:prstGeom prst="rect">
            <a:avLst/>
          </a:prstGeom>
        </p:spPr>
      </p:pic>
      <p:sp>
        <p:nvSpPr>
          <p:cNvPr id="3334" name="Right Arrow 40">
            <a:extLst>
              <a:ext uri="{FF2B5EF4-FFF2-40B4-BE49-F238E27FC236}">
                <a16:creationId xmlns:a16="http://schemas.microsoft.com/office/drawing/2014/main" id="{CFA9CE22-CAA3-42E0-2E92-78C37CD55BF6}"/>
              </a:ext>
            </a:extLst>
          </p:cNvPr>
          <p:cNvSpPr/>
          <p:nvPr/>
        </p:nvSpPr>
        <p:spPr>
          <a:xfrm>
            <a:off x="4685895" y="2089731"/>
            <a:ext cx="311214" cy="30944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5" name="Right Arrow 40">
            <a:extLst>
              <a:ext uri="{FF2B5EF4-FFF2-40B4-BE49-F238E27FC236}">
                <a16:creationId xmlns:a16="http://schemas.microsoft.com/office/drawing/2014/main" id="{6828C897-59EB-2C7A-5841-76DF28F7BDDA}"/>
              </a:ext>
            </a:extLst>
          </p:cNvPr>
          <p:cNvSpPr/>
          <p:nvPr/>
        </p:nvSpPr>
        <p:spPr>
          <a:xfrm>
            <a:off x="8061821" y="2862381"/>
            <a:ext cx="287008" cy="35188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8" name="Right Arrow 40">
            <a:extLst>
              <a:ext uri="{FF2B5EF4-FFF2-40B4-BE49-F238E27FC236}">
                <a16:creationId xmlns:a16="http://schemas.microsoft.com/office/drawing/2014/main" id="{F1BDC2DF-C40C-7A78-B09E-231B5E361974}"/>
              </a:ext>
            </a:extLst>
          </p:cNvPr>
          <p:cNvSpPr/>
          <p:nvPr/>
        </p:nvSpPr>
        <p:spPr>
          <a:xfrm>
            <a:off x="2310376" y="2096484"/>
            <a:ext cx="281468" cy="2958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22EA22-6192-1409-BD97-729635C990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5577" y="1408739"/>
            <a:ext cx="1615132" cy="1602898"/>
          </a:xfrm>
          <a:prstGeom prst="rect">
            <a:avLst/>
          </a:prstGeom>
        </p:spPr>
      </p:pic>
      <p:sp>
        <p:nvSpPr>
          <p:cNvPr id="5" name="Right Arrow 40">
            <a:extLst>
              <a:ext uri="{FF2B5EF4-FFF2-40B4-BE49-F238E27FC236}">
                <a16:creationId xmlns:a16="http://schemas.microsoft.com/office/drawing/2014/main" id="{81205A89-78F2-460E-8C31-89D6A4F758F3}"/>
              </a:ext>
            </a:extLst>
          </p:cNvPr>
          <p:cNvSpPr/>
          <p:nvPr/>
        </p:nvSpPr>
        <p:spPr>
          <a:xfrm>
            <a:off x="6737923" y="3463634"/>
            <a:ext cx="438193" cy="22642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Picture 5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4A8CC769-14C1-FF67-5893-09E9F55BAA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8724" y="3074162"/>
            <a:ext cx="1588120" cy="1588120"/>
          </a:xfrm>
          <a:prstGeom prst="rect">
            <a:avLst/>
          </a:prstGeom>
        </p:spPr>
      </p:pic>
      <p:sp>
        <p:nvSpPr>
          <p:cNvPr id="7" name="Right Arrow 40">
            <a:extLst>
              <a:ext uri="{FF2B5EF4-FFF2-40B4-BE49-F238E27FC236}">
                <a16:creationId xmlns:a16="http://schemas.microsoft.com/office/drawing/2014/main" id="{FF3A99B5-D9E5-7F14-0BFA-4C53E5618B0D}"/>
              </a:ext>
            </a:extLst>
          </p:cNvPr>
          <p:cNvSpPr/>
          <p:nvPr/>
        </p:nvSpPr>
        <p:spPr>
          <a:xfrm>
            <a:off x="6737923" y="2314242"/>
            <a:ext cx="438193" cy="22642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8E2506-83A0-B9AA-FBCF-EE9D2B20DEC1}"/>
              </a:ext>
            </a:extLst>
          </p:cNvPr>
          <p:cNvSpPr txBox="1"/>
          <p:nvPr/>
        </p:nvSpPr>
        <p:spPr>
          <a:xfrm>
            <a:off x="5122792" y="4724807"/>
            <a:ext cx="161513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 Painting</a:t>
            </a:r>
          </a:p>
        </p:txBody>
      </p:sp>
    </p:spTree>
    <p:extLst>
      <p:ext uri="{BB962C8B-B14F-4D97-AF65-F5344CB8AC3E}">
        <p14:creationId xmlns:p14="http://schemas.microsoft.com/office/powerpoint/2010/main" val="320898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9">
          <a:extLst>
            <a:ext uri="{FF2B5EF4-FFF2-40B4-BE49-F238E27FC236}">
              <a16:creationId xmlns:a16="http://schemas.microsoft.com/office/drawing/2014/main" id="{51A1641D-A15D-885B-C2F4-FFD87BBD15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7" name="Right Arrow 40">
            <a:extLst>
              <a:ext uri="{FF2B5EF4-FFF2-40B4-BE49-F238E27FC236}">
                <a16:creationId xmlns:a16="http://schemas.microsoft.com/office/drawing/2014/main" id="{2DF4AD79-7C82-CECA-5125-CE0EC171ED6B}"/>
              </a:ext>
            </a:extLst>
          </p:cNvPr>
          <p:cNvSpPr/>
          <p:nvPr/>
        </p:nvSpPr>
        <p:spPr>
          <a:xfrm>
            <a:off x="2298621" y="2538240"/>
            <a:ext cx="141310" cy="11619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0" name="Google Shape;3330;p35">
            <a:extLst>
              <a:ext uri="{FF2B5EF4-FFF2-40B4-BE49-F238E27FC236}">
                <a16:creationId xmlns:a16="http://schemas.microsoft.com/office/drawing/2014/main" id="{BCF7F66A-FCE9-8B26-9B94-8CD64B0E62C8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sp>
        <p:nvSpPr>
          <p:cNvPr id="3331" name="Google Shape;3331;p35">
            <a:extLst>
              <a:ext uri="{FF2B5EF4-FFF2-40B4-BE49-F238E27FC236}">
                <a16:creationId xmlns:a16="http://schemas.microsoft.com/office/drawing/2014/main" id="{78718569-6A0F-35F5-39E6-18971362402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-GB" dirty="0"/>
              <a:t>Introducing the </a:t>
            </a:r>
            <a:r>
              <a:rPr lang="en-GB" dirty="0" err="1">
                <a:solidFill>
                  <a:schemeClr val="accent2"/>
                </a:solidFill>
              </a:rPr>
              <a:t>Cyclegan</a:t>
            </a:r>
            <a:endParaRPr lang="en-GB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28C85FA-D126-ECD7-53D1-8C61E27AF4AD}"/>
              </a:ext>
            </a:extLst>
          </p:cNvPr>
          <p:cNvSpPr/>
          <p:nvPr/>
        </p:nvSpPr>
        <p:spPr>
          <a:xfrm>
            <a:off x="1913404" y="2340124"/>
            <a:ext cx="659388" cy="372745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06080E7-9A93-04BA-7CA9-D444C53AAB40}"/>
              </a:ext>
            </a:extLst>
          </p:cNvPr>
          <p:cNvGrpSpPr/>
          <p:nvPr/>
        </p:nvGrpSpPr>
        <p:grpSpPr>
          <a:xfrm>
            <a:off x="4457402" y="3251325"/>
            <a:ext cx="476090" cy="876700"/>
            <a:chOff x="1335024" y="1657350"/>
            <a:chExt cx="560832" cy="91440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EB7FFE1-4443-0D9A-0E68-C7D03FBDAD23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7C8A28E-2D16-F0FD-13E0-A794A33762C2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9A5C97A-F8E8-3196-3499-49AE4B86ACF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C29DE41E-3DB8-408F-21A5-ED11D282854A}"/>
              </a:ext>
            </a:extLst>
          </p:cNvPr>
          <p:cNvSpPr txBox="1"/>
          <p:nvPr/>
        </p:nvSpPr>
        <p:spPr>
          <a:xfrm>
            <a:off x="1686230" y="1995107"/>
            <a:ext cx="114191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D77AA34-C921-732B-98EB-83FBD3869592}"/>
              </a:ext>
            </a:extLst>
          </p:cNvPr>
          <p:cNvSpPr txBox="1"/>
          <p:nvPr/>
        </p:nvSpPr>
        <p:spPr>
          <a:xfrm>
            <a:off x="4180490" y="2934968"/>
            <a:ext cx="128865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D3E2301-9973-785D-5800-BDEEA085CA3E}"/>
              </a:ext>
            </a:extLst>
          </p:cNvPr>
          <p:cNvSpPr txBox="1"/>
          <p:nvPr/>
        </p:nvSpPr>
        <p:spPr>
          <a:xfrm>
            <a:off x="5218676" y="3331882"/>
            <a:ext cx="1022835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F6F7973-2A04-10A4-465C-3FE90D8120A5}"/>
              </a:ext>
            </a:extLst>
          </p:cNvPr>
          <p:cNvGrpSpPr/>
          <p:nvPr/>
        </p:nvGrpSpPr>
        <p:grpSpPr>
          <a:xfrm rot="10800000">
            <a:off x="2604518" y="2118027"/>
            <a:ext cx="355146" cy="816941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0C03AEE-3A0E-6646-61D7-0876BB9AF7C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C3F1999-FFBE-A634-FEE1-F12FDF503F44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CE24E679-A7C3-13DE-D446-D3C4C788517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E7ACC74-4B74-10B1-8F5D-3321CB7BA91E}"/>
              </a:ext>
            </a:extLst>
          </p:cNvPr>
          <p:cNvGrpSpPr/>
          <p:nvPr/>
        </p:nvGrpSpPr>
        <p:grpSpPr>
          <a:xfrm>
            <a:off x="1492881" y="2118027"/>
            <a:ext cx="386698" cy="816941"/>
            <a:chOff x="1335024" y="1657350"/>
            <a:chExt cx="560832" cy="91440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F52DE0B-A2B8-D6E3-906F-9363BA2BB742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D9A1802-382F-AB9F-B2BF-4B4F81E7D90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1739E8A-44DE-D739-EDC2-742A2311BF60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61" name="Picture 60">
            <a:extLst>
              <a:ext uri="{FF2B5EF4-FFF2-40B4-BE49-F238E27FC236}">
                <a16:creationId xmlns:a16="http://schemas.microsoft.com/office/drawing/2014/main" id="{56690C9C-AA92-2599-FAFC-810B38C22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885" y="2083159"/>
            <a:ext cx="893503" cy="886681"/>
          </a:xfrm>
          <a:prstGeom prst="rect">
            <a:avLst/>
          </a:prstGeom>
        </p:spPr>
      </p:pic>
      <p:sp>
        <p:nvSpPr>
          <p:cNvPr id="3334" name="Right Arrow 40">
            <a:extLst>
              <a:ext uri="{FF2B5EF4-FFF2-40B4-BE49-F238E27FC236}">
                <a16:creationId xmlns:a16="http://schemas.microsoft.com/office/drawing/2014/main" id="{937D6520-35A6-411F-17CF-683FC2210572}"/>
              </a:ext>
            </a:extLst>
          </p:cNvPr>
          <p:cNvSpPr/>
          <p:nvPr/>
        </p:nvSpPr>
        <p:spPr>
          <a:xfrm>
            <a:off x="3028719" y="2424119"/>
            <a:ext cx="214240" cy="20475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8" name="Right Arrow 40">
            <a:extLst>
              <a:ext uri="{FF2B5EF4-FFF2-40B4-BE49-F238E27FC236}">
                <a16:creationId xmlns:a16="http://schemas.microsoft.com/office/drawing/2014/main" id="{4FB936D4-D2F1-64B5-EB52-716CED7B98D2}"/>
              </a:ext>
            </a:extLst>
          </p:cNvPr>
          <p:cNvSpPr/>
          <p:nvPr/>
        </p:nvSpPr>
        <p:spPr>
          <a:xfrm>
            <a:off x="1213867" y="2428632"/>
            <a:ext cx="193763" cy="19573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ight Arrow 40">
            <a:extLst>
              <a:ext uri="{FF2B5EF4-FFF2-40B4-BE49-F238E27FC236}">
                <a16:creationId xmlns:a16="http://schemas.microsoft.com/office/drawing/2014/main" id="{7C0BC404-AE45-0B67-53F0-78B2A500127F}"/>
              </a:ext>
            </a:extLst>
          </p:cNvPr>
          <p:cNvSpPr/>
          <p:nvPr/>
        </p:nvSpPr>
        <p:spPr>
          <a:xfrm>
            <a:off x="4996181" y="3544313"/>
            <a:ext cx="222496" cy="30008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ight Arrow 40">
            <a:extLst>
              <a:ext uri="{FF2B5EF4-FFF2-40B4-BE49-F238E27FC236}">
                <a16:creationId xmlns:a16="http://schemas.microsoft.com/office/drawing/2014/main" id="{BF2E692B-617B-DD89-FA1D-EECB4C8ADD6F}"/>
              </a:ext>
            </a:extLst>
          </p:cNvPr>
          <p:cNvSpPr/>
          <p:nvPr/>
        </p:nvSpPr>
        <p:spPr>
          <a:xfrm rot="2980019">
            <a:off x="3778772" y="3218339"/>
            <a:ext cx="682876" cy="22708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18FBFE-80EB-59C2-0FCC-E44B1BF393BA}"/>
              </a:ext>
            </a:extLst>
          </p:cNvPr>
          <p:cNvSpPr/>
          <p:nvPr/>
        </p:nvSpPr>
        <p:spPr>
          <a:xfrm>
            <a:off x="10228581" y="1070989"/>
            <a:ext cx="659388" cy="372745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A6BBEC-A85A-2C89-B191-0FD115CF719F}"/>
              </a:ext>
            </a:extLst>
          </p:cNvPr>
          <p:cNvSpPr txBox="1"/>
          <p:nvPr/>
        </p:nvSpPr>
        <p:spPr>
          <a:xfrm>
            <a:off x="10001407" y="725972"/>
            <a:ext cx="114191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B25072-5AB1-2F19-7D2C-CDA25FB7D06F}"/>
              </a:ext>
            </a:extLst>
          </p:cNvPr>
          <p:cNvGrpSpPr/>
          <p:nvPr/>
        </p:nvGrpSpPr>
        <p:grpSpPr>
          <a:xfrm rot="10800000">
            <a:off x="10919695" y="848892"/>
            <a:ext cx="355146" cy="816941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2C16970-98DE-E5C4-8C40-9F72942DE673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9D31471-65C1-7C57-AF80-B2586B331C06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3606BE-E0FD-812F-B89E-56D659F929F2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556262-C379-DA59-822A-6F774C0029D9}"/>
              </a:ext>
            </a:extLst>
          </p:cNvPr>
          <p:cNvGrpSpPr/>
          <p:nvPr/>
        </p:nvGrpSpPr>
        <p:grpSpPr>
          <a:xfrm>
            <a:off x="9808058" y="848892"/>
            <a:ext cx="386698" cy="816941"/>
            <a:chOff x="1335024" y="1657350"/>
            <a:chExt cx="560832" cy="9144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B14BF4-5EC8-7B63-D458-060CC18F17C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F13BB3E-D2D4-30B5-6A32-B4FAC7454AE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DDBC1DE-3650-FB18-AAFE-BEA676513CE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64CEEAC-D8C0-F92B-48A7-31C3AE5863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2063" y="824877"/>
            <a:ext cx="893504" cy="886682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85E901F9-C921-82A9-7EF1-48E9D4FE8B44}"/>
              </a:ext>
            </a:extLst>
          </p:cNvPr>
          <p:cNvGrpSpPr/>
          <p:nvPr/>
        </p:nvGrpSpPr>
        <p:grpSpPr>
          <a:xfrm>
            <a:off x="10380749" y="4549228"/>
            <a:ext cx="476090" cy="876700"/>
            <a:chOff x="1335024" y="1657350"/>
            <a:chExt cx="560832" cy="9144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5AFACD4-9DB1-1848-C3C1-B97C81201DC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E1F19BC-D41D-80BA-665F-BBEABE84F8D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7390023-C471-3B13-F5E1-A285AAFC9B4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225E4D5-E1B2-9601-BA40-83EE5B3134F5}"/>
              </a:ext>
            </a:extLst>
          </p:cNvPr>
          <p:cNvSpPr txBox="1"/>
          <p:nvPr/>
        </p:nvSpPr>
        <p:spPr>
          <a:xfrm>
            <a:off x="10103837" y="4232871"/>
            <a:ext cx="128865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53317C1-AE30-487D-4528-0C60EF9390C0}"/>
              </a:ext>
            </a:extLst>
          </p:cNvPr>
          <p:cNvSpPr txBox="1"/>
          <p:nvPr/>
        </p:nvSpPr>
        <p:spPr>
          <a:xfrm>
            <a:off x="11196650" y="4781006"/>
            <a:ext cx="102283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hoto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5" name="Elbow Connector 4124">
            <a:extLst>
              <a:ext uri="{FF2B5EF4-FFF2-40B4-BE49-F238E27FC236}">
                <a16:creationId xmlns:a16="http://schemas.microsoft.com/office/drawing/2014/main" id="{BF683CF5-7E90-09B4-54BD-D8A53CB5F65E}"/>
              </a:ext>
            </a:extLst>
          </p:cNvPr>
          <p:cNvCxnSpPr>
            <a:cxnSpLocks/>
          </p:cNvCxnSpPr>
          <p:nvPr/>
        </p:nvCxnSpPr>
        <p:spPr>
          <a:xfrm rot="16200000" flipH="1">
            <a:off x="9695972" y="4104097"/>
            <a:ext cx="946078" cy="423476"/>
          </a:xfrm>
          <a:prstGeom prst="bentConnector3">
            <a:avLst>
              <a:gd name="adj1" fmla="val 100116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C2E9F85-75E5-D813-42F5-0EA1BE842CB4}"/>
              </a:ext>
            </a:extLst>
          </p:cNvPr>
          <p:cNvCxnSpPr>
            <a:cxnSpLocks/>
          </p:cNvCxnSpPr>
          <p:nvPr/>
        </p:nvCxnSpPr>
        <p:spPr>
          <a:xfrm>
            <a:off x="-1029506" y="4724488"/>
            <a:ext cx="0" cy="16428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4114">
            <a:extLst>
              <a:ext uri="{FF2B5EF4-FFF2-40B4-BE49-F238E27FC236}">
                <a16:creationId xmlns:a16="http://schemas.microsoft.com/office/drawing/2014/main" id="{35F55EC6-471F-532F-178B-91EA0A340688}"/>
              </a:ext>
            </a:extLst>
          </p:cNvPr>
          <p:cNvCxnSpPr>
            <a:cxnSpLocks/>
          </p:cNvCxnSpPr>
          <p:nvPr/>
        </p:nvCxnSpPr>
        <p:spPr>
          <a:xfrm flipV="1">
            <a:off x="-1029506" y="6087584"/>
            <a:ext cx="6656254" cy="279704"/>
          </a:xfrm>
          <a:prstGeom prst="bentConnector3">
            <a:avLst>
              <a:gd name="adj1" fmla="val 9134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ight Arrow 40">
            <a:extLst>
              <a:ext uri="{FF2B5EF4-FFF2-40B4-BE49-F238E27FC236}">
                <a16:creationId xmlns:a16="http://schemas.microsoft.com/office/drawing/2014/main" id="{73EA669D-CD31-7190-98C1-FA1F71D806C2}"/>
              </a:ext>
            </a:extLst>
          </p:cNvPr>
          <p:cNvSpPr/>
          <p:nvPr/>
        </p:nvSpPr>
        <p:spPr>
          <a:xfrm>
            <a:off x="3812668" y="3708492"/>
            <a:ext cx="530038" cy="18775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0" name="Picture 29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88C52BC7-3666-AD4E-7464-9AECB14CF6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869" y="3300217"/>
            <a:ext cx="1043344" cy="104334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83561B4-98E7-CDD6-17F5-556C28F7A8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6444" y="2092782"/>
            <a:ext cx="874046" cy="86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535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9">
          <a:extLst>
            <a:ext uri="{FF2B5EF4-FFF2-40B4-BE49-F238E27FC236}">
              <a16:creationId xmlns:a16="http://schemas.microsoft.com/office/drawing/2014/main" id="{62A191EA-FB6A-B2E2-3DC0-5DA21EADD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7" name="Right Arrow 40">
            <a:extLst>
              <a:ext uri="{FF2B5EF4-FFF2-40B4-BE49-F238E27FC236}">
                <a16:creationId xmlns:a16="http://schemas.microsoft.com/office/drawing/2014/main" id="{41B5AAD5-A648-7FF9-6543-07D558BA646E}"/>
              </a:ext>
            </a:extLst>
          </p:cNvPr>
          <p:cNvSpPr/>
          <p:nvPr/>
        </p:nvSpPr>
        <p:spPr>
          <a:xfrm>
            <a:off x="2298621" y="2538240"/>
            <a:ext cx="141310" cy="11619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0" name="Google Shape;3330;p35">
            <a:extLst>
              <a:ext uri="{FF2B5EF4-FFF2-40B4-BE49-F238E27FC236}">
                <a16:creationId xmlns:a16="http://schemas.microsoft.com/office/drawing/2014/main" id="{09765F23-44D1-4C62-9095-FD9051DBF838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 dirty="0"/>
              <a:t>CycleGAN</a:t>
            </a:r>
            <a:endParaRPr dirty="0"/>
          </a:p>
        </p:txBody>
      </p:sp>
      <p:sp>
        <p:nvSpPr>
          <p:cNvPr id="3331" name="Google Shape;3331;p35">
            <a:extLst>
              <a:ext uri="{FF2B5EF4-FFF2-40B4-BE49-F238E27FC236}">
                <a16:creationId xmlns:a16="http://schemas.microsoft.com/office/drawing/2014/main" id="{9AC6F8C0-EA81-7119-ACE4-05CF61C77B9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-GB" dirty="0"/>
              <a:t>Introducing the </a:t>
            </a:r>
            <a:r>
              <a:rPr lang="en-GB" dirty="0" err="1">
                <a:solidFill>
                  <a:schemeClr val="accent2"/>
                </a:solidFill>
              </a:rPr>
              <a:t>CycleGAN</a:t>
            </a:r>
            <a:endParaRPr lang="en-GB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0E36B24-60DA-64C1-DE50-22F7FE7761CE}"/>
              </a:ext>
            </a:extLst>
          </p:cNvPr>
          <p:cNvSpPr/>
          <p:nvPr/>
        </p:nvSpPr>
        <p:spPr>
          <a:xfrm>
            <a:off x="1913404" y="2340124"/>
            <a:ext cx="659388" cy="372745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CE39A43-A48C-2F95-D317-5EB38A23B395}"/>
              </a:ext>
            </a:extLst>
          </p:cNvPr>
          <p:cNvGrpSpPr/>
          <p:nvPr/>
        </p:nvGrpSpPr>
        <p:grpSpPr>
          <a:xfrm>
            <a:off x="4457402" y="3251325"/>
            <a:ext cx="476090" cy="876700"/>
            <a:chOff x="1335024" y="1657350"/>
            <a:chExt cx="560832" cy="91440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F6BB0CA-EC03-B249-D2A1-2951CAEFDD9F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7C54018-B197-89AC-EA07-5A437E5E52A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735A94D-07B5-9B08-B080-F427F7B1C43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E817CE5B-3313-4A8A-EE3F-28386F9256CC}"/>
              </a:ext>
            </a:extLst>
          </p:cNvPr>
          <p:cNvSpPr txBox="1"/>
          <p:nvPr/>
        </p:nvSpPr>
        <p:spPr>
          <a:xfrm>
            <a:off x="1686230" y="1995107"/>
            <a:ext cx="114191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6AC294B-9FAA-CEC2-46B5-A3AC763ECDDE}"/>
              </a:ext>
            </a:extLst>
          </p:cNvPr>
          <p:cNvSpPr txBox="1"/>
          <p:nvPr/>
        </p:nvSpPr>
        <p:spPr>
          <a:xfrm>
            <a:off x="4180490" y="2934968"/>
            <a:ext cx="128865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0D99CEF-5A40-6EC6-EB31-5CEF640F83EF}"/>
              </a:ext>
            </a:extLst>
          </p:cNvPr>
          <p:cNvSpPr txBox="1"/>
          <p:nvPr/>
        </p:nvSpPr>
        <p:spPr>
          <a:xfrm>
            <a:off x="5218676" y="3331882"/>
            <a:ext cx="1022835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540086F0-E776-2861-C556-1DDA28CA76B5}"/>
              </a:ext>
            </a:extLst>
          </p:cNvPr>
          <p:cNvGrpSpPr/>
          <p:nvPr/>
        </p:nvGrpSpPr>
        <p:grpSpPr>
          <a:xfrm rot="10800000">
            <a:off x="2604518" y="2118027"/>
            <a:ext cx="355146" cy="816941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AB6A41C-8692-F1F1-096B-FE6BDC2672D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484B514-1B40-B7DC-DF60-9773C7C0B4F4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1B4922E-8788-8AEF-E107-3B5462A9FCA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FB20C21-436D-0D60-F9B8-A74CDAD3AB94}"/>
              </a:ext>
            </a:extLst>
          </p:cNvPr>
          <p:cNvGrpSpPr/>
          <p:nvPr/>
        </p:nvGrpSpPr>
        <p:grpSpPr>
          <a:xfrm>
            <a:off x="1492881" y="2118027"/>
            <a:ext cx="386698" cy="816941"/>
            <a:chOff x="1335024" y="1657350"/>
            <a:chExt cx="560832" cy="91440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E82828F-0B96-D3C6-C2B4-D28AC9C9255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2541089-257A-9163-E9D3-F9F8C852141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56FE4E1-1EF8-142F-B34B-2B8DCD757E96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61" name="Picture 60">
            <a:extLst>
              <a:ext uri="{FF2B5EF4-FFF2-40B4-BE49-F238E27FC236}">
                <a16:creationId xmlns:a16="http://schemas.microsoft.com/office/drawing/2014/main" id="{4E621371-9CF3-9264-6D12-A78648170A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885" y="2083159"/>
            <a:ext cx="893503" cy="886681"/>
          </a:xfrm>
          <a:prstGeom prst="rect">
            <a:avLst/>
          </a:prstGeom>
        </p:spPr>
      </p:pic>
      <p:sp>
        <p:nvSpPr>
          <p:cNvPr id="3334" name="Right Arrow 40">
            <a:extLst>
              <a:ext uri="{FF2B5EF4-FFF2-40B4-BE49-F238E27FC236}">
                <a16:creationId xmlns:a16="http://schemas.microsoft.com/office/drawing/2014/main" id="{70154CA8-B7CC-9318-D658-E3015D722EBC}"/>
              </a:ext>
            </a:extLst>
          </p:cNvPr>
          <p:cNvSpPr/>
          <p:nvPr/>
        </p:nvSpPr>
        <p:spPr>
          <a:xfrm>
            <a:off x="3028719" y="2424119"/>
            <a:ext cx="214240" cy="20475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38" name="Right Arrow 40">
            <a:extLst>
              <a:ext uri="{FF2B5EF4-FFF2-40B4-BE49-F238E27FC236}">
                <a16:creationId xmlns:a16="http://schemas.microsoft.com/office/drawing/2014/main" id="{E57EB2A7-7BD9-FC0C-0BC9-77FE9EBF2B06}"/>
              </a:ext>
            </a:extLst>
          </p:cNvPr>
          <p:cNvSpPr/>
          <p:nvPr/>
        </p:nvSpPr>
        <p:spPr>
          <a:xfrm>
            <a:off x="1213867" y="2428632"/>
            <a:ext cx="193763" cy="19573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ight Arrow 40">
            <a:extLst>
              <a:ext uri="{FF2B5EF4-FFF2-40B4-BE49-F238E27FC236}">
                <a16:creationId xmlns:a16="http://schemas.microsoft.com/office/drawing/2014/main" id="{D5A1BB22-4C6E-1D79-EC77-F5EF46CC1957}"/>
              </a:ext>
            </a:extLst>
          </p:cNvPr>
          <p:cNvSpPr/>
          <p:nvPr/>
        </p:nvSpPr>
        <p:spPr>
          <a:xfrm>
            <a:off x="4996181" y="3544313"/>
            <a:ext cx="222496" cy="30008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C3E8D7-2BFC-CE8A-346D-CE22F41C4AA8}"/>
              </a:ext>
            </a:extLst>
          </p:cNvPr>
          <p:cNvSpPr/>
          <p:nvPr/>
        </p:nvSpPr>
        <p:spPr>
          <a:xfrm>
            <a:off x="4996181" y="2341011"/>
            <a:ext cx="659388" cy="372745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CCA8FC-D105-BD56-3EAA-DB966A150675}"/>
              </a:ext>
            </a:extLst>
          </p:cNvPr>
          <p:cNvSpPr txBox="1"/>
          <p:nvPr/>
        </p:nvSpPr>
        <p:spPr>
          <a:xfrm>
            <a:off x="4769007" y="1995994"/>
            <a:ext cx="114191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F5A6CEC-D46E-1211-8FAC-52F68C516481}"/>
              </a:ext>
            </a:extLst>
          </p:cNvPr>
          <p:cNvGrpSpPr/>
          <p:nvPr/>
        </p:nvGrpSpPr>
        <p:grpSpPr>
          <a:xfrm rot="10800000">
            <a:off x="5687295" y="2118914"/>
            <a:ext cx="355146" cy="816941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1026A01-3F34-9403-3EFA-F00BB985E8B6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87685EC-383C-DECA-6797-1DC3D34542B6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80D422-E504-CF65-F1E3-B048E839D90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9E7F2C1-3738-ECF3-1B5D-6AF2DD1C9327}"/>
              </a:ext>
            </a:extLst>
          </p:cNvPr>
          <p:cNvGrpSpPr/>
          <p:nvPr/>
        </p:nvGrpSpPr>
        <p:grpSpPr>
          <a:xfrm>
            <a:off x="4575658" y="2118914"/>
            <a:ext cx="386698" cy="816941"/>
            <a:chOff x="1335024" y="1657350"/>
            <a:chExt cx="560832" cy="9144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D6FDDFC-9ACD-2267-EE5F-205CE1A69F04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008D1F2-801C-86BE-6449-DA28BDB9F52D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0387DBB-03AB-253E-4141-4748EF3CA576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4" name="Right Arrow 40">
            <a:extLst>
              <a:ext uri="{FF2B5EF4-FFF2-40B4-BE49-F238E27FC236}">
                <a16:creationId xmlns:a16="http://schemas.microsoft.com/office/drawing/2014/main" id="{07EFF243-FF3A-AA45-402B-A31E61029239}"/>
              </a:ext>
            </a:extLst>
          </p:cNvPr>
          <p:cNvSpPr/>
          <p:nvPr/>
        </p:nvSpPr>
        <p:spPr>
          <a:xfrm>
            <a:off x="6111496" y="2425006"/>
            <a:ext cx="214240" cy="20475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Right Arrow 40">
            <a:extLst>
              <a:ext uri="{FF2B5EF4-FFF2-40B4-BE49-F238E27FC236}">
                <a16:creationId xmlns:a16="http://schemas.microsoft.com/office/drawing/2014/main" id="{7428FE6D-A229-6BE0-2F62-B8FC674BD8B6}"/>
              </a:ext>
            </a:extLst>
          </p:cNvPr>
          <p:cNvSpPr/>
          <p:nvPr/>
        </p:nvSpPr>
        <p:spPr>
          <a:xfrm>
            <a:off x="4221793" y="2424119"/>
            <a:ext cx="214240" cy="20475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151549E-8CAE-151F-B39E-3AAAFF4AB3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9663" y="2094899"/>
            <a:ext cx="893504" cy="886682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97B97A35-752F-641F-3BC1-299E0956F0A5}"/>
              </a:ext>
            </a:extLst>
          </p:cNvPr>
          <p:cNvGrpSpPr/>
          <p:nvPr/>
        </p:nvGrpSpPr>
        <p:grpSpPr>
          <a:xfrm>
            <a:off x="7359891" y="3688013"/>
            <a:ext cx="476090" cy="876700"/>
            <a:chOff x="1335024" y="1657350"/>
            <a:chExt cx="560832" cy="9144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98A35C8-E2B6-EC2B-E374-10A8DFAE4E7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6268AC2-888D-7357-144F-68494F3CED25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BFF0CD8-CB4E-CFB4-486D-BE8E8B1E7559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AD45BFF-8B4F-C00C-4A7A-DE4434F61254}"/>
              </a:ext>
            </a:extLst>
          </p:cNvPr>
          <p:cNvSpPr txBox="1"/>
          <p:nvPr/>
        </p:nvSpPr>
        <p:spPr>
          <a:xfrm>
            <a:off x="7082979" y="3371656"/>
            <a:ext cx="128865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F23AE3-7E08-F4C6-DBEF-52CFCD71E8B3}"/>
              </a:ext>
            </a:extLst>
          </p:cNvPr>
          <p:cNvSpPr txBox="1"/>
          <p:nvPr/>
        </p:nvSpPr>
        <p:spPr>
          <a:xfrm>
            <a:off x="8175792" y="3919791"/>
            <a:ext cx="102283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hoto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40">
            <a:extLst>
              <a:ext uri="{FF2B5EF4-FFF2-40B4-BE49-F238E27FC236}">
                <a16:creationId xmlns:a16="http://schemas.microsoft.com/office/drawing/2014/main" id="{868F39EE-66E6-464F-56F5-17FD5C65EE36}"/>
              </a:ext>
            </a:extLst>
          </p:cNvPr>
          <p:cNvSpPr/>
          <p:nvPr/>
        </p:nvSpPr>
        <p:spPr>
          <a:xfrm>
            <a:off x="7898670" y="3981001"/>
            <a:ext cx="222496" cy="30008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F317DD6-E83B-D929-9CBF-21F1E83534C8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703637" y="2969840"/>
            <a:ext cx="0" cy="16428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4114">
            <a:extLst>
              <a:ext uri="{FF2B5EF4-FFF2-40B4-BE49-F238E27FC236}">
                <a16:creationId xmlns:a16="http://schemas.microsoft.com/office/drawing/2014/main" id="{91B09BBA-1031-B7E5-74D0-9389BA8BA98B}"/>
              </a:ext>
            </a:extLst>
          </p:cNvPr>
          <p:cNvCxnSpPr>
            <a:cxnSpLocks/>
          </p:cNvCxnSpPr>
          <p:nvPr/>
        </p:nvCxnSpPr>
        <p:spPr>
          <a:xfrm flipV="1">
            <a:off x="703637" y="4332936"/>
            <a:ext cx="6656254" cy="279704"/>
          </a:xfrm>
          <a:prstGeom prst="bentConnector3">
            <a:avLst>
              <a:gd name="adj1" fmla="val 9134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124">
            <a:extLst>
              <a:ext uri="{FF2B5EF4-FFF2-40B4-BE49-F238E27FC236}">
                <a16:creationId xmlns:a16="http://schemas.microsoft.com/office/drawing/2014/main" id="{B83AF7B9-F973-1A9F-397E-6A0CE86D9DC6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6675114" y="3242882"/>
            <a:ext cx="946078" cy="423476"/>
          </a:xfrm>
          <a:prstGeom prst="bentConnector3">
            <a:avLst>
              <a:gd name="adj1" fmla="val 100116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4124">
            <a:extLst>
              <a:ext uri="{FF2B5EF4-FFF2-40B4-BE49-F238E27FC236}">
                <a16:creationId xmlns:a16="http://schemas.microsoft.com/office/drawing/2014/main" id="{CD45ACF4-4643-EA96-E895-EDE55C0DD0A3}"/>
              </a:ext>
            </a:extLst>
          </p:cNvPr>
          <p:cNvCxnSpPr>
            <a:cxnSpLocks/>
          </p:cNvCxnSpPr>
          <p:nvPr/>
        </p:nvCxnSpPr>
        <p:spPr>
          <a:xfrm rot="16200000" flipH="1">
            <a:off x="3842540" y="2889098"/>
            <a:ext cx="510842" cy="672328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2" name="Elbow Connector 4124">
            <a:extLst>
              <a:ext uri="{FF2B5EF4-FFF2-40B4-BE49-F238E27FC236}">
                <a16:creationId xmlns:a16="http://schemas.microsoft.com/office/drawing/2014/main" id="{E59176A4-E29D-DE72-57AC-86CCA1A3826A}"/>
              </a:ext>
            </a:extLst>
          </p:cNvPr>
          <p:cNvCxnSpPr>
            <a:cxnSpLocks/>
          </p:cNvCxnSpPr>
          <p:nvPr/>
        </p:nvCxnSpPr>
        <p:spPr>
          <a:xfrm>
            <a:off x="3453080" y="3844395"/>
            <a:ext cx="991141" cy="26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87" name="Picture 3386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4442D698-B4DF-D28B-ECBF-35D687AF924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0462" y="3340246"/>
            <a:ext cx="1043344" cy="1043344"/>
          </a:xfrm>
          <a:prstGeom prst="rect">
            <a:avLst/>
          </a:prstGeom>
        </p:spPr>
      </p:pic>
      <p:pic>
        <p:nvPicPr>
          <p:cNvPr id="3388" name="Picture 3387">
            <a:extLst>
              <a:ext uri="{FF2B5EF4-FFF2-40B4-BE49-F238E27FC236}">
                <a16:creationId xmlns:a16="http://schemas.microsoft.com/office/drawing/2014/main" id="{73D6B355-17E2-E6AB-DFAF-963496A5F1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0374" y="2070159"/>
            <a:ext cx="886396" cy="879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8696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34A87-305A-E9AB-5C66-8647582CCC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2EAB2-921D-8DC5-BC90-B6D08E109A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/>
              <a:t>Cyclegan</a:t>
            </a:r>
            <a:r>
              <a:rPr lang="en-US" dirty="0"/>
              <a:t> </a:t>
            </a:r>
            <a:r>
              <a:rPr lang="en-US" dirty="0">
                <a:solidFill>
                  <a:schemeClr val="accent2"/>
                </a:solidFill>
              </a:rPr>
              <a:t>model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853E96-DF85-2E29-06C6-59556E9A07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A6694B3-74BD-9E86-CFBA-FAD71422D7E7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Uses two parallel AE-GAN networks</a:t>
            </a:r>
          </a:p>
          <a:p>
            <a:pPr lvl="1"/>
            <a:r>
              <a:rPr lang="en-US" dirty="0"/>
              <a:t>One makes images into </a:t>
            </a:r>
            <a:r>
              <a:rPr lang="en-US" dirty="0" err="1"/>
              <a:t>monet</a:t>
            </a:r>
            <a:r>
              <a:rPr lang="en-US" dirty="0"/>
              <a:t>-style paintings</a:t>
            </a:r>
          </a:p>
          <a:p>
            <a:pPr lvl="2"/>
            <a:r>
              <a:rPr lang="en-US" dirty="0"/>
              <a:t>Generator turns images to </a:t>
            </a:r>
            <a:r>
              <a:rPr lang="en-US" dirty="0" err="1"/>
              <a:t>monet</a:t>
            </a:r>
            <a:r>
              <a:rPr lang="en-US" dirty="0"/>
              <a:t>-style</a:t>
            </a:r>
          </a:p>
          <a:p>
            <a:pPr lvl="2"/>
            <a:r>
              <a:rPr lang="en-US" dirty="0"/>
              <a:t>Discriminator classifies the image transformations and real </a:t>
            </a:r>
            <a:r>
              <a:rPr lang="en-US" dirty="0" err="1"/>
              <a:t>monet</a:t>
            </a:r>
            <a:r>
              <a:rPr lang="en-US" dirty="0"/>
              <a:t> images</a:t>
            </a:r>
          </a:p>
          <a:p>
            <a:pPr lvl="1"/>
            <a:r>
              <a:rPr lang="en-US" dirty="0"/>
              <a:t>The other makes them back into the same image</a:t>
            </a:r>
          </a:p>
          <a:p>
            <a:pPr lvl="2"/>
            <a:r>
              <a:rPr lang="en-US" dirty="0"/>
              <a:t>Generator turns </a:t>
            </a:r>
            <a:r>
              <a:rPr lang="en-US" dirty="0" err="1"/>
              <a:t>monet</a:t>
            </a:r>
            <a:r>
              <a:rPr lang="en-US" dirty="0"/>
              <a:t>-transformations back into the original photo</a:t>
            </a:r>
          </a:p>
          <a:p>
            <a:pPr lvl="2"/>
            <a:r>
              <a:rPr lang="en-US" dirty="0"/>
              <a:t>Discriminator classifies the image recreation and real photos</a:t>
            </a:r>
          </a:p>
          <a:p>
            <a:r>
              <a:rPr lang="en-US" dirty="0"/>
              <a:t>This method makes up for a lack of image-painting pairs</a:t>
            </a:r>
          </a:p>
          <a:p>
            <a:r>
              <a:rPr lang="en-US" dirty="0"/>
              <a:t>This effectively captures the style of </a:t>
            </a:r>
            <a:r>
              <a:rPr lang="en-US" dirty="0" err="1"/>
              <a:t>monet</a:t>
            </a:r>
            <a:r>
              <a:rPr lang="en-US" dirty="0"/>
              <a:t> while not fundamentally changing the input photo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5" name="Right Arrow 40">
            <a:extLst>
              <a:ext uri="{FF2B5EF4-FFF2-40B4-BE49-F238E27FC236}">
                <a16:creationId xmlns:a16="http://schemas.microsoft.com/office/drawing/2014/main" id="{A8466613-227D-4E9D-4BBC-0911E069E4AA}"/>
              </a:ext>
            </a:extLst>
          </p:cNvPr>
          <p:cNvSpPr/>
          <p:nvPr/>
        </p:nvSpPr>
        <p:spPr>
          <a:xfrm>
            <a:off x="5607887" y="2443487"/>
            <a:ext cx="72253" cy="7331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E0AC86D-C5EA-C08D-CE87-08708B4E9218}"/>
              </a:ext>
            </a:extLst>
          </p:cNvPr>
          <p:cNvSpPr/>
          <p:nvPr/>
        </p:nvSpPr>
        <p:spPr>
          <a:xfrm>
            <a:off x="5474344" y="2307472"/>
            <a:ext cx="236066" cy="253267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61DC04C-9B03-B78E-E6A0-C67A227EA135}"/>
              </a:ext>
            </a:extLst>
          </p:cNvPr>
          <p:cNvGrpSpPr/>
          <p:nvPr/>
        </p:nvGrpSpPr>
        <p:grpSpPr>
          <a:xfrm>
            <a:off x="6711692" y="2893415"/>
            <a:ext cx="243429" cy="553163"/>
            <a:chOff x="1335024" y="1657350"/>
            <a:chExt cx="560832" cy="914400"/>
          </a:xfrm>
        </p:grpSpPr>
        <p:sp>
          <p:nvSpPr>
            <p:cNvPr id="1061" name="Rectangle 1060">
              <a:extLst>
                <a:ext uri="{FF2B5EF4-FFF2-40B4-BE49-F238E27FC236}">
                  <a16:creationId xmlns:a16="http://schemas.microsoft.com/office/drawing/2014/main" id="{B14B271A-F239-B61E-68AC-B012D678E48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62" name="Rectangle 1061">
              <a:extLst>
                <a:ext uri="{FF2B5EF4-FFF2-40B4-BE49-F238E27FC236}">
                  <a16:creationId xmlns:a16="http://schemas.microsoft.com/office/drawing/2014/main" id="{A9395E3D-5E01-0859-6076-98C638FD371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63" name="Rectangle 1062">
              <a:extLst>
                <a:ext uri="{FF2B5EF4-FFF2-40B4-BE49-F238E27FC236}">
                  <a16:creationId xmlns:a16="http://schemas.microsoft.com/office/drawing/2014/main" id="{CB86F3C4-9AD7-15AA-90A1-D0A2827C9B61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7FC484A5-8834-67DC-5CF2-0A895E43AF12}"/>
              </a:ext>
            </a:extLst>
          </p:cNvPr>
          <p:cNvSpPr txBox="1"/>
          <p:nvPr/>
        </p:nvSpPr>
        <p:spPr>
          <a:xfrm>
            <a:off x="5016695" y="1952571"/>
            <a:ext cx="118147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9AD2F90-8766-8512-D640-10709DFA5499}"/>
              </a:ext>
            </a:extLst>
          </p:cNvPr>
          <p:cNvSpPr txBox="1"/>
          <p:nvPr/>
        </p:nvSpPr>
        <p:spPr>
          <a:xfrm>
            <a:off x="6243141" y="2713019"/>
            <a:ext cx="12086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9B0AAA-B844-7D2C-BB46-DD3377EDF6DD}"/>
              </a:ext>
            </a:extLst>
          </p:cNvPr>
          <p:cNvSpPr txBox="1"/>
          <p:nvPr/>
        </p:nvSpPr>
        <p:spPr>
          <a:xfrm>
            <a:off x="7167431" y="3031304"/>
            <a:ext cx="6855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al</a:t>
            </a:r>
          </a:p>
          <a:p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1D10442-94FC-9EA5-F46C-F2FC524CDBCC}"/>
              </a:ext>
            </a:extLst>
          </p:cNvPr>
          <p:cNvGrpSpPr/>
          <p:nvPr/>
        </p:nvGrpSpPr>
        <p:grpSpPr>
          <a:xfrm rot="10800000">
            <a:off x="5764295" y="2178349"/>
            <a:ext cx="181590" cy="515458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1058" name="Rectangle 1057">
              <a:extLst>
                <a:ext uri="{FF2B5EF4-FFF2-40B4-BE49-F238E27FC236}">
                  <a16:creationId xmlns:a16="http://schemas.microsoft.com/office/drawing/2014/main" id="{8F861EE2-9122-9F26-190C-002243BD4FBF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9" name="Rectangle 1058">
              <a:extLst>
                <a:ext uri="{FF2B5EF4-FFF2-40B4-BE49-F238E27FC236}">
                  <a16:creationId xmlns:a16="http://schemas.microsoft.com/office/drawing/2014/main" id="{CDCA72E0-71EF-1496-9C1C-C756CFACFFF1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60" name="Rectangle 1059">
              <a:extLst>
                <a:ext uri="{FF2B5EF4-FFF2-40B4-BE49-F238E27FC236}">
                  <a16:creationId xmlns:a16="http://schemas.microsoft.com/office/drawing/2014/main" id="{7163610B-123D-DB87-C95B-8252D36FB9B1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2DE9043-46B8-2CC6-3BC1-CFD8A4A3800D}"/>
              </a:ext>
            </a:extLst>
          </p:cNvPr>
          <p:cNvGrpSpPr/>
          <p:nvPr/>
        </p:nvGrpSpPr>
        <p:grpSpPr>
          <a:xfrm>
            <a:off x="5208077" y="2178349"/>
            <a:ext cx="197722" cy="515458"/>
            <a:chOff x="1335024" y="1657350"/>
            <a:chExt cx="560832" cy="914400"/>
          </a:xfrm>
        </p:grpSpPr>
        <p:sp>
          <p:nvSpPr>
            <p:cNvPr id="1055" name="Rectangle 1054">
              <a:extLst>
                <a:ext uri="{FF2B5EF4-FFF2-40B4-BE49-F238E27FC236}">
                  <a16:creationId xmlns:a16="http://schemas.microsoft.com/office/drawing/2014/main" id="{8D065ED4-E9A1-8667-A430-895C65A2424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6" name="Rectangle 1055">
              <a:extLst>
                <a:ext uri="{FF2B5EF4-FFF2-40B4-BE49-F238E27FC236}">
                  <a16:creationId xmlns:a16="http://schemas.microsoft.com/office/drawing/2014/main" id="{5ACEAC8F-A014-06E5-D78D-AE6CA830C6B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7" name="Rectangle 1056">
              <a:extLst>
                <a:ext uri="{FF2B5EF4-FFF2-40B4-BE49-F238E27FC236}">
                  <a16:creationId xmlns:a16="http://schemas.microsoft.com/office/drawing/2014/main" id="{4F10DAF4-94DB-CA23-D9A3-127E587FE406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024" name="Picture 1023">
            <a:extLst>
              <a:ext uri="{FF2B5EF4-FFF2-40B4-BE49-F238E27FC236}">
                <a16:creationId xmlns:a16="http://schemas.microsoft.com/office/drawing/2014/main" id="{323BEED9-75EC-A227-C346-15755FF57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1409" y="2134346"/>
            <a:ext cx="456857" cy="559461"/>
          </a:xfrm>
          <a:prstGeom prst="rect">
            <a:avLst/>
          </a:prstGeom>
        </p:spPr>
      </p:pic>
      <p:sp>
        <p:nvSpPr>
          <p:cNvPr id="1025" name="Right Arrow 40">
            <a:extLst>
              <a:ext uri="{FF2B5EF4-FFF2-40B4-BE49-F238E27FC236}">
                <a16:creationId xmlns:a16="http://schemas.microsoft.com/office/drawing/2014/main" id="{DEC500C6-696A-3BBB-9155-258BE32CEF24}"/>
              </a:ext>
            </a:extLst>
          </p:cNvPr>
          <p:cNvSpPr/>
          <p:nvPr/>
        </p:nvSpPr>
        <p:spPr>
          <a:xfrm>
            <a:off x="5981193" y="2371481"/>
            <a:ext cx="109543" cy="12919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27" name="Right Arrow 40">
            <a:extLst>
              <a:ext uri="{FF2B5EF4-FFF2-40B4-BE49-F238E27FC236}">
                <a16:creationId xmlns:a16="http://schemas.microsoft.com/office/drawing/2014/main" id="{63249EBB-C59C-7BE8-EF54-806176969857}"/>
              </a:ext>
            </a:extLst>
          </p:cNvPr>
          <p:cNvSpPr/>
          <p:nvPr/>
        </p:nvSpPr>
        <p:spPr>
          <a:xfrm>
            <a:off x="5053241" y="2374328"/>
            <a:ext cx="99073" cy="1235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28" name="Right Arrow 40">
            <a:extLst>
              <a:ext uri="{FF2B5EF4-FFF2-40B4-BE49-F238E27FC236}">
                <a16:creationId xmlns:a16="http://schemas.microsoft.com/office/drawing/2014/main" id="{A59A3C30-7A8C-0E18-C95C-F968245C4952}"/>
              </a:ext>
            </a:extLst>
          </p:cNvPr>
          <p:cNvSpPr/>
          <p:nvPr/>
        </p:nvSpPr>
        <p:spPr>
          <a:xfrm>
            <a:off x="6987174" y="3084303"/>
            <a:ext cx="196375" cy="18331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29" name="Rectangle 1028">
            <a:extLst>
              <a:ext uri="{FF2B5EF4-FFF2-40B4-BE49-F238E27FC236}">
                <a16:creationId xmlns:a16="http://schemas.microsoft.com/office/drawing/2014/main" id="{E4FC0F9F-3819-D202-A264-64E31B0C00BA}"/>
              </a:ext>
            </a:extLst>
          </p:cNvPr>
          <p:cNvSpPr/>
          <p:nvPr/>
        </p:nvSpPr>
        <p:spPr>
          <a:xfrm>
            <a:off x="6987175" y="2319043"/>
            <a:ext cx="337152" cy="235188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C9F7D5A8-87B5-94FB-6679-A3A098DE396E}"/>
              </a:ext>
            </a:extLst>
          </p:cNvPr>
          <p:cNvSpPr txBox="1"/>
          <p:nvPr/>
        </p:nvSpPr>
        <p:spPr>
          <a:xfrm>
            <a:off x="6636486" y="1949173"/>
            <a:ext cx="110821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grpSp>
        <p:nvGrpSpPr>
          <p:cNvPr id="1031" name="Group 1030">
            <a:extLst>
              <a:ext uri="{FF2B5EF4-FFF2-40B4-BE49-F238E27FC236}">
                <a16:creationId xmlns:a16="http://schemas.microsoft.com/office/drawing/2014/main" id="{60DEB6E3-B2E0-EF29-99FE-D547904D1B8F}"/>
              </a:ext>
            </a:extLst>
          </p:cNvPr>
          <p:cNvGrpSpPr/>
          <p:nvPr/>
        </p:nvGrpSpPr>
        <p:grpSpPr>
          <a:xfrm rot="10800000">
            <a:off x="7340549" y="2178908"/>
            <a:ext cx="181590" cy="515458"/>
            <a:chOff x="1335024" y="1657350"/>
            <a:chExt cx="560832" cy="914400"/>
          </a:xfrm>
          <a:solidFill>
            <a:schemeClr val="accent2"/>
          </a:solidFill>
        </p:grpSpPr>
        <p:sp>
          <p:nvSpPr>
            <p:cNvPr id="1052" name="Rectangle 1051">
              <a:extLst>
                <a:ext uri="{FF2B5EF4-FFF2-40B4-BE49-F238E27FC236}">
                  <a16:creationId xmlns:a16="http://schemas.microsoft.com/office/drawing/2014/main" id="{125128EF-C77D-AD12-1461-4827AD960584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3" name="Rectangle 1052">
              <a:extLst>
                <a:ext uri="{FF2B5EF4-FFF2-40B4-BE49-F238E27FC236}">
                  <a16:creationId xmlns:a16="http://schemas.microsoft.com/office/drawing/2014/main" id="{2A295DB8-25DE-DFD1-24BF-855F1E1D437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4" name="Rectangle 1053">
              <a:extLst>
                <a:ext uri="{FF2B5EF4-FFF2-40B4-BE49-F238E27FC236}">
                  <a16:creationId xmlns:a16="http://schemas.microsoft.com/office/drawing/2014/main" id="{7BB87DBB-7BD4-F633-D3C2-429DB6C5250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grp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032" name="Group 1031">
            <a:extLst>
              <a:ext uri="{FF2B5EF4-FFF2-40B4-BE49-F238E27FC236}">
                <a16:creationId xmlns:a16="http://schemas.microsoft.com/office/drawing/2014/main" id="{7C7454CD-9E75-F8A6-C676-4F82C9EAF2E5}"/>
              </a:ext>
            </a:extLst>
          </p:cNvPr>
          <p:cNvGrpSpPr/>
          <p:nvPr/>
        </p:nvGrpSpPr>
        <p:grpSpPr>
          <a:xfrm>
            <a:off x="6772158" y="2178908"/>
            <a:ext cx="197722" cy="515458"/>
            <a:chOff x="1335024" y="1657350"/>
            <a:chExt cx="560832" cy="914400"/>
          </a:xfrm>
        </p:grpSpPr>
        <p:sp>
          <p:nvSpPr>
            <p:cNvPr id="1049" name="Rectangle 1048">
              <a:extLst>
                <a:ext uri="{FF2B5EF4-FFF2-40B4-BE49-F238E27FC236}">
                  <a16:creationId xmlns:a16="http://schemas.microsoft.com/office/drawing/2014/main" id="{4CCC48EE-B861-CE4C-EE68-EF4B33A98A0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0" name="Rectangle 1049">
              <a:extLst>
                <a:ext uri="{FF2B5EF4-FFF2-40B4-BE49-F238E27FC236}">
                  <a16:creationId xmlns:a16="http://schemas.microsoft.com/office/drawing/2014/main" id="{5A3BDA19-4445-6485-F0CD-4096564E6D11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51" name="Rectangle 1050">
              <a:extLst>
                <a:ext uri="{FF2B5EF4-FFF2-40B4-BE49-F238E27FC236}">
                  <a16:creationId xmlns:a16="http://schemas.microsoft.com/office/drawing/2014/main" id="{0F3BA894-2ED7-E5D0-34EB-DFE4C47DE4D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033" name="Right Arrow 40">
            <a:extLst>
              <a:ext uri="{FF2B5EF4-FFF2-40B4-BE49-F238E27FC236}">
                <a16:creationId xmlns:a16="http://schemas.microsoft.com/office/drawing/2014/main" id="{3BC9BD9C-B3D7-CD79-DF47-F898FA5FACFC}"/>
              </a:ext>
            </a:extLst>
          </p:cNvPr>
          <p:cNvSpPr/>
          <p:nvPr/>
        </p:nvSpPr>
        <p:spPr>
          <a:xfrm>
            <a:off x="7557447" y="2372040"/>
            <a:ext cx="109543" cy="12919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4" name="Right Arrow 40">
            <a:extLst>
              <a:ext uri="{FF2B5EF4-FFF2-40B4-BE49-F238E27FC236}">
                <a16:creationId xmlns:a16="http://schemas.microsoft.com/office/drawing/2014/main" id="{01668A3A-EDD9-84DB-D3CB-AE2764C55AE8}"/>
              </a:ext>
            </a:extLst>
          </p:cNvPr>
          <p:cNvSpPr/>
          <p:nvPr/>
        </p:nvSpPr>
        <p:spPr>
          <a:xfrm>
            <a:off x="6591223" y="2371481"/>
            <a:ext cx="109543" cy="12919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035" name="Picture 1034">
            <a:extLst>
              <a:ext uri="{FF2B5EF4-FFF2-40B4-BE49-F238E27FC236}">
                <a16:creationId xmlns:a16="http://schemas.microsoft.com/office/drawing/2014/main" id="{1920A5AF-3FB2-6309-83BE-CA28457F05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8167" y="2136149"/>
            <a:ext cx="538888" cy="559462"/>
          </a:xfrm>
          <a:prstGeom prst="rect">
            <a:avLst/>
          </a:prstGeom>
        </p:spPr>
      </p:pic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1CACB2E6-05A8-8D14-1731-EA46B786BEB5}"/>
              </a:ext>
            </a:extLst>
          </p:cNvPr>
          <p:cNvGrpSpPr/>
          <p:nvPr/>
        </p:nvGrpSpPr>
        <p:grpSpPr>
          <a:xfrm>
            <a:off x="8195763" y="3168949"/>
            <a:ext cx="243429" cy="553163"/>
            <a:chOff x="1335024" y="1657350"/>
            <a:chExt cx="560832" cy="914400"/>
          </a:xfrm>
        </p:grpSpPr>
        <p:sp>
          <p:nvSpPr>
            <p:cNvPr id="1046" name="Rectangle 1045">
              <a:extLst>
                <a:ext uri="{FF2B5EF4-FFF2-40B4-BE49-F238E27FC236}">
                  <a16:creationId xmlns:a16="http://schemas.microsoft.com/office/drawing/2014/main" id="{6A265B68-90A9-B85C-3755-6663C1040025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47" name="Rectangle 1046">
              <a:extLst>
                <a:ext uri="{FF2B5EF4-FFF2-40B4-BE49-F238E27FC236}">
                  <a16:creationId xmlns:a16="http://schemas.microsoft.com/office/drawing/2014/main" id="{2180FE82-4475-C08B-270D-1711B30B101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48" name="Rectangle 1047">
              <a:extLst>
                <a:ext uri="{FF2B5EF4-FFF2-40B4-BE49-F238E27FC236}">
                  <a16:creationId xmlns:a16="http://schemas.microsoft.com/office/drawing/2014/main" id="{62B8F2FD-260C-C65E-2E36-075C0EC14F49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037" name="TextBox 1036">
            <a:extLst>
              <a:ext uri="{FF2B5EF4-FFF2-40B4-BE49-F238E27FC236}">
                <a16:creationId xmlns:a16="http://schemas.microsoft.com/office/drawing/2014/main" id="{40711A11-7873-F5FF-64EB-73EDDD8E46E8}"/>
              </a:ext>
            </a:extLst>
          </p:cNvPr>
          <p:cNvSpPr txBox="1"/>
          <p:nvPr/>
        </p:nvSpPr>
        <p:spPr>
          <a:xfrm>
            <a:off x="7838821" y="2932380"/>
            <a:ext cx="13786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42F07264-472A-D702-7A35-6533D1F5FFAB}"/>
              </a:ext>
            </a:extLst>
          </p:cNvPr>
          <p:cNvSpPr txBox="1"/>
          <p:nvPr/>
        </p:nvSpPr>
        <p:spPr>
          <a:xfrm>
            <a:off x="8601935" y="3258636"/>
            <a:ext cx="71343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al Image?</a:t>
            </a:r>
          </a:p>
        </p:txBody>
      </p:sp>
      <p:sp>
        <p:nvSpPr>
          <p:cNvPr id="1039" name="Right Arrow 40">
            <a:extLst>
              <a:ext uri="{FF2B5EF4-FFF2-40B4-BE49-F238E27FC236}">
                <a16:creationId xmlns:a16="http://schemas.microsoft.com/office/drawing/2014/main" id="{31315F3B-F506-038D-E3EB-35A2D5D5AADF}"/>
              </a:ext>
            </a:extLst>
          </p:cNvPr>
          <p:cNvSpPr/>
          <p:nvPr/>
        </p:nvSpPr>
        <p:spPr>
          <a:xfrm>
            <a:off x="8471246" y="3353812"/>
            <a:ext cx="113764" cy="18934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40" name="Straight Connector 1039">
            <a:extLst>
              <a:ext uri="{FF2B5EF4-FFF2-40B4-BE49-F238E27FC236}">
                <a16:creationId xmlns:a16="http://schemas.microsoft.com/office/drawing/2014/main" id="{72231979-9754-0CE1-BBDE-D83E4352CFB9}"/>
              </a:ext>
            </a:extLst>
          </p:cNvPr>
          <p:cNvCxnSpPr>
            <a:cxnSpLocks/>
          </p:cNvCxnSpPr>
          <p:nvPr/>
        </p:nvCxnSpPr>
        <p:spPr>
          <a:xfrm>
            <a:off x="4792356" y="2715809"/>
            <a:ext cx="0" cy="103654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Elbow Connector 4114">
            <a:extLst>
              <a:ext uri="{FF2B5EF4-FFF2-40B4-BE49-F238E27FC236}">
                <a16:creationId xmlns:a16="http://schemas.microsoft.com/office/drawing/2014/main" id="{D3F434AC-82A7-054C-EE91-2F7C8F91B682}"/>
              </a:ext>
            </a:extLst>
          </p:cNvPr>
          <p:cNvCxnSpPr>
            <a:cxnSpLocks/>
          </p:cNvCxnSpPr>
          <p:nvPr/>
        </p:nvCxnSpPr>
        <p:spPr>
          <a:xfrm flipV="1">
            <a:off x="4792356" y="3575870"/>
            <a:ext cx="3403408" cy="176482"/>
          </a:xfrm>
          <a:prstGeom prst="bentConnector3">
            <a:avLst>
              <a:gd name="adj1" fmla="val 9134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2" name="Elbow Connector 4124">
            <a:extLst>
              <a:ext uri="{FF2B5EF4-FFF2-40B4-BE49-F238E27FC236}">
                <a16:creationId xmlns:a16="http://schemas.microsoft.com/office/drawing/2014/main" id="{D5AE2858-BB2F-0FEB-79F6-2BF030C8164F}"/>
              </a:ext>
            </a:extLst>
          </p:cNvPr>
          <p:cNvCxnSpPr>
            <a:cxnSpLocks/>
            <a:stCxn id="1035" idx="2"/>
          </p:cNvCxnSpPr>
          <p:nvPr/>
        </p:nvCxnSpPr>
        <p:spPr>
          <a:xfrm rot="16200000" flipH="1">
            <a:off x="7796898" y="2906324"/>
            <a:ext cx="596938" cy="175512"/>
          </a:xfrm>
          <a:prstGeom prst="bentConnector3">
            <a:avLst>
              <a:gd name="adj1" fmla="val 10106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Elbow Connector 4124">
            <a:extLst>
              <a:ext uri="{FF2B5EF4-FFF2-40B4-BE49-F238E27FC236}">
                <a16:creationId xmlns:a16="http://schemas.microsoft.com/office/drawing/2014/main" id="{C5D4418C-5BFE-A556-4671-15B7F8A66801}"/>
              </a:ext>
            </a:extLst>
          </p:cNvPr>
          <p:cNvCxnSpPr>
            <a:cxnSpLocks/>
            <a:endCxn id="1061" idx="1"/>
          </p:cNvCxnSpPr>
          <p:nvPr/>
        </p:nvCxnSpPr>
        <p:spPr>
          <a:xfrm rot="16200000" flipH="1">
            <a:off x="6289847" y="2748152"/>
            <a:ext cx="465860" cy="377830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Elbow Connector 4124">
            <a:extLst>
              <a:ext uri="{FF2B5EF4-FFF2-40B4-BE49-F238E27FC236}">
                <a16:creationId xmlns:a16="http://schemas.microsoft.com/office/drawing/2014/main" id="{FBE9B8AA-1B6E-7D93-E40E-5E98791E566E}"/>
              </a:ext>
            </a:extLst>
          </p:cNvPr>
          <p:cNvCxnSpPr>
            <a:cxnSpLocks/>
          </p:cNvCxnSpPr>
          <p:nvPr/>
        </p:nvCxnSpPr>
        <p:spPr>
          <a:xfrm>
            <a:off x="6198173" y="3267619"/>
            <a:ext cx="506780" cy="16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4" name="Picture 107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BFF1AE3E-0132-6837-6322-6000073290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783" y="3032546"/>
            <a:ext cx="480487" cy="480487"/>
          </a:xfrm>
          <a:prstGeom prst="rect">
            <a:avLst/>
          </a:prstGeom>
        </p:spPr>
      </p:pic>
      <p:pic>
        <p:nvPicPr>
          <p:cNvPr id="1075" name="Picture 1074">
            <a:extLst>
              <a:ext uri="{FF2B5EF4-FFF2-40B4-BE49-F238E27FC236}">
                <a16:creationId xmlns:a16="http://schemas.microsoft.com/office/drawing/2014/main" id="{CEC2F367-D6F7-E88A-2280-3E205448FB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0736" y="2193732"/>
            <a:ext cx="494284" cy="49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520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D8F9C-2DB2-7DA8-A55E-2DD14EFD99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4FCD5-96D5-8CC6-E792-4B37C74E18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0A9412-B9D0-F2D5-9B67-74650DB9B9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4389E3B-F9EE-CF01-5DAF-42AB36E3A75C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4F2B88-7E47-69B7-0FE3-FB3C05507F0C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12E4CD2-B7E5-238D-94A6-7AD3E7E7063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533A2B0-2729-0111-F244-D5BB4BF287B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A7ADD205-CE43-F553-4216-4E25D300668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B443689C-0E88-4B0E-0EA7-18F7F970B273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395C8B-688D-48F9-9385-22102033555C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7FC2C6D4-6986-D004-F033-0BE4B3DB362F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89AAED1E-AC65-E03E-B4C8-7E404070A63A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17E5B890-B26C-6A32-196A-66E3BB19EFF8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15350EB-A2D7-BC26-0040-8E5E5FEC9C2F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AE23F57-96E1-D934-3769-66E4CAEC88C6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2F7C9A0-841B-F93A-41A2-B8E23ADF9DF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FE7FBB0-CA86-1E10-7F9D-34ACE2111DA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0EB853B4-4E09-BF44-61AE-33276BB25486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E0D24595-C114-5D81-93DB-DFADF5B37BF1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F01F47-79D1-297A-7B69-7DC011A2225E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96822C8B-4D77-81EB-54BD-5A8BD007FF20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8A534183-8B0A-1F68-08A9-526DEB4C2F18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86786707-ED77-CBBE-A739-499847226DFF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DAD8715-765C-9C00-CB9F-5E94D1741DDE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887CA46-EF00-C361-F76E-89A0143CF648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25A2EA6-2110-AE5B-116E-80947C1AB9D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55DD240-91BC-706B-CB37-7F71448F3B7E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4AFEB13B-FDB8-1D12-7689-BB93888A613B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5D230D2-0727-D3D0-401C-CF15574CA6EC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B009DFE-6FD0-07A7-D52A-C8AC20CCE4B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C1ED8F-8405-9739-06D1-1DEEFBF9012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3CCFC15-8433-F405-A5BA-965197D6860C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6B89A34A-0A47-29A8-752A-55CC6BC9A358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D438AFE0-B2DF-361D-854A-F58892555626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4940CA15-73A5-1D9E-BDA8-641010B8B3CD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BAF7835-534D-4E93-1D25-E91C606D5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5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2136952-5B96-7AB1-09B9-7209013BF3CB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41C2DD4-95A9-BC76-F887-797FA8D49CF7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0914395-3C0D-42BB-A2E7-ADC520931CB2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C2E75FF-3D64-5E4B-9B83-0E7FA1AA76B3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3691C68-2DEC-910C-08EC-8BAD257FA479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C4D05C6-F1EE-609E-910A-4E4968B4B510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7C12C34-E646-BD7A-1405-12928F564035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5D737ED-E0A4-D3F5-33B3-807F8CC398F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5CC7C54E-760E-1A5B-1465-C2BC50B647D9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60105BA7-E1E8-23F6-DC3E-42B9312E9F99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7C07FB99-5B04-F860-F348-0A8C1F3E776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799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C261C-DF98-300E-D48B-AEDEB55B1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4FE2D1-673C-FD48-8290-EA33C5CA3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1899BF-E80C-540E-4E5C-DEA176856E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3298ED9-C3F8-B04C-32C2-E0AA4480466F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3950B1F-0AC7-7973-7364-A8DD9A56612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729749A-28A2-5627-EDA3-747204EA82CC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ABF3F0-0517-C811-13F9-F77E1B12FF8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878FC576-6C5A-CA27-47AC-EFCE37E9766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BD958B00-EC53-9D11-56A8-E96154F12B72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3476CDB-6331-9F8F-F661-AEE4E01D6D11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91862BB4-A9BF-B7C9-5166-CF2A295057E1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E54234E3-EEDF-25D9-6D15-9423A29557DC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9BBAF796-5B7D-9DCA-AE9F-107DF0D08A6E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7746C0E-24D0-61CE-C8A0-57C2255CA198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BA86935-F422-A223-A165-90F523B64BF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96353EA-7BEF-17A3-BBDF-7F6C52C29A47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F7CAFF-248F-66AB-1209-0854A16F687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90BB56CC-B8CF-2B32-0D92-8E0767E9A27B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E1323BF5-F74E-916A-054D-247A362691F7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DFD68BE-5B29-36D0-D415-B03AEBEFFA1A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6451B599-2A5C-8689-E810-E9C8A0831BA6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B649F456-CE03-7497-8611-13A215428BF9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41E96647-0A76-FBBE-B326-22526CF343E2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60CD4C7-DA40-48A0-AFB5-BD7AC4D0007E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F0C42CE-21EB-E217-E16B-14072D9A185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917ACF2-F0A2-EFFE-86FC-0824EA0F42D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DB3E407-1CCA-9AEC-1ADF-74AEB5E9210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D65E99D0-0E11-DA59-A5D0-1D3EF3BF4A5E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AD08DA-CD95-576B-9153-EA07A7A7544A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70E81B9-2285-4CC4-ABE0-7EDC30D403A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0AF2526-5899-0C06-9CDD-FA9E6ED5068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AB199C7-AB9A-E3A3-E7A0-B6C833C986A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FE4A2AAA-B161-04BD-4BF8-8395A5240DF2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0F70ABC9-9EB4-FE7F-1D4E-84FC24BD992E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107A9183-9517-5A3F-1B99-34827C32EE94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21AF61D4-3987-F561-1DCE-9E23F1175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5921" y="1944263"/>
            <a:ext cx="659646" cy="65461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A756C2B-6D34-61CC-7BD0-2426DA0C90A1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841E96-46F0-C1A9-F98B-2063F1EDB55E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908A6FE-55F5-3A5A-B47C-8D6B4500A5FB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7BCB0A9-C5C3-8EE1-6D8C-3AF297D3E34C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6A743F5-B550-71B3-C770-0112EFCA893C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760D8C8-123C-D29D-D816-A66405D63360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D257405-CF0F-57D7-839C-341038FD1C0D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59C000-96F6-410F-73B5-216DC802D8FA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C61EDB73-5270-8CD5-24D2-EC28331B878E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3D8674F0-B395-4B55-C74D-7F33BE699587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F419ECC7-896B-0B25-A5D2-0A0753831C84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141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FA68B-8ABB-4D74-12A9-3F4279A89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267FAA-3F49-FF20-40F0-534BB105A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D1D06C-0DF2-213A-DBF2-D72DE0BA5B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662E7EC-F47E-9D67-E5BA-59328D0BDE0B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451D58E-BDA8-B48C-D922-C7C9A6049CA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88E0D1E-CBDA-6E89-8521-B84E516A3F3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C26F86-059A-2100-C0F4-DBDC4261BC3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DE504FC8-1727-5085-B27C-E1E437C4693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4A65F1BB-CF3B-F59D-FF76-B10F2A87C205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9FC3A82-4B66-C7A8-B8DC-75DFA6F21549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49D3A493-A78F-7FDC-2640-1F63DC0E2E5B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4D9BD788-4E5B-52B9-87CD-702D18219EDE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CF23E38A-7DAB-CA7B-0BB0-EF0935D3383A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2917E74-F5D7-B3DD-5908-12304C5B9497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E0FDDB7-5A16-E388-4B21-FA5E0598529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03CEE8C-EBF4-FD2A-F571-D39A5AA0C9C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9B95981-1EDA-9393-9CAF-8FEDDF795612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2FCC7DD5-7E46-1671-3901-FFAD57EB94FA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2FFE6822-CD4E-E176-C99A-7E4DED5D445F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E011BCC-C20A-5275-9771-79CCF45CA913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838E3AED-CCE6-BF40-1615-F61F48F4E673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8AC7F77A-7B37-ACB4-34B1-388F7C94FBD9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303335B5-C4F4-6B45-0A6C-31D3BC7C0571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FF20D1D-D4FA-EE0D-859C-2DE99467C29E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F0920CD-4F10-A0C0-48DC-BE72A12A8F6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7E1F63A-16B6-930A-E951-7DEBFAC0D68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B444312-05BA-B926-EAAA-CCCF8F6DBD4F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DC9B3B1B-C834-2378-4A2A-D3EED3669731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40B3648-EF56-0169-78AD-AEAA747DA9B6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CFE6403-DAA2-48ED-A6FF-9DE21621CB9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BDCBCA7-9D05-0DF3-5022-5F62CF04355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A21AF59-DC5F-AC1E-6954-C717F030E80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56851B9-A637-910D-62DF-49B701B4CA66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E506021B-DCD6-81F3-54FF-81795F5E08E0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8AA4BEA8-DA74-EF01-4D74-26AB1D838EB9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C5F0D59-EF27-49E0-9E63-84A1863E1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3629" y="1826447"/>
            <a:ext cx="836228" cy="82984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B03BF8E-1059-AC9A-B862-B960E219935C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4942B98-F29A-BC02-0966-F752A40DA845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1E62630-1C2A-AA8F-2053-116DB2734621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4A1F0C4-9ACC-5398-4CE3-3C5E81749E5C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E9A1B2-A510-42A1-5430-58C0D6106C63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F975E36-A60A-A521-4DCE-EB7F424A5596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A798D9E-079C-B7F0-3663-6CDA1CD041C9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5F979E6-D0E8-1CDD-39F6-05F893DEDFF4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1EDF0768-C268-A412-E30A-76F8A401AE2C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8F9D138B-AB18-138C-3CCC-F37B8F912674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20F91828-4CC8-7F4E-4787-DA3D0ED6C4A4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EDF6CE5-713B-7433-585C-B16CF8F47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92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CCC057-F36F-7DCB-965F-5F270276F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28F4B0-DCEC-5BA6-BD29-B38854FDF7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What Is </a:t>
            </a:r>
            <a:r>
              <a:rPr lang="en-US" dirty="0">
                <a:solidFill>
                  <a:schemeClr val="accent2"/>
                </a:solidFill>
              </a:rPr>
              <a:t>our team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34DBECB-7C19-D54B-0FA9-CD0DFD0328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ea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F4AF048-9902-AE93-C94F-040A580A4A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“WE ARE SOMETHING OF A PAINTER OURSELVES“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CAF566-89C8-E547-28C4-E410C6B9A294}"/>
              </a:ext>
            </a:extLst>
          </p:cNvPr>
          <p:cNvSpPr/>
          <p:nvPr/>
        </p:nvSpPr>
        <p:spPr>
          <a:xfrm>
            <a:off x="1221292" y="3068197"/>
            <a:ext cx="1559821" cy="178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aniel</a:t>
            </a:r>
            <a:b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r>
              <a:rPr lang="de-DE" sz="15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rissler</a:t>
            </a:r>
            <a:endParaRPr lang="de-DE" sz="15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algn="ctr">
              <a:spcAft>
                <a:spcPts val="750"/>
              </a:spcAft>
            </a:pP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.Sc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Physic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1431B67-2B95-4A9B-10A6-5532ABD0FD57}"/>
              </a:ext>
            </a:extLst>
          </p:cNvPr>
          <p:cNvSpPr>
            <a:spLocks noChangeAspect="1"/>
          </p:cNvSpPr>
          <p:nvPr/>
        </p:nvSpPr>
        <p:spPr>
          <a:xfrm>
            <a:off x="1299203" y="1577764"/>
            <a:ext cx="1404000" cy="14040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2356CA-7293-4B53-8771-8C7BCF4EBC7D}"/>
              </a:ext>
            </a:extLst>
          </p:cNvPr>
          <p:cNvSpPr/>
          <p:nvPr/>
        </p:nvSpPr>
        <p:spPr>
          <a:xfrm>
            <a:off x="3868635" y="3068197"/>
            <a:ext cx="1404000" cy="178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ristoffer </a:t>
            </a:r>
            <a:r>
              <a:rPr lang="de-DE" sz="15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revik</a:t>
            </a:r>
            <a:endParaRPr lang="de-DE" sz="15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spcAft>
                <a:spcPts val="750"/>
              </a:spcAft>
            </a:pP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.Sc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Computer Science</a:t>
            </a:r>
          </a:p>
          <a:p>
            <a:pPr algn="ctr">
              <a:spcAft>
                <a:spcPts val="750"/>
              </a:spcAft>
            </a:pP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DBCE7C-95DD-97E4-A5D6-76578202EA61}"/>
              </a:ext>
            </a:extLst>
          </p:cNvPr>
          <p:cNvSpPr/>
          <p:nvPr/>
        </p:nvSpPr>
        <p:spPr>
          <a:xfrm>
            <a:off x="6438067" y="3068197"/>
            <a:ext cx="1404000" cy="178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spcAft>
                <a:spcPts val="750"/>
              </a:spcAft>
            </a:pPr>
            <a: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kob    Stock</a:t>
            </a:r>
          </a:p>
          <a:p>
            <a:pPr algn="ctr">
              <a:spcAft>
                <a:spcPts val="750"/>
              </a:spcAft>
            </a:pP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.Sc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Computer Science</a:t>
            </a:r>
          </a:p>
          <a:p>
            <a:pPr algn="ctr">
              <a:spcAft>
                <a:spcPts val="750"/>
              </a:spcAft>
            </a:pP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11" name="Grafik 2">
            <a:extLst>
              <a:ext uri="{FF2B5EF4-FFF2-40B4-BE49-F238E27FC236}">
                <a16:creationId xmlns:a16="http://schemas.microsoft.com/office/drawing/2014/main" id="{E88E71D3-6090-6FEF-E3C6-9B1F8430CF8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" b="66"/>
          <a:stretch/>
        </p:blipFill>
        <p:spPr>
          <a:xfrm>
            <a:off x="6433972" y="1577764"/>
            <a:ext cx="1409460" cy="1407600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38100">
            <a:solidFill>
              <a:schemeClr val="accent2"/>
            </a:solidFill>
          </a:ln>
        </p:spPr>
      </p:pic>
      <p:pic>
        <p:nvPicPr>
          <p:cNvPr id="12" name="Grafik 2">
            <a:extLst>
              <a:ext uri="{FF2B5EF4-FFF2-40B4-BE49-F238E27FC236}">
                <a16:creationId xmlns:a16="http://schemas.microsoft.com/office/drawing/2014/main" id="{3FB32A41-FEF8-BF81-9DF4-BDC24422B6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" b="119"/>
          <a:stretch/>
        </p:blipFill>
        <p:spPr>
          <a:xfrm rot="2874871">
            <a:off x="3840661" y="1577764"/>
            <a:ext cx="1409460" cy="1407600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38100">
            <a:solidFill>
              <a:schemeClr val="accent2"/>
            </a:solidFill>
          </a:ln>
        </p:spPr>
      </p:pic>
      <p:pic>
        <p:nvPicPr>
          <p:cNvPr id="52" name="Graphic 51" descr="Moustache with solid fill">
            <a:extLst>
              <a:ext uri="{FF2B5EF4-FFF2-40B4-BE49-F238E27FC236}">
                <a16:creationId xmlns:a16="http://schemas.microsoft.com/office/drawing/2014/main" id="{5E5DB02A-94DE-D724-0F40-349FB97A1A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05072" y="1914124"/>
            <a:ext cx="914400" cy="914400"/>
          </a:xfrm>
          <a:prstGeom prst="rect">
            <a:avLst/>
          </a:prstGeom>
        </p:spPr>
      </p:pic>
      <p:pic>
        <p:nvPicPr>
          <p:cNvPr id="2" name="Graphic 1" descr="Moustache with solid fill">
            <a:extLst>
              <a:ext uri="{FF2B5EF4-FFF2-40B4-BE49-F238E27FC236}">
                <a16:creationId xmlns:a16="http://schemas.microsoft.com/office/drawing/2014/main" id="{30BE9A95-0ABB-9AF0-0F50-8DC440F111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84425" y="2220813"/>
            <a:ext cx="646573" cy="646573"/>
          </a:xfrm>
          <a:prstGeom prst="rect">
            <a:avLst/>
          </a:prstGeom>
        </p:spPr>
      </p:pic>
      <p:pic>
        <p:nvPicPr>
          <p:cNvPr id="8" name="Graphic 7" descr="Moustache with solid fill">
            <a:extLst>
              <a:ext uri="{FF2B5EF4-FFF2-40B4-BE49-F238E27FC236}">
                <a16:creationId xmlns:a16="http://schemas.microsoft.com/office/drawing/2014/main" id="{20920CC4-E091-C49C-1D8A-6B4DE8711F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1743" y="1824376"/>
            <a:ext cx="558309" cy="558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0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9560C-CD9D-9025-C1FB-AD407B0D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549B9-018B-7CDC-71C0-8682958450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25D6E8-5D41-E209-0523-A18F311DC0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CB59983-992D-01AC-7474-66B7168447B7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43E220-6558-7D3C-59A9-327D1DAE36CF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9F4184E-7AE9-A5C9-04B0-8761EE5B119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2D8A4DD-D51D-B56C-55EE-B5CDCA5F2C6C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783D3F4E-A787-814E-BB1B-065C6A55FC0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15FEA8AD-DB7A-AE2D-78B8-C3E1EE67351D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67D1BB-7A40-171E-1E03-5EF11422B667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CB4775C6-34E8-5296-D7A0-854824B7055A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27B9A9BF-C777-D83D-B666-B5538F98641C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7CFCED8E-6CBD-A0FA-74DF-CB1284C8B979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35EECC-5BAB-1424-2ABF-E50793500672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DF7CEAA-D192-33BD-3289-EF0AE4755714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120BEDB-3EEE-0BE8-5176-52B114B49FA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BFAC3EA-2A7A-30EF-176B-615923CCCAB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7C523DBC-01DD-4661-4A78-9A3B027667F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5BDF9359-5C78-6223-9B59-97705AAEA240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E433B9-55D3-1D06-DE57-913ED73F40DC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7F340C2E-3328-AAF3-D37E-FF0C2B1314D9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798CC373-A4BB-A5E2-5C15-F0219112409D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1B6A633A-CB56-261D-43E1-D5E337653843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9473B8C-1227-E256-D19A-50687E034C27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6C8E0AE-249B-21D2-9F4B-573C1F921852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39E28B2-D7F6-6BBF-D57A-290C4C723232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E20EFB2-20E3-D6CD-5DB0-7E4CF2CF339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F19184A1-A6DD-5C81-1133-2584C54E2EB7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ACF0E40-B385-832B-0611-CAFD2C3CBE7A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184BF63-D9CE-36D4-57BF-95A2EB5E11D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3FCE940-C5A2-A347-A270-A7BD3177C26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5C66174-4CA3-0C8F-2122-9743B6DF96E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D5606F7F-F2F8-0145-FF58-536C30F313C9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C7564E11-F3C3-C852-B25A-4CFE83878595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C9FE43A4-E49F-A65F-D6C0-562F67BA8B99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6B3C09E-47E8-B36F-4CD7-9B1904B0E9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3629" y="1826447"/>
            <a:ext cx="836228" cy="82984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B74B194-98A4-382A-8AF9-FD9F82CAB970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1F5729C-450E-E5CE-3827-214C33249A26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BE94826-CE1B-0477-2903-84A8A9F53C9C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00DBCF-EDCA-C9B4-DD94-E9A87FED4902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CEBE2A6-380F-46E1-26D2-F4E3DE6A21AD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BA33EA3-3BFD-2C3E-E7C9-2B275A47C114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76E642D-A344-7678-6EC6-03E50498E95D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7E1E0DE-0CBB-19E9-1AB8-B1D08BBD47A3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BFC894A1-6331-2274-1D30-0A90BD27AEAD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171AB4AC-772A-7554-7DA0-4616CC9C8ED5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8667DFBB-812A-A71D-C460-3758ADFECC8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981B658-498A-151F-48BC-DA3EF86475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  <p:pic>
        <p:nvPicPr>
          <p:cNvPr id="10" name="Picture 9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0EF2A636-D7DA-4B51-FA74-F8A950AA0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8056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928608-155D-9150-D053-D0BAAE28D2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67ABD8-1938-120D-AF3B-16105527CA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4AFB32-A278-EFDA-18F5-970DC8E6BC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DFBA3B-79A3-98DF-C387-49889555F18A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775F9DB-AAE3-DD24-B85E-62EA7B26EAD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B2F2E72-376F-A871-ACC6-BF342868E7C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FAF3EBC-989D-1D59-1000-EC20FCB86140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022EA83A-8D49-97E5-C12B-C62E721F642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C1611C19-BC80-D60E-186F-C944F5DBB5E2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14BE14-D06D-44E4-1F3D-96B19BFD3F60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D311E6AD-F2E8-4A66-5E34-29CC0A48F912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593AD700-749F-B1EE-92DA-1529F63619C7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9ED1828B-4E89-9A49-D674-902F2F41B67D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67C927F-0917-DF82-6718-5052C82EBD05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960D794-42E5-B5FC-8AD9-FB49B12EEB6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CAD8F2-8692-833C-E5C0-6BFFF98325A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269B771-CDAB-2045-16AC-BD44B6092EDF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9F16EF23-7E96-DD8C-1157-7C742F25791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D650EB46-76E7-1D4C-89C6-AC38CFF7F3AC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1CFC0C-C888-216D-F6F3-2037D780EDFF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2AACD253-37E8-6A0E-7C45-EC9FA75EF7BC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6D70F79A-AF3E-0050-9742-A8AA90F8573C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F2B6DA77-0CF5-927F-26E1-24CB6FE71FA1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F1642EC-DB28-CB8E-3D78-D8754E68A0A9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0498C4C-FDF0-F625-1E9D-DF21E0711747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ECBFB14-D939-C499-8397-9FB531C6B04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E134421-8E66-8DDE-8591-8DAFA3A269F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F27BA7D5-2A64-93B0-3D00-84B5D52467F7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D9453E3-2551-F9B0-62B8-D91BA7860172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B3C2776-9D4C-A8C6-1D19-D8DE75D42CEF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39B43E7-DA0D-56C9-50E0-AB61AF88421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789BE7F-64AC-5104-6841-431BE7F45A96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FFDE07D-ED40-4DA6-0406-A63ACC09191C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3ECDD901-5491-3285-F5FE-FFB30B378EAC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576743AD-0F1F-D6E8-7EB0-191E4F98782E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B92CFE6-3A8D-DD62-2367-D58954529938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38479B-F3C6-0315-9B61-EDAEC8FA92BB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A62A9B9-2744-C389-DCFD-5728C6A52F38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6FC3172-ECD3-2B64-9033-4AC8AC8E5292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30859D6-0CB9-8752-D64D-24FB2E418B8C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6FA23F-E244-CE5E-16D3-00BACB58A2AF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34C0E2B-7BB5-E586-3B7F-FD3501DC0FF0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ECB1577-0DC5-99B1-E53D-B670BF8F926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40655009-9491-9FC1-D57B-F9379A1F6530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93E0A78B-EBE5-C319-2936-B7C0FE794BDB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FAB08604-6B5F-55C9-58D1-50F7741F66A2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CFA4C07-B5CA-843C-3C76-4FE30A058F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4478" y="1962473"/>
            <a:ext cx="654021" cy="649067"/>
          </a:xfrm>
          <a:prstGeom prst="rect">
            <a:avLst/>
          </a:prstGeom>
        </p:spPr>
      </p:pic>
      <p:pic>
        <p:nvPicPr>
          <p:cNvPr id="6" name="Picture 5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5EF40F71-8CCA-824C-02F4-F9C400A15F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334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C6F370-EDBC-640C-4120-2F146F06C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CA2EEA-DE14-134C-06B8-C085D1B13A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452A6E-5A87-28D7-198E-1CE296F0E5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506E6F6-E98D-8449-0C94-90E50AC52744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70C664C-605B-5096-06D4-6C4A2CF3675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04C559A-9757-6151-5755-96FF0C80918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F746A69-F9D4-F04E-DEB2-067011D2441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C8DA75B0-42BB-6DAB-DA41-8A771640B09C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5ADEAC08-6379-5B86-9ED7-E3812062E79B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494F1A-1C0E-435F-E097-FE84FCA6F4AE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83D7973F-21CA-9094-2A25-482D366BF8D0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540FF2E2-3818-C837-9DEF-C8E505F542DE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042EB1A2-4A82-E9F2-3F85-30F7EB3A56D6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7F0C97D-310F-DA89-334B-117158300A3A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BB80957-0C61-F5BD-6BE2-F965B123E02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4A91DAA-3061-72E8-839E-D21E0834710E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BD1F794-B90A-7982-06A1-5533BD3CCED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6686DFAC-E048-2342-15DE-222B8C90A350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03207851-F27D-24B3-EFE5-04F29AB251E8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69F8FA-794C-0B9C-A261-22DD8E29C17C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EF0C7244-93DD-15CE-EE8B-3D3F7921CCEB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11172662-5E04-7882-17B5-F234865267D0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9E6A881F-3262-2C5F-52E9-2B7225872985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B0A1B95-AA2A-D37F-2E59-4DBCEC6D33D5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1EC4218-EA1D-07DF-43D6-1745CD779F7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4BA422C-9222-9A61-E098-080CD7E1C07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4915BC5-49B8-43B6-33A0-B5A935B61ED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060CFE46-FE7D-5E8E-24FD-AABA9F808E13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B5D50A0-2DD8-AAB6-21EF-3D69C7C55EDD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1C5B357-F358-13A1-F546-D2D0831831E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49AA8B3-5357-05BB-A4C3-AD8445F350C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2919D4E-869A-A1A5-5E69-F18F383CCC3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5D27E47-AB99-210A-A8FC-BB919A171EC3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BD86C72B-A4A8-8345-E5CE-F91DDFA05A47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3D4AE8CC-49CC-4434-9487-80EAAB016927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6DE28FD-9725-5FDC-2366-785FA523ED14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872A302-06A9-7252-5A0E-EADB5143376E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D378223-575A-4C50-5D4C-9D6BB2B5D4E5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3616C6D-0A0C-A467-3955-D6A40753E2B3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4A8C1E6-D9F0-BA8B-9963-4A385F902F14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03B3FB1-6DA9-4F47-53A6-E0B6C4954627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11C7656-F177-6A5A-99D7-3A8A22A924BE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D26382-5F61-47D2-7DD2-4E4251B512E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9880CC0D-1D09-5C67-5CA5-1B6185F6EB4A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C22FA64C-4A6D-0E09-B8D2-B1E65FCC4B6D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75257A7F-20D7-0C7A-9FB1-6CE459B11951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0FFBC1F-04B4-C163-DB8E-51D95C30AA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7791" y="1866641"/>
            <a:ext cx="801977" cy="7959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4F57AC6-05DC-7B98-EDFF-56EA77362E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507" y="1812316"/>
            <a:ext cx="867766" cy="861141"/>
          </a:xfrm>
          <a:prstGeom prst="rect">
            <a:avLst/>
          </a:prstGeom>
        </p:spPr>
      </p:pic>
      <p:pic>
        <p:nvPicPr>
          <p:cNvPr id="11" name="Picture 10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8C0364E1-DC4A-4018-1080-B4DC32A855B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620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BA689F-75FE-9EE5-CDF6-9AC0D2CA54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8C04C2-22D9-A59F-2D5F-1F92CD76B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yclega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D6A4DF-416C-587E-71C4-A6F51E360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-GB" dirty="0" err="1"/>
              <a:t>CycleGAN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0EF9643-85D4-8001-ED0A-72D412CC0D48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0B69F3-A19E-D8B6-9930-4FE74809C63C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70BF8C5-185E-2113-B305-2AAA9CF7042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D2D7DBF-8022-642F-236C-4A84202C90B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4243E3FC-D4E1-D6FF-3893-04AC8531BBD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1EA8C9B0-F3DA-69F5-DDA3-DE7067ACD326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B70E910-5E2B-D320-ACD9-B9F3767C620B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25108CF3-8ED4-D77F-FE83-C289C93FBA48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11185D0B-0F89-2D83-1C9B-88375586593B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8375E468-D259-E367-A979-A6814F131F2A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2DA81BC-5AC3-5C21-F989-29D16BC8E79F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EC88475-4A90-E2E0-9CF2-1E5AC75ADDE5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B64B8DE-E604-5E42-56CA-7A7181F1C835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EE6C519-DCDB-1BCF-DA24-C2B13900613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B8FBC761-2C56-3492-6E30-DAA56383300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8F05B6FB-EC9D-287D-B50B-34B09605D0BE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F0062-CA0B-197F-ED64-83639CAFC5D5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6125C4D0-0923-1F4E-688D-ED0DF44295D8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E066600B-7A18-4BE9-8F91-4B19469EE246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E468F0A0-7E20-1AF6-156A-1F92454E6135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4579C5C-3332-7FDE-9A04-E3CF8CC82EEA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2B7C701-D8BA-9066-4947-41A9F30B610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4171943-4206-D10A-9995-3E1F0AFDB3C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F1D1A92-C593-E2EE-FD60-FE8D4E029CA0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6063356E-4435-0101-7C56-E0D76D5041B7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0432D6C-BB98-1CE1-E293-39D0C4117E7D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833A1CC-BF15-157C-28FA-303103566B6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BBADD13-8BD7-C836-0F4A-5F32F3F3F58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6DC11E8-43F4-5F10-EEB9-89A57A9B84F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17F2A935-203B-E05E-C0E9-14C50185F6AA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121D2342-3F35-41F0-A5F0-1B48EC7FC8AD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9B2EE69F-D5BE-65F9-32BE-9FBAB94C544C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033867-41F5-01F6-AB89-CFF0D2843A5F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5A818E7-48C2-8A3F-6CB0-B25C3B6CEAE1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DCFF375-1560-9348-88DF-EA1DBEF1C1A9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506FD6-BEC5-715B-9834-DDDFF1BF1DBE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0EB9B91-EDE2-A21C-6085-C462ECD60DD6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1E7BF23-55F5-9175-5CA7-D73EF6D6CFCF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0E091AA-F009-09A5-5730-C37A44F582F2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76AD137-9391-E449-9BB8-3384E6D51DBE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75C14D52-28FA-3A51-8D0B-A0FECE81573E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3585EBAD-6647-0DD3-FC4F-F264A4921140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97E444EF-6E6A-0ECE-ACB3-9688A401489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A687181-0836-8DBB-44A2-457EBA1A36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7791" y="1866641"/>
            <a:ext cx="801977" cy="7959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F241CB-7974-F9B4-D76B-C56D27B05F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507" y="1812316"/>
            <a:ext cx="867766" cy="861141"/>
          </a:xfrm>
          <a:prstGeom prst="rect">
            <a:avLst/>
          </a:prstGeom>
        </p:spPr>
      </p:pic>
      <p:pic>
        <p:nvPicPr>
          <p:cNvPr id="12" name="Picture 11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C3345988-7D15-4ADF-E220-979AD81CD6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  <p:pic>
        <p:nvPicPr>
          <p:cNvPr id="15" name="Picture 14" descr="A field with trees and mountains in the background&#10;&#10;Description automatically generated">
            <a:extLst>
              <a:ext uri="{FF2B5EF4-FFF2-40B4-BE49-F238E27FC236}">
                <a16:creationId xmlns:a16="http://schemas.microsoft.com/office/drawing/2014/main" id="{52684A19-DC5C-8090-FA5E-5F49EC5153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71" y="1845583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3833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505BF-1A29-32CB-A42C-DCFFC28E79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077DA2-E9DF-EBA6-41DC-EF4E75CC64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Resulting </a:t>
            </a:r>
            <a:r>
              <a:rPr lang="en-US" dirty="0">
                <a:solidFill>
                  <a:schemeClr val="accent2"/>
                </a:solidFill>
              </a:rPr>
              <a:t>IM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50DA6F-448F-2899-C7D2-16E89FA2D4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ycle Gan</a:t>
            </a:r>
          </a:p>
          <a:p>
            <a:endParaRPr lang="en-US" dirty="0"/>
          </a:p>
        </p:txBody>
      </p:sp>
      <p:pic>
        <p:nvPicPr>
          <p:cNvPr id="6" name="Content Placeholder 5" descr="A collage of different landscapes&#10;&#10;Description automatically generated">
            <a:extLst>
              <a:ext uri="{FF2B5EF4-FFF2-40B4-BE49-F238E27FC236}">
                <a16:creationId xmlns:a16="http://schemas.microsoft.com/office/drawing/2014/main" id="{5DC660C0-6794-FF11-D69F-4E7A3DEC432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24" y="1298073"/>
            <a:ext cx="8569325" cy="3462706"/>
          </a:xfrm>
        </p:spPr>
      </p:pic>
    </p:spTree>
    <p:extLst>
      <p:ext uri="{BB962C8B-B14F-4D97-AF65-F5344CB8AC3E}">
        <p14:creationId xmlns:p14="http://schemas.microsoft.com/office/powerpoint/2010/main" val="3780184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0B1-1481-6027-62F5-6288C9152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0903AC-916A-0BFE-394D-2E9F64F483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How did the </a:t>
            </a:r>
            <a:r>
              <a:rPr lang="en-US" dirty="0" err="1"/>
              <a:t>cYCLEGAN</a:t>
            </a:r>
            <a:r>
              <a:rPr lang="en-US" dirty="0"/>
              <a:t> </a:t>
            </a:r>
            <a:r>
              <a:rPr lang="en-US" dirty="0">
                <a:solidFill>
                  <a:schemeClr val="accent2"/>
                </a:solidFill>
              </a:rPr>
              <a:t>perform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8BC446-BDC4-1C91-1DD8-2FC39E7AF4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CGA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60E904-D3EF-F062-77D1-604127EFD0F7}"/>
              </a:ext>
            </a:extLst>
          </p:cNvPr>
          <p:cNvSpPr txBox="1"/>
          <p:nvPr/>
        </p:nvSpPr>
        <p:spPr>
          <a:xfrm>
            <a:off x="6380579" y="1672463"/>
            <a:ext cx="2197930" cy="26853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n-GB" sz="1400" b="0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Competition</a:t>
            </a:r>
            <a:r>
              <a:rPr lang="en-GB" sz="1200" b="0" i="0" u="none" strike="noStrike" dirty="0">
                <a:solidFill>
                  <a:srgbClr val="4B5050"/>
                </a:solidFill>
                <a:effectLst/>
                <a:latin typeface="Arial" panose="020B0604020202020204" pitchFamily="34" charset="0"/>
              </a:rPr>
              <a:t>: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ctr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600" b="1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84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l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400" b="1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Score: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ctr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600" b="1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37</a:t>
            </a:r>
            <a:r>
              <a:rPr lang="en-GB" sz="700" b="0" i="0" u="none" strike="noStrike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/170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pPr algn="l" rtl="0"/>
            <a:br>
              <a:rPr lang="en-GB" b="0" i="0" u="none" strike="noStrike" dirty="0">
                <a:solidFill>
                  <a:srgbClr val="000000"/>
                </a:solidFill>
                <a:effectLst/>
              </a:rPr>
            </a:br>
            <a:r>
              <a:rPr lang="en-GB" sz="1400" b="1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Position</a:t>
            </a:r>
            <a:r>
              <a:rPr lang="en-GB" sz="1200" b="1" i="0" u="none" strike="noStrike" dirty="0">
                <a:solidFill>
                  <a:srgbClr val="89057C"/>
                </a:solidFill>
                <a:effectLst/>
                <a:latin typeface="Arial" panose="020B0604020202020204" pitchFamily="34" charset="0"/>
              </a:rPr>
              <a:t>:</a:t>
            </a:r>
            <a:endParaRPr lang="en-GB" b="0" i="0" u="none" strike="noStrike" dirty="0">
              <a:solidFill>
                <a:srgbClr val="000000"/>
              </a:solidFill>
              <a:effectLst/>
            </a:endParaRPr>
          </a:p>
          <a:p>
            <a:br>
              <a:rPr lang="en-GB" dirty="0"/>
            </a:br>
            <a:br>
              <a:rPr lang="en-GB" dirty="0"/>
            </a:br>
            <a:endParaRPr lang="de-DE" dirty="0"/>
          </a:p>
        </p:txBody>
      </p:sp>
      <p:sp>
        <p:nvSpPr>
          <p:cNvPr id="14" name="Google Shape;3463;p43">
            <a:extLst>
              <a:ext uri="{FF2B5EF4-FFF2-40B4-BE49-F238E27FC236}">
                <a16:creationId xmlns:a16="http://schemas.microsoft.com/office/drawing/2014/main" id="{2E44D244-FBBF-28E2-7228-4775A0BD1329}"/>
              </a:ext>
            </a:extLst>
          </p:cNvPr>
          <p:cNvSpPr/>
          <p:nvPr/>
        </p:nvSpPr>
        <p:spPr>
          <a:xfrm>
            <a:off x="7420317" y="2479752"/>
            <a:ext cx="695399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43</a:t>
            </a:r>
            <a:endParaRPr sz="1700" b="1" dirty="0">
              <a:solidFill>
                <a:schemeClr val="lt1"/>
              </a:solidFill>
            </a:endParaRPr>
          </a:p>
        </p:txBody>
      </p:sp>
      <p:sp>
        <p:nvSpPr>
          <p:cNvPr id="15" name="Google Shape;3464;p43">
            <a:extLst>
              <a:ext uri="{FF2B5EF4-FFF2-40B4-BE49-F238E27FC236}">
                <a16:creationId xmlns:a16="http://schemas.microsoft.com/office/drawing/2014/main" id="{93276826-2545-D2B3-195C-EFC3F78C624B}"/>
              </a:ext>
            </a:extLst>
          </p:cNvPr>
          <p:cNvSpPr/>
          <p:nvPr/>
        </p:nvSpPr>
        <p:spPr>
          <a:xfrm>
            <a:off x="7420317" y="3327345"/>
            <a:ext cx="982687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14</a:t>
            </a:r>
            <a:r>
              <a:rPr lang="en" sz="800" dirty="0">
                <a:solidFill>
                  <a:schemeClr val="lt1"/>
                </a:solidFill>
              </a:rPr>
              <a:t>/170</a:t>
            </a:r>
            <a:endParaRPr sz="800" dirty="0">
              <a:solidFill>
                <a:schemeClr val="lt1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8DA262-E227-E77E-9509-CC2B6ECEDBB7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E03345-3764-59BC-B50C-011D969FC8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336" y="1303062"/>
            <a:ext cx="5683695" cy="367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9726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B0D7B5-5C0C-6955-BADE-211D6A4AC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621503-F554-E310-FE44-F0039D2542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Comparison of the </a:t>
            </a:r>
            <a:r>
              <a:rPr lang="en-US" dirty="0">
                <a:solidFill>
                  <a:schemeClr val="accent2"/>
                </a:solidFill>
              </a:rPr>
              <a:t>Model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C29E47-A813-FB57-DE95-9BED61B0CD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parison Model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0B4416-0018-7276-1A4A-B61E0BCFE94F}"/>
              </a:ext>
            </a:extLst>
          </p:cNvPr>
          <p:cNvGrpSpPr/>
          <p:nvPr/>
        </p:nvGrpSpPr>
        <p:grpSpPr>
          <a:xfrm>
            <a:off x="1253892" y="1276350"/>
            <a:ext cx="6536796" cy="3371748"/>
            <a:chOff x="1253892" y="1374724"/>
            <a:chExt cx="4913233" cy="3272874"/>
          </a:xfrm>
        </p:grpSpPr>
        <p:sp>
          <p:nvSpPr>
            <p:cNvPr id="4" name="Freeform 2">
              <a:extLst>
                <a:ext uri="{FF2B5EF4-FFF2-40B4-BE49-F238E27FC236}">
                  <a16:creationId xmlns:a16="http://schemas.microsoft.com/office/drawing/2014/main" id="{E74CBEFF-ABC3-D584-866B-A5941FF02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6431" y="1374724"/>
              <a:ext cx="1620694" cy="3256343"/>
            </a:xfrm>
            <a:custGeom>
              <a:avLst/>
              <a:gdLst>
                <a:gd name="T0" fmla="*/ 0 w 633"/>
                <a:gd name="T1" fmla="*/ 1127378 h 1744"/>
                <a:gd name="T2" fmla="*/ 2816 w 633"/>
                <a:gd name="T3" fmla="*/ 3937916 h 1744"/>
                <a:gd name="T4" fmla="*/ 1779947 w 633"/>
                <a:gd name="T5" fmla="*/ 3937916 h 1744"/>
                <a:gd name="T6" fmla="*/ 1779947 w 633"/>
                <a:gd name="T7" fmla="*/ 0 h 1744"/>
                <a:gd name="T8" fmla="*/ 1664475 w 633"/>
                <a:gd name="T9" fmla="*/ 124260 h 1744"/>
                <a:gd name="T10" fmla="*/ 1512391 w 633"/>
                <a:gd name="T11" fmla="*/ 246261 h 1744"/>
                <a:gd name="T12" fmla="*/ 1318062 w 633"/>
                <a:gd name="T13" fmla="*/ 388595 h 1744"/>
                <a:gd name="T14" fmla="*/ 1064588 w 633"/>
                <a:gd name="T15" fmla="*/ 551263 h 1744"/>
                <a:gd name="T16" fmla="*/ 811115 w 633"/>
                <a:gd name="T17" fmla="*/ 707153 h 1744"/>
                <a:gd name="T18" fmla="*/ 582989 w 633"/>
                <a:gd name="T19" fmla="*/ 829154 h 1744"/>
                <a:gd name="T20" fmla="*/ 253473 w 633"/>
                <a:gd name="T21" fmla="*/ 998599 h 1744"/>
                <a:gd name="T22" fmla="*/ 0 w 633"/>
                <a:gd name="T23" fmla="*/ 1127378 h 17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33"/>
                <a:gd name="T37" fmla="*/ 0 h 1744"/>
                <a:gd name="T38" fmla="*/ 633 w 633"/>
                <a:gd name="T39" fmla="*/ 1744 h 174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33" h="1744">
                  <a:moveTo>
                    <a:pt x="0" y="499"/>
                  </a:moveTo>
                  <a:lnTo>
                    <a:pt x="1" y="1743"/>
                  </a:lnTo>
                  <a:lnTo>
                    <a:pt x="632" y="1743"/>
                  </a:lnTo>
                  <a:lnTo>
                    <a:pt x="632" y="0"/>
                  </a:lnTo>
                  <a:lnTo>
                    <a:pt x="591" y="55"/>
                  </a:lnTo>
                  <a:lnTo>
                    <a:pt x="537" y="109"/>
                  </a:lnTo>
                  <a:lnTo>
                    <a:pt x="468" y="172"/>
                  </a:lnTo>
                  <a:lnTo>
                    <a:pt x="378" y="244"/>
                  </a:lnTo>
                  <a:lnTo>
                    <a:pt x="288" y="313"/>
                  </a:lnTo>
                  <a:lnTo>
                    <a:pt x="207" y="367"/>
                  </a:lnTo>
                  <a:lnTo>
                    <a:pt x="90" y="442"/>
                  </a:lnTo>
                  <a:lnTo>
                    <a:pt x="0" y="499"/>
                  </a:lnTo>
                </a:path>
              </a:pathLst>
            </a:custGeom>
            <a:solidFill>
              <a:schemeClr val="accent1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>
                <a:defRPr/>
              </a:pPr>
              <a:endParaRPr lang="de-DE" sz="11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F9D2012-6909-7DC4-1C9D-6651BEDBD64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9863" y="3047503"/>
              <a:ext cx="1636568" cy="1583564"/>
            </a:xfrm>
            <a:custGeom>
              <a:avLst/>
              <a:gdLst>
                <a:gd name="T0" fmla="*/ 0 w 640"/>
                <a:gd name="T1" fmla="*/ 2147483647 h 705"/>
                <a:gd name="T2" fmla="*/ 0 w 640"/>
                <a:gd name="T3" fmla="*/ 2147483647 h 705"/>
                <a:gd name="T4" fmla="*/ 2147483647 w 640"/>
                <a:gd name="T5" fmla="*/ 2147483647 h 705"/>
                <a:gd name="T6" fmla="*/ 2147483647 w 640"/>
                <a:gd name="T7" fmla="*/ 0 h 705"/>
                <a:gd name="T8" fmla="*/ 2147483647 w 640"/>
                <a:gd name="T9" fmla="*/ 2147483647 h 705"/>
                <a:gd name="T10" fmla="*/ 2147483647 w 640"/>
                <a:gd name="T11" fmla="*/ 2147483647 h 705"/>
                <a:gd name="T12" fmla="*/ 2147483647 w 640"/>
                <a:gd name="T13" fmla="*/ 2147483647 h 705"/>
                <a:gd name="T14" fmla="*/ 2147483647 w 640"/>
                <a:gd name="T15" fmla="*/ 2147483647 h 705"/>
                <a:gd name="T16" fmla="*/ 2147483647 w 640"/>
                <a:gd name="T17" fmla="*/ 2147483647 h 705"/>
                <a:gd name="T18" fmla="*/ 2147483647 w 640"/>
                <a:gd name="T19" fmla="*/ 2147483647 h 705"/>
                <a:gd name="T20" fmla="*/ 2147483647 w 640"/>
                <a:gd name="T21" fmla="*/ 2147483647 h 705"/>
                <a:gd name="T22" fmla="*/ 0 w 640"/>
                <a:gd name="T23" fmla="*/ 2147483647 h 70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40"/>
                <a:gd name="T37" fmla="*/ 0 h 705"/>
                <a:gd name="T38" fmla="*/ 640 w 640"/>
                <a:gd name="T39" fmla="*/ 705 h 70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40" h="705">
                  <a:moveTo>
                    <a:pt x="0" y="159"/>
                  </a:moveTo>
                  <a:lnTo>
                    <a:pt x="0" y="704"/>
                  </a:lnTo>
                  <a:lnTo>
                    <a:pt x="639" y="704"/>
                  </a:lnTo>
                  <a:lnTo>
                    <a:pt x="639" y="0"/>
                  </a:lnTo>
                  <a:lnTo>
                    <a:pt x="599" y="16"/>
                  </a:lnTo>
                  <a:lnTo>
                    <a:pt x="556" y="33"/>
                  </a:lnTo>
                  <a:lnTo>
                    <a:pt x="493" y="54"/>
                  </a:lnTo>
                  <a:lnTo>
                    <a:pt x="403" y="78"/>
                  </a:lnTo>
                  <a:lnTo>
                    <a:pt x="308" y="101"/>
                  </a:lnTo>
                  <a:lnTo>
                    <a:pt x="218" y="119"/>
                  </a:lnTo>
                  <a:lnTo>
                    <a:pt x="112" y="138"/>
                  </a:lnTo>
                  <a:lnTo>
                    <a:pt x="0" y="159"/>
                  </a:lnTo>
                </a:path>
              </a:pathLst>
            </a:custGeom>
            <a:solidFill>
              <a:schemeClr val="bg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endParaRPr lang="de-DE" sz="11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CED64A5D-A368-2215-0A67-1B8FE54A0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53892" y="3695622"/>
              <a:ext cx="1655329" cy="935445"/>
            </a:xfrm>
            <a:custGeom>
              <a:avLst/>
              <a:gdLst>
                <a:gd name="T0" fmla="*/ 0 w 647"/>
                <a:gd name="T1" fmla="*/ 2147483647 h 548"/>
                <a:gd name="T2" fmla="*/ 0 w 647"/>
                <a:gd name="T3" fmla="*/ 2147483647 h 548"/>
                <a:gd name="T4" fmla="*/ 2147483647 w 647"/>
                <a:gd name="T5" fmla="*/ 2147483647 h 548"/>
                <a:gd name="T6" fmla="*/ 2147483647 w 647"/>
                <a:gd name="T7" fmla="*/ 0 h 548"/>
                <a:gd name="T8" fmla="*/ 2147483647 w 647"/>
                <a:gd name="T9" fmla="*/ 2147483647 h 548"/>
                <a:gd name="T10" fmla="*/ 2147483647 w 647"/>
                <a:gd name="T11" fmla="*/ 2147483647 h 548"/>
                <a:gd name="T12" fmla="*/ 2147483647 w 647"/>
                <a:gd name="T13" fmla="*/ 2147483647 h 548"/>
                <a:gd name="T14" fmla="*/ 2147483647 w 647"/>
                <a:gd name="T15" fmla="*/ 2147483647 h 548"/>
                <a:gd name="T16" fmla="*/ 2147483647 w 647"/>
                <a:gd name="T17" fmla="*/ 2147483647 h 548"/>
                <a:gd name="T18" fmla="*/ 2147483647 w 647"/>
                <a:gd name="T19" fmla="*/ 2147483647 h 548"/>
                <a:gd name="T20" fmla="*/ 2147483647 w 647"/>
                <a:gd name="T21" fmla="*/ 2147483647 h 548"/>
                <a:gd name="T22" fmla="*/ 0 w 647"/>
                <a:gd name="T23" fmla="*/ 2147483647 h 5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47"/>
                <a:gd name="T37" fmla="*/ 0 h 548"/>
                <a:gd name="T38" fmla="*/ 647 w 647"/>
                <a:gd name="T39" fmla="*/ 548 h 5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47" h="548">
                  <a:moveTo>
                    <a:pt x="0" y="78"/>
                  </a:moveTo>
                  <a:lnTo>
                    <a:pt x="0" y="547"/>
                  </a:lnTo>
                  <a:lnTo>
                    <a:pt x="646" y="546"/>
                  </a:lnTo>
                  <a:lnTo>
                    <a:pt x="646" y="0"/>
                  </a:lnTo>
                  <a:lnTo>
                    <a:pt x="582" y="10"/>
                  </a:lnTo>
                  <a:lnTo>
                    <a:pt x="490" y="24"/>
                  </a:lnTo>
                  <a:lnTo>
                    <a:pt x="414" y="34"/>
                  </a:lnTo>
                  <a:lnTo>
                    <a:pt x="348" y="42"/>
                  </a:lnTo>
                  <a:lnTo>
                    <a:pt x="278" y="50"/>
                  </a:lnTo>
                  <a:lnTo>
                    <a:pt x="192" y="58"/>
                  </a:lnTo>
                  <a:lnTo>
                    <a:pt x="82" y="70"/>
                  </a:lnTo>
                  <a:lnTo>
                    <a:pt x="0" y="78"/>
                  </a:lnTo>
                </a:path>
              </a:pathLst>
            </a:custGeom>
            <a:solidFill>
              <a:schemeClr val="accent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endParaRPr lang="de-DE" sz="110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D3EFCABB-244D-6680-922C-52D1812B7A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59125" y="3487017"/>
              <a:ext cx="104486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820738"/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DCGAN</a:t>
              </a: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891018CD-BCD6-B732-67F9-86042D2DF15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05715" y="2939781"/>
              <a:ext cx="104486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820738"/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AE-GAN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1DA0ECF8-4512-2027-4294-3A16659F6FD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34266" y="1374724"/>
              <a:ext cx="104630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820738"/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CYCLE-GAN</a:t>
              </a:r>
            </a:p>
          </p:txBody>
        </p:sp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1654B092-4745-43BE-9A9C-9429A946A50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97135" y="3594738"/>
              <a:ext cx="1044864" cy="836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820738"/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Score:</a:t>
              </a:r>
            </a:p>
            <a:p>
              <a:pPr algn="ctr" defTabSz="820738"/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98</a:t>
              </a:r>
            </a:p>
            <a:p>
              <a:pPr algn="ctr" defTabSz="820738"/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Place:</a:t>
              </a:r>
              <a:b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</a:br>
              <a:r>
                <a:rPr lang="de-DE" sz="1400" b="1" dirty="0">
                  <a:solidFill>
                    <a:schemeClr val="accent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114/170</a:t>
              </a:r>
            </a:p>
          </p:txBody>
        </p:sp>
        <p:sp>
          <p:nvSpPr>
            <p:cNvPr id="15" name="Rectangle 7">
              <a:extLst>
                <a:ext uri="{FF2B5EF4-FFF2-40B4-BE49-F238E27FC236}">
                  <a16:creationId xmlns:a16="http://schemas.microsoft.com/office/drawing/2014/main" id="{3164A84B-AC00-048C-0CC7-FCADB6138B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84183" y="3811095"/>
              <a:ext cx="1044864" cy="836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820738"/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Score:</a:t>
              </a:r>
            </a:p>
            <a:p>
              <a:pPr algn="ctr" defTabSz="820738"/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142</a:t>
              </a:r>
            </a:p>
            <a:p>
              <a:pPr algn="ctr" defTabSz="820738"/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Place:</a:t>
              </a:r>
              <a:b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</a:br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126/170</a:t>
              </a:r>
            </a:p>
          </p:txBody>
        </p:sp>
        <p:sp>
          <p:nvSpPr>
            <p:cNvPr id="16" name="Rectangle 7">
              <a:extLst>
                <a:ext uri="{FF2B5EF4-FFF2-40B4-BE49-F238E27FC236}">
                  <a16:creationId xmlns:a16="http://schemas.microsoft.com/office/drawing/2014/main" id="{6721E3A3-1F65-BD5B-4D08-B35234EFFE2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91755" y="3284210"/>
              <a:ext cx="1044864" cy="836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820738"/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Score:</a:t>
              </a:r>
            </a:p>
            <a:p>
              <a:pPr algn="ctr" defTabSz="820738"/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43</a:t>
              </a:r>
            </a:p>
            <a:p>
              <a:pPr algn="ctr" defTabSz="820738"/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Place:</a:t>
              </a:r>
              <a:b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</a:br>
              <a:r>
                <a:rPr lang="de-DE" sz="1400" b="1" dirty="0">
                  <a:solidFill>
                    <a:schemeClr val="bg1"/>
                  </a:solidFill>
                  <a:latin typeface="+mj-lt"/>
                  <a:ea typeface="MS PGothic" pitchFamily="34" charset="-128"/>
                  <a:cs typeface="Calibri Light" panose="020F0302020204030204" pitchFamily="34" charset="0"/>
                </a:rPr>
                <a:t>14/170</a:t>
              </a:r>
            </a:p>
          </p:txBody>
        </p:sp>
      </p:grpSp>
      <p:pic>
        <p:nvPicPr>
          <p:cNvPr id="18" name="Graphic 17" descr="Trophy with solid fill">
            <a:extLst>
              <a:ext uri="{FF2B5EF4-FFF2-40B4-BE49-F238E27FC236}">
                <a16:creationId xmlns:a16="http://schemas.microsoft.com/office/drawing/2014/main" id="{4F03E878-E8D2-C193-9FA7-76FBAA9DEB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31744" y="211288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7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3010D2-6BEE-7502-9DC4-7695186EA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01EF93-6E7C-34B9-3574-6BFA74DE28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696C7D-771F-5A18-2F12-0C65C0ADE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62E2CCC8-50B2-4648-78EB-5D50B044651B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3431588-2B40-D50A-DA31-EA2174E1F29E}"/>
              </a:ext>
            </a:extLst>
          </p:cNvPr>
          <p:cNvSpPr/>
          <p:nvPr/>
        </p:nvSpPr>
        <p:spPr>
          <a:xfrm>
            <a:off x="1767840" y="1965054"/>
            <a:ext cx="766433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andom Nois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671403B8-6B5C-0309-44C1-724A87091A3F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ED436FDA-6F8C-D177-6CBC-1736267C6157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A828E88-09D9-C9CC-70BA-8593B7738587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934AAFF-4C9D-A2D5-7C2F-4566FCB2AA87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68797DE-0197-D6C3-B947-CCFB350DC312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F0158C1-409A-F043-9BEB-2380BB7364EA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3094EDE4-B875-E7A7-0859-03453AC4B754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CABEB8C7-37C5-7EBF-4211-BEC5E3FD8361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DEE2B05D-464F-E08D-8E9F-52BF53D82995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51FB203-9ACE-5F11-3C8B-3A3CD7A81D9C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7D55601-885B-5EB8-F6E4-97B3A7A9BAB0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003C604-74EF-6D43-81F1-EE2B3686A21D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pic>
        <p:nvPicPr>
          <p:cNvPr id="4134" name="Picture 413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561A6318-2BF6-5762-677E-693C654420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  <p:pic>
        <p:nvPicPr>
          <p:cNvPr id="4135" name="Picture 4134">
            <a:extLst>
              <a:ext uri="{FF2B5EF4-FFF2-40B4-BE49-F238E27FC236}">
                <a16:creationId xmlns:a16="http://schemas.microsoft.com/office/drawing/2014/main" id="{CC28EA29-1C09-2695-5CBB-CCC1FBF127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02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71FB22-0DFB-3C4B-7BE2-7A4214F63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0CC18-C6D5-04E9-5A56-ECC1F4E9DC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E48B81-DC73-8EBB-3AF8-EE156025AD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4CEA13-781C-7E2C-608A-7C72DB61C8A3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214C4CE-72BD-36C0-3004-964A83F33DCC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7C2F19C-EA83-E70B-887B-61DF9DDFBE7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F9DA2C2-46FF-DEA9-6072-D5D33DB8BD2E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ACBC8DA5-B8C0-2939-27E2-98D9C395115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D98B8FDB-25A4-02CC-50E2-EC3E467D78EE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3E60F7F-26D9-F4DB-0A90-3DDC344F5B9D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8F50B58D-AB01-2158-BCD6-F77FC0975FBF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2E7CD67A-930A-D412-3AED-E35F1D28DD54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1FC1D60C-D189-5184-9F5E-11B94CAFDF30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4F4B3D0-C56F-A1AB-5696-9C5B9144C7F4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A2E40E9-CC10-1C49-75AC-B3D7C63BBF7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BFB91CF-BBEF-8C2A-4A6A-E2C5398C1C05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3C91C05-4A6C-01AB-35B1-8414822BEDD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5F794F75-19F9-1602-AAD9-9D77CC675B79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BB3DD289-5321-548C-31B6-E9095CF85B88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B7EC4E5E-FB69-D0F3-0F32-4A3B4A60254A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D65FF7FB-A4F8-E64E-42AE-48047E5EC2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5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F051000-8630-FC22-0FEE-2DB8F0954483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D5AE82E-E7AE-1FC0-DE21-29666921735D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F78CBEA-82DE-5FF4-904F-B0F2E6C5F624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DF997AF-48D7-8D48-D5C2-0987E9233A59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pic>
        <p:nvPicPr>
          <p:cNvPr id="4134" name="Picture 413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C1AE437E-EE1C-E015-559A-62C63EF6F4F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56D656F-2810-FDB6-782C-B19CA547C5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326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84264-1917-0B39-F436-D13072EC05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2FF9B9-98AA-45B3-01B2-FB1871985B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A29101A-9F0E-46F7-3D8D-3810931C6E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9FD19E5-BD5D-0487-8808-936D6EE03120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5882028-67CF-5C8A-3652-C5DEA119618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F032616-554D-9297-F312-3B3B0EBF95C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5F1981E-1C71-E29B-3D87-CC5DE4C35B79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5F532C13-19B6-2EBB-46D4-E2EEF59DCFAE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495E34FC-CF8F-6344-91A2-F96FEAFBA63E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A261DC6-4F4E-BDE1-3072-35CFEFDA8ABD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1B2E0744-1E58-B61E-D900-ACB0549434A5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7AE8C5CA-1AAE-070D-8944-CAFB21F625B0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35D6C8A0-35D1-372D-D229-5BC90DBB547A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3037900-8A46-E44E-E3C3-A16616158FBA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A00E112-7224-B565-A661-7451ECC8077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E9639BF-3AF4-65E0-28CA-62C75B7B5BC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06A7525-8303-D010-1535-DC802AD3823E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66F7FA2A-5DF2-3258-3B85-FFCC026B293A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96A82C27-DEB5-D92E-996E-14F022E42797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B121E05-E0C6-FB76-EE92-2FE3FCAFEED1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30CFA7F0-5715-1AE6-836F-6ABAE982F14A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B7574857-3516-2D7A-527B-84F0B5FB6AEC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1FEB825F-2FC9-945B-9BD7-6CB6272F8D57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0C10311-24CC-E9C9-4F94-883CBC406880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1BD6F9D-78AC-DB5D-061B-72BBAE308B6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2AB5ACA-DB70-ECFC-0B9E-0B077165CE24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AE27D7C-39F6-4CB8-E6E0-AB0711C9A64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C7F7C19A-C84B-36B7-2BC9-2AF61C25128A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493892C-E3D5-E9FA-A6AD-10D267E2FE4A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B63B593-65BA-C863-9AB3-80DE828D7E0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8C8C364-1718-4A1F-B0E4-DD58651BA81E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F7F9C1B-DB4C-57EE-C3B2-00C56C6E549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2659658D-3490-7B29-DA5F-9F6E94DEEEA8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E50304D5-A115-90AB-D010-130AE5D91A65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4DAADBE9-CC83-F2C4-E2C9-C391FDD3FB27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E949C1F-4907-B046-E894-422FE4B72D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5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320B86E6-75A5-2A16-BF7C-35555F1E22B2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A0120DB-938D-78CF-3004-FB03DA0044B6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B1301E5-E382-E392-D9B3-5D45F7A70AFB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4E10D-EA9D-1CF3-B285-5E8D48090E42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25D27B8-448B-3C70-5CD8-001938741391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601273A-590B-E5C3-4045-BC29A1AAA377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596FE74-D2B9-D953-7BD1-C13992324792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E56320C-003A-CFAE-8BAC-D5B68E60D96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3710470B-2A3C-0C00-BB35-A0410A44BDBE}"/>
              </a:ext>
            </a:extLst>
          </p:cNvPr>
          <p:cNvCxnSpPr>
            <a:cxnSpLocks/>
            <a:stCxn id="48" idx="2"/>
          </p:cNvCxnSpPr>
          <p:nvPr/>
        </p:nvCxnSpPr>
        <p:spPr>
          <a:xfrm flipH="1">
            <a:off x="591585" y="2703649"/>
            <a:ext cx="457" cy="190899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729917EA-EE23-35ED-E124-CEC294EF2290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23" name="Picture 4122">
            <a:extLst>
              <a:ext uri="{FF2B5EF4-FFF2-40B4-BE49-F238E27FC236}">
                <a16:creationId xmlns:a16="http://schemas.microsoft.com/office/drawing/2014/main" id="{4166C02C-871D-C585-D4E4-A3820684E3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613" y="1830123"/>
            <a:ext cx="867766" cy="861141"/>
          </a:xfrm>
          <a:prstGeom prst="rect">
            <a:avLst/>
          </a:prstGeom>
        </p:spPr>
      </p:pic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920993EA-E897-DBD5-ED14-E24D5A15DF59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34" name="Picture 413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0856A8C2-2F04-50D6-CA51-45C6CA20C86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92A9375-9AA9-47D3-7A6B-E34ED7B620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5628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C5F1E7-382D-8252-11DA-0E94EA43A1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435751-148D-2D81-7B2F-0B8AC3E660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I’m Something of a </a:t>
            </a:r>
            <a:r>
              <a:rPr lang="en-US" dirty="0">
                <a:solidFill>
                  <a:schemeClr val="accent2"/>
                </a:solidFill>
              </a:rPr>
              <a:t>Painter Myself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EDC599-2B4A-C545-1D38-5549BFC6A4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petition intro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7">
                <a:extLst>
                  <a:ext uri="{FF2B5EF4-FFF2-40B4-BE49-F238E27FC236}">
                    <a16:creationId xmlns:a16="http://schemas.microsoft.com/office/drawing/2014/main" id="{59BB8294-4B6A-E422-3420-EAAD1FE0318E}"/>
                  </a:ext>
                </a:extLst>
              </p:cNvPr>
              <p:cNvSpPr>
                <a:spLocks noGrp="1"/>
              </p:cNvSpPr>
              <p:nvPr>
                <p:ph sz="quarter" idx="14"/>
              </p:nvPr>
            </p:nvSpPr>
            <p:spPr/>
            <p:txBody>
              <a:bodyPr/>
              <a:lstStyle/>
              <a:p>
                <a:r>
                  <a:rPr lang="en-US" dirty="0"/>
                  <a:t>Kaggle getting started competition</a:t>
                </a:r>
              </a:p>
              <a:p>
                <a:pPr lvl="1"/>
                <a:r>
                  <a:rPr lang="en-US" dirty="0"/>
                  <a:t>Introduction to Generative </a:t>
                </a:r>
                <a:r>
                  <a:rPr lang="en-US" dirty="0" err="1"/>
                  <a:t>Adversial</a:t>
                </a:r>
                <a:r>
                  <a:rPr lang="en-US" dirty="0"/>
                  <a:t> Networks (GAN)</a:t>
                </a:r>
              </a:p>
              <a:p>
                <a:r>
                  <a:rPr lang="en-US" dirty="0"/>
                  <a:t>Dataset of 300 </a:t>
                </a:r>
                <a:r>
                  <a:rPr lang="en-US" dirty="0" err="1"/>
                  <a:t>monet</a:t>
                </a:r>
                <a:r>
                  <a:rPr lang="en-US" dirty="0"/>
                  <a:t> paintings</a:t>
                </a:r>
              </a:p>
              <a:p>
                <a:pPr lvl="1"/>
                <a:r>
                  <a:rPr lang="en-US" dirty="0"/>
                  <a:t>Used both in training and evaluating the model</a:t>
                </a:r>
              </a:p>
              <a:p>
                <a:r>
                  <a:rPr lang="en-US" dirty="0"/>
                  <a:t>Optional dataset of 7000 real photos</a:t>
                </a:r>
              </a:p>
              <a:p>
                <a:pPr lvl="1"/>
                <a:r>
                  <a:rPr lang="en-US" dirty="0"/>
                  <a:t>Feature Extraction </a:t>
                </a:r>
                <a:r>
                  <a:rPr lang="en-US" dirty="0" err="1"/>
                  <a:t>aproaches</a:t>
                </a:r>
                <a:endParaRPr lang="en-US" dirty="0"/>
              </a:p>
              <a:p>
                <a:r>
                  <a:rPr lang="en-US" dirty="0"/>
                  <a:t>Uses FID and MiFID to evaluate data</a:t>
                </a:r>
              </a:p>
              <a:p>
                <a:pPr lvl="1"/>
                <a:r>
                  <a:rPr lang="nb-NO" dirty="0"/>
                  <a:t>FID: </a:t>
                </a:r>
                <a14:m>
                  <m:oMath xmlns:m="http://schemas.openxmlformats.org/officeDocument/2006/math">
                    <m:d>
                      <m:dPr>
                        <m:begChr m:val="‖"/>
                        <m:endChr m:val="‖"/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nb-NO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l-GR" i="1" dirty="0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​</m:t>
                            </m:r>
                          </m:sub>
                        </m:sSub>
                        <m:r>
                          <a:rPr lang="nb-NO" i="1" dirty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nb-NO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l-GR" i="1" dirty="0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</m:sSub>
                      </m:e>
                    </m:d>
                    <m:sSup>
                      <m:sSup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</m:t>
                        </m:r>
                      </m:e>
                      <m:sup>
                        <m:r>
                          <a:rPr lang="nb-NO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GB" i="1" dirty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GB" i="1" dirty="0">
                        <a:latin typeface="Cambria Math" panose="02040503050406030204" pitchFamily="18" charset="0"/>
                      </a:rPr>
                      <m:t>𝑇𝑟</m:t>
                    </m:r>
                    <m:d>
                      <m:d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en-GB" i="1" dirty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</m:nary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+</m:t>
                        </m:r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</m:nary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−</m:t>
                        </m:r>
                        <m:sSup>
                          <m:sSupPr>
                            <m:ctrlPr>
                              <a:rPr lang="en-GB" i="1" dirty="0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d>
                              <m:dPr>
                                <m:ctrlPr>
                                  <a:rPr lang="en-GB" i="1" dirty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nary>
                                  <m:naryPr>
                                    <m:chr m:val="∑"/>
                                    <m:subHide m:val="on"/>
                                    <m:supHide m:val="on"/>
                                    <m:ctrlPr>
                                      <a:rPr lang="en-GB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/>
                                  <m:sup/>
                                  <m:e>
                                    <m:r>
                                      <a:rPr lang="nb-NO" i="1" dirty="0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</m:nary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​</m:t>
                                </m:r>
                                <m:nary>
                                  <m:naryPr>
                                    <m:chr m:val="∑"/>
                                    <m:subHide m:val="on"/>
                                    <m:supHide m:val="on"/>
                                    <m:ctrlPr>
                                      <a:rPr lang="en-GB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/>
                                  <m:sup/>
                                  <m:e>
                                    <m:r>
                                      <a:rPr lang="nb-NO" b="0" i="1" dirty="0" smtClean="0">
                                        <a:latin typeface="Cambria Math" panose="02040503050406030204" pitchFamily="18" charset="0"/>
                                      </a:rPr>
                                      <m:t>𝑔</m:t>
                                    </m:r>
                                  </m:e>
                                </m:nary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​</m:t>
                                </m:r>
                              </m:e>
                            </m:d>
                          </m:e>
                          <m:sup>
                            <m:f>
                              <m:fPr>
                                <m:ctrlPr>
                                  <a:rPr lang="en-GB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nb-NO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nb-NO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</m:sup>
                        </m:sSup>
                      </m:e>
                    </m:d>
                  </m:oMath>
                </a14:m>
                <a:endParaRPr lang="en-US" dirty="0"/>
              </a:p>
              <a:p>
                <a:pPr lvl="2"/>
                <a:r>
                  <a:rPr lang="en-US" dirty="0"/>
                  <a:t>Ensures that the generated images are close to the </a:t>
                </a:r>
                <a:r>
                  <a:rPr lang="en-US" dirty="0" err="1"/>
                  <a:t>testset</a:t>
                </a:r>
                <a:r>
                  <a:rPr lang="en-US" dirty="0"/>
                  <a:t> of </a:t>
                </a:r>
                <a:r>
                  <a:rPr lang="en-US" dirty="0" err="1"/>
                  <a:t>monet</a:t>
                </a:r>
                <a:r>
                  <a:rPr lang="en-US" dirty="0"/>
                  <a:t> paintings</a:t>
                </a:r>
              </a:p>
              <a:p>
                <a:pPr lvl="1"/>
                <a:r>
                  <a:rPr lang="en-US" dirty="0"/>
                  <a:t>MiFID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en-GB" i="1" dirty="0" smtClean="0">
                            <a:latin typeface="Cambria Math" panose="02040503050406030204" pitchFamily="18" charset="0"/>
                          </a:rPr>
                          <m:t>𝑖𝑗</m:t>
                        </m:r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</m:t>
                        </m:r>
                      </m:sub>
                    </m:sSub>
                    <m:r>
                      <a:rPr lang="en-GB" i="1" dirty="0">
                        <a:latin typeface="Cambria Math" panose="02040503050406030204" pitchFamily="18" charset="0"/>
                      </a:rPr>
                      <m:t>=1−</m:t>
                    </m:r>
                    <m:func>
                      <m:func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GB" i="0" dirty="0">
                            <a:latin typeface="Cambria Math" panose="02040503050406030204" pitchFamily="18" charset="0"/>
                          </a:rPr>
                          <m:t>cos</m:t>
                        </m:r>
                      </m:fName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nb-NO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 dirty="0" err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nb-NO" b="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i="1" dirty="0" err="1">
                                        <a:latin typeface="Cambria Math" panose="02040503050406030204" pitchFamily="18" charset="0"/>
                                      </a:rPr>
                                      <m:t>𝑔</m:t>
                                    </m:r>
                                  </m:e>
                                  <m:sub>
                                    <m:r>
                                      <a:rPr lang="en-GB" i="1" dirty="0" err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GB" i="1" dirty="0">
                                        <a:latin typeface="Cambria Math" panose="02040503050406030204" pitchFamily="18" charset="0"/>
                                      </a:rPr>
                                      <m:t>​​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nb-NO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 dirty="0" err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nb-NO" b="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i="1" dirty="0" err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GB" i="1" dirty="0" err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  <m:r>
                                      <a:rPr lang="en-GB" i="1" dirty="0">
                                        <a:latin typeface="Cambria Math" panose="02040503050406030204" pitchFamily="18" charset="0"/>
                                      </a:rPr>
                                      <m:t>​​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</m:e>
                    </m:func>
                    <m:r>
                      <a:rPr lang="en-GB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dirty="0" smtClean="0">
                        <a:latin typeface="Cambria Math" panose="02040503050406030204" pitchFamily="18" charset="0"/>
                      </a:rPr>
                      <m:t>1−</m:t>
                    </m:r>
                    <m:f>
                      <m:fPr>
                        <m:ctrlPr>
                          <a:rPr lang="nb-NO" b="0" i="1" dirty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nb-NO" b="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nb-NO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 dirty="0" err="1">
                                    <a:latin typeface="Cambria Math" panose="02040503050406030204" pitchFamily="18" charset="0"/>
                                  </a:rPr>
                                  <m:t>𝑔</m:t>
                                </m:r>
                              </m:e>
                              <m:sub>
                                <m:r>
                                  <a:rPr lang="en-GB" i="1" dirty="0" err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​​</m:t>
                                </m:r>
                              </m:sub>
                            </m:sSub>
                          </m:sub>
                        </m:sSub>
                        <m:r>
                          <a:rPr lang="en-GB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∙</m:t>
                        </m:r>
                        <m:sSub>
                          <m:sSubPr>
                            <m:ctrlPr>
                              <a:rPr lang="nb-NO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 dirty="0" err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nb-NO" i="1" dirty="0" err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 dirty="0" err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en-GB" i="1" dirty="0" err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sub>
                        </m:sSub>
                      </m:num>
                      <m:den>
                        <m:d>
                          <m:dPr>
                            <m:begChr m:val="‖"/>
                            <m:endChr m:val="‖"/>
                            <m:ctrlPr>
                              <a:rPr lang="nb-NO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nb-NO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nb-NO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i="1" dirty="0" err="1">
                                        <a:latin typeface="Cambria Math" panose="02040503050406030204" pitchFamily="18" charset="0"/>
                                      </a:rPr>
                                      <m:t>𝑔</m:t>
                                    </m:r>
                                  </m:e>
                                  <m:sub>
                                    <m:r>
                                      <a:rPr lang="en-GB" i="1" dirty="0" err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​​</m:t>
                        </m:r>
                        <m:d>
                          <m:dPr>
                            <m:begChr m:val="‖"/>
                            <m:endChr m:val="‖"/>
                            <m:ctrlPr>
                              <a:rPr lang="nb-NO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nb-NO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 dirty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nb-NO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nb-NO" b="0" i="1" dirty="0" smtClean="0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nb-NO" b="0" i="1" dirty="0" smtClean="0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  <m:r>
                          <a:rPr lang="en-GB" i="1" dirty="0">
                            <a:latin typeface="Cambria Math" panose="02040503050406030204" pitchFamily="18" charset="0"/>
                          </a:rPr>
                          <m:t>​​​</m:t>
                        </m:r>
                      </m:den>
                    </m:f>
                  </m:oMath>
                </a14:m>
                <a:endParaRPr lang="en-US" dirty="0"/>
              </a:p>
              <a:p>
                <a:pPr lvl="2"/>
                <a:r>
                  <a:rPr lang="en-US" dirty="0"/>
                  <a:t>Penalizes images too close to the </a:t>
                </a:r>
                <a:r>
                  <a:rPr lang="en-US" dirty="0" err="1"/>
                  <a:t>testset</a:t>
                </a:r>
                <a:r>
                  <a:rPr lang="en-US" dirty="0"/>
                  <a:t>. Effectively hindering overfitting</a:t>
                </a:r>
              </a:p>
              <a:p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8" name="Content Placeholder 7">
                <a:extLst>
                  <a:ext uri="{FF2B5EF4-FFF2-40B4-BE49-F238E27FC236}">
                    <a16:creationId xmlns:a16="http://schemas.microsoft.com/office/drawing/2014/main" id="{59BB8294-4B6A-E422-3420-EAAD1FE0318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blipFill>
                <a:blip r:embed="rId3"/>
                <a:stretch>
                  <a:fillRect l="-2319" t="-523" r="-1304" b="-17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Content Placeholder 5" descr="images-4">
            <a:extLst>
              <a:ext uri="{FF2B5EF4-FFF2-40B4-BE49-F238E27FC236}">
                <a16:creationId xmlns:a16="http://schemas.microsoft.com/office/drawing/2014/main" id="{D837DE4B-83AD-4C52-E247-FB681F8CBEEF}"/>
              </a:ext>
            </a:extLst>
          </p:cNvPr>
          <p:cNvPicPr>
            <a:picLocks noGrp="1" noChangeAspect="1"/>
          </p:cNvPicPr>
          <p:nvPr isPhoto="1">
            <p:ph sz="quarter" idx="15"/>
          </p:nvPr>
        </p:nvPicPr>
        <p:blipFill>
          <a:blip r:embed="rId4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287" y="1276351"/>
            <a:ext cx="1800000" cy="1800000"/>
          </a:xfrm>
          <a:prstGeom prst="rect">
            <a:avLst/>
          </a:prstGeom>
        </p:spPr>
      </p:pic>
      <p:pic>
        <p:nvPicPr>
          <p:cNvPr id="7" name="Picture 6" descr="images-3">
            <a:extLst>
              <a:ext uri="{FF2B5EF4-FFF2-40B4-BE49-F238E27FC236}">
                <a16:creationId xmlns:a16="http://schemas.microsoft.com/office/drawing/2014/main" id="{1C5A1323-7C01-C025-0AE4-B2C89A76B343}"/>
              </a:ext>
            </a:extLst>
          </p:cNvPr>
          <p:cNvPicPr>
            <a:picLocks noGrp="1" noChangeAspect="1"/>
          </p:cNvPicPr>
          <p:nvPr isPhoto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190" y="1276351"/>
            <a:ext cx="1800000" cy="1346727"/>
          </a:xfrm>
          <a:prstGeom prst="rect">
            <a:avLst/>
          </a:prstGeom>
        </p:spPr>
      </p:pic>
      <p:pic>
        <p:nvPicPr>
          <p:cNvPr id="9" name="Picture 8" descr="images-2">
            <a:extLst>
              <a:ext uri="{FF2B5EF4-FFF2-40B4-BE49-F238E27FC236}">
                <a16:creationId xmlns:a16="http://schemas.microsoft.com/office/drawing/2014/main" id="{DB1F4301-281C-CBB9-6E9F-25D5E248F1DD}"/>
              </a:ext>
            </a:extLst>
          </p:cNvPr>
          <p:cNvPicPr>
            <a:picLocks noGrp="1" noChangeAspect="1"/>
          </p:cNvPicPr>
          <p:nvPr isPhoto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287" y="3116755"/>
            <a:ext cx="1800000" cy="1744672"/>
          </a:xfrm>
          <a:prstGeom prst="rect">
            <a:avLst/>
          </a:prstGeom>
        </p:spPr>
      </p:pic>
      <p:pic>
        <p:nvPicPr>
          <p:cNvPr id="10" name="Picture 9" descr="images">
            <a:extLst>
              <a:ext uri="{FF2B5EF4-FFF2-40B4-BE49-F238E27FC236}">
                <a16:creationId xmlns:a16="http://schemas.microsoft.com/office/drawing/2014/main" id="{6B9BE8F3-B7F1-839F-4D81-7C127A1FB3E0}"/>
              </a:ext>
            </a:extLst>
          </p:cNvPr>
          <p:cNvPicPr>
            <a:picLocks noGrp="1" noChangeAspect="1"/>
          </p:cNvPicPr>
          <p:nvPr isPhoto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660" y="2662332"/>
            <a:ext cx="1800000" cy="2199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6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A10F4-2FDB-617B-17F9-91338B5DD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gold frame with a white background&#10;&#10;Description automatically generated">
            <a:extLst>
              <a:ext uri="{FF2B5EF4-FFF2-40B4-BE49-F238E27FC236}">
                <a16:creationId xmlns:a16="http://schemas.microsoft.com/office/drawing/2014/main" id="{9AD7D4D9-06BC-2566-E586-FD7CD68BD2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166" y="1346773"/>
            <a:ext cx="3244943" cy="264945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B4F35A-9931-29D6-5CB0-EA819D20AA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accent2"/>
                </a:solidFill>
              </a:rPr>
              <a:t>Conclus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EE69BE-F2F0-4D01-24B3-C410A95241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5C2DBDB-A96B-F322-028B-5345D85682C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4024" y="1276351"/>
            <a:ext cx="4496267" cy="2915827"/>
          </a:xfrm>
        </p:spPr>
        <p:txBody>
          <a:bodyPr/>
          <a:lstStyle/>
          <a:p>
            <a:r>
              <a:rPr lang="de-DE" sz="1600" dirty="0" err="1"/>
              <a:t>Quite</a:t>
            </a:r>
            <a:r>
              <a:rPr lang="de-DE" sz="1600" dirty="0"/>
              <a:t> a </a:t>
            </a:r>
            <a:r>
              <a:rPr lang="de-DE" sz="1600" dirty="0" err="1"/>
              <a:t>challeng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mimic</a:t>
            </a:r>
            <a:r>
              <a:rPr lang="de-DE" sz="1600" dirty="0"/>
              <a:t> Monet </a:t>
            </a:r>
            <a:r>
              <a:rPr lang="de-DE" sz="1600" dirty="0" err="1"/>
              <a:t>painting</a:t>
            </a:r>
            <a:r>
              <a:rPr lang="de-DE" sz="1600" dirty="0"/>
              <a:t> style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limited </a:t>
            </a:r>
            <a:r>
              <a:rPr lang="de-DE" sz="1600" dirty="0" err="1"/>
              <a:t>painting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him</a:t>
            </a:r>
            <a:r>
              <a:rPr lang="de-DE" sz="1600" dirty="0"/>
              <a:t> </a:t>
            </a:r>
            <a:r>
              <a:rPr lang="de-DE" sz="1600" dirty="0" err="1"/>
              <a:t>available</a:t>
            </a:r>
            <a:endParaRPr lang="de-DE" sz="1600" dirty="0"/>
          </a:p>
          <a:p>
            <a:r>
              <a:rPr lang="de-DE" sz="1600" dirty="0" err="1"/>
              <a:t>We</a:t>
            </a:r>
            <a:r>
              <a:rPr lang="de-DE" sz="1600" dirty="0"/>
              <a:t> </a:t>
            </a:r>
            <a:r>
              <a:rPr lang="de-DE" sz="1600" dirty="0" err="1"/>
              <a:t>tried</a:t>
            </a:r>
            <a:r>
              <a:rPr lang="de-DE" sz="1600" dirty="0"/>
              <a:t> out different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faced</a:t>
            </a:r>
            <a:r>
              <a:rPr lang="de-DE" sz="1600" dirty="0"/>
              <a:t> different </a:t>
            </a:r>
            <a:r>
              <a:rPr lang="de-DE" sz="1600" dirty="0" err="1"/>
              <a:t>challenges</a:t>
            </a:r>
            <a:endParaRPr lang="de-DE" sz="1600" dirty="0"/>
          </a:p>
          <a:p>
            <a:r>
              <a:rPr lang="de-DE" sz="1600" dirty="0"/>
              <a:t>Best </a:t>
            </a:r>
            <a:r>
              <a:rPr lang="de-DE" sz="1600" dirty="0" err="1"/>
              <a:t>performing</a:t>
            </a:r>
            <a:r>
              <a:rPr lang="de-DE" sz="1600" dirty="0"/>
              <a:t> </a:t>
            </a:r>
            <a:r>
              <a:rPr lang="de-DE" sz="1600" dirty="0" err="1"/>
              <a:t>model</a:t>
            </a:r>
            <a:r>
              <a:rPr lang="de-DE" sz="1600" dirty="0"/>
              <a:t> was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b="1" dirty="0"/>
              <a:t>Cycle-GAN</a:t>
            </a:r>
            <a:r>
              <a:rPr lang="de-DE" sz="1600" dirty="0"/>
              <a:t> </a:t>
            </a:r>
            <a:endParaRPr lang="de-DE" sz="1600" b="1" dirty="0"/>
          </a:p>
          <a:p>
            <a:r>
              <a:rPr lang="de-DE" sz="1600" dirty="0"/>
              <a:t>Other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lea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interesting</a:t>
            </a:r>
            <a:r>
              <a:rPr lang="de-DE" sz="1600" dirty="0"/>
              <a:t> </a:t>
            </a:r>
            <a:r>
              <a:rPr lang="de-DE" sz="1600" dirty="0" err="1"/>
              <a:t>results</a:t>
            </a:r>
            <a:r>
              <a:rPr lang="de-DE" sz="1600" dirty="0"/>
              <a:t>, </a:t>
            </a:r>
            <a:r>
              <a:rPr lang="de-DE" sz="1600" dirty="0" err="1"/>
              <a:t>however</a:t>
            </a:r>
            <a:r>
              <a:rPr lang="de-DE" sz="1600" dirty="0"/>
              <a:t>,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ataset</a:t>
            </a:r>
            <a:r>
              <a:rPr lang="de-DE" sz="1600" dirty="0"/>
              <a:t> was not optimal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hem</a:t>
            </a:r>
            <a:endParaRPr lang="de-DE" sz="160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ABCB270-CEDE-DB27-83EC-387D3422F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„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painter</a:t>
            </a:r>
            <a:r>
              <a:rPr lang="de-DE" dirty="0"/>
              <a:t> </a:t>
            </a:r>
            <a:r>
              <a:rPr lang="de-DE" dirty="0" err="1"/>
              <a:t>ourserlves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“</a:t>
            </a:r>
          </a:p>
        </p:txBody>
      </p:sp>
      <p:pic>
        <p:nvPicPr>
          <p:cNvPr id="2" name="Content Placeholder 5" descr="A collage of different landscapes&#10;&#10;Description automatically generated">
            <a:extLst>
              <a:ext uri="{FF2B5EF4-FFF2-40B4-BE49-F238E27FC236}">
                <a16:creationId xmlns:a16="http://schemas.microsoft.com/office/drawing/2014/main" id="{7803D811-47AB-9054-CC69-2DCC1BAAB3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81" t="55302" r="753" b="1690"/>
          <a:stretch/>
        </p:blipFill>
        <p:spPr>
          <a:xfrm>
            <a:off x="5742432" y="1618488"/>
            <a:ext cx="2157984" cy="2110964"/>
          </a:xfrm>
          <a:prstGeom prst="rect">
            <a:avLst/>
          </a:prstGeom>
        </p:spPr>
      </p:pic>
      <p:sp>
        <p:nvSpPr>
          <p:cNvPr id="3" name="Google Shape;3465;p43">
            <a:extLst>
              <a:ext uri="{FF2B5EF4-FFF2-40B4-BE49-F238E27FC236}">
                <a16:creationId xmlns:a16="http://schemas.microsoft.com/office/drawing/2014/main" id="{16CB6573-6C9B-2351-F1F2-0EDA426E50BA}"/>
              </a:ext>
            </a:extLst>
          </p:cNvPr>
          <p:cNvSpPr/>
          <p:nvPr/>
        </p:nvSpPr>
        <p:spPr>
          <a:xfrm>
            <a:off x="1440009" y="3579192"/>
            <a:ext cx="58795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43</a:t>
            </a:r>
            <a:endParaRPr sz="1700" b="1" dirty="0">
              <a:solidFill>
                <a:schemeClr val="lt1"/>
              </a:solidFill>
            </a:endParaRPr>
          </a:p>
        </p:txBody>
      </p:sp>
      <p:sp>
        <p:nvSpPr>
          <p:cNvPr id="6" name="Google Shape;3466;p43">
            <a:extLst>
              <a:ext uri="{FF2B5EF4-FFF2-40B4-BE49-F238E27FC236}">
                <a16:creationId xmlns:a16="http://schemas.microsoft.com/office/drawing/2014/main" id="{53C9B62D-9BEC-3DF0-43CF-56C7A2F4D098}"/>
              </a:ext>
            </a:extLst>
          </p:cNvPr>
          <p:cNvSpPr/>
          <p:nvPr/>
        </p:nvSpPr>
        <p:spPr>
          <a:xfrm>
            <a:off x="3300984" y="3579192"/>
            <a:ext cx="76860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 dirty="0">
                <a:solidFill>
                  <a:schemeClr val="lt1"/>
                </a:solidFill>
              </a:rPr>
              <a:t>14</a:t>
            </a:r>
            <a:r>
              <a:rPr lang="en" sz="800" dirty="0">
                <a:solidFill>
                  <a:schemeClr val="lt1"/>
                </a:solidFill>
              </a:rPr>
              <a:t>/170</a:t>
            </a:r>
            <a:endParaRPr sz="800" dirty="0">
              <a:solidFill>
                <a:schemeClr val="lt1"/>
              </a:solidFill>
            </a:endParaRPr>
          </a:p>
        </p:txBody>
      </p:sp>
      <p:sp>
        <p:nvSpPr>
          <p:cNvPr id="7" name="Google Shape;3467;p43">
            <a:extLst>
              <a:ext uri="{FF2B5EF4-FFF2-40B4-BE49-F238E27FC236}">
                <a16:creationId xmlns:a16="http://schemas.microsoft.com/office/drawing/2014/main" id="{30123F1A-A98A-1A9C-D682-594ECD5E18F8}"/>
              </a:ext>
            </a:extLst>
          </p:cNvPr>
          <p:cNvSpPr txBox="1"/>
          <p:nvPr/>
        </p:nvSpPr>
        <p:spPr>
          <a:xfrm>
            <a:off x="542434" y="3613542"/>
            <a:ext cx="969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 dirty="0">
                <a:solidFill>
                  <a:schemeClr val="accent2"/>
                </a:solidFill>
              </a:rPr>
              <a:t>Score:</a:t>
            </a:r>
            <a:endParaRPr dirty="0"/>
          </a:p>
        </p:txBody>
      </p:sp>
      <p:sp>
        <p:nvSpPr>
          <p:cNvPr id="10" name="Google Shape;3468;p43">
            <a:extLst>
              <a:ext uri="{FF2B5EF4-FFF2-40B4-BE49-F238E27FC236}">
                <a16:creationId xmlns:a16="http://schemas.microsoft.com/office/drawing/2014/main" id="{6865B06D-475A-2F7D-83B0-9BAE43A69F1B}"/>
              </a:ext>
            </a:extLst>
          </p:cNvPr>
          <p:cNvSpPr txBox="1"/>
          <p:nvPr/>
        </p:nvSpPr>
        <p:spPr>
          <a:xfrm>
            <a:off x="2187509" y="3613542"/>
            <a:ext cx="1104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Position</a:t>
            </a:r>
            <a:r>
              <a:rPr lang="en" sz="1300" b="1">
                <a:solidFill>
                  <a:schemeClr val="accent2"/>
                </a:solidFill>
              </a:rPr>
              <a:t>:</a:t>
            </a:r>
            <a:endParaRPr sz="1200"/>
          </a:p>
        </p:txBody>
      </p:sp>
    </p:spTree>
    <p:extLst>
      <p:ext uri="{BB962C8B-B14F-4D97-AF65-F5344CB8AC3E}">
        <p14:creationId xmlns:p14="http://schemas.microsoft.com/office/powerpoint/2010/main" val="280482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6" name="Google Shape;3396;p41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325" cy="593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/>
              <a:t>Other Models / Experiences</a:t>
            </a:r>
            <a:endParaRPr/>
          </a:p>
        </p:txBody>
      </p:sp>
      <p:sp>
        <p:nvSpPr>
          <p:cNvPr id="3397" name="Google Shape;3397;p41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38" cy="141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sp>
        <p:nvSpPr>
          <p:cNvPr id="3398" name="Google Shape;3398;p41"/>
          <p:cNvSpPr/>
          <p:nvPr/>
        </p:nvSpPr>
        <p:spPr>
          <a:xfrm>
            <a:off x="861038" y="1543125"/>
            <a:ext cx="3575400" cy="2518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stA="50000" endPos="10000" dist="38100" dir="5400000" fadeDir="5400012" sy="-100000" algn="bl" rotWithShape="0"/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chemeClr val="lt1"/>
                </a:solidFill>
              </a:rPr>
              <a:t>Variational Autoencoder</a:t>
            </a:r>
            <a:endParaRPr sz="1300">
              <a:solidFill>
                <a:schemeClr val="lt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</a:rPr>
              <a:t>The unconventional approach.</a:t>
            </a:r>
            <a:endParaRPr sz="1300">
              <a:solidFill>
                <a:schemeClr val="lt1"/>
              </a:solidFill>
            </a:endParaRPr>
          </a:p>
        </p:txBody>
      </p:sp>
      <p:sp>
        <p:nvSpPr>
          <p:cNvPr id="3399" name="Google Shape;3399;p41"/>
          <p:cNvSpPr/>
          <p:nvPr/>
        </p:nvSpPr>
        <p:spPr>
          <a:xfrm>
            <a:off x="4714238" y="1543125"/>
            <a:ext cx="3575400" cy="2518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  <a:reflection stA="50000" endPos="10000" dist="38100" dir="5400000" fadeDir="5400012" sy="-100000" algn="bl" rotWithShape="0"/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chemeClr val="lt1"/>
                </a:solidFill>
              </a:rPr>
              <a:t>Diffusion Model</a:t>
            </a:r>
            <a:endParaRPr sz="1300" b="1">
              <a:solidFill>
                <a:schemeClr val="lt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</a:rPr>
              <a:t>The cutting edge of image generation.</a:t>
            </a:r>
            <a:endParaRPr sz="1300">
              <a:solidFill>
                <a:schemeClr val="lt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4" name="Google Shape;3404;p42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Variational Autoencoders</a:t>
            </a:r>
            <a:endParaRPr>
              <a:solidFill>
                <a:schemeClr val="accent2"/>
              </a:solidFill>
            </a:endParaRPr>
          </a:p>
        </p:txBody>
      </p:sp>
      <p:sp>
        <p:nvSpPr>
          <p:cNvPr id="3405" name="Google Shape;3405;p42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sp>
        <p:nvSpPr>
          <p:cNvPr id="3406" name="Google Shape;3406;p42"/>
          <p:cNvSpPr/>
          <p:nvPr/>
        </p:nvSpPr>
        <p:spPr>
          <a:xfrm>
            <a:off x="1317937" y="2380050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7" name="Google Shape;3407;p42"/>
          <p:cNvSpPr/>
          <p:nvPr/>
        </p:nvSpPr>
        <p:spPr>
          <a:xfrm>
            <a:off x="1496959" y="2481267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8" name="Google Shape;3408;p42"/>
          <p:cNvSpPr/>
          <p:nvPr/>
        </p:nvSpPr>
        <p:spPr>
          <a:xfrm>
            <a:off x="1675982" y="2571121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09" name="Google Shape;3409;p42"/>
          <p:cNvSpPr/>
          <p:nvPr/>
        </p:nvSpPr>
        <p:spPr>
          <a:xfrm rot="10800000">
            <a:off x="3055813" y="2380263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0" name="Google Shape;3410;p42"/>
          <p:cNvSpPr/>
          <p:nvPr/>
        </p:nvSpPr>
        <p:spPr>
          <a:xfrm rot="10800000">
            <a:off x="2876790" y="2480946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1" name="Google Shape;3411;p42"/>
          <p:cNvSpPr/>
          <p:nvPr/>
        </p:nvSpPr>
        <p:spPr>
          <a:xfrm rot="10800000">
            <a:off x="2697768" y="2571092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2" name="Google Shape;3412;p42"/>
          <p:cNvSpPr/>
          <p:nvPr/>
        </p:nvSpPr>
        <p:spPr>
          <a:xfrm>
            <a:off x="1850636" y="2697921"/>
            <a:ext cx="784200" cy="4077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2"/>
                </a:solidFill>
              </a:rPr>
              <a:t>Distribution</a:t>
            </a: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</p:txBody>
      </p:sp>
      <p:pic>
        <p:nvPicPr>
          <p:cNvPr id="3413" name="Google Shape;3413;p4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87325" y="252603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14" name="Google Shape;3414;p4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413625" y="252603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15" name="Google Shape;3415;p42"/>
          <p:cNvSpPr/>
          <p:nvPr/>
        </p:nvSpPr>
        <p:spPr>
          <a:xfrm>
            <a:off x="1109070" y="2852150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6" name="Google Shape;3416;p42"/>
          <p:cNvSpPr/>
          <p:nvPr/>
        </p:nvSpPr>
        <p:spPr>
          <a:xfrm>
            <a:off x="3204747" y="2852150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7" name="Google Shape;3417;p42"/>
          <p:cNvSpPr txBox="1"/>
          <p:nvPr/>
        </p:nvSpPr>
        <p:spPr>
          <a:xfrm>
            <a:off x="1619765" y="223400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 b="1">
                <a:solidFill>
                  <a:schemeClr val="accent2"/>
                </a:solidFill>
              </a:rPr>
              <a:t>Variational Autoencoder</a:t>
            </a:r>
            <a:endParaRPr sz="900" b="1">
              <a:solidFill>
                <a:schemeClr val="accent2"/>
              </a:solidFill>
            </a:endParaRPr>
          </a:p>
        </p:txBody>
      </p:sp>
      <p:sp>
        <p:nvSpPr>
          <p:cNvPr id="3418" name="Google Shape;3418;p42"/>
          <p:cNvSpPr txBox="1"/>
          <p:nvPr/>
        </p:nvSpPr>
        <p:spPr>
          <a:xfrm>
            <a:off x="912273" y="3481145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Compression</a:t>
            </a:r>
            <a:endParaRPr sz="1100">
              <a:solidFill>
                <a:schemeClr val="accent2"/>
              </a:solidFill>
            </a:endParaRPr>
          </a:p>
        </p:txBody>
      </p:sp>
      <p:sp>
        <p:nvSpPr>
          <p:cNvPr id="3419" name="Google Shape;3419;p42"/>
          <p:cNvSpPr txBox="1"/>
          <p:nvPr/>
        </p:nvSpPr>
        <p:spPr>
          <a:xfrm>
            <a:off x="2471928" y="3481145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Reconstruction</a:t>
            </a:r>
            <a:endParaRPr sz="1100">
              <a:solidFill>
                <a:schemeClr val="accent2"/>
              </a:solidFill>
            </a:endParaRPr>
          </a:p>
        </p:txBody>
      </p:sp>
      <p:pic>
        <p:nvPicPr>
          <p:cNvPr id="3420" name="Google Shape;3420;p4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110338" y="2852150"/>
            <a:ext cx="264674" cy="22309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421" name="Google Shape;3421;p42"/>
          <p:cNvCxnSpPr/>
          <p:nvPr/>
        </p:nvCxnSpPr>
        <p:spPr>
          <a:xfrm>
            <a:off x="2180095" y="2977041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2" name="Google Shape;3422;p42"/>
          <p:cNvCxnSpPr/>
          <p:nvPr/>
        </p:nvCxnSpPr>
        <p:spPr>
          <a:xfrm>
            <a:off x="2210698" y="2917226"/>
            <a:ext cx="600" cy="108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3" name="Google Shape;3423;p42"/>
          <p:cNvCxnSpPr/>
          <p:nvPr/>
        </p:nvCxnSpPr>
        <p:spPr>
          <a:xfrm>
            <a:off x="2269221" y="2912053"/>
            <a:ext cx="600" cy="114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4" name="Google Shape;3424;p42"/>
          <p:cNvCxnSpPr/>
          <p:nvPr/>
        </p:nvCxnSpPr>
        <p:spPr>
          <a:xfrm>
            <a:off x="2241801" y="2898760"/>
            <a:ext cx="1500" cy="125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5" name="Google Shape;3425;p42"/>
          <p:cNvCxnSpPr/>
          <p:nvPr/>
        </p:nvCxnSpPr>
        <p:spPr>
          <a:xfrm>
            <a:off x="2297328" y="2977041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6" name="Google Shape;3426;p42"/>
          <p:cNvCxnSpPr/>
          <p:nvPr/>
        </p:nvCxnSpPr>
        <p:spPr>
          <a:xfrm flipH="1">
            <a:off x="2324669" y="2994436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27" name="Google Shape;3427;p42"/>
          <p:cNvCxnSpPr/>
          <p:nvPr/>
        </p:nvCxnSpPr>
        <p:spPr>
          <a:xfrm flipH="1">
            <a:off x="2152813" y="2992086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28" name="Google Shape;3428;p42"/>
          <p:cNvSpPr txBox="1"/>
          <p:nvPr/>
        </p:nvSpPr>
        <p:spPr>
          <a:xfrm>
            <a:off x="170625" y="1455563"/>
            <a:ext cx="425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Training: </a:t>
            </a:r>
            <a:r>
              <a:rPr lang="en" sz="1500">
                <a:solidFill>
                  <a:schemeClr val="accent1"/>
                </a:solidFill>
              </a:rPr>
              <a:t>Feed with real Monet images.</a:t>
            </a:r>
            <a:endParaRPr sz="1500">
              <a:solidFill>
                <a:schemeClr val="accent1"/>
              </a:solidFill>
            </a:endParaRPr>
          </a:p>
        </p:txBody>
      </p:sp>
      <p:sp>
        <p:nvSpPr>
          <p:cNvPr id="3429" name="Google Shape;3429;p42"/>
          <p:cNvSpPr/>
          <p:nvPr/>
        </p:nvSpPr>
        <p:spPr>
          <a:xfrm>
            <a:off x="5874337" y="2380075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0" name="Google Shape;3430;p42"/>
          <p:cNvSpPr/>
          <p:nvPr/>
        </p:nvSpPr>
        <p:spPr>
          <a:xfrm>
            <a:off x="6053359" y="24812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1" name="Google Shape;3431;p42"/>
          <p:cNvSpPr/>
          <p:nvPr/>
        </p:nvSpPr>
        <p:spPr>
          <a:xfrm>
            <a:off x="6232382" y="2571146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2" name="Google Shape;3432;p42"/>
          <p:cNvSpPr/>
          <p:nvPr/>
        </p:nvSpPr>
        <p:spPr>
          <a:xfrm rot="10800000">
            <a:off x="7612213" y="2380288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3" name="Google Shape;3433;p42"/>
          <p:cNvSpPr/>
          <p:nvPr/>
        </p:nvSpPr>
        <p:spPr>
          <a:xfrm rot="10800000">
            <a:off x="7433190" y="2480971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4" name="Google Shape;3434;p42"/>
          <p:cNvSpPr/>
          <p:nvPr/>
        </p:nvSpPr>
        <p:spPr>
          <a:xfrm rot="10800000">
            <a:off x="7254168" y="2571117"/>
            <a:ext cx="111600" cy="66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5" name="Google Shape;3435;p42"/>
          <p:cNvSpPr/>
          <p:nvPr/>
        </p:nvSpPr>
        <p:spPr>
          <a:xfrm>
            <a:off x="6407036" y="2697946"/>
            <a:ext cx="784200" cy="4077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1">
                <a:solidFill>
                  <a:schemeClr val="accent2"/>
                </a:solidFill>
              </a:rPr>
              <a:t>Distribution</a:t>
            </a: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2"/>
              </a:solidFill>
            </a:endParaRPr>
          </a:p>
        </p:txBody>
      </p:sp>
      <p:sp>
        <p:nvSpPr>
          <p:cNvPr id="3436" name="Google Shape;3436;p42"/>
          <p:cNvSpPr/>
          <p:nvPr/>
        </p:nvSpPr>
        <p:spPr>
          <a:xfrm>
            <a:off x="5665470" y="2852175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7" name="Google Shape;3437;p42"/>
          <p:cNvSpPr/>
          <p:nvPr/>
        </p:nvSpPr>
        <p:spPr>
          <a:xfrm>
            <a:off x="7761147" y="2852175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8" name="Google Shape;3438;p42"/>
          <p:cNvSpPr txBox="1"/>
          <p:nvPr/>
        </p:nvSpPr>
        <p:spPr>
          <a:xfrm>
            <a:off x="6176165" y="2234025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 b="1">
                <a:solidFill>
                  <a:schemeClr val="accent2"/>
                </a:solidFill>
              </a:rPr>
              <a:t>Variational Autoencoder</a:t>
            </a:r>
            <a:endParaRPr sz="900" b="1">
              <a:solidFill>
                <a:schemeClr val="accent2"/>
              </a:solidFill>
            </a:endParaRPr>
          </a:p>
        </p:txBody>
      </p:sp>
      <p:sp>
        <p:nvSpPr>
          <p:cNvPr id="3439" name="Google Shape;3439;p42"/>
          <p:cNvSpPr txBox="1"/>
          <p:nvPr/>
        </p:nvSpPr>
        <p:spPr>
          <a:xfrm>
            <a:off x="5468673" y="34811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Compression</a:t>
            </a:r>
            <a:endParaRPr sz="1100">
              <a:solidFill>
                <a:schemeClr val="accent2"/>
              </a:solidFill>
            </a:endParaRPr>
          </a:p>
        </p:txBody>
      </p:sp>
      <p:sp>
        <p:nvSpPr>
          <p:cNvPr id="3440" name="Google Shape;3440;p42"/>
          <p:cNvSpPr txBox="1"/>
          <p:nvPr/>
        </p:nvSpPr>
        <p:spPr>
          <a:xfrm>
            <a:off x="7028328" y="34811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chemeClr val="accent2"/>
                </a:solidFill>
              </a:rPr>
              <a:t>Reconstruction</a:t>
            </a:r>
            <a:endParaRPr sz="1100">
              <a:solidFill>
                <a:schemeClr val="accent2"/>
              </a:solidFill>
            </a:endParaRPr>
          </a:p>
        </p:txBody>
      </p:sp>
      <p:pic>
        <p:nvPicPr>
          <p:cNvPr id="3441" name="Google Shape;3441;p4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666738" y="2852175"/>
            <a:ext cx="264674" cy="22309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442" name="Google Shape;3442;p42"/>
          <p:cNvCxnSpPr/>
          <p:nvPr/>
        </p:nvCxnSpPr>
        <p:spPr>
          <a:xfrm>
            <a:off x="6736495" y="2977066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3" name="Google Shape;3443;p42"/>
          <p:cNvCxnSpPr/>
          <p:nvPr/>
        </p:nvCxnSpPr>
        <p:spPr>
          <a:xfrm>
            <a:off x="6767098" y="2917251"/>
            <a:ext cx="600" cy="108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4" name="Google Shape;3444;p42"/>
          <p:cNvCxnSpPr/>
          <p:nvPr/>
        </p:nvCxnSpPr>
        <p:spPr>
          <a:xfrm>
            <a:off x="6825621" y="2912078"/>
            <a:ext cx="600" cy="114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5" name="Google Shape;3445;p42"/>
          <p:cNvCxnSpPr/>
          <p:nvPr/>
        </p:nvCxnSpPr>
        <p:spPr>
          <a:xfrm>
            <a:off x="6798201" y="2898785"/>
            <a:ext cx="1500" cy="125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6" name="Google Shape;3446;p42"/>
          <p:cNvCxnSpPr/>
          <p:nvPr/>
        </p:nvCxnSpPr>
        <p:spPr>
          <a:xfrm>
            <a:off x="6853728" y="2977066"/>
            <a:ext cx="0" cy="46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7" name="Google Shape;3447;p42"/>
          <p:cNvCxnSpPr/>
          <p:nvPr/>
        </p:nvCxnSpPr>
        <p:spPr>
          <a:xfrm flipH="1">
            <a:off x="6881069" y="2994461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8" name="Google Shape;3448;p42"/>
          <p:cNvCxnSpPr/>
          <p:nvPr/>
        </p:nvCxnSpPr>
        <p:spPr>
          <a:xfrm flipH="1">
            <a:off x="6709213" y="2992111"/>
            <a:ext cx="600" cy="375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49" name="Google Shape;3449;p42"/>
          <p:cNvSpPr/>
          <p:nvPr/>
        </p:nvSpPr>
        <p:spPr>
          <a:xfrm>
            <a:off x="4490900" y="1065600"/>
            <a:ext cx="31200" cy="3672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0" name="Google Shape;3450;p42"/>
          <p:cNvSpPr txBox="1"/>
          <p:nvPr/>
        </p:nvSpPr>
        <p:spPr>
          <a:xfrm>
            <a:off x="4802275" y="1455575"/>
            <a:ext cx="425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Inference: </a:t>
            </a:r>
            <a:r>
              <a:rPr lang="en" sz="1500">
                <a:solidFill>
                  <a:schemeClr val="accent1"/>
                </a:solidFill>
              </a:rPr>
              <a:t>Feed with normal pictures.</a:t>
            </a:r>
            <a:endParaRPr sz="1500">
              <a:solidFill>
                <a:schemeClr val="accent1"/>
              </a:solidFill>
            </a:endParaRPr>
          </a:p>
        </p:txBody>
      </p:sp>
      <p:pic>
        <p:nvPicPr>
          <p:cNvPr id="3451" name="Google Shape;3451;p42"/>
          <p:cNvPicPr preferRelativeResize="0"/>
          <p:nvPr/>
        </p:nvPicPr>
        <p:blipFill rotWithShape="1">
          <a:blip r:embed="rId6">
            <a:alphaModFix/>
          </a:blip>
          <a:srcRect l="10674" r="80252" b="59844"/>
          <a:stretch/>
        </p:blipFill>
        <p:spPr>
          <a:xfrm>
            <a:off x="4815000" y="2279400"/>
            <a:ext cx="829675" cy="10431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52" name="Google Shape;3452;p42"/>
          <p:cNvPicPr preferRelativeResize="0"/>
          <p:nvPr/>
        </p:nvPicPr>
        <p:blipFill rotWithShape="1">
          <a:blip r:embed="rId6">
            <a:alphaModFix/>
          </a:blip>
          <a:srcRect l="10634" t="57829" r="80291"/>
          <a:stretch/>
        </p:blipFill>
        <p:spPr>
          <a:xfrm>
            <a:off x="7970075" y="2234013"/>
            <a:ext cx="829675" cy="109547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7" name="Google Shape;3457;p43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Variational Autoencoders</a:t>
            </a:r>
            <a:r>
              <a:rPr lang="en"/>
              <a:t>: Some Results</a:t>
            </a:r>
            <a:endParaRPr/>
          </a:p>
        </p:txBody>
      </p:sp>
      <p:sp>
        <p:nvSpPr>
          <p:cNvPr id="3458" name="Google Shape;3458;p43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pic>
        <p:nvPicPr>
          <p:cNvPr id="3459" name="Google Shape;3459;p43"/>
          <p:cNvPicPr preferRelativeResize="0"/>
          <p:nvPr/>
        </p:nvPicPr>
        <p:blipFill rotWithShape="1">
          <a:blip r:embed="rId3">
            <a:alphaModFix/>
          </a:blip>
          <a:srcRect l="10674" r="80252" b="59844"/>
          <a:stretch/>
        </p:blipFill>
        <p:spPr>
          <a:xfrm>
            <a:off x="534228" y="1367635"/>
            <a:ext cx="905852" cy="974206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0" name="Google Shape;3460;p43"/>
          <p:cNvPicPr preferRelativeResize="0"/>
          <p:nvPr/>
        </p:nvPicPr>
        <p:blipFill rotWithShape="1">
          <a:blip r:embed="rId3">
            <a:alphaModFix/>
          </a:blip>
          <a:srcRect l="10634" t="57829" r="80291"/>
          <a:stretch/>
        </p:blipFill>
        <p:spPr>
          <a:xfrm>
            <a:off x="1752584" y="1343175"/>
            <a:ext cx="905852" cy="10231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1" name="Google Shape;3461;p43"/>
          <p:cNvPicPr preferRelativeResize="0"/>
          <p:nvPr/>
        </p:nvPicPr>
        <p:blipFill rotWithShape="1">
          <a:blip r:embed="rId3">
            <a:alphaModFix/>
          </a:blip>
          <a:srcRect l="60464" t="58752" r="30375" b="1971"/>
          <a:stretch/>
        </p:blipFill>
        <p:spPr>
          <a:xfrm>
            <a:off x="1752575" y="2503900"/>
            <a:ext cx="905852" cy="9439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2" name="Google Shape;3462;p43"/>
          <p:cNvPicPr preferRelativeResize="0"/>
          <p:nvPr/>
        </p:nvPicPr>
        <p:blipFill rotWithShape="1">
          <a:blip r:embed="rId3">
            <a:alphaModFix/>
          </a:blip>
          <a:srcRect l="60342" r="30322" b="59874"/>
          <a:stretch/>
        </p:blipFill>
        <p:spPr>
          <a:xfrm>
            <a:off x="525450" y="2503896"/>
            <a:ext cx="905852" cy="946278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3" name="Google Shape;3463;p43"/>
          <p:cNvPicPr preferRelativeResize="0"/>
          <p:nvPr/>
        </p:nvPicPr>
        <p:blipFill rotWithShape="1">
          <a:blip r:embed="rId3">
            <a:alphaModFix/>
          </a:blip>
          <a:srcRect l="30871" t="59451" r="60306" b="2627"/>
          <a:stretch/>
        </p:blipFill>
        <p:spPr>
          <a:xfrm>
            <a:off x="1752581" y="3647489"/>
            <a:ext cx="905852" cy="946273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64" name="Google Shape;3464;p43"/>
          <p:cNvPicPr preferRelativeResize="0"/>
          <p:nvPr/>
        </p:nvPicPr>
        <p:blipFill rotWithShape="1">
          <a:blip r:embed="rId3">
            <a:alphaModFix/>
          </a:blip>
          <a:srcRect l="30871" r="60306" b="60960"/>
          <a:stretch/>
        </p:blipFill>
        <p:spPr>
          <a:xfrm>
            <a:off x="554076" y="3633518"/>
            <a:ext cx="905852" cy="974206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65" name="Google Shape;3465;p43"/>
          <p:cNvSpPr/>
          <p:nvPr/>
        </p:nvSpPr>
        <p:spPr>
          <a:xfrm>
            <a:off x="4300550" y="2446575"/>
            <a:ext cx="58795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chemeClr val="lt1"/>
                </a:solidFill>
              </a:rPr>
              <a:t>184</a:t>
            </a:r>
            <a:endParaRPr sz="1700" b="1">
              <a:solidFill>
                <a:schemeClr val="lt1"/>
              </a:solidFill>
            </a:endParaRPr>
          </a:p>
        </p:txBody>
      </p:sp>
      <p:sp>
        <p:nvSpPr>
          <p:cNvPr id="3466" name="Google Shape;3466;p43"/>
          <p:cNvSpPr/>
          <p:nvPr/>
        </p:nvSpPr>
        <p:spPr>
          <a:xfrm>
            <a:off x="4300550" y="3023300"/>
            <a:ext cx="768600" cy="484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chemeClr val="lt1"/>
                </a:solidFill>
              </a:rPr>
              <a:t>137</a:t>
            </a:r>
            <a:r>
              <a:rPr lang="en" sz="800">
                <a:solidFill>
                  <a:schemeClr val="lt1"/>
                </a:solidFill>
              </a:rPr>
              <a:t>/170</a:t>
            </a:r>
            <a:endParaRPr sz="800">
              <a:solidFill>
                <a:schemeClr val="lt1"/>
              </a:solidFill>
            </a:endParaRPr>
          </a:p>
        </p:txBody>
      </p:sp>
      <p:sp>
        <p:nvSpPr>
          <p:cNvPr id="3467" name="Google Shape;3467;p43"/>
          <p:cNvSpPr txBox="1"/>
          <p:nvPr/>
        </p:nvSpPr>
        <p:spPr>
          <a:xfrm>
            <a:off x="3402975" y="2480925"/>
            <a:ext cx="969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Score:</a:t>
            </a:r>
            <a:endParaRPr/>
          </a:p>
        </p:txBody>
      </p:sp>
      <p:sp>
        <p:nvSpPr>
          <p:cNvPr id="3468" name="Google Shape;3468;p43"/>
          <p:cNvSpPr txBox="1"/>
          <p:nvPr/>
        </p:nvSpPr>
        <p:spPr>
          <a:xfrm>
            <a:off x="3187075" y="3092000"/>
            <a:ext cx="1104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1">
                <a:solidFill>
                  <a:schemeClr val="accent2"/>
                </a:solidFill>
              </a:rPr>
              <a:t>Position</a:t>
            </a:r>
            <a:r>
              <a:rPr lang="en" sz="1300" b="1">
                <a:solidFill>
                  <a:schemeClr val="accent2"/>
                </a:solidFill>
              </a:rPr>
              <a:t>:</a:t>
            </a:r>
            <a:endParaRPr sz="1200"/>
          </a:p>
        </p:txBody>
      </p:sp>
      <p:sp>
        <p:nvSpPr>
          <p:cNvPr id="3469" name="Google Shape;3469;p43"/>
          <p:cNvSpPr txBox="1">
            <a:spLocks noGrp="1"/>
          </p:cNvSpPr>
          <p:nvPr>
            <p:ph type="body" idx="3"/>
          </p:nvPr>
        </p:nvSpPr>
        <p:spPr>
          <a:xfrm>
            <a:off x="5585675" y="1348025"/>
            <a:ext cx="3169800" cy="3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accent2"/>
                </a:solidFill>
              </a:rPr>
              <a:t>Key Takeaways</a:t>
            </a:r>
            <a:r>
              <a:rPr lang="en"/>
              <a:t>: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Blurry outputs, typical for VAE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(V)AEs are not designed for this use-case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Model somehow learned to create “monet-like” images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/>
              <a:t>Possible Improvements:</a:t>
            </a:r>
            <a:endParaRPr/>
          </a:p>
          <a:p>
            <a:pPr marL="914400" lvl="1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▪"/>
            </a:pPr>
            <a:r>
              <a:rPr lang="en"/>
              <a:t>Consider using AE</a:t>
            </a:r>
            <a:endParaRPr/>
          </a:p>
          <a:p>
            <a:pPr marL="914400" lvl="1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▪"/>
            </a:pPr>
            <a:r>
              <a:rPr lang="en"/>
              <a:t>Further hyperparameter tuning</a:t>
            </a:r>
            <a:endParaRPr/>
          </a:p>
        </p:txBody>
      </p:sp>
      <p:sp>
        <p:nvSpPr>
          <p:cNvPr id="3470" name="Google Shape;3470;p43"/>
          <p:cNvSpPr txBox="1"/>
          <p:nvPr/>
        </p:nvSpPr>
        <p:spPr>
          <a:xfrm>
            <a:off x="3187075" y="1953850"/>
            <a:ext cx="13134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chemeClr val="accent2"/>
                </a:solidFill>
              </a:rPr>
              <a:t>Competition</a:t>
            </a:r>
            <a:r>
              <a:rPr lang="en">
                <a:solidFill>
                  <a:schemeClr val="accent1"/>
                </a:solidFill>
              </a:rPr>
              <a:t>:</a:t>
            </a:r>
            <a:endParaRPr sz="13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5" name="Google Shape;3475;p44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Diffusion Model</a:t>
            </a:r>
            <a:endParaRPr/>
          </a:p>
        </p:txBody>
      </p:sp>
      <p:sp>
        <p:nvSpPr>
          <p:cNvPr id="3476" name="Google Shape;3476;p44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sp>
        <p:nvSpPr>
          <p:cNvPr id="3477" name="Google Shape;3477;p44"/>
          <p:cNvSpPr/>
          <p:nvPr/>
        </p:nvSpPr>
        <p:spPr>
          <a:xfrm>
            <a:off x="2363437" y="2641575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8" name="Google Shape;3478;p44"/>
          <p:cNvSpPr/>
          <p:nvPr/>
        </p:nvSpPr>
        <p:spPr>
          <a:xfrm>
            <a:off x="2542459" y="27427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79" name="Google Shape;3479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2825" y="2787563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80" name="Google Shape;3480;p44"/>
          <p:cNvSpPr/>
          <p:nvPr/>
        </p:nvSpPr>
        <p:spPr>
          <a:xfrm>
            <a:off x="2154570" y="3113675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1" name="Google Shape;3481;p44"/>
          <p:cNvSpPr txBox="1"/>
          <p:nvPr/>
        </p:nvSpPr>
        <p:spPr>
          <a:xfrm>
            <a:off x="2669748" y="36846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solidFill>
                  <a:schemeClr val="accent2"/>
                </a:solidFill>
              </a:rPr>
              <a:t>Adding Noise</a:t>
            </a:r>
            <a:endParaRPr sz="1600" b="1">
              <a:solidFill>
                <a:schemeClr val="accent2"/>
              </a:solidFill>
            </a:endParaRPr>
          </a:p>
        </p:txBody>
      </p:sp>
      <p:pic>
        <p:nvPicPr>
          <p:cNvPr id="3482" name="Google Shape;3482;p44"/>
          <p:cNvPicPr preferRelativeResize="0"/>
          <p:nvPr/>
        </p:nvPicPr>
        <p:blipFill rotWithShape="1">
          <a:blip r:embed="rId4">
            <a:alphaModFix/>
          </a:blip>
          <a:srcRect l="73436" t="41937" r="17987" b="37845"/>
          <a:stretch/>
        </p:blipFill>
        <p:spPr>
          <a:xfrm>
            <a:off x="4153025" y="2787900"/>
            <a:ext cx="784399" cy="751200"/>
          </a:xfrm>
          <a:prstGeom prst="rect">
            <a:avLst/>
          </a:prstGeom>
          <a:noFill/>
          <a:ln>
            <a:noFill/>
          </a:ln>
        </p:spPr>
      </p:pic>
      <p:sp>
        <p:nvSpPr>
          <p:cNvPr id="3483" name="Google Shape;3483;p44"/>
          <p:cNvSpPr/>
          <p:nvPr/>
        </p:nvSpPr>
        <p:spPr>
          <a:xfrm>
            <a:off x="2721484" y="2742479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4" name="Google Shape;3484;p44"/>
          <p:cNvSpPr/>
          <p:nvPr/>
        </p:nvSpPr>
        <p:spPr>
          <a:xfrm>
            <a:off x="3752334" y="2742467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85" name="Google Shape;3485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00488" y="278788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86" name="Google Shape;3486;p44"/>
          <p:cNvPicPr preferRelativeResize="0"/>
          <p:nvPr/>
        </p:nvPicPr>
        <p:blipFill rotWithShape="1">
          <a:blip r:embed="rId4">
            <a:alphaModFix amt="52000"/>
          </a:blip>
          <a:srcRect l="73436" t="41937" r="17987" b="37845"/>
          <a:stretch/>
        </p:blipFill>
        <p:spPr>
          <a:xfrm>
            <a:off x="2900488" y="2787900"/>
            <a:ext cx="784399" cy="751192"/>
          </a:xfrm>
          <a:prstGeom prst="rect">
            <a:avLst/>
          </a:prstGeom>
          <a:noFill/>
          <a:ln>
            <a:noFill/>
          </a:ln>
        </p:spPr>
      </p:pic>
      <p:sp>
        <p:nvSpPr>
          <p:cNvPr id="3487" name="Google Shape;3487;p44"/>
          <p:cNvSpPr/>
          <p:nvPr/>
        </p:nvSpPr>
        <p:spPr>
          <a:xfrm>
            <a:off x="3946422" y="27428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8" name="Google Shape;3488;p44"/>
          <p:cNvSpPr/>
          <p:nvPr/>
        </p:nvSpPr>
        <p:spPr>
          <a:xfrm flipH="1">
            <a:off x="6645562" y="2641475"/>
            <a:ext cx="111600" cy="10431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9" name="Google Shape;3489;p44"/>
          <p:cNvSpPr/>
          <p:nvPr/>
        </p:nvSpPr>
        <p:spPr>
          <a:xfrm flipH="1">
            <a:off x="6466540" y="274269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0" name="Google Shape;3490;p44"/>
          <p:cNvSpPr/>
          <p:nvPr/>
        </p:nvSpPr>
        <p:spPr>
          <a:xfrm flipH="1">
            <a:off x="6287515" y="2742379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1" name="Google Shape;3491;p44"/>
          <p:cNvSpPr/>
          <p:nvPr/>
        </p:nvSpPr>
        <p:spPr>
          <a:xfrm flipH="1">
            <a:off x="5226515" y="2742417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92" name="Google Shape;3492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420637" y="2787788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3493" name="Google Shape;3493;p44"/>
          <p:cNvPicPr preferRelativeResize="0"/>
          <p:nvPr/>
        </p:nvPicPr>
        <p:blipFill rotWithShape="1">
          <a:blip r:embed="rId4">
            <a:alphaModFix amt="52000"/>
          </a:blip>
          <a:srcRect l="73436" t="41937" r="17987" b="37845"/>
          <a:stretch/>
        </p:blipFill>
        <p:spPr>
          <a:xfrm>
            <a:off x="5420625" y="2787850"/>
            <a:ext cx="784399" cy="751192"/>
          </a:xfrm>
          <a:prstGeom prst="rect">
            <a:avLst/>
          </a:prstGeom>
          <a:noFill/>
          <a:ln>
            <a:noFill/>
          </a:ln>
        </p:spPr>
      </p:pic>
      <p:sp>
        <p:nvSpPr>
          <p:cNvPr id="3494" name="Google Shape;3494;p44"/>
          <p:cNvSpPr/>
          <p:nvPr/>
        </p:nvSpPr>
        <p:spPr>
          <a:xfrm flipH="1">
            <a:off x="5032427" y="2742842"/>
            <a:ext cx="111600" cy="8412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495" name="Google Shape;3495;p4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033425" y="2787451"/>
            <a:ext cx="784400" cy="7510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3496" name="Google Shape;3496;p44"/>
          <p:cNvSpPr/>
          <p:nvPr/>
        </p:nvSpPr>
        <p:spPr>
          <a:xfrm>
            <a:off x="6824547" y="3113563"/>
            <a:ext cx="171600" cy="993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7" name="Google Shape;3497;p44"/>
          <p:cNvSpPr txBox="1"/>
          <p:nvPr/>
        </p:nvSpPr>
        <p:spPr>
          <a:xfrm>
            <a:off x="5189885" y="3684670"/>
            <a:ext cx="1245900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solidFill>
                  <a:schemeClr val="accent2"/>
                </a:solidFill>
              </a:rPr>
              <a:t>Reverse Noising</a:t>
            </a:r>
            <a:endParaRPr sz="1600" b="1">
              <a:solidFill>
                <a:schemeClr val="accent2"/>
              </a:solidFill>
            </a:endParaRPr>
          </a:p>
        </p:txBody>
      </p:sp>
      <p:sp>
        <p:nvSpPr>
          <p:cNvPr id="3498" name="Google Shape;3498;p44"/>
          <p:cNvSpPr txBox="1">
            <a:spLocks noGrp="1"/>
          </p:cNvSpPr>
          <p:nvPr>
            <p:ph type="body" idx="3"/>
          </p:nvPr>
        </p:nvSpPr>
        <p:spPr>
          <a:xfrm>
            <a:off x="495300" y="1499225"/>
            <a:ext cx="7810500" cy="132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chemeClr val="accent2"/>
              </a:solidFill>
            </a:endParaRPr>
          </a:p>
          <a:p>
            <a:pPr marL="457200" lvl="0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▪"/>
            </a:pPr>
            <a:r>
              <a:rPr lang="en" sz="1300">
                <a:solidFill>
                  <a:schemeClr val="accent2"/>
                </a:solidFill>
              </a:rPr>
              <a:t>Forward Process</a:t>
            </a:r>
            <a:r>
              <a:rPr lang="en" sz="1300"/>
              <a:t>: Gradually add noise to Monet images</a:t>
            </a:r>
            <a:endParaRPr sz="1300"/>
          </a:p>
          <a:p>
            <a:pPr marL="457200" lvl="0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▪"/>
            </a:pPr>
            <a:r>
              <a:rPr lang="en" sz="1300">
                <a:solidFill>
                  <a:schemeClr val="accent2"/>
                </a:solidFill>
              </a:rPr>
              <a:t>Denoising</a:t>
            </a:r>
            <a:r>
              <a:rPr lang="en" sz="1300"/>
              <a:t>: Learn to reverse it to generate new samples.</a:t>
            </a:r>
            <a:endParaRPr sz="13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3" name="Google Shape;3503;p45"/>
          <p:cNvSpPr txBox="1">
            <a:spLocks noGrp="1"/>
          </p:cNvSpPr>
          <p:nvPr>
            <p:ph type="body" idx="1"/>
          </p:nvPr>
        </p:nvSpPr>
        <p:spPr>
          <a:xfrm>
            <a:off x="287337" y="231777"/>
            <a:ext cx="8569200" cy="5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</a:pPr>
            <a:r>
              <a:rPr lang="en">
                <a:solidFill>
                  <a:schemeClr val="accent2"/>
                </a:solidFill>
              </a:rPr>
              <a:t>Diffusion Model</a:t>
            </a:r>
            <a:endParaRPr/>
          </a:p>
        </p:txBody>
      </p:sp>
      <p:sp>
        <p:nvSpPr>
          <p:cNvPr id="3504" name="Google Shape;3504;p45"/>
          <p:cNvSpPr txBox="1">
            <a:spLocks noGrp="1"/>
          </p:cNvSpPr>
          <p:nvPr>
            <p:ph type="body" idx="2"/>
          </p:nvPr>
        </p:nvSpPr>
        <p:spPr>
          <a:xfrm>
            <a:off x="294024" y="951319"/>
            <a:ext cx="8562600" cy="1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</a:pPr>
            <a:r>
              <a:rPr lang="en"/>
              <a:t>Thinking outside the box.</a:t>
            </a:r>
            <a:endParaRPr/>
          </a:p>
        </p:txBody>
      </p:sp>
      <p:pic>
        <p:nvPicPr>
          <p:cNvPr id="3505" name="Google Shape;3505;p45"/>
          <p:cNvPicPr preferRelativeResize="0"/>
          <p:nvPr/>
        </p:nvPicPr>
        <p:blipFill rotWithShape="1">
          <a:blip r:embed="rId3">
            <a:alphaModFix/>
          </a:blip>
          <a:srcRect l="1422" r="70954" b="68652"/>
          <a:stretch/>
        </p:blipFill>
        <p:spPr>
          <a:xfrm>
            <a:off x="1302425" y="1390732"/>
            <a:ext cx="864588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6" name="Google Shape;3506;p45"/>
          <p:cNvPicPr preferRelativeResize="0"/>
          <p:nvPr/>
        </p:nvPicPr>
        <p:blipFill rotWithShape="1">
          <a:blip r:embed="rId3">
            <a:alphaModFix/>
          </a:blip>
          <a:srcRect l="69192" t="67385" r="3184" b="1266"/>
          <a:stretch/>
        </p:blipFill>
        <p:spPr>
          <a:xfrm>
            <a:off x="2381312" y="3719127"/>
            <a:ext cx="864588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7" name="Google Shape;3507;p45"/>
          <p:cNvPicPr preferRelativeResize="0"/>
          <p:nvPr/>
        </p:nvPicPr>
        <p:blipFill rotWithShape="1">
          <a:blip r:embed="rId3">
            <a:alphaModFix/>
          </a:blip>
          <a:srcRect l="1422" t="67384" r="70954"/>
          <a:stretch/>
        </p:blipFill>
        <p:spPr>
          <a:xfrm>
            <a:off x="2381312" y="1369388"/>
            <a:ext cx="864588" cy="1098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8" name="Google Shape;3508;p45"/>
          <p:cNvPicPr preferRelativeResize="0"/>
          <p:nvPr/>
        </p:nvPicPr>
        <p:blipFill rotWithShape="1">
          <a:blip r:embed="rId3">
            <a:alphaModFix/>
          </a:blip>
          <a:srcRect l="35277" r="37100" b="68652"/>
          <a:stretch/>
        </p:blipFill>
        <p:spPr>
          <a:xfrm>
            <a:off x="1302436" y="2554929"/>
            <a:ext cx="864566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9" name="Google Shape;3509;p45"/>
          <p:cNvPicPr preferRelativeResize="0"/>
          <p:nvPr/>
        </p:nvPicPr>
        <p:blipFill rotWithShape="1">
          <a:blip r:embed="rId3">
            <a:alphaModFix/>
          </a:blip>
          <a:srcRect l="35277" t="67385" r="37100" b="1266"/>
          <a:stretch/>
        </p:blipFill>
        <p:spPr>
          <a:xfrm>
            <a:off x="2381323" y="2554929"/>
            <a:ext cx="864566" cy="105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0" name="Google Shape;3510;p45"/>
          <p:cNvPicPr preferRelativeResize="0"/>
          <p:nvPr/>
        </p:nvPicPr>
        <p:blipFill rotWithShape="1">
          <a:blip r:embed="rId3">
            <a:alphaModFix/>
          </a:blip>
          <a:srcRect l="69192" r="3184" b="68652"/>
          <a:stretch/>
        </p:blipFill>
        <p:spPr>
          <a:xfrm>
            <a:off x="1302436" y="3719127"/>
            <a:ext cx="864588" cy="1055385"/>
          </a:xfrm>
          <a:prstGeom prst="rect">
            <a:avLst/>
          </a:prstGeom>
          <a:noFill/>
          <a:ln>
            <a:noFill/>
          </a:ln>
        </p:spPr>
      </p:pic>
      <p:sp>
        <p:nvSpPr>
          <p:cNvPr id="3511" name="Google Shape;3511;p45"/>
          <p:cNvSpPr txBox="1">
            <a:spLocks noGrp="1"/>
          </p:cNvSpPr>
          <p:nvPr>
            <p:ph type="body" idx="3"/>
          </p:nvPr>
        </p:nvSpPr>
        <p:spPr>
          <a:xfrm>
            <a:off x="4500575" y="1483738"/>
            <a:ext cx="3826800" cy="3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accent2"/>
                </a:solidFill>
              </a:rPr>
              <a:t>Challenges</a:t>
            </a:r>
            <a:r>
              <a:rPr lang="en"/>
              <a:t>: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/>
              <a:t>Slow Generation</a:t>
            </a:r>
            <a:r>
              <a:rPr lang="en"/>
              <a:t>: Requires many iterative steps for generation. ~1 min per gen.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/>
              <a:t>High Computational Cost</a:t>
            </a:r>
            <a:r>
              <a:rPr lang="en"/>
              <a:t>: Training and sampling are very resource-intensive.</a:t>
            </a:r>
            <a:endParaRPr/>
          </a:p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▪"/>
            </a:pPr>
            <a:r>
              <a:rPr lang="en" b="1"/>
              <a:t>Very Large Dataset Required</a:t>
            </a:r>
            <a:r>
              <a:rPr lang="en"/>
              <a:t>: Too few training resources available.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5F465-3352-E58C-D64A-74FE16596D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A40D05-2A58-3598-9739-44464EA5BA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FAF12C-62AA-7B63-A7F4-EF154C6C0A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877E7D-6D7A-4EC6-18A3-88BA8BAFEAD2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BD72D0-B408-E5EE-598C-EEE21C3407D8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2380398-7EB4-1140-6D68-D7B8B9E809C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ECB6CB-F793-A6F2-7F2D-B90D248D1CF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4FB7ADB0-AF98-4634-0A1F-15CF249836A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66054D54-DC3A-19C9-AB42-250BAED97190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3FF760-9AC6-0D56-B37C-2ADF1E77C10A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AC3B77C7-2916-FAAC-5179-195ABF0DA77D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2560776F-40B5-CBAC-82EF-F1BBAACAEB65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27C4C961-1C53-D13B-108B-BD75A53CE542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16AF49-2407-7BDF-060D-92F3EDB18DEF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E6E1B4A-C946-D5AB-30CE-209ACF196B4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6159062-909E-C708-871E-DD9BB1F0272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585DE2C-7056-AF3E-78CA-C756BCCED17F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8A43F825-C4B2-5E55-82B9-D499B6E2FA6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1A22684B-EA7F-4AFF-0905-CE89CC0E9370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B29D61B-E458-A65B-F5EF-99150A4A6E00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1CF95273-CC70-08DB-59DD-C8DE3667037E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5E060539-4DE9-AD4C-F110-02356B1F188D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53C0A945-B9E5-0FC7-8898-9E0C97E59EA8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8D85847-F73B-A3EB-0961-535D97BCC227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1047158-73EF-2836-ACFE-46B3DBDC29B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1D394F4-BD1C-4967-D407-D0DC830D4EB6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AFA605C-F407-9906-AF55-4959F0893A3F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24393AA2-EE82-7377-E0FF-0BED4B1F6D6F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396D768-BD2A-5CDC-D5F3-3BD42FF8AF85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6678349-E070-AD20-022B-BDF4123D1FC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831DD27-A6EA-BB96-1296-141D8656A16D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3D214B9-94E3-5CB9-EE93-391772C0ACC9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E0C570A-AD57-7FB2-8BC0-AE2BA570C53E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823F8CED-0274-9B5D-4FFF-B0E7C719BA7C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2E4305BF-DE82-64CB-CC2E-120123DAF7FB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0BFAB415-92F0-E35C-A8D8-700CF31196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5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DE7726A6-7B07-A579-F2C9-023E8891E6EF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E5B8EDF-B5DB-34C6-29C0-904437D7727E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1A5515B-C61E-A8AA-60B3-506CFBA1B883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F24E30-86C4-72C7-2646-8BE1F8010C3A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112EF53-0242-81E9-4EC5-5BAE7525A7FE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E6D13C1-3F41-EC25-CE32-255473BEE700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6424C76-77ED-B103-F218-2ED1AC1FC7F0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960D3F4-53A8-E472-1FDB-444847B77D09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DF923EB4-46CA-D383-1CE1-25CF7FDF2477}"/>
              </a:ext>
            </a:extLst>
          </p:cNvPr>
          <p:cNvCxnSpPr>
            <a:cxnSpLocks/>
            <a:stCxn id="48" idx="2"/>
          </p:cNvCxnSpPr>
          <p:nvPr/>
        </p:nvCxnSpPr>
        <p:spPr>
          <a:xfrm flipH="1">
            <a:off x="591585" y="2703649"/>
            <a:ext cx="457" cy="190899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871D567C-46D4-637E-D8F7-3BBFF141D57C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18" name="Picture 4117">
            <a:extLst>
              <a:ext uri="{FF2B5EF4-FFF2-40B4-BE49-F238E27FC236}">
                <a16:creationId xmlns:a16="http://schemas.microsoft.com/office/drawing/2014/main" id="{D69D7366-2951-E4F0-5ECC-86637BE0D4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2231" y="1810056"/>
            <a:ext cx="867766" cy="861141"/>
          </a:xfrm>
          <a:prstGeom prst="rect">
            <a:avLst/>
          </a:prstGeom>
        </p:spPr>
      </p:pic>
      <p:pic>
        <p:nvPicPr>
          <p:cNvPr id="4123" name="Picture 4122">
            <a:extLst>
              <a:ext uri="{FF2B5EF4-FFF2-40B4-BE49-F238E27FC236}">
                <a16:creationId xmlns:a16="http://schemas.microsoft.com/office/drawing/2014/main" id="{50A84B8B-EDB6-7029-259C-25E668DE7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613" y="1830123"/>
            <a:ext cx="867766" cy="861141"/>
          </a:xfrm>
          <a:prstGeom prst="rect">
            <a:avLst/>
          </a:prstGeom>
        </p:spPr>
      </p:pic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F7168816-1D18-78C6-07CB-E8B4DDBD3D8B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34" name="Picture 413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A42FA37A-98FE-8BB0-7ABD-E758F630E0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94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D8F9C-2DB2-7DA8-A55E-2DD14EFD99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4FCD5-96D5-8CC6-E792-4B37C74E18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0A9412-B9D0-F2D5-9B67-74650DB9B9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4389E3B-F9EE-CF01-5DAF-42AB36E3A75C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4F2B88-7E47-69B7-0FE3-FB3C05507F0C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12E4CD2-B7E5-238D-94A6-7AD3E7E7063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533A2B0-2729-0111-F244-D5BB4BF287B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A7ADD205-CE43-F553-4216-4E25D300668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B443689C-0E88-4B0E-0EA7-18F7F970B273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395C8B-688D-48F9-9385-22102033555C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7FC2C6D4-6986-D004-F033-0BE4B3DB362F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89AAED1E-AC65-E03E-B4C8-7E404070A63A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17E5B890-B26C-6A32-196A-66E3BB19EFF8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15350EB-A2D7-BC26-0040-8E5E5FEC9C2F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AE23F57-96E1-D934-3769-66E4CAEC88C6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2F7C9A0-841B-F93A-41A2-B8E23ADF9DF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FE7FBB0-CA86-1E10-7F9D-34ACE2111DA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0EB853B4-4E09-BF44-61AE-33276BB25486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E0D24595-C114-5D81-93DB-DFADF5B37BF1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F01F47-79D1-297A-7B69-7DC011A2225E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96822C8B-4D77-81EB-54BD-5A8BD007FF20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8A534183-8B0A-1F68-08A9-526DEB4C2F18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86786707-ED77-CBBE-A739-499847226DFF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DAD8715-765C-9C00-CB9F-5E94D1741DDE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887CA46-EF00-C361-F76E-89A0143CF648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25A2EA6-2110-AE5B-116E-80947C1AB9D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55DD240-91BC-706B-CB37-7F71448F3B7E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4AFEB13B-FDB8-1D12-7689-BB93888A613B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5D230D2-0727-D3D0-401C-CF15574CA6EC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B009DFE-6FD0-07A7-D52A-C8AC20CCE4B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C1ED8F-8405-9739-06D1-1DEEFBF9012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3CCFC15-8433-F405-A5BA-965197D6860C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6B89A34A-0A47-29A8-752A-55CC6BC9A358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D438AFE0-B2DF-361D-854A-F58892555626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4940CA15-73A5-1D9E-BDA8-641010B8B3CD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BAF7835-534D-4E93-1D25-E91C606D5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5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2136952-5B96-7AB1-09B9-7209013BF3CB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41C2DD4-95A9-BC76-F887-797FA8D49CF7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0914395-3C0D-42BB-A2E7-ADC520931CB2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C2E75FF-3D64-5E4B-9B83-0E7FA1AA76B3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3691C68-2DEC-910C-08EC-8BAD257FA479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C4D05C6-F1EE-609E-910A-4E4968B4B510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7C12C34-E646-BD7A-1405-12928F564035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5D737ED-E0A4-D3F5-33B3-807F8CC398F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5CC7C54E-760E-1A5B-1465-C2BC50B647D9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60105BA7-E1E8-23F6-DC3E-42B9312E9F99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7C07FB99-5B04-F860-F348-0A8C1F3E776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46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C261C-DF98-300E-D48B-AEDEB55B1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4FE2D1-673C-FD48-8290-EA33C5CA3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1899BF-E80C-540E-4E5C-DEA176856E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3298ED9-C3F8-B04C-32C2-E0AA4480466F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3950B1F-0AC7-7973-7364-A8DD9A56612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729749A-28A2-5627-EDA3-747204EA82CC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ABF3F0-0517-C811-13F9-F77E1B12FF8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878FC576-6C5A-CA27-47AC-EFCE37E9766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BD958B00-EC53-9D11-56A8-E96154F12B72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3476CDB-6331-9F8F-F661-AEE4E01D6D11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91862BB4-A9BF-B7C9-5166-CF2A295057E1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E54234E3-EEDF-25D9-6D15-9423A29557DC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9BBAF796-5B7D-9DCA-AE9F-107DF0D08A6E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7746C0E-24D0-61CE-C8A0-57C2255CA198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BA86935-F422-A223-A165-90F523B64BF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96353EA-7BEF-17A3-BBDF-7F6C52C29A47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F7CAFF-248F-66AB-1209-0854A16F687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90BB56CC-B8CF-2B32-0D92-8E0767E9A27B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E1323BF5-F74E-916A-054D-247A362691F7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DFD68BE-5B29-36D0-D415-B03AEBEFFA1A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6451B599-2A5C-8689-E810-E9C8A0831BA6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B649F456-CE03-7497-8611-13A215428BF9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41E96647-0A76-FBBE-B326-22526CF343E2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60CD4C7-DA40-48A0-AFB5-BD7AC4D0007E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F0C42CE-21EB-E217-E16B-14072D9A185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917ACF2-F0A2-EFFE-86FC-0824EA0F42D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DB3E407-1CCA-9AEC-1ADF-74AEB5E9210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D65E99D0-0E11-DA59-A5D0-1D3EF3BF4A5E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AD08DA-CD95-576B-9153-EA07A7A7544A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70E81B9-2285-4CC4-ABE0-7EDC30D403A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0AF2526-5899-0C06-9CDD-FA9E6ED5068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AB199C7-AB9A-E3A3-E7A0-B6C833C986A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FE4A2AAA-B161-04BD-4BF8-8395A5240DF2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0F70ABC9-9EB4-FE7F-1D4E-84FC24BD992E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107A9183-9517-5A3F-1B99-34827C32EE94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21AF61D4-3987-F561-1DCE-9E23F1175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5921" y="1944263"/>
            <a:ext cx="659646" cy="65461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A756C2B-6D34-61CC-7BD0-2426DA0C90A1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841E96-46F0-C1A9-F98B-2063F1EDB55E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908A6FE-55F5-3A5A-B47C-8D6B4500A5FB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7BCB0A9-C5C3-8EE1-6D8C-3AF297D3E34C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6A743F5-B550-71B3-C770-0112EFCA893C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760D8C8-123C-D29D-D816-A66405D63360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D257405-CF0F-57D7-839C-341038FD1C0D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59C000-96F6-410F-73B5-216DC802D8FA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C61EDB73-5270-8CD5-24D2-EC28331B878E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3D8674F0-B395-4B55-C74D-7F33BE699587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F419ECC7-896B-0B25-A5D2-0A0753831C84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442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FA68B-8ABB-4D74-12A9-3F4279A89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267FAA-3F49-FF20-40F0-534BB105A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D1D06C-0DF2-213A-DBF2-D72DE0BA5B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662E7EC-F47E-9D67-E5BA-59328D0BDE0B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451D58E-BDA8-B48C-D922-C7C9A6049CA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88E0D1E-CBDA-6E89-8521-B84E516A3F3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C26F86-059A-2100-C0F4-DBDC4261BC3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DE504FC8-1727-5085-B27C-E1E437C4693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4A65F1BB-CF3B-F59D-FF76-B10F2A87C205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9FC3A82-4B66-C7A8-B8DC-75DFA6F21549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49D3A493-A78F-7FDC-2640-1F63DC0E2E5B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4D9BD788-4E5B-52B9-87CD-702D18219EDE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CF23E38A-7DAB-CA7B-0BB0-EF0935D3383A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2917E74-F5D7-B3DD-5908-12304C5B9497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E0FDDB7-5A16-E388-4B21-FA5E0598529A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03CEE8C-EBF4-FD2A-F571-D39A5AA0C9C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9B95981-1EDA-9393-9CAF-8FEDDF795612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2FCC7DD5-7E46-1671-3901-FFAD57EB94FA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2FFE6822-CD4E-E176-C99A-7E4DED5D445F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E011BCC-C20A-5275-9771-79CCF45CA913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838E3AED-CCE6-BF40-1615-F61F48F4E673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8AC7F77A-7B37-ACB4-34B1-388F7C94FBD9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303335B5-C4F4-6B45-0A6C-31D3BC7C0571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FF20D1D-D4FA-EE0D-859C-2DE99467C29E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F0920CD-4F10-A0C0-48DC-BE72A12A8F6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7E1F63A-16B6-930A-E951-7DEBFAC0D68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B444312-05BA-B926-EAAA-CCCF8F6DBD4F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DC9B3B1B-C834-2378-4A2A-D3EED3669731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40B3648-EF56-0169-78AD-AEAA747DA9B6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CFE6403-DAA2-48ED-A6FF-9DE21621CB9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BDCBCA7-9D05-0DF3-5022-5F62CF04355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A21AF59-DC5F-AC1E-6954-C717F030E80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56851B9-A637-910D-62DF-49B701B4CA66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E506021B-DCD6-81F3-54FF-81795F5E08E0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8AA4BEA8-DA74-EF01-4D74-26AB1D838EB9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C5F0D59-EF27-49E0-9E63-84A1863E1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3629" y="1826447"/>
            <a:ext cx="836228" cy="82984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B03BF8E-1059-AC9A-B862-B960E219935C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4942B98-F29A-BC02-0966-F752A40DA845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1E62630-1C2A-AA8F-2053-116DB2734621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4A1F0C4-9ACC-5398-4CE3-3C5E81749E5C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E9A1B2-A510-42A1-5430-58C0D6106C63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F975E36-A60A-A521-4DCE-EB7F424A5596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A798D9E-079C-B7F0-3663-6CDA1CD041C9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5F979E6-D0E8-1CDD-39F6-05F893DEDFF4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1EDF0768-C268-A412-E30A-76F8A401AE2C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8F9D138B-AB18-138C-3CCC-F37B8F912674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20F91828-4CC8-7F4E-4787-DA3D0ED6C4A4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EDF6CE5-713B-7433-585C-B16CF8F47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961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0D273-4814-4A7D-05BB-BF209E59A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897C46-4D02-5671-1D3B-CAE1CFF8D8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How can we deal with the </a:t>
            </a:r>
            <a:r>
              <a:rPr lang="en-US" dirty="0">
                <a:solidFill>
                  <a:schemeClr val="accent2"/>
                </a:solidFill>
              </a:rPr>
              <a:t>limited data available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94934F1-6384-419D-31EC-837EDE21C9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CGA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C92581-3DE4-66D9-E53D-3EE4D506D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099" y="1559294"/>
            <a:ext cx="2204484" cy="293931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8E96C9-689F-5305-867F-8CFC58F1BA3F}"/>
              </a:ext>
            </a:extLst>
          </p:cNvPr>
          <p:cNvCxnSpPr/>
          <p:nvPr/>
        </p:nvCxnSpPr>
        <p:spPr>
          <a:xfrm>
            <a:off x="4946073" y="1276350"/>
            <a:ext cx="0" cy="3490913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12">
            <a:extLst>
              <a:ext uri="{FF2B5EF4-FFF2-40B4-BE49-F238E27FC236}">
                <a16:creationId xmlns:a16="http://schemas.microsoft.com/office/drawing/2014/main" id="{983AAD90-B63E-DFDC-DDFA-D003C7BE9732}"/>
              </a:ext>
            </a:extLst>
          </p:cNvPr>
          <p:cNvSpPr txBox="1"/>
          <p:nvPr/>
        </p:nvSpPr>
        <p:spPr bwMode="gray">
          <a:xfrm rot="17783748">
            <a:off x="2619600" y="4614773"/>
            <a:ext cx="1673052" cy="304981"/>
          </a:xfrm>
          <a:prstGeom prst="rect">
            <a:avLst/>
          </a:prstGeom>
          <a:noFill/>
          <a:ln w="19050">
            <a:noFill/>
            <a:prstDash val="solid"/>
            <a:miter lim="800000"/>
            <a:headEnd/>
            <a:tailEnd/>
          </a:ln>
          <a:effectLst/>
        </p:spPr>
        <p:txBody>
          <a:bodyPr wrap="square" lIns="72000" tIns="0" rIns="36000" bIns="0" rtlCol="0" anchor="ctr" anchorCtr="0">
            <a:no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7D7D7D"/>
              </a:buClr>
            </a:pPr>
            <a:r>
              <a:rPr lang="en-GB" sz="1200" b="1">
                <a:solidFill>
                  <a:schemeClr val="bg1"/>
                </a:solidFill>
                <a:latin typeface="+mj-lt"/>
              </a:rPr>
              <a:t>Profi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79F170-9E17-A575-2E47-D80350EB0632}"/>
              </a:ext>
            </a:extLst>
          </p:cNvPr>
          <p:cNvSpPr txBox="1"/>
          <p:nvPr/>
        </p:nvSpPr>
        <p:spPr>
          <a:xfrm>
            <a:off x="2686030" y="3160657"/>
            <a:ext cx="21578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an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reas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h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ta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et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y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3x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sing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ta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ugmentation</a:t>
            </a:r>
            <a:endParaRPr lang="de-DE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7337D56-1F0A-F65B-F9CD-84DBF0B6CC4A}"/>
              </a:ext>
            </a:extLst>
          </p:cNvPr>
          <p:cNvCxnSpPr>
            <a:cxnSpLocks/>
          </p:cNvCxnSpPr>
          <p:nvPr/>
        </p:nvCxnSpPr>
        <p:spPr>
          <a:xfrm>
            <a:off x="2686030" y="2892829"/>
            <a:ext cx="2015754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ular Callout 21">
            <a:extLst>
              <a:ext uri="{FF2B5EF4-FFF2-40B4-BE49-F238E27FC236}">
                <a16:creationId xmlns:a16="http://schemas.microsoft.com/office/drawing/2014/main" id="{045486C4-03DA-E939-F5FE-DA187CE07083}"/>
              </a:ext>
            </a:extLst>
          </p:cNvPr>
          <p:cNvSpPr/>
          <p:nvPr/>
        </p:nvSpPr>
        <p:spPr>
          <a:xfrm>
            <a:off x="2686029" y="1360488"/>
            <a:ext cx="2015754" cy="1323435"/>
          </a:xfrm>
          <a:prstGeom prst="wedgeRoundRectCallout">
            <a:avLst>
              <a:gd name="adj1" fmla="val -99057"/>
              <a:gd name="adj2" fmla="val 26731"/>
              <a:gd name="adj3" fmla="val 1666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eav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on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!</a:t>
            </a:r>
          </a:p>
          <a:p>
            <a:pPr algn="ctr"/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‘m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ad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!</a:t>
            </a:r>
          </a:p>
        </p:txBody>
      </p:sp>
      <p:pic>
        <p:nvPicPr>
          <p:cNvPr id="5" name="Picture 4" descr="A collage of several images of sailboats on a lake&#10;&#10;Description automatically generated">
            <a:extLst>
              <a:ext uri="{FF2B5EF4-FFF2-40B4-BE49-F238E27FC236}">
                <a16:creationId xmlns:a16="http://schemas.microsoft.com/office/drawing/2014/main" id="{270F4887-0F94-7DE2-A73D-DA091594DD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52" r="57584"/>
          <a:stretch/>
        </p:blipFill>
        <p:spPr>
          <a:xfrm>
            <a:off x="5237343" y="1276349"/>
            <a:ext cx="1649150" cy="3490913"/>
          </a:xfrm>
          <a:prstGeom prst="rect">
            <a:avLst/>
          </a:prstGeom>
        </p:spPr>
      </p:pic>
      <p:pic>
        <p:nvPicPr>
          <p:cNvPr id="10" name="Picture 9" descr="A collage of several images of sailboats on a lake&#10;&#10;Description automatically generated">
            <a:extLst>
              <a:ext uri="{FF2B5EF4-FFF2-40B4-BE49-F238E27FC236}">
                <a16:creationId xmlns:a16="http://schemas.microsoft.com/office/drawing/2014/main" id="{CA356AAE-EE21-F87D-EB37-4B02A9BCA3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00" r="13937"/>
          <a:stretch/>
        </p:blipFill>
        <p:spPr>
          <a:xfrm>
            <a:off x="7103273" y="1276350"/>
            <a:ext cx="1649150" cy="3490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412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9560C-CD9D-9025-C1FB-AD407B0D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549B9-018B-7CDC-71C0-8682958450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25D6E8-5D41-E209-0523-A18F311DC0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CB59983-992D-01AC-7474-66B7168447B7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43E220-6558-7D3C-59A9-327D1DAE36CF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9F4184E-7AE9-A5C9-04B0-8761EE5B119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2D8A4DD-D51D-B56C-55EE-B5CDCA5F2C6C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783D3F4E-A787-814E-BB1B-065C6A55FC0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15FEA8AD-DB7A-AE2D-78B8-C3E1EE67351D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67D1BB-7A40-171E-1E03-5EF11422B667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CB4775C6-34E8-5296-D7A0-854824B7055A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27B9A9BF-C777-D83D-B666-B5538F98641C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7CFCED8E-6CBD-A0FA-74DF-CB1284C8B979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35EECC-5BAB-1424-2ABF-E50793500672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DF7CEAA-D192-33BD-3289-EF0AE4755714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120BEDB-3EEE-0BE8-5176-52B114B49FAB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BFAC3EA-2A7A-30EF-176B-615923CCCAB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7C523DBC-01DD-4661-4A78-9A3B027667F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5BDF9359-5C78-6223-9B59-97705AAEA240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E433B9-55D3-1D06-DE57-913ED73F40DC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7F340C2E-3328-AAF3-D37E-FF0C2B1314D9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798CC373-A4BB-A5E2-5C15-F0219112409D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1B6A633A-CB56-261D-43E1-D5E337653843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9473B8C-1227-E256-D19A-50687E034C27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6C8E0AE-249B-21D2-9F4B-573C1F921852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39E28B2-D7F6-6BBF-D57A-290C4C723232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E20EFB2-20E3-D6CD-5DB0-7E4CF2CF339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F19184A1-A6DD-5C81-1133-2584C54E2EB7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ACF0E40-B385-832B-0611-CAFD2C3CBE7A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184BF63-D9CE-36D4-57BF-95A2EB5E11D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3FCE940-C5A2-A347-A270-A7BD3177C263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5C66174-4CA3-0C8F-2122-9743B6DF96ED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D5606F7F-F2F8-0145-FF58-536C30F313C9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C7564E11-F3C3-C852-B25A-4CFE83878595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C9FE43A4-E49F-A65F-D6C0-562F67BA8B99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6B3C09E-47E8-B36F-4CD7-9B1904B0E9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3629" y="1826447"/>
            <a:ext cx="836228" cy="82984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B74B194-98A4-382A-8AF9-FD9F82CAB970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1F5729C-450E-E5CE-3827-214C33249A26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BE94826-CE1B-0477-2903-84A8A9F53C9C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00DBCF-EDCA-C9B4-DD94-E9A87FED4902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CEBE2A6-380F-46E1-26D2-F4E3DE6A21AD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BA33EA3-3BFD-2C3E-E7C9-2B275A47C114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76E642D-A344-7678-6EC6-03E50498E95D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7E1E0DE-0CBB-19E9-1AB8-B1D08BBD47A3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BFC894A1-6331-2274-1D30-0A90BD27AEAD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171AB4AC-772A-7554-7DA0-4616CC9C8ED5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8667DFBB-812A-A71D-C460-3758ADFECC8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981B658-498A-151F-48BC-DA3EF86475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345" y="1835466"/>
            <a:ext cx="823980" cy="817739"/>
          </a:xfrm>
          <a:prstGeom prst="rect">
            <a:avLst/>
          </a:prstGeom>
        </p:spPr>
      </p:pic>
      <p:pic>
        <p:nvPicPr>
          <p:cNvPr id="10" name="Picture 9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0EF2A636-D7DA-4B51-FA74-F8A950AA0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5436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928608-155D-9150-D053-D0BAAE28D2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67ABD8-1938-120D-AF3B-16105527CA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4AFB32-A278-EFDA-18F5-970DC8E6BC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DFBA3B-79A3-98DF-C387-49889555F18A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775F9DB-AAE3-DD24-B85E-62EA7B26EAD9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B2F2E72-376F-A871-ACC6-BF342868E7C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FAF3EBC-989D-1D59-1000-EC20FCB86140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022EA83A-8D49-97E5-C12B-C62E721F642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C1611C19-BC80-D60E-186F-C944F5DBB5E2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14BE14-D06D-44E4-1F3D-96B19BFD3F60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D311E6AD-F2E8-4A66-5E34-29CC0A48F912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593AD700-749F-B1EE-92DA-1529F63619C7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9ED1828B-4E89-9A49-D674-902F2F41B67D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67C927F-0917-DF82-6718-5052C82EBD05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960D794-42E5-B5FC-8AD9-FB49B12EEB6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CAD8F2-8692-833C-E5C0-6BFFF98325A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269B771-CDAB-2045-16AC-BD44B6092EDF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9F16EF23-7E96-DD8C-1157-7C742F25791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D650EB46-76E7-1D4C-89C6-AC38CFF7F3AC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1CFC0C-C888-216D-F6F3-2037D780EDFF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2AACD253-37E8-6A0E-7C45-EC9FA75EF7BC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6D70F79A-AF3E-0050-9742-A8AA90F8573C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F2B6DA77-0CF5-927F-26E1-24CB6FE71FA1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F1642EC-DB28-CB8E-3D78-D8754E68A0A9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0498C4C-FDF0-F625-1E9D-DF21E0711747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ECBFB14-D939-C499-8397-9FB531C6B049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E134421-8E66-8DDE-8591-8DAFA3A269F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F27BA7D5-2A64-93B0-3D00-84B5D52467F7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D9453E3-2551-F9B0-62B8-D91BA7860172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B3C2776-9D4C-A8C6-1D19-D8DE75D42CEF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39B43E7-DA0D-56C9-50E0-AB61AF88421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789BE7F-64AC-5104-6841-431BE7F45A96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FFDE07D-ED40-4DA6-0406-A63ACC09191C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3ECDD901-5491-3285-F5FE-FFB30B378EAC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576743AD-0F1F-D6E8-7EB0-191E4F98782E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B92CFE6-3A8D-DD62-2367-D58954529938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38479B-F3C6-0315-9B61-EDAEC8FA92BB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A62A9B9-2744-C389-DCFD-5728C6A52F38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6FC3172-ECD3-2B64-9033-4AC8AC8E5292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30859D6-0CB9-8752-D64D-24FB2E418B8C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6FA23F-E244-CE5E-16D3-00BACB58A2AF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34C0E2B-7BB5-E586-3B7F-FD3501DC0FF0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ECB1577-0DC5-99B1-E53D-B670BF8F926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40655009-9491-9FC1-D57B-F9379A1F6530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93E0A78B-EBE5-C319-2936-B7C0FE794BDB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FAB08604-6B5F-55C9-58D1-50F7741F66A2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CFA4C07-B5CA-843C-3C76-4FE30A058F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4478" y="1962473"/>
            <a:ext cx="654021" cy="649067"/>
          </a:xfrm>
          <a:prstGeom prst="rect">
            <a:avLst/>
          </a:prstGeom>
        </p:spPr>
      </p:pic>
      <p:pic>
        <p:nvPicPr>
          <p:cNvPr id="6" name="Picture 5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5EF40F71-8CCA-824C-02F4-F9C400A15F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9042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C6F370-EDBC-640C-4120-2F146F06C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CA2EEA-DE14-134C-06B8-C085D1B13A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452A6E-5A87-28D7-198E-1CE296F0E5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506E6F6-E98D-8449-0C94-90E50AC52744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70C664C-605B-5096-06D4-6C4A2CF3675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04C559A-9757-6151-5755-96FF0C80918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F746A69-F9D4-F04E-DEB2-067011D2441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C8DA75B0-42BB-6DAB-DA41-8A771640B09C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5ADEAC08-6379-5B86-9ED7-E3812062E79B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494F1A-1C0E-435F-E097-FE84FCA6F4AE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83D7973F-21CA-9094-2A25-482D366BF8D0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540FF2E2-3818-C837-9DEF-C8E505F542DE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042EB1A2-4A82-E9F2-3F85-30F7EB3A56D6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7F0C97D-310F-DA89-334B-117158300A3A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BB80957-0C61-F5BD-6BE2-F965B123E02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4A91DAA-3061-72E8-839E-D21E0834710E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BD1F794-B90A-7982-06A1-5533BD3CCED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6686DFAC-E048-2342-15DE-222B8C90A350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03207851-F27D-24B3-EFE5-04F29AB251E8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69F8FA-794C-0B9C-A261-22DD8E29C17C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EF0C7244-93DD-15CE-EE8B-3D3F7921CCEB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11172662-5E04-7882-17B5-F234865267D0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9E6A881F-3262-2C5F-52E9-2B7225872985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B0A1B95-AA2A-D37F-2E59-4DBCEC6D33D5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1EC4218-EA1D-07DF-43D6-1745CD779F71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4BA422C-9222-9A61-E098-080CD7E1C07A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4915BC5-49B8-43B6-33A0-B5A935B61ED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060CFE46-FE7D-5E8E-24FD-AABA9F808E13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B5D50A0-2DD8-AAB6-21EF-3D69C7C55EDD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1C5B357-F358-13A1-F546-D2D0831831EE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49AA8B3-5357-05BB-A4C3-AD8445F350C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2919D4E-869A-A1A5-5E69-F18F383CCC3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A5D27E47-AB99-210A-A8FC-BB919A171EC3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BD86C72B-A4A8-8345-E5CE-F91DDFA05A47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3D4AE8CC-49CC-4434-9487-80EAAB016927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6DE28FD-9725-5FDC-2366-785FA523ED14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872A302-06A9-7252-5A0E-EADB5143376E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D378223-575A-4C50-5D4C-9D6BB2B5D4E5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3616C6D-0A0C-A467-3955-D6A40753E2B3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4A8C1E6-D9F0-BA8B-9963-4A385F902F14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03B3FB1-6DA9-4F47-53A6-E0B6C4954627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11C7656-F177-6A5A-99D7-3A8A22A924BE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D26382-5F61-47D2-7DD2-4E4251B512E1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9880CC0D-1D09-5C67-5CA5-1B6185F6EB4A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C22FA64C-4A6D-0E09-B8D2-B1E65FCC4B6D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75257A7F-20D7-0C7A-9FB1-6CE459B11951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0FFBC1F-04B4-C163-DB8E-51D95C30AA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7791" y="1866641"/>
            <a:ext cx="801977" cy="7959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4F57AC6-05DC-7B98-EDFF-56EA77362E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507" y="1812316"/>
            <a:ext cx="867766" cy="861141"/>
          </a:xfrm>
          <a:prstGeom prst="rect">
            <a:avLst/>
          </a:prstGeom>
        </p:spPr>
      </p:pic>
      <p:pic>
        <p:nvPicPr>
          <p:cNvPr id="11" name="Picture 10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8C0364E1-DC4A-4018-1080-B4DC32A855B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042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BA689F-75FE-9EE5-CDF6-9AC0D2CA54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8C04C2-22D9-A59F-2D5F-1F92CD76B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D6A4DF-416C-587E-71C4-A6F51E3603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0EF9643-85D4-8001-ED0A-72D412CC0D48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0B69F3-A19E-D8B6-9930-4FE74809C63C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70BF8C5-185E-2113-B305-2AAA9CF7042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D2D7DBF-8022-642F-236C-4A84202C90B5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4243E3FC-D4E1-D6FF-3893-04AC8531BBD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1EA8C9B0-F3DA-69F5-DDA3-DE7067ACD326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B70E910-5E2B-D320-ACD9-B9F3767C620B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25108CF3-8ED4-D77F-FE83-C289C93FBA48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11185D0B-0F89-2D83-1C9B-88375586593B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8375E468-D259-E367-A979-A6814F131F2A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2DA81BC-5AC3-5C21-F989-29D16BC8E79F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EC88475-4A90-E2E0-9CF2-1E5AC75ADDE5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B64B8DE-E604-5E42-56CA-7A7181F1C835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EE6C519-DCDB-1BCF-DA24-C2B139006134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B8FBC761-2C56-3492-6E30-DAA56383300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8F05B6FB-EC9D-287D-B50B-34B09605D0BE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F0062-CA0B-197F-ED64-83639CAFC5D5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6125C4D0-0923-1F4E-688D-ED0DF44295D8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E066600B-7A18-4BE9-8F91-4B19469EE246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E468F0A0-7E20-1AF6-156A-1F92454E6135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4579C5C-3332-7FDE-9A04-E3CF8CC82EEA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2B7C701-D8BA-9066-4947-41A9F30B610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4171943-4206-D10A-9995-3E1F0AFDB3C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F1D1A92-C593-E2EE-FD60-FE8D4E029CA0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6063356E-4435-0101-7C56-E0D76D5041B7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0432D6C-BB98-1CE1-E293-39D0C4117E7D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833A1CC-BF15-157C-28FA-303103566B6D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BBADD13-8BD7-C836-0F4A-5F32F3F3F58F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6DC11E8-43F4-5F10-EEB9-89A57A9B84F7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17F2A935-203B-E05E-C0E9-14C50185F6AA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121D2342-3F35-41F0-A5F0-1B48EC7FC8AD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9B2EE69F-D5BE-65F9-32BE-9FBAB94C544C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033867-41F5-01F6-AB89-CFF0D2843A5F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5A818E7-48C2-8A3F-6CB0-B25C3B6CEAE1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DCFF375-1560-9348-88DF-EA1DBEF1C1A9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506FD6-BEC5-715B-9834-DDDFF1BF1DBE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0EB9B91-EDE2-A21C-6085-C462ECD60DD6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1E7BF23-55F5-9175-5CA7-D73EF6D6CFCF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0E091AA-F009-09A5-5730-C37A44F582F2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76AD137-9391-E449-9BB8-3384E6D51DBE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75C14D52-28FA-3A51-8D0B-A0FECE81573E}"/>
              </a:ext>
            </a:extLst>
          </p:cNvPr>
          <p:cNvCxnSpPr>
            <a:cxnSpLocks/>
          </p:cNvCxnSpPr>
          <p:nvPr/>
        </p:nvCxnSpPr>
        <p:spPr>
          <a:xfrm>
            <a:off x="591585" y="2755312"/>
            <a:ext cx="0" cy="18573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3585EBAD-6647-0DD3-FC4F-F264A4921140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97E444EF-6E6A-0ECE-ACB3-9688A401489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A687181-0836-8DBB-44A2-457EBA1A36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7791" y="1866641"/>
            <a:ext cx="801977" cy="7959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F241CB-7974-F9B4-D76B-C56D27B05F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3507" y="1812316"/>
            <a:ext cx="867766" cy="861141"/>
          </a:xfrm>
          <a:prstGeom prst="rect">
            <a:avLst/>
          </a:prstGeom>
        </p:spPr>
      </p:pic>
      <p:pic>
        <p:nvPicPr>
          <p:cNvPr id="12" name="Picture 11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C3345988-7D15-4ADF-E220-979AD81CD6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  <p:pic>
        <p:nvPicPr>
          <p:cNvPr id="15" name="Picture 14" descr="A field with trees and mountains in the background&#10;&#10;Description automatically generated">
            <a:extLst>
              <a:ext uri="{FF2B5EF4-FFF2-40B4-BE49-F238E27FC236}">
                <a16:creationId xmlns:a16="http://schemas.microsoft.com/office/drawing/2014/main" id="{52684A19-DC5C-8090-FA5E-5F49EC5153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71" y="1845583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4035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D8D082-64BD-B2B8-4A09-E19174653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9BAAFA-6104-E674-E45D-94E96BD978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TWO columns </a:t>
            </a:r>
            <a:r>
              <a:rPr lang="en-US" dirty="0">
                <a:solidFill>
                  <a:schemeClr val="accent2"/>
                </a:solidFill>
              </a:rPr>
              <a:t>bullet slid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53F77F-C814-7700-5D48-7E788BFF64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0CB433-5F3D-2DFF-B667-AFD85CCA9E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4023" y="1276351"/>
            <a:ext cx="8562637" cy="349948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07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415885A-8A2D-D448-BA96-FC8976D798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01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D7BBE9-29A3-4D0D-B8AD-9B5029FC2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0729" y="240600"/>
            <a:ext cx="8569325" cy="593093"/>
          </a:xfrm>
        </p:spPr>
        <p:txBody>
          <a:bodyPr/>
          <a:lstStyle/>
          <a:p>
            <a:r>
              <a:rPr lang="en-US" sz="1800" dirty="0"/>
              <a:t>What Is </a:t>
            </a:r>
            <a:r>
              <a:rPr lang="en-US" sz="1800" dirty="0">
                <a:solidFill>
                  <a:schemeClr val="accent2"/>
                </a:solidFill>
              </a:rPr>
              <a:t>our team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543AB3-9FF6-4BFA-8E44-330C2B5CE9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eam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C40C69-4E57-49F7-A1E9-F17BA936C656}"/>
              </a:ext>
            </a:extLst>
          </p:cNvPr>
          <p:cNvCxnSpPr>
            <a:cxnSpLocks/>
          </p:cNvCxnSpPr>
          <p:nvPr/>
        </p:nvCxnSpPr>
        <p:spPr>
          <a:xfrm>
            <a:off x="-48492" y="2216829"/>
            <a:ext cx="9254837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793277F4-3965-4834-BFED-A9467354064F}"/>
              </a:ext>
            </a:extLst>
          </p:cNvPr>
          <p:cNvSpPr/>
          <p:nvPr/>
        </p:nvSpPr>
        <p:spPr>
          <a:xfrm>
            <a:off x="1300568" y="3013982"/>
            <a:ext cx="1404000" cy="178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aniel</a:t>
            </a:r>
            <a:b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r>
              <a:rPr lang="de-DE" sz="15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rissler</a:t>
            </a:r>
            <a:endParaRPr lang="de-DE" sz="15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algn="ctr">
              <a:spcAft>
                <a:spcPts val="750"/>
              </a:spcAft>
            </a:pP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.Sc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. Physics</a:t>
            </a:r>
          </a:p>
          <a:p>
            <a:pPr algn="ctr">
              <a:spcAft>
                <a:spcPts val="750"/>
              </a:spcAft>
            </a:pPr>
            <a:b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inks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hysicist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n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do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verything</a:t>
            </a: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F526EDB-6AB7-4C15-AD52-65B76FDB7065}"/>
              </a:ext>
            </a:extLst>
          </p:cNvPr>
          <p:cNvSpPr>
            <a:spLocks noChangeAspect="1"/>
          </p:cNvSpPr>
          <p:nvPr/>
        </p:nvSpPr>
        <p:spPr>
          <a:xfrm>
            <a:off x="1299203" y="1523549"/>
            <a:ext cx="1404000" cy="14040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7B48BD-88FF-4D6A-90D0-9D2C4854C0BF}"/>
              </a:ext>
            </a:extLst>
          </p:cNvPr>
          <p:cNvSpPr/>
          <p:nvPr/>
        </p:nvSpPr>
        <p:spPr>
          <a:xfrm>
            <a:off x="3868635" y="3013982"/>
            <a:ext cx="1404000" cy="178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ristoffer Breivik</a:t>
            </a:r>
          </a:p>
          <a:p>
            <a:pPr algn="ctr">
              <a:spcAft>
                <a:spcPts val="750"/>
              </a:spcAft>
            </a:pP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.Sc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Data Something</a:t>
            </a:r>
          </a:p>
          <a:p>
            <a:pPr algn="ctr">
              <a:spcAft>
                <a:spcPts val="750"/>
              </a:spcAft>
            </a:pP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  <a:t>Brother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  <a:t>of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  <a:t> Andreas Breivik</a:t>
            </a:r>
          </a:p>
          <a:p>
            <a:pPr algn="ctr">
              <a:spcAft>
                <a:spcPts val="750"/>
              </a:spcAft>
            </a:pP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D00B16-98BB-4580-9F1B-526F1BB7BC1C}"/>
              </a:ext>
            </a:extLst>
          </p:cNvPr>
          <p:cNvSpPr/>
          <p:nvPr/>
        </p:nvSpPr>
        <p:spPr>
          <a:xfrm>
            <a:off x="6438067" y="3013982"/>
            <a:ext cx="1404000" cy="178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spcAft>
                <a:spcPts val="750"/>
              </a:spcAft>
            </a:pPr>
            <a:r>
              <a:rPr lang="de-DE" sz="15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kob    Cock</a:t>
            </a:r>
          </a:p>
          <a:p>
            <a:pPr algn="ctr">
              <a:spcAft>
                <a:spcPts val="750"/>
              </a:spcAft>
            </a:pP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.Sc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Computer Science</a:t>
            </a:r>
          </a:p>
          <a:p>
            <a:pPr algn="ctr">
              <a:spcAft>
                <a:spcPts val="750"/>
              </a:spcAft>
            </a:pP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Will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try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to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sell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you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insurances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that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you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don‘t</a:t>
            </a:r>
            <a:r>
              <a:rPr lang="de-DE" sz="105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 </a:t>
            </a:r>
            <a:r>
              <a:rPr lang="de-DE" sz="105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need</a:t>
            </a: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ctr">
              <a:spcAft>
                <a:spcPts val="750"/>
              </a:spcAft>
            </a:pPr>
            <a:endParaRPr lang="de-DE" sz="10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B33BCCD-E827-D34B-8129-A14D56FC408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" b="66"/>
          <a:stretch/>
        </p:blipFill>
        <p:spPr>
          <a:xfrm>
            <a:off x="6433972" y="1523549"/>
            <a:ext cx="1409460" cy="1407600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38100">
            <a:solidFill>
              <a:schemeClr val="accent2"/>
            </a:solidFill>
          </a:ln>
        </p:spPr>
      </p:pic>
      <p:pic>
        <p:nvPicPr>
          <p:cNvPr id="24" name="Grafik 2">
            <a:extLst>
              <a:ext uri="{FF2B5EF4-FFF2-40B4-BE49-F238E27FC236}">
                <a16:creationId xmlns:a16="http://schemas.microsoft.com/office/drawing/2014/main" id="{EABE554F-02E3-0CF1-DBC5-0A22DB6F12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" b="119"/>
          <a:stretch/>
        </p:blipFill>
        <p:spPr>
          <a:xfrm rot="2874871">
            <a:off x="3840661" y="1523549"/>
            <a:ext cx="1409460" cy="1407600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38100">
            <a:solidFill>
              <a:schemeClr val="accent2"/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170121EC-F613-F9B7-53CC-F0D8950F2E22}"/>
              </a:ext>
            </a:extLst>
          </p:cNvPr>
          <p:cNvSpPr/>
          <p:nvPr/>
        </p:nvSpPr>
        <p:spPr>
          <a:xfrm>
            <a:off x="-174929" y="-127221"/>
            <a:ext cx="1160891" cy="691764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accent2"/>
                </a:solidFill>
              </a:rPr>
              <a:t>Monet Style </a:t>
            </a:r>
            <a:r>
              <a:rPr lang="de-DE" dirty="0" err="1">
                <a:solidFill>
                  <a:schemeClr val="accent2"/>
                </a:solidFill>
              </a:rPr>
              <a:t>images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2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F182E2-DF79-21F9-D929-E9EE0F4161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874867-A908-A4BF-C257-A0EDCDB550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Work</a:t>
            </a:r>
            <a:r>
              <a:rPr lang="en-US" dirty="0">
                <a:solidFill>
                  <a:schemeClr val="accent2"/>
                </a:solidFill>
              </a:rPr>
              <a:t>loa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92619D-B01F-4BD5-609A-E43ED6826A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e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6B40D78-C4D8-DE8E-FA31-082C0DA9DE05}"/>
              </a:ext>
            </a:extLst>
          </p:cNvPr>
          <p:cNvGrpSpPr/>
          <p:nvPr/>
        </p:nvGrpSpPr>
        <p:grpSpPr>
          <a:xfrm>
            <a:off x="699983" y="1645740"/>
            <a:ext cx="1636776" cy="2170149"/>
            <a:chOff x="699983" y="1869031"/>
            <a:chExt cx="1636776" cy="2170149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01C8275-1BD9-13A4-50D8-31DD8B6ADE96}"/>
                </a:ext>
              </a:extLst>
            </p:cNvPr>
            <p:cNvSpPr/>
            <p:nvPr/>
          </p:nvSpPr>
          <p:spPr>
            <a:xfrm>
              <a:off x="1039055" y="1869031"/>
              <a:ext cx="958632" cy="95863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1DF4CA6-6CA1-9E77-87FB-0CAE1FF1A748}"/>
                </a:ext>
              </a:extLst>
            </p:cNvPr>
            <p:cNvSpPr txBox="1"/>
            <p:nvPr/>
          </p:nvSpPr>
          <p:spPr>
            <a:xfrm>
              <a:off x="701741" y="3385155"/>
              <a:ext cx="1633261" cy="6540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1</a:t>
              </a:r>
            </a:p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2</a:t>
              </a:r>
            </a:p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3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AC90F37-89EC-1F29-2C56-4A61B5522E92}"/>
                </a:ext>
              </a:extLst>
            </p:cNvPr>
            <p:cNvSpPr txBox="1"/>
            <p:nvPr/>
          </p:nvSpPr>
          <p:spPr>
            <a:xfrm>
              <a:off x="699983" y="3012416"/>
              <a:ext cx="1636776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 dirty="0">
                  <a:solidFill>
                    <a:schemeClr val="accent1"/>
                  </a:solidFill>
                  <a:latin typeface="+mj-lt"/>
                </a:rPr>
                <a:t>Daniel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+mj-lt"/>
                </a:rPr>
                <a:t>Drissler</a:t>
              </a:r>
              <a:endParaRPr lang="en-US" sz="1000" b="1" cap="all" spc="20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FF1865E-D387-4F7E-391C-2102CC679693}"/>
                </a:ext>
              </a:extLst>
            </p:cNvPr>
            <p:cNvCxnSpPr/>
            <p:nvPr/>
          </p:nvCxnSpPr>
          <p:spPr>
            <a:xfrm>
              <a:off x="725385" y="3289410"/>
              <a:ext cx="1585973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7FE37C9-D8DE-A934-23CB-27E6CADB9074}"/>
              </a:ext>
            </a:extLst>
          </p:cNvPr>
          <p:cNvGrpSpPr/>
          <p:nvPr/>
        </p:nvGrpSpPr>
        <p:grpSpPr>
          <a:xfrm>
            <a:off x="3753612" y="1645740"/>
            <a:ext cx="1636776" cy="2170470"/>
            <a:chOff x="4771489" y="1869031"/>
            <a:chExt cx="1636776" cy="217047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C50DAD8-9AE0-9ABC-31E2-4FA82064C49C}"/>
                </a:ext>
              </a:extLst>
            </p:cNvPr>
            <p:cNvSpPr/>
            <p:nvPr/>
          </p:nvSpPr>
          <p:spPr>
            <a:xfrm>
              <a:off x="5110561" y="1869031"/>
              <a:ext cx="958632" cy="95863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BE389389-6906-853F-E840-F9963416A888}"/>
                </a:ext>
              </a:extLst>
            </p:cNvPr>
            <p:cNvSpPr txBox="1"/>
            <p:nvPr/>
          </p:nvSpPr>
          <p:spPr>
            <a:xfrm>
              <a:off x="4771489" y="3012416"/>
              <a:ext cx="1636776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 dirty="0">
                  <a:solidFill>
                    <a:schemeClr val="accent1"/>
                  </a:solidFill>
                  <a:latin typeface="+mj-lt"/>
                </a:rPr>
                <a:t>Christopher Brevik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17ACDD5-6C3D-9C94-EE55-2069E04D6AFB}"/>
                </a:ext>
              </a:extLst>
            </p:cNvPr>
            <p:cNvSpPr txBox="1"/>
            <p:nvPr/>
          </p:nvSpPr>
          <p:spPr>
            <a:xfrm>
              <a:off x="4773247" y="3385155"/>
              <a:ext cx="1633261" cy="654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1</a:t>
              </a:r>
            </a:p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2</a:t>
              </a:r>
            </a:p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3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EE0E750-11C5-D2B0-CBDF-0C11A1F285BC}"/>
                </a:ext>
              </a:extLst>
            </p:cNvPr>
            <p:cNvCxnSpPr/>
            <p:nvPr/>
          </p:nvCxnSpPr>
          <p:spPr>
            <a:xfrm>
              <a:off x="4796891" y="3289410"/>
              <a:ext cx="1585973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546FEA4-81C5-709F-A819-B7CE533CD1A5}"/>
              </a:ext>
            </a:extLst>
          </p:cNvPr>
          <p:cNvGrpSpPr/>
          <p:nvPr/>
        </p:nvGrpSpPr>
        <p:grpSpPr>
          <a:xfrm>
            <a:off x="6807242" y="1645740"/>
            <a:ext cx="1636776" cy="2170470"/>
            <a:chOff x="6807242" y="1869031"/>
            <a:chExt cx="1636776" cy="217047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F336DFB-4570-3D08-E343-A012034BD941}"/>
                </a:ext>
              </a:extLst>
            </p:cNvPr>
            <p:cNvSpPr/>
            <p:nvPr/>
          </p:nvSpPr>
          <p:spPr>
            <a:xfrm>
              <a:off x="7146314" y="1869031"/>
              <a:ext cx="958632" cy="95863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226F46D-D94A-1D56-F157-DC3E35CB2B9B}"/>
                </a:ext>
              </a:extLst>
            </p:cNvPr>
            <p:cNvSpPr txBox="1"/>
            <p:nvPr/>
          </p:nvSpPr>
          <p:spPr>
            <a:xfrm>
              <a:off x="6807242" y="3012416"/>
              <a:ext cx="1636776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 dirty="0">
                  <a:solidFill>
                    <a:schemeClr val="accent1"/>
                  </a:solidFill>
                  <a:latin typeface="+mj-lt"/>
                </a:rPr>
                <a:t>Jakob Stock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23F6C22-4523-B4C7-09EF-7406B8EC97BF}"/>
                </a:ext>
              </a:extLst>
            </p:cNvPr>
            <p:cNvSpPr txBox="1"/>
            <p:nvPr/>
          </p:nvSpPr>
          <p:spPr>
            <a:xfrm>
              <a:off x="6809000" y="3385155"/>
              <a:ext cx="1633261" cy="654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1</a:t>
              </a:r>
            </a:p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2</a:t>
              </a:r>
            </a:p>
            <a:p>
              <a:pPr marL="171450" indent="-171450">
                <a:lnSpc>
                  <a:spcPts val="1300"/>
                </a:lnSpc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100" dirty="0">
                  <a:solidFill>
                    <a:schemeClr val="accent1"/>
                  </a:solidFill>
                  <a:latin typeface="+mj-lt"/>
                </a:rPr>
                <a:t>Task 3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ABEF758-7781-2349-6CCD-80668298D26D}"/>
                </a:ext>
              </a:extLst>
            </p:cNvPr>
            <p:cNvCxnSpPr/>
            <p:nvPr/>
          </p:nvCxnSpPr>
          <p:spPr>
            <a:xfrm>
              <a:off x="6832644" y="3289410"/>
              <a:ext cx="1585973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phic 5" descr="Muscular arm with solid fill">
            <a:extLst>
              <a:ext uri="{FF2B5EF4-FFF2-40B4-BE49-F238E27FC236}">
                <a16:creationId xmlns:a16="http://schemas.microsoft.com/office/drawing/2014/main" id="{C9BBDFB2-BD80-4DEA-9651-43B7DBC476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32225" y="1723403"/>
            <a:ext cx="786810" cy="786810"/>
          </a:xfrm>
          <a:prstGeom prst="rect">
            <a:avLst/>
          </a:prstGeom>
        </p:spPr>
      </p:pic>
      <p:pic>
        <p:nvPicPr>
          <p:cNvPr id="10" name="Graphic 9" descr="Muscular arm with solid fill">
            <a:extLst>
              <a:ext uri="{FF2B5EF4-FFF2-40B4-BE49-F238E27FC236}">
                <a16:creationId xmlns:a16="http://schemas.microsoft.com/office/drawing/2014/main" id="{B250F64D-7105-6419-C422-53284C9A60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78594" y="1723403"/>
            <a:ext cx="786810" cy="786810"/>
          </a:xfrm>
          <a:prstGeom prst="rect">
            <a:avLst/>
          </a:prstGeom>
        </p:spPr>
      </p:pic>
      <p:pic>
        <p:nvPicPr>
          <p:cNvPr id="11" name="Graphic 10" descr="Muscular arm with solid fill">
            <a:extLst>
              <a:ext uri="{FF2B5EF4-FFF2-40B4-BE49-F238E27FC236}">
                <a16:creationId xmlns:a16="http://schemas.microsoft.com/office/drawing/2014/main" id="{8E6DB8B4-1E72-2524-9D37-3B98C9AC14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4966" y="1723403"/>
            <a:ext cx="786810" cy="786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14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6F94D-3B8F-EF6F-B834-D41785F7EA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6EFB5-9DF7-0951-2119-3B9BE5A93A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the </a:t>
            </a:r>
            <a:r>
              <a:rPr lang="en-US" dirty="0">
                <a:solidFill>
                  <a:schemeClr val="accent2"/>
                </a:solidFill>
              </a:rPr>
              <a:t>Architectur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0C9900-69CF-3C66-8923-54E24CA11B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rison of Model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D9873A-CD6F-9E03-2045-BA9B0A42B2CA}"/>
              </a:ext>
            </a:extLst>
          </p:cNvPr>
          <p:cNvGrpSpPr/>
          <p:nvPr/>
        </p:nvGrpSpPr>
        <p:grpSpPr>
          <a:xfrm>
            <a:off x="1308011" y="1851988"/>
            <a:ext cx="324000" cy="829844"/>
            <a:chOff x="1335024" y="1657350"/>
            <a:chExt cx="560832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10A1764-3465-DAA1-7745-099B513BB910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D8528E5-866D-B4BD-2C63-2B7407666A60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4067FB4-B930-BBF3-9782-1143777475BE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14" name="Picture 13" descr="A purple and black stripes&#10;&#10;Description automatically generated">
            <a:extLst>
              <a:ext uri="{FF2B5EF4-FFF2-40B4-BE49-F238E27FC236}">
                <a16:creationId xmlns:a16="http://schemas.microsoft.com/office/drawing/2014/main" id="{6570BDAE-3F93-3207-53DB-43340ECE9C6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869229" y="1840463"/>
            <a:ext cx="324000" cy="841369"/>
          </a:xfrm>
          <a:prstGeom prst="rect">
            <a:avLst/>
          </a:prstGeom>
        </p:spPr>
      </p:pic>
      <p:sp>
        <p:nvSpPr>
          <p:cNvPr id="17" name="Right Arrow 16">
            <a:extLst>
              <a:ext uri="{FF2B5EF4-FFF2-40B4-BE49-F238E27FC236}">
                <a16:creationId xmlns:a16="http://schemas.microsoft.com/office/drawing/2014/main" id="{A333E707-BBCC-BCA5-D475-4104A4A1BDBB}"/>
              </a:ext>
            </a:extLst>
          </p:cNvPr>
          <p:cNvSpPr/>
          <p:nvPr/>
        </p:nvSpPr>
        <p:spPr>
          <a:xfrm>
            <a:off x="1678561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EB14BB8-DEEF-B0E5-3248-46F3AE065226}"/>
              </a:ext>
            </a:extLst>
          </p:cNvPr>
          <p:cNvSpPr/>
          <p:nvPr/>
        </p:nvSpPr>
        <p:spPr>
          <a:xfrm>
            <a:off x="1922273" y="1965054"/>
            <a:ext cx="612000" cy="612001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D3683308-CDA1-0DDB-F353-61826813779E}"/>
              </a:ext>
            </a:extLst>
          </p:cNvPr>
          <p:cNvSpPr/>
          <p:nvPr/>
        </p:nvSpPr>
        <p:spPr>
          <a:xfrm>
            <a:off x="2611187" y="220277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D6A7C17D-38CF-ADDD-4E3D-82398471E57D}"/>
              </a:ext>
            </a:extLst>
          </p:cNvPr>
          <p:cNvSpPr/>
          <p:nvPr/>
        </p:nvSpPr>
        <p:spPr>
          <a:xfrm>
            <a:off x="3244849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C9C7C44A-E517-6E3E-D8EA-CB3D5192D23E}"/>
              </a:ext>
            </a:extLst>
          </p:cNvPr>
          <p:cNvSpPr/>
          <p:nvPr/>
        </p:nvSpPr>
        <p:spPr>
          <a:xfrm>
            <a:off x="1071644" y="2197010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945F164-D3F8-C67C-6628-C32EEDF2AFAA}"/>
              </a:ext>
            </a:extLst>
          </p:cNvPr>
          <p:cNvGrpSpPr/>
          <p:nvPr/>
        </p:nvGrpSpPr>
        <p:grpSpPr>
          <a:xfrm>
            <a:off x="4650119" y="1873808"/>
            <a:ext cx="324000" cy="829844"/>
            <a:chOff x="1335024" y="1657350"/>
            <a:chExt cx="560832" cy="9144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26B730C-98C4-6783-2BE8-99556FB48B4B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FB83912-888A-5269-9413-1D0E584CB1F5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BCA0659-9A1F-50C2-98B0-9E93817E8FBB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pic>
        <p:nvPicPr>
          <p:cNvPr id="30" name="Picture 29" descr="A purple and black stripes&#10;&#10;Description automatically generated">
            <a:extLst>
              <a:ext uri="{FF2B5EF4-FFF2-40B4-BE49-F238E27FC236}">
                <a16:creationId xmlns:a16="http://schemas.microsoft.com/office/drawing/2014/main" id="{1BAD5D1A-0A3D-F1B2-EBE2-12A0BB712DEE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21497" y="1862282"/>
            <a:ext cx="324000" cy="841369"/>
          </a:xfrm>
          <a:prstGeom prst="rect">
            <a:avLst/>
          </a:prstGeom>
        </p:spPr>
      </p:pic>
      <p:sp>
        <p:nvSpPr>
          <p:cNvPr id="31" name="Right Arrow 30">
            <a:extLst>
              <a:ext uri="{FF2B5EF4-FFF2-40B4-BE49-F238E27FC236}">
                <a16:creationId xmlns:a16="http://schemas.microsoft.com/office/drawing/2014/main" id="{3A38225A-1262-3485-B93A-A7D0EF131B45}"/>
              </a:ext>
            </a:extLst>
          </p:cNvPr>
          <p:cNvSpPr/>
          <p:nvPr/>
        </p:nvSpPr>
        <p:spPr>
          <a:xfrm>
            <a:off x="5020670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EEBEF1-9EFD-DB0F-2004-C3D0B5DA0E03}"/>
              </a:ext>
            </a:extLst>
          </p:cNvPr>
          <p:cNvSpPr/>
          <p:nvPr/>
        </p:nvSpPr>
        <p:spPr>
          <a:xfrm>
            <a:off x="5264381" y="1986873"/>
            <a:ext cx="612000" cy="612000"/>
          </a:xfrm>
          <a:prstGeom prst="rect">
            <a:avLst/>
          </a:prstGeom>
          <a:solidFill>
            <a:schemeClr val="bg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tent Space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780590A8-33E7-FCC6-036C-D69611C82918}"/>
              </a:ext>
            </a:extLst>
          </p:cNvPr>
          <p:cNvSpPr/>
          <p:nvPr/>
        </p:nvSpPr>
        <p:spPr>
          <a:xfrm>
            <a:off x="5953295" y="2224592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ight Arrow 33">
            <a:extLst>
              <a:ext uri="{FF2B5EF4-FFF2-40B4-BE49-F238E27FC236}">
                <a16:creationId xmlns:a16="http://schemas.microsoft.com/office/drawing/2014/main" id="{CCEA2CA7-D18B-E855-F412-E63D224F7EAD}"/>
              </a:ext>
            </a:extLst>
          </p:cNvPr>
          <p:cNvSpPr/>
          <p:nvPr/>
        </p:nvSpPr>
        <p:spPr>
          <a:xfrm>
            <a:off x="6597118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6FB0CB4C-5158-9D9E-A3B4-C252E26940E3}"/>
              </a:ext>
            </a:extLst>
          </p:cNvPr>
          <p:cNvSpPr/>
          <p:nvPr/>
        </p:nvSpPr>
        <p:spPr>
          <a:xfrm>
            <a:off x="4413753" y="2218829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94E6355-15F4-8875-B7CD-243CCAC96966}"/>
              </a:ext>
            </a:extLst>
          </p:cNvPr>
          <p:cNvGrpSpPr/>
          <p:nvPr/>
        </p:nvGrpSpPr>
        <p:grpSpPr>
          <a:xfrm>
            <a:off x="4648551" y="3151981"/>
            <a:ext cx="324000" cy="829843"/>
            <a:chOff x="1335024" y="1657350"/>
            <a:chExt cx="560832" cy="9144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B1D5191-AED8-C088-66FF-D4C02121269C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96DFDCB-0B94-BD61-33D5-8181ECFAB028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76B2067-87B1-E0F7-C82E-6AA9531E1C48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1" name="Right Arrow 40">
            <a:extLst>
              <a:ext uri="{FF2B5EF4-FFF2-40B4-BE49-F238E27FC236}">
                <a16:creationId xmlns:a16="http://schemas.microsoft.com/office/drawing/2014/main" id="{2820E9A3-6213-7072-B7ED-8018865B5D2E}"/>
              </a:ext>
            </a:extLst>
          </p:cNvPr>
          <p:cNvSpPr/>
          <p:nvPr/>
        </p:nvSpPr>
        <p:spPr>
          <a:xfrm>
            <a:off x="5181661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A93FC24-D710-CC4B-CAC3-D672B23BA07C}"/>
              </a:ext>
            </a:extLst>
          </p:cNvPr>
          <p:cNvGrpSpPr/>
          <p:nvPr/>
        </p:nvGrpSpPr>
        <p:grpSpPr>
          <a:xfrm>
            <a:off x="7486899" y="3151981"/>
            <a:ext cx="324000" cy="829843"/>
            <a:chOff x="1335024" y="1657350"/>
            <a:chExt cx="560832" cy="91440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E1DBCDB-FCF7-2643-3B4B-0851FD95EFD3}"/>
                </a:ext>
              </a:extLst>
            </p:cNvPr>
            <p:cNvSpPr/>
            <p:nvPr/>
          </p:nvSpPr>
          <p:spPr>
            <a:xfrm>
              <a:off x="1335024" y="1657350"/>
              <a:ext cx="128016" cy="9144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2C809D9-9180-4EA5-C70B-111E8C72C9E1}"/>
                </a:ext>
              </a:extLst>
            </p:cNvPr>
            <p:cNvSpPr/>
            <p:nvPr/>
          </p:nvSpPr>
          <p:spPr>
            <a:xfrm>
              <a:off x="1551432" y="1781937"/>
              <a:ext cx="128016" cy="66522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EBBF4EB-1C72-2EF9-0793-D2805D6BAEA3}"/>
                </a:ext>
              </a:extLst>
            </p:cNvPr>
            <p:cNvSpPr/>
            <p:nvPr/>
          </p:nvSpPr>
          <p:spPr>
            <a:xfrm>
              <a:off x="1767840" y="1899095"/>
              <a:ext cx="128016" cy="43091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46" name="Right Arrow 45">
            <a:extLst>
              <a:ext uri="{FF2B5EF4-FFF2-40B4-BE49-F238E27FC236}">
                <a16:creationId xmlns:a16="http://schemas.microsoft.com/office/drawing/2014/main" id="{C7BB6466-86AF-AB4F-9B7F-7D53AD407F8E}"/>
              </a:ext>
            </a:extLst>
          </p:cNvPr>
          <p:cNvSpPr/>
          <p:nvPr/>
        </p:nvSpPr>
        <p:spPr>
          <a:xfrm>
            <a:off x="7877769" y="3502765"/>
            <a:ext cx="195223" cy="12827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EB13B578-BDC4-164C-5B73-35F1358386CF}"/>
              </a:ext>
            </a:extLst>
          </p:cNvPr>
          <p:cNvSpPr/>
          <p:nvPr/>
        </p:nvSpPr>
        <p:spPr>
          <a:xfrm rot="3456229">
            <a:off x="3851151" y="3035356"/>
            <a:ext cx="734579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030169E6-C634-9E95-796C-68C248D7A935}"/>
              </a:ext>
            </a:extLst>
          </p:cNvPr>
          <p:cNvSpPr/>
          <p:nvPr/>
        </p:nvSpPr>
        <p:spPr>
          <a:xfrm rot="20303528">
            <a:off x="3926639" y="3765262"/>
            <a:ext cx="504000" cy="129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F7EC24B8-7F7D-7CE2-0839-63277CCB0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59" y="1842508"/>
            <a:ext cx="867766" cy="861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A241BE6A-3DC0-EE83-4B6C-D04E942A64E6}"/>
              </a:ext>
            </a:extLst>
          </p:cNvPr>
          <p:cNvSpPr txBox="1"/>
          <p:nvPr/>
        </p:nvSpPr>
        <p:spPr>
          <a:xfrm>
            <a:off x="1029404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2580A7A-8D3F-E0D8-E703-6E255E0C343D}"/>
              </a:ext>
            </a:extLst>
          </p:cNvPr>
          <p:cNvSpPr txBox="1"/>
          <p:nvPr/>
        </p:nvSpPr>
        <p:spPr>
          <a:xfrm>
            <a:off x="4453331" y="1500571"/>
            <a:ext cx="8677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9599E4C-7EEE-B107-815B-B4C4D924FDF7}"/>
              </a:ext>
            </a:extLst>
          </p:cNvPr>
          <p:cNvSpPr txBox="1"/>
          <p:nvPr/>
        </p:nvSpPr>
        <p:spPr>
          <a:xfrm>
            <a:off x="2582889" y="1512234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691961A-D1F2-4BA8-2F3C-9B3F06D1EDE6}"/>
              </a:ext>
            </a:extLst>
          </p:cNvPr>
          <p:cNvSpPr txBox="1"/>
          <p:nvPr/>
        </p:nvSpPr>
        <p:spPr>
          <a:xfrm>
            <a:off x="6053809" y="1497930"/>
            <a:ext cx="100032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EB42AE4-9C48-1A24-CCA7-91A23A5580DD}"/>
              </a:ext>
            </a:extLst>
          </p:cNvPr>
          <p:cNvSpPr txBox="1"/>
          <p:nvPr/>
        </p:nvSpPr>
        <p:spPr>
          <a:xfrm>
            <a:off x="4459002" y="2858134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5CDB17E-5DEB-964E-1240-D83FFA767189}"/>
              </a:ext>
            </a:extLst>
          </p:cNvPr>
          <p:cNvSpPr txBox="1"/>
          <p:nvPr/>
        </p:nvSpPr>
        <p:spPr>
          <a:xfrm>
            <a:off x="7323812" y="2835108"/>
            <a:ext cx="12259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criminator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426E544-AA2D-D7D9-06A1-9033DDFCFC23}"/>
              </a:ext>
            </a:extLst>
          </p:cNvPr>
          <p:cNvSpPr txBox="1"/>
          <p:nvPr/>
        </p:nvSpPr>
        <p:spPr>
          <a:xfrm>
            <a:off x="5414648" y="3241202"/>
            <a:ext cx="101724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7331C92-BE73-5102-4A06-8B88F85EC8E2}"/>
              </a:ext>
            </a:extLst>
          </p:cNvPr>
          <p:cNvSpPr txBox="1"/>
          <p:nvPr/>
        </p:nvSpPr>
        <p:spPr>
          <a:xfrm>
            <a:off x="8054017" y="3209111"/>
            <a:ext cx="96679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ke/Real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net</a:t>
            </a:r>
          </a:p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age</a:t>
            </a:r>
          </a:p>
        </p:txBody>
      </p:sp>
      <p:cxnSp>
        <p:nvCxnSpPr>
          <p:cNvPr id="4109" name="Straight Connector 4108">
            <a:extLst>
              <a:ext uri="{FF2B5EF4-FFF2-40B4-BE49-F238E27FC236}">
                <a16:creationId xmlns:a16="http://schemas.microsoft.com/office/drawing/2014/main" id="{DCB3806D-0928-0444-25E4-B54196921E21}"/>
              </a:ext>
            </a:extLst>
          </p:cNvPr>
          <p:cNvCxnSpPr>
            <a:cxnSpLocks/>
            <a:stCxn id="48" idx="2"/>
          </p:cNvCxnSpPr>
          <p:nvPr/>
        </p:nvCxnSpPr>
        <p:spPr>
          <a:xfrm flipH="1">
            <a:off x="591585" y="2703649"/>
            <a:ext cx="457" cy="190899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5" name="Elbow Connector 4114">
            <a:extLst>
              <a:ext uri="{FF2B5EF4-FFF2-40B4-BE49-F238E27FC236}">
                <a16:creationId xmlns:a16="http://schemas.microsoft.com/office/drawing/2014/main" id="{DDF4ED16-C5D9-16D3-EDDB-E6D6B7DD2CD0}"/>
              </a:ext>
            </a:extLst>
          </p:cNvPr>
          <p:cNvCxnSpPr>
            <a:cxnSpLocks/>
          </p:cNvCxnSpPr>
          <p:nvPr/>
        </p:nvCxnSpPr>
        <p:spPr>
          <a:xfrm flipV="1">
            <a:off x="591585" y="3768474"/>
            <a:ext cx="6895314" cy="844166"/>
          </a:xfrm>
          <a:prstGeom prst="bentConnector3">
            <a:avLst>
              <a:gd name="adj1" fmla="val 9376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18" name="Picture 4117">
            <a:extLst>
              <a:ext uri="{FF2B5EF4-FFF2-40B4-BE49-F238E27FC236}">
                <a16:creationId xmlns:a16="http://schemas.microsoft.com/office/drawing/2014/main" id="{DD501641-352B-C79C-E414-96FB7F7AF5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2231" y="1810056"/>
            <a:ext cx="867766" cy="861141"/>
          </a:xfrm>
          <a:prstGeom prst="rect">
            <a:avLst/>
          </a:prstGeom>
        </p:spPr>
      </p:pic>
      <p:pic>
        <p:nvPicPr>
          <p:cNvPr id="4123" name="Picture 4122">
            <a:extLst>
              <a:ext uri="{FF2B5EF4-FFF2-40B4-BE49-F238E27FC236}">
                <a16:creationId xmlns:a16="http://schemas.microsoft.com/office/drawing/2014/main" id="{8EE21A63-3408-D7C9-65F6-BEA51F539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613" y="1830123"/>
            <a:ext cx="867766" cy="861141"/>
          </a:xfrm>
          <a:prstGeom prst="rect">
            <a:avLst/>
          </a:prstGeom>
        </p:spPr>
      </p:pic>
      <p:cxnSp>
        <p:nvCxnSpPr>
          <p:cNvPr id="4125" name="Elbow Connector 4124">
            <a:extLst>
              <a:ext uri="{FF2B5EF4-FFF2-40B4-BE49-F238E27FC236}">
                <a16:creationId xmlns:a16="http://schemas.microsoft.com/office/drawing/2014/main" id="{D63342C7-6C4F-732F-4344-5F0DDD574EE8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32098" y="2803863"/>
            <a:ext cx="683758" cy="439693"/>
          </a:xfrm>
          <a:prstGeom prst="bentConnector3">
            <a:avLst>
              <a:gd name="adj1" fmla="val 10052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34" name="Picture 4133" descr="A painting of boats in a harbor&#10;&#10;Description automatically generated">
            <a:extLst>
              <a:ext uri="{FF2B5EF4-FFF2-40B4-BE49-F238E27FC236}">
                <a16:creationId xmlns:a16="http://schemas.microsoft.com/office/drawing/2014/main" id="{894A1ECE-F0CA-6108-0CA1-7320C843F1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72" y="349269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6610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37DFE-8E89-61F3-4AB6-ACAB67BDB9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CF58311-3B15-043E-8DC1-E330A582DB13}"/>
              </a:ext>
            </a:extLst>
          </p:cNvPr>
          <p:cNvGrpSpPr/>
          <p:nvPr/>
        </p:nvGrpSpPr>
        <p:grpSpPr>
          <a:xfrm>
            <a:off x="4572000" y="1851535"/>
            <a:ext cx="357790" cy="357790"/>
            <a:chOff x="5570868" y="1680332"/>
            <a:chExt cx="357790" cy="3577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15F1BE14-C45C-5CE7-78EC-C44EDE2F1836}"/>
                </a:ext>
              </a:extLst>
            </p:cNvPr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0D7D919-5151-4E55-C56A-9DF9D63F3166}"/>
                </a:ext>
              </a:extLst>
            </p:cNvPr>
            <p:cNvSpPr txBox="1"/>
            <p:nvPr/>
          </p:nvSpPr>
          <p:spPr>
            <a:xfrm>
              <a:off x="5606168" y="1761087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8F03F40-FBA1-560D-BA6F-23BE803D292C}"/>
              </a:ext>
            </a:extLst>
          </p:cNvPr>
          <p:cNvGrpSpPr/>
          <p:nvPr/>
        </p:nvGrpSpPr>
        <p:grpSpPr>
          <a:xfrm>
            <a:off x="4572000" y="2744221"/>
            <a:ext cx="357790" cy="357790"/>
            <a:chOff x="5570868" y="2573018"/>
            <a:chExt cx="357790" cy="35779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F70838E-8FB3-422A-8AD3-43F23A694244}"/>
                </a:ext>
              </a:extLst>
            </p:cNvPr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D187819-0EA4-95C2-281D-63186D59FFD1}"/>
                </a:ext>
              </a:extLst>
            </p:cNvPr>
            <p:cNvSpPr txBox="1"/>
            <p:nvPr/>
          </p:nvSpPr>
          <p:spPr>
            <a:xfrm>
              <a:off x="5606168" y="2653773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FD8D-D1E8-5031-F568-598E60BD5973}"/>
              </a:ext>
            </a:extLst>
          </p:cNvPr>
          <p:cNvGrpSpPr/>
          <p:nvPr/>
        </p:nvGrpSpPr>
        <p:grpSpPr>
          <a:xfrm>
            <a:off x="4572000" y="3617094"/>
            <a:ext cx="357790" cy="357790"/>
            <a:chOff x="5570868" y="3445891"/>
            <a:chExt cx="357790" cy="35779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024A6F4-B605-E6C2-F14F-45A81E66F0E8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3E311FC-4687-098F-E99D-FD6121B19F7A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6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9B09169-BFCF-99AB-6C7B-D25B896BBC44}"/>
              </a:ext>
            </a:extLst>
          </p:cNvPr>
          <p:cNvSpPr txBox="1"/>
          <p:nvPr/>
        </p:nvSpPr>
        <p:spPr>
          <a:xfrm>
            <a:off x="5174584" y="1938498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C166DB-C2A4-DC92-E487-943B6A753E78}"/>
              </a:ext>
            </a:extLst>
          </p:cNvPr>
          <p:cNvSpPr txBox="1"/>
          <p:nvPr/>
        </p:nvSpPr>
        <p:spPr>
          <a:xfrm>
            <a:off x="5171902" y="1740085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</a:rPr>
              <a:t>Name of Agenda PT 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BEAA8E-71D0-5962-20FA-7D138C1FD004}"/>
              </a:ext>
            </a:extLst>
          </p:cNvPr>
          <p:cNvSpPr txBox="1"/>
          <p:nvPr/>
        </p:nvSpPr>
        <p:spPr>
          <a:xfrm>
            <a:off x="5174584" y="2843992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76F88-DDCD-C213-6FD6-6A71C0A7F145}"/>
              </a:ext>
            </a:extLst>
          </p:cNvPr>
          <p:cNvSpPr txBox="1"/>
          <p:nvPr/>
        </p:nvSpPr>
        <p:spPr>
          <a:xfrm>
            <a:off x="5171902" y="2632771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</a:rPr>
              <a:t>Name of Agenda PT 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58348A-555B-EE39-27CA-C2E0EA218892}"/>
              </a:ext>
            </a:extLst>
          </p:cNvPr>
          <p:cNvSpPr txBox="1"/>
          <p:nvPr/>
        </p:nvSpPr>
        <p:spPr>
          <a:xfrm>
            <a:off x="5174584" y="3716865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CA4275-18C5-34AB-0F84-CAF945CBA415}"/>
              </a:ext>
            </a:extLst>
          </p:cNvPr>
          <p:cNvSpPr txBox="1"/>
          <p:nvPr/>
        </p:nvSpPr>
        <p:spPr>
          <a:xfrm>
            <a:off x="5171902" y="3505644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</a:rPr>
              <a:t>Name of Agenda PT 6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1FE5FA7-F753-1348-9801-B63BD2A99A0E}"/>
              </a:ext>
            </a:extLst>
          </p:cNvPr>
          <p:cNvGrpSpPr/>
          <p:nvPr/>
        </p:nvGrpSpPr>
        <p:grpSpPr>
          <a:xfrm>
            <a:off x="282284" y="1851535"/>
            <a:ext cx="357790" cy="357790"/>
            <a:chOff x="5570868" y="1680332"/>
            <a:chExt cx="357790" cy="35779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20502AB5-7FCC-76E4-E3C8-0C8766ED8E32}"/>
                </a:ext>
              </a:extLst>
            </p:cNvPr>
            <p:cNvSpPr/>
            <p:nvPr/>
          </p:nvSpPr>
          <p:spPr>
            <a:xfrm>
              <a:off x="5570868" y="1680332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8992D13-B274-8CFF-5CBF-CEEF86DD1C72}"/>
                </a:ext>
              </a:extLst>
            </p:cNvPr>
            <p:cNvSpPr txBox="1"/>
            <p:nvPr/>
          </p:nvSpPr>
          <p:spPr>
            <a:xfrm>
              <a:off x="5606168" y="1761087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22F64D0-0E06-BDAF-174C-D060E46ACA59}"/>
              </a:ext>
            </a:extLst>
          </p:cNvPr>
          <p:cNvGrpSpPr/>
          <p:nvPr/>
        </p:nvGrpSpPr>
        <p:grpSpPr>
          <a:xfrm>
            <a:off x="282284" y="2744221"/>
            <a:ext cx="357790" cy="357790"/>
            <a:chOff x="5570868" y="2573018"/>
            <a:chExt cx="357790" cy="35779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50E27BF-B23E-0E62-020B-B852BB67CE43}"/>
                </a:ext>
              </a:extLst>
            </p:cNvPr>
            <p:cNvSpPr/>
            <p:nvPr/>
          </p:nvSpPr>
          <p:spPr>
            <a:xfrm>
              <a:off x="5570868" y="2573018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9490EA1-E436-AEE6-49F6-EB13E7F5C639}"/>
                </a:ext>
              </a:extLst>
            </p:cNvPr>
            <p:cNvSpPr txBox="1"/>
            <p:nvPr/>
          </p:nvSpPr>
          <p:spPr>
            <a:xfrm>
              <a:off x="5606168" y="2653773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D900EE-3E24-2DCE-4B2F-FE8EBDCBB2BC}"/>
              </a:ext>
            </a:extLst>
          </p:cNvPr>
          <p:cNvGrpSpPr/>
          <p:nvPr/>
        </p:nvGrpSpPr>
        <p:grpSpPr>
          <a:xfrm>
            <a:off x="282284" y="3617094"/>
            <a:ext cx="357790" cy="357790"/>
            <a:chOff x="5570868" y="3445891"/>
            <a:chExt cx="357790" cy="35779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C8DCD7D-0A7A-F0B1-77B6-972CE486F7A3}"/>
                </a:ext>
              </a:extLst>
            </p:cNvPr>
            <p:cNvSpPr/>
            <p:nvPr/>
          </p:nvSpPr>
          <p:spPr>
            <a:xfrm>
              <a:off x="5570868" y="3445891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095BD55-740A-9591-28B4-27866C2E5282}"/>
                </a:ext>
              </a:extLst>
            </p:cNvPr>
            <p:cNvSpPr txBox="1"/>
            <p:nvPr/>
          </p:nvSpPr>
          <p:spPr>
            <a:xfrm>
              <a:off x="5606168" y="3526646"/>
              <a:ext cx="2808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</a:rPr>
                <a:t>03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B5FD1FD-6A21-142E-5721-A642E933111D}"/>
              </a:ext>
            </a:extLst>
          </p:cNvPr>
          <p:cNvSpPr txBox="1"/>
          <p:nvPr/>
        </p:nvSpPr>
        <p:spPr>
          <a:xfrm>
            <a:off x="884868" y="1951306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3CB222-89BA-B1EA-DA84-05DB5C2BBDD4}"/>
              </a:ext>
            </a:extLst>
          </p:cNvPr>
          <p:cNvSpPr txBox="1"/>
          <p:nvPr/>
        </p:nvSpPr>
        <p:spPr>
          <a:xfrm>
            <a:off x="882186" y="1740085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</a:rPr>
              <a:t>Name of Agenda PT 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4B3BE65-6763-B69A-F8A6-3AA7AC0DC343}"/>
              </a:ext>
            </a:extLst>
          </p:cNvPr>
          <p:cNvSpPr txBox="1"/>
          <p:nvPr/>
        </p:nvSpPr>
        <p:spPr>
          <a:xfrm>
            <a:off x="884868" y="2843992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3BB3F23-0496-B257-CEC3-60A1BD917A43}"/>
              </a:ext>
            </a:extLst>
          </p:cNvPr>
          <p:cNvSpPr txBox="1"/>
          <p:nvPr/>
        </p:nvSpPr>
        <p:spPr>
          <a:xfrm>
            <a:off x="882186" y="2632771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</a:rPr>
              <a:t>Name of Agenda PT 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D6EABE-E91B-0D4A-AC28-AABC275C6A21}"/>
              </a:ext>
            </a:extLst>
          </p:cNvPr>
          <p:cNvSpPr txBox="1"/>
          <p:nvPr/>
        </p:nvSpPr>
        <p:spPr>
          <a:xfrm>
            <a:off x="884868" y="3716865"/>
            <a:ext cx="2281570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</a:rPr>
              <a:t>Short description of Agenda point in two lines of tex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BA265C-FB28-250A-FFC9-E08A2E3D20CD}"/>
              </a:ext>
            </a:extLst>
          </p:cNvPr>
          <p:cNvSpPr txBox="1"/>
          <p:nvPr/>
        </p:nvSpPr>
        <p:spPr>
          <a:xfrm>
            <a:off x="882186" y="3505644"/>
            <a:ext cx="228648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</a:rPr>
              <a:t>Name of Agenda PT 3</a:t>
            </a:r>
          </a:p>
        </p:txBody>
      </p:sp>
    </p:spTree>
    <p:extLst>
      <p:ext uri="{BB962C8B-B14F-4D97-AF65-F5344CB8AC3E}">
        <p14:creationId xmlns:p14="http://schemas.microsoft.com/office/powerpoint/2010/main" val="59669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9BE866-9E19-7AA5-39A9-97AA917EF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AE578A-98A6-E202-A69E-A9EA7FE73F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What is a </a:t>
            </a:r>
            <a:r>
              <a:rPr lang="en-US" dirty="0">
                <a:solidFill>
                  <a:schemeClr val="accent2"/>
                </a:solidFill>
              </a:rPr>
              <a:t>GAN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340D3D-0071-6929-B56F-7E4E435ABE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AN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DEF004A-144C-7427-E280-D147AE3DC10A}"/>
              </a:ext>
            </a:extLst>
          </p:cNvPr>
          <p:cNvGrpSpPr/>
          <p:nvPr/>
        </p:nvGrpSpPr>
        <p:grpSpPr>
          <a:xfrm>
            <a:off x="2392998" y="1294642"/>
            <a:ext cx="4958778" cy="3332222"/>
            <a:chOff x="2392998" y="1294642"/>
            <a:chExt cx="4958778" cy="33322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0C7AE79-9A0A-C8AF-4EAC-E216F5D279B7}"/>
                </a:ext>
              </a:extLst>
            </p:cNvPr>
            <p:cNvSpPr/>
            <p:nvPr/>
          </p:nvSpPr>
          <p:spPr>
            <a:xfrm>
              <a:off x="2392998" y="1815393"/>
              <a:ext cx="823331" cy="70381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ndom </a:t>
              </a:r>
              <a:r>
                <a:rPr lang="de-DE" sz="11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ise</a:t>
              </a:r>
              <a:endPara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6F444EC4-E3F7-7E13-F700-E749F7311A52}"/>
                </a:ext>
              </a:extLst>
            </p:cNvPr>
            <p:cNvSpPr/>
            <p:nvPr/>
          </p:nvSpPr>
          <p:spPr>
            <a:xfrm>
              <a:off x="3296196" y="2088773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ight Arrow 8">
              <a:extLst>
                <a:ext uri="{FF2B5EF4-FFF2-40B4-BE49-F238E27FC236}">
                  <a16:creationId xmlns:a16="http://schemas.microsoft.com/office/drawing/2014/main" id="{650B0398-A72B-B231-B851-10C487A56940}"/>
                </a:ext>
              </a:extLst>
            </p:cNvPr>
            <p:cNvSpPr/>
            <p:nvPr/>
          </p:nvSpPr>
          <p:spPr>
            <a:xfrm>
              <a:off x="3954184" y="2082147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591F406-C340-D5FA-42F9-B86D812554BF}"/>
                </a:ext>
              </a:extLst>
            </p:cNvPr>
            <p:cNvGrpSpPr/>
            <p:nvPr/>
          </p:nvGrpSpPr>
          <p:grpSpPr>
            <a:xfrm>
              <a:off x="5411772" y="3180381"/>
              <a:ext cx="336438" cy="954334"/>
              <a:chOff x="1335024" y="1657350"/>
              <a:chExt cx="560832" cy="914400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B14CC263-CBD6-AB0C-F013-BA20D7773013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C6576584-F3E6-4480-E962-2F5E92E46949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0A21A74-9C1B-C971-4357-7805C1A82911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5" name="Right Arrow 14">
              <a:extLst>
                <a:ext uri="{FF2B5EF4-FFF2-40B4-BE49-F238E27FC236}">
                  <a16:creationId xmlns:a16="http://schemas.microsoft.com/office/drawing/2014/main" id="{F1EF6B3C-192B-57BE-34ED-4FF76B4B09D8}"/>
                </a:ext>
              </a:extLst>
            </p:cNvPr>
            <p:cNvSpPr/>
            <p:nvPr/>
          </p:nvSpPr>
          <p:spPr>
            <a:xfrm>
              <a:off x="5965348" y="3583788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6" name="Right Arrow 15">
              <a:extLst>
                <a:ext uri="{FF2B5EF4-FFF2-40B4-BE49-F238E27FC236}">
                  <a16:creationId xmlns:a16="http://schemas.microsoft.com/office/drawing/2014/main" id="{4017DDAC-977B-7B6B-F10C-2B5B58DEAEE1}"/>
                </a:ext>
              </a:extLst>
            </p:cNvPr>
            <p:cNvSpPr/>
            <p:nvPr/>
          </p:nvSpPr>
          <p:spPr>
            <a:xfrm rot="3456229">
              <a:off x="4542761" y="3053493"/>
              <a:ext cx="844779" cy="13457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7" name="Right Arrow 16">
              <a:extLst>
                <a:ext uri="{FF2B5EF4-FFF2-40B4-BE49-F238E27FC236}">
                  <a16:creationId xmlns:a16="http://schemas.microsoft.com/office/drawing/2014/main" id="{1FFF5431-CB7F-A430-B5A4-E68A902C929F}"/>
                </a:ext>
              </a:extLst>
            </p:cNvPr>
            <p:cNvSpPr/>
            <p:nvPr/>
          </p:nvSpPr>
          <p:spPr>
            <a:xfrm rot="20303528">
              <a:off x="4662147" y="3885665"/>
              <a:ext cx="523348" cy="149042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0BED679-41DF-57D5-A437-C93C09D588D7}"/>
                </a:ext>
              </a:extLst>
            </p:cNvPr>
            <p:cNvSpPr txBox="1"/>
            <p:nvPr/>
          </p:nvSpPr>
          <p:spPr>
            <a:xfrm>
              <a:off x="3266812" y="1294642"/>
              <a:ext cx="1152233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erato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FBF737E-F99A-E36A-1A0F-CF4BE9192D57}"/>
                </a:ext>
              </a:extLst>
            </p:cNvPr>
            <p:cNvSpPr txBox="1"/>
            <p:nvPr/>
          </p:nvSpPr>
          <p:spPr>
            <a:xfrm>
              <a:off x="6207279" y="3282986"/>
              <a:ext cx="1144497" cy="822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ke/Real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et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mag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4B9DE3A-3DC5-DA61-298E-54F80F8AA13C}"/>
                </a:ext>
              </a:extLst>
            </p:cNvPr>
            <p:cNvSpPr txBox="1"/>
            <p:nvPr/>
          </p:nvSpPr>
          <p:spPr>
            <a:xfrm>
              <a:off x="5060629" y="2790728"/>
              <a:ext cx="1304922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criminator</a:t>
              </a: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30" name="Picture 29" descr="A painting of a landscape with trees&#10;&#10;Description automatically generated">
              <a:extLst>
                <a:ext uri="{FF2B5EF4-FFF2-40B4-BE49-F238E27FC236}">
                  <a16:creationId xmlns:a16="http://schemas.microsoft.com/office/drawing/2014/main" id="{17B06C7A-C834-0B77-7568-B7D0E4EC0026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4568" y="3633248"/>
              <a:ext cx="951900" cy="993616"/>
            </a:xfrm>
            <a:prstGeom prst="rect">
              <a:avLst/>
            </a:prstGeom>
          </p:spPr>
        </p:pic>
        <p:pic>
          <p:nvPicPr>
            <p:cNvPr id="34" name="Picture 33" descr="A close-up of a flower field&#10;&#10;Description automatically generated">
              <a:extLst>
                <a:ext uri="{FF2B5EF4-FFF2-40B4-BE49-F238E27FC236}">
                  <a16:creationId xmlns:a16="http://schemas.microsoft.com/office/drawing/2014/main" id="{E3C66EBA-00E8-B7DB-A5BB-5FCDD2D2FEF5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7861" y="1656047"/>
              <a:ext cx="951900" cy="993616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244145E-CEAD-3CEE-F933-0645AE0FD26C}"/>
                </a:ext>
              </a:extLst>
            </p:cNvPr>
            <p:cNvGrpSpPr/>
            <p:nvPr/>
          </p:nvGrpSpPr>
          <p:grpSpPr>
            <a:xfrm rot="10800000">
              <a:off x="3551949" y="1695329"/>
              <a:ext cx="336438" cy="954334"/>
              <a:chOff x="1335024" y="1657350"/>
              <a:chExt cx="560832" cy="9144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5A33AE57-E73D-6A78-10BB-3A1794E33FEF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F3AAF5BE-311E-660D-D1DC-DD888213B251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ADBB736-AEEE-F98E-6389-5CF95744088F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90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585905-C7C7-41E6-BD54-79E736E84B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ingle column </a:t>
            </a:r>
            <a:r>
              <a:rPr lang="en-US">
                <a:solidFill>
                  <a:schemeClr val="accent2"/>
                </a:solidFill>
              </a:rPr>
              <a:t>bullet slide with conclus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EC2478-AD87-4120-B73B-B242AE68D7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125F81-9CA3-43E4-9528-48C13AE5C6B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BFFC6DB-C1DA-453F-802D-5FF8593DAA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813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6B9BA-C1B7-4C21-9C05-8CFF9CCBEB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TWO columns </a:t>
            </a:r>
            <a:r>
              <a:rPr lang="en-US">
                <a:solidFill>
                  <a:schemeClr val="accent2"/>
                </a:solidFill>
              </a:rPr>
              <a:t>bullet slid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F31785-3153-4F38-B699-1B7588A8E6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092CEEA-7DDF-479A-BBFF-7FB4A50B4C4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A97B5C0-4EBD-4A11-944E-C9BE36FBF2A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04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B7185C-AF8A-4D83-A183-BFA75A5861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Two column </a:t>
            </a:r>
            <a:r>
              <a:rPr lang="en-US">
                <a:solidFill>
                  <a:schemeClr val="accent2"/>
                </a:solidFill>
              </a:rPr>
              <a:t>bullet slide with conclusion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347D3C9-D876-49DE-82F8-BE465F4636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9193AC-A4B5-4924-AEA1-A55E50BE6B1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8BEF00A-001E-45C9-AF4F-DE944B4C019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5A06BC-7FEF-4FD7-9CB7-B47A694A9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350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4020A6-9EBF-4A01-9EF3-D2CFC1D35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Comparing </a:t>
            </a:r>
            <a:r>
              <a:rPr lang="en-US">
                <a:solidFill>
                  <a:schemeClr val="accent2"/>
                </a:solidFill>
              </a:rPr>
              <a:t>two sid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61F61E-AE01-460C-8DE3-17BC49AB1B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Oval 3">
            <a:extLst>
              <a:ext uri="{FF2B5EF4-FFF2-40B4-BE49-F238E27FC236}">
                <a16:creationId xmlns:a16="http://schemas.microsoft.com/office/drawing/2014/main" id="{D73C0FF9-54B0-44BE-8C26-AE9078EAB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6170" y="2401081"/>
            <a:ext cx="1231842" cy="1246856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ＭＳ Ｐゴシック" charset="0"/>
                <a:cs typeface="HelveticaNeueLT Pro 55 Roman"/>
              </a:rPr>
              <a:t>Topic or </a:t>
            </a:r>
            <a:b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ＭＳ Ｐゴシック" charset="0"/>
                <a:cs typeface="HelveticaNeueLT Pro 55 Roman"/>
              </a:rPr>
            </a:b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ＭＳ Ｐゴシック" charset="0"/>
                <a:cs typeface="HelveticaNeueLT Pro 55 Roman"/>
              </a:rPr>
              <a:t>ICON</a:t>
            </a:r>
          </a:p>
        </p:txBody>
      </p:sp>
      <p:sp>
        <p:nvSpPr>
          <p:cNvPr id="11" name="Freeform 4">
            <a:extLst>
              <a:ext uri="{FF2B5EF4-FFF2-40B4-BE49-F238E27FC236}">
                <a16:creationId xmlns:a16="http://schemas.microsoft.com/office/drawing/2014/main" id="{1B5F3D92-27BC-4FDB-A67F-3D7629FE39C6}"/>
              </a:ext>
            </a:extLst>
          </p:cNvPr>
          <p:cNvSpPr>
            <a:spLocks noChangeAspect="1"/>
          </p:cNvSpPr>
          <p:nvPr/>
        </p:nvSpPr>
        <p:spPr bwMode="auto">
          <a:xfrm>
            <a:off x="685830" y="2916786"/>
            <a:ext cx="3445043" cy="215444"/>
          </a:xfrm>
          <a:custGeom>
            <a:avLst/>
            <a:gdLst>
              <a:gd name="T0" fmla="*/ 0 w 795"/>
              <a:gd name="T1" fmla="*/ 0 h 375"/>
              <a:gd name="T2" fmla="*/ 649 w 795"/>
              <a:gd name="T3" fmla="*/ 0 h 375"/>
              <a:gd name="T4" fmla="*/ 795 w 795"/>
              <a:gd name="T5" fmla="*/ 189 h 375"/>
              <a:gd name="T6" fmla="*/ 649 w 795"/>
              <a:gd name="T7" fmla="*/ 375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5" h="375">
                <a:moveTo>
                  <a:pt x="0" y="0"/>
                </a:moveTo>
                <a:lnTo>
                  <a:pt x="649" y="0"/>
                </a:lnTo>
                <a:lnTo>
                  <a:pt x="795" y="189"/>
                </a:lnTo>
                <a:lnTo>
                  <a:pt x="649" y="375"/>
                </a:lnTo>
              </a:path>
            </a:pathLst>
          </a:custGeom>
          <a:noFill/>
          <a:ln w="95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ＭＳ Ｐゴシック" charset="0"/>
              </a:rPr>
              <a:t>Lorem ipsum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A3BB407-8992-454E-AFAF-53C35D6502DF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5029878" y="2916786"/>
            <a:ext cx="3445043" cy="215444"/>
          </a:xfrm>
          <a:custGeom>
            <a:avLst/>
            <a:gdLst>
              <a:gd name="T0" fmla="*/ 0 w 795"/>
              <a:gd name="T1" fmla="*/ 0 h 375"/>
              <a:gd name="T2" fmla="*/ 649 w 795"/>
              <a:gd name="T3" fmla="*/ 0 h 375"/>
              <a:gd name="T4" fmla="*/ 795 w 795"/>
              <a:gd name="T5" fmla="*/ 189 h 375"/>
              <a:gd name="T6" fmla="*/ 649 w 795"/>
              <a:gd name="T7" fmla="*/ 375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5" h="375">
                <a:moveTo>
                  <a:pt x="0" y="0"/>
                </a:moveTo>
                <a:lnTo>
                  <a:pt x="649" y="0"/>
                </a:lnTo>
                <a:lnTo>
                  <a:pt x="795" y="189"/>
                </a:lnTo>
                <a:lnTo>
                  <a:pt x="649" y="375"/>
                </a:lnTo>
              </a:path>
            </a:pathLst>
          </a:custGeom>
          <a:noFill/>
          <a:ln w="95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40080" tIns="0" rIns="0" bIns="0" anchor="ctr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ＭＳ Ｐゴシック" charset="0"/>
              </a:rPr>
              <a:t>Lorem ipsum</a:t>
            </a:r>
          </a:p>
        </p:txBody>
      </p:sp>
      <p:sp>
        <p:nvSpPr>
          <p:cNvPr id="13" name="AutoShape 6">
            <a:extLst>
              <a:ext uri="{FF2B5EF4-FFF2-40B4-BE49-F238E27FC236}">
                <a16:creationId xmlns:a16="http://schemas.microsoft.com/office/drawing/2014/main" id="{EABBFA5F-DF01-42DD-9E08-04BDD81ED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7933" y="2769233"/>
            <a:ext cx="109802" cy="524444"/>
          </a:xfrm>
          <a:prstGeom prst="chevron">
            <a:avLst>
              <a:gd name="adj" fmla="val 100000"/>
            </a:avLst>
          </a:prstGeom>
          <a:solidFill>
            <a:srgbClr val="351B15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AutoShape 7">
            <a:extLst>
              <a:ext uri="{FF2B5EF4-FFF2-40B4-BE49-F238E27FC236}">
                <a16:creationId xmlns:a16="http://schemas.microsoft.com/office/drawing/2014/main" id="{C39980BA-6FB6-4C43-BD97-4F26D8AFF92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023015" y="2769233"/>
            <a:ext cx="109802" cy="524444"/>
          </a:xfrm>
          <a:prstGeom prst="chevron">
            <a:avLst>
              <a:gd name="adj" fmla="val 100000"/>
            </a:avLst>
          </a:prstGeom>
          <a:solidFill>
            <a:srgbClr val="351B15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59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AC76FC-F330-4967-8F70-CCB78688B4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Four factors/Dimensions </a:t>
            </a:r>
            <a:r>
              <a:rPr lang="en-US">
                <a:solidFill>
                  <a:schemeClr val="accent2"/>
                </a:solidFill>
              </a:rPr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49004B-7C81-4CE5-B253-E2AF0A2990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34205D34-5E42-4D9F-B85B-8E6C4E339F7C}"/>
              </a:ext>
            </a:extLst>
          </p:cNvPr>
          <p:cNvSpPr>
            <a:spLocks/>
          </p:cNvSpPr>
          <p:nvPr/>
        </p:nvSpPr>
        <p:spPr bwMode="auto">
          <a:xfrm>
            <a:off x="3362480" y="1384991"/>
            <a:ext cx="2320636" cy="1067477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895 h 895"/>
              <a:gd name="T4" fmla="*/ 873 w 873"/>
              <a:gd name="T5" fmla="*/ 895 h 8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95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C50625BE-8166-45C5-892E-F00FAD7BE133}"/>
              </a:ext>
            </a:extLst>
          </p:cNvPr>
          <p:cNvSpPr>
            <a:spLocks/>
          </p:cNvSpPr>
          <p:nvPr/>
        </p:nvSpPr>
        <p:spPr bwMode="auto">
          <a:xfrm rot="5400000">
            <a:off x="6601738" y="1688017"/>
            <a:ext cx="989951" cy="2521239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895 h 895"/>
              <a:gd name="T4" fmla="*/ 873 w 873"/>
              <a:gd name="T5" fmla="*/ 895 h 8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95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6DD0A79-4C57-4B24-A582-5EF0F14606FF}"/>
              </a:ext>
            </a:extLst>
          </p:cNvPr>
          <p:cNvSpPr>
            <a:spLocks/>
          </p:cNvSpPr>
          <p:nvPr/>
        </p:nvSpPr>
        <p:spPr bwMode="auto">
          <a:xfrm flipH="1" flipV="1">
            <a:off x="3511128" y="3550956"/>
            <a:ext cx="2320636" cy="1067477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895 h 895"/>
              <a:gd name="T4" fmla="*/ 873 w 873"/>
              <a:gd name="T5" fmla="*/ 895 h 8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95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DA63FD14-D46A-4942-9027-19B442D3EEF3}"/>
              </a:ext>
            </a:extLst>
          </p:cNvPr>
          <p:cNvSpPr>
            <a:spLocks/>
          </p:cNvSpPr>
          <p:nvPr/>
        </p:nvSpPr>
        <p:spPr bwMode="auto">
          <a:xfrm rot="5400000" flipH="1" flipV="1">
            <a:off x="1602556" y="1795361"/>
            <a:ext cx="989951" cy="2521239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895 h 895"/>
              <a:gd name="T4" fmla="*/ 873 w 873"/>
              <a:gd name="T5" fmla="*/ 895 h 8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95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CBF5DD05-36CB-4AA0-B41A-00D2BFA2E1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6848" y="2559812"/>
            <a:ext cx="2170495" cy="8838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ＭＳ Ｐゴシック" charset="0"/>
                <a:cs typeface="Calibri Light" panose="020F0302020204030204" pitchFamily="34" charset="0"/>
              </a:rPr>
              <a:t>Topic or ICON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F9923B7B-6D79-4CC1-9329-B9432126F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3197" y="1384991"/>
            <a:ext cx="246784" cy="2039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ＭＳ Ｐゴシック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5F7D3AAD-C5C4-4039-86A2-7DB00E17C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548" y="2510911"/>
            <a:ext cx="246785" cy="2039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ＭＳ Ｐゴシック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4E0A4D06-3656-4390-853F-8549E42172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9935" y="4414480"/>
            <a:ext cx="246785" cy="2039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ＭＳ Ｐゴシック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9C51B5CF-D0CB-41E0-8AC6-ECEA758CA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912" y="3293330"/>
            <a:ext cx="246785" cy="2039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ＭＳ Ｐゴシック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5" name="Text Box 12">
            <a:extLst>
              <a:ext uri="{FF2B5EF4-FFF2-40B4-BE49-F238E27FC236}">
                <a16:creationId xmlns:a16="http://schemas.microsoft.com/office/drawing/2014/main" id="{139BD238-8FB9-46CE-BF15-B0D10E649F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8253" y="1793713"/>
            <a:ext cx="230909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buFontTx/>
              <a:buNone/>
            </a:pPr>
            <a:r>
              <a:rPr lang="en-US" altLang="en-US" sz="1400">
                <a:solidFill>
                  <a:schemeClr val="accent1"/>
                </a:solidFill>
                <a:latin typeface="+mj-lt"/>
                <a:ea typeface="ＭＳ Ｐゴシック" charset="0"/>
                <a:cs typeface="Calibri Light" panose="020F0302020204030204" pitchFamily="34" charset="0"/>
              </a:rPr>
              <a:t>Factor 1</a:t>
            </a:r>
          </a:p>
        </p:txBody>
      </p:sp>
      <p:sp>
        <p:nvSpPr>
          <p:cNvPr id="16" name="Text Box 13">
            <a:extLst>
              <a:ext uri="{FF2B5EF4-FFF2-40B4-BE49-F238E27FC236}">
                <a16:creationId xmlns:a16="http://schemas.microsoft.com/office/drawing/2014/main" id="{C25FA2E0-3822-4742-8F7A-9056561476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1810" y="2842107"/>
            <a:ext cx="11098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buFontTx/>
              <a:buNone/>
            </a:pPr>
            <a:r>
              <a:rPr lang="en-US" altLang="en-US" sz="1400">
                <a:solidFill>
                  <a:schemeClr val="accent1"/>
                </a:solidFill>
                <a:latin typeface="+mj-lt"/>
                <a:ea typeface="ＭＳ Ｐゴシック" charset="0"/>
                <a:cs typeface="Calibri Light" panose="020F0302020204030204" pitchFamily="34" charset="0"/>
              </a:rPr>
              <a:t>Factor 2</a:t>
            </a:r>
          </a:p>
        </p:txBody>
      </p:sp>
      <p:sp>
        <p:nvSpPr>
          <p:cNvPr id="17" name="Text Box 14">
            <a:extLst>
              <a:ext uri="{FF2B5EF4-FFF2-40B4-BE49-F238E27FC236}">
                <a16:creationId xmlns:a16="http://schemas.microsoft.com/office/drawing/2014/main" id="{ECB5DE3D-5F53-4892-8656-3399B62CCD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4742" y="3947751"/>
            <a:ext cx="230909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buFontTx/>
              <a:buNone/>
            </a:pPr>
            <a:r>
              <a:rPr lang="en-US" altLang="en-US" sz="1400">
                <a:solidFill>
                  <a:schemeClr val="accent1"/>
                </a:solidFill>
                <a:latin typeface="+mj-lt"/>
                <a:ea typeface="ＭＳ Ｐゴシック" charset="0"/>
                <a:cs typeface="Calibri Light" panose="020F0302020204030204" pitchFamily="34" charset="0"/>
              </a:rPr>
              <a:t>Factor 3</a:t>
            </a:r>
          </a:p>
        </p:txBody>
      </p:sp>
      <p:sp>
        <p:nvSpPr>
          <p:cNvPr id="18" name="Text Box 15">
            <a:extLst>
              <a:ext uri="{FF2B5EF4-FFF2-40B4-BE49-F238E27FC236}">
                <a16:creationId xmlns:a16="http://schemas.microsoft.com/office/drawing/2014/main" id="{475DD505-6A95-410F-8EC9-B5DCFC3AAC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6037" y="2900549"/>
            <a:ext cx="11098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buFontTx/>
              <a:buNone/>
            </a:pPr>
            <a:r>
              <a:rPr lang="en-US" altLang="en-US" sz="1400">
                <a:solidFill>
                  <a:schemeClr val="accent1"/>
                </a:solidFill>
                <a:latin typeface="+mj-lt"/>
                <a:ea typeface="ＭＳ Ｐゴシック" charset="0"/>
                <a:cs typeface="Calibri Light" panose="020F0302020204030204" pitchFamily="34" charset="0"/>
              </a:rPr>
              <a:t>Factor 4</a:t>
            </a:r>
          </a:p>
        </p:txBody>
      </p:sp>
    </p:spTree>
    <p:extLst>
      <p:ext uri="{BB962C8B-B14F-4D97-AF65-F5344CB8AC3E}">
        <p14:creationId xmlns:p14="http://schemas.microsoft.com/office/powerpoint/2010/main" val="241635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F2A2281-ECA2-4677-A887-1345A14F7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omething on the left hand side leads to something on the right hand s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DD329F-2073-4084-B2CB-A17D2E11E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2508D7-07CC-4C4D-9FC8-D3D8AA75E0E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4585317" y="1355393"/>
            <a:ext cx="4264658" cy="3345955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72000" rIns="180000" bIns="72000"/>
          <a:lstStyle>
            <a:lvl1pPr marL="1778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556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34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7112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8890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3462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8034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2606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7178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Aft>
                <a:spcPts val="600"/>
              </a:spcAft>
              <a:buFont typeface="Arial" pitchFamily="34" charset="0"/>
              <a:buNone/>
            </a:pPr>
            <a:r>
              <a:rPr lang="de-DE" altLang="de-DE" sz="14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Goal</a:t>
            </a:r>
            <a:endParaRPr lang="de-DE" altLang="de-DE" sz="1600" b="1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wis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ni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d minim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venia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,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qu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ostrud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xerc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ation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llamcorper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suscipi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obort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isl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aliquip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ex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a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commodo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consequat</a:t>
            </a:r>
            <a:endParaRPr lang="de-DE" altLang="de-DE" sz="14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604838" lvl="1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xerc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ation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llamcorper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suscipi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obort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isl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aliquip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ex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a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commodo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consequat</a:t>
            </a:r>
            <a:endParaRPr lang="de-DE" altLang="de-DE" sz="14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wis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ni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d minim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venia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,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qu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ostrud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xerc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ation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llamcorper</a:t>
            </a:r>
            <a:endParaRPr lang="de-DE" altLang="de-DE" sz="14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6" name="AutoShape 5">
            <a:extLst>
              <a:ext uri="{FF2B5EF4-FFF2-40B4-BE49-F238E27FC236}">
                <a16:creationId xmlns:a16="http://schemas.microsoft.com/office/drawing/2014/main" id="{0761E558-EB06-4ECB-B11E-643FFEBC4B2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294025" y="1355393"/>
            <a:ext cx="4219192" cy="3345955"/>
          </a:xfrm>
          <a:prstGeom prst="homePlate">
            <a:avLst>
              <a:gd name="adj" fmla="val 5714"/>
            </a:avLst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72000" rIns="180000" bIns="72000"/>
          <a:lstStyle>
            <a:lvl1pPr marL="1778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556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34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7112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889000" indent="-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3462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8034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2606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717800" indent="-177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Aft>
                <a:spcPts val="600"/>
              </a:spcAft>
              <a:buFont typeface="Arial" pitchFamily="34" charset="0"/>
              <a:buNone/>
            </a:pPr>
            <a:r>
              <a:rPr lang="de-DE" altLang="de-DE" sz="14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nitial Situation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wis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ni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d minim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venia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,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qu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ostrud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xerc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ation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llamcorper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suscipi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obort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isl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aliquip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ex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a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commodo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consequat</a:t>
            </a:r>
            <a:endParaRPr lang="de-DE" altLang="de-DE" sz="14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579438" lvl="1" indent="-3111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xerc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ation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llamcorper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suscipi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obort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isl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aliquip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ex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a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commodo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consequat</a:t>
            </a:r>
            <a:endParaRPr lang="de-DE" altLang="de-DE" sz="14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t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wis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ni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d minim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veniam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,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quis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nostrud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exerci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ation</a:t>
            </a:r>
            <a:r>
              <a:rPr lang="de-DE" altLang="de-DE" sz="14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altLang="de-DE" sz="14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ullamcorper</a:t>
            </a:r>
            <a:endParaRPr lang="de-DE" altLang="de-DE" sz="14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51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E68D9A-CB24-42B1-BA08-040F39525D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Comparing two aspects or detailed view of one aspect on the left hand s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72B342-4BE4-4409-9D46-2F7B37FB86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rapezoid 14">
            <a:extLst>
              <a:ext uri="{FF2B5EF4-FFF2-40B4-BE49-F238E27FC236}">
                <a16:creationId xmlns:a16="http://schemas.microsoft.com/office/drawing/2014/main" id="{45DB5A5C-F443-4122-AE76-143F1CA81877}"/>
              </a:ext>
            </a:extLst>
          </p:cNvPr>
          <p:cNvSpPr/>
          <p:nvPr/>
        </p:nvSpPr>
        <p:spPr bwMode="gray">
          <a:xfrm rot="16200000">
            <a:off x="2666236" y="2751957"/>
            <a:ext cx="3425276" cy="520661"/>
          </a:xfrm>
          <a:prstGeom prst="trapezoid">
            <a:avLst>
              <a:gd name="adj" fmla="val 98866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40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05DECFF-6AA4-4924-86A3-275A8285026C}"/>
              </a:ext>
            </a:extLst>
          </p:cNvPr>
          <p:cNvSpPr/>
          <p:nvPr/>
        </p:nvSpPr>
        <p:spPr bwMode="gray">
          <a:xfrm>
            <a:off x="4641717" y="1299648"/>
            <a:ext cx="3662945" cy="3425276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08000" rtlCol="0" anchor="t" anchorCtr="0"/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his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dummy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ext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t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not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here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o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be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read</a:t>
            </a:r>
            <a:endParaRPr lang="de-DE" sz="12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his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evel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one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bullet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</a:p>
          <a:p>
            <a:pPr marL="315450" lvl="1" indent="-171450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his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evel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wo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bullet</a:t>
            </a:r>
            <a:endParaRPr lang="de-DE" sz="12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A696D6-D7DD-4BFE-B308-435ED0FDD694}"/>
              </a:ext>
            </a:extLst>
          </p:cNvPr>
          <p:cNvSpPr/>
          <p:nvPr/>
        </p:nvSpPr>
        <p:spPr bwMode="gray">
          <a:xfrm>
            <a:off x="821892" y="1844578"/>
            <a:ext cx="3296651" cy="2335416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08000" rtlCol="0" anchor="t" anchorCtr="0"/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his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dummy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ext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t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not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here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o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be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read</a:t>
            </a:r>
            <a:endParaRPr lang="de-DE" sz="12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his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evel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one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bullet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</a:p>
          <a:p>
            <a:pPr marL="315450" lvl="1" indent="-171450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his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is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a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level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two</a:t>
            </a:r>
            <a:r>
              <a:rPr lang="de-DE" sz="120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de-DE" sz="1200" err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rPr>
              <a:t>bullet</a:t>
            </a:r>
            <a:endParaRPr lang="de-DE" sz="1200">
              <a:solidFill>
                <a:schemeClr val="accent1"/>
              </a:solidFill>
              <a:latin typeface="+mj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28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EF2912-3E36-4CE8-93D4-43ABF065C4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Consecutive process steps or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58E0DD-1234-464D-BDA0-6FCCC6C3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7E30DCC-7F52-4A0C-9295-AF745E897F9C}"/>
              </a:ext>
            </a:extLst>
          </p:cNvPr>
          <p:cNvGrpSpPr/>
          <p:nvPr/>
        </p:nvGrpSpPr>
        <p:grpSpPr>
          <a:xfrm>
            <a:off x="459526" y="1318803"/>
            <a:ext cx="8224429" cy="3471798"/>
            <a:chOff x="452438" y="1700760"/>
            <a:chExt cx="9046872" cy="3818978"/>
          </a:xfrm>
        </p:grpSpPr>
        <p:sp>
          <p:nvSpPr>
            <p:cNvPr id="5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115328B2-7D4C-4768-8413-52CCAE03BE3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183553" y="4812088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6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C1CAC9F1-B209-4705-BC34-CEEE0F87A8C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14668" y="4812088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7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DDE471A0-6565-4A8A-8C5B-132448A8230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645783" y="4812088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8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BB275405-C7AA-49C5-948D-0FF860DEBFB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117669" y="1700760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9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004FFC12-49A5-4DCD-9A28-DF08B5026D0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41109" y="1700760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10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0330CC08-44B5-4C06-8166-463F5A99461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64550" y="1705848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11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343953DC-CA9B-49C7-BD2A-BD6DDEA0A78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94228" y="1700760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13" name="AutoShape 59" descr="© INSCALE GmbH, 26.05.2010&#10;http://www.presentationload.com/">
              <a:extLst>
                <a:ext uri="{FF2B5EF4-FFF2-40B4-BE49-F238E27FC236}">
                  <a16:creationId xmlns:a16="http://schemas.microsoft.com/office/drawing/2014/main" id="{07A5A3ED-6CC9-4C64-9AD6-BA422A2724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3111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AutoShape 60" descr="© INSCALE GmbH, 26.05.2010&#10;http://www.presentationload.com/">
              <a:extLst>
                <a:ext uri="{FF2B5EF4-FFF2-40B4-BE49-F238E27FC236}">
                  <a16:creationId xmlns:a16="http://schemas.microsoft.com/office/drawing/2014/main" id="{4A583E90-84EE-42DB-87A8-141D9401403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39434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AutoShape 61" descr="© INSCALE GmbH, 26.05.2010&#10;http://www.presentationload.com/">
              <a:extLst>
                <a:ext uri="{FF2B5EF4-FFF2-40B4-BE49-F238E27FC236}">
                  <a16:creationId xmlns:a16="http://schemas.microsoft.com/office/drawing/2014/main" id="{70C88404-93CB-43E2-8A5E-20E3ED7C6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9168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AutoShape 62" descr="© INSCALE GmbH, 26.05.2010&#10;http://www.presentationload.com/">
              <a:extLst>
                <a:ext uri="{FF2B5EF4-FFF2-40B4-BE49-F238E27FC236}">
                  <a16:creationId xmlns:a16="http://schemas.microsoft.com/office/drawing/2014/main" id="{8CC432DC-547A-418A-861B-2D2EE712C5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5491" y="3254444"/>
              <a:ext cx="385173" cy="577396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7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8B6DAC87-B262-48A1-B9EC-C9B6FC2244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80562" y="3254444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8" name="AutoShape 65" descr="© INSCALE GmbH, 26.05.2010&#10;http://www.presentationload.com/">
              <a:extLst>
                <a:ext uri="{FF2B5EF4-FFF2-40B4-BE49-F238E27FC236}">
                  <a16:creationId xmlns:a16="http://schemas.microsoft.com/office/drawing/2014/main" id="{32EA8322-69F4-438B-984F-939F280FB6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87031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AutoShape 65" descr="© INSCALE GmbH, 26.05.2010&#10;http://www.presentationload.com/">
              <a:extLst>
                <a:ext uri="{FF2B5EF4-FFF2-40B4-BE49-F238E27FC236}">
                  <a16:creationId xmlns:a16="http://schemas.microsoft.com/office/drawing/2014/main" id="{5FC839B0-5270-4CA2-ADC5-A28CCFC986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76465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AutoShape 67" descr="© INSCALE GmbH, 26.05.2010&#10;http://www.presentationload.com/">
              <a:extLst>
                <a:ext uri="{FF2B5EF4-FFF2-40B4-BE49-F238E27FC236}">
                  <a16:creationId xmlns:a16="http://schemas.microsoft.com/office/drawing/2014/main" id="{7A24C58E-67DC-4181-AE68-EFC533A646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5631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AutoShape 68" descr="© INSCALE GmbH, 26.05.2010&#10;http://www.presentationload.com/">
              <a:extLst>
                <a:ext uri="{FF2B5EF4-FFF2-40B4-BE49-F238E27FC236}">
                  <a16:creationId xmlns:a16="http://schemas.microsoft.com/office/drawing/2014/main" id="{A399C7E7-F14D-4DB4-A5B7-92FD197DC1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40252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" name="AutoShape 68" descr="© INSCALE GmbH, 26.05.2010&#10;http://www.presentationload.com/">
              <a:extLst>
                <a:ext uri="{FF2B5EF4-FFF2-40B4-BE49-F238E27FC236}">
                  <a16:creationId xmlns:a16="http://schemas.microsoft.com/office/drawing/2014/main" id="{A5C2F4D1-79A0-4392-8053-37CEE8E2CC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0331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3" name="AutoShape 68" descr="© INSCALE GmbH, 26.05.2010&#10;http://www.presentationload.com/">
              <a:extLst>
                <a:ext uri="{FF2B5EF4-FFF2-40B4-BE49-F238E27FC236}">
                  <a16:creationId xmlns:a16="http://schemas.microsoft.com/office/drawing/2014/main" id="{DE31D6FA-0586-4AB3-B62E-9D8BAA8AB4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00374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4" name="AutoShape 68" descr="© INSCALE GmbH, 26.05.2010&#10;http://www.presentationload.com/">
              <a:extLst>
                <a:ext uri="{FF2B5EF4-FFF2-40B4-BE49-F238E27FC236}">
                  <a16:creationId xmlns:a16="http://schemas.microsoft.com/office/drawing/2014/main" id="{D8B7EB9F-3021-42D5-8A13-EABA523DA7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77958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5" name="AutoShape 68" descr="© INSCALE GmbH, 26.05.2010&#10;http://www.presentationload.com/">
              <a:extLst>
                <a:ext uri="{FF2B5EF4-FFF2-40B4-BE49-F238E27FC236}">
                  <a16:creationId xmlns:a16="http://schemas.microsoft.com/office/drawing/2014/main" id="{0208882E-B2D3-4D3E-A200-086BB11C3D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65499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6" name="AutoShape 77" descr="© INSCALE GmbH, 26.05.2010&#10;http://www.presentationload.com/">
              <a:extLst>
                <a:ext uri="{FF2B5EF4-FFF2-40B4-BE49-F238E27FC236}">
                  <a16:creationId xmlns:a16="http://schemas.microsoft.com/office/drawing/2014/main" id="{5A2CE5B3-6080-4921-94F1-151F240B76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31438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7" name="AutoShape 77" descr="© INSCALE GmbH, 26.05.2010&#10;http://www.presentationload.com/">
              <a:extLst>
                <a:ext uri="{FF2B5EF4-FFF2-40B4-BE49-F238E27FC236}">
                  <a16:creationId xmlns:a16="http://schemas.microsoft.com/office/drawing/2014/main" id="{36AB11EF-E5C5-4B3A-8092-F16E1656080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21724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8" name="AutoShape 78" descr="© INSCALE GmbH, 26.05.2010&#10;http://www.presentationload.com/">
              <a:extLst>
                <a:ext uri="{FF2B5EF4-FFF2-40B4-BE49-F238E27FC236}">
                  <a16:creationId xmlns:a16="http://schemas.microsoft.com/office/drawing/2014/main" id="{A6CFF831-A171-4D24-9D9E-E525C56B90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12011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9" name="AutoShape 80" descr="© INSCALE GmbH, 26.05.2010&#10;http://www.presentationload.com/">
              <a:extLst>
                <a:ext uri="{FF2B5EF4-FFF2-40B4-BE49-F238E27FC236}">
                  <a16:creationId xmlns:a16="http://schemas.microsoft.com/office/drawing/2014/main" id="{AB6D78B2-AA24-4AEF-B214-A5DCA28C9D4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482953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0" name="AutoShape 83" descr="© INSCALE GmbH, 26.05.2010&#10;http://www.presentationload.com/">
              <a:extLst>
                <a:ext uri="{FF2B5EF4-FFF2-40B4-BE49-F238E27FC236}">
                  <a16:creationId xmlns:a16="http://schemas.microsoft.com/office/drawing/2014/main" id="{3D72F817-83C2-4DFD-B597-78DCAAB480C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56198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1" name="AutoShape 83" descr="© INSCALE GmbH, 26.05.2010&#10;http://www.presentationload.com/">
              <a:extLst>
                <a:ext uri="{FF2B5EF4-FFF2-40B4-BE49-F238E27FC236}">
                  <a16:creationId xmlns:a16="http://schemas.microsoft.com/office/drawing/2014/main" id="{DD320DDB-4CEE-4246-839C-D5CF6A7B2F0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344780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2" name="AutoShape 84" descr="© INSCALE GmbH, 26.05.2010&#10;http://www.presentationload.com/">
              <a:extLst>
                <a:ext uri="{FF2B5EF4-FFF2-40B4-BE49-F238E27FC236}">
                  <a16:creationId xmlns:a16="http://schemas.microsoft.com/office/drawing/2014/main" id="{7D5CC301-9177-449F-8F7F-43E9FD47E9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33361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AutoShape 86" descr="© INSCALE GmbH, 26.05.2010&#10;http://www.presentationload.com/">
              <a:extLst>
                <a:ext uri="{FF2B5EF4-FFF2-40B4-BE49-F238E27FC236}">
                  <a16:creationId xmlns:a16="http://schemas.microsoft.com/office/drawing/2014/main" id="{718C4FF6-6697-4664-B683-548B614E35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09418" y="3254444"/>
              <a:ext cx="383469" cy="577396"/>
            </a:xfrm>
            <a:prstGeom prst="chevron">
              <a:avLst>
                <a:gd name="adj" fmla="val 39616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4" name="AutoShape 87" descr="© INSCALE GmbH, 26.05.2010&#10;http://www.presentationload.com/">
              <a:extLst>
                <a:ext uri="{FF2B5EF4-FFF2-40B4-BE49-F238E27FC236}">
                  <a16:creationId xmlns:a16="http://schemas.microsoft.com/office/drawing/2014/main" id="{21C63D5B-66AF-4C51-A9EF-582537D78C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99150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5" name="AutoShape 89" descr="© INSCALE GmbH, 26.05.2010&#10;http://www.presentationload.com/">
              <a:extLst>
                <a:ext uri="{FF2B5EF4-FFF2-40B4-BE49-F238E27FC236}">
                  <a16:creationId xmlns:a16="http://schemas.microsoft.com/office/drawing/2014/main" id="{63D27AE7-BA06-4FB4-AC60-A7564C1B6B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071798" y="3254444"/>
              <a:ext cx="381765" cy="577396"/>
            </a:xfrm>
            <a:prstGeom prst="chevron">
              <a:avLst>
                <a:gd name="adj" fmla="val 39616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D4178D01-BFB5-4131-8BE0-290844DA4ED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99444" y="3254444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7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6986658D-72D5-4BE0-8DAE-228338A6CE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22127" y="3248875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95B8DB76-BFEE-4D9C-B96B-B64F1D92590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444203" y="3254855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9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E6C79339-40C6-465A-8D04-57795D8EF8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1596" y="3254855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0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00D0EBCD-DDAD-45FB-B292-08F5232BEC43}"/>
                </a:ext>
              </a:extLst>
            </p:cNvPr>
            <p:cNvSpPr>
              <a:spLocks noChangeArrowheads="1"/>
            </p:cNvSpPr>
            <p:nvPr/>
          </p:nvSpPr>
          <p:spPr bwMode="gray">
            <a:xfrm flipV="1">
              <a:off x="2143687" y="2641682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1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8BA6E4E3-8D08-4EE6-B1FF-984D627F2E64}"/>
                </a:ext>
              </a:extLst>
            </p:cNvPr>
            <p:cNvSpPr>
              <a:spLocks noChangeArrowheads="1"/>
            </p:cNvSpPr>
            <p:nvPr/>
          </p:nvSpPr>
          <p:spPr bwMode="gray">
            <a:xfrm flipV="1">
              <a:off x="3862525" y="2639392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2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9BBF81A1-7E8B-405D-BC35-C30BAA5B5E38}"/>
                </a:ext>
              </a:extLst>
            </p:cNvPr>
            <p:cNvSpPr>
              <a:spLocks noChangeArrowheads="1"/>
            </p:cNvSpPr>
            <p:nvPr/>
          </p:nvSpPr>
          <p:spPr bwMode="gray">
            <a:xfrm flipV="1">
              <a:off x="5876504" y="2639390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3" name="AutoShape 63" descr="© INSCALE GmbH, 26.05.2010&#10;http://www.presentationload.com/">
              <a:extLst>
                <a:ext uri="{FF2B5EF4-FFF2-40B4-BE49-F238E27FC236}">
                  <a16:creationId xmlns:a16="http://schemas.microsoft.com/office/drawing/2014/main" id="{C02BB17F-177C-495F-A923-ACF5D50275F9}"/>
                </a:ext>
              </a:extLst>
            </p:cNvPr>
            <p:cNvSpPr>
              <a:spLocks noChangeArrowheads="1"/>
            </p:cNvSpPr>
            <p:nvPr/>
          </p:nvSpPr>
          <p:spPr bwMode="gray">
            <a:xfrm flipV="1">
              <a:off x="7601909" y="2636890"/>
              <a:ext cx="708131" cy="1190680"/>
            </a:xfrm>
            <a:custGeom>
              <a:avLst/>
              <a:gdLst>
                <a:gd name="connsiteX0" fmla="*/ 0 w 361990"/>
                <a:gd name="connsiteY0" fmla="*/ 0 h 458826"/>
                <a:gd name="connsiteX1" fmla="*/ 218584 w 361990"/>
                <a:gd name="connsiteY1" fmla="*/ 0 h 458826"/>
                <a:gd name="connsiteX2" fmla="*/ 361990 w 361990"/>
                <a:gd name="connsiteY2" fmla="*/ 229413 h 458826"/>
                <a:gd name="connsiteX3" fmla="*/ 218584 w 361990"/>
                <a:gd name="connsiteY3" fmla="*/ 458826 h 458826"/>
                <a:gd name="connsiteX4" fmla="*/ 0 w 361990"/>
                <a:gd name="connsiteY4" fmla="*/ 458826 h 458826"/>
                <a:gd name="connsiteX5" fmla="*/ 143406 w 361990"/>
                <a:gd name="connsiteY5" fmla="*/ 229413 h 458826"/>
                <a:gd name="connsiteX6" fmla="*/ 0 w 361990"/>
                <a:gd name="connsiteY6" fmla="*/ 0 h 458826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525059 w 668465"/>
                <a:gd name="connsiteY3" fmla="*/ 458826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  <a:gd name="connsiteX0" fmla="*/ 306475 w 668465"/>
                <a:gd name="connsiteY0" fmla="*/ 0 h 946171"/>
                <a:gd name="connsiteX1" fmla="*/ 525059 w 668465"/>
                <a:gd name="connsiteY1" fmla="*/ 0 h 946171"/>
                <a:gd name="connsiteX2" fmla="*/ 668465 w 668465"/>
                <a:gd name="connsiteY2" fmla="*/ 229413 h 946171"/>
                <a:gd name="connsiteX3" fmla="*/ 208536 w 668465"/>
                <a:gd name="connsiteY3" fmla="*/ 946171 h 946171"/>
                <a:gd name="connsiteX4" fmla="*/ 0 w 668465"/>
                <a:gd name="connsiteY4" fmla="*/ 946171 h 946171"/>
                <a:gd name="connsiteX5" fmla="*/ 449881 w 668465"/>
                <a:gd name="connsiteY5" fmla="*/ 229413 h 946171"/>
                <a:gd name="connsiteX6" fmla="*/ 306475 w 668465"/>
                <a:gd name="connsiteY6" fmla="*/ 0 h 94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8465" h="946171">
                  <a:moveTo>
                    <a:pt x="306475" y="0"/>
                  </a:moveTo>
                  <a:lnTo>
                    <a:pt x="525059" y="0"/>
                  </a:lnTo>
                  <a:lnTo>
                    <a:pt x="668465" y="229413"/>
                  </a:lnTo>
                  <a:lnTo>
                    <a:pt x="208536" y="946171"/>
                  </a:lnTo>
                  <a:lnTo>
                    <a:pt x="0" y="946171"/>
                  </a:lnTo>
                  <a:lnTo>
                    <a:pt x="449881" y="229413"/>
                  </a:lnTo>
                  <a:lnTo>
                    <a:pt x="306475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GB" sz="14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4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AB54F614-4B54-4E52-A7A1-DAE14C2E929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52438" y="4812088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  <p:sp>
          <p:nvSpPr>
            <p:cNvPr id="46" name="Text Box 56" descr="© INSCALE GmbH, 26.05.2010&#10;http://www.presentationload.com/">
              <a:extLst>
                <a:ext uri="{FF2B5EF4-FFF2-40B4-BE49-F238E27FC236}">
                  <a16:creationId xmlns:a16="http://schemas.microsoft.com/office/drawing/2014/main" id="{63EBA223-0901-406E-9EBB-3BF1F378508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686460" y="4812088"/>
              <a:ext cx="1812850" cy="70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46800" rIns="7200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</a:t>
              </a:r>
              <a:endParaRPr lang="en-GB" sz="1400" b="1">
                <a:solidFill>
                  <a:schemeClr val="accent1"/>
                </a:solidFill>
                <a:latin typeface="+mj-lt"/>
                <a:cs typeface="Calibri" pitchFamily="34" charset="0"/>
              </a:endParaRPr>
            </a:p>
            <a:p>
              <a:pPr lvl="0" algn="ctr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</a:pP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his is placeholder </a:t>
              </a:r>
              <a:b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</a:br>
              <a:r>
                <a:rPr lang="en-GB" sz="1200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08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11F75AD-733E-4817-8CE7-C51B79C9F0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Value chai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50AA22-4653-4890-957B-C286A7CE62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ingekerbter Richtungspfeil 110">
            <a:extLst>
              <a:ext uri="{FF2B5EF4-FFF2-40B4-BE49-F238E27FC236}">
                <a16:creationId xmlns:a16="http://schemas.microsoft.com/office/drawing/2014/main" id="{A5B43044-7AE5-456B-B3D4-17D195B1465E}"/>
              </a:ext>
            </a:extLst>
          </p:cNvPr>
          <p:cNvSpPr/>
          <p:nvPr/>
        </p:nvSpPr>
        <p:spPr bwMode="gray">
          <a:xfrm>
            <a:off x="6929395" y="1435649"/>
            <a:ext cx="1199932" cy="3208927"/>
          </a:xfrm>
          <a:prstGeom prst="chevron">
            <a:avLst>
              <a:gd name="adj" fmla="val 72561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>
              <a:lnSpc>
                <a:spcPct val="90000"/>
              </a:lnSpc>
              <a:spcAft>
                <a:spcPts val="600"/>
              </a:spcAft>
              <a:buClr>
                <a:srgbClr val="969696"/>
              </a:buClr>
              <a:defRPr/>
            </a:pPr>
            <a:endParaRPr lang="en-GB" sz="1200" b="1">
              <a:latin typeface="+mj-lt"/>
              <a:cs typeface="Arial" charset="0"/>
            </a:endParaRPr>
          </a:p>
        </p:txBody>
      </p:sp>
      <p:sp>
        <p:nvSpPr>
          <p:cNvPr id="6" name="Textfeld 111">
            <a:extLst>
              <a:ext uri="{FF2B5EF4-FFF2-40B4-BE49-F238E27FC236}">
                <a16:creationId xmlns:a16="http://schemas.microsoft.com/office/drawing/2014/main" id="{2D7AFB9F-86B1-490D-B481-69CF3F519CA3}"/>
              </a:ext>
            </a:extLst>
          </p:cNvPr>
          <p:cNvSpPr txBox="1"/>
          <p:nvPr/>
        </p:nvSpPr>
        <p:spPr bwMode="gray">
          <a:xfrm rot="3811782">
            <a:off x="6681394" y="2113004"/>
            <a:ext cx="1673052" cy="268937"/>
          </a:xfrm>
          <a:prstGeom prst="rect">
            <a:avLst/>
          </a:prstGeom>
          <a:noFill/>
          <a:ln w="19050">
            <a:noFill/>
            <a:prstDash val="solid"/>
            <a:miter lim="800000"/>
            <a:headEnd/>
            <a:tailEnd/>
          </a:ln>
          <a:effectLst/>
        </p:spPr>
        <p:txBody>
          <a:bodyPr wrap="square" lIns="72000" tIns="0" rIns="36000" bIns="0" rtlCol="0" anchor="ctr" anchorCtr="0">
            <a:no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7D7D7D"/>
              </a:buClr>
            </a:pPr>
            <a:r>
              <a:rPr lang="en-GB" sz="1200" b="1">
                <a:solidFill>
                  <a:schemeClr val="bg1"/>
                </a:solidFill>
                <a:latin typeface="+mj-lt"/>
              </a:rPr>
              <a:t>Profits</a:t>
            </a:r>
          </a:p>
        </p:txBody>
      </p:sp>
      <p:sp>
        <p:nvSpPr>
          <p:cNvPr id="7" name="Textfeld 112">
            <a:extLst>
              <a:ext uri="{FF2B5EF4-FFF2-40B4-BE49-F238E27FC236}">
                <a16:creationId xmlns:a16="http://schemas.microsoft.com/office/drawing/2014/main" id="{E86C1EE9-2031-419E-835B-AFA6DC3D72CF}"/>
              </a:ext>
            </a:extLst>
          </p:cNvPr>
          <p:cNvSpPr txBox="1"/>
          <p:nvPr/>
        </p:nvSpPr>
        <p:spPr bwMode="gray">
          <a:xfrm rot="17783748">
            <a:off x="6690211" y="3701588"/>
            <a:ext cx="1673052" cy="304981"/>
          </a:xfrm>
          <a:prstGeom prst="rect">
            <a:avLst/>
          </a:prstGeom>
          <a:noFill/>
          <a:ln w="19050">
            <a:noFill/>
            <a:prstDash val="solid"/>
            <a:miter lim="800000"/>
            <a:headEnd/>
            <a:tailEnd/>
          </a:ln>
          <a:effectLst/>
        </p:spPr>
        <p:txBody>
          <a:bodyPr wrap="square" lIns="72000" tIns="0" rIns="36000" bIns="0" rtlCol="0" anchor="ctr" anchorCtr="0">
            <a:no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7D7D7D"/>
              </a:buClr>
            </a:pPr>
            <a:r>
              <a:rPr lang="en-GB" sz="1200" b="1">
                <a:solidFill>
                  <a:schemeClr val="bg1"/>
                </a:solidFill>
                <a:latin typeface="+mj-lt"/>
              </a:rPr>
              <a:t>Profits</a:t>
            </a:r>
          </a:p>
        </p:txBody>
      </p:sp>
      <p:sp>
        <p:nvSpPr>
          <p:cNvPr id="8" name="Freeform 24" descr="© INSCALE GmbH, 26.05.2010&#10;http://www.presentationload.com/">
            <a:extLst>
              <a:ext uri="{FF2B5EF4-FFF2-40B4-BE49-F238E27FC236}">
                <a16:creationId xmlns:a16="http://schemas.microsoft.com/office/drawing/2014/main" id="{9E6D855B-E472-4BA1-ABBC-40E8DBBCDC03}"/>
              </a:ext>
            </a:extLst>
          </p:cNvPr>
          <p:cNvSpPr>
            <a:spLocks/>
          </p:cNvSpPr>
          <p:nvPr/>
        </p:nvSpPr>
        <p:spPr bwMode="gray">
          <a:xfrm>
            <a:off x="1602870" y="1435649"/>
            <a:ext cx="5421577" cy="357913"/>
          </a:xfrm>
          <a:custGeom>
            <a:avLst/>
            <a:gdLst>
              <a:gd name="connsiteX0" fmla="*/ 10000 w 10000"/>
              <a:gd name="connsiteY0" fmla="*/ 6902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6809 w 10000"/>
              <a:gd name="connsiteY4" fmla="*/ 6902 h 10000"/>
              <a:gd name="connsiteX5" fmla="*/ 10000 w 10000"/>
              <a:gd name="connsiteY5" fmla="*/ 6902 h 10000"/>
              <a:gd name="connsiteX0" fmla="*/ 10000 w 10000"/>
              <a:gd name="connsiteY0" fmla="*/ 6902 h 6975"/>
              <a:gd name="connsiteX1" fmla="*/ 6809 w 10000"/>
              <a:gd name="connsiteY1" fmla="*/ 0 h 6975"/>
              <a:gd name="connsiteX2" fmla="*/ 0 w 10000"/>
              <a:gd name="connsiteY2" fmla="*/ 0 h 6975"/>
              <a:gd name="connsiteX3" fmla="*/ 0 w 10000"/>
              <a:gd name="connsiteY3" fmla="*/ 6975 h 6975"/>
              <a:gd name="connsiteX4" fmla="*/ 6809 w 10000"/>
              <a:gd name="connsiteY4" fmla="*/ 6902 h 6975"/>
              <a:gd name="connsiteX5" fmla="*/ 10000 w 10000"/>
              <a:gd name="connsiteY5" fmla="*/ 6902 h 6975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1 w 10001"/>
              <a:gd name="connsiteY0" fmla="*/ 9895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9895 h 10069"/>
              <a:gd name="connsiteX0" fmla="*/ 10001 w 10001"/>
              <a:gd name="connsiteY0" fmla="*/ 10069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8884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58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69">
                <a:moveTo>
                  <a:pt x="10001" y="10069"/>
                </a:moveTo>
                <a:cubicBezTo>
                  <a:pt x="9887" y="6713"/>
                  <a:pt x="9772" y="3356"/>
                  <a:pt x="9658" y="0"/>
                </a:cubicBezTo>
                <a:lnTo>
                  <a:pt x="1" y="0"/>
                </a:lnTo>
                <a:cubicBezTo>
                  <a:pt x="1" y="3356"/>
                  <a:pt x="0" y="6713"/>
                  <a:pt x="0" y="10069"/>
                </a:cubicBezTo>
                <a:lnTo>
                  <a:pt x="10001" y="10069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Company infrastructure </a:t>
            </a:r>
            <a:r>
              <a:rPr lang="en-GB" sz="1200">
                <a:solidFill>
                  <a:schemeClr val="accent1"/>
                </a:solidFill>
                <a:latin typeface="+mj-lt"/>
                <a:cs typeface="+mn-cs"/>
              </a:rPr>
              <a:t>(leadership, financial management, etc.)</a:t>
            </a:r>
          </a:p>
        </p:txBody>
      </p:sp>
      <p:sp>
        <p:nvSpPr>
          <p:cNvPr id="9" name="Freeform 24" descr="© INSCALE GmbH, 26.05.2010&#10;http://www.presentationload.com/">
            <a:extLst>
              <a:ext uri="{FF2B5EF4-FFF2-40B4-BE49-F238E27FC236}">
                <a16:creationId xmlns:a16="http://schemas.microsoft.com/office/drawing/2014/main" id="{C0FC7F76-165A-4112-8066-CFDDE5F9F562}"/>
              </a:ext>
            </a:extLst>
          </p:cNvPr>
          <p:cNvSpPr>
            <a:spLocks/>
          </p:cNvSpPr>
          <p:nvPr/>
        </p:nvSpPr>
        <p:spPr bwMode="gray">
          <a:xfrm>
            <a:off x="1602870" y="1852965"/>
            <a:ext cx="5651385" cy="357913"/>
          </a:xfrm>
          <a:custGeom>
            <a:avLst/>
            <a:gdLst>
              <a:gd name="connsiteX0" fmla="*/ 10000 w 10000"/>
              <a:gd name="connsiteY0" fmla="*/ 6902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6809 w 10000"/>
              <a:gd name="connsiteY4" fmla="*/ 6902 h 10000"/>
              <a:gd name="connsiteX5" fmla="*/ 10000 w 10000"/>
              <a:gd name="connsiteY5" fmla="*/ 6902 h 10000"/>
              <a:gd name="connsiteX0" fmla="*/ 10000 w 10000"/>
              <a:gd name="connsiteY0" fmla="*/ 6902 h 6975"/>
              <a:gd name="connsiteX1" fmla="*/ 6809 w 10000"/>
              <a:gd name="connsiteY1" fmla="*/ 0 h 6975"/>
              <a:gd name="connsiteX2" fmla="*/ 0 w 10000"/>
              <a:gd name="connsiteY2" fmla="*/ 0 h 6975"/>
              <a:gd name="connsiteX3" fmla="*/ 0 w 10000"/>
              <a:gd name="connsiteY3" fmla="*/ 6975 h 6975"/>
              <a:gd name="connsiteX4" fmla="*/ 6809 w 10000"/>
              <a:gd name="connsiteY4" fmla="*/ 6902 h 6975"/>
              <a:gd name="connsiteX5" fmla="*/ 10000 w 10000"/>
              <a:gd name="connsiteY5" fmla="*/ 6902 h 6975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1 w 10001"/>
              <a:gd name="connsiteY0" fmla="*/ 9895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9895 h 10069"/>
              <a:gd name="connsiteX0" fmla="*/ 10001 w 10001"/>
              <a:gd name="connsiteY0" fmla="*/ 10069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8884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82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69">
                <a:moveTo>
                  <a:pt x="10001" y="10069"/>
                </a:moveTo>
                <a:cubicBezTo>
                  <a:pt x="9895" y="6713"/>
                  <a:pt x="9788" y="3356"/>
                  <a:pt x="9682" y="0"/>
                </a:cubicBezTo>
                <a:lnTo>
                  <a:pt x="1" y="0"/>
                </a:lnTo>
                <a:cubicBezTo>
                  <a:pt x="1" y="3356"/>
                  <a:pt x="0" y="6713"/>
                  <a:pt x="0" y="10069"/>
                </a:cubicBezTo>
                <a:lnTo>
                  <a:pt x="10001" y="10069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Human resources </a:t>
            </a:r>
            <a:r>
              <a:rPr lang="en-GB" sz="1200">
                <a:solidFill>
                  <a:schemeClr val="accent1"/>
                </a:solidFill>
                <a:latin typeface="+mj-lt"/>
                <a:cs typeface="+mn-cs"/>
              </a:rPr>
              <a:t>(staff planning, staff development, etc.)</a:t>
            </a:r>
          </a:p>
        </p:txBody>
      </p:sp>
      <p:sp>
        <p:nvSpPr>
          <p:cNvPr id="10" name="Freeform 24" descr="© INSCALE GmbH, 26.05.2010&#10;http://www.presentationload.com/">
            <a:extLst>
              <a:ext uri="{FF2B5EF4-FFF2-40B4-BE49-F238E27FC236}">
                <a16:creationId xmlns:a16="http://schemas.microsoft.com/office/drawing/2014/main" id="{D0C9F0AA-9ACD-4F19-A1BC-4210E18024A6}"/>
              </a:ext>
            </a:extLst>
          </p:cNvPr>
          <p:cNvSpPr>
            <a:spLocks/>
          </p:cNvSpPr>
          <p:nvPr/>
        </p:nvSpPr>
        <p:spPr bwMode="gray">
          <a:xfrm>
            <a:off x="1602870" y="2270282"/>
            <a:ext cx="5885517" cy="357913"/>
          </a:xfrm>
          <a:custGeom>
            <a:avLst/>
            <a:gdLst>
              <a:gd name="connsiteX0" fmla="*/ 10000 w 10000"/>
              <a:gd name="connsiteY0" fmla="*/ 6902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6809 w 10000"/>
              <a:gd name="connsiteY4" fmla="*/ 6902 h 10000"/>
              <a:gd name="connsiteX5" fmla="*/ 10000 w 10000"/>
              <a:gd name="connsiteY5" fmla="*/ 6902 h 10000"/>
              <a:gd name="connsiteX0" fmla="*/ 10000 w 10000"/>
              <a:gd name="connsiteY0" fmla="*/ 6902 h 6975"/>
              <a:gd name="connsiteX1" fmla="*/ 6809 w 10000"/>
              <a:gd name="connsiteY1" fmla="*/ 0 h 6975"/>
              <a:gd name="connsiteX2" fmla="*/ 0 w 10000"/>
              <a:gd name="connsiteY2" fmla="*/ 0 h 6975"/>
              <a:gd name="connsiteX3" fmla="*/ 0 w 10000"/>
              <a:gd name="connsiteY3" fmla="*/ 6975 h 6975"/>
              <a:gd name="connsiteX4" fmla="*/ 6809 w 10000"/>
              <a:gd name="connsiteY4" fmla="*/ 6902 h 6975"/>
              <a:gd name="connsiteX5" fmla="*/ 10000 w 10000"/>
              <a:gd name="connsiteY5" fmla="*/ 6902 h 6975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1 w 10001"/>
              <a:gd name="connsiteY0" fmla="*/ 9895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9895 h 10069"/>
              <a:gd name="connsiteX0" fmla="*/ 10001 w 10001"/>
              <a:gd name="connsiteY0" fmla="*/ 10069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8884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6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69">
                <a:moveTo>
                  <a:pt x="10001" y="10069"/>
                </a:moveTo>
                <a:cubicBezTo>
                  <a:pt x="9887" y="6713"/>
                  <a:pt x="9774" y="3356"/>
                  <a:pt x="9660" y="0"/>
                </a:cubicBezTo>
                <a:lnTo>
                  <a:pt x="1" y="0"/>
                </a:lnTo>
                <a:cubicBezTo>
                  <a:pt x="1" y="3356"/>
                  <a:pt x="0" y="6713"/>
                  <a:pt x="0" y="10069"/>
                </a:cubicBezTo>
                <a:lnTo>
                  <a:pt x="10001" y="10069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7D7D7D"/>
              </a:buClr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Technology development </a:t>
            </a:r>
            <a:r>
              <a:rPr lang="en-GB" sz="1200">
                <a:solidFill>
                  <a:schemeClr val="accent1"/>
                </a:solidFill>
                <a:latin typeface="+mj-lt"/>
                <a:cs typeface="+mn-cs"/>
              </a:rPr>
              <a:t>(research &amp; development, it systems, etc.)</a:t>
            </a:r>
          </a:p>
        </p:txBody>
      </p:sp>
      <p:sp>
        <p:nvSpPr>
          <p:cNvPr id="11" name="Freeform 24" descr="© INSCALE GmbH, 26.05.2010&#10;http://www.presentationload.com/">
            <a:extLst>
              <a:ext uri="{FF2B5EF4-FFF2-40B4-BE49-F238E27FC236}">
                <a16:creationId xmlns:a16="http://schemas.microsoft.com/office/drawing/2014/main" id="{27FB2ECF-59BD-4DBA-899B-FB798F4F25AC}"/>
              </a:ext>
            </a:extLst>
          </p:cNvPr>
          <p:cNvSpPr>
            <a:spLocks/>
          </p:cNvSpPr>
          <p:nvPr/>
        </p:nvSpPr>
        <p:spPr bwMode="gray">
          <a:xfrm>
            <a:off x="1602870" y="2687597"/>
            <a:ext cx="6119652" cy="357913"/>
          </a:xfrm>
          <a:custGeom>
            <a:avLst/>
            <a:gdLst>
              <a:gd name="connsiteX0" fmla="*/ 10000 w 10000"/>
              <a:gd name="connsiteY0" fmla="*/ 6902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6809 w 10000"/>
              <a:gd name="connsiteY4" fmla="*/ 6902 h 10000"/>
              <a:gd name="connsiteX5" fmla="*/ 10000 w 10000"/>
              <a:gd name="connsiteY5" fmla="*/ 6902 h 10000"/>
              <a:gd name="connsiteX0" fmla="*/ 10000 w 10000"/>
              <a:gd name="connsiteY0" fmla="*/ 6902 h 6975"/>
              <a:gd name="connsiteX1" fmla="*/ 6809 w 10000"/>
              <a:gd name="connsiteY1" fmla="*/ 0 h 6975"/>
              <a:gd name="connsiteX2" fmla="*/ 0 w 10000"/>
              <a:gd name="connsiteY2" fmla="*/ 0 h 6975"/>
              <a:gd name="connsiteX3" fmla="*/ 0 w 10000"/>
              <a:gd name="connsiteY3" fmla="*/ 6975 h 6975"/>
              <a:gd name="connsiteX4" fmla="*/ 6809 w 10000"/>
              <a:gd name="connsiteY4" fmla="*/ 6902 h 6975"/>
              <a:gd name="connsiteX5" fmla="*/ 10000 w 10000"/>
              <a:gd name="connsiteY5" fmla="*/ 6902 h 6975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1 w 10001"/>
              <a:gd name="connsiteY0" fmla="*/ 9895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9895 h 10069"/>
              <a:gd name="connsiteX0" fmla="*/ 10001 w 10001"/>
              <a:gd name="connsiteY0" fmla="*/ 10069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8884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42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9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69">
                <a:moveTo>
                  <a:pt x="10001" y="10069"/>
                </a:moveTo>
                <a:cubicBezTo>
                  <a:pt x="9881" y="6713"/>
                  <a:pt x="9810" y="3356"/>
                  <a:pt x="9690" y="0"/>
                </a:cubicBezTo>
                <a:lnTo>
                  <a:pt x="1" y="0"/>
                </a:lnTo>
                <a:cubicBezTo>
                  <a:pt x="1" y="3356"/>
                  <a:pt x="0" y="6713"/>
                  <a:pt x="0" y="10069"/>
                </a:cubicBezTo>
                <a:lnTo>
                  <a:pt x="10001" y="10069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7D7D7D"/>
              </a:buClr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Procurement</a:t>
            </a:r>
            <a:r>
              <a:rPr lang="en-GB" sz="1200">
                <a:solidFill>
                  <a:schemeClr val="accent1"/>
                </a:solidFill>
                <a:latin typeface="+mj-lt"/>
                <a:cs typeface="+mn-cs"/>
              </a:rPr>
              <a:t> (raw materials, equipment, facilities, etc.)</a:t>
            </a:r>
          </a:p>
        </p:txBody>
      </p:sp>
      <p:sp>
        <p:nvSpPr>
          <p:cNvPr id="12" name="Rechteck 24">
            <a:extLst>
              <a:ext uri="{FF2B5EF4-FFF2-40B4-BE49-F238E27FC236}">
                <a16:creationId xmlns:a16="http://schemas.microsoft.com/office/drawing/2014/main" id="{9ED08453-49AD-4809-8036-F9210C244659}"/>
              </a:ext>
            </a:extLst>
          </p:cNvPr>
          <p:cNvSpPr/>
          <p:nvPr/>
        </p:nvSpPr>
        <p:spPr bwMode="gray">
          <a:xfrm>
            <a:off x="1602870" y="3162111"/>
            <a:ext cx="974834" cy="148246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36000" bIns="0" anchor="t" anchorCtr="0"/>
          <a:lstStyle/>
          <a:p>
            <a:pPr marL="0" lvl="1" indent="158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Inbound logistic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Incoming good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Storage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etc.</a:t>
            </a:r>
          </a:p>
        </p:txBody>
      </p:sp>
      <p:sp>
        <p:nvSpPr>
          <p:cNvPr id="13" name="Rechteck 25">
            <a:extLst>
              <a:ext uri="{FF2B5EF4-FFF2-40B4-BE49-F238E27FC236}">
                <a16:creationId xmlns:a16="http://schemas.microsoft.com/office/drawing/2014/main" id="{BB286A9A-74CF-435F-876D-B6AFDAAF98F2}"/>
              </a:ext>
            </a:extLst>
          </p:cNvPr>
          <p:cNvSpPr/>
          <p:nvPr/>
        </p:nvSpPr>
        <p:spPr bwMode="gray">
          <a:xfrm>
            <a:off x="2649952" y="3162111"/>
            <a:ext cx="974834" cy="148246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36000" bIns="0" anchor="t" anchorCtr="0"/>
          <a:lstStyle/>
          <a:p>
            <a:pPr marL="0" lvl="1" indent="158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Production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pPr>
            <a:endParaRPr lang="en-GB" sz="1200">
              <a:solidFill>
                <a:schemeClr val="accent1"/>
              </a:solidFill>
              <a:latin typeface="+mj-lt"/>
              <a:cs typeface="+mn-cs"/>
            </a:endParaRP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Production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Packaging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etc.</a:t>
            </a:r>
          </a:p>
        </p:txBody>
      </p:sp>
      <p:sp>
        <p:nvSpPr>
          <p:cNvPr id="14" name="Rechteck 26">
            <a:extLst>
              <a:ext uri="{FF2B5EF4-FFF2-40B4-BE49-F238E27FC236}">
                <a16:creationId xmlns:a16="http://schemas.microsoft.com/office/drawing/2014/main" id="{674FE373-E4B2-4958-B9CA-BE023500E431}"/>
              </a:ext>
            </a:extLst>
          </p:cNvPr>
          <p:cNvSpPr/>
          <p:nvPr/>
        </p:nvSpPr>
        <p:spPr bwMode="gray">
          <a:xfrm>
            <a:off x="3697035" y="3162111"/>
            <a:ext cx="974834" cy="148246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36000" bIns="0" anchor="t" anchorCtr="0"/>
          <a:lstStyle/>
          <a:p>
            <a:pPr marL="0" lvl="1" indent="158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Marketing &amp; sale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Price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Distribution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Proces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etc.</a:t>
            </a:r>
          </a:p>
        </p:txBody>
      </p:sp>
      <p:sp>
        <p:nvSpPr>
          <p:cNvPr id="15" name="Rechteck 27">
            <a:extLst>
              <a:ext uri="{FF2B5EF4-FFF2-40B4-BE49-F238E27FC236}">
                <a16:creationId xmlns:a16="http://schemas.microsoft.com/office/drawing/2014/main" id="{C486D26A-2CB7-45AE-B5B8-894A31AEF046}"/>
              </a:ext>
            </a:extLst>
          </p:cNvPr>
          <p:cNvSpPr/>
          <p:nvPr/>
        </p:nvSpPr>
        <p:spPr bwMode="gray">
          <a:xfrm>
            <a:off x="4744117" y="3162111"/>
            <a:ext cx="1058364" cy="148246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36000" bIns="0" anchor="t" anchorCtr="0"/>
          <a:lstStyle/>
          <a:p>
            <a:pPr marL="0" lvl="1" indent="158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Outbound logistic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 noProof="1">
                <a:solidFill>
                  <a:schemeClr val="accent1"/>
                </a:solidFill>
                <a:latin typeface="+mj-lt"/>
                <a:cs typeface="+mn-cs"/>
              </a:rPr>
              <a:t>Warehouse management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 noProof="1">
                <a:solidFill>
                  <a:schemeClr val="accent1"/>
                </a:solidFill>
                <a:latin typeface="+mj-lt"/>
                <a:cs typeface="+mn-cs"/>
              </a:rPr>
              <a:t>Delivery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 noProof="1">
                <a:solidFill>
                  <a:schemeClr val="accent1"/>
                </a:solidFill>
                <a:latin typeface="+mj-lt"/>
                <a:cs typeface="+mn-cs"/>
              </a:rPr>
              <a:t>etc.</a:t>
            </a:r>
          </a:p>
        </p:txBody>
      </p:sp>
      <p:sp>
        <p:nvSpPr>
          <p:cNvPr id="16" name="Freeform 24" descr="© INSCALE GmbH, 26.05.2010&#10;http://www.presentationload.com/">
            <a:extLst>
              <a:ext uri="{FF2B5EF4-FFF2-40B4-BE49-F238E27FC236}">
                <a16:creationId xmlns:a16="http://schemas.microsoft.com/office/drawing/2014/main" id="{CD6E50FF-78B2-4AAC-B0B1-56E61361A86A}"/>
              </a:ext>
            </a:extLst>
          </p:cNvPr>
          <p:cNvSpPr>
            <a:spLocks/>
          </p:cNvSpPr>
          <p:nvPr/>
        </p:nvSpPr>
        <p:spPr bwMode="gray">
          <a:xfrm>
            <a:off x="5874729" y="3162165"/>
            <a:ext cx="1774065" cy="1483495"/>
          </a:xfrm>
          <a:custGeom>
            <a:avLst/>
            <a:gdLst>
              <a:gd name="connsiteX0" fmla="*/ 10000 w 10000"/>
              <a:gd name="connsiteY0" fmla="*/ 6902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6809 w 10000"/>
              <a:gd name="connsiteY4" fmla="*/ 6902 h 10000"/>
              <a:gd name="connsiteX5" fmla="*/ 10000 w 10000"/>
              <a:gd name="connsiteY5" fmla="*/ 6902 h 10000"/>
              <a:gd name="connsiteX0" fmla="*/ 10000 w 10000"/>
              <a:gd name="connsiteY0" fmla="*/ 6902 h 6975"/>
              <a:gd name="connsiteX1" fmla="*/ 6809 w 10000"/>
              <a:gd name="connsiteY1" fmla="*/ 0 h 6975"/>
              <a:gd name="connsiteX2" fmla="*/ 0 w 10000"/>
              <a:gd name="connsiteY2" fmla="*/ 0 h 6975"/>
              <a:gd name="connsiteX3" fmla="*/ 0 w 10000"/>
              <a:gd name="connsiteY3" fmla="*/ 6975 h 6975"/>
              <a:gd name="connsiteX4" fmla="*/ 6809 w 10000"/>
              <a:gd name="connsiteY4" fmla="*/ 6902 h 6975"/>
              <a:gd name="connsiteX5" fmla="*/ 10000 w 10000"/>
              <a:gd name="connsiteY5" fmla="*/ 6902 h 6975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0 w 10000"/>
              <a:gd name="connsiteY0" fmla="*/ 9895 h 10000"/>
              <a:gd name="connsiteX1" fmla="*/ 6809 w 10000"/>
              <a:gd name="connsiteY1" fmla="*/ 0 h 10000"/>
              <a:gd name="connsiteX2" fmla="*/ 0 w 10000"/>
              <a:gd name="connsiteY2" fmla="*/ 0 h 10000"/>
              <a:gd name="connsiteX3" fmla="*/ 0 w 10000"/>
              <a:gd name="connsiteY3" fmla="*/ 10000 h 10000"/>
              <a:gd name="connsiteX4" fmla="*/ 10000 w 10000"/>
              <a:gd name="connsiteY4" fmla="*/ 9895 h 10000"/>
              <a:gd name="connsiteX0" fmla="*/ 10001 w 10001"/>
              <a:gd name="connsiteY0" fmla="*/ 9895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9895 h 10069"/>
              <a:gd name="connsiteX0" fmla="*/ 10001 w 10001"/>
              <a:gd name="connsiteY0" fmla="*/ 10069 h 10069"/>
              <a:gd name="connsiteX1" fmla="*/ 681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8884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42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069 h 10069"/>
              <a:gd name="connsiteX1" fmla="*/ 9690 w 10001"/>
              <a:gd name="connsiteY1" fmla="*/ 0 h 10069"/>
              <a:gd name="connsiteX2" fmla="*/ 1 w 10001"/>
              <a:gd name="connsiteY2" fmla="*/ 0 h 10069"/>
              <a:gd name="connsiteX3" fmla="*/ 0 w 10001"/>
              <a:gd name="connsiteY3" fmla="*/ 10069 h 10069"/>
              <a:gd name="connsiteX4" fmla="*/ 10001 w 10001"/>
              <a:gd name="connsiteY4" fmla="*/ 10069 h 10069"/>
              <a:gd name="connsiteX0" fmla="*/ 10001 w 10001"/>
              <a:gd name="connsiteY0" fmla="*/ 10171 h 10171"/>
              <a:gd name="connsiteX1" fmla="*/ 4698 w 10001"/>
              <a:gd name="connsiteY1" fmla="*/ 0 h 10171"/>
              <a:gd name="connsiteX2" fmla="*/ 1 w 10001"/>
              <a:gd name="connsiteY2" fmla="*/ 102 h 10171"/>
              <a:gd name="connsiteX3" fmla="*/ 0 w 10001"/>
              <a:gd name="connsiteY3" fmla="*/ 10171 h 10171"/>
              <a:gd name="connsiteX4" fmla="*/ 10001 w 10001"/>
              <a:gd name="connsiteY4" fmla="*/ 10171 h 10171"/>
              <a:gd name="connsiteX0" fmla="*/ 10001 w 10001"/>
              <a:gd name="connsiteY0" fmla="*/ 10076 h 10076"/>
              <a:gd name="connsiteX1" fmla="*/ 5495 w 10001"/>
              <a:gd name="connsiteY1" fmla="*/ 0 h 10076"/>
              <a:gd name="connsiteX2" fmla="*/ 1 w 10001"/>
              <a:gd name="connsiteY2" fmla="*/ 7 h 10076"/>
              <a:gd name="connsiteX3" fmla="*/ 0 w 10001"/>
              <a:gd name="connsiteY3" fmla="*/ 10076 h 10076"/>
              <a:gd name="connsiteX4" fmla="*/ 10001 w 10001"/>
              <a:gd name="connsiteY4" fmla="*/ 10076 h 10076"/>
              <a:gd name="connsiteX0" fmla="*/ 10001 w 10001"/>
              <a:gd name="connsiteY0" fmla="*/ 10076 h 10076"/>
              <a:gd name="connsiteX1" fmla="*/ 5495 w 10001"/>
              <a:gd name="connsiteY1" fmla="*/ 0 h 10076"/>
              <a:gd name="connsiteX2" fmla="*/ 1 w 10001"/>
              <a:gd name="connsiteY2" fmla="*/ 7 h 10076"/>
              <a:gd name="connsiteX3" fmla="*/ 0 w 10001"/>
              <a:gd name="connsiteY3" fmla="*/ 10076 h 10076"/>
              <a:gd name="connsiteX4" fmla="*/ 10001 w 10001"/>
              <a:gd name="connsiteY4" fmla="*/ 10076 h 10076"/>
              <a:gd name="connsiteX0" fmla="*/ 10001 w 10001"/>
              <a:gd name="connsiteY0" fmla="*/ 10076 h 10076"/>
              <a:gd name="connsiteX1" fmla="*/ 10001 w 10001"/>
              <a:gd name="connsiteY1" fmla="*/ 0 h 10076"/>
              <a:gd name="connsiteX2" fmla="*/ 1 w 10001"/>
              <a:gd name="connsiteY2" fmla="*/ 7 h 10076"/>
              <a:gd name="connsiteX3" fmla="*/ 0 w 10001"/>
              <a:gd name="connsiteY3" fmla="*/ 10076 h 10076"/>
              <a:gd name="connsiteX4" fmla="*/ 10001 w 10001"/>
              <a:gd name="connsiteY4" fmla="*/ 10076 h 10076"/>
              <a:gd name="connsiteX0" fmla="*/ 2976 w 10001"/>
              <a:gd name="connsiteY0" fmla="*/ 10076 h 10076"/>
              <a:gd name="connsiteX1" fmla="*/ 10001 w 10001"/>
              <a:gd name="connsiteY1" fmla="*/ 0 h 10076"/>
              <a:gd name="connsiteX2" fmla="*/ 1 w 10001"/>
              <a:gd name="connsiteY2" fmla="*/ 7 h 10076"/>
              <a:gd name="connsiteX3" fmla="*/ 0 w 10001"/>
              <a:gd name="connsiteY3" fmla="*/ 10076 h 10076"/>
              <a:gd name="connsiteX4" fmla="*/ 2976 w 10001"/>
              <a:gd name="connsiteY4" fmla="*/ 10076 h 10076"/>
              <a:gd name="connsiteX0" fmla="*/ 5495 w 10001"/>
              <a:gd name="connsiteY0" fmla="*/ 10069 h 10076"/>
              <a:gd name="connsiteX1" fmla="*/ 10001 w 10001"/>
              <a:gd name="connsiteY1" fmla="*/ 0 h 10076"/>
              <a:gd name="connsiteX2" fmla="*/ 1 w 10001"/>
              <a:gd name="connsiteY2" fmla="*/ 7 h 10076"/>
              <a:gd name="connsiteX3" fmla="*/ 0 w 10001"/>
              <a:gd name="connsiteY3" fmla="*/ 10076 h 10076"/>
              <a:gd name="connsiteX4" fmla="*/ 5495 w 10001"/>
              <a:gd name="connsiteY4" fmla="*/ 10069 h 1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76">
                <a:moveTo>
                  <a:pt x="5495" y="10069"/>
                </a:moveTo>
                <a:lnTo>
                  <a:pt x="10001" y="0"/>
                </a:lnTo>
                <a:lnTo>
                  <a:pt x="1" y="7"/>
                </a:lnTo>
                <a:cubicBezTo>
                  <a:pt x="1" y="3363"/>
                  <a:pt x="0" y="6720"/>
                  <a:pt x="0" y="10076"/>
                </a:cubicBezTo>
                <a:lnTo>
                  <a:pt x="5495" y="1006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  <a:sp3d/>
        </p:spPr>
        <p:txBody>
          <a:bodyPr lIns="72000" tIns="72000" rIns="36000" bIns="0" anchor="t" anchorCtr="0"/>
          <a:lstStyle/>
          <a:p>
            <a:pPr marL="355600" lvl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  <a:t>Service</a:t>
            </a:r>
            <a:br>
              <a:rPr lang="en-GB" sz="1200" b="1">
                <a:solidFill>
                  <a:schemeClr val="accent1"/>
                </a:solidFill>
                <a:latin typeface="+mj-lt"/>
                <a:cs typeface="+mn-cs"/>
              </a:rPr>
            </a:br>
            <a:endParaRPr lang="en-GB" sz="1200" b="1">
              <a:solidFill>
                <a:schemeClr val="accent1"/>
              </a:solidFill>
              <a:latin typeface="+mj-lt"/>
              <a:cs typeface="+mn-cs"/>
            </a:endParaRP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Installation/</a:t>
            </a:r>
            <a:r>
              <a:rPr lang="en-GB" sz="1000" noProof="1">
                <a:solidFill>
                  <a:schemeClr val="accent1"/>
                </a:solidFill>
                <a:latin typeface="+mj-lt"/>
                <a:cs typeface="+mn-cs"/>
              </a:rPr>
              <a:t>config.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Maintenance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Supplie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After sales</a:t>
            </a:r>
          </a:p>
          <a:p>
            <a:pPr marL="176213" lvl="1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Wingdings"/>
              <a:buChar char="§"/>
              <a:defRPr/>
            </a:pPr>
            <a:r>
              <a:rPr lang="en-GB" sz="1000">
                <a:solidFill>
                  <a:schemeClr val="accent1"/>
                </a:solidFill>
                <a:latin typeface="+mj-lt"/>
                <a:cs typeface="+mn-cs"/>
              </a:rPr>
              <a:t>etc.</a:t>
            </a:r>
          </a:p>
        </p:txBody>
      </p:sp>
      <p:sp>
        <p:nvSpPr>
          <p:cNvPr id="17" name="Textfeld 18">
            <a:extLst>
              <a:ext uri="{FF2B5EF4-FFF2-40B4-BE49-F238E27FC236}">
                <a16:creationId xmlns:a16="http://schemas.microsoft.com/office/drawing/2014/main" id="{2F72A434-B8AB-4852-8848-532B8200734A}"/>
              </a:ext>
            </a:extLst>
          </p:cNvPr>
          <p:cNvSpPr txBox="1"/>
          <p:nvPr/>
        </p:nvSpPr>
        <p:spPr bwMode="gray">
          <a:xfrm rot="10800000">
            <a:off x="1268623" y="1440134"/>
            <a:ext cx="288769" cy="1589022"/>
          </a:xfrm>
          <a:prstGeom prst="rect">
            <a:avLst/>
          </a:prstGeom>
          <a:noFill/>
        </p:spPr>
        <p:txBody>
          <a:bodyPr vert="vert" wrap="square" lIns="0" tIns="72000" rIns="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1200" b="1">
                <a:solidFill>
                  <a:schemeClr val="accent2"/>
                </a:solidFill>
                <a:latin typeface="+mj-lt"/>
              </a:rPr>
              <a:t>secondary activities</a:t>
            </a:r>
          </a:p>
        </p:txBody>
      </p:sp>
      <p:sp>
        <p:nvSpPr>
          <p:cNvPr id="18" name="Textfeld 19">
            <a:extLst>
              <a:ext uri="{FF2B5EF4-FFF2-40B4-BE49-F238E27FC236}">
                <a16:creationId xmlns:a16="http://schemas.microsoft.com/office/drawing/2014/main" id="{878EAED4-4F37-440D-A78D-B0676D0AA8BE}"/>
              </a:ext>
            </a:extLst>
          </p:cNvPr>
          <p:cNvSpPr txBox="1"/>
          <p:nvPr/>
        </p:nvSpPr>
        <p:spPr bwMode="gray">
          <a:xfrm rot="10800000">
            <a:off x="1268624" y="3169796"/>
            <a:ext cx="288769" cy="1473659"/>
          </a:xfrm>
          <a:prstGeom prst="rect">
            <a:avLst/>
          </a:prstGeom>
          <a:noFill/>
        </p:spPr>
        <p:txBody>
          <a:bodyPr vert="vert" wrap="square" lIns="0" tIns="72000" rIns="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1200" b="1">
                <a:solidFill>
                  <a:schemeClr val="accent2"/>
                </a:solidFill>
                <a:latin typeface="+mj-lt"/>
              </a:rPr>
              <a:t>primarily activities</a:t>
            </a:r>
          </a:p>
        </p:txBody>
      </p:sp>
    </p:spTree>
    <p:extLst>
      <p:ext uri="{BB962C8B-B14F-4D97-AF65-F5344CB8AC3E}">
        <p14:creationId xmlns:p14="http://schemas.microsoft.com/office/powerpoint/2010/main" val="282859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55FCF0-D9DB-4F4D-AD40-94618AAF0F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Overview of </a:t>
            </a:r>
            <a:r>
              <a:rPr lang="en-US">
                <a:solidFill>
                  <a:schemeClr val="accent2"/>
                </a:solidFill>
              </a:rPr>
              <a:t>project or implementation st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69C9CC-B695-41A3-967C-858CC0D02F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reeform 2">
            <a:extLst>
              <a:ext uri="{FF2B5EF4-FFF2-40B4-BE49-F238E27FC236}">
                <a16:creationId xmlns:a16="http://schemas.microsoft.com/office/drawing/2014/main" id="{D9F1F299-0911-44DD-B36E-EEAF7ACAF495}"/>
              </a:ext>
            </a:extLst>
          </p:cNvPr>
          <p:cNvSpPr>
            <a:spLocks/>
          </p:cNvSpPr>
          <p:nvPr/>
        </p:nvSpPr>
        <p:spPr bwMode="gray">
          <a:xfrm>
            <a:off x="6169209" y="1374724"/>
            <a:ext cx="1620694" cy="3256343"/>
          </a:xfrm>
          <a:custGeom>
            <a:avLst/>
            <a:gdLst>
              <a:gd name="T0" fmla="*/ 0 w 633"/>
              <a:gd name="T1" fmla="*/ 1127378 h 1744"/>
              <a:gd name="T2" fmla="*/ 2816 w 633"/>
              <a:gd name="T3" fmla="*/ 3937916 h 1744"/>
              <a:gd name="T4" fmla="*/ 1779947 w 633"/>
              <a:gd name="T5" fmla="*/ 3937916 h 1744"/>
              <a:gd name="T6" fmla="*/ 1779947 w 633"/>
              <a:gd name="T7" fmla="*/ 0 h 1744"/>
              <a:gd name="T8" fmla="*/ 1664475 w 633"/>
              <a:gd name="T9" fmla="*/ 124260 h 1744"/>
              <a:gd name="T10" fmla="*/ 1512391 w 633"/>
              <a:gd name="T11" fmla="*/ 246261 h 1744"/>
              <a:gd name="T12" fmla="*/ 1318062 w 633"/>
              <a:gd name="T13" fmla="*/ 388595 h 1744"/>
              <a:gd name="T14" fmla="*/ 1064588 w 633"/>
              <a:gd name="T15" fmla="*/ 551263 h 1744"/>
              <a:gd name="T16" fmla="*/ 811115 w 633"/>
              <a:gd name="T17" fmla="*/ 707153 h 1744"/>
              <a:gd name="T18" fmla="*/ 582989 w 633"/>
              <a:gd name="T19" fmla="*/ 829154 h 1744"/>
              <a:gd name="T20" fmla="*/ 253473 w 633"/>
              <a:gd name="T21" fmla="*/ 998599 h 1744"/>
              <a:gd name="T22" fmla="*/ 0 w 633"/>
              <a:gd name="T23" fmla="*/ 1127378 h 17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33"/>
              <a:gd name="T37" fmla="*/ 0 h 1744"/>
              <a:gd name="T38" fmla="*/ 633 w 633"/>
              <a:gd name="T39" fmla="*/ 1744 h 174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33" h="1744">
                <a:moveTo>
                  <a:pt x="0" y="499"/>
                </a:moveTo>
                <a:lnTo>
                  <a:pt x="1" y="1743"/>
                </a:lnTo>
                <a:lnTo>
                  <a:pt x="632" y="1743"/>
                </a:lnTo>
                <a:lnTo>
                  <a:pt x="632" y="0"/>
                </a:lnTo>
                <a:lnTo>
                  <a:pt x="591" y="55"/>
                </a:lnTo>
                <a:lnTo>
                  <a:pt x="537" y="109"/>
                </a:lnTo>
                <a:lnTo>
                  <a:pt x="468" y="172"/>
                </a:lnTo>
                <a:lnTo>
                  <a:pt x="378" y="244"/>
                </a:lnTo>
                <a:lnTo>
                  <a:pt x="288" y="313"/>
                </a:lnTo>
                <a:lnTo>
                  <a:pt x="207" y="367"/>
                </a:lnTo>
                <a:lnTo>
                  <a:pt x="90" y="442"/>
                </a:lnTo>
                <a:lnTo>
                  <a:pt x="0" y="499"/>
                </a:lnTo>
              </a:path>
            </a:pathLst>
          </a:custGeom>
          <a:solidFill>
            <a:schemeClr val="accent1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>
              <a:defRPr/>
            </a:pPr>
            <a:endParaRPr lang="de-DE" sz="110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33C134CD-5C03-4463-A6F5-6AD23C1D272C}"/>
              </a:ext>
            </a:extLst>
          </p:cNvPr>
          <p:cNvSpPr>
            <a:spLocks/>
          </p:cNvSpPr>
          <p:nvPr/>
        </p:nvSpPr>
        <p:spPr bwMode="gray">
          <a:xfrm>
            <a:off x="4547073" y="2505654"/>
            <a:ext cx="1622136" cy="2125413"/>
          </a:xfrm>
          <a:custGeom>
            <a:avLst/>
            <a:gdLst>
              <a:gd name="T0" fmla="*/ 0 w 634"/>
              <a:gd name="T1" fmla="*/ 555217 h 1246"/>
              <a:gd name="T2" fmla="*/ 0 w 634"/>
              <a:gd name="T3" fmla="*/ 2569686 h 1246"/>
              <a:gd name="T4" fmla="*/ 1778721 w 634"/>
              <a:gd name="T5" fmla="*/ 2569686 h 1246"/>
              <a:gd name="T6" fmla="*/ 1781536 w 634"/>
              <a:gd name="T7" fmla="*/ 0 h 1246"/>
              <a:gd name="T8" fmla="*/ 1607041 w 634"/>
              <a:gd name="T9" fmla="*/ 70176 h 1246"/>
              <a:gd name="T10" fmla="*/ 1432546 w 634"/>
              <a:gd name="T11" fmla="*/ 136224 h 1246"/>
              <a:gd name="T12" fmla="*/ 1224278 w 634"/>
              <a:gd name="T13" fmla="*/ 206400 h 1246"/>
              <a:gd name="T14" fmla="*/ 1010381 w 634"/>
              <a:gd name="T15" fmla="*/ 276577 h 1246"/>
              <a:gd name="T16" fmla="*/ 723309 w 634"/>
              <a:gd name="T17" fmla="*/ 363265 h 1246"/>
              <a:gd name="T18" fmla="*/ 470010 w 634"/>
              <a:gd name="T19" fmla="*/ 437569 h 1246"/>
              <a:gd name="T20" fmla="*/ 194196 w 634"/>
              <a:gd name="T21" fmla="*/ 507745 h 1246"/>
              <a:gd name="T22" fmla="*/ 0 w 634"/>
              <a:gd name="T23" fmla="*/ 555217 h 124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34"/>
              <a:gd name="T37" fmla="*/ 0 h 1246"/>
              <a:gd name="T38" fmla="*/ 634 w 634"/>
              <a:gd name="T39" fmla="*/ 1246 h 124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34" h="1246">
                <a:moveTo>
                  <a:pt x="0" y="269"/>
                </a:moveTo>
                <a:lnTo>
                  <a:pt x="0" y="1245"/>
                </a:lnTo>
                <a:lnTo>
                  <a:pt x="632" y="1245"/>
                </a:lnTo>
                <a:lnTo>
                  <a:pt x="633" y="0"/>
                </a:lnTo>
                <a:lnTo>
                  <a:pt x="571" y="34"/>
                </a:lnTo>
                <a:lnTo>
                  <a:pt x="509" y="66"/>
                </a:lnTo>
                <a:lnTo>
                  <a:pt x="435" y="100"/>
                </a:lnTo>
                <a:lnTo>
                  <a:pt x="359" y="134"/>
                </a:lnTo>
                <a:lnTo>
                  <a:pt x="257" y="176"/>
                </a:lnTo>
                <a:lnTo>
                  <a:pt x="167" y="212"/>
                </a:lnTo>
                <a:lnTo>
                  <a:pt x="69" y="246"/>
                </a:lnTo>
                <a:lnTo>
                  <a:pt x="0" y="269"/>
                </a:lnTo>
              </a:path>
            </a:pathLst>
          </a:custGeom>
          <a:solidFill>
            <a:schemeClr val="bg1">
              <a:lumMod val="5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>
              <a:defRPr/>
            </a:pPr>
            <a:endParaRPr lang="de-DE" sz="110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811CA2CD-511A-4B83-9B58-C57A71263FA9}"/>
              </a:ext>
            </a:extLst>
          </p:cNvPr>
          <p:cNvSpPr>
            <a:spLocks/>
          </p:cNvSpPr>
          <p:nvPr/>
        </p:nvSpPr>
        <p:spPr bwMode="gray">
          <a:xfrm>
            <a:off x="2909863" y="3219373"/>
            <a:ext cx="1636568" cy="1411694"/>
          </a:xfrm>
          <a:custGeom>
            <a:avLst/>
            <a:gdLst>
              <a:gd name="T0" fmla="*/ 0 w 640"/>
              <a:gd name="T1" fmla="*/ 2147483647 h 705"/>
              <a:gd name="T2" fmla="*/ 0 w 640"/>
              <a:gd name="T3" fmla="*/ 2147483647 h 705"/>
              <a:gd name="T4" fmla="*/ 2147483647 w 640"/>
              <a:gd name="T5" fmla="*/ 2147483647 h 705"/>
              <a:gd name="T6" fmla="*/ 2147483647 w 640"/>
              <a:gd name="T7" fmla="*/ 0 h 705"/>
              <a:gd name="T8" fmla="*/ 2147483647 w 640"/>
              <a:gd name="T9" fmla="*/ 2147483647 h 705"/>
              <a:gd name="T10" fmla="*/ 2147483647 w 640"/>
              <a:gd name="T11" fmla="*/ 2147483647 h 705"/>
              <a:gd name="T12" fmla="*/ 2147483647 w 640"/>
              <a:gd name="T13" fmla="*/ 2147483647 h 705"/>
              <a:gd name="T14" fmla="*/ 2147483647 w 640"/>
              <a:gd name="T15" fmla="*/ 2147483647 h 705"/>
              <a:gd name="T16" fmla="*/ 2147483647 w 640"/>
              <a:gd name="T17" fmla="*/ 2147483647 h 705"/>
              <a:gd name="T18" fmla="*/ 2147483647 w 640"/>
              <a:gd name="T19" fmla="*/ 2147483647 h 705"/>
              <a:gd name="T20" fmla="*/ 2147483647 w 640"/>
              <a:gd name="T21" fmla="*/ 2147483647 h 705"/>
              <a:gd name="T22" fmla="*/ 0 w 640"/>
              <a:gd name="T23" fmla="*/ 2147483647 h 70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40"/>
              <a:gd name="T37" fmla="*/ 0 h 705"/>
              <a:gd name="T38" fmla="*/ 640 w 640"/>
              <a:gd name="T39" fmla="*/ 705 h 70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40" h="705">
                <a:moveTo>
                  <a:pt x="0" y="159"/>
                </a:moveTo>
                <a:lnTo>
                  <a:pt x="0" y="704"/>
                </a:lnTo>
                <a:lnTo>
                  <a:pt x="639" y="704"/>
                </a:lnTo>
                <a:lnTo>
                  <a:pt x="639" y="0"/>
                </a:lnTo>
                <a:lnTo>
                  <a:pt x="599" y="16"/>
                </a:lnTo>
                <a:lnTo>
                  <a:pt x="556" y="33"/>
                </a:lnTo>
                <a:lnTo>
                  <a:pt x="493" y="54"/>
                </a:lnTo>
                <a:lnTo>
                  <a:pt x="403" y="78"/>
                </a:lnTo>
                <a:lnTo>
                  <a:pt x="308" y="101"/>
                </a:lnTo>
                <a:lnTo>
                  <a:pt x="218" y="119"/>
                </a:lnTo>
                <a:lnTo>
                  <a:pt x="112" y="138"/>
                </a:lnTo>
                <a:lnTo>
                  <a:pt x="0" y="159"/>
                </a:lnTo>
              </a:path>
            </a:pathLst>
          </a:custGeom>
          <a:solidFill>
            <a:schemeClr val="bg2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de-DE" sz="110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CDDFF3CC-CC94-44FA-A679-FE0A4F2FBF52}"/>
              </a:ext>
            </a:extLst>
          </p:cNvPr>
          <p:cNvSpPr>
            <a:spLocks/>
          </p:cNvSpPr>
          <p:nvPr/>
        </p:nvSpPr>
        <p:spPr bwMode="gray">
          <a:xfrm>
            <a:off x="1253892" y="3695622"/>
            <a:ext cx="1655329" cy="935445"/>
          </a:xfrm>
          <a:custGeom>
            <a:avLst/>
            <a:gdLst>
              <a:gd name="T0" fmla="*/ 0 w 647"/>
              <a:gd name="T1" fmla="*/ 2147483647 h 548"/>
              <a:gd name="T2" fmla="*/ 0 w 647"/>
              <a:gd name="T3" fmla="*/ 2147483647 h 548"/>
              <a:gd name="T4" fmla="*/ 2147483647 w 647"/>
              <a:gd name="T5" fmla="*/ 2147483647 h 548"/>
              <a:gd name="T6" fmla="*/ 2147483647 w 647"/>
              <a:gd name="T7" fmla="*/ 0 h 548"/>
              <a:gd name="T8" fmla="*/ 2147483647 w 647"/>
              <a:gd name="T9" fmla="*/ 2147483647 h 548"/>
              <a:gd name="T10" fmla="*/ 2147483647 w 647"/>
              <a:gd name="T11" fmla="*/ 2147483647 h 548"/>
              <a:gd name="T12" fmla="*/ 2147483647 w 647"/>
              <a:gd name="T13" fmla="*/ 2147483647 h 548"/>
              <a:gd name="T14" fmla="*/ 2147483647 w 647"/>
              <a:gd name="T15" fmla="*/ 2147483647 h 548"/>
              <a:gd name="T16" fmla="*/ 2147483647 w 647"/>
              <a:gd name="T17" fmla="*/ 2147483647 h 548"/>
              <a:gd name="T18" fmla="*/ 2147483647 w 647"/>
              <a:gd name="T19" fmla="*/ 2147483647 h 548"/>
              <a:gd name="T20" fmla="*/ 2147483647 w 647"/>
              <a:gd name="T21" fmla="*/ 2147483647 h 548"/>
              <a:gd name="T22" fmla="*/ 0 w 647"/>
              <a:gd name="T23" fmla="*/ 2147483647 h 5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47"/>
              <a:gd name="T37" fmla="*/ 0 h 548"/>
              <a:gd name="T38" fmla="*/ 647 w 647"/>
              <a:gd name="T39" fmla="*/ 548 h 54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47" h="548">
                <a:moveTo>
                  <a:pt x="0" y="78"/>
                </a:moveTo>
                <a:lnTo>
                  <a:pt x="0" y="547"/>
                </a:lnTo>
                <a:lnTo>
                  <a:pt x="646" y="546"/>
                </a:lnTo>
                <a:lnTo>
                  <a:pt x="646" y="0"/>
                </a:lnTo>
                <a:lnTo>
                  <a:pt x="582" y="10"/>
                </a:lnTo>
                <a:lnTo>
                  <a:pt x="490" y="24"/>
                </a:lnTo>
                <a:lnTo>
                  <a:pt x="414" y="34"/>
                </a:lnTo>
                <a:lnTo>
                  <a:pt x="348" y="42"/>
                </a:lnTo>
                <a:lnTo>
                  <a:pt x="278" y="50"/>
                </a:lnTo>
                <a:lnTo>
                  <a:pt x="192" y="58"/>
                </a:lnTo>
                <a:lnTo>
                  <a:pt x="82" y="70"/>
                </a:lnTo>
                <a:lnTo>
                  <a:pt x="0" y="78"/>
                </a:lnTo>
              </a:path>
            </a:pathLst>
          </a:custGeom>
          <a:solidFill>
            <a:schemeClr val="accent2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de-DE" sz="110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4FE1E5CD-5885-4090-BEDE-9ACA7B39DA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59125" y="3487017"/>
            <a:ext cx="104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20738"/>
            <a:r>
              <a:rPr lang="de-DE" sz="1400" b="1">
                <a:solidFill>
                  <a:schemeClr val="accent1"/>
                </a:solidFill>
                <a:latin typeface="+mj-lt"/>
                <a:ea typeface="MS PGothic" pitchFamily="34" charset="-128"/>
                <a:cs typeface="Calibri Light" panose="020F0302020204030204" pitchFamily="34" charset="0"/>
              </a:rPr>
              <a:t>Stage 1 </a:t>
            </a: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8EB88B74-2796-415A-A4AB-93500FB21C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05715" y="3047503"/>
            <a:ext cx="104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20738"/>
            <a:r>
              <a:rPr lang="de-DE" sz="1400" b="1">
                <a:solidFill>
                  <a:schemeClr val="accent1"/>
                </a:solidFill>
                <a:latin typeface="+mj-lt"/>
                <a:ea typeface="MS PGothic" pitchFamily="34" charset="-128"/>
                <a:cs typeface="Calibri Light" panose="020F0302020204030204" pitchFamily="34" charset="0"/>
              </a:rPr>
              <a:t>Stage 2 </a:t>
            </a: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90927A31-259C-476B-BFB7-741907364C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34988" y="2382812"/>
            <a:ext cx="104630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20738"/>
            <a:r>
              <a:rPr lang="de-DE" sz="1400" b="1">
                <a:solidFill>
                  <a:schemeClr val="accent1"/>
                </a:solidFill>
                <a:latin typeface="+mj-lt"/>
                <a:ea typeface="MS PGothic" pitchFamily="34" charset="-128"/>
                <a:cs typeface="Calibri Light" panose="020F0302020204030204" pitchFamily="34" charset="0"/>
              </a:rPr>
              <a:t>Stage 3 </a:t>
            </a:r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1792BEEC-9D48-4E2A-85B8-3DA957E347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57044" y="1374724"/>
            <a:ext cx="104630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20738"/>
            <a:r>
              <a:rPr lang="de-DE" sz="1400" b="1">
                <a:solidFill>
                  <a:schemeClr val="accent1"/>
                </a:solidFill>
                <a:latin typeface="+mj-lt"/>
                <a:ea typeface="MS PGothic" pitchFamily="34" charset="-128"/>
                <a:cs typeface="Calibri Light" panose="020F0302020204030204" pitchFamily="34" charset="0"/>
              </a:rPr>
              <a:t>Stage 4 </a:t>
            </a:r>
          </a:p>
        </p:txBody>
      </p:sp>
    </p:spTree>
    <p:extLst>
      <p:ext uri="{BB962C8B-B14F-4D97-AF65-F5344CB8AC3E}">
        <p14:creationId xmlns:p14="http://schemas.microsoft.com/office/powerpoint/2010/main" val="4210922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09B40-4CD4-CB82-54FB-CCED071E78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1FEE7-AEF2-1E88-E1B6-C9F5309CA0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GAN model </a:t>
            </a:r>
            <a:r>
              <a:rPr lang="en-US" dirty="0">
                <a:solidFill>
                  <a:schemeClr val="accent2"/>
                </a:solidFill>
              </a:rPr>
              <a:t>Overview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F056D1-4A59-9F29-1CF5-9911993643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troduction to GA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7">
                <a:extLst>
                  <a:ext uri="{FF2B5EF4-FFF2-40B4-BE49-F238E27FC236}">
                    <a16:creationId xmlns:a16="http://schemas.microsoft.com/office/drawing/2014/main" id="{47A07CDC-0995-8EF4-237A-9BEEFEBCF3C4}"/>
                  </a:ext>
                </a:extLst>
              </p:cNvPr>
              <p:cNvSpPr>
                <a:spLocks noGrp="1"/>
              </p:cNvSpPr>
              <p:nvPr>
                <p:ph sz="quarter" idx="14"/>
              </p:nvPr>
            </p:nvSpPr>
            <p:spPr>
              <a:xfrm>
                <a:off x="287337" y="1275169"/>
                <a:ext cx="4206540" cy="3499482"/>
              </a:xfrm>
            </p:spPr>
            <p:txBody>
              <a:bodyPr/>
              <a:lstStyle/>
              <a:p>
                <a:r>
                  <a:rPr lang="en-US" dirty="0"/>
                  <a:t>Discriminator</a:t>
                </a:r>
              </a:p>
              <a:p>
                <a:pPr lvl="1"/>
                <a:r>
                  <a:rPr lang="en-US" dirty="0"/>
                  <a:t>Classifies an </a:t>
                </a:r>
                <a:r>
                  <a:rPr lang="en-US" dirty="0" err="1"/>
                  <a:t>inputed</a:t>
                </a:r>
                <a:r>
                  <a:rPr lang="en-US" dirty="0"/>
                  <a:t> image as real or fake,</a:t>
                </a:r>
              </a:p>
              <a:p>
                <a:pPr lvl="1"/>
                <a:r>
                  <a:rPr lang="en-US" dirty="0"/>
                  <a:t>Wants to successfully classify generated images as fake</a:t>
                </a:r>
              </a:p>
              <a:p>
                <a:pPr lvl="1"/>
                <a:r>
                  <a:rPr lang="en-US" dirty="0"/>
                  <a:t>Minimize Loss: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nb-NO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nb-NO" b="0" i="0" smtClean="0">
                            <a:latin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nb-NO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nb-NO" b="0" i="1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d>
                              <m:dPr>
                                <m:ctrlPr>
                                  <a:rPr lang="nb-NO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nb-NO" b="0" i="1" smtClean="0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</m:d>
                          </m:e>
                        </m:d>
                      </m:e>
                    </m:func>
                  </m:oMath>
                </a14:m>
                <a:endParaRPr lang="en-US" dirty="0"/>
              </a:p>
              <a:p>
                <a:r>
                  <a:rPr lang="en-US" dirty="0"/>
                  <a:t>Generator</a:t>
                </a:r>
              </a:p>
              <a:p>
                <a:pPr lvl="1"/>
                <a:r>
                  <a:rPr lang="en-US" dirty="0"/>
                  <a:t>Generates images</a:t>
                </a:r>
              </a:p>
              <a:p>
                <a:pPr lvl="1"/>
                <a:r>
                  <a:rPr lang="en-US" dirty="0"/>
                  <a:t>Wants to fool discriminator by generating images classified as real</a:t>
                </a:r>
              </a:p>
              <a:p>
                <a:pPr lvl="1"/>
                <a:r>
                  <a:rPr lang="en-US" dirty="0"/>
                  <a:t>Minimize Loss: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nb-NO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nb-NO" b="0" i="0" smtClean="0">
                            <a:latin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nb-NO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nb-NO" b="0" i="1" smtClean="0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nb-NO" b="0" i="1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d>
                              <m:dPr>
                                <m:ctrlPr>
                                  <a:rPr lang="nb-NO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nb-NO" b="0" i="1" smtClean="0">
                                    <a:latin typeface="Cambria Math" panose="02040503050406030204" pitchFamily="18" charset="0"/>
                                  </a:rPr>
                                  <m:t>𝐺</m:t>
                                </m:r>
                                <m:d>
                                  <m:dPr>
                                    <m:ctrlPr>
                                      <a:rPr lang="nb-NO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nb-NO" b="0" i="1" smtClean="0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</m:d>
                              </m:e>
                            </m:d>
                          </m:e>
                        </m:d>
                      </m:e>
                    </m:func>
                  </m:oMath>
                </a14:m>
                <a:endParaRPr lang="en-US" dirty="0"/>
              </a:p>
              <a:p>
                <a:r>
                  <a:rPr lang="en-US" dirty="0"/>
                  <a:t>Models adapt while working against each other</a:t>
                </a:r>
              </a:p>
              <a:p>
                <a:r>
                  <a:rPr lang="en-US" dirty="0"/>
                  <a:t>Finally, we use the generator to make images close to the dataset given to the discriminator</a:t>
                </a:r>
              </a:p>
            </p:txBody>
          </p:sp>
        </mc:Choice>
        <mc:Fallback xmlns="">
          <p:sp>
            <p:nvSpPr>
              <p:cNvPr id="8" name="Content Placeholder 7">
                <a:extLst>
                  <a:ext uri="{FF2B5EF4-FFF2-40B4-BE49-F238E27FC236}">
                    <a16:creationId xmlns:a16="http://schemas.microsoft.com/office/drawing/2014/main" id="{47A07CDC-0995-8EF4-237A-9BEEFEBCF3C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xfrm>
                <a:off x="287337" y="1275169"/>
                <a:ext cx="4206540" cy="3499482"/>
              </a:xfrm>
              <a:blipFill>
                <a:blip r:embed="rId2"/>
                <a:stretch>
                  <a:fillRect l="-2319" t="-52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CD97139-9C71-BBCC-A3E6-E446C1E153DB}"/>
                  </a:ext>
                </a:extLst>
              </p:cNvPr>
              <p:cNvSpPr txBox="1"/>
              <p:nvPr/>
            </p:nvSpPr>
            <p:spPr>
              <a:xfrm>
                <a:off x="4400614" y="4261468"/>
                <a:ext cx="4614701" cy="3456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nb-NO" sz="1100" b="0" i="1" smtClean="0">
                          <a:latin typeface="Cambria Math" panose="02040503050406030204" pitchFamily="18" charset="0"/>
                        </a:rPr>
                        <m:t>𝑚𝑖𝑛𝑚𝑎𝑥𝑉</m:t>
                      </m:r>
                      <m:d>
                        <m:dPr>
                          <m:ctrlPr>
                            <a:rPr lang="nb-NO" sz="11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nb-NO" sz="11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nb-NO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nb-NO" sz="11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unc>
                            <m:funcPr>
                              <m:ctrlPr>
                                <a:rPr lang="nb-NO" sz="1100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nb-NO" sz="110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nb-NO" sz="11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b-NO" sz="11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d>
                                    <m:dPr>
                                      <m:ctrlPr>
                                        <a:rPr lang="nb-NO" sz="11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nb-NO" sz="1100" i="1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</m:d>
                                </m:e>
                              </m:d>
                            </m:e>
                          </m:func>
                        </m:e>
                      </m:d>
                      <m:r>
                        <a:rPr lang="nb-NO" sz="11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nb-NO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nb-NO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nb-NO" sz="11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unc>
                            <m:funcPr>
                              <m:ctrlPr>
                                <a:rPr lang="nb-NO" sz="1100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nb-NO" sz="110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nb-NO" sz="11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b-NO" sz="1100" i="1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r>
                                    <a:rPr lang="nb-NO" sz="11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d>
                                    <m:dPr>
                                      <m:ctrlPr>
                                        <a:rPr lang="nb-NO" sz="11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nb-NO" sz="1100" i="1">
                                          <a:latin typeface="Cambria Math" panose="02040503050406030204" pitchFamily="18" charset="0"/>
                                        </a:rPr>
                                        <m:t>𝐺</m:t>
                                      </m:r>
                                      <m:d>
                                        <m:dPr>
                                          <m:ctrlPr>
                                            <a:rPr lang="nb-NO" sz="11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nb-NO" sz="1100" i="1">
                                              <a:latin typeface="Cambria Math" panose="02040503050406030204" pitchFamily="18" charset="0"/>
                                            </a:rPr>
                                            <m:t>𝑧</m:t>
                                          </m:r>
                                        </m:e>
                                      </m:d>
                                    </m:e>
                                  </m:d>
                                </m:e>
                              </m:d>
                            </m:e>
                          </m:func>
                        </m:e>
                      </m:d>
                    </m:oMath>
                  </m:oMathPara>
                </a14:m>
                <a:endParaRPr lang="nb-NO" sz="11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CD97139-9C71-BBCC-A3E6-E446C1E153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00614" y="4261468"/>
                <a:ext cx="4614701" cy="34567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oup 4">
            <a:extLst>
              <a:ext uri="{FF2B5EF4-FFF2-40B4-BE49-F238E27FC236}">
                <a16:creationId xmlns:a16="http://schemas.microsoft.com/office/drawing/2014/main" id="{5FA55669-61AE-7D41-7D85-E7B3BED21D75}"/>
              </a:ext>
            </a:extLst>
          </p:cNvPr>
          <p:cNvGrpSpPr/>
          <p:nvPr/>
        </p:nvGrpSpPr>
        <p:grpSpPr>
          <a:xfrm>
            <a:off x="4466620" y="1226390"/>
            <a:ext cx="4548695" cy="2829302"/>
            <a:chOff x="2392998" y="1294642"/>
            <a:chExt cx="4958778" cy="33322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9F1BF64-6D9E-A94B-2F8D-E3AC79069DD5}"/>
                </a:ext>
              </a:extLst>
            </p:cNvPr>
            <p:cNvSpPr/>
            <p:nvPr/>
          </p:nvSpPr>
          <p:spPr>
            <a:xfrm>
              <a:off x="2392998" y="1815393"/>
              <a:ext cx="823331" cy="70381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ndom </a:t>
              </a:r>
              <a:r>
                <a:rPr lang="de-DE" sz="11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ise</a:t>
              </a:r>
              <a:endPara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9EC48507-2BAA-B437-7E68-5F34AE2DC868}"/>
                </a:ext>
              </a:extLst>
            </p:cNvPr>
            <p:cNvSpPr/>
            <p:nvPr/>
          </p:nvSpPr>
          <p:spPr>
            <a:xfrm>
              <a:off x="3296196" y="2088773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ight Arrow 8">
              <a:extLst>
                <a:ext uri="{FF2B5EF4-FFF2-40B4-BE49-F238E27FC236}">
                  <a16:creationId xmlns:a16="http://schemas.microsoft.com/office/drawing/2014/main" id="{F751EEEF-A5DD-5C3D-8B47-D82592459A5D}"/>
                </a:ext>
              </a:extLst>
            </p:cNvPr>
            <p:cNvSpPr/>
            <p:nvPr/>
          </p:nvSpPr>
          <p:spPr>
            <a:xfrm>
              <a:off x="3954184" y="2082147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7036B5E-B2EE-FF7A-53F5-5274B3E29749}"/>
                </a:ext>
              </a:extLst>
            </p:cNvPr>
            <p:cNvGrpSpPr/>
            <p:nvPr/>
          </p:nvGrpSpPr>
          <p:grpSpPr>
            <a:xfrm>
              <a:off x="5411772" y="3180381"/>
              <a:ext cx="336438" cy="954334"/>
              <a:chOff x="1335024" y="1657350"/>
              <a:chExt cx="560832" cy="91440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12DCE035-363C-20CF-235D-8C6500256CA3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CF45121-92B0-E071-9CB3-EAFEC7586A56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CF5E2CA-E4BB-7134-10F9-A59D7F1DA0DE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2" name="Right Arrow 11">
              <a:extLst>
                <a:ext uri="{FF2B5EF4-FFF2-40B4-BE49-F238E27FC236}">
                  <a16:creationId xmlns:a16="http://schemas.microsoft.com/office/drawing/2014/main" id="{3CEE1B01-2EFF-C727-A131-6C9DA2DCD9EC}"/>
                </a:ext>
              </a:extLst>
            </p:cNvPr>
            <p:cNvSpPr/>
            <p:nvPr/>
          </p:nvSpPr>
          <p:spPr>
            <a:xfrm>
              <a:off x="5965348" y="3583788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3" name="Right Arrow 12">
              <a:extLst>
                <a:ext uri="{FF2B5EF4-FFF2-40B4-BE49-F238E27FC236}">
                  <a16:creationId xmlns:a16="http://schemas.microsoft.com/office/drawing/2014/main" id="{2EB9B0D0-6FE0-6473-BE58-3C751C40832D}"/>
                </a:ext>
              </a:extLst>
            </p:cNvPr>
            <p:cNvSpPr/>
            <p:nvPr/>
          </p:nvSpPr>
          <p:spPr>
            <a:xfrm rot="3456229">
              <a:off x="4542761" y="3053493"/>
              <a:ext cx="844779" cy="13457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Right Arrow 13">
              <a:extLst>
                <a:ext uri="{FF2B5EF4-FFF2-40B4-BE49-F238E27FC236}">
                  <a16:creationId xmlns:a16="http://schemas.microsoft.com/office/drawing/2014/main" id="{F018C993-18FB-15AC-ABC3-A42BE17E7A75}"/>
                </a:ext>
              </a:extLst>
            </p:cNvPr>
            <p:cNvSpPr/>
            <p:nvPr/>
          </p:nvSpPr>
          <p:spPr>
            <a:xfrm rot="20303528">
              <a:off x="4662147" y="3885665"/>
              <a:ext cx="523348" cy="149042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A353F85-6197-2587-2350-0CFFED1897FB}"/>
                </a:ext>
              </a:extLst>
            </p:cNvPr>
            <p:cNvSpPr txBox="1"/>
            <p:nvPr/>
          </p:nvSpPr>
          <p:spPr>
            <a:xfrm>
              <a:off x="3266812" y="1294642"/>
              <a:ext cx="1152233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erator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2343C70-CDC9-3B5B-F547-733248A0662D}"/>
                </a:ext>
              </a:extLst>
            </p:cNvPr>
            <p:cNvSpPr txBox="1"/>
            <p:nvPr/>
          </p:nvSpPr>
          <p:spPr>
            <a:xfrm>
              <a:off x="6207279" y="3282986"/>
              <a:ext cx="1144497" cy="822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ke/Real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et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mag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5C99EAB-5F7B-673E-DB9A-190B2146222F}"/>
                </a:ext>
              </a:extLst>
            </p:cNvPr>
            <p:cNvSpPr txBox="1"/>
            <p:nvPr/>
          </p:nvSpPr>
          <p:spPr>
            <a:xfrm>
              <a:off x="5060629" y="2790728"/>
              <a:ext cx="1304922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criminator</a:t>
              </a: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8" name="Picture 17" descr="A painting of a landscape with trees&#10;&#10;Description automatically generated">
              <a:extLst>
                <a:ext uri="{FF2B5EF4-FFF2-40B4-BE49-F238E27FC236}">
                  <a16:creationId xmlns:a16="http://schemas.microsoft.com/office/drawing/2014/main" id="{0E38DC74-1886-C656-B230-AFAE5044471F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4568" y="3633248"/>
              <a:ext cx="951900" cy="993616"/>
            </a:xfrm>
            <a:prstGeom prst="rect">
              <a:avLst/>
            </a:prstGeom>
          </p:spPr>
        </p:pic>
        <p:pic>
          <p:nvPicPr>
            <p:cNvPr id="19" name="Picture 18" descr="A close-up of a flower field&#10;&#10;Description automatically generated">
              <a:extLst>
                <a:ext uri="{FF2B5EF4-FFF2-40B4-BE49-F238E27FC236}">
                  <a16:creationId xmlns:a16="http://schemas.microsoft.com/office/drawing/2014/main" id="{6A93F8F8-DD6F-C47F-C4FA-469B5CB2314A}"/>
                </a:ext>
              </a:extLst>
            </p:cNvPr>
            <p:cNvPicPr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7861" y="1656047"/>
              <a:ext cx="951900" cy="993616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25B5B89-DE2A-B403-DAEC-4D01AB02A255}"/>
                </a:ext>
              </a:extLst>
            </p:cNvPr>
            <p:cNvGrpSpPr/>
            <p:nvPr/>
          </p:nvGrpSpPr>
          <p:grpSpPr>
            <a:xfrm rot="10800000">
              <a:off x="3551949" y="1695329"/>
              <a:ext cx="336438" cy="954334"/>
              <a:chOff x="1335024" y="1657350"/>
              <a:chExt cx="560832" cy="9144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A2DB947-8607-B8DF-65F9-A77B61F408CC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B8FE814-8055-54F0-CF27-E6DFC850B352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E03F85CD-72DF-D5B9-1EBF-1C67EDC85CF1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22251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3000">
        <p159:morph option="byObject"/>
      </p:transition>
    </mc:Choice>
    <mc:Fallback xmlns="">
      <p:transition spd="slow" advClick="0" advTm="3000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2441D6-C99E-4ABF-8968-C171E3E2C8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Rectangle 14"/>
          <p:cNvSpPr/>
          <p:nvPr/>
        </p:nvSpPr>
        <p:spPr>
          <a:xfrm>
            <a:off x="0" y="1204913"/>
            <a:ext cx="4572000" cy="2733675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594362" y="1974291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03253" y="3107793"/>
            <a:ext cx="333698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bg1"/>
                </a:solidFill>
              </a:rPr>
              <a:t>Sed </a:t>
            </a:r>
            <a:r>
              <a:rPr lang="en-US" sz="1000" err="1">
                <a:solidFill>
                  <a:schemeClr val="bg1"/>
                </a:solidFill>
              </a:rPr>
              <a:t>ut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perspiciatis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unde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omnis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iste</a:t>
            </a:r>
            <a:r>
              <a:rPr lang="en-US" sz="1000">
                <a:solidFill>
                  <a:schemeClr val="bg1"/>
                </a:solidFill>
              </a:rPr>
              <a:t> natus error sit </a:t>
            </a:r>
            <a:r>
              <a:rPr lang="en-US" sz="1000" err="1">
                <a:solidFill>
                  <a:schemeClr val="bg1"/>
                </a:solidFill>
              </a:rPr>
              <a:t>volup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tatem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accus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antium</a:t>
            </a:r>
            <a:r>
              <a:rPr lang="en-US" sz="1000">
                <a:solidFill>
                  <a:schemeClr val="bg1"/>
                </a:solidFill>
              </a:rPr>
              <a:t> dolor </a:t>
            </a:r>
            <a:r>
              <a:rPr lang="en-US" sz="1000" err="1">
                <a:solidFill>
                  <a:schemeClr val="bg1"/>
                </a:solidFill>
              </a:rPr>
              <a:t>emque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lauda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nt</a:t>
            </a:r>
            <a:r>
              <a:rPr lang="en-US" sz="1000">
                <a:solidFill>
                  <a:schemeClr val="bg1"/>
                </a:solidFill>
              </a:rPr>
              <a:t> </a:t>
            </a:r>
            <a:r>
              <a:rPr lang="en-US" sz="1000" err="1">
                <a:solidFill>
                  <a:schemeClr val="bg1"/>
                </a:solidFill>
              </a:rPr>
              <a:t>ium</a:t>
            </a:r>
            <a:r>
              <a:rPr lang="en-US" sz="1000">
                <a:solidFill>
                  <a:schemeClr val="bg1"/>
                </a:solidFill>
              </a:rPr>
              <a:t>, </a:t>
            </a:r>
            <a:r>
              <a:rPr lang="en-US" sz="1000" err="1">
                <a:solidFill>
                  <a:schemeClr val="bg1"/>
                </a:solidFill>
              </a:rPr>
              <a:t>totam</a:t>
            </a:r>
            <a:r>
              <a:rPr lang="en-US" sz="1000">
                <a:solidFill>
                  <a:schemeClr val="bg1"/>
                </a:solidFill>
              </a:rPr>
              <a:t> rem </a:t>
            </a:r>
            <a:r>
              <a:rPr lang="en-US" sz="1000" err="1">
                <a:solidFill>
                  <a:schemeClr val="bg1"/>
                </a:solidFill>
              </a:rPr>
              <a:t>aperiam</a:t>
            </a:r>
            <a:r>
              <a:rPr lang="en-US" sz="10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362" y="2079377"/>
            <a:ext cx="334587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accent1"/>
                </a:solidFill>
              </a:rPr>
              <a:t>who</a:t>
            </a:r>
          </a:p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bg1"/>
                </a:solidFill>
              </a:rPr>
              <a:t>We are</a:t>
            </a:r>
          </a:p>
        </p:txBody>
      </p:sp>
      <p:sp>
        <p:nvSpPr>
          <p:cNvPr id="10" name="Freeform 173">
            <a:extLst>
              <a:ext uri="{FF2B5EF4-FFF2-40B4-BE49-F238E27FC236}">
                <a16:creationId xmlns:a16="http://schemas.microsoft.com/office/drawing/2014/main" id="{BC28D09F-037C-474B-8B1F-0DF4603FAAA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4362" y="1541332"/>
            <a:ext cx="304255" cy="284140"/>
          </a:xfrm>
          <a:custGeom>
            <a:avLst/>
            <a:gdLst>
              <a:gd name="T0" fmla="*/ 31 w 182"/>
              <a:gd name="T1" fmla="*/ 97 h 170"/>
              <a:gd name="T2" fmla="*/ 5 w 182"/>
              <a:gd name="T3" fmla="*/ 93 h 170"/>
              <a:gd name="T4" fmla="*/ 12 w 182"/>
              <a:gd name="T5" fmla="*/ 49 h 170"/>
              <a:gd name="T6" fmla="*/ 25 w 182"/>
              <a:gd name="T7" fmla="*/ 55 h 170"/>
              <a:gd name="T8" fmla="*/ 49 w 182"/>
              <a:gd name="T9" fmla="*/ 54 h 170"/>
              <a:gd name="T10" fmla="*/ 56 w 182"/>
              <a:gd name="T11" fmla="*/ 85 h 170"/>
              <a:gd name="T12" fmla="*/ 61 w 182"/>
              <a:gd name="T13" fmla="*/ 24 h 170"/>
              <a:gd name="T14" fmla="*/ 36 w 182"/>
              <a:gd name="T15" fmla="*/ 49 h 170"/>
              <a:gd name="T16" fmla="*/ 12 w 182"/>
              <a:gd name="T17" fmla="*/ 24 h 170"/>
              <a:gd name="T18" fmla="*/ 36 w 182"/>
              <a:gd name="T19" fmla="*/ 0 h 170"/>
              <a:gd name="T20" fmla="*/ 157 w 182"/>
              <a:gd name="T21" fmla="*/ 145 h 170"/>
              <a:gd name="T22" fmla="*/ 132 w 182"/>
              <a:gd name="T23" fmla="*/ 170 h 170"/>
              <a:gd name="T24" fmla="*/ 31 w 182"/>
              <a:gd name="T25" fmla="*/ 163 h 170"/>
              <a:gd name="T26" fmla="*/ 25 w 182"/>
              <a:gd name="T27" fmla="*/ 135 h 170"/>
              <a:gd name="T28" fmla="*/ 28 w 182"/>
              <a:gd name="T29" fmla="*/ 115 h 170"/>
              <a:gd name="T30" fmla="*/ 38 w 182"/>
              <a:gd name="T31" fmla="*/ 98 h 170"/>
              <a:gd name="T32" fmla="*/ 57 w 182"/>
              <a:gd name="T33" fmla="*/ 91 h 170"/>
              <a:gd name="T34" fmla="*/ 68 w 182"/>
              <a:gd name="T35" fmla="*/ 98 h 170"/>
              <a:gd name="T36" fmla="*/ 91 w 182"/>
              <a:gd name="T37" fmla="*/ 104 h 170"/>
              <a:gd name="T38" fmla="*/ 114 w 182"/>
              <a:gd name="T39" fmla="*/ 98 h 170"/>
              <a:gd name="T40" fmla="*/ 125 w 182"/>
              <a:gd name="T41" fmla="*/ 91 h 170"/>
              <a:gd name="T42" fmla="*/ 143 w 182"/>
              <a:gd name="T43" fmla="*/ 98 h 170"/>
              <a:gd name="T44" fmla="*/ 153 w 182"/>
              <a:gd name="T45" fmla="*/ 115 h 170"/>
              <a:gd name="T46" fmla="*/ 157 w 182"/>
              <a:gd name="T47" fmla="*/ 135 h 170"/>
              <a:gd name="T48" fmla="*/ 116 w 182"/>
              <a:gd name="T49" fmla="*/ 35 h 170"/>
              <a:gd name="T50" fmla="*/ 116 w 182"/>
              <a:gd name="T51" fmla="*/ 86 h 170"/>
              <a:gd name="T52" fmla="*/ 65 w 182"/>
              <a:gd name="T53" fmla="*/ 86 h 170"/>
              <a:gd name="T54" fmla="*/ 65 w 182"/>
              <a:gd name="T55" fmla="*/ 35 h 170"/>
              <a:gd name="T56" fmla="*/ 116 w 182"/>
              <a:gd name="T57" fmla="*/ 35 h 170"/>
              <a:gd name="T58" fmla="*/ 169 w 182"/>
              <a:gd name="T59" fmla="*/ 24 h 170"/>
              <a:gd name="T60" fmla="*/ 145 w 182"/>
              <a:gd name="T61" fmla="*/ 49 h 170"/>
              <a:gd name="T62" fmla="*/ 121 w 182"/>
              <a:gd name="T63" fmla="*/ 24 h 170"/>
              <a:gd name="T64" fmla="*/ 145 w 182"/>
              <a:gd name="T65" fmla="*/ 0 h 170"/>
              <a:gd name="T66" fmla="*/ 182 w 182"/>
              <a:gd name="T67" fmla="*/ 82 h 170"/>
              <a:gd name="T68" fmla="*/ 163 w 182"/>
              <a:gd name="T69" fmla="*/ 97 h 170"/>
              <a:gd name="T70" fmla="*/ 125 w 182"/>
              <a:gd name="T71" fmla="*/ 85 h 170"/>
              <a:gd name="T72" fmla="*/ 133 w 182"/>
              <a:gd name="T73" fmla="*/ 54 h 170"/>
              <a:gd name="T74" fmla="*/ 156 w 182"/>
              <a:gd name="T75" fmla="*/ 55 h 170"/>
              <a:gd name="T76" fmla="*/ 170 w 182"/>
              <a:gd name="T77" fmla="*/ 4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70">
                <a:moveTo>
                  <a:pt x="56" y="85"/>
                </a:moveTo>
                <a:cubicBezTo>
                  <a:pt x="46" y="85"/>
                  <a:pt x="37" y="89"/>
                  <a:pt x="31" y="97"/>
                </a:cubicBezTo>
                <a:cubicBezTo>
                  <a:pt x="18" y="97"/>
                  <a:pt x="18" y="97"/>
                  <a:pt x="18" y="97"/>
                </a:cubicBezTo>
                <a:cubicBezTo>
                  <a:pt x="13" y="97"/>
                  <a:pt x="9" y="96"/>
                  <a:pt x="5" y="93"/>
                </a:cubicBezTo>
                <a:cubicBezTo>
                  <a:pt x="2" y="91"/>
                  <a:pt x="0" y="87"/>
                  <a:pt x="0" y="82"/>
                </a:cubicBezTo>
                <a:cubicBezTo>
                  <a:pt x="0" y="60"/>
                  <a:pt x="4" y="49"/>
                  <a:pt x="12" y="49"/>
                </a:cubicBezTo>
                <a:cubicBezTo>
                  <a:pt x="12" y="49"/>
                  <a:pt x="13" y="49"/>
                  <a:pt x="16" y="51"/>
                </a:cubicBezTo>
                <a:cubicBezTo>
                  <a:pt x="18" y="52"/>
                  <a:pt x="21" y="53"/>
                  <a:pt x="25" y="55"/>
                </a:cubicBezTo>
                <a:cubicBezTo>
                  <a:pt x="29" y="56"/>
                  <a:pt x="33" y="57"/>
                  <a:pt x="36" y="57"/>
                </a:cubicBezTo>
                <a:cubicBezTo>
                  <a:pt x="41" y="57"/>
                  <a:pt x="45" y="56"/>
                  <a:pt x="49" y="54"/>
                </a:cubicBezTo>
                <a:cubicBezTo>
                  <a:pt x="49" y="57"/>
                  <a:pt x="48" y="59"/>
                  <a:pt x="48" y="61"/>
                </a:cubicBezTo>
                <a:cubicBezTo>
                  <a:pt x="48" y="69"/>
                  <a:pt x="51" y="78"/>
                  <a:pt x="56" y="85"/>
                </a:cubicBezTo>
                <a:close/>
                <a:moveTo>
                  <a:pt x="53" y="7"/>
                </a:moveTo>
                <a:cubicBezTo>
                  <a:pt x="58" y="12"/>
                  <a:pt x="61" y="18"/>
                  <a:pt x="61" y="24"/>
                </a:cubicBezTo>
                <a:cubicBezTo>
                  <a:pt x="61" y="31"/>
                  <a:pt x="58" y="37"/>
                  <a:pt x="53" y="42"/>
                </a:cubicBezTo>
                <a:cubicBezTo>
                  <a:pt x="49" y="46"/>
                  <a:pt x="43" y="49"/>
                  <a:pt x="36" y="49"/>
                </a:cubicBezTo>
                <a:cubicBezTo>
                  <a:pt x="30" y="49"/>
                  <a:pt x="24" y="46"/>
                  <a:pt x="19" y="42"/>
                </a:cubicBezTo>
                <a:cubicBezTo>
                  <a:pt x="14" y="37"/>
                  <a:pt x="12" y="31"/>
                  <a:pt x="12" y="24"/>
                </a:cubicBezTo>
                <a:cubicBezTo>
                  <a:pt x="12" y="18"/>
                  <a:pt x="14" y="12"/>
                  <a:pt x="19" y="7"/>
                </a:cubicBezTo>
                <a:cubicBezTo>
                  <a:pt x="24" y="3"/>
                  <a:pt x="30" y="0"/>
                  <a:pt x="36" y="0"/>
                </a:cubicBezTo>
                <a:cubicBezTo>
                  <a:pt x="43" y="0"/>
                  <a:pt x="49" y="3"/>
                  <a:pt x="53" y="7"/>
                </a:cubicBezTo>
                <a:close/>
                <a:moveTo>
                  <a:pt x="157" y="145"/>
                </a:moveTo>
                <a:cubicBezTo>
                  <a:pt x="157" y="153"/>
                  <a:pt x="155" y="159"/>
                  <a:pt x="150" y="163"/>
                </a:cubicBezTo>
                <a:cubicBezTo>
                  <a:pt x="146" y="167"/>
                  <a:pt x="140" y="170"/>
                  <a:pt x="132" y="170"/>
                </a:cubicBezTo>
                <a:cubicBezTo>
                  <a:pt x="49" y="170"/>
                  <a:pt x="49" y="170"/>
                  <a:pt x="49" y="170"/>
                </a:cubicBezTo>
                <a:cubicBezTo>
                  <a:pt x="42" y="170"/>
                  <a:pt x="36" y="167"/>
                  <a:pt x="31" y="163"/>
                </a:cubicBezTo>
                <a:cubicBezTo>
                  <a:pt x="26" y="159"/>
                  <a:pt x="24" y="153"/>
                  <a:pt x="24" y="145"/>
                </a:cubicBezTo>
                <a:cubicBezTo>
                  <a:pt x="24" y="142"/>
                  <a:pt x="24" y="139"/>
                  <a:pt x="25" y="135"/>
                </a:cubicBezTo>
                <a:cubicBezTo>
                  <a:pt x="25" y="132"/>
                  <a:pt x="25" y="129"/>
                  <a:pt x="26" y="125"/>
                </a:cubicBezTo>
                <a:cubicBezTo>
                  <a:pt x="27" y="121"/>
                  <a:pt x="27" y="118"/>
                  <a:pt x="28" y="115"/>
                </a:cubicBezTo>
                <a:cubicBezTo>
                  <a:pt x="29" y="112"/>
                  <a:pt x="31" y="109"/>
                  <a:pt x="32" y="106"/>
                </a:cubicBezTo>
                <a:cubicBezTo>
                  <a:pt x="34" y="103"/>
                  <a:pt x="36" y="100"/>
                  <a:pt x="38" y="98"/>
                </a:cubicBezTo>
                <a:cubicBezTo>
                  <a:pt x="40" y="96"/>
                  <a:pt x="43" y="94"/>
                  <a:pt x="46" y="93"/>
                </a:cubicBezTo>
                <a:cubicBezTo>
                  <a:pt x="50" y="92"/>
                  <a:pt x="53" y="91"/>
                  <a:pt x="57" y="91"/>
                </a:cubicBezTo>
                <a:cubicBezTo>
                  <a:pt x="58" y="91"/>
                  <a:pt x="59" y="92"/>
                  <a:pt x="61" y="93"/>
                </a:cubicBezTo>
                <a:cubicBezTo>
                  <a:pt x="63" y="94"/>
                  <a:pt x="65" y="96"/>
                  <a:pt x="68" y="98"/>
                </a:cubicBezTo>
                <a:cubicBezTo>
                  <a:pt x="70" y="99"/>
                  <a:pt x="74" y="101"/>
                  <a:pt x="78" y="102"/>
                </a:cubicBezTo>
                <a:cubicBezTo>
                  <a:pt x="82" y="103"/>
                  <a:pt x="86" y="104"/>
                  <a:pt x="91" y="104"/>
                </a:cubicBezTo>
                <a:cubicBezTo>
                  <a:pt x="95" y="104"/>
                  <a:pt x="99" y="103"/>
                  <a:pt x="104" y="102"/>
                </a:cubicBezTo>
                <a:cubicBezTo>
                  <a:pt x="108" y="101"/>
                  <a:pt x="111" y="99"/>
                  <a:pt x="114" y="98"/>
                </a:cubicBezTo>
                <a:cubicBezTo>
                  <a:pt x="116" y="96"/>
                  <a:pt x="118" y="94"/>
                  <a:pt x="121" y="93"/>
                </a:cubicBezTo>
                <a:cubicBezTo>
                  <a:pt x="123" y="92"/>
                  <a:pt x="124" y="91"/>
                  <a:pt x="125" y="91"/>
                </a:cubicBezTo>
                <a:cubicBezTo>
                  <a:pt x="128" y="91"/>
                  <a:pt x="132" y="92"/>
                  <a:pt x="135" y="93"/>
                </a:cubicBezTo>
                <a:cubicBezTo>
                  <a:pt x="138" y="94"/>
                  <a:pt x="141" y="96"/>
                  <a:pt x="143" y="98"/>
                </a:cubicBezTo>
                <a:cubicBezTo>
                  <a:pt x="145" y="100"/>
                  <a:pt x="147" y="103"/>
                  <a:pt x="149" y="106"/>
                </a:cubicBezTo>
                <a:cubicBezTo>
                  <a:pt x="151" y="109"/>
                  <a:pt x="152" y="112"/>
                  <a:pt x="153" y="115"/>
                </a:cubicBezTo>
                <a:cubicBezTo>
                  <a:pt x="154" y="118"/>
                  <a:pt x="155" y="121"/>
                  <a:pt x="156" y="125"/>
                </a:cubicBezTo>
                <a:cubicBezTo>
                  <a:pt x="156" y="129"/>
                  <a:pt x="157" y="132"/>
                  <a:pt x="157" y="135"/>
                </a:cubicBezTo>
                <a:cubicBezTo>
                  <a:pt x="157" y="139"/>
                  <a:pt x="157" y="142"/>
                  <a:pt x="157" y="145"/>
                </a:cubicBezTo>
                <a:close/>
                <a:moveTo>
                  <a:pt x="116" y="35"/>
                </a:moveTo>
                <a:cubicBezTo>
                  <a:pt x="124" y="42"/>
                  <a:pt x="127" y="51"/>
                  <a:pt x="127" y="61"/>
                </a:cubicBezTo>
                <a:cubicBezTo>
                  <a:pt x="127" y="71"/>
                  <a:pt x="124" y="79"/>
                  <a:pt x="116" y="86"/>
                </a:cubicBezTo>
                <a:cubicBezTo>
                  <a:pt x="109" y="93"/>
                  <a:pt x="101" y="97"/>
                  <a:pt x="91" y="97"/>
                </a:cubicBezTo>
                <a:cubicBezTo>
                  <a:pt x="81" y="97"/>
                  <a:pt x="72" y="93"/>
                  <a:pt x="65" y="86"/>
                </a:cubicBezTo>
                <a:cubicBezTo>
                  <a:pt x="58" y="79"/>
                  <a:pt x="54" y="71"/>
                  <a:pt x="54" y="61"/>
                </a:cubicBezTo>
                <a:cubicBezTo>
                  <a:pt x="54" y="51"/>
                  <a:pt x="58" y="42"/>
                  <a:pt x="65" y="35"/>
                </a:cubicBezTo>
                <a:cubicBezTo>
                  <a:pt x="72" y="28"/>
                  <a:pt x="81" y="24"/>
                  <a:pt x="91" y="24"/>
                </a:cubicBezTo>
                <a:cubicBezTo>
                  <a:pt x="101" y="24"/>
                  <a:pt x="109" y="28"/>
                  <a:pt x="116" y="35"/>
                </a:cubicBezTo>
                <a:close/>
                <a:moveTo>
                  <a:pt x="162" y="7"/>
                </a:moveTo>
                <a:cubicBezTo>
                  <a:pt x="167" y="12"/>
                  <a:pt x="169" y="18"/>
                  <a:pt x="169" y="24"/>
                </a:cubicBezTo>
                <a:cubicBezTo>
                  <a:pt x="169" y="31"/>
                  <a:pt x="167" y="37"/>
                  <a:pt x="162" y="42"/>
                </a:cubicBezTo>
                <a:cubicBezTo>
                  <a:pt x="158" y="46"/>
                  <a:pt x="152" y="49"/>
                  <a:pt x="145" y="49"/>
                </a:cubicBezTo>
                <a:cubicBezTo>
                  <a:pt x="139" y="49"/>
                  <a:pt x="133" y="46"/>
                  <a:pt x="128" y="42"/>
                </a:cubicBezTo>
                <a:cubicBezTo>
                  <a:pt x="123" y="37"/>
                  <a:pt x="121" y="31"/>
                  <a:pt x="121" y="24"/>
                </a:cubicBezTo>
                <a:cubicBezTo>
                  <a:pt x="121" y="18"/>
                  <a:pt x="123" y="12"/>
                  <a:pt x="128" y="7"/>
                </a:cubicBezTo>
                <a:cubicBezTo>
                  <a:pt x="133" y="3"/>
                  <a:pt x="139" y="0"/>
                  <a:pt x="145" y="0"/>
                </a:cubicBezTo>
                <a:cubicBezTo>
                  <a:pt x="152" y="0"/>
                  <a:pt x="158" y="3"/>
                  <a:pt x="162" y="7"/>
                </a:cubicBezTo>
                <a:close/>
                <a:moveTo>
                  <a:pt x="182" y="82"/>
                </a:moveTo>
                <a:cubicBezTo>
                  <a:pt x="182" y="87"/>
                  <a:pt x="180" y="91"/>
                  <a:pt x="176" y="93"/>
                </a:cubicBezTo>
                <a:cubicBezTo>
                  <a:pt x="173" y="96"/>
                  <a:pt x="168" y="97"/>
                  <a:pt x="163" y="97"/>
                </a:cubicBezTo>
                <a:cubicBezTo>
                  <a:pt x="151" y="97"/>
                  <a:pt x="151" y="97"/>
                  <a:pt x="151" y="97"/>
                </a:cubicBezTo>
                <a:cubicBezTo>
                  <a:pt x="144" y="89"/>
                  <a:pt x="136" y="85"/>
                  <a:pt x="125" y="85"/>
                </a:cubicBezTo>
                <a:cubicBezTo>
                  <a:pt x="131" y="78"/>
                  <a:pt x="133" y="69"/>
                  <a:pt x="133" y="61"/>
                </a:cubicBezTo>
                <a:cubicBezTo>
                  <a:pt x="133" y="59"/>
                  <a:pt x="133" y="57"/>
                  <a:pt x="133" y="54"/>
                </a:cubicBezTo>
                <a:cubicBezTo>
                  <a:pt x="137" y="56"/>
                  <a:pt x="141" y="57"/>
                  <a:pt x="145" y="57"/>
                </a:cubicBezTo>
                <a:cubicBezTo>
                  <a:pt x="149" y="57"/>
                  <a:pt x="153" y="56"/>
                  <a:pt x="156" y="55"/>
                </a:cubicBezTo>
                <a:cubicBezTo>
                  <a:pt x="160" y="53"/>
                  <a:pt x="163" y="52"/>
                  <a:pt x="166" y="51"/>
                </a:cubicBezTo>
                <a:cubicBezTo>
                  <a:pt x="168" y="49"/>
                  <a:pt x="169" y="49"/>
                  <a:pt x="170" y="49"/>
                </a:cubicBezTo>
                <a:cubicBezTo>
                  <a:pt x="178" y="49"/>
                  <a:pt x="182" y="60"/>
                  <a:pt x="182" y="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8672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E8CA9-3657-418F-A409-10765CC57B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796B9D-38ED-4B44-BB28-AEF404B8EDF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" name="Group 2"/>
          <p:cNvGrpSpPr/>
          <p:nvPr/>
        </p:nvGrpSpPr>
        <p:grpSpPr>
          <a:xfrm>
            <a:off x="294024" y="2308285"/>
            <a:ext cx="4209792" cy="831204"/>
            <a:chOff x="594361" y="2308285"/>
            <a:chExt cx="3330457" cy="831204"/>
          </a:xfrm>
        </p:grpSpPr>
        <p:sp>
          <p:nvSpPr>
            <p:cNvPr id="15" name="Rectangle 14"/>
            <p:cNvSpPr/>
            <p:nvPr/>
          </p:nvSpPr>
          <p:spPr>
            <a:xfrm>
              <a:off x="594361" y="2308285"/>
              <a:ext cx="3330457" cy="8312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79839" y="2427673"/>
              <a:ext cx="3010765" cy="5770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  <a:spcAft>
                  <a:spcPts val="600"/>
                </a:spcAft>
              </a:pPr>
              <a:r>
                <a:rPr lang="en-US" sz="1000" b="1" spc="20">
                  <a:solidFill>
                    <a:schemeClr val="bg1"/>
                  </a:solidFill>
                  <a:latin typeface="+mj-lt"/>
                </a:rPr>
                <a:t>We are a famous </a:t>
              </a:r>
              <a:r>
                <a:rPr lang="en-US" sz="1000" spc="20">
                  <a:solidFill>
                    <a:schemeClr val="accent1"/>
                  </a:solidFill>
                  <a:latin typeface="+mj-lt"/>
                </a:rPr>
                <a:t>DIGITAL COMPANY </a:t>
              </a:r>
              <a:r>
                <a:rPr lang="en-US" sz="1000" b="1" spc="20">
                  <a:solidFill>
                    <a:schemeClr val="bg1"/>
                  </a:solidFill>
                  <a:latin typeface="+mj-lt"/>
                </a:rPr>
                <a:t>in United States specialized in Web, Mobile Design/ Development, Mobile Apps and Social Media Marketing .</a:t>
              </a: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306343" y="1543050"/>
            <a:ext cx="4194220" cy="702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6343" y="3345112"/>
            <a:ext cx="4194220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413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ome points for a </a:t>
            </a:r>
            <a:r>
              <a:rPr lang="en-US">
                <a:solidFill>
                  <a:schemeClr val="accent2"/>
                </a:solidFill>
              </a:rPr>
              <a:t>good mee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>
              <a:solidFill>
                <a:schemeClr val="accent1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4572000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5692500" y="1485443"/>
            <a:ext cx="2847742" cy="532143"/>
            <a:chOff x="5692500" y="1485443"/>
            <a:chExt cx="2847742" cy="532143"/>
          </a:xfrm>
        </p:grpSpPr>
        <p:sp>
          <p:nvSpPr>
            <p:cNvPr id="29" name="TextBox 28"/>
            <p:cNvSpPr txBox="1"/>
            <p:nvPr/>
          </p:nvSpPr>
          <p:spPr>
            <a:xfrm>
              <a:off x="5695950" y="1696664"/>
              <a:ext cx="284162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692500" y="1485443"/>
              <a:ext cx="2847742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Be well rested before meeting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061629" y="1546310"/>
            <a:ext cx="357790" cy="357790"/>
            <a:chOff x="5061629" y="1546310"/>
            <a:chExt cx="357790" cy="357790"/>
          </a:xfrm>
        </p:grpSpPr>
        <p:sp>
          <p:nvSpPr>
            <p:cNvPr id="28" name="Oval 27"/>
            <p:cNvSpPr/>
            <p:nvPr/>
          </p:nvSpPr>
          <p:spPr>
            <a:xfrm>
              <a:off x="5061629" y="1546310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096929" y="1627065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692500" y="2249160"/>
            <a:ext cx="2847742" cy="532143"/>
            <a:chOff x="5692500" y="2249160"/>
            <a:chExt cx="2847742" cy="532143"/>
          </a:xfrm>
        </p:grpSpPr>
        <p:sp>
          <p:nvSpPr>
            <p:cNvPr id="65" name="TextBox 64"/>
            <p:cNvSpPr txBox="1"/>
            <p:nvPr/>
          </p:nvSpPr>
          <p:spPr>
            <a:xfrm>
              <a:off x="5695950" y="2460381"/>
              <a:ext cx="284162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692500" y="2249160"/>
              <a:ext cx="2847742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Turn off the phone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061629" y="2310027"/>
            <a:ext cx="357790" cy="357790"/>
            <a:chOff x="5061629" y="2310027"/>
            <a:chExt cx="357790" cy="357790"/>
          </a:xfrm>
        </p:grpSpPr>
        <p:sp>
          <p:nvSpPr>
            <p:cNvPr id="67" name="Oval 66"/>
            <p:cNvSpPr/>
            <p:nvPr/>
          </p:nvSpPr>
          <p:spPr>
            <a:xfrm>
              <a:off x="5061629" y="2310027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096929" y="2390782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5692500" y="3776593"/>
            <a:ext cx="2847742" cy="532143"/>
            <a:chOff x="5692500" y="3776593"/>
            <a:chExt cx="2847742" cy="532143"/>
          </a:xfrm>
        </p:grpSpPr>
        <p:sp>
          <p:nvSpPr>
            <p:cNvPr id="70" name="TextBox 69"/>
            <p:cNvSpPr txBox="1"/>
            <p:nvPr/>
          </p:nvSpPr>
          <p:spPr>
            <a:xfrm>
              <a:off x="5695950" y="3987814"/>
              <a:ext cx="284162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692500" y="3776593"/>
              <a:ext cx="2847742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Dress professionally 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061629" y="3837460"/>
            <a:ext cx="357790" cy="357790"/>
            <a:chOff x="5061629" y="3837460"/>
            <a:chExt cx="357790" cy="357790"/>
          </a:xfrm>
        </p:grpSpPr>
        <p:sp>
          <p:nvSpPr>
            <p:cNvPr id="72" name="Oval 71"/>
            <p:cNvSpPr/>
            <p:nvPr/>
          </p:nvSpPr>
          <p:spPr>
            <a:xfrm>
              <a:off x="5061629" y="3837460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096929" y="3918215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692500" y="3012877"/>
            <a:ext cx="2847742" cy="532143"/>
            <a:chOff x="5692500" y="3012877"/>
            <a:chExt cx="2847742" cy="532143"/>
          </a:xfrm>
        </p:grpSpPr>
        <p:sp>
          <p:nvSpPr>
            <p:cNvPr id="75" name="TextBox 74"/>
            <p:cNvSpPr txBox="1"/>
            <p:nvPr/>
          </p:nvSpPr>
          <p:spPr>
            <a:xfrm>
              <a:off x="5695950" y="3224098"/>
              <a:ext cx="2841626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5692500" y="3012877"/>
              <a:ext cx="2847742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Have paper and pen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061629" y="3073744"/>
            <a:ext cx="357790" cy="357790"/>
            <a:chOff x="5061629" y="3073744"/>
            <a:chExt cx="357790" cy="357790"/>
          </a:xfrm>
        </p:grpSpPr>
        <p:sp>
          <p:nvSpPr>
            <p:cNvPr id="77" name="Oval 76"/>
            <p:cNvSpPr/>
            <p:nvPr/>
          </p:nvSpPr>
          <p:spPr>
            <a:xfrm>
              <a:off x="5061629" y="3073744"/>
              <a:ext cx="357790" cy="35779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5096929" y="3154499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065636" y="2428267"/>
            <a:ext cx="544825" cy="1384300"/>
            <a:chOff x="2209800" y="2146300"/>
            <a:chExt cx="622300" cy="1581150"/>
          </a:xfrm>
          <a:solidFill>
            <a:schemeClr val="accent2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2398713" y="2146300"/>
              <a:ext cx="242888" cy="2460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2209800" y="2416175"/>
              <a:ext cx="622300" cy="1311275"/>
            </a:xfrm>
            <a:custGeom>
              <a:avLst/>
              <a:gdLst>
                <a:gd name="T0" fmla="*/ 728 w 916"/>
                <a:gd name="T1" fmla="*/ 0 h 1939"/>
                <a:gd name="T2" fmla="*/ 589 w 916"/>
                <a:gd name="T3" fmla="*/ 0 h 1939"/>
                <a:gd name="T4" fmla="*/ 569 w 916"/>
                <a:gd name="T5" fmla="*/ 148 h 1939"/>
                <a:gd name="T6" fmla="*/ 525 w 916"/>
                <a:gd name="T7" fmla="*/ 294 h 1939"/>
                <a:gd name="T8" fmla="*/ 498 w 916"/>
                <a:gd name="T9" fmla="*/ 186 h 1939"/>
                <a:gd name="T10" fmla="*/ 476 w 916"/>
                <a:gd name="T11" fmla="*/ 127 h 1939"/>
                <a:gd name="T12" fmla="*/ 504 w 916"/>
                <a:gd name="T13" fmla="*/ 90 h 1939"/>
                <a:gd name="T14" fmla="*/ 458 w 916"/>
                <a:gd name="T15" fmla="*/ 46 h 1939"/>
                <a:gd name="T16" fmla="*/ 412 w 916"/>
                <a:gd name="T17" fmla="*/ 90 h 1939"/>
                <a:gd name="T18" fmla="*/ 440 w 916"/>
                <a:gd name="T19" fmla="*/ 127 h 1939"/>
                <a:gd name="T20" fmla="*/ 417 w 916"/>
                <a:gd name="T21" fmla="*/ 186 h 1939"/>
                <a:gd name="T22" fmla="*/ 391 w 916"/>
                <a:gd name="T23" fmla="*/ 294 h 1939"/>
                <a:gd name="T24" fmla="*/ 347 w 916"/>
                <a:gd name="T25" fmla="*/ 148 h 1939"/>
                <a:gd name="T26" fmla="*/ 327 w 916"/>
                <a:gd name="T27" fmla="*/ 0 h 1939"/>
                <a:gd name="T28" fmla="*/ 187 w 916"/>
                <a:gd name="T29" fmla="*/ 0 h 1939"/>
                <a:gd name="T30" fmla="*/ 0 w 916"/>
                <a:gd name="T31" fmla="*/ 189 h 1939"/>
                <a:gd name="T32" fmla="*/ 0 w 916"/>
                <a:gd name="T33" fmla="*/ 869 h 1939"/>
                <a:gd name="T34" fmla="*/ 76 w 916"/>
                <a:gd name="T35" fmla="*/ 945 h 1939"/>
                <a:gd name="T36" fmla="*/ 149 w 916"/>
                <a:gd name="T37" fmla="*/ 869 h 1939"/>
                <a:gd name="T38" fmla="*/ 149 w 916"/>
                <a:gd name="T39" fmla="*/ 302 h 1939"/>
                <a:gd name="T40" fmla="*/ 223 w 916"/>
                <a:gd name="T41" fmla="*/ 302 h 1939"/>
                <a:gd name="T42" fmla="*/ 223 w 916"/>
                <a:gd name="T43" fmla="*/ 1837 h 1939"/>
                <a:gd name="T44" fmla="*/ 326 w 916"/>
                <a:gd name="T45" fmla="*/ 1939 h 1939"/>
                <a:gd name="T46" fmla="*/ 427 w 916"/>
                <a:gd name="T47" fmla="*/ 1837 h 1939"/>
                <a:gd name="T48" fmla="*/ 427 w 916"/>
                <a:gd name="T49" fmla="*/ 932 h 1939"/>
                <a:gd name="T50" fmla="*/ 490 w 916"/>
                <a:gd name="T51" fmla="*/ 932 h 1939"/>
                <a:gd name="T52" fmla="*/ 490 w 916"/>
                <a:gd name="T53" fmla="*/ 1837 h 1939"/>
                <a:gd name="T54" fmla="*/ 591 w 916"/>
                <a:gd name="T55" fmla="*/ 1939 h 1939"/>
                <a:gd name="T56" fmla="*/ 693 w 916"/>
                <a:gd name="T57" fmla="*/ 1837 h 1939"/>
                <a:gd name="T58" fmla="*/ 693 w 916"/>
                <a:gd name="T59" fmla="*/ 302 h 1939"/>
                <a:gd name="T60" fmla="*/ 766 w 916"/>
                <a:gd name="T61" fmla="*/ 302 h 1939"/>
                <a:gd name="T62" fmla="*/ 766 w 916"/>
                <a:gd name="T63" fmla="*/ 869 h 1939"/>
                <a:gd name="T64" fmla="*/ 840 w 916"/>
                <a:gd name="T65" fmla="*/ 945 h 1939"/>
                <a:gd name="T66" fmla="*/ 916 w 916"/>
                <a:gd name="T67" fmla="*/ 869 h 1939"/>
                <a:gd name="T68" fmla="*/ 916 w 916"/>
                <a:gd name="T69" fmla="*/ 189 h 1939"/>
                <a:gd name="T70" fmla="*/ 728 w 916"/>
                <a:gd name="T71" fmla="*/ 0 h 1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6" h="1939">
                  <a:moveTo>
                    <a:pt x="728" y="0"/>
                  </a:moveTo>
                  <a:cubicBezTo>
                    <a:pt x="677" y="0"/>
                    <a:pt x="631" y="0"/>
                    <a:pt x="589" y="0"/>
                  </a:cubicBezTo>
                  <a:cubicBezTo>
                    <a:pt x="587" y="18"/>
                    <a:pt x="582" y="81"/>
                    <a:pt x="569" y="148"/>
                  </a:cubicBezTo>
                  <a:cubicBezTo>
                    <a:pt x="561" y="186"/>
                    <a:pt x="525" y="294"/>
                    <a:pt x="525" y="294"/>
                  </a:cubicBezTo>
                  <a:cubicBezTo>
                    <a:pt x="525" y="294"/>
                    <a:pt x="505" y="211"/>
                    <a:pt x="498" y="186"/>
                  </a:cubicBezTo>
                  <a:cubicBezTo>
                    <a:pt x="494" y="167"/>
                    <a:pt x="476" y="127"/>
                    <a:pt x="476" y="127"/>
                  </a:cubicBezTo>
                  <a:cubicBezTo>
                    <a:pt x="504" y="90"/>
                    <a:pt x="504" y="90"/>
                    <a:pt x="504" y="90"/>
                  </a:cubicBezTo>
                  <a:cubicBezTo>
                    <a:pt x="458" y="46"/>
                    <a:pt x="458" y="46"/>
                    <a:pt x="458" y="46"/>
                  </a:cubicBezTo>
                  <a:cubicBezTo>
                    <a:pt x="412" y="90"/>
                    <a:pt x="412" y="90"/>
                    <a:pt x="412" y="90"/>
                  </a:cubicBezTo>
                  <a:cubicBezTo>
                    <a:pt x="440" y="127"/>
                    <a:pt x="440" y="127"/>
                    <a:pt x="440" y="127"/>
                  </a:cubicBezTo>
                  <a:cubicBezTo>
                    <a:pt x="440" y="127"/>
                    <a:pt x="422" y="167"/>
                    <a:pt x="417" y="186"/>
                  </a:cubicBezTo>
                  <a:cubicBezTo>
                    <a:pt x="410" y="211"/>
                    <a:pt x="391" y="294"/>
                    <a:pt x="391" y="294"/>
                  </a:cubicBezTo>
                  <a:cubicBezTo>
                    <a:pt x="391" y="294"/>
                    <a:pt x="355" y="186"/>
                    <a:pt x="347" y="148"/>
                  </a:cubicBezTo>
                  <a:cubicBezTo>
                    <a:pt x="333" y="81"/>
                    <a:pt x="328" y="18"/>
                    <a:pt x="32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0" y="270"/>
                    <a:pt x="0" y="869"/>
                    <a:pt x="0" y="869"/>
                  </a:cubicBezTo>
                  <a:cubicBezTo>
                    <a:pt x="0" y="911"/>
                    <a:pt x="34" y="945"/>
                    <a:pt x="76" y="945"/>
                  </a:cubicBezTo>
                  <a:cubicBezTo>
                    <a:pt x="116" y="945"/>
                    <a:pt x="149" y="911"/>
                    <a:pt x="149" y="869"/>
                  </a:cubicBezTo>
                  <a:cubicBezTo>
                    <a:pt x="149" y="805"/>
                    <a:pt x="149" y="302"/>
                    <a:pt x="149" y="302"/>
                  </a:cubicBezTo>
                  <a:cubicBezTo>
                    <a:pt x="223" y="302"/>
                    <a:pt x="223" y="302"/>
                    <a:pt x="223" y="302"/>
                  </a:cubicBezTo>
                  <a:cubicBezTo>
                    <a:pt x="223" y="782"/>
                    <a:pt x="223" y="1837"/>
                    <a:pt x="223" y="1837"/>
                  </a:cubicBezTo>
                  <a:cubicBezTo>
                    <a:pt x="223" y="1894"/>
                    <a:pt x="269" y="1939"/>
                    <a:pt x="326" y="1939"/>
                  </a:cubicBezTo>
                  <a:cubicBezTo>
                    <a:pt x="381" y="1939"/>
                    <a:pt x="427" y="1894"/>
                    <a:pt x="427" y="1837"/>
                  </a:cubicBezTo>
                  <a:cubicBezTo>
                    <a:pt x="427" y="932"/>
                    <a:pt x="427" y="932"/>
                    <a:pt x="427" y="932"/>
                  </a:cubicBezTo>
                  <a:cubicBezTo>
                    <a:pt x="490" y="932"/>
                    <a:pt x="490" y="932"/>
                    <a:pt x="490" y="932"/>
                  </a:cubicBezTo>
                  <a:cubicBezTo>
                    <a:pt x="490" y="1837"/>
                    <a:pt x="490" y="1837"/>
                    <a:pt x="490" y="1837"/>
                  </a:cubicBezTo>
                  <a:cubicBezTo>
                    <a:pt x="490" y="1894"/>
                    <a:pt x="535" y="1939"/>
                    <a:pt x="591" y="1939"/>
                  </a:cubicBezTo>
                  <a:cubicBezTo>
                    <a:pt x="646" y="1939"/>
                    <a:pt x="693" y="1894"/>
                    <a:pt x="693" y="1837"/>
                  </a:cubicBezTo>
                  <a:cubicBezTo>
                    <a:pt x="693" y="805"/>
                    <a:pt x="693" y="302"/>
                    <a:pt x="693" y="302"/>
                  </a:cubicBezTo>
                  <a:cubicBezTo>
                    <a:pt x="766" y="302"/>
                    <a:pt x="766" y="302"/>
                    <a:pt x="766" y="302"/>
                  </a:cubicBezTo>
                  <a:cubicBezTo>
                    <a:pt x="766" y="777"/>
                    <a:pt x="766" y="869"/>
                    <a:pt x="766" y="869"/>
                  </a:cubicBezTo>
                  <a:cubicBezTo>
                    <a:pt x="766" y="911"/>
                    <a:pt x="800" y="945"/>
                    <a:pt x="840" y="945"/>
                  </a:cubicBezTo>
                  <a:cubicBezTo>
                    <a:pt x="882" y="945"/>
                    <a:pt x="916" y="911"/>
                    <a:pt x="916" y="869"/>
                  </a:cubicBezTo>
                  <a:cubicBezTo>
                    <a:pt x="916" y="593"/>
                    <a:pt x="916" y="189"/>
                    <a:pt x="916" y="189"/>
                  </a:cubicBezTo>
                  <a:cubicBezTo>
                    <a:pt x="916" y="85"/>
                    <a:pt x="831" y="0"/>
                    <a:pt x="72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670437" y="2783757"/>
            <a:ext cx="530567" cy="1195344"/>
            <a:chOff x="2916238" y="1955800"/>
            <a:chExt cx="671513" cy="1512888"/>
          </a:xfrm>
          <a:solidFill>
            <a:schemeClr val="accent1"/>
          </a:solidFill>
        </p:grpSpPr>
        <p:sp>
          <p:nvSpPr>
            <p:cNvPr id="15" name="Freeform 18"/>
            <p:cNvSpPr>
              <a:spLocks/>
            </p:cNvSpPr>
            <p:nvPr/>
          </p:nvSpPr>
          <p:spPr bwMode="auto">
            <a:xfrm>
              <a:off x="2916238" y="2271713"/>
              <a:ext cx="671513" cy="1196975"/>
            </a:xfrm>
            <a:custGeom>
              <a:avLst/>
              <a:gdLst>
                <a:gd name="T0" fmla="*/ 1668 w 1668"/>
                <a:gd name="T1" fmla="*/ 339 h 2965"/>
                <a:gd name="T2" fmla="*/ 1330 w 1668"/>
                <a:gd name="T3" fmla="*/ 0 h 2965"/>
                <a:gd name="T4" fmla="*/ 1092 w 1668"/>
                <a:gd name="T5" fmla="*/ 98 h 2965"/>
                <a:gd name="T6" fmla="*/ 1063 w 1668"/>
                <a:gd name="T7" fmla="*/ 119 h 2965"/>
                <a:gd name="T8" fmla="*/ 636 w 1668"/>
                <a:gd name="T9" fmla="*/ 546 h 2965"/>
                <a:gd name="T10" fmla="*/ 123 w 1668"/>
                <a:gd name="T11" fmla="*/ 546 h 2965"/>
                <a:gd name="T12" fmla="*/ 0 w 1668"/>
                <a:gd name="T13" fmla="*/ 668 h 2965"/>
                <a:gd name="T14" fmla="*/ 123 w 1668"/>
                <a:gd name="T15" fmla="*/ 790 h 2965"/>
                <a:gd name="T16" fmla="*/ 664 w 1668"/>
                <a:gd name="T17" fmla="*/ 790 h 2965"/>
                <a:gd name="T18" fmla="*/ 664 w 1668"/>
                <a:gd name="T19" fmla="*/ 790 h 2965"/>
                <a:gd name="T20" fmla="*/ 692 w 1668"/>
                <a:gd name="T21" fmla="*/ 790 h 2965"/>
                <a:gd name="T22" fmla="*/ 692 w 1668"/>
                <a:gd name="T23" fmla="*/ 787 h 2965"/>
                <a:gd name="T24" fmla="*/ 744 w 1668"/>
                <a:gd name="T25" fmla="*/ 757 h 2965"/>
                <a:gd name="T26" fmla="*/ 991 w 1668"/>
                <a:gd name="T27" fmla="*/ 510 h 2965"/>
                <a:gd name="T28" fmla="*/ 991 w 1668"/>
                <a:gd name="T29" fmla="*/ 1283 h 2965"/>
                <a:gd name="T30" fmla="*/ 209 w 1668"/>
                <a:gd name="T31" fmla="*/ 1283 h 2965"/>
                <a:gd name="T32" fmla="*/ 196 w 1668"/>
                <a:gd name="T33" fmla="*/ 1283 h 2965"/>
                <a:gd name="T34" fmla="*/ 184 w 1668"/>
                <a:gd name="T35" fmla="*/ 1283 h 2965"/>
                <a:gd name="T36" fmla="*/ 0 w 1668"/>
                <a:gd name="T37" fmla="*/ 1467 h 2965"/>
                <a:gd name="T38" fmla="*/ 0 w 1668"/>
                <a:gd name="T39" fmla="*/ 1491 h 2965"/>
                <a:gd name="T40" fmla="*/ 0 w 1668"/>
                <a:gd name="T41" fmla="*/ 1491 h 2965"/>
                <a:gd name="T42" fmla="*/ 0 w 1668"/>
                <a:gd name="T43" fmla="*/ 1491 h 2965"/>
                <a:gd name="T44" fmla="*/ 0 w 1668"/>
                <a:gd name="T45" fmla="*/ 2780 h 2965"/>
                <a:gd name="T46" fmla="*/ 184 w 1668"/>
                <a:gd name="T47" fmla="*/ 2965 h 2965"/>
                <a:gd name="T48" fmla="*/ 369 w 1668"/>
                <a:gd name="T49" fmla="*/ 2780 h 2965"/>
                <a:gd name="T50" fmla="*/ 369 w 1668"/>
                <a:gd name="T51" fmla="*/ 1700 h 2965"/>
                <a:gd name="T52" fmla="*/ 1460 w 1668"/>
                <a:gd name="T53" fmla="*/ 1700 h 2965"/>
                <a:gd name="T54" fmla="*/ 1668 w 1668"/>
                <a:gd name="T55" fmla="*/ 1491 h 2965"/>
                <a:gd name="T56" fmla="*/ 1668 w 1668"/>
                <a:gd name="T57" fmla="*/ 1361 h 2965"/>
                <a:gd name="T58" fmla="*/ 1668 w 1668"/>
                <a:gd name="T59" fmla="*/ 339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68" h="2965">
                  <a:moveTo>
                    <a:pt x="1668" y="339"/>
                  </a:moveTo>
                  <a:cubicBezTo>
                    <a:pt x="1668" y="152"/>
                    <a:pt x="1517" y="0"/>
                    <a:pt x="1330" y="0"/>
                  </a:cubicBezTo>
                  <a:cubicBezTo>
                    <a:pt x="1237" y="0"/>
                    <a:pt x="1153" y="37"/>
                    <a:pt x="1092" y="98"/>
                  </a:cubicBezTo>
                  <a:cubicBezTo>
                    <a:pt x="1081" y="103"/>
                    <a:pt x="1072" y="110"/>
                    <a:pt x="1063" y="119"/>
                  </a:cubicBezTo>
                  <a:cubicBezTo>
                    <a:pt x="636" y="546"/>
                    <a:pt x="636" y="546"/>
                    <a:pt x="636" y="546"/>
                  </a:cubicBezTo>
                  <a:cubicBezTo>
                    <a:pt x="123" y="546"/>
                    <a:pt x="123" y="546"/>
                    <a:pt x="123" y="546"/>
                  </a:cubicBezTo>
                  <a:cubicBezTo>
                    <a:pt x="55" y="546"/>
                    <a:pt x="0" y="600"/>
                    <a:pt x="0" y="668"/>
                  </a:cubicBezTo>
                  <a:cubicBezTo>
                    <a:pt x="0" y="736"/>
                    <a:pt x="55" y="790"/>
                    <a:pt x="123" y="790"/>
                  </a:cubicBezTo>
                  <a:cubicBezTo>
                    <a:pt x="664" y="790"/>
                    <a:pt x="664" y="790"/>
                    <a:pt x="664" y="790"/>
                  </a:cubicBezTo>
                  <a:cubicBezTo>
                    <a:pt x="664" y="790"/>
                    <a:pt x="664" y="790"/>
                    <a:pt x="664" y="790"/>
                  </a:cubicBezTo>
                  <a:cubicBezTo>
                    <a:pt x="692" y="790"/>
                    <a:pt x="692" y="790"/>
                    <a:pt x="692" y="790"/>
                  </a:cubicBezTo>
                  <a:cubicBezTo>
                    <a:pt x="692" y="787"/>
                    <a:pt x="692" y="787"/>
                    <a:pt x="692" y="787"/>
                  </a:cubicBezTo>
                  <a:cubicBezTo>
                    <a:pt x="711" y="782"/>
                    <a:pt x="729" y="772"/>
                    <a:pt x="744" y="757"/>
                  </a:cubicBezTo>
                  <a:cubicBezTo>
                    <a:pt x="991" y="510"/>
                    <a:pt x="991" y="510"/>
                    <a:pt x="991" y="510"/>
                  </a:cubicBezTo>
                  <a:cubicBezTo>
                    <a:pt x="991" y="1283"/>
                    <a:pt x="991" y="1283"/>
                    <a:pt x="991" y="1283"/>
                  </a:cubicBezTo>
                  <a:cubicBezTo>
                    <a:pt x="209" y="1283"/>
                    <a:pt x="209" y="1283"/>
                    <a:pt x="209" y="1283"/>
                  </a:cubicBezTo>
                  <a:cubicBezTo>
                    <a:pt x="205" y="1283"/>
                    <a:pt x="200" y="1283"/>
                    <a:pt x="196" y="1283"/>
                  </a:cubicBezTo>
                  <a:cubicBezTo>
                    <a:pt x="192" y="1283"/>
                    <a:pt x="188" y="1283"/>
                    <a:pt x="184" y="1283"/>
                  </a:cubicBezTo>
                  <a:cubicBezTo>
                    <a:pt x="83" y="1283"/>
                    <a:pt x="0" y="1365"/>
                    <a:pt x="0" y="1467"/>
                  </a:cubicBezTo>
                  <a:cubicBezTo>
                    <a:pt x="0" y="1491"/>
                    <a:pt x="0" y="1491"/>
                    <a:pt x="0" y="1491"/>
                  </a:cubicBezTo>
                  <a:cubicBezTo>
                    <a:pt x="0" y="1491"/>
                    <a:pt x="0" y="1491"/>
                    <a:pt x="0" y="1491"/>
                  </a:cubicBezTo>
                  <a:cubicBezTo>
                    <a:pt x="0" y="1491"/>
                    <a:pt x="0" y="1491"/>
                    <a:pt x="0" y="1491"/>
                  </a:cubicBezTo>
                  <a:cubicBezTo>
                    <a:pt x="0" y="2780"/>
                    <a:pt x="0" y="2780"/>
                    <a:pt x="0" y="2780"/>
                  </a:cubicBezTo>
                  <a:cubicBezTo>
                    <a:pt x="0" y="2882"/>
                    <a:pt x="83" y="2965"/>
                    <a:pt x="184" y="2965"/>
                  </a:cubicBezTo>
                  <a:cubicBezTo>
                    <a:pt x="286" y="2965"/>
                    <a:pt x="369" y="2882"/>
                    <a:pt x="369" y="2780"/>
                  </a:cubicBezTo>
                  <a:cubicBezTo>
                    <a:pt x="369" y="1700"/>
                    <a:pt x="369" y="1700"/>
                    <a:pt x="369" y="1700"/>
                  </a:cubicBezTo>
                  <a:cubicBezTo>
                    <a:pt x="1460" y="1700"/>
                    <a:pt x="1460" y="1700"/>
                    <a:pt x="1460" y="1700"/>
                  </a:cubicBezTo>
                  <a:cubicBezTo>
                    <a:pt x="1575" y="1700"/>
                    <a:pt x="1668" y="1606"/>
                    <a:pt x="1668" y="1491"/>
                  </a:cubicBezTo>
                  <a:cubicBezTo>
                    <a:pt x="1668" y="1471"/>
                    <a:pt x="1668" y="1386"/>
                    <a:pt x="1668" y="1361"/>
                  </a:cubicBezTo>
                  <a:lnTo>
                    <a:pt x="1668" y="3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Oval 19"/>
            <p:cNvSpPr>
              <a:spLocks noChangeArrowheads="1"/>
            </p:cNvSpPr>
            <p:nvPr/>
          </p:nvSpPr>
          <p:spPr bwMode="auto">
            <a:xfrm>
              <a:off x="3303588" y="1955800"/>
              <a:ext cx="274638" cy="274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9" name="Freeform 20"/>
          <p:cNvSpPr>
            <a:spLocks/>
          </p:cNvSpPr>
          <p:nvPr/>
        </p:nvSpPr>
        <p:spPr bwMode="auto">
          <a:xfrm>
            <a:off x="2800884" y="3112382"/>
            <a:ext cx="543110" cy="952011"/>
          </a:xfrm>
          <a:custGeom>
            <a:avLst/>
            <a:gdLst>
              <a:gd name="T0" fmla="*/ 1521 w 1705"/>
              <a:gd name="T1" fmla="*/ 0 h 2985"/>
              <a:gd name="T2" fmla="*/ 1521 w 1705"/>
              <a:gd name="T3" fmla="*/ 0 h 2985"/>
              <a:gd name="T4" fmla="*/ 1338 w 1705"/>
              <a:gd name="T5" fmla="*/ 184 h 2985"/>
              <a:gd name="T6" fmla="*/ 1338 w 1705"/>
              <a:gd name="T7" fmla="*/ 1507 h 2985"/>
              <a:gd name="T8" fmla="*/ 184 w 1705"/>
              <a:gd name="T9" fmla="*/ 1507 h 2985"/>
              <a:gd name="T10" fmla="*/ 0 w 1705"/>
              <a:gd name="T11" fmla="*/ 1691 h 2985"/>
              <a:gd name="T12" fmla="*/ 184 w 1705"/>
              <a:gd name="T13" fmla="*/ 1874 h 2985"/>
              <a:gd name="T14" fmla="*/ 789 w 1705"/>
              <a:gd name="T15" fmla="*/ 1874 h 2985"/>
              <a:gd name="T16" fmla="*/ 789 w 1705"/>
              <a:gd name="T17" fmla="*/ 2818 h 2985"/>
              <a:gd name="T18" fmla="*/ 368 w 1705"/>
              <a:gd name="T19" fmla="*/ 2818 h 2985"/>
              <a:gd name="T20" fmla="*/ 284 w 1705"/>
              <a:gd name="T21" fmla="*/ 2901 h 2985"/>
              <a:gd name="T22" fmla="*/ 368 w 1705"/>
              <a:gd name="T23" fmla="*/ 2985 h 2985"/>
              <a:gd name="T24" fmla="*/ 1280 w 1705"/>
              <a:gd name="T25" fmla="*/ 2985 h 2985"/>
              <a:gd name="T26" fmla="*/ 1363 w 1705"/>
              <a:gd name="T27" fmla="*/ 2901 h 2985"/>
              <a:gd name="T28" fmla="*/ 1280 w 1705"/>
              <a:gd name="T29" fmla="*/ 2818 h 2985"/>
              <a:gd name="T30" fmla="*/ 917 w 1705"/>
              <a:gd name="T31" fmla="*/ 2818 h 2985"/>
              <a:gd name="T32" fmla="*/ 917 w 1705"/>
              <a:gd name="T33" fmla="*/ 1874 h 2985"/>
              <a:gd name="T34" fmla="*/ 1521 w 1705"/>
              <a:gd name="T35" fmla="*/ 1874 h 2985"/>
              <a:gd name="T36" fmla="*/ 1521 w 1705"/>
              <a:gd name="T37" fmla="*/ 1874 h 2985"/>
              <a:gd name="T38" fmla="*/ 1705 w 1705"/>
              <a:gd name="T39" fmla="*/ 1691 h 2985"/>
              <a:gd name="T40" fmla="*/ 1705 w 1705"/>
              <a:gd name="T41" fmla="*/ 184 h 2985"/>
              <a:gd name="T42" fmla="*/ 1521 w 1705"/>
              <a:gd name="T43" fmla="*/ 0 h 2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05" h="2985">
                <a:moveTo>
                  <a:pt x="1521" y="0"/>
                </a:moveTo>
                <a:cubicBezTo>
                  <a:pt x="1521" y="0"/>
                  <a:pt x="1521" y="0"/>
                  <a:pt x="1521" y="0"/>
                </a:cubicBezTo>
                <a:cubicBezTo>
                  <a:pt x="1420" y="0"/>
                  <a:pt x="1338" y="82"/>
                  <a:pt x="1338" y="184"/>
                </a:cubicBezTo>
                <a:cubicBezTo>
                  <a:pt x="1338" y="1507"/>
                  <a:pt x="1338" y="1507"/>
                  <a:pt x="1338" y="1507"/>
                </a:cubicBezTo>
                <a:cubicBezTo>
                  <a:pt x="184" y="1507"/>
                  <a:pt x="184" y="1507"/>
                  <a:pt x="184" y="1507"/>
                </a:cubicBezTo>
                <a:cubicBezTo>
                  <a:pt x="83" y="1507"/>
                  <a:pt x="0" y="1590"/>
                  <a:pt x="0" y="1691"/>
                </a:cubicBezTo>
                <a:cubicBezTo>
                  <a:pt x="0" y="1792"/>
                  <a:pt x="83" y="1874"/>
                  <a:pt x="184" y="1874"/>
                </a:cubicBezTo>
                <a:cubicBezTo>
                  <a:pt x="789" y="1874"/>
                  <a:pt x="789" y="1874"/>
                  <a:pt x="789" y="1874"/>
                </a:cubicBezTo>
                <a:cubicBezTo>
                  <a:pt x="789" y="2818"/>
                  <a:pt x="789" y="2818"/>
                  <a:pt x="789" y="2818"/>
                </a:cubicBezTo>
                <a:cubicBezTo>
                  <a:pt x="368" y="2818"/>
                  <a:pt x="368" y="2818"/>
                  <a:pt x="368" y="2818"/>
                </a:cubicBezTo>
                <a:cubicBezTo>
                  <a:pt x="322" y="2818"/>
                  <a:pt x="284" y="2855"/>
                  <a:pt x="284" y="2901"/>
                </a:cubicBezTo>
                <a:cubicBezTo>
                  <a:pt x="284" y="2948"/>
                  <a:pt x="322" y="2985"/>
                  <a:pt x="368" y="2985"/>
                </a:cubicBezTo>
                <a:cubicBezTo>
                  <a:pt x="1280" y="2985"/>
                  <a:pt x="1280" y="2985"/>
                  <a:pt x="1280" y="2985"/>
                </a:cubicBezTo>
                <a:cubicBezTo>
                  <a:pt x="1326" y="2985"/>
                  <a:pt x="1363" y="2948"/>
                  <a:pt x="1363" y="2901"/>
                </a:cubicBezTo>
                <a:cubicBezTo>
                  <a:pt x="1363" y="2855"/>
                  <a:pt x="1326" y="2818"/>
                  <a:pt x="1280" y="2818"/>
                </a:cubicBezTo>
                <a:cubicBezTo>
                  <a:pt x="917" y="2818"/>
                  <a:pt x="917" y="2818"/>
                  <a:pt x="917" y="2818"/>
                </a:cubicBezTo>
                <a:cubicBezTo>
                  <a:pt x="917" y="1874"/>
                  <a:pt x="917" y="1874"/>
                  <a:pt x="917" y="1874"/>
                </a:cubicBezTo>
                <a:cubicBezTo>
                  <a:pt x="1521" y="1874"/>
                  <a:pt x="1521" y="1874"/>
                  <a:pt x="1521" y="1874"/>
                </a:cubicBezTo>
                <a:cubicBezTo>
                  <a:pt x="1521" y="1874"/>
                  <a:pt x="1521" y="1874"/>
                  <a:pt x="1521" y="1874"/>
                </a:cubicBezTo>
                <a:cubicBezTo>
                  <a:pt x="1623" y="1874"/>
                  <a:pt x="1705" y="1792"/>
                  <a:pt x="1705" y="1691"/>
                </a:cubicBezTo>
                <a:cubicBezTo>
                  <a:pt x="1705" y="184"/>
                  <a:pt x="1705" y="184"/>
                  <a:pt x="1705" y="184"/>
                </a:cubicBezTo>
                <a:cubicBezTo>
                  <a:pt x="1705" y="82"/>
                  <a:pt x="1623" y="0"/>
                  <a:pt x="152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475093" y="2783757"/>
            <a:ext cx="530567" cy="1195344"/>
            <a:chOff x="1403350" y="1955800"/>
            <a:chExt cx="671513" cy="1512888"/>
          </a:xfrm>
          <a:solidFill>
            <a:schemeClr val="accent1"/>
          </a:solidFill>
        </p:grpSpPr>
        <p:sp>
          <p:nvSpPr>
            <p:cNvPr id="13" name="Freeform 21"/>
            <p:cNvSpPr>
              <a:spLocks/>
            </p:cNvSpPr>
            <p:nvPr/>
          </p:nvSpPr>
          <p:spPr bwMode="auto">
            <a:xfrm>
              <a:off x="1403350" y="2271713"/>
              <a:ext cx="671513" cy="1196975"/>
            </a:xfrm>
            <a:custGeom>
              <a:avLst/>
              <a:gdLst>
                <a:gd name="T0" fmla="*/ 0 w 1668"/>
                <a:gd name="T1" fmla="*/ 339 h 2965"/>
                <a:gd name="T2" fmla="*/ 339 w 1668"/>
                <a:gd name="T3" fmla="*/ 0 h 2965"/>
                <a:gd name="T4" fmla="*/ 577 w 1668"/>
                <a:gd name="T5" fmla="*/ 98 h 2965"/>
                <a:gd name="T6" fmla="*/ 606 w 1668"/>
                <a:gd name="T7" fmla="*/ 119 h 2965"/>
                <a:gd name="T8" fmla="*/ 1033 w 1668"/>
                <a:gd name="T9" fmla="*/ 546 h 2965"/>
                <a:gd name="T10" fmla="*/ 1546 w 1668"/>
                <a:gd name="T11" fmla="*/ 546 h 2965"/>
                <a:gd name="T12" fmla="*/ 1668 w 1668"/>
                <a:gd name="T13" fmla="*/ 668 h 2965"/>
                <a:gd name="T14" fmla="*/ 1546 w 1668"/>
                <a:gd name="T15" fmla="*/ 790 h 2965"/>
                <a:gd name="T16" fmla="*/ 1005 w 1668"/>
                <a:gd name="T17" fmla="*/ 790 h 2965"/>
                <a:gd name="T18" fmla="*/ 1005 w 1668"/>
                <a:gd name="T19" fmla="*/ 790 h 2965"/>
                <a:gd name="T20" fmla="*/ 977 w 1668"/>
                <a:gd name="T21" fmla="*/ 790 h 2965"/>
                <a:gd name="T22" fmla="*/ 977 w 1668"/>
                <a:gd name="T23" fmla="*/ 787 h 2965"/>
                <a:gd name="T24" fmla="*/ 925 w 1668"/>
                <a:gd name="T25" fmla="*/ 757 h 2965"/>
                <a:gd name="T26" fmla="*/ 678 w 1668"/>
                <a:gd name="T27" fmla="*/ 510 h 2965"/>
                <a:gd name="T28" fmla="*/ 678 w 1668"/>
                <a:gd name="T29" fmla="*/ 1283 h 2965"/>
                <a:gd name="T30" fmla="*/ 1460 w 1668"/>
                <a:gd name="T31" fmla="*/ 1283 h 2965"/>
                <a:gd name="T32" fmla="*/ 1472 w 1668"/>
                <a:gd name="T33" fmla="*/ 1283 h 2965"/>
                <a:gd name="T34" fmla="*/ 1484 w 1668"/>
                <a:gd name="T35" fmla="*/ 1283 h 2965"/>
                <a:gd name="T36" fmla="*/ 1668 w 1668"/>
                <a:gd name="T37" fmla="*/ 1467 h 2965"/>
                <a:gd name="T38" fmla="*/ 1668 w 1668"/>
                <a:gd name="T39" fmla="*/ 1491 h 2965"/>
                <a:gd name="T40" fmla="*/ 1668 w 1668"/>
                <a:gd name="T41" fmla="*/ 1491 h 2965"/>
                <a:gd name="T42" fmla="*/ 1668 w 1668"/>
                <a:gd name="T43" fmla="*/ 1491 h 2965"/>
                <a:gd name="T44" fmla="*/ 1668 w 1668"/>
                <a:gd name="T45" fmla="*/ 2780 h 2965"/>
                <a:gd name="T46" fmla="*/ 1484 w 1668"/>
                <a:gd name="T47" fmla="*/ 2965 h 2965"/>
                <a:gd name="T48" fmla="*/ 1300 w 1668"/>
                <a:gd name="T49" fmla="*/ 2780 h 2965"/>
                <a:gd name="T50" fmla="*/ 1300 w 1668"/>
                <a:gd name="T51" fmla="*/ 1700 h 2965"/>
                <a:gd name="T52" fmla="*/ 209 w 1668"/>
                <a:gd name="T53" fmla="*/ 1700 h 2965"/>
                <a:gd name="T54" fmla="*/ 0 w 1668"/>
                <a:gd name="T55" fmla="*/ 1491 h 2965"/>
                <a:gd name="T56" fmla="*/ 0 w 1668"/>
                <a:gd name="T57" fmla="*/ 1361 h 2965"/>
                <a:gd name="T58" fmla="*/ 0 w 1668"/>
                <a:gd name="T59" fmla="*/ 339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68" h="2965">
                  <a:moveTo>
                    <a:pt x="0" y="339"/>
                  </a:moveTo>
                  <a:cubicBezTo>
                    <a:pt x="0" y="152"/>
                    <a:pt x="152" y="0"/>
                    <a:pt x="339" y="0"/>
                  </a:cubicBezTo>
                  <a:cubicBezTo>
                    <a:pt x="432" y="0"/>
                    <a:pt x="516" y="37"/>
                    <a:pt x="577" y="98"/>
                  </a:cubicBezTo>
                  <a:cubicBezTo>
                    <a:pt x="587" y="103"/>
                    <a:pt x="597" y="110"/>
                    <a:pt x="606" y="119"/>
                  </a:cubicBezTo>
                  <a:cubicBezTo>
                    <a:pt x="1033" y="546"/>
                    <a:pt x="1033" y="546"/>
                    <a:pt x="1033" y="546"/>
                  </a:cubicBezTo>
                  <a:cubicBezTo>
                    <a:pt x="1546" y="546"/>
                    <a:pt x="1546" y="546"/>
                    <a:pt x="1546" y="546"/>
                  </a:cubicBezTo>
                  <a:cubicBezTo>
                    <a:pt x="1613" y="546"/>
                    <a:pt x="1668" y="600"/>
                    <a:pt x="1668" y="668"/>
                  </a:cubicBezTo>
                  <a:cubicBezTo>
                    <a:pt x="1668" y="736"/>
                    <a:pt x="1613" y="790"/>
                    <a:pt x="1546" y="790"/>
                  </a:cubicBezTo>
                  <a:cubicBezTo>
                    <a:pt x="1005" y="790"/>
                    <a:pt x="1005" y="790"/>
                    <a:pt x="1005" y="790"/>
                  </a:cubicBezTo>
                  <a:cubicBezTo>
                    <a:pt x="1005" y="790"/>
                    <a:pt x="1005" y="790"/>
                    <a:pt x="1005" y="790"/>
                  </a:cubicBezTo>
                  <a:cubicBezTo>
                    <a:pt x="977" y="790"/>
                    <a:pt x="977" y="790"/>
                    <a:pt x="977" y="790"/>
                  </a:cubicBezTo>
                  <a:cubicBezTo>
                    <a:pt x="977" y="787"/>
                    <a:pt x="977" y="787"/>
                    <a:pt x="977" y="787"/>
                  </a:cubicBezTo>
                  <a:cubicBezTo>
                    <a:pt x="958" y="782"/>
                    <a:pt x="940" y="772"/>
                    <a:pt x="925" y="757"/>
                  </a:cubicBezTo>
                  <a:cubicBezTo>
                    <a:pt x="678" y="510"/>
                    <a:pt x="678" y="510"/>
                    <a:pt x="678" y="510"/>
                  </a:cubicBezTo>
                  <a:cubicBezTo>
                    <a:pt x="678" y="1283"/>
                    <a:pt x="678" y="1283"/>
                    <a:pt x="678" y="1283"/>
                  </a:cubicBezTo>
                  <a:cubicBezTo>
                    <a:pt x="1460" y="1283"/>
                    <a:pt x="1460" y="1283"/>
                    <a:pt x="1460" y="1283"/>
                  </a:cubicBezTo>
                  <a:cubicBezTo>
                    <a:pt x="1464" y="1283"/>
                    <a:pt x="1468" y="1283"/>
                    <a:pt x="1472" y="1283"/>
                  </a:cubicBezTo>
                  <a:cubicBezTo>
                    <a:pt x="1476" y="1283"/>
                    <a:pt x="1480" y="1283"/>
                    <a:pt x="1484" y="1283"/>
                  </a:cubicBezTo>
                  <a:cubicBezTo>
                    <a:pt x="1586" y="1283"/>
                    <a:pt x="1668" y="1365"/>
                    <a:pt x="1668" y="1467"/>
                  </a:cubicBezTo>
                  <a:cubicBezTo>
                    <a:pt x="1668" y="1491"/>
                    <a:pt x="1668" y="1491"/>
                    <a:pt x="1668" y="1491"/>
                  </a:cubicBezTo>
                  <a:cubicBezTo>
                    <a:pt x="1668" y="1491"/>
                    <a:pt x="1668" y="1491"/>
                    <a:pt x="1668" y="1491"/>
                  </a:cubicBezTo>
                  <a:cubicBezTo>
                    <a:pt x="1668" y="1491"/>
                    <a:pt x="1668" y="1491"/>
                    <a:pt x="1668" y="1491"/>
                  </a:cubicBezTo>
                  <a:cubicBezTo>
                    <a:pt x="1668" y="2780"/>
                    <a:pt x="1668" y="2780"/>
                    <a:pt x="1668" y="2780"/>
                  </a:cubicBezTo>
                  <a:cubicBezTo>
                    <a:pt x="1668" y="2882"/>
                    <a:pt x="1586" y="2965"/>
                    <a:pt x="1484" y="2965"/>
                  </a:cubicBezTo>
                  <a:cubicBezTo>
                    <a:pt x="1382" y="2965"/>
                    <a:pt x="1300" y="2882"/>
                    <a:pt x="1300" y="2780"/>
                  </a:cubicBezTo>
                  <a:cubicBezTo>
                    <a:pt x="1300" y="1700"/>
                    <a:pt x="1300" y="1700"/>
                    <a:pt x="1300" y="1700"/>
                  </a:cubicBezTo>
                  <a:cubicBezTo>
                    <a:pt x="209" y="1700"/>
                    <a:pt x="209" y="1700"/>
                    <a:pt x="209" y="1700"/>
                  </a:cubicBezTo>
                  <a:cubicBezTo>
                    <a:pt x="94" y="1700"/>
                    <a:pt x="0" y="1606"/>
                    <a:pt x="0" y="1491"/>
                  </a:cubicBezTo>
                  <a:cubicBezTo>
                    <a:pt x="0" y="1471"/>
                    <a:pt x="0" y="1386"/>
                    <a:pt x="0" y="1361"/>
                  </a:cubicBezTo>
                  <a:lnTo>
                    <a:pt x="0" y="3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Oval 22"/>
            <p:cNvSpPr>
              <a:spLocks noChangeArrowheads="1"/>
            </p:cNvSpPr>
            <p:nvPr/>
          </p:nvSpPr>
          <p:spPr bwMode="auto">
            <a:xfrm>
              <a:off x="1412875" y="1955800"/>
              <a:ext cx="274638" cy="274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1" name="Freeform 23"/>
          <p:cNvSpPr>
            <a:spLocks/>
          </p:cNvSpPr>
          <p:nvPr/>
        </p:nvSpPr>
        <p:spPr bwMode="auto">
          <a:xfrm>
            <a:off x="1332103" y="3112382"/>
            <a:ext cx="543110" cy="952011"/>
          </a:xfrm>
          <a:custGeom>
            <a:avLst/>
            <a:gdLst>
              <a:gd name="T0" fmla="*/ 184 w 1705"/>
              <a:gd name="T1" fmla="*/ 0 h 2985"/>
              <a:gd name="T2" fmla="*/ 184 w 1705"/>
              <a:gd name="T3" fmla="*/ 0 h 2985"/>
              <a:gd name="T4" fmla="*/ 368 w 1705"/>
              <a:gd name="T5" fmla="*/ 184 h 2985"/>
              <a:gd name="T6" fmla="*/ 368 w 1705"/>
              <a:gd name="T7" fmla="*/ 1507 h 2985"/>
              <a:gd name="T8" fmla="*/ 1521 w 1705"/>
              <a:gd name="T9" fmla="*/ 1507 h 2985"/>
              <a:gd name="T10" fmla="*/ 1705 w 1705"/>
              <a:gd name="T11" fmla="*/ 1691 h 2985"/>
              <a:gd name="T12" fmla="*/ 1521 w 1705"/>
              <a:gd name="T13" fmla="*/ 1874 h 2985"/>
              <a:gd name="T14" fmla="*/ 917 w 1705"/>
              <a:gd name="T15" fmla="*/ 1874 h 2985"/>
              <a:gd name="T16" fmla="*/ 917 w 1705"/>
              <a:gd name="T17" fmla="*/ 2818 h 2985"/>
              <a:gd name="T18" fmla="*/ 1337 w 1705"/>
              <a:gd name="T19" fmla="*/ 2818 h 2985"/>
              <a:gd name="T20" fmla="*/ 1421 w 1705"/>
              <a:gd name="T21" fmla="*/ 2901 h 2985"/>
              <a:gd name="T22" fmla="*/ 1337 w 1705"/>
              <a:gd name="T23" fmla="*/ 2985 h 2985"/>
              <a:gd name="T24" fmla="*/ 426 w 1705"/>
              <a:gd name="T25" fmla="*/ 2985 h 2985"/>
              <a:gd name="T26" fmla="*/ 342 w 1705"/>
              <a:gd name="T27" fmla="*/ 2901 h 2985"/>
              <a:gd name="T28" fmla="*/ 426 w 1705"/>
              <a:gd name="T29" fmla="*/ 2818 h 2985"/>
              <a:gd name="T30" fmla="*/ 789 w 1705"/>
              <a:gd name="T31" fmla="*/ 2818 h 2985"/>
              <a:gd name="T32" fmla="*/ 789 w 1705"/>
              <a:gd name="T33" fmla="*/ 1874 h 2985"/>
              <a:gd name="T34" fmla="*/ 184 w 1705"/>
              <a:gd name="T35" fmla="*/ 1874 h 2985"/>
              <a:gd name="T36" fmla="*/ 184 w 1705"/>
              <a:gd name="T37" fmla="*/ 1874 h 2985"/>
              <a:gd name="T38" fmla="*/ 0 w 1705"/>
              <a:gd name="T39" fmla="*/ 1691 h 2985"/>
              <a:gd name="T40" fmla="*/ 0 w 1705"/>
              <a:gd name="T41" fmla="*/ 184 h 2985"/>
              <a:gd name="T42" fmla="*/ 184 w 1705"/>
              <a:gd name="T43" fmla="*/ 0 h 29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05" h="2985">
                <a:moveTo>
                  <a:pt x="184" y="0"/>
                </a:moveTo>
                <a:cubicBezTo>
                  <a:pt x="184" y="0"/>
                  <a:pt x="184" y="0"/>
                  <a:pt x="184" y="0"/>
                </a:cubicBezTo>
                <a:cubicBezTo>
                  <a:pt x="285" y="0"/>
                  <a:pt x="368" y="82"/>
                  <a:pt x="368" y="184"/>
                </a:cubicBezTo>
                <a:cubicBezTo>
                  <a:pt x="368" y="1507"/>
                  <a:pt x="368" y="1507"/>
                  <a:pt x="368" y="1507"/>
                </a:cubicBezTo>
                <a:cubicBezTo>
                  <a:pt x="1521" y="1507"/>
                  <a:pt x="1521" y="1507"/>
                  <a:pt x="1521" y="1507"/>
                </a:cubicBezTo>
                <a:cubicBezTo>
                  <a:pt x="1622" y="1507"/>
                  <a:pt x="1705" y="1590"/>
                  <a:pt x="1705" y="1691"/>
                </a:cubicBezTo>
                <a:cubicBezTo>
                  <a:pt x="1705" y="1792"/>
                  <a:pt x="1622" y="1874"/>
                  <a:pt x="1521" y="1874"/>
                </a:cubicBezTo>
                <a:cubicBezTo>
                  <a:pt x="917" y="1874"/>
                  <a:pt x="917" y="1874"/>
                  <a:pt x="917" y="1874"/>
                </a:cubicBezTo>
                <a:cubicBezTo>
                  <a:pt x="917" y="2818"/>
                  <a:pt x="917" y="2818"/>
                  <a:pt x="917" y="2818"/>
                </a:cubicBezTo>
                <a:cubicBezTo>
                  <a:pt x="1337" y="2818"/>
                  <a:pt x="1337" y="2818"/>
                  <a:pt x="1337" y="2818"/>
                </a:cubicBezTo>
                <a:cubicBezTo>
                  <a:pt x="1384" y="2818"/>
                  <a:pt x="1421" y="2855"/>
                  <a:pt x="1421" y="2901"/>
                </a:cubicBezTo>
                <a:cubicBezTo>
                  <a:pt x="1421" y="2948"/>
                  <a:pt x="1384" y="2985"/>
                  <a:pt x="1337" y="2985"/>
                </a:cubicBezTo>
                <a:cubicBezTo>
                  <a:pt x="426" y="2985"/>
                  <a:pt x="426" y="2985"/>
                  <a:pt x="426" y="2985"/>
                </a:cubicBezTo>
                <a:cubicBezTo>
                  <a:pt x="380" y="2985"/>
                  <a:pt x="342" y="2948"/>
                  <a:pt x="342" y="2901"/>
                </a:cubicBezTo>
                <a:cubicBezTo>
                  <a:pt x="342" y="2855"/>
                  <a:pt x="380" y="2818"/>
                  <a:pt x="426" y="2818"/>
                </a:cubicBezTo>
                <a:cubicBezTo>
                  <a:pt x="789" y="2818"/>
                  <a:pt x="789" y="2818"/>
                  <a:pt x="789" y="2818"/>
                </a:cubicBezTo>
                <a:cubicBezTo>
                  <a:pt x="789" y="1874"/>
                  <a:pt x="789" y="1874"/>
                  <a:pt x="789" y="1874"/>
                </a:cubicBezTo>
                <a:cubicBezTo>
                  <a:pt x="184" y="1874"/>
                  <a:pt x="184" y="1874"/>
                  <a:pt x="184" y="1874"/>
                </a:cubicBezTo>
                <a:cubicBezTo>
                  <a:pt x="184" y="1874"/>
                  <a:pt x="184" y="1874"/>
                  <a:pt x="184" y="1874"/>
                </a:cubicBezTo>
                <a:cubicBezTo>
                  <a:pt x="83" y="1874"/>
                  <a:pt x="0" y="1792"/>
                  <a:pt x="0" y="1691"/>
                </a:cubicBezTo>
                <a:cubicBezTo>
                  <a:pt x="0" y="184"/>
                  <a:pt x="0" y="184"/>
                  <a:pt x="0" y="184"/>
                </a:cubicBezTo>
                <a:cubicBezTo>
                  <a:pt x="0" y="82"/>
                  <a:pt x="83" y="0"/>
                  <a:pt x="18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12" name="Freeform 24"/>
          <p:cNvSpPr>
            <a:spLocks/>
          </p:cNvSpPr>
          <p:nvPr/>
        </p:nvSpPr>
        <p:spPr bwMode="auto">
          <a:xfrm>
            <a:off x="1776124" y="3310561"/>
            <a:ext cx="1123849" cy="753832"/>
          </a:xfrm>
          <a:custGeom>
            <a:avLst/>
            <a:gdLst>
              <a:gd name="T0" fmla="*/ 3346 w 3529"/>
              <a:gd name="T1" fmla="*/ 0 h 2365"/>
              <a:gd name="T2" fmla="*/ 184 w 3529"/>
              <a:gd name="T3" fmla="*/ 0 h 2365"/>
              <a:gd name="T4" fmla="*/ 0 w 3529"/>
              <a:gd name="T5" fmla="*/ 129 h 2365"/>
              <a:gd name="T6" fmla="*/ 184 w 3529"/>
              <a:gd name="T7" fmla="*/ 258 h 2365"/>
              <a:gd name="T8" fmla="*/ 991 w 3529"/>
              <a:gd name="T9" fmla="*/ 258 h 2365"/>
              <a:gd name="T10" fmla="*/ 991 w 3529"/>
              <a:gd name="T11" fmla="*/ 2161 h 2365"/>
              <a:gd name="T12" fmla="*/ 844 w 3529"/>
              <a:gd name="T13" fmla="*/ 2161 h 2365"/>
              <a:gd name="T14" fmla="*/ 742 w 3529"/>
              <a:gd name="T15" fmla="*/ 2263 h 2365"/>
              <a:gd name="T16" fmla="*/ 844 w 3529"/>
              <a:gd name="T17" fmla="*/ 2365 h 2365"/>
              <a:gd name="T18" fmla="*/ 991 w 3529"/>
              <a:gd name="T19" fmla="*/ 2365 h 2365"/>
              <a:gd name="T20" fmla="*/ 2538 w 3529"/>
              <a:gd name="T21" fmla="*/ 2365 h 2365"/>
              <a:gd name="T22" fmla="*/ 2686 w 3529"/>
              <a:gd name="T23" fmla="*/ 2365 h 2365"/>
              <a:gd name="T24" fmla="*/ 2788 w 3529"/>
              <a:gd name="T25" fmla="*/ 2263 h 2365"/>
              <a:gd name="T26" fmla="*/ 2686 w 3529"/>
              <a:gd name="T27" fmla="*/ 2161 h 2365"/>
              <a:gd name="T28" fmla="*/ 2538 w 3529"/>
              <a:gd name="T29" fmla="*/ 2161 h 2365"/>
              <a:gd name="T30" fmla="*/ 2538 w 3529"/>
              <a:gd name="T31" fmla="*/ 258 h 2365"/>
              <a:gd name="T32" fmla="*/ 3346 w 3529"/>
              <a:gd name="T33" fmla="*/ 258 h 2365"/>
              <a:gd name="T34" fmla="*/ 3529 w 3529"/>
              <a:gd name="T35" fmla="*/ 129 h 2365"/>
              <a:gd name="T36" fmla="*/ 3346 w 3529"/>
              <a:gd name="T37" fmla="*/ 0 h 2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29" h="2365">
                <a:moveTo>
                  <a:pt x="3346" y="0"/>
                </a:moveTo>
                <a:cubicBezTo>
                  <a:pt x="184" y="0"/>
                  <a:pt x="184" y="0"/>
                  <a:pt x="184" y="0"/>
                </a:cubicBezTo>
                <a:cubicBezTo>
                  <a:pt x="83" y="0"/>
                  <a:pt x="0" y="58"/>
                  <a:pt x="0" y="129"/>
                </a:cubicBezTo>
                <a:cubicBezTo>
                  <a:pt x="0" y="200"/>
                  <a:pt x="83" y="258"/>
                  <a:pt x="184" y="258"/>
                </a:cubicBezTo>
                <a:cubicBezTo>
                  <a:pt x="991" y="258"/>
                  <a:pt x="991" y="258"/>
                  <a:pt x="991" y="258"/>
                </a:cubicBezTo>
                <a:cubicBezTo>
                  <a:pt x="991" y="2161"/>
                  <a:pt x="991" y="2161"/>
                  <a:pt x="991" y="2161"/>
                </a:cubicBezTo>
                <a:cubicBezTo>
                  <a:pt x="844" y="2161"/>
                  <a:pt x="844" y="2161"/>
                  <a:pt x="844" y="2161"/>
                </a:cubicBezTo>
                <a:cubicBezTo>
                  <a:pt x="787" y="2161"/>
                  <a:pt x="742" y="2207"/>
                  <a:pt x="742" y="2263"/>
                </a:cubicBezTo>
                <a:cubicBezTo>
                  <a:pt x="742" y="2320"/>
                  <a:pt x="787" y="2365"/>
                  <a:pt x="844" y="2365"/>
                </a:cubicBezTo>
                <a:cubicBezTo>
                  <a:pt x="991" y="2365"/>
                  <a:pt x="991" y="2365"/>
                  <a:pt x="991" y="2365"/>
                </a:cubicBezTo>
                <a:cubicBezTo>
                  <a:pt x="2538" y="2365"/>
                  <a:pt x="2538" y="2365"/>
                  <a:pt x="2538" y="2365"/>
                </a:cubicBezTo>
                <a:cubicBezTo>
                  <a:pt x="2686" y="2365"/>
                  <a:pt x="2686" y="2365"/>
                  <a:pt x="2686" y="2365"/>
                </a:cubicBezTo>
                <a:cubicBezTo>
                  <a:pt x="2742" y="2365"/>
                  <a:pt x="2788" y="2320"/>
                  <a:pt x="2788" y="2263"/>
                </a:cubicBezTo>
                <a:cubicBezTo>
                  <a:pt x="2788" y="2207"/>
                  <a:pt x="2742" y="2161"/>
                  <a:pt x="2686" y="2161"/>
                </a:cubicBezTo>
                <a:cubicBezTo>
                  <a:pt x="2538" y="2161"/>
                  <a:pt x="2538" y="2161"/>
                  <a:pt x="2538" y="2161"/>
                </a:cubicBezTo>
                <a:cubicBezTo>
                  <a:pt x="2538" y="258"/>
                  <a:pt x="2538" y="258"/>
                  <a:pt x="2538" y="258"/>
                </a:cubicBezTo>
                <a:cubicBezTo>
                  <a:pt x="3346" y="258"/>
                  <a:pt x="3346" y="258"/>
                  <a:pt x="3346" y="258"/>
                </a:cubicBezTo>
                <a:cubicBezTo>
                  <a:pt x="3447" y="258"/>
                  <a:pt x="3529" y="200"/>
                  <a:pt x="3529" y="129"/>
                </a:cubicBezTo>
                <a:cubicBezTo>
                  <a:pt x="3529" y="58"/>
                  <a:pt x="3447" y="0"/>
                  <a:pt x="334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2520950" y="2446338"/>
            <a:ext cx="1588" cy="1588"/>
          </a:xfrm>
          <a:prstGeom prst="rect">
            <a:avLst/>
          </a:prstGeom>
          <a:solidFill>
            <a:srgbClr val="ED1C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Oval Callout 38"/>
          <p:cNvSpPr/>
          <p:nvPr/>
        </p:nvSpPr>
        <p:spPr>
          <a:xfrm flipH="1">
            <a:off x="1366255" y="2406113"/>
            <a:ext cx="384048" cy="316589"/>
          </a:xfrm>
          <a:prstGeom prst="wedgeEllipseCallout">
            <a:avLst>
              <a:gd name="adj1" fmla="val -25369"/>
              <a:gd name="adj2" fmla="val 700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Oval Callout 3"/>
          <p:cNvSpPr/>
          <p:nvPr/>
        </p:nvSpPr>
        <p:spPr>
          <a:xfrm>
            <a:off x="2944209" y="2406113"/>
            <a:ext cx="384048" cy="316589"/>
          </a:xfrm>
          <a:prstGeom prst="wedgeEllipseCallout">
            <a:avLst>
              <a:gd name="adj1" fmla="val -25369"/>
              <a:gd name="adj2" fmla="val 700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1E777DB-53F0-48F5-B683-36FE69F6E423}"/>
              </a:ext>
            </a:extLst>
          </p:cNvPr>
          <p:cNvSpPr txBox="1"/>
          <p:nvPr/>
        </p:nvSpPr>
        <p:spPr>
          <a:xfrm>
            <a:off x="306343" y="1543050"/>
            <a:ext cx="4041451" cy="52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ab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50" name="Freeform 27">
            <a:extLst>
              <a:ext uri="{FF2B5EF4-FFF2-40B4-BE49-F238E27FC236}">
                <a16:creationId xmlns:a16="http://schemas.microsoft.com/office/drawing/2014/main" id="{0B84476C-BAB4-4020-9AD6-C8359CFC1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38711" y="2460381"/>
            <a:ext cx="201576" cy="201576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17 w 145"/>
              <a:gd name="T27" fmla="*/ 99 h 146"/>
              <a:gd name="T28" fmla="*/ 124 w 145"/>
              <a:gd name="T29" fmla="*/ 73 h 146"/>
              <a:gd name="T30" fmla="*/ 117 w 145"/>
              <a:gd name="T31" fmla="*/ 47 h 146"/>
              <a:gd name="T32" fmla="*/ 98 w 145"/>
              <a:gd name="T33" fmla="*/ 28 h 146"/>
              <a:gd name="T34" fmla="*/ 73 w 145"/>
              <a:gd name="T35" fmla="*/ 22 h 146"/>
              <a:gd name="T36" fmla="*/ 47 w 145"/>
              <a:gd name="T37" fmla="*/ 28 h 146"/>
              <a:gd name="T38" fmla="*/ 28 w 145"/>
              <a:gd name="T39" fmla="*/ 47 h 146"/>
              <a:gd name="T40" fmla="*/ 21 w 145"/>
              <a:gd name="T41" fmla="*/ 73 h 146"/>
              <a:gd name="T42" fmla="*/ 28 w 145"/>
              <a:gd name="T43" fmla="*/ 99 h 146"/>
              <a:gd name="T44" fmla="*/ 47 w 145"/>
              <a:gd name="T45" fmla="*/ 118 h 146"/>
              <a:gd name="T46" fmla="*/ 73 w 145"/>
              <a:gd name="T47" fmla="*/ 124 h 146"/>
              <a:gd name="T48" fmla="*/ 98 w 145"/>
              <a:gd name="T49" fmla="*/ 118 h 146"/>
              <a:gd name="T50" fmla="*/ 117 w 145"/>
              <a:gd name="T51" fmla="*/ 99 h 146"/>
              <a:gd name="T52" fmla="*/ 85 w 145"/>
              <a:gd name="T53" fmla="*/ 40 h 146"/>
              <a:gd name="T54" fmla="*/ 85 w 145"/>
              <a:gd name="T55" fmla="*/ 82 h 146"/>
              <a:gd name="T56" fmla="*/ 84 w 145"/>
              <a:gd name="T57" fmla="*/ 84 h 146"/>
              <a:gd name="T58" fmla="*/ 82 w 145"/>
              <a:gd name="T59" fmla="*/ 85 h 146"/>
              <a:gd name="T60" fmla="*/ 51 w 145"/>
              <a:gd name="T61" fmla="*/ 85 h 146"/>
              <a:gd name="T62" fmla="*/ 49 w 145"/>
              <a:gd name="T63" fmla="*/ 84 h 146"/>
              <a:gd name="T64" fmla="*/ 48 w 145"/>
              <a:gd name="T65" fmla="*/ 82 h 146"/>
              <a:gd name="T66" fmla="*/ 48 w 145"/>
              <a:gd name="T67" fmla="*/ 76 h 146"/>
              <a:gd name="T68" fmla="*/ 49 w 145"/>
              <a:gd name="T69" fmla="*/ 74 h 146"/>
              <a:gd name="T70" fmla="*/ 51 w 145"/>
              <a:gd name="T71" fmla="*/ 73 h 146"/>
              <a:gd name="T72" fmla="*/ 73 w 145"/>
              <a:gd name="T73" fmla="*/ 73 h 146"/>
              <a:gd name="T74" fmla="*/ 73 w 145"/>
              <a:gd name="T75" fmla="*/ 40 h 146"/>
              <a:gd name="T76" fmla="*/ 73 w 145"/>
              <a:gd name="T77" fmla="*/ 38 h 146"/>
              <a:gd name="T78" fmla="*/ 76 w 145"/>
              <a:gd name="T79" fmla="*/ 37 h 146"/>
              <a:gd name="T80" fmla="*/ 82 w 145"/>
              <a:gd name="T81" fmla="*/ 37 h 146"/>
              <a:gd name="T82" fmla="*/ 84 w 145"/>
              <a:gd name="T83" fmla="*/ 38 h 146"/>
              <a:gd name="T84" fmla="*/ 85 w 145"/>
              <a:gd name="T85" fmla="*/ 4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17" y="99"/>
                </a:moveTo>
                <a:cubicBezTo>
                  <a:pt x="122" y="91"/>
                  <a:pt x="124" y="82"/>
                  <a:pt x="124" y="73"/>
                </a:cubicBezTo>
                <a:cubicBezTo>
                  <a:pt x="124" y="64"/>
                  <a:pt x="122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ubicBezTo>
                  <a:pt x="90" y="24"/>
                  <a:pt x="82" y="22"/>
                  <a:pt x="73" y="22"/>
                </a:cubicBezTo>
                <a:cubicBezTo>
                  <a:pt x="63" y="22"/>
                  <a:pt x="55" y="24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3" y="107"/>
                  <a:pt x="39" y="113"/>
                  <a:pt x="47" y="118"/>
                </a:cubicBezTo>
                <a:cubicBezTo>
                  <a:pt x="55" y="122"/>
                  <a:pt x="63" y="124"/>
                  <a:pt x="73" y="124"/>
                </a:cubicBezTo>
                <a:cubicBezTo>
                  <a:pt x="82" y="124"/>
                  <a:pt x="90" y="122"/>
                  <a:pt x="98" y="118"/>
                </a:cubicBezTo>
                <a:cubicBezTo>
                  <a:pt x="106" y="113"/>
                  <a:pt x="112" y="107"/>
                  <a:pt x="117" y="99"/>
                </a:cubicBezTo>
                <a:close/>
                <a:moveTo>
                  <a:pt x="85" y="40"/>
                </a:moveTo>
                <a:cubicBezTo>
                  <a:pt x="85" y="82"/>
                  <a:pt x="85" y="82"/>
                  <a:pt x="85" y="82"/>
                </a:cubicBezTo>
                <a:cubicBezTo>
                  <a:pt x="85" y="83"/>
                  <a:pt x="84" y="84"/>
                  <a:pt x="84" y="84"/>
                </a:cubicBezTo>
                <a:cubicBezTo>
                  <a:pt x="83" y="85"/>
                  <a:pt x="83" y="85"/>
                  <a:pt x="82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1" y="85"/>
                  <a:pt x="50" y="85"/>
                  <a:pt x="49" y="84"/>
                </a:cubicBezTo>
                <a:cubicBezTo>
                  <a:pt x="49" y="84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9" y="74"/>
                  <a:pt x="49" y="74"/>
                </a:cubicBezTo>
                <a:cubicBezTo>
                  <a:pt x="50" y="73"/>
                  <a:pt x="51" y="73"/>
                  <a:pt x="51" y="73"/>
                </a:cubicBezTo>
                <a:cubicBezTo>
                  <a:pt x="73" y="73"/>
                  <a:pt x="73" y="73"/>
                  <a:pt x="73" y="73"/>
                </a:cubicBezTo>
                <a:cubicBezTo>
                  <a:pt x="73" y="40"/>
                  <a:pt x="73" y="40"/>
                  <a:pt x="73" y="40"/>
                </a:cubicBezTo>
                <a:cubicBezTo>
                  <a:pt x="73" y="39"/>
                  <a:pt x="73" y="38"/>
                  <a:pt x="73" y="38"/>
                </a:cubicBezTo>
                <a:cubicBezTo>
                  <a:pt x="74" y="37"/>
                  <a:pt x="75" y="37"/>
                  <a:pt x="76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3" y="37"/>
                  <a:pt x="83" y="37"/>
                  <a:pt x="84" y="38"/>
                </a:cubicBezTo>
                <a:cubicBezTo>
                  <a:pt x="84" y="38"/>
                  <a:pt x="85" y="39"/>
                  <a:pt x="85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1" name="Freeform 309">
            <a:extLst>
              <a:ext uri="{FF2B5EF4-FFF2-40B4-BE49-F238E27FC236}">
                <a16:creationId xmlns:a16="http://schemas.microsoft.com/office/drawing/2014/main" id="{B701D661-60DE-4994-A145-26D4440B57C4}"/>
              </a:ext>
            </a:extLst>
          </p:cNvPr>
          <p:cNvSpPr>
            <a:spLocks noChangeAspect="1"/>
          </p:cNvSpPr>
          <p:nvPr/>
        </p:nvSpPr>
        <p:spPr bwMode="auto">
          <a:xfrm>
            <a:off x="1484639" y="2481473"/>
            <a:ext cx="119019" cy="166249"/>
          </a:xfrm>
          <a:custGeom>
            <a:avLst/>
            <a:gdLst>
              <a:gd name="T0" fmla="*/ 95 w 96"/>
              <a:gd name="T1" fmla="*/ 127 h 133"/>
              <a:gd name="T2" fmla="*/ 93 w 96"/>
              <a:gd name="T3" fmla="*/ 130 h 133"/>
              <a:gd name="T4" fmla="*/ 92 w 96"/>
              <a:gd name="T5" fmla="*/ 131 h 133"/>
              <a:gd name="T6" fmla="*/ 88 w 96"/>
              <a:gd name="T7" fmla="*/ 132 h 133"/>
              <a:gd name="T8" fmla="*/ 83 w 96"/>
              <a:gd name="T9" fmla="*/ 133 h 133"/>
              <a:gd name="T10" fmla="*/ 77 w 96"/>
              <a:gd name="T11" fmla="*/ 133 h 133"/>
              <a:gd name="T12" fmla="*/ 34 w 96"/>
              <a:gd name="T13" fmla="*/ 121 h 133"/>
              <a:gd name="T14" fmla="*/ 3 w 96"/>
              <a:gd name="T15" fmla="*/ 88 h 133"/>
              <a:gd name="T16" fmla="*/ 0 w 96"/>
              <a:gd name="T17" fmla="*/ 85 h 133"/>
              <a:gd name="T18" fmla="*/ 1 w 96"/>
              <a:gd name="T19" fmla="*/ 72 h 133"/>
              <a:gd name="T20" fmla="*/ 9 w 96"/>
              <a:gd name="T21" fmla="*/ 71 h 133"/>
              <a:gd name="T22" fmla="*/ 3 w 96"/>
              <a:gd name="T23" fmla="*/ 61 h 133"/>
              <a:gd name="T24" fmla="*/ 0 w 96"/>
              <a:gd name="T25" fmla="*/ 58 h 133"/>
              <a:gd name="T26" fmla="*/ 1 w 96"/>
              <a:gd name="T27" fmla="*/ 45 h 133"/>
              <a:gd name="T28" fmla="*/ 12 w 96"/>
              <a:gd name="T29" fmla="*/ 44 h 133"/>
              <a:gd name="T30" fmla="*/ 73 w 96"/>
              <a:gd name="T31" fmla="*/ 0 h 133"/>
              <a:gd name="T32" fmla="*/ 93 w 96"/>
              <a:gd name="T33" fmla="*/ 4 h 133"/>
              <a:gd name="T34" fmla="*/ 89 w 96"/>
              <a:gd name="T35" fmla="*/ 21 h 133"/>
              <a:gd name="T36" fmla="*/ 86 w 96"/>
              <a:gd name="T37" fmla="*/ 23 h 133"/>
              <a:gd name="T38" fmla="*/ 84 w 96"/>
              <a:gd name="T39" fmla="*/ 23 h 133"/>
              <a:gd name="T40" fmla="*/ 81 w 96"/>
              <a:gd name="T41" fmla="*/ 22 h 133"/>
              <a:gd name="T42" fmla="*/ 75 w 96"/>
              <a:gd name="T43" fmla="*/ 22 h 133"/>
              <a:gd name="T44" fmla="*/ 51 w 96"/>
              <a:gd name="T45" fmla="*/ 28 h 133"/>
              <a:gd name="T46" fmla="*/ 81 w 96"/>
              <a:gd name="T47" fmla="*/ 44 h 133"/>
              <a:gd name="T48" fmla="*/ 84 w 96"/>
              <a:gd name="T49" fmla="*/ 48 h 133"/>
              <a:gd name="T50" fmla="*/ 79 w 96"/>
              <a:gd name="T51" fmla="*/ 61 h 133"/>
              <a:gd name="T52" fmla="*/ 33 w 96"/>
              <a:gd name="T53" fmla="*/ 71 h 133"/>
              <a:gd name="T54" fmla="*/ 79 w 96"/>
              <a:gd name="T55" fmla="*/ 72 h 133"/>
              <a:gd name="T56" fmla="*/ 77 w 96"/>
              <a:gd name="T57" fmla="*/ 85 h 133"/>
              <a:gd name="T58" fmla="*/ 74 w 96"/>
              <a:gd name="T59" fmla="*/ 88 h 133"/>
              <a:gd name="T60" fmla="*/ 52 w 96"/>
              <a:gd name="T61" fmla="*/ 105 h 133"/>
              <a:gd name="T62" fmla="*/ 77 w 96"/>
              <a:gd name="T63" fmla="*/ 112 h 133"/>
              <a:gd name="T64" fmla="*/ 83 w 96"/>
              <a:gd name="T65" fmla="*/ 111 h 133"/>
              <a:gd name="T66" fmla="*/ 87 w 96"/>
              <a:gd name="T67" fmla="*/ 110 h 133"/>
              <a:gd name="T68" fmla="*/ 88 w 96"/>
              <a:gd name="T69" fmla="*/ 110 h 133"/>
              <a:gd name="T70" fmla="*/ 92 w 96"/>
              <a:gd name="T71" fmla="*/ 11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6" h="133">
                <a:moveTo>
                  <a:pt x="92" y="112"/>
                </a:moveTo>
                <a:cubicBezTo>
                  <a:pt x="95" y="127"/>
                  <a:pt x="95" y="127"/>
                  <a:pt x="95" y="127"/>
                </a:cubicBezTo>
                <a:cubicBezTo>
                  <a:pt x="96" y="128"/>
                  <a:pt x="95" y="128"/>
                  <a:pt x="95" y="129"/>
                </a:cubicBezTo>
                <a:cubicBezTo>
                  <a:pt x="95" y="130"/>
                  <a:pt x="94" y="130"/>
                  <a:pt x="93" y="130"/>
                </a:cubicBezTo>
                <a:cubicBezTo>
                  <a:pt x="93" y="130"/>
                  <a:pt x="93" y="130"/>
                  <a:pt x="93" y="130"/>
                </a:cubicBezTo>
                <a:cubicBezTo>
                  <a:pt x="93" y="131"/>
                  <a:pt x="92" y="131"/>
                  <a:pt x="92" y="131"/>
                </a:cubicBezTo>
                <a:cubicBezTo>
                  <a:pt x="92" y="131"/>
                  <a:pt x="91" y="131"/>
                  <a:pt x="91" y="131"/>
                </a:cubicBezTo>
                <a:cubicBezTo>
                  <a:pt x="90" y="131"/>
                  <a:pt x="89" y="132"/>
                  <a:pt x="88" y="132"/>
                </a:cubicBezTo>
                <a:cubicBezTo>
                  <a:pt x="88" y="132"/>
                  <a:pt x="87" y="132"/>
                  <a:pt x="86" y="132"/>
                </a:cubicBezTo>
                <a:cubicBezTo>
                  <a:pt x="85" y="132"/>
                  <a:pt x="84" y="132"/>
                  <a:pt x="83" y="133"/>
                </a:cubicBezTo>
                <a:cubicBezTo>
                  <a:pt x="82" y="133"/>
                  <a:pt x="81" y="133"/>
                  <a:pt x="80" y="133"/>
                </a:cubicBezTo>
                <a:cubicBezTo>
                  <a:pt x="79" y="133"/>
                  <a:pt x="78" y="133"/>
                  <a:pt x="77" y="133"/>
                </a:cubicBezTo>
                <a:cubicBezTo>
                  <a:pt x="75" y="133"/>
                  <a:pt x="74" y="133"/>
                  <a:pt x="73" y="133"/>
                </a:cubicBezTo>
                <a:cubicBezTo>
                  <a:pt x="58" y="133"/>
                  <a:pt x="45" y="129"/>
                  <a:pt x="34" y="121"/>
                </a:cubicBezTo>
                <a:cubicBezTo>
                  <a:pt x="23" y="113"/>
                  <a:pt x="16" y="102"/>
                  <a:pt x="12" y="88"/>
                </a:cubicBezTo>
                <a:cubicBezTo>
                  <a:pt x="3" y="88"/>
                  <a:pt x="3" y="88"/>
                  <a:pt x="3" y="88"/>
                </a:cubicBezTo>
                <a:cubicBezTo>
                  <a:pt x="2" y="88"/>
                  <a:pt x="1" y="88"/>
                  <a:pt x="1" y="87"/>
                </a:cubicBezTo>
                <a:cubicBezTo>
                  <a:pt x="0" y="86"/>
                  <a:pt x="0" y="86"/>
                  <a:pt x="0" y="8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3"/>
                  <a:pt x="1" y="72"/>
                </a:cubicBezTo>
                <a:cubicBezTo>
                  <a:pt x="1" y="71"/>
                  <a:pt x="2" y="71"/>
                  <a:pt x="3" y="71"/>
                </a:cubicBezTo>
                <a:cubicBezTo>
                  <a:pt x="9" y="71"/>
                  <a:pt x="9" y="71"/>
                  <a:pt x="9" y="71"/>
                </a:cubicBezTo>
                <a:cubicBezTo>
                  <a:pt x="9" y="68"/>
                  <a:pt x="9" y="64"/>
                  <a:pt x="9" y="61"/>
                </a:cubicBezTo>
                <a:cubicBezTo>
                  <a:pt x="3" y="61"/>
                  <a:pt x="3" y="61"/>
                  <a:pt x="3" y="61"/>
                </a:cubicBezTo>
                <a:cubicBezTo>
                  <a:pt x="2" y="61"/>
                  <a:pt x="1" y="61"/>
                  <a:pt x="1" y="60"/>
                </a:cubicBezTo>
                <a:cubicBezTo>
                  <a:pt x="0" y="60"/>
                  <a:pt x="0" y="59"/>
                  <a:pt x="0" y="58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6"/>
                  <a:pt x="1" y="45"/>
                </a:cubicBezTo>
                <a:cubicBezTo>
                  <a:pt x="1" y="45"/>
                  <a:pt x="2" y="44"/>
                  <a:pt x="3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16" y="31"/>
                  <a:pt x="24" y="20"/>
                  <a:pt x="35" y="12"/>
                </a:cubicBezTo>
                <a:cubicBezTo>
                  <a:pt x="46" y="4"/>
                  <a:pt x="59" y="0"/>
                  <a:pt x="73" y="0"/>
                </a:cubicBezTo>
                <a:cubicBezTo>
                  <a:pt x="79" y="0"/>
                  <a:pt x="86" y="1"/>
                  <a:pt x="91" y="2"/>
                </a:cubicBezTo>
                <a:cubicBezTo>
                  <a:pt x="92" y="3"/>
                  <a:pt x="93" y="3"/>
                  <a:pt x="93" y="4"/>
                </a:cubicBezTo>
                <a:cubicBezTo>
                  <a:pt x="94" y="5"/>
                  <a:pt x="94" y="5"/>
                  <a:pt x="93" y="6"/>
                </a:cubicBezTo>
                <a:cubicBezTo>
                  <a:pt x="89" y="21"/>
                  <a:pt x="89" y="21"/>
                  <a:pt x="89" y="21"/>
                </a:cubicBezTo>
                <a:cubicBezTo>
                  <a:pt x="89" y="22"/>
                  <a:pt x="89" y="23"/>
                  <a:pt x="88" y="23"/>
                </a:cubicBezTo>
                <a:cubicBezTo>
                  <a:pt x="87" y="23"/>
                  <a:pt x="87" y="24"/>
                  <a:pt x="86" y="23"/>
                </a:cubicBezTo>
                <a:cubicBezTo>
                  <a:pt x="85" y="23"/>
                  <a:pt x="85" y="23"/>
                  <a:pt x="85" y="23"/>
                </a:cubicBezTo>
                <a:cubicBezTo>
                  <a:pt x="85" y="23"/>
                  <a:pt x="85" y="23"/>
                  <a:pt x="84" y="23"/>
                </a:cubicBezTo>
                <a:cubicBezTo>
                  <a:pt x="84" y="23"/>
                  <a:pt x="83" y="23"/>
                  <a:pt x="83" y="23"/>
                </a:cubicBezTo>
                <a:cubicBezTo>
                  <a:pt x="82" y="22"/>
                  <a:pt x="81" y="22"/>
                  <a:pt x="81" y="22"/>
                </a:cubicBezTo>
                <a:cubicBezTo>
                  <a:pt x="80" y="22"/>
                  <a:pt x="79" y="22"/>
                  <a:pt x="78" y="22"/>
                </a:cubicBezTo>
                <a:cubicBezTo>
                  <a:pt x="77" y="22"/>
                  <a:pt x="76" y="22"/>
                  <a:pt x="75" y="22"/>
                </a:cubicBezTo>
                <a:cubicBezTo>
                  <a:pt x="74" y="22"/>
                  <a:pt x="73" y="22"/>
                  <a:pt x="73" y="22"/>
                </a:cubicBezTo>
                <a:cubicBezTo>
                  <a:pt x="65" y="22"/>
                  <a:pt x="58" y="24"/>
                  <a:pt x="51" y="28"/>
                </a:cubicBezTo>
                <a:cubicBezTo>
                  <a:pt x="45" y="32"/>
                  <a:pt x="40" y="37"/>
                  <a:pt x="37" y="44"/>
                </a:cubicBezTo>
                <a:cubicBezTo>
                  <a:pt x="81" y="44"/>
                  <a:pt x="81" y="44"/>
                  <a:pt x="81" y="44"/>
                </a:cubicBezTo>
                <a:cubicBezTo>
                  <a:pt x="82" y="44"/>
                  <a:pt x="83" y="45"/>
                  <a:pt x="84" y="46"/>
                </a:cubicBezTo>
                <a:cubicBezTo>
                  <a:pt x="84" y="46"/>
                  <a:pt x="85" y="47"/>
                  <a:pt x="84" y="48"/>
                </a:cubicBezTo>
                <a:cubicBezTo>
                  <a:pt x="82" y="59"/>
                  <a:pt x="82" y="59"/>
                  <a:pt x="82" y="59"/>
                </a:cubicBezTo>
                <a:cubicBezTo>
                  <a:pt x="82" y="60"/>
                  <a:pt x="81" y="61"/>
                  <a:pt x="79" y="61"/>
                </a:cubicBezTo>
                <a:cubicBezTo>
                  <a:pt x="33" y="61"/>
                  <a:pt x="33" y="61"/>
                  <a:pt x="33" y="61"/>
                </a:cubicBezTo>
                <a:cubicBezTo>
                  <a:pt x="33" y="64"/>
                  <a:pt x="33" y="67"/>
                  <a:pt x="33" y="71"/>
                </a:cubicBezTo>
                <a:cubicBezTo>
                  <a:pt x="76" y="71"/>
                  <a:pt x="76" y="71"/>
                  <a:pt x="76" y="71"/>
                </a:cubicBezTo>
                <a:cubicBezTo>
                  <a:pt x="77" y="71"/>
                  <a:pt x="78" y="72"/>
                  <a:pt x="79" y="72"/>
                </a:cubicBezTo>
                <a:cubicBezTo>
                  <a:pt x="79" y="73"/>
                  <a:pt x="79" y="74"/>
                  <a:pt x="79" y="75"/>
                </a:cubicBezTo>
                <a:cubicBezTo>
                  <a:pt x="77" y="85"/>
                  <a:pt x="77" y="85"/>
                  <a:pt x="77" y="85"/>
                </a:cubicBezTo>
                <a:cubicBezTo>
                  <a:pt x="77" y="86"/>
                  <a:pt x="76" y="87"/>
                  <a:pt x="76" y="87"/>
                </a:cubicBezTo>
                <a:cubicBezTo>
                  <a:pt x="75" y="88"/>
                  <a:pt x="75" y="88"/>
                  <a:pt x="74" y="88"/>
                </a:cubicBezTo>
                <a:cubicBezTo>
                  <a:pt x="37" y="88"/>
                  <a:pt x="37" y="88"/>
                  <a:pt x="37" y="88"/>
                </a:cubicBezTo>
                <a:cubicBezTo>
                  <a:pt x="40" y="95"/>
                  <a:pt x="45" y="101"/>
                  <a:pt x="52" y="105"/>
                </a:cubicBezTo>
                <a:cubicBezTo>
                  <a:pt x="58" y="110"/>
                  <a:pt x="65" y="112"/>
                  <a:pt x="73" y="112"/>
                </a:cubicBezTo>
                <a:cubicBezTo>
                  <a:pt x="74" y="112"/>
                  <a:pt x="75" y="112"/>
                  <a:pt x="77" y="112"/>
                </a:cubicBezTo>
                <a:cubicBezTo>
                  <a:pt x="78" y="112"/>
                  <a:pt x="79" y="112"/>
                  <a:pt x="80" y="111"/>
                </a:cubicBezTo>
                <a:cubicBezTo>
                  <a:pt x="81" y="111"/>
                  <a:pt x="82" y="111"/>
                  <a:pt x="83" y="111"/>
                </a:cubicBezTo>
                <a:cubicBezTo>
                  <a:pt x="83" y="111"/>
                  <a:pt x="84" y="111"/>
                  <a:pt x="85" y="111"/>
                </a:cubicBezTo>
                <a:cubicBezTo>
                  <a:pt x="86" y="110"/>
                  <a:pt x="86" y="110"/>
                  <a:pt x="87" y="110"/>
                </a:cubicBezTo>
                <a:cubicBezTo>
                  <a:pt x="87" y="110"/>
                  <a:pt x="87" y="110"/>
                  <a:pt x="88" y="110"/>
                </a:cubicBezTo>
                <a:cubicBezTo>
                  <a:pt x="88" y="110"/>
                  <a:pt x="88" y="110"/>
                  <a:pt x="88" y="110"/>
                </a:cubicBezTo>
                <a:cubicBezTo>
                  <a:pt x="89" y="109"/>
                  <a:pt x="90" y="109"/>
                  <a:pt x="91" y="110"/>
                </a:cubicBezTo>
                <a:cubicBezTo>
                  <a:pt x="91" y="110"/>
                  <a:pt x="92" y="111"/>
                  <a:pt x="92" y="1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7654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74"/>
          <p:cNvSpPr/>
          <p:nvPr/>
        </p:nvSpPr>
        <p:spPr>
          <a:xfrm>
            <a:off x="3598164" y="1935165"/>
            <a:ext cx="1947672" cy="1947672"/>
          </a:xfrm>
          <a:custGeom>
            <a:avLst/>
            <a:gdLst>
              <a:gd name="connsiteX0" fmla="*/ 0 w 2143140"/>
              <a:gd name="connsiteY0" fmla="*/ 1071569 h 2143138"/>
              <a:gd name="connsiteX1" fmla="*/ 5165 w 2143140"/>
              <a:gd name="connsiteY1" fmla="*/ 966534 h 2143138"/>
              <a:gd name="connsiteX2" fmla="*/ 20585 w 2143140"/>
              <a:gd name="connsiteY2" fmla="*/ 862517 h 2143138"/>
              <a:gd name="connsiteX3" fmla="*/ 46142 w 2143140"/>
              <a:gd name="connsiteY3" fmla="*/ 760514 h 2143138"/>
              <a:gd name="connsiteX4" fmla="*/ 81568 w 2143140"/>
              <a:gd name="connsiteY4" fmla="*/ 661501 h 2143138"/>
              <a:gd name="connsiteX5" fmla="*/ 126531 w 2143140"/>
              <a:gd name="connsiteY5" fmla="*/ 566431 h 2143138"/>
              <a:gd name="connsiteX6" fmla="*/ 180592 w 2143140"/>
              <a:gd name="connsiteY6" fmla="*/ 476237 h 2143138"/>
              <a:gd name="connsiteX7" fmla="*/ 243236 w 2143140"/>
              <a:gd name="connsiteY7" fmla="*/ 391776 h 2143138"/>
              <a:gd name="connsiteX8" fmla="*/ 313856 w 2143140"/>
              <a:gd name="connsiteY8" fmla="*/ 313855 h 2143138"/>
              <a:gd name="connsiteX9" fmla="*/ 391777 w 2143140"/>
              <a:gd name="connsiteY9" fmla="*/ 243235 h 2143138"/>
              <a:gd name="connsiteX10" fmla="*/ 476238 w 2143140"/>
              <a:gd name="connsiteY10" fmla="*/ 180591 h 2143138"/>
              <a:gd name="connsiteX11" fmla="*/ 566432 w 2143140"/>
              <a:gd name="connsiteY11" fmla="*/ 126531 h 2143138"/>
              <a:gd name="connsiteX12" fmla="*/ 661502 w 2143140"/>
              <a:gd name="connsiteY12" fmla="*/ 81568 h 2143138"/>
              <a:gd name="connsiteX13" fmla="*/ 760515 w 2143140"/>
              <a:gd name="connsiteY13" fmla="*/ 46142 h 2143138"/>
              <a:gd name="connsiteX14" fmla="*/ 862517 w 2143140"/>
              <a:gd name="connsiteY14" fmla="*/ 20585 h 2143138"/>
              <a:gd name="connsiteX15" fmla="*/ 966535 w 2143140"/>
              <a:gd name="connsiteY15" fmla="*/ 5165 h 2143138"/>
              <a:gd name="connsiteX16" fmla="*/ 1071570 w 2143140"/>
              <a:gd name="connsiteY16" fmla="*/ 0 h 2143138"/>
              <a:gd name="connsiteX17" fmla="*/ 1176605 w 2143140"/>
              <a:gd name="connsiteY17" fmla="*/ 5165 h 2143138"/>
              <a:gd name="connsiteX18" fmla="*/ 1280623 w 2143140"/>
              <a:gd name="connsiteY18" fmla="*/ 20585 h 2143138"/>
              <a:gd name="connsiteX19" fmla="*/ 1382625 w 2143140"/>
              <a:gd name="connsiteY19" fmla="*/ 46142 h 2143138"/>
              <a:gd name="connsiteX20" fmla="*/ 1481638 w 2143140"/>
              <a:gd name="connsiteY20" fmla="*/ 81568 h 2143138"/>
              <a:gd name="connsiteX21" fmla="*/ 1576708 w 2143140"/>
              <a:gd name="connsiteY21" fmla="*/ 126531 h 2143138"/>
              <a:gd name="connsiteX22" fmla="*/ 1666902 w 2143140"/>
              <a:gd name="connsiteY22" fmla="*/ 180591 h 2143138"/>
              <a:gd name="connsiteX23" fmla="*/ 1751363 w 2143140"/>
              <a:gd name="connsiteY23" fmla="*/ 243235 h 2143138"/>
              <a:gd name="connsiteX24" fmla="*/ 1829284 w 2143140"/>
              <a:gd name="connsiteY24" fmla="*/ 313855 h 2143138"/>
              <a:gd name="connsiteX25" fmla="*/ 1899904 w 2143140"/>
              <a:gd name="connsiteY25" fmla="*/ 391776 h 2143138"/>
              <a:gd name="connsiteX26" fmla="*/ 1962548 w 2143140"/>
              <a:gd name="connsiteY26" fmla="*/ 476237 h 2143138"/>
              <a:gd name="connsiteX27" fmla="*/ 2016609 w 2143140"/>
              <a:gd name="connsiteY27" fmla="*/ 566431 h 2143138"/>
              <a:gd name="connsiteX28" fmla="*/ 2061572 w 2143140"/>
              <a:gd name="connsiteY28" fmla="*/ 661501 h 2143138"/>
              <a:gd name="connsiteX29" fmla="*/ 2096998 w 2143140"/>
              <a:gd name="connsiteY29" fmla="*/ 760514 h 2143138"/>
              <a:gd name="connsiteX30" fmla="*/ 2122555 w 2143140"/>
              <a:gd name="connsiteY30" fmla="*/ 862517 h 2143138"/>
              <a:gd name="connsiteX31" fmla="*/ 2137975 w 2143140"/>
              <a:gd name="connsiteY31" fmla="*/ 966534 h 2143138"/>
              <a:gd name="connsiteX32" fmla="*/ 2143140 w 2143140"/>
              <a:gd name="connsiteY32" fmla="*/ 1071569 h 2143138"/>
              <a:gd name="connsiteX33" fmla="*/ 2137975 w 2143140"/>
              <a:gd name="connsiteY33" fmla="*/ 1176604 h 2143138"/>
              <a:gd name="connsiteX34" fmla="*/ 2122555 w 2143140"/>
              <a:gd name="connsiteY34" fmla="*/ 1280621 h 2143138"/>
              <a:gd name="connsiteX35" fmla="*/ 2096998 w 2143140"/>
              <a:gd name="connsiteY35" fmla="*/ 1382624 h 2143138"/>
              <a:gd name="connsiteX36" fmla="*/ 2061572 w 2143140"/>
              <a:gd name="connsiteY36" fmla="*/ 1481637 h 2143138"/>
              <a:gd name="connsiteX37" fmla="*/ 2016609 w 2143140"/>
              <a:gd name="connsiteY37" fmla="*/ 1576707 h 2143138"/>
              <a:gd name="connsiteX38" fmla="*/ 1962548 w 2143140"/>
              <a:gd name="connsiteY38" fmla="*/ 1666901 h 2143138"/>
              <a:gd name="connsiteX39" fmla="*/ 1899904 w 2143140"/>
              <a:gd name="connsiteY39" fmla="*/ 1751362 h 2143138"/>
              <a:gd name="connsiteX40" fmla="*/ 1829284 w 2143140"/>
              <a:gd name="connsiteY40" fmla="*/ 1829283 h 2143138"/>
              <a:gd name="connsiteX41" fmla="*/ 1751363 w 2143140"/>
              <a:gd name="connsiteY41" fmla="*/ 1899903 h 2143138"/>
              <a:gd name="connsiteX42" fmla="*/ 1666902 w 2143140"/>
              <a:gd name="connsiteY42" fmla="*/ 1962547 h 2143138"/>
              <a:gd name="connsiteX43" fmla="*/ 1576708 w 2143140"/>
              <a:gd name="connsiteY43" fmla="*/ 2016607 h 2143138"/>
              <a:gd name="connsiteX44" fmla="*/ 1481638 w 2143140"/>
              <a:gd name="connsiteY44" fmla="*/ 2061570 h 2143138"/>
              <a:gd name="connsiteX45" fmla="*/ 1382625 w 2143140"/>
              <a:gd name="connsiteY45" fmla="*/ 2096996 h 2143138"/>
              <a:gd name="connsiteX46" fmla="*/ 1280623 w 2143140"/>
              <a:gd name="connsiteY46" fmla="*/ 2122553 h 2143138"/>
              <a:gd name="connsiteX47" fmla="*/ 1176605 w 2143140"/>
              <a:gd name="connsiteY47" fmla="*/ 2137973 h 2143138"/>
              <a:gd name="connsiteX48" fmla="*/ 1071570 w 2143140"/>
              <a:gd name="connsiteY48" fmla="*/ 2143138 h 2143138"/>
              <a:gd name="connsiteX49" fmla="*/ 966535 w 2143140"/>
              <a:gd name="connsiteY49" fmla="*/ 2137973 h 2143138"/>
              <a:gd name="connsiteX50" fmla="*/ 862517 w 2143140"/>
              <a:gd name="connsiteY50" fmla="*/ 2122553 h 2143138"/>
              <a:gd name="connsiteX51" fmla="*/ 760515 w 2143140"/>
              <a:gd name="connsiteY51" fmla="*/ 2096996 h 2143138"/>
              <a:gd name="connsiteX52" fmla="*/ 661502 w 2143140"/>
              <a:gd name="connsiteY52" fmla="*/ 2061570 h 2143138"/>
              <a:gd name="connsiteX53" fmla="*/ 566432 w 2143140"/>
              <a:gd name="connsiteY53" fmla="*/ 2016607 h 2143138"/>
              <a:gd name="connsiteX54" fmla="*/ 476238 w 2143140"/>
              <a:gd name="connsiteY54" fmla="*/ 1962547 h 2143138"/>
              <a:gd name="connsiteX55" fmla="*/ 391777 w 2143140"/>
              <a:gd name="connsiteY55" fmla="*/ 1899903 h 2143138"/>
              <a:gd name="connsiteX56" fmla="*/ 313856 w 2143140"/>
              <a:gd name="connsiteY56" fmla="*/ 1829283 h 2143138"/>
              <a:gd name="connsiteX57" fmla="*/ 243236 w 2143140"/>
              <a:gd name="connsiteY57" fmla="*/ 1751362 h 2143138"/>
              <a:gd name="connsiteX58" fmla="*/ 180592 w 2143140"/>
              <a:gd name="connsiteY58" fmla="*/ 1666901 h 2143138"/>
              <a:gd name="connsiteX59" fmla="*/ 126531 w 2143140"/>
              <a:gd name="connsiteY59" fmla="*/ 1576707 h 2143138"/>
              <a:gd name="connsiteX60" fmla="*/ 81568 w 2143140"/>
              <a:gd name="connsiteY60" fmla="*/ 1481637 h 2143138"/>
              <a:gd name="connsiteX61" fmla="*/ 46142 w 2143140"/>
              <a:gd name="connsiteY61" fmla="*/ 1382624 h 2143138"/>
              <a:gd name="connsiteX62" fmla="*/ 20585 w 2143140"/>
              <a:gd name="connsiteY62" fmla="*/ 1280621 h 2143138"/>
              <a:gd name="connsiteX63" fmla="*/ 5165 w 2143140"/>
              <a:gd name="connsiteY63" fmla="*/ 1176604 h 2143138"/>
              <a:gd name="connsiteX64" fmla="*/ 0 w 2143140"/>
              <a:gd name="connsiteY64" fmla="*/ 1071569 h 214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143140" h="2143138">
                <a:moveTo>
                  <a:pt x="0" y="1071569"/>
                </a:moveTo>
                <a:lnTo>
                  <a:pt x="5165" y="966534"/>
                </a:lnTo>
                <a:lnTo>
                  <a:pt x="20585" y="862517"/>
                </a:lnTo>
                <a:lnTo>
                  <a:pt x="46142" y="760514"/>
                </a:lnTo>
                <a:lnTo>
                  <a:pt x="81568" y="661501"/>
                </a:lnTo>
                <a:lnTo>
                  <a:pt x="126531" y="566431"/>
                </a:lnTo>
                <a:lnTo>
                  <a:pt x="180592" y="476237"/>
                </a:lnTo>
                <a:lnTo>
                  <a:pt x="243236" y="391776"/>
                </a:lnTo>
                <a:lnTo>
                  <a:pt x="313856" y="313855"/>
                </a:lnTo>
                <a:lnTo>
                  <a:pt x="391777" y="243235"/>
                </a:lnTo>
                <a:lnTo>
                  <a:pt x="476238" y="180591"/>
                </a:lnTo>
                <a:lnTo>
                  <a:pt x="566432" y="126531"/>
                </a:lnTo>
                <a:lnTo>
                  <a:pt x="661502" y="81568"/>
                </a:lnTo>
                <a:lnTo>
                  <a:pt x="760515" y="46142"/>
                </a:lnTo>
                <a:lnTo>
                  <a:pt x="862517" y="20585"/>
                </a:lnTo>
                <a:lnTo>
                  <a:pt x="966535" y="5165"/>
                </a:lnTo>
                <a:lnTo>
                  <a:pt x="1071570" y="0"/>
                </a:lnTo>
                <a:lnTo>
                  <a:pt x="1176605" y="5165"/>
                </a:lnTo>
                <a:lnTo>
                  <a:pt x="1280623" y="20585"/>
                </a:lnTo>
                <a:lnTo>
                  <a:pt x="1382625" y="46142"/>
                </a:lnTo>
                <a:lnTo>
                  <a:pt x="1481638" y="81568"/>
                </a:lnTo>
                <a:lnTo>
                  <a:pt x="1576708" y="126531"/>
                </a:lnTo>
                <a:lnTo>
                  <a:pt x="1666902" y="180591"/>
                </a:lnTo>
                <a:lnTo>
                  <a:pt x="1751363" y="243235"/>
                </a:lnTo>
                <a:lnTo>
                  <a:pt x="1829284" y="313855"/>
                </a:lnTo>
                <a:lnTo>
                  <a:pt x="1899904" y="391776"/>
                </a:lnTo>
                <a:lnTo>
                  <a:pt x="1962548" y="476237"/>
                </a:lnTo>
                <a:lnTo>
                  <a:pt x="2016609" y="566431"/>
                </a:lnTo>
                <a:lnTo>
                  <a:pt x="2061572" y="661501"/>
                </a:lnTo>
                <a:lnTo>
                  <a:pt x="2096998" y="760514"/>
                </a:lnTo>
                <a:lnTo>
                  <a:pt x="2122555" y="862517"/>
                </a:lnTo>
                <a:lnTo>
                  <a:pt x="2137975" y="966534"/>
                </a:lnTo>
                <a:lnTo>
                  <a:pt x="2143140" y="1071569"/>
                </a:lnTo>
                <a:lnTo>
                  <a:pt x="2137975" y="1176604"/>
                </a:lnTo>
                <a:lnTo>
                  <a:pt x="2122555" y="1280621"/>
                </a:lnTo>
                <a:lnTo>
                  <a:pt x="2096998" y="1382624"/>
                </a:lnTo>
                <a:lnTo>
                  <a:pt x="2061572" y="1481637"/>
                </a:lnTo>
                <a:lnTo>
                  <a:pt x="2016609" y="1576707"/>
                </a:lnTo>
                <a:lnTo>
                  <a:pt x="1962548" y="1666901"/>
                </a:lnTo>
                <a:lnTo>
                  <a:pt x="1899904" y="1751362"/>
                </a:lnTo>
                <a:lnTo>
                  <a:pt x="1829284" y="1829283"/>
                </a:lnTo>
                <a:lnTo>
                  <a:pt x="1751363" y="1899903"/>
                </a:lnTo>
                <a:lnTo>
                  <a:pt x="1666902" y="1962547"/>
                </a:lnTo>
                <a:lnTo>
                  <a:pt x="1576708" y="2016607"/>
                </a:lnTo>
                <a:lnTo>
                  <a:pt x="1481638" y="2061570"/>
                </a:lnTo>
                <a:lnTo>
                  <a:pt x="1382625" y="2096996"/>
                </a:lnTo>
                <a:lnTo>
                  <a:pt x="1280623" y="2122553"/>
                </a:lnTo>
                <a:lnTo>
                  <a:pt x="1176605" y="2137973"/>
                </a:lnTo>
                <a:lnTo>
                  <a:pt x="1071570" y="2143138"/>
                </a:lnTo>
                <a:lnTo>
                  <a:pt x="966535" y="2137973"/>
                </a:lnTo>
                <a:lnTo>
                  <a:pt x="862517" y="2122553"/>
                </a:lnTo>
                <a:lnTo>
                  <a:pt x="760515" y="2096996"/>
                </a:lnTo>
                <a:lnTo>
                  <a:pt x="661502" y="2061570"/>
                </a:lnTo>
                <a:lnTo>
                  <a:pt x="566432" y="2016607"/>
                </a:lnTo>
                <a:lnTo>
                  <a:pt x="476238" y="1962547"/>
                </a:lnTo>
                <a:lnTo>
                  <a:pt x="391777" y="1899903"/>
                </a:lnTo>
                <a:lnTo>
                  <a:pt x="313856" y="1829283"/>
                </a:lnTo>
                <a:lnTo>
                  <a:pt x="243236" y="1751362"/>
                </a:lnTo>
                <a:lnTo>
                  <a:pt x="180592" y="1666901"/>
                </a:lnTo>
                <a:lnTo>
                  <a:pt x="126531" y="1576707"/>
                </a:lnTo>
                <a:lnTo>
                  <a:pt x="81568" y="1481637"/>
                </a:lnTo>
                <a:lnTo>
                  <a:pt x="46142" y="1382624"/>
                </a:lnTo>
                <a:lnTo>
                  <a:pt x="20585" y="1280621"/>
                </a:lnTo>
                <a:lnTo>
                  <a:pt x="5165" y="1176604"/>
                </a:lnTo>
                <a:lnTo>
                  <a:pt x="0" y="1071569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latin typeface="+mj-lt"/>
            </a:endParaRPr>
          </a:p>
        </p:txBody>
      </p:sp>
      <p:cxnSp>
        <p:nvCxnSpPr>
          <p:cNvPr id="83" name="Straight Connector 82"/>
          <p:cNvCxnSpPr>
            <a:stCxn id="105" idx="38"/>
            <a:endCxn id="75" idx="6"/>
          </p:cNvCxnSpPr>
          <p:nvPr/>
        </p:nvCxnSpPr>
        <p:spPr>
          <a:xfrm>
            <a:off x="3281845" y="2017935"/>
            <a:ext cx="480440" cy="350032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106" idx="33"/>
            <a:endCxn id="75" idx="2"/>
          </p:cNvCxnSpPr>
          <p:nvPr/>
        </p:nvCxnSpPr>
        <p:spPr>
          <a:xfrm>
            <a:off x="3043428" y="2603128"/>
            <a:ext cx="573444" cy="115888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107" idx="31"/>
            <a:endCxn id="75" idx="62"/>
          </p:cNvCxnSpPr>
          <p:nvPr/>
        </p:nvCxnSpPr>
        <p:spPr>
          <a:xfrm flipV="1">
            <a:off x="3041892" y="3098986"/>
            <a:ext cx="574980" cy="134805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108" idx="27"/>
            <a:endCxn id="75" idx="58"/>
          </p:cNvCxnSpPr>
          <p:nvPr/>
        </p:nvCxnSpPr>
        <p:spPr>
          <a:xfrm flipV="1">
            <a:off x="3293088" y="3450035"/>
            <a:ext cx="469197" cy="385246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A good team </a:t>
            </a:r>
            <a:r>
              <a:rPr lang="en-US">
                <a:solidFill>
                  <a:schemeClr val="accent2"/>
                </a:solidFill>
              </a:rPr>
              <a:t>princip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38" name="Straight Connector 137"/>
          <p:cNvCxnSpPr>
            <a:stCxn id="142" idx="38"/>
            <a:endCxn id="75" idx="26"/>
          </p:cNvCxnSpPr>
          <p:nvPr/>
        </p:nvCxnSpPr>
        <p:spPr>
          <a:xfrm flipH="1">
            <a:off x="5381715" y="2017935"/>
            <a:ext cx="459623" cy="350032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stCxn id="143" idx="33"/>
            <a:endCxn id="75" idx="30"/>
          </p:cNvCxnSpPr>
          <p:nvPr/>
        </p:nvCxnSpPr>
        <p:spPr>
          <a:xfrm flipH="1">
            <a:off x="5527128" y="2603128"/>
            <a:ext cx="552643" cy="115888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stCxn id="144" idx="31"/>
            <a:endCxn id="75" idx="34"/>
          </p:cNvCxnSpPr>
          <p:nvPr/>
        </p:nvCxnSpPr>
        <p:spPr>
          <a:xfrm flipH="1" flipV="1">
            <a:off x="5527128" y="3098986"/>
            <a:ext cx="554179" cy="134805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>
            <a:endCxn id="75" idx="38"/>
          </p:cNvCxnSpPr>
          <p:nvPr/>
        </p:nvCxnSpPr>
        <p:spPr>
          <a:xfrm flipH="1" flipV="1">
            <a:off x="5381715" y="3450035"/>
            <a:ext cx="507301" cy="370762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6763549" y="2421833"/>
            <a:ext cx="1783551" cy="317455"/>
            <a:chOff x="6763549" y="2421833"/>
            <a:chExt cx="1783551" cy="317455"/>
          </a:xfrm>
        </p:grpSpPr>
        <p:sp>
          <p:nvSpPr>
            <p:cNvPr id="150" name="TextBox 149"/>
            <p:cNvSpPr txBox="1"/>
            <p:nvPr/>
          </p:nvSpPr>
          <p:spPr>
            <a:xfrm>
              <a:off x="6763549" y="2585400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6763549" y="2421833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763549" y="3096085"/>
            <a:ext cx="1783551" cy="317455"/>
            <a:chOff x="6763549" y="3096085"/>
            <a:chExt cx="1783551" cy="317455"/>
          </a:xfrm>
        </p:grpSpPr>
        <p:sp>
          <p:nvSpPr>
            <p:cNvPr id="152" name="TextBox 151"/>
            <p:cNvSpPr txBox="1"/>
            <p:nvPr/>
          </p:nvSpPr>
          <p:spPr>
            <a:xfrm>
              <a:off x="6763549" y="3259652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6763549" y="3096085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471326" y="1744569"/>
            <a:ext cx="1783551" cy="317455"/>
            <a:chOff x="6471326" y="1744569"/>
            <a:chExt cx="1783551" cy="317455"/>
          </a:xfrm>
        </p:grpSpPr>
        <p:sp>
          <p:nvSpPr>
            <p:cNvPr id="154" name="TextBox 153"/>
            <p:cNvSpPr txBox="1"/>
            <p:nvPr/>
          </p:nvSpPr>
          <p:spPr>
            <a:xfrm>
              <a:off x="6471326" y="1908136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6471326" y="1744569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71326" y="3760886"/>
            <a:ext cx="1783551" cy="317455"/>
            <a:chOff x="6471326" y="3760886"/>
            <a:chExt cx="1783551" cy="317455"/>
          </a:xfrm>
        </p:grpSpPr>
        <p:sp>
          <p:nvSpPr>
            <p:cNvPr id="156" name="TextBox 155"/>
            <p:cNvSpPr txBox="1"/>
            <p:nvPr/>
          </p:nvSpPr>
          <p:spPr>
            <a:xfrm>
              <a:off x="6471326" y="3924453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471326" y="3760886"/>
              <a:ext cx="178355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93725" y="2421833"/>
            <a:ext cx="1783477" cy="317455"/>
            <a:chOff x="593725" y="2421833"/>
            <a:chExt cx="1783477" cy="317455"/>
          </a:xfrm>
        </p:grpSpPr>
        <p:sp>
          <p:nvSpPr>
            <p:cNvPr id="160" name="TextBox 159"/>
            <p:cNvSpPr txBox="1"/>
            <p:nvPr/>
          </p:nvSpPr>
          <p:spPr>
            <a:xfrm flipH="1">
              <a:off x="593725" y="2585400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 flipH="1">
              <a:off x="593725" y="2421833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93725" y="3096085"/>
            <a:ext cx="1783477" cy="317455"/>
            <a:chOff x="593725" y="3096085"/>
            <a:chExt cx="1783477" cy="317455"/>
          </a:xfrm>
        </p:grpSpPr>
        <p:sp>
          <p:nvSpPr>
            <p:cNvPr id="162" name="TextBox 161"/>
            <p:cNvSpPr txBox="1"/>
            <p:nvPr/>
          </p:nvSpPr>
          <p:spPr>
            <a:xfrm flipH="1">
              <a:off x="593725" y="3259652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 flipH="1">
              <a:off x="593725" y="3096085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85936" y="1744569"/>
            <a:ext cx="1783477" cy="317455"/>
            <a:chOff x="885936" y="1744569"/>
            <a:chExt cx="1783477" cy="317455"/>
          </a:xfrm>
        </p:grpSpPr>
        <p:sp>
          <p:nvSpPr>
            <p:cNvPr id="164" name="TextBox 163"/>
            <p:cNvSpPr txBox="1"/>
            <p:nvPr/>
          </p:nvSpPr>
          <p:spPr>
            <a:xfrm flipH="1">
              <a:off x="885936" y="1908136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 flipH="1">
              <a:off x="885936" y="1744569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885936" y="3760886"/>
            <a:ext cx="1783477" cy="317455"/>
            <a:chOff x="885936" y="3760886"/>
            <a:chExt cx="1783477" cy="317455"/>
          </a:xfrm>
        </p:grpSpPr>
        <p:sp>
          <p:nvSpPr>
            <p:cNvPr id="166" name="TextBox 165"/>
            <p:cNvSpPr txBox="1"/>
            <p:nvPr/>
          </p:nvSpPr>
          <p:spPr>
            <a:xfrm flipH="1">
              <a:off x="885936" y="3924453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 flipH="1">
              <a:off x="885936" y="3760886"/>
              <a:ext cx="178347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options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935102" y="1723427"/>
            <a:ext cx="378650" cy="378650"/>
            <a:chOff x="2935102" y="1723427"/>
            <a:chExt cx="378650" cy="378650"/>
          </a:xfrm>
        </p:grpSpPr>
        <p:sp>
          <p:nvSpPr>
            <p:cNvPr id="105" name="Freeform 104"/>
            <p:cNvSpPr/>
            <p:nvPr/>
          </p:nvSpPr>
          <p:spPr>
            <a:xfrm>
              <a:off x="2935102" y="1723427"/>
              <a:ext cx="378650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75" name="TextBox 174"/>
            <p:cNvSpPr txBox="1"/>
            <p:nvPr/>
          </p:nvSpPr>
          <p:spPr>
            <a:xfrm>
              <a:off x="2984024" y="1817351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1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809429" y="1723427"/>
            <a:ext cx="378675" cy="378650"/>
            <a:chOff x="5809429" y="1723427"/>
            <a:chExt cx="378675" cy="378650"/>
          </a:xfrm>
        </p:grpSpPr>
        <p:sp>
          <p:nvSpPr>
            <p:cNvPr id="142" name="Freeform 141"/>
            <p:cNvSpPr/>
            <p:nvPr/>
          </p:nvSpPr>
          <p:spPr>
            <a:xfrm flipH="1">
              <a:off x="5809429" y="1723427"/>
              <a:ext cx="378675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76" name="TextBox 175"/>
            <p:cNvSpPr txBox="1"/>
            <p:nvPr/>
          </p:nvSpPr>
          <p:spPr>
            <a:xfrm>
              <a:off x="5856674" y="1817351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2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665691" y="2395245"/>
            <a:ext cx="378650" cy="378650"/>
            <a:chOff x="2665691" y="2395245"/>
            <a:chExt cx="378650" cy="378650"/>
          </a:xfrm>
        </p:grpSpPr>
        <p:sp>
          <p:nvSpPr>
            <p:cNvPr id="106" name="Freeform 105"/>
            <p:cNvSpPr/>
            <p:nvPr/>
          </p:nvSpPr>
          <p:spPr>
            <a:xfrm>
              <a:off x="2665691" y="2395245"/>
              <a:ext cx="378650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2720564" y="2492738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078858" y="2395245"/>
            <a:ext cx="378675" cy="378650"/>
            <a:chOff x="6078858" y="2395245"/>
            <a:chExt cx="378675" cy="378650"/>
          </a:xfrm>
        </p:grpSpPr>
        <p:sp>
          <p:nvSpPr>
            <p:cNvPr id="143" name="Freeform 142"/>
            <p:cNvSpPr/>
            <p:nvPr/>
          </p:nvSpPr>
          <p:spPr>
            <a:xfrm flipH="1">
              <a:off x="6078858" y="2395245"/>
              <a:ext cx="378675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6137479" y="2492738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4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80394" y="3063024"/>
            <a:ext cx="378675" cy="378650"/>
            <a:chOff x="6080394" y="3063024"/>
            <a:chExt cx="378675" cy="378650"/>
          </a:xfrm>
        </p:grpSpPr>
        <p:sp>
          <p:nvSpPr>
            <p:cNvPr id="144" name="Freeform 143"/>
            <p:cNvSpPr/>
            <p:nvPr/>
          </p:nvSpPr>
          <p:spPr>
            <a:xfrm flipH="1">
              <a:off x="6080394" y="3063024"/>
              <a:ext cx="378675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79" name="TextBox 178"/>
            <p:cNvSpPr txBox="1"/>
            <p:nvPr/>
          </p:nvSpPr>
          <p:spPr>
            <a:xfrm>
              <a:off x="6129561" y="3163659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6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664155" y="3063024"/>
            <a:ext cx="378650" cy="378650"/>
            <a:chOff x="2664155" y="3063024"/>
            <a:chExt cx="378650" cy="378650"/>
          </a:xfrm>
        </p:grpSpPr>
        <p:sp>
          <p:nvSpPr>
            <p:cNvPr id="107" name="Freeform 106"/>
            <p:cNvSpPr/>
            <p:nvPr/>
          </p:nvSpPr>
          <p:spPr>
            <a:xfrm>
              <a:off x="2664155" y="3063024"/>
              <a:ext cx="378650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80" name="TextBox 179"/>
            <p:cNvSpPr txBox="1"/>
            <p:nvPr/>
          </p:nvSpPr>
          <p:spPr>
            <a:xfrm>
              <a:off x="2709449" y="3163659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5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936793" y="3735204"/>
            <a:ext cx="378650" cy="378650"/>
            <a:chOff x="2936793" y="3735204"/>
            <a:chExt cx="378650" cy="378650"/>
          </a:xfrm>
        </p:grpSpPr>
        <p:sp>
          <p:nvSpPr>
            <p:cNvPr id="108" name="Freeform 107"/>
            <p:cNvSpPr/>
            <p:nvPr/>
          </p:nvSpPr>
          <p:spPr>
            <a:xfrm>
              <a:off x="2936793" y="3735204"/>
              <a:ext cx="378650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2979570" y="3835281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7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807740" y="3735204"/>
            <a:ext cx="378675" cy="378650"/>
            <a:chOff x="5807740" y="3735204"/>
            <a:chExt cx="378675" cy="378650"/>
          </a:xfrm>
        </p:grpSpPr>
        <p:sp>
          <p:nvSpPr>
            <p:cNvPr id="145" name="Freeform 144"/>
            <p:cNvSpPr/>
            <p:nvPr/>
          </p:nvSpPr>
          <p:spPr>
            <a:xfrm flipH="1">
              <a:off x="5807740" y="3735204"/>
              <a:ext cx="378675" cy="378650"/>
            </a:xfrm>
            <a:custGeom>
              <a:avLst/>
              <a:gdLst>
                <a:gd name="connsiteX0" fmla="*/ 0 w 2143140"/>
                <a:gd name="connsiteY0" fmla="*/ 1071569 h 2143138"/>
                <a:gd name="connsiteX1" fmla="*/ 5165 w 2143140"/>
                <a:gd name="connsiteY1" fmla="*/ 966534 h 2143138"/>
                <a:gd name="connsiteX2" fmla="*/ 20585 w 2143140"/>
                <a:gd name="connsiteY2" fmla="*/ 862517 h 2143138"/>
                <a:gd name="connsiteX3" fmla="*/ 46142 w 2143140"/>
                <a:gd name="connsiteY3" fmla="*/ 760514 h 2143138"/>
                <a:gd name="connsiteX4" fmla="*/ 81568 w 2143140"/>
                <a:gd name="connsiteY4" fmla="*/ 661501 h 2143138"/>
                <a:gd name="connsiteX5" fmla="*/ 126531 w 2143140"/>
                <a:gd name="connsiteY5" fmla="*/ 566431 h 2143138"/>
                <a:gd name="connsiteX6" fmla="*/ 180592 w 2143140"/>
                <a:gd name="connsiteY6" fmla="*/ 476237 h 2143138"/>
                <a:gd name="connsiteX7" fmla="*/ 243236 w 2143140"/>
                <a:gd name="connsiteY7" fmla="*/ 391776 h 2143138"/>
                <a:gd name="connsiteX8" fmla="*/ 313856 w 2143140"/>
                <a:gd name="connsiteY8" fmla="*/ 313855 h 2143138"/>
                <a:gd name="connsiteX9" fmla="*/ 391777 w 2143140"/>
                <a:gd name="connsiteY9" fmla="*/ 243235 h 2143138"/>
                <a:gd name="connsiteX10" fmla="*/ 476238 w 2143140"/>
                <a:gd name="connsiteY10" fmla="*/ 180591 h 2143138"/>
                <a:gd name="connsiteX11" fmla="*/ 566432 w 2143140"/>
                <a:gd name="connsiteY11" fmla="*/ 126531 h 2143138"/>
                <a:gd name="connsiteX12" fmla="*/ 661502 w 2143140"/>
                <a:gd name="connsiteY12" fmla="*/ 81568 h 2143138"/>
                <a:gd name="connsiteX13" fmla="*/ 760515 w 2143140"/>
                <a:gd name="connsiteY13" fmla="*/ 46142 h 2143138"/>
                <a:gd name="connsiteX14" fmla="*/ 862517 w 2143140"/>
                <a:gd name="connsiteY14" fmla="*/ 20585 h 2143138"/>
                <a:gd name="connsiteX15" fmla="*/ 966535 w 2143140"/>
                <a:gd name="connsiteY15" fmla="*/ 5165 h 2143138"/>
                <a:gd name="connsiteX16" fmla="*/ 1071570 w 2143140"/>
                <a:gd name="connsiteY16" fmla="*/ 0 h 2143138"/>
                <a:gd name="connsiteX17" fmla="*/ 1176605 w 2143140"/>
                <a:gd name="connsiteY17" fmla="*/ 5165 h 2143138"/>
                <a:gd name="connsiteX18" fmla="*/ 1280623 w 2143140"/>
                <a:gd name="connsiteY18" fmla="*/ 20585 h 2143138"/>
                <a:gd name="connsiteX19" fmla="*/ 1382625 w 2143140"/>
                <a:gd name="connsiteY19" fmla="*/ 46142 h 2143138"/>
                <a:gd name="connsiteX20" fmla="*/ 1481638 w 2143140"/>
                <a:gd name="connsiteY20" fmla="*/ 81568 h 2143138"/>
                <a:gd name="connsiteX21" fmla="*/ 1576708 w 2143140"/>
                <a:gd name="connsiteY21" fmla="*/ 126531 h 2143138"/>
                <a:gd name="connsiteX22" fmla="*/ 1666902 w 2143140"/>
                <a:gd name="connsiteY22" fmla="*/ 180591 h 2143138"/>
                <a:gd name="connsiteX23" fmla="*/ 1751363 w 2143140"/>
                <a:gd name="connsiteY23" fmla="*/ 243235 h 2143138"/>
                <a:gd name="connsiteX24" fmla="*/ 1829284 w 2143140"/>
                <a:gd name="connsiteY24" fmla="*/ 313855 h 2143138"/>
                <a:gd name="connsiteX25" fmla="*/ 1899904 w 2143140"/>
                <a:gd name="connsiteY25" fmla="*/ 391776 h 2143138"/>
                <a:gd name="connsiteX26" fmla="*/ 1962548 w 2143140"/>
                <a:gd name="connsiteY26" fmla="*/ 476237 h 2143138"/>
                <a:gd name="connsiteX27" fmla="*/ 2016609 w 2143140"/>
                <a:gd name="connsiteY27" fmla="*/ 566431 h 2143138"/>
                <a:gd name="connsiteX28" fmla="*/ 2061572 w 2143140"/>
                <a:gd name="connsiteY28" fmla="*/ 661501 h 2143138"/>
                <a:gd name="connsiteX29" fmla="*/ 2096998 w 2143140"/>
                <a:gd name="connsiteY29" fmla="*/ 760514 h 2143138"/>
                <a:gd name="connsiteX30" fmla="*/ 2122555 w 2143140"/>
                <a:gd name="connsiteY30" fmla="*/ 862517 h 2143138"/>
                <a:gd name="connsiteX31" fmla="*/ 2137975 w 2143140"/>
                <a:gd name="connsiteY31" fmla="*/ 966534 h 2143138"/>
                <a:gd name="connsiteX32" fmla="*/ 2143140 w 2143140"/>
                <a:gd name="connsiteY32" fmla="*/ 1071569 h 2143138"/>
                <a:gd name="connsiteX33" fmla="*/ 2137975 w 2143140"/>
                <a:gd name="connsiteY33" fmla="*/ 1176604 h 2143138"/>
                <a:gd name="connsiteX34" fmla="*/ 2122555 w 2143140"/>
                <a:gd name="connsiteY34" fmla="*/ 1280621 h 2143138"/>
                <a:gd name="connsiteX35" fmla="*/ 2096998 w 2143140"/>
                <a:gd name="connsiteY35" fmla="*/ 1382624 h 2143138"/>
                <a:gd name="connsiteX36" fmla="*/ 2061572 w 2143140"/>
                <a:gd name="connsiteY36" fmla="*/ 1481637 h 2143138"/>
                <a:gd name="connsiteX37" fmla="*/ 2016609 w 2143140"/>
                <a:gd name="connsiteY37" fmla="*/ 1576707 h 2143138"/>
                <a:gd name="connsiteX38" fmla="*/ 1962548 w 2143140"/>
                <a:gd name="connsiteY38" fmla="*/ 1666901 h 2143138"/>
                <a:gd name="connsiteX39" fmla="*/ 1899904 w 2143140"/>
                <a:gd name="connsiteY39" fmla="*/ 1751362 h 2143138"/>
                <a:gd name="connsiteX40" fmla="*/ 1829284 w 2143140"/>
                <a:gd name="connsiteY40" fmla="*/ 1829283 h 2143138"/>
                <a:gd name="connsiteX41" fmla="*/ 1751363 w 2143140"/>
                <a:gd name="connsiteY41" fmla="*/ 1899903 h 2143138"/>
                <a:gd name="connsiteX42" fmla="*/ 1666902 w 2143140"/>
                <a:gd name="connsiteY42" fmla="*/ 1962547 h 2143138"/>
                <a:gd name="connsiteX43" fmla="*/ 1576708 w 2143140"/>
                <a:gd name="connsiteY43" fmla="*/ 2016607 h 2143138"/>
                <a:gd name="connsiteX44" fmla="*/ 1481638 w 2143140"/>
                <a:gd name="connsiteY44" fmla="*/ 2061570 h 2143138"/>
                <a:gd name="connsiteX45" fmla="*/ 1382625 w 2143140"/>
                <a:gd name="connsiteY45" fmla="*/ 2096996 h 2143138"/>
                <a:gd name="connsiteX46" fmla="*/ 1280623 w 2143140"/>
                <a:gd name="connsiteY46" fmla="*/ 2122553 h 2143138"/>
                <a:gd name="connsiteX47" fmla="*/ 1176605 w 2143140"/>
                <a:gd name="connsiteY47" fmla="*/ 2137973 h 2143138"/>
                <a:gd name="connsiteX48" fmla="*/ 1071570 w 2143140"/>
                <a:gd name="connsiteY48" fmla="*/ 2143138 h 2143138"/>
                <a:gd name="connsiteX49" fmla="*/ 966535 w 2143140"/>
                <a:gd name="connsiteY49" fmla="*/ 2137973 h 2143138"/>
                <a:gd name="connsiteX50" fmla="*/ 862517 w 2143140"/>
                <a:gd name="connsiteY50" fmla="*/ 2122553 h 2143138"/>
                <a:gd name="connsiteX51" fmla="*/ 760515 w 2143140"/>
                <a:gd name="connsiteY51" fmla="*/ 2096996 h 2143138"/>
                <a:gd name="connsiteX52" fmla="*/ 661502 w 2143140"/>
                <a:gd name="connsiteY52" fmla="*/ 2061570 h 2143138"/>
                <a:gd name="connsiteX53" fmla="*/ 566432 w 2143140"/>
                <a:gd name="connsiteY53" fmla="*/ 2016607 h 2143138"/>
                <a:gd name="connsiteX54" fmla="*/ 476238 w 2143140"/>
                <a:gd name="connsiteY54" fmla="*/ 1962547 h 2143138"/>
                <a:gd name="connsiteX55" fmla="*/ 391777 w 2143140"/>
                <a:gd name="connsiteY55" fmla="*/ 1899903 h 2143138"/>
                <a:gd name="connsiteX56" fmla="*/ 313856 w 2143140"/>
                <a:gd name="connsiteY56" fmla="*/ 1829283 h 2143138"/>
                <a:gd name="connsiteX57" fmla="*/ 243236 w 2143140"/>
                <a:gd name="connsiteY57" fmla="*/ 1751362 h 2143138"/>
                <a:gd name="connsiteX58" fmla="*/ 180592 w 2143140"/>
                <a:gd name="connsiteY58" fmla="*/ 1666901 h 2143138"/>
                <a:gd name="connsiteX59" fmla="*/ 126531 w 2143140"/>
                <a:gd name="connsiteY59" fmla="*/ 1576707 h 2143138"/>
                <a:gd name="connsiteX60" fmla="*/ 81568 w 2143140"/>
                <a:gd name="connsiteY60" fmla="*/ 1481637 h 2143138"/>
                <a:gd name="connsiteX61" fmla="*/ 46142 w 2143140"/>
                <a:gd name="connsiteY61" fmla="*/ 1382624 h 2143138"/>
                <a:gd name="connsiteX62" fmla="*/ 20585 w 2143140"/>
                <a:gd name="connsiteY62" fmla="*/ 1280621 h 2143138"/>
                <a:gd name="connsiteX63" fmla="*/ 5165 w 2143140"/>
                <a:gd name="connsiteY63" fmla="*/ 1176604 h 2143138"/>
                <a:gd name="connsiteX64" fmla="*/ 0 w 2143140"/>
                <a:gd name="connsiteY64" fmla="*/ 1071569 h 21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143140" h="2143138">
                  <a:moveTo>
                    <a:pt x="0" y="1071569"/>
                  </a:moveTo>
                  <a:lnTo>
                    <a:pt x="5165" y="966534"/>
                  </a:lnTo>
                  <a:lnTo>
                    <a:pt x="20585" y="862517"/>
                  </a:lnTo>
                  <a:lnTo>
                    <a:pt x="46142" y="760514"/>
                  </a:lnTo>
                  <a:lnTo>
                    <a:pt x="81568" y="661501"/>
                  </a:lnTo>
                  <a:lnTo>
                    <a:pt x="126531" y="566431"/>
                  </a:lnTo>
                  <a:lnTo>
                    <a:pt x="180592" y="476237"/>
                  </a:lnTo>
                  <a:lnTo>
                    <a:pt x="243236" y="391776"/>
                  </a:lnTo>
                  <a:lnTo>
                    <a:pt x="313856" y="313855"/>
                  </a:lnTo>
                  <a:lnTo>
                    <a:pt x="391777" y="243235"/>
                  </a:lnTo>
                  <a:lnTo>
                    <a:pt x="476238" y="180591"/>
                  </a:lnTo>
                  <a:lnTo>
                    <a:pt x="566432" y="126531"/>
                  </a:lnTo>
                  <a:lnTo>
                    <a:pt x="661502" y="81568"/>
                  </a:lnTo>
                  <a:lnTo>
                    <a:pt x="760515" y="46142"/>
                  </a:lnTo>
                  <a:lnTo>
                    <a:pt x="862517" y="20585"/>
                  </a:lnTo>
                  <a:lnTo>
                    <a:pt x="966535" y="5165"/>
                  </a:lnTo>
                  <a:lnTo>
                    <a:pt x="1071570" y="0"/>
                  </a:lnTo>
                  <a:lnTo>
                    <a:pt x="1176605" y="5165"/>
                  </a:lnTo>
                  <a:lnTo>
                    <a:pt x="1280623" y="20585"/>
                  </a:lnTo>
                  <a:lnTo>
                    <a:pt x="1382625" y="46142"/>
                  </a:lnTo>
                  <a:lnTo>
                    <a:pt x="1481638" y="81568"/>
                  </a:lnTo>
                  <a:lnTo>
                    <a:pt x="1576708" y="126531"/>
                  </a:lnTo>
                  <a:lnTo>
                    <a:pt x="1666902" y="180591"/>
                  </a:lnTo>
                  <a:lnTo>
                    <a:pt x="1751363" y="243235"/>
                  </a:lnTo>
                  <a:lnTo>
                    <a:pt x="1829284" y="313855"/>
                  </a:lnTo>
                  <a:lnTo>
                    <a:pt x="1899904" y="391776"/>
                  </a:lnTo>
                  <a:lnTo>
                    <a:pt x="1962548" y="476237"/>
                  </a:lnTo>
                  <a:lnTo>
                    <a:pt x="2016609" y="566431"/>
                  </a:lnTo>
                  <a:lnTo>
                    <a:pt x="2061572" y="661501"/>
                  </a:lnTo>
                  <a:lnTo>
                    <a:pt x="2096998" y="760514"/>
                  </a:lnTo>
                  <a:lnTo>
                    <a:pt x="2122555" y="862517"/>
                  </a:lnTo>
                  <a:lnTo>
                    <a:pt x="2137975" y="966534"/>
                  </a:lnTo>
                  <a:lnTo>
                    <a:pt x="2143140" y="1071569"/>
                  </a:lnTo>
                  <a:lnTo>
                    <a:pt x="2137975" y="1176604"/>
                  </a:lnTo>
                  <a:lnTo>
                    <a:pt x="2122555" y="1280621"/>
                  </a:lnTo>
                  <a:lnTo>
                    <a:pt x="2096998" y="1382624"/>
                  </a:lnTo>
                  <a:lnTo>
                    <a:pt x="2061572" y="1481637"/>
                  </a:lnTo>
                  <a:lnTo>
                    <a:pt x="2016609" y="1576707"/>
                  </a:lnTo>
                  <a:lnTo>
                    <a:pt x="1962548" y="1666901"/>
                  </a:lnTo>
                  <a:lnTo>
                    <a:pt x="1899904" y="1751362"/>
                  </a:lnTo>
                  <a:lnTo>
                    <a:pt x="1829284" y="1829283"/>
                  </a:lnTo>
                  <a:lnTo>
                    <a:pt x="1751363" y="1899903"/>
                  </a:lnTo>
                  <a:lnTo>
                    <a:pt x="1666902" y="1962547"/>
                  </a:lnTo>
                  <a:lnTo>
                    <a:pt x="1576708" y="2016607"/>
                  </a:lnTo>
                  <a:lnTo>
                    <a:pt x="1481638" y="2061570"/>
                  </a:lnTo>
                  <a:lnTo>
                    <a:pt x="1382625" y="2096996"/>
                  </a:lnTo>
                  <a:lnTo>
                    <a:pt x="1280623" y="2122553"/>
                  </a:lnTo>
                  <a:lnTo>
                    <a:pt x="1176605" y="2137973"/>
                  </a:lnTo>
                  <a:lnTo>
                    <a:pt x="1071570" y="2143138"/>
                  </a:lnTo>
                  <a:lnTo>
                    <a:pt x="966535" y="2137973"/>
                  </a:lnTo>
                  <a:lnTo>
                    <a:pt x="862517" y="2122553"/>
                  </a:lnTo>
                  <a:lnTo>
                    <a:pt x="760515" y="2096996"/>
                  </a:lnTo>
                  <a:lnTo>
                    <a:pt x="661502" y="2061570"/>
                  </a:lnTo>
                  <a:lnTo>
                    <a:pt x="566432" y="2016607"/>
                  </a:lnTo>
                  <a:lnTo>
                    <a:pt x="476238" y="1962547"/>
                  </a:lnTo>
                  <a:lnTo>
                    <a:pt x="391777" y="1899903"/>
                  </a:lnTo>
                  <a:lnTo>
                    <a:pt x="313856" y="1829283"/>
                  </a:lnTo>
                  <a:lnTo>
                    <a:pt x="243236" y="1751362"/>
                  </a:lnTo>
                  <a:lnTo>
                    <a:pt x="180592" y="1666901"/>
                  </a:lnTo>
                  <a:lnTo>
                    <a:pt x="126531" y="1576707"/>
                  </a:lnTo>
                  <a:lnTo>
                    <a:pt x="81568" y="1481637"/>
                  </a:lnTo>
                  <a:lnTo>
                    <a:pt x="46142" y="1382624"/>
                  </a:lnTo>
                  <a:lnTo>
                    <a:pt x="20585" y="1280621"/>
                  </a:lnTo>
                  <a:lnTo>
                    <a:pt x="5165" y="1176604"/>
                  </a:lnTo>
                  <a:lnTo>
                    <a:pt x="0" y="107156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SA">
                <a:latin typeface="+mj-lt"/>
              </a:endParaRPr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5856673" y="3843257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>
                  <a:solidFill>
                    <a:schemeClr val="bg1"/>
                  </a:solidFill>
                  <a:latin typeface="+mj-lt"/>
                </a:rPr>
                <a:t>08</a:t>
              </a: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4324351" y="2304711"/>
            <a:ext cx="481294" cy="1227886"/>
            <a:chOff x="3263449" y="1837983"/>
            <a:chExt cx="882788" cy="2252185"/>
          </a:xfrm>
          <a:solidFill>
            <a:schemeClr val="accent1"/>
          </a:solidFill>
        </p:grpSpPr>
        <p:grpSp>
          <p:nvGrpSpPr>
            <p:cNvPr id="88" name="Group 87"/>
            <p:cNvGrpSpPr/>
            <p:nvPr/>
          </p:nvGrpSpPr>
          <p:grpSpPr>
            <a:xfrm>
              <a:off x="3263449" y="1837983"/>
              <a:ext cx="882788" cy="2252185"/>
              <a:chOff x="3527425" y="1531938"/>
              <a:chExt cx="976313" cy="2490788"/>
            </a:xfrm>
            <a:grpFill/>
          </p:grpSpPr>
          <p:sp>
            <p:nvSpPr>
              <p:cNvPr id="91" name="Oval 7"/>
              <p:cNvSpPr>
                <a:spLocks noChangeArrowheads="1"/>
              </p:cNvSpPr>
              <p:nvPr/>
            </p:nvSpPr>
            <p:spPr bwMode="auto">
              <a:xfrm>
                <a:off x="3822700" y="1531938"/>
                <a:ext cx="381000" cy="3857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92" name="Freeform 9"/>
              <p:cNvSpPr>
                <a:spLocks/>
              </p:cNvSpPr>
              <p:nvPr/>
            </p:nvSpPr>
            <p:spPr bwMode="auto">
              <a:xfrm>
                <a:off x="3527425" y="1957387"/>
                <a:ext cx="976313" cy="2065339"/>
              </a:xfrm>
              <a:custGeom>
                <a:avLst/>
                <a:gdLst>
                  <a:gd name="T0" fmla="*/ 1655 w 2081"/>
                  <a:gd name="T1" fmla="*/ 0 h 4405"/>
                  <a:gd name="T2" fmla="*/ 1338 w 2081"/>
                  <a:gd name="T3" fmla="*/ 0 h 4405"/>
                  <a:gd name="T4" fmla="*/ 1292 w 2081"/>
                  <a:gd name="T5" fmla="*/ 334 h 4405"/>
                  <a:gd name="T6" fmla="*/ 1193 w 2081"/>
                  <a:gd name="T7" fmla="*/ 667 h 4405"/>
                  <a:gd name="T8" fmla="*/ 1133 w 2081"/>
                  <a:gd name="T9" fmla="*/ 420 h 4405"/>
                  <a:gd name="T10" fmla="*/ 1082 w 2081"/>
                  <a:gd name="T11" fmla="*/ 287 h 4405"/>
                  <a:gd name="T12" fmla="*/ 1145 w 2081"/>
                  <a:gd name="T13" fmla="*/ 202 h 4405"/>
                  <a:gd name="T14" fmla="*/ 1040 w 2081"/>
                  <a:gd name="T15" fmla="*/ 102 h 4405"/>
                  <a:gd name="T16" fmla="*/ 936 w 2081"/>
                  <a:gd name="T17" fmla="*/ 202 h 4405"/>
                  <a:gd name="T18" fmla="*/ 999 w 2081"/>
                  <a:gd name="T19" fmla="*/ 287 h 4405"/>
                  <a:gd name="T20" fmla="*/ 948 w 2081"/>
                  <a:gd name="T21" fmla="*/ 420 h 4405"/>
                  <a:gd name="T22" fmla="*/ 888 w 2081"/>
                  <a:gd name="T23" fmla="*/ 667 h 4405"/>
                  <a:gd name="T24" fmla="*/ 788 w 2081"/>
                  <a:gd name="T25" fmla="*/ 334 h 4405"/>
                  <a:gd name="T26" fmla="*/ 743 w 2081"/>
                  <a:gd name="T27" fmla="*/ 0 h 4405"/>
                  <a:gd name="T28" fmla="*/ 426 w 2081"/>
                  <a:gd name="T29" fmla="*/ 0 h 4405"/>
                  <a:gd name="T30" fmla="*/ 0 w 2081"/>
                  <a:gd name="T31" fmla="*/ 429 h 4405"/>
                  <a:gd name="T32" fmla="*/ 0 w 2081"/>
                  <a:gd name="T33" fmla="*/ 1973 h 4405"/>
                  <a:gd name="T34" fmla="*/ 172 w 2081"/>
                  <a:gd name="T35" fmla="*/ 2147 h 4405"/>
                  <a:gd name="T36" fmla="*/ 339 w 2081"/>
                  <a:gd name="T37" fmla="*/ 1973 h 4405"/>
                  <a:gd name="T38" fmla="*/ 339 w 2081"/>
                  <a:gd name="T39" fmla="*/ 685 h 4405"/>
                  <a:gd name="T40" fmla="*/ 507 w 2081"/>
                  <a:gd name="T41" fmla="*/ 685 h 4405"/>
                  <a:gd name="T42" fmla="*/ 507 w 2081"/>
                  <a:gd name="T43" fmla="*/ 4174 h 4405"/>
                  <a:gd name="T44" fmla="*/ 741 w 2081"/>
                  <a:gd name="T45" fmla="*/ 4405 h 4405"/>
                  <a:gd name="T46" fmla="*/ 971 w 2081"/>
                  <a:gd name="T47" fmla="*/ 4174 h 4405"/>
                  <a:gd name="T48" fmla="*/ 971 w 2081"/>
                  <a:gd name="T49" fmla="*/ 2118 h 4405"/>
                  <a:gd name="T50" fmla="*/ 1115 w 2081"/>
                  <a:gd name="T51" fmla="*/ 2118 h 4405"/>
                  <a:gd name="T52" fmla="*/ 1115 w 2081"/>
                  <a:gd name="T53" fmla="*/ 4174 h 4405"/>
                  <a:gd name="T54" fmla="*/ 1344 w 2081"/>
                  <a:gd name="T55" fmla="*/ 4405 h 4405"/>
                  <a:gd name="T56" fmla="*/ 1574 w 2081"/>
                  <a:gd name="T57" fmla="*/ 4174 h 4405"/>
                  <a:gd name="T58" fmla="*/ 1574 w 2081"/>
                  <a:gd name="T59" fmla="*/ 685 h 4405"/>
                  <a:gd name="T60" fmla="*/ 1741 w 2081"/>
                  <a:gd name="T61" fmla="*/ 685 h 4405"/>
                  <a:gd name="T62" fmla="*/ 1741 w 2081"/>
                  <a:gd name="T63" fmla="*/ 1973 h 4405"/>
                  <a:gd name="T64" fmla="*/ 1909 w 2081"/>
                  <a:gd name="T65" fmla="*/ 2147 h 4405"/>
                  <a:gd name="T66" fmla="*/ 2081 w 2081"/>
                  <a:gd name="T67" fmla="*/ 1973 h 4405"/>
                  <a:gd name="T68" fmla="*/ 2081 w 2081"/>
                  <a:gd name="T69" fmla="*/ 429 h 4405"/>
                  <a:gd name="T70" fmla="*/ 1655 w 2081"/>
                  <a:gd name="T71" fmla="*/ 0 h 4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81" h="4405">
                    <a:moveTo>
                      <a:pt x="1655" y="0"/>
                    </a:moveTo>
                    <a:cubicBezTo>
                      <a:pt x="1539" y="0"/>
                      <a:pt x="1433" y="0"/>
                      <a:pt x="1338" y="0"/>
                    </a:cubicBezTo>
                    <a:cubicBezTo>
                      <a:pt x="1335" y="39"/>
                      <a:pt x="1323" y="183"/>
                      <a:pt x="1292" y="334"/>
                    </a:cubicBezTo>
                    <a:cubicBezTo>
                      <a:pt x="1275" y="421"/>
                      <a:pt x="1193" y="667"/>
                      <a:pt x="1193" y="667"/>
                    </a:cubicBezTo>
                    <a:cubicBezTo>
                      <a:pt x="1193" y="667"/>
                      <a:pt x="1148" y="479"/>
                      <a:pt x="1133" y="420"/>
                    </a:cubicBezTo>
                    <a:cubicBezTo>
                      <a:pt x="1122" y="379"/>
                      <a:pt x="1082" y="287"/>
                      <a:pt x="1082" y="287"/>
                    </a:cubicBezTo>
                    <a:cubicBezTo>
                      <a:pt x="1145" y="202"/>
                      <a:pt x="1145" y="202"/>
                      <a:pt x="1145" y="202"/>
                    </a:cubicBezTo>
                    <a:cubicBezTo>
                      <a:pt x="1040" y="102"/>
                      <a:pt x="1040" y="102"/>
                      <a:pt x="1040" y="102"/>
                    </a:cubicBezTo>
                    <a:cubicBezTo>
                      <a:pt x="936" y="202"/>
                      <a:pt x="936" y="202"/>
                      <a:pt x="936" y="202"/>
                    </a:cubicBezTo>
                    <a:cubicBezTo>
                      <a:pt x="999" y="287"/>
                      <a:pt x="999" y="287"/>
                      <a:pt x="999" y="287"/>
                    </a:cubicBezTo>
                    <a:cubicBezTo>
                      <a:pt x="999" y="287"/>
                      <a:pt x="959" y="379"/>
                      <a:pt x="948" y="420"/>
                    </a:cubicBezTo>
                    <a:cubicBezTo>
                      <a:pt x="932" y="479"/>
                      <a:pt x="888" y="667"/>
                      <a:pt x="888" y="667"/>
                    </a:cubicBezTo>
                    <a:cubicBezTo>
                      <a:pt x="888" y="667"/>
                      <a:pt x="806" y="421"/>
                      <a:pt x="788" y="334"/>
                    </a:cubicBezTo>
                    <a:cubicBezTo>
                      <a:pt x="757" y="183"/>
                      <a:pt x="746" y="39"/>
                      <a:pt x="743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191" y="0"/>
                      <a:pt x="0" y="193"/>
                      <a:pt x="0" y="429"/>
                    </a:cubicBezTo>
                    <a:cubicBezTo>
                      <a:pt x="0" y="612"/>
                      <a:pt x="0" y="1973"/>
                      <a:pt x="0" y="1973"/>
                    </a:cubicBezTo>
                    <a:cubicBezTo>
                      <a:pt x="0" y="2070"/>
                      <a:pt x="76" y="2147"/>
                      <a:pt x="172" y="2147"/>
                    </a:cubicBezTo>
                    <a:cubicBezTo>
                      <a:pt x="263" y="2147"/>
                      <a:pt x="339" y="2070"/>
                      <a:pt x="339" y="1973"/>
                    </a:cubicBezTo>
                    <a:cubicBezTo>
                      <a:pt x="339" y="1828"/>
                      <a:pt x="339" y="685"/>
                      <a:pt x="339" y="685"/>
                    </a:cubicBezTo>
                    <a:cubicBezTo>
                      <a:pt x="507" y="685"/>
                      <a:pt x="507" y="685"/>
                      <a:pt x="507" y="685"/>
                    </a:cubicBezTo>
                    <a:cubicBezTo>
                      <a:pt x="507" y="1775"/>
                      <a:pt x="507" y="4174"/>
                      <a:pt x="507" y="4174"/>
                    </a:cubicBezTo>
                    <a:cubicBezTo>
                      <a:pt x="507" y="4304"/>
                      <a:pt x="612" y="4405"/>
                      <a:pt x="741" y="4405"/>
                    </a:cubicBezTo>
                    <a:cubicBezTo>
                      <a:pt x="866" y="4405"/>
                      <a:pt x="971" y="4304"/>
                      <a:pt x="971" y="4174"/>
                    </a:cubicBezTo>
                    <a:cubicBezTo>
                      <a:pt x="971" y="2118"/>
                      <a:pt x="971" y="2118"/>
                      <a:pt x="971" y="2118"/>
                    </a:cubicBezTo>
                    <a:cubicBezTo>
                      <a:pt x="1115" y="2118"/>
                      <a:pt x="1115" y="2118"/>
                      <a:pt x="1115" y="2118"/>
                    </a:cubicBezTo>
                    <a:cubicBezTo>
                      <a:pt x="1115" y="4174"/>
                      <a:pt x="1115" y="4174"/>
                      <a:pt x="1115" y="4174"/>
                    </a:cubicBezTo>
                    <a:cubicBezTo>
                      <a:pt x="1115" y="4304"/>
                      <a:pt x="1215" y="4405"/>
                      <a:pt x="1344" y="4405"/>
                    </a:cubicBezTo>
                    <a:cubicBezTo>
                      <a:pt x="1469" y="4405"/>
                      <a:pt x="1574" y="4304"/>
                      <a:pt x="1574" y="4174"/>
                    </a:cubicBezTo>
                    <a:cubicBezTo>
                      <a:pt x="1574" y="1828"/>
                      <a:pt x="1574" y="685"/>
                      <a:pt x="1574" y="685"/>
                    </a:cubicBezTo>
                    <a:cubicBezTo>
                      <a:pt x="1741" y="685"/>
                      <a:pt x="1741" y="685"/>
                      <a:pt x="1741" y="685"/>
                    </a:cubicBezTo>
                    <a:cubicBezTo>
                      <a:pt x="1741" y="1766"/>
                      <a:pt x="1741" y="1973"/>
                      <a:pt x="1741" y="1973"/>
                    </a:cubicBezTo>
                    <a:cubicBezTo>
                      <a:pt x="1741" y="2070"/>
                      <a:pt x="1818" y="2147"/>
                      <a:pt x="1909" y="2147"/>
                    </a:cubicBezTo>
                    <a:cubicBezTo>
                      <a:pt x="2004" y="2147"/>
                      <a:pt x="2081" y="2070"/>
                      <a:pt x="2081" y="1973"/>
                    </a:cubicBezTo>
                    <a:cubicBezTo>
                      <a:pt x="2081" y="1346"/>
                      <a:pt x="2081" y="429"/>
                      <a:pt x="2081" y="429"/>
                    </a:cubicBezTo>
                    <a:cubicBezTo>
                      <a:pt x="2081" y="193"/>
                      <a:pt x="1890" y="0"/>
                      <a:pt x="165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90" name="Freeform 14"/>
            <p:cNvSpPr>
              <a:spLocks/>
            </p:cNvSpPr>
            <p:nvPr/>
          </p:nvSpPr>
          <p:spPr bwMode="auto">
            <a:xfrm>
              <a:off x="3273543" y="3121079"/>
              <a:ext cx="127897" cy="485506"/>
            </a:xfrm>
            <a:custGeom>
              <a:avLst/>
              <a:gdLst>
                <a:gd name="T0" fmla="*/ 59 w 84"/>
                <a:gd name="T1" fmla="*/ 36 h 328"/>
                <a:gd name="T2" fmla="*/ 55 w 84"/>
                <a:gd name="T3" fmla="*/ 36 h 328"/>
                <a:gd name="T4" fmla="*/ 55 w 84"/>
                <a:gd name="T5" fmla="*/ 12 h 328"/>
                <a:gd name="T6" fmla="*/ 42 w 84"/>
                <a:gd name="T7" fmla="*/ 0 h 328"/>
                <a:gd name="T8" fmla="*/ 29 w 84"/>
                <a:gd name="T9" fmla="*/ 12 h 328"/>
                <a:gd name="T10" fmla="*/ 29 w 84"/>
                <a:gd name="T11" fmla="*/ 36 h 328"/>
                <a:gd name="T12" fmla="*/ 25 w 84"/>
                <a:gd name="T13" fmla="*/ 36 h 328"/>
                <a:gd name="T14" fmla="*/ 0 w 84"/>
                <a:gd name="T15" fmla="*/ 61 h 328"/>
                <a:gd name="T16" fmla="*/ 0 w 84"/>
                <a:gd name="T17" fmla="*/ 303 h 328"/>
                <a:gd name="T18" fmla="*/ 25 w 84"/>
                <a:gd name="T19" fmla="*/ 328 h 328"/>
                <a:gd name="T20" fmla="*/ 59 w 84"/>
                <a:gd name="T21" fmla="*/ 328 h 328"/>
                <a:gd name="T22" fmla="*/ 84 w 84"/>
                <a:gd name="T23" fmla="*/ 303 h 328"/>
                <a:gd name="T24" fmla="*/ 84 w 84"/>
                <a:gd name="T25" fmla="*/ 61 h 328"/>
                <a:gd name="T26" fmla="*/ 59 w 84"/>
                <a:gd name="T27" fmla="*/ 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28">
                  <a:moveTo>
                    <a:pt x="59" y="36"/>
                  </a:moveTo>
                  <a:cubicBezTo>
                    <a:pt x="55" y="36"/>
                    <a:pt x="55" y="36"/>
                    <a:pt x="55" y="36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5"/>
                    <a:pt x="49" y="0"/>
                    <a:pt x="42" y="0"/>
                  </a:cubicBezTo>
                  <a:cubicBezTo>
                    <a:pt x="35" y="0"/>
                    <a:pt x="29" y="5"/>
                    <a:pt x="29" y="1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1" y="36"/>
                    <a:pt x="0" y="47"/>
                    <a:pt x="0" y="61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0" y="317"/>
                    <a:pt x="11" y="328"/>
                    <a:pt x="25" y="328"/>
                  </a:cubicBezTo>
                  <a:cubicBezTo>
                    <a:pt x="59" y="328"/>
                    <a:pt x="59" y="328"/>
                    <a:pt x="59" y="328"/>
                  </a:cubicBezTo>
                  <a:cubicBezTo>
                    <a:pt x="73" y="328"/>
                    <a:pt x="84" y="317"/>
                    <a:pt x="84" y="303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47"/>
                    <a:pt x="73" y="36"/>
                    <a:pt x="5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3933253" y="2390898"/>
            <a:ext cx="350036" cy="893018"/>
            <a:chOff x="3263449" y="1837983"/>
            <a:chExt cx="882788" cy="2252185"/>
          </a:xfrm>
          <a:solidFill>
            <a:schemeClr val="accent1"/>
          </a:solidFill>
        </p:grpSpPr>
        <p:grpSp>
          <p:nvGrpSpPr>
            <p:cNvPr id="94" name="Group 93"/>
            <p:cNvGrpSpPr/>
            <p:nvPr/>
          </p:nvGrpSpPr>
          <p:grpSpPr>
            <a:xfrm>
              <a:off x="3263449" y="1837983"/>
              <a:ext cx="882788" cy="2252185"/>
              <a:chOff x="3527425" y="1531938"/>
              <a:chExt cx="976313" cy="2490788"/>
            </a:xfrm>
            <a:grpFill/>
          </p:grpSpPr>
          <p:sp>
            <p:nvSpPr>
              <p:cNvPr id="96" name="Oval 7"/>
              <p:cNvSpPr>
                <a:spLocks noChangeArrowheads="1"/>
              </p:cNvSpPr>
              <p:nvPr/>
            </p:nvSpPr>
            <p:spPr bwMode="auto">
              <a:xfrm>
                <a:off x="3822700" y="1531938"/>
                <a:ext cx="381000" cy="3857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97" name="Freeform 9"/>
              <p:cNvSpPr>
                <a:spLocks/>
              </p:cNvSpPr>
              <p:nvPr/>
            </p:nvSpPr>
            <p:spPr bwMode="auto">
              <a:xfrm>
                <a:off x="3527425" y="1957387"/>
                <a:ext cx="976313" cy="2065339"/>
              </a:xfrm>
              <a:custGeom>
                <a:avLst/>
                <a:gdLst>
                  <a:gd name="T0" fmla="*/ 1655 w 2081"/>
                  <a:gd name="T1" fmla="*/ 0 h 4405"/>
                  <a:gd name="T2" fmla="*/ 1338 w 2081"/>
                  <a:gd name="T3" fmla="*/ 0 h 4405"/>
                  <a:gd name="T4" fmla="*/ 1292 w 2081"/>
                  <a:gd name="T5" fmla="*/ 334 h 4405"/>
                  <a:gd name="T6" fmla="*/ 1193 w 2081"/>
                  <a:gd name="T7" fmla="*/ 667 h 4405"/>
                  <a:gd name="T8" fmla="*/ 1133 w 2081"/>
                  <a:gd name="T9" fmla="*/ 420 h 4405"/>
                  <a:gd name="T10" fmla="*/ 1082 w 2081"/>
                  <a:gd name="T11" fmla="*/ 287 h 4405"/>
                  <a:gd name="T12" fmla="*/ 1145 w 2081"/>
                  <a:gd name="T13" fmla="*/ 202 h 4405"/>
                  <a:gd name="T14" fmla="*/ 1040 w 2081"/>
                  <a:gd name="T15" fmla="*/ 102 h 4405"/>
                  <a:gd name="T16" fmla="*/ 936 w 2081"/>
                  <a:gd name="T17" fmla="*/ 202 h 4405"/>
                  <a:gd name="T18" fmla="*/ 999 w 2081"/>
                  <a:gd name="T19" fmla="*/ 287 h 4405"/>
                  <a:gd name="T20" fmla="*/ 948 w 2081"/>
                  <a:gd name="T21" fmla="*/ 420 h 4405"/>
                  <a:gd name="T22" fmla="*/ 888 w 2081"/>
                  <a:gd name="T23" fmla="*/ 667 h 4405"/>
                  <a:gd name="T24" fmla="*/ 788 w 2081"/>
                  <a:gd name="T25" fmla="*/ 334 h 4405"/>
                  <a:gd name="T26" fmla="*/ 743 w 2081"/>
                  <a:gd name="T27" fmla="*/ 0 h 4405"/>
                  <a:gd name="T28" fmla="*/ 426 w 2081"/>
                  <a:gd name="T29" fmla="*/ 0 h 4405"/>
                  <a:gd name="T30" fmla="*/ 0 w 2081"/>
                  <a:gd name="T31" fmla="*/ 429 h 4405"/>
                  <a:gd name="T32" fmla="*/ 0 w 2081"/>
                  <a:gd name="T33" fmla="*/ 1973 h 4405"/>
                  <a:gd name="T34" fmla="*/ 172 w 2081"/>
                  <a:gd name="T35" fmla="*/ 2147 h 4405"/>
                  <a:gd name="T36" fmla="*/ 339 w 2081"/>
                  <a:gd name="T37" fmla="*/ 1973 h 4405"/>
                  <a:gd name="T38" fmla="*/ 339 w 2081"/>
                  <a:gd name="T39" fmla="*/ 685 h 4405"/>
                  <a:gd name="T40" fmla="*/ 507 w 2081"/>
                  <a:gd name="T41" fmla="*/ 685 h 4405"/>
                  <a:gd name="T42" fmla="*/ 507 w 2081"/>
                  <a:gd name="T43" fmla="*/ 4174 h 4405"/>
                  <a:gd name="T44" fmla="*/ 741 w 2081"/>
                  <a:gd name="T45" fmla="*/ 4405 h 4405"/>
                  <a:gd name="T46" fmla="*/ 971 w 2081"/>
                  <a:gd name="T47" fmla="*/ 4174 h 4405"/>
                  <a:gd name="T48" fmla="*/ 971 w 2081"/>
                  <a:gd name="T49" fmla="*/ 2118 h 4405"/>
                  <a:gd name="T50" fmla="*/ 1115 w 2081"/>
                  <a:gd name="T51" fmla="*/ 2118 h 4405"/>
                  <a:gd name="T52" fmla="*/ 1115 w 2081"/>
                  <a:gd name="T53" fmla="*/ 4174 h 4405"/>
                  <a:gd name="T54" fmla="*/ 1344 w 2081"/>
                  <a:gd name="T55" fmla="*/ 4405 h 4405"/>
                  <a:gd name="T56" fmla="*/ 1574 w 2081"/>
                  <a:gd name="T57" fmla="*/ 4174 h 4405"/>
                  <a:gd name="T58" fmla="*/ 1574 w 2081"/>
                  <a:gd name="T59" fmla="*/ 685 h 4405"/>
                  <a:gd name="T60" fmla="*/ 1741 w 2081"/>
                  <a:gd name="T61" fmla="*/ 685 h 4405"/>
                  <a:gd name="T62" fmla="*/ 1741 w 2081"/>
                  <a:gd name="T63" fmla="*/ 1973 h 4405"/>
                  <a:gd name="T64" fmla="*/ 1909 w 2081"/>
                  <a:gd name="T65" fmla="*/ 2147 h 4405"/>
                  <a:gd name="T66" fmla="*/ 2081 w 2081"/>
                  <a:gd name="T67" fmla="*/ 1973 h 4405"/>
                  <a:gd name="T68" fmla="*/ 2081 w 2081"/>
                  <a:gd name="T69" fmla="*/ 429 h 4405"/>
                  <a:gd name="T70" fmla="*/ 1655 w 2081"/>
                  <a:gd name="T71" fmla="*/ 0 h 4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81" h="4405">
                    <a:moveTo>
                      <a:pt x="1655" y="0"/>
                    </a:moveTo>
                    <a:cubicBezTo>
                      <a:pt x="1539" y="0"/>
                      <a:pt x="1433" y="0"/>
                      <a:pt x="1338" y="0"/>
                    </a:cubicBezTo>
                    <a:cubicBezTo>
                      <a:pt x="1335" y="39"/>
                      <a:pt x="1323" y="183"/>
                      <a:pt x="1292" y="334"/>
                    </a:cubicBezTo>
                    <a:cubicBezTo>
                      <a:pt x="1275" y="421"/>
                      <a:pt x="1193" y="667"/>
                      <a:pt x="1193" y="667"/>
                    </a:cubicBezTo>
                    <a:cubicBezTo>
                      <a:pt x="1193" y="667"/>
                      <a:pt x="1148" y="479"/>
                      <a:pt x="1133" y="420"/>
                    </a:cubicBezTo>
                    <a:cubicBezTo>
                      <a:pt x="1122" y="379"/>
                      <a:pt x="1082" y="287"/>
                      <a:pt x="1082" y="287"/>
                    </a:cubicBezTo>
                    <a:cubicBezTo>
                      <a:pt x="1145" y="202"/>
                      <a:pt x="1145" y="202"/>
                      <a:pt x="1145" y="202"/>
                    </a:cubicBezTo>
                    <a:cubicBezTo>
                      <a:pt x="1040" y="102"/>
                      <a:pt x="1040" y="102"/>
                      <a:pt x="1040" y="102"/>
                    </a:cubicBezTo>
                    <a:cubicBezTo>
                      <a:pt x="936" y="202"/>
                      <a:pt x="936" y="202"/>
                      <a:pt x="936" y="202"/>
                    </a:cubicBezTo>
                    <a:cubicBezTo>
                      <a:pt x="999" y="287"/>
                      <a:pt x="999" y="287"/>
                      <a:pt x="999" y="287"/>
                    </a:cubicBezTo>
                    <a:cubicBezTo>
                      <a:pt x="999" y="287"/>
                      <a:pt x="959" y="379"/>
                      <a:pt x="948" y="420"/>
                    </a:cubicBezTo>
                    <a:cubicBezTo>
                      <a:pt x="932" y="479"/>
                      <a:pt x="888" y="667"/>
                      <a:pt x="888" y="667"/>
                    </a:cubicBezTo>
                    <a:cubicBezTo>
                      <a:pt x="888" y="667"/>
                      <a:pt x="806" y="421"/>
                      <a:pt x="788" y="334"/>
                    </a:cubicBezTo>
                    <a:cubicBezTo>
                      <a:pt x="757" y="183"/>
                      <a:pt x="746" y="39"/>
                      <a:pt x="743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191" y="0"/>
                      <a:pt x="0" y="193"/>
                      <a:pt x="0" y="429"/>
                    </a:cubicBezTo>
                    <a:cubicBezTo>
                      <a:pt x="0" y="612"/>
                      <a:pt x="0" y="1973"/>
                      <a:pt x="0" y="1973"/>
                    </a:cubicBezTo>
                    <a:cubicBezTo>
                      <a:pt x="0" y="2070"/>
                      <a:pt x="76" y="2147"/>
                      <a:pt x="172" y="2147"/>
                    </a:cubicBezTo>
                    <a:cubicBezTo>
                      <a:pt x="263" y="2147"/>
                      <a:pt x="339" y="2070"/>
                      <a:pt x="339" y="1973"/>
                    </a:cubicBezTo>
                    <a:cubicBezTo>
                      <a:pt x="339" y="1828"/>
                      <a:pt x="339" y="685"/>
                      <a:pt x="339" y="685"/>
                    </a:cubicBezTo>
                    <a:cubicBezTo>
                      <a:pt x="507" y="685"/>
                      <a:pt x="507" y="685"/>
                      <a:pt x="507" y="685"/>
                    </a:cubicBezTo>
                    <a:cubicBezTo>
                      <a:pt x="507" y="1775"/>
                      <a:pt x="507" y="4174"/>
                      <a:pt x="507" y="4174"/>
                    </a:cubicBezTo>
                    <a:cubicBezTo>
                      <a:pt x="507" y="4304"/>
                      <a:pt x="612" y="4405"/>
                      <a:pt x="741" y="4405"/>
                    </a:cubicBezTo>
                    <a:cubicBezTo>
                      <a:pt x="866" y="4405"/>
                      <a:pt x="971" y="4304"/>
                      <a:pt x="971" y="4174"/>
                    </a:cubicBezTo>
                    <a:cubicBezTo>
                      <a:pt x="971" y="2118"/>
                      <a:pt x="971" y="2118"/>
                      <a:pt x="971" y="2118"/>
                    </a:cubicBezTo>
                    <a:cubicBezTo>
                      <a:pt x="1115" y="2118"/>
                      <a:pt x="1115" y="2118"/>
                      <a:pt x="1115" y="2118"/>
                    </a:cubicBezTo>
                    <a:cubicBezTo>
                      <a:pt x="1115" y="4174"/>
                      <a:pt x="1115" y="4174"/>
                      <a:pt x="1115" y="4174"/>
                    </a:cubicBezTo>
                    <a:cubicBezTo>
                      <a:pt x="1115" y="4304"/>
                      <a:pt x="1215" y="4405"/>
                      <a:pt x="1344" y="4405"/>
                    </a:cubicBezTo>
                    <a:cubicBezTo>
                      <a:pt x="1469" y="4405"/>
                      <a:pt x="1574" y="4304"/>
                      <a:pt x="1574" y="4174"/>
                    </a:cubicBezTo>
                    <a:cubicBezTo>
                      <a:pt x="1574" y="1828"/>
                      <a:pt x="1574" y="685"/>
                      <a:pt x="1574" y="685"/>
                    </a:cubicBezTo>
                    <a:cubicBezTo>
                      <a:pt x="1741" y="685"/>
                      <a:pt x="1741" y="685"/>
                      <a:pt x="1741" y="685"/>
                    </a:cubicBezTo>
                    <a:cubicBezTo>
                      <a:pt x="1741" y="1766"/>
                      <a:pt x="1741" y="1973"/>
                      <a:pt x="1741" y="1973"/>
                    </a:cubicBezTo>
                    <a:cubicBezTo>
                      <a:pt x="1741" y="2070"/>
                      <a:pt x="1818" y="2147"/>
                      <a:pt x="1909" y="2147"/>
                    </a:cubicBezTo>
                    <a:cubicBezTo>
                      <a:pt x="2004" y="2147"/>
                      <a:pt x="2081" y="2070"/>
                      <a:pt x="2081" y="1973"/>
                    </a:cubicBezTo>
                    <a:cubicBezTo>
                      <a:pt x="2081" y="1346"/>
                      <a:pt x="2081" y="429"/>
                      <a:pt x="2081" y="429"/>
                    </a:cubicBezTo>
                    <a:cubicBezTo>
                      <a:pt x="2081" y="193"/>
                      <a:pt x="1890" y="0"/>
                      <a:pt x="165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95" name="Freeform 14"/>
            <p:cNvSpPr>
              <a:spLocks/>
            </p:cNvSpPr>
            <p:nvPr/>
          </p:nvSpPr>
          <p:spPr bwMode="auto">
            <a:xfrm>
              <a:off x="3273543" y="3121079"/>
              <a:ext cx="127897" cy="485506"/>
            </a:xfrm>
            <a:custGeom>
              <a:avLst/>
              <a:gdLst>
                <a:gd name="T0" fmla="*/ 59 w 84"/>
                <a:gd name="T1" fmla="*/ 36 h 328"/>
                <a:gd name="T2" fmla="*/ 55 w 84"/>
                <a:gd name="T3" fmla="*/ 36 h 328"/>
                <a:gd name="T4" fmla="*/ 55 w 84"/>
                <a:gd name="T5" fmla="*/ 12 h 328"/>
                <a:gd name="T6" fmla="*/ 42 w 84"/>
                <a:gd name="T7" fmla="*/ 0 h 328"/>
                <a:gd name="T8" fmla="*/ 29 w 84"/>
                <a:gd name="T9" fmla="*/ 12 h 328"/>
                <a:gd name="T10" fmla="*/ 29 w 84"/>
                <a:gd name="T11" fmla="*/ 36 h 328"/>
                <a:gd name="T12" fmla="*/ 25 w 84"/>
                <a:gd name="T13" fmla="*/ 36 h 328"/>
                <a:gd name="T14" fmla="*/ 0 w 84"/>
                <a:gd name="T15" fmla="*/ 61 h 328"/>
                <a:gd name="T16" fmla="*/ 0 w 84"/>
                <a:gd name="T17" fmla="*/ 303 h 328"/>
                <a:gd name="T18" fmla="*/ 25 w 84"/>
                <a:gd name="T19" fmla="*/ 328 h 328"/>
                <a:gd name="T20" fmla="*/ 59 w 84"/>
                <a:gd name="T21" fmla="*/ 328 h 328"/>
                <a:gd name="T22" fmla="*/ 84 w 84"/>
                <a:gd name="T23" fmla="*/ 303 h 328"/>
                <a:gd name="T24" fmla="*/ 84 w 84"/>
                <a:gd name="T25" fmla="*/ 61 h 328"/>
                <a:gd name="T26" fmla="*/ 59 w 84"/>
                <a:gd name="T27" fmla="*/ 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28">
                  <a:moveTo>
                    <a:pt x="59" y="36"/>
                  </a:moveTo>
                  <a:cubicBezTo>
                    <a:pt x="55" y="36"/>
                    <a:pt x="55" y="36"/>
                    <a:pt x="55" y="36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5"/>
                    <a:pt x="49" y="0"/>
                    <a:pt x="42" y="0"/>
                  </a:cubicBezTo>
                  <a:cubicBezTo>
                    <a:pt x="35" y="0"/>
                    <a:pt x="29" y="5"/>
                    <a:pt x="29" y="1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1" y="36"/>
                    <a:pt x="0" y="47"/>
                    <a:pt x="0" y="61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0" y="317"/>
                    <a:pt x="11" y="328"/>
                    <a:pt x="25" y="328"/>
                  </a:cubicBezTo>
                  <a:cubicBezTo>
                    <a:pt x="59" y="328"/>
                    <a:pt x="59" y="328"/>
                    <a:pt x="59" y="328"/>
                  </a:cubicBezTo>
                  <a:cubicBezTo>
                    <a:pt x="73" y="328"/>
                    <a:pt x="84" y="317"/>
                    <a:pt x="84" y="303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47"/>
                    <a:pt x="73" y="36"/>
                    <a:pt x="5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4843750" y="2390898"/>
            <a:ext cx="350036" cy="893018"/>
            <a:chOff x="3263449" y="1837983"/>
            <a:chExt cx="882788" cy="2252185"/>
          </a:xfrm>
          <a:solidFill>
            <a:schemeClr val="accent1"/>
          </a:solidFill>
        </p:grpSpPr>
        <p:grpSp>
          <p:nvGrpSpPr>
            <p:cNvPr id="99" name="Group 98"/>
            <p:cNvGrpSpPr/>
            <p:nvPr/>
          </p:nvGrpSpPr>
          <p:grpSpPr>
            <a:xfrm>
              <a:off x="3263449" y="1837983"/>
              <a:ext cx="882788" cy="2252185"/>
              <a:chOff x="3527425" y="1531938"/>
              <a:chExt cx="976313" cy="2490788"/>
            </a:xfrm>
            <a:grpFill/>
          </p:grpSpPr>
          <p:sp>
            <p:nvSpPr>
              <p:cNvPr id="101" name="Oval 7"/>
              <p:cNvSpPr>
                <a:spLocks noChangeArrowheads="1"/>
              </p:cNvSpPr>
              <p:nvPr/>
            </p:nvSpPr>
            <p:spPr bwMode="auto">
              <a:xfrm>
                <a:off x="3822700" y="1531938"/>
                <a:ext cx="381000" cy="3857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2" name="Freeform 9"/>
              <p:cNvSpPr>
                <a:spLocks/>
              </p:cNvSpPr>
              <p:nvPr/>
            </p:nvSpPr>
            <p:spPr bwMode="auto">
              <a:xfrm>
                <a:off x="3527425" y="1957387"/>
                <a:ext cx="976313" cy="2065339"/>
              </a:xfrm>
              <a:custGeom>
                <a:avLst/>
                <a:gdLst>
                  <a:gd name="T0" fmla="*/ 1655 w 2081"/>
                  <a:gd name="T1" fmla="*/ 0 h 4405"/>
                  <a:gd name="T2" fmla="*/ 1338 w 2081"/>
                  <a:gd name="T3" fmla="*/ 0 h 4405"/>
                  <a:gd name="T4" fmla="*/ 1292 w 2081"/>
                  <a:gd name="T5" fmla="*/ 334 h 4405"/>
                  <a:gd name="T6" fmla="*/ 1193 w 2081"/>
                  <a:gd name="T7" fmla="*/ 667 h 4405"/>
                  <a:gd name="T8" fmla="*/ 1133 w 2081"/>
                  <a:gd name="T9" fmla="*/ 420 h 4405"/>
                  <a:gd name="T10" fmla="*/ 1082 w 2081"/>
                  <a:gd name="T11" fmla="*/ 287 h 4405"/>
                  <a:gd name="T12" fmla="*/ 1145 w 2081"/>
                  <a:gd name="T13" fmla="*/ 202 h 4405"/>
                  <a:gd name="T14" fmla="*/ 1040 w 2081"/>
                  <a:gd name="T15" fmla="*/ 102 h 4405"/>
                  <a:gd name="T16" fmla="*/ 936 w 2081"/>
                  <a:gd name="T17" fmla="*/ 202 h 4405"/>
                  <a:gd name="T18" fmla="*/ 999 w 2081"/>
                  <a:gd name="T19" fmla="*/ 287 h 4405"/>
                  <a:gd name="T20" fmla="*/ 948 w 2081"/>
                  <a:gd name="T21" fmla="*/ 420 h 4405"/>
                  <a:gd name="T22" fmla="*/ 888 w 2081"/>
                  <a:gd name="T23" fmla="*/ 667 h 4405"/>
                  <a:gd name="T24" fmla="*/ 788 w 2081"/>
                  <a:gd name="T25" fmla="*/ 334 h 4405"/>
                  <a:gd name="T26" fmla="*/ 743 w 2081"/>
                  <a:gd name="T27" fmla="*/ 0 h 4405"/>
                  <a:gd name="T28" fmla="*/ 426 w 2081"/>
                  <a:gd name="T29" fmla="*/ 0 h 4405"/>
                  <a:gd name="T30" fmla="*/ 0 w 2081"/>
                  <a:gd name="T31" fmla="*/ 429 h 4405"/>
                  <a:gd name="T32" fmla="*/ 0 w 2081"/>
                  <a:gd name="T33" fmla="*/ 1973 h 4405"/>
                  <a:gd name="T34" fmla="*/ 172 w 2081"/>
                  <a:gd name="T35" fmla="*/ 2147 h 4405"/>
                  <a:gd name="T36" fmla="*/ 339 w 2081"/>
                  <a:gd name="T37" fmla="*/ 1973 h 4405"/>
                  <a:gd name="T38" fmla="*/ 339 w 2081"/>
                  <a:gd name="T39" fmla="*/ 685 h 4405"/>
                  <a:gd name="T40" fmla="*/ 507 w 2081"/>
                  <a:gd name="T41" fmla="*/ 685 h 4405"/>
                  <a:gd name="T42" fmla="*/ 507 w 2081"/>
                  <a:gd name="T43" fmla="*/ 4174 h 4405"/>
                  <a:gd name="T44" fmla="*/ 741 w 2081"/>
                  <a:gd name="T45" fmla="*/ 4405 h 4405"/>
                  <a:gd name="T46" fmla="*/ 971 w 2081"/>
                  <a:gd name="T47" fmla="*/ 4174 h 4405"/>
                  <a:gd name="T48" fmla="*/ 971 w 2081"/>
                  <a:gd name="T49" fmla="*/ 2118 h 4405"/>
                  <a:gd name="T50" fmla="*/ 1115 w 2081"/>
                  <a:gd name="T51" fmla="*/ 2118 h 4405"/>
                  <a:gd name="T52" fmla="*/ 1115 w 2081"/>
                  <a:gd name="T53" fmla="*/ 4174 h 4405"/>
                  <a:gd name="T54" fmla="*/ 1344 w 2081"/>
                  <a:gd name="T55" fmla="*/ 4405 h 4405"/>
                  <a:gd name="T56" fmla="*/ 1574 w 2081"/>
                  <a:gd name="T57" fmla="*/ 4174 h 4405"/>
                  <a:gd name="T58" fmla="*/ 1574 w 2081"/>
                  <a:gd name="T59" fmla="*/ 685 h 4405"/>
                  <a:gd name="T60" fmla="*/ 1741 w 2081"/>
                  <a:gd name="T61" fmla="*/ 685 h 4405"/>
                  <a:gd name="T62" fmla="*/ 1741 w 2081"/>
                  <a:gd name="T63" fmla="*/ 1973 h 4405"/>
                  <a:gd name="T64" fmla="*/ 1909 w 2081"/>
                  <a:gd name="T65" fmla="*/ 2147 h 4405"/>
                  <a:gd name="T66" fmla="*/ 2081 w 2081"/>
                  <a:gd name="T67" fmla="*/ 1973 h 4405"/>
                  <a:gd name="T68" fmla="*/ 2081 w 2081"/>
                  <a:gd name="T69" fmla="*/ 429 h 4405"/>
                  <a:gd name="T70" fmla="*/ 1655 w 2081"/>
                  <a:gd name="T71" fmla="*/ 0 h 4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81" h="4405">
                    <a:moveTo>
                      <a:pt x="1655" y="0"/>
                    </a:moveTo>
                    <a:cubicBezTo>
                      <a:pt x="1539" y="0"/>
                      <a:pt x="1433" y="0"/>
                      <a:pt x="1338" y="0"/>
                    </a:cubicBezTo>
                    <a:cubicBezTo>
                      <a:pt x="1335" y="39"/>
                      <a:pt x="1323" y="183"/>
                      <a:pt x="1292" y="334"/>
                    </a:cubicBezTo>
                    <a:cubicBezTo>
                      <a:pt x="1275" y="421"/>
                      <a:pt x="1193" y="667"/>
                      <a:pt x="1193" y="667"/>
                    </a:cubicBezTo>
                    <a:cubicBezTo>
                      <a:pt x="1193" y="667"/>
                      <a:pt x="1148" y="479"/>
                      <a:pt x="1133" y="420"/>
                    </a:cubicBezTo>
                    <a:cubicBezTo>
                      <a:pt x="1122" y="379"/>
                      <a:pt x="1082" y="287"/>
                      <a:pt x="1082" y="287"/>
                    </a:cubicBezTo>
                    <a:cubicBezTo>
                      <a:pt x="1145" y="202"/>
                      <a:pt x="1145" y="202"/>
                      <a:pt x="1145" y="202"/>
                    </a:cubicBezTo>
                    <a:cubicBezTo>
                      <a:pt x="1040" y="102"/>
                      <a:pt x="1040" y="102"/>
                      <a:pt x="1040" y="102"/>
                    </a:cubicBezTo>
                    <a:cubicBezTo>
                      <a:pt x="936" y="202"/>
                      <a:pt x="936" y="202"/>
                      <a:pt x="936" y="202"/>
                    </a:cubicBezTo>
                    <a:cubicBezTo>
                      <a:pt x="999" y="287"/>
                      <a:pt x="999" y="287"/>
                      <a:pt x="999" y="287"/>
                    </a:cubicBezTo>
                    <a:cubicBezTo>
                      <a:pt x="999" y="287"/>
                      <a:pt x="959" y="379"/>
                      <a:pt x="948" y="420"/>
                    </a:cubicBezTo>
                    <a:cubicBezTo>
                      <a:pt x="932" y="479"/>
                      <a:pt x="888" y="667"/>
                      <a:pt x="888" y="667"/>
                    </a:cubicBezTo>
                    <a:cubicBezTo>
                      <a:pt x="888" y="667"/>
                      <a:pt x="806" y="421"/>
                      <a:pt x="788" y="334"/>
                    </a:cubicBezTo>
                    <a:cubicBezTo>
                      <a:pt x="757" y="183"/>
                      <a:pt x="746" y="39"/>
                      <a:pt x="743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191" y="0"/>
                      <a:pt x="0" y="193"/>
                      <a:pt x="0" y="429"/>
                    </a:cubicBezTo>
                    <a:cubicBezTo>
                      <a:pt x="0" y="612"/>
                      <a:pt x="0" y="1973"/>
                      <a:pt x="0" y="1973"/>
                    </a:cubicBezTo>
                    <a:cubicBezTo>
                      <a:pt x="0" y="2070"/>
                      <a:pt x="76" y="2147"/>
                      <a:pt x="172" y="2147"/>
                    </a:cubicBezTo>
                    <a:cubicBezTo>
                      <a:pt x="263" y="2147"/>
                      <a:pt x="339" y="2070"/>
                      <a:pt x="339" y="1973"/>
                    </a:cubicBezTo>
                    <a:cubicBezTo>
                      <a:pt x="339" y="1828"/>
                      <a:pt x="339" y="685"/>
                      <a:pt x="339" y="685"/>
                    </a:cubicBezTo>
                    <a:cubicBezTo>
                      <a:pt x="507" y="685"/>
                      <a:pt x="507" y="685"/>
                      <a:pt x="507" y="685"/>
                    </a:cubicBezTo>
                    <a:cubicBezTo>
                      <a:pt x="507" y="1775"/>
                      <a:pt x="507" y="4174"/>
                      <a:pt x="507" y="4174"/>
                    </a:cubicBezTo>
                    <a:cubicBezTo>
                      <a:pt x="507" y="4304"/>
                      <a:pt x="612" y="4405"/>
                      <a:pt x="741" y="4405"/>
                    </a:cubicBezTo>
                    <a:cubicBezTo>
                      <a:pt x="866" y="4405"/>
                      <a:pt x="971" y="4304"/>
                      <a:pt x="971" y="4174"/>
                    </a:cubicBezTo>
                    <a:cubicBezTo>
                      <a:pt x="971" y="2118"/>
                      <a:pt x="971" y="2118"/>
                      <a:pt x="971" y="2118"/>
                    </a:cubicBezTo>
                    <a:cubicBezTo>
                      <a:pt x="1115" y="2118"/>
                      <a:pt x="1115" y="2118"/>
                      <a:pt x="1115" y="2118"/>
                    </a:cubicBezTo>
                    <a:cubicBezTo>
                      <a:pt x="1115" y="4174"/>
                      <a:pt x="1115" y="4174"/>
                      <a:pt x="1115" y="4174"/>
                    </a:cubicBezTo>
                    <a:cubicBezTo>
                      <a:pt x="1115" y="4304"/>
                      <a:pt x="1215" y="4405"/>
                      <a:pt x="1344" y="4405"/>
                    </a:cubicBezTo>
                    <a:cubicBezTo>
                      <a:pt x="1469" y="4405"/>
                      <a:pt x="1574" y="4304"/>
                      <a:pt x="1574" y="4174"/>
                    </a:cubicBezTo>
                    <a:cubicBezTo>
                      <a:pt x="1574" y="1828"/>
                      <a:pt x="1574" y="685"/>
                      <a:pt x="1574" y="685"/>
                    </a:cubicBezTo>
                    <a:cubicBezTo>
                      <a:pt x="1741" y="685"/>
                      <a:pt x="1741" y="685"/>
                      <a:pt x="1741" y="685"/>
                    </a:cubicBezTo>
                    <a:cubicBezTo>
                      <a:pt x="1741" y="1766"/>
                      <a:pt x="1741" y="1973"/>
                      <a:pt x="1741" y="1973"/>
                    </a:cubicBezTo>
                    <a:cubicBezTo>
                      <a:pt x="1741" y="2070"/>
                      <a:pt x="1818" y="2147"/>
                      <a:pt x="1909" y="2147"/>
                    </a:cubicBezTo>
                    <a:cubicBezTo>
                      <a:pt x="2004" y="2147"/>
                      <a:pt x="2081" y="2070"/>
                      <a:pt x="2081" y="1973"/>
                    </a:cubicBezTo>
                    <a:cubicBezTo>
                      <a:pt x="2081" y="1346"/>
                      <a:pt x="2081" y="429"/>
                      <a:pt x="2081" y="429"/>
                    </a:cubicBezTo>
                    <a:cubicBezTo>
                      <a:pt x="2081" y="193"/>
                      <a:pt x="1890" y="0"/>
                      <a:pt x="165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100" name="Freeform 14"/>
            <p:cNvSpPr>
              <a:spLocks/>
            </p:cNvSpPr>
            <p:nvPr/>
          </p:nvSpPr>
          <p:spPr bwMode="auto">
            <a:xfrm>
              <a:off x="3273543" y="3121079"/>
              <a:ext cx="127897" cy="485506"/>
            </a:xfrm>
            <a:custGeom>
              <a:avLst/>
              <a:gdLst>
                <a:gd name="T0" fmla="*/ 59 w 84"/>
                <a:gd name="T1" fmla="*/ 36 h 328"/>
                <a:gd name="T2" fmla="*/ 55 w 84"/>
                <a:gd name="T3" fmla="*/ 36 h 328"/>
                <a:gd name="T4" fmla="*/ 55 w 84"/>
                <a:gd name="T5" fmla="*/ 12 h 328"/>
                <a:gd name="T6" fmla="*/ 42 w 84"/>
                <a:gd name="T7" fmla="*/ 0 h 328"/>
                <a:gd name="T8" fmla="*/ 29 w 84"/>
                <a:gd name="T9" fmla="*/ 12 h 328"/>
                <a:gd name="T10" fmla="*/ 29 w 84"/>
                <a:gd name="T11" fmla="*/ 36 h 328"/>
                <a:gd name="T12" fmla="*/ 25 w 84"/>
                <a:gd name="T13" fmla="*/ 36 h 328"/>
                <a:gd name="T14" fmla="*/ 0 w 84"/>
                <a:gd name="T15" fmla="*/ 61 h 328"/>
                <a:gd name="T16" fmla="*/ 0 w 84"/>
                <a:gd name="T17" fmla="*/ 303 h 328"/>
                <a:gd name="T18" fmla="*/ 25 w 84"/>
                <a:gd name="T19" fmla="*/ 328 h 328"/>
                <a:gd name="T20" fmla="*/ 59 w 84"/>
                <a:gd name="T21" fmla="*/ 328 h 328"/>
                <a:gd name="T22" fmla="*/ 84 w 84"/>
                <a:gd name="T23" fmla="*/ 303 h 328"/>
                <a:gd name="T24" fmla="*/ 84 w 84"/>
                <a:gd name="T25" fmla="*/ 61 h 328"/>
                <a:gd name="T26" fmla="*/ 59 w 84"/>
                <a:gd name="T27" fmla="*/ 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28">
                  <a:moveTo>
                    <a:pt x="59" y="36"/>
                  </a:moveTo>
                  <a:cubicBezTo>
                    <a:pt x="55" y="36"/>
                    <a:pt x="55" y="36"/>
                    <a:pt x="55" y="36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5"/>
                    <a:pt x="49" y="0"/>
                    <a:pt x="42" y="0"/>
                  </a:cubicBezTo>
                  <a:cubicBezTo>
                    <a:pt x="35" y="0"/>
                    <a:pt x="29" y="5"/>
                    <a:pt x="29" y="1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1" y="36"/>
                    <a:pt x="0" y="47"/>
                    <a:pt x="0" y="61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0" y="317"/>
                    <a:pt x="11" y="328"/>
                    <a:pt x="25" y="328"/>
                  </a:cubicBezTo>
                  <a:cubicBezTo>
                    <a:pt x="59" y="328"/>
                    <a:pt x="59" y="328"/>
                    <a:pt x="59" y="328"/>
                  </a:cubicBezTo>
                  <a:cubicBezTo>
                    <a:pt x="73" y="328"/>
                    <a:pt x="84" y="317"/>
                    <a:pt x="84" y="303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47"/>
                    <a:pt x="73" y="36"/>
                    <a:pt x="5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722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Left Brace 150"/>
          <p:cNvSpPr/>
          <p:nvPr/>
        </p:nvSpPr>
        <p:spPr>
          <a:xfrm rot="5400000">
            <a:off x="6035566" y="884127"/>
            <a:ext cx="196342" cy="3123475"/>
          </a:xfrm>
          <a:prstGeom prst="leftBrace">
            <a:avLst>
              <a:gd name="adj1" fmla="val 37194"/>
              <a:gd name="adj2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A brief </a:t>
            </a:r>
            <a:r>
              <a:rPr lang="en-US">
                <a:solidFill>
                  <a:schemeClr val="accent2"/>
                </a:solidFill>
              </a:rPr>
              <a:t>company histo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594360" y="2849883"/>
            <a:ext cx="7955280" cy="18288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 flipH="1">
            <a:off x="1246967" y="3197544"/>
            <a:ext cx="4031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2010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47224" y="1619253"/>
            <a:ext cx="1602601" cy="649327"/>
            <a:chOff x="647224" y="1619253"/>
            <a:chExt cx="1602601" cy="649327"/>
          </a:xfrm>
        </p:grpSpPr>
        <p:sp>
          <p:nvSpPr>
            <p:cNvPr id="32" name="TextBox 31"/>
            <p:cNvSpPr txBox="1"/>
            <p:nvPr/>
          </p:nvSpPr>
          <p:spPr>
            <a:xfrm>
              <a:off x="647224" y="1780946"/>
              <a:ext cx="1602601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47256" y="1619253"/>
              <a:ext cx="160253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stablishment</a:t>
              </a:r>
            </a:p>
          </p:txBody>
        </p:sp>
      </p:grpSp>
      <p:sp>
        <p:nvSpPr>
          <p:cNvPr id="97" name="Oval 96"/>
          <p:cNvSpPr/>
          <p:nvPr/>
        </p:nvSpPr>
        <p:spPr>
          <a:xfrm>
            <a:off x="1262781" y="2757901"/>
            <a:ext cx="371486" cy="37147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 flipV="1">
            <a:off x="1448524" y="2529301"/>
            <a:ext cx="0" cy="2286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 flipH="1">
            <a:off x="2808705" y="2578911"/>
            <a:ext cx="4031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2011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208962" y="3548131"/>
            <a:ext cx="1602601" cy="649327"/>
            <a:chOff x="2208962" y="3548131"/>
            <a:chExt cx="1602601" cy="649327"/>
          </a:xfrm>
        </p:grpSpPr>
        <p:sp>
          <p:nvSpPr>
            <p:cNvPr id="116" name="TextBox 115"/>
            <p:cNvSpPr txBox="1"/>
            <p:nvPr/>
          </p:nvSpPr>
          <p:spPr>
            <a:xfrm>
              <a:off x="2208962" y="3709824"/>
              <a:ext cx="1602601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2208994" y="3548131"/>
              <a:ext cx="160253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refinement</a:t>
              </a:r>
            </a:p>
          </p:txBody>
        </p:sp>
      </p:grpSp>
      <p:sp>
        <p:nvSpPr>
          <p:cNvPr id="118" name="Oval 117"/>
          <p:cNvSpPr/>
          <p:nvPr/>
        </p:nvSpPr>
        <p:spPr>
          <a:xfrm>
            <a:off x="2824519" y="2757901"/>
            <a:ext cx="371486" cy="37147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20" name="Straight Connector 119"/>
          <p:cNvCxnSpPr/>
          <p:nvPr/>
        </p:nvCxnSpPr>
        <p:spPr>
          <a:xfrm flipV="1">
            <a:off x="3010262" y="3123658"/>
            <a:ext cx="0" cy="2286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 flipH="1">
            <a:off x="4370443" y="3197544"/>
            <a:ext cx="4031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2012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770700" y="1619253"/>
            <a:ext cx="1602601" cy="649327"/>
            <a:chOff x="3770700" y="1619253"/>
            <a:chExt cx="1602601" cy="649327"/>
          </a:xfrm>
        </p:grpSpPr>
        <p:sp>
          <p:nvSpPr>
            <p:cNvPr id="123" name="TextBox 122"/>
            <p:cNvSpPr txBox="1"/>
            <p:nvPr/>
          </p:nvSpPr>
          <p:spPr>
            <a:xfrm>
              <a:off x="3770700" y="1780946"/>
              <a:ext cx="1602601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3770732" y="1619253"/>
              <a:ext cx="160253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It registration</a:t>
              </a:r>
            </a:p>
          </p:txBody>
        </p:sp>
      </p:grpSp>
      <p:sp>
        <p:nvSpPr>
          <p:cNvPr id="125" name="Oval 124"/>
          <p:cNvSpPr/>
          <p:nvPr/>
        </p:nvSpPr>
        <p:spPr>
          <a:xfrm>
            <a:off x="4386257" y="2757901"/>
            <a:ext cx="371486" cy="37147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27" name="Straight Connector 126"/>
          <p:cNvCxnSpPr/>
          <p:nvPr/>
        </p:nvCxnSpPr>
        <p:spPr>
          <a:xfrm flipV="1">
            <a:off x="4572000" y="2529301"/>
            <a:ext cx="0" cy="2286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 flipH="1">
            <a:off x="5932181" y="2578911"/>
            <a:ext cx="4031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2013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332438" y="3548131"/>
            <a:ext cx="1602601" cy="649327"/>
            <a:chOff x="5332438" y="3548131"/>
            <a:chExt cx="1602601" cy="649327"/>
          </a:xfrm>
        </p:grpSpPr>
        <p:sp>
          <p:nvSpPr>
            <p:cNvPr id="130" name="TextBox 129"/>
            <p:cNvSpPr txBox="1"/>
            <p:nvPr/>
          </p:nvSpPr>
          <p:spPr>
            <a:xfrm>
              <a:off x="5332438" y="3709824"/>
              <a:ext cx="1602601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5332470" y="3548131"/>
              <a:ext cx="160253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Hosting capabilities</a:t>
              </a:r>
            </a:p>
          </p:txBody>
        </p:sp>
      </p:grpSp>
      <p:sp>
        <p:nvSpPr>
          <p:cNvPr id="132" name="Oval 131"/>
          <p:cNvSpPr/>
          <p:nvPr/>
        </p:nvSpPr>
        <p:spPr>
          <a:xfrm>
            <a:off x="5947995" y="2757901"/>
            <a:ext cx="371486" cy="37147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34" name="Straight Connector 133"/>
          <p:cNvCxnSpPr/>
          <p:nvPr/>
        </p:nvCxnSpPr>
        <p:spPr>
          <a:xfrm flipV="1">
            <a:off x="6133738" y="3123658"/>
            <a:ext cx="0" cy="2286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/>
          <p:nvPr/>
        </p:nvSpPr>
        <p:spPr>
          <a:xfrm flipH="1">
            <a:off x="7493918" y="3197544"/>
            <a:ext cx="4031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2014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894175" y="1619253"/>
            <a:ext cx="1602601" cy="649327"/>
            <a:chOff x="6894175" y="1619253"/>
            <a:chExt cx="1602601" cy="649327"/>
          </a:xfrm>
        </p:grpSpPr>
        <p:sp>
          <p:nvSpPr>
            <p:cNvPr id="137" name="TextBox 136"/>
            <p:cNvSpPr txBox="1"/>
            <p:nvPr/>
          </p:nvSpPr>
          <p:spPr>
            <a:xfrm>
              <a:off x="6894175" y="1780946"/>
              <a:ext cx="1602601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6894207" y="1619253"/>
              <a:ext cx="160253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Top brands list</a:t>
              </a:r>
            </a:p>
          </p:txBody>
        </p:sp>
      </p:grpSp>
      <p:sp>
        <p:nvSpPr>
          <p:cNvPr id="139" name="Oval 138"/>
          <p:cNvSpPr/>
          <p:nvPr/>
        </p:nvSpPr>
        <p:spPr>
          <a:xfrm>
            <a:off x="7509732" y="2757901"/>
            <a:ext cx="371486" cy="371474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41" name="Straight Connector 140"/>
          <p:cNvCxnSpPr/>
          <p:nvPr/>
        </p:nvCxnSpPr>
        <p:spPr>
          <a:xfrm flipV="1">
            <a:off x="7695475" y="2529301"/>
            <a:ext cx="0" cy="2286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/>
          <p:cNvSpPr txBox="1"/>
          <p:nvPr/>
        </p:nvSpPr>
        <p:spPr>
          <a:xfrm flipH="1">
            <a:off x="5768250" y="1997517"/>
            <a:ext cx="7309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>
                <a:solidFill>
                  <a:schemeClr val="accent2"/>
                </a:solidFill>
                <a:latin typeface="+mj-lt"/>
              </a:rPr>
              <a:t>$34m in revenue</a:t>
            </a:r>
          </a:p>
        </p:txBody>
      </p:sp>
      <p:sp>
        <p:nvSpPr>
          <p:cNvPr id="42" name="Freeform 173">
            <a:extLst>
              <a:ext uri="{FF2B5EF4-FFF2-40B4-BE49-F238E27FC236}">
                <a16:creationId xmlns:a16="http://schemas.microsoft.com/office/drawing/2014/main" id="{0180155A-798F-4220-95E8-F93E37B04C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39766" y="2851432"/>
            <a:ext cx="207810" cy="194071"/>
          </a:xfrm>
          <a:custGeom>
            <a:avLst/>
            <a:gdLst>
              <a:gd name="T0" fmla="*/ 31 w 182"/>
              <a:gd name="T1" fmla="*/ 97 h 170"/>
              <a:gd name="T2" fmla="*/ 5 w 182"/>
              <a:gd name="T3" fmla="*/ 93 h 170"/>
              <a:gd name="T4" fmla="*/ 12 w 182"/>
              <a:gd name="T5" fmla="*/ 49 h 170"/>
              <a:gd name="T6" fmla="*/ 25 w 182"/>
              <a:gd name="T7" fmla="*/ 55 h 170"/>
              <a:gd name="T8" fmla="*/ 49 w 182"/>
              <a:gd name="T9" fmla="*/ 54 h 170"/>
              <a:gd name="T10" fmla="*/ 56 w 182"/>
              <a:gd name="T11" fmla="*/ 85 h 170"/>
              <a:gd name="T12" fmla="*/ 61 w 182"/>
              <a:gd name="T13" fmla="*/ 24 h 170"/>
              <a:gd name="T14" fmla="*/ 36 w 182"/>
              <a:gd name="T15" fmla="*/ 49 h 170"/>
              <a:gd name="T16" fmla="*/ 12 w 182"/>
              <a:gd name="T17" fmla="*/ 24 h 170"/>
              <a:gd name="T18" fmla="*/ 36 w 182"/>
              <a:gd name="T19" fmla="*/ 0 h 170"/>
              <a:gd name="T20" fmla="*/ 157 w 182"/>
              <a:gd name="T21" fmla="*/ 145 h 170"/>
              <a:gd name="T22" fmla="*/ 132 w 182"/>
              <a:gd name="T23" fmla="*/ 170 h 170"/>
              <a:gd name="T24" fmla="*/ 31 w 182"/>
              <a:gd name="T25" fmla="*/ 163 h 170"/>
              <a:gd name="T26" fmla="*/ 25 w 182"/>
              <a:gd name="T27" fmla="*/ 135 h 170"/>
              <a:gd name="T28" fmla="*/ 28 w 182"/>
              <a:gd name="T29" fmla="*/ 115 h 170"/>
              <a:gd name="T30" fmla="*/ 38 w 182"/>
              <a:gd name="T31" fmla="*/ 98 h 170"/>
              <a:gd name="T32" fmla="*/ 57 w 182"/>
              <a:gd name="T33" fmla="*/ 91 h 170"/>
              <a:gd name="T34" fmla="*/ 68 w 182"/>
              <a:gd name="T35" fmla="*/ 98 h 170"/>
              <a:gd name="T36" fmla="*/ 91 w 182"/>
              <a:gd name="T37" fmla="*/ 104 h 170"/>
              <a:gd name="T38" fmla="*/ 114 w 182"/>
              <a:gd name="T39" fmla="*/ 98 h 170"/>
              <a:gd name="T40" fmla="*/ 125 w 182"/>
              <a:gd name="T41" fmla="*/ 91 h 170"/>
              <a:gd name="T42" fmla="*/ 143 w 182"/>
              <a:gd name="T43" fmla="*/ 98 h 170"/>
              <a:gd name="T44" fmla="*/ 153 w 182"/>
              <a:gd name="T45" fmla="*/ 115 h 170"/>
              <a:gd name="T46" fmla="*/ 157 w 182"/>
              <a:gd name="T47" fmla="*/ 135 h 170"/>
              <a:gd name="T48" fmla="*/ 116 w 182"/>
              <a:gd name="T49" fmla="*/ 35 h 170"/>
              <a:gd name="T50" fmla="*/ 116 w 182"/>
              <a:gd name="T51" fmla="*/ 86 h 170"/>
              <a:gd name="T52" fmla="*/ 65 w 182"/>
              <a:gd name="T53" fmla="*/ 86 h 170"/>
              <a:gd name="T54" fmla="*/ 65 w 182"/>
              <a:gd name="T55" fmla="*/ 35 h 170"/>
              <a:gd name="T56" fmla="*/ 116 w 182"/>
              <a:gd name="T57" fmla="*/ 35 h 170"/>
              <a:gd name="T58" fmla="*/ 169 w 182"/>
              <a:gd name="T59" fmla="*/ 24 h 170"/>
              <a:gd name="T60" fmla="*/ 145 w 182"/>
              <a:gd name="T61" fmla="*/ 49 h 170"/>
              <a:gd name="T62" fmla="*/ 121 w 182"/>
              <a:gd name="T63" fmla="*/ 24 h 170"/>
              <a:gd name="T64" fmla="*/ 145 w 182"/>
              <a:gd name="T65" fmla="*/ 0 h 170"/>
              <a:gd name="T66" fmla="*/ 182 w 182"/>
              <a:gd name="T67" fmla="*/ 82 h 170"/>
              <a:gd name="T68" fmla="*/ 163 w 182"/>
              <a:gd name="T69" fmla="*/ 97 h 170"/>
              <a:gd name="T70" fmla="*/ 125 w 182"/>
              <a:gd name="T71" fmla="*/ 85 h 170"/>
              <a:gd name="T72" fmla="*/ 133 w 182"/>
              <a:gd name="T73" fmla="*/ 54 h 170"/>
              <a:gd name="T74" fmla="*/ 156 w 182"/>
              <a:gd name="T75" fmla="*/ 55 h 170"/>
              <a:gd name="T76" fmla="*/ 170 w 182"/>
              <a:gd name="T77" fmla="*/ 4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70">
                <a:moveTo>
                  <a:pt x="56" y="85"/>
                </a:moveTo>
                <a:cubicBezTo>
                  <a:pt x="46" y="85"/>
                  <a:pt x="37" y="89"/>
                  <a:pt x="31" y="97"/>
                </a:cubicBezTo>
                <a:cubicBezTo>
                  <a:pt x="18" y="97"/>
                  <a:pt x="18" y="97"/>
                  <a:pt x="18" y="97"/>
                </a:cubicBezTo>
                <a:cubicBezTo>
                  <a:pt x="13" y="97"/>
                  <a:pt x="9" y="96"/>
                  <a:pt x="5" y="93"/>
                </a:cubicBezTo>
                <a:cubicBezTo>
                  <a:pt x="2" y="91"/>
                  <a:pt x="0" y="87"/>
                  <a:pt x="0" y="82"/>
                </a:cubicBezTo>
                <a:cubicBezTo>
                  <a:pt x="0" y="60"/>
                  <a:pt x="4" y="49"/>
                  <a:pt x="12" y="49"/>
                </a:cubicBezTo>
                <a:cubicBezTo>
                  <a:pt x="12" y="49"/>
                  <a:pt x="13" y="49"/>
                  <a:pt x="16" y="51"/>
                </a:cubicBezTo>
                <a:cubicBezTo>
                  <a:pt x="18" y="52"/>
                  <a:pt x="21" y="53"/>
                  <a:pt x="25" y="55"/>
                </a:cubicBezTo>
                <a:cubicBezTo>
                  <a:pt x="29" y="56"/>
                  <a:pt x="33" y="57"/>
                  <a:pt x="36" y="57"/>
                </a:cubicBezTo>
                <a:cubicBezTo>
                  <a:pt x="41" y="57"/>
                  <a:pt x="45" y="56"/>
                  <a:pt x="49" y="54"/>
                </a:cubicBezTo>
                <a:cubicBezTo>
                  <a:pt x="49" y="57"/>
                  <a:pt x="48" y="59"/>
                  <a:pt x="48" y="61"/>
                </a:cubicBezTo>
                <a:cubicBezTo>
                  <a:pt x="48" y="69"/>
                  <a:pt x="51" y="78"/>
                  <a:pt x="56" y="85"/>
                </a:cubicBezTo>
                <a:close/>
                <a:moveTo>
                  <a:pt x="53" y="7"/>
                </a:moveTo>
                <a:cubicBezTo>
                  <a:pt x="58" y="12"/>
                  <a:pt x="61" y="18"/>
                  <a:pt x="61" y="24"/>
                </a:cubicBezTo>
                <a:cubicBezTo>
                  <a:pt x="61" y="31"/>
                  <a:pt x="58" y="37"/>
                  <a:pt x="53" y="42"/>
                </a:cubicBezTo>
                <a:cubicBezTo>
                  <a:pt x="49" y="46"/>
                  <a:pt x="43" y="49"/>
                  <a:pt x="36" y="49"/>
                </a:cubicBezTo>
                <a:cubicBezTo>
                  <a:pt x="30" y="49"/>
                  <a:pt x="24" y="46"/>
                  <a:pt x="19" y="42"/>
                </a:cubicBezTo>
                <a:cubicBezTo>
                  <a:pt x="14" y="37"/>
                  <a:pt x="12" y="31"/>
                  <a:pt x="12" y="24"/>
                </a:cubicBezTo>
                <a:cubicBezTo>
                  <a:pt x="12" y="18"/>
                  <a:pt x="14" y="12"/>
                  <a:pt x="19" y="7"/>
                </a:cubicBezTo>
                <a:cubicBezTo>
                  <a:pt x="24" y="3"/>
                  <a:pt x="30" y="0"/>
                  <a:pt x="36" y="0"/>
                </a:cubicBezTo>
                <a:cubicBezTo>
                  <a:pt x="43" y="0"/>
                  <a:pt x="49" y="3"/>
                  <a:pt x="53" y="7"/>
                </a:cubicBezTo>
                <a:close/>
                <a:moveTo>
                  <a:pt x="157" y="145"/>
                </a:moveTo>
                <a:cubicBezTo>
                  <a:pt x="157" y="153"/>
                  <a:pt x="155" y="159"/>
                  <a:pt x="150" y="163"/>
                </a:cubicBezTo>
                <a:cubicBezTo>
                  <a:pt x="146" y="167"/>
                  <a:pt x="140" y="170"/>
                  <a:pt x="132" y="170"/>
                </a:cubicBezTo>
                <a:cubicBezTo>
                  <a:pt x="49" y="170"/>
                  <a:pt x="49" y="170"/>
                  <a:pt x="49" y="170"/>
                </a:cubicBezTo>
                <a:cubicBezTo>
                  <a:pt x="42" y="170"/>
                  <a:pt x="36" y="167"/>
                  <a:pt x="31" y="163"/>
                </a:cubicBezTo>
                <a:cubicBezTo>
                  <a:pt x="26" y="159"/>
                  <a:pt x="24" y="153"/>
                  <a:pt x="24" y="145"/>
                </a:cubicBezTo>
                <a:cubicBezTo>
                  <a:pt x="24" y="142"/>
                  <a:pt x="24" y="139"/>
                  <a:pt x="25" y="135"/>
                </a:cubicBezTo>
                <a:cubicBezTo>
                  <a:pt x="25" y="132"/>
                  <a:pt x="25" y="129"/>
                  <a:pt x="26" y="125"/>
                </a:cubicBezTo>
                <a:cubicBezTo>
                  <a:pt x="27" y="121"/>
                  <a:pt x="27" y="118"/>
                  <a:pt x="28" y="115"/>
                </a:cubicBezTo>
                <a:cubicBezTo>
                  <a:pt x="29" y="112"/>
                  <a:pt x="31" y="109"/>
                  <a:pt x="32" y="106"/>
                </a:cubicBezTo>
                <a:cubicBezTo>
                  <a:pt x="34" y="103"/>
                  <a:pt x="36" y="100"/>
                  <a:pt x="38" y="98"/>
                </a:cubicBezTo>
                <a:cubicBezTo>
                  <a:pt x="40" y="96"/>
                  <a:pt x="43" y="94"/>
                  <a:pt x="46" y="93"/>
                </a:cubicBezTo>
                <a:cubicBezTo>
                  <a:pt x="50" y="92"/>
                  <a:pt x="53" y="91"/>
                  <a:pt x="57" y="91"/>
                </a:cubicBezTo>
                <a:cubicBezTo>
                  <a:pt x="58" y="91"/>
                  <a:pt x="59" y="92"/>
                  <a:pt x="61" y="93"/>
                </a:cubicBezTo>
                <a:cubicBezTo>
                  <a:pt x="63" y="94"/>
                  <a:pt x="65" y="96"/>
                  <a:pt x="68" y="98"/>
                </a:cubicBezTo>
                <a:cubicBezTo>
                  <a:pt x="70" y="99"/>
                  <a:pt x="74" y="101"/>
                  <a:pt x="78" y="102"/>
                </a:cubicBezTo>
                <a:cubicBezTo>
                  <a:pt x="82" y="103"/>
                  <a:pt x="86" y="104"/>
                  <a:pt x="91" y="104"/>
                </a:cubicBezTo>
                <a:cubicBezTo>
                  <a:pt x="95" y="104"/>
                  <a:pt x="99" y="103"/>
                  <a:pt x="104" y="102"/>
                </a:cubicBezTo>
                <a:cubicBezTo>
                  <a:pt x="108" y="101"/>
                  <a:pt x="111" y="99"/>
                  <a:pt x="114" y="98"/>
                </a:cubicBezTo>
                <a:cubicBezTo>
                  <a:pt x="116" y="96"/>
                  <a:pt x="118" y="94"/>
                  <a:pt x="121" y="93"/>
                </a:cubicBezTo>
                <a:cubicBezTo>
                  <a:pt x="123" y="92"/>
                  <a:pt x="124" y="91"/>
                  <a:pt x="125" y="91"/>
                </a:cubicBezTo>
                <a:cubicBezTo>
                  <a:pt x="128" y="91"/>
                  <a:pt x="132" y="92"/>
                  <a:pt x="135" y="93"/>
                </a:cubicBezTo>
                <a:cubicBezTo>
                  <a:pt x="138" y="94"/>
                  <a:pt x="141" y="96"/>
                  <a:pt x="143" y="98"/>
                </a:cubicBezTo>
                <a:cubicBezTo>
                  <a:pt x="145" y="100"/>
                  <a:pt x="147" y="103"/>
                  <a:pt x="149" y="106"/>
                </a:cubicBezTo>
                <a:cubicBezTo>
                  <a:pt x="151" y="109"/>
                  <a:pt x="152" y="112"/>
                  <a:pt x="153" y="115"/>
                </a:cubicBezTo>
                <a:cubicBezTo>
                  <a:pt x="154" y="118"/>
                  <a:pt x="155" y="121"/>
                  <a:pt x="156" y="125"/>
                </a:cubicBezTo>
                <a:cubicBezTo>
                  <a:pt x="156" y="129"/>
                  <a:pt x="157" y="132"/>
                  <a:pt x="157" y="135"/>
                </a:cubicBezTo>
                <a:cubicBezTo>
                  <a:pt x="157" y="139"/>
                  <a:pt x="157" y="142"/>
                  <a:pt x="157" y="145"/>
                </a:cubicBezTo>
                <a:close/>
                <a:moveTo>
                  <a:pt x="116" y="35"/>
                </a:moveTo>
                <a:cubicBezTo>
                  <a:pt x="124" y="42"/>
                  <a:pt x="127" y="51"/>
                  <a:pt x="127" y="61"/>
                </a:cubicBezTo>
                <a:cubicBezTo>
                  <a:pt x="127" y="71"/>
                  <a:pt x="124" y="79"/>
                  <a:pt x="116" y="86"/>
                </a:cubicBezTo>
                <a:cubicBezTo>
                  <a:pt x="109" y="93"/>
                  <a:pt x="101" y="97"/>
                  <a:pt x="91" y="97"/>
                </a:cubicBezTo>
                <a:cubicBezTo>
                  <a:pt x="81" y="97"/>
                  <a:pt x="72" y="93"/>
                  <a:pt x="65" y="86"/>
                </a:cubicBezTo>
                <a:cubicBezTo>
                  <a:pt x="58" y="79"/>
                  <a:pt x="54" y="71"/>
                  <a:pt x="54" y="61"/>
                </a:cubicBezTo>
                <a:cubicBezTo>
                  <a:pt x="54" y="51"/>
                  <a:pt x="58" y="42"/>
                  <a:pt x="65" y="35"/>
                </a:cubicBezTo>
                <a:cubicBezTo>
                  <a:pt x="72" y="28"/>
                  <a:pt x="81" y="24"/>
                  <a:pt x="91" y="24"/>
                </a:cubicBezTo>
                <a:cubicBezTo>
                  <a:pt x="101" y="24"/>
                  <a:pt x="109" y="28"/>
                  <a:pt x="116" y="35"/>
                </a:cubicBezTo>
                <a:close/>
                <a:moveTo>
                  <a:pt x="162" y="7"/>
                </a:moveTo>
                <a:cubicBezTo>
                  <a:pt x="167" y="12"/>
                  <a:pt x="169" y="18"/>
                  <a:pt x="169" y="24"/>
                </a:cubicBezTo>
                <a:cubicBezTo>
                  <a:pt x="169" y="31"/>
                  <a:pt x="167" y="37"/>
                  <a:pt x="162" y="42"/>
                </a:cubicBezTo>
                <a:cubicBezTo>
                  <a:pt x="158" y="46"/>
                  <a:pt x="152" y="49"/>
                  <a:pt x="145" y="49"/>
                </a:cubicBezTo>
                <a:cubicBezTo>
                  <a:pt x="139" y="49"/>
                  <a:pt x="133" y="46"/>
                  <a:pt x="128" y="42"/>
                </a:cubicBezTo>
                <a:cubicBezTo>
                  <a:pt x="123" y="37"/>
                  <a:pt x="121" y="31"/>
                  <a:pt x="121" y="24"/>
                </a:cubicBezTo>
                <a:cubicBezTo>
                  <a:pt x="121" y="18"/>
                  <a:pt x="123" y="12"/>
                  <a:pt x="128" y="7"/>
                </a:cubicBezTo>
                <a:cubicBezTo>
                  <a:pt x="133" y="3"/>
                  <a:pt x="139" y="0"/>
                  <a:pt x="145" y="0"/>
                </a:cubicBezTo>
                <a:cubicBezTo>
                  <a:pt x="152" y="0"/>
                  <a:pt x="158" y="3"/>
                  <a:pt x="162" y="7"/>
                </a:cubicBezTo>
                <a:close/>
                <a:moveTo>
                  <a:pt x="182" y="82"/>
                </a:moveTo>
                <a:cubicBezTo>
                  <a:pt x="182" y="87"/>
                  <a:pt x="180" y="91"/>
                  <a:pt x="176" y="93"/>
                </a:cubicBezTo>
                <a:cubicBezTo>
                  <a:pt x="173" y="96"/>
                  <a:pt x="168" y="97"/>
                  <a:pt x="163" y="97"/>
                </a:cubicBezTo>
                <a:cubicBezTo>
                  <a:pt x="151" y="97"/>
                  <a:pt x="151" y="97"/>
                  <a:pt x="151" y="97"/>
                </a:cubicBezTo>
                <a:cubicBezTo>
                  <a:pt x="144" y="89"/>
                  <a:pt x="136" y="85"/>
                  <a:pt x="125" y="85"/>
                </a:cubicBezTo>
                <a:cubicBezTo>
                  <a:pt x="131" y="78"/>
                  <a:pt x="133" y="69"/>
                  <a:pt x="133" y="61"/>
                </a:cubicBezTo>
                <a:cubicBezTo>
                  <a:pt x="133" y="59"/>
                  <a:pt x="133" y="57"/>
                  <a:pt x="133" y="54"/>
                </a:cubicBezTo>
                <a:cubicBezTo>
                  <a:pt x="137" y="56"/>
                  <a:pt x="141" y="57"/>
                  <a:pt x="145" y="57"/>
                </a:cubicBezTo>
                <a:cubicBezTo>
                  <a:pt x="149" y="57"/>
                  <a:pt x="153" y="56"/>
                  <a:pt x="156" y="55"/>
                </a:cubicBezTo>
                <a:cubicBezTo>
                  <a:pt x="160" y="53"/>
                  <a:pt x="163" y="52"/>
                  <a:pt x="166" y="51"/>
                </a:cubicBezTo>
                <a:cubicBezTo>
                  <a:pt x="168" y="49"/>
                  <a:pt x="169" y="49"/>
                  <a:pt x="170" y="49"/>
                </a:cubicBezTo>
                <a:cubicBezTo>
                  <a:pt x="178" y="49"/>
                  <a:pt x="182" y="60"/>
                  <a:pt x="182" y="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3" name="Freeform 168">
            <a:extLst>
              <a:ext uri="{FF2B5EF4-FFF2-40B4-BE49-F238E27FC236}">
                <a16:creationId xmlns:a16="http://schemas.microsoft.com/office/drawing/2014/main" id="{BFC3D4CC-CA34-4D3B-85FB-90F2B201F2E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22858" y="2860019"/>
            <a:ext cx="178614" cy="176897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CF61C287-DE1A-41C9-A614-8AC75233180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51327" y="2865171"/>
            <a:ext cx="166592" cy="166592"/>
          </a:xfrm>
          <a:custGeom>
            <a:avLst/>
            <a:gdLst>
              <a:gd name="T0" fmla="*/ 135 w 145"/>
              <a:gd name="T1" fmla="*/ 37 h 146"/>
              <a:gd name="T2" fmla="*/ 145 w 145"/>
              <a:gd name="T3" fmla="*/ 73 h 146"/>
              <a:gd name="T4" fmla="*/ 135 w 145"/>
              <a:gd name="T5" fmla="*/ 109 h 146"/>
              <a:gd name="T6" fmla="*/ 109 w 145"/>
              <a:gd name="T7" fmla="*/ 136 h 146"/>
              <a:gd name="T8" fmla="*/ 73 w 145"/>
              <a:gd name="T9" fmla="*/ 146 h 146"/>
              <a:gd name="T10" fmla="*/ 36 w 145"/>
              <a:gd name="T11" fmla="*/ 136 h 146"/>
              <a:gd name="T12" fmla="*/ 10 w 145"/>
              <a:gd name="T13" fmla="*/ 109 h 146"/>
              <a:gd name="T14" fmla="*/ 0 w 145"/>
              <a:gd name="T15" fmla="*/ 73 h 146"/>
              <a:gd name="T16" fmla="*/ 10 w 145"/>
              <a:gd name="T17" fmla="*/ 37 h 146"/>
              <a:gd name="T18" fmla="*/ 36 w 145"/>
              <a:gd name="T19" fmla="*/ 10 h 146"/>
              <a:gd name="T20" fmla="*/ 73 w 145"/>
              <a:gd name="T21" fmla="*/ 0 h 146"/>
              <a:gd name="T22" fmla="*/ 109 w 145"/>
              <a:gd name="T23" fmla="*/ 10 h 146"/>
              <a:gd name="T24" fmla="*/ 135 w 145"/>
              <a:gd name="T25" fmla="*/ 37 h 146"/>
              <a:gd name="T26" fmla="*/ 117 w 145"/>
              <a:gd name="T27" fmla="*/ 99 h 146"/>
              <a:gd name="T28" fmla="*/ 124 w 145"/>
              <a:gd name="T29" fmla="*/ 73 h 146"/>
              <a:gd name="T30" fmla="*/ 117 w 145"/>
              <a:gd name="T31" fmla="*/ 47 h 146"/>
              <a:gd name="T32" fmla="*/ 98 w 145"/>
              <a:gd name="T33" fmla="*/ 28 h 146"/>
              <a:gd name="T34" fmla="*/ 73 w 145"/>
              <a:gd name="T35" fmla="*/ 22 h 146"/>
              <a:gd name="T36" fmla="*/ 47 w 145"/>
              <a:gd name="T37" fmla="*/ 28 h 146"/>
              <a:gd name="T38" fmla="*/ 28 w 145"/>
              <a:gd name="T39" fmla="*/ 47 h 146"/>
              <a:gd name="T40" fmla="*/ 21 w 145"/>
              <a:gd name="T41" fmla="*/ 73 h 146"/>
              <a:gd name="T42" fmla="*/ 28 w 145"/>
              <a:gd name="T43" fmla="*/ 99 h 146"/>
              <a:gd name="T44" fmla="*/ 47 w 145"/>
              <a:gd name="T45" fmla="*/ 118 h 146"/>
              <a:gd name="T46" fmla="*/ 73 w 145"/>
              <a:gd name="T47" fmla="*/ 124 h 146"/>
              <a:gd name="T48" fmla="*/ 98 w 145"/>
              <a:gd name="T49" fmla="*/ 118 h 146"/>
              <a:gd name="T50" fmla="*/ 117 w 145"/>
              <a:gd name="T51" fmla="*/ 99 h 146"/>
              <a:gd name="T52" fmla="*/ 85 w 145"/>
              <a:gd name="T53" fmla="*/ 40 h 146"/>
              <a:gd name="T54" fmla="*/ 85 w 145"/>
              <a:gd name="T55" fmla="*/ 82 h 146"/>
              <a:gd name="T56" fmla="*/ 84 w 145"/>
              <a:gd name="T57" fmla="*/ 84 h 146"/>
              <a:gd name="T58" fmla="*/ 82 w 145"/>
              <a:gd name="T59" fmla="*/ 85 h 146"/>
              <a:gd name="T60" fmla="*/ 51 w 145"/>
              <a:gd name="T61" fmla="*/ 85 h 146"/>
              <a:gd name="T62" fmla="*/ 49 w 145"/>
              <a:gd name="T63" fmla="*/ 84 h 146"/>
              <a:gd name="T64" fmla="*/ 48 w 145"/>
              <a:gd name="T65" fmla="*/ 82 h 146"/>
              <a:gd name="T66" fmla="*/ 48 w 145"/>
              <a:gd name="T67" fmla="*/ 76 h 146"/>
              <a:gd name="T68" fmla="*/ 49 w 145"/>
              <a:gd name="T69" fmla="*/ 74 h 146"/>
              <a:gd name="T70" fmla="*/ 51 w 145"/>
              <a:gd name="T71" fmla="*/ 73 h 146"/>
              <a:gd name="T72" fmla="*/ 73 w 145"/>
              <a:gd name="T73" fmla="*/ 73 h 146"/>
              <a:gd name="T74" fmla="*/ 73 w 145"/>
              <a:gd name="T75" fmla="*/ 40 h 146"/>
              <a:gd name="T76" fmla="*/ 73 w 145"/>
              <a:gd name="T77" fmla="*/ 38 h 146"/>
              <a:gd name="T78" fmla="*/ 76 w 145"/>
              <a:gd name="T79" fmla="*/ 37 h 146"/>
              <a:gd name="T80" fmla="*/ 82 w 145"/>
              <a:gd name="T81" fmla="*/ 37 h 146"/>
              <a:gd name="T82" fmla="*/ 84 w 145"/>
              <a:gd name="T83" fmla="*/ 38 h 146"/>
              <a:gd name="T84" fmla="*/ 85 w 145"/>
              <a:gd name="T85" fmla="*/ 4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" h="146">
                <a:moveTo>
                  <a:pt x="135" y="37"/>
                </a:moveTo>
                <a:cubicBezTo>
                  <a:pt x="142" y="48"/>
                  <a:pt x="145" y="60"/>
                  <a:pt x="145" y="73"/>
                </a:cubicBezTo>
                <a:cubicBezTo>
                  <a:pt x="145" y="86"/>
                  <a:pt x="142" y="98"/>
                  <a:pt x="135" y="109"/>
                </a:cubicBezTo>
                <a:cubicBezTo>
                  <a:pt x="129" y="121"/>
                  <a:pt x="120" y="129"/>
                  <a:pt x="109" y="136"/>
                </a:cubicBezTo>
                <a:cubicBezTo>
                  <a:pt x="98" y="142"/>
                  <a:pt x="86" y="146"/>
                  <a:pt x="73" y="146"/>
                </a:cubicBezTo>
                <a:cubicBezTo>
                  <a:pt x="59" y="146"/>
                  <a:pt x="47" y="142"/>
                  <a:pt x="36" y="136"/>
                </a:cubicBezTo>
                <a:cubicBezTo>
                  <a:pt x="25" y="129"/>
                  <a:pt x="16" y="121"/>
                  <a:pt x="10" y="109"/>
                </a:cubicBezTo>
                <a:cubicBezTo>
                  <a:pt x="3" y="98"/>
                  <a:pt x="0" y="86"/>
                  <a:pt x="0" y="73"/>
                </a:cubicBezTo>
                <a:cubicBezTo>
                  <a:pt x="0" y="60"/>
                  <a:pt x="3" y="48"/>
                  <a:pt x="10" y="37"/>
                </a:cubicBezTo>
                <a:cubicBezTo>
                  <a:pt x="16" y="25"/>
                  <a:pt x="25" y="17"/>
                  <a:pt x="36" y="10"/>
                </a:cubicBezTo>
                <a:cubicBezTo>
                  <a:pt x="47" y="4"/>
                  <a:pt x="59" y="0"/>
                  <a:pt x="73" y="0"/>
                </a:cubicBezTo>
                <a:cubicBezTo>
                  <a:pt x="86" y="0"/>
                  <a:pt x="98" y="4"/>
                  <a:pt x="109" y="10"/>
                </a:cubicBezTo>
                <a:cubicBezTo>
                  <a:pt x="120" y="17"/>
                  <a:pt x="129" y="25"/>
                  <a:pt x="135" y="37"/>
                </a:cubicBezTo>
                <a:close/>
                <a:moveTo>
                  <a:pt x="117" y="99"/>
                </a:moveTo>
                <a:cubicBezTo>
                  <a:pt x="122" y="91"/>
                  <a:pt x="124" y="82"/>
                  <a:pt x="124" y="73"/>
                </a:cubicBezTo>
                <a:cubicBezTo>
                  <a:pt x="124" y="64"/>
                  <a:pt x="122" y="55"/>
                  <a:pt x="117" y="47"/>
                </a:cubicBezTo>
                <a:cubicBezTo>
                  <a:pt x="112" y="39"/>
                  <a:pt x="106" y="33"/>
                  <a:pt x="98" y="28"/>
                </a:cubicBezTo>
                <a:cubicBezTo>
                  <a:pt x="90" y="24"/>
                  <a:pt x="82" y="22"/>
                  <a:pt x="73" y="22"/>
                </a:cubicBezTo>
                <a:cubicBezTo>
                  <a:pt x="63" y="22"/>
                  <a:pt x="55" y="24"/>
                  <a:pt x="47" y="28"/>
                </a:cubicBezTo>
                <a:cubicBezTo>
                  <a:pt x="39" y="33"/>
                  <a:pt x="33" y="39"/>
                  <a:pt x="28" y="47"/>
                </a:cubicBezTo>
                <a:cubicBezTo>
                  <a:pt x="23" y="55"/>
                  <a:pt x="21" y="64"/>
                  <a:pt x="21" y="73"/>
                </a:cubicBezTo>
                <a:cubicBezTo>
                  <a:pt x="21" y="82"/>
                  <a:pt x="23" y="91"/>
                  <a:pt x="28" y="99"/>
                </a:cubicBezTo>
                <a:cubicBezTo>
                  <a:pt x="33" y="107"/>
                  <a:pt x="39" y="113"/>
                  <a:pt x="47" y="118"/>
                </a:cubicBezTo>
                <a:cubicBezTo>
                  <a:pt x="55" y="122"/>
                  <a:pt x="63" y="124"/>
                  <a:pt x="73" y="124"/>
                </a:cubicBezTo>
                <a:cubicBezTo>
                  <a:pt x="82" y="124"/>
                  <a:pt x="90" y="122"/>
                  <a:pt x="98" y="118"/>
                </a:cubicBezTo>
                <a:cubicBezTo>
                  <a:pt x="106" y="113"/>
                  <a:pt x="112" y="107"/>
                  <a:pt x="117" y="99"/>
                </a:cubicBezTo>
                <a:close/>
                <a:moveTo>
                  <a:pt x="85" y="40"/>
                </a:moveTo>
                <a:cubicBezTo>
                  <a:pt x="85" y="82"/>
                  <a:pt x="85" y="82"/>
                  <a:pt x="85" y="82"/>
                </a:cubicBezTo>
                <a:cubicBezTo>
                  <a:pt x="85" y="83"/>
                  <a:pt x="84" y="84"/>
                  <a:pt x="84" y="84"/>
                </a:cubicBezTo>
                <a:cubicBezTo>
                  <a:pt x="83" y="85"/>
                  <a:pt x="83" y="85"/>
                  <a:pt x="82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1" y="85"/>
                  <a:pt x="50" y="85"/>
                  <a:pt x="49" y="84"/>
                </a:cubicBezTo>
                <a:cubicBezTo>
                  <a:pt x="49" y="84"/>
                  <a:pt x="48" y="83"/>
                  <a:pt x="48" y="82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5"/>
                  <a:pt x="49" y="74"/>
                  <a:pt x="49" y="74"/>
                </a:cubicBezTo>
                <a:cubicBezTo>
                  <a:pt x="50" y="73"/>
                  <a:pt x="51" y="73"/>
                  <a:pt x="51" y="73"/>
                </a:cubicBezTo>
                <a:cubicBezTo>
                  <a:pt x="73" y="73"/>
                  <a:pt x="73" y="73"/>
                  <a:pt x="73" y="73"/>
                </a:cubicBezTo>
                <a:cubicBezTo>
                  <a:pt x="73" y="40"/>
                  <a:pt x="73" y="40"/>
                  <a:pt x="73" y="40"/>
                </a:cubicBezTo>
                <a:cubicBezTo>
                  <a:pt x="73" y="39"/>
                  <a:pt x="73" y="38"/>
                  <a:pt x="73" y="38"/>
                </a:cubicBezTo>
                <a:cubicBezTo>
                  <a:pt x="74" y="37"/>
                  <a:pt x="75" y="37"/>
                  <a:pt x="76" y="37"/>
                </a:cubicBezTo>
                <a:cubicBezTo>
                  <a:pt x="82" y="37"/>
                  <a:pt x="82" y="37"/>
                  <a:pt x="82" y="37"/>
                </a:cubicBezTo>
                <a:cubicBezTo>
                  <a:pt x="83" y="37"/>
                  <a:pt x="83" y="37"/>
                  <a:pt x="84" y="38"/>
                </a:cubicBezTo>
                <a:cubicBezTo>
                  <a:pt x="84" y="38"/>
                  <a:pt x="85" y="39"/>
                  <a:pt x="85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5" name="Freeform 141">
            <a:extLst>
              <a:ext uri="{FF2B5EF4-FFF2-40B4-BE49-F238E27FC236}">
                <a16:creationId xmlns:a16="http://schemas.microsoft.com/office/drawing/2014/main" id="{2C45819C-A82B-4B67-AE7D-7DE966A50F6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04794" y="2865171"/>
            <a:ext cx="180331" cy="166592"/>
          </a:xfrm>
          <a:custGeom>
            <a:avLst/>
            <a:gdLst>
              <a:gd name="T0" fmla="*/ 158 w 158"/>
              <a:gd name="T1" fmla="*/ 34 h 146"/>
              <a:gd name="T2" fmla="*/ 158 w 158"/>
              <a:gd name="T3" fmla="*/ 46 h 146"/>
              <a:gd name="T4" fmla="*/ 154 w 158"/>
              <a:gd name="T5" fmla="*/ 59 h 146"/>
              <a:gd name="T6" fmla="*/ 143 w 158"/>
              <a:gd name="T7" fmla="*/ 72 h 146"/>
              <a:gd name="T8" fmla="*/ 127 w 158"/>
              <a:gd name="T9" fmla="*/ 81 h 146"/>
              <a:gd name="T10" fmla="*/ 106 w 158"/>
              <a:gd name="T11" fmla="*/ 85 h 146"/>
              <a:gd name="T12" fmla="*/ 97 w 158"/>
              <a:gd name="T13" fmla="*/ 94 h 146"/>
              <a:gd name="T14" fmla="*/ 92 w 158"/>
              <a:gd name="T15" fmla="*/ 101 h 146"/>
              <a:gd name="T16" fmla="*/ 91 w 158"/>
              <a:gd name="T17" fmla="*/ 109 h 146"/>
              <a:gd name="T18" fmla="*/ 94 w 158"/>
              <a:gd name="T19" fmla="*/ 118 h 146"/>
              <a:gd name="T20" fmla="*/ 103 w 158"/>
              <a:gd name="T21" fmla="*/ 121 h 146"/>
              <a:gd name="T22" fmla="*/ 116 w 158"/>
              <a:gd name="T23" fmla="*/ 126 h 146"/>
              <a:gd name="T24" fmla="*/ 121 w 158"/>
              <a:gd name="T25" fmla="*/ 136 h 146"/>
              <a:gd name="T26" fmla="*/ 121 w 158"/>
              <a:gd name="T27" fmla="*/ 143 h 146"/>
              <a:gd name="T28" fmla="*/ 120 w 158"/>
              <a:gd name="T29" fmla="*/ 145 h 146"/>
              <a:gd name="T30" fmla="*/ 118 w 158"/>
              <a:gd name="T31" fmla="*/ 146 h 146"/>
              <a:gd name="T32" fmla="*/ 40 w 158"/>
              <a:gd name="T33" fmla="*/ 146 h 146"/>
              <a:gd name="T34" fmla="*/ 37 w 158"/>
              <a:gd name="T35" fmla="*/ 145 h 146"/>
              <a:gd name="T36" fmla="*/ 37 w 158"/>
              <a:gd name="T37" fmla="*/ 143 h 146"/>
              <a:gd name="T38" fmla="*/ 37 w 158"/>
              <a:gd name="T39" fmla="*/ 136 h 146"/>
              <a:gd name="T40" fmla="*/ 42 w 158"/>
              <a:gd name="T41" fmla="*/ 126 h 146"/>
              <a:gd name="T42" fmla="*/ 55 w 158"/>
              <a:gd name="T43" fmla="*/ 121 h 146"/>
              <a:gd name="T44" fmla="*/ 64 w 158"/>
              <a:gd name="T45" fmla="*/ 118 h 146"/>
              <a:gd name="T46" fmla="*/ 67 w 158"/>
              <a:gd name="T47" fmla="*/ 109 h 146"/>
              <a:gd name="T48" fmla="*/ 65 w 158"/>
              <a:gd name="T49" fmla="*/ 101 h 146"/>
              <a:gd name="T50" fmla="*/ 61 w 158"/>
              <a:gd name="T51" fmla="*/ 94 h 146"/>
              <a:gd name="T52" fmla="*/ 52 w 158"/>
              <a:gd name="T53" fmla="*/ 85 h 146"/>
              <a:gd name="T54" fmla="*/ 31 w 158"/>
              <a:gd name="T55" fmla="*/ 81 h 146"/>
              <a:gd name="T56" fmla="*/ 15 w 158"/>
              <a:gd name="T57" fmla="*/ 72 h 146"/>
              <a:gd name="T58" fmla="*/ 4 w 158"/>
              <a:gd name="T59" fmla="*/ 59 h 146"/>
              <a:gd name="T60" fmla="*/ 0 w 158"/>
              <a:gd name="T61" fmla="*/ 46 h 146"/>
              <a:gd name="T62" fmla="*/ 0 w 158"/>
              <a:gd name="T63" fmla="*/ 34 h 146"/>
              <a:gd name="T64" fmla="*/ 3 w 158"/>
              <a:gd name="T65" fmla="*/ 27 h 146"/>
              <a:gd name="T66" fmla="*/ 9 w 158"/>
              <a:gd name="T67" fmla="*/ 25 h 146"/>
              <a:gd name="T68" fmla="*/ 37 w 158"/>
              <a:gd name="T69" fmla="*/ 25 h 146"/>
              <a:gd name="T70" fmla="*/ 37 w 158"/>
              <a:gd name="T71" fmla="*/ 15 h 146"/>
              <a:gd name="T72" fmla="*/ 41 w 158"/>
              <a:gd name="T73" fmla="*/ 5 h 146"/>
              <a:gd name="T74" fmla="*/ 52 w 158"/>
              <a:gd name="T75" fmla="*/ 0 h 146"/>
              <a:gd name="T76" fmla="*/ 106 w 158"/>
              <a:gd name="T77" fmla="*/ 0 h 146"/>
              <a:gd name="T78" fmla="*/ 117 w 158"/>
              <a:gd name="T79" fmla="*/ 5 h 146"/>
              <a:gd name="T80" fmla="*/ 121 w 158"/>
              <a:gd name="T81" fmla="*/ 15 h 146"/>
              <a:gd name="T82" fmla="*/ 121 w 158"/>
              <a:gd name="T83" fmla="*/ 25 h 146"/>
              <a:gd name="T84" fmla="*/ 149 w 158"/>
              <a:gd name="T85" fmla="*/ 25 h 146"/>
              <a:gd name="T86" fmla="*/ 155 w 158"/>
              <a:gd name="T87" fmla="*/ 27 h 146"/>
              <a:gd name="T88" fmla="*/ 158 w 158"/>
              <a:gd name="T89" fmla="*/ 34 h 146"/>
              <a:gd name="T90" fmla="*/ 44 w 158"/>
              <a:gd name="T91" fmla="*/ 72 h 146"/>
              <a:gd name="T92" fmla="*/ 37 w 158"/>
              <a:gd name="T93" fmla="*/ 37 h 146"/>
              <a:gd name="T94" fmla="*/ 12 w 158"/>
              <a:gd name="T95" fmla="*/ 37 h 146"/>
              <a:gd name="T96" fmla="*/ 12 w 158"/>
              <a:gd name="T97" fmla="*/ 46 h 146"/>
              <a:gd name="T98" fmla="*/ 21 w 158"/>
              <a:gd name="T99" fmla="*/ 61 h 146"/>
              <a:gd name="T100" fmla="*/ 44 w 158"/>
              <a:gd name="T101" fmla="*/ 72 h 146"/>
              <a:gd name="T102" fmla="*/ 146 w 158"/>
              <a:gd name="T103" fmla="*/ 46 h 146"/>
              <a:gd name="T104" fmla="*/ 146 w 158"/>
              <a:gd name="T105" fmla="*/ 37 h 146"/>
              <a:gd name="T106" fmla="*/ 121 w 158"/>
              <a:gd name="T107" fmla="*/ 37 h 146"/>
              <a:gd name="T108" fmla="*/ 114 w 158"/>
              <a:gd name="T109" fmla="*/ 72 h 146"/>
              <a:gd name="T110" fmla="*/ 137 w 158"/>
              <a:gd name="T111" fmla="*/ 61 h 146"/>
              <a:gd name="T112" fmla="*/ 146 w 158"/>
              <a:gd name="T113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8" h="146">
                <a:moveTo>
                  <a:pt x="158" y="34"/>
                </a:moveTo>
                <a:cubicBezTo>
                  <a:pt x="158" y="46"/>
                  <a:pt x="158" y="46"/>
                  <a:pt x="158" y="46"/>
                </a:cubicBezTo>
                <a:cubicBezTo>
                  <a:pt x="158" y="50"/>
                  <a:pt x="156" y="55"/>
                  <a:pt x="154" y="59"/>
                </a:cubicBezTo>
                <a:cubicBezTo>
                  <a:pt x="151" y="64"/>
                  <a:pt x="148" y="68"/>
                  <a:pt x="143" y="72"/>
                </a:cubicBezTo>
                <a:cubicBezTo>
                  <a:pt x="139" y="75"/>
                  <a:pt x="133" y="78"/>
                  <a:pt x="127" y="81"/>
                </a:cubicBezTo>
                <a:cubicBezTo>
                  <a:pt x="120" y="83"/>
                  <a:pt x="113" y="85"/>
                  <a:pt x="106" y="85"/>
                </a:cubicBezTo>
                <a:cubicBezTo>
                  <a:pt x="104" y="88"/>
                  <a:pt x="101" y="91"/>
                  <a:pt x="97" y="94"/>
                </a:cubicBezTo>
                <a:cubicBezTo>
                  <a:pt x="95" y="96"/>
                  <a:pt x="93" y="98"/>
                  <a:pt x="92" y="101"/>
                </a:cubicBezTo>
                <a:cubicBezTo>
                  <a:pt x="92" y="103"/>
                  <a:pt x="91" y="106"/>
                  <a:pt x="91" y="109"/>
                </a:cubicBezTo>
                <a:cubicBezTo>
                  <a:pt x="91" y="113"/>
                  <a:pt x="92" y="116"/>
                  <a:pt x="94" y="118"/>
                </a:cubicBezTo>
                <a:cubicBezTo>
                  <a:pt x="96" y="120"/>
                  <a:pt x="99" y="121"/>
                  <a:pt x="103" y="121"/>
                </a:cubicBezTo>
                <a:cubicBezTo>
                  <a:pt x="108" y="121"/>
                  <a:pt x="112" y="123"/>
                  <a:pt x="116" y="126"/>
                </a:cubicBezTo>
                <a:cubicBezTo>
                  <a:pt x="119" y="129"/>
                  <a:pt x="121" y="132"/>
                  <a:pt x="121" y="136"/>
                </a:cubicBezTo>
                <a:cubicBezTo>
                  <a:pt x="121" y="143"/>
                  <a:pt x="121" y="143"/>
                  <a:pt x="121" y="143"/>
                </a:cubicBezTo>
                <a:cubicBezTo>
                  <a:pt x="121" y="143"/>
                  <a:pt x="121" y="144"/>
                  <a:pt x="120" y="145"/>
                </a:cubicBezTo>
                <a:cubicBezTo>
                  <a:pt x="120" y="145"/>
                  <a:pt x="119" y="146"/>
                  <a:pt x="118" y="146"/>
                </a:cubicBezTo>
                <a:cubicBezTo>
                  <a:pt x="40" y="146"/>
                  <a:pt x="40" y="146"/>
                  <a:pt x="40" y="146"/>
                </a:cubicBezTo>
                <a:cubicBezTo>
                  <a:pt x="39" y="146"/>
                  <a:pt x="38" y="145"/>
                  <a:pt x="37" y="145"/>
                </a:cubicBezTo>
                <a:cubicBezTo>
                  <a:pt x="37" y="144"/>
                  <a:pt x="37" y="143"/>
                  <a:pt x="37" y="143"/>
                </a:cubicBezTo>
                <a:cubicBezTo>
                  <a:pt x="37" y="136"/>
                  <a:pt x="37" y="136"/>
                  <a:pt x="37" y="136"/>
                </a:cubicBezTo>
                <a:cubicBezTo>
                  <a:pt x="37" y="132"/>
                  <a:pt x="38" y="129"/>
                  <a:pt x="42" y="126"/>
                </a:cubicBezTo>
                <a:cubicBezTo>
                  <a:pt x="46" y="123"/>
                  <a:pt x="50" y="121"/>
                  <a:pt x="55" y="121"/>
                </a:cubicBezTo>
                <a:cubicBezTo>
                  <a:pt x="59" y="121"/>
                  <a:pt x="62" y="120"/>
                  <a:pt x="64" y="118"/>
                </a:cubicBezTo>
                <a:cubicBezTo>
                  <a:pt x="66" y="116"/>
                  <a:pt x="67" y="113"/>
                  <a:pt x="67" y="109"/>
                </a:cubicBezTo>
                <a:cubicBezTo>
                  <a:pt x="67" y="106"/>
                  <a:pt x="66" y="103"/>
                  <a:pt x="65" y="101"/>
                </a:cubicBezTo>
                <a:cubicBezTo>
                  <a:pt x="65" y="98"/>
                  <a:pt x="63" y="96"/>
                  <a:pt x="61" y="94"/>
                </a:cubicBezTo>
                <a:cubicBezTo>
                  <a:pt x="57" y="91"/>
                  <a:pt x="54" y="88"/>
                  <a:pt x="52" y="85"/>
                </a:cubicBezTo>
                <a:cubicBezTo>
                  <a:pt x="44" y="85"/>
                  <a:pt x="38" y="83"/>
                  <a:pt x="31" y="81"/>
                </a:cubicBezTo>
                <a:cubicBezTo>
                  <a:pt x="25" y="78"/>
                  <a:pt x="19" y="75"/>
                  <a:pt x="15" y="72"/>
                </a:cubicBezTo>
                <a:cubicBezTo>
                  <a:pt x="10" y="68"/>
                  <a:pt x="7" y="64"/>
                  <a:pt x="4" y="59"/>
                </a:cubicBezTo>
                <a:cubicBezTo>
                  <a:pt x="2" y="55"/>
                  <a:pt x="0" y="50"/>
                  <a:pt x="0" y="46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1"/>
                  <a:pt x="1" y="29"/>
                  <a:pt x="3" y="27"/>
                </a:cubicBezTo>
                <a:cubicBezTo>
                  <a:pt x="5" y="25"/>
                  <a:pt x="7" y="25"/>
                  <a:pt x="9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15"/>
                  <a:pt x="37" y="15"/>
                  <a:pt x="37" y="15"/>
                </a:cubicBezTo>
                <a:cubicBezTo>
                  <a:pt x="37" y="11"/>
                  <a:pt x="38" y="8"/>
                  <a:pt x="41" y="5"/>
                </a:cubicBezTo>
                <a:cubicBezTo>
                  <a:pt x="44" y="2"/>
                  <a:pt x="48" y="0"/>
                  <a:pt x="52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4" y="2"/>
                  <a:pt x="117" y="5"/>
                </a:cubicBezTo>
                <a:cubicBezTo>
                  <a:pt x="120" y="8"/>
                  <a:pt x="121" y="11"/>
                  <a:pt x="121" y="15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49" y="25"/>
                  <a:pt x="149" y="25"/>
                  <a:pt x="149" y="25"/>
                </a:cubicBezTo>
                <a:cubicBezTo>
                  <a:pt x="151" y="25"/>
                  <a:pt x="153" y="25"/>
                  <a:pt x="155" y="27"/>
                </a:cubicBezTo>
                <a:cubicBezTo>
                  <a:pt x="157" y="29"/>
                  <a:pt x="158" y="31"/>
                  <a:pt x="158" y="34"/>
                </a:cubicBezTo>
                <a:close/>
                <a:moveTo>
                  <a:pt x="44" y="72"/>
                </a:moveTo>
                <a:cubicBezTo>
                  <a:pt x="39" y="62"/>
                  <a:pt x="37" y="50"/>
                  <a:pt x="37" y="37"/>
                </a:cubicBezTo>
                <a:cubicBezTo>
                  <a:pt x="12" y="37"/>
                  <a:pt x="12" y="37"/>
                  <a:pt x="12" y="37"/>
                </a:cubicBezTo>
                <a:cubicBezTo>
                  <a:pt x="12" y="46"/>
                  <a:pt x="12" y="46"/>
                  <a:pt x="12" y="46"/>
                </a:cubicBezTo>
                <a:cubicBezTo>
                  <a:pt x="12" y="51"/>
                  <a:pt x="15" y="56"/>
                  <a:pt x="21" y="61"/>
                </a:cubicBezTo>
                <a:cubicBezTo>
                  <a:pt x="27" y="66"/>
                  <a:pt x="35" y="70"/>
                  <a:pt x="44" y="72"/>
                </a:cubicBezTo>
                <a:close/>
                <a:moveTo>
                  <a:pt x="146" y="46"/>
                </a:moveTo>
                <a:cubicBezTo>
                  <a:pt x="146" y="37"/>
                  <a:pt x="146" y="37"/>
                  <a:pt x="146" y="37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121" y="50"/>
                  <a:pt x="119" y="62"/>
                  <a:pt x="114" y="72"/>
                </a:cubicBezTo>
                <a:cubicBezTo>
                  <a:pt x="123" y="70"/>
                  <a:pt x="131" y="66"/>
                  <a:pt x="137" y="61"/>
                </a:cubicBezTo>
                <a:cubicBezTo>
                  <a:pt x="143" y="56"/>
                  <a:pt x="146" y="51"/>
                  <a:pt x="1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6" name="Freeform 154">
            <a:extLst>
              <a:ext uri="{FF2B5EF4-FFF2-40B4-BE49-F238E27FC236}">
                <a16:creationId xmlns:a16="http://schemas.microsoft.com/office/drawing/2014/main" id="{026C8E6C-A054-45D7-A7CB-47B2DA59C58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02192" y="2872041"/>
            <a:ext cx="151135" cy="152852"/>
          </a:xfrm>
          <a:custGeom>
            <a:avLst/>
            <a:gdLst>
              <a:gd name="T0" fmla="*/ 133 w 133"/>
              <a:gd name="T1" fmla="*/ 127 h 133"/>
              <a:gd name="T2" fmla="*/ 132 w 133"/>
              <a:gd name="T3" fmla="*/ 132 h 133"/>
              <a:gd name="T4" fmla="*/ 127 w 133"/>
              <a:gd name="T5" fmla="*/ 133 h 133"/>
              <a:gd name="T6" fmla="*/ 114 w 133"/>
              <a:gd name="T7" fmla="*/ 133 h 133"/>
              <a:gd name="T8" fmla="*/ 110 w 133"/>
              <a:gd name="T9" fmla="*/ 132 h 133"/>
              <a:gd name="T10" fmla="*/ 108 w 133"/>
              <a:gd name="T11" fmla="*/ 128 h 133"/>
              <a:gd name="T12" fmla="*/ 98 w 133"/>
              <a:gd name="T13" fmla="*/ 89 h 133"/>
              <a:gd name="T14" fmla="*/ 76 w 133"/>
              <a:gd name="T15" fmla="*/ 57 h 133"/>
              <a:gd name="T16" fmla="*/ 44 w 133"/>
              <a:gd name="T17" fmla="*/ 36 h 133"/>
              <a:gd name="T18" fmla="*/ 6 w 133"/>
              <a:gd name="T19" fmla="*/ 26 h 133"/>
              <a:gd name="T20" fmla="*/ 2 w 133"/>
              <a:gd name="T21" fmla="*/ 24 h 133"/>
              <a:gd name="T22" fmla="*/ 0 w 133"/>
              <a:gd name="T23" fmla="*/ 20 h 133"/>
              <a:gd name="T24" fmla="*/ 0 w 133"/>
              <a:gd name="T25" fmla="*/ 6 h 133"/>
              <a:gd name="T26" fmla="*/ 2 w 133"/>
              <a:gd name="T27" fmla="*/ 2 h 133"/>
              <a:gd name="T28" fmla="*/ 6 w 133"/>
              <a:gd name="T29" fmla="*/ 0 h 133"/>
              <a:gd name="T30" fmla="*/ 7 w 133"/>
              <a:gd name="T31" fmla="*/ 0 h 133"/>
              <a:gd name="T32" fmla="*/ 54 w 133"/>
              <a:gd name="T33" fmla="*/ 12 h 133"/>
              <a:gd name="T34" fmla="*/ 94 w 133"/>
              <a:gd name="T35" fmla="*/ 39 h 133"/>
              <a:gd name="T36" fmla="*/ 122 w 133"/>
              <a:gd name="T37" fmla="*/ 80 h 133"/>
              <a:gd name="T38" fmla="*/ 133 w 133"/>
              <a:gd name="T39" fmla="*/ 127 h 133"/>
              <a:gd name="T40" fmla="*/ 85 w 133"/>
              <a:gd name="T41" fmla="*/ 127 h 133"/>
              <a:gd name="T42" fmla="*/ 83 w 133"/>
              <a:gd name="T43" fmla="*/ 131 h 133"/>
              <a:gd name="T44" fmla="*/ 79 w 133"/>
              <a:gd name="T45" fmla="*/ 133 h 133"/>
              <a:gd name="T46" fmla="*/ 66 w 133"/>
              <a:gd name="T47" fmla="*/ 133 h 133"/>
              <a:gd name="T48" fmla="*/ 62 w 133"/>
              <a:gd name="T49" fmla="*/ 132 h 133"/>
              <a:gd name="T50" fmla="*/ 60 w 133"/>
              <a:gd name="T51" fmla="*/ 128 h 133"/>
              <a:gd name="T52" fmla="*/ 43 w 133"/>
              <a:gd name="T53" fmla="*/ 91 h 133"/>
              <a:gd name="T54" fmla="*/ 6 w 133"/>
              <a:gd name="T55" fmla="*/ 74 h 133"/>
              <a:gd name="T56" fmla="*/ 2 w 133"/>
              <a:gd name="T57" fmla="*/ 72 h 133"/>
              <a:gd name="T58" fmla="*/ 0 w 133"/>
              <a:gd name="T59" fmla="*/ 68 h 133"/>
              <a:gd name="T60" fmla="*/ 0 w 133"/>
              <a:gd name="T61" fmla="*/ 55 h 133"/>
              <a:gd name="T62" fmla="*/ 2 w 133"/>
              <a:gd name="T63" fmla="*/ 50 h 133"/>
              <a:gd name="T64" fmla="*/ 6 w 133"/>
              <a:gd name="T65" fmla="*/ 49 h 133"/>
              <a:gd name="T66" fmla="*/ 7 w 133"/>
              <a:gd name="T67" fmla="*/ 49 h 133"/>
              <a:gd name="T68" fmla="*/ 36 w 133"/>
              <a:gd name="T69" fmla="*/ 56 h 133"/>
              <a:gd name="T70" fmla="*/ 60 w 133"/>
              <a:gd name="T71" fmla="*/ 74 h 133"/>
              <a:gd name="T72" fmla="*/ 77 w 133"/>
              <a:gd name="T73" fmla="*/ 98 h 133"/>
              <a:gd name="T74" fmla="*/ 85 w 133"/>
              <a:gd name="T75" fmla="*/ 127 h 133"/>
              <a:gd name="T76" fmla="*/ 31 w 133"/>
              <a:gd name="T77" fmla="*/ 102 h 133"/>
              <a:gd name="T78" fmla="*/ 36 w 133"/>
              <a:gd name="T79" fmla="*/ 115 h 133"/>
              <a:gd name="T80" fmla="*/ 31 w 133"/>
              <a:gd name="T81" fmla="*/ 128 h 133"/>
              <a:gd name="T82" fmla="*/ 18 w 133"/>
              <a:gd name="T83" fmla="*/ 133 h 133"/>
              <a:gd name="T84" fmla="*/ 5 w 133"/>
              <a:gd name="T85" fmla="*/ 128 h 133"/>
              <a:gd name="T86" fmla="*/ 0 w 133"/>
              <a:gd name="T87" fmla="*/ 115 h 133"/>
              <a:gd name="T88" fmla="*/ 5 w 133"/>
              <a:gd name="T89" fmla="*/ 102 h 133"/>
              <a:gd name="T90" fmla="*/ 18 w 133"/>
              <a:gd name="T91" fmla="*/ 97 h 133"/>
              <a:gd name="T92" fmla="*/ 31 w 133"/>
              <a:gd name="T93" fmla="*/ 10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3" h="133">
                <a:moveTo>
                  <a:pt x="133" y="127"/>
                </a:moveTo>
                <a:cubicBezTo>
                  <a:pt x="133" y="129"/>
                  <a:pt x="133" y="130"/>
                  <a:pt x="132" y="132"/>
                </a:cubicBezTo>
                <a:cubicBezTo>
                  <a:pt x="130" y="133"/>
                  <a:pt x="129" y="133"/>
                  <a:pt x="127" y="133"/>
                </a:cubicBezTo>
                <a:cubicBezTo>
                  <a:pt x="114" y="133"/>
                  <a:pt x="114" y="133"/>
                  <a:pt x="114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108" y="131"/>
                  <a:pt x="108" y="129"/>
                  <a:pt x="108" y="128"/>
                </a:cubicBezTo>
                <a:cubicBezTo>
                  <a:pt x="107" y="114"/>
                  <a:pt x="104" y="101"/>
                  <a:pt x="98" y="89"/>
                </a:cubicBezTo>
                <a:cubicBezTo>
                  <a:pt x="93" y="77"/>
                  <a:pt x="85" y="66"/>
                  <a:pt x="76" y="57"/>
                </a:cubicBezTo>
                <a:cubicBezTo>
                  <a:pt x="67" y="48"/>
                  <a:pt x="57" y="41"/>
                  <a:pt x="44" y="36"/>
                </a:cubicBezTo>
                <a:cubicBezTo>
                  <a:pt x="32" y="30"/>
                  <a:pt x="19" y="27"/>
                  <a:pt x="6" y="26"/>
                </a:cubicBezTo>
                <a:cubicBezTo>
                  <a:pt x="4" y="26"/>
                  <a:pt x="3" y="25"/>
                  <a:pt x="2" y="24"/>
                </a:cubicBezTo>
                <a:cubicBezTo>
                  <a:pt x="1" y="23"/>
                  <a:pt x="0" y="21"/>
                  <a:pt x="0" y="2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7" y="0"/>
                  <a:pt x="7" y="0"/>
                  <a:pt x="7" y="0"/>
                </a:cubicBezTo>
                <a:cubicBezTo>
                  <a:pt x="23" y="1"/>
                  <a:pt x="39" y="5"/>
                  <a:pt x="54" y="12"/>
                </a:cubicBezTo>
                <a:cubicBezTo>
                  <a:pt x="69" y="18"/>
                  <a:pt x="82" y="28"/>
                  <a:pt x="94" y="39"/>
                </a:cubicBezTo>
                <a:cubicBezTo>
                  <a:pt x="106" y="51"/>
                  <a:pt x="115" y="65"/>
                  <a:pt x="122" y="80"/>
                </a:cubicBezTo>
                <a:cubicBezTo>
                  <a:pt x="129" y="95"/>
                  <a:pt x="132" y="111"/>
                  <a:pt x="133" y="127"/>
                </a:cubicBezTo>
                <a:close/>
                <a:moveTo>
                  <a:pt x="85" y="127"/>
                </a:moveTo>
                <a:cubicBezTo>
                  <a:pt x="85" y="129"/>
                  <a:pt x="84" y="130"/>
                  <a:pt x="83" y="131"/>
                </a:cubicBezTo>
                <a:cubicBezTo>
                  <a:pt x="82" y="133"/>
                  <a:pt x="81" y="133"/>
                  <a:pt x="79" y="133"/>
                </a:cubicBezTo>
                <a:cubicBezTo>
                  <a:pt x="66" y="133"/>
                  <a:pt x="66" y="133"/>
                  <a:pt x="66" y="133"/>
                </a:cubicBezTo>
                <a:cubicBezTo>
                  <a:pt x="65" y="133"/>
                  <a:pt x="63" y="133"/>
                  <a:pt x="62" y="132"/>
                </a:cubicBezTo>
                <a:cubicBezTo>
                  <a:pt x="61" y="131"/>
                  <a:pt x="60" y="130"/>
                  <a:pt x="60" y="128"/>
                </a:cubicBezTo>
                <a:cubicBezTo>
                  <a:pt x="59" y="114"/>
                  <a:pt x="53" y="101"/>
                  <a:pt x="43" y="91"/>
                </a:cubicBezTo>
                <a:cubicBezTo>
                  <a:pt x="32" y="81"/>
                  <a:pt x="20" y="75"/>
                  <a:pt x="6" y="74"/>
                </a:cubicBezTo>
                <a:cubicBezTo>
                  <a:pt x="4" y="73"/>
                  <a:pt x="3" y="73"/>
                  <a:pt x="2" y="72"/>
                </a:cubicBezTo>
                <a:cubicBezTo>
                  <a:pt x="1" y="70"/>
                  <a:pt x="0" y="69"/>
                  <a:pt x="0" y="68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1" y="51"/>
                  <a:pt x="2" y="50"/>
                </a:cubicBezTo>
                <a:cubicBezTo>
                  <a:pt x="3" y="49"/>
                  <a:pt x="5" y="49"/>
                  <a:pt x="6" y="49"/>
                </a:cubicBezTo>
                <a:cubicBezTo>
                  <a:pt x="7" y="49"/>
                  <a:pt x="7" y="49"/>
                  <a:pt x="7" y="49"/>
                </a:cubicBezTo>
                <a:cubicBezTo>
                  <a:pt x="17" y="50"/>
                  <a:pt x="26" y="52"/>
                  <a:pt x="36" y="56"/>
                </a:cubicBezTo>
                <a:cubicBezTo>
                  <a:pt x="45" y="61"/>
                  <a:pt x="53" y="66"/>
                  <a:pt x="60" y="74"/>
                </a:cubicBezTo>
                <a:cubicBezTo>
                  <a:pt x="67" y="81"/>
                  <a:pt x="73" y="89"/>
                  <a:pt x="77" y="98"/>
                </a:cubicBezTo>
                <a:cubicBezTo>
                  <a:pt x="82" y="107"/>
                  <a:pt x="84" y="117"/>
                  <a:pt x="85" y="127"/>
                </a:cubicBezTo>
                <a:close/>
                <a:moveTo>
                  <a:pt x="31" y="102"/>
                </a:moveTo>
                <a:cubicBezTo>
                  <a:pt x="35" y="106"/>
                  <a:pt x="36" y="110"/>
                  <a:pt x="36" y="115"/>
                </a:cubicBezTo>
                <a:cubicBezTo>
                  <a:pt x="36" y="120"/>
                  <a:pt x="35" y="125"/>
                  <a:pt x="31" y="128"/>
                </a:cubicBezTo>
                <a:cubicBezTo>
                  <a:pt x="28" y="132"/>
                  <a:pt x="23" y="133"/>
                  <a:pt x="18" y="133"/>
                </a:cubicBezTo>
                <a:cubicBezTo>
                  <a:pt x="13" y="133"/>
                  <a:pt x="9" y="132"/>
                  <a:pt x="5" y="128"/>
                </a:cubicBezTo>
                <a:cubicBezTo>
                  <a:pt x="2" y="125"/>
                  <a:pt x="0" y="120"/>
                  <a:pt x="0" y="115"/>
                </a:cubicBezTo>
                <a:cubicBezTo>
                  <a:pt x="0" y="110"/>
                  <a:pt x="2" y="106"/>
                  <a:pt x="5" y="102"/>
                </a:cubicBezTo>
                <a:cubicBezTo>
                  <a:pt x="9" y="99"/>
                  <a:pt x="13" y="97"/>
                  <a:pt x="18" y="97"/>
                </a:cubicBezTo>
                <a:cubicBezTo>
                  <a:pt x="23" y="97"/>
                  <a:pt x="28" y="99"/>
                  <a:pt x="31" y="1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128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Chevron 88"/>
          <p:cNvSpPr/>
          <p:nvPr/>
        </p:nvSpPr>
        <p:spPr>
          <a:xfrm>
            <a:off x="6452677" y="2784006"/>
            <a:ext cx="2008676" cy="276867"/>
          </a:xfrm>
          <a:prstGeom prst="chevron">
            <a:avLst>
              <a:gd name="adj" fmla="val 5807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141544" y="1818918"/>
            <a:ext cx="630942" cy="1011010"/>
            <a:chOff x="7141544" y="1818918"/>
            <a:chExt cx="630942" cy="1011010"/>
          </a:xfrm>
        </p:grpSpPr>
        <p:sp>
          <p:nvSpPr>
            <p:cNvPr id="92" name="Teardrop 91"/>
            <p:cNvSpPr/>
            <p:nvPr/>
          </p:nvSpPr>
          <p:spPr>
            <a:xfrm rot="8100000">
              <a:off x="7141544" y="1818918"/>
              <a:ext cx="630942" cy="630942"/>
            </a:xfrm>
            <a:prstGeom prst="teardrop">
              <a:avLst>
                <a:gd name="adj" fmla="val 11714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93" name="Oval 92"/>
            <p:cNvSpPr/>
            <p:nvPr/>
          </p:nvSpPr>
          <p:spPr>
            <a:xfrm>
              <a:off x="7216685" y="1891718"/>
              <a:ext cx="480660" cy="4806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7407065" y="2738084"/>
              <a:ext cx="91844" cy="918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83" name="Chevron 82"/>
          <p:cNvSpPr/>
          <p:nvPr/>
        </p:nvSpPr>
        <p:spPr>
          <a:xfrm>
            <a:off x="4513548" y="2784006"/>
            <a:ext cx="2008676" cy="276867"/>
          </a:xfrm>
          <a:prstGeom prst="chevron">
            <a:avLst>
              <a:gd name="adj" fmla="val 5807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5202415" y="1818918"/>
            <a:ext cx="630942" cy="1011010"/>
            <a:chOff x="5202415" y="1818918"/>
            <a:chExt cx="630942" cy="1011010"/>
          </a:xfrm>
        </p:grpSpPr>
        <p:sp>
          <p:nvSpPr>
            <p:cNvPr id="86" name="Teardrop 85"/>
            <p:cNvSpPr/>
            <p:nvPr/>
          </p:nvSpPr>
          <p:spPr>
            <a:xfrm rot="8100000">
              <a:off x="5202415" y="1818918"/>
              <a:ext cx="630942" cy="630942"/>
            </a:xfrm>
            <a:prstGeom prst="teardrop">
              <a:avLst>
                <a:gd name="adj" fmla="val 11714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87" name="Oval 86"/>
            <p:cNvSpPr/>
            <p:nvPr/>
          </p:nvSpPr>
          <p:spPr>
            <a:xfrm>
              <a:off x="5277556" y="1891718"/>
              <a:ext cx="480660" cy="4806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5467936" y="2738084"/>
              <a:ext cx="91844" cy="918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7" name="Chevron 76"/>
          <p:cNvSpPr/>
          <p:nvPr/>
        </p:nvSpPr>
        <p:spPr>
          <a:xfrm>
            <a:off x="2574419" y="2784006"/>
            <a:ext cx="2008676" cy="276867"/>
          </a:xfrm>
          <a:prstGeom prst="chevron">
            <a:avLst>
              <a:gd name="adj" fmla="val 5807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263286" y="1818918"/>
            <a:ext cx="630942" cy="1011010"/>
            <a:chOff x="3263286" y="1818918"/>
            <a:chExt cx="630942" cy="1011010"/>
          </a:xfrm>
        </p:grpSpPr>
        <p:sp>
          <p:nvSpPr>
            <p:cNvPr id="80" name="Teardrop 79"/>
            <p:cNvSpPr/>
            <p:nvPr/>
          </p:nvSpPr>
          <p:spPr>
            <a:xfrm rot="8100000">
              <a:off x="3263286" y="1818918"/>
              <a:ext cx="630942" cy="630942"/>
            </a:xfrm>
            <a:prstGeom prst="teardrop">
              <a:avLst>
                <a:gd name="adj" fmla="val 11714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3338427" y="1891718"/>
              <a:ext cx="480660" cy="4806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3521686" y="2738084"/>
              <a:ext cx="91844" cy="918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58" name="Chevron 57"/>
          <p:cNvSpPr/>
          <p:nvPr/>
        </p:nvSpPr>
        <p:spPr>
          <a:xfrm>
            <a:off x="635290" y="2784006"/>
            <a:ext cx="2008676" cy="276867"/>
          </a:xfrm>
          <a:prstGeom prst="chevron">
            <a:avLst>
              <a:gd name="adj" fmla="val 58079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324157" y="1818918"/>
            <a:ext cx="630942" cy="1011010"/>
            <a:chOff x="1324157" y="1818918"/>
            <a:chExt cx="630942" cy="1011010"/>
          </a:xfrm>
        </p:grpSpPr>
        <p:sp>
          <p:nvSpPr>
            <p:cNvPr id="4" name="Teardrop 3"/>
            <p:cNvSpPr/>
            <p:nvPr/>
          </p:nvSpPr>
          <p:spPr>
            <a:xfrm rot="8100000">
              <a:off x="1324157" y="1818918"/>
              <a:ext cx="630942" cy="630942"/>
            </a:xfrm>
            <a:prstGeom prst="teardrop">
              <a:avLst>
                <a:gd name="adj" fmla="val 11714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399298" y="1891718"/>
              <a:ext cx="480660" cy="4806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593706" y="2738084"/>
              <a:ext cx="91844" cy="918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Our Company </a:t>
            </a:r>
            <a:r>
              <a:rPr lang="en-US">
                <a:solidFill>
                  <a:schemeClr val="accent2"/>
                </a:solidFill>
              </a:rPr>
              <a:t>Time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821240" y="3264346"/>
            <a:ext cx="1636776" cy="881244"/>
            <a:chOff x="821240" y="3264346"/>
            <a:chExt cx="1636776" cy="881244"/>
          </a:xfrm>
        </p:grpSpPr>
        <p:sp>
          <p:nvSpPr>
            <p:cNvPr id="23" name="TextBox 22"/>
            <p:cNvSpPr txBox="1"/>
            <p:nvPr/>
          </p:nvSpPr>
          <p:spPr>
            <a:xfrm>
              <a:off x="822998" y="3491244"/>
              <a:ext cx="1633261" cy="654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21240" y="3264346"/>
              <a:ext cx="1636776" cy="190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stablishment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1381658" y="2859005"/>
            <a:ext cx="515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2011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760369" y="3264346"/>
            <a:ext cx="1636776" cy="881244"/>
            <a:chOff x="2760369" y="3264346"/>
            <a:chExt cx="1636776" cy="881244"/>
          </a:xfrm>
        </p:grpSpPr>
        <p:sp>
          <p:nvSpPr>
            <p:cNvPr id="78" name="TextBox 77"/>
            <p:cNvSpPr txBox="1"/>
            <p:nvPr/>
          </p:nvSpPr>
          <p:spPr>
            <a:xfrm>
              <a:off x="2762127" y="3491244"/>
              <a:ext cx="1633261" cy="654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760369" y="3264346"/>
              <a:ext cx="1636776" cy="190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arket Research</a:t>
              </a:r>
            </a:p>
          </p:txBody>
        </p:sp>
      </p:grpSp>
      <p:sp>
        <p:nvSpPr>
          <p:cNvPr id="82" name="TextBox 81"/>
          <p:cNvSpPr txBox="1"/>
          <p:nvPr/>
        </p:nvSpPr>
        <p:spPr>
          <a:xfrm>
            <a:off x="3320787" y="2859005"/>
            <a:ext cx="515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2012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699498" y="3264346"/>
            <a:ext cx="1636776" cy="881244"/>
            <a:chOff x="4699498" y="3264346"/>
            <a:chExt cx="1636776" cy="881244"/>
          </a:xfrm>
        </p:grpSpPr>
        <p:sp>
          <p:nvSpPr>
            <p:cNvPr id="84" name="TextBox 83"/>
            <p:cNvSpPr txBox="1"/>
            <p:nvPr/>
          </p:nvSpPr>
          <p:spPr>
            <a:xfrm>
              <a:off x="4701256" y="3491244"/>
              <a:ext cx="1633261" cy="654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4699498" y="3264346"/>
              <a:ext cx="1636776" cy="190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Globalization</a:t>
              </a:r>
            </a:p>
          </p:txBody>
        </p:sp>
      </p:grpSp>
      <p:sp>
        <p:nvSpPr>
          <p:cNvPr id="88" name="TextBox 87"/>
          <p:cNvSpPr txBox="1"/>
          <p:nvPr/>
        </p:nvSpPr>
        <p:spPr>
          <a:xfrm>
            <a:off x="5259916" y="2859005"/>
            <a:ext cx="515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2013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638627" y="3264346"/>
            <a:ext cx="1636776" cy="881244"/>
            <a:chOff x="6638627" y="3264346"/>
            <a:chExt cx="1636776" cy="881244"/>
          </a:xfrm>
        </p:grpSpPr>
        <p:sp>
          <p:nvSpPr>
            <p:cNvPr id="90" name="TextBox 89"/>
            <p:cNvSpPr txBox="1"/>
            <p:nvPr/>
          </p:nvSpPr>
          <p:spPr>
            <a:xfrm>
              <a:off x="6640385" y="3491244"/>
              <a:ext cx="1633261" cy="654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6638627" y="3264346"/>
              <a:ext cx="1636776" cy="190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Including Top Corps.</a:t>
              </a: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7199045" y="2859005"/>
            <a:ext cx="51594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+mj-lt"/>
              </a:rPr>
              <a:t>2014</a:t>
            </a:r>
          </a:p>
        </p:txBody>
      </p:sp>
      <p:sp>
        <p:nvSpPr>
          <p:cNvPr id="44" name="Freeform 168">
            <a:extLst>
              <a:ext uri="{FF2B5EF4-FFF2-40B4-BE49-F238E27FC236}">
                <a16:creationId xmlns:a16="http://schemas.microsoft.com/office/drawing/2014/main" id="{5D9A211E-0CF7-47EC-ADF1-5CB541A3197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25399" y="2008035"/>
            <a:ext cx="237735" cy="235451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5" name="Freeform 7">
            <a:extLst>
              <a:ext uri="{FF2B5EF4-FFF2-40B4-BE49-F238E27FC236}">
                <a16:creationId xmlns:a16="http://schemas.microsoft.com/office/drawing/2014/main" id="{585F7DC2-9DF8-4290-9497-D736EF24DA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55367" y="2005750"/>
            <a:ext cx="237735" cy="240020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6" name="Freeform 281">
            <a:extLst>
              <a:ext uri="{FF2B5EF4-FFF2-40B4-BE49-F238E27FC236}">
                <a16:creationId xmlns:a16="http://schemas.microsoft.com/office/drawing/2014/main" id="{6796726E-B1BF-464D-9358-56E6843746C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92228" y="2021099"/>
            <a:ext cx="235451" cy="235451"/>
          </a:xfrm>
          <a:custGeom>
            <a:avLst/>
            <a:gdLst>
              <a:gd name="T0" fmla="*/ 155 w 155"/>
              <a:gd name="T1" fmla="*/ 3 h 155"/>
              <a:gd name="T2" fmla="*/ 148 w 155"/>
              <a:gd name="T3" fmla="*/ 44 h 155"/>
              <a:gd name="T4" fmla="*/ 124 w 155"/>
              <a:gd name="T5" fmla="*/ 78 h 155"/>
              <a:gd name="T6" fmla="*/ 105 w 155"/>
              <a:gd name="T7" fmla="*/ 95 h 155"/>
              <a:gd name="T8" fmla="*/ 103 w 155"/>
              <a:gd name="T9" fmla="*/ 131 h 155"/>
              <a:gd name="T10" fmla="*/ 102 w 155"/>
              <a:gd name="T11" fmla="*/ 133 h 155"/>
              <a:gd name="T12" fmla="*/ 66 w 155"/>
              <a:gd name="T13" fmla="*/ 154 h 155"/>
              <a:gd name="T14" fmla="*/ 64 w 155"/>
              <a:gd name="T15" fmla="*/ 155 h 155"/>
              <a:gd name="T16" fmla="*/ 62 w 155"/>
              <a:gd name="T17" fmla="*/ 154 h 155"/>
              <a:gd name="T18" fmla="*/ 56 w 155"/>
              <a:gd name="T19" fmla="*/ 148 h 155"/>
              <a:gd name="T20" fmla="*/ 55 w 155"/>
              <a:gd name="T21" fmla="*/ 145 h 155"/>
              <a:gd name="T22" fmla="*/ 63 w 155"/>
              <a:gd name="T23" fmla="*/ 119 h 155"/>
              <a:gd name="T24" fmla="*/ 37 w 155"/>
              <a:gd name="T25" fmla="*/ 92 h 155"/>
              <a:gd name="T26" fmla="*/ 10 w 155"/>
              <a:gd name="T27" fmla="*/ 100 h 155"/>
              <a:gd name="T28" fmla="*/ 10 w 155"/>
              <a:gd name="T29" fmla="*/ 100 h 155"/>
              <a:gd name="T30" fmla="*/ 7 w 155"/>
              <a:gd name="T31" fmla="*/ 99 h 155"/>
              <a:gd name="T32" fmla="*/ 1 w 155"/>
              <a:gd name="T33" fmla="*/ 93 h 155"/>
              <a:gd name="T34" fmla="*/ 1 w 155"/>
              <a:gd name="T35" fmla="*/ 90 h 155"/>
              <a:gd name="T36" fmla="*/ 22 w 155"/>
              <a:gd name="T37" fmla="*/ 53 h 155"/>
              <a:gd name="T38" fmla="*/ 25 w 155"/>
              <a:gd name="T39" fmla="*/ 52 h 155"/>
              <a:gd name="T40" fmla="*/ 60 w 155"/>
              <a:gd name="T41" fmla="*/ 50 h 155"/>
              <a:gd name="T42" fmla="*/ 77 w 155"/>
              <a:gd name="T43" fmla="*/ 31 h 155"/>
              <a:gd name="T44" fmla="*/ 111 w 155"/>
              <a:gd name="T45" fmla="*/ 7 h 155"/>
              <a:gd name="T46" fmla="*/ 152 w 155"/>
              <a:gd name="T47" fmla="*/ 0 h 155"/>
              <a:gd name="T48" fmla="*/ 154 w 155"/>
              <a:gd name="T49" fmla="*/ 1 h 155"/>
              <a:gd name="T50" fmla="*/ 155 w 155"/>
              <a:gd name="T51" fmla="*/ 3 h 155"/>
              <a:gd name="T52" fmla="*/ 131 w 155"/>
              <a:gd name="T53" fmla="*/ 37 h 155"/>
              <a:gd name="T54" fmla="*/ 134 w 155"/>
              <a:gd name="T55" fmla="*/ 31 h 155"/>
              <a:gd name="T56" fmla="*/ 131 w 155"/>
              <a:gd name="T57" fmla="*/ 24 h 155"/>
              <a:gd name="T58" fmla="*/ 125 w 155"/>
              <a:gd name="T59" fmla="*/ 21 h 155"/>
              <a:gd name="T60" fmla="*/ 118 w 155"/>
              <a:gd name="T61" fmla="*/ 24 h 155"/>
              <a:gd name="T62" fmla="*/ 115 w 155"/>
              <a:gd name="T63" fmla="*/ 31 h 155"/>
              <a:gd name="T64" fmla="*/ 118 w 155"/>
              <a:gd name="T65" fmla="*/ 37 h 155"/>
              <a:gd name="T66" fmla="*/ 125 w 155"/>
              <a:gd name="T67" fmla="*/ 40 h 155"/>
              <a:gd name="T68" fmla="*/ 131 w 155"/>
              <a:gd name="T69" fmla="*/ 37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5" h="155">
                <a:moveTo>
                  <a:pt x="155" y="3"/>
                </a:moveTo>
                <a:cubicBezTo>
                  <a:pt x="155" y="19"/>
                  <a:pt x="152" y="33"/>
                  <a:pt x="148" y="44"/>
                </a:cubicBezTo>
                <a:cubicBezTo>
                  <a:pt x="143" y="55"/>
                  <a:pt x="135" y="67"/>
                  <a:pt x="124" y="78"/>
                </a:cubicBezTo>
                <a:cubicBezTo>
                  <a:pt x="119" y="83"/>
                  <a:pt x="112" y="89"/>
                  <a:pt x="105" y="95"/>
                </a:cubicBezTo>
                <a:cubicBezTo>
                  <a:pt x="103" y="131"/>
                  <a:pt x="103" y="131"/>
                  <a:pt x="103" y="131"/>
                </a:cubicBezTo>
                <a:cubicBezTo>
                  <a:pt x="103" y="132"/>
                  <a:pt x="103" y="132"/>
                  <a:pt x="102" y="133"/>
                </a:cubicBezTo>
                <a:cubicBezTo>
                  <a:pt x="66" y="154"/>
                  <a:pt x="66" y="154"/>
                  <a:pt x="66" y="154"/>
                </a:cubicBezTo>
                <a:cubicBezTo>
                  <a:pt x="65" y="154"/>
                  <a:pt x="65" y="155"/>
                  <a:pt x="64" y="155"/>
                </a:cubicBezTo>
                <a:cubicBezTo>
                  <a:pt x="63" y="155"/>
                  <a:pt x="63" y="154"/>
                  <a:pt x="62" y="154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5" y="147"/>
                  <a:pt x="55" y="146"/>
                  <a:pt x="55" y="145"/>
                </a:cubicBezTo>
                <a:cubicBezTo>
                  <a:pt x="63" y="119"/>
                  <a:pt x="63" y="119"/>
                  <a:pt x="63" y="119"/>
                </a:cubicBezTo>
                <a:cubicBezTo>
                  <a:pt x="37" y="92"/>
                  <a:pt x="37" y="92"/>
                  <a:pt x="37" y="9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9" y="100"/>
                  <a:pt x="8" y="100"/>
                  <a:pt x="7" y="99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2"/>
                  <a:pt x="0" y="91"/>
                  <a:pt x="1" y="90"/>
                </a:cubicBezTo>
                <a:cubicBezTo>
                  <a:pt x="22" y="53"/>
                  <a:pt x="22" y="53"/>
                  <a:pt x="22" y="53"/>
                </a:cubicBezTo>
                <a:cubicBezTo>
                  <a:pt x="23" y="52"/>
                  <a:pt x="24" y="52"/>
                  <a:pt x="25" y="52"/>
                </a:cubicBezTo>
                <a:cubicBezTo>
                  <a:pt x="60" y="50"/>
                  <a:pt x="60" y="50"/>
                  <a:pt x="60" y="50"/>
                </a:cubicBezTo>
                <a:cubicBezTo>
                  <a:pt x="66" y="43"/>
                  <a:pt x="72" y="37"/>
                  <a:pt x="77" y="31"/>
                </a:cubicBezTo>
                <a:cubicBezTo>
                  <a:pt x="89" y="20"/>
                  <a:pt x="100" y="11"/>
                  <a:pt x="111" y="7"/>
                </a:cubicBezTo>
                <a:cubicBezTo>
                  <a:pt x="122" y="3"/>
                  <a:pt x="135" y="0"/>
                  <a:pt x="152" y="0"/>
                </a:cubicBezTo>
                <a:cubicBezTo>
                  <a:pt x="152" y="0"/>
                  <a:pt x="153" y="1"/>
                  <a:pt x="154" y="1"/>
                </a:cubicBezTo>
                <a:cubicBezTo>
                  <a:pt x="154" y="2"/>
                  <a:pt x="155" y="3"/>
                  <a:pt x="155" y="3"/>
                </a:cubicBezTo>
                <a:close/>
                <a:moveTo>
                  <a:pt x="131" y="37"/>
                </a:moveTo>
                <a:cubicBezTo>
                  <a:pt x="133" y="35"/>
                  <a:pt x="134" y="33"/>
                  <a:pt x="134" y="31"/>
                </a:cubicBezTo>
                <a:cubicBezTo>
                  <a:pt x="134" y="28"/>
                  <a:pt x="133" y="26"/>
                  <a:pt x="131" y="24"/>
                </a:cubicBezTo>
                <a:cubicBezTo>
                  <a:pt x="129" y="22"/>
                  <a:pt x="127" y="21"/>
                  <a:pt x="125" y="21"/>
                </a:cubicBezTo>
                <a:cubicBezTo>
                  <a:pt x="122" y="21"/>
                  <a:pt x="120" y="22"/>
                  <a:pt x="118" y="24"/>
                </a:cubicBezTo>
                <a:cubicBezTo>
                  <a:pt x="116" y="26"/>
                  <a:pt x="115" y="28"/>
                  <a:pt x="115" y="31"/>
                </a:cubicBezTo>
                <a:cubicBezTo>
                  <a:pt x="115" y="33"/>
                  <a:pt x="116" y="35"/>
                  <a:pt x="118" y="37"/>
                </a:cubicBezTo>
                <a:cubicBezTo>
                  <a:pt x="120" y="39"/>
                  <a:pt x="122" y="40"/>
                  <a:pt x="125" y="40"/>
                </a:cubicBezTo>
                <a:cubicBezTo>
                  <a:pt x="127" y="40"/>
                  <a:pt x="129" y="39"/>
                  <a:pt x="131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7" name="Freeform 141">
            <a:extLst>
              <a:ext uri="{FF2B5EF4-FFF2-40B4-BE49-F238E27FC236}">
                <a16:creationId xmlns:a16="http://schemas.microsoft.com/office/drawing/2014/main" id="{4EE1750E-A08F-488B-AD62-93A98C70848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39508" y="2024691"/>
            <a:ext cx="240020" cy="221734"/>
          </a:xfrm>
          <a:custGeom>
            <a:avLst/>
            <a:gdLst>
              <a:gd name="T0" fmla="*/ 158 w 158"/>
              <a:gd name="T1" fmla="*/ 34 h 146"/>
              <a:gd name="T2" fmla="*/ 158 w 158"/>
              <a:gd name="T3" fmla="*/ 46 h 146"/>
              <a:gd name="T4" fmla="*/ 154 w 158"/>
              <a:gd name="T5" fmla="*/ 59 h 146"/>
              <a:gd name="T6" fmla="*/ 143 w 158"/>
              <a:gd name="T7" fmla="*/ 72 h 146"/>
              <a:gd name="T8" fmla="*/ 127 w 158"/>
              <a:gd name="T9" fmla="*/ 81 h 146"/>
              <a:gd name="T10" fmla="*/ 106 w 158"/>
              <a:gd name="T11" fmla="*/ 85 h 146"/>
              <a:gd name="T12" fmla="*/ 97 w 158"/>
              <a:gd name="T13" fmla="*/ 94 h 146"/>
              <a:gd name="T14" fmla="*/ 92 w 158"/>
              <a:gd name="T15" fmla="*/ 101 h 146"/>
              <a:gd name="T16" fmla="*/ 91 w 158"/>
              <a:gd name="T17" fmla="*/ 109 h 146"/>
              <a:gd name="T18" fmla="*/ 94 w 158"/>
              <a:gd name="T19" fmla="*/ 118 h 146"/>
              <a:gd name="T20" fmla="*/ 103 w 158"/>
              <a:gd name="T21" fmla="*/ 121 h 146"/>
              <a:gd name="T22" fmla="*/ 116 w 158"/>
              <a:gd name="T23" fmla="*/ 126 h 146"/>
              <a:gd name="T24" fmla="*/ 121 w 158"/>
              <a:gd name="T25" fmla="*/ 136 h 146"/>
              <a:gd name="T26" fmla="*/ 121 w 158"/>
              <a:gd name="T27" fmla="*/ 143 h 146"/>
              <a:gd name="T28" fmla="*/ 120 w 158"/>
              <a:gd name="T29" fmla="*/ 145 h 146"/>
              <a:gd name="T30" fmla="*/ 118 w 158"/>
              <a:gd name="T31" fmla="*/ 146 h 146"/>
              <a:gd name="T32" fmla="*/ 40 w 158"/>
              <a:gd name="T33" fmla="*/ 146 h 146"/>
              <a:gd name="T34" fmla="*/ 37 w 158"/>
              <a:gd name="T35" fmla="*/ 145 h 146"/>
              <a:gd name="T36" fmla="*/ 37 w 158"/>
              <a:gd name="T37" fmla="*/ 143 h 146"/>
              <a:gd name="T38" fmla="*/ 37 w 158"/>
              <a:gd name="T39" fmla="*/ 136 h 146"/>
              <a:gd name="T40" fmla="*/ 42 w 158"/>
              <a:gd name="T41" fmla="*/ 126 h 146"/>
              <a:gd name="T42" fmla="*/ 55 w 158"/>
              <a:gd name="T43" fmla="*/ 121 h 146"/>
              <a:gd name="T44" fmla="*/ 64 w 158"/>
              <a:gd name="T45" fmla="*/ 118 h 146"/>
              <a:gd name="T46" fmla="*/ 67 w 158"/>
              <a:gd name="T47" fmla="*/ 109 h 146"/>
              <a:gd name="T48" fmla="*/ 65 w 158"/>
              <a:gd name="T49" fmla="*/ 101 h 146"/>
              <a:gd name="T50" fmla="*/ 61 w 158"/>
              <a:gd name="T51" fmla="*/ 94 h 146"/>
              <a:gd name="T52" fmla="*/ 52 w 158"/>
              <a:gd name="T53" fmla="*/ 85 h 146"/>
              <a:gd name="T54" fmla="*/ 31 w 158"/>
              <a:gd name="T55" fmla="*/ 81 h 146"/>
              <a:gd name="T56" fmla="*/ 15 w 158"/>
              <a:gd name="T57" fmla="*/ 72 h 146"/>
              <a:gd name="T58" fmla="*/ 4 w 158"/>
              <a:gd name="T59" fmla="*/ 59 h 146"/>
              <a:gd name="T60" fmla="*/ 0 w 158"/>
              <a:gd name="T61" fmla="*/ 46 h 146"/>
              <a:gd name="T62" fmla="*/ 0 w 158"/>
              <a:gd name="T63" fmla="*/ 34 h 146"/>
              <a:gd name="T64" fmla="*/ 3 w 158"/>
              <a:gd name="T65" fmla="*/ 27 h 146"/>
              <a:gd name="T66" fmla="*/ 9 w 158"/>
              <a:gd name="T67" fmla="*/ 25 h 146"/>
              <a:gd name="T68" fmla="*/ 37 w 158"/>
              <a:gd name="T69" fmla="*/ 25 h 146"/>
              <a:gd name="T70" fmla="*/ 37 w 158"/>
              <a:gd name="T71" fmla="*/ 15 h 146"/>
              <a:gd name="T72" fmla="*/ 41 w 158"/>
              <a:gd name="T73" fmla="*/ 5 h 146"/>
              <a:gd name="T74" fmla="*/ 52 w 158"/>
              <a:gd name="T75" fmla="*/ 0 h 146"/>
              <a:gd name="T76" fmla="*/ 106 w 158"/>
              <a:gd name="T77" fmla="*/ 0 h 146"/>
              <a:gd name="T78" fmla="*/ 117 w 158"/>
              <a:gd name="T79" fmla="*/ 5 h 146"/>
              <a:gd name="T80" fmla="*/ 121 w 158"/>
              <a:gd name="T81" fmla="*/ 15 h 146"/>
              <a:gd name="T82" fmla="*/ 121 w 158"/>
              <a:gd name="T83" fmla="*/ 25 h 146"/>
              <a:gd name="T84" fmla="*/ 149 w 158"/>
              <a:gd name="T85" fmla="*/ 25 h 146"/>
              <a:gd name="T86" fmla="*/ 155 w 158"/>
              <a:gd name="T87" fmla="*/ 27 h 146"/>
              <a:gd name="T88" fmla="*/ 158 w 158"/>
              <a:gd name="T89" fmla="*/ 34 h 146"/>
              <a:gd name="T90" fmla="*/ 44 w 158"/>
              <a:gd name="T91" fmla="*/ 72 h 146"/>
              <a:gd name="T92" fmla="*/ 37 w 158"/>
              <a:gd name="T93" fmla="*/ 37 h 146"/>
              <a:gd name="T94" fmla="*/ 12 w 158"/>
              <a:gd name="T95" fmla="*/ 37 h 146"/>
              <a:gd name="T96" fmla="*/ 12 w 158"/>
              <a:gd name="T97" fmla="*/ 46 h 146"/>
              <a:gd name="T98" fmla="*/ 21 w 158"/>
              <a:gd name="T99" fmla="*/ 61 h 146"/>
              <a:gd name="T100" fmla="*/ 44 w 158"/>
              <a:gd name="T101" fmla="*/ 72 h 146"/>
              <a:gd name="T102" fmla="*/ 146 w 158"/>
              <a:gd name="T103" fmla="*/ 46 h 146"/>
              <a:gd name="T104" fmla="*/ 146 w 158"/>
              <a:gd name="T105" fmla="*/ 37 h 146"/>
              <a:gd name="T106" fmla="*/ 121 w 158"/>
              <a:gd name="T107" fmla="*/ 37 h 146"/>
              <a:gd name="T108" fmla="*/ 114 w 158"/>
              <a:gd name="T109" fmla="*/ 72 h 146"/>
              <a:gd name="T110" fmla="*/ 137 w 158"/>
              <a:gd name="T111" fmla="*/ 61 h 146"/>
              <a:gd name="T112" fmla="*/ 146 w 158"/>
              <a:gd name="T113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8" h="146">
                <a:moveTo>
                  <a:pt x="158" y="34"/>
                </a:moveTo>
                <a:cubicBezTo>
                  <a:pt x="158" y="46"/>
                  <a:pt x="158" y="46"/>
                  <a:pt x="158" y="46"/>
                </a:cubicBezTo>
                <a:cubicBezTo>
                  <a:pt x="158" y="50"/>
                  <a:pt x="156" y="55"/>
                  <a:pt x="154" y="59"/>
                </a:cubicBezTo>
                <a:cubicBezTo>
                  <a:pt x="151" y="64"/>
                  <a:pt x="148" y="68"/>
                  <a:pt x="143" y="72"/>
                </a:cubicBezTo>
                <a:cubicBezTo>
                  <a:pt x="139" y="75"/>
                  <a:pt x="133" y="78"/>
                  <a:pt x="127" y="81"/>
                </a:cubicBezTo>
                <a:cubicBezTo>
                  <a:pt x="120" y="83"/>
                  <a:pt x="113" y="85"/>
                  <a:pt x="106" y="85"/>
                </a:cubicBezTo>
                <a:cubicBezTo>
                  <a:pt x="104" y="88"/>
                  <a:pt x="101" y="91"/>
                  <a:pt x="97" y="94"/>
                </a:cubicBezTo>
                <a:cubicBezTo>
                  <a:pt x="95" y="96"/>
                  <a:pt x="93" y="98"/>
                  <a:pt x="92" y="101"/>
                </a:cubicBezTo>
                <a:cubicBezTo>
                  <a:pt x="92" y="103"/>
                  <a:pt x="91" y="106"/>
                  <a:pt x="91" y="109"/>
                </a:cubicBezTo>
                <a:cubicBezTo>
                  <a:pt x="91" y="113"/>
                  <a:pt x="92" y="116"/>
                  <a:pt x="94" y="118"/>
                </a:cubicBezTo>
                <a:cubicBezTo>
                  <a:pt x="96" y="120"/>
                  <a:pt x="99" y="121"/>
                  <a:pt x="103" y="121"/>
                </a:cubicBezTo>
                <a:cubicBezTo>
                  <a:pt x="108" y="121"/>
                  <a:pt x="112" y="123"/>
                  <a:pt x="116" y="126"/>
                </a:cubicBezTo>
                <a:cubicBezTo>
                  <a:pt x="119" y="129"/>
                  <a:pt x="121" y="132"/>
                  <a:pt x="121" y="136"/>
                </a:cubicBezTo>
                <a:cubicBezTo>
                  <a:pt x="121" y="143"/>
                  <a:pt x="121" y="143"/>
                  <a:pt x="121" y="143"/>
                </a:cubicBezTo>
                <a:cubicBezTo>
                  <a:pt x="121" y="143"/>
                  <a:pt x="121" y="144"/>
                  <a:pt x="120" y="145"/>
                </a:cubicBezTo>
                <a:cubicBezTo>
                  <a:pt x="120" y="145"/>
                  <a:pt x="119" y="146"/>
                  <a:pt x="118" y="146"/>
                </a:cubicBezTo>
                <a:cubicBezTo>
                  <a:pt x="40" y="146"/>
                  <a:pt x="40" y="146"/>
                  <a:pt x="40" y="146"/>
                </a:cubicBezTo>
                <a:cubicBezTo>
                  <a:pt x="39" y="146"/>
                  <a:pt x="38" y="145"/>
                  <a:pt x="37" y="145"/>
                </a:cubicBezTo>
                <a:cubicBezTo>
                  <a:pt x="37" y="144"/>
                  <a:pt x="37" y="143"/>
                  <a:pt x="37" y="143"/>
                </a:cubicBezTo>
                <a:cubicBezTo>
                  <a:pt x="37" y="136"/>
                  <a:pt x="37" y="136"/>
                  <a:pt x="37" y="136"/>
                </a:cubicBezTo>
                <a:cubicBezTo>
                  <a:pt x="37" y="132"/>
                  <a:pt x="38" y="129"/>
                  <a:pt x="42" y="126"/>
                </a:cubicBezTo>
                <a:cubicBezTo>
                  <a:pt x="46" y="123"/>
                  <a:pt x="50" y="121"/>
                  <a:pt x="55" y="121"/>
                </a:cubicBezTo>
                <a:cubicBezTo>
                  <a:pt x="59" y="121"/>
                  <a:pt x="62" y="120"/>
                  <a:pt x="64" y="118"/>
                </a:cubicBezTo>
                <a:cubicBezTo>
                  <a:pt x="66" y="116"/>
                  <a:pt x="67" y="113"/>
                  <a:pt x="67" y="109"/>
                </a:cubicBezTo>
                <a:cubicBezTo>
                  <a:pt x="67" y="106"/>
                  <a:pt x="66" y="103"/>
                  <a:pt x="65" y="101"/>
                </a:cubicBezTo>
                <a:cubicBezTo>
                  <a:pt x="65" y="98"/>
                  <a:pt x="63" y="96"/>
                  <a:pt x="61" y="94"/>
                </a:cubicBezTo>
                <a:cubicBezTo>
                  <a:pt x="57" y="91"/>
                  <a:pt x="54" y="88"/>
                  <a:pt x="52" y="85"/>
                </a:cubicBezTo>
                <a:cubicBezTo>
                  <a:pt x="44" y="85"/>
                  <a:pt x="38" y="83"/>
                  <a:pt x="31" y="81"/>
                </a:cubicBezTo>
                <a:cubicBezTo>
                  <a:pt x="25" y="78"/>
                  <a:pt x="19" y="75"/>
                  <a:pt x="15" y="72"/>
                </a:cubicBezTo>
                <a:cubicBezTo>
                  <a:pt x="10" y="68"/>
                  <a:pt x="7" y="64"/>
                  <a:pt x="4" y="59"/>
                </a:cubicBezTo>
                <a:cubicBezTo>
                  <a:pt x="2" y="55"/>
                  <a:pt x="0" y="50"/>
                  <a:pt x="0" y="46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1"/>
                  <a:pt x="1" y="29"/>
                  <a:pt x="3" y="27"/>
                </a:cubicBezTo>
                <a:cubicBezTo>
                  <a:pt x="5" y="25"/>
                  <a:pt x="7" y="25"/>
                  <a:pt x="9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15"/>
                  <a:pt x="37" y="15"/>
                  <a:pt x="37" y="15"/>
                </a:cubicBezTo>
                <a:cubicBezTo>
                  <a:pt x="37" y="11"/>
                  <a:pt x="38" y="8"/>
                  <a:pt x="41" y="5"/>
                </a:cubicBezTo>
                <a:cubicBezTo>
                  <a:pt x="44" y="2"/>
                  <a:pt x="48" y="0"/>
                  <a:pt x="52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4" y="2"/>
                  <a:pt x="117" y="5"/>
                </a:cubicBezTo>
                <a:cubicBezTo>
                  <a:pt x="120" y="8"/>
                  <a:pt x="121" y="11"/>
                  <a:pt x="121" y="15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49" y="25"/>
                  <a:pt x="149" y="25"/>
                  <a:pt x="149" y="25"/>
                </a:cubicBezTo>
                <a:cubicBezTo>
                  <a:pt x="151" y="25"/>
                  <a:pt x="153" y="25"/>
                  <a:pt x="155" y="27"/>
                </a:cubicBezTo>
                <a:cubicBezTo>
                  <a:pt x="157" y="29"/>
                  <a:pt x="158" y="31"/>
                  <a:pt x="158" y="34"/>
                </a:cubicBezTo>
                <a:close/>
                <a:moveTo>
                  <a:pt x="44" y="72"/>
                </a:moveTo>
                <a:cubicBezTo>
                  <a:pt x="39" y="62"/>
                  <a:pt x="37" y="50"/>
                  <a:pt x="37" y="37"/>
                </a:cubicBezTo>
                <a:cubicBezTo>
                  <a:pt x="12" y="37"/>
                  <a:pt x="12" y="37"/>
                  <a:pt x="12" y="37"/>
                </a:cubicBezTo>
                <a:cubicBezTo>
                  <a:pt x="12" y="46"/>
                  <a:pt x="12" y="46"/>
                  <a:pt x="12" y="46"/>
                </a:cubicBezTo>
                <a:cubicBezTo>
                  <a:pt x="12" y="51"/>
                  <a:pt x="15" y="56"/>
                  <a:pt x="21" y="61"/>
                </a:cubicBezTo>
                <a:cubicBezTo>
                  <a:pt x="27" y="66"/>
                  <a:pt x="35" y="70"/>
                  <a:pt x="44" y="72"/>
                </a:cubicBezTo>
                <a:close/>
                <a:moveTo>
                  <a:pt x="146" y="46"/>
                </a:moveTo>
                <a:cubicBezTo>
                  <a:pt x="146" y="37"/>
                  <a:pt x="146" y="37"/>
                  <a:pt x="146" y="37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121" y="50"/>
                  <a:pt x="119" y="62"/>
                  <a:pt x="114" y="72"/>
                </a:cubicBezTo>
                <a:cubicBezTo>
                  <a:pt x="123" y="70"/>
                  <a:pt x="131" y="66"/>
                  <a:pt x="137" y="61"/>
                </a:cubicBezTo>
                <a:cubicBezTo>
                  <a:pt x="143" y="56"/>
                  <a:pt x="146" y="51"/>
                  <a:pt x="1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505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Company </a:t>
            </a:r>
            <a:r>
              <a:rPr lang="en-US">
                <a:solidFill>
                  <a:schemeClr val="accent2"/>
                </a:solidFill>
              </a:rPr>
              <a:t>full history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Freeform 6"/>
          <p:cNvSpPr/>
          <p:nvPr/>
        </p:nvSpPr>
        <p:spPr>
          <a:xfrm>
            <a:off x="594359" y="2842452"/>
            <a:ext cx="8549641" cy="182880"/>
          </a:xfrm>
          <a:custGeom>
            <a:avLst/>
            <a:gdLst>
              <a:gd name="connsiteX0" fmla="*/ 91440 w 8549641"/>
              <a:gd name="connsiteY0" fmla="*/ 0 h 182880"/>
              <a:gd name="connsiteX1" fmla="*/ 8549641 w 8549641"/>
              <a:gd name="connsiteY1" fmla="*/ 0 h 182880"/>
              <a:gd name="connsiteX2" fmla="*/ 8549641 w 8549641"/>
              <a:gd name="connsiteY2" fmla="*/ 182880 h 182880"/>
              <a:gd name="connsiteX3" fmla="*/ 91440 w 8549641"/>
              <a:gd name="connsiteY3" fmla="*/ 182880 h 182880"/>
              <a:gd name="connsiteX4" fmla="*/ 0 w 8549641"/>
              <a:gd name="connsiteY4" fmla="*/ 91440 h 182880"/>
              <a:gd name="connsiteX5" fmla="*/ 91440 w 8549641"/>
              <a:gd name="connsiteY5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49641" h="182880">
                <a:moveTo>
                  <a:pt x="91440" y="0"/>
                </a:moveTo>
                <a:lnTo>
                  <a:pt x="8549641" y="0"/>
                </a:lnTo>
                <a:lnTo>
                  <a:pt x="8549641" y="182880"/>
                </a:lnTo>
                <a:lnTo>
                  <a:pt x="91440" y="182880"/>
                </a:lnTo>
                <a:cubicBezTo>
                  <a:pt x="40939" y="182880"/>
                  <a:pt x="0" y="141941"/>
                  <a:pt x="0" y="91440"/>
                </a:cubicBezTo>
                <a:cubicBezTo>
                  <a:pt x="0" y="40939"/>
                  <a:pt x="40939" y="0"/>
                  <a:pt x="9144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55790" y="1932761"/>
            <a:ext cx="1763205" cy="649327"/>
            <a:chOff x="1155790" y="1932761"/>
            <a:chExt cx="1763205" cy="649327"/>
          </a:xfrm>
        </p:grpSpPr>
        <p:sp>
          <p:nvSpPr>
            <p:cNvPr id="8" name="TextBox 7"/>
            <p:cNvSpPr txBox="1"/>
            <p:nvPr/>
          </p:nvSpPr>
          <p:spPr>
            <a:xfrm>
              <a:off x="1155790" y="2094454"/>
              <a:ext cx="1763205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lor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m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er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acc us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155825" y="1932761"/>
              <a:ext cx="17631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stablishment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853107" y="1754522"/>
            <a:ext cx="70718" cy="1128137"/>
            <a:chOff x="853107" y="1754522"/>
            <a:chExt cx="70718" cy="1128137"/>
          </a:xfrm>
        </p:grpSpPr>
        <p:sp>
          <p:nvSpPr>
            <p:cNvPr id="10" name="Oval 9"/>
            <p:cNvSpPr/>
            <p:nvPr/>
          </p:nvSpPr>
          <p:spPr>
            <a:xfrm>
              <a:off x="853107" y="1754522"/>
              <a:ext cx="70718" cy="707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11" name="Straight Connector 10"/>
            <p:cNvCxnSpPr>
              <a:stCxn id="10" idx="4"/>
              <a:endCxn id="12" idx="0"/>
            </p:cNvCxnSpPr>
            <p:nvPr/>
          </p:nvCxnSpPr>
          <p:spPr>
            <a:xfrm>
              <a:off x="888466" y="1825238"/>
              <a:ext cx="0" cy="1057421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Oval 11"/>
          <p:cNvSpPr/>
          <p:nvPr/>
        </p:nvSpPr>
        <p:spPr>
          <a:xfrm>
            <a:off x="837231" y="2882659"/>
            <a:ext cx="102470" cy="10246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5825" y="1724856"/>
            <a:ext cx="17631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July 2009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825764" y="3428703"/>
            <a:ext cx="1763205" cy="649327"/>
            <a:chOff x="3825764" y="3428703"/>
            <a:chExt cx="1763205" cy="649327"/>
          </a:xfrm>
        </p:grpSpPr>
        <p:sp>
          <p:nvSpPr>
            <p:cNvPr id="15" name="TextBox 14"/>
            <p:cNvSpPr txBox="1"/>
            <p:nvPr/>
          </p:nvSpPr>
          <p:spPr>
            <a:xfrm>
              <a:off x="3825764" y="3590396"/>
              <a:ext cx="1763205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lor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m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er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acc us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825799" y="3428703"/>
              <a:ext cx="17631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Lorem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contract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23081" y="2985125"/>
            <a:ext cx="70718" cy="1105408"/>
            <a:chOff x="3523081" y="2985125"/>
            <a:chExt cx="70718" cy="1105408"/>
          </a:xfrm>
        </p:grpSpPr>
        <p:sp>
          <p:nvSpPr>
            <p:cNvPr id="17" name="Oval 16"/>
            <p:cNvSpPr/>
            <p:nvPr/>
          </p:nvSpPr>
          <p:spPr>
            <a:xfrm>
              <a:off x="3523081" y="4019817"/>
              <a:ext cx="70718" cy="707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3558440" y="2985125"/>
              <a:ext cx="0" cy="1034692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Oval 18"/>
          <p:cNvSpPr/>
          <p:nvPr/>
        </p:nvSpPr>
        <p:spPr>
          <a:xfrm>
            <a:off x="3507205" y="2882659"/>
            <a:ext cx="102470" cy="10246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825799" y="3220798"/>
            <a:ext cx="17631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2010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543564" y="1932761"/>
            <a:ext cx="1763205" cy="649327"/>
            <a:chOff x="6543564" y="1932761"/>
            <a:chExt cx="1763205" cy="649327"/>
          </a:xfrm>
        </p:grpSpPr>
        <p:sp>
          <p:nvSpPr>
            <p:cNvPr id="22" name="TextBox 21"/>
            <p:cNvSpPr txBox="1"/>
            <p:nvPr/>
          </p:nvSpPr>
          <p:spPr>
            <a:xfrm>
              <a:off x="6543564" y="2094454"/>
              <a:ext cx="1763205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lor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m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er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acc us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543599" y="1932761"/>
              <a:ext cx="17631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office construction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240881" y="1754522"/>
            <a:ext cx="70718" cy="1128137"/>
            <a:chOff x="6240881" y="1754522"/>
            <a:chExt cx="70718" cy="1128137"/>
          </a:xfrm>
        </p:grpSpPr>
        <p:sp>
          <p:nvSpPr>
            <p:cNvPr id="24" name="Oval 23"/>
            <p:cNvSpPr/>
            <p:nvPr/>
          </p:nvSpPr>
          <p:spPr>
            <a:xfrm>
              <a:off x="6240881" y="1754522"/>
              <a:ext cx="70718" cy="707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cxnSp>
          <p:nvCxnSpPr>
            <p:cNvPr id="25" name="Straight Connector 24"/>
            <p:cNvCxnSpPr>
              <a:stCxn id="24" idx="4"/>
              <a:endCxn id="26" idx="0"/>
            </p:cNvCxnSpPr>
            <p:nvPr/>
          </p:nvCxnSpPr>
          <p:spPr>
            <a:xfrm>
              <a:off x="6276240" y="1825238"/>
              <a:ext cx="0" cy="1057421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/>
          <p:cNvSpPr/>
          <p:nvPr/>
        </p:nvSpPr>
        <p:spPr>
          <a:xfrm>
            <a:off x="6225005" y="2882659"/>
            <a:ext cx="102470" cy="10246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43599" y="1724856"/>
            <a:ext cx="17631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2011</a:t>
            </a:r>
          </a:p>
        </p:txBody>
      </p:sp>
    </p:spTree>
    <p:extLst>
      <p:ext uri="{BB962C8B-B14F-4D97-AF65-F5344CB8AC3E}">
        <p14:creationId xmlns:p14="http://schemas.microsoft.com/office/powerpoint/2010/main" val="409979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Company </a:t>
            </a:r>
            <a:r>
              <a:rPr lang="en-US">
                <a:solidFill>
                  <a:schemeClr val="accent2"/>
                </a:solidFill>
              </a:rPr>
              <a:t>full history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Freeform 6"/>
          <p:cNvSpPr/>
          <p:nvPr/>
        </p:nvSpPr>
        <p:spPr>
          <a:xfrm rot="10800000">
            <a:off x="0" y="2842452"/>
            <a:ext cx="8549641" cy="182880"/>
          </a:xfrm>
          <a:custGeom>
            <a:avLst/>
            <a:gdLst>
              <a:gd name="connsiteX0" fmla="*/ 91440 w 8549641"/>
              <a:gd name="connsiteY0" fmla="*/ 0 h 182880"/>
              <a:gd name="connsiteX1" fmla="*/ 8549641 w 8549641"/>
              <a:gd name="connsiteY1" fmla="*/ 0 h 182880"/>
              <a:gd name="connsiteX2" fmla="*/ 8549641 w 8549641"/>
              <a:gd name="connsiteY2" fmla="*/ 182880 h 182880"/>
              <a:gd name="connsiteX3" fmla="*/ 91440 w 8549641"/>
              <a:gd name="connsiteY3" fmla="*/ 182880 h 182880"/>
              <a:gd name="connsiteX4" fmla="*/ 0 w 8549641"/>
              <a:gd name="connsiteY4" fmla="*/ 91440 h 182880"/>
              <a:gd name="connsiteX5" fmla="*/ 91440 w 8549641"/>
              <a:gd name="connsiteY5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49641" h="182880">
                <a:moveTo>
                  <a:pt x="91440" y="0"/>
                </a:moveTo>
                <a:lnTo>
                  <a:pt x="8549641" y="0"/>
                </a:lnTo>
                <a:lnTo>
                  <a:pt x="8549641" y="182880"/>
                </a:lnTo>
                <a:lnTo>
                  <a:pt x="91440" y="182880"/>
                </a:lnTo>
                <a:cubicBezTo>
                  <a:pt x="40939" y="182880"/>
                  <a:pt x="0" y="141941"/>
                  <a:pt x="0" y="91440"/>
                </a:cubicBezTo>
                <a:cubicBezTo>
                  <a:pt x="0" y="40939"/>
                  <a:pt x="40939" y="0"/>
                  <a:pt x="9144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849677" y="1932761"/>
            <a:ext cx="1854834" cy="649327"/>
            <a:chOff x="3849677" y="1932761"/>
            <a:chExt cx="1763205" cy="649327"/>
          </a:xfrm>
        </p:grpSpPr>
        <p:sp>
          <p:nvSpPr>
            <p:cNvPr id="8" name="TextBox 7"/>
            <p:cNvSpPr txBox="1"/>
            <p:nvPr/>
          </p:nvSpPr>
          <p:spPr>
            <a:xfrm>
              <a:off x="3849677" y="2094454"/>
              <a:ext cx="1763205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lor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m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er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acc us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849712" y="1932761"/>
              <a:ext cx="17631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Creation of smart tech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46994" y="1754522"/>
            <a:ext cx="70718" cy="1128137"/>
            <a:chOff x="3546994" y="1754522"/>
            <a:chExt cx="70718" cy="1128137"/>
          </a:xfrm>
        </p:grpSpPr>
        <p:sp>
          <p:nvSpPr>
            <p:cNvPr id="10" name="Oval 9"/>
            <p:cNvSpPr/>
            <p:nvPr/>
          </p:nvSpPr>
          <p:spPr>
            <a:xfrm>
              <a:off x="3546994" y="1754522"/>
              <a:ext cx="70718" cy="707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cxnSp>
          <p:nvCxnSpPr>
            <p:cNvPr id="11" name="Straight Connector 10"/>
            <p:cNvCxnSpPr>
              <a:stCxn id="10" idx="4"/>
              <a:endCxn id="12" idx="0"/>
            </p:cNvCxnSpPr>
            <p:nvPr/>
          </p:nvCxnSpPr>
          <p:spPr>
            <a:xfrm>
              <a:off x="3582353" y="1825238"/>
              <a:ext cx="0" cy="1057421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Oval 11"/>
          <p:cNvSpPr/>
          <p:nvPr/>
        </p:nvSpPr>
        <p:spPr>
          <a:xfrm>
            <a:off x="3531118" y="2882659"/>
            <a:ext cx="102470" cy="10246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49712" y="1724856"/>
            <a:ext cx="17631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2013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55825" y="3425540"/>
            <a:ext cx="1763205" cy="649327"/>
            <a:chOff x="1155790" y="3428703"/>
            <a:chExt cx="1763205" cy="649327"/>
          </a:xfrm>
        </p:grpSpPr>
        <p:sp>
          <p:nvSpPr>
            <p:cNvPr id="15" name="TextBox 14"/>
            <p:cNvSpPr txBox="1"/>
            <p:nvPr/>
          </p:nvSpPr>
          <p:spPr>
            <a:xfrm>
              <a:off x="1155790" y="3590396"/>
              <a:ext cx="1763205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lor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m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er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acc us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155825" y="3428703"/>
              <a:ext cx="17631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New technology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853107" y="2985125"/>
            <a:ext cx="70718" cy="1105408"/>
            <a:chOff x="853107" y="2985125"/>
            <a:chExt cx="70718" cy="1105408"/>
          </a:xfrm>
        </p:grpSpPr>
        <p:sp>
          <p:nvSpPr>
            <p:cNvPr id="17" name="Oval 16"/>
            <p:cNvSpPr/>
            <p:nvPr/>
          </p:nvSpPr>
          <p:spPr>
            <a:xfrm>
              <a:off x="853107" y="4019817"/>
              <a:ext cx="70718" cy="707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888466" y="2985125"/>
              <a:ext cx="0" cy="1034692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Oval 18"/>
          <p:cNvSpPr/>
          <p:nvPr/>
        </p:nvSpPr>
        <p:spPr>
          <a:xfrm>
            <a:off x="837231" y="2882659"/>
            <a:ext cx="102470" cy="10246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55825" y="3220798"/>
            <a:ext cx="17631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2012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543529" y="3428703"/>
            <a:ext cx="1763205" cy="649327"/>
            <a:chOff x="6543529" y="3428703"/>
            <a:chExt cx="1763205" cy="649327"/>
          </a:xfrm>
        </p:grpSpPr>
        <p:sp>
          <p:nvSpPr>
            <p:cNvPr id="22" name="TextBox 21"/>
            <p:cNvSpPr txBox="1"/>
            <p:nvPr/>
          </p:nvSpPr>
          <p:spPr>
            <a:xfrm>
              <a:off x="6543529" y="3590396"/>
              <a:ext cx="1763205" cy="487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lor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m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ere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acc us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543564" y="3428703"/>
              <a:ext cx="176313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$28m annually revenue 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240846" y="2985125"/>
            <a:ext cx="70718" cy="1105408"/>
            <a:chOff x="6240846" y="2985125"/>
            <a:chExt cx="70718" cy="1105408"/>
          </a:xfrm>
        </p:grpSpPr>
        <p:sp>
          <p:nvSpPr>
            <p:cNvPr id="24" name="Oval 23"/>
            <p:cNvSpPr/>
            <p:nvPr/>
          </p:nvSpPr>
          <p:spPr>
            <a:xfrm>
              <a:off x="6240846" y="4019817"/>
              <a:ext cx="70718" cy="707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+mj-lt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6276205" y="2985125"/>
              <a:ext cx="0" cy="1034692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/>
          <p:cNvSpPr/>
          <p:nvPr/>
        </p:nvSpPr>
        <p:spPr>
          <a:xfrm>
            <a:off x="6224970" y="2882659"/>
            <a:ext cx="102470" cy="102466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43564" y="3220798"/>
            <a:ext cx="17631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428840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0025" y="1246911"/>
            <a:ext cx="5921869" cy="389658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698C2E-E8B1-429B-B135-1897113C54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A Team </a:t>
            </a:r>
            <a:r>
              <a:rPr lang="en-US">
                <a:solidFill>
                  <a:schemeClr val="accent2"/>
                </a:solidFill>
              </a:rPr>
              <a:t>With Pass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0318661-0DCB-4211-83E5-1E4DA49DCA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95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770" y="1324874"/>
            <a:ext cx="2549150" cy="3818626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Persona DEVELOPMENT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03253" y="1703101"/>
            <a:ext cx="2224122" cy="419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700"/>
              </a:lnSpc>
            </a:pPr>
            <a:r>
              <a:rPr lang="en-US" sz="1400" spc="20">
                <a:solidFill>
                  <a:schemeClr val="accent1"/>
                </a:solidFill>
                <a:latin typeface="+mj-lt"/>
              </a:rPr>
              <a:t>MORASENULO</a:t>
            </a:r>
          </a:p>
          <a:p>
            <a:pPr algn="just">
              <a:lnSpc>
                <a:spcPts val="1700"/>
              </a:lnSpc>
            </a:pPr>
            <a:r>
              <a:rPr lang="en-US" sz="1400" spc="20">
                <a:solidFill>
                  <a:schemeClr val="accent2"/>
                </a:solidFill>
                <a:latin typeface="+mj-lt"/>
              </a:rPr>
              <a:t>PORTAS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3253" y="2214771"/>
            <a:ext cx="2233646" cy="154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Head of Mission/CEO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998104" y="1560718"/>
            <a:ext cx="2539472" cy="1018388"/>
            <a:chOff x="5998104" y="1560718"/>
            <a:chExt cx="2539472" cy="1018388"/>
          </a:xfrm>
        </p:grpSpPr>
        <p:sp>
          <p:nvSpPr>
            <p:cNvPr id="10" name="TextBox 9"/>
            <p:cNvSpPr txBox="1"/>
            <p:nvPr/>
          </p:nvSpPr>
          <p:spPr>
            <a:xfrm>
              <a:off x="5998104" y="1758047"/>
              <a:ext cx="2539472" cy="8210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m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aud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ot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rem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peri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a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ps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quae ab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ll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nventor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ery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t quasi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rchitect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bea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dicta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998104" y="1560718"/>
              <a:ext cx="2539472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ducation &amp; Experience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998104" y="2714086"/>
            <a:ext cx="2548997" cy="1386836"/>
            <a:chOff x="5998104" y="2714086"/>
            <a:chExt cx="2548997" cy="1386836"/>
          </a:xfrm>
        </p:grpSpPr>
        <p:grpSp>
          <p:nvGrpSpPr>
            <p:cNvPr id="58" name="Group 57"/>
            <p:cNvGrpSpPr/>
            <p:nvPr/>
          </p:nvGrpSpPr>
          <p:grpSpPr>
            <a:xfrm>
              <a:off x="5998104" y="3325679"/>
              <a:ext cx="2548997" cy="180646"/>
              <a:chOff x="5998104" y="3419416"/>
              <a:chExt cx="2548997" cy="180646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6653213" y="3419865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6653214" y="3419865"/>
                <a:ext cx="1329594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5998104" y="3419416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>
                    <a:solidFill>
                      <a:schemeClr val="accent1"/>
                    </a:solidFill>
                    <a:latin typeface="+mj-lt"/>
                  </a:rPr>
                  <a:t>Creativity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8084953" y="3419416"/>
                <a:ext cx="241526" cy="1483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 b="1">
                    <a:solidFill>
                      <a:schemeClr val="accent1"/>
                    </a:solidFill>
                    <a:latin typeface="+mj-lt"/>
                  </a:rPr>
                  <a:t>70%</a:t>
                </a: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5998104" y="3622978"/>
              <a:ext cx="2548997" cy="180646"/>
              <a:chOff x="5998104" y="3731792"/>
              <a:chExt cx="2548997" cy="180646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6653213" y="3732241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6653214" y="3732241"/>
                <a:ext cx="1071183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5998104" y="3731792"/>
                <a:ext cx="622838" cy="1483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>
                    <a:solidFill>
                      <a:schemeClr val="accent1"/>
                    </a:solidFill>
                    <a:latin typeface="+mj-lt"/>
                  </a:rPr>
                  <a:t>Team Work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7843427" y="3731792"/>
                <a:ext cx="241526" cy="1483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 b="1">
                    <a:solidFill>
                      <a:schemeClr val="accent1"/>
                    </a:solidFill>
                    <a:latin typeface="+mj-lt"/>
                  </a:rPr>
                  <a:t>60%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5998104" y="3920276"/>
              <a:ext cx="2548997" cy="180646"/>
              <a:chOff x="5998104" y="4044167"/>
              <a:chExt cx="2548997" cy="180646"/>
            </a:xfrm>
          </p:grpSpPr>
          <p:sp>
            <p:nvSpPr>
              <p:cNvPr id="37" name="Rectangle 36"/>
              <p:cNvSpPr/>
              <p:nvPr/>
            </p:nvSpPr>
            <p:spPr>
              <a:xfrm>
                <a:off x="6653213" y="4044616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6653214" y="4044616"/>
                <a:ext cx="904246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5998104" y="4044167"/>
                <a:ext cx="622838" cy="1542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>
                    <a:solidFill>
                      <a:schemeClr val="accent1"/>
                    </a:solidFill>
                    <a:latin typeface="+mj-lt"/>
                  </a:rPr>
                  <a:t>Execution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7671560" y="4044167"/>
                <a:ext cx="241526" cy="1483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 b="1">
                    <a:solidFill>
                      <a:schemeClr val="accent1"/>
                    </a:solidFill>
                    <a:latin typeface="+mj-lt"/>
                  </a:rPr>
                  <a:t>50%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998104" y="3028380"/>
              <a:ext cx="2548997" cy="180646"/>
              <a:chOff x="5998104" y="3107040"/>
              <a:chExt cx="2548997" cy="180646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6653213" y="3107489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6653214" y="3107489"/>
                <a:ext cx="1536897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5998104" y="3107040"/>
                <a:ext cx="622838" cy="1483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>
                    <a:solidFill>
                      <a:schemeClr val="accent1"/>
                    </a:solidFill>
                    <a:latin typeface="+mj-lt"/>
                  </a:rPr>
                  <a:t>Leadership</a:t>
                </a: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8273795" y="3107040"/>
                <a:ext cx="241526" cy="1483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1300"/>
                  </a:lnSpc>
                  <a:spcAft>
                    <a:spcPts val="600"/>
                  </a:spcAft>
                </a:pPr>
                <a:r>
                  <a:rPr lang="en-US" sz="800" b="1">
                    <a:solidFill>
                      <a:schemeClr val="accent1"/>
                    </a:solidFill>
                    <a:latin typeface="+mj-lt"/>
                  </a:rPr>
                  <a:t>80%</a:t>
                </a: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5998104" y="2714086"/>
              <a:ext cx="2539472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Capabilitie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94971" y="2739497"/>
            <a:ext cx="2241928" cy="1347491"/>
            <a:chOff x="594971" y="2739497"/>
            <a:chExt cx="2241928" cy="1347491"/>
          </a:xfrm>
        </p:grpSpPr>
        <p:sp>
          <p:nvSpPr>
            <p:cNvPr id="8" name="TextBox 7"/>
            <p:cNvSpPr txBox="1"/>
            <p:nvPr/>
          </p:nvSpPr>
          <p:spPr>
            <a:xfrm>
              <a:off x="868741" y="3243211"/>
              <a:ext cx="1968158" cy="8210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m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aud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ot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rem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peri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a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ps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quae ab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ll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nventor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ery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is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971" y="2739497"/>
              <a:ext cx="53366" cy="13474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68741" y="3047390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accent2"/>
                  </a:solidFill>
                  <a:latin typeface="+mj-lt"/>
                </a:rPr>
                <a:t>More About Me</a:t>
              </a:r>
            </a:p>
          </p:txBody>
        </p:sp>
        <p:sp>
          <p:nvSpPr>
            <p:cNvPr id="46" name="Freeform 92"/>
            <p:cNvSpPr>
              <a:spLocks noEditPoints="1"/>
            </p:cNvSpPr>
            <p:nvPr/>
          </p:nvSpPr>
          <p:spPr bwMode="auto">
            <a:xfrm>
              <a:off x="868741" y="2739497"/>
              <a:ext cx="185537" cy="185537"/>
            </a:xfrm>
            <a:custGeom>
              <a:avLst/>
              <a:gdLst>
                <a:gd name="T0" fmla="*/ 223 w 223"/>
                <a:gd name="T1" fmla="*/ 111 h 223"/>
                <a:gd name="T2" fmla="*/ 111 w 223"/>
                <a:gd name="T3" fmla="*/ 223 h 223"/>
                <a:gd name="T4" fmla="*/ 0 w 223"/>
                <a:gd name="T5" fmla="*/ 111 h 223"/>
                <a:gd name="T6" fmla="*/ 111 w 223"/>
                <a:gd name="T7" fmla="*/ 0 h 223"/>
                <a:gd name="T8" fmla="*/ 223 w 223"/>
                <a:gd name="T9" fmla="*/ 111 h 223"/>
                <a:gd name="T10" fmla="*/ 179 w 223"/>
                <a:gd name="T11" fmla="*/ 125 h 223"/>
                <a:gd name="T12" fmla="*/ 179 w 223"/>
                <a:gd name="T13" fmla="*/ 98 h 223"/>
                <a:gd name="T14" fmla="*/ 125 w 223"/>
                <a:gd name="T15" fmla="*/ 98 h 223"/>
                <a:gd name="T16" fmla="*/ 125 w 223"/>
                <a:gd name="T17" fmla="*/ 45 h 223"/>
                <a:gd name="T18" fmla="*/ 98 w 223"/>
                <a:gd name="T19" fmla="*/ 45 h 223"/>
                <a:gd name="T20" fmla="*/ 98 w 223"/>
                <a:gd name="T21" fmla="*/ 98 h 223"/>
                <a:gd name="T22" fmla="*/ 44 w 223"/>
                <a:gd name="T23" fmla="*/ 98 h 223"/>
                <a:gd name="T24" fmla="*/ 44 w 223"/>
                <a:gd name="T25" fmla="*/ 125 h 223"/>
                <a:gd name="T26" fmla="*/ 98 w 223"/>
                <a:gd name="T27" fmla="*/ 125 h 223"/>
                <a:gd name="T28" fmla="*/ 98 w 223"/>
                <a:gd name="T29" fmla="*/ 178 h 223"/>
                <a:gd name="T30" fmla="*/ 125 w 223"/>
                <a:gd name="T31" fmla="*/ 178 h 223"/>
                <a:gd name="T32" fmla="*/ 125 w 223"/>
                <a:gd name="T33" fmla="*/ 125 h 223"/>
                <a:gd name="T34" fmla="*/ 179 w 223"/>
                <a:gd name="T35" fmla="*/ 125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3" h="223">
                  <a:moveTo>
                    <a:pt x="223" y="111"/>
                  </a:moveTo>
                  <a:cubicBezTo>
                    <a:pt x="223" y="173"/>
                    <a:pt x="173" y="223"/>
                    <a:pt x="111" y="223"/>
                  </a:cubicBezTo>
                  <a:cubicBezTo>
                    <a:pt x="50" y="223"/>
                    <a:pt x="0" y="173"/>
                    <a:pt x="0" y="111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3" y="0"/>
                    <a:pt x="223" y="50"/>
                    <a:pt x="223" y="111"/>
                  </a:cubicBezTo>
                  <a:close/>
                  <a:moveTo>
                    <a:pt x="179" y="125"/>
                  </a:moveTo>
                  <a:cubicBezTo>
                    <a:pt x="179" y="98"/>
                    <a:pt x="179" y="98"/>
                    <a:pt x="179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78"/>
                    <a:pt x="98" y="178"/>
                    <a:pt x="98" y="178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5" y="125"/>
                    <a:pt x="125" y="125"/>
                    <a:pt x="125" y="125"/>
                  </a:cubicBezTo>
                  <a:lnTo>
                    <a:pt x="179" y="1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177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7E632-748D-37C2-B5CC-48708E267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1457A-245D-56C9-FC6C-838F2E1D9A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What is a </a:t>
            </a:r>
            <a:r>
              <a:rPr lang="en-US" dirty="0">
                <a:solidFill>
                  <a:schemeClr val="accent2"/>
                </a:solidFill>
              </a:rPr>
              <a:t>DCGAN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4E0235-BD47-9E1E-E892-5F6C89B9F5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troduction to GA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07F015-E59C-F29E-BE2F-36879B4AA6AD}"/>
              </a:ext>
            </a:extLst>
          </p:cNvPr>
          <p:cNvGrpSpPr/>
          <p:nvPr/>
        </p:nvGrpSpPr>
        <p:grpSpPr>
          <a:xfrm>
            <a:off x="2392998" y="1294642"/>
            <a:ext cx="4958778" cy="3332222"/>
            <a:chOff x="2392998" y="1294642"/>
            <a:chExt cx="4958778" cy="333222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BD796C1-C5B8-8EB4-8868-445EE671C8FE}"/>
                </a:ext>
              </a:extLst>
            </p:cNvPr>
            <p:cNvSpPr/>
            <p:nvPr/>
          </p:nvSpPr>
          <p:spPr>
            <a:xfrm>
              <a:off x="2392998" y="1815393"/>
              <a:ext cx="823331" cy="70381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ndom </a:t>
              </a:r>
              <a:r>
                <a:rPr lang="de-DE" sz="11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ise</a:t>
              </a:r>
              <a:endPara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6" name="Right Arrow 25">
              <a:extLst>
                <a:ext uri="{FF2B5EF4-FFF2-40B4-BE49-F238E27FC236}">
                  <a16:creationId xmlns:a16="http://schemas.microsoft.com/office/drawing/2014/main" id="{0E97BA6A-A8F4-CC3C-9BED-19E8B46D8B2D}"/>
                </a:ext>
              </a:extLst>
            </p:cNvPr>
            <p:cNvSpPr/>
            <p:nvPr/>
          </p:nvSpPr>
          <p:spPr>
            <a:xfrm>
              <a:off x="3296196" y="2088773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7" name="Right Arrow 26">
              <a:extLst>
                <a:ext uri="{FF2B5EF4-FFF2-40B4-BE49-F238E27FC236}">
                  <a16:creationId xmlns:a16="http://schemas.microsoft.com/office/drawing/2014/main" id="{AD23F67F-8F86-EC49-8484-8BE985BEF4A5}"/>
                </a:ext>
              </a:extLst>
            </p:cNvPr>
            <p:cNvSpPr/>
            <p:nvPr/>
          </p:nvSpPr>
          <p:spPr>
            <a:xfrm>
              <a:off x="3954184" y="2082147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C230AB49-410C-0CFA-0437-1E5644D4D827}"/>
                </a:ext>
              </a:extLst>
            </p:cNvPr>
            <p:cNvGrpSpPr/>
            <p:nvPr/>
          </p:nvGrpSpPr>
          <p:grpSpPr>
            <a:xfrm>
              <a:off x="5411772" y="3180381"/>
              <a:ext cx="336438" cy="954334"/>
              <a:chOff x="1335024" y="1657350"/>
              <a:chExt cx="560832" cy="914400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B59BE4BE-8116-465C-B84A-3E9725CC5854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FE503240-4185-B7DF-04AF-C609B9936FD4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E78E172-5594-2B24-9B60-5535E902CA69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29" name="Right Arrow 28">
              <a:extLst>
                <a:ext uri="{FF2B5EF4-FFF2-40B4-BE49-F238E27FC236}">
                  <a16:creationId xmlns:a16="http://schemas.microsoft.com/office/drawing/2014/main" id="{7C3E69EA-91A8-605F-9CC4-FEE5A6194E69}"/>
                </a:ext>
              </a:extLst>
            </p:cNvPr>
            <p:cNvSpPr/>
            <p:nvPr/>
          </p:nvSpPr>
          <p:spPr>
            <a:xfrm>
              <a:off x="5965348" y="3583788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1" name="Right Arrow 30">
              <a:extLst>
                <a:ext uri="{FF2B5EF4-FFF2-40B4-BE49-F238E27FC236}">
                  <a16:creationId xmlns:a16="http://schemas.microsoft.com/office/drawing/2014/main" id="{67EAB5F7-C1D3-C2FC-CDE6-241164919A54}"/>
                </a:ext>
              </a:extLst>
            </p:cNvPr>
            <p:cNvSpPr/>
            <p:nvPr/>
          </p:nvSpPr>
          <p:spPr>
            <a:xfrm rot="3456229">
              <a:off x="4542761" y="3053493"/>
              <a:ext cx="844779" cy="13457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2" name="Right Arrow 31">
              <a:extLst>
                <a:ext uri="{FF2B5EF4-FFF2-40B4-BE49-F238E27FC236}">
                  <a16:creationId xmlns:a16="http://schemas.microsoft.com/office/drawing/2014/main" id="{6EE4FBA9-1180-0BDC-F8B3-1F095150CF1C}"/>
                </a:ext>
              </a:extLst>
            </p:cNvPr>
            <p:cNvSpPr/>
            <p:nvPr/>
          </p:nvSpPr>
          <p:spPr>
            <a:xfrm rot="20303528">
              <a:off x="4662147" y="3885665"/>
              <a:ext cx="523348" cy="149042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138044C-24FF-E95D-7670-26896E148034}"/>
                </a:ext>
              </a:extLst>
            </p:cNvPr>
            <p:cNvSpPr txBox="1"/>
            <p:nvPr/>
          </p:nvSpPr>
          <p:spPr>
            <a:xfrm>
              <a:off x="3266812" y="1294642"/>
              <a:ext cx="1152233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erator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34FDBC9-318D-86EE-7FB8-DD1B235D567A}"/>
                </a:ext>
              </a:extLst>
            </p:cNvPr>
            <p:cNvSpPr txBox="1"/>
            <p:nvPr/>
          </p:nvSpPr>
          <p:spPr>
            <a:xfrm>
              <a:off x="6207279" y="3282986"/>
              <a:ext cx="1144497" cy="822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ke/Real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et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mag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F01206E-F590-B30F-EA07-5EB73EAB09CB}"/>
                </a:ext>
              </a:extLst>
            </p:cNvPr>
            <p:cNvSpPr txBox="1"/>
            <p:nvPr/>
          </p:nvSpPr>
          <p:spPr>
            <a:xfrm>
              <a:off x="5060629" y="2790728"/>
              <a:ext cx="1304922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criminator</a:t>
              </a: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38" name="Picture 37" descr="A painting of a landscape with trees&#10;&#10;Description automatically generated">
              <a:extLst>
                <a:ext uri="{FF2B5EF4-FFF2-40B4-BE49-F238E27FC236}">
                  <a16:creationId xmlns:a16="http://schemas.microsoft.com/office/drawing/2014/main" id="{8BC8A064-6F66-BFC8-E63F-A89DE984D825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4568" y="3633248"/>
              <a:ext cx="951900" cy="993616"/>
            </a:xfrm>
            <a:prstGeom prst="rect">
              <a:avLst/>
            </a:prstGeom>
          </p:spPr>
        </p:pic>
        <p:pic>
          <p:nvPicPr>
            <p:cNvPr id="39" name="Picture 38" descr="A close-up of a flower field&#10;&#10;Description automatically generated">
              <a:extLst>
                <a:ext uri="{FF2B5EF4-FFF2-40B4-BE49-F238E27FC236}">
                  <a16:creationId xmlns:a16="http://schemas.microsoft.com/office/drawing/2014/main" id="{4AA0D812-981D-3295-0EB9-71773C0B027D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7861" y="1656047"/>
              <a:ext cx="951900" cy="993616"/>
            </a:xfrm>
            <a:prstGeom prst="rect">
              <a:avLst/>
            </a:prstGeom>
          </p:spPr>
        </p:pic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96AFFA8-6D64-5A4F-58D0-F07C67A79FAA}"/>
                </a:ext>
              </a:extLst>
            </p:cNvPr>
            <p:cNvGrpSpPr/>
            <p:nvPr/>
          </p:nvGrpSpPr>
          <p:grpSpPr>
            <a:xfrm rot="10800000">
              <a:off x="3551949" y="1695329"/>
              <a:ext cx="336438" cy="954334"/>
              <a:chOff x="1335024" y="1657350"/>
              <a:chExt cx="560832" cy="914400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5E0DAB3-4E64-68BB-27F5-C60C823CC09F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6AB9F6A6-AC16-8AAE-C0A2-FA995C26770F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810F96D-F57D-EE5C-3D89-7CD114424381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229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593724" y="1543050"/>
            <a:ext cx="6927937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Why choose us </a:t>
            </a:r>
            <a:r>
              <a:rPr lang="en-US">
                <a:solidFill>
                  <a:schemeClr val="accent2"/>
                </a:solidFill>
              </a:rPr>
              <a:t>as a partn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1237041" y="1810040"/>
            <a:ext cx="1968158" cy="509123"/>
            <a:chOff x="1237041" y="1810040"/>
            <a:chExt cx="1968158" cy="509123"/>
          </a:xfrm>
        </p:grpSpPr>
        <p:sp>
          <p:nvSpPr>
            <p:cNvPr id="9" name="TextBox 8"/>
            <p:cNvSpPr txBox="1"/>
            <p:nvPr/>
          </p:nvSpPr>
          <p:spPr>
            <a:xfrm>
              <a:off x="1237041" y="1998241"/>
              <a:ext cx="196815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err or sit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237041" y="1810040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bg1"/>
                  </a:solidFill>
                  <a:latin typeface="+mj-lt"/>
                </a:rPr>
                <a:t>Our creativity 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237041" y="2643246"/>
            <a:ext cx="1968158" cy="509123"/>
            <a:chOff x="1237041" y="2643246"/>
            <a:chExt cx="1968158" cy="509123"/>
          </a:xfrm>
        </p:grpSpPr>
        <p:sp>
          <p:nvSpPr>
            <p:cNvPr id="38" name="TextBox 37"/>
            <p:cNvSpPr txBox="1"/>
            <p:nvPr/>
          </p:nvSpPr>
          <p:spPr>
            <a:xfrm>
              <a:off x="1237041" y="2831447"/>
              <a:ext cx="196815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err or sit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237041" y="2643246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bg1"/>
                  </a:solidFill>
                  <a:latin typeface="+mj-lt"/>
                </a:rPr>
                <a:t>Our leadership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237041" y="3476453"/>
            <a:ext cx="1968158" cy="509123"/>
            <a:chOff x="1237041" y="3476453"/>
            <a:chExt cx="1968158" cy="509123"/>
          </a:xfrm>
        </p:grpSpPr>
        <p:sp>
          <p:nvSpPr>
            <p:cNvPr id="44" name="TextBox 43"/>
            <p:cNvSpPr txBox="1"/>
            <p:nvPr/>
          </p:nvSpPr>
          <p:spPr>
            <a:xfrm>
              <a:off x="1237041" y="3664654"/>
              <a:ext cx="196815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err or sit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237041" y="3476453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bg1"/>
                  </a:solidFill>
                  <a:latin typeface="+mj-lt"/>
                </a:rPr>
                <a:t>Our experience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031041" y="1810040"/>
            <a:ext cx="1968158" cy="509123"/>
            <a:chOff x="4031041" y="1810040"/>
            <a:chExt cx="1968158" cy="509123"/>
          </a:xfrm>
        </p:grpSpPr>
        <p:sp>
          <p:nvSpPr>
            <p:cNvPr id="51" name="TextBox 50"/>
            <p:cNvSpPr txBox="1"/>
            <p:nvPr/>
          </p:nvSpPr>
          <p:spPr>
            <a:xfrm>
              <a:off x="4031041" y="1998241"/>
              <a:ext cx="196815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err or sit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4031041" y="1810040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bg1"/>
                  </a:solidFill>
                  <a:latin typeface="+mj-lt"/>
                </a:rPr>
                <a:t>Our team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031041" y="2643246"/>
            <a:ext cx="1968158" cy="509123"/>
            <a:chOff x="4031041" y="2643246"/>
            <a:chExt cx="1968158" cy="509123"/>
          </a:xfrm>
        </p:grpSpPr>
        <p:sp>
          <p:nvSpPr>
            <p:cNvPr id="57" name="TextBox 56"/>
            <p:cNvSpPr txBox="1"/>
            <p:nvPr/>
          </p:nvSpPr>
          <p:spPr>
            <a:xfrm>
              <a:off x="4031041" y="2831447"/>
              <a:ext cx="196815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err or sit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accus</a:t>
              </a:r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031041" y="2643246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bg1"/>
                  </a:solidFill>
                  <a:latin typeface="+mj-lt"/>
                </a:rPr>
                <a:t>Our vision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031041" y="3476453"/>
            <a:ext cx="1968158" cy="509123"/>
            <a:chOff x="4031041" y="3476453"/>
            <a:chExt cx="1968158" cy="509123"/>
          </a:xfrm>
        </p:grpSpPr>
        <p:sp>
          <p:nvSpPr>
            <p:cNvPr id="63" name="TextBox 62"/>
            <p:cNvSpPr txBox="1"/>
            <p:nvPr/>
          </p:nvSpPr>
          <p:spPr>
            <a:xfrm>
              <a:off x="4031041" y="3664654"/>
              <a:ext cx="1968158" cy="320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bg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err or sit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bg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031041" y="3476453"/>
              <a:ext cx="1958634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bg1"/>
                  </a:solidFill>
                  <a:latin typeface="+mj-lt"/>
                </a:rPr>
                <a:t>Our mission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90050" y="1820650"/>
            <a:ext cx="184966" cy="157610"/>
            <a:chOff x="876681" y="1867872"/>
            <a:chExt cx="211703" cy="180394"/>
          </a:xfrm>
        </p:grpSpPr>
        <p:sp>
          <p:nvSpPr>
            <p:cNvPr id="69" name="Rectangle 68"/>
            <p:cNvSpPr/>
            <p:nvPr/>
          </p:nvSpPr>
          <p:spPr>
            <a:xfrm>
              <a:off x="876681" y="1891484"/>
              <a:ext cx="156784" cy="156782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" name="Freeform 64"/>
            <p:cNvSpPr>
              <a:spLocks/>
            </p:cNvSpPr>
            <p:nvPr/>
          </p:nvSpPr>
          <p:spPr bwMode="auto">
            <a:xfrm>
              <a:off x="890968" y="1867872"/>
              <a:ext cx="197416" cy="162115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890050" y="2647797"/>
            <a:ext cx="184966" cy="157610"/>
            <a:chOff x="876681" y="1867872"/>
            <a:chExt cx="211703" cy="180394"/>
          </a:xfrm>
        </p:grpSpPr>
        <p:sp>
          <p:nvSpPr>
            <p:cNvPr id="107" name="Rectangle 106"/>
            <p:cNvSpPr/>
            <p:nvPr/>
          </p:nvSpPr>
          <p:spPr>
            <a:xfrm>
              <a:off x="876681" y="1891484"/>
              <a:ext cx="156784" cy="156782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Freeform 64"/>
            <p:cNvSpPr>
              <a:spLocks/>
            </p:cNvSpPr>
            <p:nvPr/>
          </p:nvSpPr>
          <p:spPr bwMode="auto">
            <a:xfrm>
              <a:off x="890968" y="1867872"/>
              <a:ext cx="197416" cy="162115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890050" y="3476453"/>
            <a:ext cx="184966" cy="157610"/>
            <a:chOff x="876681" y="1867872"/>
            <a:chExt cx="211703" cy="180394"/>
          </a:xfrm>
        </p:grpSpPr>
        <p:sp>
          <p:nvSpPr>
            <p:cNvPr id="110" name="Rectangle 109"/>
            <p:cNvSpPr/>
            <p:nvPr/>
          </p:nvSpPr>
          <p:spPr>
            <a:xfrm>
              <a:off x="876681" y="1891484"/>
              <a:ext cx="156784" cy="156782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1" name="Freeform 64"/>
            <p:cNvSpPr>
              <a:spLocks/>
            </p:cNvSpPr>
            <p:nvPr/>
          </p:nvSpPr>
          <p:spPr bwMode="auto">
            <a:xfrm>
              <a:off x="890968" y="1867872"/>
              <a:ext cx="197416" cy="162115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3711898" y="1820650"/>
            <a:ext cx="184966" cy="157610"/>
            <a:chOff x="876681" y="1867872"/>
            <a:chExt cx="211703" cy="180394"/>
          </a:xfrm>
        </p:grpSpPr>
        <p:sp>
          <p:nvSpPr>
            <p:cNvPr id="113" name="Rectangle 112"/>
            <p:cNvSpPr/>
            <p:nvPr/>
          </p:nvSpPr>
          <p:spPr>
            <a:xfrm>
              <a:off x="876681" y="1891484"/>
              <a:ext cx="156784" cy="156782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4" name="Freeform 64"/>
            <p:cNvSpPr>
              <a:spLocks/>
            </p:cNvSpPr>
            <p:nvPr/>
          </p:nvSpPr>
          <p:spPr bwMode="auto">
            <a:xfrm>
              <a:off x="890968" y="1867872"/>
              <a:ext cx="197416" cy="162115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711898" y="2647797"/>
            <a:ext cx="184966" cy="157610"/>
            <a:chOff x="876681" y="1867872"/>
            <a:chExt cx="211703" cy="180394"/>
          </a:xfrm>
        </p:grpSpPr>
        <p:sp>
          <p:nvSpPr>
            <p:cNvPr id="116" name="Rectangle 115"/>
            <p:cNvSpPr/>
            <p:nvPr/>
          </p:nvSpPr>
          <p:spPr>
            <a:xfrm>
              <a:off x="876681" y="1891484"/>
              <a:ext cx="156784" cy="156782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7" name="Freeform 64"/>
            <p:cNvSpPr>
              <a:spLocks/>
            </p:cNvSpPr>
            <p:nvPr/>
          </p:nvSpPr>
          <p:spPr bwMode="auto">
            <a:xfrm>
              <a:off x="890968" y="1867872"/>
              <a:ext cx="197416" cy="162115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3711898" y="3476453"/>
            <a:ext cx="184966" cy="157610"/>
            <a:chOff x="876681" y="1867872"/>
            <a:chExt cx="211703" cy="180394"/>
          </a:xfrm>
        </p:grpSpPr>
        <p:sp>
          <p:nvSpPr>
            <p:cNvPr id="119" name="Rectangle 118"/>
            <p:cNvSpPr/>
            <p:nvPr/>
          </p:nvSpPr>
          <p:spPr>
            <a:xfrm>
              <a:off x="876681" y="1891484"/>
              <a:ext cx="156784" cy="156782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20" name="Freeform 64"/>
            <p:cNvSpPr>
              <a:spLocks/>
            </p:cNvSpPr>
            <p:nvPr/>
          </p:nvSpPr>
          <p:spPr bwMode="auto">
            <a:xfrm>
              <a:off x="890968" y="1867872"/>
              <a:ext cx="197416" cy="162115"/>
            </a:xfrm>
            <a:custGeom>
              <a:avLst/>
              <a:gdLst>
                <a:gd name="T0" fmla="*/ 31 w 229"/>
                <a:gd name="T1" fmla="*/ 83 h 187"/>
                <a:gd name="T2" fmla="*/ 73 w 229"/>
                <a:gd name="T3" fmla="*/ 125 h 187"/>
                <a:gd name="T4" fmla="*/ 198 w 229"/>
                <a:gd name="T5" fmla="*/ 0 h 187"/>
                <a:gd name="T6" fmla="*/ 229 w 229"/>
                <a:gd name="T7" fmla="*/ 31 h 187"/>
                <a:gd name="T8" fmla="*/ 73 w 229"/>
                <a:gd name="T9" fmla="*/ 187 h 187"/>
                <a:gd name="T10" fmla="*/ 41 w 229"/>
                <a:gd name="T11" fmla="*/ 155 h 187"/>
                <a:gd name="T12" fmla="*/ 0 w 229"/>
                <a:gd name="T13" fmla="*/ 114 h 187"/>
                <a:gd name="T14" fmla="*/ 31 w 229"/>
                <a:gd name="T15" fmla="*/ 8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87">
                  <a:moveTo>
                    <a:pt x="31" y="83"/>
                  </a:moveTo>
                  <a:cubicBezTo>
                    <a:pt x="73" y="125"/>
                    <a:pt x="73" y="125"/>
                    <a:pt x="73" y="12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9" y="31"/>
                    <a:pt x="229" y="31"/>
                    <a:pt x="229" y="31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64" y="178"/>
                    <a:pt x="53" y="168"/>
                    <a:pt x="41" y="155"/>
                  </a:cubicBezTo>
                  <a:cubicBezTo>
                    <a:pt x="29" y="143"/>
                    <a:pt x="16" y="130"/>
                    <a:pt x="0" y="114"/>
                  </a:cubicBezTo>
                  <a:lnTo>
                    <a:pt x="31" y="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pic>
        <p:nvPicPr>
          <p:cNvPr id="43" name="Picture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658" y="999047"/>
            <a:ext cx="2766658" cy="4144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74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mall brand </a:t>
            </a:r>
            <a:r>
              <a:rPr lang="en-US">
                <a:solidFill>
                  <a:schemeClr val="accent2"/>
                </a:solidFill>
              </a:rPr>
              <a:t>organizational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01" name="Group 100"/>
          <p:cNvGrpSpPr/>
          <p:nvPr/>
        </p:nvGrpSpPr>
        <p:grpSpPr>
          <a:xfrm>
            <a:off x="4285572" y="1543050"/>
            <a:ext cx="569680" cy="539951"/>
            <a:chOff x="3155951" y="3025775"/>
            <a:chExt cx="942975" cy="893763"/>
          </a:xfrm>
          <a:solidFill>
            <a:schemeClr val="accent2"/>
          </a:solidFill>
        </p:grpSpPr>
        <p:sp>
          <p:nvSpPr>
            <p:cNvPr id="104" name="Oval 5"/>
            <p:cNvSpPr>
              <a:spLocks noChangeArrowheads="1"/>
            </p:cNvSpPr>
            <p:nvPr/>
          </p:nvSpPr>
          <p:spPr bwMode="auto">
            <a:xfrm>
              <a:off x="3429001" y="3025775"/>
              <a:ext cx="396875" cy="401638"/>
            </a:xfrm>
            <a:prstGeom prst="ellipse">
              <a:avLst/>
            </a:prstGeom>
            <a:grpFill/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5" name="Freeform 6"/>
            <p:cNvSpPr>
              <a:spLocks/>
            </p:cNvSpPr>
            <p:nvPr/>
          </p:nvSpPr>
          <p:spPr bwMode="auto">
            <a:xfrm>
              <a:off x="3155951" y="3465513"/>
              <a:ext cx="942975" cy="454025"/>
            </a:xfrm>
            <a:custGeom>
              <a:avLst/>
              <a:gdLst>
                <a:gd name="T0" fmla="*/ 753 w 753"/>
                <a:gd name="T1" fmla="*/ 255 h 363"/>
                <a:gd name="T2" fmla="*/ 703 w 753"/>
                <a:gd name="T3" fmla="*/ 105 h 363"/>
                <a:gd name="T4" fmla="*/ 483 w 753"/>
                <a:gd name="T5" fmla="*/ 0 h 363"/>
                <a:gd name="T6" fmla="*/ 467 w 753"/>
                <a:gd name="T7" fmla="*/ 121 h 363"/>
                <a:gd name="T8" fmla="*/ 431 w 753"/>
                <a:gd name="T9" fmla="*/ 242 h 363"/>
                <a:gd name="T10" fmla="*/ 409 w 753"/>
                <a:gd name="T11" fmla="*/ 153 h 363"/>
                <a:gd name="T12" fmla="*/ 390 w 753"/>
                <a:gd name="T13" fmla="*/ 104 h 363"/>
                <a:gd name="T14" fmla="*/ 421 w 753"/>
                <a:gd name="T15" fmla="*/ 73 h 363"/>
                <a:gd name="T16" fmla="*/ 377 w 753"/>
                <a:gd name="T17" fmla="*/ 30 h 363"/>
                <a:gd name="T18" fmla="*/ 376 w 753"/>
                <a:gd name="T19" fmla="*/ 30 h 363"/>
                <a:gd name="T20" fmla="*/ 376 w 753"/>
                <a:gd name="T21" fmla="*/ 30 h 363"/>
                <a:gd name="T22" fmla="*/ 332 w 753"/>
                <a:gd name="T23" fmla="*/ 73 h 363"/>
                <a:gd name="T24" fmla="*/ 362 w 753"/>
                <a:gd name="T25" fmla="*/ 104 h 363"/>
                <a:gd name="T26" fmla="*/ 344 w 753"/>
                <a:gd name="T27" fmla="*/ 153 h 363"/>
                <a:gd name="T28" fmla="*/ 322 w 753"/>
                <a:gd name="T29" fmla="*/ 242 h 363"/>
                <a:gd name="T30" fmla="*/ 286 w 753"/>
                <a:gd name="T31" fmla="*/ 121 h 363"/>
                <a:gd name="T32" fmla="*/ 269 w 753"/>
                <a:gd name="T33" fmla="*/ 0 h 363"/>
                <a:gd name="T34" fmla="*/ 50 w 753"/>
                <a:gd name="T35" fmla="*/ 105 h 363"/>
                <a:gd name="T36" fmla="*/ 0 w 753"/>
                <a:gd name="T37" fmla="*/ 255 h 363"/>
                <a:gd name="T38" fmla="*/ 0 w 753"/>
                <a:gd name="T39" fmla="*/ 311 h 363"/>
                <a:gd name="T40" fmla="*/ 376 w 753"/>
                <a:gd name="T41" fmla="*/ 363 h 363"/>
                <a:gd name="T42" fmla="*/ 376 w 753"/>
                <a:gd name="T43" fmla="*/ 363 h 363"/>
                <a:gd name="T44" fmla="*/ 376 w 753"/>
                <a:gd name="T45" fmla="*/ 363 h 363"/>
                <a:gd name="T46" fmla="*/ 377 w 753"/>
                <a:gd name="T47" fmla="*/ 363 h 363"/>
                <a:gd name="T48" fmla="*/ 377 w 753"/>
                <a:gd name="T49" fmla="*/ 363 h 363"/>
                <a:gd name="T50" fmla="*/ 753 w 753"/>
                <a:gd name="T51" fmla="*/ 311 h 363"/>
                <a:gd name="T52" fmla="*/ 753 w 753"/>
                <a:gd name="T53" fmla="*/ 25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3" h="363">
                  <a:moveTo>
                    <a:pt x="753" y="255"/>
                  </a:moveTo>
                  <a:cubicBezTo>
                    <a:pt x="753" y="223"/>
                    <a:pt x="747" y="146"/>
                    <a:pt x="703" y="105"/>
                  </a:cubicBezTo>
                  <a:cubicBezTo>
                    <a:pt x="629" y="37"/>
                    <a:pt x="499" y="6"/>
                    <a:pt x="483" y="0"/>
                  </a:cubicBezTo>
                  <a:cubicBezTo>
                    <a:pt x="482" y="14"/>
                    <a:pt x="478" y="66"/>
                    <a:pt x="467" y="121"/>
                  </a:cubicBezTo>
                  <a:cubicBezTo>
                    <a:pt x="460" y="153"/>
                    <a:pt x="431" y="242"/>
                    <a:pt x="431" y="242"/>
                  </a:cubicBezTo>
                  <a:cubicBezTo>
                    <a:pt x="431" y="242"/>
                    <a:pt x="414" y="174"/>
                    <a:pt x="409" y="153"/>
                  </a:cubicBezTo>
                  <a:cubicBezTo>
                    <a:pt x="405" y="138"/>
                    <a:pt x="390" y="104"/>
                    <a:pt x="390" y="104"/>
                  </a:cubicBezTo>
                  <a:cubicBezTo>
                    <a:pt x="421" y="73"/>
                    <a:pt x="421" y="73"/>
                    <a:pt x="421" y="73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104"/>
                    <a:pt x="348" y="138"/>
                    <a:pt x="344" y="153"/>
                  </a:cubicBezTo>
                  <a:cubicBezTo>
                    <a:pt x="338" y="174"/>
                    <a:pt x="322" y="242"/>
                    <a:pt x="322" y="242"/>
                  </a:cubicBezTo>
                  <a:cubicBezTo>
                    <a:pt x="322" y="242"/>
                    <a:pt x="292" y="153"/>
                    <a:pt x="286" y="121"/>
                  </a:cubicBezTo>
                  <a:cubicBezTo>
                    <a:pt x="275" y="66"/>
                    <a:pt x="270" y="14"/>
                    <a:pt x="269" y="0"/>
                  </a:cubicBezTo>
                  <a:cubicBezTo>
                    <a:pt x="253" y="6"/>
                    <a:pt x="123" y="37"/>
                    <a:pt x="50" y="105"/>
                  </a:cubicBezTo>
                  <a:cubicBezTo>
                    <a:pt x="5" y="146"/>
                    <a:pt x="0" y="223"/>
                    <a:pt x="0" y="255"/>
                  </a:cubicBezTo>
                  <a:cubicBezTo>
                    <a:pt x="0" y="275"/>
                    <a:pt x="0" y="237"/>
                    <a:pt x="0" y="311"/>
                  </a:cubicBezTo>
                  <a:cubicBezTo>
                    <a:pt x="113" y="344"/>
                    <a:pt x="241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7" y="363"/>
                    <a:pt x="377" y="363"/>
                  </a:cubicBezTo>
                  <a:cubicBezTo>
                    <a:pt x="377" y="363"/>
                    <a:pt x="377" y="363"/>
                    <a:pt x="377" y="363"/>
                  </a:cubicBezTo>
                  <a:cubicBezTo>
                    <a:pt x="512" y="363"/>
                    <a:pt x="640" y="344"/>
                    <a:pt x="753" y="311"/>
                  </a:cubicBezTo>
                  <a:cubicBezTo>
                    <a:pt x="753" y="237"/>
                    <a:pt x="753" y="275"/>
                    <a:pt x="753" y="2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02" name="Rounded Rectangle 101"/>
          <p:cNvSpPr/>
          <p:nvPr/>
        </p:nvSpPr>
        <p:spPr>
          <a:xfrm>
            <a:off x="3995263" y="2030985"/>
            <a:ext cx="1150298" cy="20053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4090195" y="2061069"/>
            <a:ext cx="96043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</a:rPr>
              <a:t>Marketing Manager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894630" y="2511692"/>
            <a:ext cx="693592" cy="657396"/>
            <a:chOff x="3155951" y="3025775"/>
            <a:chExt cx="942975" cy="893763"/>
          </a:xfrm>
          <a:solidFill>
            <a:schemeClr val="accent2"/>
          </a:solidFill>
        </p:grpSpPr>
        <p:sp>
          <p:nvSpPr>
            <p:cNvPr id="56" name="Oval 5"/>
            <p:cNvSpPr>
              <a:spLocks noChangeArrowheads="1"/>
            </p:cNvSpPr>
            <p:nvPr/>
          </p:nvSpPr>
          <p:spPr bwMode="auto">
            <a:xfrm>
              <a:off x="3429001" y="3025775"/>
              <a:ext cx="396875" cy="401638"/>
            </a:xfrm>
            <a:prstGeom prst="ellipse">
              <a:avLst/>
            </a:prstGeom>
            <a:grpFill/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3155951" y="3465513"/>
              <a:ext cx="942975" cy="454025"/>
            </a:xfrm>
            <a:custGeom>
              <a:avLst/>
              <a:gdLst>
                <a:gd name="T0" fmla="*/ 753 w 753"/>
                <a:gd name="T1" fmla="*/ 255 h 363"/>
                <a:gd name="T2" fmla="*/ 703 w 753"/>
                <a:gd name="T3" fmla="*/ 105 h 363"/>
                <a:gd name="T4" fmla="*/ 483 w 753"/>
                <a:gd name="T5" fmla="*/ 0 h 363"/>
                <a:gd name="T6" fmla="*/ 467 w 753"/>
                <a:gd name="T7" fmla="*/ 121 h 363"/>
                <a:gd name="T8" fmla="*/ 431 w 753"/>
                <a:gd name="T9" fmla="*/ 242 h 363"/>
                <a:gd name="T10" fmla="*/ 409 w 753"/>
                <a:gd name="T11" fmla="*/ 153 h 363"/>
                <a:gd name="T12" fmla="*/ 390 w 753"/>
                <a:gd name="T13" fmla="*/ 104 h 363"/>
                <a:gd name="T14" fmla="*/ 421 w 753"/>
                <a:gd name="T15" fmla="*/ 73 h 363"/>
                <a:gd name="T16" fmla="*/ 377 w 753"/>
                <a:gd name="T17" fmla="*/ 30 h 363"/>
                <a:gd name="T18" fmla="*/ 376 w 753"/>
                <a:gd name="T19" fmla="*/ 30 h 363"/>
                <a:gd name="T20" fmla="*/ 376 w 753"/>
                <a:gd name="T21" fmla="*/ 30 h 363"/>
                <a:gd name="T22" fmla="*/ 332 w 753"/>
                <a:gd name="T23" fmla="*/ 73 h 363"/>
                <a:gd name="T24" fmla="*/ 362 w 753"/>
                <a:gd name="T25" fmla="*/ 104 h 363"/>
                <a:gd name="T26" fmla="*/ 344 w 753"/>
                <a:gd name="T27" fmla="*/ 153 h 363"/>
                <a:gd name="T28" fmla="*/ 322 w 753"/>
                <a:gd name="T29" fmla="*/ 242 h 363"/>
                <a:gd name="T30" fmla="*/ 286 w 753"/>
                <a:gd name="T31" fmla="*/ 121 h 363"/>
                <a:gd name="T32" fmla="*/ 269 w 753"/>
                <a:gd name="T33" fmla="*/ 0 h 363"/>
                <a:gd name="T34" fmla="*/ 50 w 753"/>
                <a:gd name="T35" fmla="*/ 105 h 363"/>
                <a:gd name="T36" fmla="*/ 0 w 753"/>
                <a:gd name="T37" fmla="*/ 255 h 363"/>
                <a:gd name="T38" fmla="*/ 0 w 753"/>
                <a:gd name="T39" fmla="*/ 311 h 363"/>
                <a:gd name="T40" fmla="*/ 376 w 753"/>
                <a:gd name="T41" fmla="*/ 363 h 363"/>
                <a:gd name="T42" fmla="*/ 376 w 753"/>
                <a:gd name="T43" fmla="*/ 363 h 363"/>
                <a:gd name="T44" fmla="*/ 376 w 753"/>
                <a:gd name="T45" fmla="*/ 363 h 363"/>
                <a:gd name="T46" fmla="*/ 377 w 753"/>
                <a:gd name="T47" fmla="*/ 363 h 363"/>
                <a:gd name="T48" fmla="*/ 377 w 753"/>
                <a:gd name="T49" fmla="*/ 363 h 363"/>
                <a:gd name="T50" fmla="*/ 753 w 753"/>
                <a:gd name="T51" fmla="*/ 311 h 363"/>
                <a:gd name="T52" fmla="*/ 753 w 753"/>
                <a:gd name="T53" fmla="*/ 25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3" h="363">
                  <a:moveTo>
                    <a:pt x="753" y="255"/>
                  </a:moveTo>
                  <a:cubicBezTo>
                    <a:pt x="753" y="223"/>
                    <a:pt x="747" y="146"/>
                    <a:pt x="703" y="105"/>
                  </a:cubicBezTo>
                  <a:cubicBezTo>
                    <a:pt x="629" y="37"/>
                    <a:pt x="499" y="6"/>
                    <a:pt x="483" y="0"/>
                  </a:cubicBezTo>
                  <a:cubicBezTo>
                    <a:pt x="482" y="14"/>
                    <a:pt x="478" y="66"/>
                    <a:pt x="467" y="121"/>
                  </a:cubicBezTo>
                  <a:cubicBezTo>
                    <a:pt x="460" y="153"/>
                    <a:pt x="431" y="242"/>
                    <a:pt x="431" y="242"/>
                  </a:cubicBezTo>
                  <a:cubicBezTo>
                    <a:pt x="431" y="242"/>
                    <a:pt x="414" y="174"/>
                    <a:pt x="409" y="153"/>
                  </a:cubicBezTo>
                  <a:cubicBezTo>
                    <a:pt x="405" y="138"/>
                    <a:pt x="390" y="104"/>
                    <a:pt x="390" y="104"/>
                  </a:cubicBezTo>
                  <a:cubicBezTo>
                    <a:pt x="421" y="73"/>
                    <a:pt x="421" y="73"/>
                    <a:pt x="421" y="73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104"/>
                    <a:pt x="348" y="138"/>
                    <a:pt x="344" y="153"/>
                  </a:cubicBezTo>
                  <a:cubicBezTo>
                    <a:pt x="338" y="174"/>
                    <a:pt x="322" y="242"/>
                    <a:pt x="322" y="242"/>
                  </a:cubicBezTo>
                  <a:cubicBezTo>
                    <a:pt x="322" y="242"/>
                    <a:pt x="292" y="153"/>
                    <a:pt x="286" y="121"/>
                  </a:cubicBezTo>
                  <a:cubicBezTo>
                    <a:pt x="275" y="66"/>
                    <a:pt x="270" y="14"/>
                    <a:pt x="269" y="0"/>
                  </a:cubicBezTo>
                  <a:cubicBezTo>
                    <a:pt x="253" y="6"/>
                    <a:pt x="123" y="37"/>
                    <a:pt x="50" y="105"/>
                  </a:cubicBezTo>
                  <a:cubicBezTo>
                    <a:pt x="5" y="146"/>
                    <a:pt x="0" y="223"/>
                    <a:pt x="0" y="255"/>
                  </a:cubicBezTo>
                  <a:cubicBezTo>
                    <a:pt x="0" y="275"/>
                    <a:pt x="0" y="237"/>
                    <a:pt x="0" y="311"/>
                  </a:cubicBezTo>
                  <a:cubicBezTo>
                    <a:pt x="113" y="344"/>
                    <a:pt x="241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7" y="363"/>
                    <a:pt x="377" y="363"/>
                  </a:cubicBezTo>
                  <a:cubicBezTo>
                    <a:pt x="377" y="363"/>
                    <a:pt x="377" y="363"/>
                    <a:pt x="377" y="363"/>
                  </a:cubicBezTo>
                  <a:cubicBezTo>
                    <a:pt x="512" y="363"/>
                    <a:pt x="640" y="344"/>
                    <a:pt x="753" y="311"/>
                  </a:cubicBezTo>
                  <a:cubicBezTo>
                    <a:pt x="753" y="237"/>
                    <a:pt x="753" y="275"/>
                    <a:pt x="753" y="2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82" name="Rounded Rectangle 81"/>
          <p:cNvSpPr/>
          <p:nvPr/>
        </p:nvSpPr>
        <p:spPr>
          <a:xfrm>
            <a:off x="584202" y="3098548"/>
            <a:ext cx="1314448" cy="23758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709090" y="3147155"/>
            <a:ext cx="106467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>
                <a:solidFill>
                  <a:schemeClr val="bg1"/>
                </a:solidFill>
                <a:latin typeface="+mj-lt"/>
              </a:rPr>
              <a:t>Chief executive </a:t>
            </a:r>
          </a:p>
        </p:txBody>
      </p:sp>
      <p:grpSp>
        <p:nvGrpSpPr>
          <p:cNvPr id="94" name="Group 93"/>
          <p:cNvGrpSpPr/>
          <p:nvPr/>
        </p:nvGrpSpPr>
        <p:grpSpPr>
          <a:xfrm>
            <a:off x="2583299" y="2629136"/>
            <a:ext cx="569680" cy="539951"/>
            <a:chOff x="3155951" y="3025775"/>
            <a:chExt cx="942975" cy="893763"/>
          </a:xfrm>
          <a:solidFill>
            <a:schemeClr val="accent2"/>
          </a:solidFill>
        </p:grpSpPr>
        <p:sp>
          <p:nvSpPr>
            <p:cNvPr id="97" name="Oval 5"/>
            <p:cNvSpPr>
              <a:spLocks noChangeArrowheads="1"/>
            </p:cNvSpPr>
            <p:nvPr/>
          </p:nvSpPr>
          <p:spPr bwMode="auto">
            <a:xfrm>
              <a:off x="3429001" y="3025775"/>
              <a:ext cx="396875" cy="401638"/>
            </a:xfrm>
            <a:prstGeom prst="ellipse">
              <a:avLst/>
            </a:prstGeom>
            <a:grpFill/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8" name="Freeform 6"/>
            <p:cNvSpPr>
              <a:spLocks/>
            </p:cNvSpPr>
            <p:nvPr/>
          </p:nvSpPr>
          <p:spPr bwMode="auto">
            <a:xfrm>
              <a:off x="3155951" y="3465513"/>
              <a:ext cx="942975" cy="454025"/>
            </a:xfrm>
            <a:custGeom>
              <a:avLst/>
              <a:gdLst>
                <a:gd name="T0" fmla="*/ 753 w 753"/>
                <a:gd name="T1" fmla="*/ 255 h 363"/>
                <a:gd name="T2" fmla="*/ 703 w 753"/>
                <a:gd name="T3" fmla="*/ 105 h 363"/>
                <a:gd name="T4" fmla="*/ 483 w 753"/>
                <a:gd name="T5" fmla="*/ 0 h 363"/>
                <a:gd name="T6" fmla="*/ 467 w 753"/>
                <a:gd name="T7" fmla="*/ 121 h 363"/>
                <a:gd name="T8" fmla="*/ 431 w 753"/>
                <a:gd name="T9" fmla="*/ 242 h 363"/>
                <a:gd name="T10" fmla="*/ 409 w 753"/>
                <a:gd name="T11" fmla="*/ 153 h 363"/>
                <a:gd name="T12" fmla="*/ 390 w 753"/>
                <a:gd name="T13" fmla="*/ 104 h 363"/>
                <a:gd name="T14" fmla="*/ 421 w 753"/>
                <a:gd name="T15" fmla="*/ 73 h 363"/>
                <a:gd name="T16" fmla="*/ 377 w 753"/>
                <a:gd name="T17" fmla="*/ 30 h 363"/>
                <a:gd name="T18" fmla="*/ 376 w 753"/>
                <a:gd name="T19" fmla="*/ 30 h 363"/>
                <a:gd name="T20" fmla="*/ 376 w 753"/>
                <a:gd name="T21" fmla="*/ 30 h 363"/>
                <a:gd name="T22" fmla="*/ 332 w 753"/>
                <a:gd name="T23" fmla="*/ 73 h 363"/>
                <a:gd name="T24" fmla="*/ 362 w 753"/>
                <a:gd name="T25" fmla="*/ 104 h 363"/>
                <a:gd name="T26" fmla="*/ 344 w 753"/>
                <a:gd name="T27" fmla="*/ 153 h 363"/>
                <a:gd name="T28" fmla="*/ 322 w 753"/>
                <a:gd name="T29" fmla="*/ 242 h 363"/>
                <a:gd name="T30" fmla="*/ 286 w 753"/>
                <a:gd name="T31" fmla="*/ 121 h 363"/>
                <a:gd name="T32" fmla="*/ 269 w 753"/>
                <a:gd name="T33" fmla="*/ 0 h 363"/>
                <a:gd name="T34" fmla="*/ 50 w 753"/>
                <a:gd name="T35" fmla="*/ 105 h 363"/>
                <a:gd name="T36" fmla="*/ 0 w 753"/>
                <a:gd name="T37" fmla="*/ 255 h 363"/>
                <a:gd name="T38" fmla="*/ 0 w 753"/>
                <a:gd name="T39" fmla="*/ 311 h 363"/>
                <a:gd name="T40" fmla="*/ 376 w 753"/>
                <a:gd name="T41" fmla="*/ 363 h 363"/>
                <a:gd name="T42" fmla="*/ 376 w 753"/>
                <a:gd name="T43" fmla="*/ 363 h 363"/>
                <a:gd name="T44" fmla="*/ 376 w 753"/>
                <a:gd name="T45" fmla="*/ 363 h 363"/>
                <a:gd name="T46" fmla="*/ 377 w 753"/>
                <a:gd name="T47" fmla="*/ 363 h 363"/>
                <a:gd name="T48" fmla="*/ 377 w 753"/>
                <a:gd name="T49" fmla="*/ 363 h 363"/>
                <a:gd name="T50" fmla="*/ 753 w 753"/>
                <a:gd name="T51" fmla="*/ 311 h 363"/>
                <a:gd name="T52" fmla="*/ 753 w 753"/>
                <a:gd name="T53" fmla="*/ 25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3" h="363">
                  <a:moveTo>
                    <a:pt x="753" y="255"/>
                  </a:moveTo>
                  <a:cubicBezTo>
                    <a:pt x="753" y="223"/>
                    <a:pt x="747" y="146"/>
                    <a:pt x="703" y="105"/>
                  </a:cubicBezTo>
                  <a:cubicBezTo>
                    <a:pt x="629" y="37"/>
                    <a:pt x="499" y="6"/>
                    <a:pt x="483" y="0"/>
                  </a:cubicBezTo>
                  <a:cubicBezTo>
                    <a:pt x="482" y="14"/>
                    <a:pt x="478" y="66"/>
                    <a:pt x="467" y="121"/>
                  </a:cubicBezTo>
                  <a:cubicBezTo>
                    <a:pt x="460" y="153"/>
                    <a:pt x="431" y="242"/>
                    <a:pt x="431" y="242"/>
                  </a:cubicBezTo>
                  <a:cubicBezTo>
                    <a:pt x="431" y="242"/>
                    <a:pt x="414" y="174"/>
                    <a:pt x="409" y="153"/>
                  </a:cubicBezTo>
                  <a:cubicBezTo>
                    <a:pt x="405" y="138"/>
                    <a:pt x="390" y="104"/>
                    <a:pt x="390" y="104"/>
                  </a:cubicBezTo>
                  <a:cubicBezTo>
                    <a:pt x="421" y="73"/>
                    <a:pt x="421" y="73"/>
                    <a:pt x="421" y="73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104"/>
                    <a:pt x="348" y="138"/>
                    <a:pt x="344" y="153"/>
                  </a:cubicBezTo>
                  <a:cubicBezTo>
                    <a:pt x="338" y="174"/>
                    <a:pt x="322" y="242"/>
                    <a:pt x="322" y="242"/>
                  </a:cubicBezTo>
                  <a:cubicBezTo>
                    <a:pt x="322" y="242"/>
                    <a:pt x="292" y="153"/>
                    <a:pt x="286" y="121"/>
                  </a:cubicBezTo>
                  <a:cubicBezTo>
                    <a:pt x="275" y="66"/>
                    <a:pt x="270" y="14"/>
                    <a:pt x="269" y="0"/>
                  </a:cubicBezTo>
                  <a:cubicBezTo>
                    <a:pt x="253" y="6"/>
                    <a:pt x="123" y="37"/>
                    <a:pt x="50" y="105"/>
                  </a:cubicBezTo>
                  <a:cubicBezTo>
                    <a:pt x="5" y="146"/>
                    <a:pt x="0" y="223"/>
                    <a:pt x="0" y="255"/>
                  </a:cubicBezTo>
                  <a:cubicBezTo>
                    <a:pt x="0" y="275"/>
                    <a:pt x="0" y="237"/>
                    <a:pt x="0" y="311"/>
                  </a:cubicBezTo>
                  <a:cubicBezTo>
                    <a:pt x="113" y="344"/>
                    <a:pt x="241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7" y="363"/>
                    <a:pt x="377" y="363"/>
                  </a:cubicBezTo>
                  <a:cubicBezTo>
                    <a:pt x="377" y="363"/>
                    <a:pt x="377" y="363"/>
                    <a:pt x="377" y="363"/>
                  </a:cubicBezTo>
                  <a:cubicBezTo>
                    <a:pt x="512" y="363"/>
                    <a:pt x="640" y="344"/>
                    <a:pt x="753" y="311"/>
                  </a:cubicBezTo>
                  <a:cubicBezTo>
                    <a:pt x="753" y="237"/>
                    <a:pt x="753" y="275"/>
                    <a:pt x="753" y="2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95" name="Rounded Rectangle 94"/>
          <p:cNvSpPr/>
          <p:nvPr/>
        </p:nvSpPr>
        <p:spPr>
          <a:xfrm>
            <a:off x="2292990" y="3117071"/>
            <a:ext cx="1150298" cy="20053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447612" y="3147155"/>
            <a:ext cx="841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</a:rPr>
              <a:t>General Manager</a:t>
            </a:r>
          </a:p>
        </p:txBody>
      </p:sp>
      <p:grpSp>
        <p:nvGrpSpPr>
          <p:cNvPr id="107" name="Group 106"/>
          <p:cNvGrpSpPr/>
          <p:nvPr/>
        </p:nvGrpSpPr>
        <p:grpSpPr>
          <a:xfrm>
            <a:off x="4285572" y="2629136"/>
            <a:ext cx="569680" cy="539951"/>
            <a:chOff x="3155951" y="3025775"/>
            <a:chExt cx="942975" cy="893763"/>
          </a:xfrm>
          <a:solidFill>
            <a:schemeClr val="accent2"/>
          </a:solidFill>
        </p:grpSpPr>
        <p:sp>
          <p:nvSpPr>
            <p:cNvPr id="110" name="Oval 5"/>
            <p:cNvSpPr>
              <a:spLocks noChangeArrowheads="1"/>
            </p:cNvSpPr>
            <p:nvPr/>
          </p:nvSpPr>
          <p:spPr bwMode="auto">
            <a:xfrm>
              <a:off x="3429001" y="3025775"/>
              <a:ext cx="396875" cy="401638"/>
            </a:xfrm>
            <a:prstGeom prst="ellipse">
              <a:avLst/>
            </a:prstGeom>
            <a:grpFill/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1" name="Freeform 6"/>
            <p:cNvSpPr>
              <a:spLocks/>
            </p:cNvSpPr>
            <p:nvPr/>
          </p:nvSpPr>
          <p:spPr bwMode="auto">
            <a:xfrm>
              <a:off x="3155951" y="3465513"/>
              <a:ext cx="942975" cy="454025"/>
            </a:xfrm>
            <a:custGeom>
              <a:avLst/>
              <a:gdLst>
                <a:gd name="T0" fmla="*/ 753 w 753"/>
                <a:gd name="T1" fmla="*/ 255 h 363"/>
                <a:gd name="T2" fmla="*/ 703 w 753"/>
                <a:gd name="T3" fmla="*/ 105 h 363"/>
                <a:gd name="T4" fmla="*/ 483 w 753"/>
                <a:gd name="T5" fmla="*/ 0 h 363"/>
                <a:gd name="T6" fmla="*/ 467 w 753"/>
                <a:gd name="T7" fmla="*/ 121 h 363"/>
                <a:gd name="T8" fmla="*/ 431 w 753"/>
                <a:gd name="T9" fmla="*/ 242 h 363"/>
                <a:gd name="T10" fmla="*/ 409 w 753"/>
                <a:gd name="T11" fmla="*/ 153 h 363"/>
                <a:gd name="T12" fmla="*/ 390 w 753"/>
                <a:gd name="T13" fmla="*/ 104 h 363"/>
                <a:gd name="T14" fmla="*/ 421 w 753"/>
                <a:gd name="T15" fmla="*/ 73 h 363"/>
                <a:gd name="T16" fmla="*/ 377 w 753"/>
                <a:gd name="T17" fmla="*/ 30 h 363"/>
                <a:gd name="T18" fmla="*/ 376 w 753"/>
                <a:gd name="T19" fmla="*/ 30 h 363"/>
                <a:gd name="T20" fmla="*/ 376 w 753"/>
                <a:gd name="T21" fmla="*/ 30 h 363"/>
                <a:gd name="T22" fmla="*/ 332 w 753"/>
                <a:gd name="T23" fmla="*/ 73 h 363"/>
                <a:gd name="T24" fmla="*/ 362 w 753"/>
                <a:gd name="T25" fmla="*/ 104 h 363"/>
                <a:gd name="T26" fmla="*/ 344 w 753"/>
                <a:gd name="T27" fmla="*/ 153 h 363"/>
                <a:gd name="T28" fmla="*/ 322 w 753"/>
                <a:gd name="T29" fmla="*/ 242 h 363"/>
                <a:gd name="T30" fmla="*/ 286 w 753"/>
                <a:gd name="T31" fmla="*/ 121 h 363"/>
                <a:gd name="T32" fmla="*/ 269 w 753"/>
                <a:gd name="T33" fmla="*/ 0 h 363"/>
                <a:gd name="T34" fmla="*/ 50 w 753"/>
                <a:gd name="T35" fmla="*/ 105 h 363"/>
                <a:gd name="T36" fmla="*/ 0 w 753"/>
                <a:gd name="T37" fmla="*/ 255 h 363"/>
                <a:gd name="T38" fmla="*/ 0 w 753"/>
                <a:gd name="T39" fmla="*/ 311 h 363"/>
                <a:gd name="T40" fmla="*/ 376 w 753"/>
                <a:gd name="T41" fmla="*/ 363 h 363"/>
                <a:gd name="T42" fmla="*/ 376 w 753"/>
                <a:gd name="T43" fmla="*/ 363 h 363"/>
                <a:gd name="T44" fmla="*/ 376 w 753"/>
                <a:gd name="T45" fmla="*/ 363 h 363"/>
                <a:gd name="T46" fmla="*/ 377 w 753"/>
                <a:gd name="T47" fmla="*/ 363 h 363"/>
                <a:gd name="T48" fmla="*/ 377 w 753"/>
                <a:gd name="T49" fmla="*/ 363 h 363"/>
                <a:gd name="T50" fmla="*/ 753 w 753"/>
                <a:gd name="T51" fmla="*/ 311 h 363"/>
                <a:gd name="T52" fmla="*/ 753 w 753"/>
                <a:gd name="T53" fmla="*/ 25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3" h="363">
                  <a:moveTo>
                    <a:pt x="753" y="255"/>
                  </a:moveTo>
                  <a:cubicBezTo>
                    <a:pt x="753" y="223"/>
                    <a:pt x="747" y="146"/>
                    <a:pt x="703" y="105"/>
                  </a:cubicBezTo>
                  <a:cubicBezTo>
                    <a:pt x="629" y="37"/>
                    <a:pt x="499" y="6"/>
                    <a:pt x="483" y="0"/>
                  </a:cubicBezTo>
                  <a:cubicBezTo>
                    <a:pt x="482" y="14"/>
                    <a:pt x="478" y="66"/>
                    <a:pt x="467" y="121"/>
                  </a:cubicBezTo>
                  <a:cubicBezTo>
                    <a:pt x="460" y="153"/>
                    <a:pt x="431" y="242"/>
                    <a:pt x="431" y="242"/>
                  </a:cubicBezTo>
                  <a:cubicBezTo>
                    <a:pt x="431" y="242"/>
                    <a:pt x="414" y="174"/>
                    <a:pt x="409" y="153"/>
                  </a:cubicBezTo>
                  <a:cubicBezTo>
                    <a:pt x="405" y="138"/>
                    <a:pt x="390" y="104"/>
                    <a:pt x="390" y="104"/>
                  </a:cubicBezTo>
                  <a:cubicBezTo>
                    <a:pt x="421" y="73"/>
                    <a:pt x="421" y="73"/>
                    <a:pt x="421" y="73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104"/>
                    <a:pt x="348" y="138"/>
                    <a:pt x="344" y="153"/>
                  </a:cubicBezTo>
                  <a:cubicBezTo>
                    <a:pt x="338" y="174"/>
                    <a:pt x="322" y="242"/>
                    <a:pt x="322" y="242"/>
                  </a:cubicBezTo>
                  <a:cubicBezTo>
                    <a:pt x="322" y="242"/>
                    <a:pt x="292" y="153"/>
                    <a:pt x="286" y="121"/>
                  </a:cubicBezTo>
                  <a:cubicBezTo>
                    <a:pt x="275" y="66"/>
                    <a:pt x="270" y="14"/>
                    <a:pt x="269" y="0"/>
                  </a:cubicBezTo>
                  <a:cubicBezTo>
                    <a:pt x="253" y="6"/>
                    <a:pt x="123" y="37"/>
                    <a:pt x="50" y="105"/>
                  </a:cubicBezTo>
                  <a:cubicBezTo>
                    <a:pt x="5" y="146"/>
                    <a:pt x="0" y="223"/>
                    <a:pt x="0" y="255"/>
                  </a:cubicBezTo>
                  <a:cubicBezTo>
                    <a:pt x="0" y="275"/>
                    <a:pt x="0" y="237"/>
                    <a:pt x="0" y="311"/>
                  </a:cubicBezTo>
                  <a:cubicBezTo>
                    <a:pt x="113" y="344"/>
                    <a:pt x="241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7" y="363"/>
                    <a:pt x="377" y="363"/>
                  </a:cubicBezTo>
                  <a:cubicBezTo>
                    <a:pt x="377" y="363"/>
                    <a:pt x="377" y="363"/>
                    <a:pt x="377" y="363"/>
                  </a:cubicBezTo>
                  <a:cubicBezTo>
                    <a:pt x="512" y="363"/>
                    <a:pt x="640" y="344"/>
                    <a:pt x="753" y="311"/>
                  </a:cubicBezTo>
                  <a:cubicBezTo>
                    <a:pt x="753" y="237"/>
                    <a:pt x="753" y="275"/>
                    <a:pt x="753" y="2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08" name="Rounded Rectangle 107"/>
          <p:cNvSpPr/>
          <p:nvPr/>
        </p:nvSpPr>
        <p:spPr>
          <a:xfrm>
            <a:off x="3940174" y="3117071"/>
            <a:ext cx="1260476" cy="20053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54476" y="3147155"/>
            <a:ext cx="103187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</a:rPr>
              <a:t>Head of Design </a:t>
            </a:r>
          </a:p>
        </p:txBody>
      </p:sp>
      <p:grpSp>
        <p:nvGrpSpPr>
          <p:cNvPr id="113" name="Group 112"/>
          <p:cNvGrpSpPr/>
          <p:nvPr/>
        </p:nvGrpSpPr>
        <p:grpSpPr>
          <a:xfrm>
            <a:off x="4285572" y="3597778"/>
            <a:ext cx="569680" cy="539951"/>
            <a:chOff x="3155951" y="3025775"/>
            <a:chExt cx="942975" cy="893763"/>
          </a:xfrm>
          <a:solidFill>
            <a:schemeClr val="accent2"/>
          </a:solidFill>
        </p:grpSpPr>
        <p:sp>
          <p:nvSpPr>
            <p:cNvPr id="116" name="Oval 5"/>
            <p:cNvSpPr>
              <a:spLocks noChangeArrowheads="1"/>
            </p:cNvSpPr>
            <p:nvPr/>
          </p:nvSpPr>
          <p:spPr bwMode="auto">
            <a:xfrm>
              <a:off x="3429001" y="3025775"/>
              <a:ext cx="396875" cy="401638"/>
            </a:xfrm>
            <a:prstGeom prst="ellipse">
              <a:avLst/>
            </a:prstGeom>
            <a:grpFill/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7" name="Freeform 6"/>
            <p:cNvSpPr>
              <a:spLocks/>
            </p:cNvSpPr>
            <p:nvPr/>
          </p:nvSpPr>
          <p:spPr bwMode="auto">
            <a:xfrm>
              <a:off x="3155951" y="3465513"/>
              <a:ext cx="942975" cy="454025"/>
            </a:xfrm>
            <a:custGeom>
              <a:avLst/>
              <a:gdLst>
                <a:gd name="T0" fmla="*/ 753 w 753"/>
                <a:gd name="T1" fmla="*/ 255 h 363"/>
                <a:gd name="T2" fmla="*/ 703 w 753"/>
                <a:gd name="T3" fmla="*/ 105 h 363"/>
                <a:gd name="T4" fmla="*/ 483 w 753"/>
                <a:gd name="T5" fmla="*/ 0 h 363"/>
                <a:gd name="T6" fmla="*/ 467 w 753"/>
                <a:gd name="T7" fmla="*/ 121 h 363"/>
                <a:gd name="T8" fmla="*/ 431 w 753"/>
                <a:gd name="T9" fmla="*/ 242 h 363"/>
                <a:gd name="T10" fmla="*/ 409 w 753"/>
                <a:gd name="T11" fmla="*/ 153 h 363"/>
                <a:gd name="T12" fmla="*/ 390 w 753"/>
                <a:gd name="T13" fmla="*/ 104 h 363"/>
                <a:gd name="T14" fmla="*/ 421 w 753"/>
                <a:gd name="T15" fmla="*/ 73 h 363"/>
                <a:gd name="T16" fmla="*/ 377 w 753"/>
                <a:gd name="T17" fmla="*/ 30 h 363"/>
                <a:gd name="T18" fmla="*/ 376 w 753"/>
                <a:gd name="T19" fmla="*/ 30 h 363"/>
                <a:gd name="T20" fmla="*/ 376 w 753"/>
                <a:gd name="T21" fmla="*/ 30 h 363"/>
                <a:gd name="T22" fmla="*/ 332 w 753"/>
                <a:gd name="T23" fmla="*/ 73 h 363"/>
                <a:gd name="T24" fmla="*/ 362 w 753"/>
                <a:gd name="T25" fmla="*/ 104 h 363"/>
                <a:gd name="T26" fmla="*/ 344 w 753"/>
                <a:gd name="T27" fmla="*/ 153 h 363"/>
                <a:gd name="T28" fmla="*/ 322 w 753"/>
                <a:gd name="T29" fmla="*/ 242 h 363"/>
                <a:gd name="T30" fmla="*/ 286 w 753"/>
                <a:gd name="T31" fmla="*/ 121 h 363"/>
                <a:gd name="T32" fmla="*/ 269 w 753"/>
                <a:gd name="T33" fmla="*/ 0 h 363"/>
                <a:gd name="T34" fmla="*/ 50 w 753"/>
                <a:gd name="T35" fmla="*/ 105 h 363"/>
                <a:gd name="T36" fmla="*/ 0 w 753"/>
                <a:gd name="T37" fmla="*/ 255 h 363"/>
                <a:gd name="T38" fmla="*/ 0 w 753"/>
                <a:gd name="T39" fmla="*/ 311 h 363"/>
                <a:gd name="T40" fmla="*/ 376 w 753"/>
                <a:gd name="T41" fmla="*/ 363 h 363"/>
                <a:gd name="T42" fmla="*/ 376 w 753"/>
                <a:gd name="T43" fmla="*/ 363 h 363"/>
                <a:gd name="T44" fmla="*/ 376 w 753"/>
                <a:gd name="T45" fmla="*/ 363 h 363"/>
                <a:gd name="T46" fmla="*/ 377 w 753"/>
                <a:gd name="T47" fmla="*/ 363 h 363"/>
                <a:gd name="T48" fmla="*/ 377 w 753"/>
                <a:gd name="T49" fmla="*/ 363 h 363"/>
                <a:gd name="T50" fmla="*/ 753 w 753"/>
                <a:gd name="T51" fmla="*/ 311 h 363"/>
                <a:gd name="T52" fmla="*/ 753 w 753"/>
                <a:gd name="T53" fmla="*/ 25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3" h="363">
                  <a:moveTo>
                    <a:pt x="753" y="255"/>
                  </a:moveTo>
                  <a:cubicBezTo>
                    <a:pt x="753" y="223"/>
                    <a:pt x="747" y="146"/>
                    <a:pt x="703" y="105"/>
                  </a:cubicBezTo>
                  <a:cubicBezTo>
                    <a:pt x="629" y="37"/>
                    <a:pt x="499" y="6"/>
                    <a:pt x="483" y="0"/>
                  </a:cubicBezTo>
                  <a:cubicBezTo>
                    <a:pt x="482" y="14"/>
                    <a:pt x="478" y="66"/>
                    <a:pt x="467" y="121"/>
                  </a:cubicBezTo>
                  <a:cubicBezTo>
                    <a:pt x="460" y="153"/>
                    <a:pt x="431" y="242"/>
                    <a:pt x="431" y="242"/>
                  </a:cubicBezTo>
                  <a:cubicBezTo>
                    <a:pt x="431" y="242"/>
                    <a:pt x="414" y="174"/>
                    <a:pt x="409" y="153"/>
                  </a:cubicBezTo>
                  <a:cubicBezTo>
                    <a:pt x="405" y="138"/>
                    <a:pt x="390" y="104"/>
                    <a:pt x="390" y="104"/>
                  </a:cubicBezTo>
                  <a:cubicBezTo>
                    <a:pt x="421" y="73"/>
                    <a:pt x="421" y="73"/>
                    <a:pt x="421" y="73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104"/>
                    <a:pt x="348" y="138"/>
                    <a:pt x="344" y="153"/>
                  </a:cubicBezTo>
                  <a:cubicBezTo>
                    <a:pt x="338" y="174"/>
                    <a:pt x="322" y="242"/>
                    <a:pt x="322" y="242"/>
                  </a:cubicBezTo>
                  <a:cubicBezTo>
                    <a:pt x="322" y="242"/>
                    <a:pt x="292" y="153"/>
                    <a:pt x="286" y="121"/>
                  </a:cubicBezTo>
                  <a:cubicBezTo>
                    <a:pt x="275" y="66"/>
                    <a:pt x="270" y="14"/>
                    <a:pt x="269" y="0"/>
                  </a:cubicBezTo>
                  <a:cubicBezTo>
                    <a:pt x="253" y="6"/>
                    <a:pt x="123" y="37"/>
                    <a:pt x="50" y="105"/>
                  </a:cubicBezTo>
                  <a:cubicBezTo>
                    <a:pt x="5" y="146"/>
                    <a:pt x="0" y="223"/>
                    <a:pt x="0" y="255"/>
                  </a:cubicBezTo>
                  <a:cubicBezTo>
                    <a:pt x="0" y="275"/>
                    <a:pt x="0" y="237"/>
                    <a:pt x="0" y="311"/>
                  </a:cubicBezTo>
                  <a:cubicBezTo>
                    <a:pt x="113" y="344"/>
                    <a:pt x="241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7" y="363"/>
                    <a:pt x="377" y="363"/>
                  </a:cubicBezTo>
                  <a:cubicBezTo>
                    <a:pt x="377" y="363"/>
                    <a:pt x="377" y="363"/>
                    <a:pt x="377" y="363"/>
                  </a:cubicBezTo>
                  <a:cubicBezTo>
                    <a:pt x="512" y="363"/>
                    <a:pt x="640" y="344"/>
                    <a:pt x="753" y="311"/>
                  </a:cubicBezTo>
                  <a:cubicBezTo>
                    <a:pt x="753" y="237"/>
                    <a:pt x="753" y="275"/>
                    <a:pt x="753" y="2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14" name="Rounded Rectangle 113"/>
          <p:cNvSpPr/>
          <p:nvPr/>
        </p:nvSpPr>
        <p:spPr>
          <a:xfrm>
            <a:off x="3995263" y="4085713"/>
            <a:ext cx="1150298" cy="20053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149885" y="4115797"/>
            <a:ext cx="841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</a:rPr>
              <a:t>Finance Manager</a:t>
            </a:r>
          </a:p>
        </p:txBody>
      </p:sp>
      <p:grpSp>
        <p:nvGrpSpPr>
          <p:cNvPr id="128" name="Group 127"/>
          <p:cNvGrpSpPr/>
          <p:nvPr/>
        </p:nvGrpSpPr>
        <p:grpSpPr>
          <a:xfrm>
            <a:off x="6347017" y="2731029"/>
            <a:ext cx="1217076" cy="450206"/>
            <a:chOff x="5697536" y="2599630"/>
            <a:chExt cx="1453073" cy="537503"/>
          </a:xfrm>
        </p:grpSpPr>
        <p:grpSp>
          <p:nvGrpSpPr>
            <p:cNvPr id="119" name="Group 118"/>
            <p:cNvGrpSpPr/>
            <p:nvPr/>
          </p:nvGrpSpPr>
          <p:grpSpPr>
            <a:xfrm>
              <a:off x="6140523" y="2599630"/>
              <a:ext cx="567098" cy="537503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20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21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22" name="Group 121"/>
            <p:cNvGrpSpPr/>
            <p:nvPr/>
          </p:nvGrpSpPr>
          <p:grpSpPr>
            <a:xfrm>
              <a:off x="6739086" y="2722741"/>
              <a:ext cx="411523" cy="390047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23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24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>
              <a:off x="5697536" y="2722741"/>
              <a:ext cx="411523" cy="390047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26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27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cxnSp>
        <p:nvCxnSpPr>
          <p:cNvPr id="130" name="Elbow Connector 129"/>
          <p:cNvCxnSpPr>
            <a:stCxn id="95" idx="3"/>
            <a:endCxn id="102" idx="1"/>
          </p:cNvCxnSpPr>
          <p:nvPr/>
        </p:nvCxnSpPr>
        <p:spPr>
          <a:xfrm flipV="1">
            <a:off x="3443288" y="2131254"/>
            <a:ext cx="551975" cy="1086086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>
            <a:stCxn id="95" idx="3"/>
            <a:endCxn id="114" idx="1"/>
          </p:cNvCxnSpPr>
          <p:nvPr/>
        </p:nvCxnSpPr>
        <p:spPr>
          <a:xfrm>
            <a:off x="3443288" y="3217340"/>
            <a:ext cx="551975" cy="968642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stCxn id="95" idx="3"/>
            <a:endCxn id="108" idx="1"/>
          </p:cNvCxnSpPr>
          <p:nvPr/>
        </p:nvCxnSpPr>
        <p:spPr>
          <a:xfrm>
            <a:off x="3443288" y="3217340"/>
            <a:ext cx="49688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stCxn id="82" idx="3"/>
            <a:endCxn id="95" idx="1"/>
          </p:cNvCxnSpPr>
          <p:nvPr/>
        </p:nvCxnSpPr>
        <p:spPr>
          <a:xfrm>
            <a:off x="1898650" y="3217340"/>
            <a:ext cx="39434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ounded Rectangle 140"/>
          <p:cNvSpPr/>
          <p:nvPr/>
        </p:nvSpPr>
        <p:spPr>
          <a:xfrm>
            <a:off x="6172047" y="3117071"/>
            <a:ext cx="1567016" cy="20053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6183954" y="3147155"/>
            <a:ext cx="15432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</a:rPr>
              <a:t>Design &amp; Development Team</a:t>
            </a:r>
          </a:p>
        </p:txBody>
      </p:sp>
      <p:cxnSp>
        <p:nvCxnSpPr>
          <p:cNvPr id="144" name="Straight Connector 143"/>
          <p:cNvCxnSpPr>
            <a:stCxn id="108" idx="3"/>
            <a:endCxn id="141" idx="1"/>
          </p:cNvCxnSpPr>
          <p:nvPr/>
        </p:nvCxnSpPr>
        <p:spPr>
          <a:xfrm>
            <a:off x="5200650" y="3217340"/>
            <a:ext cx="97139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2" name="Group 151"/>
          <p:cNvGrpSpPr/>
          <p:nvPr/>
        </p:nvGrpSpPr>
        <p:grpSpPr>
          <a:xfrm>
            <a:off x="6347017" y="1643063"/>
            <a:ext cx="1217076" cy="450206"/>
            <a:chOff x="5697536" y="2599630"/>
            <a:chExt cx="1453073" cy="537503"/>
          </a:xfrm>
        </p:grpSpPr>
        <p:grpSp>
          <p:nvGrpSpPr>
            <p:cNvPr id="153" name="Group 152"/>
            <p:cNvGrpSpPr/>
            <p:nvPr/>
          </p:nvGrpSpPr>
          <p:grpSpPr>
            <a:xfrm>
              <a:off x="6140523" y="2599630"/>
              <a:ext cx="567098" cy="537503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60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61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>
              <a:off x="6739086" y="2722741"/>
              <a:ext cx="411523" cy="390047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58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59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>
              <a:off x="5697536" y="2722741"/>
              <a:ext cx="411523" cy="390047"/>
              <a:chOff x="3155951" y="3025775"/>
              <a:chExt cx="942975" cy="893763"/>
            </a:xfrm>
            <a:solidFill>
              <a:schemeClr val="accent2"/>
            </a:solidFill>
          </p:grpSpPr>
          <p:sp>
            <p:nvSpPr>
              <p:cNvPr id="156" name="Oval 5"/>
              <p:cNvSpPr>
                <a:spLocks noChangeArrowheads="1"/>
              </p:cNvSpPr>
              <p:nvPr/>
            </p:nvSpPr>
            <p:spPr bwMode="auto">
              <a:xfrm>
                <a:off x="3429001" y="3025775"/>
                <a:ext cx="396875" cy="401638"/>
              </a:xfrm>
              <a:prstGeom prst="ellipse">
                <a:avLst/>
              </a:prstGeom>
              <a:grpFill/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57" name="Freeform 6"/>
              <p:cNvSpPr>
                <a:spLocks/>
              </p:cNvSpPr>
              <p:nvPr/>
            </p:nvSpPr>
            <p:spPr bwMode="auto">
              <a:xfrm>
                <a:off x="3155951" y="3465513"/>
                <a:ext cx="942975" cy="454025"/>
              </a:xfrm>
              <a:custGeom>
                <a:avLst/>
                <a:gdLst>
                  <a:gd name="T0" fmla="*/ 753 w 753"/>
                  <a:gd name="T1" fmla="*/ 255 h 363"/>
                  <a:gd name="T2" fmla="*/ 703 w 753"/>
                  <a:gd name="T3" fmla="*/ 105 h 363"/>
                  <a:gd name="T4" fmla="*/ 483 w 753"/>
                  <a:gd name="T5" fmla="*/ 0 h 363"/>
                  <a:gd name="T6" fmla="*/ 467 w 753"/>
                  <a:gd name="T7" fmla="*/ 121 h 363"/>
                  <a:gd name="T8" fmla="*/ 431 w 753"/>
                  <a:gd name="T9" fmla="*/ 242 h 363"/>
                  <a:gd name="T10" fmla="*/ 409 w 753"/>
                  <a:gd name="T11" fmla="*/ 153 h 363"/>
                  <a:gd name="T12" fmla="*/ 390 w 753"/>
                  <a:gd name="T13" fmla="*/ 104 h 363"/>
                  <a:gd name="T14" fmla="*/ 421 w 753"/>
                  <a:gd name="T15" fmla="*/ 73 h 363"/>
                  <a:gd name="T16" fmla="*/ 377 w 753"/>
                  <a:gd name="T17" fmla="*/ 30 h 363"/>
                  <a:gd name="T18" fmla="*/ 376 w 753"/>
                  <a:gd name="T19" fmla="*/ 30 h 363"/>
                  <a:gd name="T20" fmla="*/ 376 w 753"/>
                  <a:gd name="T21" fmla="*/ 30 h 363"/>
                  <a:gd name="T22" fmla="*/ 332 w 753"/>
                  <a:gd name="T23" fmla="*/ 73 h 363"/>
                  <a:gd name="T24" fmla="*/ 362 w 753"/>
                  <a:gd name="T25" fmla="*/ 104 h 363"/>
                  <a:gd name="T26" fmla="*/ 344 w 753"/>
                  <a:gd name="T27" fmla="*/ 153 h 363"/>
                  <a:gd name="T28" fmla="*/ 322 w 753"/>
                  <a:gd name="T29" fmla="*/ 242 h 363"/>
                  <a:gd name="T30" fmla="*/ 286 w 753"/>
                  <a:gd name="T31" fmla="*/ 121 h 363"/>
                  <a:gd name="T32" fmla="*/ 269 w 753"/>
                  <a:gd name="T33" fmla="*/ 0 h 363"/>
                  <a:gd name="T34" fmla="*/ 50 w 753"/>
                  <a:gd name="T35" fmla="*/ 105 h 363"/>
                  <a:gd name="T36" fmla="*/ 0 w 753"/>
                  <a:gd name="T37" fmla="*/ 255 h 363"/>
                  <a:gd name="T38" fmla="*/ 0 w 753"/>
                  <a:gd name="T39" fmla="*/ 311 h 363"/>
                  <a:gd name="T40" fmla="*/ 376 w 753"/>
                  <a:gd name="T41" fmla="*/ 363 h 363"/>
                  <a:gd name="T42" fmla="*/ 376 w 753"/>
                  <a:gd name="T43" fmla="*/ 363 h 363"/>
                  <a:gd name="T44" fmla="*/ 376 w 753"/>
                  <a:gd name="T45" fmla="*/ 363 h 363"/>
                  <a:gd name="T46" fmla="*/ 377 w 753"/>
                  <a:gd name="T47" fmla="*/ 363 h 363"/>
                  <a:gd name="T48" fmla="*/ 377 w 753"/>
                  <a:gd name="T49" fmla="*/ 363 h 363"/>
                  <a:gd name="T50" fmla="*/ 753 w 753"/>
                  <a:gd name="T51" fmla="*/ 311 h 363"/>
                  <a:gd name="T52" fmla="*/ 753 w 753"/>
                  <a:gd name="T53" fmla="*/ 25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3" h="363">
                    <a:moveTo>
                      <a:pt x="753" y="255"/>
                    </a:moveTo>
                    <a:cubicBezTo>
                      <a:pt x="753" y="223"/>
                      <a:pt x="747" y="146"/>
                      <a:pt x="703" y="105"/>
                    </a:cubicBezTo>
                    <a:cubicBezTo>
                      <a:pt x="629" y="37"/>
                      <a:pt x="499" y="6"/>
                      <a:pt x="483" y="0"/>
                    </a:cubicBezTo>
                    <a:cubicBezTo>
                      <a:pt x="482" y="14"/>
                      <a:pt x="478" y="66"/>
                      <a:pt x="467" y="121"/>
                    </a:cubicBezTo>
                    <a:cubicBezTo>
                      <a:pt x="460" y="153"/>
                      <a:pt x="431" y="242"/>
                      <a:pt x="431" y="242"/>
                    </a:cubicBezTo>
                    <a:cubicBezTo>
                      <a:pt x="431" y="242"/>
                      <a:pt x="414" y="174"/>
                      <a:pt x="409" y="153"/>
                    </a:cubicBezTo>
                    <a:cubicBezTo>
                      <a:pt x="405" y="138"/>
                      <a:pt x="390" y="104"/>
                      <a:pt x="390" y="104"/>
                    </a:cubicBezTo>
                    <a:cubicBezTo>
                      <a:pt x="421" y="73"/>
                      <a:pt x="421" y="73"/>
                      <a:pt x="421" y="73"/>
                    </a:cubicBezTo>
                    <a:cubicBezTo>
                      <a:pt x="377" y="30"/>
                      <a:pt x="377" y="30"/>
                      <a:pt x="377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32" y="73"/>
                      <a:pt x="332" y="73"/>
                      <a:pt x="332" y="73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2" y="104"/>
                      <a:pt x="348" y="138"/>
                      <a:pt x="344" y="153"/>
                    </a:cubicBezTo>
                    <a:cubicBezTo>
                      <a:pt x="338" y="174"/>
                      <a:pt x="322" y="242"/>
                      <a:pt x="322" y="242"/>
                    </a:cubicBezTo>
                    <a:cubicBezTo>
                      <a:pt x="322" y="242"/>
                      <a:pt x="292" y="153"/>
                      <a:pt x="286" y="121"/>
                    </a:cubicBezTo>
                    <a:cubicBezTo>
                      <a:pt x="275" y="66"/>
                      <a:pt x="270" y="14"/>
                      <a:pt x="269" y="0"/>
                    </a:cubicBezTo>
                    <a:cubicBezTo>
                      <a:pt x="253" y="6"/>
                      <a:pt x="123" y="37"/>
                      <a:pt x="50" y="105"/>
                    </a:cubicBezTo>
                    <a:cubicBezTo>
                      <a:pt x="5" y="146"/>
                      <a:pt x="0" y="223"/>
                      <a:pt x="0" y="255"/>
                    </a:cubicBezTo>
                    <a:cubicBezTo>
                      <a:pt x="0" y="275"/>
                      <a:pt x="0" y="237"/>
                      <a:pt x="0" y="311"/>
                    </a:cubicBezTo>
                    <a:cubicBezTo>
                      <a:pt x="113" y="344"/>
                      <a:pt x="241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6" y="363"/>
                      <a:pt x="376" y="363"/>
                    </a:cubicBezTo>
                    <a:cubicBezTo>
                      <a:pt x="376" y="363"/>
                      <a:pt x="377" y="363"/>
                      <a:pt x="377" y="363"/>
                    </a:cubicBezTo>
                    <a:cubicBezTo>
                      <a:pt x="377" y="363"/>
                      <a:pt x="377" y="363"/>
                      <a:pt x="377" y="363"/>
                    </a:cubicBezTo>
                    <a:cubicBezTo>
                      <a:pt x="512" y="363"/>
                      <a:pt x="640" y="344"/>
                      <a:pt x="753" y="311"/>
                    </a:cubicBezTo>
                    <a:cubicBezTo>
                      <a:pt x="753" y="237"/>
                      <a:pt x="753" y="275"/>
                      <a:pt x="753" y="2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sp>
        <p:nvSpPr>
          <p:cNvPr id="162" name="Rounded Rectangle 161"/>
          <p:cNvSpPr/>
          <p:nvPr/>
        </p:nvSpPr>
        <p:spPr>
          <a:xfrm>
            <a:off x="6172047" y="2029105"/>
            <a:ext cx="1567016" cy="20053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6183954" y="2059189"/>
            <a:ext cx="15432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latin typeface="+mj-lt"/>
              </a:rPr>
              <a:t>Social Marketing Team</a:t>
            </a:r>
          </a:p>
        </p:txBody>
      </p:sp>
      <p:cxnSp>
        <p:nvCxnSpPr>
          <p:cNvPr id="165" name="Straight Connector 164"/>
          <p:cNvCxnSpPr>
            <a:stCxn id="102" idx="3"/>
            <a:endCxn id="162" idx="1"/>
          </p:cNvCxnSpPr>
          <p:nvPr/>
        </p:nvCxnSpPr>
        <p:spPr>
          <a:xfrm flipV="1">
            <a:off x="5145561" y="2129374"/>
            <a:ext cx="1026486" cy="188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1151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0" name="Elbow Connector 149"/>
          <p:cNvCxnSpPr>
            <a:stCxn id="35" idx="1"/>
            <a:endCxn id="59" idx="1"/>
          </p:cNvCxnSpPr>
          <p:nvPr/>
        </p:nvCxnSpPr>
        <p:spPr>
          <a:xfrm rot="10800000" flipV="1">
            <a:off x="2385061" y="3073929"/>
            <a:ext cx="4445" cy="541601"/>
          </a:xfrm>
          <a:prstGeom prst="bentConnector3">
            <a:avLst>
              <a:gd name="adj1" fmla="val 2189291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Elbow Connector 151"/>
          <p:cNvCxnSpPr>
            <a:stCxn id="59" idx="1"/>
            <a:endCxn id="119" idx="1"/>
          </p:cNvCxnSpPr>
          <p:nvPr/>
        </p:nvCxnSpPr>
        <p:spPr>
          <a:xfrm rot="10800000" flipV="1">
            <a:off x="2385060" y="3615530"/>
            <a:ext cx="12700" cy="474621"/>
          </a:xfrm>
          <a:prstGeom prst="bentConnector3">
            <a:avLst>
              <a:gd name="adj1" fmla="val 825000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Elbow Connector 164"/>
          <p:cNvCxnSpPr>
            <a:stCxn id="16" idx="1"/>
            <a:endCxn id="53" idx="1"/>
          </p:cNvCxnSpPr>
          <p:nvPr/>
        </p:nvCxnSpPr>
        <p:spPr>
          <a:xfrm rot="10800000" flipV="1">
            <a:off x="762635" y="3073929"/>
            <a:ext cx="12700" cy="541601"/>
          </a:xfrm>
          <a:prstGeom prst="bentConnector3">
            <a:avLst>
              <a:gd name="adj1" fmla="val 900000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Elbow Connector 165"/>
          <p:cNvCxnSpPr>
            <a:stCxn id="53" idx="1"/>
            <a:endCxn id="116" idx="1"/>
          </p:cNvCxnSpPr>
          <p:nvPr/>
        </p:nvCxnSpPr>
        <p:spPr>
          <a:xfrm rot="10800000" flipV="1">
            <a:off x="762635" y="3615530"/>
            <a:ext cx="12700" cy="474621"/>
          </a:xfrm>
          <a:prstGeom prst="bentConnector3">
            <a:avLst>
              <a:gd name="adj1" fmla="val 900000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Elbow Connector 176"/>
          <p:cNvCxnSpPr/>
          <p:nvPr/>
        </p:nvCxnSpPr>
        <p:spPr>
          <a:xfrm rot="10800000" flipV="1">
            <a:off x="4015212" y="3073929"/>
            <a:ext cx="4445" cy="541601"/>
          </a:xfrm>
          <a:prstGeom prst="bentConnector3">
            <a:avLst>
              <a:gd name="adj1" fmla="val 2189291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Elbow Connector 178"/>
          <p:cNvCxnSpPr/>
          <p:nvPr/>
        </p:nvCxnSpPr>
        <p:spPr>
          <a:xfrm rot="10800000" flipV="1">
            <a:off x="7265882" y="3073929"/>
            <a:ext cx="4445" cy="541601"/>
          </a:xfrm>
          <a:prstGeom prst="bentConnector3">
            <a:avLst>
              <a:gd name="adj1" fmla="val 2189291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Elbow Connector 179"/>
          <p:cNvCxnSpPr/>
          <p:nvPr/>
        </p:nvCxnSpPr>
        <p:spPr>
          <a:xfrm rot="10800000" flipV="1">
            <a:off x="7265881" y="3615530"/>
            <a:ext cx="12700" cy="474621"/>
          </a:xfrm>
          <a:prstGeom prst="bentConnector3">
            <a:avLst>
              <a:gd name="adj1" fmla="val 825000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Elbow Connector 180"/>
          <p:cNvCxnSpPr/>
          <p:nvPr/>
        </p:nvCxnSpPr>
        <p:spPr>
          <a:xfrm rot="10800000" flipV="1">
            <a:off x="5641605" y="3073929"/>
            <a:ext cx="4445" cy="541601"/>
          </a:xfrm>
          <a:prstGeom prst="bentConnector3">
            <a:avLst>
              <a:gd name="adj1" fmla="val 2189291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Big brand </a:t>
            </a:r>
            <a:r>
              <a:rPr lang="en-US">
                <a:solidFill>
                  <a:schemeClr val="accent2"/>
                </a:solidFill>
              </a:rPr>
              <a:t>organizational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3911248" y="1620670"/>
            <a:ext cx="1321505" cy="22542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21415" y="1650026"/>
            <a:ext cx="901170" cy="15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900" b="1" cap="all" spc="20">
                <a:solidFill>
                  <a:schemeClr val="bg1"/>
                </a:solidFill>
                <a:latin typeface="+mj-lt"/>
              </a:rPr>
              <a:t>chairman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016375" y="2351087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21414" y="2380443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General Director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762635" y="2874435"/>
            <a:ext cx="1111250" cy="39899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67675" y="2927324"/>
            <a:ext cx="901170" cy="2687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1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Finance &amp; Administration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2389505" y="2874435"/>
            <a:ext cx="1111250" cy="39899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94545" y="2927324"/>
            <a:ext cx="901170" cy="270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1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Marketing &amp; Business Dev.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016375" y="2874435"/>
            <a:ext cx="1111250" cy="39899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121415" y="2927324"/>
            <a:ext cx="901170" cy="270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1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Domestic/ Internal Division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5643245" y="2874435"/>
            <a:ext cx="1111250" cy="39899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748285" y="2927324"/>
            <a:ext cx="901170" cy="270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1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Logistic Services Department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7270115" y="2874435"/>
            <a:ext cx="1111250" cy="39899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375155" y="2927324"/>
            <a:ext cx="901170" cy="270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1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Procurement Department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762635" y="3502818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67674" y="3532174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Finance Manager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2385060" y="3502818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490099" y="3532174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Marketing Team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4007485" y="3502818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112524" y="3532174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General Director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5629910" y="3502818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734949" y="3532174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Logistic Manager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7252335" y="3502818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7357374" y="3532174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Proc. Manager</a:t>
            </a:r>
          </a:p>
        </p:txBody>
      </p:sp>
      <p:sp>
        <p:nvSpPr>
          <p:cNvPr id="116" name="Rounded Rectangle 115"/>
          <p:cNvSpPr/>
          <p:nvPr/>
        </p:nvSpPr>
        <p:spPr>
          <a:xfrm>
            <a:off x="762635" y="3977439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67674" y="4006795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Administrative</a:t>
            </a:r>
          </a:p>
        </p:txBody>
      </p:sp>
      <p:sp>
        <p:nvSpPr>
          <p:cNvPr id="119" name="Rounded Rectangle 118"/>
          <p:cNvSpPr/>
          <p:nvPr/>
        </p:nvSpPr>
        <p:spPr>
          <a:xfrm>
            <a:off x="2385060" y="3977439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490099" y="4006795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Online Marketers</a:t>
            </a:r>
          </a:p>
        </p:txBody>
      </p:sp>
      <p:sp>
        <p:nvSpPr>
          <p:cNvPr id="125" name="Rounded Rectangle 124"/>
          <p:cNvSpPr/>
          <p:nvPr/>
        </p:nvSpPr>
        <p:spPr>
          <a:xfrm>
            <a:off x="5629910" y="3977439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734949" y="4006795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Logistic Officer</a:t>
            </a:r>
          </a:p>
        </p:txBody>
      </p:sp>
      <p:sp>
        <p:nvSpPr>
          <p:cNvPr id="128" name="Rounded Rectangle 127"/>
          <p:cNvSpPr/>
          <p:nvPr/>
        </p:nvSpPr>
        <p:spPr>
          <a:xfrm>
            <a:off x="7252335" y="3977439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7357374" y="4006795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Proc. Team</a:t>
            </a:r>
          </a:p>
        </p:txBody>
      </p:sp>
      <p:cxnSp>
        <p:nvCxnSpPr>
          <p:cNvPr id="132" name="Straight Connector 131"/>
          <p:cNvCxnSpPr>
            <a:stCxn id="4" idx="2"/>
          </p:cNvCxnSpPr>
          <p:nvPr/>
        </p:nvCxnSpPr>
        <p:spPr>
          <a:xfrm>
            <a:off x="4572001" y="1846095"/>
            <a:ext cx="0" cy="25104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133"/>
          <p:cNvCxnSpPr>
            <a:stCxn id="13" idx="2"/>
            <a:endCxn id="16" idx="0"/>
          </p:cNvCxnSpPr>
          <p:nvPr/>
        </p:nvCxnSpPr>
        <p:spPr>
          <a:xfrm rot="5400000">
            <a:off x="2796169" y="1098603"/>
            <a:ext cx="297923" cy="325374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Elbow Connector 135"/>
          <p:cNvCxnSpPr>
            <a:stCxn id="13" idx="2"/>
            <a:endCxn id="35" idx="0"/>
          </p:cNvCxnSpPr>
          <p:nvPr/>
        </p:nvCxnSpPr>
        <p:spPr>
          <a:xfrm rot="5400000">
            <a:off x="3609604" y="1912038"/>
            <a:ext cx="297923" cy="1626870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137"/>
          <p:cNvCxnSpPr>
            <a:stCxn id="13" idx="2"/>
            <a:endCxn id="41" idx="0"/>
          </p:cNvCxnSpPr>
          <p:nvPr/>
        </p:nvCxnSpPr>
        <p:spPr>
          <a:xfrm rot="16200000" flipH="1">
            <a:off x="5236474" y="1912038"/>
            <a:ext cx="297923" cy="1626870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Elbow Connector 141"/>
          <p:cNvCxnSpPr>
            <a:stCxn id="47" idx="0"/>
            <a:endCxn id="13" idx="2"/>
          </p:cNvCxnSpPr>
          <p:nvPr/>
        </p:nvCxnSpPr>
        <p:spPr>
          <a:xfrm rot="16200000" flipV="1">
            <a:off x="6049909" y="1098604"/>
            <a:ext cx="297923" cy="3253740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>
            <a:stCxn id="38" idx="0"/>
            <a:endCxn id="13" idx="2"/>
          </p:cNvCxnSpPr>
          <p:nvPr/>
        </p:nvCxnSpPr>
        <p:spPr>
          <a:xfrm flipV="1">
            <a:off x="4572000" y="2576512"/>
            <a:ext cx="0" cy="29792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>
            <a:stCxn id="77" idx="2"/>
            <a:endCxn id="125" idx="0"/>
          </p:cNvCxnSpPr>
          <p:nvPr/>
        </p:nvCxnSpPr>
        <p:spPr>
          <a:xfrm>
            <a:off x="6185535" y="3728243"/>
            <a:ext cx="0" cy="249196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ounded Rectangle 197"/>
          <p:cNvSpPr/>
          <p:nvPr/>
        </p:nvSpPr>
        <p:spPr>
          <a:xfrm>
            <a:off x="5524869" y="1984423"/>
            <a:ext cx="1111250" cy="2254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5629908" y="2013779"/>
            <a:ext cx="901170" cy="148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800" b="1">
                <a:solidFill>
                  <a:schemeClr val="bg1"/>
                </a:solidFill>
                <a:latin typeface="+mj-lt"/>
              </a:rPr>
              <a:t>Business Advisor</a:t>
            </a:r>
          </a:p>
        </p:txBody>
      </p:sp>
      <p:cxnSp>
        <p:nvCxnSpPr>
          <p:cNvPr id="201" name="Straight Connector 200"/>
          <p:cNvCxnSpPr>
            <a:endCxn id="198" idx="1"/>
          </p:cNvCxnSpPr>
          <p:nvPr/>
        </p:nvCxnSpPr>
        <p:spPr>
          <a:xfrm>
            <a:off x="4570412" y="2097136"/>
            <a:ext cx="95445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" name="Group 206"/>
          <p:cNvGrpSpPr/>
          <p:nvPr/>
        </p:nvGrpSpPr>
        <p:grpSpPr>
          <a:xfrm>
            <a:off x="582834" y="1579024"/>
            <a:ext cx="450099" cy="426610"/>
            <a:chOff x="3155951" y="3025775"/>
            <a:chExt cx="942975" cy="893763"/>
          </a:xfrm>
          <a:solidFill>
            <a:schemeClr val="accent1"/>
          </a:solidFill>
        </p:grpSpPr>
        <p:sp>
          <p:nvSpPr>
            <p:cNvPr id="208" name="Oval 5"/>
            <p:cNvSpPr>
              <a:spLocks noChangeArrowheads="1"/>
            </p:cNvSpPr>
            <p:nvPr/>
          </p:nvSpPr>
          <p:spPr bwMode="auto">
            <a:xfrm>
              <a:off x="3429001" y="3025775"/>
              <a:ext cx="396875" cy="401638"/>
            </a:xfrm>
            <a:prstGeom prst="ellipse">
              <a:avLst/>
            </a:prstGeom>
            <a:grpFill/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09" name="Freeform 6"/>
            <p:cNvSpPr>
              <a:spLocks/>
            </p:cNvSpPr>
            <p:nvPr/>
          </p:nvSpPr>
          <p:spPr bwMode="auto">
            <a:xfrm>
              <a:off x="3155951" y="3465513"/>
              <a:ext cx="942975" cy="454025"/>
            </a:xfrm>
            <a:custGeom>
              <a:avLst/>
              <a:gdLst>
                <a:gd name="T0" fmla="*/ 753 w 753"/>
                <a:gd name="T1" fmla="*/ 255 h 363"/>
                <a:gd name="T2" fmla="*/ 703 w 753"/>
                <a:gd name="T3" fmla="*/ 105 h 363"/>
                <a:gd name="T4" fmla="*/ 483 w 753"/>
                <a:gd name="T5" fmla="*/ 0 h 363"/>
                <a:gd name="T6" fmla="*/ 467 w 753"/>
                <a:gd name="T7" fmla="*/ 121 h 363"/>
                <a:gd name="T8" fmla="*/ 431 w 753"/>
                <a:gd name="T9" fmla="*/ 242 h 363"/>
                <a:gd name="T10" fmla="*/ 409 w 753"/>
                <a:gd name="T11" fmla="*/ 153 h 363"/>
                <a:gd name="T12" fmla="*/ 390 w 753"/>
                <a:gd name="T13" fmla="*/ 104 h 363"/>
                <a:gd name="T14" fmla="*/ 421 w 753"/>
                <a:gd name="T15" fmla="*/ 73 h 363"/>
                <a:gd name="T16" fmla="*/ 377 w 753"/>
                <a:gd name="T17" fmla="*/ 30 h 363"/>
                <a:gd name="T18" fmla="*/ 376 w 753"/>
                <a:gd name="T19" fmla="*/ 30 h 363"/>
                <a:gd name="T20" fmla="*/ 376 w 753"/>
                <a:gd name="T21" fmla="*/ 30 h 363"/>
                <a:gd name="T22" fmla="*/ 332 w 753"/>
                <a:gd name="T23" fmla="*/ 73 h 363"/>
                <a:gd name="T24" fmla="*/ 362 w 753"/>
                <a:gd name="T25" fmla="*/ 104 h 363"/>
                <a:gd name="T26" fmla="*/ 344 w 753"/>
                <a:gd name="T27" fmla="*/ 153 h 363"/>
                <a:gd name="T28" fmla="*/ 322 w 753"/>
                <a:gd name="T29" fmla="*/ 242 h 363"/>
                <a:gd name="T30" fmla="*/ 286 w 753"/>
                <a:gd name="T31" fmla="*/ 121 h 363"/>
                <a:gd name="T32" fmla="*/ 269 w 753"/>
                <a:gd name="T33" fmla="*/ 0 h 363"/>
                <a:gd name="T34" fmla="*/ 50 w 753"/>
                <a:gd name="T35" fmla="*/ 105 h 363"/>
                <a:gd name="T36" fmla="*/ 0 w 753"/>
                <a:gd name="T37" fmla="*/ 255 h 363"/>
                <a:gd name="T38" fmla="*/ 0 w 753"/>
                <a:gd name="T39" fmla="*/ 311 h 363"/>
                <a:gd name="T40" fmla="*/ 376 w 753"/>
                <a:gd name="T41" fmla="*/ 363 h 363"/>
                <a:gd name="T42" fmla="*/ 376 w 753"/>
                <a:gd name="T43" fmla="*/ 363 h 363"/>
                <a:gd name="T44" fmla="*/ 376 w 753"/>
                <a:gd name="T45" fmla="*/ 363 h 363"/>
                <a:gd name="T46" fmla="*/ 377 w 753"/>
                <a:gd name="T47" fmla="*/ 363 h 363"/>
                <a:gd name="T48" fmla="*/ 377 w 753"/>
                <a:gd name="T49" fmla="*/ 363 h 363"/>
                <a:gd name="T50" fmla="*/ 753 w 753"/>
                <a:gd name="T51" fmla="*/ 311 h 363"/>
                <a:gd name="T52" fmla="*/ 753 w 753"/>
                <a:gd name="T53" fmla="*/ 25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3" h="363">
                  <a:moveTo>
                    <a:pt x="753" y="255"/>
                  </a:moveTo>
                  <a:cubicBezTo>
                    <a:pt x="753" y="223"/>
                    <a:pt x="747" y="146"/>
                    <a:pt x="703" y="105"/>
                  </a:cubicBezTo>
                  <a:cubicBezTo>
                    <a:pt x="629" y="37"/>
                    <a:pt x="499" y="6"/>
                    <a:pt x="483" y="0"/>
                  </a:cubicBezTo>
                  <a:cubicBezTo>
                    <a:pt x="482" y="14"/>
                    <a:pt x="478" y="66"/>
                    <a:pt x="467" y="121"/>
                  </a:cubicBezTo>
                  <a:cubicBezTo>
                    <a:pt x="460" y="153"/>
                    <a:pt x="431" y="242"/>
                    <a:pt x="431" y="242"/>
                  </a:cubicBezTo>
                  <a:cubicBezTo>
                    <a:pt x="431" y="242"/>
                    <a:pt x="414" y="174"/>
                    <a:pt x="409" y="153"/>
                  </a:cubicBezTo>
                  <a:cubicBezTo>
                    <a:pt x="405" y="138"/>
                    <a:pt x="390" y="104"/>
                    <a:pt x="390" y="104"/>
                  </a:cubicBezTo>
                  <a:cubicBezTo>
                    <a:pt x="421" y="73"/>
                    <a:pt x="421" y="73"/>
                    <a:pt x="421" y="73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104"/>
                    <a:pt x="348" y="138"/>
                    <a:pt x="344" y="153"/>
                  </a:cubicBezTo>
                  <a:cubicBezTo>
                    <a:pt x="338" y="174"/>
                    <a:pt x="322" y="242"/>
                    <a:pt x="322" y="242"/>
                  </a:cubicBezTo>
                  <a:cubicBezTo>
                    <a:pt x="322" y="242"/>
                    <a:pt x="292" y="153"/>
                    <a:pt x="286" y="121"/>
                  </a:cubicBezTo>
                  <a:cubicBezTo>
                    <a:pt x="275" y="66"/>
                    <a:pt x="270" y="14"/>
                    <a:pt x="269" y="0"/>
                  </a:cubicBezTo>
                  <a:cubicBezTo>
                    <a:pt x="253" y="6"/>
                    <a:pt x="123" y="37"/>
                    <a:pt x="50" y="105"/>
                  </a:cubicBezTo>
                  <a:cubicBezTo>
                    <a:pt x="5" y="146"/>
                    <a:pt x="0" y="223"/>
                    <a:pt x="0" y="255"/>
                  </a:cubicBezTo>
                  <a:cubicBezTo>
                    <a:pt x="0" y="275"/>
                    <a:pt x="0" y="237"/>
                    <a:pt x="0" y="311"/>
                  </a:cubicBezTo>
                  <a:cubicBezTo>
                    <a:pt x="113" y="344"/>
                    <a:pt x="241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6" y="363"/>
                    <a:pt x="376" y="363"/>
                  </a:cubicBezTo>
                  <a:cubicBezTo>
                    <a:pt x="376" y="363"/>
                    <a:pt x="377" y="363"/>
                    <a:pt x="377" y="363"/>
                  </a:cubicBezTo>
                  <a:cubicBezTo>
                    <a:pt x="377" y="363"/>
                    <a:pt x="377" y="363"/>
                    <a:pt x="377" y="363"/>
                  </a:cubicBezTo>
                  <a:cubicBezTo>
                    <a:pt x="512" y="363"/>
                    <a:pt x="640" y="344"/>
                    <a:pt x="753" y="311"/>
                  </a:cubicBezTo>
                  <a:cubicBezTo>
                    <a:pt x="753" y="237"/>
                    <a:pt x="753" y="275"/>
                    <a:pt x="753" y="2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10" name="TextBox 209"/>
          <p:cNvSpPr txBox="1"/>
          <p:nvPr/>
        </p:nvSpPr>
        <p:spPr>
          <a:xfrm>
            <a:off x="1176749" y="1647783"/>
            <a:ext cx="1515726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 sit</a:t>
            </a:r>
          </a:p>
        </p:txBody>
      </p:sp>
      <p:cxnSp>
        <p:nvCxnSpPr>
          <p:cNvPr id="61" name="Straight Connector 60"/>
          <p:cNvCxnSpPr>
            <a:endCxn id="13" idx="0"/>
          </p:cNvCxnSpPr>
          <p:nvPr/>
        </p:nvCxnSpPr>
        <p:spPr>
          <a:xfrm flipH="1">
            <a:off x="4572000" y="2084327"/>
            <a:ext cx="1" cy="2667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011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D84CD2D-7084-496F-99BF-8E7324E5DB6A}"/>
              </a:ext>
            </a:extLst>
          </p:cNvPr>
          <p:cNvSpPr/>
          <p:nvPr/>
        </p:nvSpPr>
        <p:spPr>
          <a:xfrm>
            <a:off x="306723" y="1543049"/>
            <a:ext cx="4020556" cy="27432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Case study </a:t>
            </a:r>
            <a:r>
              <a:rPr lang="en-US">
                <a:solidFill>
                  <a:schemeClr val="accent2"/>
                </a:solidFill>
              </a:rPr>
              <a:t>show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818547" y="1804238"/>
            <a:ext cx="4038116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16722" y="1543050"/>
            <a:ext cx="4039941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Client: </a:t>
            </a:r>
            <a:r>
              <a:rPr lang="en-US" sz="1000" b="1" cap="all" spc="20" err="1">
                <a:solidFill>
                  <a:schemeClr val="accent2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 Company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94024" y="1543049"/>
            <a:ext cx="1412875" cy="2743201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solidFill>
              <a:srgbClr val="55B441">
                <a:alpha val="7490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71824" y="2892662"/>
            <a:ext cx="1006475" cy="98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71824" y="2711656"/>
            <a:ext cx="1006475" cy="154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FEATURES: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497731" y="2378479"/>
            <a:ext cx="335893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Clean Coding: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otae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497731" y="2885897"/>
            <a:ext cx="335893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User Friendly: 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otae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497731" y="3393315"/>
            <a:ext cx="335893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Social Support: 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otae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497731" y="3900734"/>
            <a:ext cx="335893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Social Support: 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up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otae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471824" y="3979422"/>
            <a:ext cx="468060" cy="69850"/>
            <a:chOff x="1345947" y="4012833"/>
            <a:chExt cx="468060" cy="69850"/>
          </a:xfrm>
        </p:grpSpPr>
        <p:sp>
          <p:nvSpPr>
            <p:cNvPr id="49" name="Oval 48"/>
            <p:cNvSpPr/>
            <p:nvPr/>
          </p:nvSpPr>
          <p:spPr>
            <a:xfrm>
              <a:off x="1345947" y="4012833"/>
              <a:ext cx="69850" cy="698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445500" y="4012833"/>
              <a:ext cx="69850" cy="698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1" name="Oval 50"/>
            <p:cNvSpPr/>
            <p:nvPr/>
          </p:nvSpPr>
          <p:spPr>
            <a:xfrm>
              <a:off x="1545053" y="4012833"/>
              <a:ext cx="69850" cy="698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1644606" y="4012833"/>
              <a:ext cx="69850" cy="69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744157" y="4012833"/>
              <a:ext cx="69850" cy="69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8AB7B6C-C9A6-48F0-9F0F-F0A38DD8B08B}"/>
              </a:ext>
            </a:extLst>
          </p:cNvPr>
          <p:cNvGrpSpPr/>
          <p:nvPr/>
        </p:nvGrpSpPr>
        <p:grpSpPr>
          <a:xfrm>
            <a:off x="5079190" y="2392451"/>
            <a:ext cx="262890" cy="262890"/>
            <a:chOff x="5079190" y="2392451"/>
            <a:chExt cx="262890" cy="262890"/>
          </a:xfrm>
        </p:grpSpPr>
        <p:sp>
          <p:nvSpPr>
            <p:cNvPr id="33" name="Oval 32"/>
            <p:cNvSpPr/>
            <p:nvPr/>
          </p:nvSpPr>
          <p:spPr>
            <a:xfrm>
              <a:off x="5079190" y="2392451"/>
              <a:ext cx="262890" cy="2628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2" name="Freeform 168">
              <a:extLst>
                <a:ext uri="{FF2B5EF4-FFF2-40B4-BE49-F238E27FC236}">
                  <a16:creationId xmlns:a16="http://schemas.microsoft.com/office/drawing/2014/main" id="{A5D7CAB5-5E66-4B15-86CE-A138EBD8066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37530" y="2447939"/>
              <a:ext cx="154495" cy="153011"/>
            </a:xfrm>
            <a:custGeom>
              <a:avLst/>
              <a:gdLst>
                <a:gd name="T0" fmla="*/ 96 w 156"/>
                <a:gd name="T1" fmla="*/ 88 h 156"/>
                <a:gd name="T2" fmla="*/ 31 w 156"/>
                <a:gd name="T3" fmla="*/ 152 h 156"/>
                <a:gd name="T4" fmla="*/ 23 w 156"/>
                <a:gd name="T5" fmla="*/ 156 h 156"/>
                <a:gd name="T6" fmla="*/ 14 w 156"/>
                <a:gd name="T7" fmla="*/ 152 h 156"/>
                <a:gd name="T8" fmla="*/ 4 w 156"/>
                <a:gd name="T9" fmla="*/ 142 h 156"/>
                <a:gd name="T10" fmla="*/ 0 w 156"/>
                <a:gd name="T11" fmla="*/ 133 h 156"/>
                <a:gd name="T12" fmla="*/ 4 w 156"/>
                <a:gd name="T13" fmla="*/ 125 h 156"/>
                <a:gd name="T14" fmla="*/ 68 w 156"/>
                <a:gd name="T15" fmla="*/ 60 h 156"/>
                <a:gd name="T16" fmla="*/ 79 w 156"/>
                <a:gd name="T17" fmla="*/ 77 h 156"/>
                <a:gd name="T18" fmla="*/ 96 w 156"/>
                <a:gd name="T19" fmla="*/ 88 h 156"/>
                <a:gd name="T20" fmla="*/ 33 w 156"/>
                <a:gd name="T21" fmla="*/ 132 h 156"/>
                <a:gd name="T22" fmla="*/ 35 w 156"/>
                <a:gd name="T23" fmla="*/ 127 h 156"/>
                <a:gd name="T24" fmla="*/ 33 w 156"/>
                <a:gd name="T25" fmla="*/ 123 h 156"/>
                <a:gd name="T26" fmla="*/ 29 w 156"/>
                <a:gd name="T27" fmla="*/ 121 h 156"/>
                <a:gd name="T28" fmla="*/ 25 w 156"/>
                <a:gd name="T29" fmla="*/ 123 h 156"/>
                <a:gd name="T30" fmla="*/ 23 w 156"/>
                <a:gd name="T31" fmla="*/ 127 h 156"/>
                <a:gd name="T32" fmla="*/ 25 w 156"/>
                <a:gd name="T33" fmla="*/ 132 h 156"/>
                <a:gd name="T34" fmla="*/ 29 w 156"/>
                <a:gd name="T35" fmla="*/ 133 h 156"/>
                <a:gd name="T36" fmla="*/ 33 w 156"/>
                <a:gd name="T37" fmla="*/ 132 h 156"/>
                <a:gd name="T38" fmla="*/ 156 w 156"/>
                <a:gd name="T39" fmla="*/ 47 h 156"/>
                <a:gd name="T40" fmla="*/ 153 w 156"/>
                <a:gd name="T41" fmla="*/ 57 h 156"/>
                <a:gd name="T42" fmla="*/ 138 w 156"/>
                <a:gd name="T43" fmla="*/ 77 h 156"/>
                <a:gd name="T44" fmla="*/ 113 w 156"/>
                <a:gd name="T45" fmla="*/ 85 h 156"/>
                <a:gd name="T46" fmla="*/ 84 w 156"/>
                <a:gd name="T47" fmla="*/ 73 h 156"/>
                <a:gd name="T48" fmla="*/ 71 w 156"/>
                <a:gd name="T49" fmla="*/ 43 h 156"/>
                <a:gd name="T50" fmla="*/ 84 w 156"/>
                <a:gd name="T51" fmla="*/ 13 h 156"/>
                <a:gd name="T52" fmla="*/ 113 w 156"/>
                <a:gd name="T53" fmla="*/ 0 h 156"/>
                <a:gd name="T54" fmla="*/ 125 w 156"/>
                <a:gd name="T55" fmla="*/ 2 h 156"/>
                <a:gd name="T56" fmla="*/ 135 w 156"/>
                <a:gd name="T57" fmla="*/ 6 h 156"/>
                <a:gd name="T58" fmla="*/ 137 w 156"/>
                <a:gd name="T59" fmla="*/ 9 h 156"/>
                <a:gd name="T60" fmla="*/ 135 w 156"/>
                <a:gd name="T61" fmla="*/ 12 h 156"/>
                <a:gd name="T62" fmla="*/ 107 w 156"/>
                <a:gd name="T63" fmla="*/ 28 h 156"/>
                <a:gd name="T64" fmla="*/ 107 w 156"/>
                <a:gd name="T65" fmla="*/ 49 h 156"/>
                <a:gd name="T66" fmla="*/ 126 w 156"/>
                <a:gd name="T67" fmla="*/ 59 h 156"/>
                <a:gd name="T68" fmla="*/ 133 w 156"/>
                <a:gd name="T69" fmla="*/ 54 h 156"/>
                <a:gd name="T70" fmla="*/ 146 w 156"/>
                <a:gd name="T71" fmla="*/ 47 h 156"/>
                <a:gd name="T72" fmla="*/ 153 w 156"/>
                <a:gd name="T73" fmla="*/ 43 h 156"/>
                <a:gd name="T74" fmla="*/ 155 w 156"/>
                <a:gd name="T75" fmla="*/ 44 h 156"/>
                <a:gd name="T76" fmla="*/ 156 w 156"/>
                <a:gd name="T77" fmla="*/ 4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6" h="156">
                  <a:moveTo>
                    <a:pt x="96" y="88"/>
                  </a:moveTo>
                  <a:cubicBezTo>
                    <a:pt x="31" y="152"/>
                    <a:pt x="31" y="152"/>
                    <a:pt x="31" y="152"/>
                  </a:cubicBezTo>
                  <a:cubicBezTo>
                    <a:pt x="29" y="155"/>
                    <a:pt x="26" y="156"/>
                    <a:pt x="23" y="156"/>
                  </a:cubicBezTo>
                  <a:cubicBezTo>
                    <a:pt x="19" y="156"/>
                    <a:pt x="17" y="155"/>
                    <a:pt x="14" y="152"/>
                  </a:cubicBezTo>
                  <a:cubicBezTo>
                    <a:pt x="4" y="142"/>
                    <a:pt x="4" y="142"/>
                    <a:pt x="4" y="142"/>
                  </a:cubicBezTo>
                  <a:cubicBezTo>
                    <a:pt x="2" y="140"/>
                    <a:pt x="0" y="137"/>
                    <a:pt x="0" y="133"/>
                  </a:cubicBezTo>
                  <a:cubicBezTo>
                    <a:pt x="0" y="130"/>
                    <a:pt x="2" y="127"/>
                    <a:pt x="4" y="125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71" y="67"/>
                    <a:pt x="75" y="72"/>
                    <a:pt x="79" y="77"/>
                  </a:cubicBezTo>
                  <a:cubicBezTo>
                    <a:pt x="84" y="82"/>
                    <a:pt x="90" y="85"/>
                    <a:pt x="96" y="88"/>
                  </a:cubicBezTo>
                  <a:close/>
                  <a:moveTo>
                    <a:pt x="33" y="132"/>
                  </a:moveTo>
                  <a:cubicBezTo>
                    <a:pt x="34" y="130"/>
                    <a:pt x="35" y="129"/>
                    <a:pt x="35" y="127"/>
                  </a:cubicBezTo>
                  <a:cubicBezTo>
                    <a:pt x="35" y="126"/>
                    <a:pt x="34" y="124"/>
                    <a:pt x="33" y="123"/>
                  </a:cubicBezTo>
                  <a:cubicBezTo>
                    <a:pt x="32" y="122"/>
                    <a:pt x="30" y="121"/>
                    <a:pt x="29" y="121"/>
                  </a:cubicBezTo>
                  <a:cubicBezTo>
                    <a:pt x="27" y="121"/>
                    <a:pt x="26" y="122"/>
                    <a:pt x="25" y="123"/>
                  </a:cubicBezTo>
                  <a:cubicBezTo>
                    <a:pt x="23" y="124"/>
                    <a:pt x="23" y="126"/>
                    <a:pt x="23" y="127"/>
                  </a:cubicBezTo>
                  <a:cubicBezTo>
                    <a:pt x="23" y="129"/>
                    <a:pt x="23" y="130"/>
                    <a:pt x="25" y="132"/>
                  </a:cubicBezTo>
                  <a:cubicBezTo>
                    <a:pt x="26" y="133"/>
                    <a:pt x="27" y="133"/>
                    <a:pt x="29" y="133"/>
                  </a:cubicBezTo>
                  <a:cubicBezTo>
                    <a:pt x="30" y="133"/>
                    <a:pt x="32" y="133"/>
                    <a:pt x="33" y="132"/>
                  </a:cubicBezTo>
                  <a:close/>
                  <a:moveTo>
                    <a:pt x="156" y="47"/>
                  </a:moveTo>
                  <a:cubicBezTo>
                    <a:pt x="156" y="49"/>
                    <a:pt x="155" y="52"/>
                    <a:pt x="153" y="57"/>
                  </a:cubicBezTo>
                  <a:cubicBezTo>
                    <a:pt x="151" y="65"/>
                    <a:pt x="145" y="72"/>
                    <a:pt x="138" y="77"/>
                  </a:cubicBezTo>
                  <a:cubicBezTo>
                    <a:pt x="131" y="82"/>
                    <a:pt x="122" y="85"/>
                    <a:pt x="113" y="85"/>
                  </a:cubicBezTo>
                  <a:cubicBezTo>
                    <a:pt x="102" y="85"/>
                    <a:pt x="92" y="81"/>
                    <a:pt x="84" y="73"/>
                  </a:cubicBezTo>
                  <a:cubicBezTo>
                    <a:pt x="75" y="64"/>
                    <a:pt x="71" y="54"/>
                    <a:pt x="71" y="43"/>
                  </a:cubicBezTo>
                  <a:cubicBezTo>
                    <a:pt x="71" y="31"/>
                    <a:pt x="75" y="21"/>
                    <a:pt x="84" y="13"/>
                  </a:cubicBezTo>
                  <a:cubicBezTo>
                    <a:pt x="92" y="4"/>
                    <a:pt x="102" y="0"/>
                    <a:pt x="113" y="0"/>
                  </a:cubicBezTo>
                  <a:cubicBezTo>
                    <a:pt x="117" y="0"/>
                    <a:pt x="121" y="1"/>
                    <a:pt x="125" y="2"/>
                  </a:cubicBezTo>
                  <a:cubicBezTo>
                    <a:pt x="129" y="3"/>
                    <a:pt x="132" y="4"/>
                    <a:pt x="135" y="6"/>
                  </a:cubicBezTo>
                  <a:cubicBezTo>
                    <a:pt x="136" y="7"/>
                    <a:pt x="137" y="8"/>
                    <a:pt x="137" y="9"/>
                  </a:cubicBezTo>
                  <a:cubicBezTo>
                    <a:pt x="137" y="10"/>
                    <a:pt x="136" y="11"/>
                    <a:pt x="135" y="12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6" y="59"/>
                    <a:pt x="128" y="57"/>
                    <a:pt x="133" y="54"/>
                  </a:cubicBezTo>
                  <a:cubicBezTo>
                    <a:pt x="138" y="51"/>
                    <a:pt x="142" y="49"/>
                    <a:pt x="146" y="47"/>
                  </a:cubicBezTo>
                  <a:cubicBezTo>
                    <a:pt x="150" y="44"/>
                    <a:pt x="152" y="43"/>
                    <a:pt x="153" y="43"/>
                  </a:cubicBezTo>
                  <a:cubicBezTo>
                    <a:pt x="154" y="43"/>
                    <a:pt x="154" y="44"/>
                    <a:pt x="155" y="44"/>
                  </a:cubicBezTo>
                  <a:cubicBezTo>
                    <a:pt x="155" y="45"/>
                    <a:pt x="156" y="46"/>
                    <a:pt x="156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CAD81CC-4BAC-4C2C-A88C-5F1FD5134A84}"/>
              </a:ext>
            </a:extLst>
          </p:cNvPr>
          <p:cNvGrpSpPr/>
          <p:nvPr/>
        </p:nvGrpSpPr>
        <p:grpSpPr>
          <a:xfrm>
            <a:off x="5079190" y="2901034"/>
            <a:ext cx="262890" cy="262890"/>
            <a:chOff x="5079190" y="2901034"/>
            <a:chExt cx="262890" cy="262890"/>
          </a:xfrm>
        </p:grpSpPr>
        <p:sp>
          <p:nvSpPr>
            <p:cNvPr id="35" name="Oval 34"/>
            <p:cNvSpPr/>
            <p:nvPr/>
          </p:nvSpPr>
          <p:spPr>
            <a:xfrm>
              <a:off x="5079190" y="2901034"/>
              <a:ext cx="262890" cy="2628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3126375D-174C-4B6E-8813-11EE1F329FC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46718" y="2953972"/>
              <a:ext cx="130727" cy="144097"/>
            </a:xfrm>
            <a:custGeom>
              <a:avLst/>
              <a:gdLst>
                <a:gd name="T0" fmla="*/ 133 w 133"/>
                <a:gd name="T1" fmla="*/ 121 h 146"/>
                <a:gd name="T2" fmla="*/ 126 w 133"/>
                <a:gd name="T3" fmla="*/ 139 h 146"/>
                <a:gd name="T4" fmla="*/ 108 w 133"/>
                <a:gd name="T5" fmla="*/ 146 h 146"/>
                <a:gd name="T6" fmla="*/ 25 w 133"/>
                <a:gd name="T7" fmla="*/ 146 h 146"/>
                <a:gd name="T8" fmla="*/ 7 w 133"/>
                <a:gd name="T9" fmla="*/ 139 h 146"/>
                <a:gd name="T10" fmla="*/ 0 w 133"/>
                <a:gd name="T11" fmla="*/ 121 h 146"/>
                <a:gd name="T12" fmla="*/ 0 w 133"/>
                <a:gd name="T13" fmla="*/ 111 h 146"/>
                <a:gd name="T14" fmla="*/ 2 w 133"/>
                <a:gd name="T15" fmla="*/ 101 h 146"/>
                <a:gd name="T16" fmla="*/ 4 w 133"/>
                <a:gd name="T17" fmla="*/ 91 h 146"/>
                <a:gd name="T18" fmla="*/ 8 w 133"/>
                <a:gd name="T19" fmla="*/ 82 h 146"/>
                <a:gd name="T20" fmla="*/ 14 w 133"/>
                <a:gd name="T21" fmla="*/ 74 h 146"/>
                <a:gd name="T22" fmla="*/ 22 w 133"/>
                <a:gd name="T23" fmla="*/ 69 h 146"/>
                <a:gd name="T24" fmla="*/ 33 w 133"/>
                <a:gd name="T25" fmla="*/ 67 h 146"/>
                <a:gd name="T26" fmla="*/ 37 w 133"/>
                <a:gd name="T27" fmla="*/ 69 h 146"/>
                <a:gd name="T28" fmla="*/ 44 w 133"/>
                <a:gd name="T29" fmla="*/ 73 h 146"/>
                <a:gd name="T30" fmla="*/ 54 w 133"/>
                <a:gd name="T31" fmla="*/ 78 h 146"/>
                <a:gd name="T32" fmla="*/ 66 w 133"/>
                <a:gd name="T33" fmla="*/ 80 h 146"/>
                <a:gd name="T34" fmla="*/ 79 w 133"/>
                <a:gd name="T35" fmla="*/ 78 h 146"/>
                <a:gd name="T36" fmla="*/ 89 w 133"/>
                <a:gd name="T37" fmla="*/ 73 h 146"/>
                <a:gd name="T38" fmla="*/ 96 w 133"/>
                <a:gd name="T39" fmla="*/ 69 h 146"/>
                <a:gd name="T40" fmla="*/ 100 w 133"/>
                <a:gd name="T41" fmla="*/ 67 h 146"/>
                <a:gd name="T42" fmla="*/ 111 w 133"/>
                <a:gd name="T43" fmla="*/ 69 h 146"/>
                <a:gd name="T44" fmla="*/ 119 w 133"/>
                <a:gd name="T45" fmla="*/ 74 h 146"/>
                <a:gd name="T46" fmla="*/ 125 w 133"/>
                <a:gd name="T47" fmla="*/ 82 h 146"/>
                <a:gd name="T48" fmla="*/ 129 w 133"/>
                <a:gd name="T49" fmla="*/ 91 h 146"/>
                <a:gd name="T50" fmla="*/ 131 w 133"/>
                <a:gd name="T51" fmla="*/ 101 h 146"/>
                <a:gd name="T52" fmla="*/ 133 w 133"/>
                <a:gd name="T53" fmla="*/ 111 h 146"/>
                <a:gd name="T54" fmla="*/ 133 w 133"/>
                <a:gd name="T55" fmla="*/ 121 h 146"/>
                <a:gd name="T56" fmla="*/ 92 w 133"/>
                <a:gd name="T57" fmla="*/ 11 h 146"/>
                <a:gd name="T58" fmla="*/ 103 w 133"/>
                <a:gd name="T59" fmla="*/ 37 h 146"/>
                <a:gd name="T60" fmla="*/ 92 w 133"/>
                <a:gd name="T61" fmla="*/ 62 h 146"/>
                <a:gd name="T62" fmla="*/ 66 w 133"/>
                <a:gd name="T63" fmla="*/ 73 h 146"/>
                <a:gd name="T64" fmla="*/ 41 w 133"/>
                <a:gd name="T65" fmla="*/ 62 h 146"/>
                <a:gd name="T66" fmla="*/ 30 w 133"/>
                <a:gd name="T67" fmla="*/ 37 h 146"/>
                <a:gd name="T68" fmla="*/ 41 w 133"/>
                <a:gd name="T69" fmla="*/ 11 h 146"/>
                <a:gd name="T70" fmla="*/ 66 w 133"/>
                <a:gd name="T71" fmla="*/ 0 h 146"/>
                <a:gd name="T72" fmla="*/ 92 w 133"/>
                <a:gd name="T73" fmla="*/ 1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3" h="146">
                  <a:moveTo>
                    <a:pt x="133" y="121"/>
                  </a:moveTo>
                  <a:cubicBezTo>
                    <a:pt x="133" y="129"/>
                    <a:pt x="131" y="135"/>
                    <a:pt x="126" y="139"/>
                  </a:cubicBezTo>
                  <a:cubicBezTo>
                    <a:pt x="121" y="143"/>
                    <a:pt x="115" y="146"/>
                    <a:pt x="108" y="146"/>
                  </a:cubicBezTo>
                  <a:cubicBezTo>
                    <a:pt x="25" y="146"/>
                    <a:pt x="25" y="146"/>
                    <a:pt x="25" y="146"/>
                  </a:cubicBezTo>
                  <a:cubicBezTo>
                    <a:pt x="17" y="146"/>
                    <a:pt x="11" y="143"/>
                    <a:pt x="7" y="139"/>
                  </a:cubicBezTo>
                  <a:cubicBezTo>
                    <a:pt x="2" y="135"/>
                    <a:pt x="0" y="129"/>
                    <a:pt x="0" y="121"/>
                  </a:cubicBezTo>
                  <a:cubicBezTo>
                    <a:pt x="0" y="118"/>
                    <a:pt x="0" y="114"/>
                    <a:pt x="0" y="111"/>
                  </a:cubicBezTo>
                  <a:cubicBezTo>
                    <a:pt x="0" y="108"/>
                    <a:pt x="1" y="105"/>
                    <a:pt x="2" y="101"/>
                  </a:cubicBezTo>
                  <a:cubicBezTo>
                    <a:pt x="2" y="97"/>
                    <a:pt x="3" y="94"/>
                    <a:pt x="4" y="91"/>
                  </a:cubicBezTo>
                  <a:cubicBezTo>
                    <a:pt x="5" y="88"/>
                    <a:pt x="6" y="85"/>
                    <a:pt x="8" y="82"/>
                  </a:cubicBezTo>
                  <a:cubicBezTo>
                    <a:pt x="10" y="79"/>
                    <a:pt x="12" y="76"/>
                    <a:pt x="14" y="74"/>
                  </a:cubicBezTo>
                  <a:cubicBezTo>
                    <a:pt x="16" y="72"/>
                    <a:pt x="19" y="70"/>
                    <a:pt x="22" y="69"/>
                  </a:cubicBezTo>
                  <a:cubicBezTo>
                    <a:pt x="25" y="68"/>
                    <a:pt x="29" y="67"/>
                    <a:pt x="33" y="67"/>
                  </a:cubicBezTo>
                  <a:cubicBezTo>
                    <a:pt x="33" y="67"/>
                    <a:pt x="34" y="68"/>
                    <a:pt x="37" y="69"/>
                  </a:cubicBezTo>
                  <a:cubicBezTo>
                    <a:pt x="39" y="70"/>
                    <a:pt x="41" y="72"/>
                    <a:pt x="44" y="73"/>
                  </a:cubicBezTo>
                  <a:cubicBezTo>
                    <a:pt x="46" y="75"/>
                    <a:pt x="50" y="77"/>
                    <a:pt x="54" y="78"/>
                  </a:cubicBezTo>
                  <a:cubicBezTo>
                    <a:pt x="58" y="79"/>
                    <a:pt x="62" y="80"/>
                    <a:pt x="66" y="80"/>
                  </a:cubicBezTo>
                  <a:cubicBezTo>
                    <a:pt x="71" y="80"/>
                    <a:pt x="75" y="79"/>
                    <a:pt x="79" y="78"/>
                  </a:cubicBezTo>
                  <a:cubicBezTo>
                    <a:pt x="83" y="77"/>
                    <a:pt x="87" y="75"/>
                    <a:pt x="89" y="73"/>
                  </a:cubicBezTo>
                  <a:cubicBezTo>
                    <a:pt x="92" y="72"/>
                    <a:pt x="94" y="70"/>
                    <a:pt x="96" y="69"/>
                  </a:cubicBezTo>
                  <a:cubicBezTo>
                    <a:pt x="98" y="68"/>
                    <a:pt x="100" y="67"/>
                    <a:pt x="100" y="67"/>
                  </a:cubicBezTo>
                  <a:cubicBezTo>
                    <a:pt x="104" y="67"/>
                    <a:pt x="108" y="68"/>
                    <a:pt x="111" y="69"/>
                  </a:cubicBezTo>
                  <a:cubicBezTo>
                    <a:pt x="114" y="70"/>
                    <a:pt x="117" y="72"/>
                    <a:pt x="119" y="74"/>
                  </a:cubicBezTo>
                  <a:cubicBezTo>
                    <a:pt x="121" y="76"/>
                    <a:pt x="123" y="79"/>
                    <a:pt x="125" y="82"/>
                  </a:cubicBezTo>
                  <a:cubicBezTo>
                    <a:pt x="126" y="85"/>
                    <a:pt x="128" y="88"/>
                    <a:pt x="129" y="91"/>
                  </a:cubicBezTo>
                  <a:cubicBezTo>
                    <a:pt x="130" y="94"/>
                    <a:pt x="131" y="97"/>
                    <a:pt x="131" y="101"/>
                  </a:cubicBezTo>
                  <a:cubicBezTo>
                    <a:pt x="132" y="105"/>
                    <a:pt x="132" y="108"/>
                    <a:pt x="133" y="111"/>
                  </a:cubicBezTo>
                  <a:cubicBezTo>
                    <a:pt x="133" y="114"/>
                    <a:pt x="133" y="118"/>
                    <a:pt x="133" y="121"/>
                  </a:cubicBezTo>
                  <a:close/>
                  <a:moveTo>
                    <a:pt x="92" y="11"/>
                  </a:moveTo>
                  <a:cubicBezTo>
                    <a:pt x="99" y="18"/>
                    <a:pt x="103" y="27"/>
                    <a:pt x="103" y="37"/>
                  </a:cubicBezTo>
                  <a:cubicBezTo>
                    <a:pt x="103" y="47"/>
                    <a:pt x="99" y="55"/>
                    <a:pt x="92" y="62"/>
                  </a:cubicBezTo>
                  <a:cubicBezTo>
                    <a:pt x="85" y="69"/>
                    <a:pt x="76" y="73"/>
                    <a:pt x="66" y="73"/>
                  </a:cubicBezTo>
                  <a:cubicBezTo>
                    <a:pt x="56" y="73"/>
                    <a:pt x="48" y="69"/>
                    <a:pt x="41" y="62"/>
                  </a:cubicBezTo>
                  <a:cubicBezTo>
                    <a:pt x="34" y="55"/>
                    <a:pt x="30" y="47"/>
                    <a:pt x="30" y="37"/>
                  </a:cubicBezTo>
                  <a:cubicBezTo>
                    <a:pt x="30" y="27"/>
                    <a:pt x="34" y="18"/>
                    <a:pt x="41" y="11"/>
                  </a:cubicBezTo>
                  <a:cubicBezTo>
                    <a:pt x="48" y="4"/>
                    <a:pt x="56" y="0"/>
                    <a:pt x="66" y="0"/>
                  </a:cubicBezTo>
                  <a:cubicBezTo>
                    <a:pt x="76" y="0"/>
                    <a:pt x="85" y="4"/>
                    <a:pt x="92" y="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672F8BA-10EE-4A40-99DF-03D0E54DCE9F}"/>
              </a:ext>
            </a:extLst>
          </p:cNvPr>
          <p:cNvGrpSpPr/>
          <p:nvPr/>
        </p:nvGrpSpPr>
        <p:grpSpPr>
          <a:xfrm>
            <a:off x="5079190" y="3406782"/>
            <a:ext cx="262890" cy="262890"/>
            <a:chOff x="5079190" y="3406782"/>
            <a:chExt cx="262890" cy="262890"/>
          </a:xfrm>
        </p:grpSpPr>
        <p:sp>
          <p:nvSpPr>
            <p:cNvPr id="38" name="Oval 37"/>
            <p:cNvSpPr/>
            <p:nvPr/>
          </p:nvSpPr>
          <p:spPr>
            <a:xfrm>
              <a:off x="5079190" y="3406782"/>
              <a:ext cx="262890" cy="2628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Freeform 207">
              <a:extLst>
                <a:ext uri="{FF2B5EF4-FFF2-40B4-BE49-F238E27FC236}">
                  <a16:creationId xmlns:a16="http://schemas.microsoft.com/office/drawing/2014/main" id="{75CE97CB-B9ED-4072-9BD4-5AFCDA08BA8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27344" y="3463519"/>
              <a:ext cx="174866" cy="151447"/>
            </a:xfrm>
            <a:custGeom>
              <a:avLst/>
              <a:gdLst>
                <a:gd name="T0" fmla="*/ 158 w 170"/>
                <a:gd name="T1" fmla="*/ 31 h 146"/>
                <a:gd name="T2" fmla="*/ 170 w 170"/>
                <a:gd name="T3" fmla="*/ 61 h 146"/>
                <a:gd name="T4" fmla="*/ 158 w 170"/>
                <a:gd name="T5" fmla="*/ 91 h 146"/>
                <a:gd name="T6" fmla="*/ 128 w 170"/>
                <a:gd name="T7" fmla="*/ 113 h 146"/>
                <a:gd name="T8" fmla="*/ 85 w 170"/>
                <a:gd name="T9" fmla="*/ 121 h 146"/>
                <a:gd name="T10" fmla="*/ 71 w 170"/>
                <a:gd name="T11" fmla="*/ 121 h 146"/>
                <a:gd name="T12" fmla="*/ 28 w 170"/>
                <a:gd name="T13" fmla="*/ 144 h 146"/>
                <a:gd name="T14" fmla="*/ 17 w 170"/>
                <a:gd name="T15" fmla="*/ 146 h 146"/>
                <a:gd name="T16" fmla="*/ 17 w 170"/>
                <a:gd name="T17" fmla="*/ 146 h 146"/>
                <a:gd name="T18" fmla="*/ 14 w 170"/>
                <a:gd name="T19" fmla="*/ 145 h 146"/>
                <a:gd name="T20" fmla="*/ 12 w 170"/>
                <a:gd name="T21" fmla="*/ 142 h 146"/>
                <a:gd name="T22" fmla="*/ 12 w 170"/>
                <a:gd name="T23" fmla="*/ 142 h 146"/>
                <a:gd name="T24" fmla="*/ 12 w 170"/>
                <a:gd name="T25" fmla="*/ 141 h 146"/>
                <a:gd name="T26" fmla="*/ 13 w 170"/>
                <a:gd name="T27" fmla="*/ 140 h 146"/>
                <a:gd name="T28" fmla="*/ 13 w 170"/>
                <a:gd name="T29" fmla="*/ 139 h 146"/>
                <a:gd name="T30" fmla="*/ 14 w 170"/>
                <a:gd name="T31" fmla="*/ 138 h 146"/>
                <a:gd name="T32" fmla="*/ 14 w 170"/>
                <a:gd name="T33" fmla="*/ 137 h 146"/>
                <a:gd name="T34" fmla="*/ 15 w 170"/>
                <a:gd name="T35" fmla="*/ 136 h 146"/>
                <a:gd name="T36" fmla="*/ 18 w 170"/>
                <a:gd name="T37" fmla="*/ 133 h 146"/>
                <a:gd name="T38" fmla="*/ 21 w 170"/>
                <a:gd name="T39" fmla="*/ 130 h 146"/>
                <a:gd name="T40" fmla="*/ 24 w 170"/>
                <a:gd name="T41" fmla="*/ 126 h 146"/>
                <a:gd name="T42" fmla="*/ 27 w 170"/>
                <a:gd name="T43" fmla="*/ 121 h 146"/>
                <a:gd name="T44" fmla="*/ 30 w 170"/>
                <a:gd name="T45" fmla="*/ 115 h 146"/>
                <a:gd name="T46" fmla="*/ 32 w 170"/>
                <a:gd name="T47" fmla="*/ 108 h 146"/>
                <a:gd name="T48" fmla="*/ 9 w 170"/>
                <a:gd name="T49" fmla="*/ 88 h 146"/>
                <a:gd name="T50" fmla="*/ 0 w 170"/>
                <a:gd name="T51" fmla="*/ 61 h 146"/>
                <a:gd name="T52" fmla="*/ 12 w 170"/>
                <a:gd name="T53" fmla="*/ 31 h 146"/>
                <a:gd name="T54" fmla="*/ 42 w 170"/>
                <a:gd name="T55" fmla="*/ 9 h 146"/>
                <a:gd name="T56" fmla="*/ 85 w 170"/>
                <a:gd name="T57" fmla="*/ 0 h 146"/>
                <a:gd name="T58" fmla="*/ 128 w 170"/>
                <a:gd name="T59" fmla="*/ 9 h 146"/>
                <a:gd name="T60" fmla="*/ 158 w 170"/>
                <a:gd name="T61" fmla="*/ 31 h 146"/>
                <a:gd name="T62" fmla="*/ 121 w 170"/>
                <a:gd name="T63" fmla="*/ 19 h 146"/>
                <a:gd name="T64" fmla="*/ 85 w 170"/>
                <a:gd name="T65" fmla="*/ 13 h 146"/>
                <a:gd name="T66" fmla="*/ 49 w 170"/>
                <a:gd name="T67" fmla="*/ 19 h 146"/>
                <a:gd name="T68" fmla="*/ 22 w 170"/>
                <a:gd name="T69" fmla="*/ 37 h 146"/>
                <a:gd name="T70" fmla="*/ 12 w 170"/>
                <a:gd name="T71" fmla="*/ 61 h 146"/>
                <a:gd name="T72" fmla="*/ 19 w 170"/>
                <a:gd name="T73" fmla="*/ 81 h 146"/>
                <a:gd name="T74" fmla="*/ 38 w 170"/>
                <a:gd name="T75" fmla="*/ 98 h 146"/>
                <a:gd name="T76" fmla="*/ 46 w 170"/>
                <a:gd name="T77" fmla="*/ 102 h 146"/>
                <a:gd name="T78" fmla="*/ 44 w 170"/>
                <a:gd name="T79" fmla="*/ 112 h 146"/>
                <a:gd name="T80" fmla="*/ 37 w 170"/>
                <a:gd name="T81" fmla="*/ 128 h 146"/>
                <a:gd name="T82" fmla="*/ 63 w 170"/>
                <a:gd name="T83" fmla="*/ 112 h 146"/>
                <a:gd name="T84" fmla="*/ 67 w 170"/>
                <a:gd name="T85" fmla="*/ 108 h 146"/>
                <a:gd name="T86" fmla="*/ 73 w 170"/>
                <a:gd name="T87" fmla="*/ 109 h 146"/>
                <a:gd name="T88" fmla="*/ 85 w 170"/>
                <a:gd name="T89" fmla="*/ 109 h 146"/>
                <a:gd name="T90" fmla="*/ 121 w 170"/>
                <a:gd name="T91" fmla="*/ 103 h 146"/>
                <a:gd name="T92" fmla="*/ 148 w 170"/>
                <a:gd name="T93" fmla="*/ 85 h 146"/>
                <a:gd name="T94" fmla="*/ 158 w 170"/>
                <a:gd name="T95" fmla="*/ 61 h 146"/>
                <a:gd name="T96" fmla="*/ 148 w 170"/>
                <a:gd name="T97" fmla="*/ 37 h 146"/>
                <a:gd name="T98" fmla="*/ 121 w 170"/>
                <a:gd name="T99" fmla="*/ 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0" h="146">
                  <a:moveTo>
                    <a:pt x="158" y="31"/>
                  </a:moveTo>
                  <a:cubicBezTo>
                    <a:pt x="166" y="40"/>
                    <a:pt x="170" y="50"/>
                    <a:pt x="170" y="61"/>
                  </a:cubicBezTo>
                  <a:cubicBezTo>
                    <a:pt x="170" y="72"/>
                    <a:pt x="166" y="82"/>
                    <a:pt x="158" y="91"/>
                  </a:cubicBezTo>
                  <a:cubicBezTo>
                    <a:pt x="151" y="101"/>
                    <a:pt x="140" y="108"/>
                    <a:pt x="128" y="113"/>
                  </a:cubicBezTo>
                  <a:cubicBezTo>
                    <a:pt x="115" y="119"/>
                    <a:pt x="100" y="121"/>
                    <a:pt x="85" y="121"/>
                  </a:cubicBezTo>
                  <a:cubicBezTo>
                    <a:pt x="81" y="121"/>
                    <a:pt x="76" y="121"/>
                    <a:pt x="71" y="121"/>
                  </a:cubicBezTo>
                  <a:cubicBezTo>
                    <a:pt x="59" y="132"/>
                    <a:pt x="44" y="139"/>
                    <a:pt x="28" y="144"/>
                  </a:cubicBezTo>
                  <a:cubicBezTo>
                    <a:pt x="25" y="144"/>
                    <a:pt x="21" y="145"/>
                    <a:pt x="17" y="146"/>
                  </a:cubicBezTo>
                  <a:cubicBezTo>
                    <a:pt x="17" y="146"/>
                    <a:pt x="17" y="146"/>
                    <a:pt x="17" y="146"/>
                  </a:cubicBezTo>
                  <a:cubicBezTo>
                    <a:pt x="16" y="146"/>
                    <a:pt x="15" y="145"/>
                    <a:pt x="14" y="145"/>
                  </a:cubicBezTo>
                  <a:cubicBezTo>
                    <a:pt x="13" y="144"/>
                    <a:pt x="13" y="143"/>
                    <a:pt x="12" y="142"/>
                  </a:cubicBezTo>
                  <a:cubicBezTo>
                    <a:pt x="12" y="142"/>
                    <a:pt x="12" y="142"/>
                    <a:pt x="12" y="142"/>
                  </a:cubicBezTo>
                  <a:cubicBezTo>
                    <a:pt x="12" y="142"/>
                    <a:pt x="12" y="141"/>
                    <a:pt x="12" y="141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39"/>
                    <a:pt x="13" y="139"/>
                  </a:cubicBezTo>
                  <a:cubicBezTo>
                    <a:pt x="13" y="139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7"/>
                  </a:cubicBezTo>
                  <a:cubicBezTo>
                    <a:pt x="15" y="137"/>
                    <a:pt x="15" y="137"/>
                    <a:pt x="15" y="136"/>
                  </a:cubicBezTo>
                  <a:cubicBezTo>
                    <a:pt x="15" y="136"/>
                    <a:pt x="16" y="135"/>
                    <a:pt x="18" y="133"/>
                  </a:cubicBezTo>
                  <a:cubicBezTo>
                    <a:pt x="19" y="132"/>
                    <a:pt x="21" y="130"/>
                    <a:pt x="21" y="130"/>
                  </a:cubicBezTo>
                  <a:cubicBezTo>
                    <a:pt x="22" y="129"/>
                    <a:pt x="23" y="128"/>
                    <a:pt x="24" y="126"/>
                  </a:cubicBezTo>
                  <a:cubicBezTo>
                    <a:pt x="25" y="124"/>
                    <a:pt x="26" y="123"/>
                    <a:pt x="27" y="121"/>
                  </a:cubicBezTo>
                  <a:cubicBezTo>
                    <a:pt x="28" y="120"/>
                    <a:pt x="29" y="118"/>
                    <a:pt x="30" y="115"/>
                  </a:cubicBezTo>
                  <a:cubicBezTo>
                    <a:pt x="31" y="113"/>
                    <a:pt x="32" y="111"/>
                    <a:pt x="32" y="108"/>
                  </a:cubicBezTo>
                  <a:cubicBezTo>
                    <a:pt x="22" y="103"/>
                    <a:pt x="15" y="96"/>
                    <a:pt x="9" y="88"/>
                  </a:cubicBezTo>
                  <a:cubicBezTo>
                    <a:pt x="3" y="79"/>
                    <a:pt x="0" y="70"/>
                    <a:pt x="0" y="61"/>
                  </a:cubicBezTo>
                  <a:cubicBezTo>
                    <a:pt x="0" y="50"/>
                    <a:pt x="4" y="40"/>
                    <a:pt x="12" y="31"/>
                  </a:cubicBezTo>
                  <a:cubicBezTo>
                    <a:pt x="19" y="21"/>
                    <a:pt x="29" y="14"/>
                    <a:pt x="42" y="9"/>
                  </a:cubicBezTo>
                  <a:cubicBezTo>
                    <a:pt x="55" y="3"/>
                    <a:pt x="70" y="0"/>
                    <a:pt x="85" y="0"/>
                  </a:cubicBezTo>
                  <a:cubicBezTo>
                    <a:pt x="100" y="0"/>
                    <a:pt x="115" y="3"/>
                    <a:pt x="128" y="9"/>
                  </a:cubicBezTo>
                  <a:cubicBezTo>
                    <a:pt x="140" y="14"/>
                    <a:pt x="151" y="21"/>
                    <a:pt x="158" y="31"/>
                  </a:cubicBezTo>
                  <a:close/>
                  <a:moveTo>
                    <a:pt x="121" y="19"/>
                  </a:moveTo>
                  <a:cubicBezTo>
                    <a:pt x="110" y="15"/>
                    <a:pt x="98" y="13"/>
                    <a:pt x="85" y="13"/>
                  </a:cubicBezTo>
                  <a:cubicBezTo>
                    <a:pt x="72" y="13"/>
                    <a:pt x="60" y="15"/>
                    <a:pt x="49" y="19"/>
                  </a:cubicBezTo>
                  <a:cubicBezTo>
                    <a:pt x="38" y="23"/>
                    <a:pt x="29" y="29"/>
                    <a:pt x="22" y="37"/>
                  </a:cubicBezTo>
                  <a:cubicBezTo>
                    <a:pt x="16" y="44"/>
                    <a:pt x="12" y="52"/>
                    <a:pt x="12" y="61"/>
                  </a:cubicBezTo>
                  <a:cubicBezTo>
                    <a:pt x="12" y="68"/>
                    <a:pt x="15" y="75"/>
                    <a:pt x="19" y="81"/>
                  </a:cubicBezTo>
                  <a:cubicBezTo>
                    <a:pt x="24" y="88"/>
                    <a:pt x="30" y="93"/>
                    <a:pt x="38" y="98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2" y="117"/>
                    <a:pt x="40" y="123"/>
                    <a:pt x="37" y="128"/>
                  </a:cubicBezTo>
                  <a:cubicBezTo>
                    <a:pt x="47" y="124"/>
                    <a:pt x="55" y="118"/>
                    <a:pt x="63" y="112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7" y="109"/>
                    <a:pt x="81" y="109"/>
                    <a:pt x="85" y="109"/>
                  </a:cubicBezTo>
                  <a:cubicBezTo>
                    <a:pt x="98" y="109"/>
                    <a:pt x="110" y="107"/>
                    <a:pt x="121" y="103"/>
                  </a:cubicBezTo>
                  <a:cubicBezTo>
                    <a:pt x="132" y="98"/>
                    <a:pt x="141" y="92"/>
                    <a:pt x="148" y="85"/>
                  </a:cubicBezTo>
                  <a:cubicBezTo>
                    <a:pt x="154" y="78"/>
                    <a:pt x="158" y="70"/>
                    <a:pt x="158" y="61"/>
                  </a:cubicBezTo>
                  <a:cubicBezTo>
                    <a:pt x="158" y="52"/>
                    <a:pt x="154" y="44"/>
                    <a:pt x="148" y="37"/>
                  </a:cubicBezTo>
                  <a:cubicBezTo>
                    <a:pt x="141" y="29"/>
                    <a:pt x="132" y="23"/>
                    <a:pt x="121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EFCB18B-AF53-4E87-B30D-63F4DC88F81A}"/>
              </a:ext>
            </a:extLst>
          </p:cNvPr>
          <p:cNvGrpSpPr/>
          <p:nvPr/>
        </p:nvGrpSpPr>
        <p:grpSpPr>
          <a:xfrm>
            <a:off x="5079190" y="3914201"/>
            <a:ext cx="262890" cy="262890"/>
            <a:chOff x="5079190" y="3914201"/>
            <a:chExt cx="262890" cy="262890"/>
          </a:xfrm>
        </p:grpSpPr>
        <p:sp>
          <p:nvSpPr>
            <p:cNvPr id="41" name="Oval 40"/>
            <p:cNvSpPr/>
            <p:nvPr/>
          </p:nvSpPr>
          <p:spPr>
            <a:xfrm>
              <a:off x="5079190" y="3914201"/>
              <a:ext cx="262890" cy="2628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636AC908-14B2-443A-B05C-13494EF3938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37771" y="3984060"/>
              <a:ext cx="141937" cy="123168"/>
            </a:xfrm>
            <a:custGeom>
              <a:avLst/>
              <a:gdLst>
                <a:gd name="T0" fmla="*/ 158 w 182"/>
                <a:gd name="T1" fmla="*/ 24 h 158"/>
                <a:gd name="T2" fmla="*/ 175 w 182"/>
                <a:gd name="T3" fmla="*/ 32 h 158"/>
                <a:gd name="T4" fmla="*/ 182 w 182"/>
                <a:gd name="T5" fmla="*/ 49 h 158"/>
                <a:gd name="T6" fmla="*/ 182 w 182"/>
                <a:gd name="T7" fmla="*/ 133 h 158"/>
                <a:gd name="T8" fmla="*/ 175 w 182"/>
                <a:gd name="T9" fmla="*/ 150 h 158"/>
                <a:gd name="T10" fmla="*/ 158 w 182"/>
                <a:gd name="T11" fmla="*/ 158 h 158"/>
                <a:gd name="T12" fmla="*/ 24 w 182"/>
                <a:gd name="T13" fmla="*/ 158 h 158"/>
                <a:gd name="T14" fmla="*/ 7 w 182"/>
                <a:gd name="T15" fmla="*/ 150 h 158"/>
                <a:gd name="T16" fmla="*/ 0 w 182"/>
                <a:gd name="T17" fmla="*/ 133 h 158"/>
                <a:gd name="T18" fmla="*/ 0 w 182"/>
                <a:gd name="T19" fmla="*/ 49 h 158"/>
                <a:gd name="T20" fmla="*/ 7 w 182"/>
                <a:gd name="T21" fmla="*/ 32 h 158"/>
                <a:gd name="T22" fmla="*/ 24 w 182"/>
                <a:gd name="T23" fmla="*/ 24 h 158"/>
                <a:gd name="T24" fmla="*/ 46 w 182"/>
                <a:gd name="T25" fmla="*/ 24 h 158"/>
                <a:gd name="T26" fmla="*/ 50 w 182"/>
                <a:gd name="T27" fmla="*/ 12 h 158"/>
                <a:gd name="T28" fmla="*/ 57 w 182"/>
                <a:gd name="T29" fmla="*/ 4 h 158"/>
                <a:gd name="T30" fmla="*/ 67 w 182"/>
                <a:gd name="T31" fmla="*/ 0 h 158"/>
                <a:gd name="T32" fmla="*/ 115 w 182"/>
                <a:gd name="T33" fmla="*/ 0 h 158"/>
                <a:gd name="T34" fmla="*/ 125 w 182"/>
                <a:gd name="T35" fmla="*/ 4 h 158"/>
                <a:gd name="T36" fmla="*/ 132 w 182"/>
                <a:gd name="T37" fmla="*/ 12 h 158"/>
                <a:gd name="T38" fmla="*/ 136 w 182"/>
                <a:gd name="T39" fmla="*/ 24 h 158"/>
                <a:gd name="T40" fmla="*/ 158 w 182"/>
                <a:gd name="T41" fmla="*/ 24 h 158"/>
                <a:gd name="T42" fmla="*/ 61 w 182"/>
                <a:gd name="T43" fmla="*/ 121 h 158"/>
                <a:gd name="T44" fmla="*/ 91 w 182"/>
                <a:gd name="T45" fmla="*/ 133 h 158"/>
                <a:gd name="T46" fmla="*/ 121 w 182"/>
                <a:gd name="T47" fmla="*/ 121 h 158"/>
                <a:gd name="T48" fmla="*/ 133 w 182"/>
                <a:gd name="T49" fmla="*/ 91 h 158"/>
                <a:gd name="T50" fmla="*/ 121 w 182"/>
                <a:gd name="T51" fmla="*/ 61 h 158"/>
                <a:gd name="T52" fmla="*/ 91 w 182"/>
                <a:gd name="T53" fmla="*/ 49 h 158"/>
                <a:gd name="T54" fmla="*/ 61 w 182"/>
                <a:gd name="T55" fmla="*/ 61 h 158"/>
                <a:gd name="T56" fmla="*/ 49 w 182"/>
                <a:gd name="T57" fmla="*/ 91 h 158"/>
                <a:gd name="T58" fmla="*/ 61 w 182"/>
                <a:gd name="T59" fmla="*/ 121 h 158"/>
                <a:gd name="T60" fmla="*/ 72 w 182"/>
                <a:gd name="T61" fmla="*/ 72 h 158"/>
                <a:gd name="T62" fmla="*/ 91 w 182"/>
                <a:gd name="T63" fmla="*/ 64 h 158"/>
                <a:gd name="T64" fmla="*/ 110 w 182"/>
                <a:gd name="T65" fmla="*/ 72 h 158"/>
                <a:gd name="T66" fmla="*/ 118 w 182"/>
                <a:gd name="T67" fmla="*/ 91 h 158"/>
                <a:gd name="T68" fmla="*/ 110 w 182"/>
                <a:gd name="T69" fmla="*/ 110 h 158"/>
                <a:gd name="T70" fmla="*/ 91 w 182"/>
                <a:gd name="T71" fmla="*/ 118 h 158"/>
                <a:gd name="T72" fmla="*/ 72 w 182"/>
                <a:gd name="T73" fmla="*/ 110 h 158"/>
                <a:gd name="T74" fmla="*/ 64 w 182"/>
                <a:gd name="T75" fmla="*/ 91 h 158"/>
                <a:gd name="T76" fmla="*/ 72 w 182"/>
                <a:gd name="T77" fmla="*/ 7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158">
                  <a:moveTo>
                    <a:pt x="158" y="24"/>
                  </a:moveTo>
                  <a:cubicBezTo>
                    <a:pt x="164" y="24"/>
                    <a:pt x="170" y="27"/>
                    <a:pt x="175" y="32"/>
                  </a:cubicBezTo>
                  <a:cubicBezTo>
                    <a:pt x="179" y="36"/>
                    <a:pt x="182" y="42"/>
                    <a:pt x="182" y="49"/>
                  </a:cubicBezTo>
                  <a:cubicBezTo>
                    <a:pt x="182" y="133"/>
                    <a:pt x="182" y="133"/>
                    <a:pt x="182" y="133"/>
                  </a:cubicBezTo>
                  <a:cubicBezTo>
                    <a:pt x="182" y="140"/>
                    <a:pt x="179" y="146"/>
                    <a:pt x="175" y="150"/>
                  </a:cubicBezTo>
                  <a:cubicBezTo>
                    <a:pt x="170" y="155"/>
                    <a:pt x="164" y="158"/>
                    <a:pt x="158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18" y="158"/>
                    <a:pt x="12" y="155"/>
                    <a:pt x="7" y="150"/>
                  </a:cubicBezTo>
                  <a:cubicBezTo>
                    <a:pt x="3" y="146"/>
                    <a:pt x="0" y="140"/>
                    <a:pt x="0" y="13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3" y="36"/>
                    <a:pt x="7" y="32"/>
                  </a:cubicBezTo>
                  <a:cubicBezTo>
                    <a:pt x="12" y="27"/>
                    <a:pt x="18" y="24"/>
                    <a:pt x="24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2" y="9"/>
                    <a:pt x="54" y="6"/>
                    <a:pt x="57" y="4"/>
                  </a:cubicBezTo>
                  <a:cubicBezTo>
                    <a:pt x="60" y="1"/>
                    <a:pt x="63" y="0"/>
                    <a:pt x="67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2" y="1"/>
                    <a:pt x="125" y="4"/>
                  </a:cubicBezTo>
                  <a:cubicBezTo>
                    <a:pt x="128" y="6"/>
                    <a:pt x="130" y="9"/>
                    <a:pt x="132" y="12"/>
                  </a:cubicBezTo>
                  <a:cubicBezTo>
                    <a:pt x="136" y="24"/>
                    <a:pt x="136" y="24"/>
                    <a:pt x="136" y="24"/>
                  </a:cubicBezTo>
                  <a:lnTo>
                    <a:pt x="158" y="24"/>
                  </a:lnTo>
                  <a:close/>
                  <a:moveTo>
                    <a:pt x="61" y="121"/>
                  </a:moveTo>
                  <a:cubicBezTo>
                    <a:pt x="69" y="129"/>
                    <a:pt x="79" y="133"/>
                    <a:pt x="91" y="133"/>
                  </a:cubicBezTo>
                  <a:cubicBezTo>
                    <a:pt x="103" y="133"/>
                    <a:pt x="113" y="129"/>
                    <a:pt x="121" y="121"/>
                  </a:cubicBezTo>
                  <a:cubicBezTo>
                    <a:pt x="129" y="113"/>
                    <a:pt x="133" y="103"/>
                    <a:pt x="133" y="91"/>
                  </a:cubicBezTo>
                  <a:cubicBezTo>
                    <a:pt x="133" y="79"/>
                    <a:pt x="129" y="69"/>
                    <a:pt x="121" y="61"/>
                  </a:cubicBezTo>
                  <a:cubicBezTo>
                    <a:pt x="113" y="53"/>
                    <a:pt x="103" y="49"/>
                    <a:pt x="91" y="49"/>
                  </a:cubicBezTo>
                  <a:cubicBezTo>
                    <a:pt x="79" y="49"/>
                    <a:pt x="69" y="53"/>
                    <a:pt x="61" y="61"/>
                  </a:cubicBezTo>
                  <a:cubicBezTo>
                    <a:pt x="53" y="69"/>
                    <a:pt x="49" y="79"/>
                    <a:pt x="49" y="91"/>
                  </a:cubicBezTo>
                  <a:cubicBezTo>
                    <a:pt x="49" y="103"/>
                    <a:pt x="53" y="113"/>
                    <a:pt x="61" y="121"/>
                  </a:cubicBezTo>
                  <a:close/>
                  <a:moveTo>
                    <a:pt x="72" y="72"/>
                  </a:moveTo>
                  <a:cubicBezTo>
                    <a:pt x="77" y="66"/>
                    <a:pt x="83" y="64"/>
                    <a:pt x="91" y="64"/>
                  </a:cubicBezTo>
                  <a:cubicBezTo>
                    <a:pt x="98" y="64"/>
                    <a:pt x="105" y="66"/>
                    <a:pt x="110" y="72"/>
                  </a:cubicBezTo>
                  <a:cubicBezTo>
                    <a:pt x="116" y="77"/>
                    <a:pt x="118" y="84"/>
                    <a:pt x="118" y="91"/>
                  </a:cubicBezTo>
                  <a:cubicBezTo>
                    <a:pt x="118" y="99"/>
                    <a:pt x="116" y="105"/>
                    <a:pt x="110" y="110"/>
                  </a:cubicBezTo>
                  <a:cubicBezTo>
                    <a:pt x="105" y="116"/>
                    <a:pt x="98" y="118"/>
                    <a:pt x="91" y="118"/>
                  </a:cubicBezTo>
                  <a:cubicBezTo>
                    <a:pt x="83" y="118"/>
                    <a:pt x="77" y="116"/>
                    <a:pt x="72" y="110"/>
                  </a:cubicBezTo>
                  <a:cubicBezTo>
                    <a:pt x="66" y="105"/>
                    <a:pt x="64" y="99"/>
                    <a:pt x="64" y="91"/>
                  </a:cubicBezTo>
                  <a:cubicBezTo>
                    <a:pt x="64" y="84"/>
                    <a:pt x="66" y="77"/>
                    <a:pt x="72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635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144" y="1483705"/>
            <a:ext cx="7131712" cy="3692776"/>
          </a:xfrm>
          <a:prstGeom prst="rect">
            <a:avLst/>
          </a:prstGeom>
        </p:spPr>
      </p:pic>
      <p:sp>
        <p:nvSpPr>
          <p:cNvPr id="23" name="Text Placeholder 22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Single web </a:t>
            </a:r>
            <a:r>
              <a:rPr lang="en-US">
                <a:solidFill>
                  <a:schemeClr val="accent2"/>
                </a:solidFill>
              </a:rPr>
              <a:t>portfolio show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7922931" y="3067010"/>
            <a:ext cx="361990" cy="361990"/>
            <a:chOff x="8382000" y="2809855"/>
            <a:chExt cx="279400" cy="279400"/>
          </a:xfrm>
        </p:grpSpPr>
        <p:sp>
          <p:nvSpPr>
            <p:cNvPr id="17" name="Oval 16">
              <a:hlinkClick r:id="" action="ppaction://hlinkshowjump?jump=nextslide"/>
            </p:cNvPr>
            <p:cNvSpPr/>
            <p:nvPr/>
          </p:nvSpPr>
          <p:spPr>
            <a:xfrm>
              <a:off x="8382000" y="2809855"/>
              <a:ext cx="279400" cy="279400"/>
            </a:xfrm>
            <a:prstGeom prst="ellipse">
              <a:avLst/>
            </a:prstGeom>
            <a:solidFill>
              <a:schemeClr val="accent2">
                <a:alpha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8" name="Freeform 5">
              <a:hlinkClick r:id="" action="ppaction://hlinkshowjump?jump=nextslide"/>
            </p:cNvPr>
            <p:cNvSpPr>
              <a:spLocks/>
            </p:cNvSpPr>
            <p:nvPr/>
          </p:nvSpPr>
          <p:spPr bwMode="auto">
            <a:xfrm>
              <a:off x="8492149" y="2883448"/>
              <a:ext cx="78153" cy="132214"/>
            </a:xfrm>
            <a:custGeom>
              <a:avLst/>
              <a:gdLst>
                <a:gd name="T0" fmla="*/ 277 w 3994"/>
                <a:gd name="T1" fmla="*/ 6568 h 6819"/>
                <a:gd name="T2" fmla="*/ 277 w 3994"/>
                <a:gd name="T3" fmla="*/ 5660 h 6819"/>
                <a:gd name="T4" fmla="*/ 2436 w 3994"/>
                <a:gd name="T5" fmla="*/ 3409 h 6819"/>
                <a:gd name="T6" fmla="*/ 277 w 3994"/>
                <a:gd name="T7" fmla="*/ 1158 h 6819"/>
                <a:gd name="T8" fmla="*/ 277 w 3994"/>
                <a:gd name="T9" fmla="*/ 251 h 6819"/>
                <a:gd name="T10" fmla="*/ 1208 w 3994"/>
                <a:gd name="T11" fmla="*/ 251 h 6819"/>
                <a:gd name="T12" fmla="*/ 3801 w 3994"/>
                <a:gd name="T13" fmla="*/ 2956 h 6819"/>
                <a:gd name="T14" fmla="*/ 3994 w 3994"/>
                <a:gd name="T15" fmla="*/ 3409 h 6819"/>
                <a:gd name="T16" fmla="*/ 3801 w 3994"/>
                <a:gd name="T17" fmla="*/ 3863 h 6819"/>
                <a:gd name="T18" fmla="*/ 1208 w 3994"/>
                <a:gd name="T19" fmla="*/ 6568 h 6819"/>
                <a:gd name="T20" fmla="*/ 277 w 3994"/>
                <a:gd name="T21" fmla="*/ 6568 h 6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94" h="6819">
                  <a:moveTo>
                    <a:pt x="277" y="6568"/>
                  </a:moveTo>
                  <a:cubicBezTo>
                    <a:pt x="20" y="6317"/>
                    <a:pt x="0" y="5967"/>
                    <a:pt x="277" y="5660"/>
                  </a:cubicBezTo>
                  <a:cubicBezTo>
                    <a:pt x="2436" y="3409"/>
                    <a:pt x="2436" y="3409"/>
                    <a:pt x="2436" y="3409"/>
                  </a:cubicBezTo>
                  <a:cubicBezTo>
                    <a:pt x="277" y="1158"/>
                    <a:pt x="277" y="1158"/>
                    <a:pt x="277" y="1158"/>
                  </a:cubicBezTo>
                  <a:cubicBezTo>
                    <a:pt x="0" y="851"/>
                    <a:pt x="20" y="501"/>
                    <a:pt x="277" y="251"/>
                  </a:cubicBezTo>
                  <a:cubicBezTo>
                    <a:pt x="534" y="0"/>
                    <a:pt x="967" y="16"/>
                    <a:pt x="1208" y="251"/>
                  </a:cubicBezTo>
                  <a:cubicBezTo>
                    <a:pt x="1448" y="485"/>
                    <a:pt x="3801" y="2956"/>
                    <a:pt x="3801" y="2956"/>
                  </a:cubicBezTo>
                  <a:cubicBezTo>
                    <a:pt x="3929" y="3081"/>
                    <a:pt x="3994" y="3245"/>
                    <a:pt x="3994" y="3409"/>
                  </a:cubicBezTo>
                  <a:cubicBezTo>
                    <a:pt x="3994" y="3573"/>
                    <a:pt x="3929" y="3737"/>
                    <a:pt x="3801" y="3863"/>
                  </a:cubicBezTo>
                  <a:cubicBezTo>
                    <a:pt x="3801" y="3863"/>
                    <a:pt x="1448" y="6333"/>
                    <a:pt x="1208" y="6568"/>
                  </a:cubicBezTo>
                  <a:cubicBezTo>
                    <a:pt x="967" y="6803"/>
                    <a:pt x="534" y="6819"/>
                    <a:pt x="277" y="65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 rot="10800000">
            <a:off x="818412" y="3067010"/>
            <a:ext cx="361990" cy="361990"/>
            <a:chOff x="8382000" y="2809855"/>
            <a:chExt cx="279400" cy="279400"/>
          </a:xfrm>
        </p:grpSpPr>
        <p:sp>
          <p:nvSpPr>
            <p:cNvPr id="20" name="Oval 19">
              <a:hlinkClick r:id="" action="ppaction://hlinkshowjump?jump=previousslide"/>
            </p:cNvPr>
            <p:cNvSpPr/>
            <p:nvPr/>
          </p:nvSpPr>
          <p:spPr>
            <a:xfrm>
              <a:off x="8382000" y="2809855"/>
              <a:ext cx="279400" cy="279400"/>
            </a:xfrm>
            <a:prstGeom prst="ellipse">
              <a:avLst/>
            </a:prstGeom>
            <a:solidFill>
              <a:schemeClr val="accent2">
                <a:alpha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1" name="Freeform 5">
              <a:hlinkClick r:id="" action="ppaction://hlinkshowjump?jump=previousslide"/>
            </p:cNvPr>
            <p:cNvSpPr>
              <a:spLocks/>
            </p:cNvSpPr>
            <p:nvPr/>
          </p:nvSpPr>
          <p:spPr bwMode="auto">
            <a:xfrm>
              <a:off x="8492149" y="2883448"/>
              <a:ext cx="78153" cy="132214"/>
            </a:xfrm>
            <a:custGeom>
              <a:avLst/>
              <a:gdLst>
                <a:gd name="T0" fmla="*/ 277 w 3994"/>
                <a:gd name="T1" fmla="*/ 6568 h 6819"/>
                <a:gd name="T2" fmla="*/ 277 w 3994"/>
                <a:gd name="T3" fmla="*/ 5660 h 6819"/>
                <a:gd name="T4" fmla="*/ 2436 w 3994"/>
                <a:gd name="T5" fmla="*/ 3409 h 6819"/>
                <a:gd name="T6" fmla="*/ 277 w 3994"/>
                <a:gd name="T7" fmla="*/ 1158 h 6819"/>
                <a:gd name="T8" fmla="*/ 277 w 3994"/>
                <a:gd name="T9" fmla="*/ 251 h 6819"/>
                <a:gd name="T10" fmla="*/ 1208 w 3994"/>
                <a:gd name="T11" fmla="*/ 251 h 6819"/>
                <a:gd name="T12" fmla="*/ 3801 w 3994"/>
                <a:gd name="T13" fmla="*/ 2956 h 6819"/>
                <a:gd name="T14" fmla="*/ 3994 w 3994"/>
                <a:gd name="T15" fmla="*/ 3409 h 6819"/>
                <a:gd name="T16" fmla="*/ 3801 w 3994"/>
                <a:gd name="T17" fmla="*/ 3863 h 6819"/>
                <a:gd name="T18" fmla="*/ 1208 w 3994"/>
                <a:gd name="T19" fmla="*/ 6568 h 6819"/>
                <a:gd name="T20" fmla="*/ 277 w 3994"/>
                <a:gd name="T21" fmla="*/ 6568 h 6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94" h="6819">
                  <a:moveTo>
                    <a:pt x="277" y="6568"/>
                  </a:moveTo>
                  <a:cubicBezTo>
                    <a:pt x="20" y="6317"/>
                    <a:pt x="0" y="5967"/>
                    <a:pt x="277" y="5660"/>
                  </a:cubicBezTo>
                  <a:cubicBezTo>
                    <a:pt x="2436" y="3409"/>
                    <a:pt x="2436" y="3409"/>
                    <a:pt x="2436" y="3409"/>
                  </a:cubicBezTo>
                  <a:cubicBezTo>
                    <a:pt x="277" y="1158"/>
                    <a:pt x="277" y="1158"/>
                    <a:pt x="277" y="1158"/>
                  </a:cubicBezTo>
                  <a:cubicBezTo>
                    <a:pt x="0" y="851"/>
                    <a:pt x="20" y="501"/>
                    <a:pt x="277" y="251"/>
                  </a:cubicBezTo>
                  <a:cubicBezTo>
                    <a:pt x="534" y="0"/>
                    <a:pt x="967" y="16"/>
                    <a:pt x="1208" y="251"/>
                  </a:cubicBezTo>
                  <a:cubicBezTo>
                    <a:pt x="1448" y="485"/>
                    <a:pt x="3801" y="2956"/>
                    <a:pt x="3801" y="2956"/>
                  </a:cubicBezTo>
                  <a:cubicBezTo>
                    <a:pt x="3929" y="3081"/>
                    <a:pt x="3994" y="3245"/>
                    <a:pt x="3994" y="3409"/>
                  </a:cubicBezTo>
                  <a:cubicBezTo>
                    <a:pt x="3994" y="3573"/>
                    <a:pt x="3929" y="3737"/>
                    <a:pt x="3801" y="3863"/>
                  </a:cubicBezTo>
                  <a:cubicBezTo>
                    <a:pt x="3801" y="3863"/>
                    <a:pt x="1448" y="6333"/>
                    <a:pt x="1208" y="6568"/>
                  </a:cubicBezTo>
                  <a:cubicBezTo>
                    <a:pt x="967" y="6803"/>
                    <a:pt x="534" y="6819"/>
                    <a:pt x="277" y="65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962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94024" y="1543050"/>
            <a:ext cx="8562637" cy="10731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850" y="1791190"/>
            <a:ext cx="4135255" cy="239409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project showcase </a:t>
            </a:r>
            <a:r>
              <a:rPr lang="en-US">
                <a:solidFill>
                  <a:schemeClr val="accent2"/>
                </a:solidFill>
              </a:rPr>
              <a:t>in lapto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129213" y="1943100"/>
            <a:ext cx="2645567" cy="1885950"/>
          </a:xfrm>
          <a:custGeom>
            <a:avLst/>
            <a:gdLst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2014537 h 2014537"/>
              <a:gd name="connsiteX4" fmla="*/ 0 w 3243262"/>
              <a:gd name="connsiteY4" fmla="*/ 0 h 2014537"/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0 h 201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3262" h="2014537">
                <a:moveTo>
                  <a:pt x="0" y="0"/>
                </a:moveTo>
                <a:lnTo>
                  <a:pt x="3243262" y="0"/>
                </a:lnTo>
                <a:lnTo>
                  <a:pt x="3243262" y="201453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7877" y="1953824"/>
            <a:ext cx="2507190" cy="4846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990" y="1692636"/>
            <a:ext cx="2507090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Client: </a:t>
            </a: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Company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225021" y="2809867"/>
            <a:ext cx="206004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Clean Coding: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225021" y="3276338"/>
            <a:ext cx="206004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User Friendly: 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o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06479" y="3952825"/>
            <a:ext cx="2478588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.</a:t>
            </a:r>
          </a:p>
        </p:txBody>
      </p:sp>
      <p:cxnSp>
        <p:nvCxnSpPr>
          <p:cNvPr id="51" name="Straight Connector 50"/>
          <p:cNvCxnSpPr/>
          <p:nvPr/>
        </p:nvCxnSpPr>
        <p:spPr>
          <a:xfrm>
            <a:off x="806479" y="3900488"/>
            <a:ext cx="247858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08EE815F-89DC-46B3-8FEC-503BB656EDA2}"/>
              </a:ext>
            </a:extLst>
          </p:cNvPr>
          <p:cNvSpPr/>
          <p:nvPr/>
        </p:nvSpPr>
        <p:spPr>
          <a:xfrm>
            <a:off x="823799" y="2814558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6481F7-0851-4CE6-A6EA-FE0612C804E6}"/>
              </a:ext>
            </a:extLst>
          </p:cNvPr>
          <p:cNvSpPr/>
          <p:nvPr/>
        </p:nvSpPr>
        <p:spPr>
          <a:xfrm>
            <a:off x="823799" y="3303545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1" name="Freeform 168">
            <a:extLst>
              <a:ext uri="{FF2B5EF4-FFF2-40B4-BE49-F238E27FC236}">
                <a16:creationId xmlns:a16="http://schemas.microsoft.com/office/drawing/2014/main" id="{0B7B79CC-AB0A-49F6-B7BA-EC88813E07F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2139" y="2870046"/>
            <a:ext cx="154495" cy="153011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" name="Freeform 12">
            <a:extLst>
              <a:ext uri="{FF2B5EF4-FFF2-40B4-BE49-F238E27FC236}">
                <a16:creationId xmlns:a16="http://schemas.microsoft.com/office/drawing/2014/main" id="{B755901D-639D-466F-84CC-E83C09CA74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1327" y="3356483"/>
            <a:ext cx="130727" cy="144097"/>
          </a:xfrm>
          <a:custGeom>
            <a:avLst/>
            <a:gdLst>
              <a:gd name="T0" fmla="*/ 133 w 133"/>
              <a:gd name="T1" fmla="*/ 121 h 146"/>
              <a:gd name="T2" fmla="*/ 126 w 133"/>
              <a:gd name="T3" fmla="*/ 139 h 146"/>
              <a:gd name="T4" fmla="*/ 108 w 133"/>
              <a:gd name="T5" fmla="*/ 146 h 146"/>
              <a:gd name="T6" fmla="*/ 25 w 133"/>
              <a:gd name="T7" fmla="*/ 146 h 146"/>
              <a:gd name="T8" fmla="*/ 7 w 133"/>
              <a:gd name="T9" fmla="*/ 139 h 146"/>
              <a:gd name="T10" fmla="*/ 0 w 133"/>
              <a:gd name="T11" fmla="*/ 121 h 146"/>
              <a:gd name="T12" fmla="*/ 0 w 133"/>
              <a:gd name="T13" fmla="*/ 111 h 146"/>
              <a:gd name="T14" fmla="*/ 2 w 133"/>
              <a:gd name="T15" fmla="*/ 101 h 146"/>
              <a:gd name="T16" fmla="*/ 4 w 133"/>
              <a:gd name="T17" fmla="*/ 91 h 146"/>
              <a:gd name="T18" fmla="*/ 8 w 133"/>
              <a:gd name="T19" fmla="*/ 82 h 146"/>
              <a:gd name="T20" fmla="*/ 14 w 133"/>
              <a:gd name="T21" fmla="*/ 74 h 146"/>
              <a:gd name="T22" fmla="*/ 22 w 133"/>
              <a:gd name="T23" fmla="*/ 69 h 146"/>
              <a:gd name="T24" fmla="*/ 33 w 133"/>
              <a:gd name="T25" fmla="*/ 67 h 146"/>
              <a:gd name="T26" fmla="*/ 37 w 133"/>
              <a:gd name="T27" fmla="*/ 69 h 146"/>
              <a:gd name="T28" fmla="*/ 44 w 133"/>
              <a:gd name="T29" fmla="*/ 73 h 146"/>
              <a:gd name="T30" fmla="*/ 54 w 133"/>
              <a:gd name="T31" fmla="*/ 78 h 146"/>
              <a:gd name="T32" fmla="*/ 66 w 133"/>
              <a:gd name="T33" fmla="*/ 80 h 146"/>
              <a:gd name="T34" fmla="*/ 79 w 133"/>
              <a:gd name="T35" fmla="*/ 78 h 146"/>
              <a:gd name="T36" fmla="*/ 89 w 133"/>
              <a:gd name="T37" fmla="*/ 73 h 146"/>
              <a:gd name="T38" fmla="*/ 96 w 133"/>
              <a:gd name="T39" fmla="*/ 69 h 146"/>
              <a:gd name="T40" fmla="*/ 100 w 133"/>
              <a:gd name="T41" fmla="*/ 67 h 146"/>
              <a:gd name="T42" fmla="*/ 111 w 133"/>
              <a:gd name="T43" fmla="*/ 69 h 146"/>
              <a:gd name="T44" fmla="*/ 119 w 133"/>
              <a:gd name="T45" fmla="*/ 74 h 146"/>
              <a:gd name="T46" fmla="*/ 125 w 133"/>
              <a:gd name="T47" fmla="*/ 82 h 146"/>
              <a:gd name="T48" fmla="*/ 129 w 133"/>
              <a:gd name="T49" fmla="*/ 91 h 146"/>
              <a:gd name="T50" fmla="*/ 131 w 133"/>
              <a:gd name="T51" fmla="*/ 101 h 146"/>
              <a:gd name="T52" fmla="*/ 133 w 133"/>
              <a:gd name="T53" fmla="*/ 111 h 146"/>
              <a:gd name="T54" fmla="*/ 133 w 133"/>
              <a:gd name="T55" fmla="*/ 121 h 146"/>
              <a:gd name="T56" fmla="*/ 92 w 133"/>
              <a:gd name="T57" fmla="*/ 11 h 146"/>
              <a:gd name="T58" fmla="*/ 103 w 133"/>
              <a:gd name="T59" fmla="*/ 37 h 146"/>
              <a:gd name="T60" fmla="*/ 92 w 133"/>
              <a:gd name="T61" fmla="*/ 62 h 146"/>
              <a:gd name="T62" fmla="*/ 66 w 133"/>
              <a:gd name="T63" fmla="*/ 73 h 146"/>
              <a:gd name="T64" fmla="*/ 41 w 133"/>
              <a:gd name="T65" fmla="*/ 62 h 146"/>
              <a:gd name="T66" fmla="*/ 30 w 133"/>
              <a:gd name="T67" fmla="*/ 37 h 146"/>
              <a:gd name="T68" fmla="*/ 41 w 133"/>
              <a:gd name="T69" fmla="*/ 11 h 146"/>
              <a:gd name="T70" fmla="*/ 66 w 133"/>
              <a:gd name="T71" fmla="*/ 0 h 146"/>
              <a:gd name="T72" fmla="*/ 92 w 133"/>
              <a:gd name="T73" fmla="*/ 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3" h="146">
                <a:moveTo>
                  <a:pt x="133" y="121"/>
                </a:moveTo>
                <a:cubicBezTo>
                  <a:pt x="133" y="129"/>
                  <a:pt x="131" y="135"/>
                  <a:pt x="126" y="139"/>
                </a:cubicBezTo>
                <a:cubicBezTo>
                  <a:pt x="121" y="143"/>
                  <a:pt x="115" y="146"/>
                  <a:pt x="108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17" y="146"/>
                  <a:pt x="11" y="143"/>
                  <a:pt x="7" y="139"/>
                </a:cubicBezTo>
                <a:cubicBezTo>
                  <a:pt x="2" y="135"/>
                  <a:pt x="0" y="129"/>
                  <a:pt x="0" y="121"/>
                </a:cubicBezTo>
                <a:cubicBezTo>
                  <a:pt x="0" y="118"/>
                  <a:pt x="0" y="114"/>
                  <a:pt x="0" y="111"/>
                </a:cubicBezTo>
                <a:cubicBezTo>
                  <a:pt x="0" y="108"/>
                  <a:pt x="1" y="105"/>
                  <a:pt x="2" y="101"/>
                </a:cubicBezTo>
                <a:cubicBezTo>
                  <a:pt x="2" y="97"/>
                  <a:pt x="3" y="94"/>
                  <a:pt x="4" y="91"/>
                </a:cubicBezTo>
                <a:cubicBezTo>
                  <a:pt x="5" y="88"/>
                  <a:pt x="6" y="85"/>
                  <a:pt x="8" y="82"/>
                </a:cubicBezTo>
                <a:cubicBezTo>
                  <a:pt x="10" y="79"/>
                  <a:pt x="12" y="76"/>
                  <a:pt x="14" y="74"/>
                </a:cubicBezTo>
                <a:cubicBezTo>
                  <a:pt x="16" y="72"/>
                  <a:pt x="19" y="70"/>
                  <a:pt x="22" y="69"/>
                </a:cubicBezTo>
                <a:cubicBezTo>
                  <a:pt x="25" y="68"/>
                  <a:pt x="29" y="67"/>
                  <a:pt x="33" y="67"/>
                </a:cubicBezTo>
                <a:cubicBezTo>
                  <a:pt x="33" y="67"/>
                  <a:pt x="34" y="68"/>
                  <a:pt x="37" y="69"/>
                </a:cubicBezTo>
                <a:cubicBezTo>
                  <a:pt x="39" y="70"/>
                  <a:pt x="41" y="72"/>
                  <a:pt x="44" y="73"/>
                </a:cubicBezTo>
                <a:cubicBezTo>
                  <a:pt x="46" y="75"/>
                  <a:pt x="50" y="77"/>
                  <a:pt x="54" y="78"/>
                </a:cubicBezTo>
                <a:cubicBezTo>
                  <a:pt x="58" y="79"/>
                  <a:pt x="62" y="80"/>
                  <a:pt x="66" y="80"/>
                </a:cubicBezTo>
                <a:cubicBezTo>
                  <a:pt x="71" y="80"/>
                  <a:pt x="75" y="79"/>
                  <a:pt x="79" y="78"/>
                </a:cubicBezTo>
                <a:cubicBezTo>
                  <a:pt x="83" y="77"/>
                  <a:pt x="87" y="75"/>
                  <a:pt x="89" y="73"/>
                </a:cubicBezTo>
                <a:cubicBezTo>
                  <a:pt x="92" y="72"/>
                  <a:pt x="94" y="70"/>
                  <a:pt x="96" y="69"/>
                </a:cubicBezTo>
                <a:cubicBezTo>
                  <a:pt x="98" y="68"/>
                  <a:pt x="100" y="67"/>
                  <a:pt x="100" y="67"/>
                </a:cubicBezTo>
                <a:cubicBezTo>
                  <a:pt x="104" y="67"/>
                  <a:pt x="108" y="68"/>
                  <a:pt x="111" y="69"/>
                </a:cubicBezTo>
                <a:cubicBezTo>
                  <a:pt x="114" y="70"/>
                  <a:pt x="117" y="72"/>
                  <a:pt x="119" y="74"/>
                </a:cubicBezTo>
                <a:cubicBezTo>
                  <a:pt x="121" y="76"/>
                  <a:pt x="123" y="79"/>
                  <a:pt x="125" y="82"/>
                </a:cubicBezTo>
                <a:cubicBezTo>
                  <a:pt x="126" y="85"/>
                  <a:pt x="128" y="88"/>
                  <a:pt x="129" y="91"/>
                </a:cubicBezTo>
                <a:cubicBezTo>
                  <a:pt x="130" y="94"/>
                  <a:pt x="131" y="97"/>
                  <a:pt x="131" y="101"/>
                </a:cubicBezTo>
                <a:cubicBezTo>
                  <a:pt x="132" y="105"/>
                  <a:pt x="132" y="108"/>
                  <a:pt x="133" y="111"/>
                </a:cubicBezTo>
                <a:cubicBezTo>
                  <a:pt x="133" y="114"/>
                  <a:pt x="133" y="118"/>
                  <a:pt x="133" y="121"/>
                </a:cubicBezTo>
                <a:close/>
                <a:moveTo>
                  <a:pt x="92" y="11"/>
                </a:moveTo>
                <a:cubicBezTo>
                  <a:pt x="99" y="18"/>
                  <a:pt x="103" y="27"/>
                  <a:pt x="103" y="37"/>
                </a:cubicBezTo>
                <a:cubicBezTo>
                  <a:pt x="103" y="47"/>
                  <a:pt x="99" y="55"/>
                  <a:pt x="92" y="62"/>
                </a:cubicBezTo>
                <a:cubicBezTo>
                  <a:pt x="85" y="69"/>
                  <a:pt x="76" y="73"/>
                  <a:pt x="66" y="73"/>
                </a:cubicBezTo>
                <a:cubicBezTo>
                  <a:pt x="56" y="73"/>
                  <a:pt x="48" y="69"/>
                  <a:pt x="41" y="62"/>
                </a:cubicBezTo>
                <a:cubicBezTo>
                  <a:pt x="34" y="55"/>
                  <a:pt x="30" y="47"/>
                  <a:pt x="30" y="37"/>
                </a:cubicBezTo>
                <a:cubicBezTo>
                  <a:pt x="30" y="27"/>
                  <a:pt x="34" y="18"/>
                  <a:pt x="41" y="11"/>
                </a:cubicBezTo>
                <a:cubicBezTo>
                  <a:pt x="48" y="4"/>
                  <a:pt x="56" y="0"/>
                  <a:pt x="66" y="0"/>
                </a:cubicBezTo>
                <a:cubicBezTo>
                  <a:pt x="76" y="0"/>
                  <a:pt x="85" y="4"/>
                  <a:pt x="92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943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287339" y="1546941"/>
            <a:ext cx="8569324" cy="10731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87" y="1712041"/>
            <a:ext cx="3166588" cy="3462192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Single project </a:t>
            </a:r>
            <a:r>
              <a:rPr lang="en-US">
                <a:solidFill>
                  <a:schemeClr val="accent2"/>
                </a:solidFill>
              </a:rPr>
              <a:t>show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Rectangle 7"/>
          <p:cNvSpPr/>
          <p:nvPr/>
        </p:nvSpPr>
        <p:spPr>
          <a:xfrm>
            <a:off x="2400301" y="1912226"/>
            <a:ext cx="1290638" cy="1628933"/>
          </a:xfrm>
          <a:custGeom>
            <a:avLst/>
            <a:gdLst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2014537 h 2014537"/>
              <a:gd name="connsiteX4" fmla="*/ 0 w 3243262"/>
              <a:gd name="connsiteY4" fmla="*/ 0 h 2014537"/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0 h 201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3262" h="2014537">
                <a:moveTo>
                  <a:pt x="0" y="0"/>
                </a:moveTo>
                <a:lnTo>
                  <a:pt x="3243262" y="0"/>
                </a:lnTo>
                <a:lnTo>
                  <a:pt x="3243262" y="201453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3479086" y="2360853"/>
            <a:ext cx="738028" cy="73802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18357" y="2009965"/>
            <a:ext cx="3032123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18470" y="1748777"/>
            <a:ext cx="3032002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Client: </a:t>
            </a: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Compan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040102" y="2813758"/>
            <a:ext cx="1255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Clean Coding: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i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r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652" y="2813758"/>
            <a:ext cx="1255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Responsive Design: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or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perspici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i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040102" y="3528930"/>
            <a:ext cx="1255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Clean Coding: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i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32652" y="3528930"/>
            <a:ext cx="1255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en-US" sz="1000" b="1">
                <a:solidFill>
                  <a:schemeClr val="accent1"/>
                </a:solidFill>
                <a:latin typeface="+mj-lt"/>
              </a:rPr>
              <a:t>Clean Coding: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is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atus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EFC35F-F4A2-4E9B-B5A4-39D0D9F2E7F5}"/>
              </a:ext>
            </a:extLst>
          </p:cNvPr>
          <p:cNvSpPr/>
          <p:nvPr/>
        </p:nvSpPr>
        <p:spPr>
          <a:xfrm>
            <a:off x="4693841" y="2816998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0" name="Freeform 168">
            <a:extLst>
              <a:ext uri="{FF2B5EF4-FFF2-40B4-BE49-F238E27FC236}">
                <a16:creationId xmlns:a16="http://schemas.microsoft.com/office/drawing/2014/main" id="{0C98F849-8880-4605-A24C-BA1EA7FE0FC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52181" y="2872486"/>
            <a:ext cx="154495" cy="153011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256A9E0-AA8B-447B-B0C5-DACE62EDA9A7}"/>
              </a:ext>
            </a:extLst>
          </p:cNvPr>
          <p:cNvSpPr/>
          <p:nvPr/>
        </p:nvSpPr>
        <p:spPr>
          <a:xfrm>
            <a:off x="4693841" y="3570511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3" name="Freeform 12">
            <a:extLst>
              <a:ext uri="{FF2B5EF4-FFF2-40B4-BE49-F238E27FC236}">
                <a16:creationId xmlns:a16="http://schemas.microsoft.com/office/drawing/2014/main" id="{F7B78BCD-2155-4C30-8EEA-4C2650C78F3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61369" y="3623449"/>
            <a:ext cx="130727" cy="144097"/>
          </a:xfrm>
          <a:custGeom>
            <a:avLst/>
            <a:gdLst>
              <a:gd name="T0" fmla="*/ 133 w 133"/>
              <a:gd name="T1" fmla="*/ 121 h 146"/>
              <a:gd name="T2" fmla="*/ 126 w 133"/>
              <a:gd name="T3" fmla="*/ 139 h 146"/>
              <a:gd name="T4" fmla="*/ 108 w 133"/>
              <a:gd name="T5" fmla="*/ 146 h 146"/>
              <a:gd name="T6" fmla="*/ 25 w 133"/>
              <a:gd name="T7" fmla="*/ 146 h 146"/>
              <a:gd name="T8" fmla="*/ 7 w 133"/>
              <a:gd name="T9" fmla="*/ 139 h 146"/>
              <a:gd name="T10" fmla="*/ 0 w 133"/>
              <a:gd name="T11" fmla="*/ 121 h 146"/>
              <a:gd name="T12" fmla="*/ 0 w 133"/>
              <a:gd name="T13" fmla="*/ 111 h 146"/>
              <a:gd name="T14" fmla="*/ 2 w 133"/>
              <a:gd name="T15" fmla="*/ 101 h 146"/>
              <a:gd name="T16" fmla="*/ 4 w 133"/>
              <a:gd name="T17" fmla="*/ 91 h 146"/>
              <a:gd name="T18" fmla="*/ 8 w 133"/>
              <a:gd name="T19" fmla="*/ 82 h 146"/>
              <a:gd name="T20" fmla="*/ 14 w 133"/>
              <a:gd name="T21" fmla="*/ 74 h 146"/>
              <a:gd name="T22" fmla="*/ 22 w 133"/>
              <a:gd name="T23" fmla="*/ 69 h 146"/>
              <a:gd name="T24" fmla="*/ 33 w 133"/>
              <a:gd name="T25" fmla="*/ 67 h 146"/>
              <a:gd name="T26" fmla="*/ 37 w 133"/>
              <a:gd name="T27" fmla="*/ 69 h 146"/>
              <a:gd name="T28" fmla="*/ 44 w 133"/>
              <a:gd name="T29" fmla="*/ 73 h 146"/>
              <a:gd name="T30" fmla="*/ 54 w 133"/>
              <a:gd name="T31" fmla="*/ 78 h 146"/>
              <a:gd name="T32" fmla="*/ 66 w 133"/>
              <a:gd name="T33" fmla="*/ 80 h 146"/>
              <a:gd name="T34" fmla="*/ 79 w 133"/>
              <a:gd name="T35" fmla="*/ 78 h 146"/>
              <a:gd name="T36" fmla="*/ 89 w 133"/>
              <a:gd name="T37" fmla="*/ 73 h 146"/>
              <a:gd name="T38" fmla="*/ 96 w 133"/>
              <a:gd name="T39" fmla="*/ 69 h 146"/>
              <a:gd name="T40" fmla="*/ 100 w 133"/>
              <a:gd name="T41" fmla="*/ 67 h 146"/>
              <a:gd name="T42" fmla="*/ 111 w 133"/>
              <a:gd name="T43" fmla="*/ 69 h 146"/>
              <a:gd name="T44" fmla="*/ 119 w 133"/>
              <a:gd name="T45" fmla="*/ 74 h 146"/>
              <a:gd name="T46" fmla="*/ 125 w 133"/>
              <a:gd name="T47" fmla="*/ 82 h 146"/>
              <a:gd name="T48" fmla="*/ 129 w 133"/>
              <a:gd name="T49" fmla="*/ 91 h 146"/>
              <a:gd name="T50" fmla="*/ 131 w 133"/>
              <a:gd name="T51" fmla="*/ 101 h 146"/>
              <a:gd name="T52" fmla="*/ 133 w 133"/>
              <a:gd name="T53" fmla="*/ 111 h 146"/>
              <a:gd name="T54" fmla="*/ 133 w 133"/>
              <a:gd name="T55" fmla="*/ 121 h 146"/>
              <a:gd name="T56" fmla="*/ 92 w 133"/>
              <a:gd name="T57" fmla="*/ 11 h 146"/>
              <a:gd name="T58" fmla="*/ 103 w 133"/>
              <a:gd name="T59" fmla="*/ 37 h 146"/>
              <a:gd name="T60" fmla="*/ 92 w 133"/>
              <a:gd name="T61" fmla="*/ 62 h 146"/>
              <a:gd name="T62" fmla="*/ 66 w 133"/>
              <a:gd name="T63" fmla="*/ 73 h 146"/>
              <a:gd name="T64" fmla="*/ 41 w 133"/>
              <a:gd name="T65" fmla="*/ 62 h 146"/>
              <a:gd name="T66" fmla="*/ 30 w 133"/>
              <a:gd name="T67" fmla="*/ 37 h 146"/>
              <a:gd name="T68" fmla="*/ 41 w 133"/>
              <a:gd name="T69" fmla="*/ 11 h 146"/>
              <a:gd name="T70" fmla="*/ 66 w 133"/>
              <a:gd name="T71" fmla="*/ 0 h 146"/>
              <a:gd name="T72" fmla="*/ 92 w 133"/>
              <a:gd name="T73" fmla="*/ 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3" h="146">
                <a:moveTo>
                  <a:pt x="133" y="121"/>
                </a:moveTo>
                <a:cubicBezTo>
                  <a:pt x="133" y="129"/>
                  <a:pt x="131" y="135"/>
                  <a:pt x="126" y="139"/>
                </a:cubicBezTo>
                <a:cubicBezTo>
                  <a:pt x="121" y="143"/>
                  <a:pt x="115" y="146"/>
                  <a:pt x="108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17" y="146"/>
                  <a:pt x="11" y="143"/>
                  <a:pt x="7" y="139"/>
                </a:cubicBezTo>
                <a:cubicBezTo>
                  <a:pt x="2" y="135"/>
                  <a:pt x="0" y="129"/>
                  <a:pt x="0" y="121"/>
                </a:cubicBezTo>
                <a:cubicBezTo>
                  <a:pt x="0" y="118"/>
                  <a:pt x="0" y="114"/>
                  <a:pt x="0" y="111"/>
                </a:cubicBezTo>
                <a:cubicBezTo>
                  <a:pt x="0" y="108"/>
                  <a:pt x="1" y="105"/>
                  <a:pt x="2" y="101"/>
                </a:cubicBezTo>
                <a:cubicBezTo>
                  <a:pt x="2" y="97"/>
                  <a:pt x="3" y="94"/>
                  <a:pt x="4" y="91"/>
                </a:cubicBezTo>
                <a:cubicBezTo>
                  <a:pt x="5" y="88"/>
                  <a:pt x="6" y="85"/>
                  <a:pt x="8" y="82"/>
                </a:cubicBezTo>
                <a:cubicBezTo>
                  <a:pt x="10" y="79"/>
                  <a:pt x="12" y="76"/>
                  <a:pt x="14" y="74"/>
                </a:cubicBezTo>
                <a:cubicBezTo>
                  <a:pt x="16" y="72"/>
                  <a:pt x="19" y="70"/>
                  <a:pt x="22" y="69"/>
                </a:cubicBezTo>
                <a:cubicBezTo>
                  <a:pt x="25" y="68"/>
                  <a:pt x="29" y="67"/>
                  <a:pt x="33" y="67"/>
                </a:cubicBezTo>
                <a:cubicBezTo>
                  <a:pt x="33" y="67"/>
                  <a:pt x="34" y="68"/>
                  <a:pt x="37" y="69"/>
                </a:cubicBezTo>
                <a:cubicBezTo>
                  <a:pt x="39" y="70"/>
                  <a:pt x="41" y="72"/>
                  <a:pt x="44" y="73"/>
                </a:cubicBezTo>
                <a:cubicBezTo>
                  <a:pt x="46" y="75"/>
                  <a:pt x="50" y="77"/>
                  <a:pt x="54" y="78"/>
                </a:cubicBezTo>
                <a:cubicBezTo>
                  <a:pt x="58" y="79"/>
                  <a:pt x="62" y="80"/>
                  <a:pt x="66" y="80"/>
                </a:cubicBezTo>
                <a:cubicBezTo>
                  <a:pt x="71" y="80"/>
                  <a:pt x="75" y="79"/>
                  <a:pt x="79" y="78"/>
                </a:cubicBezTo>
                <a:cubicBezTo>
                  <a:pt x="83" y="77"/>
                  <a:pt x="87" y="75"/>
                  <a:pt x="89" y="73"/>
                </a:cubicBezTo>
                <a:cubicBezTo>
                  <a:pt x="92" y="72"/>
                  <a:pt x="94" y="70"/>
                  <a:pt x="96" y="69"/>
                </a:cubicBezTo>
                <a:cubicBezTo>
                  <a:pt x="98" y="68"/>
                  <a:pt x="100" y="67"/>
                  <a:pt x="100" y="67"/>
                </a:cubicBezTo>
                <a:cubicBezTo>
                  <a:pt x="104" y="67"/>
                  <a:pt x="108" y="68"/>
                  <a:pt x="111" y="69"/>
                </a:cubicBezTo>
                <a:cubicBezTo>
                  <a:pt x="114" y="70"/>
                  <a:pt x="117" y="72"/>
                  <a:pt x="119" y="74"/>
                </a:cubicBezTo>
                <a:cubicBezTo>
                  <a:pt x="121" y="76"/>
                  <a:pt x="123" y="79"/>
                  <a:pt x="125" y="82"/>
                </a:cubicBezTo>
                <a:cubicBezTo>
                  <a:pt x="126" y="85"/>
                  <a:pt x="128" y="88"/>
                  <a:pt x="129" y="91"/>
                </a:cubicBezTo>
                <a:cubicBezTo>
                  <a:pt x="130" y="94"/>
                  <a:pt x="131" y="97"/>
                  <a:pt x="131" y="101"/>
                </a:cubicBezTo>
                <a:cubicBezTo>
                  <a:pt x="132" y="105"/>
                  <a:pt x="132" y="108"/>
                  <a:pt x="133" y="111"/>
                </a:cubicBezTo>
                <a:cubicBezTo>
                  <a:pt x="133" y="114"/>
                  <a:pt x="133" y="118"/>
                  <a:pt x="133" y="121"/>
                </a:cubicBezTo>
                <a:close/>
                <a:moveTo>
                  <a:pt x="92" y="11"/>
                </a:moveTo>
                <a:cubicBezTo>
                  <a:pt x="99" y="18"/>
                  <a:pt x="103" y="27"/>
                  <a:pt x="103" y="37"/>
                </a:cubicBezTo>
                <a:cubicBezTo>
                  <a:pt x="103" y="47"/>
                  <a:pt x="99" y="55"/>
                  <a:pt x="92" y="62"/>
                </a:cubicBezTo>
                <a:cubicBezTo>
                  <a:pt x="85" y="69"/>
                  <a:pt x="76" y="73"/>
                  <a:pt x="66" y="73"/>
                </a:cubicBezTo>
                <a:cubicBezTo>
                  <a:pt x="56" y="73"/>
                  <a:pt x="48" y="69"/>
                  <a:pt x="41" y="62"/>
                </a:cubicBezTo>
                <a:cubicBezTo>
                  <a:pt x="34" y="55"/>
                  <a:pt x="30" y="47"/>
                  <a:pt x="30" y="37"/>
                </a:cubicBezTo>
                <a:cubicBezTo>
                  <a:pt x="30" y="27"/>
                  <a:pt x="34" y="18"/>
                  <a:pt x="41" y="11"/>
                </a:cubicBezTo>
                <a:cubicBezTo>
                  <a:pt x="48" y="4"/>
                  <a:pt x="56" y="0"/>
                  <a:pt x="66" y="0"/>
                </a:cubicBezTo>
                <a:cubicBezTo>
                  <a:pt x="76" y="0"/>
                  <a:pt x="85" y="4"/>
                  <a:pt x="92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8549F84-E4D9-4117-BF63-849EC226BE2C}"/>
              </a:ext>
            </a:extLst>
          </p:cNvPr>
          <p:cNvGrpSpPr/>
          <p:nvPr/>
        </p:nvGrpSpPr>
        <p:grpSpPr>
          <a:xfrm>
            <a:off x="6704658" y="2813758"/>
            <a:ext cx="262890" cy="262890"/>
            <a:chOff x="5079190" y="3406782"/>
            <a:chExt cx="262890" cy="26289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741403B-D3CD-4922-92BB-342C129E7A7F}"/>
                </a:ext>
              </a:extLst>
            </p:cNvPr>
            <p:cNvSpPr/>
            <p:nvPr/>
          </p:nvSpPr>
          <p:spPr>
            <a:xfrm>
              <a:off x="5079190" y="3406782"/>
              <a:ext cx="262890" cy="2628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0" name="Freeform 207">
              <a:extLst>
                <a:ext uri="{FF2B5EF4-FFF2-40B4-BE49-F238E27FC236}">
                  <a16:creationId xmlns:a16="http://schemas.microsoft.com/office/drawing/2014/main" id="{6D7F1D8D-E762-47BD-8D2A-B4430F5DC7D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27344" y="3463519"/>
              <a:ext cx="174866" cy="151447"/>
            </a:xfrm>
            <a:custGeom>
              <a:avLst/>
              <a:gdLst>
                <a:gd name="T0" fmla="*/ 158 w 170"/>
                <a:gd name="T1" fmla="*/ 31 h 146"/>
                <a:gd name="T2" fmla="*/ 170 w 170"/>
                <a:gd name="T3" fmla="*/ 61 h 146"/>
                <a:gd name="T4" fmla="*/ 158 w 170"/>
                <a:gd name="T5" fmla="*/ 91 h 146"/>
                <a:gd name="T6" fmla="*/ 128 w 170"/>
                <a:gd name="T7" fmla="*/ 113 h 146"/>
                <a:gd name="T8" fmla="*/ 85 w 170"/>
                <a:gd name="T9" fmla="*/ 121 h 146"/>
                <a:gd name="T10" fmla="*/ 71 w 170"/>
                <a:gd name="T11" fmla="*/ 121 h 146"/>
                <a:gd name="T12" fmla="*/ 28 w 170"/>
                <a:gd name="T13" fmla="*/ 144 h 146"/>
                <a:gd name="T14" fmla="*/ 17 w 170"/>
                <a:gd name="T15" fmla="*/ 146 h 146"/>
                <a:gd name="T16" fmla="*/ 17 w 170"/>
                <a:gd name="T17" fmla="*/ 146 h 146"/>
                <a:gd name="T18" fmla="*/ 14 w 170"/>
                <a:gd name="T19" fmla="*/ 145 h 146"/>
                <a:gd name="T20" fmla="*/ 12 w 170"/>
                <a:gd name="T21" fmla="*/ 142 h 146"/>
                <a:gd name="T22" fmla="*/ 12 w 170"/>
                <a:gd name="T23" fmla="*/ 142 h 146"/>
                <a:gd name="T24" fmla="*/ 12 w 170"/>
                <a:gd name="T25" fmla="*/ 141 h 146"/>
                <a:gd name="T26" fmla="*/ 13 w 170"/>
                <a:gd name="T27" fmla="*/ 140 h 146"/>
                <a:gd name="T28" fmla="*/ 13 w 170"/>
                <a:gd name="T29" fmla="*/ 139 h 146"/>
                <a:gd name="T30" fmla="*/ 14 w 170"/>
                <a:gd name="T31" fmla="*/ 138 h 146"/>
                <a:gd name="T32" fmla="*/ 14 w 170"/>
                <a:gd name="T33" fmla="*/ 137 h 146"/>
                <a:gd name="T34" fmla="*/ 15 w 170"/>
                <a:gd name="T35" fmla="*/ 136 h 146"/>
                <a:gd name="T36" fmla="*/ 18 w 170"/>
                <a:gd name="T37" fmla="*/ 133 h 146"/>
                <a:gd name="T38" fmla="*/ 21 w 170"/>
                <a:gd name="T39" fmla="*/ 130 h 146"/>
                <a:gd name="T40" fmla="*/ 24 w 170"/>
                <a:gd name="T41" fmla="*/ 126 h 146"/>
                <a:gd name="T42" fmla="*/ 27 w 170"/>
                <a:gd name="T43" fmla="*/ 121 h 146"/>
                <a:gd name="T44" fmla="*/ 30 w 170"/>
                <a:gd name="T45" fmla="*/ 115 h 146"/>
                <a:gd name="T46" fmla="*/ 32 w 170"/>
                <a:gd name="T47" fmla="*/ 108 h 146"/>
                <a:gd name="T48" fmla="*/ 9 w 170"/>
                <a:gd name="T49" fmla="*/ 88 h 146"/>
                <a:gd name="T50" fmla="*/ 0 w 170"/>
                <a:gd name="T51" fmla="*/ 61 h 146"/>
                <a:gd name="T52" fmla="*/ 12 w 170"/>
                <a:gd name="T53" fmla="*/ 31 h 146"/>
                <a:gd name="T54" fmla="*/ 42 w 170"/>
                <a:gd name="T55" fmla="*/ 9 h 146"/>
                <a:gd name="T56" fmla="*/ 85 w 170"/>
                <a:gd name="T57" fmla="*/ 0 h 146"/>
                <a:gd name="T58" fmla="*/ 128 w 170"/>
                <a:gd name="T59" fmla="*/ 9 h 146"/>
                <a:gd name="T60" fmla="*/ 158 w 170"/>
                <a:gd name="T61" fmla="*/ 31 h 146"/>
                <a:gd name="T62" fmla="*/ 121 w 170"/>
                <a:gd name="T63" fmla="*/ 19 h 146"/>
                <a:gd name="T64" fmla="*/ 85 w 170"/>
                <a:gd name="T65" fmla="*/ 13 h 146"/>
                <a:gd name="T66" fmla="*/ 49 w 170"/>
                <a:gd name="T67" fmla="*/ 19 h 146"/>
                <a:gd name="T68" fmla="*/ 22 w 170"/>
                <a:gd name="T69" fmla="*/ 37 h 146"/>
                <a:gd name="T70" fmla="*/ 12 w 170"/>
                <a:gd name="T71" fmla="*/ 61 h 146"/>
                <a:gd name="T72" fmla="*/ 19 w 170"/>
                <a:gd name="T73" fmla="*/ 81 h 146"/>
                <a:gd name="T74" fmla="*/ 38 w 170"/>
                <a:gd name="T75" fmla="*/ 98 h 146"/>
                <a:gd name="T76" fmla="*/ 46 w 170"/>
                <a:gd name="T77" fmla="*/ 102 h 146"/>
                <a:gd name="T78" fmla="*/ 44 w 170"/>
                <a:gd name="T79" fmla="*/ 112 h 146"/>
                <a:gd name="T80" fmla="*/ 37 w 170"/>
                <a:gd name="T81" fmla="*/ 128 h 146"/>
                <a:gd name="T82" fmla="*/ 63 w 170"/>
                <a:gd name="T83" fmla="*/ 112 h 146"/>
                <a:gd name="T84" fmla="*/ 67 w 170"/>
                <a:gd name="T85" fmla="*/ 108 h 146"/>
                <a:gd name="T86" fmla="*/ 73 w 170"/>
                <a:gd name="T87" fmla="*/ 109 h 146"/>
                <a:gd name="T88" fmla="*/ 85 w 170"/>
                <a:gd name="T89" fmla="*/ 109 h 146"/>
                <a:gd name="T90" fmla="*/ 121 w 170"/>
                <a:gd name="T91" fmla="*/ 103 h 146"/>
                <a:gd name="T92" fmla="*/ 148 w 170"/>
                <a:gd name="T93" fmla="*/ 85 h 146"/>
                <a:gd name="T94" fmla="*/ 158 w 170"/>
                <a:gd name="T95" fmla="*/ 61 h 146"/>
                <a:gd name="T96" fmla="*/ 148 w 170"/>
                <a:gd name="T97" fmla="*/ 37 h 146"/>
                <a:gd name="T98" fmla="*/ 121 w 170"/>
                <a:gd name="T99" fmla="*/ 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0" h="146">
                  <a:moveTo>
                    <a:pt x="158" y="31"/>
                  </a:moveTo>
                  <a:cubicBezTo>
                    <a:pt x="166" y="40"/>
                    <a:pt x="170" y="50"/>
                    <a:pt x="170" y="61"/>
                  </a:cubicBezTo>
                  <a:cubicBezTo>
                    <a:pt x="170" y="72"/>
                    <a:pt x="166" y="82"/>
                    <a:pt x="158" y="91"/>
                  </a:cubicBezTo>
                  <a:cubicBezTo>
                    <a:pt x="151" y="101"/>
                    <a:pt x="140" y="108"/>
                    <a:pt x="128" y="113"/>
                  </a:cubicBezTo>
                  <a:cubicBezTo>
                    <a:pt x="115" y="119"/>
                    <a:pt x="100" y="121"/>
                    <a:pt x="85" y="121"/>
                  </a:cubicBezTo>
                  <a:cubicBezTo>
                    <a:pt x="81" y="121"/>
                    <a:pt x="76" y="121"/>
                    <a:pt x="71" y="121"/>
                  </a:cubicBezTo>
                  <a:cubicBezTo>
                    <a:pt x="59" y="132"/>
                    <a:pt x="44" y="139"/>
                    <a:pt x="28" y="144"/>
                  </a:cubicBezTo>
                  <a:cubicBezTo>
                    <a:pt x="25" y="144"/>
                    <a:pt x="21" y="145"/>
                    <a:pt x="17" y="146"/>
                  </a:cubicBezTo>
                  <a:cubicBezTo>
                    <a:pt x="17" y="146"/>
                    <a:pt x="17" y="146"/>
                    <a:pt x="17" y="146"/>
                  </a:cubicBezTo>
                  <a:cubicBezTo>
                    <a:pt x="16" y="146"/>
                    <a:pt x="15" y="145"/>
                    <a:pt x="14" y="145"/>
                  </a:cubicBezTo>
                  <a:cubicBezTo>
                    <a:pt x="13" y="144"/>
                    <a:pt x="13" y="143"/>
                    <a:pt x="12" y="142"/>
                  </a:cubicBezTo>
                  <a:cubicBezTo>
                    <a:pt x="12" y="142"/>
                    <a:pt x="12" y="142"/>
                    <a:pt x="12" y="142"/>
                  </a:cubicBezTo>
                  <a:cubicBezTo>
                    <a:pt x="12" y="142"/>
                    <a:pt x="12" y="141"/>
                    <a:pt x="12" y="141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39"/>
                    <a:pt x="13" y="139"/>
                  </a:cubicBezTo>
                  <a:cubicBezTo>
                    <a:pt x="13" y="139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7"/>
                  </a:cubicBezTo>
                  <a:cubicBezTo>
                    <a:pt x="15" y="137"/>
                    <a:pt x="15" y="137"/>
                    <a:pt x="15" y="136"/>
                  </a:cubicBezTo>
                  <a:cubicBezTo>
                    <a:pt x="15" y="136"/>
                    <a:pt x="16" y="135"/>
                    <a:pt x="18" y="133"/>
                  </a:cubicBezTo>
                  <a:cubicBezTo>
                    <a:pt x="19" y="132"/>
                    <a:pt x="21" y="130"/>
                    <a:pt x="21" y="130"/>
                  </a:cubicBezTo>
                  <a:cubicBezTo>
                    <a:pt x="22" y="129"/>
                    <a:pt x="23" y="128"/>
                    <a:pt x="24" y="126"/>
                  </a:cubicBezTo>
                  <a:cubicBezTo>
                    <a:pt x="25" y="124"/>
                    <a:pt x="26" y="123"/>
                    <a:pt x="27" y="121"/>
                  </a:cubicBezTo>
                  <a:cubicBezTo>
                    <a:pt x="28" y="120"/>
                    <a:pt x="29" y="118"/>
                    <a:pt x="30" y="115"/>
                  </a:cubicBezTo>
                  <a:cubicBezTo>
                    <a:pt x="31" y="113"/>
                    <a:pt x="32" y="111"/>
                    <a:pt x="32" y="108"/>
                  </a:cubicBezTo>
                  <a:cubicBezTo>
                    <a:pt x="22" y="103"/>
                    <a:pt x="15" y="96"/>
                    <a:pt x="9" y="88"/>
                  </a:cubicBezTo>
                  <a:cubicBezTo>
                    <a:pt x="3" y="79"/>
                    <a:pt x="0" y="70"/>
                    <a:pt x="0" y="61"/>
                  </a:cubicBezTo>
                  <a:cubicBezTo>
                    <a:pt x="0" y="50"/>
                    <a:pt x="4" y="40"/>
                    <a:pt x="12" y="31"/>
                  </a:cubicBezTo>
                  <a:cubicBezTo>
                    <a:pt x="19" y="21"/>
                    <a:pt x="29" y="14"/>
                    <a:pt x="42" y="9"/>
                  </a:cubicBezTo>
                  <a:cubicBezTo>
                    <a:pt x="55" y="3"/>
                    <a:pt x="70" y="0"/>
                    <a:pt x="85" y="0"/>
                  </a:cubicBezTo>
                  <a:cubicBezTo>
                    <a:pt x="100" y="0"/>
                    <a:pt x="115" y="3"/>
                    <a:pt x="128" y="9"/>
                  </a:cubicBezTo>
                  <a:cubicBezTo>
                    <a:pt x="140" y="14"/>
                    <a:pt x="151" y="21"/>
                    <a:pt x="158" y="31"/>
                  </a:cubicBezTo>
                  <a:close/>
                  <a:moveTo>
                    <a:pt x="121" y="19"/>
                  </a:moveTo>
                  <a:cubicBezTo>
                    <a:pt x="110" y="15"/>
                    <a:pt x="98" y="13"/>
                    <a:pt x="85" y="13"/>
                  </a:cubicBezTo>
                  <a:cubicBezTo>
                    <a:pt x="72" y="13"/>
                    <a:pt x="60" y="15"/>
                    <a:pt x="49" y="19"/>
                  </a:cubicBezTo>
                  <a:cubicBezTo>
                    <a:pt x="38" y="23"/>
                    <a:pt x="29" y="29"/>
                    <a:pt x="22" y="37"/>
                  </a:cubicBezTo>
                  <a:cubicBezTo>
                    <a:pt x="16" y="44"/>
                    <a:pt x="12" y="52"/>
                    <a:pt x="12" y="61"/>
                  </a:cubicBezTo>
                  <a:cubicBezTo>
                    <a:pt x="12" y="68"/>
                    <a:pt x="15" y="75"/>
                    <a:pt x="19" y="81"/>
                  </a:cubicBezTo>
                  <a:cubicBezTo>
                    <a:pt x="24" y="88"/>
                    <a:pt x="30" y="93"/>
                    <a:pt x="38" y="98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2" y="117"/>
                    <a:pt x="40" y="123"/>
                    <a:pt x="37" y="128"/>
                  </a:cubicBezTo>
                  <a:cubicBezTo>
                    <a:pt x="47" y="124"/>
                    <a:pt x="55" y="118"/>
                    <a:pt x="63" y="112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7" y="109"/>
                    <a:pt x="81" y="109"/>
                    <a:pt x="85" y="109"/>
                  </a:cubicBezTo>
                  <a:cubicBezTo>
                    <a:pt x="98" y="109"/>
                    <a:pt x="110" y="107"/>
                    <a:pt x="121" y="103"/>
                  </a:cubicBezTo>
                  <a:cubicBezTo>
                    <a:pt x="132" y="98"/>
                    <a:pt x="141" y="92"/>
                    <a:pt x="148" y="85"/>
                  </a:cubicBezTo>
                  <a:cubicBezTo>
                    <a:pt x="154" y="78"/>
                    <a:pt x="158" y="70"/>
                    <a:pt x="158" y="61"/>
                  </a:cubicBezTo>
                  <a:cubicBezTo>
                    <a:pt x="158" y="52"/>
                    <a:pt x="154" y="44"/>
                    <a:pt x="148" y="37"/>
                  </a:cubicBezTo>
                  <a:cubicBezTo>
                    <a:pt x="141" y="29"/>
                    <a:pt x="132" y="23"/>
                    <a:pt x="121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DB3A53A-47CA-4045-B4A9-86A6B8BDA552}"/>
              </a:ext>
            </a:extLst>
          </p:cNvPr>
          <p:cNvGrpSpPr/>
          <p:nvPr/>
        </p:nvGrpSpPr>
        <p:grpSpPr>
          <a:xfrm>
            <a:off x="6704658" y="3566107"/>
            <a:ext cx="262890" cy="262890"/>
            <a:chOff x="5079190" y="3914201"/>
            <a:chExt cx="262890" cy="26289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AA99A82-B8F9-4D80-B906-799D8926B5F0}"/>
                </a:ext>
              </a:extLst>
            </p:cNvPr>
            <p:cNvSpPr/>
            <p:nvPr/>
          </p:nvSpPr>
          <p:spPr>
            <a:xfrm>
              <a:off x="5079190" y="3914201"/>
              <a:ext cx="262890" cy="2628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C0171037-09D0-40D1-B314-3ED4189DF74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37771" y="3984060"/>
              <a:ext cx="141937" cy="123168"/>
            </a:xfrm>
            <a:custGeom>
              <a:avLst/>
              <a:gdLst>
                <a:gd name="T0" fmla="*/ 158 w 182"/>
                <a:gd name="T1" fmla="*/ 24 h 158"/>
                <a:gd name="T2" fmla="*/ 175 w 182"/>
                <a:gd name="T3" fmla="*/ 32 h 158"/>
                <a:gd name="T4" fmla="*/ 182 w 182"/>
                <a:gd name="T5" fmla="*/ 49 h 158"/>
                <a:gd name="T6" fmla="*/ 182 w 182"/>
                <a:gd name="T7" fmla="*/ 133 h 158"/>
                <a:gd name="T8" fmla="*/ 175 w 182"/>
                <a:gd name="T9" fmla="*/ 150 h 158"/>
                <a:gd name="T10" fmla="*/ 158 w 182"/>
                <a:gd name="T11" fmla="*/ 158 h 158"/>
                <a:gd name="T12" fmla="*/ 24 w 182"/>
                <a:gd name="T13" fmla="*/ 158 h 158"/>
                <a:gd name="T14" fmla="*/ 7 w 182"/>
                <a:gd name="T15" fmla="*/ 150 h 158"/>
                <a:gd name="T16" fmla="*/ 0 w 182"/>
                <a:gd name="T17" fmla="*/ 133 h 158"/>
                <a:gd name="T18" fmla="*/ 0 w 182"/>
                <a:gd name="T19" fmla="*/ 49 h 158"/>
                <a:gd name="T20" fmla="*/ 7 w 182"/>
                <a:gd name="T21" fmla="*/ 32 h 158"/>
                <a:gd name="T22" fmla="*/ 24 w 182"/>
                <a:gd name="T23" fmla="*/ 24 h 158"/>
                <a:gd name="T24" fmla="*/ 46 w 182"/>
                <a:gd name="T25" fmla="*/ 24 h 158"/>
                <a:gd name="T26" fmla="*/ 50 w 182"/>
                <a:gd name="T27" fmla="*/ 12 h 158"/>
                <a:gd name="T28" fmla="*/ 57 w 182"/>
                <a:gd name="T29" fmla="*/ 4 h 158"/>
                <a:gd name="T30" fmla="*/ 67 w 182"/>
                <a:gd name="T31" fmla="*/ 0 h 158"/>
                <a:gd name="T32" fmla="*/ 115 w 182"/>
                <a:gd name="T33" fmla="*/ 0 h 158"/>
                <a:gd name="T34" fmla="*/ 125 w 182"/>
                <a:gd name="T35" fmla="*/ 4 h 158"/>
                <a:gd name="T36" fmla="*/ 132 w 182"/>
                <a:gd name="T37" fmla="*/ 12 h 158"/>
                <a:gd name="T38" fmla="*/ 136 w 182"/>
                <a:gd name="T39" fmla="*/ 24 h 158"/>
                <a:gd name="T40" fmla="*/ 158 w 182"/>
                <a:gd name="T41" fmla="*/ 24 h 158"/>
                <a:gd name="T42" fmla="*/ 61 w 182"/>
                <a:gd name="T43" fmla="*/ 121 h 158"/>
                <a:gd name="T44" fmla="*/ 91 w 182"/>
                <a:gd name="T45" fmla="*/ 133 h 158"/>
                <a:gd name="T46" fmla="*/ 121 w 182"/>
                <a:gd name="T47" fmla="*/ 121 h 158"/>
                <a:gd name="T48" fmla="*/ 133 w 182"/>
                <a:gd name="T49" fmla="*/ 91 h 158"/>
                <a:gd name="T50" fmla="*/ 121 w 182"/>
                <a:gd name="T51" fmla="*/ 61 h 158"/>
                <a:gd name="T52" fmla="*/ 91 w 182"/>
                <a:gd name="T53" fmla="*/ 49 h 158"/>
                <a:gd name="T54" fmla="*/ 61 w 182"/>
                <a:gd name="T55" fmla="*/ 61 h 158"/>
                <a:gd name="T56" fmla="*/ 49 w 182"/>
                <a:gd name="T57" fmla="*/ 91 h 158"/>
                <a:gd name="T58" fmla="*/ 61 w 182"/>
                <a:gd name="T59" fmla="*/ 121 h 158"/>
                <a:gd name="T60" fmla="*/ 72 w 182"/>
                <a:gd name="T61" fmla="*/ 72 h 158"/>
                <a:gd name="T62" fmla="*/ 91 w 182"/>
                <a:gd name="T63" fmla="*/ 64 h 158"/>
                <a:gd name="T64" fmla="*/ 110 w 182"/>
                <a:gd name="T65" fmla="*/ 72 h 158"/>
                <a:gd name="T66" fmla="*/ 118 w 182"/>
                <a:gd name="T67" fmla="*/ 91 h 158"/>
                <a:gd name="T68" fmla="*/ 110 w 182"/>
                <a:gd name="T69" fmla="*/ 110 h 158"/>
                <a:gd name="T70" fmla="*/ 91 w 182"/>
                <a:gd name="T71" fmla="*/ 118 h 158"/>
                <a:gd name="T72" fmla="*/ 72 w 182"/>
                <a:gd name="T73" fmla="*/ 110 h 158"/>
                <a:gd name="T74" fmla="*/ 64 w 182"/>
                <a:gd name="T75" fmla="*/ 91 h 158"/>
                <a:gd name="T76" fmla="*/ 72 w 182"/>
                <a:gd name="T77" fmla="*/ 7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158">
                  <a:moveTo>
                    <a:pt x="158" y="24"/>
                  </a:moveTo>
                  <a:cubicBezTo>
                    <a:pt x="164" y="24"/>
                    <a:pt x="170" y="27"/>
                    <a:pt x="175" y="32"/>
                  </a:cubicBezTo>
                  <a:cubicBezTo>
                    <a:pt x="179" y="36"/>
                    <a:pt x="182" y="42"/>
                    <a:pt x="182" y="49"/>
                  </a:cubicBezTo>
                  <a:cubicBezTo>
                    <a:pt x="182" y="133"/>
                    <a:pt x="182" y="133"/>
                    <a:pt x="182" y="133"/>
                  </a:cubicBezTo>
                  <a:cubicBezTo>
                    <a:pt x="182" y="140"/>
                    <a:pt x="179" y="146"/>
                    <a:pt x="175" y="150"/>
                  </a:cubicBezTo>
                  <a:cubicBezTo>
                    <a:pt x="170" y="155"/>
                    <a:pt x="164" y="158"/>
                    <a:pt x="158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18" y="158"/>
                    <a:pt x="12" y="155"/>
                    <a:pt x="7" y="150"/>
                  </a:cubicBezTo>
                  <a:cubicBezTo>
                    <a:pt x="3" y="146"/>
                    <a:pt x="0" y="140"/>
                    <a:pt x="0" y="13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3" y="36"/>
                    <a:pt x="7" y="32"/>
                  </a:cubicBezTo>
                  <a:cubicBezTo>
                    <a:pt x="12" y="27"/>
                    <a:pt x="18" y="24"/>
                    <a:pt x="24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2" y="9"/>
                    <a:pt x="54" y="6"/>
                    <a:pt x="57" y="4"/>
                  </a:cubicBezTo>
                  <a:cubicBezTo>
                    <a:pt x="60" y="1"/>
                    <a:pt x="63" y="0"/>
                    <a:pt x="67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2" y="1"/>
                    <a:pt x="125" y="4"/>
                  </a:cubicBezTo>
                  <a:cubicBezTo>
                    <a:pt x="128" y="6"/>
                    <a:pt x="130" y="9"/>
                    <a:pt x="132" y="12"/>
                  </a:cubicBezTo>
                  <a:cubicBezTo>
                    <a:pt x="136" y="24"/>
                    <a:pt x="136" y="24"/>
                    <a:pt x="136" y="24"/>
                  </a:cubicBezTo>
                  <a:lnTo>
                    <a:pt x="158" y="24"/>
                  </a:lnTo>
                  <a:close/>
                  <a:moveTo>
                    <a:pt x="61" y="121"/>
                  </a:moveTo>
                  <a:cubicBezTo>
                    <a:pt x="69" y="129"/>
                    <a:pt x="79" y="133"/>
                    <a:pt x="91" y="133"/>
                  </a:cubicBezTo>
                  <a:cubicBezTo>
                    <a:pt x="103" y="133"/>
                    <a:pt x="113" y="129"/>
                    <a:pt x="121" y="121"/>
                  </a:cubicBezTo>
                  <a:cubicBezTo>
                    <a:pt x="129" y="113"/>
                    <a:pt x="133" y="103"/>
                    <a:pt x="133" y="91"/>
                  </a:cubicBezTo>
                  <a:cubicBezTo>
                    <a:pt x="133" y="79"/>
                    <a:pt x="129" y="69"/>
                    <a:pt x="121" y="61"/>
                  </a:cubicBezTo>
                  <a:cubicBezTo>
                    <a:pt x="113" y="53"/>
                    <a:pt x="103" y="49"/>
                    <a:pt x="91" y="49"/>
                  </a:cubicBezTo>
                  <a:cubicBezTo>
                    <a:pt x="79" y="49"/>
                    <a:pt x="69" y="53"/>
                    <a:pt x="61" y="61"/>
                  </a:cubicBezTo>
                  <a:cubicBezTo>
                    <a:pt x="53" y="69"/>
                    <a:pt x="49" y="79"/>
                    <a:pt x="49" y="91"/>
                  </a:cubicBezTo>
                  <a:cubicBezTo>
                    <a:pt x="49" y="103"/>
                    <a:pt x="53" y="113"/>
                    <a:pt x="61" y="121"/>
                  </a:cubicBezTo>
                  <a:close/>
                  <a:moveTo>
                    <a:pt x="72" y="72"/>
                  </a:moveTo>
                  <a:cubicBezTo>
                    <a:pt x="77" y="66"/>
                    <a:pt x="83" y="64"/>
                    <a:pt x="91" y="64"/>
                  </a:cubicBezTo>
                  <a:cubicBezTo>
                    <a:pt x="98" y="64"/>
                    <a:pt x="105" y="66"/>
                    <a:pt x="110" y="72"/>
                  </a:cubicBezTo>
                  <a:cubicBezTo>
                    <a:pt x="116" y="77"/>
                    <a:pt x="118" y="84"/>
                    <a:pt x="118" y="91"/>
                  </a:cubicBezTo>
                  <a:cubicBezTo>
                    <a:pt x="118" y="99"/>
                    <a:pt x="116" y="105"/>
                    <a:pt x="110" y="110"/>
                  </a:cubicBezTo>
                  <a:cubicBezTo>
                    <a:pt x="105" y="116"/>
                    <a:pt x="98" y="118"/>
                    <a:pt x="91" y="118"/>
                  </a:cubicBezTo>
                  <a:cubicBezTo>
                    <a:pt x="83" y="118"/>
                    <a:pt x="77" y="116"/>
                    <a:pt x="72" y="110"/>
                  </a:cubicBezTo>
                  <a:cubicBezTo>
                    <a:pt x="66" y="105"/>
                    <a:pt x="64" y="99"/>
                    <a:pt x="64" y="91"/>
                  </a:cubicBezTo>
                  <a:cubicBezTo>
                    <a:pt x="64" y="84"/>
                    <a:pt x="66" y="77"/>
                    <a:pt x="72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47" name="Freeform 141">
            <a:extLst>
              <a:ext uri="{FF2B5EF4-FFF2-40B4-BE49-F238E27FC236}">
                <a16:creationId xmlns:a16="http://schemas.microsoft.com/office/drawing/2014/main" id="{A91DA124-24C5-4151-AE35-77A138929E2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56361" y="2557938"/>
            <a:ext cx="386554" cy="357105"/>
          </a:xfrm>
          <a:custGeom>
            <a:avLst/>
            <a:gdLst>
              <a:gd name="T0" fmla="*/ 158 w 158"/>
              <a:gd name="T1" fmla="*/ 34 h 146"/>
              <a:gd name="T2" fmla="*/ 158 w 158"/>
              <a:gd name="T3" fmla="*/ 46 h 146"/>
              <a:gd name="T4" fmla="*/ 154 w 158"/>
              <a:gd name="T5" fmla="*/ 59 h 146"/>
              <a:gd name="T6" fmla="*/ 143 w 158"/>
              <a:gd name="T7" fmla="*/ 72 h 146"/>
              <a:gd name="T8" fmla="*/ 127 w 158"/>
              <a:gd name="T9" fmla="*/ 81 h 146"/>
              <a:gd name="T10" fmla="*/ 106 w 158"/>
              <a:gd name="T11" fmla="*/ 85 h 146"/>
              <a:gd name="T12" fmla="*/ 97 w 158"/>
              <a:gd name="T13" fmla="*/ 94 h 146"/>
              <a:gd name="T14" fmla="*/ 92 w 158"/>
              <a:gd name="T15" fmla="*/ 101 h 146"/>
              <a:gd name="T16" fmla="*/ 91 w 158"/>
              <a:gd name="T17" fmla="*/ 109 h 146"/>
              <a:gd name="T18" fmla="*/ 94 w 158"/>
              <a:gd name="T19" fmla="*/ 118 h 146"/>
              <a:gd name="T20" fmla="*/ 103 w 158"/>
              <a:gd name="T21" fmla="*/ 121 h 146"/>
              <a:gd name="T22" fmla="*/ 116 w 158"/>
              <a:gd name="T23" fmla="*/ 126 h 146"/>
              <a:gd name="T24" fmla="*/ 121 w 158"/>
              <a:gd name="T25" fmla="*/ 136 h 146"/>
              <a:gd name="T26" fmla="*/ 121 w 158"/>
              <a:gd name="T27" fmla="*/ 143 h 146"/>
              <a:gd name="T28" fmla="*/ 120 w 158"/>
              <a:gd name="T29" fmla="*/ 145 h 146"/>
              <a:gd name="T30" fmla="*/ 118 w 158"/>
              <a:gd name="T31" fmla="*/ 146 h 146"/>
              <a:gd name="T32" fmla="*/ 40 w 158"/>
              <a:gd name="T33" fmla="*/ 146 h 146"/>
              <a:gd name="T34" fmla="*/ 37 w 158"/>
              <a:gd name="T35" fmla="*/ 145 h 146"/>
              <a:gd name="T36" fmla="*/ 37 w 158"/>
              <a:gd name="T37" fmla="*/ 143 h 146"/>
              <a:gd name="T38" fmla="*/ 37 w 158"/>
              <a:gd name="T39" fmla="*/ 136 h 146"/>
              <a:gd name="T40" fmla="*/ 42 w 158"/>
              <a:gd name="T41" fmla="*/ 126 h 146"/>
              <a:gd name="T42" fmla="*/ 55 w 158"/>
              <a:gd name="T43" fmla="*/ 121 h 146"/>
              <a:gd name="T44" fmla="*/ 64 w 158"/>
              <a:gd name="T45" fmla="*/ 118 h 146"/>
              <a:gd name="T46" fmla="*/ 67 w 158"/>
              <a:gd name="T47" fmla="*/ 109 h 146"/>
              <a:gd name="T48" fmla="*/ 65 w 158"/>
              <a:gd name="T49" fmla="*/ 101 h 146"/>
              <a:gd name="T50" fmla="*/ 61 w 158"/>
              <a:gd name="T51" fmla="*/ 94 h 146"/>
              <a:gd name="T52" fmla="*/ 52 w 158"/>
              <a:gd name="T53" fmla="*/ 85 h 146"/>
              <a:gd name="T54" fmla="*/ 31 w 158"/>
              <a:gd name="T55" fmla="*/ 81 h 146"/>
              <a:gd name="T56" fmla="*/ 15 w 158"/>
              <a:gd name="T57" fmla="*/ 72 h 146"/>
              <a:gd name="T58" fmla="*/ 4 w 158"/>
              <a:gd name="T59" fmla="*/ 59 h 146"/>
              <a:gd name="T60" fmla="*/ 0 w 158"/>
              <a:gd name="T61" fmla="*/ 46 h 146"/>
              <a:gd name="T62" fmla="*/ 0 w 158"/>
              <a:gd name="T63" fmla="*/ 34 h 146"/>
              <a:gd name="T64" fmla="*/ 3 w 158"/>
              <a:gd name="T65" fmla="*/ 27 h 146"/>
              <a:gd name="T66" fmla="*/ 9 w 158"/>
              <a:gd name="T67" fmla="*/ 25 h 146"/>
              <a:gd name="T68" fmla="*/ 37 w 158"/>
              <a:gd name="T69" fmla="*/ 25 h 146"/>
              <a:gd name="T70" fmla="*/ 37 w 158"/>
              <a:gd name="T71" fmla="*/ 15 h 146"/>
              <a:gd name="T72" fmla="*/ 41 w 158"/>
              <a:gd name="T73" fmla="*/ 5 h 146"/>
              <a:gd name="T74" fmla="*/ 52 w 158"/>
              <a:gd name="T75" fmla="*/ 0 h 146"/>
              <a:gd name="T76" fmla="*/ 106 w 158"/>
              <a:gd name="T77" fmla="*/ 0 h 146"/>
              <a:gd name="T78" fmla="*/ 117 w 158"/>
              <a:gd name="T79" fmla="*/ 5 h 146"/>
              <a:gd name="T80" fmla="*/ 121 w 158"/>
              <a:gd name="T81" fmla="*/ 15 h 146"/>
              <a:gd name="T82" fmla="*/ 121 w 158"/>
              <a:gd name="T83" fmla="*/ 25 h 146"/>
              <a:gd name="T84" fmla="*/ 149 w 158"/>
              <a:gd name="T85" fmla="*/ 25 h 146"/>
              <a:gd name="T86" fmla="*/ 155 w 158"/>
              <a:gd name="T87" fmla="*/ 27 h 146"/>
              <a:gd name="T88" fmla="*/ 158 w 158"/>
              <a:gd name="T89" fmla="*/ 34 h 146"/>
              <a:gd name="T90" fmla="*/ 44 w 158"/>
              <a:gd name="T91" fmla="*/ 72 h 146"/>
              <a:gd name="T92" fmla="*/ 37 w 158"/>
              <a:gd name="T93" fmla="*/ 37 h 146"/>
              <a:gd name="T94" fmla="*/ 12 w 158"/>
              <a:gd name="T95" fmla="*/ 37 h 146"/>
              <a:gd name="T96" fmla="*/ 12 w 158"/>
              <a:gd name="T97" fmla="*/ 46 h 146"/>
              <a:gd name="T98" fmla="*/ 21 w 158"/>
              <a:gd name="T99" fmla="*/ 61 h 146"/>
              <a:gd name="T100" fmla="*/ 44 w 158"/>
              <a:gd name="T101" fmla="*/ 72 h 146"/>
              <a:gd name="T102" fmla="*/ 146 w 158"/>
              <a:gd name="T103" fmla="*/ 46 h 146"/>
              <a:gd name="T104" fmla="*/ 146 w 158"/>
              <a:gd name="T105" fmla="*/ 37 h 146"/>
              <a:gd name="T106" fmla="*/ 121 w 158"/>
              <a:gd name="T107" fmla="*/ 37 h 146"/>
              <a:gd name="T108" fmla="*/ 114 w 158"/>
              <a:gd name="T109" fmla="*/ 72 h 146"/>
              <a:gd name="T110" fmla="*/ 137 w 158"/>
              <a:gd name="T111" fmla="*/ 61 h 146"/>
              <a:gd name="T112" fmla="*/ 146 w 158"/>
              <a:gd name="T113" fmla="*/ 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8" h="146">
                <a:moveTo>
                  <a:pt x="158" y="34"/>
                </a:moveTo>
                <a:cubicBezTo>
                  <a:pt x="158" y="46"/>
                  <a:pt x="158" y="46"/>
                  <a:pt x="158" y="46"/>
                </a:cubicBezTo>
                <a:cubicBezTo>
                  <a:pt x="158" y="50"/>
                  <a:pt x="156" y="55"/>
                  <a:pt x="154" y="59"/>
                </a:cubicBezTo>
                <a:cubicBezTo>
                  <a:pt x="151" y="64"/>
                  <a:pt x="148" y="68"/>
                  <a:pt x="143" y="72"/>
                </a:cubicBezTo>
                <a:cubicBezTo>
                  <a:pt x="139" y="75"/>
                  <a:pt x="133" y="78"/>
                  <a:pt x="127" y="81"/>
                </a:cubicBezTo>
                <a:cubicBezTo>
                  <a:pt x="120" y="83"/>
                  <a:pt x="113" y="85"/>
                  <a:pt x="106" y="85"/>
                </a:cubicBezTo>
                <a:cubicBezTo>
                  <a:pt x="104" y="88"/>
                  <a:pt x="101" y="91"/>
                  <a:pt x="97" y="94"/>
                </a:cubicBezTo>
                <a:cubicBezTo>
                  <a:pt x="95" y="96"/>
                  <a:pt x="93" y="98"/>
                  <a:pt x="92" y="101"/>
                </a:cubicBezTo>
                <a:cubicBezTo>
                  <a:pt x="92" y="103"/>
                  <a:pt x="91" y="106"/>
                  <a:pt x="91" y="109"/>
                </a:cubicBezTo>
                <a:cubicBezTo>
                  <a:pt x="91" y="113"/>
                  <a:pt x="92" y="116"/>
                  <a:pt x="94" y="118"/>
                </a:cubicBezTo>
                <a:cubicBezTo>
                  <a:pt x="96" y="120"/>
                  <a:pt x="99" y="121"/>
                  <a:pt x="103" y="121"/>
                </a:cubicBezTo>
                <a:cubicBezTo>
                  <a:pt x="108" y="121"/>
                  <a:pt x="112" y="123"/>
                  <a:pt x="116" y="126"/>
                </a:cubicBezTo>
                <a:cubicBezTo>
                  <a:pt x="119" y="129"/>
                  <a:pt x="121" y="132"/>
                  <a:pt x="121" y="136"/>
                </a:cubicBezTo>
                <a:cubicBezTo>
                  <a:pt x="121" y="143"/>
                  <a:pt x="121" y="143"/>
                  <a:pt x="121" y="143"/>
                </a:cubicBezTo>
                <a:cubicBezTo>
                  <a:pt x="121" y="143"/>
                  <a:pt x="121" y="144"/>
                  <a:pt x="120" y="145"/>
                </a:cubicBezTo>
                <a:cubicBezTo>
                  <a:pt x="120" y="145"/>
                  <a:pt x="119" y="146"/>
                  <a:pt x="118" y="146"/>
                </a:cubicBezTo>
                <a:cubicBezTo>
                  <a:pt x="40" y="146"/>
                  <a:pt x="40" y="146"/>
                  <a:pt x="40" y="146"/>
                </a:cubicBezTo>
                <a:cubicBezTo>
                  <a:pt x="39" y="146"/>
                  <a:pt x="38" y="145"/>
                  <a:pt x="37" y="145"/>
                </a:cubicBezTo>
                <a:cubicBezTo>
                  <a:pt x="37" y="144"/>
                  <a:pt x="37" y="143"/>
                  <a:pt x="37" y="143"/>
                </a:cubicBezTo>
                <a:cubicBezTo>
                  <a:pt x="37" y="136"/>
                  <a:pt x="37" y="136"/>
                  <a:pt x="37" y="136"/>
                </a:cubicBezTo>
                <a:cubicBezTo>
                  <a:pt x="37" y="132"/>
                  <a:pt x="38" y="129"/>
                  <a:pt x="42" y="126"/>
                </a:cubicBezTo>
                <a:cubicBezTo>
                  <a:pt x="46" y="123"/>
                  <a:pt x="50" y="121"/>
                  <a:pt x="55" y="121"/>
                </a:cubicBezTo>
                <a:cubicBezTo>
                  <a:pt x="59" y="121"/>
                  <a:pt x="62" y="120"/>
                  <a:pt x="64" y="118"/>
                </a:cubicBezTo>
                <a:cubicBezTo>
                  <a:pt x="66" y="116"/>
                  <a:pt x="67" y="113"/>
                  <a:pt x="67" y="109"/>
                </a:cubicBezTo>
                <a:cubicBezTo>
                  <a:pt x="67" y="106"/>
                  <a:pt x="66" y="103"/>
                  <a:pt x="65" y="101"/>
                </a:cubicBezTo>
                <a:cubicBezTo>
                  <a:pt x="65" y="98"/>
                  <a:pt x="63" y="96"/>
                  <a:pt x="61" y="94"/>
                </a:cubicBezTo>
                <a:cubicBezTo>
                  <a:pt x="57" y="91"/>
                  <a:pt x="54" y="88"/>
                  <a:pt x="52" y="85"/>
                </a:cubicBezTo>
                <a:cubicBezTo>
                  <a:pt x="44" y="85"/>
                  <a:pt x="38" y="83"/>
                  <a:pt x="31" y="81"/>
                </a:cubicBezTo>
                <a:cubicBezTo>
                  <a:pt x="25" y="78"/>
                  <a:pt x="19" y="75"/>
                  <a:pt x="15" y="72"/>
                </a:cubicBezTo>
                <a:cubicBezTo>
                  <a:pt x="10" y="68"/>
                  <a:pt x="7" y="64"/>
                  <a:pt x="4" y="59"/>
                </a:cubicBezTo>
                <a:cubicBezTo>
                  <a:pt x="2" y="55"/>
                  <a:pt x="0" y="50"/>
                  <a:pt x="0" y="46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1"/>
                  <a:pt x="1" y="29"/>
                  <a:pt x="3" y="27"/>
                </a:cubicBezTo>
                <a:cubicBezTo>
                  <a:pt x="5" y="25"/>
                  <a:pt x="7" y="25"/>
                  <a:pt x="9" y="25"/>
                </a:cubicBezTo>
                <a:cubicBezTo>
                  <a:pt x="37" y="25"/>
                  <a:pt x="37" y="25"/>
                  <a:pt x="37" y="25"/>
                </a:cubicBezTo>
                <a:cubicBezTo>
                  <a:pt x="37" y="15"/>
                  <a:pt x="37" y="15"/>
                  <a:pt x="37" y="15"/>
                </a:cubicBezTo>
                <a:cubicBezTo>
                  <a:pt x="37" y="11"/>
                  <a:pt x="38" y="8"/>
                  <a:pt x="41" y="5"/>
                </a:cubicBezTo>
                <a:cubicBezTo>
                  <a:pt x="44" y="2"/>
                  <a:pt x="48" y="0"/>
                  <a:pt x="52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4" y="2"/>
                  <a:pt x="117" y="5"/>
                </a:cubicBezTo>
                <a:cubicBezTo>
                  <a:pt x="120" y="8"/>
                  <a:pt x="121" y="11"/>
                  <a:pt x="121" y="15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49" y="25"/>
                  <a:pt x="149" y="25"/>
                  <a:pt x="149" y="25"/>
                </a:cubicBezTo>
                <a:cubicBezTo>
                  <a:pt x="151" y="25"/>
                  <a:pt x="153" y="25"/>
                  <a:pt x="155" y="27"/>
                </a:cubicBezTo>
                <a:cubicBezTo>
                  <a:pt x="157" y="29"/>
                  <a:pt x="158" y="31"/>
                  <a:pt x="158" y="34"/>
                </a:cubicBezTo>
                <a:close/>
                <a:moveTo>
                  <a:pt x="44" y="72"/>
                </a:moveTo>
                <a:cubicBezTo>
                  <a:pt x="39" y="62"/>
                  <a:pt x="37" y="50"/>
                  <a:pt x="37" y="37"/>
                </a:cubicBezTo>
                <a:cubicBezTo>
                  <a:pt x="12" y="37"/>
                  <a:pt x="12" y="37"/>
                  <a:pt x="12" y="37"/>
                </a:cubicBezTo>
                <a:cubicBezTo>
                  <a:pt x="12" y="46"/>
                  <a:pt x="12" y="46"/>
                  <a:pt x="12" y="46"/>
                </a:cubicBezTo>
                <a:cubicBezTo>
                  <a:pt x="12" y="51"/>
                  <a:pt x="15" y="56"/>
                  <a:pt x="21" y="61"/>
                </a:cubicBezTo>
                <a:cubicBezTo>
                  <a:pt x="27" y="66"/>
                  <a:pt x="35" y="70"/>
                  <a:pt x="44" y="72"/>
                </a:cubicBezTo>
                <a:close/>
                <a:moveTo>
                  <a:pt x="146" y="46"/>
                </a:moveTo>
                <a:cubicBezTo>
                  <a:pt x="146" y="37"/>
                  <a:pt x="146" y="37"/>
                  <a:pt x="146" y="37"/>
                </a:cubicBezTo>
                <a:cubicBezTo>
                  <a:pt x="121" y="37"/>
                  <a:pt x="121" y="37"/>
                  <a:pt x="121" y="37"/>
                </a:cubicBezTo>
                <a:cubicBezTo>
                  <a:pt x="121" y="50"/>
                  <a:pt x="119" y="62"/>
                  <a:pt x="114" y="72"/>
                </a:cubicBezTo>
                <a:cubicBezTo>
                  <a:pt x="123" y="70"/>
                  <a:pt x="131" y="66"/>
                  <a:pt x="137" y="61"/>
                </a:cubicBezTo>
                <a:cubicBezTo>
                  <a:pt x="143" y="56"/>
                  <a:pt x="146" y="51"/>
                  <a:pt x="14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810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>
          <a:xfrm>
            <a:off x="294024" y="1543050"/>
            <a:ext cx="8562637" cy="10731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617" y="1579785"/>
            <a:ext cx="3141795" cy="3817837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Mobile apps </a:t>
            </a:r>
            <a:r>
              <a:rPr lang="en-US">
                <a:solidFill>
                  <a:schemeClr val="accent2"/>
                </a:solidFill>
              </a:rPr>
              <a:t>show 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Rectangle 7"/>
          <p:cNvSpPr/>
          <p:nvPr/>
        </p:nvSpPr>
        <p:spPr>
          <a:xfrm>
            <a:off x="4064000" y="2021681"/>
            <a:ext cx="1139032" cy="2042320"/>
          </a:xfrm>
          <a:custGeom>
            <a:avLst/>
            <a:gdLst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2014537 h 2014537"/>
              <a:gd name="connsiteX4" fmla="*/ 0 w 3243262"/>
              <a:gd name="connsiteY4" fmla="*/ 0 h 2014537"/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0 h 201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3262" h="2014537">
                <a:moveTo>
                  <a:pt x="0" y="0"/>
                </a:moveTo>
                <a:lnTo>
                  <a:pt x="3243262" y="0"/>
                </a:lnTo>
                <a:lnTo>
                  <a:pt x="3243262" y="201453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92271" y="1960350"/>
            <a:ext cx="2566393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2383" y="1699162"/>
            <a:ext cx="2566291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Client: </a:t>
            </a:r>
            <a:r>
              <a:rPr lang="en-US" sz="1000" b="1" cap="all" spc="20" err="1">
                <a:solidFill>
                  <a:schemeClr val="accent1"/>
                </a:solidFill>
                <a:latin typeface="+mj-lt"/>
              </a:rPr>
              <a:t>Lorem</a:t>
            </a: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 Company</a:t>
            </a:r>
          </a:p>
        </p:txBody>
      </p:sp>
      <p:sp>
        <p:nvSpPr>
          <p:cNvPr id="10" name="Isosceles Triangle 9"/>
          <p:cNvSpPr/>
          <p:nvPr/>
        </p:nvSpPr>
        <p:spPr>
          <a:xfrm rot="5400000">
            <a:off x="5766571" y="1736974"/>
            <a:ext cx="95293" cy="8214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86176" y="1689365"/>
            <a:ext cx="2226241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endParaRPr lang="en-US" sz="1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Isosceles Triangle 13"/>
          <p:cNvSpPr/>
          <p:nvPr/>
        </p:nvSpPr>
        <p:spPr>
          <a:xfrm rot="5400000">
            <a:off x="5766571" y="2193764"/>
            <a:ext cx="95293" cy="8214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86176" y="2146155"/>
            <a:ext cx="2226241" cy="320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</a:t>
            </a:r>
          </a:p>
        </p:txBody>
      </p:sp>
      <p:sp>
        <p:nvSpPr>
          <p:cNvPr id="54" name="Oval 53"/>
          <p:cNvSpPr/>
          <p:nvPr/>
        </p:nvSpPr>
        <p:spPr>
          <a:xfrm>
            <a:off x="5773143" y="2884213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5773143" y="3541539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3095948" y="2884213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095948" y="3541539"/>
            <a:ext cx="262890" cy="2628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93726" y="2888589"/>
            <a:ext cx="2325688" cy="444358"/>
            <a:chOff x="593726" y="2888589"/>
            <a:chExt cx="2325688" cy="444358"/>
          </a:xfrm>
        </p:grpSpPr>
        <p:sp>
          <p:nvSpPr>
            <p:cNvPr id="26" name="TextBox 25"/>
            <p:cNvSpPr txBox="1"/>
            <p:nvPr/>
          </p:nvSpPr>
          <p:spPr>
            <a:xfrm>
              <a:off x="593726" y="3025170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93726" y="2888589"/>
              <a:ext cx="232568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Clean Development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93726" y="3541539"/>
            <a:ext cx="2325688" cy="444358"/>
            <a:chOff x="593726" y="3541539"/>
            <a:chExt cx="2325688" cy="444358"/>
          </a:xfrm>
        </p:grpSpPr>
        <p:sp>
          <p:nvSpPr>
            <p:cNvPr id="44" name="TextBox 43"/>
            <p:cNvSpPr txBox="1"/>
            <p:nvPr/>
          </p:nvSpPr>
          <p:spPr>
            <a:xfrm>
              <a:off x="593726" y="3678120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93726" y="3541539"/>
              <a:ext cx="232568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-commerce added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221412" y="2888589"/>
            <a:ext cx="2325688" cy="444358"/>
            <a:chOff x="6221412" y="2888589"/>
            <a:chExt cx="2325688" cy="444358"/>
          </a:xfrm>
        </p:grpSpPr>
        <p:sp>
          <p:nvSpPr>
            <p:cNvPr id="46" name="TextBox 45"/>
            <p:cNvSpPr txBox="1"/>
            <p:nvPr/>
          </p:nvSpPr>
          <p:spPr>
            <a:xfrm>
              <a:off x="6221412" y="3025170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221412" y="2888589"/>
              <a:ext cx="232568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Infographic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design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221412" y="3541539"/>
            <a:ext cx="2325688" cy="444358"/>
            <a:chOff x="6221412" y="3541539"/>
            <a:chExt cx="2325688" cy="444358"/>
          </a:xfrm>
        </p:grpSpPr>
        <p:sp>
          <p:nvSpPr>
            <p:cNvPr id="48" name="TextBox 47"/>
            <p:cNvSpPr txBox="1"/>
            <p:nvPr/>
          </p:nvSpPr>
          <p:spPr>
            <a:xfrm>
              <a:off x="6221412" y="3678120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221412" y="3541539"/>
              <a:ext cx="232568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err="1">
                  <a:solidFill>
                    <a:schemeClr val="accent1"/>
                  </a:solidFill>
                  <a:latin typeface="+mj-lt"/>
                </a:rPr>
                <a:t>Sql</a:t>
              </a: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 database added</a:t>
              </a:r>
            </a:p>
          </p:txBody>
        </p:sp>
      </p:grpSp>
      <p:sp>
        <p:nvSpPr>
          <p:cNvPr id="37" name="Freeform 168">
            <a:extLst>
              <a:ext uri="{FF2B5EF4-FFF2-40B4-BE49-F238E27FC236}">
                <a16:creationId xmlns:a16="http://schemas.microsoft.com/office/drawing/2014/main" id="{BA759F38-96C5-405D-835A-B5046751D09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33133" y="2934533"/>
            <a:ext cx="154495" cy="153011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12">
            <a:extLst>
              <a:ext uri="{FF2B5EF4-FFF2-40B4-BE49-F238E27FC236}">
                <a16:creationId xmlns:a16="http://schemas.microsoft.com/office/drawing/2014/main" id="{B593EB2C-A320-4877-9383-1962196D4AB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42321" y="3594055"/>
            <a:ext cx="130727" cy="144097"/>
          </a:xfrm>
          <a:custGeom>
            <a:avLst/>
            <a:gdLst>
              <a:gd name="T0" fmla="*/ 133 w 133"/>
              <a:gd name="T1" fmla="*/ 121 h 146"/>
              <a:gd name="T2" fmla="*/ 126 w 133"/>
              <a:gd name="T3" fmla="*/ 139 h 146"/>
              <a:gd name="T4" fmla="*/ 108 w 133"/>
              <a:gd name="T5" fmla="*/ 146 h 146"/>
              <a:gd name="T6" fmla="*/ 25 w 133"/>
              <a:gd name="T7" fmla="*/ 146 h 146"/>
              <a:gd name="T8" fmla="*/ 7 w 133"/>
              <a:gd name="T9" fmla="*/ 139 h 146"/>
              <a:gd name="T10" fmla="*/ 0 w 133"/>
              <a:gd name="T11" fmla="*/ 121 h 146"/>
              <a:gd name="T12" fmla="*/ 0 w 133"/>
              <a:gd name="T13" fmla="*/ 111 h 146"/>
              <a:gd name="T14" fmla="*/ 2 w 133"/>
              <a:gd name="T15" fmla="*/ 101 h 146"/>
              <a:gd name="T16" fmla="*/ 4 w 133"/>
              <a:gd name="T17" fmla="*/ 91 h 146"/>
              <a:gd name="T18" fmla="*/ 8 w 133"/>
              <a:gd name="T19" fmla="*/ 82 h 146"/>
              <a:gd name="T20" fmla="*/ 14 w 133"/>
              <a:gd name="T21" fmla="*/ 74 h 146"/>
              <a:gd name="T22" fmla="*/ 22 w 133"/>
              <a:gd name="T23" fmla="*/ 69 h 146"/>
              <a:gd name="T24" fmla="*/ 33 w 133"/>
              <a:gd name="T25" fmla="*/ 67 h 146"/>
              <a:gd name="T26" fmla="*/ 37 w 133"/>
              <a:gd name="T27" fmla="*/ 69 h 146"/>
              <a:gd name="T28" fmla="*/ 44 w 133"/>
              <a:gd name="T29" fmla="*/ 73 h 146"/>
              <a:gd name="T30" fmla="*/ 54 w 133"/>
              <a:gd name="T31" fmla="*/ 78 h 146"/>
              <a:gd name="T32" fmla="*/ 66 w 133"/>
              <a:gd name="T33" fmla="*/ 80 h 146"/>
              <a:gd name="T34" fmla="*/ 79 w 133"/>
              <a:gd name="T35" fmla="*/ 78 h 146"/>
              <a:gd name="T36" fmla="*/ 89 w 133"/>
              <a:gd name="T37" fmla="*/ 73 h 146"/>
              <a:gd name="T38" fmla="*/ 96 w 133"/>
              <a:gd name="T39" fmla="*/ 69 h 146"/>
              <a:gd name="T40" fmla="*/ 100 w 133"/>
              <a:gd name="T41" fmla="*/ 67 h 146"/>
              <a:gd name="T42" fmla="*/ 111 w 133"/>
              <a:gd name="T43" fmla="*/ 69 h 146"/>
              <a:gd name="T44" fmla="*/ 119 w 133"/>
              <a:gd name="T45" fmla="*/ 74 h 146"/>
              <a:gd name="T46" fmla="*/ 125 w 133"/>
              <a:gd name="T47" fmla="*/ 82 h 146"/>
              <a:gd name="T48" fmla="*/ 129 w 133"/>
              <a:gd name="T49" fmla="*/ 91 h 146"/>
              <a:gd name="T50" fmla="*/ 131 w 133"/>
              <a:gd name="T51" fmla="*/ 101 h 146"/>
              <a:gd name="T52" fmla="*/ 133 w 133"/>
              <a:gd name="T53" fmla="*/ 111 h 146"/>
              <a:gd name="T54" fmla="*/ 133 w 133"/>
              <a:gd name="T55" fmla="*/ 121 h 146"/>
              <a:gd name="T56" fmla="*/ 92 w 133"/>
              <a:gd name="T57" fmla="*/ 11 h 146"/>
              <a:gd name="T58" fmla="*/ 103 w 133"/>
              <a:gd name="T59" fmla="*/ 37 h 146"/>
              <a:gd name="T60" fmla="*/ 92 w 133"/>
              <a:gd name="T61" fmla="*/ 62 h 146"/>
              <a:gd name="T62" fmla="*/ 66 w 133"/>
              <a:gd name="T63" fmla="*/ 73 h 146"/>
              <a:gd name="T64" fmla="*/ 41 w 133"/>
              <a:gd name="T65" fmla="*/ 62 h 146"/>
              <a:gd name="T66" fmla="*/ 30 w 133"/>
              <a:gd name="T67" fmla="*/ 37 h 146"/>
              <a:gd name="T68" fmla="*/ 41 w 133"/>
              <a:gd name="T69" fmla="*/ 11 h 146"/>
              <a:gd name="T70" fmla="*/ 66 w 133"/>
              <a:gd name="T71" fmla="*/ 0 h 146"/>
              <a:gd name="T72" fmla="*/ 92 w 133"/>
              <a:gd name="T73" fmla="*/ 1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3" h="146">
                <a:moveTo>
                  <a:pt x="133" y="121"/>
                </a:moveTo>
                <a:cubicBezTo>
                  <a:pt x="133" y="129"/>
                  <a:pt x="131" y="135"/>
                  <a:pt x="126" y="139"/>
                </a:cubicBezTo>
                <a:cubicBezTo>
                  <a:pt x="121" y="143"/>
                  <a:pt x="115" y="146"/>
                  <a:pt x="108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17" y="146"/>
                  <a:pt x="11" y="143"/>
                  <a:pt x="7" y="139"/>
                </a:cubicBezTo>
                <a:cubicBezTo>
                  <a:pt x="2" y="135"/>
                  <a:pt x="0" y="129"/>
                  <a:pt x="0" y="121"/>
                </a:cubicBezTo>
                <a:cubicBezTo>
                  <a:pt x="0" y="118"/>
                  <a:pt x="0" y="114"/>
                  <a:pt x="0" y="111"/>
                </a:cubicBezTo>
                <a:cubicBezTo>
                  <a:pt x="0" y="108"/>
                  <a:pt x="1" y="105"/>
                  <a:pt x="2" y="101"/>
                </a:cubicBezTo>
                <a:cubicBezTo>
                  <a:pt x="2" y="97"/>
                  <a:pt x="3" y="94"/>
                  <a:pt x="4" y="91"/>
                </a:cubicBezTo>
                <a:cubicBezTo>
                  <a:pt x="5" y="88"/>
                  <a:pt x="6" y="85"/>
                  <a:pt x="8" y="82"/>
                </a:cubicBezTo>
                <a:cubicBezTo>
                  <a:pt x="10" y="79"/>
                  <a:pt x="12" y="76"/>
                  <a:pt x="14" y="74"/>
                </a:cubicBezTo>
                <a:cubicBezTo>
                  <a:pt x="16" y="72"/>
                  <a:pt x="19" y="70"/>
                  <a:pt x="22" y="69"/>
                </a:cubicBezTo>
                <a:cubicBezTo>
                  <a:pt x="25" y="68"/>
                  <a:pt x="29" y="67"/>
                  <a:pt x="33" y="67"/>
                </a:cubicBezTo>
                <a:cubicBezTo>
                  <a:pt x="33" y="67"/>
                  <a:pt x="34" y="68"/>
                  <a:pt x="37" y="69"/>
                </a:cubicBezTo>
                <a:cubicBezTo>
                  <a:pt x="39" y="70"/>
                  <a:pt x="41" y="72"/>
                  <a:pt x="44" y="73"/>
                </a:cubicBezTo>
                <a:cubicBezTo>
                  <a:pt x="46" y="75"/>
                  <a:pt x="50" y="77"/>
                  <a:pt x="54" y="78"/>
                </a:cubicBezTo>
                <a:cubicBezTo>
                  <a:pt x="58" y="79"/>
                  <a:pt x="62" y="80"/>
                  <a:pt x="66" y="80"/>
                </a:cubicBezTo>
                <a:cubicBezTo>
                  <a:pt x="71" y="80"/>
                  <a:pt x="75" y="79"/>
                  <a:pt x="79" y="78"/>
                </a:cubicBezTo>
                <a:cubicBezTo>
                  <a:pt x="83" y="77"/>
                  <a:pt x="87" y="75"/>
                  <a:pt x="89" y="73"/>
                </a:cubicBezTo>
                <a:cubicBezTo>
                  <a:pt x="92" y="72"/>
                  <a:pt x="94" y="70"/>
                  <a:pt x="96" y="69"/>
                </a:cubicBezTo>
                <a:cubicBezTo>
                  <a:pt x="98" y="68"/>
                  <a:pt x="100" y="67"/>
                  <a:pt x="100" y="67"/>
                </a:cubicBezTo>
                <a:cubicBezTo>
                  <a:pt x="104" y="67"/>
                  <a:pt x="108" y="68"/>
                  <a:pt x="111" y="69"/>
                </a:cubicBezTo>
                <a:cubicBezTo>
                  <a:pt x="114" y="70"/>
                  <a:pt x="117" y="72"/>
                  <a:pt x="119" y="74"/>
                </a:cubicBezTo>
                <a:cubicBezTo>
                  <a:pt x="121" y="76"/>
                  <a:pt x="123" y="79"/>
                  <a:pt x="125" y="82"/>
                </a:cubicBezTo>
                <a:cubicBezTo>
                  <a:pt x="126" y="85"/>
                  <a:pt x="128" y="88"/>
                  <a:pt x="129" y="91"/>
                </a:cubicBezTo>
                <a:cubicBezTo>
                  <a:pt x="130" y="94"/>
                  <a:pt x="131" y="97"/>
                  <a:pt x="131" y="101"/>
                </a:cubicBezTo>
                <a:cubicBezTo>
                  <a:pt x="132" y="105"/>
                  <a:pt x="132" y="108"/>
                  <a:pt x="133" y="111"/>
                </a:cubicBezTo>
                <a:cubicBezTo>
                  <a:pt x="133" y="114"/>
                  <a:pt x="133" y="118"/>
                  <a:pt x="133" y="121"/>
                </a:cubicBezTo>
                <a:close/>
                <a:moveTo>
                  <a:pt x="92" y="11"/>
                </a:moveTo>
                <a:cubicBezTo>
                  <a:pt x="99" y="18"/>
                  <a:pt x="103" y="27"/>
                  <a:pt x="103" y="37"/>
                </a:cubicBezTo>
                <a:cubicBezTo>
                  <a:pt x="103" y="47"/>
                  <a:pt x="99" y="55"/>
                  <a:pt x="92" y="62"/>
                </a:cubicBezTo>
                <a:cubicBezTo>
                  <a:pt x="85" y="69"/>
                  <a:pt x="76" y="73"/>
                  <a:pt x="66" y="73"/>
                </a:cubicBezTo>
                <a:cubicBezTo>
                  <a:pt x="56" y="73"/>
                  <a:pt x="48" y="69"/>
                  <a:pt x="41" y="62"/>
                </a:cubicBezTo>
                <a:cubicBezTo>
                  <a:pt x="34" y="55"/>
                  <a:pt x="30" y="47"/>
                  <a:pt x="30" y="37"/>
                </a:cubicBezTo>
                <a:cubicBezTo>
                  <a:pt x="30" y="27"/>
                  <a:pt x="34" y="18"/>
                  <a:pt x="41" y="11"/>
                </a:cubicBezTo>
                <a:cubicBezTo>
                  <a:pt x="48" y="4"/>
                  <a:pt x="56" y="0"/>
                  <a:pt x="66" y="0"/>
                </a:cubicBezTo>
                <a:cubicBezTo>
                  <a:pt x="76" y="0"/>
                  <a:pt x="85" y="4"/>
                  <a:pt x="92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Freeform 120">
            <a:extLst>
              <a:ext uri="{FF2B5EF4-FFF2-40B4-BE49-F238E27FC236}">
                <a16:creationId xmlns:a16="http://schemas.microsoft.com/office/drawing/2014/main" id="{96F51698-23AD-44AE-B3A3-94E9B089ED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44350" y="3609473"/>
            <a:ext cx="147615" cy="126324"/>
          </a:xfrm>
          <a:custGeom>
            <a:avLst/>
            <a:gdLst>
              <a:gd name="T0" fmla="*/ 157 w 157"/>
              <a:gd name="T1" fmla="*/ 19 h 134"/>
              <a:gd name="T2" fmla="*/ 157 w 157"/>
              <a:gd name="T3" fmla="*/ 67 h 134"/>
              <a:gd name="T4" fmla="*/ 156 w 157"/>
              <a:gd name="T5" fmla="*/ 71 h 134"/>
              <a:gd name="T6" fmla="*/ 152 w 157"/>
              <a:gd name="T7" fmla="*/ 73 h 134"/>
              <a:gd name="T8" fmla="*/ 53 w 157"/>
              <a:gd name="T9" fmla="*/ 85 h 134"/>
              <a:gd name="T10" fmla="*/ 54 w 157"/>
              <a:gd name="T11" fmla="*/ 87 h 134"/>
              <a:gd name="T12" fmla="*/ 54 w 157"/>
              <a:gd name="T13" fmla="*/ 89 h 134"/>
              <a:gd name="T14" fmla="*/ 54 w 157"/>
              <a:gd name="T15" fmla="*/ 91 h 134"/>
              <a:gd name="T16" fmla="*/ 52 w 157"/>
              <a:gd name="T17" fmla="*/ 97 h 134"/>
              <a:gd name="T18" fmla="*/ 139 w 157"/>
              <a:gd name="T19" fmla="*/ 97 h 134"/>
              <a:gd name="T20" fmla="*/ 143 w 157"/>
              <a:gd name="T21" fmla="*/ 99 h 134"/>
              <a:gd name="T22" fmla="*/ 145 w 157"/>
              <a:gd name="T23" fmla="*/ 103 h 134"/>
              <a:gd name="T24" fmla="*/ 143 w 157"/>
              <a:gd name="T25" fmla="*/ 108 h 134"/>
              <a:gd name="T26" fmla="*/ 139 w 157"/>
              <a:gd name="T27" fmla="*/ 109 h 134"/>
              <a:gd name="T28" fmla="*/ 42 w 157"/>
              <a:gd name="T29" fmla="*/ 109 h 134"/>
              <a:gd name="T30" fmla="*/ 38 w 157"/>
              <a:gd name="T31" fmla="*/ 108 h 134"/>
              <a:gd name="T32" fmla="*/ 36 w 157"/>
              <a:gd name="T33" fmla="*/ 103 h 134"/>
              <a:gd name="T34" fmla="*/ 37 w 157"/>
              <a:gd name="T35" fmla="*/ 100 h 134"/>
              <a:gd name="T36" fmla="*/ 40 w 157"/>
              <a:gd name="T37" fmla="*/ 94 h 134"/>
              <a:gd name="T38" fmla="*/ 42 w 157"/>
              <a:gd name="T39" fmla="*/ 90 h 134"/>
              <a:gd name="T40" fmla="*/ 25 w 157"/>
              <a:gd name="T41" fmla="*/ 13 h 134"/>
              <a:gd name="T42" fmla="*/ 6 w 157"/>
              <a:gd name="T43" fmla="*/ 13 h 134"/>
              <a:gd name="T44" fmla="*/ 2 w 157"/>
              <a:gd name="T45" fmla="*/ 11 h 134"/>
              <a:gd name="T46" fmla="*/ 0 w 157"/>
              <a:gd name="T47" fmla="*/ 6 h 134"/>
              <a:gd name="T48" fmla="*/ 2 w 157"/>
              <a:gd name="T49" fmla="*/ 2 h 134"/>
              <a:gd name="T50" fmla="*/ 6 w 157"/>
              <a:gd name="T51" fmla="*/ 0 h 134"/>
              <a:gd name="T52" fmla="*/ 30 w 157"/>
              <a:gd name="T53" fmla="*/ 0 h 134"/>
              <a:gd name="T54" fmla="*/ 33 w 157"/>
              <a:gd name="T55" fmla="*/ 1 h 134"/>
              <a:gd name="T56" fmla="*/ 35 w 157"/>
              <a:gd name="T57" fmla="*/ 3 h 134"/>
              <a:gd name="T58" fmla="*/ 36 w 157"/>
              <a:gd name="T59" fmla="*/ 5 h 134"/>
              <a:gd name="T60" fmla="*/ 37 w 157"/>
              <a:gd name="T61" fmla="*/ 7 h 134"/>
              <a:gd name="T62" fmla="*/ 37 w 157"/>
              <a:gd name="T63" fmla="*/ 10 h 134"/>
              <a:gd name="T64" fmla="*/ 38 w 157"/>
              <a:gd name="T65" fmla="*/ 13 h 134"/>
              <a:gd name="T66" fmla="*/ 151 w 157"/>
              <a:gd name="T67" fmla="*/ 13 h 134"/>
              <a:gd name="T68" fmla="*/ 155 w 157"/>
              <a:gd name="T69" fmla="*/ 14 h 134"/>
              <a:gd name="T70" fmla="*/ 157 w 157"/>
              <a:gd name="T71" fmla="*/ 19 h 134"/>
              <a:gd name="T72" fmla="*/ 57 w 157"/>
              <a:gd name="T73" fmla="*/ 113 h 134"/>
              <a:gd name="T74" fmla="*/ 60 w 157"/>
              <a:gd name="T75" fmla="*/ 121 h 134"/>
              <a:gd name="T76" fmla="*/ 57 w 157"/>
              <a:gd name="T77" fmla="*/ 130 h 134"/>
              <a:gd name="T78" fmla="*/ 48 w 157"/>
              <a:gd name="T79" fmla="*/ 134 h 134"/>
              <a:gd name="T80" fmla="*/ 40 w 157"/>
              <a:gd name="T81" fmla="*/ 130 h 134"/>
              <a:gd name="T82" fmla="*/ 36 w 157"/>
              <a:gd name="T83" fmla="*/ 121 h 134"/>
              <a:gd name="T84" fmla="*/ 40 w 157"/>
              <a:gd name="T85" fmla="*/ 113 h 134"/>
              <a:gd name="T86" fmla="*/ 48 w 157"/>
              <a:gd name="T87" fmla="*/ 109 h 134"/>
              <a:gd name="T88" fmla="*/ 57 w 157"/>
              <a:gd name="T89" fmla="*/ 113 h 134"/>
              <a:gd name="T90" fmla="*/ 142 w 157"/>
              <a:gd name="T91" fmla="*/ 113 h 134"/>
              <a:gd name="T92" fmla="*/ 145 w 157"/>
              <a:gd name="T93" fmla="*/ 121 h 134"/>
              <a:gd name="T94" fmla="*/ 142 w 157"/>
              <a:gd name="T95" fmla="*/ 130 h 134"/>
              <a:gd name="T96" fmla="*/ 133 w 157"/>
              <a:gd name="T97" fmla="*/ 134 h 134"/>
              <a:gd name="T98" fmla="*/ 125 w 157"/>
              <a:gd name="T99" fmla="*/ 130 h 134"/>
              <a:gd name="T100" fmla="*/ 121 w 157"/>
              <a:gd name="T101" fmla="*/ 121 h 134"/>
              <a:gd name="T102" fmla="*/ 125 w 157"/>
              <a:gd name="T103" fmla="*/ 113 h 134"/>
              <a:gd name="T104" fmla="*/ 133 w 157"/>
              <a:gd name="T105" fmla="*/ 109 h 134"/>
              <a:gd name="T106" fmla="*/ 142 w 157"/>
              <a:gd name="T107" fmla="*/ 11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4">
                <a:moveTo>
                  <a:pt x="157" y="19"/>
                </a:moveTo>
                <a:cubicBezTo>
                  <a:pt x="157" y="67"/>
                  <a:pt x="157" y="67"/>
                  <a:pt x="157" y="67"/>
                </a:cubicBezTo>
                <a:cubicBezTo>
                  <a:pt x="157" y="69"/>
                  <a:pt x="157" y="70"/>
                  <a:pt x="156" y="71"/>
                </a:cubicBezTo>
                <a:cubicBezTo>
                  <a:pt x="155" y="72"/>
                  <a:pt x="153" y="73"/>
                  <a:pt x="152" y="73"/>
                </a:cubicBezTo>
                <a:cubicBezTo>
                  <a:pt x="53" y="85"/>
                  <a:pt x="53" y="85"/>
                  <a:pt x="53" y="85"/>
                </a:cubicBezTo>
                <a:cubicBezTo>
                  <a:pt x="53" y="85"/>
                  <a:pt x="53" y="86"/>
                  <a:pt x="54" y="87"/>
                </a:cubicBezTo>
                <a:cubicBezTo>
                  <a:pt x="54" y="88"/>
                  <a:pt x="54" y="88"/>
                  <a:pt x="54" y="89"/>
                </a:cubicBezTo>
                <a:cubicBezTo>
                  <a:pt x="54" y="90"/>
                  <a:pt x="54" y="91"/>
                  <a:pt x="54" y="91"/>
                </a:cubicBezTo>
                <a:cubicBezTo>
                  <a:pt x="54" y="92"/>
                  <a:pt x="54" y="94"/>
                  <a:pt x="52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3" y="99"/>
                </a:cubicBezTo>
                <a:cubicBezTo>
                  <a:pt x="145" y="100"/>
                  <a:pt x="145" y="102"/>
                  <a:pt x="145" y="103"/>
                </a:cubicBezTo>
                <a:cubicBezTo>
                  <a:pt x="145" y="105"/>
                  <a:pt x="145" y="106"/>
                  <a:pt x="143" y="108"/>
                </a:cubicBezTo>
                <a:cubicBezTo>
                  <a:pt x="142" y="109"/>
                  <a:pt x="141" y="109"/>
                  <a:pt x="139" y="109"/>
                </a:cubicBezTo>
                <a:cubicBezTo>
                  <a:pt x="42" y="109"/>
                  <a:pt x="42" y="109"/>
                  <a:pt x="42" y="109"/>
                </a:cubicBezTo>
                <a:cubicBezTo>
                  <a:pt x="41" y="109"/>
                  <a:pt x="39" y="109"/>
                  <a:pt x="38" y="108"/>
                </a:cubicBezTo>
                <a:cubicBezTo>
                  <a:pt x="37" y="106"/>
                  <a:pt x="36" y="105"/>
                  <a:pt x="36" y="103"/>
                </a:cubicBezTo>
                <a:cubicBezTo>
                  <a:pt x="36" y="102"/>
                  <a:pt x="37" y="101"/>
                  <a:pt x="37" y="100"/>
                </a:cubicBezTo>
                <a:cubicBezTo>
                  <a:pt x="38" y="98"/>
                  <a:pt x="39" y="96"/>
                  <a:pt x="40" y="94"/>
                </a:cubicBezTo>
                <a:cubicBezTo>
                  <a:pt x="41" y="92"/>
                  <a:pt x="42" y="91"/>
                  <a:pt x="42" y="90"/>
                </a:cubicBezTo>
                <a:cubicBezTo>
                  <a:pt x="25" y="13"/>
                  <a:pt x="25" y="13"/>
                  <a:pt x="25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4" y="13"/>
                  <a:pt x="3" y="12"/>
                  <a:pt x="2" y="11"/>
                </a:cubicBezTo>
                <a:cubicBezTo>
                  <a:pt x="1" y="10"/>
                  <a:pt x="0" y="8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2" y="1"/>
                  <a:pt x="33" y="1"/>
                </a:cubicBezTo>
                <a:cubicBezTo>
                  <a:pt x="34" y="1"/>
                  <a:pt x="34" y="2"/>
                  <a:pt x="35" y="3"/>
                </a:cubicBezTo>
                <a:cubicBezTo>
                  <a:pt x="35" y="3"/>
                  <a:pt x="36" y="4"/>
                  <a:pt x="36" y="5"/>
                </a:cubicBezTo>
                <a:cubicBezTo>
                  <a:pt x="36" y="6"/>
                  <a:pt x="37" y="7"/>
                  <a:pt x="37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1"/>
                  <a:pt x="38" y="12"/>
                  <a:pt x="38" y="13"/>
                </a:cubicBezTo>
                <a:cubicBezTo>
                  <a:pt x="151" y="13"/>
                  <a:pt x="151" y="13"/>
                  <a:pt x="151" y="13"/>
                </a:cubicBezTo>
                <a:cubicBezTo>
                  <a:pt x="153" y="13"/>
                  <a:pt x="154" y="13"/>
                  <a:pt x="155" y="14"/>
                </a:cubicBezTo>
                <a:cubicBezTo>
                  <a:pt x="157" y="16"/>
                  <a:pt x="157" y="17"/>
                  <a:pt x="157" y="19"/>
                </a:cubicBezTo>
                <a:close/>
                <a:moveTo>
                  <a:pt x="57" y="113"/>
                </a:moveTo>
                <a:cubicBezTo>
                  <a:pt x="59" y="115"/>
                  <a:pt x="60" y="118"/>
                  <a:pt x="60" y="121"/>
                </a:cubicBezTo>
                <a:cubicBezTo>
                  <a:pt x="60" y="125"/>
                  <a:pt x="59" y="128"/>
                  <a:pt x="57" y="130"/>
                </a:cubicBezTo>
                <a:cubicBezTo>
                  <a:pt x="55" y="132"/>
                  <a:pt x="52" y="134"/>
                  <a:pt x="48" y="134"/>
                </a:cubicBezTo>
                <a:cubicBezTo>
                  <a:pt x="45" y="134"/>
                  <a:pt x="42" y="132"/>
                  <a:pt x="40" y="130"/>
                </a:cubicBezTo>
                <a:cubicBezTo>
                  <a:pt x="37" y="128"/>
                  <a:pt x="36" y="125"/>
                  <a:pt x="36" y="121"/>
                </a:cubicBezTo>
                <a:cubicBezTo>
                  <a:pt x="36" y="118"/>
                  <a:pt x="37" y="115"/>
                  <a:pt x="40" y="113"/>
                </a:cubicBezTo>
                <a:cubicBezTo>
                  <a:pt x="42" y="111"/>
                  <a:pt x="45" y="109"/>
                  <a:pt x="48" y="109"/>
                </a:cubicBezTo>
                <a:cubicBezTo>
                  <a:pt x="52" y="109"/>
                  <a:pt x="55" y="111"/>
                  <a:pt x="57" y="113"/>
                </a:cubicBezTo>
                <a:close/>
                <a:moveTo>
                  <a:pt x="142" y="113"/>
                </a:moveTo>
                <a:cubicBezTo>
                  <a:pt x="144" y="115"/>
                  <a:pt x="145" y="118"/>
                  <a:pt x="145" y="121"/>
                </a:cubicBezTo>
                <a:cubicBezTo>
                  <a:pt x="145" y="125"/>
                  <a:pt x="144" y="128"/>
                  <a:pt x="142" y="130"/>
                </a:cubicBezTo>
                <a:cubicBezTo>
                  <a:pt x="139" y="132"/>
                  <a:pt x="136" y="134"/>
                  <a:pt x="133" y="134"/>
                </a:cubicBezTo>
                <a:cubicBezTo>
                  <a:pt x="130" y="134"/>
                  <a:pt x="127" y="132"/>
                  <a:pt x="125" y="130"/>
                </a:cubicBezTo>
                <a:cubicBezTo>
                  <a:pt x="122" y="128"/>
                  <a:pt x="121" y="125"/>
                  <a:pt x="121" y="121"/>
                </a:cubicBezTo>
                <a:cubicBezTo>
                  <a:pt x="121" y="118"/>
                  <a:pt x="122" y="115"/>
                  <a:pt x="125" y="113"/>
                </a:cubicBezTo>
                <a:cubicBezTo>
                  <a:pt x="127" y="111"/>
                  <a:pt x="130" y="109"/>
                  <a:pt x="133" y="109"/>
                </a:cubicBezTo>
                <a:cubicBezTo>
                  <a:pt x="136" y="109"/>
                  <a:pt x="139" y="111"/>
                  <a:pt x="142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0" name="Freeform 130">
            <a:extLst>
              <a:ext uri="{FF2B5EF4-FFF2-40B4-BE49-F238E27FC236}">
                <a16:creationId xmlns:a16="http://schemas.microsoft.com/office/drawing/2014/main" id="{2A01537F-65AF-42F2-BBF1-88C13C44B0A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30302" y="2942340"/>
            <a:ext cx="170325" cy="156131"/>
          </a:xfrm>
          <a:custGeom>
            <a:avLst/>
            <a:gdLst>
              <a:gd name="T0" fmla="*/ 120 w 181"/>
              <a:gd name="T1" fmla="*/ 94 h 166"/>
              <a:gd name="T2" fmla="*/ 101 w 181"/>
              <a:gd name="T3" fmla="*/ 104 h 166"/>
              <a:gd name="T4" fmla="*/ 109 w 181"/>
              <a:gd name="T5" fmla="*/ 119 h 166"/>
              <a:gd name="T6" fmla="*/ 92 w 181"/>
              <a:gd name="T7" fmla="*/ 132 h 166"/>
              <a:gd name="T8" fmla="*/ 72 w 181"/>
              <a:gd name="T9" fmla="*/ 141 h 166"/>
              <a:gd name="T10" fmla="*/ 49 w 181"/>
              <a:gd name="T11" fmla="*/ 143 h 166"/>
              <a:gd name="T12" fmla="*/ 39 w 181"/>
              <a:gd name="T13" fmla="*/ 124 h 166"/>
              <a:gd name="T14" fmla="*/ 24 w 181"/>
              <a:gd name="T15" fmla="*/ 132 h 166"/>
              <a:gd name="T16" fmla="*/ 15 w 181"/>
              <a:gd name="T17" fmla="*/ 110 h 166"/>
              <a:gd name="T18" fmla="*/ 2 w 181"/>
              <a:gd name="T19" fmla="*/ 94 h 166"/>
              <a:gd name="T20" fmla="*/ 0 w 181"/>
              <a:gd name="T21" fmla="*/ 74 h 166"/>
              <a:gd name="T22" fmla="*/ 16 w 181"/>
              <a:gd name="T23" fmla="*/ 69 h 166"/>
              <a:gd name="T24" fmla="*/ 10 w 181"/>
              <a:gd name="T25" fmla="*/ 49 h 166"/>
              <a:gd name="T26" fmla="*/ 26 w 181"/>
              <a:gd name="T27" fmla="*/ 33 h 166"/>
              <a:gd name="T28" fmla="*/ 46 w 181"/>
              <a:gd name="T29" fmla="*/ 39 h 166"/>
              <a:gd name="T30" fmla="*/ 69 w 181"/>
              <a:gd name="T31" fmla="*/ 22 h 166"/>
              <a:gd name="T32" fmla="*/ 74 w 181"/>
              <a:gd name="T33" fmla="*/ 39 h 166"/>
              <a:gd name="T34" fmla="*/ 94 w 181"/>
              <a:gd name="T35" fmla="*/ 33 h 166"/>
              <a:gd name="T36" fmla="*/ 109 w 181"/>
              <a:gd name="T37" fmla="*/ 51 h 166"/>
              <a:gd name="T38" fmla="*/ 104 w 181"/>
              <a:gd name="T39" fmla="*/ 69 h 166"/>
              <a:gd name="T40" fmla="*/ 121 w 181"/>
              <a:gd name="T41" fmla="*/ 74 h 166"/>
              <a:gd name="T42" fmla="*/ 77 w 181"/>
              <a:gd name="T43" fmla="*/ 66 h 166"/>
              <a:gd name="T44" fmla="*/ 36 w 181"/>
              <a:gd name="T45" fmla="*/ 83 h 166"/>
              <a:gd name="T46" fmla="*/ 77 w 181"/>
              <a:gd name="T47" fmla="*/ 100 h 166"/>
              <a:gd name="T48" fmla="*/ 167 w 181"/>
              <a:gd name="T49" fmla="*/ 44 h 166"/>
              <a:gd name="T50" fmla="*/ 169 w 181"/>
              <a:gd name="T51" fmla="*/ 63 h 166"/>
              <a:gd name="T52" fmla="*/ 148 w 181"/>
              <a:gd name="T53" fmla="*/ 59 h 166"/>
              <a:gd name="T54" fmla="*/ 137 w 181"/>
              <a:gd name="T55" fmla="*/ 65 h 166"/>
              <a:gd name="T56" fmla="*/ 121 w 181"/>
              <a:gd name="T57" fmla="*/ 62 h 166"/>
              <a:gd name="T58" fmla="*/ 109 w 181"/>
              <a:gd name="T59" fmla="*/ 41 h 166"/>
              <a:gd name="T60" fmla="*/ 125 w 181"/>
              <a:gd name="T61" fmla="*/ 20 h 166"/>
              <a:gd name="T62" fmla="*/ 124 w 181"/>
              <a:gd name="T63" fmla="*/ 4 h 166"/>
              <a:gd name="T64" fmla="*/ 137 w 181"/>
              <a:gd name="T65" fmla="*/ 4 h 166"/>
              <a:gd name="T66" fmla="*/ 148 w 181"/>
              <a:gd name="T67" fmla="*/ 11 h 166"/>
              <a:gd name="T68" fmla="*/ 169 w 181"/>
              <a:gd name="T69" fmla="*/ 6 h 166"/>
              <a:gd name="T70" fmla="*/ 167 w 181"/>
              <a:gd name="T71" fmla="*/ 25 h 166"/>
              <a:gd name="T72" fmla="*/ 181 w 181"/>
              <a:gd name="T73" fmla="*/ 138 h 166"/>
              <a:gd name="T74" fmla="*/ 169 w 181"/>
              <a:gd name="T75" fmla="*/ 159 h 166"/>
              <a:gd name="T76" fmla="*/ 153 w 181"/>
              <a:gd name="T77" fmla="*/ 162 h 166"/>
              <a:gd name="T78" fmla="*/ 142 w 181"/>
              <a:gd name="T79" fmla="*/ 155 h 166"/>
              <a:gd name="T80" fmla="*/ 121 w 181"/>
              <a:gd name="T81" fmla="*/ 160 h 166"/>
              <a:gd name="T82" fmla="*/ 123 w 181"/>
              <a:gd name="T83" fmla="*/ 141 h 166"/>
              <a:gd name="T84" fmla="*/ 123 w 181"/>
              <a:gd name="T85" fmla="*/ 122 h 166"/>
              <a:gd name="T86" fmla="*/ 121 w 181"/>
              <a:gd name="T87" fmla="*/ 103 h 166"/>
              <a:gd name="T88" fmla="*/ 133 w 181"/>
              <a:gd name="T89" fmla="*/ 97 h 166"/>
              <a:gd name="T90" fmla="*/ 145 w 181"/>
              <a:gd name="T91" fmla="*/ 107 h 166"/>
              <a:gd name="T92" fmla="*/ 157 w 181"/>
              <a:gd name="T93" fmla="*/ 97 h 166"/>
              <a:gd name="T94" fmla="*/ 164 w 181"/>
              <a:gd name="T95" fmla="*/ 117 h 166"/>
              <a:gd name="T96" fmla="*/ 157 w 181"/>
              <a:gd name="T97" fmla="*/ 35 h 166"/>
              <a:gd name="T98" fmla="*/ 136 w 181"/>
              <a:gd name="T99" fmla="*/ 26 h 166"/>
              <a:gd name="T100" fmla="*/ 145 w 181"/>
              <a:gd name="T101" fmla="*/ 47 h 166"/>
              <a:gd name="T102" fmla="*/ 157 w 181"/>
              <a:gd name="T103" fmla="*/ 131 h 166"/>
              <a:gd name="T104" fmla="*/ 136 w 181"/>
              <a:gd name="T105" fmla="*/ 123 h 166"/>
              <a:gd name="T106" fmla="*/ 145 w 181"/>
              <a:gd name="T107" fmla="*/ 143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1" h="166">
                <a:moveTo>
                  <a:pt x="121" y="74"/>
                </a:moveTo>
                <a:cubicBezTo>
                  <a:pt x="121" y="92"/>
                  <a:pt x="121" y="92"/>
                  <a:pt x="121" y="92"/>
                </a:cubicBezTo>
                <a:cubicBezTo>
                  <a:pt x="121" y="92"/>
                  <a:pt x="120" y="93"/>
                  <a:pt x="120" y="94"/>
                </a:cubicBezTo>
                <a:cubicBezTo>
                  <a:pt x="120" y="94"/>
                  <a:pt x="119" y="95"/>
                  <a:pt x="118" y="95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103" y="99"/>
                  <a:pt x="102" y="102"/>
                  <a:pt x="101" y="104"/>
                </a:cubicBezTo>
                <a:cubicBezTo>
                  <a:pt x="103" y="107"/>
                  <a:pt x="106" y="111"/>
                  <a:pt x="109" y="115"/>
                </a:cubicBezTo>
                <a:cubicBezTo>
                  <a:pt x="110" y="116"/>
                  <a:pt x="110" y="116"/>
                  <a:pt x="110" y="117"/>
                </a:cubicBezTo>
                <a:cubicBezTo>
                  <a:pt x="110" y="118"/>
                  <a:pt x="110" y="118"/>
                  <a:pt x="109" y="119"/>
                </a:cubicBezTo>
                <a:cubicBezTo>
                  <a:pt x="108" y="121"/>
                  <a:pt x="105" y="123"/>
                  <a:pt x="101" y="127"/>
                </a:cubicBezTo>
                <a:cubicBezTo>
                  <a:pt x="98" y="131"/>
                  <a:pt x="95" y="133"/>
                  <a:pt x="94" y="133"/>
                </a:cubicBezTo>
                <a:cubicBezTo>
                  <a:pt x="93" y="133"/>
                  <a:pt x="93" y="133"/>
                  <a:pt x="92" y="132"/>
                </a:cubicBezTo>
                <a:cubicBezTo>
                  <a:pt x="81" y="124"/>
                  <a:pt x="81" y="124"/>
                  <a:pt x="81" y="124"/>
                </a:cubicBezTo>
                <a:cubicBezTo>
                  <a:pt x="79" y="125"/>
                  <a:pt x="76" y="126"/>
                  <a:pt x="74" y="127"/>
                </a:cubicBezTo>
                <a:cubicBezTo>
                  <a:pt x="73" y="133"/>
                  <a:pt x="72" y="138"/>
                  <a:pt x="72" y="141"/>
                </a:cubicBezTo>
                <a:cubicBezTo>
                  <a:pt x="71" y="143"/>
                  <a:pt x="70" y="143"/>
                  <a:pt x="69" y="143"/>
                </a:cubicBezTo>
                <a:cubicBezTo>
                  <a:pt x="51" y="143"/>
                  <a:pt x="51" y="143"/>
                  <a:pt x="51" y="143"/>
                </a:cubicBezTo>
                <a:cubicBezTo>
                  <a:pt x="51" y="143"/>
                  <a:pt x="50" y="143"/>
                  <a:pt x="49" y="143"/>
                </a:cubicBezTo>
                <a:cubicBezTo>
                  <a:pt x="49" y="142"/>
                  <a:pt x="49" y="142"/>
                  <a:pt x="48" y="141"/>
                </a:cubicBezTo>
                <a:cubicBezTo>
                  <a:pt x="46" y="127"/>
                  <a:pt x="46" y="127"/>
                  <a:pt x="46" y="127"/>
                </a:cubicBezTo>
                <a:cubicBezTo>
                  <a:pt x="44" y="126"/>
                  <a:pt x="42" y="125"/>
                  <a:pt x="39" y="124"/>
                </a:cubicBezTo>
                <a:cubicBezTo>
                  <a:pt x="28" y="132"/>
                  <a:pt x="28" y="132"/>
                  <a:pt x="28" y="132"/>
                </a:cubicBezTo>
                <a:cubicBezTo>
                  <a:pt x="28" y="133"/>
                  <a:pt x="27" y="133"/>
                  <a:pt x="26" y="133"/>
                </a:cubicBezTo>
                <a:cubicBezTo>
                  <a:pt x="25" y="133"/>
                  <a:pt x="25" y="133"/>
                  <a:pt x="24" y="132"/>
                </a:cubicBezTo>
                <a:cubicBezTo>
                  <a:pt x="15" y="124"/>
                  <a:pt x="11" y="119"/>
                  <a:pt x="11" y="117"/>
                </a:cubicBezTo>
                <a:cubicBezTo>
                  <a:pt x="11" y="116"/>
                  <a:pt x="11" y="116"/>
                  <a:pt x="11" y="115"/>
                </a:cubicBezTo>
                <a:cubicBezTo>
                  <a:pt x="12" y="114"/>
                  <a:pt x="13" y="113"/>
                  <a:pt x="15" y="110"/>
                </a:cubicBezTo>
                <a:cubicBezTo>
                  <a:pt x="17" y="108"/>
                  <a:pt x="19" y="106"/>
                  <a:pt x="20" y="104"/>
                </a:cubicBezTo>
                <a:cubicBezTo>
                  <a:pt x="18" y="102"/>
                  <a:pt x="17" y="99"/>
                  <a:pt x="16" y="97"/>
                </a:cubicBezTo>
                <a:cubicBezTo>
                  <a:pt x="2" y="94"/>
                  <a:pt x="2" y="94"/>
                  <a:pt x="2" y="94"/>
                </a:cubicBezTo>
                <a:cubicBezTo>
                  <a:pt x="1" y="94"/>
                  <a:pt x="1" y="94"/>
                  <a:pt x="0" y="93"/>
                </a:cubicBezTo>
                <a:cubicBezTo>
                  <a:pt x="0" y="93"/>
                  <a:pt x="0" y="92"/>
                  <a:pt x="0" y="92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3"/>
                  <a:pt x="0" y="72"/>
                </a:cubicBezTo>
                <a:cubicBezTo>
                  <a:pt x="1" y="72"/>
                  <a:pt x="1" y="71"/>
                  <a:pt x="2" y="71"/>
                </a:cubicBezTo>
                <a:cubicBezTo>
                  <a:pt x="16" y="69"/>
                  <a:pt x="16" y="69"/>
                  <a:pt x="16" y="69"/>
                </a:cubicBezTo>
                <a:cubicBezTo>
                  <a:pt x="17" y="67"/>
                  <a:pt x="18" y="64"/>
                  <a:pt x="19" y="62"/>
                </a:cubicBezTo>
                <a:cubicBezTo>
                  <a:pt x="17" y="59"/>
                  <a:pt x="14" y="55"/>
                  <a:pt x="11" y="51"/>
                </a:cubicBezTo>
                <a:cubicBezTo>
                  <a:pt x="10" y="50"/>
                  <a:pt x="10" y="50"/>
                  <a:pt x="10" y="49"/>
                </a:cubicBezTo>
                <a:cubicBezTo>
                  <a:pt x="10" y="48"/>
                  <a:pt x="10" y="48"/>
                  <a:pt x="11" y="47"/>
                </a:cubicBezTo>
                <a:cubicBezTo>
                  <a:pt x="12" y="45"/>
                  <a:pt x="15" y="42"/>
                  <a:pt x="19" y="39"/>
                </a:cubicBezTo>
                <a:cubicBezTo>
                  <a:pt x="22" y="35"/>
                  <a:pt x="25" y="33"/>
                  <a:pt x="26" y="33"/>
                </a:cubicBezTo>
                <a:cubicBezTo>
                  <a:pt x="27" y="33"/>
                  <a:pt x="28" y="33"/>
                  <a:pt x="28" y="34"/>
                </a:cubicBezTo>
                <a:cubicBezTo>
                  <a:pt x="39" y="42"/>
                  <a:pt x="39" y="42"/>
                  <a:pt x="39" y="42"/>
                </a:cubicBezTo>
                <a:cubicBezTo>
                  <a:pt x="41" y="41"/>
                  <a:pt x="44" y="40"/>
                  <a:pt x="46" y="39"/>
                </a:cubicBezTo>
                <a:cubicBezTo>
                  <a:pt x="47" y="32"/>
                  <a:pt x="48" y="28"/>
                  <a:pt x="48" y="25"/>
                </a:cubicBezTo>
                <a:cubicBezTo>
                  <a:pt x="49" y="23"/>
                  <a:pt x="50" y="22"/>
                  <a:pt x="51" y="22"/>
                </a:cubicBezTo>
                <a:cubicBezTo>
                  <a:pt x="69" y="22"/>
                  <a:pt x="69" y="22"/>
                  <a:pt x="69" y="22"/>
                </a:cubicBezTo>
                <a:cubicBezTo>
                  <a:pt x="70" y="22"/>
                  <a:pt x="70" y="23"/>
                  <a:pt x="71" y="23"/>
                </a:cubicBezTo>
                <a:cubicBezTo>
                  <a:pt x="71" y="24"/>
                  <a:pt x="72" y="24"/>
                  <a:pt x="72" y="25"/>
                </a:cubicBezTo>
                <a:cubicBezTo>
                  <a:pt x="74" y="39"/>
                  <a:pt x="74" y="39"/>
                  <a:pt x="74" y="39"/>
                </a:cubicBezTo>
                <a:cubicBezTo>
                  <a:pt x="76" y="40"/>
                  <a:pt x="78" y="41"/>
                  <a:pt x="81" y="42"/>
                </a:cubicBezTo>
                <a:cubicBezTo>
                  <a:pt x="92" y="34"/>
                  <a:pt x="92" y="34"/>
                  <a:pt x="92" y="34"/>
                </a:cubicBezTo>
                <a:cubicBezTo>
                  <a:pt x="93" y="33"/>
                  <a:pt x="93" y="33"/>
                  <a:pt x="94" y="33"/>
                </a:cubicBezTo>
                <a:cubicBezTo>
                  <a:pt x="95" y="33"/>
                  <a:pt x="95" y="33"/>
                  <a:pt x="96" y="34"/>
                </a:cubicBezTo>
                <a:cubicBezTo>
                  <a:pt x="105" y="42"/>
                  <a:pt x="110" y="47"/>
                  <a:pt x="110" y="49"/>
                </a:cubicBezTo>
                <a:cubicBezTo>
                  <a:pt x="110" y="50"/>
                  <a:pt x="109" y="50"/>
                  <a:pt x="109" y="51"/>
                </a:cubicBezTo>
                <a:cubicBezTo>
                  <a:pt x="108" y="52"/>
                  <a:pt x="107" y="54"/>
                  <a:pt x="105" y="56"/>
                </a:cubicBezTo>
                <a:cubicBezTo>
                  <a:pt x="103" y="58"/>
                  <a:pt x="102" y="60"/>
                  <a:pt x="101" y="62"/>
                </a:cubicBezTo>
                <a:cubicBezTo>
                  <a:pt x="102" y="65"/>
                  <a:pt x="103" y="67"/>
                  <a:pt x="104" y="69"/>
                </a:cubicBezTo>
                <a:cubicBezTo>
                  <a:pt x="118" y="72"/>
                  <a:pt x="118" y="72"/>
                  <a:pt x="118" y="72"/>
                </a:cubicBezTo>
                <a:cubicBezTo>
                  <a:pt x="119" y="72"/>
                  <a:pt x="120" y="72"/>
                  <a:pt x="120" y="73"/>
                </a:cubicBezTo>
                <a:cubicBezTo>
                  <a:pt x="120" y="73"/>
                  <a:pt x="121" y="74"/>
                  <a:pt x="121" y="74"/>
                </a:cubicBezTo>
                <a:close/>
                <a:moveTo>
                  <a:pt x="77" y="100"/>
                </a:moveTo>
                <a:cubicBezTo>
                  <a:pt x="82" y="95"/>
                  <a:pt x="84" y="90"/>
                  <a:pt x="84" y="83"/>
                </a:cubicBezTo>
                <a:cubicBezTo>
                  <a:pt x="84" y="76"/>
                  <a:pt x="82" y="71"/>
                  <a:pt x="77" y="66"/>
                </a:cubicBezTo>
                <a:cubicBezTo>
                  <a:pt x="72" y="61"/>
                  <a:pt x="67" y="59"/>
                  <a:pt x="60" y="59"/>
                </a:cubicBezTo>
                <a:cubicBezTo>
                  <a:pt x="53" y="59"/>
                  <a:pt x="48" y="61"/>
                  <a:pt x="43" y="66"/>
                </a:cubicBezTo>
                <a:cubicBezTo>
                  <a:pt x="38" y="71"/>
                  <a:pt x="36" y="76"/>
                  <a:pt x="36" y="83"/>
                </a:cubicBezTo>
                <a:cubicBezTo>
                  <a:pt x="36" y="90"/>
                  <a:pt x="38" y="95"/>
                  <a:pt x="43" y="100"/>
                </a:cubicBezTo>
                <a:cubicBezTo>
                  <a:pt x="48" y="105"/>
                  <a:pt x="53" y="107"/>
                  <a:pt x="60" y="107"/>
                </a:cubicBezTo>
                <a:cubicBezTo>
                  <a:pt x="67" y="107"/>
                  <a:pt x="72" y="105"/>
                  <a:pt x="77" y="100"/>
                </a:cubicBezTo>
                <a:close/>
                <a:moveTo>
                  <a:pt x="181" y="28"/>
                </a:moveTo>
                <a:cubicBezTo>
                  <a:pt x="181" y="41"/>
                  <a:pt x="181" y="41"/>
                  <a:pt x="181" y="41"/>
                </a:cubicBezTo>
                <a:cubicBezTo>
                  <a:pt x="181" y="42"/>
                  <a:pt x="176" y="43"/>
                  <a:pt x="167" y="44"/>
                </a:cubicBezTo>
                <a:cubicBezTo>
                  <a:pt x="166" y="46"/>
                  <a:pt x="165" y="47"/>
                  <a:pt x="164" y="49"/>
                </a:cubicBezTo>
                <a:cubicBezTo>
                  <a:pt x="167" y="56"/>
                  <a:pt x="169" y="60"/>
                  <a:pt x="169" y="62"/>
                </a:cubicBezTo>
                <a:cubicBezTo>
                  <a:pt x="169" y="62"/>
                  <a:pt x="169" y="63"/>
                  <a:pt x="169" y="63"/>
                </a:cubicBezTo>
                <a:cubicBezTo>
                  <a:pt x="161" y="67"/>
                  <a:pt x="157" y="69"/>
                  <a:pt x="157" y="69"/>
                </a:cubicBezTo>
                <a:cubicBezTo>
                  <a:pt x="156" y="69"/>
                  <a:pt x="155" y="68"/>
                  <a:pt x="153" y="65"/>
                </a:cubicBezTo>
                <a:cubicBezTo>
                  <a:pt x="150" y="62"/>
                  <a:pt x="149" y="60"/>
                  <a:pt x="148" y="59"/>
                </a:cubicBezTo>
                <a:cubicBezTo>
                  <a:pt x="146" y="59"/>
                  <a:pt x="145" y="59"/>
                  <a:pt x="145" y="59"/>
                </a:cubicBezTo>
                <a:cubicBezTo>
                  <a:pt x="144" y="59"/>
                  <a:pt x="143" y="59"/>
                  <a:pt x="142" y="59"/>
                </a:cubicBezTo>
                <a:cubicBezTo>
                  <a:pt x="141" y="60"/>
                  <a:pt x="139" y="62"/>
                  <a:pt x="137" y="65"/>
                </a:cubicBezTo>
                <a:cubicBezTo>
                  <a:pt x="135" y="68"/>
                  <a:pt x="133" y="69"/>
                  <a:pt x="133" y="69"/>
                </a:cubicBezTo>
                <a:cubicBezTo>
                  <a:pt x="133" y="69"/>
                  <a:pt x="129" y="67"/>
                  <a:pt x="121" y="63"/>
                </a:cubicBezTo>
                <a:cubicBezTo>
                  <a:pt x="121" y="63"/>
                  <a:pt x="121" y="62"/>
                  <a:pt x="121" y="62"/>
                </a:cubicBezTo>
                <a:cubicBezTo>
                  <a:pt x="121" y="60"/>
                  <a:pt x="122" y="56"/>
                  <a:pt x="125" y="49"/>
                </a:cubicBezTo>
                <a:cubicBezTo>
                  <a:pt x="124" y="47"/>
                  <a:pt x="123" y="46"/>
                  <a:pt x="123" y="44"/>
                </a:cubicBezTo>
                <a:cubicBezTo>
                  <a:pt x="113" y="43"/>
                  <a:pt x="109" y="42"/>
                  <a:pt x="109" y="41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109" y="27"/>
                  <a:pt x="113" y="26"/>
                  <a:pt x="123" y="25"/>
                </a:cubicBezTo>
                <a:cubicBezTo>
                  <a:pt x="123" y="23"/>
                  <a:pt x="124" y="22"/>
                  <a:pt x="125" y="20"/>
                </a:cubicBezTo>
                <a:cubicBezTo>
                  <a:pt x="122" y="13"/>
                  <a:pt x="121" y="9"/>
                  <a:pt x="121" y="7"/>
                </a:cubicBezTo>
                <a:cubicBezTo>
                  <a:pt x="121" y="7"/>
                  <a:pt x="121" y="7"/>
                  <a:pt x="121" y="6"/>
                </a:cubicBezTo>
                <a:cubicBezTo>
                  <a:pt x="121" y="6"/>
                  <a:pt x="122" y="6"/>
                  <a:pt x="124" y="4"/>
                </a:cubicBezTo>
                <a:cubicBezTo>
                  <a:pt x="126" y="3"/>
                  <a:pt x="128" y="2"/>
                  <a:pt x="130" y="1"/>
                </a:cubicBezTo>
                <a:cubicBezTo>
                  <a:pt x="132" y="0"/>
                  <a:pt x="133" y="0"/>
                  <a:pt x="133" y="0"/>
                </a:cubicBezTo>
                <a:cubicBezTo>
                  <a:pt x="133" y="0"/>
                  <a:pt x="135" y="1"/>
                  <a:pt x="137" y="4"/>
                </a:cubicBezTo>
                <a:cubicBezTo>
                  <a:pt x="139" y="7"/>
                  <a:pt x="141" y="9"/>
                  <a:pt x="142" y="11"/>
                </a:cubicBezTo>
                <a:cubicBezTo>
                  <a:pt x="143" y="10"/>
                  <a:pt x="144" y="10"/>
                  <a:pt x="145" y="10"/>
                </a:cubicBezTo>
                <a:cubicBezTo>
                  <a:pt x="145" y="10"/>
                  <a:pt x="146" y="10"/>
                  <a:pt x="148" y="11"/>
                </a:cubicBezTo>
                <a:cubicBezTo>
                  <a:pt x="151" y="6"/>
                  <a:pt x="154" y="3"/>
                  <a:pt x="156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7" y="0"/>
                  <a:pt x="161" y="2"/>
                  <a:pt x="169" y="6"/>
                </a:cubicBezTo>
                <a:cubicBezTo>
                  <a:pt x="169" y="7"/>
                  <a:pt x="169" y="7"/>
                  <a:pt x="169" y="7"/>
                </a:cubicBezTo>
                <a:cubicBezTo>
                  <a:pt x="169" y="9"/>
                  <a:pt x="167" y="13"/>
                  <a:pt x="164" y="20"/>
                </a:cubicBezTo>
                <a:cubicBezTo>
                  <a:pt x="165" y="22"/>
                  <a:pt x="166" y="23"/>
                  <a:pt x="167" y="25"/>
                </a:cubicBezTo>
                <a:cubicBezTo>
                  <a:pt x="176" y="26"/>
                  <a:pt x="181" y="27"/>
                  <a:pt x="181" y="28"/>
                </a:cubicBezTo>
                <a:close/>
                <a:moveTo>
                  <a:pt x="181" y="125"/>
                </a:moveTo>
                <a:cubicBezTo>
                  <a:pt x="181" y="138"/>
                  <a:pt x="181" y="138"/>
                  <a:pt x="181" y="138"/>
                </a:cubicBezTo>
                <a:cubicBezTo>
                  <a:pt x="181" y="139"/>
                  <a:pt x="176" y="140"/>
                  <a:pt x="167" y="141"/>
                </a:cubicBezTo>
                <a:cubicBezTo>
                  <a:pt x="166" y="143"/>
                  <a:pt x="165" y="144"/>
                  <a:pt x="164" y="146"/>
                </a:cubicBezTo>
                <a:cubicBezTo>
                  <a:pt x="167" y="153"/>
                  <a:pt x="169" y="157"/>
                  <a:pt x="169" y="159"/>
                </a:cubicBezTo>
                <a:cubicBezTo>
                  <a:pt x="169" y="159"/>
                  <a:pt x="169" y="159"/>
                  <a:pt x="169" y="160"/>
                </a:cubicBezTo>
                <a:cubicBezTo>
                  <a:pt x="161" y="164"/>
                  <a:pt x="157" y="166"/>
                  <a:pt x="157" y="166"/>
                </a:cubicBezTo>
                <a:cubicBezTo>
                  <a:pt x="156" y="166"/>
                  <a:pt x="155" y="165"/>
                  <a:pt x="153" y="162"/>
                </a:cubicBezTo>
                <a:cubicBezTo>
                  <a:pt x="150" y="159"/>
                  <a:pt x="149" y="157"/>
                  <a:pt x="148" y="155"/>
                </a:cubicBezTo>
                <a:cubicBezTo>
                  <a:pt x="146" y="155"/>
                  <a:pt x="145" y="156"/>
                  <a:pt x="145" y="156"/>
                </a:cubicBezTo>
                <a:cubicBezTo>
                  <a:pt x="144" y="156"/>
                  <a:pt x="143" y="155"/>
                  <a:pt x="142" y="155"/>
                </a:cubicBezTo>
                <a:cubicBezTo>
                  <a:pt x="141" y="157"/>
                  <a:pt x="139" y="159"/>
                  <a:pt x="137" y="162"/>
                </a:cubicBezTo>
                <a:cubicBezTo>
                  <a:pt x="135" y="165"/>
                  <a:pt x="133" y="166"/>
                  <a:pt x="133" y="166"/>
                </a:cubicBezTo>
                <a:cubicBezTo>
                  <a:pt x="133" y="166"/>
                  <a:pt x="129" y="164"/>
                  <a:pt x="121" y="160"/>
                </a:cubicBezTo>
                <a:cubicBezTo>
                  <a:pt x="121" y="159"/>
                  <a:pt x="121" y="159"/>
                  <a:pt x="121" y="159"/>
                </a:cubicBezTo>
                <a:cubicBezTo>
                  <a:pt x="121" y="157"/>
                  <a:pt x="122" y="153"/>
                  <a:pt x="125" y="146"/>
                </a:cubicBezTo>
                <a:cubicBezTo>
                  <a:pt x="124" y="144"/>
                  <a:pt x="123" y="143"/>
                  <a:pt x="123" y="141"/>
                </a:cubicBezTo>
                <a:cubicBezTo>
                  <a:pt x="113" y="140"/>
                  <a:pt x="109" y="139"/>
                  <a:pt x="109" y="138"/>
                </a:cubicBezTo>
                <a:cubicBezTo>
                  <a:pt x="109" y="125"/>
                  <a:pt x="109" y="125"/>
                  <a:pt x="109" y="125"/>
                </a:cubicBezTo>
                <a:cubicBezTo>
                  <a:pt x="109" y="124"/>
                  <a:pt x="113" y="123"/>
                  <a:pt x="123" y="122"/>
                </a:cubicBezTo>
                <a:cubicBezTo>
                  <a:pt x="123" y="120"/>
                  <a:pt x="124" y="118"/>
                  <a:pt x="125" y="117"/>
                </a:cubicBezTo>
                <a:cubicBezTo>
                  <a:pt x="122" y="110"/>
                  <a:pt x="121" y="105"/>
                  <a:pt x="121" y="104"/>
                </a:cubicBezTo>
                <a:cubicBezTo>
                  <a:pt x="121" y="104"/>
                  <a:pt x="121" y="103"/>
                  <a:pt x="121" y="103"/>
                </a:cubicBezTo>
                <a:cubicBezTo>
                  <a:pt x="121" y="103"/>
                  <a:pt x="122" y="102"/>
                  <a:pt x="124" y="101"/>
                </a:cubicBezTo>
                <a:cubicBezTo>
                  <a:pt x="126" y="100"/>
                  <a:pt x="128" y="99"/>
                  <a:pt x="130" y="98"/>
                </a:cubicBezTo>
                <a:cubicBezTo>
                  <a:pt x="132" y="97"/>
                  <a:pt x="133" y="97"/>
                  <a:pt x="133" y="97"/>
                </a:cubicBezTo>
                <a:cubicBezTo>
                  <a:pt x="133" y="97"/>
                  <a:pt x="135" y="98"/>
                  <a:pt x="137" y="101"/>
                </a:cubicBezTo>
                <a:cubicBezTo>
                  <a:pt x="139" y="104"/>
                  <a:pt x="141" y="106"/>
                  <a:pt x="142" y="107"/>
                </a:cubicBezTo>
                <a:cubicBezTo>
                  <a:pt x="143" y="107"/>
                  <a:pt x="144" y="107"/>
                  <a:pt x="145" y="107"/>
                </a:cubicBezTo>
                <a:cubicBezTo>
                  <a:pt x="145" y="107"/>
                  <a:pt x="146" y="107"/>
                  <a:pt x="148" y="107"/>
                </a:cubicBezTo>
                <a:cubicBezTo>
                  <a:pt x="151" y="103"/>
                  <a:pt x="154" y="99"/>
                  <a:pt x="156" y="97"/>
                </a:cubicBezTo>
                <a:cubicBezTo>
                  <a:pt x="157" y="97"/>
                  <a:pt x="157" y="97"/>
                  <a:pt x="157" y="97"/>
                </a:cubicBezTo>
                <a:cubicBezTo>
                  <a:pt x="157" y="97"/>
                  <a:pt x="161" y="99"/>
                  <a:pt x="169" y="103"/>
                </a:cubicBezTo>
                <a:cubicBezTo>
                  <a:pt x="169" y="103"/>
                  <a:pt x="169" y="104"/>
                  <a:pt x="169" y="104"/>
                </a:cubicBezTo>
                <a:cubicBezTo>
                  <a:pt x="169" y="105"/>
                  <a:pt x="167" y="110"/>
                  <a:pt x="164" y="117"/>
                </a:cubicBezTo>
                <a:cubicBezTo>
                  <a:pt x="165" y="118"/>
                  <a:pt x="166" y="120"/>
                  <a:pt x="167" y="122"/>
                </a:cubicBezTo>
                <a:cubicBezTo>
                  <a:pt x="176" y="123"/>
                  <a:pt x="181" y="124"/>
                  <a:pt x="181" y="125"/>
                </a:cubicBezTo>
                <a:close/>
                <a:moveTo>
                  <a:pt x="157" y="35"/>
                </a:moveTo>
                <a:cubicBezTo>
                  <a:pt x="157" y="31"/>
                  <a:pt x="156" y="28"/>
                  <a:pt x="153" y="26"/>
                </a:cubicBezTo>
                <a:cubicBezTo>
                  <a:pt x="151" y="24"/>
                  <a:pt x="148" y="22"/>
                  <a:pt x="145" y="22"/>
                </a:cubicBezTo>
                <a:cubicBezTo>
                  <a:pt x="142" y="22"/>
                  <a:pt x="139" y="24"/>
                  <a:pt x="136" y="26"/>
                </a:cubicBezTo>
                <a:cubicBezTo>
                  <a:pt x="134" y="28"/>
                  <a:pt x="133" y="31"/>
                  <a:pt x="133" y="35"/>
                </a:cubicBezTo>
                <a:cubicBezTo>
                  <a:pt x="133" y="38"/>
                  <a:pt x="134" y="41"/>
                  <a:pt x="136" y="43"/>
                </a:cubicBezTo>
                <a:cubicBezTo>
                  <a:pt x="139" y="45"/>
                  <a:pt x="141" y="47"/>
                  <a:pt x="145" y="47"/>
                </a:cubicBezTo>
                <a:cubicBezTo>
                  <a:pt x="148" y="47"/>
                  <a:pt x="151" y="45"/>
                  <a:pt x="153" y="43"/>
                </a:cubicBezTo>
                <a:cubicBezTo>
                  <a:pt x="156" y="41"/>
                  <a:pt x="157" y="38"/>
                  <a:pt x="157" y="35"/>
                </a:cubicBezTo>
                <a:close/>
                <a:moveTo>
                  <a:pt x="157" y="131"/>
                </a:moveTo>
                <a:cubicBezTo>
                  <a:pt x="157" y="128"/>
                  <a:pt x="156" y="125"/>
                  <a:pt x="153" y="123"/>
                </a:cubicBezTo>
                <a:cubicBezTo>
                  <a:pt x="151" y="120"/>
                  <a:pt x="148" y="119"/>
                  <a:pt x="145" y="119"/>
                </a:cubicBezTo>
                <a:cubicBezTo>
                  <a:pt x="142" y="119"/>
                  <a:pt x="139" y="120"/>
                  <a:pt x="136" y="123"/>
                </a:cubicBezTo>
                <a:cubicBezTo>
                  <a:pt x="134" y="125"/>
                  <a:pt x="133" y="128"/>
                  <a:pt x="133" y="131"/>
                </a:cubicBezTo>
                <a:cubicBezTo>
                  <a:pt x="133" y="135"/>
                  <a:pt x="134" y="138"/>
                  <a:pt x="136" y="140"/>
                </a:cubicBezTo>
                <a:cubicBezTo>
                  <a:pt x="139" y="142"/>
                  <a:pt x="141" y="143"/>
                  <a:pt x="145" y="143"/>
                </a:cubicBezTo>
                <a:cubicBezTo>
                  <a:pt x="148" y="143"/>
                  <a:pt x="151" y="142"/>
                  <a:pt x="153" y="140"/>
                </a:cubicBezTo>
                <a:cubicBezTo>
                  <a:pt x="156" y="138"/>
                  <a:pt x="157" y="135"/>
                  <a:pt x="157" y="1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5133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/>
        </p:nvSpPr>
        <p:spPr>
          <a:xfrm>
            <a:off x="1717984" y="2080007"/>
            <a:ext cx="2981353" cy="488949"/>
          </a:xfrm>
          <a:custGeom>
            <a:avLst/>
            <a:gdLst>
              <a:gd name="connsiteX0" fmla="*/ 0 w 2981353"/>
              <a:gd name="connsiteY0" fmla="*/ 0 h 488949"/>
              <a:gd name="connsiteX1" fmla="*/ 2981353 w 2981353"/>
              <a:gd name="connsiteY1" fmla="*/ 0 h 488949"/>
              <a:gd name="connsiteX2" fmla="*/ 2552728 w 2981353"/>
              <a:gd name="connsiteY2" fmla="*/ 488949 h 488949"/>
              <a:gd name="connsiteX3" fmla="*/ 0 w 2981353"/>
              <a:gd name="connsiteY3" fmla="*/ 488949 h 48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1353" h="488949">
                <a:moveTo>
                  <a:pt x="0" y="0"/>
                </a:moveTo>
                <a:lnTo>
                  <a:pt x="2981353" y="0"/>
                </a:lnTo>
                <a:lnTo>
                  <a:pt x="2552728" y="488949"/>
                </a:lnTo>
                <a:lnTo>
                  <a:pt x="0" y="488949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1717984" y="3535497"/>
            <a:ext cx="3976053" cy="488949"/>
          </a:xfrm>
          <a:custGeom>
            <a:avLst/>
            <a:gdLst>
              <a:gd name="connsiteX0" fmla="*/ 0 w 3976053"/>
              <a:gd name="connsiteY0" fmla="*/ 0 h 488949"/>
              <a:gd name="connsiteX1" fmla="*/ 3976053 w 3976053"/>
              <a:gd name="connsiteY1" fmla="*/ 0 h 488949"/>
              <a:gd name="connsiteX2" fmla="*/ 3547428 w 3976053"/>
              <a:gd name="connsiteY2" fmla="*/ 488949 h 488949"/>
              <a:gd name="connsiteX3" fmla="*/ 0 w 3976053"/>
              <a:gd name="connsiteY3" fmla="*/ 488949 h 48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6053" h="488949">
                <a:moveTo>
                  <a:pt x="0" y="0"/>
                </a:moveTo>
                <a:lnTo>
                  <a:pt x="3976053" y="0"/>
                </a:lnTo>
                <a:lnTo>
                  <a:pt x="3547428" y="488949"/>
                </a:lnTo>
                <a:lnTo>
                  <a:pt x="0" y="488949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717984" y="3050333"/>
            <a:ext cx="3644487" cy="488949"/>
          </a:xfrm>
          <a:custGeom>
            <a:avLst/>
            <a:gdLst>
              <a:gd name="connsiteX0" fmla="*/ 0 w 3644487"/>
              <a:gd name="connsiteY0" fmla="*/ 0 h 488949"/>
              <a:gd name="connsiteX1" fmla="*/ 3644487 w 3644487"/>
              <a:gd name="connsiteY1" fmla="*/ 0 h 488949"/>
              <a:gd name="connsiteX2" fmla="*/ 3215862 w 3644487"/>
              <a:gd name="connsiteY2" fmla="*/ 488949 h 488949"/>
              <a:gd name="connsiteX3" fmla="*/ 0 w 3644487"/>
              <a:gd name="connsiteY3" fmla="*/ 488949 h 48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487" h="488949">
                <a:moveTo>
                  <a:pt x="0" y="0"/>
                </a:moveTo>
                <a:lnTo>
                  <a:pt x="3644487" y="0"/>
                </a:lnTo>
                <a:lnTo>
                  <a:pt x="3215862" y="488949"/>
                </a:lnTo>
                <a:lnTo>
                  <a:pt x="0" y="488949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1717984" y="2565170"/>
            <a:ext cx="3312920" cy="488949"/>
          </a:xfrm>
          <a:custGeom>
            <a:avLst/>
            <a:gdLst>
              <a:gd name="connsiteX0" fmla="*/ 0 w 3312920"/>
              <a:gd name="connsiteY0" fmla="*/ 0 h 488949"/>
              <a:gd name="connsiteX1" fmla="*/ 3312920 w 3312920"/>
              <a:gd name="connsiteY1" fmla="*/ 0 h 488949"/>
              <a:gd name="connsiteX2" fmla="*/ 2884295 w 3312920"/>
              <a:gd name="connsiteY2" fmla="*/ 488949 h 488949"/>
              <a:gd name="connsiteX3" fmla="*/ 0 w 3312920"/>
              <a:gd name="connsiteY3" fmla="*/ 488949 h 48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2920" h="488949">
                <a:moveTo>
                  <a:pt x="0" y="0"/>
                </a:moveTo>
                <a:lnTo>
                  <a:pt x="3312920" y="0"/>
                </a:lnTo>
                <a:lnTo>
                  <a:pt x="2884295" y="488949"/>
                </a:lnTo>
                <a:lnTo>
                  <a:pt x="0" y="488949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1931074" y="2173082"/>
            <a:ext cx="32269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01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1931074" y="2691047"/>
            <a:ext cx="32269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02</a:t>
            </a: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1931074" y="3147313"/>
            <a:ext cx="32269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03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1931074" y="3650768"/>
            <a:ext cx="32269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0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332144" y="2170998"/>
            <a:ext cx="199569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natus error sit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volupt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te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ccus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luad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endParaRPr lang="en-US" sz="1000">
              <a:solidFill>
                <a:schemeClr val="bg1"/>
              </a:solidFill>
              <a:latin typeface="+mj-lt"/>
              <a:ea typeface="Roboto light" panose="02000000000000000000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32144" y="2649788"/>
            <a:ext cx="218619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natus error sit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volupt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te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ccus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luad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endParaRPr lang="en-US" sz="1000">
              <a:solidFill>
                <a:schemeClr val="bg1"/>
              </a:solidFill>
              <a:latin typeface="+mj-lt"/>
              <a:ea typeface="Roboto light" panose="02000000000000000000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32143" y="3131276"/>
            <a:ext cx="2605291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natus error sit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volupt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te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ccus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luad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lor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, total rem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peria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332143" y="3618433"/>
            <a:ext cx="2910091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200"/>
              </a:lnSpc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natus error sit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volupt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te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ccus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luadan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tiu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, total rem </a:t>
            </a:r>
            <a:r>
              <a:rPr lang="en-US" sz="1000" err="1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periam</a:t>
            </a:r>
            <a:r>
              <a:rPr lang="en-US" sz="10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9158" y="1486971"/>
            <a:ext cx="3141795" cy="3817837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Mobile apps </a:t>
            </a:r>
            <a:r>
              <a:rPr lang="en-US">
                <a:solidFill>
                  <a:schemeClr val="accent2"/>
                </a:solidFill>
              </a:rPr>
              <a:t>project featu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6262688" y="1560718"/>
            <a:ext cx="2593975" cy="864178"/>
            <a:chOff x="6371484" y="1560718"/>
            <a:chExt cx="2175616" cy="864178"/>
          </a:xfrm>
        </p:grpSpPr>
        <p:sp>
          <p:nvSpPr>
            <p:cNvPr id="19" name="TextBox 18"/>
            <p:cNvSpPr txBox="1"/>
            <p:nvPr/>
          </p:nvSpPr>
          <p:spPr>
            <a:xfrm>
              <a:off x="6371484" y="1758047"/>
              <a:ext cx="2166092" cy="666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m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aud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ot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rem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peria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,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eaqu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psa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qu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ll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nventor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ery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t.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371484" y="1560718"/>
              <a:ext cx="217561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Some other features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262689" y="2714086"/>
            <a:ext cx="2593976" cy="1386836"/>
            <a:chOff x="6371484" y="2714086"/>
            <a:chExt cx="2175617" cy="1386836"/>
          </a:xfrm>
        </p:grpSpPr>
        <p:grpSp>
          <p:nvGrpSpPr>
            <p:cNvPr id="42" name="Group 41"/>
            <p:cNvGrpSpPr/>
            <p:nvPr/>
          </p:nvGrpSpPr>
          <p:grpSpPr>
            <a:xfrm>
              <a:off x="6979517" y="3028829"/>
              <a:ext cx="1567584" cy="1072093"/>
              <a:chOff x="7026593" y="3028829"/>
              <a:chExt cx="1893888" cy="1072093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7026593" y="3326128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7026594" y="3326128"/>
                <a:ext cx="1329594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7026593" y="3623427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7026594" y="3623427"/>
                <a:ext cx="1071183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7026593" y="3920725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7026594" y="3920725"/>
                <a:ext cx="904246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7026593" y="3028829"/>
                <a:ext cx="1893888" cy="18019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7026594" y="3028829"/>
                <a:ext cx="1536897" cy="18019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6371484" y="3325679"/>
              <a:ext cx="622838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>
                  <a:solidFill>
                    <a:schemeClr val="accent1"/>
                  </a:solidFill>
                  <a:latin typeface="+mj-lt"/>
                </a:rPr>
                <a:t>Yahoo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130855" y="3325679"/>
              <a:ext cx="241526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 b="1">
                  <a:solidFill>
                    <a:schemeClr val="accent1"/>
                  </a:solidFill>
                  <a:latin typeface="+mj-lt"/>
                </a:rPr>
                <a:t>70%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371484" y="3622978"/>
              <a:ext cx="622838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>
                  <a:solidFill>
                    <a:schemeClr val="accent1"/>
                  </a:solidFill>
                  <a:latin typeface="+mj-lt"/>
                </a:rPr>
                <a:t>MSN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7924177" y="3622978"/>
              <a:ext cx="241526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 b="1">
                  <a:solidFill>
                    <a:schemeClr val="accent1"/>
                  </a:solidFill>
                  <a:latin typeface="+mj-lt"/>
                </a:rPr>
                <a:t>60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371484" y="3920276"/>
              <a:ext cx="622838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8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793889" y="3920276"/>
              <a:ext cx="241526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 b="1">
                  <a:solidFill>
                    <a:schemeClr val="accent1"/>
                  </a:solidFill>
                  <a:latin typeface="+mj-lt"/>
                </a:rPr>
                <a:t>50%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371484" y="3028380"/>
              <a:ext cx="622838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>
                  <a:solidFill>
                    <a:schemeClr val="accent1"/>
                  </a:solidFill>
                  <a:latin typeface="+mj-lt"/>
                </a:rPr>
                <a:t>Google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296050" y="3028380"/>
              <a:ext cx="241526" cy="148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300"/>
                </a:lnSpc>
                <a:spcAft>
                  <a:spcPts val="600"/>
                </a:spcAft>
              </a:pPr>
              <a:r>
                <a:rPr lang="en-US" sz="800" b="1">
                  <a:solidFill>
                    <a:schemeClr val="accent1"/>
                  </a:solidFill>
                  <a:latin typeface="+mj-lt"/>
                </a:rPr>
                <a:t>80%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371484" y="2714086"/>
              <a:ext cx="2175616" cy="1542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12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Website recommendation</a:t>
              </a:r>
            </a:p>
          </p:txBody>
        </p:sp>
      </p:grpSp>
      <p:sp>
        <p:nvSpPr>
          <p:cNvPr id="43" name="Rectangle 7"/>
          <p:cNvSpPr/>
          <p:nvPr/>
        </p:nvSpPr>
        <p:spPr>
          <a:xfrm>
            <a:off x="512153" y="1920037"/>
            <a:ext cx="1139032" cy="2042320"/>
          </a:xfrm>
          <a:custGeom>
            <a:avLst/>
            <a:gdLst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2014537 h 2014537"/>
              <a:gd name="connsiteX4" fmla="*/ 0 w 3243262"/>
              <a:gd name="connsiteY4" fmla="*/ 0 h 2014537"/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0 h 201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3262" h="2014537">
                <a:moveTo>
                  <a:pt x="0" y="0"/>
                </a:moveTo>
                <a:lnTo>
                  <a:pt x="3243262" y="0"/>
                </a:lnTo>
                <a:lnTo>
                  <a:pt x="3243262" y="201453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440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 99"/>
          <p:cNvSpPr/>
          <p:nvPr/>
        </p:nvSpPr>
        <p:spPr>
          <a:xfrm>
            <a:off x="2536254" y="1542341"/>
            <a:ext cx="1947672" cy="1947672"/>
          </a:xfrm>
          <a:custGeom>
            <a:avLst/>
            <a:gdLst>
              <a:gd name="connsiteX0" fmla="*/ 0 w 2143140"/>
              <a:gd name="connsiteY0" fmla="*/ 1071569 h 2143138"/>
              <a:gd name="connsiteX1" fmla="*/ 5165 w 2143140"/>
              <a:gd name="connsiteY1" fmla="*/ 966534 h 2143138"/>
              <a:gd name="connsiteX2" fmla="*/ 20585 w 2143140"/>
              <a:gd name="connsiteY2" fmla="*/ 862517 h 2143138"/>
              <a:gd name="connsiteX3" fmla="*/ 46142 w 2143140"/>
              <a:gd name="connsiteY3" fmla="*/ 760514 h 2143138"/>
              <a:gd name="connsiteX4" fmla="*/ 81568 w 2143140"/>
              <a:gd name="connsiteY4" fmla="*/ 661501 h 2143138"/>
              <a:gd name="connsiteX5" fmla="*/ 126531 w 2143140"/>
              <a:gd name="connsiteY5" fmla="*/ 566431 h 2143138"/>
              <a:gd name="connsiteX6" fmla="*/ 180592 w 2143140"/>
              <a:gd name="connsiteY6" fmla="*/ 476237 h 2143138"/>
              <a:gd name="connsiteX7" fmla="*/ 243236 w 2143140"/>
              <a:gd name="connsiteY7" fmla="*/ 391776 h 2143138"/>
              <a:gd name="connsiteX8" fmla="*/ 313856 w 2143140"/>
              <a:gd name="connsiteY8" fmla="*/ 313855 h 2143138"/>
              <a:gd name="connsiteX9" fmla="*/ 391777 w 2143140"/>
              <a:gd name="connsiteY9" fmla="*/ 243235 h 2143138"/>
              <a:gd name="connsiteX10" fmla="*/ 476238 w 2143140"/>
              <a:gd name="connsiteY10" fmla="*/ 180591 h 2143138"/>
              <a:gd name="connsiteX11" fmla="*/ 566432 w 2143140"/>
              <a:gd name="connsiteY11" fmla="*/ 126531 h 2143138"/>
              <a:gd name="connsiteX12" fmla="*/ 661502 w 2143140"/>
              <a:gd name="connsiteY12" fmla="*/ 81568 h 2143138"/>
              <a:gd name="connsiteX13" fmla="*/ 760515 w 2143140"/>
              <a:gd name="connsiteY13" fmla="*/ 46142 h 2143138"/>
              <a:gd name="connsiteX14" fmla="*/ 862517 w 2143140"/>
              <a:gd name="connsiteY14" fmla="*/ 20585 h 2143138"/>
              <a:gd name="connsiteX15" fmla="*/ 966535 w 2143140"/>
              <a:gd name="connsiteY15" fmla="*/ 5165 h 2143138"/>
              <a:gd name="connsiteX16" fmla="*/ 1071570 w 2143140"/>
              <a:gd name="connsiteY16" fmla="*/ 0 h 2143138"/>
              <a:gd name="connsiteX17" fmla="*/ 1176605 w 2143140"/>
              <a:gd name="connsiteY17" fmla="*/ 5165 h 2143138"/>
              <a:gd name="connsiteX18" fmla="*/ 1280623 w 2143140"/>
              <a:gd name="connsiteY18" fmla="*/ 20585 h 2143138"/>
              <a:gd name="connsiteX19" fmla="*/ 1382625 w 2143140"/>
              <a:gd name="connsiteY19" fmla="*/ 46142 h 2143138"/>
              <a:gd name="connsiteX20" fmla="*/ 1481638 w 2143140"/>
              <a:gd name="connsiteY20" fmla="*/ 81568 h 2143138"/>
              <a:gd name="connsiteX21" fmla="*/ 1576708 w 2143140"/>
              <a:gd name="connsiteY21" fmla="*/ 126531 h 2143138"/>
              <a:gd name="connsiteX22" fmla="*/ 1666902 w 2143140"/>
              <a:gd name="connsiteY22" fmla="*/ 180591 h 2143138"/>
              <a:gd name="connsiteX23" fmla="*/ 1751363 w 2143140"/>
              <a:gd name="connsiteY23" fmla="*/ 243235 h 2143138"/>
              <a:gd name="connsiteX24" fmla="*/ 1829284 w 2143140"/>
              <a:gd name="connsiteY24" fmla="*/ 313855 h 2143138"/>
              <a:gd name="connsiteX25" fmla="*/ 1899904 w 2143140"/>
              <a:gd name="connsiteY25" fmla="*/ 391776 h 2143138"/>
              <a:gd name="connsiteX26" fmla="*/ 1962548 w 2143140"/>
              <a:gd name="connsiteY26" fmla="*/ 476237 h 2143138"/>
              <a:gd name="connsiteX27" fmla="*/ 2016609 w 2143140"/>
              <a:gd name="connsiteY27" fmla="*/ 566431 h 2143138"/>
              <a:gd name="connsiteX28" fmla="*/ 2061572 w 2143140"/>
              <a:gd name="connsiteY28" fmla="*/ 661501 h 2143138"/>
              <a:gd name="connsiteX29" fmla="*/ 2096998 w 2143140"/>
              <a:gd name="connsiteY29" fmla="*/ 760514 h 2143138"/>
              <a:gd name="connsiteX30" fmla="*/ 2122555 w 2143140"/>
              <a:gd name="connsiteY30" fmla="*/ 862517 h 2143138"/>
              <a:gd name="connsiteX31" fmla="*/ 2137975 w 2143140"/>
              <a:gd name="connsiteY31" fmla="*/ 966534 h 2143138"/>
              <a:gd name="connsiteX32" fmla="*/ 2143140 w 2143140"/>
              <a:gd name="connsiteY32" fmla="*/ 1071569 h 2143138"/>
              <a:gd name="connsiteX33" fmla="*/ 2137975 w 2143140"/>
              <a:gd name="connsiteY33" fmla="*/ 1176604 h 2143138"/>
              <a:gd name="connsiteX34" fmla="*/ 2122555 w 2143140"/>
              <a:gd name="connsiteY34" fmla="*/ 1280621 h 2143138"/>
              <a:gd name="connsiteX35" fmla="*/ 2096998 w 2143140"/>
              <a:gd name="connsiteY35" fmla="*/ 1382624 h 2143138"/>
              <a:gd name="connsiteX36" fmla="*/ 2061572 w 2143140"/>
              <a:gd name="connsiteY36" fmla="*/ 1481637 h 2143138"/>
              <a:gd name="connsiteX37" fmla="*/ 2016609 w 2143140"/>
              <a:gd name="connsiteY37" fmla="*/ 1576707 h 2143138"/>
              <a:gd name="connsiteX38" fmla="*/ 1962548 w 2143140"/>
              <a:gd name="connsiteY38" fmla="*/ 1666901 h 2143138"/>
              <a:gd name="connsiteX39" fmla="*/ 1899904 w 2143140"/>
              <a:gd name="connsiteY39" fmla="*/ 1751362 h 2143138"/>
              <a:gd name="connsiteX40" fmla="*/ 1829284 w 2143140"/>
              <a:gd name="connsiteY40" fmla="*/ 1829283 h 2143138"/>
              <a:gd name="connsiteX41" fmla="*/ 1751363 w 2143140"/>
              <a:gd name="connsiteY41" fmla="*/ 1899903 h 2143138"/>
              <a:gd name="connsiteX42" fmla="*/ 1666902 w 2143140"/>
              <a:gd name="connsiteY42" fmla="*/ 1962547 h 2143138"/>
              <a:gd name="connsiteX43" fmla="*/ 1576708 w 2143140"/>
              <a:gd name="connsiteY43" fmla="*/ 2016607 h 2143138"/>
              <a:gd name="connsiteX44" fmla="*/ 1481638 w 2143140"/>
              <a:gd name="connsiteY44" fmla="*/ 2061570 h 2143138"/>
              <a:gd name="connsiteX45" fmla="*/ 1382625 w 2143140"/>
              <a:gd name="connsiteY45" fmla="*/ 2096996 h 2143138"/>
              <a:gd name="connsiteX46" fmla="*/ 1280623 w 2143140"/>
              <a:gd name="connsiteY46" fmla="*/ 2122553 h 2143138"/>
              <a:gd name="connsiteX47" fmla="*/ 1176605 w 2143140"/>
              <a:gd name="connsiteY47" fmla="*/ 2137973 h 2143138"/>
              <a:gd name="connsiteX48" fmla="*/ 1071570 w 2143140"/>
              <a:gd name="connsiteY48" fmla="*/ 2143138 h 2143138"/>
              <a:gd name="connsiteX49" fmla="*/ 966535 w 2143140"/>
              <a:gd name="connsiteY49" fmla="*/ 2137973 h 2143138"/>
              <a:gd name="connsiteX50" fmla="*/ 862517 w 2143140"/>
              <a:gd name="connsiteY50" fmla="*/ 2122553 h 2143138"/>
              <a:gd name="connsiteX51" fmla="*/ 760515 w 2143140"/>
              <a:gd name="connsiteY51" fmla="*/ 2096996 h 2143138"/>
              <a:gd name="connsiteX52" fmla="*/ 661502 w 2143140"/>
              <a:gd name="connsiteY52" fmla="*/ 2061570 h 2143138"/>
              <a:gd name="connsiteX53" fmla="*/ 566432 w 2143140"/>
              <a:gd name="connsiteY53" fmla="*/ 2016607 h 2143138"/>
              <a:gd name="connsiteX54" fmla="*/ 476238 w 2143140"/>
              <a:gd name="connsiteY54" fmla="*/ 1962547 h 2143138"/>
              <a:gd name="connsiteX55" fmla="*/ 391777 w 2143140"/>
              <a:gd name="connsiteY55" fmla="*/ 1899903 h 2143138"/>
              <a:gd name="connsiteX56" fmla="*/ 313856 w 2143140"/>
              <a:gd name="connsiteY56" fmla="*/ 1829283 h 2143138"/>
              <a:gd name="connsiteX57" fmla="*/ 243236 w 2143140"/>
              <a:gd name="connsiteY57" fmla="*/ 1751362 h 2143138"/>
              <a:gd name="connsiteX58" fmla="*/ 180592 w 2143140"/>
              <a:gd name="connsiteY58" fmla="*/ 1666901 h 2143138"/>
              <a:gd name="connsiteX59" fmla="*/ 126531 w 2143140"/>
              <a:gd name="connsiteY59" fmla="*/ 1576707 h 2143138"/>
              <a:gd name="connsiteX60" fmla="*/ 81568 w 2143140"/>
              <a:gd name="connsiteY60" fmla="*/ 1481637 h 2143138"/>
              <a:gd name="connsiteX61" fmla="*/ 46142 w 2143140"/>
              <a:gd name="connsiteY61" fmla="*/ 1382624 h 2143138"/>
              <a:gd name="connsiteX62" fmla="*/ 20585 w 2143140"/>
              <a:gd name="connsiteY62" fmla="*/ 1280621 h 2143138"/>
              <a:gd name="connsiteX63" fmla="*/ 5165 w 2143140"/>
              <a:gd name="connsiteY63" fmla="*/ 1176604 h 2143138"/>
              <a:gd name="connsiteX64" fmla="*/ 0 w 2143140"/>
              <a:gd name="connsiteY64" fmla="*/ 1071569 h 214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143140" h="2143138">
                <a:moveTo>
                  <a:pt x="0" y="1071569"/>
                </a:moveTo>
                <a:lnTo>
                  <a:pt x="5165" y="966534"/>
                </a:lnTo>
                <a:lnTo>
                  <a:pt x="20585" y="862517"/>
                </a:lnTo>
                <a:lnTo>
                  <a:pt x="46142" y="760514"/>
                </a:lnTo>
                <a:lnTo>
                  <a:pt x="81568" y="661501"/>
                </a:lnTo>
                <a:lnTo>
                  <a:pt x="126531" y="566431"/>
                </a:lnTo>
                <a:lnTo>
                  <a:pt x="180592" y="476237"/>
                </a:lnTo>
                <a:lnTo>
                  <a:pt x="243236" y="391776"/>
                </a:lnTo>
                <a:lnTo>
                  <a:pt x="313856" y="313855"/>
                </a:lnTo>
                <a:lnTo>
                  <a:pt x="391777" y="243235"/>
                </a:lnTo>
                <a:lnTo>
                  <a:pt x="476238" y="180591"/>
                </a:lnTo>
                <a:lnTo>
                  <a:pt x="566432" y="126531"/>
                </a:lnTo>
                <a:lnTo>
                  <a:pt x="661502" y="81568"/>
                </a:lnTo>
                <a:lnTo>
                  <a:pt x="760515" y="46142"/>
                </a:lnTo>
                <a:lnTo>
                  <a:pt x="862517" y="20585"/>
                </a:lnTo>
                <a:lnTo>
                  <a:pt x="966535" y="5165"/>
                </a:lnTo>
                <a:lnTo>
                  <a:pt x="1071570" y="0"/>
                </a:lnTo>
                <a:lnTo>
                  <a:pt x="1176605" y="5165"/>
                </a:lnTo>
                <a:lnTo>
                  <a:pt x="1280623" y="20585"/>
                </a:lnTo>
                <a:lnTo>
                  <a:pt x="1382625" y="46142"/>
                </a:lnTo>
                <a:lnTo>
                  <a:pt x="1481638" y="81568"/>
                </a:lnTo>
                <a:lnTo>
                  <a:pt x="1576708" y="126531"/>
                </a:lnTo>
                <a:lnTo>
                  <a:pt x="1666902" y="180591"/>
                </a:lnTo>
                <a:lnTo>
                  <a:pt x="1751363" y="243235"/>
                </a:lnTo>
                <a:lnTo>
                  <a:pt x="1829284" y="313855"/>
                </a:lnTo>
                <a:lnTo>
                  <a:pt x="1899904" y="391776"/>
                </a:lnTo>
                <a:lnTo>
                  <a:pt x="1962548" y="476237"/>
                </a:lnTo>
                <a:lnTo>
                  <a:pt x="2016609" y="566431"/>
                </a:lnTo>
                <a:lnTo>
                  <a:pt x="2061572" y="661501"/>
                </a:lnTo>
                <a:lnTo>
                  <a:pt x="2096998" y="760514"/>
                </a:lnTo>
                <a:lnTo>
                  <a:pt x="2122555" y="862517"/>
                </a:lnTo>
                <a:lnTo>
                  <a:pt x="2137975" y="966534"/>
                </a:lnTo>
                <a:lnTo>
                  <a:pt x="2143140" y="1071569"/>
                </a:lnTo>
                <a:lnTo>
                  <a:pt x="2137975" y="1176604"/>
                </a:lnTo>
                <a:lnTo>
                  <a:pt x="2122555" y="1280621"/>
                </a:lnTo>
                <a:lnTo>
                  <a:pt x="2096998" y="1382624"/>
                </a:lnTo>
                <a:lnTo>
                  <a:pt x="2061572" y="1481637"/>
                </a:lnTo>
                <a:lnTo>
                  <a:pt x="2016609" y="1576707"/>
                </a:lnTo>
                <a:lnTo>
                  <a:pt x="1962548" y="1666901"/>
                </a:lnTo>
                <a:lnTo>
                  <a:pt x="1899904" y="1751362"/>
                </a:lnTo>
                <a:lnTo>
                  <a:pt x="1829284" y="1829283"/>
                </a:lnTo>
                <a:lnTo>
                  <a:pt x="1751363" y="1899903"/>
                </a:lnTo>
                <a:lnTo>
                  <a:pt x="1666902" y="1962547"/>
                </a:lnTo>
                <a:lnTo>
                  <a:pt x="1576708" y="2016607"/>
                </a:lnTo>
                <a:lnTo>
                  <a:pt x="1481638" y="2061570"/>
                </a:lnTo>
                <a:lnTo>
                  <a:pt x="1382625" y="2096996"/>
                </a:lnTo>
                <a:lnTo>
                  <a:pt x="1280623" y="2122553"/>
                </a:lnTo>
                <a:lnTo>
                  <a:pt x="1176605" y="2137973"/>
                </a:lnTo>
                <a:lnTo>
                  <a:pt x="1071570" y="2143138"/>
                </a:lnTo>
                <a:lnTo>
                  <a:pt x="966535" y="2137973"/>
                </a:lnTo>
                <a:lnTo>
                  <a:pt x="862517" y="2122553"/>
                </a:lnTo>
                <a:lnTo>
                  <a:pt x="760515" y="2096996"/>
                </a:lnTo>
                <a:lnTo>
                  <a:pt x="661502" y="2061570"/>
                </a:lnTo>
                <a:lnTo>
                  <a:pt x="566432" y="2016607"/>
                </a:lnTo>
                <a:lnTo>
                  <a:pt x="476238" y="1962547"/>
                </a:lnTo>
                <a:lnTo>
                  <a:pt x="391777" y="1899903"/>
                </a:lnTo>
                <a:lnTo>
                  <a:pt x="313856" y="1829283"/>
                </a:lnTo>
                <a:lnTo>
                  <a:pt x="243236" y="1751362"/>
                </a:lnTo>
                <a:lnTo>
                  <a:pt x="180592" y="1666901"/>
                </a:lnTo>
                <a:lnTo>
                  <a:pt x="126531" y="1576707"/>
                </a:lnTo>
                <a:lnTo>
                  <a:pt x="81568" y="1481637"/>
                </a:lnTo>
                <a:lnTo>
                  <a:pt x="46142" y="1382624"/>
                </a:lnTo>
                <a:lnTo>
                  <a:pt x="20585" y="1280621"/>
                </a:lnTo>
                <a:lnTo>
                  <a:pt x="5165" y="1176604"/>
                </a:lnTo>
                <a:lnTo>
                  <a:pt x="0" y="1071569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latin typeface="+mj-lt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01" y="1483705"/>
            <a:ext cx="3141795" cy="3817837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anchor="b"/>
          <a:lstStyle/>
          <a:p>
            <a:r>
              <a:rPr lang="en-US"/>
              <a:t>Mobile apps </a:t>
            </a:r>
            <a:r>
              <a:rPr lang="en-US">
                <a:solidFill>
                  <a:schemeClr val="accent2"/>
                </a:solidFill>
              </a:rPr>
              <a:t>project featu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2825763" y="1925935"/>
            <a:ext cx="1369946" cy="363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unique </a:t>
            </a:r>
          </a:p>
          <a:p>
            <a:pPr algn="ctr">
              <a:lnSpc>
                <a:spcPts val="1500"/>
              </a:lnSpc>
            </a:pPr>
            <a:r>
              <a:rPr lang="en-US" sz="1000" b="1" cap="all" spc="20">
                <a:solidFill>
                  <a:schemeClr val="bg1"/>
                </a:solidFill>
                <a:latin typeface="+mj-lt"/>
              </a:rPr>
              <a:t>main feature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825763" y="2368325"/>
            <a:ext cx="1369946" cy="8210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sita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vitae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kh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endParaRPr lang="en-US" sz="10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82" name="Straight Connector 81"/>
          <p:cNvCxnSpPr>
            <a:stCxn id="104" idx="0"/>
            <a:endCxn id="100" idx="26"/>
          </p:cNvCxnSpPr>
          <p:nvPr/>
        </p:nvCxnSpPr>
        <p:spPr>
          <a:xfrm flipH="1">
            <a:off x="4319805" y="1728131"/>
            <a:ext cx="775545" cy="247012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stCxn id="105" idx="63"/>
            <a:endCxn id="100" idx="32"/>
          </p:cNvCxnSpPr>
          <p:nvPr/>
        </p:nvCxnSpPr>
        <p:spPr>
          <a:xfrm flipH="1">
            <a:off x="4483926" y="2480665"/>
            <a:ext cx="786786" cy="35512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106" idx="2"/>
            <a:endCxn id="100" idx="37"/>
          </p:cNvCxnSpPr>
          <p:nvPr/>
        </p:nvCxnSpPr>
        <p:spPr>
          <a:xfrm flipH="1" flipV="1">
            <a:off x="4368935" y="2975244"/>
            <a:ext cx="779413" cy="201263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reeform 103"/>
          <p:cNvSpPr/>
          <p:nvPr/>
        </p:nvSpPr>
        <p:spPr>
          <a:xfrm>
            <a:off x="5095350" y="1538591"/>
            <a:ext cx="379080" cy="379080"/>
          </a:xfrm>
          <a:custGeom>
            <a:avLst/>
            <a:gdLst>
              <a:gd name="connsiteX0" fmla="*/ 0 w 2143140"/>
              <a:gd name="connsiteY0" fmla="*/ 1071569 h 2143138"/>
              <a:gd name="connsiteX1" fmla="*/ 5165 w 2143140"/>
              <a:gd name="connsiteY1" fmla="*/ 966534 h 2143138"/>
              <a:gd name="connsiteX2" fmla="*/ 20585 w 2143140"/>
              <a:gd name="connsiteY2" fmla="*/ 862517 h 2143138"/>
              <a:gd name="connsiteX3" fmla="*/ 46142 w 2143140"/>
              <a:gd name="connsiteY3" fmla="*/ 760514 h 2143138"/>
              <a:gd name="connsiteX4" fmla="*/ 81568 w 2143140"/>
              <a:gd name="connsiteY4" fmla="*/ 661501 h 2143138"/>
              <a:gd name="connsiteX5" fmla="*/ 126531 w 2143140"/>
              <a:gd name="connsiteY5" fmla="*/ 566431 h 2143138"/>
              <a:gd name="connsiteX6" fmla="*/ 180592 w 2143140"/>
              <a:gd name="connsiteY6" fmla="*/ 476237 h 2143138"/>
              <a:gd name="connsiteX7" fmla="*/ 243236 w 2143140"/>
              <a:gd name="connsiteY7" fmla="*/ 391776 h 2143138"/>
              <a:gd name="connsiteX8" fmla="*/ 313856 w 2143140"/>
              <a:gd name="connsiteY8" fmla="*/ 313855 h 2143138"/>
              <a:gd name="connsiteX9" fmla="*/ 391777 w 2143140"/>
              <a:gd name="connsiteY9" fmla="*/ 243235 h 2143138"/>
              <a:gd name="connsiteX10" fmla="*/ 476238 w 2143140"/>
              <a:gd name="connsiteY10" fmla="*/ 180591 h 2143138"/>
              <a:gd name="connsiteX11" fmla="*/ 566432 w 2143140"/>
              <a:gd name="connsiteY11" fmla="*/ 126531 h 2143138"/>
              <a:gd name="connsiteX12" fmla="*/ 661502 w 2143140"/>
              <a:gd name="connsiteY12" fmla="*/ 81568 h 2143138"/>
              <a:gd name="connsiteX13" fmla="*/ 760515 w 2143140"/>
              <a:gd name="connsiteY13" fmla="*/ 46142 h 2143138"/>
              <a:gd name="connsiteX14" fmla="*/ 862517 w 2143140"/>
              <a:gd name="connsiteY14" fmla="*/ 20585 h 2143138"/>
              <a:gd name="connsiteX15" fmla="*/ 966535 w 2143140"/>
              <a:gd name="connsiteY15" fmla="*/ 5165 h 2143138"/>
              <a:gd name="connsiteX16" fmla="*/ 1071570 w 2143140"/>
              <a:gd name="connsiteY16" fmla="*/ 0 h 2143138"/>
              <a:gd name="connsiteX17" fmla="*/ 1176605 w 2143140"/>
              <a:gd name="connsiteY17" fmla="*/ 5165 h 2143138"/>
              <a:gd name="connsiteX18" fmla="*/ 1280623 w 2143140"/>
              <a:gd name="connsiteY18" fmla="*/ 20585 h 2143138"/>
              <a:gd name="connsiteX19" fmla="*/ 1382625 w 2143140"/>
              <a:gd name="connsiteY19" fmla="*/ 46142 h 2143138"/>
              <a:gd name="connsiteX20" fmla="*/ 1481638 w 2143140"/>
              <a:gd name="connsiteY20" fmla="*/ 81568 h 2143138"/>
              <a:gd name="connsiteX21" fmla="*/ 1576708 w 2143140"/>
              <a:gd name="connsiteY21" fmla="*/ 126531 h 2143138"/>
              <a:gd name="connsiteX22" fmla="*/ 1666902 w 2143140"/>
              <a:gd name="connsiteY22" fmla="*/ 180591 h 2143138"/>
              <a:gd name="connsiteX23" fmla="*/ 1751363 w 2143140"/>
              <a:gd name="connsiteY23" fmla="*/ 243235 h 2143138"/>
              <a:gd name="connsiteX24" fmla="*/ 1829284 w 2143140"/>
              <a:gd name="connsiteY24" fmla="*/ 313855 h 2143138"/>
              <a:gd name="connsiteX25" fmla="*/ 1899904 w 2143140"/>
              <a:gd name="connsiteY25" fmla="*/ 391776 h 2143138"/>
              <a:gd name="connsiteX26" fmla="*/ 1962548 w 2143140"/>
              <a:gd name="connsiteY26" fmla="*/ 476237 h 2143138"/>
              <a:gd name="connsiteX27" fmla="*/ 2016609 w 2143140"/>
              <a:gd name="connsiteY27" fmla="*/ 566431 h 2143138"/>
              <a:gd name="connsiteX28" fmla="*/ 2061572 w 2143140"/>
              <a:gd name="connsiteY28" fmla="*/ 661501 h 2143138"/>
              <a:gd name="connsiteX29" fmla="*/ 2096998 w 2143140"/>
              <a:gd name="connsiteY29" fmla="*/ 760514 h 2143138"/>
              <a:gd name="connsiteX30" fmla="*/ 2122555 w 2143140"/>
              <a:gd name="connsiteY30" fmla="*/ 862517 h 2143138"/>
              <a:gd name="connsiteX31" fmla="*/ 2137975 w 2143140"/>
              <a:gd name="connsiteY31" fmla="*/ 966534 h 2143138"/>
              <a:gd name="connsiteX32" fmla="*/ 2143140 w 2143140"/>
              <a:gd name="connsiteY32" fmla="*/ 1071569 h 2143138"/>
              <a:gd name="connsiteX33" fmla="*/ 2137975 w 2143140"/>
              <a:gd name="connsiteY33" fmla="*/ 1176604 h 2143138"/>
              <a:gd name="connsiteX34" fmla="*/ 2122555 w 2143140"/>
              <a:gd name="connsiteY34" fmla="*/ 1280621 h 2143138"/>
              <a:gd name="connsiteX35" fmla="*/ 2096998 w 2143140"/>
              <a:gd name="connsiteY35" fmla="*/ 1382624 h 2143138"/>
              <a:gd name="connsiteX36" fmla="*/ 2061572 w 2143140"/>
              <a:gd name="connsiteY36" fmla="*/ 1481637 h 2143138"/>
              <a:gd name="connsiteX37" fmla="*/ 2016609 w 2143140"/>
              <a:gd name="connsiteY37" fmla="*/ 1576707 h 2143138"/>
              <a:gd name="connsiteX38" fmla="*/ 1962548 w 2143140"/>
              <a:gd name="connsiteY38" fmla="*/ 1666901 h 2143138"/>
              <a:gd name="connsiteX39" fmla="*/ 1899904 w 2143140"/>
              <a:gd name="connsiteY39" fmla="*/ 1751362 h 2143138"/>
              <a:gd name="connsiteX40" fmla="*/ 1829284 w 2143140"/>
              <a:gd name="connsiteY40" fmla="*/ 1829283 h 2143138"/>
              <a:gd name="connsiteX41" fmla="*/ 1751363 w 2143140"/>
              <a:gd name="connsiteY41" fmla="*/ 1899903 h 2143138"/>
              <a:gd name="connsiteX42" fmla="*/ 1666902 w 2143140"/>
              <a:gd name="connsiteY42" fmla="*/ 1962547 h 2143138"/>
              <a:gd name="connsiteX43" fmla="*/ 1576708 w 2143140"/>
              <a:gd name="connsiteY43" fmla="*/ 2016607 h 2143138"/>
              <a:gd name="connsiteX44" fmla="*/ 1481638 w 2143140"/>
              <a:gd name="connsiteY44" fmla="*/ 2061570 h 2143138"/>
              <a:gd name="connsiteX45" fmla="*/ 1382625 w 2143140"/>
              <a:gd name="connsiteY45" fmla="*/ 2096996 h 2143138"/>
              <a:gd name="connsiteX46" fmla="*/ 1280623 w 2143140"/>
              <a:gd name="connsiteY46" fmla="*/ 2122553 h 2143138"/>
              <a:gd name="connsiteX47" fmla="*/ 1176605 w 2143140"/>
              <a:gd name="connsiteY47" fmla="*/ 2137973 h 2143138"/>
              <a:gd name="connsiteX48" fmla="*/ 1071570 w 2143140"/>
              <a:gd name="connsiteY48" fmla="*/ 2143138 h 2143138"/>
              <a:gd name="connsiteX49" fmla="*/ 966535 w 2143140"/>
              <a:gd name="connsiteY49" fmla="*/ 2137973 h 2143138"/>
              <a:gd name="connsiteX50" fmla="*/ 862517 w 2143140"/>
              <a:gd name="connsiteY50" fmla="*/ 2122553 h 2143138"/>
              <a:gd name="connsiteX51" fmla="*/ 760515 w 2143140"/>
              <a:gd name="connsiteY51" fmla="*/ 2096996 h 2143138"/>
              <a:gd name="connsiteX52" fmla="*/ 661502 w 2143140"/>
              <a:gd name="connsiteY52" fmla="*/ 2061570 h 2143138"/>
              <a:gd name="connsiteX53" fmla="*/ 566432 w 2143140"/>
              <a:gd name="connsiteY53" fmla="*/ 2016607 h 2143138"/>
              <a:gd name="connsiteX54" fmla="*/ 476238 w 2143140"/>
              <a:gd name="connsiteY54" fmla="*/ 1962547 h 2143138"/>
              <a:gd name="connsiteX55" fmla="*/ 391777 w 2143140"/>
              <a:gd name="connsiteY55" fmla="*/ 1899903 h 2143138"/>
              <a:gd name="connsiteX56" fmla="*/ 313856 w 2143140"/>
              <a:gd name="connsiteY56" fmla="*/ 1829283 h 2143138"/>
              <a:gd name="connsiteX57" fmla="*/ 243236 w 2143140"/>
              <a:gd name="connsiteY57" fmla="*/ 1751362 h 2143138"/>
              <a:gd name="connsiteX58" fmla="*/ 180592 w 2143140"/>
              <a:gd name="connsiteY58" fmla="*/ 1666901 h 2143138"/>
              <a:gd name="connsiteX59" fmla="*/ 126531 w 2143140"/>
              <a:gd name="connsiteY59" fmla="*/ 1576707 h 2143138"/>
              <a:gd name="connsiteX60" fmla="*/ 81568 w 2143140"/>
              <a:gd name="connsiteY60" fmla="*/ 1481637 h 2143138"/>
              <a:gd name="connsiteX61" fmla="*/ 46142 w 2143140"/>
              <a:gd name="connsiteY61" fmla="*/ 1382624 h 2143138"/>
              <a:gd name="connsiteX62" fmla="*/ 20585 w 2143140"/>
              <a:gd name="connsiteY62" fmla="*/ 1280621 h 2143138"/>
              <a:gd name="connsiteX63" fmla="*/ 5165 w 2143140"/>
              <a:gd name="connsiteY63" fmla="*/ 1176604 h 2143138"/>
              <a:gd name="connsiteX64" fmla="*/ 0 w 2143140"/>
              <a:gd name="connsiteY64" fmla="*/ 1071569 h 214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143140" h="2143138">
                <a:moveTo>
                  <a:pt x="0" y="1071569"/>
                </a:moveTo>
                <a:lnTo>
                  <a:pt x="5165" y="966534"/>
                </a:lnTo>
                <a:lnTo>
                  <a:pt x="20585" y="862517"/>
                </a:lnTo>
                <a:lnTo>
                  <a:pt x="46142" y="760514"/>
                </a:lnTo>
                <a:lnTo>
                  <a:pt x="81568" y="661501"/>
                </a:lnTo>
                <a:lnTo>
                  <a:pt x="126531" y="566431"/>
                </a:lnTo>
                <a:lnTo>
                  <a:pt x="180592" y="476237"/>
                </a:lnTo>
                <a:lnTo>
                  <a:pt x="243236" y="391776"/>
                </a:lnTo>
                <a:lnTo>
                  <a:pt x="313856" y="313855"/>
                </a:lnTo>
                <a:lnTo>
                  <a:pt x="391777" y="243235"/>
                </a:lnTo>
                <a:lnTo>
                  <a:pt x="476238" y="180591"/>
                </a:lnTo>
                <a:lnTo>
                  <a:pt x="566432" y="126531"/>
                </a:lnTo>
                <a:lnTo>
                  <a:pt x="661502" y="81568"/>
                </a:lnTo>
                <a:lnTo>
                  <a:pt x="760515" y="46142"/>
                </a:lnTo>
                <a:lnTo>
                  <a:pt x="862517" y="20585"/>
                </a:lnTo>
                <a:lnTo>
                  <a:pt x="966535" y="5165"/>
                </a:lnTo>
                <a:lnTo>
                  <a:pt x="1071570" y="0"/>
                </a:lnTo>
                <a:lnTo>
                  <a:pt x="1176605" y="5165"/>
                </a:lnTo>
                <a:lnTo>
                  <a:pt x="1280623" y="20585"/>
                </a:lnTo>
                <a:lnTo>
                  <a:pt x="1382625" y="46142"/>
                </a:lnTo>
                <a:lnTo>
                  <a:pt x="1481638" y="81568"/>
                </a:lnTo>
                <a:lnTo>
                  <a:pt x="1576708" y="126531"/>
                </a:lnTo>
                <a:lnTo>
                  <a:pt x="1666902" y="180591"/>
                </a:lnTo>
                <a:lnTo>
                  <a:pt x="1751363" y="243235"/>
                </a:lnTo>
                <a:lnTo>
                  <a:pt x="1829284" y="313855"/>
                </a:lnTo>
                <a:lnTo>
                  <a:pt x="1899904" y="391776"/>
                </a:lnTo>
                <a:lnTo>
                  <a:pt x="1962548" y="476237"/>
                </a:lnTo>
                <a:lnTo>
                  <a:pt x="2016609" y="566431"/>
                </a:lnTo>
                <a:lnTo>
                  <a:pt x="2061572" y="661501"/>
                </a:lnTo>
                <a:lnTo>
                  <a:pt x="2096998" y="760514"/>
                </a:lnTo>
                <a:lnTo>
                  <a:pt x="2122555" y="862517"/>
                </a:lnTo>
                <a:lnTo>
                  <a:pt x="2137975" y="966534"/>
                </a:lnTo>
                <a:lnTo>
                  <a:pt x="2143140" y="1071569"/>
                </a:lnTo>
                <a:lnTo>
                  <a:pt x="2137975" y="1176604"/>
                </a:lnTo>
                <a:lnTo>
                  <a:pt x="2122555" y="1280621"/>
                </a:lnTo>
                <a:lnTo>
                  <a:pt x="2096998" y="1382624"/>
                </a:lnTo>
                <a:lnTo>
                  <a:pt x="2061572" y="1481637"/>
                </a:lnTo>
                <a:lnTo>
                  <a:pt x="2016609" y="1576707"/>
                </a:lnTo>
                <a:lnTo>
                  <a:pt x="1962548" y="1666901"/>
                </a:lnTo>
                <a:lnTo>
                  <a:pt x="1899904" y="1751362"/>
                </a:lnTo>
                <a:lnTo>
                  <a:pt x="1829284" y="1829283"/>
                </a:lnTo>
                <a:lnTo>
                  <a:pt x="1751363" y="1899903"/>
                </a:lnTo>
                <a:lnTo>
                  <a:pt x="1666902" y="1962547"/>
                </a:lnTo>
                <a:lnTo>
                  <a:pt x="1576708" y="2016607"/>
                </a:lnTo>
                <a:lnTo>
                  <a:pt x="1481638" y="2061570"/>
                </a:lnTo>
                <a:lnTo>
                  <a:pt x="1382625" y="2096996"/>
                </a:lnTo>
                <a:lnTo>
                  <a:pt x="1280623" y="2122553"/>
                </a:lnTo>
                <a:lnTo>
                  <a:pt x="1176605" y="2137973"/>
                </a:lnTo>
                <a:lnTo>
                  <a:pt x="1071570" y="2143138"/>
                </a:lnTo>
                <a:lnTo>
                  <a:pt x="966535" y="2137973"/>
                </a:lnTo>
                <a:lnTo>
                  <a:pt x="862517" y="2122553"/>
                </a:lnTo>
                <a:lnTo>
                  <a:pt x="760515" y="2096996"/>
                </a:lnTo>
                <a:lnTo>
                  <a:pt x="661502" y="2061570"/>
                </a:lnTo>
                <a:lnTo>
                  <a:pt x="566432" y="2016607"/>
                </a:lnTo>
                <a:lnTo>
                  <a:pt x="476238" y="1962547"/>
                </a:lnTo>
                <a:lnTo>
                  <a:pt x="391777" y="1899903"/>
                </a:lnTo>
                <a:lnTo>
                  <a:pt x="313856" y="1829283"/>
                </a:lnTo>
                <a:lnTo>
                  <a:pt x="243236" y="1751362"/>
                </a:lnTo>
                <a:lnTo>
                  <a:pt x="180592" y="1666901"/>
                </a:lnTo>
                <a:lnTo>
                  <a:pt x="126531" y="1576707"/>
                </a:lnTo>
                <a:lnTo>
                  <a:pt x="81568" y="1481637"/>
                </a:lnTo>
                <a:lnTo>
                  <a:pt x="46142" y="1382624"/>
                </a:lnTo>
                <a:lnTo>
                  <a:pt x="20585" y="1280621"/>
                </a:lnTo>
                <a:lnTo>
                  <a:pt x="5165" y="1176604"/>
                </a:lnTo>
                <a:lnTo>
                  <a:pt x="0" y="107156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771529" y="1546769"/>
            <a:ext cx="2325688" cy="471344"/>
            <a:chOff x="5771529" y="1546769"/>
            <a:chExt cx="2325688" cy="471344"/>
          </a:xfrm>
        </p:grpSpPr>
        <p:sp>
          <p:nvSpPr>
            <p:cNvPr id="121" name="TextBox 120"/>
            <p:cNvSpPr txBox="1"/>
            <p:nvPr/>
          </p:nvSpPr>
          <p:spPr>
            <a:xfrm>
              <a:off x="5771529" y="1710336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5771529" y="1546769"/>
              <a:ext cx="23256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>
                  <a:solidFill>
                    <a:schemeClr val="accent1"/>
                  </a:solidFill>
                  <a:latin typeface="+mj-lt"/>
                </a:rPr>
                <a:t>E-commerce option</a:t>
              </a:r>
            </a:p>
          </p:txBody>
        </p:sp>
      </p:grpSp>
      <p:sp>
        <p:nvSpPr>
          <p:cNvPr id="105" name="Freeform 104"/>
          <p:cNvSpPr/>
          <p:nvPr/>
        </p:nvSpPr>
        <p:spPr>
          <a:xfrm>
            <a:off x="5269798" y="2272546"/>
            <a:ext cx="379080" cy="379080"/>
          </a:xfrm>
          <a:custGeom>
            <a:avLst/>
            <a:gdLst>
              <a:gd name="connsiteX0" fmla="*/ 0 w 2143140"/>
              <a:gd name="connsiteY0" fmla="*/ 1071569 h 2143138"/>
              <a:gd name="connsiteX1" fmla="*/ 5165 w 2143140"/>
              <a:gd name="connsiteY1" fmla="*/ 966534 h 2143138"/>
              <a:gd name="connsiteX2" fmla="*/ 20585 w 2143140"/>
              <a:gd name="connsiteY2" fmla="*/ 862517 h 2143138"/>
              <a:gd name="connsiteX3" fmla="*/ 46142 w 2143140"/>
              <a:gd name="connsiteY3" fmla="*/ 760514 h 2143138"/>
              <a:gd name="connsiteX4" fmla="*/ 81568 w 2143140"/>
              <a:gd name="connsiteY4" fmla="*/ 661501 h 2143138"/>
              <a:gd name="connsiteX5" fmla="*/ 126531 w 2143140"/>
              <a:gd name="connsiteY5" fmla="*/ 566431 h 2143138"/>
              <a:gd name="connsiteX6" fmla="*/ 180592 w 2143140"/>
              <a:gd name="connsiteY6" fmla="*/ 476237 h 2143138"/>
              <a:gd name="connsiteX7" fmla="*/ 243236 w 2143140"/>
              <a:gd name="connsiteY7" fmla="*/ 391776 h 2143138"/>
              <a:gd name="connsiteX8" fmla="*/ 313856 w 2143140"/>
              <a:gd name="connsiteY8" fmla="*/ 313855 h 2143138"/>
              <a:gd name="connsiteX9" fmla="*/ 391777 w 2143140"/>
              <a:gd name="connsiteY9" fmla="*/ 243235 h 2143138"/>
              <a:gd name="connsiteX10" fmla="*/ 476238 w 2143140"/>
              <a:gd name="connsiteY10" fmla="*/ 180591 h 2143138"/>
              <a:gd name="connsiteX11" fmla="*/ 566432 w 2143140"/>
              <a:gd name="connsiteY11" fmla="*/ 126531 h 2143138"/>
              <a:gd name="connsiteX12" fmla="*/ 661502 w 2143140"/>
              <a:gd name="connsiteY12" fmla="*/ 81568 h 2143138"/>
              <a:gd name="connsiteX13" fmla="*/ 760515 w 2143140"/>
              <a:gd name="connsiteY13" fmla="*/ 46142 h 2143138"/>
              <a:gd name="connsiteX14" fmla="*/ 862517 w 2143140"/>
              <a:gd name="connsiteY14" fmla="*/ 20585 h 2143138"/>
              <a:gd name="connsiteX15" fmla="*/ 966535 w 2143140"/>
              <a:gd name="connsiteY15" fmla="*/ 5165 h 2143138"/>
              <a:gd name="connsiteX16" fmla="*/ 1071570 w 2143140"/>
              <a:gd name="connsiteY16" fmla="*/ 0 h 2143138"/>
              <a:gd name="connsiteX17" fmla="*/ 1176605 w 2143140"/>
              <a:gd name="connsiteY17" fmla="*/ 5165 h 2143138"/>
              <a:gd name="connsiteX18" fmla="*/ 1280623 w 2143140"/>
              <a:gd name="connsiteY18" fmla="*/ 20585 h 2143138"/>
              <a:gd name="connsiteX19" fmla="*/ 1382625 w 2143140"/>
              <a:gd name="connsiteY19" fmla="*/ 46142 h 2143138"/>
              <a:gd name="connsiteX20" fmla="*/ 1481638 w 2143140"/>
              <a:gd name="connsiteY20" fmla="*/ 81568 h 2143138"/>
              <a:gd name="connsiteX21" fmla="*/ 1576708 w 2143140"/>
              <a:gd name="connsiteY21" fmla="*/ 126531 h 2143138"/>
              <a:gd name="connsiteX22" fmla="*/ 1666902 w 2143140"/>
              <a:gd name="connsiteY22" fmla="*/ 180591 h 2143138"/>
              <a:gd name="connsiteX23" fmla="*/ 1751363 w 2143140"/>
              <a:gd name="connsiteY23" fmla="*/ 243235 h 2143138"/>
              <a:gd name="connsiteX24" fmla="*/ 1829284 w 2143140"/>
              <a:gd name="connsiteY24" fmla="*/ 313855 h 2143138"/>
              <a:gd name="connsiteX25" fmla="*/ 1899904 w 2143140"/>
              <a:gd name="connsiteY25" fmla="*/ 391776 h 2143138"/>
              <a:gd name="connsiteX26" fmla="*/ 1962548 w 2143140"/>
              <a:gd name="connsiteY26" fmla="*/ 476237 h 2143138"/>
              <a:gd name="connsiteX27" fmla="*/ 2016609 w 2143140"/>
              <a:gd name="connsiteY27" fmla="*/ 566431 h 2143138"/>
              <a:gd name="connsiteX28" fmla="*/ 2061572 w 2143140"/>
              <a:gd name="connsiteY28" fmla="*/ 661501 h 2143138"/>
              <a:gd name="connsiteX29" fmla="*/ 2096998 w 2143140"/>
              <a:gd name="connsiteY29" fmla="*/ 760514 h 2143138"/>
              <a:gd name="connsiteX30" fmla="*/ 2122555 w 2143140"/>
              <a:gd name="connsiteY30" fmla="*/ 862517 h 2143138"/>
              <a:gd name="connsiteX31" fmla="*/ 2137975 w 2143140"/>
              <a:gd name="connsiteY31" fmla="*/ 966534 h 2143138"/>
              <a:gd name="connsiteX32" fmla="*/ 2143140 w 2143140"/>
              <a:gd name="connsiteY32" fmla="*/ 1071569 h 2143138"/>
              <a:gd name="connsiteX33" fmla="*/ 2137975 w 2143140"/>
              <a:gd name="connsiteY33" fmla="*/ 1176604 h 2143138"/>
              <a:gd name="connsiteX34" fmla="*/ 2122555 w 2143140"/>
              <a:gd name="connsiteY34" fmla="*/ 1280621 h 2143138"/>
              <a:gd name="connsiteX35" fmla="*/ 2096998 w 2143140"/>
              <a:gd name="connsiteY35" fmla="*/ 1382624 h 2143138"/>
              <a:gd name="connsiteX36" fmla="*/ 2061572 w 2143140"/>
              <a:gd name="connsiteY36" fmla="*/ 1481637 h 2143138"/>
              <a:gd name="connsiteX37" fmla="*/ 2016609 w 2143140"/>
              <a:gd name="connsiteY37" fmla="*/ 1576707 h 2143138"/>
              <a:gd name="connsiteX38" fmla="*/ 1962548 w 2143140"/>
              <a:gd name="connsiteY38" fmla="*/ 1666901 h 2143138"/>
              <a:gd name="connsiteX39" fmla="*/ 1899904 w 2143140"/>
              <a:gd name="connsiteY39" fmla="*/ 1751362 h 2143138"/>
              <a:gd name="connsiteX40" fmla="*/ 1829284 w 2143140"/>
              <a:gd name="connsiteY40" fmla="*/ 1829283 h 2143138"/>
              <a:gd name="connsiteX41" fmla="*/ 1751363 w 2143140"/>
              <a:gd name="connsiteY41" fmla="*/ 1899903 h 2143138"/>
              <a:gd name="connsiteX42" fmla="*/ 1666902 w 2143140"/>
              <a:gd name="connsiteY42" fmla="*/ 1962547 h 2143138"/>
              <a:gd name="connsiteX43" fmla="*/ 1576708 w 2143140"/>
              <a:gd name="connsiteY43" fmla="*/ 2016607 h 2143138"/>
              <a:gd name="connsiteX44" fmla="*/ 1481638 w 2143140"/>
              <a:gd name="connsiteY44" fmla="*/ 2061570 h 2143138"/>
              <a:gd name="connsiteX45" fmla="*/ 1382625 w 2143140"/>
              <a:gd name="connsiteY45" fmla="*/ 2096996 h 2143138"/>
              <a:gd name="connsiteX46" fmla="*/ 1280623 w 2143140"/>
              <a:gd name="connsiteY46" fmla="*/ 2122553 h 2143138"/>
              <a:gd name="connsiteX47" fmla="*/ 1176605 w 2143140"/>
              <a:gd name="connsiteY47" fmla="*/ 2137973 h 2143138"/>
              <a:gd name="connsiteX48" fmla="*/ 1071570 w 2143140"/>
              <a:gd name="connsiteY48" fmla="*/ 2143138 h 2143138"/>
              <a:gd name="connsiteX49" fmla="*/ 966535 w 2143140"/>
              <a:gd name="connsiteY49" fmla="*/ 2137973 h 2143138"/>
              <a:gd name="connsiteX50" fmla="*/ 862517 w 2143140"/>
              <a:gd name="connsiteY50" fmla="*/ 2122553 h 2143138"/>
              <a:gd name="connsiteX51" fmla="*/ 760515 w 2143140"/>
              <a:gd name="connsiteY51" fmla="*/ 2096996 h 2143138"/>
              <a:gd name="connsiteX52" fmla="*/ 661502 w 2143140"/>
              <a:gd name="connsiteY52" fmla="*/ 2061570 h 2143138"/>
              <a:gd name="connsiteX53" fmla="*/ 566432 w 2143140"/>
              <a:gd name="connsiteY53" fmla="*/ 2016607 h 2143138"/>
              <a:gd name="connsiteX54" fmla="*/ 476238 w 2143140"/>
              <a:gd name="connsiteY54" fmla="*/ 1962547 h 2143138"/>
              <a:gd name="connsiteX55" fmla="*/ 391777 w 2143140"/>
              <a:gd name="connsiteY55" fmla="*/ 1899903 h 2143138"/>
              <a:gd name="connsiteX56" fmla="*/ 313856 w 2143140"/>
              <a:gd name="connsiteY56" fmla="*/ 1829283 h 2143138"/>
              <a:gd name="connsiteX57" fmla="*/ 243236 w 2143140"/>
              <a:gd name="connsiteY57" fmla="*/ 1751362 h 2143138"/>
              <a:gd name="connsiteX58" fmla="*/ 180592 w 2143140"/>
              <a:gd name="connsiteY58" fmla="*/ 1666901 h 2143138"/>
              <a:gd name="connsiteX59" fmla="*/ 126531 w 2143140"/>
              <a:gd name="connsiteY59" fmla="*/ 1576707 h 2143138"/>
              <a:gd name="connsiteX60" fmla="*/ 81568 w 2143140"/>
              <a:gd name="connsiteY60" fmla="*/ 1481637 h 2143138"/>
              <a:gd name="connsiteX61" fmla="*/ 46142 w 2143140"/>
              <a:gd name="connsiteY61" fmla="*/ 1382624 h 2143138"/>
              <a:gd name="connsiteX62" fmla="*/ 20585 w 2143140"/>
              <a:gd name="connsiteY62" fmla="*/ 1280621 h 2143138"/>
              <a:gd name="connsiteX63" fmla="*/ 5165 w 2143140"/>
              <a:gd name="connsiteY63" fmla="*/ 1176604 h 2143138"/>
              <a:gd name="connsiteX64" fmla="*/ 0 w 2143140"/>
              <a:gd name="connsiteY64" fmla="*/ 1071569 h 214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143140" h="2143138">
                <a:moveTo>
                  <a:pt x="0" y="1071569"/>
                </a:moveTo>
                <a:lnTo>
                  <a:pt x="5165" y="966534"/>
                </a:lnTo>
                <a:lnTo>
                  <a:pt x="20585" y="862517"/>
                </a:lnTo>
                <a:lnTo>
                  <a:pt x="46142" y="760514"/>
                </a:lnTo>
                <a:lnTo>
                  <a:pt x="81568" y="661501"/>
                </a:lnTo>
                <a:lnTo>
                  <a:pt x="126531" y="566431"/>
                </a:lnTo>
                <a:lnTo>
                  <a:pt x="180592" y="476237"/>
                </a:lnTo>
                <a:lnTo>
                  <a:pt x="243236" y="391776"/>
                </a:lnTo>
                <a:lnTo>
                  <a:pt x="313856" y="313855"/>
                </a:lnTo>
                <a:lnTo>
                  <a:pt x="391777" y="243235"/>
                </a:lnTo>
                <a:lnTo>
                  <a:pt x="476238" y="180591"/>
                </a:lnTo>
                <a:lnTo>
                  <a:pt x="566432" y="126531"/>
                </a:lnTo>
                <a:lnTo>
                  <a:pt x="661502" y="81568"/>
                </a:lnTo>
                <a:lnTo>
                  <a:pt x="760515" y="46142"/>
                </a:lnTo>
                <a:lnTo>
                  <a:pt x="862517" y="20585"/>
                </a:lnTo>
                <a:lnTo>
                  <a:pt x="966535" y="5165"/>
                </a:lnTo>
                <a:lnTo>
                  <a:pt x="1071570" y="0"/>
                </a:lnTo>
                <a:lnTo>
                  <a:pt x="1176605" y="5165"/>
                </a:lnTo>
                <a:lnTo>
                  <a:pt x="1280623" y="20585"/>
                </a:lnTo>
                <a:lnTo>
                  <a:pt x="1382625" y="46142"/>
                </a:lnTo>
                <a:lnTo>
                  <a:pt x="1481638" y="81568"/>
                </a:lnTo>
                <a:lnTo>
                  <a:pt x="1576708" y="126531"/>
                </a:lnTo>
                <a:lnTo>
                  <a:pt x="1666902" y="180591"/>
                </a:lnTo>
                <a:lnTo>
                  <a:pt x="1751363" y="243235"/>
                </a:lnTo>
                <a:lnTo>
                  <a:pt x="1829284" y="313855"/>
                </a:lnTo>
                <a:lnTo>
                  <a:pt x="1899904" y="391776"/>
                </a:lnTo>
                <a:lnTo>
                  <a:pt x="1962548" y="476237"/>
                </a:lnTo>
                <a:lnTo>
                  <a:pt x="2016609" y="566431"/>
                </a:lnTo>
                <a:lnTo>
                  <a:pt x="2061572" y="661501"/>
                </a:lnTo>
                <a:lnTo>
                  <a:pt x="2096998" y="760514"/>
                </a:lnTo>
                <a:lnTo>
                  <a:pt x="2122555" y="862517"/>
                </a:lnTo>
                <a:lnTo>
                  <a:pt x="2137975" y="966534"/>
                </a:lnTo>
                <a:lnTo>
                  <a:pt x="2143140" y="1071569"/>
                </a:lnTo>
                <a:lnTo>
                  <a:pt x="2137975" y="1176604"/>
                </a:lnTo>
                <a:lnTo>
                  <a:pt x="2122555" y="1280621"/>
                </a:lnTo>
                <a:lnTo>
                  <a:pt x="2096998" y="1382624"/>
                </a:lnTo>
                <a:lnTo>
                  <a:pt x="2061572" y="1481637"/>
                </a:lnTo>
                <a:lnTo>
                  <a:pt x="2016609" y="1576707"/>
                </a:lnTo>
                <a:lnTo>
                  <a:pt x="1962548" y="1666901"/>
                </a:lnTo>
                <a:lnTo>
                  <a:pt x="1899904" y="1751362"/>
                </a:lnTo>
                <a:lnTo>
                  <a:pt x="1829284" y="1829283"/>
                </a:lnTo>
                <a:lnTo>
                  <a:pt x="1751363" y="1899903"/>
                </a:lnTo>
                <a:lnTo>
                  <a:pt x="1666902" y="1962547"/>
                </a:lnTo>
                <a:lnTo>
                  <a:pt x="1576708" y="2016607"/>
                </a:lnTo>
                <a:lnTo>
                  <a:pt x="1481638" y="2061570"/>
                </a:lnTo>
                <a:lnTo>
                  <a:pt x="1382625" y="2096996"/>
                </a:lnTo>
                <a:lnTo>
                  <a:pt x="1280623" y="2122553"/>
                </a:lnTo>
                <a:lnTo>
                  <a:pt x="1176605" y="2137973"/>
                </a:lnTo>
                <a:lnTo>
                  <a:pt x="1071570" y="2143138"/>
                </a:lnTo>
                <a:lnTo>
                  <a:pt x="966535" y="2137973"/>
                </a:lnTo>
                <a:lnTo>
                  <a:pt x="862517" y="2122553"/>
                </a:lnTo>
                <a:lnTo>
                  <a:pt x="760515" y="2096996"/>
                </a:lnTo>
                <a:lnTo>
                  <a:pt x="661502" y="2061570"/>
                </a:lnTo>
                <a:lnTo>
                  <a:pt x="566432" y="2016607"/>
                </a:lnTo>
                <a:lnTo>
                  <a:pt x="476238" y="1962547"/>
                </a:lnTo>
                <a:lnTo>
                  <a:pt x="391777" y="1899903"/>
                </a:lnTo>
                <a:lnTo>
                  <a:pt x="313856" y="1829283"/>
                </a:lnTo>
                <a:lnTo>
                  <a:pt x="243236" y="1751362"/>
                </a:lnTo>
                <a:lnTo>
                  <a:pt x="180592" y="1666901"/>
                </a:lnTo>
                <a:lnTo>
                  <a:pt x="126531" y="1576707"/>
                </a:lnTo>
                <a:lnTo>
                  <a:pt x="81568" y="1481637"/>
                </a:lnTo>
                <a:lnTo>
                  <a:pt x="46142" y="1382624"/>
                </a:lnTo>
                <a:lnTo>
                  <a:pt x="20585" y="1280621"/>
                </a:lnTo>
                <a:lnTo>
                  <a:pt x="5165" y="1176604"/>
                </a:lnTo>
                <a:lnTo>
                  <a:pt x="0" y="107156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latin typeface="+mj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904780" y="2298167"/>
            <a:ext cx="2325688" cy="471344"/>
            <a:chOff x="5904780" y="2298167"/>
            <a:chExt cx="2325688" cy="471344"/>
          </a:xfrm>
        </p:grpSpPr>
        <p:sp>
          <p:nvSpPr>
            <p:cNvPr id="127" name="TextBox 126"/>
            <p:cNvSpPr txBox="1"/>
            <p:nvPr/>
          </p:nvSpPr>
          <p:spPr>
            <a:xfrm>
              <a:off x="5904780" y="2461734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5904780" y="2298167"/>
              <a:ext cx="23256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>
                  <a:solidFill>
                    <a:schemeClr val="accent1"/>
                  </a:solidFill>
                  <a:latin typeface="+mj-lt"/>
                </a:rPr>
                <a:t>Clean coding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754650" y="3055447"/>
            <a:ext cx="2325688" cy="471344"/>
            <a:chOff x="5754650" y="3055447"/>
            <a:chExt cx="2325688" cy="471344"/>
          </a:xfrm>
        </p:grpSpPr>
        <p:sp>
          <p:nvSpPr>
            <p:cNvPr id="129" name="TextBox 128"/>
            <p:cNvSpPr txBox="1"/>
            <p:nvPr/>
          </p:nvSpPr>
          <p:spPr>
            <a:xfrm>
              <a:off x="5754650" y="3219014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5754650" y="3055447"/>
              <a:ext cx="23256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>
                  <a:solidFill>
                    <a:schemeClr val="accent1"/>
                  </a:solidFill>
                  <a:latin typeface="+mj-lt"/>
                </a:rPr>
                <a:t>Responsive design</a:t>
              </a:r>
            </a:p>
          </p:txBody>
        </p:sp>
      </p:grpSp>
      <p:sp>
        <p:nvSpPr>
          <p:cNvPr id="138" name="Freeform 137"/>
          <p:cNvSpPr/>
          <p:nvPr/>
        </p:nvSpPr>
        <p:spPr>
          <a:xfrm>
            <a:off x="4611072" y="3781225"/>
            <a:ext cx="379080" cy="379080"/>
          </a:xfrm>
          <a:custGeom>
            <a:avLst/>
            <a:gdLst>
              <a:gd name="connsiteX0" fmla="*/ 0 w 2143140"/>
              <a:gd name="connsiteY0" fmla="*/ 1071569 h 2143138"/>
              <a:gd name="connsiteX1" fmla="*/ 5165 w 2143140"/>
              <a:gd name="connsiteY1" fmla="*/ 966534 h 2143138"/>
              <a:gd name="connsiteX2" fmla="*/ 20585 w 2143140"/>
              <a:gd name="connsiteY2" fmla="*/ 862517 h 2143138"/>
              <a:gd name="connsiteX3" fmla="*/ 46142 w 2143140"/>
              <a:gd name="connsiteY3" fmla="*/ 760514 h 2143138"/>
              <a:gd name="connsiteX4" fmla="*/ 81568 w 2143140"/>
              <a:gd name="connsiteY4" fmla="*/ 661501 h 2143138"/>
              <a:gd name="connsiteX5" fmla="*/ 126531 w 2143140"/>
              <a:gd name="connsiteY5" fmla="*/ 566431 h 2143138"/>
              <a:gd name="connsiteX6" fmla="*/ 180592 w 2143140"/>
              <a:gd name="connsiteY6" fmla="*/ 476237 h 2143138"/>
              <a:gd name="connsiteX7" fmla="*/ 243236 w 2143140"/>
              <a:gd name="connsiteY7" fmla="*/ 391776 h 2143138"/>
              <a:gd name="connsiteX8" fmla="*/ 313856 w 2143140"/>
              <a:gd name="connsiteY8" fmla="*/ 313855 h 2143138"/>
              <a:gd name="connsiteX9" fmla="*/ 391777 w 2143140"/>
              <a:gd name="connsiteY9" fmla="*/ 243235 h 2143138"/>
              <a:gd name="connsiteX10" fmla="*/ 476238 w 2143140"/>
              <a:gd name="connsiteY10" fmla="*/ 180591 h 2143138"/>
              <a:gd name="connsiteX11" fmla="*/ 566432 w 2143140"/>
              <a:gd name="connsiteY11" fmla="*/ 126531 h 2143138"/>
              <a:gd name="connsiteX12" fmla="*/ 661502 w 2143140"/>
              <a:gd name="connsiteY12" fmla="*/ 81568 h 2143138"/>
              <a:gd name="connsiteX13" fmla="*/ 760515 w 2143140"/>
              <a:gd name="connsiteY13" fmla="*/ 46142 h 2143138"/>
              <a:gd name="connsiteX14" fmla="*/ 862517 w 2143140"/>
              <a:gd name="connsiteY14" fmla="*/ 20585 h 2143138"/>
              <a:gd name="connsiteX15" fmla="*/ 966535 w 2143140"/>
              <a:gd name="connsiteY15" fmla="*/ 5165 h 2143138"/>
              <a:gd name="connsiteX16" fmla="*/ 1071570 w 2143140"/>
              <a:gd name="connsiteY16" fmla="*/ 0 h 2143138"/>
              <a:gd name="connsiteX17" fmla="*/ 1176605 w 2143140"/>
              <a:gd name="connsiteY17" fmla="*/ 5165 h 2143138"/>
              <a:gd name="connsiteX18" fmla="*/ 1280623 w 2143140"/>
              <a:gd name="connsiteY18" fmla="*/ 20585 h 2143138"/>
              <a:gd name="connsiteX19" fmla="*/ 1382625 w 2143140"/>
              <a:gd name="connsiteY19" fmla="*/ 46142 h 2143138"/>
              <a:gd name="connsiteX20" fmla="*/ 1481638 w 2143140"/>
              <a:gd name="connsiteY20" fmla="*/ 81568 h 2143138"/>
              <a:gd name="connsiteX21" fmla="*/ 1576708 w 2143140"/>
              <a:gd name="connsiteY21" fmla="*/ 126531 h 2143138"/>
              <a:gd name="connsiteX22" fmla="*/ 1666902 w 2143140"/>
              <a:gd name="connsiteY22" fmla="*/ 180591 h 2143138"/>
              <a:gd name="connsiteX23" fmla="*/ 1751363 w 2143140"/>
              <a:gd name="connsiteY23" fmla="*/ 243235 h 2143138"/>
              <a:gd name="connsiteX24" fmla="*/ 1829284 w 2143140"/>
              <a:gd name="connsiteY24" fmla="*/ 313855 h 2143138"/>
              <a:gd name="connsiteX25" fmla="*/ 1899904 w 2143140"/>
              <a:gd name="connsiteY25" fmla="*/ 391776 h 2143138"/>
              <a:gd name="connsiteX26" fmla="*/ 1962548 w 2143140"/>
              <a:gd name="connsiteY26" fmla="*/ 476237 h 2143138"/>
              <a:gd name="connsiteX27" fmla="*/ 2016609 w 2143140"/>
              <a:gd name="connsiteY27" fmla="*/ 566431 h 2143138"/>
              <a:gd name="connsiteX28" fmla="*/ 2061572 w 2143140"/>
              <a:gd name="connsiteY28" fmla="*/ 661501 h 2143138"/>
              <a:gd name="connsiteX29" fmla="*/ 2096998 w 2143140"/>
              <a:gd name="connsiteY29" fmla="*/ 760514 h 2143138"/>
              <a:gd name="connsiteX30" fmla="*/ 2122555 w 2143140"/>
              <a:gd name="connsiteY30" fmla="*/ 862517 h 2143138"/>
              <a:gd name="connsiteX31" fmla="*/ 2137975 w 2143140"/>
              <a:gd name="connsiteY31" fmla="*/ 966534 h 2143138"/>
              <a:gd name="connsiteX32" fmla="*/ 2143140 w 2143140"/>
              <a:gd name="connsiteY32" fmla="*/ 1071569 h 2143138"/>
              <a:gd name="connsiteX33" fmla="*/ 2137975 w 2143140"/>
              <a:gd name="connsiteY33" fmla="*/ 1176604 h 2143138"/>
              <a:gd name="connsiteX34" fmla="*/ 2122555 w 2143140"/>
              <a:gd name="connsiteY34" fmla="*/ 1280621 h 2143138"/>
              <a:gd name="connsiteX35" fmla="*/ 2096998 w 2143140"/>
              <a:gd name="connsiteY35" fmla="*/ 1382624 h 2143138"/>
              <a:gd name="connsiteX36" fmla="*/ 2061572 w 2143140"/>
              <a:gd name="connsiteY36" fmla="*/ 1481637 h 2143138"/>
              <a:gd name="connsiteX37" fmla="*/ 2016609 w 2143140"/>
              <a:gd name="connsiteY37" fmla="*/ 1576707 h 2143138"/>
              <a:gd name="connsiteX38" fmla="*/ 1962548 w 2143140"/>
              <a:gd name="connsiteY38" fmla="*/ 1666901 h 2143138"/>
              <a:gd name="connsiteX39" fmla="*/ 1899904 w 2143140"/>
              <a:gd name="connsiteY39" fmla="*/ 1751362 h 2143138"/>
              <a:gd name="connsiteX40" fmla="*/ 1829284 w 2143140"/>
              <a:gd name="connsiteY40" fmla="*/ 1829283 h 2143138"/>
              <a:gd name="connsiteX41" fmla="*/ 1751363 w 2143140"/>
              <a:gd name="connsiteY41" fmla="*/ 1899903 h 2143138"/>
              <a:gd name="connsiteX42" fmla="*/ 1666902 w 2143140"/>
              <a:gd name="connsiteY42" fmla="*/ 1962547 h 2143138"/>
              <a:gd name="connsiteX43" fmla="*/ 1576708 w 2143140"/>
              <a:gd name="connsiteY43" fmla="*/ 2016607 h 2143138"/>
              <a:gd name="connsiteX44" fmla="*/ 1481638 w 2143140"/>
              <a:gd name="connsiteY44" fmla="*/ 2061570 h 2143138"/>
              <a:gd name="connsiteX45" fmla="*/ 1382625 w 2143140"/>
              <a:gd name="connsiteY45" fmla="*/ 2096996 h 2143138"/>
              <a:gd name="connsiteX46" fmla="*/ 1280623 w 2143140"/>
              <a:gd name="connsiteY46" fmla="*/ 2122553 h 2143138"/>
              <a:gd name="connsiteX47" fmla="*/ 1176605 w 2143140"/>
              <a:gd name="connsiteY47" fmla="*/ 2137973 h 2143138"/>
              <a:gd name="connsiteX48" fmla="*/ 1071570 w 2143140"/>
              <a:gd name="connsiteY48" fmla="*/ 2143138 h 2143138"/>
              <a:gd name="connsiteX49" fmla="*/ 966535 w 2143140"/>
              <a:gd name="connsiteY49" fmla="*/ 2137973 h 2143138"/>
              <a:gd name="connsiteX50" fmla="*/ 862517 w 2143140"/>
              <a:gd name="connsiteY50" fmla="*/ 2122553 h 2143138"/>
              <a:gd name="connsiteX51" fmla="*/ 760515 w 2143140"/>
              <a:gd name="connsiteY51" fmla="*/ 2096996 h 2143138"/>
              <a:gd name="connsiteX52" fmla="*/ 661502 w 2143140"/>
              <a:gd name="connsiteY52" fmla="*/ 2061570 h 2143138"/>
              <a:gd name="connsiteX53" fmla="*/ 566432 w 2143140"/>
              <a:gd name="connsiteY53" fmla="*/ 2016607 h 2143138"/>
              <a:gd name="connsiteX54" fmla="*/ 476238 w 2143140"/>
              <a:gd name="connsiteY54" fmla="*/ 1962547 h 2143138"/>
              <a:gd name="connsiteX55" fmla="*/ 391777 w 2143140"/>
              <a:gd name="connsiteY55" fmla="*/ 1899903 h 2143138"/>
              <a:gd name="connsiteX56" fmla="*/ 313856 w 2143140"/>
              <a:gd name="connsiteY56" fmla="*/ 1829283 h 2143138"/>
              <a:gd name="connsiteX57" fmla="*/ 243236 w 2143140"/>
              <a:gd name="connsiteY57" fmla="*/ 1751362 h 2143138"/>
              <a:gd name="connsiteX58" fmla="*/ 180592 w 2143140"/>
              <a:gd name="connsiteY58" fmla="*/ 1666901 h 2143138"/>
              <a:gd name="connsiteX59" fmla="*/ 126531 w 2143140"/>
              <a:gd name="connsiteY59" fmla="*/ 1576707 h 2143138"/>
              <a:gd name="connsiteX60" fmla="*/ 81568 w 2143140"/>
              <a:gd name="connsiteY60" fmla="*/ 1481637 h 2143138"/>
              <a:gd name="connsiteX61" fmla="*/ 46142 w 2143140"/>
              <a:gd name="connsiteY61" fmla="*/ 1382624 h 2143138"/>
              <a:gd name="connsiteX62" fmla="*/ 20585 w 2143140"/>
              <a:gd name="connsiteY62" fmla="*/ 1280621 h 2143138"/>
              <a:gd name="connsiteX63" fmla="*/ 5165 w 2143140"/>
              <a:gd name="connsiteY63" fmla="*/ 1176604 h 2143138"/>
              <a:gd name="connsiteX64" fmla="*/ 0 w 2143140"/>
              <a:gd name="connsiteY64" fmla="*/ 1071569 h 214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143140" h="2143138">
                <a:moveTo>
                  <a:pt x="0" y="1071569"/>
                </a:moveTo>
                <a:lnTo>
                  <a:pt x="5165" y="966534"/>
                </a:lnTo>
                <a:lnTo>
                  <a:pt x="20585" y="862517"/>
                </a:lnTo>
                <a:lnTo>
                  <a:pt x="46142" y="760514"/>
                </a:lnTo>
                <a:lnTo>
                  <a:pt x="81568" y="661501"/>
                </a:lnTo>
                <a:lnTo>
                  <a:pt x="126531" y="566431"/>
                </a:lnTo>
                <a:lnTo>
                  <a:pt x="180592" y="476237"/>
                </a:lnTo>
                <a:lnTo>
                  <a:pt x="243236" y="391776"/>
                </a:lnTo>
                <a:lnTo>
                  <a:pt x="313856" y="313855"/>
                </a:lnTo>
                <a:lnTo>
                  <a:pt x="391777" y="243235"/>
                </a:lnTo>
                <a:lnTo>
                  <a:pt x="476238" y="180591"/>
                </a:lnTo>
                <a:lnTo>
                  <a:pt x="566432" y="126531"/>
                </a:lnTo>
                <a:lnTo>
                  <a:pt x="661502" y="81568"/>
                </a:lnTo>
                <a:lnTo>
                  <a:pt x="760515" y="46142"/>
                </a:lnTo>
                <a:lnTo>
                  <a:pt x="862517" y="20585"/>
                </a:lnTo>
                <a:lnTo>
                  <a:pt x="966535" y="5165"/>
                </a:lnTo>
                <a:lnTo>
                  <a:pt x="1071570" y="0"/>
                </a:lnTo>
                <a:lnTo>
                  <a:pt x="1176605" y="5165"/>
                </a:lnTo>
                <a:lnTo>
                  <a:pt x="1280623" y="20585"/>
                </a:lnTo>
                <a:lnTo>
                  <a:pt x="1382625" y="46142"/>
                </a:lnTo>
                <a:lnTo>
                  <a:pt x="1481638" y="81568"/>
                </a:lnTo>
                <a:lnTo>
                  <a:pt x="1576708" y="126531"/>
                </a:lnTo>
                <a:lnTo>
                  <a:pt x="1666902" y="180591"/>
                </a:lnTo>
                <a:lnTo>
                  <a:pt x="1751363" y="243235"/>
                </a:lnTo>
                <a:lnTo>
                  <a:pt x="1829284" y="313855"/>
                </a:lnTo>
                <a:lnTo>
                  <a:pt x="1899904" y="391776"/>
                </a:lnTo>
                <a:lnTo>
                  <a:pt x="1962548" y="476237"/>
                </a:lnTo>
                <a:lnTo>
                  <a:pt x="2016609" y="566431"/>
                </a:lnTo>
                <a:lnTo>
                  <a:pt x="2061572" y="661501"/>
                </a:lnTo>
                <a:lnTo>
                  <a:pt x="2096998" y="760514"/>
                </a:lnTo>
                <a:lnTo>
                  <a:pt x="2122555" y="862517"/>
                </a:lnTo>
                <a:lnTo>
                  <a:pt x="2137975" y="966534"/>
                </a:lnTo>
                <a:lnTo>
                  <a:pt x="2143140" y="1071569"/>
                </a:lnTo>
                <a:lnTo>
                  <a:pt x="2137975" y="1176604"/>
                </a:lnTo>
                <a:lnTo>
                  <a:pt x="2122555" y="1280621"/>
                </a:lnTo>
                <a:lnTo>
                  <a:pt x="2096998" y="1382624"/>
                </a:lnTo>
                <a:lnTo>
                  <a:pt x="2061572" y="1481637"/>
                </a:lnTo>
                <a:lnTo>
                  <a:pt x="2016609" y="1576707"/>
                </a:lnTo>
                <a:lnTo>
                  <a:pt x="1962548" y="1666901"/>
                </a:lnTo>
                <a:lnTo>
                  <a:pt x="1899904" y="1751362"/>
                </a:lnTo>
                <a:lnTo>
                  <a:pt x="1829284" y="1829283"/>
                </a:lnTo>
                <a:lnTo>
                  <a:pt x="1751363" y="1899903"/>
                </a:lnTo>
                <a:lnTo>
                  <a:pt x="1666902" y="1962547"/>
                </a:lnTo>
                <a:lnTo>
                  <a:pt x="1576708" y="2016607"/>
                </a:lnTo>
                <a:lnTo>
                  <a:pt x="1481638" y="2061570"/>
                </a:lnTo>
                <a:lnTo>
                  <a:pt x="1382625" y="2096996"/>
                </a:lnTo>
                <a:lnTo>
                  <a:pt x="1280623" y="2122553"/>
                </a:lnTo>
                <a:lnTo>
                  <a:pt x="1176605" y="2137973"/>
                </a:lnTo>
                <a:lnTo>
                  <a:pt x="1071570" y="2143138"/>
                </a:lnTo>
                <a:lnTo>
                  <a:pt x="966535" y="2137973"/>
                </a:lnTo>
                <a:lnTo>
                  <a:pt x="862517" y="2122553"/>
                </a:lnTo>
                <a:lnTo>
                  <a:pt x="760515" y="2096996"/>
                </a:lnTo>
                <a:lnTo>
                  <a:pt x="661502" y="2061570"/>
                </a:lnTo>
                <a:lnTo>
                  <a:pt x="566432" y="2016607"/>
                </a:lnTo>
                <a:lnTo>
                  <a:pt x="476238" y="1962547"/>
                </a:lnTo>
                <a:lnTo>
                  <a:pt x="391777" y="1899903"/>
                </a:lnTo>
                <a:lnTo>
                  <a:pt x="313856" y="1829283"/>
                </a:lnTo>
                <a:lnTo>
                  <a:pt x="243236" y="1751362"/>
                </a:lnTo>
                <a:lnTo>
                  <a:pt x="180592" y="1666901"/>
                </a:lnTo>
                <a:lnTo>
                  <a:pt x="126531" y="1576707"/>
                </a:lnTo>
                <a:lnTo>
                  <a:pt x="81568" y="1481637"/>
                </a:lnTo>
                <a:lnTo>
                  <a:pt x="46142" y="1382624"/>
                </a:lnTo>
                <a:lnTo>
                  <a:pt x="20585" y="1280621"/>
                </a:lnTo>
                <a:lnTo>
                  <a:pt x="5165" y="1176604"/>
                </a:lnTo>
                <a:lnTo>
                  <a:pt x="0" y="107156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221015" y="3812728"/>
            <a:ext cx="2325688" cy="471344"/>
            <a:chOff x="5221015" y="3812728"/>
            <a:chExt cx="2325688" cy="471344"/>
          </a:xfrm>
        </p:grpSpPr>
        <p:sp>
          <p:nvSpPr>
            <p:cNvPr id="140" name="TextBox 139"/>
            <p:cNvSpPr txBox="1"/>
            <p:nvPr/>
          </p:nvSpPr>
          <p:spPr>
            <a:xfrm>
              <a:off x="5221015" y="3976295"/>
              <a:ext cx="232568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2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nat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error sit vol up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do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5221015" y="3812728"/>
              <a:ext cx="23256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>
                  <a:solidFill>
                    <a:schemeClr val="accent1"/>
                  </a:solidFill>
                  <a:latin typeface="+mj-lt"/>
                </a:rPr>
                <a:t>Professional options</a:t>
              </a:r>
            </a:p>
          </p:txBody>
        </p:sp>
      </p:grpSp>
      <p:cxnSp>
        <p:nvCxnSpPr>
          <p:cNvPr id="153" name="Straight Connector 152"/>
          <p:cNvCxnSpPr>
            <a:stCxn id="138" idx="6"/>
            <a:endCxn id="100" idx="42"/>
          </p:cNvCxnSpPr>
          <p:nvPr/>
        </p:nvCxnSpPr>
        <p:spPr>
          <a:xfrm flipH="1" flipV="1">
            <a:off x="4051124" y="3325893"/>
            <a:ext cx="591891" cy="539569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Freeform 105"/>
          <p:cNvSpPr/>
          <p:nvPr/>
        </p:nvSpPr>
        <p:spPr>
          <a:xfrm>
            <a:off x="5144707" y="3023944"/>
            <a:ext cx="379080" cy="379080"/>
          </a:xfrm>
          <a:custGeom>
            <a:avLst/>
            <a:gdLst>
              <a:gd name="connsiteX0" fmla="*/ 0 w 2143140"/>
              <a:gd name="connsiteY0" fmla="*/ 1071569 h 2143138"/>
              <a:gd name="connsiteX1" fmla="*/ 5165 w 2143140"/>
              <a:gd name="connsiteY1" fmla="*/ 966534 h 2143138"/>
              <a:gd name="connsiteX2" fmla="*/ 20585 w 2143140"/>
              <a:gd name="connsiteY2" fmla="*/ 862517 h 2143138"/>
              <a:gd name="connsiteX3" fmla="*/ 46142 w 2143140"/>
              <a:gd name="connsiteY3" fmla="*/ 760514 h 2143138"/>
              <a:gd name="connsiteX4" fmla="*/ 81568 w 2143140"/>
              <a:gd name="connsiteY4" fmla="*/ 661501 h 2143138"/>
              <a:gd name="connsiteX5" fmla="*/ 126531 w 2143140"/>
              <a:gd name="connsiteY5" fmla="*/ 566431 h 2143138"/>
              <a:gd name="connsiteX6" fmla="*/ 180592 w 2143140"/>
              <a:gd name="connsiteY6" fmla="*/ 476237 h 2143138"/>
              <a:gd name="connsiteX7" fmla="*/ 243236 w 2143140"/>
              <a:gd name="connsiteY7" fmla="*/ 391776 h 2143138"/>
              <a:gd name="connsiteX8" fmla="*/ 313856 w 2143140"/>
              <a:gd name="connsiteY8" fmla="*/ 313855 h 2143138"/>
              <a:gd name="connsiteX9" fmla="*/ 391777 w 2143140"/>
              <a:gd name="connsiteY9" fmla="*/ 243235 h 2143138"/>
              <a:gd name="connsiteX10" fmla="*/ 476238 w 2143140"/>
              <a:gd name="connsiteY10" fmla="*/ 180591 h 2143138"/>
              <a:gd name="connsiteX11" fmla="*/ 566432 w 2143140"/>
              <a:gd name="connsiteY11" fmla="*/ 126531 h 2143138"/>
              <a:gd name="connsiteX12" fmla="*/ 661502 w 2143140"/>
              <a:gd name="connsiteY12" fmla="*/ 81568 h 2143138"/>
              <a:gd name="connsiteX13" fmla="*/ 760515 w 2143140"/>
              <a:gd name="connsiteY13" fmla="*/ 46142 h 2143138"/>
              <a:gd name="connsiteX14" fmla="*/ 862517 w 2143140"/>
              <a:gd name="connsiteY14" fmla="*/ 20585 h 2143138"/>
              <a:gd name="connsiteX15" fmla="*/ 966535 w 2143140"/>
              <a:gd name="connsiteY15" fmla="*/ 5165 h 2143138"/>
              <a:gd name="connsiteX16" fmla="*/ 1071570 w 2143140"/>
              <a:gd name="connsiteY16" fmla="*/ 0 h 2143138"/>
              <a:gd name="connsiteX17" fmla="*/ 1176605 w 2143140"/>
              <a:gd name="connsiteY17" fmla="*/ 5165 h 2143138"/>
              <a:gd name="connsiteX18" fmla="*/ 1280623 w 2143140"/>
              <a:gd name="connsiteY18" fmla="*/ 20585 h 2143138"/>
              <a:gd name="connsiteX19" fmla="*/ 1382625 w 2143140"/>
              <a:gd name="connsiteY19" fmla="*/ 46142 h 2143138"/>
              <a:gd name="connsiteX20" fmla="*/ 1481638 w 2143140"/>
              <a:gd name="connsiteY20" fmla="*/ 81568 h 2143138"/>
              <a:gd name="connsiteX21" fmla="*/ 1576708 w 2143140"/>
              <a:gd name="connsiteY21" fmla="*/ 126531 h 2143138"/>
              <a:gd name="connsiteX22" fmla="*/ 1666902 w 2143140"/>
              <a:gd name="connsiteY22" fmla="*/ 180591 h 2143138"/>
              <a:gd name="connsiteX23" fmla="*/ 1751363 w 2143140"/>
              <a:gd name="connsiteY23" fmla="*/ 243235 h 2143138"/>
              <a:gd name="connsiteX24" fmla="*/ 1829284 w 2143140"/>
              <a:gd name="connsiteY24" fmla="*/ 313855 h 2143138"/>
              <a:gd name="connsiteX25" fmla="*/ 1899904 w 2143140"/>
              <a:gd name="connsiteY25" fmla="*/ 391776 h 2143138"/>
              <a:gd name="connsiteX26" fmla="*/ 1962548 w 2143140"/>
              <a:gd name="connsiteY26" fmla="*/ 476237 h 2143138"/>
              <a:gd name="connsiteX27" fmla="*/ 2016609 w 2143140"/>
              <a:gd name="connsiteY27" fmla="*/ 566431 h 2143138"/>
              <a:gd name="connsiteX28" fmla="*/ 2061572 w 2143140"/>
              <a:gd name="connsiteY28" fmla="*/ 661501 h 2143138"/>
              <a:gd name="connsiteX29" fmla="*/ 2096998 w 2143140"/>
              <a:gd name="connsiteY29" fmla="*/ 760514 h 2143138"/>
              <a:gd name="connsiteX30" fmla="*/ 2122555 w 2143140"/>
              <a:gd name="connsiteY30" fmla="*/ 862517 h 2143138"/>
              <a:gd name="connsiteX31" fmla="*/ 2137975 w 2143140"/>
              <a:gd name="connsiteY31" fmla="*/ 966534 h 2143138"/>
              <a:gd name="connsiteX32" fmla="*/ 2143140 w 2143140"/>
              <a:gd name="connsiteY32" fmla="*/ 1071569 h 2143138"/>
              <a:gd name="connsiteX33" fmla="*/ 2137975 w 2143140"/>
              <a:gd name="connsiteY33" fmla="*/ 1176604 h 2143138"/>
              <a:gd name="connsiteX34" fmla="*/ 2122555 w 2143140"/>
              <a:gd name="connsiteY34" fmla="*/ 1280621 h 2143138"/>
              <a:gd name="connsiteX35" fmla="*/ 2096998 w 2143140"/>
              <a:gd name="connsiteY35" fmla="*/ 1382624 h 2143138"/>
              <a:gd name="connsiteX36" fmla="*/ 2061572 w 2143140"/>
              <a:gd name="connsiteY36" fmla="*/ 1481637 h 2143138"/>
              <a:gd name="connsiteX37" fmla="*/ 2016609 w 2143140"/>
              <a:gd name="connsiteY37" fmla="*/ 1576707 h 2143138"/>
              <a:gd name="connsiteX38" fmla="*/ 1962548 w 2143140"/>
              <a:gd name="connsiteY38" fmla="*/ 1666901 h 2143138"/>
              <a:gd name="connsiteX39" fmla="*/ 1899904 w 2143140"/>
              <a:gd name="connsiteY39" fmla="*/ 1751362 h 2143138"/>
              <a:gd name="connsiteX40" fmla="*/ 1829284 w 2143140"/>
              <a:gd name="connsiteY40" fmla="*/ 1829283 h 2143138"/>
              <a:gd name="connsiteX41" fmla="*/ 1751363 w 2143140"/>
              <a:gd name="connsiteY41" fmla="*/ 1899903 h 2143138"/>
              <a:gd name="connsiteX42" fmla="*/ 1666902 w 2143140"/>
              <a:gd name="connsiteY42" fmla="*/ 1962547 h 2143138"/>
              <a:gd name="connsiteX43" fmla="*/ 1576708 w 2143140"/>
              <a:gd name="connsiteY43" fmla="*/ 2016607 h 2143138"/>
              <a:gd name="connsiteX44" fmla="*/ 1481638 w 2143140"/>
              <a:gd name="connsiteY44" fmla="*/ 2061570 h 2143138"/>
              <a:gd name="connsiteX45" fmla="*/ 1382625 w 2143140"/>
              <a:gd name="connsiteY45" fmla="*/ 2096996 h 2143138"/>
              <a:gd name="connsiteX46" fmla="*/ 1280623 w 2143140"/>
              <a:gd name="connsiteY46" fmla="*/ 2122553 h 2143138"/>
              <a:gd name="connsiteX47" fmla="*/ 1176605 w 2143140"/>
              <a:gd name="connsiteY47" fmla="*/ 2137973 h 2143138"/>
              <a:gd name="connsiteX48" fmla="*/ 1071570 w 2143140"/>
              <a:gd name="connsiteY48" fmla="*/ 2143138 h 2143138"/>
              <a:gd name="connsiteX49" fmla="*/ 966535 w 2143140"/>
              <a:gd name="connsiteY49" fmla="*/ 2137973 h 2143138"/>
              <a:gd name="connsiteX50" fmla="*/ 862517 w 2143140"/>
              <a:gd name="connsiteY50" fmla="*/ 2122553 h 2143138"/>
              <a:gd name="connsiteX51" fmla="*/ 760515 w 2143140"/>
              <a:gd name="connsiteY51" fmla="*/ 2096996 h 2143138"/>
              <a:gd name="connsiteX52" fmla="*/ 661502 w 2143140"/>
              <a:gd name="connsiteY52" fmla="*/ 2061570 h 2143138"/>
              <a:gd name="connsiteX53" fmla="*/ 566432 w 2143140"/>
              <a:gd name="connsiteY53" fmla="*/ 2016607 h 2143138"/>
              <a:gd name="connsiteX54" fmla="*/ 476238 w 2143140"/>
              <a:gd name="connsiteY54" fmla="*/ 1962547 h 2143138"/>
              <a:gd name="connsiteX55" fmla="*/ 391777 w 2143140"/>
              <a:gd name="connsiteY55" fmla="*/ 1899903 h 2143138"/>
              <a:gd name="connsiteX56" fmla="*/ 313856 w 2143140"/>
              <a:gd name="connsiteY56" fmla="*/ 1829283 h 2143138"/>
              <a:gd name="connsiteX57" fmla="*/ 243236 w 2143140"/>
              <a:gd name="connsiteY57" fmla="*/ 1751362 h 2143138"/>
              <a:gd name="connsiteX58" fmla="*/ 180592 w 2143140"/>
              <a:gd name="connsiteY58" fmla="*/ 1666901 h 2143138"/>
              <a:gd name="connsiteX59" fmla="*/ 126531 w 2143140"/>
              <a:gd name="connsiteY59" fmla="*/ 1576707 h 2143138"/>
              <a:gd name="connsiteX60" fmla="*/ 81568 w 2143140"/>
              <a:gd name="connsiteY60" fmla="*/ 1481637 h 2143138"/>
              <a:gd name="connsiteX61" fmla="*/ 46142 w 2143140"/>
              <a:gd name="connsiteY61" fmla="*/ 1382624 h 2143138"/>
              <a:gd name="connsiteX62" fmla="*/ 20585 w 2143140"/>
              <a:gd name="connsiteY62" fmla="*/ 1280621 h 2143138"/>
              <a:gd name="connsiteX63" fmla="*/ 5165 w 2143140"/>
              <a:gd name="connsiteY63" fmla="*/ 1176604 h 2143138"/>
              <a:gd name="connsiteX64" fmla="*/ 0 w 2143140"/>
              <a:gd name="connsiteY64" fmla="*/ 1071569 h 214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143140" h="2143138">
                <a:moveTo>
                  <a:pt x="0" y="1071569"/>
                </a:moveTo>
                <a:lnTo>
                  <a:pt x="5165" y="966534"/>
                </a:lnTo>
                <a:lnTo>
                  <a:pt x="20585" y="862517"/>
                </a:lnTo>
                <a:lnTo>
                  <a:pt x="46142" y="760514"/>
                </a:lnTo>
                <a:lnTo>
                  <a:pt x="81568" y="661501"/>
                </a:lnTo>
                <a:lnTo>
                  <a:pt x="126531" y="566431"/>
                </a:lnTo>
                <a:lnTo>
                  <a:pt x="180592" y="476237"/>
                </a:lnTo>
                <a:lnTo>
                  <a:pt x="243236" y="391776"/>
                </a:lnTo>
                <a:lnTo>
                  <a:pt x="313856" y="313855"/>
                </a:lnTo>
                <a:lnTo>
                  <a:pt x="391777" y="243235"/>
                </a:lnTo>
                <a:lnTo>
                  <a:pt x="476238" y="180591"/>
                </a:lnTo>
                <a:lnTo>
                  <a:pt x="566432" y="126531"/>
                </a:lnTo>
                <a:lnTo>
                  <a:pt x="661502" y="81568"/>
                </a:lnTo>
                <a:lnTo>
                  <a:pt x="760515" y="46142"/>
                </a:lnTo>
                <a:lnTo>
                  <a:pt x="862517" y="20585"/>
                </a:lnTo>
                <a:lnTo>
                  <a:pt x="966535" y="5165"/>
                </a:lnTo>
                <a:lnTo>
                  <a:pt x="1071570" y="0"/>
                </a:lnTo>
                <a:lnTo>
                  <a:pt x="1176605" y="5165"/>
                </a:lnTo>
                <a:lnTo>
                  <a:pt x="1280623" y="20585"/>
                </a:lnTo>
                <a:lnTo>
                  <a:pt x="1382625" y="46142"/>
                </a:lnTo>
                <a:lnTo>
                  <a:pt x="1481638" y="81568"/>
                </a:lnTo>
                <a:lnTo>
                  <a:pt x="1576708" y="126531"/>
                </a:lnTo>
                <a:lnTo>
                  <a:pt x="1666902" y="180591"/>
                </a:lnTo>
                <a:lnTo>
                  <a:pt x="1751363" y="243235"/>
                </a:lnTo>
                <a:lnTo>
                  <a:pt x="1829284" y="313855"/>
                </a:lnTo>
                <a:lnTo>
                  <a:pt x="1899904" y="391776"/>
                </a:lnTo>
                <a:lnTo>
                  <a:pt x="1962548" y="476237"/>
                </a:lnTo>
                <a:lnTo>
                  <a:pt x="2016609" y="566431"/>
                </a:lnTo>
                <a:lnTo>
                  <a:pt x="2061572" y="661501"/>
                </a:lnTo>
                <a:lnTo>
                  <a:pt x="2096998" y="760514"/>
                </a:lnTo>
                <a:lnTo>
                  <a:pt x="2122555" y="862517"/>
                </a:lnTo>
                <a:lnTo>
                  <a:pt x="2137975" y="966534"/>
                </a:lnTo>
                <a:lnTo>
                  <a:pt x="2143140" y="1071569"/>
                </a:lnTo>
                <a:lnTo>
                  <a:pt x="2137975" y="1176604"/>
                </a:lnTo>
                <a:lnTo>
                  <a:pt x="2122555" y="1280621"/>
                </a:lnTo>
                <a:lnTo>
                  <a:pt x="2096998" y="1382624"/>
                </a:lnTo>
                <a:lnTo>
                  <a:pt x="2061572" y="1481637"/>
                </a:lnTo>
                <a:lnTo>
                  <a:pt x="2016609" y="1576707"/>
                </a:lnTo>
                <a:lnTo>
                  <a:pt x="1962548" y="1666901"/>
                </a:lnTo>
                <a:lnTo>
                  <a:pt x="1899904" y="1751362"/>
                </a:lnTo>
                <a:lnTo>
                  <a:pt x="1829284" y="1829283"/>
                </a:lnTo>
                <a:lnTo>
                  <a:pt x="1751363" y="1899903"/>
                </a:lnTo>
                <a:lnTo>
                  <a:pt x="1666902" y="1962547"/>
                </a:lnTo>
                <a:lnTo>
                  <a:pt x="1576708" y="2016607"/>
                </a:lnTo>
                <a:lnTo>
                  <a:pt x="1481638" y="2061570"/>
                </a:lnTo>
                <a:lnTo>
                  <a:pt x="1382625" y="2096996"/>
                </a:lnTo>
                <a:lnTo>
                  <a:pt x="1280623" y="2122553"/>
                </a:lnTo>
                <a:lnTo>
                  <a:pt x="1176605" y="2137973"/>
                </a:lnTo>
                <a:lnTo>
                  <a:pt x="1071570" y="2143138"/>
                </a:lnTo>
                <a:lnTo>
                  <a:pt x="966535" y="2137973"/>
                </a:lnTo>
                <a:lnTo>
                  <a:pt x="862517" y="2122553"/>
                </a:lnTo>
                <a:lnTo>
                  <a:pt x="760515" y="2096996"/>
                </a:lnTo>
                <a:lnTo>
                  <a:pt x="661502" y="2061570"/>
                </a:lnTo>
                <a:lnTo>
                  <a:pt x="566432" y="2016607"/>
                </a:lnTo>
                <a:lnTo>
                  <a:pt x="476238" y="1962547"/>
                </a:lnTo>
                <a:lnTo>
                  <a:pt x="391777" y="1899903"/>
                </a:lnTo>
                <a:lnTo>
                  <a:pt x="313856" y="1829283"/>
                </a:lnTo>
                <a:lnTo>
                  <a:pt x="243236" y="1751362"/>
                </a:lnTo>
                <a:lnTo>
                  <a:pt x="180592" y="1666901"/>
                </a:lnTo>
                <a:lnTo>
                  <a:pt x="126531" y="1576707"/>
                </a:lnTo>
                <a:lnTo>
                  <a:pt x="81568" y="1481637"/>
                </a:lnTo>
                <a:lnTo>
                  <a:pt x="46142" y="1382624"/>
                </a:lnTo>
                <a:lnTo>
                  <a:pt x="20585" y="1280621"/>
                </a:lnTo>
                <a:lnTo>
                  <a:pt x="5165" y="1176604"/>
                </a:lnTo>
                <a:lnTo>
                  <a:pt x="0" y="107156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latin typeface="+mj-lt"/>
            </a:endParaRPr>
          </a:p>
        </p:txBody>
      </p:sp>
      <p:sp>
        <p:nvSpPr>
          <p:cNvPr id="29" name="Rectangle 7"/>
          <p:cNvSpPr/>
          <p:nvPr/>
        </p:nvSpPr>
        <p:spPr>
          <a:xfrm>
            <a:off x="1437179" y="1921607"/>
            <a:ext cx="1139032" cy="2042320"/>
          </a:xfrm>
          <a:custGeom>
            <a:avLst/>
            <a:gdLst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2014537 h 2014537"/>
              <a:gd name="connsiteX4" fmla="*/ 0 w 3243262"/>
              <a:gd name="connsiteY4" fmla="*/ 0 h 2014537"/>
              <a:gd name="connsiteX0" fmla="*/ 0 w 3243262"/>
              <a:gd name="connsiteY0" fmla="*/ 0 h 2014537"/>
              <a:gd name="connsiteX1" fmla="*/ 3243262 w 3243262"/>
              <a:gd name="connsiteY1" fmla="*/ 0 h 2014537"/>
              <a:gd name="connsiteX2" fmla="*/ 3243262 w 3243262"/>
              <a:gd name="connsiteY2" fmla="*/ 2014537 h 2014537"/>
              <a:gd name="connsiteX3" fmla="*/ 0 w 3243262"/>
              <a:gd name="connsiteY3" fmla="*/ 0 h 201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3262" h="2014537">
                <a:moveTo>
                  <a:pt x="0" y="0"/>
                </a:moveTo>
                <a:lnTo>
                  <a:pt x="3243262" y="0"/>
                </a:lnTo>
                <a:lnTo>
                  <a:pt x="3243262" y="201453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Freeform 23">
            <a:extLst>
              <a:ext uri="{FF2B5EF4-FFF2-40B4-BE49-F238E27FC236}">
                <a16:creationId xmlns:a16="http://schemas.microsoft.com/office/drawing/2014/main" id="{E980CDDC-BB07-4579-A06A-64AB7F5EA1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84103" y="2378437"/>
            <a:ext cx="164874" cy="166592"/>
          </a:xfrm>
          <a:custGeom>
            <a:avLst/>
            <a:gdLst>
              <a:gd name="T0" fmla="*/ 145 w 145"/>
              <a:gd name="T1" fmla="*/ 84 h 146"/>
              <a:gd name="T2" fmla="*/ 142 w 145"/>
              <a:gd name="T3" fmla="*/ 87 h 146"/>
              <a:gd name="T4" fmla="*/ 121 w 145"/>
              <a:gd name="T5" fmla="*/ 98 h 146"/>
              <a:gd name="T6" fmla="*/ 132 w 145"/>
              <a:gd name="T7" fmla="*/ 114 h 146"/>
              <a:gd name="T8" fmla="*/ 122 w 145"/>
              <a:gd name="T9" fmla="*/ 126 h 146"/>
              <a:gd name="T10" fmla="*/ 110 w 145"/>
              <a:gd name="T11" fmla="*/ 132 h 146"/>
              <a:gd name="T12" fmla="*/ 89 w 145"/>
              <a:gd name="T13" fmla="*/ 125 h 146"/>
              <a:gd name="T14" fmla="*/ 83 w 145"/>
              <a:gd name="T15" fmla="*/ 146 h 146"/>
              <a:gd name="T16" fmla="*/ 59 w 145"/>
              <a:gd name="T17" fmla="*/ 145 h 146"/>
              <a:gd name="T18" fmla="*/ 56 w 145"/>
              <a:gd name="T19" fmla="*/ 125 h 146"/>
              <a:gd name="T20" fmla="*/ 34 w 145"/>
              <a:gd name="T21" fmla="*/ 132 h 146"/>
              <a:gd name="T22" fmla="*/ 29 w 145"/>
              <a:gd name="T23" fmla="*/ 132 h 146"/>
              <a:gd name="T24" fmla="*/ 13 w 145"/>
              <a:gd name="T25" fmla="*/ 114 h 146"/>
              <a:gd name="T26" fmla="*/ 18 w 145"/>
              <a:gd name="T27" fmla="*/ 105 h 146"/>
              <a:gd name="T28" fmla="*/ 20 w 145"/>
              <a:gd name="T29" fmla="*/ 89 h 146"/>
              <a:gd name="T30" fmla="*/ 0 w 145"/>
              <a:gd name="T31" fmla="*/ 85 h 146"/>
              <a:gd name="T32" fmla="*/ 0 w 145"/>
              <a:gd name="T33" fmla="*/ 62 h 146"/>
              <a:gd name="T34" fmla="*/ 2 w 145"/>
              <a:gd name="T35" fmla="*/ 59 h 146"/>
              <a:gd name="T36" fmla="*/ 23 w 145"/>
              <a:gd name="T37" fmla="*/ 48 h 146"/>
              <a:gd name="T38" fmla="*/ 12 w 145"/>
              <a:gd name="T39" fmla="*/ 32 h 146"/>
              <a:gd name="T40" fmla="*/ 22 w 145"/>
              <a:gd name="T41" fmla="*/ 20 h 146"/>
              <a:gd name="T42" fmla="*/ 34 w 145"/>
              <a:gd name="T43" fmla="*/ 14 h 146"/>
              <a:gd name="T44" fmla="*/ 55 w 145"/>
              <a:gd name="T45" fmla="*/ 21 h 146"/>
              <a:gd name="T46" fmla="*/ 62 w 145"/>
              <a:gd name="T47" fmla="*/ 0 h 146"/>
              <a:gd name="T48" fmla="*/ 85 w 145"/>
              <a:gd name="T49" fmla="*/ 1 h 146"/>
              <a:gd name="T50" fmla="*/ 89 w 145"/>
              <a:gd name="T51" fmla="*/ 21 h 146"/>
              <a:gd name="T52" fmla="*/ 111 w 145"/>
              <a:gd name="T53" fmla="*/ 14 h 146"/>
              <a:gd name="T54" fmla="*/ 115 w 145"/>
              <a:gd name="T55" fmla="*/ 14 h 146"/>
              <a:gd name="T56" fmla="*/ 132 w 145"/>
              <a:gd name="T57" fmla="*/ 32 h 146"/>
              <a:gd name="T58" fmla="*/ 126 w 145"/>
              <a:gd name="T59" fmla="*/ 41 h 146"/>
              <a:gd name="T60" fmla="*/ 125 w 145"/>
              <a:gd name="T61" fmla="*/ 57 h 146"/>
              <a:gd name="T62" fmla="*/ 144 w 145"/>
              <a:gd name="T63" fmla="*/ 60 h 146"/>
              <a:gd name="T64" fmla="*/ 89 w 145"/>
              <a:gd name="T65" fmla="*/ 90 h 146"/>
              <a:gd name="T66" fmla="*/ 89 w 145"/>
              <a:gd name="T67" fmla="*/ 56 h 146"/>
              <a:gd name="T68" fmla="*/ 55 w 145"/>
              <a:gd name="T69" fmla="*/ 56 h 146"/>
              <a:gd name="T70" fmla="*/ 55 w 145"/>
              <a:gd name="T71" fmla="*/ 90 h 146"/>
              <a:gd name="T72" fmla="*/ 89 w 145"/>
              <a:gd name="T73" fmla="*/ 90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146">
                <a:moveTo>
                  <a:pt x="145" y="63"/>
                </a:moveTo>
                <a:cubicBezTo>
                  <a:pt x="145" y="84"/>
                  <a:pt x="145" y="84"/>
                  <a:pt x="145" y="84"/>
                </a:cubicBezTo>
                <a:cubicBezTo>
                  <a:pt x="145" y="84"/>
                  <a:pt x="144" y="85"/>
                  <a:pt x="144" y="86"/>
                </a:cubicBezTo>
                <a:cubicBezTo>
                  <a:pt x="144" y="87"/>
                  <a:pt x="143" y="87"/>
                  <a:pt x="142" y="87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3" y="93"/>
                  <a:pt x="122" y="96"/>
                  <a:pt x="121" y="98"/>
                </a:cubicBezTo>
                <a:cubicBezTo>
                  <a:pt x="123" y="101"/>
                  <a:pt x="127" y="106"/>
                  <a:pt x="131" y="111"/>
                </a:cubicBezTo>
                <a:cubicBezTo>
                  <a:pt x="132" y="112"/>
                  <a:pt x="132" y="113"/>
                  <a:pt x="132" y="114"/>
                </a:cubicBezTo>
                <a:cubicBezTo>
                  <a:pt x="132" y="115"/>
                  <a:pt x="132" y="115"/>
                  <a:pt x="131" y="116"/>
                </a:cubicBezTo>
                <a:cubicBezTo>
                  <a:pt x="129" y="118"/>
                  <a:pt x="126" y="122"/>
                  <a:pt x="122" y="126"/>
                </a:cubicBezTo>
                <a:cubicBezTo>
                  <a:pt x="117" y="131"/>
                  <a:pt x="114" y="133"/>
                  <a:pt x="113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5" y="123"/>
                  <a:pt x="92" y="124"/>
                  <a:pt x="89" y="125"/>
                </a:cubicBezTo>
                <a:cubicBezTo>
                  <a:pt x="88" y="134"/>
                  <a:pt x="87" y="140"/>
                  <a:pt x="86" y="143"/>
                </a:cubicBezTo>
                <a:cubicBezTo>
                  <a:pt x="86" y="145"/>
                  <a:pt x="84" y="146"/>
                  <a:pt x="83" y="146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6"/>
                  <a:pt x="60" y="145"/>
                  <a:pt x="59" y="145"/>
                </a:cubicBezTo>
                <a:cubicBezTo>
                  <a:pt x="59" y="144"/>
                  <a:pt x="58" y="144"/>
                  <a:pt x="58" y="143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2" y="124"/>
                  <a:pt x="50" y="123"/>
                  <a:pt x="47" y="122"/>
                </a:cubicBezTo>
                <a:cubicBezTo>
                  <a:pt x="34" y="132"/>
                  <a:pt x="34" y="132"/>
                  <a:pt x="34" y="132"/>
                </a:cubicBezTo>
                <a:cubicBezTo>
                  <a:pt x="33" y="133"/>
                  <a:pt x="32" y="133"/>
                  <a:pt x="31" y="133"/>
                </a:cubicBezTo>
                <a:cubicBezTo>
                  <a:pt x="31" y="133"/>
                  <a:pt x="30" y="132"/>
                  <a:pt x="29" y="132"/>
                </a:cubicBezTo>
                <a:cubicBezTo>
                  <a:pt x="21" y="125"/>
                  <a:pt x="16" y="119"/>
                  <a:pt x="13" y="116"/>
                </a:cubicBezTo>
                <a:cubicBezTo>
                  <a:pt x="13" y="115"/>
                  <a:pt x="13" y="115"/>
                  <a:pt x="13" y="114"/>
                </a:cubicBezTo>
                <a:cubicBezTo>
                  <a:pt x="13" y="113"/>
                  <a:pt x="13" y="112"/>
                  <a:pt x="14" y="112"/>
                </a:cubicBezTo>
                <a:cubicBezTo>
                  <a:pt x="14" y="110"/>
                  <a:pt x="16" y="108"/>
                  <a:pt x="18" y="105"/>
                </a:cubicBezTo>
                <a:cubicBezTo>
                  <a:pt x="21" y="102"/>
                  <a:pt x="22" y="100"/>
                  <a:pt x="23" y="99"/>
                </a:cubicBezTo>
                <a:cubicBezTo>
                  <a:pt x="22" y="95"/>
                  <a:pt x="20" y="92"/>
                  <a:pt x="20" y="89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7"/>
                  <a:pt x="1" y="86"/>
                  <a:pt x="0" y="85"/>
                </a:cubicBezTo>
                <a:cubicBezTo>
                  <a:pt x="0" y="85"/>
                  <a:pt x="0" y="84"/>
                  <a:pt x="0" y="83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1"/>
                  <a:pt x="0" y="60"/>
                </a:cubicBezTo>
                <a:cubicBezTo>
                  <a:pt x="1" y="59"/>
                  <a:pt x="1" y="59"/>
                  <a:pt x="2" y="59"/>
                </a:cubicBezTo>
                <a:cubicBezTo>
                  <a:pt x="20" y="56"/>
                  <a:pt x="20" y="56"/>
                  <a:pt x="20" y="56"/>
                </a:cubicBezTo>
                <a:cubicBezTo>
                  <a:pt x="21" y="53"/>
                  <a:pt x="22" y="50"/>
                  <a:pt x="23" y="48"/>
                </a:cubicBezTo>
                <a:cubicBezTo>
                  <a:pt x="21" y="44"/>
                  <a:pt x="17" y="40"/>
                  <a:pt x="13" y="34"/>
                </a:cubicBezTo>
                <a:cubicBezTo>
                  <a:pt x="13" y="34"/>
                  <a:pt x="12" y="33"/>
                  <a:pt x="12" y="32"/>
                </a:cubicBezTo>
                <a:cubicBezTo>
                  <a:pt x="12" y="32"/>
                  <a:pt x="13" y="31"/>
                  <a:pt x="13" y="30"/>
                </a:cubicBezTo>
                <a:cubicBezTo>
                  <a:pt x="15" y="28"/>
                  <a:pt x="18" y="24"/>
                  <a:pt x="22" y="20"/>
                </a:cubicBezTo>
                <a:cubicBezTo>
                  <a:pt x="27" y="15"/>
                  <a:pt x="30" y="13"/>
                  <a:pt x="31" y="13"/>
                </a:cubicBezTo>
                <a:cubicBezTo>
                  <a:pt x="32" y="13"/>
                  <a:pt x="33" y="13"/>
                  <a:pt x="34" y="14"/>
                </a:cubicBezTo>
                <a:cubicBezTo>
                  <a:pt x="47" y="24"/>
                  <a:pt x="47" y="24"/>
                  <a:pt x="47" y="24"/>
                </a:cubicBezTo>
                <a:cubicBezTo>
                  <a:pt x="50" y="23"/>
                  <a:pt x="53" y="22"/>
                  <a:pt x="55" y="21"/>
                </a:cubicBezTo>
                <a:cubicBezTo>
                  <a:pt x="57" y="12"/>
                  <a:pt x="57" y="6"/>
                  <a:pt x="58" y="3"/>
                </a:cubicBezTo>
                <a:cubicBezTo>
                  <a:pt x="59" y="1"/>
                  <a:pt x="60" y="0"/>
                  <a:pt x="62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0"/>
                  <a:pt x="84" y="1"/>
                  <a:pt x="85" y="1"/>
                </a:cubicBezTo>
                <a:cubicBezTo>
                  <a:pt x="86" y="2"/>
                  <a:pt x="86" y="2"/>
                  <a:pt x="86" y="3"/>
                </a:cubicBezTo>
                <a:cubicBezTo>
                  <a:pt x="89" y="21"/>
                  <a:pt x="89" y="21"/>
                  <a:pt x="89" y="21"/>
                </a:cubicBezTo>
                <a:cubicBezTo>
                  <a:pt x="92" y="22"/>
                  <a:pt x="95" y="23"/>
                  <a:pt x="97" y="24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2" y="13"/>
                  <a:pt x="113" y="13"/>
                </a:cubicBezTo>
                <a:cubicBezTo>
                  <a:pt x="114" y="13"/>
                  <a:pt x="114" y="13"/>
                  <a:pt x="115" y="14"/>
                </a:cubicBezTo>
                <a:cubicBezTo>
                  <a:pt x="123" y="22"/>
                  <a:pt x="129" y="27"/>
                  <a:pt x="131" y="30"/>
                </a:cubicBezTo>
                <a:cubicBezTo>
                  <a:pt x="131" y="31"/>
                  <a:pt x="132" y="31"/>
                  <a:pt x="132" y="32"/>
                </a:cubicBezTo>
                <a:cubicBezTo>
                  <a:pt x="132" y="33"/>
                  <a:pt x="131" y="34"/>
                  <a:pt x="131" y="34"/>
                </a:cubicBezTo>
                <a:cubicBezTo>
                  <a:pt x="130" y="36"/>
                  <a:pt x="128" y="38"/>
                  <a:pt x="126" y="41"/>
                </a:cubicBezTo>
                <a:cubicBezTo>
                  <a:pt x="124" y="44"/>
                  <a:pt x="122" y="46"/>
                  <a:pt x="121" y="47"/>
                </a:cubicBezTo>
                <a:cubicBezTo>
                  <a:pt x="122" y="50"/>
                  <a:pt x="124" y="54"/>
                  <a:pt x="125" y="57"/>
                </a:cubicBezTo>
                <a:cubicBezTo>
                  <a:pt x="142" y="59"/>
                  <a:pt x="142" y="59"/>
                  <a:pt x="142" y="59"/>
                </a:cubicBezTo>
                <a:cubicBezTo>
                  <a:pt x="143" y="59"/>
                  <a:pt x="144" y="60"/>
                  <a:pt x="144" y="60"/>
                </a:cubicBezTo>
                <a:cubicBezTo>
                  <a:pt x="144" y="61"/>
                  <a:pt x="145" y="62"/>
                  <a:pt x="145" y="63"/>
                </a:cubicBezTo>
                <a:close/>
                <a:moveTo>
                  <a:pt x="89" y="90"/>
                </a:moveTo>
                <a:cubicBezTo>
                  <a:pt x="94" y="85"/>
                  <a:pt x="96" y="80"/>
                  <a:pt x="96" y="73"/>
                </a:cubicBezTo>
                <a:cubicBezTo>
                  <a:pt x="96" y="66"/>
                  <a:pt x="94" y="61"/>
                  <a:pt x="89" y="56"/>
                </a:cubicBezTo>
                <a:cubicBezTo>
                  <a:pt x="85" y="51"/>
                  <a:pt x="79" y="49"/>
                  <a:pt x="72" y="49"/>
                </a:cubicBezTo>
                <a:cubicBezTo>
                  <a:pt x="65" y="49"/>
                  <a:pt x="60" y="51"/>
                  <a:pt x="55" y="56"/>
                </a:cubicBezTo>
                <a:cubicBezTo>
                  <a:pt x="50" y="61"/>
                  <a:pt x="48" y="66"/>
                  <a:pt x="48" y="73"/>
                </a:cubicBezTo>
                <a:cubicBezTo>
                  <a:pt x="48" y="80"/>
                  <a:pt x="50" y="85"/>
                  <a:pt x="55" y="90"/>
                </a:cubicBezTo>
                <a:cubicBezTo>
                  <a:pt x="60" y="95"/>
                  <a:pt x="65" y="97"/>
                  <a:pt x="72" y="97"/>
                </a:cubicBezTo>
                <a:cubicBezTo>
                  <a:pt x="79" y="97"/>
                  <a:pt x="85" y="95"/>
                  <a:pt x="89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120">
            <a:extLst>
              <a:ext uri="{FF2B5EF4-FFF2-40B4-BE49-F238E27FC236}">
                <a16:creationId xmlns:a16="http://schemas.microsoft.com/office/drawing/2014/main" id="{88B0F59E-4EA1-49BA-865A-231AF5ED71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83586" y="1651705"/>
            <a:ext cx="178614" cy="152852"/>
          </a:xfrm>
          <a:custGeom>
            <a:avLst/>
            <a:gdLst>
              <a:gd name="T0" fmla="*/ 157 w 157"/>
              <a:gd name="T1" fmla="*/ 19 h 134"/>
              <a:gd name="T2" fmla="*/ 157 w 157"/>
              <a:gd name="T3" fmla="*/ 67 h 134"/>
              <a:gd name="T4" fmla="*/ 156 w 157"/>
              <a:gd name="T5" fmla="*/ 71 h 134"/>
              <a:gd name="T6" fmla="*/ 152 w 157"/>
              <a:gd name="T7" fmla="*/ 73 h 134"/>
              <a:gd name="T8" fmla="*/ 53 w 157"/>
              <a:gd name="T9" fmla="*/ 85 h 134"/>
              <a:gd name="T10" fmla="*/ 54 w 157"/>
              <a:gd name="T11" fmla="*/ 87 h 134"/>
              <a:gd name="T12" fmla="*/ 54 w 157"/>
              <a:gd name="T13" fmla="*/ 89 h 134"/>
              <a:gd name="T14" fmla="*/ 54 w 157"/>
              <a:gd name="T15" fmla="*/ 91 h 134"/>
              <a:gd name="T16" fmla="*/ 52 w 157"/>
              <a:gd name="T17" fmla="*/ 97 h 134"/>
              <a:gd name="T18" fmla="*/ 139 w 157"/>
              <a:gd name="T19" fmla="*/ 97 h 134"/>
              <a:gd name="T20" fmla="*/ 143 w 157"/>
              <a:gd name="T21" fmla="*/ 99 h 134"/>
              <a:gd name="T22" fmla="*/ 145 w 157"/>
              <a:gd name="T23" fmla="*/ 103 h 134"/>
              <a:gd name="T24" fmla="*/ 143 w 157"/>
              <a:gd name="T25" fmla="*/ 108 h 134"/>
              <a:gd name="T26" fmla="*/ 139 w 157"/>
              <a:gd name="T27" fmla="*/ 109 h 134"/>
              <a:gd name="T28" fmla="*/ 42 w 157"/>
              <a:gd name="T29" fmla="*/ 109 h 134"/>
              <a:gd name="T30" fmla="*/ 38 w 157"/>
              <a:gd name="T31" fmla="*/ 108 h 134"/>
              <a:gd name="T32" fmla="*/ 36 w 157"/>
              <a:gd name="T33" fmla="*/ 103 h 134"/>
              <a:gd name="T34" fmla="*/ 37 w 157"/>
              <a:gd name="T35" fmla="*/ 100 h 134"/>
              <a:gd name="T36" fmla="*/ 40 w 157"/>
              <a:gd name="T37" fmla="*/ 94 h 134"/>
              <a:gd name="T38" fmla="*/ 42 w 157"/>
              <a:gd name="T39" fmla="*/ 90 h 134"/>
              <a:gd name="T40" fmla="*/ 25 w 157"/>
              <a:gd name="T41" fmla="*/ 13 h 134"/>
              <a:gd name="T42" fmla="*/ 6 w 157"/>
              <a:gd name="T43" fmla="*/ 13 h 134"/>
              <a:gd name="T44" fmla="*/ 2 w 157"/>
              <a:gd name="T45" fmla="*/ 11 h 134"/>
              <a:gd name="T46" fmla="*/ 0 w 157"/>
              <a:gd name="T47" fmla="*/ 6 h 134"/>
              <a:gd name="T48" fmla="*/ 2 w 157"/>
              <a:gd name="T49" fmla="*/ 2 h 134"/>
              <a:gd name="T50" fmla="*/ 6 w 157"/>
              <a:gd name="T51" fmla="*/ 0 h 134"/>
              <a:gd name="T52" fmla="*/ 30 w 157"/>
              <a:gd name="T53" fmla="*/ 0 h 134"/>
              <a:gd name="T54" fmla="*/ 33 w 157"/>
              <a:gd name="T55" fmla="*/ 1 h 134"/>
              <a:gd name="T56" fmla="*/ 35 w 157"/>
              <a:gd name="T57" fmla="*/ 3 h 134"/>
              <a:gd name="T58" fmla="*/ 36 w 157"/>
              <a:gd name="T59" fmla="*/ 5 h 134"/>
              <a:gd name="T60" fmla="*/ 37 w 157"/>
              <a:gd name="T61" fmla="*/ 7 h 134"/>
              <a:gd name="T62" fmla="*/ 37 w 157"/>
              <a:gd name="T63" fmla="*/ 10 h 134"/>
              <a:gd name="T64" fmla="*/ 38 w 157"/>
              <a:gd name="T65" fmla="*/ 13 h 134"/>
              <a:gd name="T66" fmla="*/ 151 w 157"/>
              <a:gd name="T67" fmla="*/ 13 h 134"/>
              <a:gd name="T68" fmla="*/ 155 w 157"/>
              <a:gd name="T69" fmla="*/ 14 h 134"/>
              <a:gd name="T70" fmla="*/ 157 w 157"/>
              <a:gd name="T71" fmla="*/ 19 h 134"/>
              <a:gd name="T72" fmla="*/ 57 w 157"/>
              <a:gd name="T73" fmla="*/ 113 h 134"/>
              <a:gd name="T74" fmla="*/ 60 w 157"/>
              <a:gd name="T75" fmla="*/ 121 h 134"/>
              <a:gd name="T76" fmla="*/ 57 w 157"/>
              <a:gd name="T77" fmla="*/ 130 h 134"/>
              <a:gd name="T78" fmla="*/ 48 w 157"/>
              <a:gd name="T79" fmla="*/ 134 h 134"/>
              <a:gd name="T80" fmla="*/ 40 w 157"/>
              <a:gd name="T81" fmla="*/ 130 h 134"/>
              <a:gd name="T82" fmla="*/ 36 w 157"/>
              <a:gd name="T83" fmla="*/ 121 h 134"/>
              <a:gd name="T84" fmla="*/ 40 w 157"/>
              <a:gd name="T85" fmla="*/ 113 h 134"/>
              <a:gd name="T86" fmla="*/ 48 w 157"/>
              <a:gd name="T87" fmla="*/ 109 h 134"/>
              <a:gd name="T88" fmla="*/ 57 w 157"/>
              <a:gd name="T89" fmla="*/ 113 h 134"/>
              <a:gd name="T90" fmla="*/ 142 w 157"/>
              <a:gd name="T91" fmla="*/ 113 h 134"/>
              <a:gd name="T92" fmla="*/ 145 w 157"/>
              <a:gd name="T93" fmla="*/ 121 h 134"/>
              <a:gd name="T94" fmla="*/ 142 w 157"/>
              <a:gd name="T95" fmla="*/ 130 h 134"/>
              <a:gd name="T96" fmla="*/ 133 w 157"/>
              <a:gd name="T97" fmla="*/ 134 h 134"/>
              <a:gd name="T98" fmla="*/ 125 w 157"/>
              <a:gd name="T99" fmla="*/ 130 h 134"/>
              <a:gd name="T100" fmla="*/ 121 w 157"/>
              <a:gd name="T101" fmla="*/ 121 h 134"/>
              <a:gd name="T102" fmla="*/ 125 w 157"/>
              <a:gd name="T103" fmla="*/ 113 h 134"/>
              <a:gd name="T104" fmla="*/ 133 w 157"/>
              <a:gd name="T105" fmla="*/ 109 h 134"/>
              <a:gd name="T106" fmla="*/ 142 w 157"/>
              <a:gd name="T107" fmla="*/ 11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4">
                <a:moveTo>
                  <a:pt x="157" y="19"/>
                </a:moveTo>
                <a:cubicBezTo>
                  <a:pt x="157" y="67"/>
                  <a:pt x="157" y="67"/>
                  <a:pt x="157" y="67"/>
                </a:cubicBezTo>
                <a:cubicBezTo>
                  <a:pt x="157" y="69"/>
                  <a:pt x="157" y="70"/>
                  <a:pt x="156" y="71"/>
                </a:cubicBezTo>
                <a:cubicBezTo>
                  <a:pt x="155" y="72"/>
                  <a:pt x="153" y="73"/>
                  <a:pt x="152" y="73"/>
                </a:cubicBezTo>
                <a:cubicBezTo>
                  <a:pt x="53" y="85"/>
                  <a:pt x="53" y="85"/>
                  <a:pt x="53" y="85"/>
                </a:cubicBezTo>
                <a:cubicBezTo>
                  <a:pt x="53" y="85"/>
                  <a:pt x="53" y="86"/>
                  <a:pt x="54" y="87"/>
                </a:cubicBezTo>
                <a:cubicBezTo>
                  <a:pt x="54" y="88"/>
                  <a:pt x="54" y="88"/>
                  <a:pt x="54" y="89"/>
                </a:cubicBezTo>
                <a:cubicBezTo>
                  <a:pt x="54" y="90"/>
                  <a:pt x="54" y="91"/>
                  <a:pt x="54" y="91"/>
                </a:cubicBezTo>
                <a:cubicBezTo>
                  <a:pt x="54" y="92"/>
                  <a:pt x="54" y="94"/>
                  <a:pt x="52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3" y="99"/>
                </a:cubicBezTo>
                <a:cubicBezTo>
                  <a:pt x="145" y="100"/>
                  <a:pt x="145" y="102"/>
                  <a:pt x="145" y="103"/>
                </a:cubicBezTo>
                <a:cubicBezTo>
                  <a:pt x="145" y="105"/>
                  <a:pt x="145" y="106"/>
                  <a:pt x="143" y="108"/>
                </a:cubicBezTo>
                <a:cubicBezTo>
                  <a:pt x="142" y="109"/>
                  <a:pt x="141" y="109"/>
                  <a:pt x="139" y="109"/>
                </a:cubicBezTo>
                <a:cubicBezTo>
                  <a:pt x="42" y="109"/>
                  <a:pt x="42" y="109"/>
                  <a:pt x="42" y="109"/>
                </a:cubicBezTo>
                <a:cubicBezTo>
                  <a:pt x="41" y="109"/>
                  <a:pt x="39" y="109"/>
                  <a:pt x="38" y="108"/>
                </a:cubicBezTo>
                <a:cubicBezTo>
                  <a:pt x="37" y="106"/>
                  <a:pt x="36" y="105"/>
                  <a:pt x="36" y="103"/>
                </a:cubicBezTo>
                <a:cubicBezTo>
                  <a:pt x="36" y="102"/>
                  <a:pt x="37" y="101"/>
                  <a:pt x="37" y="100"/>
                </a:cubicBezTo>
                <a:cubicBezTo>
                  <a:pt x="38" y="98"/>
                  <a:pt x="39" y="96"/>
                  <a:pt x="40" y="94"/>
                </a:cubicBezTo>
                <a:cubicBezTo>
                  <a:pt x="41" y="92"/>
                  <a:pt x="42" y="91"/>
                  <a:pt x="42" y="90"/>
                </a:cubicBezTo>
                <a:cubicBezTo>
                  <a:pt x="25" y="13"/>
                  <a:pt x="25" y="13"/>
                  <a:pt x="25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4" y="13"/>
                  <a:pt x="3" y="12"/>
                  <a:pt x="2" y="11"/>
                </a:cubicBezTo>
                <a:cubicBezTo>
                  <a:pt x="1" y="10"/>
                  <a:pt x="0" y="8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2" y="1"/>
                  <a:pt x="33" y="1"/>
                </a:cubicBezTo>
                <a:cubicBezTo>
                  <a:pt x="34" y="1"/>
                  <a:pt x="34" y="2"/>
                  <a:pt x="35" y="3"/>
                </a:cubicBezTo>
                <a:cubicBezTo>
                  <a:pt x="35" y="3"/>
                  <a:pt x="36" y="4"/>
                  <a:pt x="36" y="5"/>
                </a:cubicBezTo>
                <a:cubicBezTo>
                  <a:pt x="36" y="6"/>
                  <a:pt x="37" y="7"/>
                  <a:pt x="37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1"/>
                  <a:pt x="38" y="12"/>
                  <a:pt x="38" y="13"/>
                </a:cubicBezTo>
                <a:cubicBezTo>
                  <a:pt x="151" y="13"/>
                  <a:pt x="151" y="13"/>
                  <a:pt x="151" y="13"/>
                </a:cubicBezTo>
                <a:cubicBezTo>
                  <a:pt x="153" y="13"/>
                  <a:pt x="154" y="13"/>
                  <a:pt x="155" y="14"/>
                </a:cubicBezTo>
                <a:cubicBezTo>
                  <a:pt x="157" y="16"/>
                  <a:pt x="157" y="17"/>
                  <a:pt x="157" y="19"/>
                </a:cubicBezTo>
                <a:close/>
                <a:moveTo>
                  <a:pt x="57" y="113"/>
                </a:moveTo>
                <a:cubicBezTo>
                  <a:pt x="59" y="115"/>
                  <a:pt x="60" y="118"/>
                  <a:pt x="60" y="121"/>
                </a:cubicBezTo>
                <a:cubicBezTo>
                  <a:pt x="60" y="125"/>
                  <a:pt x="59" y="128"/>
                  <a:pt x="57" y="130"/>
                </a:cubicBezTo>
                <a:cubicBezTo>
                  <a:pt x="55" y="132"/>
                  <a:pt x="52" y="134"/>
                  <a:pt x="48" y="134"/>
                </a:cubicBezTo>
                <a:cubicBezTo>
                  <a:pt x="45" y="134"/>
                  <a:pt x="42" y="132"/>
                  <a:pt x="40" y="130"/>
                </a:cubicBezTo>
                <a:cubicBezTo>
                  <a:pt x="37" y="128"/>
                  <a:pt x="36" y="125"/>
                  <a:pt x="36" y="121"/>
                </a:cubicBezTo>
                <a:cubicBezTo>
                  <a:pt x="36" y="118"/>
                  <a:pt x="37" y="115"/>
                  <a:pt x="40" y="113"/>
                </a:cubicBezTo>
                <a:cubicBezTo>
                  <a:pt x="42" y="111"/>
                  <a:pt x="45" y="109"/>
                  <a:pt x="48" y="109"/>
                </a:cubicBezTo>
                <a:cubicBezTo>
                  <a:pt x="52" y="109"/>
                  <a:pt x="55" y="111"/>
                  <a:pt x="57" y="113"/>
                </a:cubicBezTo>
                <a:close/>
                <a:moveTo>
                  <a:pt x="142" y="113"/>
                </a:moveTo>
                <a:cubicBezTo>
                  <a:pt x="144" y="115"/>
                  <a:pt x="145" y="118"/>
                  <a:pt x="145" y="121"/>
                </a:cubicBezTo>
                <a:cubicBezTo>
                  <a:pt x="145" y="125"/>
                  <a:pt x="144" y="128"/>
                  <a:pt x="142" y="130"/>
                </a:cubicBezTo>
                <a:cubicBezTo>
                  <a:pt x="139" y="132"/>
                  <a:pt x="136" y="134"/>
                  <a:pt x="133" y="134"/>
                </a:cubicBezTo>
                <a:cubicBezTo>
                  <a:pt x="130" y="134"/>
                  <a:pt x="127" y="132"/>
                  <a:pt x="125" y="130"/>
                </a:cubicBezTo>
                <a:cubicBezTo>
                  <a:pt x="122" y="128"/>
                  <a:pt x="121" y="125"/>
                  <a:pt x="121" y="121"/>
                </a:cubicBezTo>
                <a:cubicBezTo>
                  <a:pt x="121" y="118"/>
                  <a:pt x="122" y="115"/>
                  <a:pt x="125" y="113"/>
                </a:cubicBezTo>
                <a:cubicBezTo>
                  <a:pt x="127" y="111"/>
                  <a:pt x="130" y="109"/>
                  <a:pt x="133" y="109"/>
                </a:cubicBezTo>
                <a:cubicBezTo>
                  <a:pt x="136" y="109"/>
                  <a:pt x="139" y="111"/>
                  <a:pt x="142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Freeform 178">
            <a:extLst>
              <a:ext uri="{FF2B5EF4-FFF2-40B4-BE49-F238E27FC236}">
                <a16:creationId xmlns:a16="http://schemas.microsoft.com/office/drawing/2014/main" id="{63008A77-C464-4178-940D-5EAFFBD289E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47853" y="3125270"/>
            <a:ext cx="176428" cy="176428"/>
          </a:xfrm>
          <a:custGeom>
            <a:avLst/>
            <a:gdLst>
              <a:gd name="T0" fmla="*/ 160 w 170"/>
              <a:gd name="T1" fmla="*/ 37 h 170"/>
              <a:gd name="T2" fmla="*/ 167 w 170"/>
              <a:gd name="T3" fmla="*/ 39 h 170"/>
              <a:gd name="T4" fmla="*/ 170 w 170"/>
              <a:gd name="T5" fmla="*/ 46 h 170"/>
              <a:gd name="T6" fmla="*/ 170 w 170"/>
              <a:gd name="T7" fmla="*/ 161 h 170"/>
              <a:gd name="T8" fmla="*/ 167 w 170"/>
              <a:gd name="T9" fmla="*/ 167 h 170"/>
              <a:gd name="T10" fmla="*/ 160 w 170"/>
              <a:gd name="T11" fmla="*/ 170 h 170"/>
              <a:gd name="T12" fmla="*/ 70 w 170"/>
              <a:gd name="T13" fmla="*/ 170 h 170"/>
              <a:gd name="T14" fmla="*/ 63 w 170"/>
              <a:gd name="T15" fmla="*/ 167 h 170"/>
              <a:gd name="T16" fmla="*/ 61 w 170"/>
              <a:gd name="T17" fmla="*/ 161 h 170"/>
              <a:gd name="T18" fmla="*/ 61 w 170"/>
              <a:gd name="T19" fmla="*/ 133 h 170"/>
              <a:gd name="T20" fmla="*/ 9 w 170"/>
              <a:gd name="T21" fmla="*/ 133 h 170"/>
              <a:gd name="T22" fmla="*/ 3 w 170"/>
              <a:gd name="T23" fmla="*/ 131 h 170"/>
              <a:gd name="T24" fmla="*/ 0 w 170"/>
              <a:gd name="T25" fmla="*/ 124 h 170"/>
              <a:gd name="T26" fmla="*/ 0 w 170"/>
              <a:gd name="T27" fmla="*/ 61 h 170"/>
              <a:gd name="T28" fmla="*/ 2 w 170"/>
              <a:gd name="T29" fmla="*/ 52 h 170"/>
              <a:gd name="T30" fmla="*/ 7 w 170"/>
              <a:gd name="T31" fmla="*/ 45 h 170"/>
              <a:gd name="T32" fmla="*/ 45 w 170"/>
              <a:gd name="T33" fmla="*/ 7 h 170"/>
              <a:gd name="T34" fmla="*/ 52 w 170"/>
              <a:gd name="T35" fmla="*/ 2 h 170"/>
              <a:gd name="T36" fmla="*/ 61 w 170"/>
              <a:gd name="T37" fmla="*/ 0 h 170"/>
              <a:gd name="T38" fmla="*/ 100 w 170"/>
              <a:gd name="T39" fmla="*/ 0 h 170"/>
              <a:gd name="T40" fmla="*/ 106 w 170"/>
              <a:gd name="T41" fmla="*/ 3 h 170"/>
              <a:gd name="T42" fmla="*/ 109 w 170"/>
              <a:gd name="T43" fmla="*/ 9 h 170"/>
              <a:gd name="T44" fmla="*/ 109 w 170"/>
              <a:gd name="T45" fmla="*/ 40 h 170"/>
              <a:gd name="T46" fmla="*/ 121 w 170"/>
              <a:gd name="T47" fmla="*/ 37 h 170"/>
              <a:gd name="T48" fmla="*/ 160 w 170"/>
              <a:gd name="T49" fmla="*/ 37 h 170"/>
              <a:gd name="T50" fmla="*/ 67 w 170"/>
              <a:gd name="T51" fmla="*/ 82 h 170"/>
              <a:gd name="T52" fmla="*/ 97 w 170"/>
              <a:gd name="T53" fmla="*/ 52 h 170"/>
              <a:gd name="T54" fmla="*/ 97 w 170"/>
              <a:gd name="T55" fmla="*/ 12 h 170"/>
              <a:gd name="T56" fmla="*/ 61 w 170"/>
              <a:gd name="T57" fmla="*/ 12 h 170"/>
              <a:gd name="T58" fmla="*/ 61 w 170"/>
              <a:gd name="T59" fmla="*/ 52 h 170"/>
              <a:gd name="T60" fmla="*/ 58 w 170"/>
              <a:gd name="T61" fmla="*/ 58 h 170"/>
              <a:gd name="T62" fmla="*/ 52 w 170"/>
              <a:gd name="T63" fmla="*/ 61 h 170"/>
              <a:gd name="T64" fmla="*/ 12 w 170"/>
              <a:gd name="T65" fmla="*/ 61 h 170"/>
              <a:gd name="T66" fmla="*/ 12 w 170"/>
              <a:gd name="T67" fmla="*/ 121 h 170"/>
              <a:gd name="T68" fmla="*/ 61 w 170"/>
              <a:gd name="T69" fmla="*/ 121 h 170"/>
              <a:gd name="T70" fmla="*/ 61 w 170"/>
              <a:gd name="T71" fmla="*/ 97 h 170"/>
              <a:gd name="T72" fmla="*/ 63 w 170"/>
              <a:gd name="T73" fmla="*/ 89 h 170"/>
              <a:gd name="T74" fmla="*/ 67 w 170"/>
              <a:gd name="T75" fmla="*/ 82 h 170"/>
              <a:gd name="T76" fmla="*/ 49 w 170"/>
              <a:gd name="T77" fmla="*/ 20 h 170"/>
              <a:gd name="T78" fmla="*/ 20 w 170"/>
              <a:gd name="T79" fmla="*/ 49 h 170"/>
              <a:gd name="T80" fmla="*/ 49 w 170"/>
              <a:gd name="T81" fmla="*/ 49 h 170"/>
              <a:gd name="T82" fmla="*/ 49 w 170"/>
              <a:gd name="T83" fmla="*/ 20 h 170"/>
              <a:gd name="T84" fmla="*/ 157 w 170"/>
              <a:gd name="T85" fmla="*/ 158 h 170"/>
              <a:gd name="T86" fmla="*/ 157 w 170"/>
              <a:gd name="T87" fmla="*/ 49 h 170"/>
              <a:gd name="T88" fmla="*/ 121 w 170"/>
              <a:gd name="T89" fmla="*/ 49 h 170"/>
              <a:gd name="T90" fmla="*/ 121 w 170"/>
              <a:gd name="T91" fmla="*/ 88 h 170"/>
              <a:gd name="T92" fmla="*/ 118 w 170"/>
              <a:gd name="T93" fmla="*/ 94 h 170"/>
              <a:gd name="T94" fmla="*/ 112 w 170"/>
              <a:gd name="T95" fmla="*/ 97 h 170"/>
              <a:gd name="T96" fmla="*/ 73 w 170"/>
              <a:gd name="T97" fmla="*/ 97 h 170"/>
              <a:gd name="T98" fmla="*/ 73 w 170"/>
              <a:gd name="T99" fmla="*/ 158 h 170"/>
              <a:gd name="T100" fmla="*/ 157 w 170"/>
              <a:gd name="T101" fmla="*/ 158 h 170"/>
              <a:gd name="T102" fmla="*/ 109 w 170"/>
              <a:gd name="T103" fmla="*/ 57 h 170"/>
              <a:gd name="T104" fmla="*/ 81 w 170"/>
              <a:gd name="T105" fmla="*/ 85 h 170"/>
              <a:gd name="T106" fmla="*/ 109 w 170"/>
              <a:gd name="T107" fmla="*/ 85 h 170"/>
              <a:gd name="T108" fmla="*/ 109 w 170"/>
              <a:gd name="T109" fmla="*/ 57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0" h="170">
                <a:moveTo>
                  <a:pt x="160" y="37"/>
                </a:moveTo>
                <a:cubicBezTo>
                  <a:pt x="163" y="37"/>
                  <a:pt x="165" y="37"/>
                  <a:pt x="167" y="39"/>
                </a:cubicBezTo>
                <a:cubicBezTo>
                  <a:pt x="169" y="41"/>
                  <a:pt x="170" y="43"/>
                  <a:pt x="170" y="46"/>
                </a:cubicBezTo>
                <a:cubicBezTo>
                  <a:pt x="170" y="161"/>
                  <a:pt x="170" y="161"/>
                  <a:pt x="170" y="161"/>
                </a:cubicBezTo>
                <a:cubicBezTo>
                  <a:pt x="170" y="163"/>
                  <a:pt x="169" y="165"/>
                  <a:pt x="167" y="167"/>
                </a:cubicBezTo>
                <a:cubicBezTo>
                  <a:pt x="165" y="169"/>
                  <a:pt x="163" y="170"/>
                  <a:pt x="160" y="170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67" y="170"/>
                  <a:pt x="65" y="169"/>
                  <a:pt x="63" y="167"/>
                </a:cubicBezTo>
                <a:cubicBezTo>
                  <a:pt x="62" y="165"/>
                  <a:pt x="61" y="163"/>
                  <a:pt x="61" y="161"/>
                </a:cubicBezTo>
                <a:cubicBezTo>
                  <a:pt x="61" y="133"/>
                  <a:pt x="61" y="133"/>
                  <a:pt x="61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3"/>
                  <a:pt x="5" y="132"/>
                  <a:pt x="3" y="131"/>
                </a:cubicBezTo>
                <a:cubicBezTo>
                  <a:pt x="1" y="129"/>
                  <a:pt x="0" y="127"/>
                  <a:pt x="0" y="124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58"/>
                  <a:pt x="1" y="55"/>
                  <a:pt x="2" y="52"/>
                </a:cubicBezTo>
                <a:cubicBezTo>
                  <a:pt x="3" y="49"/>
                  <a:pt x="5" y="47"/>
                  <a:pt x="7" y="45"/>
                </a:cubicBezTo>
                <a:cubicBezTo>
                  <a:pt x="45" y="7"/>
                  <a:pt x="45" y="7"/>
                  <a:pt x="45" y="7"/>
                </a:cubicBezTo>
                <a:cubicBezTo>
                  <a:pt x="47" y="5"/>
                  <a:pt x="49" y="3"/>
                  <a:pt x="52" y="2"/>
                </a:cubicBezTo>
                <a:cubicBezTo>
                  <a:pt x="55" y="1"/>
                  <a:pt x="58" y="0"/>
                  <a:pt x="61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102" y="0"/>
                  <a:pt x="105" y="1"/>
                  <a:pt x="106" y="3"/>
                </a:cubicBezTo>
                <a:cubicBezTo>
                  <a:pt x="108" y="5"/>
                  <a:pt x="109" y="7"/>
                  <a:pt x="109" y="9"/>
                </a:cubicBezTo>
                <a:cubicBezTo>
                  <a:pt x="109" y="40"/>
                  <a:pt x="109" y="40"/>
                  <a:pt x="109" y="40"/>
                </a:cubicBezTo>
                <a:cubicBezTo>
                  <a:pt x="113" y="38"/>
                  <a:pt x="117" y="37"/>
                  <a:pt x="121" y="37"/>
                </a:cubicBezTo>
                <a:lnTo>
                  <a:pt x="160" y="37"/>
                </a:lnTo>
                <a:close/>
                <a:moveTo>
                  <a:pt x="67" y="82"/>
                </a:moveTo>
                <a:cubicBezTo>
                  <a:pt x="97" y="52"/>
                  <a:pt x="97" y="52"/>
                  <a:pt x="97" y="52"/>
                </a:cubicBezTo>
                <a:cubicBezTo>
                  <a:pt x="97" y="12"/>
                  <a:pt x="97" y="12"/>
                  <a:pt x="97" y="12"/>
                </a:cubicBezTo>
                <a:cubicBezTo>
                  <a:pt x="61" y="12"/>
                  <a:pt x="61" y="12"/>
                  <a:pt x="61" y="12"/>
                </a:cubicBezTo>
                <a:cubicBezTo>
                  <a:pt x="61" y="52"/>
                  <a:pt x="61" y="52"/>
                  <a:pt x="61" y="52"/>
                </a:cubicBezTo>
                <a:cubicBezTo>
                  <a:pt x="61" y="54"/>
                  <a:pt x="60" y="56"/>
                  <a:pt x="58" y="58"/>
                </a:cubicBezTo>
                <a:cubicBezTo>
                  <a:pt x="56" y="60"/>
                  <a:pt x="54" y="61"/>
                  <a:pt x="52" y="61"/>
                </a:cubicBezTo>
                <a:cubicBezTo>
                  <a:pt x="12" y="61"/>
                  <a:pt x="12" y="61"/>
                  <a:pt x="12" y="6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61" y="121"/>
                  <a:pt x="61" y="121"/>
                  <a:pt x="61" y="121"/>
                </a:cubicBezTo>
                <a:cubicBezTo>
                  <a:pt x="61" y="97"/>
                  <a:pt x="61" y="97"/>
                  <a:pt x="61" y="97"/>
                </a:cubicBezTo>
                <a:cubicBezTo>
                  <a:pt x="61" y="95"/>
                  <a:pt x="61" y="92"/>
                  <a:pt x="63" y="89"/>
                </a:cubicBezTo>
                <a:cubicBezTo>
                  <a:pt x="64" y="86"/>
                  <a:pt x="65" y="83"/>
                  <a:pt x="67" y="82"/>
                </a:cubicBezTo>
                <a:close/>
                <a:moveTo>
                  <a:pt x="49" y="20"/>
                </a:moveTo>
                <a:cubicBezTo>
                  <a:pt x="20" y="49"/>
                  <a:pt x="20" y="49"/>
                  <a:pt x="20" y="49"/>
                </a:cubicBezTo>
                <a:cubicBezTo>
                  <a:pt x="49" y="49"/>
                  <a:pt x="49" y="49"/>
                  <a:pt x="49" y="49"/>
                </a:cubicBezTo>
                <a:lnTo>
                  <a:pt x="49" y="20"/>
                </a:lnTo>
                <a:close/>
                <a:moveTo>
                  <a:pt x="157" y="158"/>
                </a:moveTo>
                <a:cubicBezTo>
                  <a:pt x="157" y="49"/>
                  <a:pt x="157" y="49"/>
                  <a:pt x="157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21" y="88"/>
                  <a:pt x="121" y="88"/>
                  <a:pt x="121" y="88"/>
                </a:cubicBezTo>
                <a:cubicBezTo>
                  <a:pt x="121" y="90"/>
                  <a:pt x="120" y="93"/>
                  <a:pt x="118" y="94"/>
                </a:cubicBezTo>
                <a:cubicBezTo>
                  <a:pt x="117" y="96"/>
                  <a:pt x="115" y="97"/>
                  <a:pt x="112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3" y="158"/>
                  <a:pt x="73" y="158"/>
                  <a:pt x="73" y="158"/>
                </a:cubicBezTo>
                <a:lnTo>
                  <a:pt x="157" y="158"/>
                </a:lnTo>
                <a:close/>
                <a:moveTo>
                  <a:pt x="109" y="57"/>
                </a:moveTo>
                <a:cubicBezTo>
                  <a:pt x="81" y="85"/>
                  <a:pt x="81" y="85"/>
                  <a:pt x="81" y="85"/>
                </a:cubicBezTo>
                <a:cubicBezTo>
                  <a:pt x="109" y="85"/>
                  <a:pt x="109" y="85"/>
                  <a:pt x="109" y="85"/>
                </a:cubicBezTo>
                <a:lnTo>
                  <a:pt x="109" y="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0" name="Freeform 168">
            <a:extLst>
              <a:ext uri="{FF2B5EF4-FFF2-40B4-BE49-F238E27FC236}">
                <a16:creationId xmlns:a16="http://schemas.microsoft.com/office/drawing/2014/main" id="{0051D97D-18D5-4566-B819-1CAC377CD20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22690" y="3890357"/>
            <a:ext cx="162376" cy="160815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2028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92C48-8650-4776-9FD3-7085CBE41C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251B4C-E665-097A-FADF-313056F10A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/>
              <a:t>What is a </a:t>
            </a:r>
            <a:r>
              <a:rPr lang="en-US" dirty="0">
                <a:solidFill>
                  <a:schemeClr val="accent2"/>
                </a:solidFill>
              </a:rPr>
              <a:t>DCGAN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98179E-D082-7720-C5F8-2E17C5F40B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CGA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82C92D4-5847-9BDB-5247-13CD2D2E835C}"/>
              </a:ext>
            </a:extLst>
          </p:cNvPr>
          <p:cNvGrpSpPr/>
          <p:nvPr/>
        </p:nvGrpSpPr>
        <p:grpSpPr>
          <a:xfrm>
            <a:off x="2392998" y="1294642"/>
            <a:ext cx="4958778" cy="3332222"/>
            <a:chOff x="2392998" y="1294642"/>
            <a:chExt cx="4958778" cy="33322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B04348-934F-7540-F2F7-ED7731F235A9}"/>
                </a:ext>
              </a:extLst>
            </p:cNvPr>
            <p:cNvSpPr/>
            <p:nvPr/>
          </p:nvSpPr>
          <p:spPr>
            <a:xfrm>
              <a:off x="2392998" y="1815393"/>
              <a:ext cx="823331" cy="70381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ndom </a:t>
              </a:r>
              <a:r>
                <a:rPr lang="de-DE" sz="11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ise</a:t>
              </a:r>
              <a:endParaRPr lang="de-DE" sz="11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4D0D25F7-77A0-D1D2-88F5-56AA69EEBBC1}"/>
                </a:ext>
              </a:extLst>
            </p:cNvPr>
            <p:cNvSpPr/>
            <p:nvPr/>
          </p:nvSpPr>
          <p:spPr>
            <a:xfrm>
              <a:off x="3296196" y="2088773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" name="Right Arrow 8">
              <a:extLst>
                <a:ext uri="{FF2B5EF4-FFF2-40B4-BE49-F238E27FC236}">
                  <a16:creationId xmlns:a16="http://schemas.microsoft.com/office/drawing/2014/main" id="{440BC72A-8D10-282F-C764-422B8AC97655}"/>
                </a:ext>
              </a:extLst>
            </p:cNvPr>
            <p:cNvSpPr/>
            <p:nvPr/>
          </p:nvSpPr>
          <p:spPr>
            <a:xfrm>
              <a:off x="3954184" y="2082147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AE3AC2D-EF8A-F4CA-8431-E15A32479ED7}"/>
                </a:ext>
              </a:extLst>
            </p:cNvPr>
            <p:cNvGrpSpPr/>
            <p:nvPr/>
          </p:nvGrpSpPr>
          <p:grpSpPr>
            <a:xfrm>
              <a:off x="5411772" y="3180381"/>
              <a:ext cx="336438" cy="954334"/>
              <a:chOff x="1335024" y="1657350"/>
              <a:chExt cx="560832" cy="914400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60CFF64-F378-CDCC-B02C-6E97FAC884D6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A311710-5FE5-ACEA-79B6-77E3CDF88588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18D1E8D-E980-4D5D-FAB9-F5C32994AA26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5" name="Right Arrow 14">
              <a:extLst>
                <a:ext uri="{FF2B5EF4-FFF2-40B4-BE49-F238E27FC236}">
                  <a16:creationId xmlns:a16="http://schemas.microsoft.com/office/drawing/2014/main" id="{516EC822-7A1F-FE40-7C72-5A495E7B3435}"/>
                </a:ext>
              </a:extLst>
            </p:cNvPr>
            <p:cNvSpPr/>
            <p:nvPr/>
          </p:nvSpPr>
          <p:spPr>
            <a:xfrm>
              <a:off x="5965348" y="3583788"/>
              <a:ext cx="202717" cy="147517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6" name="Right Arrow 15">
              <a:extLst>
                <a:ext uri="{FF2B5EF4-FFF2-40B4-BE49-F238E27FC236}">
                  <a16:creationId xmlns:a16="http://schemas.microsoft.com/office/drawing/2014/main" id="{3CB713C8-1107-4FBA-B6B9-DBE51F951EB2}"/>
                </a:ext>
              </a:extLst>
            </p:cNvPr>
            <p:cNvSpPr/>
            <p:nvPr/>
          </p:nvSpPr>
          <p:spPr>
            <a:xfrm rot="3456229">
              <a:off x="4542761" y="3053493"/>
              <a:ext cx="844779" cy="13457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7" name="Right Arrow 16">
              <a:extLst>
                <a:ext uri="{FF2B5EF4-FFF2-40B4-BE49-F238E27FC236}">
                  <a16:creationId xmlns:a16="http://schemas.microsoft.com/office/drawing/2014/main" id="{F02593E0-3B22-5E1E-A93E-5F6AE2E649E4}"/>
                </a:ext>
              </a:extLst>
            </p:cNvPr>
            <p:cNvSpPr/>
            <p:nvPr/>
          </p:nvSpPr>
          <p:spPr>
            <a:xfrm rot="20303528">
              <a:off x="4662147" y="3885665"/>
              <a:ext cx="523348" cy="149042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F7DFD4C-5163-1525-54CE-2BDBC8D0F0C5}"/>
                </a:ext>
              </a:extLst>
            </p:cNvPr>
            <p:cNvSpPr txBox="1"/>
            <p:nvPr/>
          </p:nvSpPr>
          <p:spPr>
            <a:xfrm>
              <a:off x="3266812" y="1294642"/>
              <a:ext cx="1152233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nerato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EBD618A-7316-BB28-B70D-10466089C327}"/>
                </a:ext>
              </a:extLst>
            </p:cNvPr>
            <p:cNvSpPr txBox="1"/>
            <p:nvPr/>
          </p:nvSpPr>
          <p:spPr>
            <a:xfrm>
              <a:off x="6207279" y="3282986"/>
              <a:ext cx="1144497" cy="822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ke/Real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et</a:t>
              </a:r>
            </a:p>
            <a:p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mag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E0A74AF-2912-C25A-6CCC-6AF844DBD6FF}"/>
                </a:ext>
              </a:extLst>
            </p:cNvPr>
            <p:cNvSpPr txBox="1"/>
            <p:nvPr/>
          </p:nvSpPr>
          <p:spPr>
            <a:xfrm>
              <a:off x="5060629" y="2790728"/>
              <a:ext cx="1304922" cy="345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criminator</a:t>
              </a: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30" name="Picture 29" descr="A painting of a landscape with trees&#10;&#10;Description automatically generated">
              <a:extLst>
                <a:ext uri="{FF2B5EF4-FFF2-40B4-BE49-F238E27FC236}">
                  <a16:creationId xmlns:a16="http://schemas.microsoft.com/office/drawing/2014/main" id="{CF9A5072-AA3F-04DE-5FD6-456682A4D5A7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4568" y="3633248"/>
              <a:ext cx="951900" cy="993616"/>
            </a:xfrm>
            <a:prstGeom prst="rect">
              <a:avLst/>
            </a:prstGeom>
          </p:spPr>
        </p:pic>
        <p:pic>
          <p:nvPicPr>
            <p:cNvPr id="34" name="Picture 33" descr="A close-up of a flower field&#10;&#10;Description automatically generated">
              <a:extLst>
                <a:ext uri="{FF2B5EF4-FFF2-40B4-BE49-F238E27FC236}">
                  <a16:creationId xmlns:a16="http://schemas.microsoft.com/office/drawing/2014/main" id="{56F1C52C-FC43-2B13-EB54-8B2DC13C8967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7861" y="1656047"/>
              <a:ext cx="951900" cy="993616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BDC50BF-0150-D3C3-4B44-6DD2848F3CFE}"/>
                </a:ext>
              </a:extLst>
            </p:cNvPr>
            <p:cNvGrpSpPr/>
            <p:nvPr/>
          </p:nvGrpSpPr>
          <p:grpSpPr>
            <a:xfrm rot="10800000">
              <a:off x="3551949" y="1695329"/>
              <a:ext cx="336438" cy="954334"/>
              <a:chOff x="1335024" y="1657350"/>
              <a:chExt cx="560832" cy="91440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EAEF9FCB-FC83-BAFD-BF56-AA3B9BD95F24}"/>
                  </a:ext>
                </a:extLst>
              </p:cNvPr>
              <p:cNvSpPr/>
              <p:nvPr/>
            </p:nvSpPr>
            <p:spPr>
              <a:xfrm>
                <a:off x="1335024" y="1657350"/>
                <a:ext cx="128016" cy="9144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AD253821-50C4-EC49-EEF5-1621248FC625}"/>
                  </a:ext>
                </a:extLst>
              </p:cNvPr>
              <p:cNvSpPr/>
              <p:nvPr/>
            </p:nvSpPr>
            <p:spPr>
              <a:xfrm>
                <a:off x="1551432" y="1781937"/>
                <a:ext cx="128016" cy="665226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4BD9528-6E89-E48F-5CD6-55E0AE94E5C2}"/>
                  </a:ext>
                </a:extLst>
              </p:cNvPr>
              <p:cNvSpPr/>
              <p:nvPr/>
            </p:nvSpPr>
            <p:spPr>
              <a:xfrm>
                <a:off x="1767840" y="1899095"/>
                <a:ext cx="128016" cy="430911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888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4F85D9C-48C6-4241-B223-31CBCEA3F2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Rectangle 16"/>
          <p:cNvSpPr/>
          <p:nvPr/>
        </p:nvSpPr>
        <p:spPr>
          <a:xfrm>
            <a:off x="0" y="1204913"/>
            <a:ext cx="4572000" cy="2733675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594362" y="1974291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03253" y="3107793"/>
            <a:ext cx="333698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94362" y="2079377"/>
            <a:ext cx="334587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accent1"/>
                </a:solidFill>
                <a:latin typeface="+mj-lt"/>
              </a:rPr>
              <a:t>Our </a:t>
            </a:r>
          </a:p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bg1"/>
                </a:solidFill>
                <a:latin typeface="+mj-lt"/>
              </a:rPr>
              <a:t>services</a:t>
            </a:r>
          </a:p>
        </p:txBody>
      </p:sp>
      <p:sp>
        <p:nvSpPr>
          <p:cNvPr id="9" name="Freeform 168">
            <a:extLst>
              <a:ext uri="{FF2B5EF4-FFF2-40B4-BE49-F238E27FC236}">
                <a16:creationId xmlns:a16="http://schemas.microsoft.com/office/drawing/2014/main" id="{7F08C547-AE08-4CE7-8891-EFF4795EEDC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2196" y="1573849"/>
            <a:ext cx="287660" cy="284896"/>
          </a:xfrm>
          <a:custGeom>
            <a:avLst/>
            <a:gdLst>
              <a:gd name="T0" fmla="*/ 96 w 156"/>
              <a:gd name="T1" fmla="*/ 88 h 156"/>
              <a:gd name="T2" fmla="*/ 31 w 156"/>
              <a:gd name="T3" fmla="*/ 152 h 156"/>
              <a:gd name="T4" fmla="*/ 23 w 156"/>
              <a:gd name="T5" fmla="*/ 156 h 156"/>
              <a:gd name="T6" fmla="*/ 14 w 156"/>
              <a:gd name="T7" fmla="*/ 152 h 156"/>
              <a:gd name="T8" fmla="*/ 4 w 156"/>
              <a:gd name="T9" fmla="*/ 142 h 156"/>
              <a:gd name="T10" fmla="*/ 0 w 156"/>
              <a:gd name="T11" fmla="*/ 133 h 156"/>
              <a:gd name="T12" fmla="*/ 4 w 156"/>
              <a:gd name="T13" fmla="*/ 125 h 156"/>
              <a:gd name="T14" fmla="*/ 68 w 156"/>
              <a:gd name="T15" fmla="*/ 60 h 156"/>
              <a:gd name="T16" fmla="*/ 79 w 156"/>
              <a:gd name="T17" fmla="*/ 77 h 156"/>
              <a:gd name="T18" fmla="*/ 96 w 156"/>
              <a:gd name="T19" fmla="*/ 88 h 156"/>
              <a:gd name="T20" fmla="*/ 33 w 156"/>
              <a:gd name="T21" fmla="*/ 132 h 156"/>
              <a:gd name="T22" fmla="*/ 35 w 156"/>
              <a:gd name="T23" fmla="*/ 127 h 156"/>
              <a:gd name="T24" fmla="*/ 33 w 156"/>
              <a:gd name="T25" fmla="*/ 123 h 156"/>
              <a:gd name="T26" fmla="*/ 29 w 156"/>
              <a:gd name="T27" fmla="*/ 121 h 156"/>
              <a:gd name="T28" fmla="*/ 25 w 156"/>
              <a:gd name="T29" fmla="*/ 123 h 156"/>
              <a:gd name="T30" fmla="*/ 23 w 156"/>
              <a:gd name="T31" fmla="*/ 127 h 156"/>
              <a:gd name="T32" fmla="*/ 25 w 156"/>
              <a:gd name="T33" fmla="*/ 132 h 156"/>
              <a:gd name="T34" fmla="*/ 29 w 156"/>
              <a:gd name="T35" fmla="*/ 133 h 156"/>
              <a:gd name="T36" fmla="*/ 33 w 156"/>
              <a:gd name="T37" fmla="*/ 132 h 156"/>
              <a:gd name="T38" fmla="*/ 156 w 156"/>
              <a:gd name="T39" fmla="*/ 47 h 156"/>
              <a:gd name="T40" fmla="*/ 153 w 156"/>
              <a:gd name="T41" fmla="*/ 57 h 156"/>
              <a:gd name="T42" fmla="*/ 138 w 156"/>
              <a:gd name="T43" fmla="*/ 77 h 156"/>
              <a:gd name="T44" fmla="*/ 113 w 156"/>
              <a:gd name="T45" fmla="*/ 85 h 156"/>
              <a:gd name="T46" fmla="*/ 84 w 156"/>
              <a:gd name="T47" fmla="*/ 73 h 156"/>
              <a:gd name="T48" fmla="*/ 71 w 156"/>
              <a:gd name="T49" fmla="*/ 43 h 156"/>
              <a:gd name="T50" fmla="*/ 84 w 156"/>
              <a:gd name="T51" fmla="*/ 13 h 156"/>
              <a:gd name="T52" fmla="*/ 113 w 156"/>
              <a:gd name="T53" fmla="*/ 0 h 156"/>
              <a:gd name="T54" fmla="*/ 125 w 156"/>
              <a:gd name="T55" fmla="*/ 2 h 156"/>
              <a:gd name="T56" fmla="*/ 135 w 156"/>
              <a:gd name="T57" fmla="*/ 6 h 156"/>
              <a:gd name="T58" fmla="*/ 137 w 156"/>
              <a:gd name="T59" fmla="*/ 9 h 156"/>
              <a:gd name="T60" fmla="*/ 135 w 156"/>
              <a:gd name="T61" fmla="*/ 12 h 156"/>
              <a:gd name="T62" fmla="*/ 107 w 156"/>
              <a:gd name="T63" fmla="*/ 28 h 156"/>
              <a:gd name="T64" fmla="*/ 107 w 156"/>
              <a:gd name="T65" fmla="*/ 49 h 156"/>
              <a:gd name="T66" fmla="*/ 126 w 156"/>
              <a:gd name="T67" fmla="*/ 59 h 156"/>
              <a:gd name="T68" fmla="*/ 133 w 156"/>
              <a:gd name="T69" fmla="*/ 54 h 156"/>
              <a:gd name="T70" fmla="*/ 146 w 156"/>
              <a:gd name="T71" fmla="*/ 47 h 156"/>
              <a:gd name="T72" fmla="*/ 153 w 156"/>
              <a:gd name="T73" fmla="*/ 43 h 156"/>
              <a:gd name="T74" fmla="*/ 155 w 156"/>
              <a:gd name="T75" fmla="*/ 44 h 156"/>
              <a:gd name="T76" fmla="*/ 156 w 156"/>
              <a:gd name="T7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6" h="156">
                <a:moveTo>
                  <a:pt x="96" y="88"/>
                </a:moveTo>
                <a:cubicBezTo>
                  <a:pt x="31" y="152"/>
                  <a:pt x="31" y="152"/>
                  <a:pt x="31" y="152"/>
                </a:cubicBezTo>
                <a:cubicBezTo>
                  <a:pt x="29" y="155"/>
                  <a:pt x="26" y="156"/>
                  <a:pt x="23" y="156"/>
                </a:cubicBezTo>
                <a:cubicBezTo>
                  <a:pt x="19" y="156"/>
                  <a:pt x="17" y="155"/>
                  <a:pt x="14" y="152"/>
                </a:cubicBezTo>
                <a:cubicBezTo>
                  <a:pt x="4" y="142"/>
                  <a:pt x="4" y="142"/>
                  <a:pt x="4" y="142"/>
                </a:cubicBezTo>
                <a:cubicBezTo>
                  <a:pt x="2" y="140"/>
                  <a:pt x="0" y="137"/>
                  <a:pt x="0" y="133"/>
                </a:cubicBezTo>
                <a:cubicBezTo>
                  <a:pt x="0" y="130"/>
                  <a:pt x="2" y="127"/>
                  <a:pt x="4" y="125"/>
                </a:cubicBezTo>
                <a:cubicBezTo>
                  <a:pt x="68" y="60"/>
                  <a:pt x="68" y="60"/>
                  <a:pt x="68" y="60"/>
                </a:cubicBezTo>
                <a:cubicBezTo>
                  <a:pt x="71" y="67"/>
                  <a:pt x="75" y="72"/>
                  <a:pt x="79" y="77"/>
                </a:cubicBezTo>
                <a:cubicBezTo>
                  <a:pt x="84" y="82"/>
                  <a:pt x="90" y="85"/>
                  <a:pt x="96" y="88"/>
                </a:cubicBezTo>
                <a:close/>
                <a:moveTo>
                  <a:pt x="33" y="132"/>
                </a:moveTo>
                <a:cubicBezTo>
                  <a:pt x="34" y="130"/>
                  <a:pt x="35" y="129"/>
                  <a:pt x="35" y="127"/>
                </a:cubicBezTo>
                <a:cubicBezTo>
                  <a:pt x="35" y="126"/>
                  <a:pt x="34" y="124"/>
                  <a:pt x="33" y="123"/>
                </a:cubicBezTo>
                <a:cubicBezTo>
                  <a:pt x="32" y="122"/>
                  <a:pt x="30" y="121"/>
                  <a:pt x="29" y="121"/>
                </a:cubicBezTo>
                <a:cubicBezTo>
                  <a:pt x="27" y="121"/>
                  <a:pt x="26" y="122"/>
                  <a:pt x="25" y="123"/>
                </a:cubicBezTo>
                <a:cubicBezTo>
                  <a:pt x="23" y="124"/>
                  <a:pt x="23" y="126"/>
                  <a:pt x="23" y="127"/>
                </a:cubicBezTo>
                <a:cubicBezTo>
                  <a:pt x="23" y="129"/>
                  <a:pt x="23" y="130"/>
                  <a:pt x="25" y="132"/>
                </a:cubicBezTo>
                <a:cubicBezTo>
                  <a:pt x="26" y="133"/>
                  <a:pt x="27" y="133"/>
                  <a:pt x="29" y="133"/>
                </a:cubicBezTo>
                <a:cubicBezTo>
                  <a:pt x="30" y="133"/>
                  <a:pt x="32" y="133"/>
                  <a:pt x="33" y="132"/>
                </a:cubicBezTo>
                <a:close/>
                <a:moveTo>
                  <a:pt x="156" y="47"/>
                </a:moveTo>
                <a:cubicBezTo>
                  <a:pt x="156" y="49"/>
                  <a:pt x="155" y="52"/>
                  <a:pt x="153" y="57"/>
                </a:cubicBezTo>
                <a:cubicBezTo>
                  <a:pt x="151" y="65"/>
                  <a:pt x="145" y="72"/>
                  <a:pt x="138" y="77"/>
                </a:cubicBezTo>
                <a:cubicBezTo>
                  <a:pt x="131" y="82"/>
                  <a:pt x="122" y="85"/>
                  <a:pt x="113" y="85"/>
                </a:cubicBezTo>
                <a:cubicBezTo>
                  <a:pt x="102" y="85"/>
                  <a:pt x="92" y="81"/>
                  <a:pt x="84" y="73"/>
                </a:cubicBezTo>
                <a:cubicBezTo>
                  <a:pt x="75" y="64"/>
                  <a:pt x="71" y="54"/>
                  <a:pt x="71" y="43"/>
                </a:cubicBezTo>
                <a:cubicBezTo>
                  <a:pt x="71" y="31"/>
                  <a:pt x="75" y="21"/>
                  <a:pt x="84" y="13"/>
                </a:cubicBezTo>
                <a:cubicBezTo>
                  <a:pt x="92" y="4"/>
                  <a:pt x="102" y="0"/>
                  <a:pt x="113" y="0"/>
                </a:cubicBezTo>
                <a:cubicBezTo>
                  <a:pt x="117" y="0"/>
                  <a:pt x="121" y="1"/>
                  <a:pt x="125" y="2"/>
                </a:cubicBezTo>
                <a:cubicBezTo>
                  <a:pt x="129" y="3"/>
                  <a:pt x="132" y="4"/>
                  <a:pt x="135" y="6"/>
                </a:cubicBezTo>
                <a:cubicBezTo>
                  <a:pt x="136" y="7"/>
                  <a:pt x="137" y="8"/>
                  <a:pt x="137" y="9"/>
                </a:cubicBezTo>
                <a:cubicBezTo>
                  <a:pt x="137" y="10"/>
                  <a:pt x="136" y="11"/>
                  <a:pt x="135" y="12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26" y="59"/>
                  <a:pt x="126" y="59"/>
                  <a:pt x="126" y="59"/>
                </a:cubicBezTo>
                <a:cubicBezTo>
                  <a:pt x="126" y="59"/>
                  <a:pt x="128" y="57"/>
                  <a:pt x="133" y="54"/>
                </a:cubicBezTo>
                <a:cubicBezTo>
                  <a:pt x="138" y="51"/>
                  <a:pt x="142" y="49"/>
                  <a:pt x="146" y="47"/>
                </a:cubicBezTo>
                <a:cubicBezTo>
                  <a:pt x="150" y="44"/>
                  <a:pt x="152" y="43"/>
                  <a:pt x="153" y="43"/>
                </a:cubicBezTo>
                <a:cubicBezTo>
                  <a:pt x="154" y="43"/>
                  <a:pt x="154" y="44"/>
                  <a:pt x="155" y="44"/>
                </a:cubicBezTo>
                <a:cubicBezTo>
                  <a:pt x="155" y="45"/>
                  <a:pt x="156" y="46"/>
                  <a:pt x="1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0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Iconic </a:t>
            </a:r>
            <a:r>
              <a:rPr lang="en-US">
                <a:solidFill>
                  <a:schemeClr val="accent2"/>
                </a:solidFill>
              </a:rPr>
              <a:t>Services Sh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1039055" y="1869031"/>
            <a:ext cx="958632" cy="95863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1741" y="3385155"/>
            <a:ext cx="1633261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9983" y="3012416"/>
            <a:ext cx="1636776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Design &amp; dev.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725385" y="3289410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3074808" y="1869031"/>
            <a:ext cx="958632" cy="95863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735736" y="3012416"/>
            <a:ext cx="1636776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Mobile App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737494" y="3385155"/>
            <a:ext cx="1633261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2761138" y="3289410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5110561" y="1869031"/>
            <a:ext cx="958632" cy="95863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771489" y="3012416"/>
            <a:ext cx="1636776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CopyWriting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773247" y="3385155"/>
            <a:ext cx="1633261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4796891" y="3289410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>
          <a:xfrm>
            <a:off x="7146314" y="1869031"/>
            <a:ext cx="958632" cy="95863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807242" y="3012416"/>
            <a:ext cx="1636776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ocial Marketin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809000" y="3385155"/>
            <a:ext cx="1633261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6832644" y="3289410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240">
            <a:extLst>
              <a:ext uri="{FF2B5EF4-FFF2-40B4-BE49-F238E27FC236}">
                <a16:creationId xmlns:a16="http://schemas.microsoft.com/office/drawing/2014/main" id="{132BBCA8-470F-40D4-A306-4CFD9FBBB84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97482" y="2182055"/>
            <a:ext cx="441778" cy="386558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5" name="Freeform 243">
            <a:extLst>
              <a:ext uri="{FF2B5EF4-FFF2-40B4-BE49-F238E27FC236}">
                <a16:creationId xmlns:a16="http://schemas.microsoft.com/office/drawing/2014/main" id="{B4FA7A7B-7EE7-469E-A1B9-307F7A6477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14791" y="2111186"/>
            <a:ext cx="278666" cy="474320"/>
          </a:xfrm>
          <a:custGeom>
            <a:avLst/>
            <a:gdLst>
              <a:gd name="T0" fmla="*/ 72 w 72"/>
              <a:gd name="T1" fmla="*/ 13 h 121"/>
              <a:gd name="T2" fmla="*/ 72 w 72"/>
              <a:gd name="T3" fmla="*/ 109 h 121"/>
              <a:gd name="T4" fmla="*/ 69 w 72"/>
              <a:gd name="T5" fmla="*/ 118 h 121"/>
              <a:gd name="T6" fmla="*/ 60 w 72"/>
              <a:gd name="T7" fmla="*/ 121 h 121"/>
              <a:gd name="T8" fmla="*/ 12 w 72"/>
              <a:gd name="T9" fmla="*/ 121 h 121"/>
              <a:gd name="T10" fmla="*/ 3 w 72"/>
              <a:gd name="T11" fmla="*/ 118 h 121"/>
              <a:gd name="T12" fmla="*/ 0 w 72"/>
              <a:gd name="T13" fmla="*/ 109 h 121"/>
              <a:gd name="T14" fmla="*/ 0 w 72"/>
              <a:gd name="T15" fmla="*/ 13 h 121"/>
              <a:gd name="T16" fmla="*/ 3 w 72"/>
              <a:gd name="T17" fmla="*/ 4 h 121"/>
              <a:gd name="T18" fmla="*/ 12 w 72"/>
              <a:gd name="T19" fmla="*/ 0 h 121"/>
              <a:gd name="T20" fmla="*/ 60 w 72"/>
              <a:gd name="T21" fmla="*/ 0 h 121"/>
              <a:gd name="T22" fmla="*/ 69 w 72"/>
              <a:gd name="T23" fmla="*/ 4 h 121"/>
              <a:gd name="T24" fmla="*/ 72 w 72"/>
              <a:gd name="T25" fmla="*/ 13 h 121"/>
              <a:gd name="T26" fmla="*/ 63 w 72"/>
              <a:gd name="T27" fmla="*/ 94 h 121"/>
              <a:gd name="T28" fmla="*/ 63 w 72"/>
              <a:gd name="T29" fmla="*/ 28 h 121"/>
              <a:gd name="T30" fmla="*/ 62 w 72"/>
              <a:gd name="T31" fmla="*/ 26 h 121"/>
              <a:gd name="T32" fmla="*/ 60 w 72"/>
              <a:gd name="T33" fmla="*/ 25 h 121"/>
              <a:gd name="T34" fmla="*/ 12 w 72"/>
              <a:gd name="T35" fmla="*/ 25 h 121"/>
              <a:gd name="T36" fmla="*/ 10 w 72"/>
              <a:gd name="T37" fmla="*/ 26 h 121"/>
              <a:gd name="T38" fmla="*/ 9 w 72"/>
              <a:gd name="T39" fmla="*/ 28 h 121"/>
              <a:gd name="T40" fmla="*/ 9 w 72"/>
              <a:gd name="T41" fmla="*/ 94 h 121"/>
              <a:gd name="T42" fmla="*/ 10 w 72"/>
              <a:gd name="T43" fmla="*/ 96 h 121"/>
              <a:gd name="T44" fmla="*/ 12 w 72"/>
              <a:gd name="T45" fmla="*/ 97 h 121"/>
              <a:gd name="T46" fmla="*/ 60 w 72"/>
              <a:gd name="T47" fmla="*/ 97 h 121"/>
              <a:gd name="T48" fmla="*/ 62 w 72"/>
              <a:gd name="T49" fmla="*/ 96 h 121"/>
              <a:gd name="T50" fmla="*/ 63 w 72"/>
              <a:gd name="T51" fmla="*/ 94 h 121"/>
              <a:gd name="T52" fmla="*/ 45 w 72"/>
              <a:gd name="T53" fmla="*/ 14 h 121"/>
              <a:gd name="T54" fmla="*/ 44 w 72"/>
              <a:gd name="T55" fmla="*/ 13 h 121"/>
              <a:gd name="T56" fmla="*/ 29 w 72"/>
              <a:gd name="T57" fmla="*/ 13 h 121"/>
              <a:gd name="T58" fmla="*/ 27 w 72"/>
              <a:gd name="T59" fmla="*/ 14 h 121"/>
              <a:gd name="T60" fmla="*/ 29 w 72"/>
              <a:gd name="T61" fmla="*/ 16 h 121"/>
              <a:gd name="T62" fmla="*/ 44 w 72"/>
              <a:gd name="T63" fmla="*/ 16 h 121"/>
              <a:gd name="T64" fmla="*/ 45 w 72"/>
              <a:gd name="T65" fmla="*/ 14 h 121"/>
              <a:gd name="T66" fmla="*/ 41 w 72"/>
              <a:gd name="T67" fmla="*/ 115 h 121"/>
              <a:gd name="T68" fmla="*/ 44 w 72"/>
              <a:gd name="T69" fmla="*/ 109 h 121"/>
              <a:gd name="T70" fmla="*/ 41 w 72"/>
              <a:gd name="T71" fmla="*/ 104 h 121"/>
              <a:gd name="T72" fmla="*/ 36 w 72"/>
              <a:gd name="T73" fmla="*/ 102 h 121"/>
              <a:gd name="T74" fmla="*/ 31 w 72"/>
              <a:gd name="T75" fmla="*/ 104 h 121"/>
              <a:gd name="T76" fmla="*/ 29 w 72"/>
              <a:gd name="T77" fmla="*/ 109 h 121"/>
              <a:gd name="T78" fmla="*/ 31 w 72"/>
              <a:gd name="T79" fmla="*/ 115 h 121"/>
              <a:gd name="T80" fmla="*/ 36 w 72"/>
              <a:gd name="T81" fmla="*/ 117 h 121"/>
              <a:gd name="T82" fmla="*/ 41 w 72"/>
              <a:gd name="T83" fmla="*/ 11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2" h="121">
                <a:moveTo>
                  <a:pt x="72" y="13"/>
                </a:moveTo>
                <a:cubicBezTo>
                  <a:pt x="72" y="109"/>
                  <a:pt x="72" y="109"/>
                  <a:pt x="72" y="109"/>
                </a:cubicBezTo>
                <a:cubicBezTo>
                  <a:pt x="72" y="113"/>
                  <a:pt x="71" y="115"/>
                  <a:pt x="69" y="118"/>
                </a:cubicBezTo>
                <a:cubicBezTo>
                  <a:pt x="66" y="120"/>
                  <a:pt x="64" y="121"/>
                  <a:pt x="60" y="12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9" y="121"/>
                  <a:pt x="6" y="120"/>
                  <a:pt x="3" y="118"/>
                </a:cubicBezTo>
                <a:cubicBezTo>
                  <a:pt x="1" y="115"/>
                  <a:pt x="0" y="113"/>
                  <a:pt x="0" y="10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2"/>
                  <a:pt x="69" y="4"/>
                </a:cubicBezTo>
                <a:cubicBezTo>
                  <a:pt x="71" y="6"/>
                  <a:pt x="72" y="9"/>
                  <a:pt x="72" y="13"/>
                </a:cubicBezTo>
                <a:close/>
                <a:moveTo>
                  <a:pt x="63" y="94"/>
                </a:moveTo>
                <a:cubicBezTo>
                  <a:pt x="63" y="28"/>
                  <a:pt x="63" y="28"/>
                  <a:pt x="63" y="28"/>
                </a:cubicBezTo>
                <a:cubicBezTo>
                  <a:pt x="63" y="27"/>
                  <a:pt x="63" y="26"/>
                  <a:pt x="62" y="26"/>
                </a:cubicBezTo>
                <a:cubicBezTo>
                  <a:pt x="62" y="25"/>
                  <a:pt x="61" y="25"/>
                  <a:pt x="60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11" y="25"/>
                  <a:pt x="10" y="25"/>
                  <a:pt x="10" y="26"/>
                </a:cubicBezTo>
                <a:cubicBezTo>
                  <a:pt x="9" y="26"/>
                  <a:pt x="9" y="27"/>
                  <a:pt x="9" y="28"/>
                </a:cubicBezTo>
                <a:cubicBezTo>
                  <a:pt x="9" y="94"/>
                  <a:pt x="9" y="94"/>
                  <a:pt x="9" y="94"/>
                </a:cubicBezTo>
                <a:cubicBezTo>
                  <a:pt x="9" y="95"/>
                  <a:pt x="9" y="96"/>
                  <a:pt x="10" y="96"/>
                </a:cubicBezTo>
                <a:cubicBezTo>
                  <a:pt x="10" y="97"/>
                  <a:pt x="11" y="97"/>
                  <a:pt x="12" y="97"/>
                </a:cubicBezTo>
                <a:cubicBezTo>
                  <a:pt x="60" y="97"/>
                  <a:pt x="60" y="97"/>
                  <a:pt x="60" y="97"/>
                </a:cubicBezTo>
                <a:cubicBezTo>
                  <a:pt x="61" y="97"/>
                  <a:pt x="62" y="97"/>
                  <a:pt x="62" y="96"/>
                </a:cubicBezTo>
                <a:cubicBezTo>
                  <a:pt x="63" y="96"/>
                  <a:pt x="63" y="95"/>
                  <a:pt x="63" y="94"/>
                </a:cubicBezTo>
                <a:close/>
                <a:moveTo>
                  <a:pt x="45" y="14"/>
                </a:moveTo>
                <a:cubicBezTo>
                  <a:pt x="45" y="13"/>
                  <a:pt x="45" y="13"/>
                  <a:pt x="44" y="13"/>
                </a:cubicBezTo>
                <a:cubicBezTo>
                  <a:pt x="29" y="13"/>
                  <a:pt x="29" y="13"/>
                  <a:pt x="29" y="13"/>
                </a:cubicBezTo>
                <a:cubicBezTo>
                  <a:pt x="28" y="13"/>
                  <a:pt x="27" y="13"/>
                  <a:pt x="27" y="14"/>
                </a:cubicBezTo>
                <a:cubicBezTo>
                  <a:pt x="27" y="15"/>
                  <a:pt x="28" y="16"/>
                  <a:pt x="29" y="16"/>
                </a:cubicBezTo>
                <a:cubicBezTo>
                  <a:pt x="44" y="16"/>
                  <a:pt x="44" y="16"/>
                  <a:pt x="44" y="16"/>
                </a:cubicBezTo>
                <a:cubicBezTo>
                  <a:pt x="45" y="16"/>
                  <a:pt x="45" y="15"/>
                  <a:pt x="45" y="14"/>
                </a:cubicBezTo>
                <a:close/>
                <a:moveTo>
                  <a:pt x="41" y="115"/>
                </a:moveTo>
                <a:cubicBezTo>
                  <a:pt x="43" y="113"/>
                  <a:pt x="44" y="111"/>
                  <a:pt x="44" y="109"/>
                </a:cubicBezTo>
                <a:cubicBezTo>
                  <a:pt x="44" y="107"/>
                  <a:pt x="43" y="105"/>
                  <a:pt x="41" y="104"/>
                </a:cubicBezTo>
                <a:cubicBezTo>
                  <a:pt x="40" y="103"/>
                  <a:pt x="38" y="102"/>
                  <a:pt x="36" y="102"/>
                </a:cubicBezTo>
                <a:cubicBezTo>
                  <a:pt x="34" y="102"/>
                  <a:pt x="32" y="103"/>
                  <a:pt x="31" y="104"/>
                </a:cubicBezTo>
                <a:cubicBezTo>
                  <a:pt x="29" y="105"/>
                  <a:pt x="29" y="107"/>
                  <a:pt x="29" y="109"/>
                </a:cubicBezTo>
                <a:cubicBezTo>
                  <a:pt x="29" y="111"/>
                  <a:pt x="29" y="113"/>
                  <a:pt x="31" y="115"/>
                </a:cubicBezTo>
                <a:cubicBezTo>
                  <a:pt x="32" y="116"/>
                  <a:pt x="34" y="117"/>
                  <a:pt x="36" y="117"/>
                </a:cubicBezTo>
                <a:cubicBezTo>
                  <a:pt x="38" y="117"/>
                  <a:pt x="40" y="116"/>
                  <a:pt x="41" y="1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" name="Freeform 65">
            <a:extLst>
              <a:ext uri="{FF2B5EF4-FFF2-40B4-BE49-F238E27FC236}">
                <a16:creationId xmlns:a16="http://schemas.microsoft.com/office/drawing/2014/main" id="{D5DFDF69-F5EB-4856-B4B2-43101DA95FF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43835" y="2212962"/>
            <a:ext cx="292084" cy="292084"/>
          </a:xfrm>
          <a:custGeom>
            <a:avLst/>
            <a:gdLst>
              <a:gd name="T0" fmla="*/ 79 w 144"/>
              <a:gd name="T1" fmla="*/ 26 h 144"/>
              <a:gd name="T2" fmla="*/ 118 w 144"/>
              <a:gd name="T3" fmla="*/ 65 h 144"/>
              <a:gd name="T4" fmla="*/ 40 w 144"/>
              <a:gd name="T5" fmla="*/ 144 h 144"/>
              <a:gd name="T6" fmla="*/ 0 w 144"/>
              <a:gd name="T7" fmla="*/ 144 h 144"/>
              <a:gd name="T8" fmla="*/ 0 w 144"/>
              <a:gd name="T9" fmla="*/ 104 h 144"/>
              <a:gd name="T10" fmla="*/ 79 w 144"/>
              <a:gd name="T11" fmla="*/ 26 h 144"/>
              <a:gd name="T12" fmla="*/ 35 w 144"/>
              <a:gd name="T13" fmla="*/ 131 h 144"/>
              <a:gd name="T14" fmla="*/ 43 w 144"/>
              <a:gd name="T15" fmla="*/ 123 h 144"/>
              <a:gd name="T16" fmla="*/ 21 w 144"/>
              <a:gd name="T17" fmla="*/ 101 h 144"/>
              <a:gd name="T18" fmla="*/ 13 w 144"/>
              <a:gd name="T19" fmla="*/ 109 h 144"/>
              <a:gd name="T20" fmla="*/ 13 w 144"/>
              <a:gd name="T21" fmla="*/ 119 h 144"/>
              <a:gd name="T22" fmla="*/ 25 w 144"/>
              <a:gd name="T23" fmla="*/ 119 h 144"/>
              <a:gd name="T24" fmla="*/ 25 w 144"/>
              <a:gd name="T25" fmla="*/ 131 h 144"/>
              <a:gd name="T26" fmla="*/ 35 w 144"/>
              <a:gd name="T27" fmla="*/ 131 h 144"/>
              <a:gd name="T28" fmla="*/ 84 w 144"/>
              <a:gd name="T29" fmla="*/ 44 h 144"/>
              <a:gd name="T30" fmla="*/ 82 w 144"/>
              <a:gd name="T31" fmla="*/ 42 h 144"/>
              <a:gd name="T32" fmla="*/ 81 w 144"/>
              <a:gd name="T33" fmla="*/ 42 h 144"/>
              <a:gd name="T34" fmla="*/ 29 w 144"/>
              <a:gd name="T35" fmla="*/ 94 h 144"/>
              <a:gd name="T36" fmla="*/ 29 w 144"/>
              <a:gd name="T37" fmla="*/ 95 h 144"/>
              <a:gd name="T38" fmla="*/ 31 w 144"/>
              <a:gd name="T39" fmla="*/ 97 h 144"/>
              <a:gd name="T40" fmla="*/ 32 w 144"/>
              <a:gd name="T41" fmla="*/ 97 h 144"/>
              <a:gd name="T42" fmla="*/ 84 w 144"/>
              <a:gd name="T43" fmla="*/ 45 h 144"/>
              <a:gd name="T44" fmla="*/ 84 w 144"/>
              <a:gd name="T45" fmla="*/ 44 h 144"/>
              <a:gd name="T46" fmla="*/ 144 w 144"/>
              <a:gd name="T47" fmla="*/ 35 h 144"/>
              <a:gd name="T48" fmla="*/ 140 w 144"/>
              <a:gd name="T49" fmla="*/ 43 h 144"/>
              <a:gd name="T50" fmla="*/ 125 w 144"/>
              <a:gd name="T51" fmla="*/ 59 h 144"/>
              <a:gd name="T52" fmla="*/ 85 w 144"/>
              <a:gd name="T53" fmla="*/ 20 h 144"/>
              <a:gd name="T54" fmla="*/ 101 w 144"/>
              <a:gd name="T55" fmla="*/ 4 h 144"/>
              <a:gd name="T56" fmla="*/ 109 w 144"/>
              <a:gd name="T57" fmla="*/ 0 h 144"/>
              <a:gd name="T58" fmla="*/ 118 w 144"/>
              <a:gd name="T59" fmla="*/ 4 h 144"/>
              <a:gd name="T60" fmla="*/ 140 w 144"/>
              <a:gd name="T61" fmla="*/ 26 h 144"/>
              <a:gd name="T62" fmla="*/ 144 w 144"/>
              <a:gd name="T63" fmla="*/ 35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4" h="144">
                <a:moveTo>
                  <a:pt x="79" y="26"/>
                </a:moveTo>
                <a:cubicBezTo>
                  <a:pt x="118" y="65"/>
                  <a:pt x="118" y="65"/>
                  <a:pt x="118" y="65"/>
                </a:cubicBezTo>
                <a:cubicBezTo>
                  <a:pt x="40" y="144"/>
                  <a:pt x="40" y="144"/>
                  <a:pt x="4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04"/>
                  <a:pt x="0" y="104"/>
                  <a:pt x="0" y="104"/>
                </a:cubicBezTo>
                <a:lnTo>
                  <a:pt x="79" y="26"/>
                </a:lnTo>
                <a:close/>
                <a:moveTo>
                  <a:pt x="35" y="131"/>
                </a:moveTo>
                <a:cubicBezTo>
                  <a:pt x="43" y="123"/>
                  <a:pt x="43" y="123"/>
                  <a:pt x="43" y="123"/>
                </a:cubicBezTo>
                <a:cubicBezTo>
                  <a:pt x="21" y="101"/>
                  <a:pt x="21" y="101"/>
                  <a:pt x="21" y="101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19"/>
                  <a:pt x="13" y="119"/>
                  <a:pt x="13" y="119"/>
                </a:cubicBezTo>
                <a:cubicBezTo>
                  <a:pt x="25" y="119"/>
                  <a:pt x="25" y="119"/>
                  <a:pt x="25" y="119"/>
                </a:cubicBezTo>
                <a:cubicBezTo>
                  <a:pt x="25" y="131"/>
                  <a:pt x="25" y="131"/>
                  <a:pt x="25" y="131"/>
                </a:cubicBezTo>
                <a:lnTo>
                  <a:pt x="35" y="131"/>
                </a:lnTo>
                <a:close/>
                <a:moveTo>
                  <a:pt x="84" y="44"/>
                </a:moveTo>
                <a:cubicBezTo>
                  <a:pt x="84" y="42"/>
                  <a:pt x="84" y="42"/>
                  <a:pt x="82" y="42"/>
                </a:cubicBezTo>
                <a:cubicBezTo>
                  <a:pt x="82" y="42"/>
                  <a:pt x="81" y="42"/>
                  <a:pt x="81" y="42"/>
                </a:cubicBezTo>
                <a:cubicBezTo>
                  <a:pt x="29" y="94"/>
                  <a:pt x="29" y="94"/>
                  <a:pt x="29" y="94"/>
                </a:cubicBezTo>
                <a:cubicBezTo>
                  <a:pt x="29" y="94"/>
                  <a:pt x="29" y="95"/>
                  <a:pt x="29" y="95"/>
                </a:cubicBezTo>
                <a:cubicBezTo>
                  <a:pt x="29" y="97"/>
                  <a:pt x="29" y="97"/>
                  <a:pt x="31" y="97"/>
                </a:cubicBezTo>
                <a:cubicBezTo>
                  <a:pt x="31" y="97"/>
                  <a:pt x="32" y="97"/>
                  <a:pt x="32" y="97"/>
                </a:cubicBezTo>
                <a:cubicBezTo>
                  <a:pt x="84" y="45"/>
                  <a:pt x="84" y="45"/>
                  <a:pt x="84" y="45"/>
                </a:cubicBezTo>
                <a:cubicBezTo>
                  <a:pt x="84" y="45"/>
                  <a:pt x="84" y="44"/>
                  <a:pt x="84" y="44"/>
                </a:cubicBezTo>
                <a:close/>
                <a:moveTo>
                  <a:pt x="144" y="35"/>
                </a:moveTo>
                <a:cubicBezTo>
                  <a:pt x="144" y="38"/>
                  <a:pt x="143" y="41"/>
                  <a:pt x="140" y="43"/>
                </a:cubicBezTo>
                <a:cubicBezTo>
                  <a:pt x="125" y="59"/>
                  <a:pt x="125" y="59"/>
                  <a:pt x="125" y="59"/>
                </a:cubicBezTo>
                <a:cubicBezTo>
                  <a:pt x="85" y="20"/>
                  <a:pt x="85" y="20"/>
                  <a:pt x="85" y="20"/>
                </a:cubicBezTo>
                <a:cubicBezTo>
                  <a:pt x="101" y="4"/>
                  <a:pt x="101" y="4"/>
                  <a:pt x="101" y="4"/>
                </a:cubicBezTo>
                <a:cubicBezTo>
                  <a:pt x="103" y="2"/>
                  <a:pt x="106" y="0"/>
                  <a:pt x="109" y="0"/>
                </a:cubicBezTo>
                <a:cubicBezTo>
                  <a:pt x="113" y="0"/>
                  <a:pt x="116" y="2"/>
                  <a:pt x="118" y="4"/>
                </a:cubicBezTo>
                <a:cubicBezTo>
                  <a:pt x="140" y="26"/>
                  <a:pt x="140" y="26"/>
                  <a:pt x="140" y="26"/>
                </a:cubicBezTo>
                <a:cubicBezTo>
                  <a:pt x="143" y="29"/>
                  <a:pt x="144" y="31"/>
                  <a:pt x="144" y="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8" name="Freeform 115">
            <a:extLst>
              <a:ext uri="{FF2B5EF4-FFF2-40B4-BE49-F238E27FC236}">
                <a16:creationId xmlns:a16="http://schemas.microsoft.com/office/drawing/2014/main" id="{97A6F97E-DD6B-40EE-907E-1A07FCC5E5CB}"/>
              </a:ext>
            </a:extLst>
          </p:cNvPr>
          <p:cNvSpPr>
            <a:spLocks noChangeAspect="1"/>
          </p:cNvSpPr>
          <p:nvPr/>
        </p:nvSpPr>
        <p:spPr bwMode="auto">
          <a:xfrm>
            <a:off x="7434192" y="2196781"/>
            <a:ext cx="412326" cy="357105"/>
          </a:xfrm>
          <a:custGeom>
            <a:avLst/>
            <a:gdLst>
              <a:gd name="T0" fmla="*/ 158 w 169"/>
              <a:gd name="T1" fmla="*/ 31 h 146"/>
              <a:gd name="T2" fmla="*/ 169 w 169"/>
              <a:gd name="T3" fmla="*/ 61 h 146"/>
              <a:gd name="T4" fmla="*/ 158 w 169"/>
              <a:gd name="T5" fmla="*/ 91 h 146"/>
              <a:gd name="T6" fmla="*/ 127 w 169"/>
              <a:gd name="T7" fmla="*/ 113 h 146"/>
              <a:gd name="T8" fmla="*/ 84 w 169"/>
              <a:gd name="T9" fmla="*/ 121 h 146"/>
              <a:gd name="T10" fmla="*/ 71 w 169"/>
              <a:gd name="T11" fmla="*/ 121 h 146"/>
              <a:gd name="T12" fmla="*/ 27 w 169"/>
              <a:gd name="T13" fmla="*/ 144 h 146"/>
              <a:gd name="T14" fmla="*/ 16 w 169"/>
              <a:gd name="T15" fmla="*/ 146 h 146"/>
              <a:gd name="T16" fmla="*/ 13 w 169"/>
              <a:gd name="T17" fmla="*/ 145 h 146"/>
              <a:gd name="T18" fmla="*/ 12 w 169"/>
              <a:gd name="T19" fmla="*/ 142 h 146"/>
              <a:gd name="T20" fmla="*/ 12 w 169"/>
              <a:gd name="T21" fmla="*/ 142 h 146"/>
              <a:gd name="T22" fmla="*/ 12 w 169"/>
              <a:gd name="T23" fmla="*/ 141 h 146"/>
              <a:gd name="T24" fmla="*/ 12 w 169"/>
              <a:gd name="T25" fmla="*/ 140 h 146"/>
              <a:gd name="T26" fmla="*/ 12 w 169"/>
              <a:gd name="T27" fmla="*/ 139 h 146"/>
              <a:gd name="T28" fmla="*/ 13 w 169"/>
              <a:gd name="T29" fmla="*/ 138 h 146"/>
              <a:gd name="T30" fmla="*/ 14 w 169"/>
              <a:gd name="T31" fmla="*/ 137 h 146"/>
              <a:gd name="T32" fmla="*/ 14 w 169"/>
              <a:gd name="T33" fmla="*/ 136 h 146"/>
              <a:gd name="T34" fmla="*/ 17 w 169"/>
              <a:gd name="T35" fmla="*/ 133 h 146"/>
              <a:gd name="T36" fmla="*/ 21 w 169"/>
              <a:gd name="T37" fmla="*/ 130 h 146"/>
              <a:gd name="T38" fmla="*/ 23 w 169"/>
              <a:gd name="T39" fmla="*/ 126 h 146"/>
              <a:gd name="T40" fmla="*/ 27 w 169"/>
              <a:gd name="T41" fmla="*/ 121 h 146"/>
              <a:gd name="T42" fmla="*/ 29 w 169"/>
              <a:gd name="T43" fmla="*/ 116 h 146"/>
              <a:gd name="T44" fmla="*/ 32 w 169"/>
              <a:gd name="T45" fmla="*/ 108 h 146"/>
              <a:gd name="T46" fmla="*/ 8 w 169"/>
              <a:gd name="T47" fmla="*/ 88 h 146"/>
              <a:gd name="T48" fmla="*/ 0 w 169"/>
              <a:gd name="T49" fmla="*/ 61 h 146"/>
              <a:gd name="T50" fmla="*/ 6 w 169"/>
              <a:gd name="T51" fmla="*/ 37 h 146"/>
              <a:gd name="T52" fmla="*/ 24 w 169"/>
              <a:gd name="T53" fmla="*/ 18 h 146"/>
              <a:gd name="T54" fmla="*/ 51 w 169"/>
              <a:gd name="T55" fmla="*/ 5 h 146"/>
              <a:gd name="T56" fmla="*/ 84 w 169"/>
              <a:gd name="T57" fmla="*/ 0 h 146"/>
              <a:gd name="T58" fmla="*/ 127 w 169"/>
              <a:gd name="T59" fmla="*/ 9 h 146"/>
              <a:gd name="T60" fmla="*/ 158 w 169"/>
              <a:gd name="T61" fmla="*/ 3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9" h="146">
                <a:moveTo>
                  <a:pt x="158" y="31"/>
                </a:moveTo>
                <a:cubicBezTo>
                  <a:pt x="165" y="40"/>
                  <a:pt x="169" y="50"/>
                  <a:pt x="169" y="61"/>
                </a:cubicBezTo>
                <a:cubicBezTo>
                  <a:pt x="169" y="72"/>
                  <a:pt x="165" y="82"/>
                  <a:pt x="158" y="91"/>
                </a:cubicBezTo>
                <a:cubicBezTo>
                  <a:pt x="150" y="101"/>
                  <a:pt x="140" y="108"/>
                  <a:pt x="127" y="113"/>
                </a:cubicBezTo>
                <a:cubicBezTo>
                  <a:pt x="114" y="119"/>
                  <a:pt x="100" y="121"/>
                  <a:pt x="84" y="121"/>
                </a:cubicBezTo>
                <a:cubicBezTo>
                  <a:pt x="80" y="121"/>
                  <a:pt x="75" y="121"/>
                  <a:pt x="71" y="121"/>
                </a:cubicBezTo>
                <a:cubicBezTo>
                  <a:pt x="58" y="132"/>
                  <a:pt x="44" y="139"/>
                  <a:pt x="27" y="144"/>
                </a:cubicBezTo>
                <a:cubicBezTo>
                  <a:pt x="24" y="144"/>
                  <a:pt x="20" y="145"/>
                  <a:pt x="16" y="146"/>
                </a:cubicBezTo>
                <a:cubicBezTo>
                  <a:pt x="15" y="146"/>
                  <a:pt x="14" y="146"/>
                  <a:pt x="13" y="145"/>
                </a:cubicBezTo>
                <a:cubicBezTo>
                  <a:pt x="13" y="144"/>
                  <a:pt x="12" y="143"/>
                  <a:pt x="12" y="142"/>
                </a:cubicBezTo>
                <a:cubicBezTo>
                  <a:pt x="12" y="142"/>
                  <a:pt x="12" y="142"/>
                  <a:pt x="12" y="142"/>
                </a:cubicBezTo>
                <a:cubicBezTo>
                  <a:pt x="12" y="142"/>
                  <a:pt x="12" y="141"/>
                  <a:pt x="12" y="141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2" y="140"/>
                  <a:pt x="12" y="139"/>
                  <a:pt x="12" y="139"/>
                </a:cubicBezTo>
                <a:cubicBezTo>
                  <a:pt x="13" y="139"/>
                  <a:pt x="13" y="138"/>
                  <a:pt x="13" y="138"/>
                </a:cubicBezTo>
                <a:cubicBezTo>
                  <a:pt x="13" y="138"/>
                  <a:pt x="13" y="138"/>
                  <a:pt x="14" y="137"/>
                </a:cubicBezTo>
                <a:cubicBezTo>
                  <a:pt x="14" y="137"/>
                  <a:pt x="14" y="137"/>
                  <a:pt x="14" y="136"/>
                </a:cubicBezTo>
                <a:cubicBezTo>
                  <a:pt x="15" y="136"/>
                  <a:pt x="16" y="135"/>
                  <a:pt x="17" y="133"/>
                </a:cubicBezTo>
                <a:cubicBezTo>
                  <a:pt x="19" y="132"/>
                  <a:pt x="20" y="130"/>
                  <a:pt x="21" y="130"/>
                </a:cubicBezTo>
                <a:cubicBezTo>
                  <a:pt x="21" y="129"/>
                  <a:pt x="22" y="128"/>
                  <a:pt x="23" y="126"/>
                </a:cubicBezTo>
                <a:cubicBezTo>
                  <a:pt x="25" y="124"/>
                  <a:pt x="26" y="123"/>
                  <a:pt x="27" y="121"/>
                </a:cubicBezTo>
                <a:cubicBezTo>
                  <a:pt x="27" y="120"/>
                  <a:pt x="28" y="118"/>
                  <a:pt x="29" y="116"/>
                </a:cubicBezTo>
                <a:cubicBezTo>
                  <a:pt x="30" y="113"/>
                  <a:pt x="31" y="111"/>
                  <a:pt x="32" y="108"/>
                </a:cubicBezTo>
                <a:cubicBezTo>
                  <a:pt x="22" y="103"/>
                  <a:pt x="14" y="96"/>
                  <a:pt x="8" y="88"/>
                </a:cubicBezTo>
                <a:cubicBezTo>
                  <a:pt x="2" y="79"/>
                  <a:pt x="0" y="70"/>
                  <a:pt x="0" y="61"/>
                </a:cubicBezTo>
                <a:cubicBezTo>
                  <a:pt x="0" y="53"/>
                  <a:pt x="2" y="45"/>
                  <a:pt x="6" y="37"/>
                </a:cubicBezTo>
                <a:cubicBezTo>
                  <a:pt x="11" y="30"/>
                  <a:pt x="17" y="24"/>
                  <a:pt x="24" y="18"/>
                </a:cubicBezTo>
                <a:cubicBezTo>
                  <a:pt x="32" y="13"/>
                  <a:pt x="41" y="8"/>
                  <a:pt x="51" y="5"/>
                </a:cubicBezTo>
                <a:cubicBezTo>
                  <a:pt x="62" y="2"/>
                  <a:pt x="73" y="0"/>
                  <a:pt x="84" y="0"/>
                </a:cubicBezTo>
                <a:cubicBezTo>
                  <a:pt x="100" y="0"/>
                  <a:pt x="114" y="3"/>
                  <a:pt x="127" y="9"/>
                </a:cubicBezTo>
                <a:cubicBezTo>
                  <a:pt x="140" y="14"/>
                  <a:pt x="150" y="21"/>
                  <a:pt x="158" y="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5781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err="1"/>
              <a:t>Infographic</a:t>
            </a:r>
            <a:r>
              <a:rPr lang="en-US"/>
              <a:t> </a:t>
            </a:r>
            <a:r>
              <a:rPr lang="en-US">
                <a:solidFill>
                  <a:schemeClr val="accent2"/>
                </a:solidFill>
              </a:rPr>
              <a:t>Services Sh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595428" y="2750460"/>
            <a:ext cx="1582567" cy="1898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3725" y="2358647"/>
            <a:ext cx="1585973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Web desig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93725" y="2621874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6953306" y="2750460"/>
            <a:ext cx="1582567" cy="1731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6951603" y="2358647"/>
            <a:ext cx="1585973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ocial Marketing</a:t>
            </a:r>
          </a:p>
        </p:txBody>
      </p:sp>
      <p:cxnSp>
        <p:nvCxnSpPr>
          <p:cNvPr id="77" name="Straight Connector 76"/>
          <p:cNvCxnSpPr/>
          <p:nvPr/>
        </p:nvCxnSpPr>
        <p:spPr>
          <a:xfrm>
            <a:off x="6951603" y="2621874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834014" y="2750460"/>
            <a:ext cx="1582567" cy="1731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32311" y="2358647"/>
            <a:ext cx="1585973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App development 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4832311" y="2621874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2714721" y="2750460"/>
            <a:ext cx="1582567" cy="1731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.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i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713018" y="2358647"/>
            <a:ext cx="1585973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Mobile Apps</a:t>
            </a:r>
          </a:p>
        </p:txBody>
      </p:sp>
      <p:cxnSp>
        <p:nvCxnSpPr>
          <p:cNvPr id="66" name="Straight Connector 65"/>
          <p:cNvCxnSpPr/>
          <p:nvPr/>
        </p:nvCxnSpPr>
        <p:spPr>
          <a:xfrm>
            <a:off x="2713018" y="2621874"/>
            <a:ext cx="15859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eform 240">
            <a:extLst>
              <a:ext uri="{FF2B5EF4-FFF2-40B4-BE49-F238E27FC236}">
                <a16:creationId xmlns:a16="http://schemas.microsoft.com/office/drawing/2014/main" id="{072BC0A3-53CD-44FC-A861-C0C3EBE8301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7611" y="1626819"/>
            <a:ext cx="588007" cy="514509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5" name="Freeform 243">
            <a:extLst>
              <a:ext uri="{FF2B5EF4-FFF2-40B4-BE49-F238E27FC236}">
                <a16:creationId xmlns:a16="http://schemas.microsoft.com/office/drawing/2014/main" id="{B4F869D7-7145-4BFA-9748-26498D4509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20551" y="1568413"/>
            <a:ext cx="370905" cy="631320"/>
          </a:xfrm>
          <a:custGeom>
            <a:avLst/>
            <a:gdLst>
              <a:gd name="T0" fmla="*/ 72 w 72"/>
              <a:gd name="T1" fmla="*/ 13 h 121"/>
              <a:gd name="T2" fmla="*/ 72 w 72"/>
              <a:gd name="T3" fmla="*/ 109 h 121"/>
              <a:gd name="T4" fmla="*/ 69 w 72"/>
              <a:gd name="T5" fmla="*/ 118 h 121"/>
              <a:gd name="T6" fmla="*/ 60 w 72"/>
              <a:gd name="T7" fmla="*/ 121 h 121"/>
              <a:gd name="T8" fmla="*/ 12 w 72"/>
              <a:gd name="T9" fmla="*/ 121 h 121"/>
              <a:gd name="T10" fmla="*/ 3 w 72"/>
              <a:gd name="T11" fmla="*/ 118 h 121"/>
              <a:gd name="T12" fmla="*/ 0 w 72"/>
              <a:gd name="T13" fmla="*/ 109 h 121"/>
              <a:gd name="T14" fmla="*/ 0 w 72"/>
              <a:gd name="T15" fmla="*/ 13 h 121"/>
              <a:gd name="T16" fmla="*/ 3 w 72"/>
              <a:gd name="T17" fmla="*/ 4 h 121"/>
              <a:gd name="T18" fmla="*/ 12 w 72"/>
              <a:gd name="T19" fmla="*/ 0 h 121"/>
              <a:gd name="T20" fmla="*/ 60 w 72"/>
              <a:gd name="T21" fmla="*/ 0 h 121"/>
              <a:gd name="T22" fmla="*/ 69 w 72"/>
              <a:gd name="T23" fmla="*/ 4 h 121"/>
              <a:gd name="T24" fmla="*/ 72 w 72"/>
              <a:gd name="T25" fmla="*/ 13 h 121"/>
              <a:gd name="T26" fmla="*/ 63 w 72"/>
              <a:gd name="T27" fmla="*/ 94 h 121"/>
              <a:gd name="T28" fmla="*/ 63 w 72"/>
              <a:gd name="T29" fmla="*/ 28 h 121"/>
              <a:gd name="T30" fmla="*/ 62 w 72"/>
              <a:gd name="T31" fmla="*/ 26 h 121"/>
              <a:gd name="T32" fmla="*/ 60 w 72"/>
              <a:gd name="T33" fmla="*/ 25 h 121"/>
              <a:gd name="T34" fmla="*/ 12 w 72"/>
              <a:gd name="T35" fmla="*/ 25 h 121"/>
              <a:gd name="T36" fmla="*/ 10 w 72"/>
              <a:gd name="T37" fmla="*/ 26 h 121"/>
              <a:gd name="T38" fmla="*/ 9 w 72"/>
              <a:gd name="T39" fmla="*/ 28 h 121"/>
              <a:gd name="T40" fmla="*/ 9 w 72"/>
              <a:gd name="T41" fmla="*/ 94 h 121"/>
              <a:gd name="T42" fmla="*/ 10 w 72"/>
              <a:gd name="T43" fmla="*/ 96 h 121"/>
              <a:gd name="T44" fmla="*/ 12 w 72"/>
              <a:gd name="T45" fmla="*/ 97 h 121"/>
              <a:gd name="T46" fmla="*/ 60 w 72"/>
              <a:gd name="T47" fmla="*/ 97 h 121"/>
              <a:gd name="T48" fmla="*/ 62 w 72"/>
              <a:gd name="T49" fmla="*/ 96 h 121"/>
              <a:gd name="T50" fmla="*/ 63 w 72"/>
              <a:gd name="T51" fmla="*/ 94 h 121"/>
              <a:gd name="T52" fmla="*/ 45 w 72"/>
              <a:gd name="T53" fmla="*/ 14 h 121"/>
              <a:gd name="T54" fmla="*/ 44 w 72"/>
              <a:gd name="T55" fmla="*/ 13 h 121"/>
              <a:gd name="T56" fmla="*/ 29 w 72"/>
              <a:gd name="T57" fmla="*/ 13 h 121"/>
              <a:gd name="T58" fmla="*/ 27 w 72"/>
              <a:gd name="T59" fmla="*/ 14 h 121"/>
              <a:gd name="T60" fmla="*/ 29 w 72"/>
              <a:gd name="T61" fmla="*/ 16 h 121"/>
              <a:gd name="T62" fmla="*/ 44 w 72"/>
              <a:gd name="T63" fmla="*/ 16 h 121"/>
              <a:gd name="T64" fmla="*/ 45 w 72"/>
              <a:gd name="T65" fmla="*/ 14 h 121"/>
              <a:gd name="T66" fmla="*/ 41 w 72"/>
              <a:gd name="T67" fmla="*/ 115 h 121"/>
              <a:gd name="T68" fmla="*/ 44 w 72"/>
              <a:gd name="T69" fmla="*/ 109 h 121"/>
              <a:gd name="T70" fmla="*/ 41 w 72"/>
              <a:gd name="T71" fmla="*/ 104 h 121"/>
              <a:gd name="T72" fmla="*/ 36 w 72"/>
              <a:gd name="T73" fmla="*/ 102 h 121"/>
              <a:gd name="T74" fmla="*/ 31 w 72"/>
              <a:gd name="T75" fmla="*/ 104 h 121"/>
              <a:gd name="T76" fmla="*/ 29 w 72"/>
              <a:gd name="T77" fmla="*/ 109 h 121"/>
              <a:gd name="T78" fmla="*/ 31 w 72"/>
              <a:gd name="T79" fmla="*/ 115 h 121"/>
              <a:gd name="T80" fmla="*/ 36 w 72"/>
              <a:gd name="T81" fmla="*/ 117 h 121"/>
              <a:gd name="T82" fmla="*/ 41 w 72"/>
              <a:gd name="T83" fmla="*/ 11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2" h="121">
                <a:moveTo>
                  <a:pt x="72" y="13"/>
                </a:moveTo>
                <a:cubicBezTo>
                  <a:pt x="72" y="109"/>
                  <a:pt x="72" y="109"/>
                  <a:pt x="72" y="109"/>
                </a:cubicBezTo>
                <a:cubicBezTo>
                  <a:pt x="72" y="113"/>
                  <a:pt x="71" y="115"/>
                  <a:pt x="69" y="118"/>
                </a:cubicBezTo>
                <a:cubicBezTo>
                  <a:pt x="66" y="120"/>
                  <a:pt x="64" y="121"/>
                  <a:pt x="60" y="12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9" y="121"/>
                  <a:pt x="6" y="120"/>
                  <a:pt x="3" y="118"/>
                </a:cubicBezTo>
                <a:cubicBezTo>
                  <a:pt x="1" y="115"/>
                  <a:pt x="0" y="113"/>
                  <a:pt x="0" y="10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2"/>
                  <a:pt x="69" y="4"/>
                </a:cubicBezTo>
                <a:cubicBezTo>
                  <a:pt x="71" y="6"/>
                  <a:pt x="72" y="9"/>
                  <a:pt x="72" y="13"/>
                </a:cubicBezTo>
                <a:close/>
                <a:moveTo>
                  <a:pt x="63" y="94"/>
                </a:moveTo>
                <a:cubicBezTo>
                  <a:pt x="63" y="28"/>
                  <a:pt x="63" y="28"/>
                  <a:pt x="63" y="28"/>
                </a:cubicBezTo>
                <a:cubicBezTo>
                  <a:pt x="63" y="27"/>
                  <a:pt x="63" y="26"/>
                  <a:pt x="62" y="26"/>
                </a:cubicBezTo>
                <a:cubicBezTo>
                  <a:pt x="62" y="25"/>
                  <a:pt x="61" y="25"/>
                  <a:pt x="60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11" y="25"/>
                  <a:pt x="10" y="25"/>
                  <a:pt x="10" y="26"/>
                </a:cubicBezTo>
                <a:cubicBezTo>
                  <a:pt x="9" y="26"/>
                  <a:pt x="9" y="27"/>
                  <a:pt x="9" y="28"/>
                </a:cubicBezTo>
                <a:cubicBezTo>
                  <a:pt x="9" y="94"/>
                  <a:pt x="9" y="94"/>
                  <a:pt x="9" y="94"/>
                </a:cubicBezTo>
                <a:cubicBezTo>
                  <a:pt x="9" y="95"/>
                  <a:pt x="9" y="96"/>
                  <a:pt x="10" y="96"/>
                </a:cubicBezTo>
                <a:cubicBezTo>
                  <a:pt x="10" y="97"/>
                  <a:pt x="11" y="97"/>
                  <a:pt x="12" y="97"/>
                </a:cubicBezTo>
                <a:cubicBezTo>
                  <a:pt x="60" y="97"/>
                  <a:pt x="60" y="97"/>
                  <a:pt x="60" y="97"/>
                </a:cubicBezTo>
                <a:cubicBezTo>
                  <a:pt x="61" y="97"/>
                  <a:pt x="62" y="97"/>
                  <a:pt x="62" y="96"/>
                </a:cubicBezTo>
                <a:cubicBezTo>
                  <a:pt x="63" y="96"/>
                  <a:pt x="63" y="95"/>
                  <a:pt x="63" y="94"/>
                </a:cubicBezTo>
                <a:close/>
                <a:moveTo>
                  <a:pt x="45" y="14"/>
                </a:moveTo>
                <a:cubicBezTo>
                  <a:pt x="45" y="13"/>
                  <a:pt x="45" y="13"/>
                  <a:pt x="44" y="13"/>
                </a:cubicBezTo>
                <a:cubicBezTo>
                  <a:pt x="29" y="13"/>
                  <a:pt x="29" y="13"/>
                  <a:pt x="29" y="13"/>
                </a:cubicBezTo>
                <a:cubicBezTo>
                  <a:pt x="28" y="13"/>
                  <a:pt x="27" y="13"/>
                  <a:pt x="27" y="14"/>
                </a:cubicBezTo>
                <a:cubicBezTo>
                  <a:pt x="27" y="15"/>
                  <a:pt x="28" y="16"/>
                  <a:pt x="29" y="16"/>
                </a:cubicBezTo>
                <a:cubicBezTo>
                  <a:pt x="44" y="16"/>
                  <a:pt x="44" y="16"/>
                  <a:pt x="44" y="16"/>
                </a:cubicBezTo>
                <a:cubicBezTo>
                  <a:pt x="45" y="16"/>
                  <a:pt x="45" y="15"/>
                  <a:pt x="45" y="14"/>
                </a:cubicBezTo>
                <a:close/>
                <a:moveTo>
                  <a:pt x="41" y="115"/>
                </a:moveTo>
                <a:cubicBezTo>
                  <a:pt x="43" y="113"/>
                  <a:pt x="44" y="111"/>
                  <a:pt x="44" y="109"/>
                </a:cubicBezTo>
                <a:cubicBezTo>
                  <a:pt x="44" y="107"/>
                  <a:pt x="43" y="105"/>
                  <a:pt x="41" y="104"/>
                </a:cubicBezTo>
                <a:cubicBezTo>
                  <a:pt x="40" y="103"/>
                  <a:pt x="38" y="102"/>
                  <a:pt x="36" y="102"/>
                </a:cubicBezTo>
                <a:cubicBezTo>
                  <a:pt x="34" y="102"/>
                  <a:pt x="32" y="103"/>
                  <a:pt x="31" y="104"/>
                </a:cubicBezTo>
                <a:cubicBezTo>
                  <a:pt x="29" y="105"/>
                  <a:pt x="29" y="107"/>
                  <a:pt x="29" y="109"/>
                </a:cubicBezTo>
                <a:cubicBezTo>
                  <a:pt x="29" y="111"/>
                  <a:pt x="29" y="113"/>
                  <a:pt x="31" y="115"/>
                </a:cubicBezTo>
                <a:cubicBezTo>
                  <a:pt x="32" y="116"/>
                  <a:pt x="34" y="117"/>
                  <a:pt x="36" y="117"/>
                </a:cubicBezTo>
                <a:cubicBezTo>
                  <a:pt x="38" y="117"/>
                  <a:pt x="40" y="116"/>
                  <a:pt x="41" y="11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7" name="Freeform 65">
            <a:extLst>
              <a:ext uri="{FF2B5EF4-FFF2-40B4-BE49-F238E27FC236}">
                <a16:creationId xmlns:a16="http://schemas.microsoft.com/office/drawing/2014/main" id="{32450176-F9C6-46BC-B277-561F183790D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55910" y="1648872"/>
            <a:ext cx="470403" cy="470403"/>
          </a:xfrm>
          <a:custGeom>
            <a:avLst/>
            <a:gdLst>
              <a:gd name="T0" fmla="*/ 79 w 144"/>
              <a:gd name="T1" fmla="*/ 26 h 144"/>
              <a:gd name="T2" fmla="*/ 118 w 144"/>
              <a:gd name="T3" fmla="*/ 65 h 144"/>
              <a:gd name="T4" fmla="*/ 40 w 144"/>
              <a:gd name="T5" fmla="*/ 144 h 144"/>
              <a:gd name="T6" fmla="*/ 0 w 144"/>
              <a:gd name="T7" fmla="*/ 144 h 144"/>
              <a:gd name="T8" fmla="*/ 0 w 144"/>
              <a:gd name="T9" fmla="*/ 104 h 144"/>
              <a:gd name="T10" fmla="*/ 79 w 144"/>
              <a:gd name="T11" fmla="*/ 26 h 144"/>
              <a:gd name="T12" fmla="*/ 35 w 144"/>
              <a:gd name="T13" fmla="*/ 131 h 144"/>
              <a:gd name="T14" fmla="*/ 43 w 144"/>
              <a:gd name="T15" fmla="*/ 123 h 144"/>
              <a:gd name="T16" fmla="*/ 21 w 144"/>
              <a:gd name="T17" fmla="*/ 101 h 144"/>
              <a:gd name="T18" fmla="*/ 13 w 144"/>
              <a:gd name="T19" fmla="*/ 109 h 144"/>
              <a:gd name="T20" fmla="*/ 13 w 144"/>
              <a:gd name="T21" fmla="*/ 119 h 144"/>
              <a:gd name="T22" fmla="*/ 25 w 144"/>
              <a:gd name="T23" fmla="*/ 119 h 144"/>
              <a:gd name="T24" fmla="*/ 25 w 144"/>
              <a:gd name="T25" fmla="*/ 131 h 144"/>
              <a:gd name="T26" fmla="*/ 35 w 144"/>
              <a:gd name="T27" fmla="*/ 131 h 144"/>
              <a:gd name="T28" fmla="*/ 84 w 144"/>
              <a:gd name="T29" fmla="*/ 44 h 144"/>
              <a:gd name="T30" fmla="*/ 82 w 144"/>
              <a:gd name="T31" fmla="*/ 42 h 144"/>
              <a:gd name="T32" fmla="*/ 81 w 144"/>
              <a:gd name="T33" fmla="*/ 42 h 144"/>
              <a:gd name="T34" fmla="*/ 29 w 144"/>
              <a:gd name="T35" fmla="*/ 94 h 144"/>
              <a:gd name="T36" fmla="*/ 29 w 144"/>
              <a:gd name="T37" fmla="*/ 95 h 144"/>
              <a:gd name="T38" fmla="*/ 31 w 144"/>
              <a:gd name="T39" fmla="*/ 97 h 144"/>
              <a:gd name="T40" fmla="*/ 32 w 144"/>
              <a:gd name="T41" fmla="*/ 97 h 144"/>
              <a:gd name="T42" fmla="*/ 84 w 144"/>
              <a:gd name="T43" fmla="*/ 45 h 144"/>
              <a:gd name="T44" fmla="*/ 84 w 144"/>
              <a:gd name="T45" fmla="*/ 44 h 144"/>
              <a:gd name="T46" fmla="*/ 144 w 144"/>
              <a:gd name="T47" fmla="*/ 35 h 144"/>
              <a:gd name="T48" fmla="*/ 140 w 144"/>
              <a:gd name="T49" fmla="*/ 43 h 144"/>
              <a:gd name="T50" fmla="*/ 125 w 144"/>
              <a:gd name="T51" fmla="*/ 59 h 144"/>
              <a:gd name="T52" fmla="*/ 85 w 144"/>
              <a:gd name="T53" fmla="*/ 20 h 144"/>
              <a:gd name="T54" fmla="*/ 101 w 144"/>
              <a:gd name="T55" fmla="*/ 4 h 144"/>
              <a:gd name="T56" fmla="*/ 109 w 144"/>
              <a:gd name="T57" fmla="*/ 0 h 144"/>
              <a:gd name="T58" fmla="*/ 118 w 144"/>
              <a:gd name="T59" fmla="*/ 4 h 144"/>
              <a:gd name="T60" fmla="*/ 140 w 144"/>
              <a:gd name="T61" fmla="*/ 26 h 144"/>
              <a:gd name="T62" fmla="*/ 144 w 144"/>
              <a:gd name="T63" fmla="*/ 35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4" h="144">
                <a:moveTo>
                  <a:pt x="79" y="26"/>
                </a:moveTo>
                <a:cubicBezTo>
                  <a:pt x="118" y="65"/>
                  <a:pt x="118" y="65"/>
                  <a:pt x="118" y="65"/>
                </a:cubicBezTo>
                <a:cubicBezTo>
                  <a:pt x="40" y="144"/>
                  <a:pt x="40" y="144"/>
                  <a:pt x="40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04"/>
                  <a:pt x="0" y="104"/>
                  <a:pt x="0" y="104"/>
                </a:cubicBezTo>
                <a:lnTo>
                  <a:pt x="79" y="26"/>
                </a:lnTo>
                <a:close/>
                <a:moveTo>
                  <a:pt x="35" y="131"/>
                </a:moveTo>
                <a:cubicBezTo>
                  <a:pt x="43" y="123"/>
                  <a:pt x="43" y="123"/>
                  <a:pt x="43" y="123"/>
                </a:cubicBezTo>
                <a:cubicBezTo>
                  <a:pt x="21" y="101"/>
                  <a:pt x="21" y="101"/>
                  <a:pt x="21" y="101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19"/>
                  <a:pt x="13" y="119"/>
                  <a:pt x="13" y="119"/>
                </a:cubicBezTo>
                <a:cubicBezTo>
                  <a:pt x="25" y="119"/>
                  <a:pt x="25" y="119"/>
                  <a:pt x="25" y="119"/>
                </a:cubicBezTo>
                <a:cubicBezTo>
                  <a:pt x="25" y="131"/>
                  <a:pt x="25" y="131"/>
                  <a:pt x="25" y="131"/>
                </a:cubicBezTo>
                <a:lnTo>
                  <a:pt x="35" y="131"/>
                </a:lnTo>
                <a:close/>
                <a:moveTo>
                  <a:pt x="84" y="44"/>
                </a:moveTo>
                <a:cubicBezTo>
                  <a:pt x="84" y="42"/>
                  <a:pt x="84" y="42"/>
                  <a:pt x="82" y="42"/>
                </a:cubicBezTo>
                <a:cubicBezTo>
                  <a:pt x="82" y="42"/>
                  <a:pt x="81" y="42"/>
                  <a:pt x="81" y="42"/>
                </a:cubicBezTo>
                <a:cubicBezTo>
                  <a:pt x="29" y="94"/>
                  <a:pt x="29" y="94"/>
                  <a:pt x="29" y="94"/>
                </a:cubicBezTo>
                <a:cubicBezTo>
                  <a:pt x="29" y="94"/>
                  <a:pt x="29" y="95"/>
                  <a:pt x="29" y="95"/>
                </a:cubicBezTo>
                <a:cubicBezTo>
                  <a:pt x="29" y="97"/>
                  <a:pt x="29" y="97"/>
                  <a:pt x="31" y="97"/>
                </a:cubicBezTo>
                <a:cubicBezTo>
                  <a:pt x="31" y="97"/>
                  <a:pt x="32" y="97"/>
                  <a:pt x="32" y="97"/>
                </a:cubicBezTo>
                <a:cubicBezTo>
                  <a:pt x="84" y="45"/>
                  <a:pt x="84" y="45"/>
                  <a:pt x="84" y="45"/>
                </a:cubicBezTo>
                <a:cubicBezTo>
                  <a:pt x="84" y="45"/>
                  <a:pt x="84" y="44"/>
                  <a:pt x="84" y="44"/>
                </a:cubicBezTo>
                <a:close/>
                <a:moveTo>
                  <a:pt x="144" y="35"/>
                </a:moveTo>
                <a:cubicBezTo>
                  <a:pt x="144" y="38"/>
                  <a:pt x="143" y="41"/>
                  <a:pt x="140" y="43"/>
                </a:cubicBezTo>
                <a:cubicBezTo>
                  <a:pt x="125" y="59"/>
                  <a:pt x="125" y="59"/>
                  <a:pt x="125" y="59"/>
                </a:cubicBezTo>
                <a:cubicBezTo>
                  <a:pt x="85" y="20"/>
                  <a:pt x="85" y="20"/>
                  <a:pt x="85" y="20"/>
                </a:cubicBezTo>
                <a:cubicBezTo>
                  <a:pt x="101" y="4"/>
                  <a:pt x="101" y="4"/>
                  <a:pt x="101" y="4"/>
                </a:cubicBezTo>
                <a:cubicBezTo>
                  <a:pt x="103" y="2"/>
                  <a:pt x="106" y="0"/>
                  <a:pt x="109" y="0"/>
                </a:cubicBezTo>
                <a:cubicBezTo>
                  <a:pt x="113" y="0"/>
                  <a:pt x="116" y="2"/>
                  <a:pt x="118" y="4"/>
                </a:cubicBezTo>
                <a:cubicBezTo>
                  <a:pt x="140" y="26"/>
                  <a:pt x="140" y="26"/>
                  <a:pt x="140" y="26"/>
                </a:cubicBezTo>
                <a:cubicBezTo>
                  <a:pt x="143" y="29"/>
                  <a:pt x="144" y="31"/>
                  <a:pt x="144" y="3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8" name="Freeform 115">
            <a:extLst>
              <a:ext uri="{FF2B5EF4-FFF2-40B4-BE49-F238E27FC236}">
                <a16:creationId xmlns:a16="http://schemas.microsoft.com/office/drawing/2014/main" id="{8A2B4C89-78FC-45D5-8ACD-147ADA152AB0}"/>
              </a:ext>
            </a:extLst>
          </p:cNvPr>
          <p:cNvSpPr>
            <a:spLocks noChangeAspect="1"/>
          </p:cNvSpPr>
          <p:nvPr/>
        </p:nvSpPr>
        <p:spPr bwMode="auto">
          <a:xfrm>
            <a:off x="7495131" y="1668023"/>
            <a:ext cx="498915" cy="432098"/>
          </a:xfrm>
          <a:custGeom>
            <a:avLst/>
            <a:gdLst>
              <a:gd name="T0" fmla="*/ 158 w 169"/>
              <a:gd name="T1" fmla="*/ 31 h 146"/>
              <a:gd name="T2" fmla="*/ 169 w 169"/>
              <a:gd name="T3" fmla="*/ 61 h 146"/>
              <a:gd name="T4" fmla="*/ 158 w 169"/>
              <a:gd name="T5" fmla="*/ 91 h 146"/>
              <a:gd name="T6" fmla="*/ 127 w 169"/>
              <a:gd name="T7" fmla="*/ 113 h 146"/>
              <a:gd name="T8" fmla="*/ 84 w 169"/>
              <a:gd name="T9" fmla="*/ 121 h 146"/>
              <a:gd name="T10" fmla="*/ 71 w 169"/>
              <a:gd name="T11" fmla="*/ 121 h 146"/>
              <a:gd name="T12" fmla="*/ 27 w 169"/>
              <a:gd name="T13" fmla="*/ 144 h 146"/>
              <a:gd name="T14" fmla="*/ 16 w 169"/>
              <a:gd name="T15" fmla="*/ 146 h 146"/>
              <a:gd name="T16" fmla="*/ 13 w 169"/>
              <a:gd name="T17" fmla="*/ 145 h 146"/>
              <a:gd name="T18" fmla="*/ 12 w 169"/>
              <a:gd name="T19" fmla="*/ 142 h 146"/>
              <a:gd name="T20" fmla="*/ 12 w 169"/>
              <a:gd name="T21" fmla="*/ 142 h 146"/>
              <a:gd name="T22" fmla="*/ 12 w 169"/>
              <a:gd name="T23" fmla="*/ 141 h 146"/>
              <a:gd name="T24" fmla="*/ 12 w 169"/>
              <a:gd name="T25" fmla="*/ 140 h 146"/>
              <a:gd name="T26" fmla="*/ 12 w 169"/>
              <a:gd name="T27" fmla="*/ 139 h 146"/>
              <a:gd name="T28" fmla="*/ 13 w 169"/>
              <a:gd name="T29" fmla="*/ 138 h 146"/>
              <a:gd name="T30" fmla="*/ 14 w 169"/>
              <a:gd name="T31" fmla="*/ 137 h 146"/>
              <a:gd name="T32" fmla="*/ 14 w 169"/>
              <a:gd name="T33" fmla="*/ 136 h 146"/>
              <a:gd name="T34" fmla="*/ 17 w 169"/>
              <a:gd name="T35" fmla="*/ 133 h 146"/>
              <a:gd name="T36" fmla="*/ 21 w 169"/>
              <a:gd name="T37" fmla="*/ 130 h 146"/>
              <a:gd name="T38" fmla="*/ 23 w 169"/>
              <a:gd name="T39" fmla="*/ 126 h 146"/>
              <a:gd name="T40" fmla="*/ 27 w 169"/>
              <a:gd name="T41" fmla="*/ 121 h 146"/>
              <a:gd name="T42" fmla="*/ 29 w 169"/>
              <a:gd name="T43" fmla="*/ 116 h 146"/>
              <a:gd name="T44" fmla="*/ 32 w 169"/>
              <a:gd name="T45" fmla="*/ 108 h 146"/>
              <a:gd name="T46" fmla="*/ 8 w 169"/>
              <a:gd name="T47" fmla="*/ 88 h 146"/>
              <a:gd name="T48" fmla="*/ 0 w 169"/>
              <a:gd name="T49" fmla="*/ 61 h 146"/>
              <a:gd name="T50" fmla="*/ 6 w 169"/>
              <a:gd name="T51" fmla="*/ 37 h 146"/>
              <a:gd name="T52" fmla="*/ 24 w 169"/>
              <a:gd name="T53" fmla="*/ 18 h 146"/>
              <a:gd name="T54" fmla="*/ 51 w 169"/>
              <a:gd name="T55" fmla="*/ 5 h 146"/>
              <a:gd name="T56" fmla="*/ 84 w 169"/>
              <a:gd name="T57" fmla="*/ 0 h 146"/>
              <a:gd name="T58" fmla="*/ 127 w 169"/>
              <a:gd name="T59" fmla="*/ 9 h 146"/>
              <a:gd name="T60" fmla="*/ 158 w 169"/>
              <a:gd name="T61" fmla="*/ 3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9" h="146">
                <a:moveTo>
                  <a:pt x="158" y="31"/>
                </a:moveTo>
                <a:cubicBezTo>
                  <a:pt x="165" y="40"/>
                  <a:pt x="169" y="50"/>
                  <a:pt x="169" y="61"/>
                </a:cubicBezTo>
                <a:cubicBezTo>
                  <a:pt x="169" y="72"/>
                  <a:pt x="165" y="82"/>
                  <a:pt x="158" y="91"/>
                </a:cubicBezTo>
                <a:cubicBezTo>
                  <a:pt x="150" y="101"/>
                  <a:pt x="140" y="108"/>
                  <a:pt x="127" y="113"/>
                </a:cubicBezTo>
                <a:cubicBezTo>
                  <a:pt x="114" y="119"/>
                  <a:pt x="100" y="121"/>
                  <a:pt x="84" y="121"/>
                </a:cubicBezTo>
                <a:cubicBezTo>
                  <a:pt x="80" y="121"/>
                  <a:pt x="75" y="121"/>
                  <a:pt x="71" y="121"/>
                </a:cubicBezTo>
                <a:cubicBezTo>
                  <a:pt x="58" y="132"/>
                  <a:pt x="44" y="139"/>
                  <a:pt x="27" y="144"/>
                </a:cubicBezTo>
                <a:cubicBezTo>
                  <a:pt x="24" y="144"/>
                  <a:pt x="20" y="145"/>
                  <a:pt x="16" y="146"/>
                </a:cubicBezTo>
                <a:cubicBezTo>
                  <a:pt x="15" y="146"/>
                  <a:pt x="14" y="146"/>
                  <a:pt x="13" y="145"/>
                </a:cubicBezTo>
                <a:cubicBezTo>
                  <a:pt x="13" y="144"/>
                  <a:pt x="12" y="143"/>
                  <a:pt x="12" y="142"/>
                </a:cubicBezTo>
                <a:cubicBezTo>
                  <a:pt x="12" y="142"/>
                  <a:pt x="12" y="142"/>
                  <a:pt x="12" y="142"/>
                </a:cubicBezTo>
                <a:cubicBezTo>
                  <a:pt x="12" y="142"/>
                  <a:pt x="12" y="141"/>
                  <a:pt x="12" y="141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2" y="140"/>
                  <a:pt x="12" y="139"/>
                  <a:pt x="12" y="139"/>
                </a:cubicBezTo>
                <a:cubicBezTo>
                  <a:pt x="13" y="139"/>
                  <a:pt x="13" y="138"/>
                  <a:pt x="13" y="138"/>
                </a:cubicBezTo>
                <a:cubicBezTo>
                  <a:pt x="13" y="138"/>
                  <a:pt x="13" y="138"/>
                  <a:pt x="14" y="137"/>
                </a:cubicBezTo>
                <a:cubicBezTo>
                  <a:pt x="14" y="137"/>
                  <a:pt x="14" y="137"/>
                  <a:pt x="14" y="136"/>
                </a:cubicBezTo>
                <a:cubicBezTo>
                  <a:pt x="15" y="136"/>
                  <a:pt x="16" y="135"/>
                  <a:pt x="17" y="133"/>
                </a:cubicBezTo>
                <a:cubicBezTo>
                  <a:pt x="19" y="132"/>
                  <a:pt x="20" y="130"/>
                  <a:pt x="21" y="130"/>
                </a:cubicBezTo>
                <a:cubicBezTo>
                  <a:pt x="21" y="129"/>
                  <a:pt x="22" y="128"/>
                  <a:pt x="23" y="126"/>
                </a:cubicBezTo>
                <a:cubicBezTo>
                  <a:pt x="25" y="124"/>
                  <a:pt x="26" y="123"/>
                  <a:pt x="27" y="121"/>
                </a:cubicBezTo>
                <a:cubicBezTo>
                  <a:pt x="27" y="120"/>
                  <a:pt x="28" y="118"/>
                  <a:pt x="29" y="116"/>
                </a:cubicBezTo>
                <a:cubicBezTo>
                  <a:pt x="30" y="113"/>
                  <a:pt x="31" y="111"/>
                  <a:pt x="32" y="108"/>
                </a:cubicBezTo>
                <a:cubicBezTo>
                  <a:pt x="22" y="103"/>
                  <a:pt x="14" y="96"/>
                  <a:pt x="8" y="88"/>
                </a:cubicBezTo>
                <a:cubicBezTo>
                  <a:pt x="2" y="79"/>
                  <a:pt x="0" y="70"/>
                  <a:pt x="0" y="61"/>
                </a:cubicBezTo>
                <a:cubicBezTo>
                  <a:pt x="0" y="53"/>
                  <a:pt x="2" y="45"/>
                  <a:pt x="6" y="37"/>
                </a:cubicBezTo>
                <a:cubicBezTo>
                  <a:pt x="11" y="30"/>
                  <a:pt x="17" y="24"/>
                  <a:pt x="24" y="18"/>
                </a:cubicBezTo>
                <a:cubicBezTo>
                  <a:pt x="32" y="13"/>
                  <a:pt x="41" y="8"/>
                  <a:pt x="51" y="5"/>
                </a:cubicBezTo>
                <a:cubicBezTo>
                  <a:pt x="62" y="2"/>
                  <a:pt x="73" y="0"/>
                  <a:pt x="84" y="0"/>
                </a:cubicBezTo>
                <a:cubicBezTo>
                  <a:pt x="100" y="0"/>
                  <a:pt x="114" y="3"/>
                  <a:pt x="127" y="9"/>
                </a:cubicBezTo>
                <a:cubicBezTo>
                  <a:pt x="140" y="14"/>
                  <a:pt x="150" y="21"/>
                  <a:pt x="158" y="3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7239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Mobile </a:t>
            </a:r>
            <a:r>
              <a:rPr lang="en-US">
                <a:solidFill>
                  <a:schemeClr val="accent2"/>
                </a:solidFill>
              </a:rPr>
              <a:t>Apps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991801" y="1543051"/>
            <a:ext cx="3508761" cy="714533"/>
            <a:chOff x="1290469" y="1543051"/>
            <a:chExt cx="2878258" cy="714533"/>
          </a:xfrm>
        </p:grpSpPr>
        <p:sp>
          <p:nvSpPr>
            <p:cNvPr id="5" name="TextBox 4"/>
            <p:cNvSpPr txBox="1"/>
            <p:nvPr/>
          </p:nvSpPr>
          <p:spPr>
            <a:xfrm>
              <a:off x="1293985" y="1757447"/>
              <a:ext cx="2872076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290469" y="1543051"/>
              <a:ext cx="2878258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Media App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991802" y="2544683"/>
            <a:ext cx="3501224" cy="714533"/>
            <a:chOff x="1290469" y="2544683"/>
            <a:chExt cx="2878258" cy="714533"/>
          </a:xfrm>
        </p:grpSpPr>
        <p:sp>
          <p:nvSpPr>
            <p:cNvPr id="41" name="TextBox 40"/>
            <p:cNvSpPr txBox="1"/>
            <p:nvPr/>
          </p:nvSpPr>
          <p:spPr>
            <a:xfrm>
              <a:off x="1293985" y="2759079"/>
              <a:ext cx="2872076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290469" y="2544683"/>
              <a:ext cx="2878258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Finance &amp; Business Apps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991801" y="3546316"/>
            <a:ext cx="3508761" cy="714533"/>
            <a:chOff x="1290469" y="3546316"/>
            <a:chExt cx="2878258" cy="714533"/>
          </a:xfrm>
        </p:grpSpPr>
        <p:sp>
          <p:nvSpPr>
            <p:cNvPr id="45" name="TextBox 44"/>
            <p:cNvSpPr txBox="1"/>
            <p:nvPr/>
          </p:nvSpPr>
          <p:spPr>
            <a:xfrm>
              <a:off x="1293985" y="3760712"/>
              <a:ext cx="2872076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290469" y="3546316"/>
              <a:ext cx="2878258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Consumers &amp; Retails Apps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340181" y="1543051"/>
            <a:ext cx="3516482" cy="714533"/>
            <a:chOff x="5659318" y="1543051"/>
            <a:chExt cx="2878258" cy="714533"/>
          </a:xfrm>
        </p:grpSpPr>
        <p:sp>
          <p:nvSpPr>
            <p:cNvPr id="60" name="TextBox 59"/>
            <p:cNvSpPr txBox="1"/>
            <p:nvPr/>
          </p:nvSpPr>
          <p:spPr>
            <a:xfrm>
              <a:off x="5662834" y="1757447"/>
              <a:ext cx="2872076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659318" y="1543051"/>
              <a:ext cx="2878258" cy="1935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Transportation App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340181" y="2544683"/>
            <a:ext cx="3516482" cy="714533"/>
            <a:chOff x="5659318" y="2544683"/>
            <a:chExt cx="2878258" cy="714533"/>
          </a:xfrm>
        </p:grpSpPr>
        <p:sp>
          <p:nvSpPr>
            <p:cNvPr id="63" name="TextBox 62"/>
            <p:cNvSpPr txBox="1"/>
            <p:nvPr/>
          </p:nvSpPr>
          <p:spPr>
            <a:xfrm>
              <a:off x="5662834" y="2759079"/>
              <a:ext cx="2872076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659318" y="2544683"/>
              <a:ext cx="2878258" cy="1935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Health Apps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40181" y="3546316"/>
            <a:ext cx="3516482" cy="714533"/>
            <a:chOff x="5659318" y="3546316"/>
            <a:chExt cx="2878258" cy="714533"/>
          </a:xfrm>
        </p:grpSpPr>
        <p:sp>
          <p:nvSpPr>
            <p:cNvPr id="66" name="TextBox 65"/>
            <p:cNvSpPr txBox="1"/>
            <p:nvPr/>
          </p:nvSpPr>
          <p:spPr>
            <a:xfrm>
              <a:off x="5662834" y="3760712"/>
              <a:ext cx="2872076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659318" y="3546316"/>
              <a:ext cx="2878258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ntertainment &amp; Game App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643438" y="2544683"/>
            <a:ext cx="503554" cy="503554"/>
            <a:chOff x="4962575" y="2544683"/>
            <a:chExt cx="503554" cy="503554"/>
          </a:xfrm>
        </p:grpSpPr>
        <p:sp>
          <p:nvSpPr>
            <p:cNvPr id="62" name="Oval 61"/>
            <p:cNvSpPr/>
            <p:nvPr/>
          </p:nvSpPr>
          <p:spPr>
            <a:xfrm>
              <a:off x="4962575" y="2544683"/>
              <a:ext cx="503554" cy="50355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8" name="Freeform 227"/>
            <p:cNvSpPr>
              <a:spLocks noEditPoints="1"/>
            </p:cNvSpPr>
            <p:nvPr/>
          </p:nvSpPr>
          <p:spPr bwMode="auto">
            <a:xfrm>
              <a:off x="5096215" y="2694144"/>
              <a:ext cx="236274" cy="204632"/>
            </a:xfrm>
            <a:custGeom>
              <a:avLst/>
              <a:gdLst>
                <a:gd name="T0" fmla="*/ 24 w 169"/>
                <a:gd name="T1" fmla="*/ 146 h 146"/>
                <a:gd name="T2" fmla="*/ 6 w 169"/>
                <a:gd name="T3" fmla="*/ 139 h 146"/>
                <a:gd name="T4" fmla="*/ 0 w 169"/>
                <a:gd name="T5" fmla="*/ 46 h 146"/>
                <a:gd name="T6" fmla="*/ 21 w 169"/>
                <a:gd name="T7" fmla="*/ 25 h 146"/>
                <a:gd name="T8" fmla="*/ 136 w 169"/>
                <a:gd name="T9" fmla="*/ 25 h 146"/>
                <a:gd name="T10" fmla="*/ 33 w 169"/>
                <a:gd name="T11" fmla="*/ 146 h 146"/>
                <a:gd name="T12" fmla="*/ 48 w 169"/>
                <a:gd name="T13" fmla="*/ 25 h 146"/>
                <a:gd name="T14" fmla="*/ 51 w 169"/>
                <a:gd name="T15" fmla="*/ 3 h 146"/>
                <a:gd name="T16" fmla="*/ 112 w 169"/>
                <a:gd name="T17" fmla="*/ 0 h 146"/>
                <a:gd name="T18" fmla="*/ 121 w 169"/>
                <a:gd name="T19" fmla="*/ 9 h 146"/>
                <a:gd name="T20" fmla="*/ 136 w 169"/>
                <a:gd name="T21" fmla="*/ 25 h 146"/>
                <a:gd name="T22" fmla="*/ 121 w 169"/>
                <a:gd name="T23" fmla="*/ 76 h 146"/>
                <a:gd name="T24" fmla="*/ 118 w 169"/>
                <a:gd name="T25" fmla="*/ 73 h 146"/>
                <a:gd name="T26" fmla="*/ 97 w 169"/>
                <a:gd name="T27" fmla="*/ 52 h 146"/>
                <a:gd name="T28" fmla="*/ 93 w 169"/>
                <a:gd name="T29" fmla="*/ 49 h 146"/>
                <a:gd name="T30" fmla="*/ 73 w 169"/>
                <a:gd name="T31" fmla="*/ 50 h 146"/>
                <a:gd name="T32" fmla="*/ 72 w 169"/>
                <a:gd name="T33" fmla="*/ 73 h 146"/>
                <a:gd name="T34" fmla="*/ 49 w 169"/>
                <a:gd name="T35" fmla="*/ 74 h 146"/>
                <a:gd name="T36" fmla="*/ 48 w 169"/>
                <a:gd name="T37" fmla="*/ 94 h 146"/>
                <a:gd name="T38" fmla="*/ 51 w 169"/>
                <a:gd name="T39" fmla="*/ 97 h 146"/>
                <a:gd name="T40" fmla="*/ 72 w 169"/>
                <a:gd name="T41" fmla="*/ 118 h 146"/>
                <a:gd name="T42" fmla="*/ 75 w 169"/>
                <a:gd name="T43" fmla="*/ 121 h 146"/>
                <a:gd name="T44" fmla="*/ 96 w 169"/>
                <a:gd name="T45" fmla="*/ 120 h 146"/>
                <a:gd name="T46" fmla="*/ 97 w 169"/>
                <a:gd name="T47" fmla="*/ 97 h 146"/>
                <a:gd name="T48" fmla="*/ 120 w 169"/>
                <a:gd name="T49" fmla="*/ 96 h 146"/>
                <a:gd name="T50" fmla="*/ 60 w 169"/>
                <a:gd name="T51" fmla="*/ 25 h 146"/>
                <a:gd name="T52" fmla="*/ 109 w 169"/>
                <a:gd name="T53" fmla="*/ 12 h 146"/>
                <a:gd name="T54" fmla="*/ 60 w 169"/>
                <a:gd name="T55" fmla="*/ 25 h 146"/>
                <a:gd name="T56" fmla="*/ 169 w 169"/>
                <a:gd name="T57" fmla="*/ 124 h 146"/>
                <a:gd name="T58" fmla="*/ 148 w 169"/>
                <a:gd name="T59" fmla="*/ 146 h 146"/>
                <a:gd name="T60" fmla="*/ 145 w 169"/>
                <a:gd name="T61" fmla="*/ 25 h 146"/>
                <a:gd name="T62" fmla="*/ 163 w 169"/>
                <a:gd name="T63" fmla="*/ 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" h="146">
                  <a:moveTo>
                    <a:pt x="24" y="25"/>
                  </a:moveTo>
                  <a:cubicBezTo>
                    <a:pt x="24" y="146"/>
                    <a:pt x="24" y="146"/>
                    <a:pt x="24" y="146"/>
                  </a:cubicBezTo>
                  <a:cubicBezTo>
                    <a:pt x="21" y="146"/>
                    <a:pt x="21" y="146"/>
                    <a:pt x="21" y="146"/>
                  </a:cubicBezTo>
                  <a:cubicBezTo>
                    <a:pt x="15" y="146"/>
                    <a:pt x="10" y="143"/>
                    <a:pt x="6" y="139"/>
                  </a:cubicBezTo>
                  <a:cubicBezTo>
                    <a:pt x="2" y="135"/>
                    <a:pt x="0" y="130"/>
                    <a:pt x="0" y="124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0"/>
                    <a:pt x="2" y="35"/>
                    <a:pt x="6" y="31"/>
                  </a:cubicBezTo>
                  <a:cubicBezTo>
                    <a:pt x="10" y="27"/>
                    <a:pt x="15" y="25"/>
                    <a:pt x="21" y="25"/>
                  </a:cubicBezTo>
                  <a:lnTo>
                    <a:pt x="24" y="25"/>
                  </a:lnTo>
                  <a:close/>
                  <a:moveTo>
                    <a:pt x="136" y="25"/>
                  </a:moveTo>
                  <a:cubicBezTo>
                    <a:pt x="136" y="146"/>
                    <a:pt x="136" y="146"/>
                    <a:pt x="136" y="146"/>
                  </a:cubicBezTo>
                  <a:cubicBezTo>
                    <a:pt x="33" y="146"/>
                    <a:pt x="33" y="146"/>
                    <a:pt x="33" y="14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7"/>
                    <a:pt x="49" y="5"/>
                    <a:pt x="51" y="3"/>
                  </a:cubicBezTo>
                  <a:cubicBezTo>
                    <a:pt x="53" y="1"/>
                    <a:pt x="55" y="0"/>
                    <a:pt x="57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4" y="0"/>
                    <a:pt x="116" y="1"/>
                    <a:pt x="118" y="3"/>
                  </a:cubicBezTo>
                  <a:cubicBezTo>
                    <a:pt x="120" y="5"/>
                    <a:pt x="121" y="7"/>
                    <a:pt x="121" y="9"/>
                  </a:cubicBezTo>
                  <a:cubicBezTo>
                    <a:pt x="121" y="25"/>
                    <a:pt x="121" y="25"/>
                    <a:pt x="121" y="25"/>
                  </a:cubicBezTo>
                  <a:lnTo>
                    <a:pt x="136" y="25"/>
                  </a:lnTo>
                  <a:close/>
                  <a:moveTo>
                    <a:pt x="121" y="94"/>
                  </a:moveTo>
                  <a:cubicBezTo>
                    <a:pt x="121" y="76"/>
                    <a:pt x="121" y="76"/>
                    <a:pt x="121" y="76"/>
                  </a:cubicBezTo>
                  <a:cubicBezTo>
                    <a:pt x="121" y="75"/>
                    <a:pt x="120" y="74"/>
                    <a:pt x="120" y="74"/>
                  </a:cubicBezTo>
                  <a:cubicBezTo>
                    <a:pt x="119" y="73"/>
                    <a:pt x="119" y="73"/>
                    <a:pt x="118" y="73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1"/>
                    <a:pt x="96" y="50"/>
                    <a:pt x="96" y="50"/>
                  </a:cubicBezTo>
                  <a:cubicBezTo>
                    <a:pt x="95" y="49"/>
                    <a:pt x="94" y="49"/>
                    <a:pt x="93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4" y="49"/>
                    <a:pt x="74" y="49"/>
                    <a:pt x="73" y="50"/>
                  </a:cubicBezTo>
                  <a:cubicBezTo>
                    <a:pt x="73" y="50"/>
                    <a:pt x="72" y="51"/>
                    <a:pt x="72" y="52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0" y="73"/>
                    <a:pt x="50" y="73"/>
                    <a:pt x="49" y="74"/>
                  </a:cubicBezTo>
                  <a:cubicBezTo>
                    <a:pt x="48" y="74"/>
                    <a:pt x="48" y="75"/>
                    <a:pt x="48" y="76"/>
                  </a:cubicBezTo>
                  <a:cubicBezTo>
                    <a:pt x="48" y="94"/>
                    <a:pt x="48" y="94"/>
                    <a:pt x="48" y="94"/>
                  </a:cubicBezTo>
                  <a:cubicBezTo>
                    <a:pt x="48" y="95"/>
                    <a:pt x="48" y="96"/>
                    <a:pt x="49" y="96"/>
                  </a:cubicBezTo>
                  <a:cubicBezTo>
                    <a:pt x="50" y="97"/>
                    <a:pt x="50" y="97"/>
                    <a:pt x="51" y="97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2" y="119"/>
                    <a:pt x="73" y="120"/>
                    <a:pt x="73" y="120"/>
                  </a:cubicBezTo>
                  <a:cubicBezTo>
                    <a:pt x="74" y="121"/>
                    <a:pt x="74" y="121"/>
                    <a:pt x="75" y="121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4" y="121"/>
                    <a:pt x="95" y="121"/>
                    <a:pt x="96" y="120"/>
                  </a:cubicBezTo>
                  <a:cubicBezTo>
                    <a:pt x="96" y="120"/>
                    <a:pt x="97" y="119"/>
                    <a:pt x="97" y="118"/>
                  </a:cubicBezTo>
                  <a:cubicBezTo>
                    <a:pt x="97" y="97"/>
                    <a:pt x="97" y="97"/>
                    <a:pt x="97" y="97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9" y="97"/>
                    <a:pt x="119" y="97"/>
                    <a:pt x="120" y="96"/>
                  </a:cubicBezTo>
                  <a:cubicBezTo>
                    <a:pt x="120" y="96"/>
                    <a:pt x="121" y="95"/>
                    <a:pt x="121" y="94"/>
                  </a:cubicBezTo>
                  <a:close/>
                  <a:moveTo>
                    <a:pt x="60" y="25"/>
                  </a:moveTo>
                  <a:cubicBezTo>
                    <a:pt x="109" y="25"/>
                    <a:pt x="109" y="25"/>
                    <a:pt x="109" y="25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60" y="12"/>
                    <a:pt x="60" y="12"/>
                    <a:pt x="60" y="12"/>
                  </a:cubicBezTo>
                  <a:lnTo>
                    <a:pt x="60" y="25"/>
                  </a:lnTo>
                  <a:close/>
                  <a:moveTo>
                    <a:pt x="169" y="46"/>
                  </a:moveTo>
                  <a:cubicBezTo>
                    <a:pt x="169" y="124"/>
                    <a:pt x="169" y="124"/>
                    <a:pt x="169" y="124"/>
                  </a:cubicBezTo>
                  <a:cubicBezTo>
                    <a:pt x="169" y="130"/>
                    <a:pt x="167" y="135"/>
                    <a:pt x="163" y="139"/>
                  </a:cubicBezTo>
                  <a:cubicBezTo>
                    <a:pt x="159" y="143"/>
                    <a:pt x="154" y="146"/>
                    <a:pt x="148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25"/>
                    <a:pt x="145" y="25"/>
                    <a:pt x="145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54" y="25"/>
                    <a:pt x="159" y="27"/>
                    <a:pt x="163" y="31"/>
                  </a:cubicBezTo>
                  <a:cubicBezTo>
                    <a:pt x="167" y="35"/>
                    <a:pt x="169" y="40"/>
                    <a:pt x="169" y="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95059" y="1543051"/>
            <a:ext cx="503554" cy="503554"/>
            <a:chOff x="593726" y="1543051"/>
            <a:chExt cx="503554" cy="503554"/>
          </a:xfrm>
        </p:grpSpPr>
        <p:sp>
          <p:nvSpPr>
            <p:cNvPr id="4" name="Oval 3"/>
            <p:cNvSpPr/>
            <p:nvPr/>
          </p:nvSpPr>
          <p:spPr>
            <a:xfrm>
              <a:off x="593726" y="1543051"/>
              <a:ext cx="503554" cy="50355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9" name="Freeform 16"/>
            <p:cNvSpPr>
              <a:spLocks noEditPoints="1"/>
            </p:cNvSpPr>
            <p:nvPr/>
          </p:nvSpPr>
          <p:spPr bwMode="auto">
            <a:xfrm>
              <a:off x="737526" y="1717267"/>
              <a:ext cx="215953" cy="155121"/>
            </a:xfrm>
            <a:custGeom>
              <a:avLst/>
              <a:gdLst>
                <a:gd name="T0" fmla="*/ 234 w 260"/>
                <a:gd name="T1" fmla="*/ 27 h 186"/>
                <a:gd name="T2" fmla="*/ 234 w 260"/>
                <a:gd name="T3" fmla="*/ 53 h 186"/>
                <a:gd name="T4" fmla="*/ 260 w 260"/>
                <a:gd name="T5" fmla="*/ 53 h 186"/>
                <a:gd name="T6" fmla="*/ 260 w 260"/>
                <a:gd name="T7" fmla="*/ 80 h 186"/>
                <a:gd name="T8" fmla="*/ 234 w 260"/>
                <a:gd name="T9" fmla="*/ 80 h 186"/>
                <a:gd name="T10" fmla="*/ 234 w 260"/>
                <a:gd name="T11" fmla="*/ 106 h 186"/>
                <a:gd name="T12" fmla="*/ 260 w 260"/>
                <a:gd name="T13" fmla="*/ 106 h 186"/>
                <a:gd name="T14" fmla="*/ 260 w 260"/>
                <a:gd name="T15" fmla="*/ 133 h 186"/>
                <a:gd name="T16" fmla="*/ 234 w 260"/>
                <a:gd name="T17" fmla="*/ 133 h 186"/>
                <a:gd name="T18" fmla="*/ 234 w 260"/>
                <a:gd name="T19" fmla="*/ 159 h 186"/>
                <a:gd name="T20" fmla="*/ 260 w 260"/>
                <a:gd name="T21" fmla="*/ 159 h 186"/>
                <a:gd name="T22" fmla="*/ 260 w 260"/>
                <a:gd name="T23" fmla="*/ 175 h 186"/>
                <a:gd name="T24" fmla="*/ 250 w 260"/>
                <a:gd name="T25" fmla="*/ 186 h 186"/>
                <a:gd name="T26" fmla="*/ 11 w 260"/>
                <a:gd name="T27" fmla="*/ 186 h 186"/>
                <a:gd name="T28" fmla="*/ 0 w 260"/>
                <a:gd name="T29" fmla="*/ 175 h 186"/>
                <a:gd name="T30" fmla="*/ 0 w 260"/>
                <a:gd name="T31" fmla="*/ 159 h 186"/>
                <a:gd name="T32" fmla="*/ 27 w 260"/>
                <a:gd name="T33" fmla="*/ 159 h 186"/>
                <a:gd name="T34" fmla="*/ 27 w 260"/>
                <a:gd name="T35" fmla="*/ 133 h 186"/>
                <a:gd name="T36" fmla="*/ 0 w 260"/>
                <a:gd name="T37" fmla="*/ 133 h 186"/>
                <a:gd name="T38" fmla="*/ 0 w 260"/>
                <a:gd name="T39" fmla="*/ 106 h 186"/>
                <a:gd name="T40" fmla="*/ 27 w 260"/>
                <a:gd name="T41" fmla="*/ 106 h 186"/>
                <a:gd name="T42" fmla="*/ 27 w 260"/>
                <a:gd name="T43" fmla="*/ 80 h 186"/>
                <a:gd name="T44" fmla="*/ 0 w 260"/>
                <a:gd name="T45" fmla="*/ 80 h 186"/>
                <a:gd name="T46" fmla="*/ 0 w 260"/>
                <a:gd name="T47" fmla="*/ 53 h 186"/>
                <a:gd name="T48" fmla="*/ 27 w 260"/>
                <a:gd name="T49" fmla="*/ 53 h 186"/>
                <a:gd name="T50" fmla="*/ 27 w 260"/>
                <a:gd name="T51" fmla="*/ 27 h 186"/>
                <a:gd name="T52" fmla="*/ 0 w 260"/>
                <a:gd name="T53" fmla="*/ 27 h 186"/>
                <a:gd name="T54" fmla="*/ 0 w 260"/>
                <a:gd name="T55" fmla="*/ 11 h 186"/>
                <a:gd name="T56" fmla="*/ 11 w 260"/>
                <a:gd name="T57" fmla="*/ 0 h 186"/>
                <a:gd name="T58" fmla="*/ 250 w 260"/>
                <a:gd name="T59" fmla="*/ 0 h 186"/>
                <a:gd name="T60" fmla="*/ 260 w 260"/>
                <a:gd name="T61" fmla="*/ 11 h 186"/>
                <a:gd name="T62" fmla="*/ 260 w 260"/>
                <a:gd name="T63" fmla="*/ 27 h 186"/>
                <a:gd name="T64" fmla="*/ 234 w 260"/>
                <a:gd name="T65" fmla="*/ 27 h 186"/>
                <a:gd name="T66" fmla="*/ 167 w 260"/>
                <a:gd name="T67" fmla="*/ 93 h 186"/>
                <a:gd name="T68" fmla="*/ 101 w 260"/>
                <a:gd name="T69" fmla="*/ 53 h 186"/>
                <a:gd name="T70" fmla="*/ 101 w 260"/>
                <a:gd name="T71" fmla="*/ 133 h 186"/>
                <a:gd name="T72" fmla="*/ 167 w 260"/>
                <a:gd name="T73" fmla="*/ 9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0" h="186">
                  <a:moveTo>
                    <a:pt x="234" y="27"/>
                  </a:moveTo>
                  <a:cubicBezTo>
                    <a:pt x="234" y="53"/>
                    <a:pt x="234" y="53"/>
                    <a:pt x="234" y="53"/>
                  </a:cubicBezTo>
                  <a:cubicBezTo>
                    <a:pt x="260" y="53"/>
                    <a:pt x="260" y="53"/>
                    <a:pt x="260" y="53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34" y="80"/>
                    <a:pt x="234" y="80"/>
                    <a:pt x="234" y="80"/>
                  </a:cubicBezTo>
                  <a:cubicBezTo>
                    <a:pt x="234" y="106"/>
                    <a:pt x="234" y="106"/>
                    <a:pt x="234" y="106"/>
                  </a:cubicBezTo>
                  <a:cubicBezTo>
                    <a:pt x="260" y="106"/>
                    <a:pt x="260" y="106"/>
                    <a:pt x="260" y="10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34" y="133"/>
                    <a:pt x="234" y="133"/>
                    <a:pt x="234" y="133"/>
                  </a:cubicBezTo>
                  <a:cubicBezTo>
                    <a:pt x="234" y="159"/>
                    <a:pt x="234" y="159"/>
                    <a:pt x="234" y="159"/>
                  </a:cubicBezTo>
                  <a:cubicBezTo>
                    <a:pt x="260" y="159"/>
                    <a:pt x="260" y="159"/>
                    <a:pt x="260" y="159"/>
                  </a:cubicBezTo>
                  <a:cubicBezTo>
                    <a:pt x="260" y="175"/>
                    <a:pt x="260" y="175"/>
                    <a:pt x="260" y="175"/>
                  </a:cubicBezTo>
                  <a:cubicBezTo>
                    <a:pt x="260" y="181"/>
                    <a:pt x="256" y="186"/>
                    <a:pt x="250" y="186"/>
                  </a:cubicBezTo>
                  <a:cubicBezTo>
                    <a:pt x="11" y="186"/>
                    <a:pt x="11" y="186"/>
                    <a:pt x="11" y="186"/>
                  </a:cubicBezTo>
                  <a:cubicBezTo>
                    <a:pt x="5" y="186"/>
                    <a:pt x="0" y="181"/>
                    <a:pt x="0" y="175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27" y="159"/>
                    <a:pt x="27" y="159"/>
                    <a:pt x="27" y="159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27" y="106"/>
                    <a:pt x="27" y="106"/>
                    <a:pt x="27" y="106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56" y="0"/>
                    <a:pt x="260" y="5"/>
                    <a:pt x="260" y="11"/>
                  </a:cubicBezTo>
                  <a:cubicBezTo>
                    <a:pt x="260" y="27"/>
                    <a:pt x="260" y="27"/>
                    <a:pt x="260" y="27"/>
                  </a:cubicBezTo>
                  <a:lnTo>
                    <a:pt x="234" y="27"/>
                  </a:lnTo>
                  <a:close/>
                  <a:moveTo>
                    <a:pt x="167" y="93"/>
                  </a:moveTo>
                  <a:cubicBezTo>
                    <a:pt x="101" y="53"/>
                    <a:pt x="101" y="53"/>
                    <a:pt x="101" y="53"/>
                  </a:cubicBezTo>
                  <a:cubicBezTo>
                    <a:pt x="101" y="133"/>
                    <a:pt x="101" y="133"/>
                    <a:pt x="101" y="133"/>
                  </a:cubicBezTo>
                  <a:lnTo>
                    <a:pt x="167" y="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95059" y="3546316"/>
            <a:ext cx="503554" cy="503554"/>
            <a:chOff x="593726" y="3546316"/>
            <a:chExt cx="503554" cy="503554"/>
          </a:xfrm>
        </p:grpSpPr>
        <p:sp>
          <p:nvSpPr>
            <p:cNvPr id="44" name="Oval 43"/>
            <p:cNvSpPr/>
            <p:nvPr/>
          </p:nvSpPr>
          <p:spPr>
            <a:xfrm>
              <a:off x="593726" y="3546316"/>
              <a:ext cx="503554" cy="50355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0" name="Freeform 120"/>
            <p:cNvSpPr>
              <a:spLocks noEditPoints="1"/>
            </p:cNvSpPr>
            <p:nvPr/>
          </p:nvSpPr>
          <p:spPr bwMode="auto">
            <a:xfrm>
              <a:off x="737526" y="3708692"/>
              <a:ext cx="203716" cy="174333"/>
            </a:xfrm>
            <a:custGeom>
              <a:avLst/>
              <a:gdLst>
                <a:gd name="T0" fmla="*/ 157 w 157"/>
                <a:gd name="T1" fmla="*/ 19 h 134"/>
                <a:gd name="T2" fmla="*/ 157 w 157"/>
                <a:gd name="T3" fmla="*/ 67 h 134"/>
                <a:gd name="T4" fmla="*/ 156 w 157"/>
                <a:gd name="T5" fmla="*/ 71 h 134"/>
                <a:gd name="T6" fmla="*/ 152 w 157"/>
                <a:gd name="T7" fmla="*/ 73 h 134"/>
                <a:gd name="T8" fmla="*/ 53 w 157"/>
                <a:gd name="T9" fmla="*/ 85 h 134"/>
                <a:gd name="T10" fmla="*/ 54 w 157"/>
                <a:gd name="T11" fmla="*/ 87 h 134"/>
                <a:gd name="T12" fmla="*/ 54 w 157"/>
                <a:gd name="T13" fmla="*/ 89 h 134"/>
                <a:gd name="T14" fmla="*/ 54 w 157"/>
                <a:gd name="T15" fmla="*/ 91 h 134"/>
                <a:gd name="T16" fmla="*/ 52 w 157"/>
                <a:gd name="T17" fmla="*/ 97 h 134"/>
                <a:gd name="T18" fmla="*/ 139 w 157"/>
                <a:gd name="T19" fmla="*/ 97 h 134"/>
                <a:gd name="T20" fmla="*/ 143 w 157"/>
                <a:gd name="T21" fmla="*/ 99 h 134"/>
                <a:gd name="T22" fmla="*/ 145 w 157"/>
                <a:gd name="T23" fmla="*/ 103 h 134"/>
                <a:gd name="T24" fmla="*/ 143 w 157"/>
                <a:gd name="T25" fmla="*/ 108 h 134"/>
                <a:gd name="T26" fmla="*/ 139 w 157"/>
                <a:gd name="T27" fmla="*/ 109 h 134"/>
                <a:gd name="T28" fmla="*/ 42 w 157"/>
                <a:gd name="T29" fmla="*/ 109 h 134"/>
                <a:gd name="T30" fmla="*/ 38 w 157"/>
                <a:gd name="T31" fmla="*/ 108 h 134"/>
                <a:gd name="T32" fmla="*/ 36 w 157"/>
                <a:gd name="T33" fmla="*/ 103 h 134"/>
                <a:gd name="T34" fmla="*/ 37 w 157"/>
                <a:gd name="T35" fmla="*/ 100 h 134"/>
                <a:gd name="T36" fmla="*/ 40 w 157"/>
                <a:gd name="T37" fmla="*/ 94 h 134"/>
                <a:gd name="T38" fmla="*/ 42 w 157"/>
                <a:gd name="T39" fmla="*/ 90 h 134"/>
                <a:gd name="T40" fmla="*/ 25 w 157"/>
                <a:gd name="T41" fmla="*/ 13 h 134"/>
                <a:gd name="T42" fmla="*/ 6 w 157"/>
                <a:gd name="T43" fmla="*/ 13 h 134"/>
                <a:gd name="T44" fmla="*/ 2 w 157"/>
                <a:gd name="T45" fmla="*/ 11 h 134"/>
                <a:gd name="T46" fmla="*/ 0 w 157"/>
                <a:gd name="T47" fmla="*/ 6 h 134"/>
                <a:gd name="T48" fmla="*/ 2 w 157"/>
                <a:gd name="T49" fmla="*/ 2 h 134"/>
                <a:gd name="T50" fmla="*/ 6 w 157"/>
                <a:gd name="T51" fmla="*/ 0 h 134"/>
                <a:gd name="T52" fmla="*/ 30 w 157"/>
                <a:gd name="T53" fmla="*/ 0 h 134"/>
                <a:gd name="T54" fmla="*/ 33 w 157"/>
                <a:gd name="T55" fmla="*/ 1 h 134"/>
                <a:gd name="T56" fmla="*/ 35 w 157"/>
                <a:gd name="T57" fmla="*/ 3 h 134"/>
                <a:gd name="T58" fmla="*/ 36 w 157"/>
                <a:gd name="T59" fmla="*/ 5 h 134"/>
                <a:gd name="T60" fmla="*/ 37 w 157"/>
                <a:gd name="T61" fmla="*/ 7 h 134"/>
                <a:gd name="T62" fmla="*/ 37 w 157"/>
                <a:gd name="T63" fmla="*/ 10 h 134"/>
                <a:gd name="T64" fmla="*/ 38 w 157"/>
                <a:gd name="T65" fmla="*/ 13 h 134"/>
                <a:gd name="T66" fmla="*/ 151 w 157"/>
                <a:gd name="T67" fmla="*/ 13 h 134"/>
                <a:gd name="T68" fmla="*/ 155 w 157"/>
                <a:gd name="T69" fmla="*/ 14 h 134"/>
                <a:gd name="T70" fmla="*/ 157 w 157"/>
                <a:gd name="T71" fmla="*/ 19 h 134"/>
                <a:gd name="T72" fmla="*/ 57 w 157"/>
                <a:gd name="T73" fmla="*/ 113 h 134"/>
                <a:gd name="T74" fmla="*/ 60 w 157"/>
                <a:gd name="T75" fmla="*/ 121 h 134"/>
                <a:gd name="T76" fmla="*/ 57 w 157"/>
                <a:gd name="T77" fmla="*/ 130 h 134"/>
                <a:gd name="T78" fmla="*/ 48 w 157"/>
                <a:gd name="T79" fmla="*/ 134 h 134"/>
                <a:gd name="T80" fmla="*/ 40 w 157"/>
                <a:gd name="T81" fmla="*/ 130 h 134"/>
                <a:gd name="T82" fmla="*/ 36 w 157"/>
                <a:gd name="T83" fmla="*/ 121 h 134"/>
                <a:gd name="T84" fmla="*/ 40 w 157"/>
                <a:gd name="T85" fmla="*/ 113 h 134"/>
                <a:gd name="T86" fmla="*/ 48 w 157"/>
                <a:gd name="T87" fmla="*/ 109 h 134"/>
                <a:gd name="T88" fmla="*/ 57 w 157"/>
                <a:gd name="T89" fmla="*/ 113 h 134"/>
                <a:gd name="T90" fmla="*/ 142 w 157"/>
                <a:gd name="T91" fmla="*/ 113 h 134"/>
                <a:gd name="T92" fmla="*/ 145 w 157"/>
                <a:gd name="T93" fmla="*/ 121 h 134"/>
                <a:gd name="T94" fmla="*/ 142 w 157"/>
                <a:gd name="T95" fmla="*/ 130 h 134"/>
                <a:gd name="T96" fmla="*/ 133 w 157"/>
                <a:gd name="T97" fmla="*/ 134 h 134"/>
                <a:gd name="T98" fmla="*/ 125 w 157"/>
                <a:gd name="T99" fmla="*/ 130 h 134"/>
                <a:gd name="T100" fmla="*/ 121 w 157"/>
                <a:gd name="T101" fmla="*/ 121 h 134"/>
                <a:gd name="T102" fmla="*/ 125 w 157"/>
                <a:gd name="T103" fmla="*/ 113 h 134"/>
                <a:gd name="T104" fmla="*/ 133 w 157"/>
                <a:gd name="T105" fmla="*/ 109 h 134"/>
                <a:gd name="T106" fmla="*/ 142 w 157"/>
                <a:gd name="T107" fmla="*/ 11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7" h="134">
                  <a:moveTo>
                    <a:pt x="157" y="19"/>
                  </a:moveTo>
                  <a:cubicBezTo>
                    <a:pt x="157" y="67"/>
                    <a:pt x="157" y="67"/>
                    <a:pt x="157" y="67"/>
                  </a:cubicBezTo>
                  <a:cubicBezTo>
                    <a:pt x="157" y="69"/>
                    <a:pt x="157" y="70"/>
                    <a:pt x="156" y="71"/>
                  </a:cubicBezTo>
                  <a:cubicBezTo>
                    <a:pt x="155" y="72"/>
                    <a:pt x="153" y="73"/>
                    <a:pt x="152" y="73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6"/>
                    <a:pt x="54" y="87"/>
                  </a:cubicBezTo>
                  <a:cubicBezTo>
                    <a:pt x="54" y="88"/>
                    <a:pt x="54" y="88"/>
                    <a:pt x="54" y="89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2"/>
                    <a:pt x="54" y="94"/>
                    <a:pt x="5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41" y="97"/>
                    <a:pt x="142" y="98"/>
                    <a:pt x="143" y="99"/>
                  </a:cubicBezTo>
                  <a:cubicBezTo>
                    <a:pt x="145" y="100"/>
                    <a:pt x="145" y="102"/>
                    <a:pt x="145" y="103"/>
                  </a:cubicBezTo>
                  <a:cubicBezTo>
                    <a:pt x="145" y="105"/>
                    <a:pt x="145" y="106"/>
                    <a:pt x="143" y="108"/>
                  </a:cubicBezTo>
                  <a:cubicBezTo>
                    <a:pt x="142" y="109"/>
                    <a:pt x="141" y="109"/>
                    <a:pt x="139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1" y="109"/>
                    <a:pt x="39" y="109"/>
                    <a:pt x="38" y="108"/>
                  </a:cubicBezTo>
                  <a:cubicBezTo>
                    <a:pt x="37" y="106"/>
                    <a:pt x="36" y="105"/>
                    <a:pt x="36" y="103"/>
                  </a:cubicBezTo>
                  <a:cubicBezTo>
                    <a:pt x="36" y="102"/>
                    <a:pt x="37" y="101"/>
                    <a:pt x="37" y="100"/>
                  </a:cubicBezTo>
                  <a:cubicBezTo>
                    <a:pt x="38" y="98"/>
                    <a:pt x="39" y="96"/>
                    <a:pt x="40" y="94"/>
                  </a:cubicBezTo>
                  <a:cubicBezTo>
                    <a:pt x="41" y="92"/>
                    <a:pt x="42" y="91"/>
                    <a:pt x="42" y="9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3" y="12"/>
                    <a:pt x="2" y="11"/>
                  </a:cubicBezTo>
                  <a:cubicBezTo>
                    <a:pt x="1" y="10"/>
                    <a:pt x="0" y="8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3" y="1"/>
                  </a:cubicBezTo>
                  <a:cubicBezTo>
                    <a:pt x="34" y="1"/>
                    <a:pt x="34" y="2"/>
                    <a:pt x="35" y="3"/>
                  </a:cubicBezTo>
                  <a:cubicBezTo>
                    <a:pt x="35" y="3"/>
                    <a:pt x="36" y="4"/>
                    <a:pt x="36" y="5"/>
                  </a:cubicBezTo>
                  <a:cubicBezTo>
                    <a:pt x="36" y="6"/>
                    <a:pt x="37" y="7"/>
                    <a:pt x="37" y="7"/>
                  </a:cubicBezTo>
                  <a:cubicBezTo>
                    <a:pt x="37" y="8"/>
                    <a:pt x="37" y="9"/>
                    <a:pt x="37" y="10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3" y="13"/>
                    <a:pt x="154" y="13"/>
                    <a:pt x="155" y="14"/>
                  </a:cubicBezTo>
                  <a:cubicBezTo>
                    <a:pt x="157" y="16"/>
                    <a:pt x="157" y="17"/>
                    <a:pt x="157" y="19"/>
                  </a:cubicBezTo>
                  <a:close/>
                  <a:moveTo>
                    <a:pt x="57" y="113"/>
                  </a:moveTo>
                  <a:cubicBezTo>
                    <a:pt x="59" y="115"/>
                    <a:pt x="60" y="118"/>
                    <a:pt x="60" y="121"/>
                  </a:cubicBezTo>
                  <a:cubicBezTo>
                    <a:pt x="60" y="125"/>
                    <a:pt x="59" y="128"/>
                    <a:pt x="57" y="130"/>
                  </a:cubicBezTo>
                  <a:cubicBezTo>
                    <a:pt x="55" y="132"/>
                    <a:pt x="52" y="134"/>
                    <a:pt x="48" y="134"/>
                  </a:cubicBezTo>
                  <a:cubicBezTo>
                    <a:pt x="45" y="134"/>
                    <a:pt x="42" y="132"/>
                    <a:pt x="40" y="130"/>
                  </a:cubicBezTo>
                  <a:cubicBezTo>
                    <a:pt x="37" y="128"/>
                    <a:pt x="36" y="125"/>
                    <a:pt x="36" y="121"/>
                  </a:cubicBezTo>
                  <a:cubicBezTo>
                    <a:pt x="36" y="118"/>
                    <a:pt x="37" y="115"/>
                    <a:pt x="40" y="113"/>
                  </a:cubicBezTo>
                  <a:cubicBezTo>
                    <a:pt x="42" y="111"/>
                    <a:pt x="45" y="109"/>
                    <a:pt x="48" y="109"/>
                  </a:cubicBezTo>
                  <a:cubicBezTo>
                    <a:pt x="52" y="109"/>
                    <a:pt x="55" y="111"/>
                    <a:pt x="57" y="113"/>
                  </a:cubicBezTo>
                  <a:close/>
                  <a:moveTo>
                    <a:pt x="142" y="113"/>
                  </a:moveTo>
                  <a:cubicBezTo>
                    <a:pt x="144" y="115"/>
                    <a:pt x="145" y="118"/>
                    <a:pt x="145" y="121"/>
                  </a:cubicBezTo>
                  <a:cubicBezTo>
                    <a:pt x="145" y="125"/>
                    <a:pt x="144" y="128"/>
                    <a:pt x="142" y="130"/>
                  </a:cubicBezTo>
                  <a:cubicBezTo>
                    <a:pt x="139" y="132"/>
                    <a:pt x="136" y="134"/>
                    <a:pt x="133" y="134"/>
                  </a:cubicBezTo>
                  <a:cubicBezTo>
                    <a:pt x="130" y="134"/>
                    <a:pt x="127" y="132"/>
                    <a:pt x="125" y="130"/>
                  </a:cubicBezTo>
                  <a:cubicBezTo>
                    <a:pt x="122" y="128"/>
                    <a:pt x="121" y="125"/>
                    <a:pt x="121" y="121"/>
                  </a:cubicBezTo>
                  <a:cubicBezTo>
                    <a:pt x="121" y="118"/>
                    <a:pt x="122" y="115"/>
                    <a:pt x="125" y="113"/>
                  </a:cubicBezTo>
                  <a:cubicBezTo>
                    <a:pt x="127" y="111"/>
                    <a:pt x="130" y="109"/>
                    <a:pt x="133" y="109"/>
                  </a:cubicBezTo>
                  <a:cubicBezTo>
                    <a:pt x="136" y="109"/>
                    <a:pt x="139" y="111"/>
                    <a:pt x="142" y="1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643438" y="1543051"/>
            <a:ext cx="503554" cy="503554"/>
            <a:chOff x="4962575" y="1543051"/>
            <a:chExt cx="503554" cy="503554"/>
          </a:xfrm>
        </p:grpSpPr>
        <p:sp>
          <p:nvSpPr>
            <p:cNvPr id="59" name="Oval 58"/>
            <p:cNvSpPr/>
            <p:nvPr/>
          </p:nvSpPr>
          <p:spPr>
            <a:xfrm>
              <a:off x="4962575" y="1543051"/>
              <a:ext cx="503554" cy="50355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1" name="Freeform 188"/>
            <p:cNvSpPr>
              <a:spLocks noEditPoints="1"/>
            </p:cNvSpPr>
            <p:nvPr/>
          </p:nvSpPr>
          <p:spPr bwMode="auto">
            <a:xfrm>
              <a:off x="5088547" y="1703282"/>
              <a:ext cx="214943" cy="177129"/>
            </a:xfrm>
            <a:custGeom>
              <a:avLst/>
              <a:gdLst>
                <a:gd name="T0" fmla="*/ 163 w 163"/>
                <a:gd name="T1" fmla="*/ 103 h 134"/>
                <a:gd name="T2" fmla="*/ 162 w 163"/>
                <a:gd name="T3" fmla="*/ 108 h 134"/>
                <a:gd name="T4" fmla="*/ 158 w 163"/>
                <a:gd name="T5" fmla="*/ 109 h 134"/>
                <a:gd name="T6" fmla="*/ 153 w 163"/>
                <a:gd name="T7" fmla="*/ 109 h 134"/>
                <a:gd name="T8" fmla="*/ 144 w 163"/>
                <a:gd name="T9" fmla="*/ 126 h 134"/>
                <a:gd name="T10" fmla="*/ 110 w 163"/>
                <a:gd name="T11" fmla="*/ 126 h 134"/>
                <a:gd name="T12" fmla="*/ 67 w 163"/>
                <a:gd name="T13" fmla="*/ 109 h 134"/>
                <a:gd name="T14" fmla="*/ 42 w 163"/>
                <a:gd name="T15" fmla="*/ 134 h 134"/>
                <a:gd name="T16" fmla="*/ 18 w 163"/>
                <a:gd name="T17" fmla="*/ 109 h 134"/>
                <a:gd name="T18" fmla="*/ 10 w 163"/>
                <a:gd name="T19" fmla="*/ 109 h 134"/>
                <a:gd name="T20" fmla="*/ 5 w 163"/>
                <a:gd name="T21" fmla="*/ 109 h 134"/>
                <a:gd name="T22" fmla="*/ 2 w 163"/>
                <a:gd name="T23" fmla="*/ 108 h 134"/>
                <a:gd name="T24" fmla="*/ 0 w 163"/>
                <a:gd name="T25" fmla="*/ 103 h 134"/>
                <a:gd name="T26" fmla="*/ 6 w 163"/>
                <a:gd name="T27" fmla="*/ 97 h 134"/>
                <a:gd name="T28" fmla="*/ 6 w 163"/>
                <a:gd name="T29" fmla="*/ 64 h 134"/>
                <a:gd name="T30" fmla="*/ 6 w 163"/>
                <a:gd name="T31" fmla="*/ 57 h 134"/>
                <a:gd name="T32" fmla="*/ 8 w 163"/>
                <a:gd name="T33" fmla="*/ 50 h 134"/>
                <a:gd name="T34" fmla="*/ 29 w 163"/>
                <a:gd name="T35" fmla="*/ 29 h 134"/>
                <a:gd name="T36" fmla="*/ 39 w 163"/>
                <a:gd name="T37" fmla="*/ 25 h 134"/>
                <a:gd name="T38" fmla="*/ 54 w 163"/>
                <a:gd name="T39" fmla="*/ 6 h 134"/>
                <a:gd name="T40" fmla="*/ 61 w 163"/>
                <a:gd name="T41" fmla="*/ 0 h 134"/>
                <a:gd name="T42" fmla="*/ 162 w 163"/>
                <a:gd name="T43" fmla="*/ 2 h 134"/>
                <a:gd name="T44" fmla="*/ 18 w 163"/>
                <a:gd name="T45" fmla="*/ 61 h 134"/>
                <a:gd name="T46" fmla="*/ 54 w 163"/>
                <a:gd name="T47" fmla="*/ 37 h 134"/>
                <a:gd name="T48" fmla="*/ 37 w 163"/>
                <a:gd name="T49" fmla="*/ 38 h 134"/>
                <a:gd name="T50" fmla="*/ 18 w 163"/>
                <a:gd name="T51" fmla="*/ 58 h 134"/>
                <a:gd name="T52" fmla="*/ 51 w 163"/>
                <a:gd name="T53" fmla="*/ 118 h 134"/>
                <a:gd name="T54" fmla="*/ 51 w 163"/>
                <a:gd name="T55" fmla="*/ 101 h 134"/>
                <a:gd name="T56" fmla="*/ 34 w 163"/>
                <a:gd name="T57" fmla="*/ 101 h 134"/>
                <a:gd name="T58" fmla="*/ 34 w 163"/>
                <a:gd name="T59" fmla="*/ 118 h 134"/>
                <a:gd name="T60" fmla="*/ 51 w 163"/>
                <a:gd name="T61" fmla="*/ 118 h 134"/>
                <a:gd name="T62" fmla="*/ 139 w 163"/>
                <a:gd name="T63" fmla="*/ 109 h 134"/>
                <a:gd name="T64" fmla="*/ 127 w 163"/>
                <a:gd name="T65" fmla="*/ 97 h 134"/>
                <a:gd name="T66" fmla="*/ 115 w 163"/>
                <a:gd name="T67" fmla="*/ 109 h 134"/>
                <a:gd name="T68" fmla="*/ 127 w 163"/>
                <a:gd name="T69" fmla="*/ 12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3" h="134">
                  <a:moveTo>
                    <a:pt x="163" y="6"/>
                  </a:moveTo>
                  <a:cubicBezTo>
                    <a:pt x="163" y="103"/>
                    <a:pt x="163" y="103"/>
                    <a:pt x="163" y="103"/>
                  </a:cubicBezTo>
                  <a:cubicBezTo>
                    <a:pt x="163" y="104"/>
                    <a:pt x="163" y="105"/>
                    <a:pt x="163" y="106"/>
                  </a:cubicBezTo>
                  <a:cubicBezTo>
                    <a:pt x="163" y="107"/>
                    <a:pt x="162" y="107"/>
                    <a:pt x="162" y="108"/>
                  </a:cubicBezTo>
                  <a:cubicBezTo>
                    <a:pt x="161" y="108"/>
                    <a:pt x="161" y="108"/>
                    <a:pt x="160" y="109"/>
                  </a:cubicBezTo>
                  <a:cubicBezTo>
                    <a:pt x="160" y="109"/>
                    <a:pt x="159" y="109"/>
                    <a:pt x="158" y="109"/>
                  </a:cubicBezTo>
                  <a:cubicBezTo>
                    <a:pt x="157" y="109"/>
                    <a:pt x="156" y="109"/>
                    <a:pt x="156" y="109"/>
                  </a:cubicBezTo>
                  <a:cubicBezTo>
                    <a:pt x="155" y="109"/>
                    <a:pt x="155" y="109"/>
                    <a:pt x="153" y="109"/>
                  </a:cubicBezTo>
                  <a:cubicBezTo>
                    <a:pt x="152" y="109"/>
                    <a:pt x="152" y="109"/>
                    <a:pt x="151" y="109"/>
                  </a:cubicBezTo>
                  <a:cubicBezTo>
                    <a:pt x="151" y="116"/>
                    <a:pt x="149" y="122"/>
                    <a:pt x="144" y="126"/>
                  </a:cubicBezTo>
                  <a:cubicBezTo>
                    <a:pt x="139" y="131"/>
                    <a:pt x="134" y="134"/>
                    <a:pt x="127" y="134"/>
                  </a:cubicBezTo>
                  <a:cubicBezTo>
                    <a:pt x="120" y="134"/>
                    <a:pt x="115" y="131"/>
                    <a:pt x="110" y="126"/>
                  </a:cubicBezTo>
                  <a:cubicBezTo>
                    <a:pt x="105" y="122"/>
                    <a:pt x="103" y="116"/>
                    <a:pt x="103" y="109"/>
                  </a:cubicBezTo>
                  <a:cubicBezTo>
                    <a:pt x="67" y="109"/>
                    <a:pt x="67" y="109"/>
                    <a:pt x="67" y="109"/>
                  </a:cubicBezTo>
                  <a:cubicBezTo>
                    <a:pt x="67" y="116"/>
                    <a:pt x="64" y="122"/>
                    <a:pt x="60" y="126"/>
                  </a:cubicBezTo>
                  <a:cubicBezTo>
                    <a:pt x="55" y="131"/>
                    <a:pt x="49" y="134"/>
                    <a:pt x="42" y="134"/>
                  </a:cubicBezTo>
                  <a:cubicBezTo>
                    <a:pt x="36" y="134"/>
                    <a:pt x="30" y="131"/>
                    <a:pt x="25" y="126"/>
                  </a:cubicBezTo>
                  <a:cubicBezTo>
                    <a:pt x="21" y="122"/>
                    <a:pt x="18" y="116"/>
                    <a:pt x="18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1" y="109"/>
                    <a:pt x="10" y="109"/>
                  </a:cubicBezTo>
                  <a:cubicBezTo>
                    <a:pt x="9" y="109"/>
                    <a:pt x="8" y="109"/>
                    <a:pt x="8" y="109"/>
                  </a:cubicBezTo>
                  <a:cubicBezTo>
                    <a:pt x="7" y="109"/>
                    <a:pt x="7" y="109"/>
                    <a:pt x="5" y="109"/>
                  </a:cubicBezTo>
                  <a:cubicBezTo>
                    <a:pt x="4" y="109"/>
                    <a:pt x="4" y="109"/>
                    <a:pt x="3" y="109"/>
                  </a:cubicBezTo>
                  <a:cubicBezTo>
                    <a:pt x="3" y="108"/>
                    <a:pt x="2" y="108"/>
                    <a:pt x="2" y="108"/>
                  </a:cubicBezTo>
                  <a:cubicBezTo>
                    <a:pt x="1" y="107"/>
                    <a:pt x="1" y="107"/>
                    <a:pt x="0" y="106"/>
                  </a:cubicBezTo>
                  <a:cubicBezTo>
                    <a:pt x="0" y="105"/>
                    <a:pt x="0" y="104"/>
                    <a:pt x="0" y="103"/>
                  </a:cubicBezTo>
                  <a:cubicBezTo>
                    <a:pt x="0" y="102"/>
                    <a:pt x="1" y="100"/>
                    <a:pt x="2" y="99"/>
                  </a:cubicBezTo>
                  <a:cubicBezTo>
                    <a:pt x="3" y="98"/>
                    <a:pt x="4" y="97"/>
                    <a:pt x="6" y="9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6"/>
                    <a:pt x="6" y="65"/>
                    <a:pt x="6" y="64"/>
                  </a:cubicBezTo>
                  <a:cubicBezTo>
                    <a:pt x="6" y="62"/>
                    <a:pt x="6" y="61"/>
                    <a:pt x="6" y="60"/>
                  </a:cubicBezTo>
                  <a:cubicBezTo>
                    <a:pt x="6" y="59"/>
                    <a:pt x="6" y="58"/>
                    <a:pt x="6" y="57"/>
                  </a:cubicBezTo>
                  <a:cubicBezTo>
                    <a:pt x="6" y="55"/>
                    <a:pt x="7" y="54"/>
                    <a:pt x="7" y="53"/>
                  </a:cubicBezTo>
                  <a:cubicBezTo>
                    <a:pt x="7" y="52"/>
                    <a:pt x="8" y="52"/>
                    <a:pt x="8" y="50"/>
                  </a:cubicBezTo>
                  <a:cubicBezTo>
                    <a:pt x="9" y="49"/>
                    <a:pt x="10" y="48"/>
                    <a:pt x="10" y="48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28"/>
                    <a:pt x="32" y="27"/>
                    <a:pt x="34" y="26"/>
                  </a:cubicBezTo>
                  <a:cubicBezTo>
                    <a:pt x="36" y="25"/>
                    <a:pt x="38" y="25"/>
                    <a:pt x="39" y="25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5" y="3"/>
                    <a:pt x="56" y="2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9" y="0"/>
                    <a:pt x="160" y="1"/>
                    <a:pt x="162" y="2"/>
                  </a:cubicBezTo>
                  <a:cubicBezTo>
                    <a:pt x="163" y="3"/>
                    <a:pt x="163" y="5"/>
                    <a:pt x="163" y="6"/>
                  </a:cubicBezTo>
                  <a:close/>
                  <a:moveTo>
                    <a:pt x="18" y="61"/>
                  </a:moveTo>
                  <a:cubicBezTo>
                    <a:pt x="54" y="61"/>
                    <a:pt x="54" y="61"/>
                    <a:pt x="54" y="61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7"/>
                    <a:pt x="38" y="37"/>
                    <a:pt x="37" y="38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8" y="57"/>
                    <a:pt x="18" y="57"/>
                    <a:pt x="18" y="58"/>
                  </a:cubicBezTo>
                  <a:lnTo>
                    <a:pt x="18" y="61"/>
                  </a:lnTo>
                  <a:close/>
                  <a:moveTo>
                    <a:pt x="51" y="118"/>
                  </a:moveTo>
                  <a:cubicBezTo>
                    <a:pt x="53" y="115"/>
                    <a:pt x="54" y="113"/>
                    <a:pt x="54" y="109"/>
                  </a:cubicBezTo>
                  <a:cubicBezTo>
                    <a:pt x="54" y="106"/>
                    <a:pt x="53" y="103"/>
                    <a:pt x="51" y="101"/>
                  </a:cubicBezTo>
                  <a:cubicBezTo>
                    <a:pt x="49" y="98"/>
                    <a:pt x="46" y="97"/>
                    <a:pt x="42" y="97"/>
                  </a:cubicBezTo>
                  <a:cubicBezTo>
                    <a:pt x="39" y="97"/>
                    <a:pt x="36" y="98"/>
                    <a:pt x="34" y="101"/>
                  </a:cubicBezTo>
                  <a:cubicBezTo>
                    <a:pt x="31" y="103"/>
                    <a:pt x="30" y="106"/>
                    <a:pt x="30" y="109"/>
                  </a:cubicBezTo>
                  <a:cubicBezTo>
                    <a:pt x="30" y="113"/>
                    <a:pt x="31" y="115"/>
                    <a:pt x="34" y="118"/>
                  </a:cubicBezTo>
                  <a:cubicBezTo>
                    <a:pt x="36" y="120"/>
                    <a:pt x="39" y="121"/>
                    <a:pt x="42" y="121"/>
                  </a:cubicBezTo>
                  <a:cubicBezTo>
                    <a:pt x="46" y="121"/>
                    <a:pt x="49" y="120"/>
                    <a:pt x="51" y="118"/>
                  </a:cubicBezTo>
                  <a:close/>
                  <a:moveTo>
                    <a:pt x="136" y="118"/>
                  </a:moveTo>
                  <a:cubicBezTo>
                    <a:pt x="138" y="115"/>
                    <a:pt x="139" y="113"/>
                    <a:pt x="139" y="109"/>
                  </a:cubicBezTo>
                  <a:cubicBezTo>
                    <a:pt x="139" y="106"/>
                    <a:pt x="138" y="103"/>
                    <a:pt x="136" y="101"/>
                  </a:cubicBezTo>
                  <a:cubicBezTo>
                    <a:pt x="133" y="98"/>
                    <a:pt x="130" y="97"/>
                    <a:pt x="127" y="97"/>
                  </a:cubicBezTo>
                  <a:cubicBezTo>
                    <a:pt x="124" y="97"/>
                    <a:pt x="121" y="98"/>
                    <a:pt x="119" y="101"/>
                  </a:cubicBezTo>
                  <a:cubicBezTo>
                    <a:pt x="116" y="103"/>
                    <a:pt x="115" y="106"/>
                    <a:pt x="115" y="109"/>
                  </a:cubicBezTo>
                  <a:cubicBezTo>
                    <a:pt x="115" y="113"/>
                    <a:pt x="116" y="115"/>
                    <a:pt x="119" y="118"/>
                  </a:cubicBezTo>
                  <a:cubicBezTo>
                    <a:pt x="121" y="120"/>
                    <a:pt x="124" y="121"/>
                    <a:pt x="127" y="121"/>
                  </a:cubicBezTo>
                  <a:cubicBezTo>
                    <a:pt x="130" y="121"/>
                    <a:pt x="133" y="120"/>
                    <a:pt x="136" y="1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95059" y="2544683"/>
            <a:ext cx="503554" cy="503554"/>
            <a:chOff x="593726" y="2544683"/>
            <a:chExt cx="503554" cy="503554"/>
          </a:xfrm>
        </p:grpSpPr>
        <p:sp>
          <p:nvSpPr>
            <p:cNvPr id="40" name="Oval 39"/>
            <p:cNvSpPr/>
            <p:nvPr/>
          </p:nvSpPr>
          <p:spPr>
            <a:xfrm>
              <a:off x="593726" y="2544683"/>
              <a:ext cx="503554" cy="50355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3" name="Freeform 17"/>
            <p:cNvSpPr>
              <a:spLocks noEditPoints="1"/>
            </p:cNvSpPr>
            <p:nvPr/>
          </p:nvSpPr>
          <p:spPr bwMode="auto">
            <a:xfrm>
              <a:off x="737526" y="2694144"/>
              <a:ext cx="173699" cy="187376"/>
            </a:xfrm>
            <a:custGeom>
              <a:avLst/>
              <a:gdLst>
                <a:gd name="T0" fmla="*/ 0 w 127"/>
                <a:gd name="T1" fmla="*/ 82 h 137"/>
                <a:gd name="T2" fmla="*/ 24 w 127"/>
                <a:gd name="T3" fmla="*/ 82 h 137"/>
                <a:gd name="T4" fmla="*/ 24 w 127"/>
                <a:gd name="T5" fmla="*/ 137 h 137"/>
                <a:gd name="T6" fmla="*/ 0 w 127"/>
                <a:gd name="T7" fmla="*/ 137 h 137"/>
                <a:gd name="T8" fmla="*/ 0 w 127"/>
                <a:gd name="T9" fmla="*/ 82 h 137"/>
                <a:gd name="T10" fmla="*/ 34 w 127"/>
                <a:gd name="T11" fmla="*/ 137 h 137"/>
                <a:gd name="T12" fmla="*/ 34 w 127"/>
                <a:gd name="T13" fmla="*/ 34 h 137"/>
                <a:gd name="T14" fmla="*/ 59 w 127"/>
                <a:gd name="T15" fmla="*/ 34 h 137"/>
                <a:gd name="T16" fmla="*/ 59 w 127"/>
                <a:gd name="T17" fmla="*/ 137 h 137"/>
                <a:gd name="T18" fmla="*/ 34 w 127"/>
                <a:gd name="T19" fmla="*/ 137 h 137"/>
                <a:gd name="T20" fmla="*/ 69 w 127"/>
                <a:gd name="T21" fmla="*/ 137 h 137"/>
                <a:gd name="T22" fmla="*/ 69 w 127"/>
                <a:gd name="T23" fmla="*/ 0 h 137"/>
                <a:gd name="T24" fmla="*/ 92 w 127"/>
                <a:gd name="T25" fmla="*/ 0 h 137"/>
                <a:gd name="T26" fmla="*/ 92 w 127"/>
                <a:gd name="T27" fmla="*/ 137 h 137"/>
                <a:gd name="T28" fmla="*/ 69 w 127"/>
                <a:gd name="T29" fmla="*/ 137 h 137"/>
                <a:gd name="T30" fmla="*/ 103 w 127"/>
                <a:gd name="T31" fmla="*/ 137 h 137"/>
                <a:gd name="T32" fmla="*/ 103 w 127"/>
                <a:gd name="T33" fmla="*/ 54 h 137"/>
                <a:gd name="T34" fmla="*/ 127 w 127"/>
                <a:gd name="T35" fmla="*/ 54 h 137"/>
                <a:gd name="T36" fmla="*/ 127 w 127"/>
                <a:gd name="T37" fmla="*/ 137 h 137"/>
                <a:gd name="T38" fmla="*/ 103 w 127"/>
                <a:gd name="T3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" h="137">
                  <a:moveTo>
                    <a:pt x="0" y="82"/>
                  </a:moveTo>
                  <a:lnTo>
                    <a:pt x="24" y="82"/>
                  </a:lnTo>
                  <a:lnTo>
                    <a:pt x="24" y="137"/>
                  </a:lnTo>
                  <a:lnTo>
                    <a:pt x="0" y="137"/>
                  </a:lnTo>
                  <a:lnTo>
                    <a:pt x="0" y="82"/>
                  </a:lnTo>
                  <a:close/>
                  <a:moveTo>
                    <a:pt x="34" y="137"/>
                  </a:moveTo>
                  <a:lnTo>
                    <a:pt x="34" y="34"/>
                  </a:lnTo>
                  <a:lnTo>
                    <a:pt x="59" y="34"/>
                  </a:lnTo>
                  <a:lnTo>
                    <a:pt x="59" y="137"/>
                  </a:lnTo>
                  <a:lnTo>
                    <a:pt x="34" y="137"/>
                  </a:lnTo>
                  <a:close/>
                  <a:moveTo>
                    <a:pt x="69" y="137"/>
                  </a:moveTo>
                  <a:lnTo>
                    <a:pt x="69" y="0"/>
                  </a:lnTo>
                  <a:lnTo>
                    <a:pt x="92" y="0"/>
                  </a:lnTo>
                  <a:lnTo>
                    <a:pt x="92" y="137"/>
                  </a:lnTo>
                  <a:lnTo>
                    <a:pt x="69" y="137"/>
                  </a:lnTo>
                  <a:close/>
                  <a:moveTo>
                    <a:pt x="103" y="137"/>
                  </a:moveTo>
                  <a:lnTo>
                    <a:pt x="103" y="54"/>
                  </a:lnTo>
                  <a:lnTo>
                    <a:pt x="127" y="54"/>
                  </a:lnTo>
                  <a:lnTo>
                    <a:pt x="127" y="137"/>
                  </a:lnTo>
                  <a:lnTo>
                    <a:pt x="103" y="1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643438" y="3546316"/>
            <a:ext cx="503554" cy="503554"/>
            <a:chOff x="4962575" y="3546316"/>
            <a:chExt cx="503554" cy="503554"/>
          </a:xfrm>
        </p:grpSpPr>
        <p:sp>
          <p:nvSpPr>
            <p:cNvPr id="65" name="Oval 64"/>
            <p:cNvSpPr/>
            <p:nvPr/>
          </p:nvSpPr>
          <p:spPr>
            <a:xfrm>
              <a:off x="4962575" y="3546316"/>
              <a:ext cx="503554" cy="50355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5" name="Freeform 83"/>
            <p:cNvSpPr>
              <a:spLocks/>
            </p:cNvSpPr>
            <p:nvPr/>
          </p:nvSpPr>
          <p:spPr bwMode="auto">
            <a:xfrm>
              <a:off x="5146847" y="3689402"/>
              <a:ext cx="156643" cy="212912"/>
            </a:xfrm>
            <a:custGeom>
              <a:avLst/>
              <a:gdLst>
                <a:gd name="T0" fmla="*/ 149 w 189"/>
                <a:gd name="T1" fmla="*/ 126 h 256"/>
                <a:gd name="T2" fmla="*/ 142 w 189"/>
                <a:gd name="T3" fmla="*/ 126 h 256"/>
                <a:gd name="T4" fmla="*/ 107 w 189"/>
                <a:gd name="T5" fmla="*/ 60 h 256"/>
                <a:gd name="T6" fmla="*/ 107 w 189"/>
                <a:gd name="T7" fmla="*/ 202 h 256"/>
                <a:gd name="T8" fmla="*/ 69 w 189"/>
                <a:gd name="T9" fmla="*/ 246 h 256"/>
                <a:gd name="T10" fmla="*/ 7 w 189"/>
                <a:gd name="T11" fmla="*/ 228 h 256"/>
                <a:gd name="T12" fmla="*/ 43 w 189"/>
                <a:gd name="T13" fmla="*/ 175 h 256"/>
                <a:gd name="T14" fmla="*/ 85 w 189"/>
                <a:gd name="T15" fmla="*/ 174 h 256"/>
                <a:gd name="T16" fmla="*/ 85 w 189"/>
                <a:gd name="T17" fmla="*/ 0 h 256"/>
                <a:gd name="T18" fmla="*/ 107 w 189"/>
                <a:gd name="T19" fmla="*/ 0 h 256"/>
                <a:gd name="T20" fmla="*/ 149 w 189"/>
                <a:gd name="T21" fmla="*/ 12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9" h="256">
                  <a:moveTo>
                    <a:pt x="149" y="126"/>
                  </a:moveTo>
                  <a:cubicBezTo>
                    <a:pt x="143" y="134"/>
                    <a:pt x="140" y="130"/>
                    <a:pt x="142" y="126"/>
                  </a:cubicBezTo>
                  <a:cubicBezTo>
                    <a:pt x="146" y="112"/>
                    <a:pt x="144" y="66"/>
                    <a:pt x="107" y="60"/>
                  </a:cubicBezTo>
                  <a:cubicBezTo>
                    <a:pt x="107" y="202"/>
                    <a:pt x="107" y="202"/>
                    <a:pt x="107" y="202"/>
                  </a:cubicBezTo>
                  <a:cubicBezTo>
                    <a:pt x="107" y="219"/>
                    <a:pt x="92" y="237"/>
                    <a:pt x="69" y="246"/>
                  </a:cubicBezTo>
                  <a:cubicBezTo>
                    <a:pt x="42" y="256"/>
                    <a:pt x="15" y="248"/>
                    <a:pt x="7" y="228"/>
                  </a:cubicBezTo>
                  <a:cubicBezTo>
                    <a:pt x="0" y="209"/>
                    <a:pt x="16" y="185"/>
                    <a:pt x="43" y="175"/>
                  </a:cubicBezTo>
                  <a:cubicBezTo>
                    <a:pt x="58" y="169"/>
                    <a:pt x="74" y="169"/>
                    <a:pt x="85" y="174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36"/>
                    <a:pt x="189" y="64"/>
                    <a:pt x="149" y="1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74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Mobile </a:t>
            </a:r>
            <a:r>
              <a:rPr lang="en-US">
                <a:solidFill>
                  <a:schemeClr val="accent2"/>
                </a:solidFill>
              </a:rPr>
              <a:t>Apps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774007" y="1543051"/>
            <a:ext cx="3726555" cy="699080"/>
            <a:chOff x="1127045" y="1543051"/>
            <a:chExt cx="3071730" cy="699080"/>
          </a:xfrm>
        </p:grpSpPr>
        <p:sp>
          <p:nvSpPr>
            <p:cNvPr id="5" name="TextBox 4"/>
            <p:cNvSpPr txBox="1"/>
            <p:nvPr/>
          </p:nvSpPr>
          <p:spPr>
            <a:xfrm>
              <a:off x="1130531" y="1757447"/>
              <a:ext cx="3065133" cy="4846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127045" y="1543051"/>
              <a:ext cx="3071730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Media App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74007" y="2544683"/>
            <a:ext cx="3726555" cy="699080"/>
            <a:chOff x="1127045" y="2544683"/>
            <a:chExt cx="3071730" cy="699080"/>
          </a:xfrm>
        </p:grpSpPr>
        <p:sp>
          <p:nvSpPr>
            <p:cNvPr id="41" name="TextBox 40"/>
            <p:cNvSpPr txBox="1"/>
            <p:nvPr/>
          </p:nvSpPr>
          <p:spPr>
            <a:xfrm>
              <a:off x="1130531" y="2759079"/>
              <a:ext cx="3065133" cy="4846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127045" y="2544683"/>
              <a:ext cx="3071730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Finance &amp; Business App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74007" y="3546316"/>
            <a:ext cx="3726556" cy="699080"/>
            <a:chOff x="1127045" y="3546316"/>
            <a:chExt cx="3071730" cy="699080"/>
          </a:xfrm>
        </p:grpSpPr>
        <p:sp>
          <p:nvSpPr>
            <p:cNvPr id="45" name="TextBox 44"/>
            <p:cNvSpPr txBox="1"/>
            <p:nvPr/>
          </p:nvSpPr>
          <p:spPr>
            <a:xfrm>
              <a:off x="1130531" y="3760712"/>
              <a:ext cx="3065133" cy="4846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127045" y="3546316"/>
              <a:ext cx="3071730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Consumers &amp; Retails App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223401" y="1543051"/>
            <a:ext cx="3614698" cy="714533"/>
            <a:chOff x="5471007" y="1543051"/>
            <a:chExt cx="3066569" cy="714533"/>
          </a:xfrm>
        </p:grpSpPr>
        <p:sp>
          <p:nvSpPr>
            <p:cNvPr id="60" name="TextBox 59"/>
            <p:cNvSpPr txBox="1"/>
            <p:nvPr/>
          </p:nvSpPr>
          <p:spPr>
            <a:xfrm>
              <a:off x="5474524" y="1757447"/>
              <a:ext cx="3063052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471007" y="1543051"/>
              <a:ext cx="3063052" cy="1935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Transportation App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223401" y="2544683"/>
            <a:ext cx="3633262" cy="714533"/>
            <a:chOff x="5471007" y="2544683"/>
            <a:chExt cx="3066569" cy="714533"/>
          </a:xfrm>
        </p:grpSpPr>
        <p:sp>
          <p:nvSpPr>
            <p:cNvPr id="63" name="TextBox 62"/>
            <p:cNvSpPr txBox="1"/>
            <p:nvPr/>
          </p:nvSpPr>
          <p:spPr>
            <a:xfrm>
              <a:off x="5474524" y="2759079"/>
              <a:ext cx="3063052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471007" y="2544683"/>
              <a:ext cx="3063052" cy="1935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Mobile Health App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223401" y="3546316"/>
            <a:ext cx="3633262" cy="714533"/>
            <a:chOff x="5471007" y="3546316"/>
            <a:chExt cx="3066569" cy="714533"/>
          </a:xfrm>
        </p:grpSpPr>
        <p:sp>
          <p:nvSpPr>
            <p:cNvPr id="66" name="TextBox 65"/>
            <p:cNvSpPr txBox="1"/>
            <p:nvPr/>
          </p:nvSpPr>
          <p:spPr>
            <a:xfrm>
              <a:off x="5474524" y="3760712"/>
              <a:ext cx="3063052" cy="500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ts val="1300"/>
                </a:lnSpc>
                <a:spcAft>
                  <a:spcPts val="600"/>
                </a:spcAft>
              </a:pPr>
              <a:r>
                <a:rPr lang="en-US" sz="1000">
                  <a:solidFill>
                    <a:schemeClr val="accent1"/>
                  </a:solidFill>
                  <a:latin typeface="+mj-lt"/>
                </a:rPr>
                <a:t>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perspiciat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nd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omni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ist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natus error sit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olup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tate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ccus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antium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vitae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mo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Sed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ut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dolor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sita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k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vita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kharab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quezze</a:t>
              </a:r>
              <a:r>
                <a:rPr lang="en-US" sz="100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US" sz="1000" err="1">
                  <a:solidFill>
                    <a:schemeClr val="accent1"/>
                  </a:solidFill>
                  <a:latin typeface="+mj-lt"/>
                </a:rPr>
                <a:t>lorem</a:t>
              </a:r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471007" y="3546316"/>
              <a:ext cx="3063052" cy="192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b="1" cap="all" spc="20">
                  <a:solidFill>
                    <a:schemeClr val="accent1"/>
                  </a:solidFill>
                  <a:latin typeface="+mj-lt"/>
                </a:rPr>
                <a:t>Entertainment &amp; Game Apps</a:t>
              </a:r>
            </a:p>
          </p:txBody>
        </p:sp>
      </p:grpSp>
      <p:sp>
        <p:nvSpPr>
          <p:cNvPr id="47" name="Freeform 16"/>
          <p:cNvSpPr>
            <a:spLocks noEditPoints="1"/>
          </p:cNvSpPr>
          <p:nvPr/>
        </p:nvSpPr>
        <p:spPr bwMode="auto">
          <a:xfrm>
            <a:off x="305901" y="1606384"/>
            <a:ext cx="323816" cy="232598"/>
          </a:xfrm>
          <a:custGeom>
            <a:avLst/>
            <a:gdLst>
              <a:gd name="T0" fmla="*/ 234 w 260"/>
              <a:gd name="T1" fmla="*/ 27 h 186"/>
              <a:gd name="T2" fmla="*/ 234 w 260"/>
              <a:gd name="T3" fmla="*/ 53 h 186"/>
              <a:gd name="T4" fmla="*/ 260 w 260"/>
              <a:gd name="T5" fmla="*/ 53 h 186"/>
              <a:gd name="T6" fmla="*/ 260 w 260"/>
              <a:gd name="T7" fmla="*/ 80 h 186"/>
              <a:gd name="T8" fmla="*/ 234 w 260"/>
              <a:gd name="T9" fmla="*/ 80 h 186"/>
              <a:gd name="T10" fmla="*/ 234 w 260"/>
              <a:gd name="T11" fmla="*/ 106 h 186"/>
              <a:gd name="T12" fmla="*/ 260 w 260"/>
              <a:gd name="T13" fmla="*/ 106 h 186"/>
              <a:gd name="T14" fmla="*/ 260 w 260"/>
              <a:gd name="T15" fmla="*/ 133 h 186"/>
              <a:gd name="T16" fmla="*/ 234 w 260"/>
              <a:gd name="T17" fmla="*/ 133 h 186"/>
              <a:gd name="T18" fmla="*/ 234 w 260"/>
              <a:gd name="T19" fmla="*/ 159 h 186"/>
              <a:gd name="T20" fmla="*/ 260 w 260"/>
              <a:gd name="T21" fmla="*/ 159 h 186"/>
              <a:gd name="T22" fmla="*/ 260 w 260"/>
              <a:gd name="T23" fmla="*/ 175 h 186"/>
              <a:gd name="T24" fmla="*/ 250 w 260"/>
              <a:gd name="T25" fmla="*/ 186 h 186"/>
              <a:gd name="T26" fmla="*/ 11 w 260"/>
              <a:gd name="T27" fmla="*/ 186 h 186"/>
              <a:gd name="T28" fmla="*/ 0 w 260"/>
              <a:gd name="T29" fmla="*/ 175 h 186"/>
              <a:gd name="T30" fmla="*/ 0 w 260"/>
              <a:gd name="T31" fmla="*/ 159 h 186"/>
              <a:gd name="T32" fmla="*/ 27 w 260"/>
              <a:gd name="T33" fmla="*/ 159 h 186"/>
              <a:gd name="T34" fmla="*/ 27 w 260"/>
              <a:gd name="T35" fmla="*/ 133 h 186"/>
              <a:gd name="T36" fmla="*/ 0 w 260"/>
              <a:gd name="T37" fmla="*/ 133 h 186"/>
              <a:gd name="T38" fmla="*/ 0 w 260"/>
              <a:gd name="T39" fmla="*/ 106 h 186"/>
              <a:gd name="T40" fmla="*/ 27 w 260"/>
              <a:gd name="T41" fmla="*/ 106 h 186"/>
              <a:gd name="T42" fmla="*/ 27 w 260"/>
              <a:gd name="T43" fmla="*/ 80 h 186"/>
              <a:gd name="T44" fmla="*/ 0 w 260"/>
              <a:gd name="T45" fmla="*/ 80 h 186"/>
              <a:gd name="T46" fmla="*/ 0 w 260"/>
              <a:gd name="T47" fmla="*/ 53 h 186"/>
              <a:gd name="T48" fmla="*/ 27 w 260"/>
              <a:gd name="T49" fmla="*/ 53 h 186"/>
              <a:gd name="T50" fmla="*/ 27 w 260"/>
              <a:gd name="T51" fmla="*/ 27 h 186"/>
              <a:gd name="T52" fmla="*/ 0 w 260"/>
              <a:gd name="T53" fmla="*/ 27 h 186"/>
              <a:gd name="T54" fmla="*/ 0 w 260"/>
              <a:gd name="T55" fmla="*/ 11 h 186"/>
              <a:gd name="T56" fmla="*/ 11 w 260"/>
              <a:gd name="T57" fmla="*/ 0 h 186"/>
              <a:gd name="T58" fmla="*/ 250 w 260"/>
              <a:gd name="T59" fmla="*/ 0 h 186"/>
              <a:gd name="T60" fmla="*/ 260 w 260"/>
              <a:gd name="T61" fmla="*/ 11 h 186"/>
              <a:gd name="T62" fmla="*/ 260 w 260"/>
              <a:gd name="T63" fmla="*/ 27 h 186"/>
              <a:gd name="T64" fmla="*/ 234 w 260"/>
              <a:gd name="T65" fmla="*/ 27 h 186"/>
              <a:gd name="T66" fmla="*/ 167 w 260"/>
              <a:gd name="T67" fmla="*/ 93 h 186"/>
              <a:gd name="T68" fmla="*/ 101 w 260"/>
              <a:gd name="T69" fmla="*/ 53 h 186"/>
              <a:gd name="T70" fmla="*/ 101 w 260"/>
              <a:gd name="T71" fmla="*/ 133 h 186"/>
              <a:gd name="T72" fmla="*/ 167 w 260"/>
              <a:gd name="T73" fmla="*/ 93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60" h="186">
                <a:moveTo>
                  <a:pt x="234" y="27"/>
                </a:moveTo>
                <a:cubicBezTo>
                  <a:pt x="234" y="53"/>
                  <a:pt x="234" y="53"/>
                  <a:pt x="234" y="53"/>
                </a:cubicBezTo>
                <a:cubicBezTo>
                  <a:pt x="260" y="53"/>
                  <a:pt x="260" y="53"/>
                  <a:pt x="260" y="53"/>
                </a:cubicBezTo>
                <a:cubicBezTo>
                  <a:pt x="260" y="80"/>
                  <a:pt x="260" y="80"/>
                  <a:pt x="260" y="80"/>
                </a:cubicBezTo>
                <a:cubicBezTo>
                  <a:pt x="234" y="80"/>
                  <a:pt x="234" y="80"/>
                  <a:pt x="234" y="80"/>
                </a:cubicBezTo>
                <a:cubicBezTo>
                  <a:pt x="234" y="106"/>
                  <a:pt x="234" y="106"/>
                  <a:pt x="234" y="106"/>
                </a:cubicBezTo>
                <a:cubicBezTo>
                  <a:pt x="260" y="106"/>
                  <a:pt x="260" y="106"/>
                  <a:pt x="260" y="106"/>
                </a:cubicBezTo>
                <a:cubicBezTo>
                  <a:pt x="260" y="133"/>
                  <a:pt x="260" y="133"/>
                  <a:pt x="260" y="133"/>
                </a:cubicBezTo>
                <a:cubicBezTo>
                  <a:pt x="234" y="133"/>
                  <a:pt x="234" y="133"/>
                  <a:pt x="234" y="133"/>
                </a:cubicBezTo>
                <a:cubicBezTo>
                  <a:pt x="234" y="159"/>
                  <a:pt x="234" y="159"/>
                  <a:pt x="234" y="159"/>
                </a:cubicBezTo>
                <a:cubicBezTo>
                  <a:pt x="260" y="159"/>
                  <a:pt x="260" y="159"/>
                  <a:pt x="260" y="159"/>
                </a:cubicBezTo>
                <a:cubicBezTo>
                  <a:pt x="260" y="175"/>
                  <a:pt x="260" y="175"/>
                  <a:pt x="260" y="175"/>
                </a:cubicBezTo>
                <a:cubicBezTo>
                  <a:pt x="260" y="181"/>
                  <a:pt x="256" y="186"/>
                  <a:pt x="250" y="186"/>
                </a:cubicBezTo>
                <a:cubicBezTo>
                  <a:pt x="11" y="186"/>
                  <a:pt x="11" y="186"/>
                  <a:pt x="11" y="186"/>
                </a:cubicBezTo>
                <a:cubicBezTo>
                  <a:pt x="5" y="186"/>
                  <a:pt x="0" y="181"/>
                  <a:pt x="0" y="175"/>
                </a:cubicBezTo>
                <a:cubicBezTo>
                  <a:pt x="0" y="159"/>
                  <a:pt x="0" y="159"/>
                  <a:pt x="0" y="159"/>
                </a:cubicBezTo>
                <a:cubicBezTo>
                  <a:pt x="27" y="159"/>
                  <a:pt x="27" y="159"/>
                  <a:pt x="27" y="159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0" y="133"/>
                  <a:pt x="0" y="133"/>
                  <a:pt x="0" y="133"/>
                </a:cubicBezTo>
                <a:cubicBezTo>
                  <a:pt x="0" y="106"/>
                  <a:pt x="0" y="106"/>
                  <a:pt x="0" y="106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80"/>
                  <a:pt x="27" y="80"/>
                  <a:pt x="27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53"/>
                  <a:pt x="0" y="53"/>
                  <a:pt x="0" y="53"/>
                </a:cubicBezTo>
                <a:cubicBezTo>
                  <a:pt x="27" y="53"/>
                  <a:pt x="27" y="53"/>
                  <a:pt x="27" y="53"/>
                </a:cubicBezTo>
                <a:cubicBezTo>
                  <a:pt x="27" y="27"/>
                  <a:pt x="27" y="27"/>
                  <a:pt x="27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250" y="0"/>
                  <a:pt x="250" y="0"/>
                  <a:pt x="250" y="0"/>
                </a:cubicBezTo>
                <a:cubicBezTo>
                  <a:pt x="256" y="0"/>
                  <a:pt x="260" y="5"/>
                  <a:pt x="260" y="11"/>
                </a:cubicBezTo>
                <a:cubicBezTo>
                  <a:pt x="260" y="27"/>
                  <a:pt x="260" y="27"/>
                  <a:pt x="260" y="27"/>
                </a:cubicBezTo>
                <a:lnTo>
                  <a:pt x="234" y="27"/>
                </a:lnTo>
                <a:close/>
                <a:moveTo>
                  <a:pt x="167" y="93"/>
                </a:moveTo>
                <a:cubicBezTo>
                  <a:pt x="101" y="53"/>
                  <a:pt x="101" y="53"/>
                  <a:pt x="101" y="53"/>
                </a:cubicBezTo>
                <a:cubicBezTo>
                  <a:pt x="101" y="133"/>
                  <a:pt x="101" y="133"/>
                  <a:pt x="101" y="133"/>
                </a:cubicBezTo>
                <a:lnTo>
                  <a:pt x="167" y="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8" name="Freeform 120"/>
          <p:cNvSpPr>
            <a:spLocks noEditPoints="1"/>
          </p:cNvSpPr>
          <p:nvPr/>
        </p:nvSpPr>
        <p:spPr bwMode="auto">
          <a:xfrm>
            <a:off x="287337" y="3619352"/>
            <a:ext cx="305466" cy="261406"/>
          </a:xfrm>
          <a:custGeom>
            <a:avLst/>
            <a:gdLst>
              <a:gd name="T0" fmla="*/ 157 w 157"/>
              <a:gd name="T1" fmla="*/ 19 h 134"/>
              <a:gd name="T2" fmla="*/ 157 w 157"/>
              <a:gd name="T3" fmla="*/ 67 h 134"/>
              <a:gd name="T4" fmla="*/ 156 w 157"/>
              <a:gd name="T5" fmla="*/ 71 h 134"/>
              <a:gd name="T6" fmla="*/ 152 w 157"/>
              <a:gd name="T7" fmla="*/ 73 h 134"/>
              <a:gd name="T8" fmla="*/ 53 w 157"/>
              <a:gd name="T9" fmla="*/ 85 h 134"/>
              <a:gd name="T10" fmla="*/ 54 w 157"/>
              <a:gd name="T11" fmla="*/ 87 h 134"/>
              <a:gd name="T12" fmla="*/ 54 w 157"/>
              <a:gd name="T13" fmla="*/ 89 h 134"/>
              <a:gd name="T14" fmla="*/ 54 w 157"/>
              <a:gd name="T15" fmla="*/ 91 h 134"/>
              <a:gd name="T16" fmla="*/ 52 w 157"/>
              <a:gd name="T17" fmla="*/ 97 h 134"/>
              <a:gd name="T18" fmla="*/ 139 w 157"/>
              <a:gd name="T19" fmla="*/ 97 h 134"/>
              <a:gd name="T20" fmla="*/ 143 w 157"/>
              <a:gd name="T21" fmla="*/ 99 h 134"/>
              <a:gd name="T22" fmla="*/ 145 w 157"/>
              <a:gd name="T23" fmla="*/ 103 h 134"/>
              <a:gd name="T24" fmla="*/ 143 w 157"/>
              <a:gd name="T25" fmla="*/ 108 h 134"/>
              <a:gd name="T26" fmla="*/ 139 w 157"/>
              <a:gd name="T27" fmla="*/ 109 h 134"/>
              <a:gd name="T28" fmla="*/ 42 w 157"/>
              <a:gd name="T29" fmla="*/ 109 h 134"/>
              <a:gd name="T30" fmla="*/ 38 w 157"/>
              <a:gd name="T31" fmla="*/ 108 h 134"/>
              <a:gd name="T32" fmla="*/ 36 w 157"/>
              <a:gd name="T33" fmla="*/ 103 h 134"/>
              <a:gd name="T34" fmla="*/ 37 w 157"/>
              <a:gd name="T35" fmla="*/ 100 h 134"/>
              <a:gd name="T36" fmla="*/ 40 w 157"/>
              <a:gd name="T37" fmla="*/ 94 h 134"/>
              <a:gd name="T38" fmla="*/ 42 w 157"/>
              <a:gd name="T39" fmla="*/ 90 h 134"/>
              <a:gd name="T40" fmla="*/ 25 w 157"/>
              <a:gd name="T41" fmla="*/ 13 h 134"/>
              <a:gd name="T42" fmla="*/ 6 w 157"/>
              <a:gd name="T43" fmla="*/ 13 h 134"/>
              <a:gd name="T44" fmla="*/ 2 w 157"/>
              <a:gd name="T45" fmla="*/ 11 h 134"/>
              <a:gd name="T46" fmla="*/ 0 w 157"/>
              <a:gd name="T47" fmla="*/ 6 h 134"/>
              <a:gd name="T48" fmla="*/ 2 w 157"/>
              <a:gd name="T49" fmla="*/ 2 h 134"/>
              <a:gd name="T50" fmla="*/ 6 w 157"/>
              <a:gd name="T51" fmla="*/ 0 h 134"/>
              <a:gd name="T52" fmla="*/ 30 w 157"/>
              <a:gd name="T53" fmla="*/ 0 h 134"/>
              <a:gd name="T54" fmla="*/ 33 w 157"/>
              <a:gd name="T55" fmla="*/ 1 h 134"/>
              <a:gd name="T56" fmla="*/ 35 w 157"/>
              <a:gd name="T57" fmla="*/ 3 h 134"/>
              <a:gd name="T58" fmla="*/ 36 w 157"/>
              <a:gd name="T59" fmla="*/ 5 h 134"/>
              <a:gd name="T60" fmla="*/ 37 w 157"/>
              <a:gd name="T61" fmla="*/ 7 h 134"/>
              <a:gd name="T62" fmla="*/ 37 w 157"/>
              <a:gd name="T63" fmla="*/ 10 h 134"/>
              <a:gd name="T64" fmla="*/ 38 w 157"/>
              <a:gd name="T65" fmla="*/ 13 h 134"/>
              <a:gd name="T66" fmla="*/ 151 w 157"/>
              <a:gd name="T67" fmla="*/ 13 h 134"/>
              <a:gd name="T68" fmla="*/ 155 w 157"/>
              <a:gd name="T69" fmla="*/ 14 h 134"/>
              <a:gd name="T70" fmla="*/ 157 w 157"/>
              <a:gd name="T71" fmla="*/ 19 h 134"/>
              <a:gd name="T72" fmla="*/ 57 w 157"/>
              <a:gd name="T73" fmla="*/ 113 h 134"/>
              <a:gd name="T74" fmla="*/ 60 w 157"/>
              <a:gd name="T75" fmla="*/ 121 h 134"/>
              <a:gd name="T76" fmla="*/ 57 w 157"/>
              <a:gd name="T77" fmla="*/ 130 h 134"/>
              <a:gd name="T78" fmla="*/ 48 w 157"/>
              <a:gd name="T79" fmla="*/ 134 h 134"/>
              <a:gd name="T80" fmla="*/ 40 w 157"/>
              <a:gd name="T81" fmla="*/ 130 h 134"/>
              <a:gd name="T82" fmla="*/ 36 w 157"/>
              <a:gd name="T83" fmla="*/ 121 h 134"/>
              <a:gd name="T84" fmla="*/ 40 w 157"/>
              <a:gd name="T85" fmla="*/ 113 h 134"/>
              <a:gd name="T86" fmla="*/ 48 w 157"/>
              <a:gd name="T87" fmla="*/ 109 h 134"/>
              <a:gd name="T88" fmla="*/ 57 w 157"/>
              <a:gd name="T89" fmla="*/ 113 h 134"/>
              <a:gd name="T90" fmla="*/ 142 w 157"/>
              <a:gd name="T91" fmla="*/ 113 h 134"/>
              <a:gd name="T92" fmla="*/ 145 w 157"/>
              <a:gd name="T93" fmla="*/ 121 h 134"/>
              <a:gd name="T94" fmla="*/ 142 w 157"/>
              <a:gd name="T95" fmla="*/ 130 h 134"/>
              <a:gd name="T96" fmla="*/ 133 w 157"/>
              <a:gd name="T97" fmla="*/ 134 h 134"/>
              <a:gd name="T98" fmla="*/ 125 w 157"/>
              <a:gd name="T99" fmla="*/ 130 h 134"/>
              <a:gd name="T100" fmla="*/ 121 w 157"/>
              <a:gd name="T101" fmla="*/ 121 h 134"/>
              <a:gd name="T102" fmla="*/ 125 w 157"/>
              <a:gd name="T103" fmla="*/ 113 h 134"/>
              <a:gd name="T104" fmla="*/ 133 w 157"/>
              <a:gd name="T105" fmla="*/ 109 h 134"/>
              <a:gd name="T106" fmla="*/ 142 w 157"/>
              <a:gd name="T107" fmla="*/ 11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4">
                <a:moveTo>
                  <a:pt x="157" y="19"/>
                </a:moveTo>
                <a:cubicBezTo>
                  <a:pt x="157" y="67"/>
                  <a:pt x="157" y="67"/>
                  <a:pt x="157" y="67"/>
                </a:cubicBezTo>
                <a:cubicBezTo>
                  <a:pt x="157" y="69"/>
                  <a:pt x="157" y="70"/>
                  <a:pt x="156" y="71"/>
                </a:cubicBezTo>
                <a:cubicBezTo>
                  <a:pt x="155" y="72"/>
                  <a:pt x="153" y="73"/>
                  <a:pt x="152" y="73"/>
                </a:cubicBezTo>
                <a:cubicBezTo>
                  <a:pt x="53" y="85"/>
                  <a:pt x="53" y="85"/>
                  <a:pt x="53" y="85"/>
                </a:cubicBezTo>
                <a:cubicBezTo>
                  <a:pt x="53" y="85"/>
                  <a:pt x="53" y="86"/>
                  <a:pt x="54" y="87"/>
                </a:cubicBezTo>
                <a:cubicBezTo>
                  <a:pt x="54" y="88"/>
                  <a:pt x="54" y="88"/>
                  <a:pt x="54" y="89"/>
                </a:cubicBezTo>
                <a:cubicBezTo>
                  <a:pt x="54" y="90"/>
                  <a:pt x="54" y="91"/>
                  <a:pt x="54" y="91"/>
                </a:cubicBezTo>
                <a:cubicBezTo>
                  <a:pt x="54" y="92"/>
                  <a:pt x="54" y="94"/>
                  <a:pt x="52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3" y="99"/>
                </a:cubicBezTo>
                <a:cubicBezTo>
                  <a:pt x="145" y="100"/>
                  <a:pt x="145" y="102"/>
                  <a:pt x="145" y="103"/>
                </a:cubicBezTo>
                <a:cubicBezTo>
                  <a:pt x="145" y="105"/>
                  <a:pt x="145" y="106"/>
                  <a:pt x="143" y="108"/>
                </a:cubicBezTo>
                <a:cubicBezTo>
                  <a:pt x="142" y="109"/>
                  <a:pt x="141" y="109"/>
                  <a:pt x="139" y="109"/>
                </a:cubicBezTo>
                <a:cubicBezTo>
                  <a:pt x="42" y="109"/>
                  <a:pt x="42" y="109"/>
                  <a:pt x="42" y="109"/>
                </a:cubicBezTo>
                <a:cubicBezTo>
                  <a:pt x="41" y="109"/>
                  <a:pt x="39" y="109"/>
                  <a:pt x="38" y="108"/>
                </a:cubicBezTo>
                <a:cubicBezTo>
                  <a:pt x="37" y="106"/>
                  <a:pt x="36" y="105"/>
                  <a:pt x="36" y="103"/>
                </a:cubicBezTo>
                <a:cubicBezTo>
                  <a:pt x="36" y="102"/>
                  <a:pt x="37" y="101"/>
                  <a:pt x="37" y="100"/>
                </a:cubicBezTo>
                <a:cubicBezTo>
                  <a:pt x="38" y="98"/>
                  <a:pt x="39" y="96"/>
                  <a:pt x="40" y="94"/>
                </a:cubicBezTo>
                <a:cubicBezTo>
                  <a:pt x="41" y="92"/>
                  <a:pt x="42" y="91"/>
                  <a:pt x="42" y="90"/>
                </a:cubicBezTo>
                <a:cubicBezTo>
                  <a:pt x="25" y="13"/>
                  <a:pt x="25" y="13"/>
                  <a:pt x="25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4" y="13"/>
                  <a:pt x="3" y="12"/>
                  <a:pt x="2" y="11"/>
                </a:cubicBezTo>
                <a:cubicBezTo>
                  <a:pt x="1" y="10"/>
                  <a:pt x="0" y="8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2" y="1"/>
                  <a:pt x="33" y="1"/>
                </a:cubicBezTo>
                <a:cubicBezTo>
                  <a:pt x="34" y="1"/>
                  <a:pt x="34" y="2"/>
                  <a:pt x="35" y="3"/>
                </a:cubicBezTo>
                <a:cubicBezTo>
                  <a:pt x="35" y="3"/>
                  <a:pt x="36" y="4"/>
                  <a:pt x="36" y="5"/>
                </a:cubicBezTo>
                <a:cubicBezTo>
                  <a:pt x="36" y="6"/>
                  <a:pt x="37" y="7"/>
                  <a:pt x="37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1"/>
                  <a:pt x="38" y="12"/>
                  <a:pt x="38" y="13"/>
                </a:cubicBezTo>
                <a:cubicBezTo>
                  <a:pt x="151" y="13"/>
                  <a:pt x="151" y="13"/>
                  <a:pt x="151" y="13"/>
                </a:cubicBezTo>
                <a:cubicBezTo>
                  <a:pt x="153" y="13"/>
                  <a:pt x="154" y="13"/>
                  <a:pt x="155" y="14"/>
                </a:cubicBezTo>
                <a:cubicBezTo>
                  <a:pt x="157" y="16"/>
                  <a:pt x="157" y="17"/>
                  <a:pt x="157" y="19"/>
                </a:cubicBezTo>
                <a:close/>
                <a:moveTo>
                  <a:pt x="57" y="113"/>
                </a:moveTo>
                <a:cubicBezTo>
                  <a:pt x="59" y="115"/>
                  <a:pt x="60" y="118"/>
                  <a:pt x="60" y="121"/>
                </a:cubicBezTo>
                <a:cubicBezTo>
                  <a:pt x="60" y="125"/>
                  <a:pt x="59" y="128"/>
                  <a:pt x="57" y="130"/>
                </a:cubicBezTo>
                <a:cubicBezTo>
                  <a:pt x="55" y="132"/>
                  <a:pt x="52" y="134"/>
                  <a:pt x="48" y="134"/>
                </a:cubicBezTo>
                <a:cubicBezTo>
                  <a:pt x="45" y="134"/>
                  <a:pt x="42" y="132"/>
                  <a:pt x="40" y="130"/>
                </a:cubicBezTo>
                <a:cubicBezTo>
                  <a:pt x="37" y="128"/>
                  <a:pt x="36" y="125"/>
                  <a:pt x="36" y="121"/>
                </a:cubicBezTo>
                <a:cubicBezTo>
                  <a:pt x="36" y="118"/>
                  <a:pt x="37" y="115"/>
                  <a:pt x="40" y="113"/>
                </a:cubicBezTo>
                <a:cubicBezTo>
                  <a:pt x="42" y="111"/>
                  <a:pt x="45" y="109"/>
                  <a:pt x="48" y="109"/>
                </a:cubicBezTo>
                <a:cubicBezTo>
                  <a:pt x="52" y="109"/>
                  <a:pt x="55" y="111"/>
                  <a:pt x="57" y="113"/>
                </a:cubicBezTo>
                <a:close/>
                <a:moveTo>
                  <a:pt x="142" y="113"/>
                </a:moveTo>
                <a:cubicBezTo>
                  <a:pt x="144" y="115"/>
                  <a:pt x="145" y="118"/>
                  <a:pt x="145" y="121"/>
                </a:cubicBezTo>
                <a:cubicBezTo>
                  <a:pt x="145" y="125"/>
                  <a:pt x="144" y="128"/>
                  <a:pt x="142" y="130"/>
                </a:cubicBezTo>
                <a:cubicBezTo>
                  <a:pt x="139" y="132"/>
                  <a:pt x="136" y="134"/>
                  <a:pt x="133" y="134"/>
                </a:cubicBezTo>
                <a:cubicBezTo>
                  <a:pt x="130" y="134"/>
                  <a:pt x="127" y="132"/>
                  <a:pt x="125" y="130"/>
                </a:cubicBezTo>
                <a:cubicBezTo>
                  <a:pt x="122" y="128"/>
                  <a:pt x="121" y="125"/>
                  <a:pt x="121" y="121"/>
                </a:cubicBezTo>
                <a:cubicBezTo>
                  <a:pt x="121" y="118"/>
                  <a:pt x="122" y="115"/>
                  <a:pt x="125" y="113"/>
                </a:cubicBezTo>
                <a:cubicBezTo>
                  <a:pt x="127" y="111"/>
                  <a:pt x="130" y="109"/>
                  <a:pt x="133" y="109"/>
                </a:cubicBezTo>
                <a:cubicBezTo>
                  <a:pt x="136" y="109"/>
                  <a:pt x="139" y="111"/>
                  <a:pt x="142" y="11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9" name="Freeform 17"/>
          <p:cNvSpPr>
            <a:spLocks noEditPoints="1"/>
          </p:cNvSpPr>
          <p:nvPr/>
        </p:nvSpPr>
        <p:spPr bwMode="auto">
          <a:xfrm>
            <a:off x="296951" y="2599271"/>
            <a:ext cx="260458" cy="280964"/>
          </a:xfrm>
          <a:custGeom>
            <a:avLst/>
            <a:gdLst>
              <a:gd name="T0" fmla="*/ 0 w 127"/>
              <a:gd name="T1" fmla="*/ 82 h 137"/>
              <a:gd name="T2" fmla="*/ 24 w 127"/>
              <a:gd name="T3" fmla="*/ 82 h 137"/>
              <a:gd name="T4" fmla="*/ 24 w 127"/>
              <a:gd name="T5" fmla="*/ 137 h 137"/>
              <a:gd name="T6" fmla="*/ 0 w 127"/>
              <a:gd name="T7" fmla="*/ 137 h 137"/>
              <a:gd name="T8" fmla="*/ 0 w 127"/>
              <a:gd name="T9" fmla="*/ 82 h 137"/>
              <a:gd name="T10" fmla="*/ 34 w 127"/>
              <a:gd name="T11" fmla="*/ 137 h 137"/>
              <a:gd name="T12" fmla="*/ 34 w 127"/>
              <a:gd name="T13" fmla="*/ 34 h 137"/>
              <a:gd name="T14" fmla="*/ 59 w 127"/>
              <a:gd name="T15" fmla="*/ 34 h 137"/>
              <a:gd name="T16" fmla="*/ 59 w 127"/>
              <a:gd name="T17" fmla="*/ 137 h 137"/>
              <a:gd name="T18" fmla="*/ 34 w 127"/>
              <a:gd name="T19" fmla="*/ 137 h 137"/>
              <a:gd name="T20" fmla="*/ 69 w 127"/>
              <a:gd name="T21" fmla="*/ 137 h 137"/>
              <a:gd name="T22" fmla="*/ 69 w 127"/>
              <a:gd name="T23" fmla="*/ 0 h 137"/>
              <a:gd name="T24" fmla="*/ 92 w 127"/>
              <a:gd name="T25" fmla="*/ 0 h 137"/>
              <a:gd name="T26" fmla="*/ 92 w 127"/>
              <a:gd name="T27" fmla="*/ 137 h 137"/>
              <a:gd name="T28" fmla="*/ 69 w 127"/>
              <a:gd name="T29" fmla="*/ 137 h 137"/>
              <a:gd name="T30" fmla="*/ 103 w 127"/>
              <a:gd name="T31" fmla="*/ 137 h 137"/>
              <a:gd name="T32" fmla="*/ 103 w 127"/>
              <a:gd name="T33" fmla="*/ 54 h 137"/>
              <a:gd name="T34" fmla="*/ 127 w 127"/>
              <a:gd name="T35" fmla="*/ 54 h 137"/>
              <a:gd name="T36" fmla="*/ 127 w 127"/>
              <a:gd name="T37" fmla="*/ 137 h 137"/>
              <a:gd name="T38" fmla="*/ 103 w 127"/>
              <a:gd name="T39" fmla="*/ 137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7" h="137">
                <a:moveTo>
                  <a:pt x="0" y="82"/>
                </a:moveTo>
                <a:lnTo>
                  <a:pt x="24" y="82"/>
                </a:lnTo>
                <a:lnTo>
                  <a:pt x="24" y="137"/>
                </a:lnTo>
                <a:lnTo>
                  <a:pt x="0" y="137"/>
                </a:lnTo>
                <a:lnTo>
                  <a:pt x="0" y="82"/>
                </a:lnTo>
                <a:close/>
                <a:moveTo>
                  <a:pt x="34" y="137"/>
                </a:moveTo>
                <a:lnTo>
                  <a:pt x="34" y="34"/>
                </a:lnTo>
                <a:lnTo>
                  <a:pt x="59" y="34"/>
                </a:lnTo>
                <a:lnTo>
                  <a:pt x="59" y="137"/>
                </a:lnTo>
                <a:lnTo>
                  <a:pt x="34" y="137"/>
                </a:lnTo>
                <a:close/>
                <a:moveTo>
                  <a:pt x="69" y="137"/>
                </a:moveTo>
                <a:lnTo>
                  <a:pt x="69" y="0"/>
                </a:lnTo>
                <a:lnTo>
                  <a:pt x="92" y="0"/>
                </a:lnTo>
                <a:lnTo>
                  <a:pt x="92" y="137"/>
                </a:lnTo>
                <a:lnTo>
                  <a:pt x="69" y="137"/>
                </a:lnTo>
                <a:close/>
                <a:moveTo>
                  <a:pt x="103" y="137"/>
                </a:moveTo>
                <a:lnTo>
                  <a:pt x="103" y="54"/>
                </a:lnTo>
                <a:lnTo>
                  <a:pt x="127" y="54"/>
                </a:lnTo>
                <a:lnTo>
                  <a:pt x="127" y="137"/>
                </a:lnTo>
                <a:lnTo>
                  <a:pt x="103" y="1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8" name="Freeform 227"/>
          <p:cNvSpPr>
            <a:spLocks noEditPoints="1"/>
          </p:cNvSpPr>
          <p:nvPr/>
        </p:nvSpPr>
        <p:spPr bwMode="auto">
          <a:xfrm>
            <a:off x="4643439" y="2599271"/>
            <a:ext cx="328644" cy="284632"/>
          </a:xfrm>
          <a:custGeom>
            <a:avLst/>
            <a:gdLst>
              <a:gd name="T0" fmla="*/ 24 w 169"/>
              <a:gd name="T1" fmla="*/ 146 h 146"/>
              <a:gd name="T2" fmla="*/ 6 w 169"/>
              <a:gd name="T3" fmla="*/ 139 h 146"/>
              <a:gd name="T4" fmla="*/ 0 w 169"/>
              <a:gd name="T5" fmla="*/ 46 h 146"/>
              <a:gd name="T6" fmla="*/ 21 w 169"/>
              <a:gd name="T7" fmla="*/ 25 h 146"/>
              <a:gd name="T8" fmla="*/ 136 w 169"/>
              <a:gd name="T9" fmla="*/ 25 h 146"/>
              <a:gd name="T10" fmla="*/ 33 w 169"/>
              <a:gd name="T11" fmla="*/ 146 h 146"/>
              <a:gd name="T12" fmla="*/ 48 w 169"/>
              <a:gd name="T13" fmla="*/ 25 h 146"/>
              <a:gd name="T14" fmla="*/ 51 w 169"/>
              <a:gd name="T15" fmla="*/ 3 h 146"/>
              <a:gd name="T16" fmla="*/ 112 w 169"/>
              <a:gd name="T17" fmla="*/ 0 h 146"/>
              <a:gd name="T18" fmla="*/ 121 w 169"/>
              <a:gd name="T19" fmla="*/ 9 h 146"/>
              <a:gd name="T20" fmla="*/ 136 w 169"/>
              <a:gd name="T21" fmla="*/ 25 h 146"/>
              <a:gd name="T22" fmla="*/ 121 w 169"/>
              <a:gd name="T23" fmla="*/ 76 h 146"/>
              <a:gd name="T24" fmla="*/ 118 w 169"/>
              <a:gd name="T25" fmla="*/ 73 h 146"/>
              <a:gd name="T26" fmla="*/ 97 w 169"/>
              <a:gd name="T27" fmla="*/ 52 h 146"/>
              <a:gd name="T28" fmla="*/ 93 w 169"/>
              <a:gd name="T29" fmla="*/ 49 h 146"/>
              <a:gd name="T30" fmla="*/ 73 w 169"/>
              <a:gd name="T31" fmla="*/ 50 h 146"/>
              <a:gd name="T32" fmla="*/ 72 w 169"/>
              <a:gd name="T33" fmla="*/ 73 h 146"/>
              <a:gd name="T34" fmla="*/ 49 w 169"/>
              <a:gd name="T35" fmla="*/ 74 h 146"/>
              <a:gd name="T36" fmla="*/ 48 w 169"/>
              <a:gd name="T37" fmla="*/ 94 h 146"/>
              <a:gd name="T38" fmla="*/ 51 w 169"/>
              <a:gd name="T39" fmla="*/ 97 h 146"/>
              <a:gd name="T40" fmla="*/ 72 w 169"/>
              <a:gd name="T41" fmla="*/ 118 h 146"/>
              <a:gd name="T42" fmla="*/ 75 w 169"/>
              <a:gd name="T43" fmla="*/ 121 h 146"/>
              <a:gd name="T44" fmla="*/ 96 w 169"/>
              <a:gd name="T45" fmla="*/ 120 h 146"/>
              <a:gd name="T46" fmla="*/ 97 w 169"/>
              <a:gd name="T47" fmla="*/ 97 h 146"/>
              <a:gd name="T48" fmla="*/ 120 w 169"/>
              <a:gd name="T49" fmla="*/ 96 h 146"/>
              <a:gd name="T50" fmla="*/ 60 w 169"/>
              <a:gd name="T51" fmla="*/ 25 h 146"/>
              <a:gd name="T52" fmla="*/ 109 w 169"/>
              <a:gd name="T53" fmla="*/ 12 h 146"/>
              <a:gd name="T54" fmla="*/ 60 w 169"/>
              <a:gd name="T55" fmla="*/ 25 h 146"/>
              <a:gd name="T56" fmla="*/ 169 w 169"/>
              <a:gd name="T57" fmla="*/ 124 h 146"/>
              <a:gd name="T58" fmla="*/ 148 w 169"/>
              <a:gd name="T59" fmla="*/ 146 h 146"/>
              <a:gd name="T60" fmla="*/ 145 w 169"/>
              <a:gd name="T61" fmla="*/ 25 h 146"/>
              <a:gd name="T62" fmla="*/ 163 w 169"/>
              <a:gd name="T63" fmla="*/ 31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9" h="146">
                <a:moveTo>
                  <a:pt x="24" y="25"/>
                </a:moveTo>
                <a:cubicBezTo>
                  <a:pt x="24" y="146"/>
                  <a:pt x="24" y="146"/>
                  <a:pt x="24" y="146"/>
                </a:cubicBezTo>
                <a:cubicBezTo>
                  <a:pt x="21" y="146"/>
                  <a:pt x="21" y="146"/>
                  <a:pt x="21" y="146"/>
                </a:cubicBezTo>
                <a:cubicBezTo>
                  <a:pt x="15" y="146"/>
                  <a:pt x="10" y="143"/>
                  <a:pt x="6" y="139"/>
                </a:cubicBezTo>
                <a:cubicBezTo>
                  <a:pt x="2" y="135"/>
                  <a:pt x="0" y="130"/>
                  <a:pt x="0" y="124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0"/>
                  <a:pt x="2" y="35"/>
                  <a:pt x="6" y="31"/>
                </a:cubicBezTo>
                <a:cubicBezTo>
                  <a:pt x="10" y="27"/>
                  <a:pt x="15" y="25"/>
                  <a:pt x="21" y="25"/>
                </a:cubicBezTo>
                <a:lnTo>
                  <a:pt x="24" y="25"/>
                </a:lnTo>
                <a:close/>
                <a:moveTo>
                  <a:pt x="136" y="25"/>
                </a:moveTo>
                <a:cubicBezTo>
                  <a:pt x="136" y="146"/>
                  <a:pt x="136" y="146"/>
                  <a:pt x="136" y="146"/>
                </a:cubicBezTo>
                <a:cubicBezTo>
                  <a:pt x="33" y="146"/>
                  <a:pt x="33" y="146"/>
                  <a:pt x="33" y="146"/>
                </a:cubicBezTo>
                <a:cubicBezTo>
                  <a:pt x="33" y="25"/>
                  <a:pt x="33" y="25"/>
                  <a:pt x="33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8" y="9"/>
                  <a:pt x="48" y="9"/>
                  <a:pt x="48" y="9"/>
                </a:cubicBezTo>
                <a:cubicBezTo>
                  <a:pt x="48" y="7"/>
                  <a:pt x="49" y="5"/>
                  <a:pt x="51" y="3"/>
                </a:cubicBezTo>
                <a:cubicBezTo>
                  <a:pt x="53" y="1"/>
                  <a:pt x="55" y="0"/>
                  <a:pt x="57" y="0"/>
                </a:cubicBezTo>
                <a:cubicBezTo>
                  <a:pt x="112" y="0"/>
                  <a:pt x="112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120" y="5"/>
                  <a:pt x="121" y="7"/>
                  <a:pt x="121" y="9"/>
                </a:cubicBezTo>
                <a:cubicBezTo>
                  <a:pt x="121" y="25"/>
                  <a:pt x="121" y="25"/>
                  <a:pt x="121" y="25"/>
                </a:cubicBezTo>
                <a:lnTo>
                  <a:pt x="136" y="25"/>
                </a:lnTo>
                <a:close/>
                <a:moveTo>
                  <a:pt x="121" y="94"/>
                </a:moveTo>
                <a:cubicBezTo>
                  <a:pt x="121" y="76"/>
                  <a:pt x="121" y="76"/>
                  <a:pt x="121" y="76"/>
                </a:cubicBezTo>
                <a:cubicBezTo>
                  <a:pt x="121" y="75"/>
                  <a:pt x="120" y="74"/>
                  <a:pt x="120" y="74"/>
                </a:cubicBezTo>
                <a:cubicBezTo>
                  <a:pt x="119" y="73"/>
                  <a:pt x="119" y="73"/>
                  <a:pt x="118" y="73"/>
                </a:cubicBezTo>
                <a:cubicBezTo>
                  <a:pt x="97" y="73"/>
                  <a:pt x="97" y="73"/>
                  <a:pt x="97" y="73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1"/>
                  <a:pt x="96" y="50"/>
                  <a:pt x="96" y="50"/>
                </a:cubicBezTo>
                <a:cubicBezTo>
                  <a:pt x="95" y="49"/>
                  <a:pt x="94" y="49"/>
                  <a:pt x="93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4" y="49"/>
                  <a:pt x="74" y="49"/>
                  <a:pt x="73" y="50"/>
                </a:cubicBezTo>
                <a:cubicBezTo>
                  <a:pt x="73" y="50"/>
                  <a:pt x="72" y="51"/>
                  <a:pt x="72" y="52"/>
                </a:cubicBezTo>
                <a:cubicBezTo>
                  <a:pt x="72" y="73"/>
                  <a:pt x="72" y="73"/>
                  <a:pt x="72" y="73"/>
                </a:cubicBezTo>
                <a:cubicBezTo>
                  <a:pt x="51" y="73"/>
                  <a:pt x="51" y="73"/>
                  <a:pt x="51" y="73"/>
                </a:cubicBezTo>
                <a:cubicBezTo>
                  <a:pt x="50" y="73"/>
                  <a:pt x="50" y="73"/>
                  <a:pt x="49" y="74"/>
                </a:cubicBezTo>
                <a:cubicBezTo>
                  <a:pt x="48" y="74"/>
                  <a:pt x="48" y="75"/>
                  <a:pt x="48" y="76"/>
                </a:cubicBezTo>
                <a:cubicBezTo>
                  <a:pt x="48" y="94"/>
                  <a:pt x="48" y="94"/>
                  <a:pt x="48" y="94"/>
                </a:cubicBezTo>
                <a:cubicBezTo>
                  <a:pt x="48" y="95"/>
                  <a:pt x="48" y="96"/>
                  <a:pt x="49" y="96"/>
                </a:cubicBezTo>
                <a:cubicBezTo>
                  <a:pt x="50" y="97"/>
                  <a:pt x="50" y="97"/>
                  <a:pt x="51" y="97"/>
                </a:cubicBezTo>
                <a:cubicBezTo>
                  <a:pt x="72" y="97"/>
                  <a:pt x="72" y="97"/>
                  <a:pt x="72" y="97"/>
                </a:cubicBezTo>
                <a:cubicBezTo>
                  <a:pt x="72" y="118"/>
                  <a:pt x="72" y="118"/>
                  <a:pt x="72" y="118"/>
                </a:cubicBezTo>
                <a:cubicBezTo>
                  <a:pt x="72" y="119"/>
                  <a:pt x="73" y="120"/>
                  <a:pt x="73" y="120"/>
                </a:cubicBezTo>
                <a:cubicBezTo>
                  <a:pt x="74" y="121"/>
                  <a:pt x="74" y="121"/>
                  <a:pt x="75" y="121"/>
                </a:cubicBezTo>
                <a:cubicBezTo>
                  <a:pt x="93" y="121"/>
                  <a:pt x="93" y="121"/>
                  <a:pt x="93" y="121"/>
                </a:cubicBezTo>
                <a:cubicBezTo>
                  <a:pt x="94" y="121"/>
                  <a:pt x="95" y="121"/>
                  <a:pt x="96" y="120"/>
                </a:cubicBezTo>
                <a:cubicBezTo>
                  <a:pt x="96" y="120"/>
                  <a:pt x="97" y="119"/>
                  <a:pt x="97" y="118"/>
                </a:cubicBezTo>
                <a:cubicBezTo>
                  <a:pt x="97" y="97"/>
                  <a:pt x="97" y="97"/>
                  <a:pt x="97" y="97"/>
                </a:cubicBezTo>
                <a:cubicBezTo>
                  <a:pt x="118" y="97"/>
                  <a:pt x="118" y="97"/>
                  <a:pt x="118" y="97"/>
                </a:cubicBezTo>
                <a:cubicBezTo>
                  <a:pt x="119" y="97"/>
                  <a:pt x="119" y="97"/>
                  <a:pt x="120" y="96"/>
                </a:cubicBezTo>
                <a:cubicBezTo>
                  <a:pt x="120" y="96"/>
                  <a:pt x="121" y="95"/>
                  <a:pt x="121" y="94"/>
                </a:cubicBezTo>
                <a:close/>
                <a:moveTo>
                  <a:pt x="60" y="25"/>
                </a:moveTo>
                <a:cubicBezTo>
                  <a:pt x="109" y="25"/>
                  <a:pt x="109" y="25"/>
                  <a:pt x="109" y="25"/>
                </a:cubicBezTo>
                <a:cubicBezTo>
                  <a:pt x="109" y="12"/>
                  <a:pt x="109" y="12"/>
                  <a:pt x="109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25"/>
                </a:lnTo>
                <a:close/>
                <a:moveTo>
                  <a:pt x="169" y="46"/>
                </a:moveTo>
                <a:cubicBezTo>
                  <a:pt x="169" y="124"/>
                  <a:pt x="169" y="124"/>
                  <a:pt x="169" y="124"/>
                </a:cubicBezTo>
                <a:cubicBezTo>
                  <a:pt x="169" y="130"/>
                  <a:pt x="167" y="135"/>
                  <a:pt x="163" y="139"/>
                </a:cubicBezTo>
                <a:cubicBezTo>
                  <a:pt x="159" y="143"/>
                  <a:pt x="154" y="146"/>
                  <a:pt x="148" y="146"/>
                </a:cubicBezTo>
                <a:cubicBezTo>
                  <a:pt x="145" y="146"/>
                  <a:pt x="145" y="146"/>
                  <a:pt x="145" y="146"/>
                </a:cubicBezTo>
                <a:cubicBezTo>
                  <a:pt x="145" y="25"/>
                  <a:pt x="145" y="25"/>
                  <a:pt x="145" y="25"/>
                </a:cubicBezTo>
                <a:cubicBezTo>
                  <a:pt x="148" y="25"/>
                  <a:pt x="148" y="25"/>
                  <a:pt x="148" y="25"/>
                </a:cubicBezTo>
                <a:cubicBezTo>
                  <a:pt x="154" y="25"/>
                  <a:pt x="159" y="27"/>
                  <a:pt x="163" y="31"/>
                </a:cubicBezTo>
                <a:cubicBezTo>
                  <a:pt x="167" y="35"/>
                  <a:pt x="169" y="40"/>
                  <a:pt x="169" y="4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9" name="Freeform 188"/>
          <p:cNvSpPr>
            <a:spLocks noEditPoints="1"/>
          </p:cNvSpPr>
          <p:nvPr/>
        </p:nvSpPr>
        <p:spPr bwMode="auto">
          <a:xfrm>
            <a:off x="4643439" y="1584615"/>
            <a:ext cx="298974" cy="246374"/>
          </a:xfrm>
          <a:custGeom>
            <a:avLst/>
            <a:gdLst>
              <a:gd name="T0" fmla="*/ 163 w 163"/>
              <a:gd name="T1" fmla="*/ 103 h 134"/>
              <a:gd name="T2" fmla="*/ 162 w 163"/>
              <a:gd name="T3" fmla="*/ 108 h 134"/>
              <a:gd name="T4" fmla="*/ 158 w 163"/>
              <a:gd name="T5" fmla="*/ 109 h 134"/>
              <a:gd name="T6" fmla="*/ 153 w 163"/>
              <a:gd name="T7" fmla="*/ 109 h 134"/>
              <a:gd name="T8" fmla="*/ 144 w 163"/>
              <a:gd name="T9" fmla="*/ 126 h 134"/>
              <a:gd name="T10" fmla="*/ 110 w 163"/>
              <a:gd name="T11" fmla="*/ 126 h 134"/>
              <a:gd name="T12" fmla="*/ 67 w 163"/>
              <a:gd name="T13" fmla="*/ 109 h 134"/>
              <a:gd name="T14" fmla="*/ 42 w 163"/>
              <a:gd name="T15" fmla="*/ 134 h 134"/>
              <a:gd name="T16" fmla="*/ 18 w 163"/>
              <a:gd name="T17" fmla="*/ 109 h 134"/>
              <a:gd name="T18" fmla="*/ 10 w 163"/>
              <a:gd name="T19" fmla="*/ 109 h 134"/>
              <a:gd name="T20" fmla="*/ 5 w 163"/>
              <a:gd name="T21" fmla="*/ 109 h 134"/>
              <a:gd name="T22" fmla="*/ 2 w 163"/>
              <a:gd name="T23" fmla="*/ 108 h 134"/>
              <a:gd name="T24" fmla="*/ 0 w 163"/>
              <a:gd name="T25" fmla="*/ 103 h 134"/>
              <a:gd name="T26" fmla="*/ 6 w 163"/>
              <a:gd name="T27" fmla="*/ 97 h 134"/>
              <a:gd name="T28" fmla="*/ 6 w 163"/>
              <a:gd name="T29" fmla="*/ 64 h 134"/>
              <a:gd name="T30" fmla="*/ 6 w 163"/>
              <a:gd name="T31" fmla="*/ 57 h 134"/>
              <a:gd name="T32" fmla="*/ 8 w 163"/>
              <a:gd name="T33" fmla="*/ 50 h 134"/>
              <a:gd name="T34" fmla="*/ 29 w 163"/>
              <a:gd name="T35" fmla="*/ 29 h 134"/>
              <a:gd name="T36" fmla="*/ 39 w 163"/>
              <a:gd name="T37" fmla="*/ 25 h 134"/>
              <a:gd name="T38" fmla="*/ 54 w 163"/>
              <a:gd name="T39" fmla="*/ 6 h 134"/>
              <a:gd name="T40" fmla="*/ 61 w 163"/>
              <a:gd name="T41" fmla="*/ 0 h 134"/>
              <a:gd name="T42" fmla="*/ 162 w 163"/>
              <a:gd name="T43" fmla="*/ 2 h 134"/>
              <a:gd name="T44" fmla="*/ 18 w 163"/>
              <a:gd name="T45" fmla="*/ 61 h 134"/>
              <a:gd name="T46" fmla="*/ 54 w 163"/>
              <a:gd name="T47" fmla="*/ 37 h 134"/>
              <a:gd name="T48" fmla="*/ 37 w 163"/>
              <a:gd name="T49" fmla="*/ 38 h 134"/>
              <a:gd name="T50" fmla="*/ 18 w 163"/>
              <a:gd name="T51" fmla="*/ 58 h 134"/>
              <a:gd name="T52" fmla="*/ 51 w 163"/>
              <a:gd name="T53" fmla="*/ 118 h 134"/>
              <a:gd name="T54" fmla="*/ 51 w 163"/>
              <a:gd name="T55" fmla="*/ 101 h 134"/>
              <a:gd name="T56" fmla="*/ 34 w 163"/>
              <a:gd name="T57" fmla="*/ 101 h 134"/>
              <a:gd name="T58" fmla="*/ 34 w 163"/>
              <a:gd name="T59" fmla="*/ 118 h 134"/>
              <a:gd name="T60" fmla="*/ 51 w 163"/>
              <a:gd name="T61" fmla="*/ 118 h 134"/>
              <a:gd name="T62" fmla="*/ 139 w 163"/>
              <a:gd name="T63" fmla="*/ 109 h 134"/>
              <a:gd name="T64" fmla="*/ 127 w 163"/>
              <a:gd name="T65" fmla="*/ 97 h 134"/>
              <a:gd name="T66" fmla="*/ 115 w 163"/>
              <a:gd name="T67" fmla="*/ 109 h 134"/>
              <a:gd name="T68" fmla="*/ 127 w 163"/>
              <a:gd name="T69" fmla="*/ 12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3" h="134">
                <a:moveTo>
                  <a:pt x="163" y="6"/>
                </a:moveTo>
                <a:cubicBezTo>
                  <a:pt x="163" y="103"/>
                  <a:pt x="163" y="103"/>
                  <a:pt x="163" y="103"/>
                </a:cubicBezTo>
                <a:cubicBezTo>
                  <a:pt x="163" y="104"/>
                  <a:pt x="163" y="105"/>
                  <a:pt x="163" y="106"/>
                </a:cubicBezTo>
                <a:cubicBezTo>
                  <a:pt x="163" y="107"/>
                  <a:pt x="162" y="107"/>
                  <a:pt x="162" y="108"/>
                </a:cubicBezTo>
                <a:cubicBezTo>
                  <a:pt x="161" y="108"/>
                  <a:pt x="161" y="108"/>
                  <a:pt x="160" y="109"/>
                </a:cubicBezTo>
                <a:cubicBezTo>
                  <a:pt x="160" y="109"/>
                  <a:pt x="159" y="109"/>
                  <a:pt x="158" y="109"/>
                </a:cubicBezTo>
                <a:cubicBezTo>
                  <a:pt x="157" y="109"/>
                  <a:pt x="156" y="109"/>
                  <a:pt x="156" y="109"/>
                </a:cubicBezTo>
                <a:cubicBezTo>
                  <a:pt x="155" y="109"/>
                  <a:pt x="155" y="109"/>
                  <a:pt x="153" y="109"/>
                </a:cubicBezTo>
                <a:cubicBezTo>
                  <a:pt x="152" y="109"/>
                  <a:pt x="152" y="109"/>
                  <a:pt x="151" y="109"/>
                </a:cubicBezTo>
                <a:cubicBezTo>
                  <a:pt x="151" y="116"/>
                  <a:pt x="149" y="122"/>
                  <a:pt x="144" y="126"/>
                </a:cubicBezTo>
                <a:cubicBezTo>
                  <a:pt x="139" y="131"/>
                  <a:pt x="134" y="134"/>
                  <a:pt x="127" y="134"/>
                </a:cubicBezTo>
                <a:cubicBezTo>
                  <a:pt x="120" y="134"/>
                  <a:pt x="115" y="131"/>
                  <a:pt x="110" y="126"/>
                </a:cubicBezTo>
                <a:cubicBezTo>
                  <a:pt x="105" y="122"/>
                  <a:pt x="103" y="116"/>
                  <a:pt x="103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16"/>
                  <a:pt x="64" y="122"/>
                  <a:pt x="60" y="126"/>
                </a:cubicBezTo>
                <a:cubicBezTo>
                  <a:pt x="55" y="131"/>
                  <a:pt x="49" y="134"/>
                  <a:pt x="42" y="134"/>
                </a:cubicBezTo>
                <a:cubicBezTo>
                  <a:pt x="36" y="134"/>
                  <a:pt x="30" y="131"/>
                  <a:pt x="25" y="126"/>
                </a:cubicBezTo>
                <a:cubicBezTo>
                  <a:pt x="21" y="122"/>
                  <a:pt x="18" y="116"/>
                  <a:pt x="18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1" y="109"/>
                  <a:pt x="10" y="109"/>
                </a:cubicBezTo>
                <a:cubicBezTo>
                  <a:pt x="9" y="109"/>
                  <a:pt x="8" y="109"/>
                  <a:pt x="8" y="109"/>
                </a:cubicBezTo>
                <a:cubicBezTo>
                  <a:pt x="7" y="109"/>
                  <a:pt x="7" y="109"/>
                  <a:pt x="5" y="109"/>
                </a:cubicBezTo>
                <a:cubicBezTo>
                  <a:pt x="4" y="109"/>
                  <a:pt x="4" y="109"/>
                  <a:pt x="3" y="109"/>
                </a:cubicBezTo>
                <a:cubicBezTo>
                  <a:pt x="3" y="108"/>
                  <a:pt x="2" y="108"/>
                  <a:pt x="2" y="108"/>
                </a:cubicBezTo>
                <a:cubicBezTo>
                  <a:pt x="1" y="107"/>
                  <a:pt x="1" y="107"/>
                  <a:pt x="0" y="106"/>
                </a:cubicBezTo>
                <a:cubicBezTo>
                  <a:pt x="0" y="105"/>
                  <a:pt x="0" y="104"/>
                  <a:pt x="0" y="103"/>
                </a:cubicBezTo>
                <a:cubicBezTo>
                  <a:pt x="0" y="102"/>
                  <a:pt x="1" y="100"/>
                  <a:pt x="2" y="99"/>
                </a:cubicBezTo>
                <a:cubicBezTo>
                  <a:pt x="3" y="98"/>
                  <a:pt x="4" y="97"/>
                  <a:pt x="6" y="9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6"/>
                  <a:pt x="6" y="65"/>
                  <a:pt x="6" y="64"/>
                </a:cubicBezTo>
                <a:cubicBezTo>
                  <a:pt x="6" y="62"/>
                  <a:pt x="6" y="61"/>
                  <a:pt x="6" y="60"/>
                </a:cubicBezTo>
                <a:cubicBezTo>
                  <a:pt x="6" y="59"/>
                  <a:pt x="6" y="58"/>
                  <a:pt x="6" y="57"/>
                </a:cubicBezTo>
                <a:cubicBezTo>
                  <a:pt x="6" y="55"/>
                  <a:pt x="7" y="54"/>
                  <a:pt x="7" y="53"/>
                </a:cubicBezTo>
                <a:cubicBezTo>
                  <a:pt x="7" y="52"/>
                  <a:pt x="8" y="52"/>
                  <a:pt x="8" y="50"/>
                </a:cubicBezTo>
                <a:cubicBezTo>
                  <a:pt x="9" y="49"/>
                  <a:pt x="10" y="48"/>
                  <a:pt x="10" y="48"/>
                </a:cubicBezTo>
                <a:cubicBezTo>
                  <a:pt x="29" y="29"/>
                  <a:pt x="29" y="29"/>
                  <a:pt x="29" y="29"/>
                </a:cubicBezTo>
                <a:cubicBezTo>
                  <a:pt x="30" y="28"/>
                  <a:pt x="32" y="27"/>
                  <a:pt x="34" y="26"/>
                </a:cubicBezTo>
                <a:cubicBezTo>
                  <a:pt x="36" y="25"/>
                  <a:pt x="38" y="25"/>
                  <a:pt x="39" y="25"/>
                </a:cubicBezTo>
                <a:cubicBezTo>
                  <a:pt x="54" y="25"/>
                  <a:pt x="54" y="25"/>
                  <a:pt x="54" y="25"/>
                </a:cubicBezTo>
                <a:cubicBezTo>
                  <a:pt x="54" y="6"/>
                  <a:pt x="54" y="6"/>
                  <a:pt x="54" y="6"/>
                </a:cubicBezTo>
                <a:cubicBezTo>
                  <a:pt x="54" y="5"/>
                  <a:pt x="55" y="3"/>
                  <a:pt x="56" y="2"/>
                </a:cubicBezTo>
                <a:cubicBezTo>
                  <a:pt x="57" y="1"/>
                  <a:pt x="59" y="0"/>
                  <a:pt x="61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9" y="0"/>
                  <a:pt x="160" y="1"/>
                  <a:pt x="162" y="2"/>
                </a:cubicBezTo>
                <a:cubicBezTo>
                  <a:pt x="163" y="3"/>
                  <a:pt x="163" y="5"/>
                  <a:pt x="163" y="6"/>
                </a:cubicBezTo>
                <a:close/>
                <a:moveTo>
                  <a:pt x="18" y="61"/>
                </a:moveTo>
                <a:cubicBezTo>
                  <a:pt x="54" y="61"/>
                  <a:pt x="54" y="61"/>
                  <a:pt x="54" y="61"/>
                </a:cubicBezTo>
                <a:cubicBezTo>
                  <a:pt x="54" y="37"/>
                  <a:pt x="54" y="37"/>
                  <a:pt x="54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39" y="37"/>
                  <a:pt x="38" y="37"/>
                  <a:pt x="37" y="38"/>
                </a:cubicBezTo>
                <a:cubicBezTo>
                  <a:pt x="19" y="56"/>
                  <a:pt x="19" y="56"/>
                  <a:pt x="19" y="56"/>
                </a:cubicBezTo>
                <a:cubicBezTo>
                  <a:pt x="18" y="57"/>
                  <a:pt x="18" y="57"/>
                  <a:pt x="18" y="58"/>
                </a:cubicBezTo>
                <a:lnTo>
                  <a:pt x="18" y="61"/>
                </a:lnTo>
                <a:close/>
                <a:moveTo>
                  <a:pt x="51" y="118"/>
                </a:moveTo>
                <a:cubicBezTo>
                  <a:pt x="53" y="115"/>
                  <a:pt x="54" y="113"/>
                  <a:pt x="54" y="109"/>
                </a:cubicBezTo>
                <a:cubicBezTo>
                  <a:pt x="54" y="106"/>
                  <a:pt x="53" y="103"/>
                  <a:pt x="51" y="101"/>
                </a:cubicBezTo>
                <a:cubicBezTo>
                  <a:pt x="49" y="98"/>
                  <a:pt x="46" y="97"/>
                  <a:pt x="42" y="97"/>
                </a:cubicBezTo>
                <a:cubicBezTo>
                  <a:pt x="39" y="97"/>
                  <a:pt x="36" y="98"/>
                  <a:pt x="34" y="101"/>
                </a:cubicBezTo>
                <a:cubicBezTo>
                  <a:pt x="31" y="103"/>
                  <a:pt x="30" y="106"/>
                  <a:pt x="30" y="109"/>
                </a:cubicBezTo>
                <a:cubicBezTo>
                  <a:pt x="30" y="113"/>
                  <a:pt x="31" y="115"/>
                  <a:pt x="34" y="118"/>
                </a:cubicBezTo>
                <a:cubicBezTo>
                  <a:pt x="36" y="120"/>
                  <a:pt x="39" y="121"/>
                  <a:pt x="42" y="121"/>
                </a:cubicBezTo>
                <a:cubicBezTo>
                  <a:pt x="46" y="121"/>
                  <a:pt x="49" y="120"/>
                  <a:pt x="51" y="118"/>
                </a:cubicBezTo>
                <a:close/>
                <a:moveTo>
                  <a:pt x="136" y="118"/>
                </a:moveTo>
                <a:cubicBezTo>
                  <a:pt x="138" y="115"/>
                  <a:pt x="139" y="113"/>
                  <a:pt x="139" y="109"/>
                </a:cubicBezTo>
                <a:cubicBezTo>
                  <a:pt x="139" y="106"/>
                  <a:pt x="138" y="103"/>
                  <a:pt x="136" y="101"/>
                </a:cubicBezTo>
                <a:cubicBezTo>
                  <a:pt x="133" y="98"/>
                  <a:pt x="130" y="97"/>
                  <a:pt x="127" y="97"/>
                </a:cubicBezTo>
                <a:cubicBezTo>
                  <a:pt x="124" y="97"/>
                  <a:pt x="121" y="98"/>
                  <a:pt x="119" y="101"/>
                </a:cubicBezTo>
                <a:cubicBezTo>
                  <a:pt x="116" y="103"/>
                  <a:pt x="115" y="106"/>
                  <a:pt x="115" y="109"/>
                </a:cubicBezTo>
                <a:cubicBezTo>
                  <a:pt x="115" y="113"/>
                  <a:pt x="116" y="115"/>
                  <a:pt x="119" y="118"/>
                </a:cubicBezTo>
                <a:cubicBezTo>
                  <a:pt x="121" y="120"/>
                  <a:pt x="124" y="121"/>
                  <a:pt x="127" y="121"/>
                </a:cubicBezTo>
                <a:cubicBezTo>
                  <a:pt x="130" y="121"/>
                  <a:pt x="133" y="120"/>
                  <a:pt x="136" y="11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0" name="Freeform 83"/>
          <p:cNvSpPr>
            <a:spLocks/>
          </p:cNvSpPr>
          <p:nvPr/>
        </p:nvSpPr>
        <p:spPr bwMode="auto">
          <a:xfrm>
            <a:off x="4709637" y="3597563"/>
            <a:ext cx="217882" cy="296148"/>
          </a:xfrm>
          <a:custGeom>
            <a:avLst/>
            <a:gdLst>
              <a:gd name="T0" fmla="*/ 149 w 189"/>
              <a:gd name="T1" fmla="*/ 126 h 256"/>
              <a:gd name="T2" fmla="*/ 142 w 189"/>
              <a:gd name="T3" fmla="*/ 126 h 256"/>
              <a:gd name="T4" fmla="*/ 107 w 189"/>
              <a:gd name="T5" fmla="*/ 60 h 256"/>
              <a:gd name="T6" fmla="*/ 107 w 189"/>
              <a:gd name="T7" fmla="*/ 202 h 256"/>
              <a:gd name="T8" fmla="*/ 69 w 189"/>
              <a:gd name="T9" fmla="*/ 246 h 256"/>
              <a:gd name="T10" fmla="*/ 7 w 189"/>
              <a:gd name="T11" fmla="*/ 228 h 256"/>
              <a:gd name="T12" fmla="*/ 43 w 189"/>
              <a:gd name="T13" fmla="*/ 175 h 256"/>
              <a:gd name="T14" fmla="*/ 85 w 189"/>
              <a:gd name="T15" fmla="*/ 174 h 256"/>
              <a:gd name="T16" fmla="*/ 85 w 189"/>
              <a:gd name="T17" fmla="*/ 0 h 256"/>
              <a:gd name="T18" fmla="*/ 107 w 189"/>
              <a:gd name="T19" fmla="*/ 0 h 256"/>
              <a:gd name="T20" fmla="*/ 149 w 189"/>
              <a:gd name="T21" fmla="*/ 12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9" h="256">
                <a:moveTo>
                  <a:pt x="149" y="126"/>
                </a:moveTo>
                <a:cubicBezTo>
                  <a:pt x="143" y="134"/>
                  <a:pt x="140" y="130"/>
                  <a:pt x="142" y="126"/>
                </a:cubicBezTo>
                <a:cubicBezTo>
                  <a:pt x="146" y="112"/>
                  <a:pt x="144" y="66"/>
                  <a:pt x="107" y="60"/>
                </a:cubicBezTo>
                <a:cubicBezTo>
                  <a:pt x="107" y="202"/>
                  <a:pt x="107" y="202"/>
                  <a:pt x="107" y="202"/>
                </a:cubicBezTo>
                <a:cubicBezTo>
                  <a:pt x="107" y="219"/>
                  <a:pt x="92" y="237"/>
                  <a:pt x="69" y="246"/>
                </a:cubicBezTo>
                <a:cubicBezTo>
                  <a:pt x="42" y="256"/>
                  <a:pt x="15" y="248"/>
                  <a:pt x="7" y="228"/>
                </a:cubicBezTo>
                <a:cubicBezTo>
                  <a:pt x="0" y="209"/>
                  <a:pt x="16" y="185"/>
                  <a:pt x="43" y="175"/>
                </a:cubicBezTo>
                <a:cubicBezTo>
                  <a:pt x="58" y="169"/>
                  <a:pt x="74" y="169"/>
                  <a:pt x="85" y="174"/>
                </a:cubicBezTo>
                <a:cubicBezTo>
                  <a:pt x="85" y="0"/>
                  <a:pt x="85" y="0"/>
                  <a:pt x="85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7" y="36"/>
                  <a:pt x="189" y="64"/>
                  <a:pt x="149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5085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endCxn id="8" idx="0"/>
          </p:cNvCxnSpPr>
          <p:nvPr/>
        </p:nvCxnSpPr>
        <p:spPr>
          <a:xfrm>
            <a:off x="4570413" y="1914479"/>
            <a:ext cx="1587" cy="748714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2978032" y="1916860"/>
            <a:ext cx="1469052" cy="741180"/>
            <a:chOff x="2978032" y="1916860"/>
            <a:chExt cx="1469052" cy="741180"/>
          </a:xfrm>
        </p:grpSpPr>
        <p:cxnSp>
          <p:nvCxnSpPr>
            <p:cNvPr id="159" name="Straight Connector 158"/>
            <p:cNvCxnSpPr/>
            <p:nvPr/>
          </p:nvCxnSpPr>
          <p:spPr>
            <a:xfrm>
              <a:off x="4447084" y="1916860"/>
              <a:ext cx="0" cy="203074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Arc 151"/>
            <p:cNvSpPr/>
            <p:nvPr/>
          </p:nvSpPr>
          <p:spPr>
            <a:xfrm flipH="1">
              <a:off x="2978032" y="2241834"/>
              <a:ext cx="248561" cy="248561"/>
            </a:xfrm>
            <a:prstGeom prst="arc">
              <a:avLst/>
            </a:prstGeom>
            <a:ln w="12700" cmpd="sng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1"/>
                  </a:solidFill>
                  <a:prstDash val="solid"/>
                </a:ln>
                <a:latin typeface="+mj-lt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978032" y="1993273"/>
              <a:ext cx="1469052" cy="664767"/>
              <a:chOff x="2978032" y="1993273"/>
              <a:chExt cx="1469052" cy="664767"/>
            </a:xfrm>
          </p:grpSpPr>
          <p:cxnSp>
            <p:nvCxnSpPr>
              <p:cNvPr id="153" name="Straight Connector 152"/>
              <p:cNvCxnSpPr/>
              <p:nvPr/>
            </p:nvCxnSpPr>
            <p:spPr>
              <a:xfrm>
                <a:off x="2978032" y="2359765"/>
                <a:ext cx="1" cy="298275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>
                <a:stCxn id="152" idx="0"/>
                <a:endCxn id="164" idx="0"/>
              </p:cNvCxnSpPr>
              <p:nvPr/>
            </p:nvCxnSpPr>
            <p:spPr>
              <a:xfrm>
                <a:off x="3102313" y="2241834"/>
                <a:ext cx="1220490" cy="0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Arc 163"/>
              <p:cNvSpPr/>
              <p:nvPr/>
            </p:nvSpPr>
            <p:spPr>
              <a:xfrm rot="10800000" flipH="1">
                <a:off x="4198523" y="1993273"/>
                <a:ext cx="248561" cy="248561"/>
              </a:xfrm>
              <a:prstGeom prst="arc">
                <a:avLst/>
              </a:prstGeom>
              <a:ln w="12700" cmpd="sng">
                <a:solidFill>
                  <a:schemeClr val="accent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n>
                    <a:solidFill>
                      <a:schemeClr val="tx1"/>
                    </a:solidFill>
                    <a:prstDash val="solid"/>
                  </a:ln>
                  <a:latin typeface="+mj-lt"/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1392264" y="1878973"/>
            <a:ext cx="2918753" cy="784220"/>
            <a:chOff x="1392264" y="1878973"/>
            <a:chExt cx="2918753" cy="784220"/>
          </a:xfrm>
        </p:grpSpPr>
        <p:cxnSp>
          <p:nvCxnSpPr>
            <p:cNvPr id="186" name="Straight Connector 185"/>
            <p:cNvCxnSpPr/>
            <p:nvPr/>
          </p:nvCxnSpPr>
          <p:spPr>
            <a:xfrm>
              <a:off x="4311017" y="1914479"/>
              <a:ext cx="0" cy="91155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Arc 183"/>
            <p:cNvSpPr/>
            <p:nvPr/>
          </p:nvSpPr>
          <p:spPr>
            <a:xfrm flipH="1">
              <a:off x="1392264" y="2127534"/>
              <a:ext cx="248561" cy="248561"/>
            </a:xfrm>
            <a:prstGeom prst="arc">
              <a:avLst/>
            </a:prstGeom>
            <a:ln w="12700" cmpd="sng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1"/>
                  </a:solidFill>
                  <a:prstDash val="solid"/>
                </a:ln>
                <a:latin typeface="+mj-lt"/>
              </a:endParaRPr>
            </a:p>
          </p:txBody>
        </p:sp>
        <p:cxnSp>
          <p:nvCxnSpPr>
            <p:cNvPr id="185" name="Straight Connector 184"/>
            <p:cNvCxnSpPr/>
            <p:nvPr/>
          </p:nvCxnSpPr>
          <p:spPr>
            <a:xfrm>
              <a:off x="1392264" y="2245465"/>
              <a:ext cx="953" cy="417728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>
              <a:stCxn id="184" idx="0"/>
              <a:endCxn id="188" idx="0"/>
            </p:cNvCxnSpPr>
            <p:nvPr/>
          </p:nvCxnSpPr>
          <p:spPr>
            <a:xfrm>
              <a:off x="1516545" y="2127534"/>
              <a:ext cx="2670191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Arc 187"/>
            <p:cNvSpPr/>
            <p:nvPr/>
          </p:nvSpPr>
          <p:spPr>
            <a:xfrm rot="10800000" flipH="1">
              <a:off x="4062456" y="1878973"/>
              <a:ext cx="248561" cy="248561"/>
            </a:xfrm>
            <a:prstGeom prst="arc">
              <a:avLst/>
            </a:prstGeom>
            <a:ln w="12700" cmpd="sng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1"/>
                  </a:solidFill>
                  <a:prstDash val="solid"/>
                </a:ln>
                <a:latin typeface="+mj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99166" y="1916860"/>
            <a:ext cx="1468704" cy="741180"/>
            <a:chOff x="4699166" y="1916860"/>
            <a:chExt cx="1468704" cy="741180"/>
          </a:xfrm>
        </p:grpSpPr>
        <p:cxnSp>
          <p:nvCxnSpPr>
            <p:cNvPr id="217" name="Straight Connector 216"/>
            <p:cNvCxnSpPr/>
            <p:nvPr/>
          </p:nvCxnSpPr>
          <p:spPr>
            <a:xfrm flipH="1">
              <a:off x="4699166" y="1916860"/>
              <a:ext cx="0" cy="203074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Arc 214"/>
            <p:cNvSpPr/>
            <p:nvPr/>
          </p:nvSpPr>
          <p:spPr>
            <a:xfrm>
              <a:off x="5919368" y="2241834"/>
              <a:ext cx="248502" cy="248561"/>
            </a:xfrm>
            <a:prstGeom prst="arc">
              <a:avLst/>
            </a:prstGeom>
            <a:ln w="12700" cmpd="sng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1"/>
                  </a:solidFill>
                  <a:prstDash val="solid"/>
                </a:ln>
                <a:latin typeface="+mj-lt"/>
              </a:endParaRPr>
            </a:p>
          </p:txBody>
        </p:sp>
        <p:cxnSp>
          <p:nvCxnSpPr>
            <p:cNvPr id="216" name="Straight Connector 215"/>
            <p:cNvCxnSpPr/>
            <p:nvPr/>
          </p:nvCxnSpPr>
          <p:spPr>
            <a:xfrm flipH="1">
              <a:off x="6167869" y="2359765"/>
              <a:ext cx="1" cy="298275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>
              <a:stCxn id="215" idx="0"/>
              <a:endCxn id="219" idx="0"/>
            </p:cNvCxnSpPr>
            <p:nvPr/>
          </p:nvCxnSpPr>
          <p:spPr>
            <a:xfrm flipH="1">
              <a:off x="4823418" y="2241834"/>
              <a:ext cx="1220201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9" name="Arc 218"/>
            <p:cNvSpPr/>
            <p:nvPr/>
          </p:nvSpPr>
          <p:spPr>
            <a:xfrm rot="10800000">
              <a:off x="4699166" y="1993273"/>
              <a:ext cx="248502" cy="248561"/>
            </a:xfrm>
            <a:prstGeom prst="arc">
              <a:avLst/>
            </a:prstGeom>
            <a:ln w="12700" cmpd="sng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1"/>
                  </a:solidFill>
                  <a:prstDash val="solid"/>
                </a:ln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835201" y="1878973"/>
            <a:ext cx="2918061" cy="784220"/>
            <a:chOff x="4835201" y="1878973"/>
            <a:chExt cx="2918061" cy="784220"/>
          </a:xfrm>
        </p:grpSpPr>
        <p:cxnSp>
          <p:nvCxnSpPr>
            <p:cNvPr id="222" name="Straight Connector 221"/>
            <p:cNvCxnSpPr/>
            <p:nvPr/>
          </p:nvCxnSpPr>
          <p:spPr>
            <a:xfrm flipH="1">
              <a:off x="4835201" y="1914479"/>
              <a:ext cx="0" cy="91155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/>
            <p:cNvGrpSpPr/>
            <p:nvPr/>
          </p:nvGrpSpPr>
          <p:grpSpPr>
            <a:xfrm>
              <a:off x="4835201" y="1878973"/>
              <a:ext cx="2918061" cy="784220"/>
              <a:chOff x="4835201" y="1878973"/>
              <a:chExt cx="2918061" cy="784220"/>
            </a:xfrm>
          </p:grpSpPr>
          <p:sp>
            <p:nvSpPr>
              <p:cNvPr id="220" name="Arc 219"/>
              <p:cNvSpPr/>
              <p:nvPr/>
            </p:nvSpPr>
            <p:spPr>
              <a:xfrm>
                <a:off x="7504760" y="2127534"/>
                <a:ext cx="248502" cy="248561"/>
              </a:xfrm>
              <a:prstGeom prst="arc">
                <a:avLst/>
              </a:prstGeom>
              <a:ln w="12700" cmpd="sng">
                <a:solidFill>
                  <a:schemeClr val="accent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n>
                    <a:solidFill>
                      <a:schemeClr val="tx1"/>
                    </a:solidFill>
                    <a:prstDash val="solid"/>
                  </a:ln>
                  <a:latin typeface="+mj-lt"/>
                </a:endParaRPr>
              </a:p>
            </p:txBody>
          </p:sp>
          <p:cxnSp>
            <p:nvCxnSpPr>
              <p:cNvPr id="221" name="Straight Connector 220"/>
              <p:cNvCxnSpPr/>
              <p:nvPr/>
            </p:nvCxnSpPr>
            <p:spPr>
              <a:xfrm flipH="1">
                <a:off x="7752309" y="2245465"/>
                <a:ext cx="953" cy="417728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>
                <a:stCxn id="220" idx="0"/>
                <a:endCxn id="224" idx="0"/>
              </p:cNvCxnSpPr>
              <p:nvPr/>
            </p:nvCxnSpPr>
            <p:spPr>
              <a:xfrm flipH="1">
                <a:off x="4959452" y="2127534"/>
                <a:ext cx="2669558" cy="0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4" name="Arc 223"/>
              <p:cNvSpPr/>
              <p:nvPr/>
            </p:nvSpPr>
            <p:spPr>
              <a:xfrm rot="10800000">
                <a:off x="4835201" y="1878973"/>
                <a:ext cx="248502" cy="248561"/>
              </a:xfrm>
              <a:prstGeom prst="arc">
                <a:avLst/>
              </a:prstGeom>
              <a:ln w="12700" cmpd="sng">
                <a:solidFill>
                  <a:schemeClr val="accent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n>
                    <a:solidFill>
                      <a:schemeClr val="tx1"/>
                    </a:solidFill>
                    <a:prstDash val="solid"/>
                  </a:ln>
                  <a:latin typeface="+mj-lt"/>
                </a:endParaRPr>
              </a:p>
            </p:txBody>
          </p:sp>
        </p:grp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Web Development </a:t>
            </a:r>
            <a:r>
              <a:rPr lang="en-US">
                <a:solidFill>
                  <a:schemeClr val="accent2"/>
                </a:solidFill>
              </a:rPr>
              <a:t>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3589323" y="1634493"/>
            <a:ext cx="1965354" cy="279987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88268" y="1686383"/>
            <a:ext cx="176479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>
                <a:solidFill>
                  <a:schemeClr val="bg1"/>
                </a:solidFill>
                <a:latin typeface="+mj-lt"/>
              </a:rPr>
              <a:t>Best Web Development</a:t>
            </a:r>
          </a:p>
        </p:txBody>
      </p:sp>
      <p:sp>
        <p:nvSpPr>
          <p:cNvPr id="6" name="Oval 5"/>
          <p:cNvSpPr/>
          <p:nvPr/>
        </p:nvSpPr>
        <p:spPr>
          <a:xfrm>
            <a:off x="1066424" y="2663193"/>
            <a:ext cx="653587" cy="6535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" name="Oval 6"/>
          <p:cNvSpPr/>
          <p:nvPr/>
        </p:nvSpPr>
        <p:spPr>
          <a:xfrm>
            <a:off x="2655815" y="2663193"/>
            <a:ext cx="653587" cy="6535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" name="Oval 7"/>
          <p:cNvSpPr/>
          <p:nvPr/>
        </p:nvSpPr>
        <p:spPr>
          <a:xfrm>
            <a:off x="4245206" y="2663193"/>
            <a:ext cx="653587" cy="6535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Oval 8"/>
          <p:cNvSpPr/>
          <p:nvPr/>
        </p:nvSpPr>
        <p:spPr>
          <a:xfrm>
            <a:off x="5834597" y="2663193"/>
            <a:ext cx="653587" cy="6535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0" name="Oval 9"/>
          <p:cNvSpPr/>
          <p:nvPr/>
        </p:nvSpPr>
        <p:spPr>
          <a:xfrm>
            <a:off x="7423989" y="2663193"/>
            <a:ext cx="653587" cy="6535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31704" y="3689938"/>
            <a:ext cx="132569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28943" y="3493664"/>
            <a:ext cx="1328550" cy="163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Web App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2321096" y="3689938"/>
            <a:ext cx="132569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318335" y="3493664"/>
            <a:ext cx="1328550" cy="163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Mobile Web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939634" y="3689938"/>
            <a:ext cx="132569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936873" y="3493664"/>
            <a:ext cx="1328550" cy="163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Apps &amp; Databas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091650" y="3689938"/>
            <a:ext cx="132569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088889" y="3461914"/>
            <a:ext cx="1328550" cy="163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E-Commerce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513025" y="3689938"/>
            <a:ext cx="1325696" cy="654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3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endParaRPr lang="en-US" sz="1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510264" y="3493664"/>
            <a:ext cx="1328550" cy="163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1"/>
                </a:solidFill>
                <a:latin typeface="+mj-lt"/>
              </a:rPr>
              <a:t>SEO</a:t>
            </a:r>
          </a:p>
        </p:txBody>
      </p:sp>
      <p:sp>
        <p:nvSpPr>
          <p:cNvPr id="53" name="Freeform 120">
            <a:extLst>
              <a:ext uri="{FF2B5EF4-FFF2-40B4-BE49-F238E27FC236}">
                <a16:creationId xmlns:a16="http://schemas.microsoft.com/office/drawing/2014/main" id="{30EB6C87-3EBD-4BEF-9B20-B78FFD5524F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04059" y="2878091"/>
            <a:ext cx="261509" cy="223791"/>
          </a:xfrm>
          <a:custGeom>
            <a:avLst/>
            <a:gdLst>
              <a:gd name="T0" fmla="*/ 157 w 157"/>
              <a:gd name="T1" fmla="*/ 19 h 134"/>
              <a:gd name="T2" fmla="*/ 157 w 157"/>
              <a:gd name="T3" fmla="*/ 67 h 134"/>
              <a:gd name="T4" fmla="*/ 156 w 157"/>
              <a:gd name="T5" fmla="*/ 71 h 134"/>
              <a:gd name="T6" fmla="*/ 152 w 157"/>
              <a:gd name="T7" fmla="*/ 73 h 134"/>
              <a:gd name="T8" fmla="*/ 53 w 157"/>
              <a:gd name="T9" fmla="*/ 85 h 134"/>
              <a:gd name="T10" fmla="*/ 54 w 157"/>
              <a:gd name="T11" fmla="*/ 87 h 134"/>
              <a:gd name="T12" fmla="*/ 54 w 157"/>
              <a:gd name="T13" fmla="*/ 89 h 134"/>
              <a:gd name="T14" fmla="*/ 54 w 157"/>
              <a:gd name="T15" fmla="*/ 91 h 134"/>
              <a:gd name="T16" fmla="*/ 52 w 157"/>
              <a:gd name="T17" fmla="*/ 97 h 134"/>
              <a:gd name="T18" fmla="*/ 139 w 157"/>
              <a:gd name="T19" fmla="*/ 97 h 134"/>
              <a:gd name="T20" fmla="*/ 143 w 157"/>
              <a:gd name="T21" fmla="*/ 99 h 134"/>
              <a:gd name="T22" fmla="*/ 145 w 157"/>
              <a:gd name="T23" fmla="*/ 103 h 134"/>
              <a:gd name="T24" fmla="*/ 143 w 157"/>
              <a:gd name="T25" fmla="*/ 108 h 134"/>
              <a:gd name="T26" fmla="*/ 139 w 157"/>
              <a:gd name="T27" fmla="*/ 109 h 134"/>
              <a:gd name="T28" fmla="*/ 42 w 157"/>
              <a:gd name="T29" fmla="*/ 109 h 134"/>
              <a:gd name="T30" fmla="*/ 38 w 157"/>
              <a:gd name="T31" fmla="*/ 108 h 134"/>
              <a:gd name="T32" fmla="*/ 36 w 157"/>
              <a:gd name="T33" fmla="*/ 103 h 134"/>
              <a:gd name="T34" fmla="*/ 37 w 157"/>
              <a:gd name="T35" fmla="*/ 100 h 134"/>
              <a:gd name="T36" fmla="*/ 40 w 157"/>
              <a:gd name="T37" fmla="*/ 94 h 134"/>
              <a:gd name="T38" fmla="*/ 42 w 157"/>
              <a:gd name="T39" fmla="*/ 90 h 134"/>
              <a:gd name="T40" fmla="*/ 25 w 157"/>
              <a:gd name="T41" fmla="*/ 13 h 134"/>
              <a:gd name="T42" fmla="*/ 6 w 157"/>
              <a:gd name="T43" fmla="*/ 13 h 134"/>
              <a:gd name="T44" fmla="*/ 2 w 157"/>
              <a:gd name="T45" fmla="*/ 11 h 134"/>
              <a:gd name="T46" fmla="*/ 0 w 157"/>
              <a:gd name="T47" fmla="*/ 6 h 134"/>
              <a:gd name="T48" fmla="*/ 2 w 157"/>
              <a:gd name="T49" fmla="*/ 2 h 134"/>
              <a:gd name="T50" fmla="*/ 6 w 157"/>
              <a:gd name="T51" fmla="*/ 0 h 134"/>
              <a:gd name="T52" fmla="*/ 30 w 157"/>
              <a:gd name="T53" fmla="*/ 0 h 134"/>
              <a:gd name="T54" fmla="*/ 33 w 157"/>
              <a:gd name="T55" fmla="*/ 1 h 134"/>
              <a:gd name="T56" fmla="*/ 35 w 157"/>
              <a:gd name="T57" fmla="*/ 3 h 134"/>
              <a:gd name="T58" fmla="*/ 36 w 157"/>
              <a:gd name="T59" fmla="*/ 5 h 134"/>
              <a:gd name="T60" fmla="*/ 37 w 157"/>
              <a:gd name="T61" fmla="*/ 7 h 134"/>
              <a:gd name="T62" fmla="*/ 37 w 157"/>
              <a:gd name="T63" fmla="*/ 10 h 134"/>
              <a:gd name="T64" fmla="*/ 38 w 157"/>
              <a:gd name="T65" fmla="*/ 13 h 134"/>
              <a:gd name="T66" fmla="*/ 151 w 157"/>
              <a:gd name="T67" fmla="*/ 13 h 134"/>
              <a:gd name="T68" fmla="*/ 155 w 157"/>
              <a:gd name="T69" fmla="*/ 14 h 134"/>
              <a:gd name="T70" fmla="*/ 157 w 157"/>
              <a:gd name="T71" fmla="*/ 19 h 134"/>
              <a:gd name="T72" fmla="*/ 57 w 157"/>
              <a:gd name="T73" fmla="*/ 113 h 134"/>
              <a:gd name="T74" fmla="*/ 60 w 157"/>
              <a:gd name="T75" fmla="*/ 121 h 134"/>
              <a:gd name="T76" fmla="*/ 57 w 157"/>
              <a:gd name="T77" fmla="*/ 130 h 134"/>
              <a:gd name="T78" fmla="*/ 48 w 157"/>
              <a:gd name="T79" fmla="*/ 134 h 134"/>
              <a:gd name="T80" fmla="*/ 40 w 157"/>
              <a:gd name="T81" fmla="*/ 130 h 134"/>
              <a:gd name="T82" fmla="*/ 36 w 157"/>
              <a:gd name="T83" fmla="*/ 121 h 134"/>
              <a:gd name="T84" fmla="*/ 40 w 157"/>
              <a:gd name="T85" fmla="*/ 113 h 134"/>
              <a:gd name="T86" fmla="*/ 48 w 157"/>
              <a:gd name="T87" fmla="*/ 109 h 134"/>
              <a:gd name="T88" fmla="*/ 57 w 157"/>
              <a:gd name="T89" fmla="*/ 113 h 134"/>
              <a:gd name="T90" fmla="*/ 142 w 157"/>
              <a:gd name="T91" fmla="*/ 113 h 134"/>
              <a:gd name="T92" fmla="*/ 145 w 157"/>
              <a:gd name="T93" fmla="*/ 121 h 134"/>
              <a:gd name="T94" fmla="*/ 142 w 157"/>
              <a:gd name="T95" fmla="*/ 130 h 134"/>
              <a:gd name="T96" fmla="*/ 133 w 157"/>
              <a:gd name="T97" fmla="*/ 134 h 134"/>
              <a:gd name="T98" fmla="*/ 125 w 157"/>
              <a:gd name="T99" fmla="*/ 130 h 134"/>
              <a:gd name="T100" fmla="*/ 121 w 157"/>
              <a:gd name="T101" fmla="*/ 121 h 134"/>
              <a:gd name="T102" fmla="*/ 125 w 157"/>
              <a:gd name="T103" fmla="*/ 113 h 134"/>
              <a:gd name="T104" fmla="*/ 133 w 157"/>
              <a:gd name="T105" fmla="*/ 109 h 134"/>
              <a:gd name="T106" fmla="*/ 142 w 157"/>
              <a:gd name="T107" fmla="*/ 11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4">
                <a:moveTo>
                  <a:pt x="157" y="19"/>
                </a:moveTo>
                <a:cubicBezTo>
                  <a:pt x="157" y="67"/>
                  <a:pt x="157" y="67"/>
                  <a:pt x="157" y="67"/>
                </a:cubicBezTo>
                <a:cubicBezTo>
                  <a:pt x="157" y="69"/>
                  <a:pt x="157" y="70"/>
                  <a:pt x="156" y="71"/>
                </a:cubicBezTo>
                <a:cubicBezTo>
                  <a:pt x="155" y="72"/>
                  <a:pt x="153" y="73"/>
                  <a:pt x="152" y="73"/>
                </a:cubicBezTo>
                <a:cubicBezTo>
                  <a:pt x="53" y="85"/>
                  <a:pt x="53" y="85"/>
                  <a:pt x="53" y="85"/>
                </a:cubicBezTo>
                <a:cubicBezTo>
                  <a:pt x="53" y="85"/>
                  <a:pt x="53" y="86"/>
                  <a:pt x="54" y="87"/>
                </a:cubicBezTo>
                <a:cubicBezTo>
                  <a:pt x="54" y="88"/>
                  <a:pt x="54" y="88"/>
                  <a:pt x="54" y="89"/>
                </a:cubicBezTo>
                <a:cubicBezTo>
                  <a:pt x="54" y="90"/>
                  <a:pt x="54" y="91"/>
                  <a:pt x="54" y="91"/>
                </a:cubicBezTo>
                <a:cubicBezTo>
                  <a:pt x="54" y="92"/>
                  <a:pt x="54" y="94"/>
                  <a:pt x="52" y="97"/>
                </a:cubicBezTo>
                <a:cubicBezTo>
                  <a:pt x="139" y="97"/>
                  <a:pt x="139" y="97"/>
                  <a:pt x="139" y="97"/>
                </a:cubicBezTo>
                <a:cubicBezTo>
                  <a:pt x="141" y="97"/>
                  <a:pt x="142" y="98"/>
                  <a:pt x="143" y="99"/>
                </a:cubicBezTo>
                <a:cubicBezTo>
                  <a:pt x="145" y="100"/>
                  <a:pt x="145" y="102"/>
                  <a:pt x="145" y="103"/>
                </a:cubicBezTo>
                <a:cubicBezTo>
                  <a:pt x="145" y="105"/>
                  <a:pt x="145" y="106"/>
                  <a:pt x="143" y="108"/>
                </a:cubicBezTo>
                <a:cubicBezTo>
                  <a:pt x="142" y="109"/>
                  <a:pt x="141" y="109"/>
                  <a:pt x="139" y="109"/>
                </a:cubicBezTo>
                <a:cubicBezTo>
                  <a:pt x="42" y="109"/>
                  <a:pt x="42" y="109"/>
                  <a:pt x="42" y="109"/>
                </a:cubicBezTo>
                <a:cubicBezTo>
                  <a:pt x="41" y="109"/>
                  <a:pt x="39" y="109"/>
                  <a:pt x="38" y="108"/>
                </a:cubicBezTo>
                <a:cubicBezTo>
                  <a:pt x="37" y="106"/>
                  <a:pt x="36" y="105"/>
                  <a:pt x="36" y="103"/>
                </a:cubicBezTo>
                <a:cubicBezTo>
                  <a:pt x="36" y="102"/>
                  <a:pt x="37" y="101"/>
                  <a:pt x="37" y="100"/>
                </a:cubicBezTo>
                <a:cubicBezTo>
                  <a:pt x="38" y="98"/>
                  <a:pt x="39" y="96"/>
                  <a:pt x="40" y="94"/>
                </a:cubicBezTo>
                <a:cubicBezTo>
                  <a:pt x="41" y="92"/>
                  <a:pt x="42" y="91"/>
                  <a:pt x="42" y="90"/>
                </a:cubicBezTo>
                <a:cubicBezTo>
                  <a:pt x="25" y="13"/>
                  <a:pt x="25" y="13"/>
                  <a:pt x="25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4" y="13"/>
                  <a:pt x="3" y="12"/>
                  <a:pt x="2" y="11"/>
                </a:cubicBezTo>
                <a:cubicBezTo>
                  <a:pt x="1" y="10"/>
                  <a:pt x="0" y="8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4" y="0"/>
                  <a:pt x="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2" y="1"/>
                  <a:pt x="33" y="1"/>
                </a:cubicBezTo>
                <a:cubicBezTo>
                  <a:pt x="34" y="1"/>
                  <a:pt x="34" y="2"/>
                  <a:pt x="35" y="3"/>
                </a:cubicBezTo>
                <a:cubicBezTo>
                  <a:pt x="35" y="3"/>
                  <a:pt x="36" y="4"/>
                  <a:pt x="36" y="5"/>
                </a:cubicBezTo>
                <a:cubicBezTo>
                  <a:pt x="36" y="6"/>
                  <a:pt x="37" y="7"/>
                  <a:pt x="37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1"/>
                  <a:pt x="38" y="12"/>
                  <a:pt x="38" y="13"/>
                </a:cubicBezTo>
                <a:cubicBezTo>
                  <a:pt x="151" y="13"/>
                  <a:pt x="151" y="13"/>
                  <a:pt x="151" y="13"/>
                </a:cubicBezTo>
                <a:cubicBezTo>
                  <a:pt x="153" y="13"/>
                  <a:pt x="154" y="13"/>
                  <a:pt x="155" y="14"/>
                </a:cubicBezTo>
                <a:cubicBezTo>
                  <a:pt x="157" y="16"/>
                  <a:pt x="157" y="17"/>
                  <a:pt x="157" y="19"/>
                </a:cubicBezTo>
                <a:close/>
                <a:moveTo>
                  <a:pt x="57" y="113"/>
                </a:moveTo>
                <a:cubicBezTo>
                  <a:pt x="59" y="115"/>
                  <a:pt x="60" y="118"/>
                  <a:pt x="60" y="121"/>
                </a:cubicBezTo>
                <a:cubicBezTo>
                  <a:pt x="60" y="125"/>
                  <a:pt x="59" y="128"/>
                  <a:pt x="57" y="130"/>
                </a:cubicBezTo>
                <a:cubicBezTo>
                  <a:pt x="55" y="132"/>
                  <a:pt x="52" y="134"/>
                  <a:pt x="48" y="134"/>
                </a:cubicBezTo>
                <a:cubicBezTo>
                  <a:pt x="45" y="134"/>
                  <a:pt x="42" y="132"/>
                  <a:pt x="40" y="130"/>
                </a:cubicBezTo>
                <a:cubicBezTo>
                  <a:pt x="37" y="128"/>
                  <a:pt x="36" y="125"/>
                  <a:pt x="36" y="121"/>
                </a:cubicBezTo>
                <a:cubicBezTo>
                  <a:pt x="36" y="118"/>
                  <a:pt x="37" y="115"/>
                  <a:pt x="40" y="113"/>
                </a:cubicBezTo>
                <a:cubicBezTo>
                  <a:pt x="42" y="111"/>
                  <a:pt x="45" y="109"/>
                  <a:pt x="48" y="109"/>
                </a:cubicBezTo>
                <a:cubicBezTo>
                  <a:pt x="52" y="109"/>
                  <a:pt x="55" y="111"/>
                  <a:pt x="57" y="113"/>
                </a:cubicBezTo>
                <a:close/>
                <a:moveTo>
                  <a:pt x="142" y="113"/>
                </a:moveTo>
                <a:cubicBezTo>
                  <a:pt x="144" y="115"/>
                  <a:pt x="145" y="118"/>
                  <a:pt x="145" y="121"/>
                </a:cubicBezTo>
                <a:cubicBezTo>
                  <a:pt x="145" y="125"/>
                  <a:pt x="144" y="128"/>
                  <a:pt x="142" y="130"/>
                </a:cubicBezTo>
                <a:cubicBezTo>
                  <a:pt x="139" y="132"/>
                  <a:pt x="136" y="134"/>
                  <a:pt x="133" y="134"/>
                </a:cubicBezTo>
                <a:cubicBezTo>
                  <a:pt x="130" y="134"/>
                  <a:pt x="127" y="132"/>
                  <a:pt x="125" y="130"/>
                </a:cubicBezTo>
                <a:cubicBezTo>
                  <a:pt x="122" y="128"/>
                  <a:pt x="121" y="125"/>
                  <a:pt x="121" y="121"/>
                </a:cubicBezTo>
                <a:cubicBezTo>
                  <a:pt x="121" y="118"/>
                  <a:pt x="122" y="115"/>
                  <a:pt x="125" y="113"/>
                </a:cubicBezTo>
                <a:cubicBezTo>
                  <a:pt x="127" y="111"/>
                  <a:pt x="130" y="109"/>
                  <a:pt x="133" y="109"/>
                </a:cubicBezTo>
                <a:cubicBezTo>
                  <a:pt x="136" y="109"/>
                  <a:pt x="139" y="111"/>
                  <a:pt x="142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4" name="Freeform 7">
            <a:extLst>
              <a:ext uri="{FF2B5EF4-FFF2-40B4-BE49-F238E27FC236}">
                <a16:creationId xmlns:a16="http://schemas.microsoft.com/office/drawing/2014/main" id="{335C3077-CBB7-4919-8BF5-67803C38F6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27369" y="2864517"/>
            <a:ext cx="261509" cy="264022"/>
          </a:xfrm>
          <a:custGeom>
            <a:avLst/>
            <a:gdLst>
              <a:gd name="T0" fmla="*/ 157 w 157"/>
              <a:gd name="T1" fmla="*/ 146 h 158"/>
              <a:gd name="T2" fmla="*/ 154 w 157"/>
              <a:gd name="T3" fmla="*/ 154 h 158"/>
              <a:gd name="T4" fmla="*/ 145 w 157"/>
              <a:gd name="T5" fmla="*/ 158 h 158"/>
              <a:gd name="T6" fmla="*/ 137 w 157"/>
              <a:gd name="T7" fmla="*/ 154 h 158"/>
              <a:gd name="T8" fmla="*/ 104 w 157"/>
              <a:gd name="T9" fmla="*/ 122 h 158"/>
              <a:gd name="T10" fmla="*/ 66 w 157"/>
              <a:gd name="T11" fmla="*/ 133 h 158"/>
              <a:gd name="T12" fmla="*/ 41 w 157"/>
              <a:gd name="T13" fmla="*/ 128 h 158"/>
              <a:gd name="T14" fmla="*/ 19 w 157"/>
              <a:gd name="T15" fmla="*/ 114 h 158"/>
              <a:gd name="T16" fmla="*/ 5 w 157"/>
              <a:gd name="T17" fmla="*/ 93 h 158"/>
              <a:gd name="T18" fmla="*/ 0 w 157"/>
              <a:gd name="T19" fmla="*/ 67 h 158"/>
              <a:gd name="T20" fmla="*/ 5 w 157"/>
              <a:gd name="T21" fmla="*/ 41 h 158"/>
              <a:gd name="T22" fmla="*/ 19 w 157"/>
              <a:gd name="T23" fmla="*/ 20 h 158"/>
              <a:gd name="T24" fmla="*/ 41 w 157"/>
              <a:gd name="T25" fmla="*/ 6 h 158"/>
              <a:gd name="T26" fmla="*/ 66 w 157"/>
              <a:gd name="T27" fmla="*/ 0 h 158"/>
              <a:gd name="T28" fmla="*/ 92 w 157"/>
              <a:gd name="T29" fmla="*/ 6 h 158"/>
              <a:gd name="T30" fmla="*/ 114 w 157"/>
              <a:gd name="T31" fmla="*/ 20 h 158"/>
              <a:gd name="T32" fmla="*/ 128 w 157"/>
              <a:gd name="T33" fmla="*/ 41 h 158"/>
              <a:gd name="T34" fmla="*/ 133 w 157"/>
              <a:gd name="T35" fmla="*/ 67 h 158"/>
              <a:gd name="T36" fmla="*/ 121 w 157"/>
              <a:gd name="T37" fmla="*/ 105 h 158"/>
              <a:gd name="T38" fmla="*/ 154 w 157"/>
              <a:gd name="T39" fmla="*/ 137 h 158"/>
              <a:gd name="T40" fmla="*/ 157 w 157"/>
              <a:gd name="T41" fmla="*/ 146 h 158"/>
              <a:gd name="T42" fmla="*/ 96 w 157"/>
              <a:gd name="T43" fmla="*/ 97 h 158"/>
              <a:gd name="T44" fmla="*/ 109 w 157"/>
              <a:gd name="T45" fmla="*/ 67 h 158"/>
              <a:gd name="T46" fmla="*/ 96 w 157"/>
              <a:gd name="T47" fmla="*/ 37 h 158"/>
              <a:gd name="T48" fmla="*/ 66 w 157"/>
              <a:gd name="T49" fmla="*/ 25 h 158"/>
              <a:gd name="T50" fmla="*/ 37 w 157"/>
              <a:gd name="T51" fmla="*/ 37 h 158"/>
              <a:gd name="T52" fmla="*/ 24 w 157"/>
              <a:gd name="T53" fmla="*/ 67 h 158"/>
              <a:gd name="T54" fmla="*/ 37 w 157"/>
              <a:gd name="T55" fmla="*/ 97 h 158"/>
              <a:gd name="T56" fmla="*/ 66 w 157"/>
              <a:gd name="T57" fmla="*/ 109 h 158"/>
              <a:gd name="T58" fmla="*/ 96 w 157"/>
              <a:gd name="T59" fmla="*/ 97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7" h="158">
                <a:moveTo>
                  <a:pt x="157" y="146"/>
                </a:moveTo>
                <a:cubicBezTo>
                  <a:pt x="157" y="149"/>
                  <a:pt x="156" y="152"/>
                  <a:pt x="154" y="154"/>
                </a:cubicBezTo>
                <a:cubicBezTo>
                  <a:pt x="151" y="156"/>
                  <a:pt x="148" y="158"/>
                  <a:pt x="145" y="158"/>
                </a:cubicBezTo>
                <a:cubicBezTo>
                  <a:pt x="142" y="158"/>
                  <a:pt x="139" y="156"/>
                  <a:pt x="137" y="154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93" y="130"/>
                  <a:pt x="80" y="133"/>
                  <a:pt x="66" y="133"/>
                </a:cubicBezTo>
                <a:cubicBezTo>
                  <a:pt x="57" y="133"/>
                  <a:pt x="49" y="132"/>
                  <a:pt x="41" y="128"/>
                </a:cubicBezTo>
                <a:cubicBezTo>
                  <a:pt x="32" y="125"/>
                  <a:pt x="25" y="120"/>
                  <a:pt x="19" y="114"/>
                </a:cubicBezTo>
                <a:cubicBezTo>
                  <a:pt x="13" y="108"/>
                  <a:pt x="9" y="101"/>
                  <a:pt x="5" y="93"/>
                </a:cubicBezTo>
                <a:cubicBezTo>
                  <a:pt x="2" y="85"/>
                  <a:pt x="0" y="76"/>
                  <a:pt x="0" y="67"/>
                </a:cubicBezTo>
                <a:cubicBezTo>
                  <a:pt x="0" y="58"/>
                  <a:pt x="2" y="49"/>
                  <a:pt x="5" y="41"/>
                </a:cubicBezTo>
                <a:cubicBezTo>
                  <a:pt x="9" y="33"/>
                  <a:pt x="13" y="26"/>
                  <a:pt x="19" y="20"/>
                </a:cubicBezTo>
                <a:cubicBezTo>
                  <a:pt x="25" y="14"/>
                  <a:pt x="32" y="9"/>
                  <a:pt x="41" y="6"/>
                </a:cubicBezTo>
                <a:cubicBezTo>
                  <a:pt x="49" y="2"/>
                  <a:pt x="57" y="0"/>
                  <a:pt x="66" y="0"/>
                </a:cubicBezTo>
                <a:cubicBezTo>
                  <a:pt x="75" y="0"/>
                  <a:pt x="84" y="2"/>
                  <a:pt x="92" y="6"/>
                </a:cubicBezTo>
                <a:cubicBezTo>
                  <a:pt x="101" y="9"/>
                  <a:pt x="108" y="14"/>
                  <a:pt x="114" y="20"/>
                </a:cubicBezTo>
                <a:cubicBezTo>
                  <a:pt x="120" y="26"/>
                  <a:pt x="124" y="33"/>
                  <a:pt x="128" y="41"/>
                </a:cubicBezTo>
                <a:cubicBezTo>
                  <a:pt x="131" y="49"/>
                  <a:pt x="133" y="58"/>
                  <a:pt x="133" y="67"/>
                </a:cubicBezTo>
                <a:cubicBezTo>
                  <a:pt x="133" y="81"/>
                  <a:pt x="129" y="93"/>
                  <a:pt x="121" y="105"/>
                </a:cubicBezTo>
                <a:cubicBezTo>
                  <a:pt x="154" y="137"/>
                  <a:pt x="154" y="137"/>
                  <a:pt x="154" y="137"/>
                </a:cubicBezTo>
                <a:cubicBezTo>
                  <a:pt x="156" y="139"/>
                  <a:pt x="157" y="142"/>
                  <a:pt x="157" y="146"/>
                </a:cubicBezTo>
                <a:close/>
                <a:moveTo>
                  <a:pt x="96" y="97"/>
                </a:moveTo>
                <a:cubicBezTo>
                  <a:pt x="105" y="89"/>
                  <a:pt x="109" y="79"/>
                  <a:pt x="109" y="67"/>
                </a:cubicBezTo>
                <a:cubicBezTo>
                  <a:pt x="109" y="55"/>
                  <a:pt x="105" y="45"/>
                  <a:pt x="96" y="37"/>
                </a:cubicBezTo>
                <a:cubicBezTo>
                  <a:pt x="88" y="29"/>
                  <a:pt x="78" y="25"/>
                  <a:pt x="66" y="25"/>
                </a:cubicBezTo>
                <a:cubicBezTo>
                  <a:pt x="55" y="25"/>
                  <a:pt x="45" y="29"/>
                  <a:pt x="37" y="37"/>
                </a:cubicBezTo>
                <a:cubicBezTo>
                  <a:pt x="28" y="45"/>
                  <a:pt x="24" y="55"/>
                  <a:pt x="24" y="67"/>
                </a:cubicBezTo>
                <a:cubicBezTo>
                  <a:pt x="24" y="79"/>
                  <a:pt x="28" y="89"/>
                  <a:pt x="37" y="97"/>
                </a:cubicBezTo>
                <a:cubicBezTo>
                  <a:pt x="45" y="105"/>
                  <a:pt x="55" y="109"/>
                  <a:pt x="66" y="109"/>
                </a:cubicBezTo>
                <a:cubicBezTo>
                  <a:pt x="78" y="109"/>
                  <a:pt x="88" y="105"/>
                  <a:pt x="96" y="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5" name="Freeform 243">
            <a:extLst>
              <a:ext uri="{FF2B5EF4-FFF2-40B4-BE49-F238E27FC236}">
                <a16:creationId xmlns:a16="http://schemas.microsoft.com/office/drawing/2014/main" id="{82AE2E44-FC15-444D-88AA-3EF911462E2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898049" y="2846178"/>
            <a:ext cx="173030" cy="294515"/>
          </a:xfrm>
          <a:custGeom>
            <a:avLst/>
            <a:gdLst>
              <a:gd name="T0" fmla="*/ 72 w 72"/>
              <a:gd name="T1" fmla="*/ 13 h 121"/>
              <a:gd name="T2" fmla="*/ 72 w 72"/>
              <a:gd name="T3" fmla="*/ 109 h 121"/>
              <a:gd name="T4" fmla="*/ 69 w 72"/>
              <a:gd name="T5" fmla="*/ 118 h 121"/>
              <a:gd name="T6" fmla="*/ 60 w 72"/>
              <a:gd name="T7" fmla="*/ 121 h 121"/>
              <a:gd name="T8" fmla="*/ 12 w 72"/>
              <a:gd name="T9" fmla="*/ 121 h 121"/>
              <a:gd name="T10" fmla="*/ 3 w 72"/>
              <a:gd name="T11" fmla="*/ 118 h 121"/>
              <a:gd name="T12" fmla="*/ 0 w 72"/>
              <a:gd name="T13" fmla="*/ 109 h 121"/>
              <a:gd name="T14" fmla="*/ 0 w 72"/>
              <a:gd name="T15" fmla="*/ 13 h 121"/>
              <a:gd name="T16" fmla="*/ 3 w 72"/>
              <a:gd name="T17" fmla="*/ 4 h 121"/>
              <a:gd name="T18" fmla="*/ 12 w 72"/>
              <a:gd name="T19" fmla="*/ 0 h 121"/>
              <a:gd name="T20" fmla="*/ 60 w 72"/>
              <a:gd name="T21" fmla="*/ 0 h 121"/>
              <a:gd name="T22" fmla="*/ 69 w 72"/>
              <a:gd name="T23" fmla="*/ 4 h 121"/>
              <a:gd name="T24" fmla="*/ 72 w 72"/>
              <a:gd name="T25" fmla="*/ 13 h 121"/>
              <a:gd name="T26" fmla="*/ 63 w 72"/>
              <a:gd name="T27" fmla="*/ 94 h 121"/>
              <a:gd name="T28" fmla="*/ 63 w 72"/>
              <a:gd name="T29" fmla="*/ 28 h 121"/>
              <a:gd name="T30" fmla="*/ 62 w 72"/>
              <a:gd name="T31" fmla="*/ 26 h 121"/>
              <a:gd name="T32" fmla="*/ 60 w 72"/>
              <a:gd name="T33" fmla="*/ 25 h 121"/>
              <a:gd name="T34" fmla="*/ 12 w 72"/>
              <a:gd name="T35" fmla="*/ 25 h 121"/>
              <a:gd name="T36" fmla="*/ 10 w 72"/>
              <a:gd name="T37" fmla="*/ 26 h 121"/>
              <a:gd name="T38" fmla="*/ 9 w 72"/>
              <a:gd name="T39" fmla="*/ 28 h 121"/>
              <a:gd name="T40" fmla="*/ 9 w 72"/>
              <a:gd name="T41" fmla="*/ 94 h 121"/>
              <a:gd name="T42" fmla="*/ 10 w 72"/>
              <a:gd name="T43" fmla="*/ 96 h 121"/>
              <a:gd name="T44" fmla="*/ 12 w 72"/>
              <a:gd name="T45" fmla="*/ 97 h 121"/>
              <a:gd name="T46" fmla="*/ 60 w 72"/>
              <a:gd name="T47" fmla="*/ 97 h 121"/>
              <a:gd name="T48" fmla="*/ 62 w 72"/>
              <a:gd name="T49" fmla="*/ 96 h 121"/>
              <a:gd name="T50" fmla="*/ 63 w 72"/>
              <a:gd name="T51" fmla="*/ 94 h 121"/>
              <a:gd name="T52" fmla="*/ 45 w 72"/>
              <a:gd name="T53" fmla="*/ 14 h 121"/>
              <a:gd name="T54" fmla="*/ 44 w 72"/>
              <a:gd name="T55" fmla="*/ 13 h 121"/>
              <a:gd name="T56" fmla="*/ 29 w 72"/>
              <a:gd name="T57" fmla="*/ 13 h 121"/>
              <a:gd name="T58" fmla="*/ 27 w 72"/>
              <a:gd name="T59" fmla="*/ 14 h 121"/>
              <a:gd name="T60" fmla="*/ 29 w 72"/>
              <a:gd name="T61" fmla="*/ 16 h 121"/>
              <a:gd name="T62" fmla="*/ 44 w 72"/>
              <a:gd name="T63" fmla="*/ 16 h 121"/>
              <a:gd name="T64" fmla="*/ 45 w 72"/>
              <a:gd name="T65" fmla="*/ 14 h 121"/>
              <a:gd name="T66" fmla="*/ 41 w 72"/>
              <a:gd name="T67" fmla="*/ 115 h 121"/>
              <a:gd name="T68" fmla="*/ 44 w 72"/>
              <a:gd name="T69" fmla="*/ 109 h 121"/>
              <a:gd name="T70" fmla="*/ 41 w 72"/>
              <a:gd name="T71" fmla="*/ 104 h 121"/>
              <a:gd name="T72" fmla="*/ 36 w 72"/>
              <a:gd name="T73" fmla="*/ 102 h 121"/>
              <a:gd name="T74" fmla="*/ 31 w 72"/>
              <a:gd name="T75" fmla="*/ 104 h 121"/>
              <a:gd name="T76" fmla="*/ 29 w 72"/>
              <a:gd name="T77" fmla="*/ 109 h 121"/>
              <a:gd name="T78" fmla="*/ 31 w 72"/>
              <a:gd name="T79" fmla="*/ 115 h 121"/>
              <a:gd name="T80" fmla="*/ 36 w 72"/>
              <a:gd name="T81" fmla="*/ 117 h 121"/>
              <a:gd name="T82" fmla="*/ 41 w 72"/>
              <a:gd name="T83" fmla="*/ 115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2" h="121">
                <a:moveTo>
                  <a:pt x="72" y="13"/>
                </a:moveTo>
                <a:cubicBezTo>
                  <a:pt x="72" y="109"/>
                  <a:pt x="72" y="109"/>
                  <a:pt x="72" y="109"/>
                </a:cubicBezTo>
                <a:cubicBezTo>
                  <a:pt x="72" y="113"/>
                  <a:pt x="71" y="115"/>
                  <a:pt x="69" y="118"/>
                </a:cubicBezTo>
                <a:cubicBezTo>
                  <a:pt x="66" y="120"/>
                  <a:pt x="64" y="121"/>
                  <a:pt x="60" y="121"/>
                </a:cubicBezTo>
                <a:cubicBezTo>
                  <a:pt x="12" y="121"/>
                  <a:pt x="12" y="121"/>
                  <a:pt x="12" y="121"/>
                </a:cubicBezTo>
                <a:cubicBezTo>
                  <a:pt x="9" y="121"/>
                  <a:pt x="6" y="120"/>
                  <a:pt x="3" y="118"/>
                </a:cubicBezTo>
                <a:cubicBezTo>
                  <a:pt x="1" y="115"/>
                  <a:pt x="0" y="113"/>
                  <a:pt x="0" y="10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9"/>
                  <a:pt x="1" y="6"/>
                  <a:pt x="3" y="4"/>
                </a:cubicBezTo>
                <a:cubicBezTo>
                  <a:pt x="6" y="2"/>
                  <a:pt x="9" y="0"/>
                  <a:pt x="12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2"/>
                  <a:pt x="69" y="4"/>
                </a:cubicBezTo>
                <a:cubicBezTo>
                  <a:pt x="71" y="6"/>
                  <a:pt x="72" y="9"/>
                  <a:pt x="72" y="13"/>
                </a:cubicBezTo>
                <a:close/>
                <a:moveTo>
                  <a:pt x="63" y="94"/>
                </a:moveTo>
                <a:cubicBezTo>
                  <a:pt x="63" y="28"/>
                  <a:pt x="63" y="28"/>
                  <a:pt x="63" y="28"/>
                </a:cubicBezTo>
                <a:cubicBezTo>
                  <a:pt x="63" y="27"/>
                  <a:pt x="63" y="26"/>
                  <a:pt x="62" y="26"/>
                </a:cubicBezTo>
                <a:cubicBezTo>
                  <a:pt x="62" y="25"/>
                  <a:pt x="61" y="25"/>
                  <a:pt x="60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11" y="25"/>
                  <a:pt x="10" y="25"/>
                  <a:pt x="10" y="26"/>
                </a:cubicBezTo>
                <a:cubicBezTo>
                  <a:pt x="9" y="26"/>
                  <a:pt x="9" y="27"/>
                  <a:pt x="9" y="28"/>
                </a:cubicBezTo>
                <a:cubicBezTo>
                  <a:pt x="9" y="94"/>
                  <a:pt x="9" y="94"/>
                  <a:pt x="9" y="94"/>
                </a:cubicBezTo>
                <a:cubicBezTo>
                  <a:pt x="9" y="95"/>
                  <a:pt x="9" y="96"/>
                  <a:pt x="10" y="96"/>
                </a:cubicBezTo>
                <a:cubicBezTo>
                  <a:pt x="10" y="97"/>
                  <a:pt x="11" y="97"/>
                  <a:pt x="12" y="97"/>
                </a:cubicBezTo>
                <a:cubicBezTo>
                  <a:pt x="60" y="97"/>
                  <a:pt x="60" y="97"/>
                  <a:pt x="60" y="97"/>
                </a:cubicBezTo>
                <a:cubicBezTo>
                  <a:pt x="61" y="97"/>
                  <a:pt x="62" y="97"/>
                  <a:pt x="62" y="96"/>
                </a:cubicBezTo>
                <a:cubicBezTo>
                  <a:pt x="63" y="96"/>
                  <a:pt x="63" y="95"/>
                  <a:pt x="63" y="94"/>
                </a:cubicBezTo>
                <a:close/>
                <a:moveTo>
                  <a:pt x="45" y="14"/>
                </a:moveTo>
                <a:cubicBezTo>
                  <a:pt x="45" y="13"/>
                  <a:pt x="45" y="13"/>
                  <a:pt x="44" y="13"/>
                </a:cubicBezTo>
                <a:cubicBezTo>
                  <a:pt x="29" y="13"/>
                  <a:pt x="29" y="13"/>
                  <a:pt x="29" y="13"/>
                </a:cubicBezTo>
                <a:cubicBezTo>
                  <a:pt x="28" y="13"/>
                  <a:pt x="27" y="13"/>
                  <a:pt x="27" y="14"/>
                </a:cubicBezTo>
                <a:cubicBezTo>
                  <a:pt x="27" y="15"/>
                  <a:pt x="28" y="16"/>
                  <a:pt x="29" y="16"/>
                </a:cubicBezTo>
                <a:cubicBezTo>
                  <a:pt x="44" y="16"/>
                  <a:pt x="44" y="16"/>
                  <a:pt x="44" y="16"/>
                </a:cubicBezTo>
                <a:cubicBezTo>
                  <a:pt x="45" y="16"/>
                  <a:pt x="45" y="15"/>
                  <a:pt x="45" y="14"/>
                </a:cubicBezTo>
                <a:close/>
                <a:moveTo>
                  <a:pt x="41" y="115"/>
                </a:moveTo>
                <a:cubicBezTo>
                  <a:pt x="43" y="113"/>
                  <a:pt x="44" y="111"/>
                  <a:pt x="44" y="109"/>
                </a:cubicBezTo>
                <a:cubicBezTo>
                  <a:pt x="44" y="107"/>
                  <a:pt x="43" y="105"/>
                  <a:pt x="41" y="104"/>
                </a:cubicBezTo>
                <a:cubicBezTo>
                  <a:pt x="40" y="103"/>
                  <a:pt x="38" y="102"/>
                  <a:pt x="36" y="102"/>
                </a:cubicBezTo>
                <a:cubicBezTo>
                  <a:pt x="34" y="102"/>
                  <a:pt x="32" y="103"/>
                  <a:pt x="31" y="104"/>
                </a:cubicBezTo>
                <a:cubicBezTo>
                  <a:pt x="29" y="105"/>
                  <a:pt x="29" y="107"/>
                  <a:pt x="29" y="109"/>
                </a:cubicBezTo>
                <a:cubicBezTo>
                  <a:pt x="29" y="111"/>
                  <a:pt x="29" y="113"/>
                  <a:pt x="31" y="115"/>
                </a:cubicBezTo>
                <a:cubicBezTo>
                  <a:pt x="32" y="116"/>
                  <a:pt x="34" y="117"/>
                  <a:pt x="36" y="117"/>
                </a:cubicBezTo>
                <a:cubicBezTo>
                  <a:pt x="38" y="117"/>
                  <a:pt x="40" y="116"/>
                  <a:pt x="41" y="1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6" name="Freeform 240">
            <a:extLst>
              <a:ext uri="{FF2B5EF4-FFF2-40B4-BE49-F238E27FC236}">
                <a16:creationId xmlns:a16="http://schemas.microsoft.com/office/drawing/2014/main" id="{540255CC-962E-49C8-AE78-2D91649BFF5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1038" y="2865780"/>
            <a:ext cx="301740" cy="264024"/>
          </a:xfrm>
          <a:custGeom>
            <a:avLst/>
            <a:gdLst>
              <a:gd name="T0" fmla="*/ 181 w 181"/>
              <a:gd name="T1" fmla="*/ 15 h 158"/>
              <a:gd name="T2" fmla="*/ 181 w 181"/>
              <a:gd name="T3" fmla="*/ 118 h 158"/>
              <a:gd name="T4" fmla="*/ 177 w 181"/>
              <a:gd name="T5" fmla="*/ 129 h 158"/>
              <a:gd name="T6" fmla="*/ 166 w 181"/>
              <a:gd name="T7" fmla="*/ 133 h 158"/>
              <a:gd name="T8" fmla="*/ 115 w 181"/>
              <a:gd name="T9" fmla="*/ 133 h 158"/>
              <a:gd name="T10" fmla="*/ 116 w 181"/>
              <a:gd name="T11" fmla="*/ 141 h 158"/>
              <a:gd name="T12" fmla="*/ 119 w 181"/>
              <a:gd name="T13" fmla="*/ 147 h 158"/>
              <a:gd name="T14" fmla="*/ 121 w 181"/>
              <a:gd name="T15" fmla="*/ 151 h 158"/>
              <a:gd name="T16" fmla="*/ 119 w 181"/>
              <a:gd name="T17" fmla="*/ 156 h 158"/>
              <a:gd name="T18" fmla="*/ 115 w 181"/>
              <a:gd name="T19" fmla="*/ 158 h 158"/>
              <a:gd name="T20" fmla="*/ 67 w 181"/>
              <a:gd name="T21" fmla="*/ 158 h 158"/>
              <a:gd name="T22" fmla="*/ 62 w 181"/>
              <a:gd name="T23" fmla="*/ 156 h 158"/>
              <a:gd name="T24" fmla="*/ 60 w 181"/>
              <a:gd name="T25" fmla="*/ 151 h 158"/>
              <a:gd name="T26" fmla="*/ 62 w 181"/>
              <a:gd name="T27" fmla="*/ 147 h 158"/>
              <a:gd name="T28" fmla="*/ 65 w 181"/>
              <a:gd name="T29" fmla="*/ 141 h 158"/>
              <a:gd name="T30" fmla="*/ 67 w 181"/>
              <a:gd name="T31" fmla="*/ 133 h 158"/>
              <a:gd name="T32" fmla="*/ 15 w 181"/>
              <a:gd name="T33" fmla="*/ 133 h 158"/>
              <a:gd name="T34" fmla="*/ 4 w 181"/>
              <a:gd name="T35" fmla="*/ 129 h 158"/>
              <a:gd name="T36" fmla="*/ 0 w 181"/>
              <a:gd name="T37" fmla="*/ 118 h 158"/>
              <a:gd name="T38" fmla="*/ 0 w 181"/>
              <a:gd name="T39" fmla="*/ 15 h 158"/>
              <a:gd name="T40" fmla="*/ 4 w 181"/>
              <a:gd name="T41" fmla="*/ 5 h 158"/>
              <a:gd name="T42" fmla="*/ 15 w 181"/>
              <a:gd name="T43" fmla="*/ 0 h 158"/>
              <a:gd name="T44" fmla="*/ 166 w 181"/>
              <a:gd name="T45" fmla="*/ 0 h 158"/>
              <a:gd name="T46" fmla="*/ 177 w 181"/>
              <a:gd name="T47" fmla="*/ 5 h 158"/>
              <a:gd name="T48" fmla="*/ 181 w 181"/>
              <a:gd name="T49" fmla="*/ 15 h 158"/>
              <a:gd name="T50" fmla="*/ 169 w 181"/>
              <a:gd name="T51" fmla="*/ 94 h 158"/>
              <a:gd name="T52" fmla="*/ 169 w 181"/>
              <a:gd name="T53" fmla="*/ 15 h 158"/>
              <a:gd name="T54" fmla="*/ 168 w 181"/>
              <a:gd name="T55" fmla="*/ 13 h 158"/>
              <a:gd name="T56" fmla="*/ 166 w 181"/>
              <a:gd name="T57" fmla="*/ 12 h 158"/>
              <a:gd name="T58" fmla="*/ 15 w 181"/>
              <a:gd name="T59" fmla="*/ 12 h 158"/>
              <a:gd name="T60" fmla="*/ 13 w 181"/>
              <a:gd name="T61" fmla="*/ 13 h 158"/>
              <a:gd name="T62" fmla="*/ 12 w 181"/>
              <a:gd name="T63" fmla="*/ 15 h 158"/>
              <a:gd name="T64" fmla="*/ 12 w 181"/>
              <a:gd name="T65" fmla="*/ 94 h 158"/>
              <a:gd name="T66" fmla="*/ 13 w 181"/>
              <a:gd name="T67" fmla="*/ 96 h 158"/>
              <a:gd name="T68" fmla="*/ 15 w 181"/>
              <a:gd name="T69" fmla="*/ 97 h 158"/>
              <a:gd name="T70" fmla="*/ 166 w 181"/>
              <a:gd name="T71" fmla="*/ 97 h 158"/>
              <a:gd name="T72" fmla="*/ 168 w 181"/>
              <a:gd name="T73" fmla="*/ 96 h 158"/>
              <a:gd name="T74" fmla="*/ 169 w 181"/>
              <a:gd name="T75" fmla="*/ 94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1" h="158">
                <a:moveTo>
                  <a:pt x="181" y="15"/>
                </a:moveTo>
                <a:cubicBezTo>
                  <a:pt x="181" y="118"/>
                  <a:pt x="181" y="118"/>
                  <a:pt x="181" y="118"/>
                </a:cubicBezTo>
                <a:cubicBezTo>
                  <a:pt x="181" y="122"/>
                  <a:pt x="180" y="126"/>
                  <a:pt x="177" y="129"/>
                </a:cubicBezTo>
                <a:cubicBezTo>
                  <a:pt x="174" y="132"/>
                  <a:pt x="171" y="133"/>
                  <a:pt x="166" y="133"/>
                </a:cubicBezTo>
                <a:cubicBezTo>
                  <a:pt x="115" y="133"/>
                  <a:pt x="115" y="133"/>
                  <a:pt x="115" y="133"/>
                </a:cubicBezTo>
                <a:cubicBezTo>
                  <a:pt x="115" y="136"/>
                  <a:pt x="115" y="138"/>
                  <a:pt x="116" y="141"/>
                </a:cubicBezTo>
                <a:cubicBezTo>
                  <a:pt x="117" y="143"/>
                  <a:pt x="118" y="145"/>
                  <a:pt x="119" y="147"/>
                </a:cubicBezTo>
                <a:cubicBezTo>
                  <a:pt x="120" y="149"/>
                  <a:pt x="121" y="151"/>
                  <a:pt x="121" y="151"/>
                </a:cubicBezTo>
                <a:cubicBezTo>
                  <a:pt x="121" y="153"/>
                  <a:pt x="120" y="155"/>
                  <a:pt x="119" y="156"/>
                </a:cubicBezTo>
                <a:cubicBezTo>
                  <a:pt x="118" y="157"/>
                  <a:pt x="117" y="158"/>
                  <a:pt x="115" y="15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5" y="158"/>
                  <a:pt x="63" y="157"/>
                  <a:pt x="62" y="156"/>
                </a:cubicBezTo>
                <a:cubicBezTo>
                  <a:pt x="61" y="155"/>
                  <a:pt x="60" y="153"/>
                  <a:pt x="60" y="151"/>
                </a:cubicBezTo>
                <a:cubicBezTo>
                  <a:pt x="60" y="151"/>
                  <a:pt x="61" y="149"/>
                  <a:pt x="62" y="147"/>
                </a:cubicBezTo>
                <a:cubicBezTo>
                  <a:pt x="63" y="145"/>
                  <a:pt x="64" y="143"/>
                  <a:pt x="65" y="141"/>
                </a:cubicBezTo>
                <a:cubicBezTo>
                  <a:pt x="66" y="138"/>
                  <a:pt x="67" y="136"/>
                  <a:pt x="67" y="133"/>
                </a:cubicBezTo>
                <a:cubicBezTo>
                  <a:pt x="15" y="133"/>
                  <a:pt x="15" y="133"/>
                  <a:pt x="15" y="133"/>
                </a:cubicBezTo>
                <a:cubicBezTo>
                  <a:pt x="11" y="133"/>
                  <a:pt x="7" y="132"/>
                  <a:pt x="4" y="129"/>
                </a:cubicBezTo>
                <a:cubicBezTo>
                  <a:pt x="1" y="126"/>
                  <a:pt x="0" y="122"/>
                  <a:pt x="0" y="118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"/>
                  <a:pt x="1" y="8"/>
                  <a:pt x="4" y="5"/>
                </a:cubicBezTo>
                <a:cubicBezTo>
                  <a:pt x="7" y="2"/>
                  <a:pt x="11" y="0"/>
                  <a:pt x="15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71" y="0"/>
                  <a:pt x="174" y="2"/>
                  <a:pt x="177" y="5"/>
                </a:cubicBezTo>
                <a:cubicBezTo>
                  <a:pt x="180" y="8"/>
                  <a:pt x="181" y="11"/>
                  <a:pt x="181" y="15"/>
                </a:cubicBezTo>
                <a:close/>
                <a:moveTo>
                  <a:pt x="169" y="94"/>
                </a:moveTo>
                <a:cubicBezTo>
                  <a:pt x="169" y="15"/>
                  <a:pt x="169" y="15"/>
                  <a:pt x="169" y="15"/>
                </a:cubicBezTo>
                <a:cubicBezTo>
                  <a:pt x="169" y="15"/>
                  <a:pt x="169" y="14"/>
                  <a:pt x="168" y="13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12" y="14"/>
                  <a:pt x="12" y="15"/>
                  <a:pt x="12" y="15"/>
                </a:cubicBezTo>
                <a:cubicBezTo>
                  <a:pt x="12" y="94"/>
                  <a:pt x="12" y="94"/>
                  <a:pt x="12" y="94"/>
                </a:cubicBezTo>
                <a:cubicBezTo>
                  <a:pt x="12" y="95"/>
                  <a:pt x="12" y="96"/>
                  <a:pt x="13" y="96"/>
                </a:cubicBezTo>
                <a:cubicBezTo>
                  <a:pt x="14" y="97"/>
                  <a:pt x="14" y="97"/>
                  <a:pt x="15" y="97"/>
                </a:cubicBezTo>
                <a:cubicBezTo>
                  <a:pt x="166" y="97"/>
                  <a:pt x="166" y="97"/>
                  <a:pt x="166" y="97"/>
                </a:cubicBezTo>
                <a:cubicBezTo>
                  <a:pt x="167" y="97"/>
                  <a:pt x="168" y="97"/>
                  <a:pt x="168" y="96"/>
                </a:cubicBezTo>
                <a:cubicBezTo>
                  <a:pt x="169" y="96"/>
                  <a:pt x="169" y="95"/>
                  <a:pt x="169" y="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5" name="Freeform 154">
            <a:extLst>
              <a:ext uri="{FF2B5EF4-FFF2-40B4-BE49-F238E27FC236}">
                <a16:creationId xmlns:a16="http://schemas.microsoft.com/office/drawing/2014/main" id="{CC1B826A-6386-4FF9-A651-9688A0C4554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71617" y="2870933"/>
            <a:ext cx="221277" cy="223791"/>
          </a:xfrm>
          <a:custGeom>
            <a:avLst/>
            <a:gdLst>
              <a:gd name="T0" fmla="*/ 133 w 133"/>
              <a:gd name="T1" fmla="*/ 127 h 133"/>
              <a:gd name="T2" fmla="*/ 132 w 133"/>
              <a:gd name="T3" fmla="*/ 132 h 133"/>
              <a:gd name="T4" fmla="*/ 127 w 133"/>
              <a:gd name="T5" fmla="*/ 133 h 133"/>
              <a:gd name="T6" fmla="*/ 114 w 133"/>
              <a:gd name="T7" fmla="*/ 133 h 133"/>
              <a:gd name="T8" fmla="*/ 110 w 133"/>
              <a:gd name="T9" fmla="*/ 132 h 133"/>
              <a:gd name="T10" fmla="*/ 108 w 133"/>
              <a:gd name="T11" fmla="*/ 128 h 133"/>
              <a:gd name="T12" fmla="*/ 98 w 133"/>
              <a:gd name="T13" fmla="*/ 89 h 133"/>
              <a:gd name="T14" fmla="*/ 76 w 133"/>
              <a:gd name="T15" fmla="*/ 57 h 133"/>
              <a:gd name="T16" fmla="*/ 44 w 133"/>
              <a:gd name="T17" fmla="*/ 36 h 133"/>
              <a:gd name="T18" fmla="*/ 6 w 133"/>
              <a:gd name="T19" fmla="*/ 26 h 133"/>
              <a:gd name="T20" fmla="*/ 2 w 133"/>
              <a:gd name="T21" fmla="*/ 24 h 133"/>
              <a:gd name="T22" fmla="*/ 0 w 133"/>
              <a:gd name="T23" fmla="*/ 20 h 133"/>
              <a:gd name="T24" fmla="*/ 0 w 133"/>
              <a:gd name="T25" fmla="*/ 6 h 133"/>
              <a:gd name="T26" fmla="*/ 2 w 133"/>
              <a:gd name="T27" fmla="*/ 2 h 133"/>
              <a:gd name="T28" fmla="*/ 6 w 133"/>
              <a:gd name="T29" fmla="*/ 0 h 133"/>
              <a:gd name="T30" fmla="*/ 7 w 133"/>
              <a:gd name="T31" fmla="*/ 0 h 133"/>
              <a:gd name="T32" fmla="*/ 54 w 133"/>
              <a:gd name="T33" fmla="*/ 12 h 133"/>
              <a:gd name="T34" fmla="*/ 94 w 133"/>
              <a:gd name="T35" fmla="*/ 39 h 133"/>
              <a:gd name="T36" fmla="*/ 122 w 133"/>
              <a:gd name="T37" fmla="*/ 80 h 133"/>
              <a:gd name="T38" fmla="*/ 133 w 133"/>
              <a:gd name="T39" fmla="*/ 127 h 133"/>
              <a:gd name="T40" fmla="*/ 85 w 133"/>
              <a:gd name="T41" fmla="*/ 127 h 133"/>
              <a:gd name="T42" fmla="*/ 83 w 133"/>
              <a:gd name="T43" fmla="*/ 131 h 133"/>
              <a:gd name="T44" fmla="*/ 79 w 133"/>
              <a:gd name="T45" fmla="*/ 133 h 133"/>
              <a:gd name="T46" fmla="*/ 66 w 133"/>
              <a:gd name="T47" fmla="*/ 133 h 133"/>
              <a:gd name="T48" fmla="*/ 62 w 133"/>
              <a:gd name="T49" fmla="*/ 132 h 133"/>
              <a:gd name="T50" fmla="*/ 60 w 133"/>
              <a:gd name="T51" fmla="*/ 128 h 133"/>
              <a:gd name="T52" fmla="*/ 43 w 133"/>
              <a:gd name="T53" fmla="*/ 91 h 133"/>
              <a:gd name="T54" fmla="*/ 6 w 133"/>
              <a:gd name="T55" fmla="*/ 74 h 133"/>
              <a:gd name="T56" fmla="*/ 2 w 133"/>
              <a:gd name="T57" fmla="*/ 72 h 133"/>
              <a:gd name="T58" fmla="*/ 0 w 133"/>
              <a:gd name="T59" fmla="*/ 68 h 133"/>
              <a:gd name="T60" fmla="*/ 0 w 133"/>
              <a:gd name="T61" fmla="*/ 55 h 133"/>
              <a:gd name="T62" fmla="*/ 2 w 133"/>
              <a:gd name="T63" fmla="*/ 50 h 133"/>
              <a:gd name="T64" fmla="*/ 6 w 133"/>
              <a:gd name="T65" fmla="*/ 49 h 133"/>
              <a:gd name="T66" fmla="*/ 7 w 133"/>
              <a:gd name="T67" fmla="*/ 49 h 133"/>
              <a:gd name="T68" fmla="*/ 36 w 133"/>
              <a:gd name="T69" fmla="*/ 56 h 133"/>
              <a:gd name="T70" fmla="*/ 60 w 133"/>
              <a:gd name="T71" fmla="*/ 74 h 133"/>
              <a:gd name="T72" fmla="*/ 77 w 133"/>
              <a:gd name="T73" fmla="*/ 98 h 133"/>
              <a:gd name="T74" fmla="*/ 85 w 133"/>
              <a:gd name="T75" fmla="*/ 127 h 133"/>
              <a:gd name="T76" fmla="*/ 31 w 133"/>
              <a:gd name="T77" fmla="*/ 102 h 133"/>
              <a:gd name="T78" fmla="*/ 36 w 133"/>
              <a:gd name="T79" fmla="*/ 115 h 133"/>
              <a:gd name="T80" fmla="*/ 31 w 133"/>
              <a:gd name="T81" fmla="*/ 128 h 133"/>
              <a:gd name="T82" fmla="*/ 18 w 133"/>
              <a:gd name="T83" fmla="*/ 133 h 133"/>
              <a:gd name="T84" fmla="*/ 5 w 133"/>
              <a:gd name="T85" fmla="*/ 128 h 133"/>
              <a:gd name="T86" fmla="*/ 0 w 133"/>
              <a:gd name="T87" fmla="*/ 115 h 133"/>
              <a:gd name="T88" fmla="*/ 5 w 133"/>
              <a:gd name="T89" fmla="*/ 102 h 133"/>
              <a:gd name="T90" fmla="*/ 18 w 133"/>
              <a:gd name="T91" fmla="*/ 97 h 133"/>
              <a:gd name="T92" fmla="*/ 31 w 133"/>
              <a:gd name="T93" fmla="*/ 10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3" h="133">
                <a:moveTo>
                  <a:pt x="133" y="127"/>
                </a:moveTo>
                <a:cubicBezTo>
                  <a:pt x="133" y="129"/>
                  <a:pt x="133" y="130"/>
                  <a:pt x="132" y="132"/>
                </a:cubicBezTo>
                <a:cubicBezTo>
                  <a:pt x="130" y="133"/>
                  <a:pt x="129" y="133"/>
                  <a:pt x="127" y="133"/>
                </a:cubicBezTo>
                <a:cubicBezTo>
                  <a:pt x="114" y="133"/>
                  <a:pt x="114" y="133"/>
                  <a:pt x="114" y="133"/>
                </a:cubicBezTo>
                <a:cubicBezTo>
                  <a:pt x="112" y="133"/>
                  <a:pt x="111" y="133"/>
                  <a:pt x="110" y="132"/>
                </a:cubicBezTo>
                <a:cubicBezTo>
                  <a:pt x="108" y="131"/>
                  <a:pt x="108" y="129"/>
                  <a:pt x="108" y="128"/>
                </a:cubicBezTo>
                <a:cubicBezTo>
                  <a:pt x="107" y="114"/>
                  <a:pt x="104" y="101"/>
                  <a:pt x="98" y="89"/>
                </a:cubicBezTo>
                <a:cubicBezTo>
                  <a:pt x="93" y="77"/>
                  <a:pt x="85" y="66"/>
                  <a:pt x="76" y="57"/>
                </a:cubicBezTo>
                <a:cubicBezTo>
                  <a:pt x="67" y="48"/>
                  <a:pt x="57" y="41"/>
                  <a:pt x="44" y="36"/>
                </a:cubicBezTo>
                <a:cubicBezTo>
                  <a:pt x="32" y="30"/>
                  <a:pt x="19" y="27"/>
                  <a:pt x="6" y="26"/>
                </a:cubicBezTo>
                <a:cubicBezTo>
                  <a:pt x="4" y="26"/>
                  <a:pt x="3" y="25"/>
                  <a:pt x="2" y="24"/>
                </a:cubicBezTo>
                <a:cubicBezTo>
                  <a:pt x="1" y="23"/>
                  <a:pt x="0" y="21"/>
                  <a:pt x="0" y="20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3"/>
                  <a:pt x="2" y="2"/>
                </a:cubicBezTo>
                <a:cubicBezTo>
                  <a:pt x="3" y="1"/>
                  <a:pt x="5" y="0"/>
                  <a:pt x="6" y="0"/>
                </a:cubicBezTo>
                <a:cubicBezTo>
                  <a:pt x="7" y="0"/>
                  <a:pt x="7" y="0"/>
                  <a:pt x="7" y="0"/>
                </a:cubicBezTo>
                <a:cubicBezTo>
                  <a:pt x="23" y="1"/>
                  <a:pt x="39" y="5"/>
                  <a:pt x="54" y="12"/>
                </a:cubicBezTo>
                <a:cubicBezTo>
                  <a:pt x="69" y="18"/>
                  <a:pt x="82" y="28"/>
                  <a:pt x="94" y="39"/>
                </a:cubicBezTo>
                <a:cubicBezTo>
                  <a:pt x="106" y="51"/>
                  <a:pt x="115" y="65"/>
                  <a:pt x="122" y="80"/>
                </a:cubicBezTo>
                <a:cubicBezTo>
                  <a:pt x="129" y="95"/>
                  <a:pt x="132" y="111"/>
                  <a:pt x="133" y="127"/>
                </a:cubicBezTo>
                <a:close/>
                <a:moveTo>
                  <a:pt x="85" y="127"/>
                </a:moveTo>
                <a:cubicBezTo>
                  <a:pt x="85" y="129"/>
                  <a:pt x="84" y="130"/>
                  <a:pt x="83" y="131"/>
                </a:cubicBezTo>
                <a:cubicBezTo>
                  <a:pt x="82" y="133"/>
                  <a:pt x="81" y="133"/>
                  <a:pt x="79" y="133"/>
                </a:cubicBezTo>
                <a:cubicBezTo>
                  <a:pt x="66" y="133"/>
                  <a:pt x="66" y="133"/>
                  <a:pt x="66" y="133"/>
                </a:cubicBezTo>
                <a:cubicBezTo>
                  <a:pt x="65" y="133"/>
                  <a:pt x="63" y="133"/>
                  <a:pt x="62" y="132"/>
                </a:cubicBezTo>
                <a:cubicBezTo>
                  <a:pt x="61" y="131"/>
                  <a:pt x="60" y="130"/>
                  <a:pt x="60" y="128"/>
                </a:cubicBezTo>
                <a:cubicBezTo>
                  <a:pt x="59" y="114"/>
                  <a:pt x="53" y="101"/>
                  <a:pt x="43" y="91"/>
                </a:cubicBezTo>
                <a:cubicBezTo>
                  <a:pt x="32" y="81"/>
                  <a:pt x="20" y="75"/>
                  <a:pt x="6" y="74"/>
                </a:cubicBezTo>
                <a:cubicBezTo>
                  <a:pt x="4" y="73"/>
                  <a:pt x="3" y="73"/>
                  <a:pt x="2" y="72"/>
                </a:cubicBezTo>
                <a:cubicBezTo>
                  <a:pt x="1" y="70"/>
                  <a:pt x="0" y="69"/>
                  <a:pt x="0" y="68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3"/>
                  <a:pt x="1" y="51"/>
                  <a:pt x="2" y="50"/>
                </a:cubicBezTo>
                <a:cubicBezTo>
                  <a:pt x="3" y="49"/>
                  <a:pt x="5" y="49"/>
                  <a:pt x="6" y="49"/>
                </a:cubicBezTo>
                <a:cubicBezTo>
                  <a:pt x="7" y="49"/>
                  <a:pt x="7" y="49"/>
                  <a:pt x="7" y="49"/>
                </a:cubicBezTo>
                <a:cubicBezTo>
                  <a:pt x="17" y="50"/>
                  <a:pt x="26" y="52"/>
                  <a:pt x="36" y="56"/>
                </a:cubicBezTo>
                <a:cubicBezTo>
                  <a:pt x="45" y="61"/>
                  <a:pt x="53" y="66"/>
                  <a:pt x="60" y="74"/>
                </a:cubicBezTo>
                <a:cubicBezTo>
                  <a:pt x="67" y="81"/>
                  <a:pt x="73" y="89"/>
                  <a:pt x="77" y="98"/>
                </a:cubicBezTo>
                <a:cubicBezTo>
                  <a:pt x="82" y="107"/>
                  <a:pt x="84" y="117"/>
                  <a:pt x="85" y="127"/>
                </a:cubicBezTo>
                <a:close/>
                <a:moveTo>
                  <a:pt x="31" y="102"/>
                </a:moveTo>
                <a:cubicBezTo>
                  <a:pt x="35" y="106"/>
                  <a:pt x="36" y="110"/>
                  <a:pt x="36" y="115"/>
                </a:cubicBezTo>
                <a:cubicBezTo>
                  <a:pt x="36" y="120"/>
                  <a:pt x="35" y="125"/>
                  <a:pt x="31" y="128"/>
                </a:cubicBezTo>
                <a:cubicBezTo>
                  <a:pt x="28" y="132"/>
                  <a:pt x="23" y="133"/>
                  <a:pt x="18" y="133"/>
                </a:cubicBezTo>
                <a:cubicBezTo>
                  <a:pt x="13" y="133"/>
                  <a:pt x="9" y="132"/>
                  <a:pt x="5" y="128"/>
                </a:cubicBezTo>
                <a:cubicBezTo>
                  <a:pt x="2" y="125"/>
                  <a:pt x="0" y="120"/>
                  <a:pt x="0" y="115"/>
                </a:cubicBezTo>
                <a:cubicBezTo>
                  <a:pt x="0" y="110"/>
                  <a:pt x="2" y="106"/>
                  <a:pt x="5" y="102"/>
                </a:cubicBezTo>
                <a:cubicBezTo>
                  <a:pt x="9" y="99"/>
                  <a:pt x="13" y="97"/>
                  <a:pt x="18" y="97"/>
                </a:cubicBezTo>
                <a:cubicBezTo>
                  <a:pt x="23" y="97"/>
                  <a:pt x="28" y="99"/>
                  <a:pt x="31" y="1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4389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FD477F3-FFF5-4704-A49B-BF5AAA2AF8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Rectangle 5"/>
          <p:cNvSpPr/>
          <p:nvPr/>
        </p:nvSpPr>
        <p:spPr>
          <a:xfrm>
            <a:off x="0" y="1204913"/>
            <a:ext cx="4572000" cy="2733675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94362" y="1974291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03253" y="3107793"/>
            <a:ext cx="3336980" cy="487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300"/>
              </a:lnSpc>
              <a:spcAft>
                <a:spcPts val="1200"/>
              </a:spcAft>
            </a:pPr>
            <a:r>
              <a:rPr lang="en-US" sz="1000">
                <a:solidFill>
                  <a:schemeClr val="bg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bg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4362" y="2079377"/>
            <a:ext cx="371467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accent1"/>
                </a:solidFill>
                <a:latin typeface="+mj-lt"/>
              </a:rPr>
              <a:t>Let’s see some</a:t>
            </a:r>
          </a:p>
          <a:p>
            <a:pPr>
              <a:lnSpc>
                <a:spcPts val="3600"/>
              </a:lnSpc>
            </a:pPr>
            <a:r>
              <a:rPr lang="en-US" sz="3200" cap="all" spc="50">
                <a:solidFill>
                  <a:schemeClr val="bg1"/>
                </a:solidFill>
                <a:latin typeface="+mj-lt"/>
              </a:rPr>
              <a:t>charts</a:t>
            </a:r>
          </a:p>
        </p:txBody>
      </p:sp>
      <p:sp>
        <p:nvSpPr>
          <p:cNvPr id="11" name="Freeform 365">
            <a:extLst>
              <a:ext uri="{FF2B5EF4-FFF2-40B4-BE49-F238E27FC236}">
                <a16:creationId xmlns:a16="http://schemas.microsoft.com/office/drawing/2014/main" id="{2A6C1EC3-712E-4913-8DB8-1451D1712E7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1982" y="1646401"/>
            <a:ext cx="321857" cy="243907"/>
          </a:xfrm>
          <a:custGeom>
            <a:avLst/>
            <a:gdLst>
              <a:gd name="T0" fmla="*/ 128 w 128"/>
              <a:gd name="T1" fmla="*/ 88 h 97"/>
              <a:gd name="T2" fmla="*/ 128 w 128"/>
              <a:gd name="T3" fmla="*/ 97 h 97"/>
              <a:gd name="T4" fmla="*/ 0 w 128"/>
              <a:gd name="T5" fmla="*/ 97 h 97"/>
              <a:gd name="T6" fmla="*/ 0 w 128"/>
              <a:gd name="T7" fmla="*/ 0 h 97"/>
              <a:gd name="T8" fmla="*/ 8 w 128"/>
              <a:gd name="T9" fmla="*/ 0 h 97"/>
              <a:gd name="T10" fmla="*/ 8 w 128"/>
              <a:gd name="T11" fmla="*/ 88 h 97"/>
              <a:gd name="T12" fmla="*/ 128 w 128"/>
              <a:gd name="T13" fmla="*/ 88 h 97"/>
              <a:gd name="T14" fmla="*/ 40 w 128"/>
              <a:gd name="T15" fmla="*/ 48 h 97"/>
              <a:gd name="T16" fmla="*/ 40 w 128"/>
              <a:gd name="T17" fmla="*/ 80 h 97"/>
              <a:gd name="T18" fmla="*/ 24 w 128"/>
              <a:gd name="T19" fmla="*/ 80 h 97"/>
              <a:gd name="T20" fmla="*/ 24 w 128"/>
              <a:gd name="T21" fmla="*/ 48 h 97"/>
              <a:gd name="T22" fmla="*/ 40 w 128"/>
              <a:gd name="T23" fmla="*/ 48 h 97"/>
              <a:gd name="T24" fmla="*/ 64 w 128"/>
              <a:gd name="T25" fmla="*/ 16 h 97"/>
              <a:gd name="T26" fmla="*/ 64 w 128"/>
              <a:gd name="T27" fmla="*/ 80 h 97"/>
              <a:gd name="T28" fmla="*/ 48 w 128"/>
              <a:gd name="T29" fmla="*/ 80 h 97"/>
              <a:gd name="T30" fmla="*/ 48 w 128"/>
              <a:gd name="T31" fmla="*/ 16 h 97"/>
              <a:gd name="T32" fmla="*/ 64 w 128"/>
              <a:gd name="T33" fmla="*/ 16 h 97"/>
              <a:gd name="T34" fmla="*/ 88 w 128"/>
              <a:gd name="T35" fmla="*/ 32 h 97"/>
              <a:gd name="T36" fmla="*/ 88 w 128"/>
              <a:gd name="T37" fmla="*/ 80 h 97"/>
              <a:gd name="T38" fmla="*/ 72 w 128"/>
              <a:gd name="T39" fmla="*/ 80 h 97"/>
              <a:gd name="T40" fmla="*/ 72 w 128"/>
              <a:gd name="T41" fmla="*/ 32 h 97"/>
              <a:gd name="T42" fmla="*/ 88 w 128"/>
              <a:gd name="T43" fmla="*/ 32 h 97"/>
              <a:gd name="T44" fmla="*/ 112 w 128"/>
              <a:gd name="T45" fmla="*/ 8 h 97"/>
              <a:gd name="T46" fmla="*/ 112 w 128"/>
              <a:gd name="T47" fmla="*/ 80 h 97"/>
              <a:gd name="T48" fmla="*/ 97 w 128"/>
              <a:gd name="T49" fmla="*/ 80 h 97"/>
              <a:gd name="T50" fmla="*/ 97 w 128"/>
              <a:gd name="T51" fmla="*/ 8 h 97"/>
              <a:gd name="T52" fmla="*/ 112 w 128"/>
              <a:gd name="T53" fmla="*/ 8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8" h="97">
                <a:moveTo>
                  <a:pt x="128" y="88"/>
                </a:moveTo>
                <a:lnTo>
                  <a:pt x="128" y="97"/>
                </a:lnTo>
                <a:lnTo>
                  <a:pt x="0" y="97"/>
                </a:lnTo>
                <a:lnTo>
                  <a:pt x="0" y="0"/>
                </a:lnTo>
                <a:lnTo>
                  <a:pt x="8" y="0"/>
                </a:lnTo>
                <a:lnTo>
                  <a:pt x="8" y="88"/>
                </a:lnTo>
                <a:lnTo>
                  <a:pt x="128" y="88"/>
                </a:lnTo>
                <a:close/>
                <a:moveTo>
                  <a:pt x="40" y="48"/>
                </a:moveTo>
                <a:lnTo>
                  <a:pt x="40" y="80"/>
                </a:lnTo>
                <a:lnTo>
                  <a:pt x="24" y="80"/>
                </a:lnTo>
                <a:lnTo>
                  <a:pt x="24" y="48"/>
                </a:lnTo>
                <a:lnTo>
                  <a:pt x="40" y="48"/>
                </a:lnTo>
                <a:close/>
                <a:moveTo>
                  <a:pt x="64" y="16"/>
                </a:moveTo>
                <a:lnTo>
                  <a:pt x="64" y="80"/>
                </a:lnTo>
                <a:lnTo>
                  <a:pt x="48" y="80"/>
                </a:lnTo>
                <a:lnTo>
                  <a:pt x="48" y="16"/>
                </a:lnTo>
                <a:lnTo>
                  <a:pt x="64" y="16"/>
                </a:lnTo>
                <a:close/>
                <a:moveTo>
                  <a:pt x="88" y="32"/>
                </a:moveTo>
                <a:lnTo>
                  <a:pt x="88" y="80"/>
                </a:lnTo>
                <a:lnTo>
                  <a:pt x="72" y="80"/>
                </a:lnTo>
                <a:lnTo>
                  <a:pt x="72" y="32"/>
                </a:lnTo>
                <a:lnTo>
                  <a:pt x="88" y="32"/>
                </a:lnTo>
                <a:close/>
                <a:moveTo>
                  <a:pt x="112" y="8"/>
                </a:moveTo>
                <a:lnTo>
                  <a:pt x="112" y="80"/>
                </a:lnTo>
                <a:lnTo>
                  <a:pt x="97" y="80"/>
                </a:lnTo>
                <a:lnTo>
                  <a:pt x="97" y="8"/>
                </a:lnTo>
                <a:lnTo>
                  <a:pt x="112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8327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Our Annual Revenue </a:t>
            </a:r>
            <a:r>
              <a:rPr lang="en-US">
                <a:solidFill>
                  <a:schemeClr val="accent2"/>
                </a:solidFill>
              </a:rPr>
              <a:t>in 2014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593725" y="2102986"/>
            <a:ext cx="2126101" cy="17796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400"/>
              </a:lnSpc>
              <a:spcAft>
                <a:spcPts val="600"/>
              </a:spcAft>
            </a:pPr>
            <a:r>
              <a:rPr lang="en-US" sz="1000">
                <a:solidFill>
                  <a:schemeClr val="accent1"/>
                </a:solidFill>
                <a:latin typeface="+mj-lt"/>
              </a:rPr>
              <a:t>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a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ps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quae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b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ll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nventor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ery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et quasi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rchitect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beata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vitae dicta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sun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xplicabo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  Sed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t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perspic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at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und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omni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ist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natus error sit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volup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ate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ccus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dolor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emque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lauda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ntiu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tot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 rem </a:t>
            </a:r>
            <a:r>
              <a:rPr lang="en-US" sz="1000" err="1">
                <a:solidFill>
                  <a:schemeClr val="accent1"/>
                </a:solidFill>
                <a:latin typeface="+mj-lt"/>
              </a:rPr>
              <a:t>aperiam</a:t>
            </a:r>
            <a:r>
              <a:rPr lang="en-US" sz="1000">
                <a:solidFill>
                  <a:schemeClr val="accent1"/>
                </a:solidFill>
                <a:latin typeface="+mj-lt"/>
              </a:rPr>
              <a:t>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93838" y="1841798"/>
            <a:ext cx="2125988" cy="192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Lorem </a:t>
            </a:r>
            <a:r>
              <a:rPr lang="en-US" sz="1000" b="1" cap="all" spc="20" err="1">
                <a:solidFill>
                  <a:schemeClr val="accent2"/>
                </a:solidFill>
                <a:latin typeface="+mj-lt"/>
              </a:rPr>
              <a:t>Ipsum</a:t>
            </a:r>
            <a:r>
              <a:rPr lang="en-US" sz="1000" b="1" cap="all" spc="20">
                <a:solidFill>
                  <a:schemeClr val="accent2"/>
                </a:solidFill>
                <a:latin typeface="+mj-lt"/>
              </a:rPr>
              <a:t> Title</a:t>
            </a:r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6928517" y="2049057"/>
            <a:ext cx="1483594" cy="2014280"/>
          </a:xfrm>
          <a:custGeom>
            <a:avLst/>
            <a:gdLst>
              <a:gd name="T0" fmla="*/ 322 w 644"/>
              <a:gd name="T1" fmla="*/ 0 h 934"/>
              <a:gd name="T2" fmla="*/ 0 w 644"/>
              <a:gd name="T3" fmla="*/ 934 h 934"/>
              <a:gd name="T4" fmla="*/ 322 w 644"/>
              <a:gd name="T5" fmla="*/ 934 h 934"/>
              <a:gd name="T6" fmla="*/ 644 w 644"/>
              <a:gd name="T7" fmla="*/ 934 h 934"/>
              <a:gd name="T8" fmla="*/ 322 w 644"/>
              <a:gd name="T9" fmla="*/ 0 h 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4" h="934">
                <a:moveTo>
                  <a:pt x="322" y="0"/>
                </a:moveTo>
                <a:lnTo>
                  <a:pt x="0" y="934"/>
                </a:lnTo>
                <a:lnTo>
                  <a:pt x="322" y="934"/>
                </a:lnTo>
                <a:lnTo>
                  <a:pt x="644" y="934"/>
                </a:lnTo>
                <a:lnTo>
                  <a:pt x="322" y="0"/>
                </a:lnTo>
                <a:close/>
              </a:path>
            </a:pathLst>
          </a:custGeom>
          <a:solidFill>
            <a:schemeClr val="accent5">
              <a:alpha val="80000"/>
            </a:scheme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6220508" y="2399775"/>
            <a:ext cx="1034067" cy="1663562"/>
          </a:xfrm>
          <a:custGeom>
            <a:avLst/>
            <a:gdLst>
              <a:gd name="T0" fmla="*/ 322 w 644"/>
              <a:gd name="T1" fmla="*/ 0 h 934"/>
              <a:gd name="T2" fmla="*/ 0 w 644"/>
              <a:gd name="T3" fmla="*/ 934 h 934"/>
              <a:gd name="T4" fmla="*/ 322 w 644"/>
              <a:gd name="T5" fmla="*/ 934 h 934"/>
              <a:gd name="T6" fmla="*/ 644 w 644"/>
              <a:gd name="T7" fmla="*/ 934 h 934"/>
              <a:gd name="T8" fmla="*/ 322 w 644"/>
              <a:gd name="T9" fmla="*/ 0 h 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4" h="934">
                <a:moveTo>
                  <a:pt x="322" y="0"/>
                </a:moveTo>
                <a:lnTo>
                  <a:pt x="0" y="934"/>
                </a:lnTo>
                <a:lnTo>
                  <a:pt x="322" y="934"/>
                </a:lnTo>
                <a:lnTo>
                  <a:pt x="644" y="934"/>
                </a:lnTo>
                <a:lnTo>
                  <a:pt x="322" y="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auto">
          <a:xfrm>
            <a:off x="5002799" y="1967360"/>
            <a:ext cx="1543767" cy="2095977"/>
          </a:xfrm>
          <a:custGeom>
            <a:avLst/>
            <a:gdLst>
              <a:gd name="T0" fmla="*/ 322 w 644"/>
              <a:gd name="T1" fmla="*/ 0 h 934"/>
              <a:gd name="T2" fmla="*/ 0 w 644"/>
              <a:gd name="T3" fmla="*/ 934 h 934"/>
              <a:gd name="T4" fmla="*/ 322 w 644"/>
              <a:gd name="T5" fmla="*/ 934 h 934"/>
              <a:gd name="T6" fmla="*/ 644 w 644"/>
              <a:gd name="T7" fmla="*/ 934 h 934"/>
              <a:gd name="T8" fmla="*/ 322 w 644"/>
              <a:gd name="T9" fmla="*/ 0 h 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4" h="934">
                <a:moveTo>
                  <a:pt x="322" y="0"/>
                </a:moveTo>
                <a:lnTo>
                  <a:pt x="0" y="934"/>
                </a:lnTo>
                <a:lnTo>
                  <a:pt x="322" y="934"/>
                </a:lnTo>
                <a:lnTo>
                  <a:pt x="644" y="934"/>
                </a:lnTo>
                <a:lnTo>
                  <a:pt x="322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auto">
          <a:xfrm>
            <a:off x="4214431" y="2739651"/>
            <a:ext cx="1114426" cy="1323686"/>
          </a:xfrm>
          <a:custGeom>
            <a:avLst/>
            <a:gdLst>
              <a:gd name="T0" fmla="*/ 322 w 644"/>
              <a:gd name="T1" fmla="*/ 0 h 934"/>
              <a:gd name="T2" fmla="*/ 0 w 644"/>
              <a:gd name="T3" fmla="*/ 934 h 934"/>
              <a:gd name="T4" fmla="*/ 322 w 644"/>
              <a:gd name="T5" fmla="*/ 934 h 934"/>
              <a:gd name="T6" fmla="*/ 644 w 644"/>
              <a:gd name="T7" fmla="*/ 934 h 934"/>
              <a:gd name="T8" fmla="*/ 322 w 644"/>
              <a:gd name="T9" fmla="*/ 0 h 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4" h="934">
                <a:moveTo>
                  <a:pt x="322" y="0"/>
                </a:moveTo>
                <a:lnTo>
                  <a:pt x="0" y="934"/>
                </a:lnTo>
                <a:lnTo>
                  <a:pt x="322" y="934"/>
                </a:lnTo>
                <a:lnTo>
                  <a:pt x="644" y="934"/>
                </a:lnTo>
                <a:lnTo>
                  <a:pt x="322" y="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23" name="Freeform 22"/>
          <p:cNvSpPr>
            <a:spLocks/>
          </p:cNvSpPr>
          <p:nvPr/>
        </p:nvSpPr>
        <p:spPr bwMode="auto">
          <a:xfrm>
            <a:off x="3326921" y="2449022"/>
            <a:ext cx="1213568" cy="1614315"/>
          </a:xfrm>
          <a:custGeom>
            <a:avLst/>
            <a:gdLst>
              <a:gd name="T0" fmla="*/ 322 w 644"/>
              <a:gd name="T1" fmla="*/ 0 h 934"/>
              <a:gd name="T2" fmla="*/ 0 w 644"/>
              <a:gd name="T3" fmla="*/ 934 h 934"/>
              <a:gd name="T4" fmla="*/ 322 w 644"/>
              <a:gd name="T5" fmla="*/ 934 h 934"/>
              <a:gd name="T6" fmla="*/ 644 w 644"/>
              <a:gd name="T7" fmla="*/ 934 h 934"/>
              <a:gd name="T8" fmla="*/ 322 w 644"/>
              <a:gd name="T9" fmla="*/ 0 h 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4" h="934">
                <a:moveTo>
                  <a:pt x="322" y="0"/>
                </a:moveTo>
                <a:lnTo>
                  <a:pt x="0" y="934"/>
                </a:lnTo>
                <a:lnTo>
                  <a:pt x="322" y="934"/>
                </a:lnTo>
                <a:lnTo>
                  <a:pt x="644" y="934"/>
                </a:lnTo>
                <a:lnTo>
                  <a:pt x="322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401332" y="1703248"/>
            <a:ext cx="74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>
                <a:solidFill>
                  <a:schemeClr val="accent2"/>
                </a:solidFill>
                <a:latin typeface="+mj-lt"/>
              </a:rPr>
              <a:t>18.2%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398294" y="2449022"/>
            <a:ext cx="74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>
                <a:solidFill>
                  <a:schemeClr val="accent3"/>
                </a:solidFill>
                <a:latin typeface="+mj-lt"/>
              </a:rPr>
              <a:t>14.22%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547308" y="2168840"/>
            <a:ext cx="74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>
                <a:solidFill>
                  <a:schemeClr val="accent3"/>
                </a:solidFill>
                <a:latin typeface="+mj-lt"/>
              </a:rPr>
              <a:t>16.25%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364191" y="2132083"/>
            <a:ext cx="74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>
                <a:solidFill>
                  <a:schemeClr val="accent3"/>
                </a:solidFill>
                <a:latin typeface="+mj-lt"/>
              </a:rPr>
              <a:t>16.1%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296964" y="1764416"/>
            <a:ext cx="74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>
                <a:solidFill>
                  <a:schemeClr val="accent3"/>
                </a:solidFill>
                <a:latin typeface="+mj-lt"/>
              </a:rPr>
              <a:t>17.62%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186114" y="4039782"/>
            <a:ext cx="5366806" cy="188278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560355" y="4059616"/>
            <a:ext cx="7467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2010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398294" y="4059616"/>
            <a:ext cx="7467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2011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401332" y="4059616"/>
            <a:ext cx="7467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2012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364191" y="4059616"/>
            <a:ext cx="7467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2013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296964" y="4056441"/>
            <a:ext cx="7467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+mj-lt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379573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mart Financial </a:t>
            </a:r>
            <a:r>
              <a:rPr lang="en-US">
                <a:solidFill>
                  <a:schemeClr val="accent2"/>
                </a:solidFill>
              </a:rPr>
              <a:t>Highligh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580088426"/>
              </p:ext>
            </p:extLst>
          </p:nvPr>
        </p:nvGraphicFramePr>
        <p:xfrm>
          <a:off x="584202" y="1878676"/>
          <a:ext cx="7962897" cy="1965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205982" y="1543050"/>
            <a:ext cx="273203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cap="all" spc="20">
                <a:solidFill>
                  <a:schemeClr val="accent2"/>
                </a:solidFill>
                <a:latin typeface="+mj-lt"/>
              </a:rPr>
              <a:t>Average of Net Income: $265,000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432527" y="4010910"/>
            <a:ext cx="2286442" cy="153888"/>
            <a:chOff x="3432527" y="4010910"/>
            <a:chExt cx="2286442" cy="153888"/>
          </a:xfrm>
        </p:grpSpPr>
        <p:sp>
          <p:nvSpPr>
            <p:cNvPr id="7" name="TextBox 6"/>
            <p:cNvSpPr txBox="1"/>
            <p:nvPr/>
          </p:nvSpPr>
          <p:spPr>
            <a:xfrm>
              <a:off x="3584839" y="4010910"/>
              <a:ext cx="60483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2013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49485" y="4010910"/>
              <a:ext cx="60483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2014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114131" y="4010910"/>
              <a:ext cx="60483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2015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32527" y="4024222"/>
              <a:ext cx="96486" cy="9648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201186" y="4024222"/>
              <a:ext cx="96486" cy="964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962040" y="4024222"/>
              <a:ext cx="96486" cy="964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301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/>
              <a:t>Smart Financial </a:t>
            </a:r>
            <a:r>
              <a:rPr lang="en-US">
                <a:solidFill>
                  <a:schemeClr val="accent2"/>
                </a:solidFill>
              </a:rPr>
              <a:t>Highligh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687078445"/>
              </p:ext>
            </p:extLst>
          </p:nvPr>
        </p:nvGraphicFramePr>
        <p:xfrm>
          <a:off x="465669" y="1458383"/>
          <a:ext cx="2497665" cy="2300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3998421106"/>
              </p:ext>
            </p:extLst>
          </p:nvPr>
        </p:nvGraphicFramePr>
        <p:xfrm>
          <a:off x="3314305" y="1458383"/>
          <a:ext cx="2497665" cy="2300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3176204511"/>
              </p:ext>
            </p:extLst>
          </p:nvPr>
        </p:nvGraphicFramePr>
        <p:xfrm>
          <a:off x="6162941" y="1458383"/>
          <a:ext cx="2497665" cy="23008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2614403" y="4010910"/>
            <a:ext cx="4083575" cy="307777"/>
            <a:chOff x="2940976" y="4010910"/>
            <a:chExt cx="3284404" cy="307777"/>
          </a:xfrm>
        </p:grpSpPr>
        <p:sp>
          <p:nvSpPr>
            <p:cNvPr id="7" name="TextBox 6"/>
            <p:cNvSpPr txBox="1"/>
            <p:nvPr/>
          </p:nvSpPr>
          <p:spPr>
            <a:xfrm>
              <a:off x="3084514" y="4010910"/>
              <a:ext cx="66198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Web Design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912395" y="4010910"/>
              <a:ext cx="66198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Web Dev.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737894" y="4010910"/>
              <a:ext cx="66198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Mobile App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563393" y="4010910"/>
              <a:ext cx="66198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>
                  <a:solidFill>
                    <a:schemeClr val="accent1"/>
                  </a:solidFill>
                  <a:latin typeface="+mj-lt"/>
                </a:rPr>
                <a:t>Branding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940976" y="4024222"/>
              <a:ext cx="96486" cy="9648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750779" y="4024222"/>
              <a:ext cx="96486" cy="964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579849" y="4024222"/>
              <a:ext cx="96486" cy="964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13197" y="4024222"/>
              <a:ext cx="96486" cy="9648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accent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600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1_180DC Munich">
  <a:themeElements>
    <a:clrScheme name="Custom 17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4B5050"/>
      </a:accent1>
      <a:accent2>
        <a:srgbClr val="89057C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563C1"/>
      </a:hlink>
      <a:folHlink>
        <a:srgbClr val="954F72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80DC Munich Presentation Master_vWinter20" id="{974F1F8C-C626-A74B-8859-D01BA6DEF23B}" vid="{32C01F07-06A7-F448-9398-E6CC3E11CB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E80A3BA2086D84E9CF132A1B4A2E770" ma:contentTypeVersion="8" ma:contentTypeDescription="Ein neues Dokument erstellen." ma:contentTypeScope="" ma:versionID="7378e10fccd79e1c7155595790398cb7">
  <xsd:schema xmlns:xsd="http://www.w3.org/2001/XMLSchema" xmlns:xs="http://www.w3.org/2001/XMLSchema" xmlns:p="http://schemas.microsoft.com/office/2006/metadata/properties" xmlns:ns2="5287e3b3-beef-487f-9f79-6cd4ea593b67" targetNamespace="http://schemas.microsoft.com/office/2006/metadata/properties" ma:root="true" ma:fieldsID="1a6a2bfcafd25cc40098e9ab65e5e3a3" ns2:_="">
    <xsd:import namespace="5287e3b3-beef-487f-9f79-6cd4ea593b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87e3b3-beef-487f-9f79-6cd4ea593b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76A331-ECD1-4010-93CB-12B828AD141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F73BA7-29A3-420A-B1E1-2091CEFE09FF}">
  <ds:schemaRefs>
    <ds:schemaRef ds:uri="5287e3b3-beef-487f-9f79-6cd4ea593b6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874E913-A534-409B-8F8C-B535F5077F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87e3b3-beef-487f-9f79-6cd4ea593b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6</TotalTime>
  <Words>8232</Words>
  <Application>Microsoft Office PowerPoint</Application>
  <PresentationFormat>On-screen Show (16:9)</PresentationFormat>
  <Paragraphs>1830</Paragraphs>
  <Slides>149</Slides>
  <Notes>24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9</vt:i4>
      </vt:variant>
    </vt:vector>
  </HeadingPairs>
  <TitlesOfParts>
    <vt:vector size="159" baseType="lpstr">
      <vt:lpstr>Noto Sans Symbols</vt:lpstr>
      <vt:lpstr>Arial</vt:lpstr>
      <vt:lpstr>Calibri</vt:lpstr>
      <vt:lpstr>Calibri Light</vt:lpstr>
      <vt:lpstr>Cambria Math</vt:lpstr>
      <vt:lpstr>Lato</vt:lpstr>
      <vt:lpstr>Lato Black</vt:lpstr>
      <vt:lpstr>Wingdings</vt:lpstr>
      <vt:lpstr>01_180DC Munich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uritz Halusa</dc:creator>
  <cp:lastModifiedBy>Christoffer Brevik</cp:lastModifiedBy>
  <cp:revision>18</cp:revision>
  <dcterms:created xsi:type="dcterms:W3CDTF">2020-11-18T10:38:03Z</dcterms:created>
  <dcterms:modified xsi:type="dcterms:W3CDTF">2024-12-17T11:3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80A3BA2086D84E9CF132A1B4A2E770</vt:lpwstr>
  </property>
</Properties>
</file>